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sldIdLst>
    <p:sldId id="258" r:id="rId6"/>
    <p:sldId id="257" r:id="rId7"/>
    <p:sldId id="265" r:id="rId8"/>
    <p:sldId id="277" r:id="rId9"/>
    <p:sldId id="278" r:id="rId10"/>
    <p:sldId id="260" r:id="rId11"/>
    <p:sldId id="279" r:id="rId12"/>
    <p:sldId id="261" r:id="rId13"/>
    <p:sldId id="280" r:id="rId14"/>
    <p:sldId id="281" r:id="rId15"/>
    <p:sldId id="282" r:id="rId16"/>
    <p:sldId id="259" r:id="rId17"/>
    <p:sldId id="285" r:id="rId18"/>
    <p:sldId id="267" r:id="rId19"/>
    <p:sldId id="283" r:id="rId20"/>
    <p:sldId id="264" r:id="rId21"/>
    <p:sldId id="284" r:id="rId22"/>
    <p:sldId id="286" r:id="rId23"/>
    <p:sldId id="287" r:id="rId24"/>
    <p:sldId id="266" r:id="rId25"/>
    <p:sldId id="289" r:id="rId26"/>
    <p:sldId id="290" r:id="rId27"/>
    <p:sldId id="291" r:id="rId28"/>
    <p:sldId id="293" r:id="rId29"/>
    <p:sldId id="292" r:id="rId30"/>
    <p:sldId id="294" r:id="rId31"/>
    <p:sldId id="295" r:id="rId32"/>
    <p:sldId id="296" r:id="rId33"/>
    <p:sldId id="297" r:id="rId34"/>
    <p:sldId id="276"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169"/>
    <a:srgbClr val="009999"/>
    <a:srgbClr val="EC1C24"/>
    <a:srgbClr val="812143"/>
    <a:srgbClr val="D7D294"/>
    <a:srgbClr val="005AA9"/>
    <a:srgbClr val="97BE0D"/>
    <a:srgbClr val="0097A9"/>
    <a:srgbClr val="513B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8" d="100"/>
          <a:sy n="88" d="100"/>
        </p:scale>
        <p:origin x="126"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694B637-B3A4-4DCB-979D-0912893FFE33}" type="datetimeFigureOut">
              <a:rPr lang="en-US" smtClean="0"/>
              <a:t>12/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2743796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694B637-B3A4-4DCB-979D-0912893FFE33}" type="datetimeFigureOut">
              <a:rPr lang="en-US" smtClean="0"/>
              <a:t>12/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7433941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694B637-B3A4-4DCB-979D-0912893FFE33}" type="datetimeFigureOut">
              <a:rPr lang="en-US" smtClean="0"/>
              <a:t>12/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26271956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6" name="think-cell Slide" r:id="rId4" imgW="493" imgH="493" progId="TCLayout.ActiveDocument.1">
                  <p:embed/>
                </p:oleObj>
              </mc:Choice>
              <mc:Fallback>
                <p:oleObj name="think-cell Slide" r:id="rId4" imgW="493" imgH="493"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226" name="Rectangle 2"/>
          <p:cNvSpPr>
            <a:spLocks noGrp="1" noChangeArrowheads="1"/>
          </p:cNvSpPr>
          <p:nvPr>
            <p:ph type="ctrTitle"/>
          </p:nvPr>
        </p:nvSpPr>
        <p:spPr>
          <a:xfrm>
            <a:off x="914400" y="2130426"/>
            <a:ext cx="10363200" cy="1470025"/>
          </a:xfrm>
        </p:spPr>
        <p:txBody>
          <a:bodyPr/>
          <a:lstStyle>
            <a:lvl1pPr>
              <a:defRPr sz="2900">
                <a:solidFill>
                  <a:srgbClr val="505559"/>
                </a:solidFill>
              </a:defRPr>
            </a:lvl1pPr>
          </a:lstStyle>
          <a:p>
            <a:r>
              <a:rPr lang="it-IT" dirty="0"/>
              <a:t>Fare clic per modificare lo stile del titolo</a:t>
            </a:r>
          </a:p>
        </p:txBody>
      </p:sp>
      <p:sp>
        <p:nvSpPr>
          <p:cNvPr id="52227" name="Rectangle 3"/>
          <p:cNvSpPr>
            <a:spLocks noGrp="1" noChangeArrowheads="1"/>
          </p:cNvSpPr>
          <p:nvPr>
            <p:ph type="subTitle" idx="1"/>
          </p:nvPr>
        </p:nvSpPr>
        <p:spPr>
          <a:xfrm>
            <a:off x="918634" y="3654426"/>
            <a:ext cx="10354733" cy="1984375"/>
          </a:xfrm>
          <a:prstGeom prst="rect">
            <a:avLst/>
          </a:prstGeom>
        </p:spPr>
        <p:txBody>
          <a:bodyPr/>
          <a:lstStyle>
            <a:lvl1pPr marL="0" indent="0">
              <a:buFontTx/>
              <a:buNone/>
              <a:defRPr sz="1300">
                <a:solidFill>
                  <a:srgbClr val="007C66"/>
                </a:solidFill>
              </a:defRPr>
            </a:lvl1pPr>
          </a:lstStyle>
          <a:p>
            <a:r>
              <a:rPr lang="it-IT" dirty="0"/>
              <a:t>Fare clic per modificare lo stile del sottotitolo dello schema</a:t>
            </a:r>
          </a:p>
        </p:txBody>
      </p:sp>
    </p:spTree>
    <p:extLst>
      <p:ext uri="{BB962C8B-B14F-4D97-AF65-F5344CB8AC3E}">
        <p14:creationId xmlns:p14="http://schemas.microsoft.com/office/powerpoint/2010/main" val="381235256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olo e contenuto">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210" name="think-cell Slide" r:id="rId4" imgW="493" imgH="493" progId="TCLayout.ActiveDocument.1">
                  <p:embed/>
                </p:oleObj>
              </mc:Choice>
              <mc:Fallback>
                <p:oleObj name="think-cell Slide" r:id="rId4" imgW="493" imgH="493"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11599863" y="6630988"/>
            <a:ext cx="409575" cy="100012"/>
          </a:xfrm>
          <a:prstGeom prst="rect">
            <a:avLst/>
          </a:prstGeom>
          <a:noFill/>
        </p:spPr>
        <p:txBody>
          <a:bodyPr lIns="0" tIns="0" rIns="0" bIns="0">
            <a:spAutoFit/>
          </a:bodyPr>
          <a:lstStyle/>
          <a:p>
            <a:pPr algn="r" defTabSz="1219170" eaLnBrk="1" fontAlgn="auto" hangingPunct="1">
              <a:spcBef>
                <a:spcPts val="800"/>
              </a:spcBef>
              <a:spcAft>
                <a:spcPts val="0"/>
              </a:spcAft>
              <a:buSzPct val="100000"/>
              <a:buFont typeface="Arial"/>
              <a:buNone/>
              <a:defRPr/>
            </a:pPr>
            <a:fld id="{D162FBCE-ED81-4505-8669-4D6A24CE2C33}" type="slidenum">
              <a:rPr lang="en-US" sz="650">
                <a:latin typeface="+mn-lt"/>
                <a:cs typeface="Arial" charset="0"/>
              </a:rPr>
              <a:pPr algn="r" defTabSz="1219170" eaLnBrk="1" fontAlgn="auto" hangingPunct="1">
                <a:spcBef>
                  <a:spcPts val="800"/>
                </a:spcBef>
                <a:spcAft>
                  <a:spcPts val="0"/>
                </a:spcAft>
                <a:buSzPct val="100000"/>
                <a:buFont typeface="Arial"/>
                <a:buNone/>
                <a:defRPr/>
              </a:pPr>
              <a:t>‹N›</a:t>
            </a:fld>
            <a:endParaRPr lang="en-US" sz="650" dirty="0">
              <a:latin typeface="+mn-lt"/>
              <a:cs typeface="Arial" charset="0"/>
            </a:endParaRPr>
          </a:p>
        </p:txBody>
      </p:sp>
      <p:sp>
        <p:nvSpPr>
          <p:cNvPr id="2" name="Titolo 1"/>
          <p:cNvSpPr>
            <a:spLocks noGrp="1"/>
          </p:cNvSpPr>
          <p:nvPr>
            <p:ph type="title"/>
          </p:nvPr>
        </p:nvSpPr>
        <p:spPr>
          <a:xfrm>
            <a:off x="293210" y="296590"/>
            <a:ext cx="10801349" cy="384721"/>
          </a:xfrm>
        </p:spPr>
        <p:txBody>
          <a:bodyPr tIns="0">
            <a:spAutoFit/>
          </a:bodyPr>
          <a:lstStyle>
            <a:lvl1pPr>
              <a:defRPr>
                <a:solidFill>
                  <a:srgbClr val="002060"/>
                </a:solidFill>
              </a:defRPr>
            </a:lvl1pPr>
          </a:lstStyle>
          <a:p>
            <a:r>
              <a:rPr lang="it-IT" dirty="0"/>
              <a:t>Fare clic per modificare lo stile del </a:t>
            </a:r>
            <a:r>
              <a:rPr lang="it-IT" dirty="0" smtClean="0"/>
              <a:t>titolo</a:t>
            </a:r>
            <a:endParaRPr lang="it-IT" dirty="0"/>
          </a:p>
        </p:txBody>
      </p:sp>
    </p:spTree>
    <p:extLst>
      <p:ext uri="{BB962C8B-B14F-4D97-AF65-F5344CB8AC3E}">
        <p14:creationId xmlns:p14="http://schemas.microsoft.com/office/powerpoint/2010/main" val="291905002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694B637-B3A4-4DCB-979D-0912893FFE33}" type="datetimeFigureOut">
              <a:rPr lang="en-US" smtClean="0"/>
              <a:t>12/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17337534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9694B637-B3A4-4DCB-979D-0912893FFE33}" type="datetimeFigureOut">
              <a:rPr lang="en-US" smtClean="0"/>
              <a:t>12/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2377089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694B637-B3A4-4DCB-979D-0912893FFE33}" type="datetimeFigureOut">
              <a:rPr lang="en-US" smtClean="0"/>
              <a:t>12/1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1882562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694B637-B3A4-4DCB-979D-0912893FFE33}" type="datetimeFigureOut">
              <a:rPr lang="en-US" smtClean="0"/>
              <a:t>12/16/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2465264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694B637-B3A4-4DCB-979D-0912893FFE33}" type="datetimeFigureOut">
              <a:rPr lang="en-US" smtClean="0"/>
              <a:t>12/16/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21337339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94B637-B3A4-4DCB-979D-0912893FFE33}" type="datetimeFigureOut">
              <a:rPr lang="en-US" smtClean="0"/>
              <a:t>12/16/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1478722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694B637-B3A4-4DCB-979D-0912893FFE33}" type="datetimeFigureOut">
              <a:rPr lang="en-US" smtClean="0"/>
              <a:t>12/1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1782747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694B637-B3A4-4DCB-979D-0912893FFE33}" type="datetimeFigureOut">
              <a:rPr lang="en-US" smtClean="0"/>
              <a:t>12/1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78098A-9778-4EA3-A29C-E2EB695B4409}" type="slidenum">
              <a:rPr lang="en-US" smtClean="0"/>
              <a:t>‹N›</a:t>
            </a:fld>
            <a:endParaRPr lang="en-US"/>
          </a:p>
        </p:txBody>
      </p:sp>
    </p:spTree>
    <p:extLst>
      <p:ext uri="{BB962C8B-B14F-4D97-AF65-F5344CB8AC3E}">
        <p14:creationId xmlns:p14="http://schemas.microsoft.com/office/powerpoint/2010/main" val="1710004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94B637-B3A4-4DCB-979D-0912893FFE33}" type="datetimeFigureOut">
              <a:rPr lang="en-US" smtClean="0"/>
              <a:t>12/16/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78098A-9778-4EA3-A29C-E2EB695B4409}" type="slidenum">
              <a:rPr lang="en-US" smtClean="0"/>
              <a:t>‹N›</a:t>
            </a:fld>
            <a:endParaRPr lang="en-US"/>
          </a:p>
        </p:txBody>
      </p:sp>
    </p:spTree>
    <p:extLst>
      <p:ext uri="{BB962C8B-B14F-4D97-AF65-F5344CB8AC3E}">
        <p14:creationId xmlns:p14="http://schemas.microsoft.com/office/powerpoint/2010/main" val="11939730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5"/>
            </p:custDataLs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162" name="think-cell Slide" r:id="rId6" imgW="493" imgH="493" progId="TCLayout.ActiveDocument.1">
                  <p:embed/>
                </p:oleObj>
              </mc:Choice>
              <mc:Fallback>
                <p:oleObj name="think-cell Slide" r:id="rId6" imgW="493" imgH="493" progId="TCLayout.ActiveDocument.1">
                  <p:embed/>
                  <p:pic>
                    <p:nvPicPr>
                      <p:cNvPr id="1026"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nvPr>
        </p:nvSpPr>
        <p:spPr bwMode="auto">
          <a:xfrm>
            <a:off x="293210" y="241300"/>
            <a:ext cx="1080135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altLang="it-IT" dirty="0" smtClean="0"/>
              <a:t>Fare clic per modificare lo stile del titolo</a:t>
            </a:r>
          </a:p>
        </p:txBody>
      </p:sp>
      <p:sp>
        <p:nvSpPr>
          <p:cNvPr id="6" name="TextBox 5"/>
          <p:cNvSpPr txBox="1"/>
          <p:nvPr userDrawn="1"/>
        </p:nvSpPr>
        <p:spPr>
          <a:xfrm>
            <a:off x="11599863" y="6630988"/>
            <a:ext cx="409575" cy="100012"/>
          </a:xfrm>
          <a:prstGeom prst="rect">
            <a:avLst/>
          </a:prstGeom>
          <a:noFill/>
        </p:spPr>
        <p:txBody>
          <a:bodyPr lIns="0" tIns="0" rIns="0" bIns="0">
            <a:spAutoFit/>
          </a:bodyPr>
          <a:lstStyle/>
          <a:p>
            <a:pPr algn="r" defTabSz="1219170" eaLnBrk="1" fontAlgn="auto" hangingPunct="1">
              <a:spcBef>
                <a:spcPts val="800"/>
              </a:spcBef>
              <a:spcAft>
                <a:spcPts val="0"/>
              </a:spcAft>
              <a:buSzPct val="100000"/>
              <a:buFont typeface="Arial"/>
              <a:buNone/>
              <a:defRPr/>
            </a:pPr>
            <a:fld id="{EABE1143-16AB-42C3-A7E1-B36DAC8E605E}" type="slidenum">
              <a:rPr lang="en-US" sz="650">
                <a:latin typeface="+mn-lt"/>
                <a:cs typeface="Arial" charset="0"/>
              </a:rPr>
              <a:pPr algn="r" defTabSz="1219170" eaLnBrk="1" fontAlgn="auto" hangingPunct="1">
                <a:spcBef>
                  <a:spcPts val="800"/>
                </a:spcBef>
                <a:spcAft>
                  <a:spcPts val="0"/>
                </a:spcAft>
                <a:buSzPct val="100000"/>
                <a:buFont typeface="Arial"/>
                <a:buNone/>
                <a:defRPr/>
              </a:pPr>
              <a:t>‹N›</a:t>
            </a:fld>
            <a:endParaRPr lang="en-US" sz="650" dirty="0">
              <a:latin typeface="+mn-lt"/>
              <a:cs typeface="Arial" charset="0"/>
            </a:endParaRPr>
          </a:p>
        </p:txBody>
      </p:sp>
      <p:sp>
        <p:nvSpPr>
          <p:cNvPr id="3" name="Text Placeholder 2"/>
          <p:cNvSpPr>
            <a:spLocks noGrp="1"/>
          </p:cNvSpPr>
          <p:nvPr>
            <p:ph type="body" idx="1"/>
          </p:nvPr>
        </p:nvSpPr>
        <p:spPr>
          <a:xfrm>
            <a:off x="293210" y="776456"/>
            <a:ext cx="11464898" cy="374612"/>
          </a:xfrm>
          <a:prstGeom prst="rect">
            <a:avLst/>
          </a:prstGeom>
        </p:spPr>
        <p:txBody>
          <a:bodyPr vert="horz" lIns="91440" tIns="45720" rIns="91440" bIns="45720" rtlCol="0">
            <a:normAutofit/>
          </a:bodyPr>
          <a:lstStyle/>
          <a:p>
            <a:pPr lvl="0"/>
            <a:r>
              <a:rPr lang="en-US" dirty="0" smtClean="0"/>
              <a:t>Click to edit Master text styles</a:t>
            </a:r>
          </a:p>
        </p:txBody>
      </p:sp>
    </p:spTree>
    <p:extLst>
      <p:ext uri="{BB962C8B-B14F-4D97-AF65-F5344CB8AC3E}">
        <p14:creationId xmlns:p14="http://schemas.microsoft.com/office/powerpoint/2010/main" val="1940180635"/>
      </p:ext>
    </p:extLst>
  </p:cSld>
  <p:clrMap bg1="lt1" tx1="dk1" bg2="lt2" tx2="dk2" accent1="accent1" accent2="accent2" accent3="accent3" accent4="accent4" accent5="accent5" accent6="accent6" hlink="hlink" folHlink="folHlink"/>
  <p:sldLayoutIdLst>
    <p:sldLayoutId id="2147483661" r:id="rId1"/>
    <p:sldLayoutId id="2147483662"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a:solidFill>
            <a:srgbClr val="202D5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p:titleStyle>
    <p:bodyStyle>
      <a:lvl1pPr marL="0" indent="0" algn="l" rtl="0" eaLnBrk="0" fontAlgn="base" hangingPunct="0">
        <a:spcBef>
          <a:spcPct val="20000"/>
        </a:spcBef>
        <a:spcAft>
          <a:spcPct val="0"/>
        </a:spcAft>
        <a:buClr>
          <a:srgbClr val="007C66"/>
        </a:buClr>
        <a:buNone/>
        <a:defRPr sz="1400" baseline="0">
          <a:solidFill>
            <a:srgbClr val="505559"/>
          </a:solidFill>
          <a:latin typeface="+mn-lt"/>
          <a:ea typeface="+mn-ea"/>
          <a:cs typeface="+mn-cs"/>
        </a:defRPr>
      </a:lvl1pPr>
      <a:lvl2pPr marL="531813" indent="-173038" algn="l" rtl="0" eaLnBrk="0" fontAlgn="base" hangingPunct="0">
        <a:spcBef>
          <a:spcPct val="20000"/>
        </a:spcBef>
        <a:spcAft>
          <a:spcPct val="0"/>
        </a:spcAft>
        <a:buClr>
          <a:srgbClr val="007C66"/>
        </a:buClr>
        <a:buChar char="•"/>
        <a:defRPr sz="1400">
          <a:solidFill>
            <a:srgbClr val="505559"/>
          </a:solidFill>
          <a:latin typeface="+mn-lt"/>
          <a:cs typeface="+mn-cs"/>
        </a:defRPr>
      </a:lvl2pPr>
      <a:lvl3pPr marL="890588" indent="-173038" algn="l" rtl="0" eaLnBrk="0" fontAlgn="base" hangingPunct="0">
        <a:spcBef>
          <a:spcPct val="20000"/>
        </a:spcBef>
        <a:spcAft>
          <a:spcPct val="0"/>
        </a:spcAft>
        <a:buClr>
          <a:srgbClr val="007C66"/>
        </a:buClr>
        <a:buChar char="•"/>
        <a:defRPr sz="1400">
          <a:solidFill>
            <a:srgbClr val="505559"/>
          </a:solidFill>
          <a:latin typeface="+mn-lt"/>
          <a:cs typeface="+mn-cs"/>
        </a:defRPr>
      </a:lvl3pPr>
      <a:lvl4pPr marL="1249363" indent="-173038" algn="l" rtl="0" eaLnBrk="0" fontAlgn="base" hangingPunct="0">
        <a:spcBef>
          <a:spcPct val="20000"/>
        </a:spcBef>
        <a:spcAft>
          <a:spcPct val="0"/>
        </a:spcAft>
        <a:buClr>
          <a:srgbClr val="007C66"/>
        </a:buClr>
        <a:buChar char="•"/>
        <a:defRPr sz="1400">
          <a:solidFill>
            <a:srgbClr val="505559"/>
          </a:solidFill>
          <a:latin typeface="+mn-lt"/>
          <a:cs typeface="+mn-cs"/>
        </a:defRPr>
      </a:lvl4pPr>
      <a:lvl5pPr marL="1608138" indent="-173038" algn="l" rtl="0" eaLnBrk="0" fontAlgn="base" hangingPunct="0">
        <a:spcBef>
          <a:spcPct val="20000"/>
        </a:spcBef>
        <a:spcAft>
          <a:spcPct val="0"/>
        </a:spcAft>
        <a:buClr>
          <a:srgbClr val="007C66"/>
        </a:buClr>
        <a:buChar char="•"/>
        <a:defRPr sz="1400">
          <a:solidFill>
            <a:srgbClr val="505559"/>
          </a:solidFill>
          <a:latin typeface="+mn-lt"/>
          <a:cs typeface="+mn-cs"/>
        </a:defRPr>
      </a:lvl5pPr>
      <a:lvl6pPr marL="2065338" indent="-173038" algn="l" rtl="0" fontAlgn="base">
        <a:spcBef>
          <a:spcPct val="20000"/>
        </a:spcBef>
        <a:spcAft>
          <a:spcPct val="0"/>
        </a:spcAft>
        <a:buClr>
          <a:srgbClr val="007C66"/>
        </a:buClr>
        <a:buChar char="•"/>
        <a:defRPr sz="1400">
          <a:solidFill>
            <a:srgbClr val="505559"/>
          </a:solidFill>
          <a:latin typeface="+mn-lt"/>
          <a:cs typeface="+mn-cs"/>
        </a:defRPr>
      </a:lvl6pPr>
      <a:lvl7pPr marL="2522538" indent="-173038" algn="l" rtl="0" fontAlgn="base">
        <a:spcBef>
          <a:spcPct val="20000"/>
        </a:spcBef>
        <a:spcAft>
          <a:spcPct val="0"/>
        </a:spcAft>
        <a:buClr>
          <a:srgbClr val="007C66"/>
        </a:buClr>
        <a:buChar char="•"/>
        <a:defRPr sz="1400">
          <a:solidFill>
            <a:srgbClr val="505559"/>
          </a:solidFill>
          <a:latin typeface="+mn-lt"/>
          <a:cs typeface="+mn-cs"/>
        </a:defRPr>
      </a:lvl7pPr>
      <a:lvl8pPr marL="2979738" indent="-173038" algn="l" rtl="0" fontAlgn="base">
        <a:spcBef>
          <a:spcPct val="20000"/>
        </a:spcBef>
        <a:spcAft>
          <a:spcPct val="0"/>
        </a:spcAft>
        <a:buClr>
          <a:srgbClr val="007C66"/>
        </a:buClr>
        <a:buChar char="•"/>
        <a:defRPr sz="1400">
          <a:solidFill>
            <a:srgbClr val="505559"/>
          </a:solidFill>
          <a:latin typeface="+mn-lt"/>
          <a:cs typeface="+mn-cs"/>
        </a:defRPr>
      </a:lvl8pPr>
      <a:lvl9pPr marL="3436938" indent="-173038" algn="l" rtl="0" fontAlgn="base">
        <a:spcBef>
          <a:spcPct val="20000"/>
        </a:spcBef>
        <a:spcAft>
          <a:spcPct val="0"/>
        </a:spcAft>
        <a:buClr>
          <a:srgbClr val="007C66"/>
        </a:buClr>
        <a:buChar char="•"/>
        <a:defRPr sz="1400">
          <a:solidFill>
            <a:srgbClr val="505559"/>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mailto:manuelamarullo@agriforum.eu" TargetMode="External"/><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hyperlink" Target="mailto:antoniopivetti@agriforum.eu"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5"/>
          <p:cNvSpPr>
            <a:spLocks noChangeArrowheads="1"/>
          </p:cNvSpPr>
          <p:nvPr/>
        </p:nvSpPr>
        <p:spPr bwMode="auto">
          <a:xfrm>
            <a:off x="788988" y="5310598"/>
            <a:ext cx="7766050" cy="60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Century Gothic" panose="020B0502020202020204" pitchFamily="34" charset="0"/>
                <a:cs typeface="Arial" panose="020B0604020202020204" pitchFamily="34" charset="0"/>
              </a:defRPr>
            </a:lvl1pPr>
            <a:lvl2pPr marL="742950" indent="-285750">
              <a:defRPr b="1">
                <a:solidFill>
                  <a:schemeClr val="tx1"/>
                </a:solidFill>
                <a:latin typeface="Century Gothic" panose="020B0502020202020204" pitchFamily="34" charset="0"/>
                <a:cs typeface="Arial" panose="020B0604020202020204" pitchFamily="34" charset="0"/>
              </a:defRPr>
            </a:lvl2pPr>
            <a:lvl3pPr marL="1143000" indent="-228600">
              <a:defRPr b="1">
                <a:solidFill>
                  <a:schemeClr val="tx1"/>
                </a:solidFill>
                <a:latin typeface="Century Gothic" panose="020B0502020202020204" pitchFamily="34" charset="0"/>
                <a:cs typeface="Arial" panose="020B0604020202020204" pitchFamily="34" charset="0"/>
              </a:defRPr>
            </a:lvl3pPr>
            <a:lvl4pPr marL="1600200" indent="-228600">
              <a:defRPr b="1">
                <a:solidFill>
                  <a:schemeClr val="tx1"/>
                </a:solidFill>
                <a:latin typeface="Century Gothic" panose="020B0502020202020204" pitchFamily="34" charset="0"/>
                <a:cs typeface="Arial" panose="020B0604020202020204" pitchFamily="34" charset="0"/>
              </a:defRPr>
            </a:lvl4pPr>
            <a:lvl5pPr marL="2057400" indent="-228600">
              <a:defRPr b="1">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Century Gothic" panose="020B0502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
                <a:srgbClr val="007C66"/>
              </a:buClr>
              <a:buSzTx/>
              <a:buFontTx/>
              <a:buNone/>
              <a:tabLst/>
              <a:defRPr/>
            </a:pPr>
            <a:r>
              <a:rPr lang="it-IT" altLang="it-IT" sz="1600" baseline="0" dirty="0" smtClean="0">
                <a:solidFill>
                  <a:srgbClr val="012169"/>
                </a:solidFill>
              </a:rPr>
              <a:t>Avv. Antonio Pivetti</a:t>
            </a:r>
          </a:p>
          <a:p>
            <a:pPr lvl="0" fontAlgn="base">
              <a:spcBef>
                <a:spcPct val="20000"/>
              </a:spcBef>
              <a:spcAft>
                <a:spcPct val="0"/>
              </a:spcAft>
              <a:buClr>
                <a:srgbClr val="007C66"/>
              </a:buClr>
              <a:defRPr/>
            </a:pPr>
            <a:r>
              <a:rPr lang="it-IT" altLang="it-IT" sz="1600" dirty="0">
                <a:solidFill>
                  <a:srgbClr val="012169"/>
                </a:solidFill>
              </a:rPr>
              <a:t>Avv. Manuela </a:t>
            </a:r>
            <a:r>
              <a:rPr lang="it-IT" altLang="it-IT" sz="1600" dirty="0" smtClean="0">
                <a:solidFill>
                  <a:srgbClr val="012169"/>
                </a:solidFill>
              </a:rPr>
              <a:t>Marullo</a:t>
            </a:r>
            <a:endParaRPr kumimoji="0" lang="it-IT" altLang="it-IT" sz="1600" i="0" u="none" strike="noStrike" kern="1200" cap="none" spc="0" normalizeH="0" baseline="0" noProof="0" dirty="0" smtClean="0">
              <a:ln>
                <a:noFill/>
              </a:ln>
              <a:solidFill>
                <a:srgbClr val="012169"/>
              </a:solidFill>
              <a:effectLst/>
              <a:uLnTx/>
              <a:uFillTx/>
            </a:endParaRPr>
          </a:p>
          <a:p>
            <a:pPr marL="0" marR="0" lvl="0" indent="0" algn="l" defTabSz="914400" rtl="0" eaLnBrk="1" fontAlgn="base" latinLnBrk="0" hangingPunct="1">
              <a:lnSpc>
                <a:spcPct val="100000"/>
              </a:lnSpc>
              <a:spcBef>
                <a:spcPct val="20000"/>
              </a:spcBef>
              <a:spcAft>
                <a:spcPct val="0"/>
              </a:spcAft>
              <a:buClr>
                <a:srgbClr val="007C66"/>
              </a:buClr>
              <a:buSzTx/>
              <a:buFontTx/>
              <a:buNone/>
              <a:tabLst/>
              <a:defRPr/>
            </a:pPr>
            <a:endParaRPr kumimoji="0" lang="it-IT" altLang="it-IT" sz="1400" b="0" i="0" u="none" strike="noStrike" kern="1200" cap="none" spc="0" normalizeH="0" baseline="0" noProof="0" dirty="0">
              <a:ln>
                <a:noFill/>
              </a:ln>
              <a:solidFill>
                <a:srgbClr val="202D50"/>
              </a:solidFill>
              <a:effectLst/>
              <a:uLnTx/>
              <a:uFillTx/>
              <a:latin typeface="Century Gothic" panose="020B0502020202020204" pitchFamily="34" charset="0"/>
              <a:ea typeface="+mn-ea"/>
              <a:cs typeface="Arial" panose="020B0604020202020204" pitchFamily="34" charset="0"/>
            </a:endParaRPr>
          </a:p>
        </p:txBody>
      </p:sp>
      <p:sp>
        <p:nvSpPr>
          <p:cNvPr id="4" name="Title 1"/>
          <p:cNvSpPr txBox="1">
            <a:spLocks/>
          </p:cNvSpPr>
          <p:nvPr/>
        </p:nvSpPr>
        <p:spPr bwMode="auto">
          <a:xfrm>
            <a:off x="719138" y="1276350"/>
            <a:ext cx="10653712" cy="1472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900" b="1">
                <a:solidFill>
                  <a:srgbClr val="505559"/>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it-IT" altLang="it-IT" sz="3200" b="1" i="0" u="none" strike="noStrike" kern="1200" cap="none" spc="0" normalizeH="0" baseline="0" noProof="0" dirty="0" smtClean="0">
                <a:ln>
                  <a:noFill/>
                </a:ln>
                <a:solidFill>
                  <a:srgbClr val="012169"/>
                </a:solidFill>
                <a:effectLst/>
                <a:uLnTx/>
                <a:uFillTx/>
                <a:latin typeface="Century Gothic"/>
                <a:ea typeface="+mj-ea"/>
                <a:cs typeface="Arial"/>
              </a:rPr>
              <a:t>Regolamento</a:t>
            </a:r>
            <a:r>
              <a:rPr kumimoji="0" lang="it-IT" altLang="it-IT" sz="3200" b="1" i="0" u="none" strike="noStrike" kern="1200" cap="none" spc="0" normalizeH="0" noProof="0" dirty="0" smtClean="0">
                <a:ln>
                  <a:noFill/>
                </a:ln>
                <a:solidFill>
                  <a:srgbClr val="012169"/>
                </a:solidFill>
                <a:effectLst/>
                <a:uLnTx/>
                <a:uFillTx/>
                <a:latin typeface="Century Gothic"/>
                <a:ea typeface="+mj-ea"/>
                <a:cs typeface="Arial"/>
              </a:rPr>
              <a:t> UE 2017/625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it-IT" altLang="it-IT" sz="3200" b="1" i="0" u="none" strike="noStrike" kern="1200" cap="none" spc="0" normalizeH="0" noProof="0" dirty="0" smtClean="0">
                <a:ln>
                  <a:noFill/>
                </a:ln>
                <a:solidFill>
                  <a:srgbClr val="012169"/>
                </a:solidFill>
                <a:effectLst/>
                <a:uLnTx/>
                <a:uFillTx/>
                <a:latin typeface="Century Gothic"/>
                <a:ea typeface="+mj-ea"/>
                <a:cs typeface="Arial"/>
              </a:rPr>
              <a:t>e normativa italiana sui controlli ufficiali</a:t>
            </a:r>
            <a:endParaRPr kumimoji="0" lang="it-IT" altLang="it-IT" sz="2900" b="1" i="0" u="none" strike="noStrike" kern="0" cap="none" spc="0" normalizeH="0" baseline="0" noProof="0" dirty="0">
              <a:ln>
                <a:noFill/>
              </a:ln>
              <a:solidFill>
                <a:srgbClr val="012169"/>
              </a:solidFill>
              <a:effectLst/>
              <a:uLnTx/>
              <a:uFillTx/>
              <a:latin typeface="Century Gothic"/>
              <a:ea typeface="+mj-ea"/>
              <a:cs typeface="Arial"/>
            </a:endParaRPr>
          </a:p>
        </p:txBody>
      </p:sp>
      <p:sp>
        <p:nvSpPr>
          <p:cNvPr id="5" name="Subtitle 2"/>
          <p:cNvSpPr>
            <a:spLocks noGrp="1"/>
          </p:cNvSpPr>
          <p:nvPr>
            <p:ph type="subTitle" idx="1"/>
          </p:nvPr>
        </p:nvSpPr>
        <p:spPr bwMode="auto">
          <a:xfrm>
            <a:off x="788988" y="3337895"/>
            <a:ext cx="10355262" cy="992187"/>
          </a:xfr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spcAft>
                <a:spcPts val="600"/>
              </a:spcAft>
            </a:pPr>
            <a:r>
              <a:rPr lang="it-IT" altLang="it-IT" sz="1600" dirty="0" smtClean="0">
                <a:solidFill>
                  <a:srgbClr val="012169"/>
                </a:solidFill>
              </a:rPr>
              <a:t>I controlli ufficiali e le altre attività ufficiali effettuati per garantire l’applicazione della legislazione sugli alimenti e sui mangimi, delle norme sulla salute e sul benessere degli animali, sulla sanità delle piante nonché sui prodotti fitosanitari</a:t>
            </a:r>
            <a:endParaRPr lang="it-IT" altLang="it-IT" sz="1600" dirty="0">
              <a:solidFill>
                <a:srgbClr val="012169"/>
              </a:solidFill>
            </a:endParaRPr>
          </a:p>
        </p:txBody>
      </p:sp>
      <p:pic>
        <p:nvPicPr>
          <p:cNvPr id="3" name="Immagin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74327" y="4820803"/>
            <a:ext cx="2936421" cy="1581150"/>
          </a:xfrm>
          <a:prstGeom prst="rect">
            <a:avLst/>
          </a:prstGeom>
        </p:spPr>
      </p:pic>
    </p:spTree>
    <p:extLst>
      <p:ext uri="{BB962C8B-B14F-4D97-AF65-F5344CB8AC3E}">
        <p14:creationId xmlns:p14="http://schemas.microsoft.com/office/powerpoint/2010/main" val="3277634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kern="0" dirty="0">
                <a:solidFill>
                  <a:srgbClr val="0F2D69"/>
                </a:solidFill>
                <a:latin typeface="Century Gothic"/>
                <a:cs typeface="Arial"/>
              </a:rPr>
              <a:t>8</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La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controperizia</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 Art. 35</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871811"/>
            <a:ext cx="11289190" cy="5632311"/>
          </a:xfrm>
          <a:prstGeom prst="rect">
            <a:avLst/>
          </a:prstGeom>
          <a:noFill/>
          <a:ln>
            <a:solidFill>
              <a:srgbClr val="012169"/>
            </a:solidFill>
          </a:ln>
        </p:spPr>
        <p:txBody>
          <a:bodyPr wrap="square" rtlCol="0" anchor="t">
            <a:spAutoFit/>
          </a:bodyPr>
          <a:lstStyle/>
          <a:p>
            <a:endParaRPr lang="it-IT" dirty="0" smtClean="0">
              <a:solidFill>
                <a:srgbClr val="012169"/>
              </a:solidFill>
              <a:latin typeface="Century Gothic" panose="020B0502020202020204" pitchFamily="34" charset="0"/>
            </a:endParaRPr>
          </a:p>
          <a:p>
            <a:endParaRPr lang="it-IT" dirty="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Le </a:t>
            </a:r>
            <a:r>
              <a:rPr lang="it-IT" dirty="0">
                <a:solidFill>
                  <a:srgbClr val="012169"/>
                </a:solidFill>
                <a:latin typeface="Century Gothic" panose="020B0502020202020204" pitchFamily="34" charset="0"/>
              </a:rPr>
              <a:t>autorità competenti provvedono affinché gli operatori i cui animali o merci sono soggetti a campionamento, analisi, prova o diagnosi nel contesto dei controlli ufficiali </a:t>
            </a:r>
            <a:r>
              <a:rPr lang="it-IT" b="1" dirty="0">
                <a:solidFill>
                  <a:srgbClr val="012169"/>
                </a:solidFill>
                <a:latin typeface="Century Gothic" panose="020B0502020202020204" pitchFamily="34" charset="0"/>
              </a:rPr>
              <a:t>abbiano diritto a una controperizia</a:t>
            </a:r>
            <a:r>
              <a:rPr lang="it-IT" dirty="0">
                <a:solidFill>
                  <a:srgbClr val="012169"/>
                </a:solidFill>
                <a:latin typeface="Century Gothic" panose="020B0502020202020204" pitchFamily="34" charset="0"/>
              </a:rPr>
              <a:t>, a spese dell’operatore. </a:t>
            </a:r>
            <a:r>
              <a:rPr lang="it-IT" dirty="0" smtClean="0">
                <a:solidFill>
                  <a:srgbClr val="012169"/>
                </a:solidFill>
                <a:latin typeface="Century Gothic" panose="020B0502020202020204" pitchFamily="34" charset="0"/>
              </a:rPr>
              <a:t>Tale </a:t>
            </a:r>
            <a:r>
              <a:rPr lang="it-IT" dirty="0">
                <a:solidFill>
                  <a:srgbClr val="012169"/>
                </a:solidFill>
                <a:latin typeface="Century Gothic" panose="020B0502020202020204" pitchFamily="34" charset="0"/>
              </a:rPr>
              <a:t>diritto a una controperizia conferisce all’operatore il </a:t>
            </a:r>
            <a:r>
              <a:rPr lang="it-IT" b="1" dirty="0">
                <a:solidFill>
                  <a:srgbClr val="012169"/>
                </a:solidFill>
                <a:latin typeface="Century Gothic" panose="020B0502020202020204" pitchFamily="34" charset="0"/>
              </a:rPr>
              <a:t>diritto di chiedere un esame documentale del campionamento, dell’analisi, della prova o della diagnosi a cura di un altro perito riconosciuto e adeguatamente qualificato. </a:t>
            </a:r>
            <a:endParaRPr lang="it-IT" b="1" dirty="0" smtClean="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Se </a:t>
            </a:r>
            <a:r>
              <a:rPr lang="it-IT" dirty="0">
                <a:solidFill>
                  <a:srgbClr val="012169"/>
                </a:solidFill>
                <a:latin typeface="Century Gothic" panose="020B0502020202020204" pitchFamily="34" charset="0"/>
              </a:rPr>
              <a:t>opportuno, pertinente e tecnicamente fattibile, in particolare in considerazione della diffusione e della distribuzione del rischio negli animali o nelle merci, della deperibilità dei campioni o delle merci e del quantitativo di substrato disponibile, l’autorità competente: </a:t>
            </a:r>
            <a:r>
              <a:rPr lang="it-IT" b="1" dirty="0">
                <a:solidFill>
                  <a:srgbClr val="012169"/>
                </a:solidFill>
                <a:latin typeface="Century Gothic" panose="020B0502020202020204" pitchFamily="34" charset="0"/>
              </a:rPr>
              <a:t>a)</a:t>
            </a:r>
            <a:r>
              <a:rPr lang="it-IT" dirty="0">
                <a:solidFill>
                  <a:srgbClr val="012169"/>
                </a:solidFill>
                <a:latin typeface="Century Gothic" panose="020B0502020202020204" pitchFamily="34" charset="0"/>
              </a:rPr>
              <a:t> su richiesta dell’operatore, </a:t>
            </a:r>
            <a:r>
              <a:rPr lang="it-IT" b="1" dirty="0">
                <a:solidFill>
                  <a:srgbClr val="012169"/>
                </a:solidFill>
                <a:latin typeface="Century Gothic" panose="020B0502020202020204" pitchFamily="34" charset="0"/>
              </a:rPr>
              <a:t>assicura che nel prelevare i campioni ne sia prelevata una quantità sufficiente per consentire una controperizia e</a:t>
            </a:r>
            <a:r>
              <a:rPr lang="it-IT" dirty="0">
                <a:solidFill>
                  <a:srgbClr val="012169"/>
                </a:solidFill>
                <a:latin typeface="Century Gothic" panose="020B0502020202020204" pitchFamily="34" charset="0"/>
              </a:rPr>
              <a:t>, se dovesse rivelarsi necessario, per l’esame di cui al paragrafo </a:t>
            </a:r>
            <a:r>
              <a:rPr lang="it-IT" dirty="0" smtClean="0">
                <a:solidFill>
                  <a:srgbClr val="012169"/>
                </a:solidFill>
                <a:latin typeface="Century Gothic" panose="020B0502020202020204" pitchFamily="34" charset="0"/>
              </a:rPr>
              <a:t>3 </a:t>
            </a:r>
            <a:r>
              <a:rPr lang="it-IT" b="1" dirty="0" smtClean="0">
                <a:solidFill>
                  <a:srgbClr val="012169"/>
                </a:solidFill>
                <a:latin typeface="Century Gothic" panose="020B0502020202020204" pitchFamily="34" charset="0"/>
              </a:rPr>
              <a:t>(controversia)</a:t>
            </a:r>
            <a:r>
              <a:rPr lang="it-IT" dirty="0" smtClean="0">
                <a:solidFill>
                  <a:srgbClr val="012169"/>
                </a:solidFill>
                <a:latin typeface="Century Gothic" panose="020B0502020202020204" pitchFamily="34" charset="0"/>
              </a:rPr>
              <a:t>; </a:t>
            </a:r>
            <a:r>
              <a:rPr lang="it-IT" dirty="0">
                <a:solidFill>
                  <a:srgbClr val="012169"/>
                </a:solidFill>
                <a:latin typeface="Century Gothic" panose="020B0502020202020204" pitchFamily="34" charset="0"/>
              </a:rPr>
              <a:t>o </a:t>
            </a:r>
            <a:r>
              <a:rPr lang="it-IT" b="1" dirty="0">
                <a:solidFill>
                  <a:srgbClr val="012169"/>
                </a:solidFill>
                <a:latin typeface="Century Gothic" panose="020B0502020202020204" pitchFamily="34" charset="0"/>
              </a:rPr>
              <a:t>b) </a:t>
            </a:r>
            <a:r>
              <a:rPr lang="it-IT" dirty="0">
                <a:solidFill>
                  <a:srgbClr val="012169"/>
                </a:solidFill>
                <a:latin typeface="Century Gothic" panose="020B0502020202020204" pitchFamily="34" charset="0"/>
              </a:rPr>
              <a:t>se non è possibile prelevare una quantità sufficiente di cui alla lettera a), </a:t>
            </a:r>
            <a:r>
              <a:rPr lang="it-IT" b="1" dirty="0">
                <a:solidFill>
                  <a:srgbClr val="012169"/>
                </a:solidFill>
                <a:latin typeface="Century Gothic" panose="020B0502020202020204" pitchFamily="34" charset="0"/>
              </a:rPr>
              <a:t>ne informa l’operatore</a:t>
            </a:r>
            <a:r>
              <a:rPr lang="it-IT" dirty="0">
                <a:solidFill>
                  <a:srgbClr val="012169"/>
                </a:solidFill>
                <a:latin typeface="Century Gothic" panose="020B0502020202020204" pitchFamily="34" charset="0"/>
              </a:rPr>
              <a:t>. </a:t>
            </a:r>
            <a:r>
              <a:rPr lang="it-IT" b="1" dirty="0">
                <a:solidFill>
                  <a:srgbClr val="012169"/>
                </a:solidFill>
                <a:latin typeface="Century Gothic" panose="020B0502020202020204" pitchFamily="34" charset="0"/>
              </a:rPr>
              <a:t>In caso di controversia tra le autorità competenti e gli operatori </a:t>
            </a:r>
            <a:r>
              <a:rPr lang="it-IT" dirty="0">
                <a:solidFill>
                  <a:srgbClr val="012169"/>
                </a:solidFill>
                <a:latin typeface="Century Gothic" panose="020B0502020202020204" pitchFamily="34" charset="0"/>
              </a:rPr>
              <a:t>sulla base della </a:t>
            </a:r>
            <a:r>
              <a:rPr lang="it-IT" b="1" dirty="0">
                <a:solidFill>
                  <a:srgbClr val="012169"/>
                </a:solidFill>
                <a:latin typeface="Century Gothic" panose="020B0502020202020204" pitchFamily="34" charset="0"/>
              </a:rPr>
              <a:t>controperizia </a:t>
            </a:r>
            <a:r>
              <a:rPr lang="it-IT" dirty="0">
                <a:solidFill>
                  <a:srgbClr val="012169"/>
                </a:solidFill>
                <a:latin typeface="Century Gothic" panose="020B0502020202020204" pitchFamily="34" charset="0"/>
              </a:rPr>
              <a:t>di cui al paragrafo 1, gli Stati membri possono decidere che gli operatori abbiano la possibilità di richiedere a proprie spese l’esame documentale dell’analisi, della prova o della diagnosi iniziale e, se del caso, un’altra analisi, prova o diagnosi da parte di un laboratorio ufficiale.</a:t>
            </a:r>
          </a:p>
          <a:p>
            <a:endParaRPr lang="it-IT" dirty="0"/>
          </a:p>
          <a:p>
            <a:endParaRPr lang="it-IT" dirty="0" smtClean="0"/>
          </a:p>
          <a:p>
            <a:endParaRPr lang="it-IT" dirty="0"/>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23207382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kern="0" noProof="0" dirty="0" smtClean="0">
                <a:solidFill>
                  <a:srgbClr val="0F2D69"/>
                </a:solidFill>
                <a:latin typeface="Century Gothic"/>
                <a:cs typeface="Arial"/>
              </a:rPr>
              <a:t>9</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Controll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ufficial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su</a:t>
            </a:r>
            <a:r>
              <a:rPr lang="en-GB" kern="0" dirty="0" err="1" smtClean="0">
                <a:solidFill>
                  <a:srgbClr val="0F2D69"/>
                </a:solidFill>
                <a:latin typeface="Century Gothic"/>
                <a:cs typeface="Arial"/>
              </a:rPr>
              <a:t>gli</a:t>
            </a:r>
            <a:r>
              <a:rPr lang="en-GB" kern="0" dirty="0" smtClean="0">
                <a:solidFill>
                  <a:srgbClr val="0F2D69"/>
                </a:solidFill>
                <a:latin typeface="Century Gothic"/>
                <a:cs typeface="Arial"/>
              </a:rPr>
              <a:t> </a:t>
            </a:r>
            <a:r>
              <a:rPr lang="en-GB" kern="0" dirty="0" err="1" smtClean="0">
                <a:solidFill>
                  <a:srgbClr val="0F2D69"/>
                </a:solidFill>
                <a:latin typeface="Century Gothic"/>
                <a:cs typeface="Arial"/>
              </a:rPr>
              <a:t>animali</a:t>
            </a:r>
            <a:r>
              <a:rPr lang="en-GB" kern="0" dirty="0" smtClean="0">
                <a:solidFill>
                  <a:srgbClr val="0F2D69"/>
                </a:solidFill>
                <a:latin typeface="Century Gothic"/>
                <a:cs typeface="Arial"/>
              </a:rPr>
              <a:t> e </a:t>
            </a:r>
            <a:r>
              <a:rPr lang="en-GB" kern="0" dirty="0" err="1" smtClean="0">
                <a:solidFill>
                  <a:srgbClr val="0F2D69"/>
                </a:solidFill>
                <a:latin typeface="Century Gothic"/>
                <a:cs typeface="Arial"/>
              </a:rPr>
              <a:t>merci</a:t>
            </a:r>
            <a:r>
              <a:rPr lang="en-GB" kern="0" dirty="0" smtClean="0">
                <a:solidFill>
                  <a:srgbClr val="0F2D69"/>
                </a:solidFill>
                <a:latin typeface="Century Gothic"/>
                <a:cs typeface="Arial"/>
              </a:rPr>
              <a:t> in </a:t>
            </a:r>
            <a:r>
              <a:rPr lang="en-GB" kern="0" dirty="0" err="1" smtClean="0">
                <a:solidFill>
                  <a:srgbClr val="0F2D69"/>
                </a:solidFill>
                <a:latin typeface="Century Gothic"/>
                <a:cs typeface="Arial"/>
              </a:rPr>
              <a:t>entrata</a:t>
            </a:r>
            <a:r>
              <a:rPr lang="en-GB" kern="0" dirty="0" smtClean="0">
                <a:solidFill>
                  <a:srgbClr val="0F2D69"/>
                </a:solidFill>
                <a:latin typeface="Century Gothic"/>
                <a:cs typeface="Arial"/>
              </a:rPr>
              <a:t> </a:t>
            </a:r>
            <a:r>
              <a:rPr lang="en-GB" kern="0" dirty="0" err="1" smtClean="0">
                <a:solidFill>
                  <a:srgbClr val="0F2D69"/>
                </a:solidFill>
                <a:latin typeface="Century Gothic"/>
                <a:cs typeface="Arial"/>
              </a:rPr>
              <a:t>nell’Unione</a:t>
            </a:r>
            <a:r>
              <a:rPr lang="en-GB" kern="0" dirty="0" smtClean="0">
                <a:solidFill>
                  <a:srgbClr val="0F2D69"/>
                </a:solidFill>
                <a:latin typeface="Century Gothic"/>
                <a:cs typeface="Arial"/>
              </a:rPr>
              <a:t> </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Artt</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43 - 77</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871811"/>
            <a:ext cx="11289190" cy="7294305"/>
          </a:xfrm>
          <a:prstGeom prst="rect">
            <a:avLst/>
          </a:prstGeom>
          <a:noFill/>
          <a:ln>
            <a:noFill/>
          </a:ln>
        </p:spPr>
        <p:txBody>
          <a:bodyPr wrap="square" rtlCol="0" anchor="t">
            <a:spAutoFit/>
          </a:bodyPr>
          <a:lstStyle/>
          <a:p>
            <a:r>
              <a:rPr lang="it-IT" dirty="0">
                <a:solidFill>
                  <a:srgbClr val="012169"/>
                </a:solidFill>
                <a:latin typeface="Century Gothic" panose="020B0502020202020204" pitchFamily="34" charset="0"/>
              </a:rPr>
              <a:t>In caso di </a:t>
            </a:r>
            <a:r>
              <a:rPr lang="it-IT" b="1" dirty="0">
                <a:solidFill>
                  <a:srgbClr val="012169"/>
                </a:solidFill>
                <a:latin typeface="Century Gothic" panose="020B0502020202020204" pitchFamily="34" charset="0"/>
              </a:rPr>
              <a:t>sospetta non conformità </a:t>
            </a:r>
            <a:r>
              <a:rPr lang="it-IT" dirty="0">
                <a:solidFill>
                  <a:srgbClr val="012169"/>
                </a:solidFill>
                <a:latin typeface="Century Gothic" panose="020B0502020202020204" pitchFamily="34" charset="0"/>
              </a:rPr>
              <a:t>di partite di </a:t>
            </a:r>
            <a:r>
              <a:rPr lang="it-IT" b="1" dirty="0">
                <a:solidFill>
                  <a:srgbClr val="012169"/>
                </a:solidFill>
                <a:latin typeface="Century Gothic" panose="020B0502020202020204" pitchFamily="34" charset="0"/>
              </a:rPr>
              <a:t>animali e merci che entrano nell’Unione </a:t>
            </a:r>
            <a:r>
              <a:rPr lang="it-IT" dirty="0">
                <a:solidFill>
                  <a:srgbClr val="012169"/>
                </a:solidFill>
                <a:latin typeface="Century Gothic" panose="020B0502020202020204" pitchFamily="34" charset="0"/>
              </a:rPr>
              <a:t>le autorità competenti effettuano controlli ufficiali per confermare il sospetto o dimostrarne l’infondatezza. </a:t>
            </a:r>
            <a:endParaRPr lang="it-IT" dirty="0" smtClean="0">
              <a:solidFill>
                <a:srgbClr val="012169"/>
              </a:solidFill>
              <a:latin typeface="Century Gothic" panose="020B0502020202020204" pitchFamily="34" charset="0"/>
            </a:endParaRPr>
          </a:p>
          <a:p>
            <a:endParaRPr lang="it-IT" dirty="0" smtClean="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I </a:t>
            </a:r>
            <a:r>
              <a:rPr lang="it-IT" dirty="0">
                <a:solidFill>
                  <a:srgbClr val="012169"/>
                </a:solidFill>
                <a:latin typeface="Century Gothic" panose="020B0502020202020204" pitchFamily="34" charset="0"/>
              </a:rPr>
              <a:t>controlli veterinari degli </a:t>
            </a:r>
            <a:r>
              <a:rPr lang="it-IT" b="1" dirty="0">
                <a:solidFill>
                  <a:srgbClr val="012169"/>
                </a:solidFill>
                <a:latin typeface="Century Gothic" panose="020B0502020202020204" pitchFamily="34" charset="0"/>
              </a:rPr>
              <a:t>animali</a:t>
            </a:r>
            <a:r>
              <a:rPr lang="it-IT" dirty="0">
                <a:solidFill>
                  <a:srgbClr val="012169"/>
                </a:solidFill>
                <a:latin typeface="Century Gothic" panose="020B0502020202020204" pitchFamily="34" charset="0"/>
              </a:rPr>
              <a:t>, dei </a:t>
            </a:r>
            <a:r>
              <a:rPr lang="it-IT" b="1" dirty="0">
                <a:solidFill>
                  <a:srgbClr val="012169"/>
                </a:solidFill>
                <a:latin typeface="Century Gothic" panose="020B0502020202020204" pitchFamily="34" charset="0"/>
              </a:rPr>
              <a:t>prodotti di origine animale</a:t>
            </a:r>
            <a:r>
              <a:rPr lang="it-IT" dirty="0">
                <a:solidFill>
                  <a:srgbClr val="012169"/>
                </a:solidFill>
                <a:latin typeface="Century Gothic" panose="020B0502020202020204" pitchFamily="34" charset="0"/>
              </a:rPr>
              <a:t>, dei </a:t>
            </a:r>
            <a:r>
              <a:rPr lang="it-IT" b="1" dirty="0">
                <a:solidFill>
                  <a:srgbClr val="012169"/>
                </a:solidFill>
                <a:latin typeface="Century Gothic" panose="020B0502020202020204" pitchFamily="34" charset="0"/>
              </a:rPr>
              <a:t>prodotti di origine non animale </a:t>
            </a:r>
            <a:r>
              <a:rPr lang="it-IT" dirty="0">
                <a:solidFill>
                  <a:srgbClr val="012169"/>
                </a:solidFill>
                <a:latin typeface="Century Gothic" panose="020B0502020202020204" pitchFamily="34" charset="0"/>
              </a:rPr>
              <a:t>e dei </a:t>
            </a:r>
            <a:r>
              <a:rPr lang="it-IT" b="1" dirty="0">
                <a:solidFill>
                  <a:srgbClr val="012169"/>
                </a:solidFill>
                <a:latin typeface="Century Gothic" panose="020B0502020202020204" pitchFamily="34" charset="0"/>
              </a:rPr>
              <a:t>materiali e oggetti destinati a venire a contatto con alimenti (MOCA) </a:t>
            </a:r>
            <a:r>
              <a:rPr lang="it-IT" dirty="0">
                <a:solidFill>
                  <a:srgbClr val="012169"/>
                </a:solidFill>
                <a:latin typeface="Century Gothic" panose="020B0502020202020204" pitchFamily="34" charset="0"/>
              </a:rPr>
              <a:t>provenienti da Paesi extra UE sono effettuati presso i </a:t>
            </a:r>
            <a:r>
              <a:rPr lang="it-IT" b="1" dirty="0">
                <a:solidFill>
                  <a:srgbClr val="012169"/>
                </a:solidFill>
                <a:latin typeface="Century Gothic" panose="020B0502020202020204" pitchFamily="34" charset="0"/>
              </a:rPr>
              <a:t>Posti di Controllo Frontalieri (PCF)</a:t>
            </a:r>
            <a:r>
              <a:rPr lang="it-IT" dirty="0">
                <a:solidFill>
                  <a:srgbClr val="012169"/>
                </a:solidFill>
                <a:latin typeface="Century Gothic" panose="020B0502020202020204" pitchFamily="34" charset="0"/>
              </a:rPr>
              <a:t> dell’UE situati negli Stati </a:t>
            </a:r>
            <a:r>
              <a:rPr lang="it-IT" dirty="0" smtClean="0">
                <a:solidFill>
                  <a:srgbClr val="012169"/>
                </a:solidFill>
                <a:latin typeface="Century Gothic" panose="020B0502020202020204" pitchFamily="34" charset="0"/>
              </a:rPr>
              <a:t>Membri. </a:t>
            </a:r>
            <a:r>
              <a:rPr lang="it-IT" dirty="0">
                <a:solidFill>
                  <a:srgbClr val="012169"/>
                </a:solidFill>
                <a:latin typeface="Century Gothic" panose="020B0502020202020204" pitchFamily="34" charset="0"/>
              </a:rPr>
              <a:t>Tali controlli sono finalizzati a </a:t>
            </a:r>
            <a:r>
              <a:rPr lang="it-IT" b="1" dirty="0">
                <a:solidFill>
                  <a:srgbClr val="012169"/>
                </a:solidFill>
                <a:latin typeface="Century Gothic" panose="020B0502020202020204" pitchFamily="34" charset="0"/>
              </a:rPr>
              <a:t>garantire la sicurezza delle merci in ingresso nell’Unione Europea </a:t>
            </a:r>
            <a:r>
              <a:rPr lang="it-IT" dirty="0">
                <a:solidFill>
                  <a:srgbClr val="012169"/>
                </a:solidFill>
                <a:latin typeface="Century Gothic" panose="020B0502020202020204" pitchFamily="34" charset="0"/>
              </a:rPr>
              <a:t>e ad evitare la diffusione di eventuali malattie umane e degli animali connesse all’introduzione di animali o loro prodotti</a:t>
            </a:r>
            <a:r>
              <a:rPr lang="it-IT" dirty="0" smtClean="0">
                <a:solidFill>
                  <a:srgbClr val="012169"/>
                </a:solidFill>
                <a:latin typeface="Century Gothic" panose="020B0502020202020204" pitchFamily="34" charset="0"/>
              </a:rPr>
              <a:t>.</a:t>
            </a:r>
          </a:p>
          <a:p>
            <a:endParaRPr lang="it-IT" dirty="0" smtClean="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Le </a:t>
            </a:r>
            <a:r>
              <a:rPr lang="it-IT" dirty="0">
                <a:solidFill>
                  <a:srgbClr val="012169"/>
                </a:solidFill>
                <a:latin typeface="Century Gothic" panose="020B0502020202020204" pitchFamily="34" charset="0"/>
              </a:rPr>
              <a:t>autorità competenti dispongono il blocco ufficiale di qualsiasi partita di animali o merci che entra nell’Unione che sia non conforme alla normativa di cui all’articolo 1, paragrafo 2, e ne rifiutano l’ingresso </a:t>
            </a:r>
            <a:r>
              <a:rPr lang="it-IT" dirty="0" smtClean="0">
                <a:solidFill>
                  <a:srgbClr val="012169"/>
                </a:solidFill>
                <a:latin typeface="Century Gothic" panose="020B0502020202020204" pitchFamily="34" charset="0"/>
              </a:rPr>
              <a:t>nell’Unione.</a:t>
            </a:r>
            <a:endParaRPr lang="it-IT" dirty="0">
              <a:solidFill>
                <a:srgbClr val="012169"/>
              </a:solidFill>
              <a:latin typeface="Century Gothic" panose="020B0502020202020204" pitchFamily="34" charset="0"/>
            </a:endParaRPr>
          </a:p>
          <a:p>
            <a:r>
              <a:rPr lang="it-IT" dirty="0">
                <a:solidFill>
                  <a:srgbClr val="012169"/>
                </a:solidFill>
                <a:latin typeface="Century Gothic" panose="020B0502020202020204" pitchFamily="34" charset="0"/>
              </a:rPr>
              <a:t>L’autorità competente, per quanto riguarda la partita di cui al paragrafo 1, ordina senza indugio all’operatore responsabile della partita di: a) </a:t>
            </a:r>
            <a:r>
              <a:rPr lang="it-IT" b="1" dirty="0">
                <a:solidFill>
                  <a:srgbClr val="012169"/>
                </a:solidFill>
                <a:latin typeface="Century Gothic" panose="020B0502020202020204" pitchFamily="34" charset="0"/>
              </a:rPr>
              <a:t>distruggere la partita</a:t>
            </a:r>
            <a:r>
              <a:rPr lang="it-IT" dirty="0">
                <a:solidFill>
                  <a:srgbClr val="012169"/>
                </a:solidFill>
                <a:latin typeface="Century Gothic" panose="020B0502020202020204" pitchFamily="34" charset="0"/>
              </a:rPr>
              <a:t>; b) </a:t>
            </a:r>
            <a:r>
              <a:rPr lang="it-IT" b="1" dirty="0">
                <a:solidFill>
                  <a:srgbClr val="012169"/>
                </a:solidFill>
                <a:latin typeface="Century Gothic" panose="020B0502020202020204" pitchFamily="34" charset="0"/>
              </a:rPr>
              <a:t>rinviare la partita al di fuori dell’Unione</a:t>
            </a:r>
            <a:r>
              <a:rPr lang="it-IT" dirty="0">
                <a:solidFill>
                  <a:srgbClr val="012169"/>
                </a:solidFill>
                <a:latin typeface="Century Gothic" panose="020B0502020202020204" pitchFamily="34" charset="0"/>
              </a:rPr>
              <a:t>; o c) </a:t>
            </a:r>
            <a:r>
              <a:rPr lang="it-IT" b="1" dirty="0">
                <a:solidFill>
                  <a:srgbClr val="012169"/>
                </a:solidFill>
                <a:latin typeface="Century Gothic" panose="020B0502020202020204" pitchFamily="34" charset="0"/>
              </a:rPr>
              <a:t>sottoporre la partita ad un trattamento speciale o a qualsiasi altra misura necessaria per garantire la conformità alla normativa </a:t>
            </a:r>
            <a:r>
              <a:rPr lang="it-IT" dirty="0">
                <a:solidFill>
                  <a:srgbClr val="012169"/>
                </a:solidFill>
                <a:latin typeface="Century Gothic" panose="020B0502020202020204" pitchFamily="34" charset="0"/>
              </a:rPr>
              <a:t>di cui all’articolo 1, paragrafo 2, e, ove opportuno, di </a:t>
            </a:r>
            <a:r>
              <a:rPr lang="it-IT" b="1" dirty="0">
                <a:solidFill>
                  <a:srgbClr val="012169"/>
                </a:solidFill>
                <a:latin typeface="Century Gothic" panose="020B0502020202020204" pitchFamily="34" charset="0"/>
              </a:rPr>
              <a:t>destinare la partita ad usi diversi da quelli previsti originariamente</a:t>
            </a:r>
            <a:r>
              <a:rPr lang="it-IT" dirty="0">
                <a:solidFill>
                  <a:srgbClr val="012169"/>
                </a:solidFill>
                <a:latin typeface="Century Gothic" panose="020B0502020202020204" pitchFamily="34" charset="0"/>
              </a:rPr>
              <a:t>.</a:t>
            </a:r>
          </a:p>
          <a:p>
            <a:r>
              <a:rPr lang="it-IT" dirty="0">
                <a:solidFill>
                  <a:srgbClr val="012169"/>
                </a:solidFill>
                <a:latin typeface="Century Gothic" panose="020B0502020202020204" pitchFamily="34" charset="0"/>
              </a:rPr>
              <a:t/>
            </a:r>
            <a:br>
              <a:rPr lang="it-IT" dirty="0">
                <a:solidFill>
                  <a:srgbClr val="012169"/>
                </a:solidFill>
                <a:latin typeface="Century Gothic" panose="020B0502020202020204" pitchFamily="34" charset="0"/>
              </a:rPr>
            </a:br>
            <a:r>
              <a:rPr lang="it-IT" dirty="0">
                <a:solidFill>
                  <a:srgbClr val="012169"/>
                </a:solidFill>
                <a:latin typeface="Century Gothic" panose="020B0502020202020204" pitchFamily="34" charset="0"/>
              </a:rPr>
              <a:t>I PCF sono uffici periferici del Ministero della Salute e fanno parte integrante di una rete di PCF dell’Unione Europea (Normativa italiana di adeguamento </a:t>
            </a:r>
            <a:r>
              <a:rPr lang="it-IT" dirty="0">
                <a:solidFill>
                  <a:srgbClr val="012169"/>
                </a:solidFill>
                <a:latin typeface="Century Gothic" panose="020B0502020202020204" pitchFamily="34" charset="0"/>
                <a:sym typeface="Wingdings" panose="05000000000000000000" pitchFamily="2" charset="2"/>
              </a:rPr>
              <a:t> </a:t>
            </a:r>
            <a:r>
              <a:rPr lang="it-IT" b="1" dirty="0" err="1">
                <a:solidFill>
                  <a:srgbClr val="012169"/>
                </a:solidFill>
                <a:latin typeface="Century Gothic" panose="020B0502020202020204" pitchFamily="34" charset="0"/>
              </a:rPr>
              <a:t>D.lgs</a:t>
            </a:r>
            <a:r>
              <a:rPr lang="it-IT" b="1" dirty="0">
                <a:solidFill>
                  <a:srgbClr val="012169"/>
                </a:solidFill>
                <a:latin typeface="Century Gothic" panose="020B0502020202020204" pitchFamily="34" charset="0"/>
              </a:rPr>
              <a:t> 24/2021</a:t>
            </a:r>
            <a:r>
              <a:rPr lang="it-IT" dirty="0">
                <a:solidFill>
                  <a:srgbClr val="012169"/>
                </a:solidFill>
                <a:latin typeface="Century Gothic" panose="020B0502020202020204" pitchFamily="34" charset="0"/>
              </a:rPr>
              <a:t>)</a:t>
            </a:r>
          </a:p>
          <a:p>
            <a:endParaRPr lang="it-IT" dirty="0" smtClean="0">
              <a:solidFill>
                <a:srgbClr val="012169"/>
              </a:solidFill>
              <a:latin typeface="Century Gothic" panose="020B0502020202020204" pitchFamily="34" charset="0"/>
            </a:endParaRPr>
          </a:p>
          <a:p>
            <a:endParaRPr lang="it-IT" dirty="0">
              <a:solidFill>
                <a:srgbClr val="012169"/>
              </a:solidFill>
              <a:latin typeface="Century Gothic" panose="020B0502020202020204" pitchFamily="34" charset="0"/>
            </a:endParaRPr>
          </a:p>
          <a:p>
            <a:endParaRPr lang="it-IT" dirty="0"/>
          </a:p>
          <a:p>
            <a:endParaRPr lang="it-IT" dirty="0" smtClean="0"/>
          </a:p>
          <a:p>
            <a:endParaRPr lang="it-IT" dirty="0"/>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8712744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Left Arrow 17"/>
          <p:cNvSpPr/>
          <p:nvPr/>
        </p:nvSpPr>
        <p:spPr>
          <a:xfrm rot="10800000">
            <a:off x="293210" y="875900"/>
            <a:ext cx="6242344" cy="5707780"/>
          </a:xfrm>
          <a:prstGeom prst="leftArrow">
            <a:avLst>
              <a:gd name="adj1" fmla="val 100000"/>
              <a:gd name="adj2" fmla="val 8621"/>
            </a:avLst>
          </a:prstGeom>
          <a:solidFill>
            <a:schemeClr val="bg1">
              <a:lumMod val="95000"/>
            </a:schemeClr>
          </a:solidFill>
          <a:ln>
            <a:solidFill>
              <a:srgbClr val="812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Chevron 9"/>
          <p:cNvSpPr/>
          <p:nvPr/>
        </p:nvSpPr>
        <p:spPr>
          <a:xfrm>
            <a:off x="5941997" y="1195555"/>
            <a:ext cx="770021" cy="4682243"/>
          </a:xfrm>
          <a:prstGeom prst="chevron">
            <a:avLst>
              <a:gd name="adj" fmla="val 65385"/>
            </a:avLst>
          </a:prstGeom>
          <a:solidFill>
            <a:srgbClr val="812143"/>
          </a:solidFill>
          <a:ln>
            <a:solidFill>
              <a:srgbClr val="812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10. IMSOC: Information</a:t>
            </a:r>
            <a:r>
              <a:rPr kumimoji="0" lang="en-GB" sz="2200" b="1" i="0" u="none" strike="noStrike" kern="0" cap="none" spc="0" normalizeH="0" noProof="0" dirty="0" smtClean="0">
                <a:ln>
                  <a:noFill/>
                </a:ln>
                <a:solidFill>
                  <a:srgbClr val="0F2D69"/>
                </a:solidFill>
                <a:effectLst/>
                <a:uLnTx/>
                <a:uFillTx/>
                <a:latin typeface="Century Gothic"/>
                <a:ea typeface="+mj-ea"/>
                <a:cs typeface="Arial"/>
              </a:rPr>
              <a:t> management system for official control</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12" name="Rectangle 11"/>
          <p:cNvSpPr/>
          <p:nvPr/>
        </p:nvSpPr>
        <p:spPr bwMode="auto">
          <a:xfrm>
            <a:off x="6919313" y="930584"/>
            <a:ext cx="4576411" cy="5707781"/>
          </a:xfrm>
          <a:prstGeom prst="rect">
            <a:avLst/>
          </a:prstGeom>
          <a:noFill/>
          <a:ln w="19050" algn="ctr">
            <a:solidFill>
              <a:srgbClr val="812143"/>
            </a:solidFill>
            <a:miter lim="800000"/>
            <a:headEnd/>
            <a:tailEnd/>
          </a:ln>
        </p:spPr>
        <p:txBody>
          <a:bodyPr wrap="square" lIns="88900" tIns="88900" rIns="88900" bIns="88900" rtlCol="0" anchor="ctr"/>
          <a:lstStyle/>
          <a:p>
            <a:pPr algn="ctr"/>
            <a:r>
              <a:rPr lang="it-IT" sz="2000" b="1" dirty="0" smtClean="0">
                <a:solidFill>
                  <a:srgbClr val="012169"/>
                </a:solidFill>
                <a:latin typeface="Century Gothic" panose="020B0502020202020204" pitchFamily="34" charset="0"/>
              </a:rPr>
              <a:t>Opportunità</a:t>
            </a:r>
          </a:p>
          <a:p>
            <a:pPr marL="361950"/>
            <a:endParaRPr lang="it-IT" dirty="0" smtClean="0">
              <a:solidFill>
                <a:srgbClr val="012169"/>
              </a:solidFill>
              <a:latin typeface="Century Gothic" panose="020B0502020202020204" pitchFamily="34" charset="0"/>
            </a:endParaRPr>
          </a:p>
          <a:p>
            <a:pPr marL="361950">
              <a:buFont typeface="Arial" panose="020B0604020202020204" pitchFamily="34" charset="0"/>
              <a:buChar char="•"/>
            </a:pPr>
            <a:r>
              <a:rPr lang="it-IT" dirty="0" smtClean="0">
                <a:solidFill>
                  <a:srgbClr val="012169"/>
                </a:solidFill>
                <a:latin typeface="Century Gothic" panose="020B0502020202020204" pitchFamily="34" charset="0"/>
              </a:rPr>
              <a:t>Semplificare </a:t>
            </a:r>
            <a:r>
              <a:rPr lang="it-IT" dirty="0">
                <a:solidFill>
                  <a:srgbClr val="012169"/>
                </a:solidFill>
                <a:latin typeface="Century Gothic" panose="020B0502020202020204" pitchFamily="34" charset="0"/>
              </a:rPr>
              <a:t>il processo di controllo nel mercato unico dell'UE </a:t>
            </a:r>
            <a:endParaRPr lang="it-IT" dirty="0" smtClean="0">
              <a:solidFill>
                <a:srgbClr val="012169"/>
              </a:solidFill>
              <a:latin typeface="Century Gothic" panose="020B0502020202020204" pitchFamily="34" charset="0"/>
            </a:endParaRPr>
          </a:p>
          <a:p>
            <a:pPr marL="361950"/>
            <a:endParaRPr lang="it-IT" dirty="0" smtClean="0">
              <a:solidFill>
                <a:srgbClr val="012169"/>
              </a:solidFill>
              <a:latin typeface="Century Gothic" panose="020B0502020202020204" pitchFamily="34" charset="0"/>
            </a:endParaRPr>
          </a:p>
          <a:p>
            <a:pPr marL="361950">
              <a:buFont typeface="Arial" panose="020B0604020202020204" pitchFamily="34" charset="0"/>
              <a:buChar char="•"/>
            </a:pPr>
            <a:r>
              <a:rPr lang="it-IT" dirty="0" smtClean="0">
                <a:solidFill>
                  <a:srgbClr val="012169"/>
                </a:solidFill>
                <a:latin typeface="Century Gothic" panose="020B0502020202020204" pitchFamily="34" charset="0"/>
              </a:rPr>
              <a:t>Opportunità </a:t>
            </a:r>
            <a:r>
              <a:rPr lang="it-IT" dirty="0" err="1">
                <a:solidFill>
                  <a:srgbClr val="012169"/>
                </a:solidFill>
                <a:latin typeface="Century Gothic" panose="020B0502020202020204" pitchFamily="34" charset="0"/>
              </a:rPr>
              <a:t>paperless</a:t>
            </a:r>
            <a:r>
              <a:rPr lang="it-IT" dirty="0">
                <a:solidFill>
                  <a:srgbClr val="012169"/>
                </a:solidFill>
                <a:latin typeface="Century Gothic" panose="020B0502020202020204" pitchFamily="34" charset="0"/>
              </a:rPr>
              <a:t> per una maggiore efficienza </a:t>
            </a:r>
            <a:endParaRPr lang="it-IT" dirty="0" smtClean="0">
              <a:solidFill>
                <a:srgbClr val="012169"/>
              </a:solidFill>
              <a:latin typeface="Century Gothic" panose="020B0502020202020204" pitchFamily="34" charset="0"/>
            </a:endParaRPr>
          </a:p>
          <a:p>
            <a:pPr marL="361950">
              <a:buFont typeface="Arial" panose="020B0604020202020204" pitchFamily="34" charset="0"/>
              <a:buChar char="•"/>
            </a:pPr>
            <a:endParaRPr lang="it-IT" dirty="0" smtClean="0">
              <a:solidFill>
                <a:srgbClr val="012169"/>
              </a:solidFill>
              <a:latin typeface="Century Gothic" panose="020B0502020202020204" pitchFamily="34" charset="0"/>
            </a:endParaRPr>
          </a:p>
          <a:p>
            <a:pPr marL="361950">
              <a:buFont typeface="Arial" panose="020B0604020202020204" pitchFamily="34" charset="0"/>
              <a:buChar char="•"/>
            </a:pPr>
            <a:r>
              <a:rPr lang="it-IT" dirty="0" smtClean="0">
                <a:solidFill>
                  <a:srgbClr val="012169"/>
                </a:solidFill>
                <a:latin typeface="Century Gothic" panose="020B0502020202020204" pitchFamily="34" charset="0"/>
              </a:rPr>
              <a:t>Allineare </a:t>
            </a:r>
            <a:r>
              <a:rPr lang="it-IT" dirty="0">
                <a:solidFill>
                  <a:srgbClr val="012169"/>
                </a:solidFill>
                <a:latin typeface="Century Gothic" panose="020B0502020202020204" pitchFamily="34" charset="0"/>
              </a:rPr>
              <a:t>le prestazioni di controllo </a:t>
            </a:r>
            <a:endParaRPr lang="it-IT" dirty="0" smtClean="0">
              <a:solidFill>
                <a:srgbClr val="012169"/>
              </a:solidFill>
              <a:latin typeface="Century Gothic" panose="020B0502020202020204" pitchFamily="34" charset="0"/>
            </a:endParaRPr>
          </a:p>
          <a:p>
            <a:pPr marL="361950">
              <a:buFont typeface="Arial" panose="020B0604020202020204" pitchFamily="34" charset="0"/>
              <a:buChar char="•"/>
            </a:pPr>
            <a:endParaRPr lang="it-IT" dirty="0" smtClean="0">
              <a:solidFill>
                <a:srgbClr val="012169"/>
              </a:solidFill>
              <a:latin typeface="Century Gothic" panose="020B0502020202020204" pitchFamily="34" charset="0"/>
            </a:endParaRPr>
          </a:p>
          <a:p>
            <a:pPr marL="361950">
              <a:buFont typeface="Arial" panose="020B0604020202020204" pitchFamily="34" charset="0"/>
              <a:buChar char="•"/>
            </a:pPr>
            <a:r>
              <a:rPr lang="it-IT" dirty="0" smtClean="0">
                <a:solidFill>
                  <a:srgbClr val="012169"/>
                </a:solidFill>
                <a:latin typeface="Century Gothic" panose="020B0502020202020204" pitchFamily="34" charset="0"/>
              </a:rPr>
              <a:t>Attuare </a:t>
            </a:r>
            <a:r>
              <a:rPr lang="it-IT" dirty="0">
                <a:solidFill>
                  <a:srgbClr val="012169"/>
                </a:solidFill>
                <a:latin typeface="Century Gothic" panose="020B0502020202020204" pitchFamily="34" charset="0"/>
              </a:rPr>
              <a:t>meglio le restrizioni di accesso nell'UE in caso di </a:t>
            </a:r>
            <a:r>
              <a:rPr lang="it-IT" dirty="0" smtClean="0">
                <a:solidFill>
                  <a:srgbClr val="012169"/>
                </a:solidFill>
                <a:latin typeface="Century Gothic" panose="020B0502020202020204" pitchFamily="34" charset="0"/>
              </a:rPr>
              <a:t>problemi</a:t>
            </a:r>
          </a:p>
          <a:p>
            <a:pPr marL="361950">
              <a:buFont typeface="Arial" panose="020B0604020202020204" pitchFamily="34" charset="0"/>
              <a:buChar char="•"/>
            </a:pPr>
            <a:endParaRPr lang="it-IT" dirty="0" smtClean="0">
              <a:solidFill>
                <a:srgbClr val="012169"/>
              </a:solidFill>
              <a:latin typeface="Century Gothic" panose="020B0502020202020204" pitchFamily="34" charset="0"/>
            </a:endParaRPr>
          </a:p>
          <a:p>
            <a:pPr marL="361950">
              <a:buFont typeface="Arial" panose="020B0604020202020204" pitchFamily="34" charset="0"/>
              <a:buChar char="•"/>
            </a:pPr>
            <a:r>
              <a:rPr lang="it-IT" dirty="0" smtClean="0">
                <a:solidFill>
                  <a:srgbClr val="012169"/>
                </a:solidFill>
                <a:latin typeface="Century Gothic" panose="020B0502020202020204" pitchFamily="34" charset="0"/>
              </a:rPr>
              <a:t>Alimentare </a:t>
            </a:r>
            <a:r>
              <a:rPr lang="it-IT" dirty="0">
                <a:solidFill>
                  <a:srgbClr val="012169"/>
                </a:solidFill>
                <a:latin typeface="Century Gothic" panose="020B0502020202020204" pitchFamily="34" charset="0"/>
              </a:rPr>
              <a:t>una base di conoscenza comune </a:t>
            </a:r>
            <a:endParaRPr lang="it-IT" dirty="0" smtClean="0">
              <a:solidFill>
                <a:srgbClr val="012169"/>
              </a:solidFill>
              <a:latin typeface="Century Gothic" panose="020B0502020202020204" pitchFamily="34" charset="0"/>
            </a:endParaRPr>
          </a:p>
          <a:p>
            <a:pPr marL="361950">
              <a:buFont typeface="Arial" panose="020B0604020202020204" pitchFamily="34" charset="0"/>
              <a:buChar char="•"/>
            </a:pPr>
            <a:endParaRPr lang="it-IT" dirty="0" smtClean="0">
              <a:solidFill>
                <a:srgbClr val="012169"/>
              </a:solidFill>
              <a:latin typeface="Century Gothic" panose="020B0502020202020204" pitchFamily="34" charset="0"/>
            </a:endParaRPr>
          </a:p>
          <a:p>
            <a:pPr marL="361950">
              <a:buFont typeface="Arial" panose="020B0604020202020204" pitchFamily="34" charset="0"/>
              <a:buChar char="•"/>
            </a:pPr>
            <a:r>
              <a:rPr lang="it-IT" dirty="0" smtClean="0">
                <a:solidFill>
                  <a:srgbClr val="012169"/>
                </a:solidFill>
                <a:latin typeface="Century Gothic" panose="020B0502020202020204" pitchFamily="34" charset="0"/>
              </a:rPr>
              <a:t>Analisi </a:t>
            </a:r>
            <a:r>
              <a:rPr lang="it-IT" dirty="0">
                <a:solidFill>
                  <a:srgbClr val="012169"/>
                </a:solidFill>
                <a:latin typeface="Century Gothic" panose="020B0502020202020204" pitchFamily="34" charset="0"/>
              </a:rPr>
              <a:t>predittiva per meglio indirizzare i controlli e allineare le prestazioni.</a:t>
            </a:r>
          </a:p>
        </p:txBody>
      </p:sp>
      <p:sp>
        <p:nvSpPr>
          <p:cNvPr id="26" name="Oval 25"/>
          <p:cNvSpPr/>
          <p:nvPr/>
        </p:nvSpPr>
        <p:spPr>
          <a:xfrm>
            <a:off x="9066084" y="653995"/>
            <a:ext cx="431562" cy="483697"/>
          </a:xfrm>
          <a:prstGeom prst="ellipse">
            <a:avLst/>
          </a:prstGeom>
          <a:solidFill>
            <a:schemeClr val="bg1"/>
          </a:solidFill>
          <a:ln>
            <a:solidFill>
              <a:srgbClr val="812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320"/>
          <p:cNvSpPr>
            <a:spLocks noEditPoints="1"/>
          </p:cNvSpPr>
          <p:nvPr/>
        </p:nvSpPr>
        <p:spPr bwMode="auto">
          <a:xfrm>
            <a:off x="9207518" y="763565"/>
            <a:ext cx="148694" cy="224669"/>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solidFill>
            <a:srgbClr val="81214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2" name="CasellaDiTesto 1"/>
          <p:cNvSpPr txBox="1"/>
          <p:nvPr/>
        </p:nvSpPr>
        <p:spPr>
          <a:xfrm>
            <a:off x="293210" y="930584"/>
            <a:ext cx="5648788" cy="5632311"/>
          </a:xfrm>
          <a:prstGeom prst="rect">
            <a:avLst/>
          </a:prstGeom>
          <a:noFill/>
        </p:spPr>
        <p:txBody>
          <a:bodyPr wrap="square" rtlCol="0">
            <a:spAutoFit/>
          </a:bodyPr>
          <a:lstStyle/>
          <a:p>
            <a:r>
              <a:rPr lang="it-IT" b="1" dirty="0" smtClean="0">
                <a:solidFill>
                  <a:srgbClr val="012169"/>
                </a:solidFill>
                <a:latin typeface="Century Gothic" panose="020B0502020202020204" pitchFamily="34" charset="0"/>
              </a:rPr>
              <a:t>Funzionamento </a:t>
            </a:r>
            <a:r>
              <a:rPr lang="it-IT" b="1" dirty="0">
                <a:solidFill>
                  <a:srgbClr val="012169"/>
                </a:solidFill>
                <a:latin typeface="Century Gothic" panose="020B0502020202020204" pitchFamily="34" charset="0"/>
              </a:rPr>
              <a:t>integrato dei meccanismi e degli strumenti attraverso i quali sono elaborati, trattati e scambiati in modo automatico i dati, le informazioni e i documenti relativi ai controlli ufficiali e ad altre attività ufficiali. </a:t>
            </a:r>
            <a:endParaRPr lang="it-IT" b="1" dirty="0" smtClean="0">
              <a:solidFill>
                <a:srgbClr val="012169"/>
              </a:solidFill>
              <a:latin typeface="Century Gothic" panose="020B0502020202020204" pitchFamily="34" charset="0"/>
            </a:endParaRPr>
          </a:p>
          <a:p>
            <a:endParaRPr lang="it-IT" dirty="0" smtClean="0">
              <a:solidFill>
                <a:srgbClr val="012169"/>
              </a:solidFill>
              <a:latin typeface="Century Gothic" panose="020B0502020202020204" pitchFamily="34" charset="0"/>
            </a:endParaRPr>
          </a:p>
          <a:p>
            <a:r>
              <a:rPr lang="it-IT" b="1" dirty="0" smtClean="0">
                <a:solidFill>
                  <a:srgbClr val="012169"/>
                </a:solidFill>
                <a:latin typeface="Century Gothic" panose="020B0502020202020204" pitchFamily="34" charset="0"/>
              </a:rPr>
              <a:t>Integra </a:t>
            </a:r>
            <a:r>
              <a:rPr lang="it-IT" dirty="0">
                <a:solidFill>
                  <a:srgbClr val="012169"/>
                </a:solidFill>
                <a:latin typeface="Century Gothic" panose="020B0502020202020204" pitchFamily="34" charset="0"/>
              </a:rPr>
              <a:t>ed </a:t>
            </a:r>
            <a:r>
              <a:rPr lang="it-IT" b="1" dirty="0">
                <a:solidFill>
                  <a:srgbClr val="012169"/>
                </a:solidFill>
                <a:latin typeface="Century Gothic" panose="020B0502020202020204" pitchFamily="34" charset="0"/>
              </a:rPr>
              <a:t>aggiorna </a:t>
            </a:r>
            <a:r>
              <a:rPr lang="it-IT" dirty="0">
                <a:solidFill>
                  <a:srgbClr val="012169"/>
                </a:solidFill>
                <a:latin typeface="Century Gothic" panose="020B0502020202020204" pitchFamily="34" charset="0"/>
              </a:rPr>
              <a:t>gli </a:t>
            </a:r>
            <a:r>
              <a:rPr lang="it-IT" b="1" dirty="0">
                <a:solidFill>
                  <a:srgbClr val="012169"/>
                </a:solidFill>
                <a:latin typeface="Century Gothic" panose="020B0502020202020204" pitchFamily="34" charset="0"/>
              </a:rPr>
              <a:t>attuali sistemi informatici </a:t>
            </a:r>
            <a:r>
              <a:rPr lang="it-IT" dirty="0">
                <a:solidFill>
                  <a:srgbClr val="012169"/>
                </a:solidFill>
                <a:latin typeface="Century Gothic" panose="020B0502020202020204" pitchFamily="34" charset="0"/>
              </a:rPr>
              <a:t>gestiti dalla Commissione per scambiare dati, informazioni e documenti sui controlli </a:t>
            </a:r>
            <a:r>
              <a:rPr lang="it-IT" dirty="0" smtClean="0">
                <a:solidFill>
                  <a:srgbClr val="012169"/>
                </a:solidFill>
                <a:latin typeface="Century Gothic" panose="020B0502020202020204" pitchFamily="34" charset="0"/>
              </a:rPr>
              <a:t>ufficiali, </a:t>
            </a:r>
            <a:r>
              <a:rPr lang="it-IT" dirty="0">
                <a:solidFill>
                  <a:srgbClr val="012169"/>
                </a:solidFill>
                <a:latin typeface="Century Gothic" panose="020B0502020202020204" pitchFamily="34" charset="0"/>
              </a:rPr>
              <a:t>è collegato al sistema TRACES e gestisce dati personali e i data </a:t>
            </a:r>
            <a:r>
              <a:rPr lang="it-IT" dirty="0" smtClean="0">
                <a:solidFill>
                  <a:srgbClr val="012169"/>
                </a:solidFill>
                <a:latin typeface="Century Gothic" panose="020B0502020202020204" pitchFamily="34" charset="0"/>
              </a:rPr>
              <a:t>security. </a:t>
            </a:r>
          </a:p>
          <a:p>
            <a:r>
              <a:rPr lang="it-IT" dirty="0" smtClean="0">
                <a:solidFill>
                  <a:srgbClr val="012169"/>
                </a:solidFill>
                <a:latin typeface="Century Gothic" panose="020B0502020202020204" pitchFamily="34" charset="0"/>
              </a:rPr>
              <a:t>Le </a:t>
            </a:r>
            <a:r>
              <a:rPr lang="it-IT" dirty="0">
                <a:solidFill>
                  <a:srgbClr val="012169"/>
                </a:solidFill>
                <a:latin typeface="Century Gothic" panose="020B0502020202020204" pitchFamily="34" charset="0"/>
              </a:rPr>
              <a:t>componenti del sistema comprendono: </a:t>
            </a:r>
            <a:endParaRPr lang="it-IT" dirty="0" smtClean="0">
              <a:solidFill>
                <a:srgbClr val="012169"/>
              </a:solidFill>
              <a:latin typeface="Century Gothic" panose="020B0502020202020204" pitchFamily="34" charset="0"/>
            </a:endParaRPr>
          </a:p>
          <a:p>
            <a:pPr marL="285750" indent="-285750">
              <a:buFontTx/>
              <a:buChar char="-"/>
            </a:pPr>
            <a:r>
              <a:rPr lang="it-IT" b="1" dirty="0" smtClean="0">
                <a:solidFill>
                  <a:srgbClr val="012169"/>
                </a:solidFill>
                <a:latin typeface="Century Gothic" panose="020B0502020202020204" pitchFamily="34" charset="0"/>
              </a:rPr>
              <a:t>attività </a:t>
            </a:r>
            <a:r>
              <a:rPr lang="it-IT" b="1" dirty="0">
                <a:solidFill>
                  <a:srgbClr val="012169"/>
                </a:solidFill>
                <a:latin typeface="Century Gothic" panose="020B0502020202020204" pitchFamily="34" charset="0"/>
              </a:rPr>
              <a:t>di certificazione </a:t>
            </a:r>
            <a:r>
              <a:rPr lang="it-IT" dirty="0">
                <a:solidFill>
                  <a:srgbClr val="012169"/>
                </a:solidFill>
                <a:latin typeface="Century Gothic" panose="020B0502020202020204" pitchFamily="34" charset="0"/>
              </a:rPr>
              <a:t>(animali, prodotti di origine animale, biologici, piante, legname, pescato); </a:t>
            </a:r>
            <a:r>
              <a:rPr lang="it-IT" dirty="0" smtClean="0">
                <a:solidFill>
                  <a:srgbClr val="012169"/>
                </a:solidFill>
                <a:latin typeface="Century Gothic" panose="020B0502020202020204" pitchFamily="34" charset="0"/>
              </a:rPr>
              <a:t> </a:t>
            </a:r>
          </a:p>
          <a:p>
            <a:pPr marL="285750" indent="-285750">
              <a:buFontTx/>
              <a:buChar char="-"/>
            </a:pPr>
            <a:r>
              <a:rPr lang="it-IT" b="1" dirty="0" smtClean="0">
                <a:solidFill>
                  <a:srgbClr val="012169"/>
                </a:solidFill>
                <a:latin typeface="Century Gothic" panose="020B0502020202020204" pitchFamily="34" charset="0"/>
              </a:rPr>
              <a:t>gestione </a:t>
            </a:r>
            <a:r>
              <a:rPr lang="it-IT" b="1" dirty="0">
                <a:solidFill>
                  <a:srgbClr val="012169"/>
                </a:solidFill>
                <a:latin typeface="Century Gothic" panose="020B0502020202020204" pitchFamily="34" charset="0"/>
              </a:rPr>
              <a:t>delle allerte RASFF </a:t>
            </a:r>
            <a:r>
              <a:rPr lang="it-IT" dirty="0">
                <a:solidFill>
                  <a:srgbClr val="012169"/>
                </a:solidFill>
                <a:latin typeface="Century Gothic" panose="020B0502020202020204" pitchFamily="34" charset="0"/>
              </a:rPr>
              <a:t>(esseri umani, piante, animali) e </a:t>
            </a:r>
            <a:r>
              <a:rPr lang="it-IT" b="1" dirty="0">
                <a:solidFill>
                  <a:srgbClr val="012169"/>
                </a:solidFill>
                <a:latin typeface="Century Gothic" panose="020B0502020202020204" pitchFamily="34" charset="0"/>
              </a:rPr>
              <a:t>assistenza amministrativa e cooperazione </a:t>
            </a:r>
            <a:r>
              <a:rPr lang="it-IT" dirty="0" smtClean="0">
                <a:solidFill>
                  <a:srgbClr val="012169"/>
                </a:solidFill>
                <a:latin typeface="Century Gothic" panose="020B0502020202020204" pitchFamily="34" charset="0"/>
              </a:rPr>
              <a:t>per </a:t>
            </a:r>
            <a:r>
              <a:rPr lang="it-IT" dirty="0">
                <a:solidFill>
                  <a:srgbClr val="012169"/>
                </a:solidFill>
                <a:latin typeface="Century Gothic" panose="020B0502020202020204" pitchFamily="34" charset="0"/>
              </a:rPr>
              <a:t>salute pubblica, non conformità e sospetto di frode; </a:t>
            </a:r>
            <a:endParaRPr lang="it-IT" dirty="0" smtClean="0">
              <a:solidFill>
                <a:srgbClr val="012169"/>
              </a:solidFill>
              <a:latin typeface="Century Gothic" panose="020B0502020202020204" pitchFamily="34" charset="0"/>
            </a:endParaRPr>
          </a:p>
          <a:p>
            <a:pPr marL="285750" indent="-285750">
              <a:buFontTx/>
              <a:buChar char="-"/>
            </a:pPr>
            <a:r>
              <a:rPr lang="it-IT" b="1" dirty="0" smtClean="0">
                <a:solidFill>
                  <a:srgbClr val="012169"/>
                </a:solidFill>
                <a:latin typeface="Century Gothic" panose="020B0502020202020204" pitchFamily="34" charset="0"/>
              </a:rPr>
              <a:t>notifiche </a:t>
            </a:r>
            <a:r>
              <a:rPr lang="it-IT" b="1" dirty="0">
                <a:solidFill>
                  <a:srgbClr val="012169"/>
                </a:solidFill>
                <a:latin typeface="Century Gothic" panose="020B0502020202020204" pitchFamily="34" charset="0"/>
              </a:rPr>
              <a:t>dei focolai infettivi </a:t>
            </a:r>
            <a:r>
              <a:rPr lang="it-IT" dirty="0">
                <a:solidFill>
                  <a:srgbClr val="012169"/>
                </a:solidFill>
                <a:latin typeface="Century Gothic" panose="020B0502020202020204" pitchFamily="34" charset="0"/>
              </a:rPr>
              <a:t>(animali e piante). </a:t>
            </a:r>
          </a:p>
        </p:txBody>
      </p:sp>
      <p:pic>
        <p:nvPicPr>
          <p:cNvPr id="9" name="Immagin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56474"/>
            <a:ext cx="1606338" cy="864951"/>
          </a:xfrm>
          <a:prstGeom prst="rect">
            <a:avLst/>
          </a:prstGeom>
        </p:spPr>
      </p:pic>
    </p:spTree>
    <p:extLst>
      <p:ext uri="{BB962C8B-B14F-4D97-AF65-F5344CB8AC3E}">
        <p14:creationId xmlns:p14="http://schemas.microsoft.com/office/powerpoint/2010/main" val="13473889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11. </a:t>
            </a:r>
            <a:r>
              <a:rPr lang="it-IT" kern="0" dirty="0" smtClean="0">
                <a:solidFill>
                  <a:srgbClr val="0F2D69"/>
                </a:solidFill>
                <a:latin typeface="Century Gothic"/>
                <a:cs typeface="Arial"/>
              </a:rPr>
              <a:t>Azioni esecutive in caso di accertata non conformità. Art. 138</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5" name="Rectangle 4"/>
          <p:cNvSpPr/>
          <p:nvPr/>
        </p:nvSpPr>
        <p:spPr bwMode="auto">
          <a:xfrm>
            <a:off x="293210" y="895350"/>
            <a:ext cx="11555890" cy="2195580"/>
          </a:xfrm>
          <a:prstGeom prst="rect">
            <a:avLst/>
          </a:prstGeom>
          <a:noFill/>
          <a:ln w="19050" algn="ctr">
            <a:solidFill>
              <a:srgbClr val="812143"/>
            </a:solidFill>
            <a:miter lim="800000"/>
            <a:headEnd/>
            <a:tailEnd/>
          </a:ln>
        </p:spPr>
        <p:txBody>
          <a:bodyPr wrap="square" lIns="88900" tIns="88900" rIns="88900" bIns="88900" rtlCol="0" anchor="t"/>
          <a:lstStyle/>
          <a:p>
            <a:r>
              <a:rPr lang="it-IT" dirty="0">
                <a:solidFill>
                  <a:srgbClr val="012169"/>
                </a:solidFill>
                <a:latin typeface="Century Gothic" panose="020B0502020202020204" pitchFamily="34" charset="0"/>
              </a:rPr>
              <a:t>Se il caso di non conformità è accertato, le autorità competenti: </a:t>
            </a:r>
            <a:endParaRPr lang="it-IT" dirty="0" smtClean="0">
              <a:solidFill>
                <a:srgbClr val="012169"/>
              </a:solidFill>
              <a:latin typeface="Century Gothic" panose="020B0502020202020204" pitchFamily="34" charset="0"/>
            </a:endParaRPr>
          </a:p>
          <a:p>
            <a:pPr marL="342900" indent="-342900">
              <a:buAutoNum type="alphaLcParenR"/>
            </a:pPr>
            <a:r>
              <a:rPr lang="it-IT" dirty="0" smtClean="0">
                <a:solidFill>
                  <a:srgbClr val="012169"/>
                </a:solidFill>
                <a:latin typeface="Century Gothic" panose="020B0502020202020204" pitchFamily="34" charset="0"/>
              </a:rPr>
              <a:t>intraprendono </a:t>
            </a:r>
            <a:r>
              <a:rPr lang="it-IT" dirty="0">
                <a:solidFill>
                  <a:srgbClr val="012169"/>
                </a:solidFill>
                <a:latin typeface="Century Gothic" panose="020B0502020202020204" pitchFamily="34" charset="0"/>
              </a:rPr>
              <a:t>ogni </a:t>
            </a:r>
            <a:r>
              <a:rPr lang="it-IT" b="1" dirty="0">
                <a:solidFill>
                  <a:srgbClr val="012169"/>
                </a:solidFill>
                <a:latin typeface="Century Gothic" panose="020B0502020202020204" pitchFamily="34" charset="0"/>
              </a:rPr>
              <a:t>azione necessaria </a:t>
            </a:r>
            <a:r>
              <a:rPr lang="it-IT" dirty="0">
                <a:solidFill>
                  <a:srgbClr val="012169"/>
                </a:solidFill>
                <a:latin typeface="Century Gothic" panose="020B0502020202020204" pitchFamily="34" charset="0"/>
              </a:rPr>
              <a:t>al fine di </a:t>
            </a:r>
            <a:r>
              <a:rPr lang="it-IT" b="1" dirty="0">
                <a:solidFill>
                  <a:srgbClr val="012169"/>
                </a:solidFill>
                <a:latin typeface="Century Gothic" panose="020B0502020202020204" pitchFamily="34" charset="0"/>
              </a:rPr>
              <a:t>determinare l’origine e l’entità </a:t>
            </a:r>
            <a:r>
              <a:rPr lang="it-IT" dirty="0">
                <a:solidFill>
                  <a:srgbClr val="012169"/>
                </a:solidFill>
                <a:latin typeface="Century Gothic" panose="020B0502020202020204" pitchFamily="34" charset="0"/>
              </a:rPr>
              <a:t>della non conformità e per </a:t>
            </a:r>
            <a:r>
              <a:rPr lang="it-IT" b="1" dirty="0">
                <a:solidFill>
                  <a:srgbClr val="012169"/>
                </a:solidFill>
                <a:latin typeface="Century Gothic" panose="020B0502020202020204" pitchFamily="34" charset="0"/>
              </a:rPr>
              <a:t>stabilire le responsabilità </a:t>
            </a:r>
            <a:r>
              <a:rPr lang="it-IT" dirty="0">
                <a:solidFill>
                  <a:srgbClr val="012169"/>
                </a:solidFill>
                <a:latin typeface="Century Gothic" panose="020B0502020202020204" pitchFamily="34" charset="0"/>
              </a:rPr>
              <a:t>dell’operatore; </a:t>
            </a:r>
            <a:endParaRPr lang="it-IT" dirty="0" smtClean="0">
              <a:solidFill>
                <a:srgbClr val="012169"/>
              </a:solidFill>
              <a:latin typeface="Century Gothic" panose="020B0502020202020204" pitchFamily="34" charset="0"/>
            </a:endParaRPr>
          </a:p>
          <a:p>
            <a:pPr marL="342900" indent="-342900">
              <a:buAutoNum type="alphaLcParenR"/>
            </a:pPr>
            <a:r>
              <a:rPr lang="it-IT" dirty="0" smtClean="0">
                <a:solidFill>
                  <a:srgbClr val="012169"/>
                </a:solidFill>
                <a:latin typeface="Century Gothic" panose="020B0502020202020204" pitchFamily="34" charset="0"/>
              </a:rPr>
              <a:t>adottano </a:t>
            </a:r>
            <a:r>
              <a:rPr lang="it-IT" dirty="0">
                <a:solidFill>
                  <a:srgbClr val="012169"/>
                </a:solidFill>
                <a:latin typeface="Century Gothic" panose="020B0502020202020204" pitchFamily="34" charset="0"/>
              </a:rPr>
              <a:t>le </a:t>
            </a:r>
            <a:r>
              <a:rPr lang="it-IT" b="1" dirty="0">
                <a:solidFill>
                  <a:srgbClr val="012169"/>
                </a:solidFill>
                <a:latin typeface="Century Gothic" panose="020B0502020202020204" pitchFamily="34" charset="0"/>
              </a:rPr>
              <a:t>misure opportune </a:t>
            </a:r>
            <a:r>
              <a:rPr lang="it-IT" dirty="0">
                <a:solidFill>
                  <a:srgbClr val="012169"/>
                </a:solidFill>
                <a:latin typeface="Century Gothic" panose="020B0502020202020204" pitchFamily="34" charset="0"/>
              </a:rPr>
              <a:t>per assicurare che l’operatore interessato </a:t>
            </a:r>
            <a:r>
              <a:rPr lang="it-IT" b="1" dirty="0">
                <a:solidFill>
                  <a:srgbClr val="012169"/>
                </a:solidFill>
                <a:latin typeface="Century Gothic" panose="020B0502020202020204" pitchFamily="34" charset="0"/>
              </a:rPr>
              <a:t>ponga rimedio </a:t>
            </a:r>
            <a:r>
              <a:rPr lang="it-IT" dirty="0">
                <a:solidFill>
                  <a:srgbClr val="012169"/>
                </a:solidFill>
                <a:latin typeface="Century Gothic" panose="020B0502020202020204" pitchFamily="34" charset="0"/>
              </a:rPr>
              <a:t>ai casi di non conformità e </a:t>
            </a:r>
            <a:r>
              <a:rPr lang="it-IT" b="1" dirty="0">
                <a:solidFill>
                  <a:srgbClr val="012169"/>
                </a:solidFill>
                <a:latin typeface="Century Gothic" panose="020B0502020202020204" pitchFamily="34" charset="0"/>
              </a:rPr>
              <a:t>ne impedisca il ripetersi</a:t>
            </a:r>
            <a:r>
              <a:rPr lang="it-IT" dirty="0">
                <a:solidFill>
                  <a:srgbClr val="012169"/>
                </a:solidFill>
                <a:latin typeface="Century Gothic" panose="020B0502020202020204" pitchFamily="34" charset="0"/>
              </a:rPr>
              <a:t>. Nel decidere le misure da adottare, le autorità competenti tengono conto della </a:t>
            </a:r>
            <a:r>
              <a:rPr lang="it-IT" b="1" dirty="0">
                <a:solidFill>
                  <a:srgbClr val="012169"/>
                </a:solidFill>
                <a:latin typeface="Century Gothic" panose="020B0502020202020204" pitchFamily="34" charset="0"/>
              </a:rPr>
              <a:t>natura di tale non conformità </a:t>
            </a:r>
            <a:r>
              <a:rPr lang="it-IT" dirty="0">
                <a:solidFill>
                  <a:srgbClr val="012169"/>
                </a:solidFill>
                <a:latin typeface="Century Gothic" panose="020B0502020202020204" pitchFamily="34" charset="0"/>
              </a:rPr>
              <a:t>e dei </a:t>
            </a:r>
            <a:r>
              <a:rPr lang="it-IT" b="1" dirty="0">
                <a:solidFill>
                  <a:srgbClr val="012169"/>
                </a:solidFill>
                <a:latin typeface="Century Gothic" panose="020B0502020202020204" pitchFamily="34" charset="0"/>
              </a:rPr>
              <a:t>precedenti dell’operatore </a:t>
            </a:r>
            <a:r>
              <a:rPr lang="it-IT" dirty="0">
                <a:solidFill>
                  <a:srgbClr val="012169"/>
                </a:solidFill>
                <a:latin typeface="Century Gothic" panose="020B0502020202020204" pitchFamily="34" charset="0"/>
              </a:rPr>
              <a:t>per quanto riguarda la </a:t>
            </a:r>
            <a:r>
              <a:rPr lang="it-IT" dirty="0" smtClean="0">
                <a:solidFill>
                  <a:srgbClr val="012169"/>
                </a:solidFill>
                <a:latin typeface="Century Gothic" panose="020B0502020202020204" pitchFamily="34" charset="0"/>
              </a:rPr>
              <a:t>conformità.</a:t>
            </a:r>
            <a:endParaRPr lang="it-IT" dirty="0">
              <a:solidFill>
                <a:srgbClr val="012169"/>
              </a:solidFill>
              <a:latin typeface="Century Gothic" panose="020B0502020202020204" pitchFamily="34" charset="0"/>
            </a:endParaRPr>
          </a:p>
        </p:txBody>
      </p:sp>
      <p:pic>
        <p:nvPicPr>
          <p:cNvPr id="6" name="Immagin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12487263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12. Segue… </a:t>
            </a:r>
            <a:r>
              <a:rPr lang="it-IT" kern="0" dirty="0" smtClean="0">
                <a:solidFill>
                  <a:srgbClr val="0F2D69"/>
                </a:solidFill>
                <a:latin typeface="Century Gothic"/>
                <a:cs typeface="Arial"/>
              </a:rPr>
              <a:t>Azioni esecutive in caso di accertata non conformità. Art.138</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5" name="Rectangle 4"/>
          <p:cNvSpPr/>
          <p:nvPr/>
        </p:nvSpPr>
        <p:spPr bwMode="auto">
          <a:xfrm>
            <a:off x="293210" y="895350"/>
            <a:ext cx="11555890" cy="5581650"/>
          </a:xfrm>
          <a:prstGeom prst="rect">
            <a:avLst/>
          </a:prstGeom>
          <a:noFill/>
          <a:ln w="19050" algn="ctr">
            <a:solidFill>
              <a:srgbClr val="812143"/>
            </a:solidFill>
            <a:miter lim="800000"/>
            <a:headEnd/>
            <a:tailEnd/>
          </a:ln>
        </p:spPr>
        <p:txBody>
          <a:bodyPr wrap="square" lIns="88900" tIns="88900" rIns="88900" bIns="88900" rtlCol="0" anchor="ctr"/>
          <a:lstStyle/>
          <a:p>
            <a:r>
              <a:rPr lang="it-IT" dirty="0" smtClean="0">
                <a:solidFill>
                  <a:srgbClr val="012169"/>
                </a:solidFill>
                <a:latin typeface="Century Gothic" panose="020B0502020202020204" pitchFamily="34" charset="0"/>
              </a:rPr>
              <a:t>Le </a:t>
            </a:r>
            <a:r>
              <a:rPr lang="it-IT" dirty="0">
                <a:solidFill>
                  <a:srgbClr val="012169"/>
                </a:solidFill>
                <a:latin typeface="Century Gothic" panose="020B0502020202020204" pitchFamily="34" charset="0"/>
              </a:rPr>
              <a:t>autorità competenti adottano ogni provvedimento che ritengono opportuno per garantire la conformità alla normativa di cui all’articolo 1, paragrafo 2, tra cui i seguenti: </a:t>
            </a:r>
            <a:endParaRPr lang="it-IT" dirty="0" smtClean="0">
              <a:solidFill>
                <a:srgbClr val="012169"/>
              </a:solidFill>
              <a:latin typeface="Century Gothic" panose="020B0502020202020204" pitchFamily="34" charset="0"/>
            </a:endParaRPr>
          </a:p>
          <a:p>
            <a:r>
              <a:rPr lang="it-IT" b="1" dirty="0" smtClean="0">
                <a:solidFill>
                  <a:srgbClr val="012169"/>
                </a:solidFill>
                <a:latin typeface="Century Gothic" panose="020B0502020202020204" pitchFamily="34" charset="0"/>
              </a:rPr>
              <a:t>a</a:t>
            </a:r>
            <a:r>
              <a:rPr lang="it-IT" b="1" dirty="0">
                <a:solidFill>
                  <a:srgbClr val="012169"/>
                </a:solidFill>
                <a:latin typeface="Century Gothic" panose="020B0502020202020204" pitchFamily="34" charset="0"/>
              </a:rPr>
              <a:t>) </a:t>
            </a:r>
            <a:r>
              <a:rPr lang="it-IT" dirty="0">
                <a:solidFill>
                  <a:srgbClr val="012169"/>
                </a:solidFill>
                <a:latin typeface="Century Gothic" panose="020B0502020202020204" pitchFamily="34" charset="0"/>
              </a:rPr>
              <a:t>dispongono o eseguono </a:t>
            </a:r>
            <a:r>
              <a:rPr lang="it-IT" b="1" dirty="0">
                <a:solidFill>
                  <a:srgbClr val="012169"/>
                </a:solidFill>
                <a:latin typeface="Century Gothic" panose="020B0502020202020204" pitchFamily="34" charset="0"/>
              </a:rPr>
              <a:t>trattamenti su animali</a:t>
            </a:r>
            <a:r>
              <a:rPr lang="it-IT" dirty="0">
                <a:solidFill>
                  <a:srgbClr val="012169"/>
                </a:solidFill>
                <a:latin typeface="Century Gothic" panose="020B0502020202020204" pitchFamily="34" charset="0"/>
              </a:rPr>
              <a:t>;</a:t>
            </a:r>
            <a:r>
              <a:rPr lang="it-IT" b="1" dirty="0">
                <a:solidFill>
                  <a:srgbClr val="012169"/>
                </a:solidFill>
                <a:latin typeface="Century Gothic" panose="020B0502020202020204" pitchFamily="34" charset="0"/>
              </a:rPr>
              <a:t> b) </a:t>
            </a:r>
            <a:r>
              <a:rPr lang="it-IT" dirty="0">
                <a:solidFill>
                  <a:srgbClr val="012169"/>
                </a:solidFill>
                <a:latin typeface="Century Gothic" panose="020B0502020202020204" pitchFamily="34" charset="0"/>
              </a:rPr>
              <a:t>dispongono lo scarico, il trasbordo su un altro mezzo di trasporto, la detenzione e cura, i periodi di quarantena, il rinvio dell’abbattimento degli animali, e se necessario, dispongono il ricorso ad assistenza veterinaria; </a:t>
            </a:r>
            <a:r>
              <a:rPr lang="it-IT" b="1" dirty="0">
                <a:solidFill>
                  <a:srgbClr val="012169"/>
                </a:solidFill>
                <a:latin typeface="Century Gothic" panose="020B0502020202020204" pitchFamily="34" charset="0"/>
              </a:rPr>
              <a:t>c)</a:t>
            </a:r>
            <a:r>
              <a:rPr lang="it-IT" dirty="0">
                <a:solidFill>
                  <a:srgbClr val="012169"/>
                </a:solidFill>
                <a:latin typeface="Century Gothic" panose="020B0502020202020204" pitchFamily="34" charset="0"/>
              </a:rPr>
              <a:t> dispongono </a:t>
            </a:r>
            <a:r>
              <a:rPr lang="it-IT" b="1" dirty="0">
                <a:solidFill>
                  <a:srgbClr val="012169"/>
                </a:solidFill>
                <a:latin typeface="Century Gothic" panose="020B0502020202020204" pitchFamily="34" charset="0"/>
              </a:rPr>
              <a:t>i trattamenti sulle merci</a:t>
            </a:r>
            <a:r>
              <a:rPr lang="it-IT" dirty="0">
                <a:solidFill>
                  <a:srgbClr val="012169"/>
                </a:solidFill>
                <a:latin typeface="Century Gothic" panose="020B0502020202020204" pitchFamily="34" charset="0"/>
              </a:rPr>
              <a:t>, la </a:t>
            </a:r>
            <a:r>
              <a:rPr lang="it-IT" b="1" dirty="0">
                <a:solidFill>
                  <a:srgbClr val="012169"/>
                </a:solidFill>
                <a:latin typeface="Century Gothic" panose="020B0502020202020204" pitchFamily="34" charset="0"/>
              </a:rPr>
              <a:t>modifica delle etichette </a:t>
            </a:r>
            <a:r>
              <a:rPr lang="it-IT" dirty="0">
                <a:solidFill>
                  <a:srgbClr val="012169"/>
                </a:solidFill>
                <a:latin typeface="Century Gothic" panose="020B0502020202020204" pitchFamily="34" charset="0"/>
              </a:rPr>
              <a:t>o le informazioni correttive da fornire ai consumatori; </a:t>
            </a:r>
            <a:r>
              <a:rPr lang="it-IT" b="1" dirty="0">
                <a:solidFill>
                  <a:srgbClr val="012169"/>
                </a:solidFill>
                <a:latin typeface="Century Gothic" panose="020B0502020202020204" pitchFamily="34" charset="0"/>
              </a:rPr>
              <a:t>d) limitano o vietano l’immissione in commercio</a:t>
            </a:r>
            <a:r>
              <a:rPr lang="it-IT" dirty="0">
                <a:solidFill>
                  <a:srgbClr val="012169"/>
                </a:solidFill>
                <a:latin typeface="Century Gothic" panose="020B0502020202020204" pitchFamily="34" charset="0"/>
              </a:rPr>
              <a:t>, lo spostamento, l’ingresso nell’Unione o l’esportazione di animali e di merci e ne vietano o ne dispongono il ritorno nello Stato membro di spedizione; </a:t>
            </a:r>
            <a:r>
              <a:rPr lang="it-IT" b="1" dirty="0">
                <a:solidFill>
                  <a:srgbClr val="012169"/>
                </a:solidFill>
                <a:latin typeface="Century Gothic" panose="020B0502020202020204" pitchFamily="34" charset="0"/>
              </a:rPr>
              <a:t>e) </a:t>
            </a:r>
            <a:r>
              <a:rPr lang="it-IT" dirty="0">
                <a:solidFill>
                  <a:srgbClr val="012169"/>
                </a:solidFill>
                <a:latin typeface="Century Gothic" panose="020B0502020202020204" pitchFamily="34" charset="0"/>
              </a:rPr>
              <a:t>dispongono che </a:t>
            </a:r>
            <a:r>
              <a:rPr lang="it-IT" b="1" dirty="0">
                <a:solidFill>
                  <a:srgbClr val="012169"/>
                </a:solidFill>
                <a:latin typeface="Century Gothic" panose="020B0502020202020204" pitchFamily="34" charset="0"/>
              </a:rPr>
              <a:t>l’operatore aumenti la frequenza dei propri </a:t>
            </a:r>
            <a:r>
              <a:rPr lang="it-IT" b="1" dirty="0" smtClean="0">
                <a:solidFill>
                  <a:srgbClr val="012169"/>
                </a:solidFill>
                <a:latin typeface="Century Gothic" panose="020B0502020202020204" pitchFamily="34" charset="0"/>
              </a:rPr>
              <a:t>controlli</a:t>
            </a:r>
            <a:r>
              <a:rPr lang="it-IT" dirty="0" smtClean="0">
                <a:solidFill>
                  <a:srgbClr val="012169"/>
                </a:solidFill>
                <a:latin typeface="Century Gothic" panose="020B0502020202020204" pitchFamily="34" charset="0"/>
              </a:rPr>
              <a:t>; </a:t>
            </a:r>
            <a:r>
              <a:rPr lang="it-IT" b="1" dirty="0" smtClean="0">
                <a:solidFill>
                  <a:srgbClr val="012169"/>
                </a:solidFill>
                <a:latin typeface="Century Gothic" panose="020B0502020202020204" pitchFamily="34" charset="0"/>
              </a:rPr>
              <a:t>f) </a:t>
            </a:r>
            <a:r>
              <a:rPr lang="it-IT" dirty="0" smtClean="0">
                <a:solidFill>
                  <a:srgbClr val="012169"/>
                </a:solidFill>
                <a:latin typeface="Century Gothic" panose="020B0502020202020204" pitchFamily="34" charset="0"/>
              </a:rPr>
              <a:t>dispongono che determinate attività dell’operatore interessato siano soggette a controlli ufficiali più numerosi o sistematici; </a:t>
            </a:r>
            <a:r>
              <a:rPr lang="it-IT" b="1" dirty="0" smtClean="0">
                <a:solidFill>
                  <a:srgbClr val="012169"/>
                </a:solidFill>
                <a:latin typeface="Century Gothic" panose="020B0502020202020204" pitchFamily="34" charset="0"/>
              </a:rPr>
              <a:t>g) </a:t>
            </a:r>
            <a:r>
              <a:rPr lang="it-IT" dirty="0" smtClean="0">
                <a:solidFill>
                  <a:srgbClr val="012169"/>
                </a:solidFill>
                <a:latin typeface="Century Gothic" panose="020B0502020202020204" pitchFamily="34" charset="0"/>
              </a:rPr>
              <a:t>dispongono </a:t>
            </a:r>
            <a:r>
              <a:rPr lang="it-IT" dirty="0">
                <a:solidFill>
                  <a:srgbClr val="012169"/>
                </a:solidFill>
                <a:latin typeface="Century Gothic" panose="020B0502020202020204" pitchFamily="34" charset="0"/>
              </a:rPr>
              <a:t>il </a:t>
            </a:r>
            <a:r>
              <a:rPr lang="it-IT" b="1" dirty="0">
                <a:solidFill>
                  <a:srgbClr val="012169"/>
                </a:solidFill>
                <a:latin typeface="Century Gothic" panose="020B0502020202020204" pitchFamily="34" charset="0"/>
              </a:rPr>
              <a:t>richiamo, il ritiro, la rimozione e la distruzione di merci</a:t>
            </a:r>
            <a:r>
              <a:rPr lang="it-IT" dirty="0">
                <a:solidFill>
                  <a:srgbClr val="012169"/>
                </a:solidFill>
                <a:latin typeface="Century Gothic" panose="020B0502020202020204" pitchFamily="34" charset="0"/>
              </a:rPr>
              <a:t>, autorizzando se del caso, il loro impiego per fini diversi da quelli originariamente previsti; </a:t>
            </a:r>
            <a:r>
              <a:rPr lang="it-IT" b="1" dirty="0">
                <a:solidFill>
                  <a:srgbClr val="012169"/>
                </a:solidFill>
                <a:latin typeface="Century Gothic" panose="020B0502020202020204" pitchFamily="34" charset="0"/>
              </a:rPr>
              <a:t>h) </a:t>
            </a:r>
            <a:r>
              <a:rPr lang="it-IT" dirty="0">
                <a:solidFill>
                  <a:srgbClr val="012169"/>
                </a:solidFill>
                <a:latin typeface="Century Gothic" panose="020B0502020202020204" pitchFamily="34" charset="0"/>
              </a:rPr>
              <a:t>dispongono </a:t>
            </a:r>
            <a:r>
              <a:rPr lang="it-IT" b="1" dirty="0">
                <a:solidFill>
                  <a:srgbClr val="012169"/>
                </a:solidFill>
                <a:latin typeface="Century Gothic" panose="020B0502020202020204" pitchFamily="34" charset="0"/>
              </a:rPr>
              <a:t>l’isolamento o la chiusura</a:t>
            </a:r>
            <a:r>
              <a:rPr lang="it-IT" dirty="0">
                <a:solidFill>
                  <a:srgbClr val="012169"/>
                </a:solidFill>
                <a:latin typeface="Century Gothic" panose="020B0502020202020204" pitchFamily="34" charset="0"/>
              </a:rPr>
              <a:t>, per un periodo di tempo appropriato, </a:t>
            </a:r>
            <a:r>
              <a:rPr lang="it-IT" b="1" dirty="0">
                <a:solidFill>
                  <a:srgbClr val="012169"/>
                </a:solidFill>
                <a:latin typeface="Century Gothic" panose="020B0502020202020204" pitchFamily="34" charset="0"/>
              </a:rPr>
              <a:t>della totalità o di una parte delle attività dell’operatore </a:t>
            </a:r>
            <a:r>
              <a:rPr lang="it-IT" dirty="0">
                <a:solidFill>
                  <a:srgbClr val="012169"/>
                </a:solidFill>
                <a:latin typeface="Century Gothic" panose="020B0502020202020204" pitchFamily="34" charset="0"/>
              </a:rPr>
              <a:t>interessato o dei suoi stabilimenti, sedi o altri locali; </a:t>
            </a:r>
            <a:r>
              <a:rPr lang="it-IT" b="1" dirty="0">
                <a:solidFill>
                  <a:srgbClr val="012169"/>
                </a:solidFill>
                <a:latin typeface="Century Gothic" panose="020B0502020202020204" pitchFamily="34" charset="0"/>
              </a:rPr>
              <a:t>i) </a:t>
            </a:r>
            <a:r>
              <a:rPr lang="it-IT" dirty="0">
                <a:solidFill>
                  <a:srgbClr val="012169"/>
                </a:solidFill>
                <a:latin typeface="Century Gothic" panose="020B0502020202020204" pitchFamily="34" charset="0"/>
              </a:rPr>
              <a:t>dispongono la </a:t>
            </a:r>
            <a:r>
              <a:rPr lang="it-IT" b="1" dirty="0">
                <a:solidFill>
                  <a:srgbClr val="012169"/>
                </a:solidFill>
                <a:latin typeface="Century Gothic" panose="020B0502020202020204" pitchFamily="34" charset="0"/>
              </a:rPr>
              <a:t>cessazione </a:t>
            </a:r>
            <a:r>
              <a:rPr lang="it-IT" dirty="0">
                <a:solidFill>
                  <a:srgbClr val="012169"/>
                </a:solidFill>
                <a:latin typeface="Century Gothic" panose="020B0502020202020204" pitchFamily="34" charset="0"/>
              </a:rPr>
              <a:t>per un periodo di tempo appropriato </a:t>
            </a:r>
            <a:r>
              <a:rPr lang="it-IT" b="1" dirty="0">
                <a:solidFill>
                  <a:srgbClr val="012169"/>
                </a:solidFill>
                <a:latin typeface="Century Gothic" panose="020B0502020202020204" pitchFamily="34" charset="0"/>
              </a:rPr>
              <a:t>della totalità o di una parte delle attività dell’operatore </a:t>
            </a:r>
            <a:r>
              <a:rPr lang="it-IT" dirty="0">
                <a:solidFill>
                  <a:srgbClr val="012169"/>
                </a:solidFill>
                <a:latin typeface="Century Gothic" panose="020B0502020202020204" pitchFamily="34" charset="0"/>
              </a:rPr>
              <a:t>interessato e, se del caso, dei siti internet che gestisce o utilizza; </a:t>
            </a:r>
            <a:r>
              <a:rPr lang="it-IT" b="1" dirty="0">
                <a:solidFill>
                  <a:srgbClr val="012169"/>
                </a:solidFill>
                <a:latin typeface="Century Gothic" panose="020B0502020202020204" pitchFamily="34" charset="0"/>
              </a:rPr>
              <a:t>j) </a:t>
            </a:r>
            <a:r>
              <a:rPr lang="it-IT" dirty="0">
                <a:solidFill>
                  <a:srgbClr val="012169"/>
                </a:solidFill>
                <a:latin typeface="Century Gothic" panose="020B0502020202020204" pitchFamily="34" charset="0"/>
              </a:rPr>
              <a:t>dispongono la </a:t>
            </a:r>
            <a:r>
              <a:rPr lang="it-IT" b="1" dirty="0">
                <a:solidFill>
                  <a:srgbClr val="012169"/>
                </a:solidFill>
                <a:latin typeface="Century Gothic" panose="020B0502020202020204" pitchFamily="34" charset="0"/>
              </a:rPr>
              <a:t>sospensione o il ritiro della registrazione o dell’autorizzazione </a:t>
            </a:r>
            <a:r>
              <a:rPr lang="it-IT" dirty="0">
                <a:solidFill>
                  <a:srgbClr val="012169"/>
                </a:solidFill>
                <a:latin typeface="Century Gothic" panose="020B0502020202020204" pitchFamily="34" charset="0"/>
              </a:rPr>
              <a:t>dello stabilimento, impianto, sede o mezzo di trasporto interessato, dell’autorizzazione del trasportatore o del certificato di idoneità del conducente; </a:t>
            </a:r>
            <a:r>
              <a:rPr lang="it-IT" b="1" dirty="0">
                <a:solidFill>
                  <a:srgbClr val="012169"/>
                </a:solidFill>
                <a:latin typeface="Century Gothic" panose="020B0502020202020204" pitchFamily="34" charset="0"/>
              </a:rPr>
              <a:t>k) </a:t>
            </a:r>
            <a:r>
              <a:rPr lang="it-IT" dirty="0">
                <a:solidFill>
                  <a:srgbClr val="012169"/>
                </a:solidFill>
                <a:latin typeface="Century Gothic" panose="020B0502020202020204" pitchFamily="34" charset="0"/>
              </a:rPr>
              <a:t>dispongono la macellazione o l’abbattimento di animali, a condizione che si tratti della misura più appropriata ai fini della tutela della sanità umana nonché della salute e del benessere degli </a:t>
            </a:r>
            <a:r>
              <a:rPr lang="it-IT" dirty="0" smtClean="0">
                <a:solidFill>
                  <a:srgbClr val="012169"/>
                </a:solidFill>
                <a:latin typeface="Century Gothic" panose="020B0502020202020204" pitchFamily="34" charset="0"/>
              </a:rPr>
              <a:t>animali.</a:t>
            </a:r>
            <a:endParaRPr lang="it-IT" dirty="0">
              <a:solidFill>
                <a:srgbClr val="012169"/>
              </a:solidFill>
              <a:latin typeface="Century Gothic" panose="020B0502020202020204" pitchFamily="34" charset="0"/>
            </a:endParaRPr>
          </a:p>
        </p:txBody>
      </p:sp>
      <p:pic>
        <p:nvPicPr>
          <p:cNvPr id="6" name="Immagin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37861246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13.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Diritto</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di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ricorso</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 Art. 7</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1157589"/>
            <a:ext cx="11289190" cy="3416320"/>
          </a:xfrm>
          <a:prstGeom prst="rect">
            <a:avLst/>
          </a:prstGeom>
          <a:noFill/>
          <a:ln>
            <a:solidFill>
              <a:srgbClr val="012169"/>
            </a:solidFill>
          </a:ln>
        </p:spPr>
        <p:txBody>
          <a:bodyPr wrap="square" rtlCol="0" anchor="t">
            <a:spAutoFit/>
          </a:bodyPr>
          <a:lstStyle/>
          <a:p>
            <a:endParaRPr lang="it-IT" dirty="0" smtClean="0">
              <a:solidFill>
                <a:srgbClr val="012169"/>
              </a:solidFill>
              <a:latin typeface="Century Gothic" panose="020B0502020202020204" pitchFamily="34" charset="0"/>
            </a:endParaRPr>
          </a:p>
          <a:p>
            <a:endParaRPr lang="it-IT" dirty="0">
              <a:solidFill>
                <a:srgbClr val="012169"/>
              </a:solidFill>
              <a:latin typeface="Century Gothic" panose="020B0502020202020204" pitchFamily="34" charset="0"/>
            </a:endParaRPr>
          </a:p>
          <a:p>
            <a:r>
              <a:rPr lang="it-IT" dirty="0">
                <a:solidFill>
                  <a:srgbClr val="012169"/>
                </a:solidFill>
                <a:latin typeface="Century Gothic" panose="020B0502020202020204" pitchFamily="34" charset="0"/>
              </a:rPr>
              <a:t>Contro le decisioni adottate dalle autorità competenti in conformità dell’articolo 55, dell’articolo 66, paragrafi 3 e 6, dell’articolo 67,dell’articolo 137, paragrafo 3, lettera b), e all’articolo 138, paragrafi 1 e 2, riguardanti le persone fisiche o giuridiche, </a:t>
            </a:r>
            <a:r>
              <a:rPr lang="it-IT" b="1" dirty="0">
                <a:solidFill>
                  <a:srgbClr val="012169"/>
                </a:solidFill>
                <a:latin typeface="Century Gothic" panose="020B0502020202020204" pitchFamily="34" charset="0"/>
              </a:rPr>
              <a:t>è ammesso il ricorso </a:t>
            </a:r>
            <a:r>
              <a:rPr lang="it-IT" dirty="0">
                <a:solidFill>
                  <a:srgbClr val="012169"/>
                </a:solidFill>
                <a:latin typeface="Century Gothic" panose="020B0502020202020204" pitchFamily="34" charset="0"/>
              </a:rPr>
              <a:t>da parte di queste ultime in conformità del diritto nazionale. </a:t>
            </a:r>
            <a:endParaRPr lang="it-IT" dirty="0" smtClean="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Il </a:t>
            </a:r>
            <a:r>
              <a:rPr lang="it-IT" dirty="0">
                <a:solidFill>
                  <a:srgbClr val="012169"/>
                </a:solidFill>
                <a:latin typeface="Century Gothic" panose="020B0502020202020204" pitchFamily="34" charset="0"/>
              </a:rPr>
              <a:t>diritto di ricorso </a:t>
            </a:r>
            <a:r>
              <a:rPr lang="it-IT" b="1" dirty="0">
                <a:solidFill>
                  <a:srgbClr val="012169"/>
                </a:solidFill>
                <a:latin typeface="Century Gothic" panose="020B0502020202020204" pitchFamily="34" charset="0"/>
              </a:rPr>
              <a:t>non pregiudica l’obbligo delle autorità competenti di intervenire rapidamente per eliminare o limitare i rischi sanitari per l’uomo, per gli animali o per le piante, per il benessere degli animali </a:t>
            </a:r>
            <a:r>
              <a:rPr lang="it-IT" dirty="0">
                <a:solidFill>
                  <a:srgbClr val="012169"/>
                </a:solidFill>
                <a:latin typeface="Century Gothic" panose="020B0502020202020204" pitchFamily="34" charset="0"/>
              </a:rPr>
              <a:t>o, relativamente a OGM e prodotti fitosanitari, anche per l’ambiente, in conformità del presente regolamento e della normativa di cui all’articolo 1, paragrafo 2. </a:t>
            </a:r>
          </a:p>
          <a:p>
            <a:endParaRPr lang="it-IT" dirty="0" smtClean="0"/>
          </a:p>
          <a:p>
            <a:endParaRPr lang="it-IT" dirty="0"/>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6860"/>
            <a:ext cx="1606338" cy="864951"/>
          </a:xfrm>
          <a:prstGeom prst="rect">
            <a:avLst/>
          </a:prstGeom>
        </p:spPr>
      </p:pic>
    </p:spTree>
    <p:extLst>
      <p:ext uri="{BB962C8B-B14F-4D97-AF65-F5344CB8AC3E}">
        <p14:creationId xmlns:p14="http://schemas.microsoft.com/office/powerpoint/2010/main" val="16534834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1250" y="819149"/>
            <a:ext cx="5751502" cy="5753101"/>
          </a:xfrm>
          <a:prstGeom prst="rect">
            <a:avLst/>
          </a:prstGeom>
        </p:spPr>
      </p:pic>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14. </a:t>
            </a:r>
            <a:r>
              <a:rPr lang="en-GB" kern="0" dirty="0" err="1" smtClean="0">
                <a:solidFill>
                  <a:srgbClr val="0F2D69"/>
                </a:solidFill>
                <a:latin typeface="Century Gothic"/>
                <a:cs typeface="Arial"/>
              </a:rPr>
              <a:t>Sanzioni</a:t>
            </a:r>
            <a:r>
              <a:rPr lang="en-GB" kern="0" dirty="0" smtClean="0">
                <a:solidFill>
                  <a:srgbClr val="0F2D69"/>
                </a:solidFill>
                <a:latin typeface="Century Gothic"/>
                <a:cs typeface="Arial"/>
              </a:rPr>
              <a:t> – Art. 139</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18" name="Rectangle 17"/>
          <p:cNvSpPr/>
          <p:nvPr/>
        </p:nvSpPr>
        <p:spPr bwMode="auto">
          <a:xfrm>
            <a:off x="359395" y="819150"/>
            <a:ext cx="11583357" cy="5753100"/>
          </a:xfrm>
          <a:prstGeom prst="rect">
            <a:avLst/>
          </a:prstGeom>
          <a:solidFill>
            <a:schemeClr val="bg1">
              <a:lumMod val="95000"/>
              <a:alpha val="42000"/>
            </a:schemeClr>
          </a:solidFill>
          <a:ln w="19050" algn="ctr">
            <a:solidFill>
              <a:srgbClr val="812143"/>
            </a:solidFill>
            <a:miter lim="800000"/>
            <a:headEnd/>
            <a:tailEnd/>
          </a:ln>
        </p:spPr>
        <p:txBody>
          <a:bodyPr wrap="square" lIns="88900" tIns="88900" rIns="5940000" bIns="88900" rtlCol="0" anchor="ctr"/>
          <a:lstStyle/>
          <a:p>
            <a:pPr lvl="0" algn="just" defTabSz="463550" eaLnBrk="0" fontAlgn="base" hangingPunct="0">
              <a:lnSpc>
                <a:spcPct val="150000"/>
              </a:lnSpc>
              <a:spcAft>
                <a:spcPct val="0"/>
              </a:spcAft>
            </a:pPr>
            <a:r>
              <a:rPr lang="it-IT" dirty="0">
                <a:solidFill>
                  <a:srgbClr val="012169"/>
                </a:solidFill>
                <a:latin typeface="Century Gothic" panose="020B0502020202020204" pitchFamily="34" charset="0"/>
              </a:rPr>
              <a:t>Gli Stati membri stabiliscono le </a:t>
            </a:r>
            <a:r>
              <a:rPr lang="it-IT" b="1" dirty="0">
                <a:solidFill>
                  <a:srgbClr val="012169"/>
                </a:solidFill>
                <a:latin typeface="Century Gothic" panose="020B0502020202020204" pitchFamily="34" charset="0"/>
              </a:rPr>
              <a:t>norme relative </a:t>
            </a:r>
            <a:r>
              <a:rPr lang="it-IT" b="1" dirty="0" smtClean="0">
                <a:solidFill>
                  <a:srgbClr val="012169"/>
                </a:solidFill>
                <a:latin typeface="Century Gothic" panose="020B0502020202020204" pitchFamily="34" charset="0"/>
              </a:rPr>
              <a:t>alle sanzioni </a:t>
            </a:r>
            <a:r>
              <a:rPr lang="it-IT" b="1" dirty="0">
                <a:solidFill>
                  <a:srgbClr val="012169"/>
                </a:solidFill>
                <a:latin typeface="Century Gothic" panose="020B0502020202020204" pitchFamily="34" charset="0"/>
              </a:rPr>
              <a:t>da applicare </a:t>
            </a:r>
            <a:r>
              <a:rPr lang="it-IT" dirty="0">
                <a:solidFill>
                  <a:srgbClr val="012169"/>
                </a:solidFill>
                <a:latin typeface="Century Gothic" panose="020B0502020202020204" pitchFamily="34" charset="0"/>
              </a:rPr>
              <a:t>in caso di violazione delle disposizioni del presente regolamento e </a:t>
            </a:r>
            <a:r>
              <a:rPr lang="it-IT" b="1" dirty="0">
                <a:solidFill>
                  <a:srgbClr val="012169"/>
                </a:solidFill>
                <a:latin typeface="Century Gothic" panose="020B0502020202020204" pitchFamily="34" charset="0"/>
              </a:rPr>
              <a:t>adottano tutte le misure necessarie ad assicurare la loro attuazione</a:t>
            </a:r>
            <a:r>
              <a:rPr lang="it-IT" dirty="0">
                <a:solidFill>
                  <a:srgbClr val="012169"/>
                </a:solidFill>
                <a:latin typeface="Century Gothic" panose="020B0502020202020204" pitchFamily="34" charset="0"/>
              </a:rPr>
              <a:t>. Le sanzioni devono essere </a:t>
            </a:r>
            <a:r>
              <a:rPr lang="it-IT" b="1" dirty="0">
                <a:solidFill>
                  <a:srgbClr val="012169"/>
                </a:solidFill>
                <a:latin typeface="Century Gothic" panose="020B0502020202020204" pitchFamily="34" charset="0"/>
              </a:rPr>
              <a:t>effettive, proporzionate e </a:t>
            </a:r>
            <a:r>
              <a:rPr lang="it-IT" b="1" dirty="0" smtClean="0">
                <a:solidFill>
                  <a:srgbClr val="012169"/>
                </a:solidFill>
                <a:latin typeface="Century Gothic" panose="020B0502020202020204" pitchFamily="34" charset="0"/>
              </a:rPr>
              <a:t>dissuasive</a:t>
            </a:r>
            <a:r>
              <a:rPr lang="it-IT" dirty="0" smtClean="0">
                <a:solidFill>
                  <a:srgbClr val="012169"/>
                </a:solidFill>
                <a:latin typeface="Century Gothic" panose="020B0502020202020204" pitchFamily="34" charset="0"/>
              </a:rPr>
              <a:t>. Gli </a:t>
            </a:r>
            <a:r>
              <a:rPr lang="it-IT" dirty="0">
                <a:solidFill>
                  <a:srgbClr val="012169"/>
                </a:solidFill>
                <a:latin typeface="Century Gothic" panose="020B0502020202020204" pitchFamily="34" charset="0"/>
              </a:rPr>
              <a:t>Stati membri provvedono affinché le sanzioni pecuniarie per violazioni del presente regolamento e della normativa di cui all’articolo 1, paragrafo 2, commesse mediante pratiche fraudolente o ingannevoli, </a:t>
            </a:r>
            <a:r>
              <a:rPr lang="it-IT" b="1" dirty="0">
                <a:solidFill>
                  <a:srgbClr val="012169"/>
                </a:solidFill>
                <a:latin typeface="Century Gothic" panose="020B0502020202020204" pitchFamily="34" charset="0"/>
              </a:rPr>
              <a:t>rispecchino</a:t>
            </a:r>
            <a:r>
              <a:rPr lang="it-IT" dirty="0">
                <a:solidFill>
                  <a:srgbClr val="012169"/>
                </a:solidFill>
                <a:latin typeface="Century Gothic" panose="020B0502020202020204" pitchFamily="34" charset="0"/>
              </a:rPr>
              <a:t>, conformemente al diritto nazionale, </a:t>
            </a:r>
            <a:r>
              <a:rPr lang="it-IT" b="1" dirty="0">
                <a:solidFill>
                  <a:srgbClr val="012169"/>
                </a:solidFill>
                <a:latin typeface="Century Gothic" panose="020B0502020202020204" pitchFamily="34" charset="0"/>
              </a:rPr>
              <a:t>come minimo il vantaggio economico per l’operatore o, se del caso, una percentuale del fatturato </a:t>
            </a:r>
            <a:r>
              <a:rPr lang="it-IT" b="1" dirty="0" smtClean="0">
                <a:solidFill>
                  <a:srgbClr val="012169"/>
                </a:solidFill>
                <a:latin typeface="Century Gothic" panose="020B0502020202020204" pitchFamily="34" charset="0"/>
              </a:rPr>
              <a:t>dell’operatore.</a:t>
            </a:r>
            <a:endParaRPr kumimoji="0" lang="it-IT" b="1" i="0"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4613274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70104" y="1018859"/>
            <a:ext cx="6747377" cy="5362485"/>
          </a:xfrm>
          <a:prstGeom prst="rect">
            <a:avLst/>
          </a:prstGeom>
        </p:spPr>
      </p:pic>
      <p:sp>
        <p:nvSpPr>
          <p:cNvPr id="11"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strike="noStrike" kern="0" cap="none" spc="0" normalizeH="0" baseline="0" noProof="0" dirty="0" smtClean="0">
                <a:ln>
                  <a:noFill/>
                </a:ln>
                <a:solidFill>
                  <a:srgbClr val="0F2D69"/>
                </a:solidFill>
                <a:effectLst/>
                <a:uLnTx/>
                <a:uFillTx/>
                <a:latin typeface="Century Gothic"/>
                <a:ea typeface="+mj-ea"/>
                <a:cs typeface="Arial"/>
              </a:rPr>
              <a:t>14. </a:t>
            </a:r>
            <a:r>
              <a:rPr kumimoji="0" lang="en-GB" sz="2200" b="1" i="0" strike="noStrike" kern="0" cap="none" spc="0" normalizeH="0" baseline="0" noProof="0" dirty="0" err="1" smtClean="0">
                <a:ln>
                  <a:noFill/>
                </a:ln>
                <a:solidFill>
                  <a:srgbClr val="0F2D69"/>
                </a:solidFill>
                <a:effectLst/>
                <a:uLnTx/>
                <a:uFillTx/>
                <a:latin typeface="Century Gothic"/>
                <a:ea typeface="+mj-ea"/>
                <a:cs typeface="Arial"/>
              </a:rPr>
              <a:t>Normativa</a:t>
            </a:r>
            <a:r>
              <a:rPr kumimoji="0" lang="en-GB" sz="2200" b="1" i="0"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strike="noStrike" kern="0" cap="none" spc="0" normalizeH="0" baseline="0" noProof="0" dirty="0" err="1" smtClean="0">
                <a:ln>
                  <a:noFill/>
                </a:ln>
                <a:solidFill>
                  <a:srgbClr val="0F2D69"/>
                </a:solidFill>
                <a:effectLst/>
                <a:uLnTx/>
                <a:uFillTx/>
                <a:latin typeface="Century Gothic"/>
                <a:ea typeface="+mj-ea"/>
                <a:cs typeface="Arial"/>
              </a:rPr>
              <a:t>Italiana</a:t>
            </a:r>
            <a:r>
              <a:rPr kumimoji="0" lang="en-GB" sz="2200" b="1" i="0" strike="noStrike" kern="0" cap="none" spc="0" normalizeH="0" baseline="0" noProof="0" dirty="0" smtClean="0">
                <a:ln>
                  <a:noFill/>
                </a:ln>
                <a:solidFill>
                  <a:srgbClr val="0F2D69"/>
                </a:solidFill>
                <a:effectLst/>
                <a:uLnTx/>
                <a:uFillTx/>
                <a:latin typeface="Century Gothic"/>
                <a:ea typeface="+mj-ea"/>
                <a:cs typeface="Arial"/>
              </a:rPr>
              <a:t> di </a:t>
            </a:r>
            <a:r>
              <a:rPr kumimoji="0" lang="en-GB" sz="2200" b="1" i="0" strike="noStrike" kern="0" cap="none" spc="0" normalizeH="0" baseline="0" noProof="0" dirty="0" err="1" smtClean="0">
                <a:ln>
                  <a:noFill/>
                </a:ln>
                <a:solidFill>
                  <a:srgbClr val="0F2D69"/>
                </a:solidFill>
                <a:effectLst/>
                <a:uLnTx/>
                <a:uFillTx/>
                <a:latin typeface="Century Gothic"/>
                <a:ea typeface="+mj-ea"/>
                <a:cs typeface="Arial"/>
              </a:rPr>
              <a:t>Adeguamento</a:t>
            </a:r>
            <a:endParaRPr kumimoji="0" lang="en-GB" sz="2200" b="1" i="0" strike="noStrike" kern="0" cap="none" spc="0" normalizeH="0" baseline="0" noProof="0" dirty="0">
              <a:ln>
                <a:noFill/>
              </a:ln>
              <a:solidFill>
                <a:srgbClr val="0F2D69"/>
              </a:solidFill>
              <a:effectLst/>
              <a:uLnTx/>
              <a:uFillTx/>
              <a:latin typeface="Century Gothic"/>
              <a:ea typeface="+mj-ea"/>
              <a:cs typeface="Arial"/>
            </a:endParaRPr>
          </a:p>
        </p:txBody>
      </p:sp>
      <p:grpSp>
        <p:nvGrpSpPr>
          <p:cNvPr id="38" name="Group 37"/>
          <p:cNvGrpSpPr/>
          <p:nvPr/>
        </p:nvGrpSpPr>
        <p:grpSpPr>
          <a:xfrm>
            <a:off x="342124" y="1018860"/>
            <a:ext cx="10557368" cy="3189828"/>
            <a:chOff x="293209" y="1110258"/>
            <a:chExt cx="10557368" cy="3189828"/>
          </a:xfrm>
        </p:grpSpPr>
        <p:sp>
          <p:nvSpPr>
            <p:cNvPr id="14" name="Rectangle 13"/>
            <p:cNvSpPr/>
            <p:nvPr/>
          </p:nvSpPr>
          <p:spPr bwMode="auto">
            <a:xfrm>
              <a:off x="293209" y="1993550"/>
              <a:ext cx="236537" cy="576634"/>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sp>
          <p:nvSpPr>
            <p:cNvPr id="15" name="Rectangle 14"/>
            <p:cNvSpPr/>
            <p:nvPr/>
          </p:nvSpPr>
          <p:spPr bwMode="auto">
            <a:xfrm>
              <a:off x="298768" y="2858501"/>
              <a:ext cx="236537" cy="576634"/>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sp>
          <p:nvSpPr>
            <p:cNvPr id="21" name="Rectangle 20"/>
            <p:cNvSpPr/>
            <p:nvPr/>
          </p:nvSpPr>
          <p:spPr bwMode="auto">
            <a:xfrm>
              <a:off x="298768" y="3723452"/>
              <a:ext cx="236537" cy="576634"/>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grpSp>
          <p:nvGrpSpPr>
            <p:cNvPr id="36" name="Group 35"/>
            <p:cNvGrpSpPr/>
            <p:nvPr/>
          </p:nvGrpSpPr>
          <p:grpSpPr>
            <a:xfrm>
              <a:off x="300654" y="1110258"/>
              <a:ext cx="10549923" cy="594547"/>
              <a:chOff x="300654" y="1439869"/>
              <a:chExt cx="10549923" cy="594547"/>
            </a:xfrm>
          </p:grpSpPr>
          <p:sp>
            <p:nvSpPr>
              <p:cNvPr id="12" name="Rectangle 11"/>
              <p:cNvSpPr/>
              <p:nvPr/>
            </p:nvSpPr>
            <p:spPr bwMode="auto">
              <a:xfrm>
                <a:off x="300654" y="1439869"/>
                <a:ext cx="236537" cy="594547"/>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sp>
            <p:nvSpPr>
              <p:cNvPr id="35" name="Rectangle 6"/>
              <p:cNvSpPr>
                <a:spLocks noChangeArrowheads="1"/>
              </p:cNvSpPr>
              <p:nvPr/>
            </p:nvSpPr>
            <p:spPr bwMode="auto">
              <a:xfrm>
                <a:off x="537191" y="1647425"/>
                <a:ext cx="1031338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sz="2200" b="1" dirty="0" smtClean="0">
                    <a:solidFill>
                      <a:srgbClr val="0F2D69"/>
                    </a:solidFill>
                    <a:latin typeface="Century Gothic"/>
                    <a:cs typeface="Arial"/>
                  </a:rPr>
                  <a:t>D. </a:t>
                </a:r>
                <a:r>
                  <a:rPr lang="it-IT" sz="2200" b="1" dirty="0" err="1" smtClean="0">
                    <a:solidFill>
                      <a:srgbClr val="0F2D69"/>
                    </a:solidFill>
                    <a:latin typeface="Century Gothic"/>
                    <a:cs typeface="Arial"/>
                  </a:rPr>
                  <a:t>Lgs</a:t>
                </a:r>
                <a:r>
                  <a:rPr lang="it-IT" sz="2200" b="1" dirty="0" smtClean="0">
                    <a:solidFill>
                      <a:srgbClr val="0F2D69"/>
                    </a:solidFill>
                    <a:latin typeface="Century Gothic"/>
                    <a:cs typeface="Arial"/>
                  </a:rPr>
                  <a:t>. 2 febbraio 2021 n.23</a:t>
                </a:r>
                <a:endParaRPr lang="it-IT" sz="2200" b="1" dirty="0">
                  <a:solidFill>
                    <a:srgbClr val="0F2D69"/>
                  </a:solidFill>
                  <a:latin typeface="Century Gothic"/>
                  <a:cs typeface="Arial"/>
                </a:endParaRPr>
              </a:p>
            </p:txBody>
          </p:sp>
        </p:grpSp>
      </p:grpSp>
      <p:sp>
        <p:nvSpPr>
          <p:cNvPr id="27" name="Rectangle 6"/>
          <p:cNvSpPr>
            <a:spLocks noChangeArrowheads="1"/>
          </p:cNvSpPr>
          <p:nvPr/>
        </p:nvSpPr>
        <p:spPr bwMode="auto">
          <a:xfrm>
            <a:off x="586106" y="2086825"/>
            <a:ext cx="1031338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sz="2200" b="1" dirty="0" smtClean="0">
                <a:solidFill>
                  <a:srgbClr val="0F2D69"/>
                </a:solidFill>
                <a:latin typeface="Century Gothic"/>
                <a:cs typeface="Arial"/>
              </a:rPr>
              <a:t>D. </a:t>
            </a:r>
            <a:r>
              <a:rPr lang="it-IT" sz="2200" b="1" dirty="0" err="1" smtClean="0">
                <a:solidFill>
                  <a:srgbClr val="0F2D69"/>
                </a:solidFill>
                <a:latin typeface="Century Gothic"/>
                <a:cs typeface="Arial"/>
              </a:rPr>
              <a:t>Lgs</a:t>
            </a:r>
            <a:r>
              <a:rPr lang="it-IT" sz="2200" b="1" dirty="0" smtClean="0">
                <a:solidFill>
                  <a:srgbClr val="0F2D69"/>
                </a:solidFill>
                <a:latin typeface="Century Gothic"/>
                <a:cs typeface="Arial"/>
              </a:rPr>
              <a:t>. 2 febbraio 2021 n.24</a:t>
            </a:r>
            <a:endParaRPr lang="it-IT" sz="2200" b="1" dirty="0">
              <a:solidFill>
                <a:srgbClr val="0F2D69"/>
              </a:solidFill>
              <a:latin typeface="Century Gothic"/>
              <a:cs typeface="Arial"/>
            </a:endParaRPr>
          </a:p>
        </p:txBody>
      </p:sp>
      <p:sp>
        <p:nvSpPr>
          <p:cNvPr id="28" name="Rectangle 6"/>
          <p:cNvSpPr>
            <a:spLocks noChangeArrowheads="1"/>
          </p:cNvSpPr>
          <p:nvPr/>
        </p:nvSpPr>
        <p:spPr bwMode="auto">
          <a:xfrm>
            <a:off x="586106" y="3812613"/>
            <a:ext cx="1031338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sz="2200" b="1" dirty="0" smtClean="0">
                <a:solidFill>
                  <a:srgbClr val="0F2D69"/>
                </a:solidFill>
                <a:latin typeface="Century Gothic"/>
                <a:cs typeface="Arial"/>
              </a:rPr>
              <a:t>D. </a:t>
            </a:r>
            <a:r>
              <a:rPr lang="it-IT" sz="2200" b="1" dirty="0" err="1" smtClean="0">
                <a:solidFill>
                  <a:srgbClr val="0F2D69"/>
                </a:solidFill>
                <a:latin typeface="Century Gothic"/>
                <a:cs typeface="Arial"/>
              </a:rPr>
              <a:t>Lgs</a:t>
            </a:r>
            <a:r>
              <a:rPr lang="it-IT" sz="2200" b="1" dirty="0" smtClean="0">
                <a:solidFill>
                  <a:srgbClr val="0F2D69"/>
                </a:solidFill>
                <a:latin typeface="Century Gothic"/>
                <a:cs typeface="Arial"/>
              </a:rPr>
              <a:t>. 2 febbraio 2021 n.32</a:t>
            </a:r>
            <a:endParaRPr lang="it-IT" sz="2200" b="1" dirty="0">
              <a:solidFill>
                <a:srgbClr val="0F2D69"/>
              </a:solidFill>
              <a:latin typeface="Century Gothic"/>
              <a:cs typeface="Arial"/>
            </a:endParaRPr>
          </a:p>
        </p:txBody>
      </p:sp>
      <p:sp>
        <p:nvSpPr>
          <p:cNvPr id="29" name="Rectangle 6"/>
          <p:cNvSpPr>
            <a:spLocks noChangeArrowheads="1"/>
          </p:cNvSpPr>
          <p:nvPr/>
        </p:nvSpPr>
        <p:spPr bwMode="auto">
          <a:xfrm>
            <a:off x="586106" y="2954474"/>
            <a:ext cx="1031338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sz="2200" b="1" dirty="0" smtClean="0">
                <a:solidFill>
                  <a:srgbClr val="0F2D69"/>
                </a:solidFill>
                <a:latin typeface="Century Gothic"/>
                <a:cs typeface="Arial"/>
              </a:rPr>
              <a:t>D. </a:t>
            </a:r>
            <a:r>
              <a:rPr lang="it-IT" sz="2200" b="1" dirty="0" err="1" smtClean="0">
                <a:solidFill>
                  <a:srgbClr val="0F2D69"/>
                </a:solidFill>
                <a:latin typeface="Century Gothic"/>
                <a:cs typeface="Arial"/>
              </a:rPr>
              <a:t>Lgs</a:t>
            </a:r>
            <a:r>
              <a:rPr lang="it-IT" sz="2200" b="1" dirty="0" smtClean="0">
                <a:solidFill>
                  <a:srgbClr val="0F2D69"/>
                </a:solidFill>
                <a:latin typeface="Century Gothic"/>
                <a:cs typeface="Arial"/>
              </a:rPr>
              <a:t>. 2 febbraio 2021 n.27</a:t>
            </a:r>
            <a:endParaRPr lang="it-IT" sz="2200" b="1" dirty="0">
              <a:solidFill>
                <a:srgbClr val="0F2D69"/>
              </a:solidFill>
              <a:latin typeface="Century Gothic"/>
              <a:cs typeface="Arial"/>
            </a:endParaRPr>
          </a:p>
        </p:txBody>
      </p:sp>
      <p:pic>
        <p:nvPicPr>
          <p:cNvPr id="16" name="Immagin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85662" y="50129"/>
            <a:ext cx="1606338" cy="864951"/>
          </a:xfrm>
          <a:prstGeom prst="rect">
            <a:avLst/>
          </a:prstGeom>
        </p:spPr>
      </p:pic>
    </p:spTree>
    <p:extLst>
      <p:ext uri="{BB962C8B-B14F-4D97-AF65-F5344CB8AC3E}">
        <p14:creationId xmlns:p14="http://schemas.microsoft.com/office/powerpoint/2010/main" val="7095978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35665" y="1129973"/>
            <a:ext cx="8574233" cy="4240517"/>
          </a:xfrm>
          <a:prstGeom prst="rect">
            <a:avLst/>
          </a:prstGeom>
        </p:spPr>
      </p:pic>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15. D. </a:t>
            </a:r>
            <a:r>
              <a:rPr lang="en-GB" kern="0" dirty="0" err="1" smtClean="0">
                <a:solidFill>
                  <a:srgbClr val="0F2D69"/>
                </a:solidFill>
                <a:latin typeface="Century Gothic"/>
                <a:cs typeface="Arial"/>
              </a:rPr>
              <a:t>Lgs</a:t>
            </a:r>
            <a:r>
              <a:rPr lang="en-GB" kern="0" dirty="0" smtClean="0">
                <a:solidFill>
                  <a:srgbClr val="0F2D69"/>
                </a:solidFill>
                <a:latin typeface="Century Gothic"/>
                <a:cs typeface="Arial"/>
              </a:rPr>
              <a:t>. 27/2021</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9" name="Freeform 8"/>
          <p:cNvSpPr/>
          <p:nvPr/>
        </p:nvSpPr>
        <p:spPr>
          <a:xfrm>
            <a:off x="293207" y="1129973"/>
            <a:ext cx="11616691" cy="4240517"/>
          </a:xfrm>
          <a:custGeom>
            <a:avLst/>
            <a:gdLst>
              <a:gd name="connsiteX0" fmla="*/ 124966 w 749780"/>
              <a:gd name="connsiteY0" fmla="*/ 0 h 10605781"/>
              <a:gd name="connsiteX1" fmla="*/ 624814 w 749780"/>
              <a:gd name="connsiteY1" fmla="*/ 0 h 10605781"/>
              <a:gd name="connsiteX2" fmla="*/ 749780 w 749780"/>
              <a:gd name="connsiteY2" fmla="*/ 124966 h 10605781"/>
              <a:gd name="connsiteX3" fmla="*/ 749780 w 749780"/>
              <a:gd name="connsiteY3" fmla="*/ 10605781 h 10605781"/>
              <a:gd name="connsiteX4" fmla="*/ 749780 w 749780"/>
              <a:gd name="connsiteY4" fmla="*/ 10605781 h 10605781"/>
              <a:gd name="connsiteX5" fmla="*/ 0 w 749780"/>
              <a:gd name="connsiteY5" fmla="*/ 10605781 h 10605781"/>
              <a:gd name="connsiteX6" fmla="*/ 0 w 749780"/>
              <a:gd name="connsiteY6" fmla="*/ 10605781 h 10605781"/>
              <a:gd name="connsiteX7" fmla="*/ 0 w 749780"/>
              <a:gd name="connsiteY7" fmla="*/ 124966 h 10605781"/>
              <a:gd name="connsiteX8" fmla="*/ 124966 w 749780"/>
              <a:gd name="connsiteY8" fmla="*/ 0 h 1060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780" h="10605781">
                <a:moveTo>
                  <a:pt x="749780" y="1767673"/>
                </a:moveTo>
                <a:lnTo>
                  <a:pt x="749780" y="8838108"/>
                </a:lnTo>
                <a:cubicBezTo>
                  <a:pt x="749780" y="9814366"/>
                  <a:pt x="745825" y="10605774"/>
                  <a:pt x="740945" y="10605774"/>
                </a:cubicBezTo>
                <a:lnTo>
                  <a:pt x="0" y="10605774"/>
                </a:lnTo>
                <a:lnTo>
                  <a:pt x="0" y="10605774"/>
                </a:lnTo>
                <a:lnTo>
                  <a:pt x="0" y="7"/>
                </a:lnTo>
                <a:lnTo>
                  <a:pt x="0" y="7"/>
                </a:lnTo>
                <a:lnTo>
                  <a:pt x="740945" y="7"/>
                </a:lnTo>
                <a:cubicBezTo>
                  <a:pt x="745825" y="7"/>
                  <a:pt x="749780" y="791415"/>
                  <a:pt x="749780" y="1767673"/>
                </a:cubicBezTo>
                <a:close/>
              </a:path>
            </a:pathLst>
          </a:custGeom>
          <a:solidFill>
            <a:sysClr val="window" lastClr="FFFFFF">
              <a:alpha val="90000"/>
              <a:hueOff val="0"/>
              <a:satOff val="0"/>
              <a:lumOff val="0"/>
              <a:alphaOff val="0"/>
            </a:sysClr>
          </a:solidFill>
          <a:ln w="19050" cap="rnd" cmpd="sng" algn="ctr">
            <a:solidFill>
              <a:srgbClr val="812143"/>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78233" tIns="43586" rIns="43586" bIns="43587" numCol="1" spcCol="1270" anchor="ctr" anchorCtr="0">
            <a:noAutofit/>
          </a:bodyPr>
          <a:lstStyle/>
          <a:p>
            <a:r>
              <a:rPr lang="it-IT" dirty="0">
                <a:solidFill>
                  <a:srgbClr val="012169"/>
                </a:solidFill>
                <a:latin typeface="Century Gothic" panose="020B0502020202020204" pitchFamily="34" charset="0"/>
              </a:rPr>
              <a:t>Individua il </a:t>
            </a:r>
            <a:r>
              <a:rPr lang="it-IT" b="1" dirty="0">
                <a:solidFill>
                  <a:srgbClr val="012169"/>
                </a:solidFill>
                <a:latin typeface="Century Gothic" panose="020B0502020202020204" pitchFamily="34" charset="0"/>
              </a:rPr>
              <a:t>quadro giuridico </a:t>
            </a:r>
            <a:r>
              <a:rPr lang="it-IT" dirty="0">
                <a:solidFill>
                  <a:srgbClr val="012169"/>
                </a:solidFill>
                <a:latin typeface="Century Gothic" panose="020B0502020202020204" pitchFamily="34" charset="0"/>
              </a:rPr>
              <a:t>in cui si devono muovere le Autorità competenti e gli operatori del settore </a:t>
            </a:r>
            <a:r>
              <a:rPr lang="it-IT" dirty="0" smtClean="0">
                <a:solidFill>
                  <a:srgbClr val="012169"/>
                </a:solidFill>
                <a:latin typeface="Century Gothic" panose="020B0502020202020204" pitchFamily="34" charset="0"/>
              </a:rPr>
              <a:t>alimentare, </a:t>
            </a:r>
            <a:r>
              <a:rPr lang="it-IT" dirty="0">
                <a:solidFill>
                  <a:srgbClr val="012169"/>
                </a:solidFill>
                <a:latin typeface="Century Gothic" panose="020B0502020202020204" pitchFamily="34" charset="0"/>
              </a:rPr>
              <a:t>ma anche di quello mangimistico e della produzione primaria: </a:t>
            </a:r>
            <a:r>
              <a:rPr lang="it-IT" dirty="0" smtClean="0">
                <a:solidFill>
                  <a:srgbClr val="012169"/>
                </a:solidFill>
                <a:latin typeface="Century Gothic" panose="020B0502020202020204" pitchFamily="34" charset="0"/>
              </a:rPr>
              <a:t>i Controlli </a:t>
            </a:r>
            <a:r>
              <a:rPr lang="it-IT" dirty="0">
                <a:solidFill>
                  <a:srgbClr val="012169"/>
                </a:solidFill>
                <a:latin typeface="Century Gothic" panose="020B0502020202020204" pitchFamily="34" charset="0"/>
              </a:rPr>
              <a:t>ufficiali e altre attività ufficiali; la gestione delle non conformità, la controperizia e la controversia ; i laboratori ufficiali e quelli addetti all’autocontrollo; le sanzioni nel settore alimentare, mangimistico e </a:t>
            </a:r>
            <a:r>
              <a:rPr lang="it-IT" dirty="0" smtClean="0">
                <a:solidFill>
                  <a:srgbClr val="012169"/>
                </a:solidFill>
                <a:latin typeface="Century Gothic" panose="020B0502020202020204" pitchFamily="34" charset="0"/>
              </a:rPr>
              <a:t>fitosanitario.</a:t>
            </a:r>
            <a:endParaRPr lang="it-IT" dirty="0">
              <a:solidFill>
                <a:srgbClr val="012169"/>
              </a:solidFill>
              <a:latin typeface="Century Gothic" panose="020B0502020202020204" pitchFamily="34" charset="0"/>
            </a:endParaRPr>
          </a:p>
        </p:txBody>
      </p:sp>
      <p:pic>
        <p:nvPicPr>
          <p:cNvPr id="5" name="Immagin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85662" y="40691"/>
            <a:ext cx="1606338" cy="864951"/>
          </a:xfrm>
          <a:prstGeom prst="rect">
            <a:avLst/>
          </a:prstGeom>
        </p:spPr>
      </p:pic>
    </p:spTree>
    <p:extLst>
      <p:ext uri="{BB962C8B-B14F-4D97-AF65-F5344CB8AC3E}">
        <p14:creationId xmlns:p14="http://schemas.microsoft.com/office/powerpoint/2010/main" val="9237080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16. </a:t>
            </a:r>
            <a:r>
              <a:rPr lang="it-IT" kern="0" dirty="0" smtClean="0">
                <a:solidFill>
                  <a:srgbClr val="0F2D69"/>
                </a:solidFill>
                <a:latin typeface="Century Gothic"/>
                <a:cs typeface="Arial"/>
              </a:rPr>
              <a:t>Autorità competenti</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6" name="CasellaDiTesto 5"/>
          <p:cNvSpPr txBox="1"/>
          <p:nvPr/>
        </p:nvSpPr>
        <p:spPr>
          <a:xfrm>
            <a:off x="293210" y="946172"/>
            <a:ext cx="10951965" cy="1477328"/>
          </a:xfrm>
          <a:prstGeom prst="rect">
            <a:avLst/>
          </a:prstGeom>
          <a:solidFill>
            <a:schemeClr val="tx2">
              <a:lumMod val="20000"/>
              <a:lumOff val="80000"/>
            </a:schemeClr>
          </a:solidFill>
          <a:ln>
            <a:solidFill>
              <a:srgbClr val="012169"/>
            </a:solidFill>
          </a:ln>
        </p:spPr>
        <p:txBody>
          <a:bodyPr wrap="square" rtlCol="0">
            <a:spAutoFit/>
          </a:bodyPr>
          <a:lstStyle/>
          <a:p>
            <a:r>
              <a:rPr lang="it-IT" b="1" dirty="0" smtClean="0">
                <a:solidFill>
                  <a:srgbClr val="012169"/>
                </a:solidFill>
                <a:latin typeface="Century Gothic" panose="020B0502020202020204" pitchFamily="34" charset="0"/>
              </a:rPr>
              <a:t>Ministero della salute</a:t>
            </a:r>
          </a:p>
          <a:p>
            <a:r>
              <a:rPr lang="it-IT" b="1" dirty="0" smtClean="0">
                <a:solidFill>
                  <a:srgbClr val="012169"/>
                </a:solidFill>
                <a:latin typeface="Century Gothic" panose="020B0502020202020204" pitchFamily="34" charset="0"/>
              </a:rPr>
              <a:t>Regioni e Province autonome</a:t>
            </a:r>
          </a:p>
          <a:p>
            <a:r>
              <a:rPr lang="it-IT" b="1" dirty="0" smtClean="0">
                <a:solidFill>
                  <a:srgbClr val="012169"/>
                </a:solidFill>
                <a:latin typeface="Century Gothic" panose="020B0502020202020204" pitchFamily="34" charset="0"/>
              </a:rPr>
              <a:t>Aziende sanitarie locali</a:t>
            </a:r>
          </a:p>
          <a:p>
            <a:endParaRPr lang="it-IT" b="1" dirty="0">
              <a:solidFill>
                <a:srgbClr val="012169"/>
              </a:solidFill>
              <a:latin typeface="Century Gothic" panose="020B0502020202020204" pitchFamily="34" charset="0"/>
            </a:endParaRPr>
          </a:p>
          <a:p>
            <a:r>
              <a:rPr lang="it-IT" b="1" dirty="0" smtClean="0">
                <a:solidFill>
                  <a:srgbClr val="012169"/>
                </a:solidFill>
                <a:latin typeface="Century Gothic" panose="020B0502020202020204" pitchFamily="34" charset="0"/>
              </a:rPr>
              <a:t>Ministero delle Politiche Agricole, Alimentari e Forestali</a:t>
            </a:r>
            <a:endParaRPr lang="it-IT" b="1" dirty="0">
              <a:solidFill>
                <a:srgbClr val="012169"/>
              </a:solidFill>
              <a:latin typeface="Century Gothic" panose="020B0502020202020204" pitchFamily="34" charset="0"/>
            </a:endParaRPr>
          </a:p>
        </p:txBody>
      </p:sp>
      <p:sp>
        <p:nvSpPr>
          <p:cNvPr id="7" name="CasellaDiTesto 6"/>
          <p:cNvSpPr txBox="1"/>
          <p:nvPr/>
        </p:nvSpPr>
        <p:spPr>
          <a:xfrm>
            <a:off x="293210" y="2704458"/>
            <a:ext cx="10951965" cy="1754326"/>
          </a:xfrm>
          <a:prstGeom prst="rect">
            <a:avLst/>
          </a:prstGeom>
          <a:noFill/>
          <a:ln>
            <a:solidFill>
              <a:srgbClr val="012169"/>
            </a:solidFill>
          </a:ln>
        </p:spPr>
        <p:txBody>
          <a:bodyPr wrap="square" rtlCol="0">
            <a:spAutoFit/>
          </a:bodyPr>
          <a:lstStyle/>
          <a:p>
            <a:r>
              <a:rPr lang="it-IT" altLang="it-IT" dirty="0">
                <a:solidFill>
                  <a:srgbClr val="012169"/>
                </a:solidFill>
                <a:latin typeface="Century Gothic" panose="020B0502020202020204" pitchFamily="34" charset="0"/>
              </a:rPr>
              <a:t>Il Ministero della salute, in </a:t>
            </a:r>
            <a:r>
              <a:rPr lang="it-IT" altLang="it-IT" dirty="0" smtClean="0">
                <a:solidFill>
                  <a:srgbClr val="012169"/>
                </a:solidFill>
                <a:latin typeface="Century Gothic" panose="020B0502020202020204" pitchFamily="34" charset="0"/>
              </a:rPr>
              <a:t>qualità </a:t>
            </a:r>
            <a:r>
              <a:rPr lang="it-IT" altLang="it-IT" dirty="0">
                <a:solidFill>
                  <a:srgbClr val="012169"/>
                </a:solidFill>
                <a:latin typeface="Century Gothic" panose="020B0502020202020204" pitchFamily="34" charset="0"/>
              </a:rPr>
              <a:t>di </a:t>
            </a:r>
            <a:r>
              <a:rPr lang="it-IT" altLang="it-IT" dirty="0" smtClean="0">
                <a:solidFill>
                  <a:srgbClr val="012169"/>
                </a:solidFill>
                <a:latin typeface="Century Gothic" panose="020B0502020202020204" pitchFamily="34" charset="0"/>
              </a:rPr>
              <a:t>Autorità </a:t>
            </a:r>
            <a:r>
              <a:rPr lang="it-IT" altLang="it-IT" dirty="0">
                <a:solidFill>
                  <a:srgbClr val="012169"/>
                </a:solidFill>
                <a:latin typeface="Century Gothic" panose="020B0502020202020204" pitchFamily="34" charset="0"/>
              </a:rPr>
              <a:t>competente, </a:t>
            </a:r>
            <a:r>
              <a:rPr lang="it-IT" altLang="it-IT" dirty="0" smtClean="0">
                <a:solidFill>
                  <a:srgbClr val="012169"/>
                </a:solidFill>
                <a:latin typeface="Century Gothic" panose="020B0502020202020204" pitchFamily="34" charset="0"/>
              </a:rPr>
              <a:t>può </a:t>
            </a:r>
            <a:r>
              <a:rPr lang="it-IT" altLang="it-IT" dirty="0">
                <a:solidFill>
                  <a:srgbClr val="012169"/>
                </a:solidFill>
                <a:latin typeface="Century Gothic" panose="020B0502020202020204" pitchFamily="34" charset="0"/>
              </a:rPr>
              <a:t>avvalersi del </a:t>
            </a:r>
            <a:r>
              <a:rPr lang="it-IT" altLang="it-IT" b="1" dirty="0">
                <a:solidFill>
                  <a:srgbClr val="012169"/>
                </a:solidFill>
                <a:latin typeface="Century Gothic" panose="020B0502020202020204" pitchFamily="34" charset="0"/>
              </a:rPr>
              <a:t>Comando </a:t>
            </a:r>
            <a:r>
              <a:rPr lang="it-IT" altLang="it-IT" b="1" dirty="0" smtClean="0">
                <a:solidFill>
                  <a:srgbClr val="012169"/>
                </a:solidFill>
                <a:latin typeface="Century Gothic" panose="020B0502020202020204" pitchFamily="34" charset="0"/>
              </a:rPr>
              <a:t>dei Carabinieri </a:t>
            </a:r>
            <a:r>
              <a:rPr lang="it-IT" altLang="it-IT" b="1" dirty="0">
                <a:solidFill>
                  <a:srgbClr val="012169"/>
                </a:solidFill>
                <a:latin typeface="Century Gothic" panose="020B0502020202020204" pitchFamily="34" charset="0"/>
              </a:rPr>
              <a:t>per la tutela della salute</a:t>
            </a:r>
            <a:r>
              <a:rPr lang="it-IT" altLang="it-IT" dirty="0">
                <a:solidFill>
                  <a:srgbClr val="012169"/>
                </a:solidFill>
                <a:latin typeface="Century Gothic" panose="020B0502020202020204" pitchFamily="34" charset="0"/>
              </a:rPr>
              <a:t>, garantendone il </a:t>
            </a:r>
            <a:r>
              <a:rPr lang="it-IT" altLang="it-IT" b="1" dirty="0">
                <a:solidFill>
                  <a:srgbClr val="012169"/>
                </a:solidFill>
                <a:latin typeface="Century Gothic" panose="020B0502020202020204" pitchFamily="34" charset="0"/>
              </a:rPr>
              <a:t>coordinamento delle </a:t>
            </a:r>
            <a:r>
              <a:rPr lang="it-IT" altLang="it-IT" b="1" dirty="0" smtClean="0">
                <a:solidFill>
                  <a:srgbClr val="012169"/>
                </a:solidFill>
                <a:latin typeface="Century Gothic" panose="020B0502020202020204" pitchFamily="34" charset="0"/>
              </a:rPr>
              <a:t>attività</a:t>
            </a:r>
            <a:r>
              <a:rPr lang="it-IT" altLang="it-IT" dirty="0" smtClean="0">
                <a:solidFill>
                  <a:srgbClr val="012169"/>
                </a:solidFill>
                <a:latin typeface="Century Gothic" panose="020B0502020202020204" pitchFamily="34" charset="0"/>
              </a:rPr>
              <a:t> </a:t>
            </a:r>
            <a:r>
              <a:rPr lang="it-IT" altLang="it-IT" b="1" dirty="0">
                <a:solidFill>
                  <a:srgbClr val="012169"/>
                </a:solidFill>
                <a:latin typeface="Century Gothic" panose="020B0502020202020204" pitchFamily="34" charset="0"/>
              </a:rPr>
              <a:t>di accertamento con le </a:t>
            </a:r>
            <a:r>
              <a:rPr lang="it-IT" altLang="it-IT" b="1" dirty="0" smtClean="0">
                <a:solidFill>
                  <a:srgbClr val="012169"/>
                </a:solidFill>
                <a:latin typeface="Century Gothic" panose="020B0502020202020204" pitchFamily="34" charset="0"/>
              </a:rPr>
              <a:t>attività </a:t>
            </a:r>
            <a:r>
              <a:rPr lang="it-IT" altLang="it-IT" b="1" dirty="0">
                <a:solidFill>
                  <a:srgbClr val="012169"/>
                </a:solidFill>
                <a:latin typeface="Century Gothic" panose="020B0502020202020204" pitchFamily="34" charset="0"/>
              </a:rPr>
              <a:t>di controllo </a:t>
            </a:r>
            <a:r>
              <a:rPr lang="it-IT" altLang="it-IT" dirty="0">
                <a:solidFill>
                  <a:srgbClr val="012169"/>
                </a:solidFill>
                <a:latin typeface="Century Gothic" panose="020B0502020202020204" pitchFamily="34" charset="0"/>
              </a:rPr>
              <a:t>svolte dalle altre </a:t>
            </a:r>
            <a:r>
              <a:rPr lang="it-IT" altLang="it-IT" dirty="0" smtClean="0">
                <a:solidFill>
                  <a:srgbClr val="012169"/>
                </a:solidFill>
                <a:latin typeface="Century Gothic" panose="020B0502020202020204" pitchFamily="34" charset="0"/>
              </a:rPr>
              <a:t>Autorità </a:t>
            </a:r>
            <a:r>
              <a:rPr lang="it-IT" altLang="it-IT" dirty="0">
                <a:solidFill>
                  <a:srgbClr val="012169"/>
                </a:solidFill>
                <a:latin typeface="Century Gothic" panose="020B0502020202020204" pitchFamily="34" charset="0"/>
              </a:rPr>
              <a:t>territorialmente competenti. </a:t>
            </a:r>
            <a:r>
              <a:rPr lang="it-IT" altLang="it-IT" dirty="0" smtClean="0">
                <a:solidFill>
                  <a:srgbClr val="012169"/>
                </a:solidFill>
                <a:latin typeface="Century Gothic" panose="020B0502020202020204" pitchFamily="34" charset="0"/>
              </a:rPr>
              <a:t>Al </a:t>
            </a:r>
            <a:r>
              <a:rPr lang="it-IT" altLang="it-IT" dirty="0">
                <a:solidFill>
                  <a:srgbClr val="012169"/>
                </a:solidFill>
                <a:latin typeface="Century Gothic" panose="020B0502020202020204" pitchFamily="34" charset="0"/>
              </a:rPr>
              <a:t>personale delle </a:t>
            </a:r>
            <a:r>
              <a:rPr lang="it-IT" altLang="it-IT" dirty="0" smtClean="0">
                <a:solidFill>
                  <a:srgbClr val="012169"/>
                </a:solidFill>
                <a:latin typeface="Century Gothic" panose="020B0502020202020204" pitchFamily="34" charset="0"/>
              </a:rPr>
              <a:t>Autorità </a:t>
            </a:r>
            <a:r>
              <a:rPr lang="it-IT" altLang="it-IT" dirty="0">
                <a:solidFill>
                  <a:srgbClr val="012169"/>
                </a:solidFill>
                <a:latin typeface="Century Gothic" panose="020B0502020202020204" pitchFamily="34" charset="0"/>
              </a:rPr>
              <a:t>competenti di cui al comma 1, addetto ai controlli ufficiali e alle altre </a:t>
            </a:r>
            <a:r>
              <a:rPr lang="it-IT" altLang="it-IT" dirty="0" smtClean="0">
                <a:solidFill>
                  <a:srgbClr val="012169"/>
                </a:solidFill>
                <a:latin typeface="Century Gothic" panose="020B0502020202020204" pitchFamily="34" charset="0"/>
              </a:rPr>
              <a:t>attività </a:t>
            </a:r>
            <a:r>
              <a:rPr lang="it-IT" altLang="it-IT" dirty="0">
                <a:solidFill>
                  <a:srgbClr val="012169"/>
                </a:solidFill>
                <a:latin typeface="Century Gothic" panose="020B0502020202020204" pitchFamily="34" charset="0"/>
              </a:rPr>
              <a:t>ufficiali, </a:t>
            </a:r>
            <a:r>
              <a:rPr lang="it-IT" altLang="it-IT" dirty="0" smtClean="0">
                <a:solidFill>
                  <a:srgbClr val="012169"/>
                </a:solidFill>
                <a:latin typeface="Century Gothic" panose="020B0502020202020204" pitchFamily="34" charset="0"/>
              </a:rPr>
              <a:t>è </a:t>
            </a:r>
            <a:r>
              <a:rPr lang="it-IT" altLang="it-IT" dirty="0">
                <a:solidFill>
                  <a:srgbClr val="012169"/>
                </a:solidFill>
                <a:latin typeface="Century Gothic" panose="020B0502020202020204" pitchFamily="34" charset="0"/>
              </a:rPr>
              <a:t>attribuita la qualifica di </a:t>
            </a:r>
            <a:r>
              <a:rPr lang="it-IT" altLang="it-IT" b="1" dirty="0">
                <a:solidFill>
                  <a:srgbClr val="012169"/>
                </a:solidFill>
                <a:latin typeface="Century Gothic" panose="020B0502020202020204" pitchFamily="34" charset="0"/>
              </a:rPr>
              <a:t>Ufficiale o Agente di Polizia Giudiziaria </a:t>
            </a:r>
            <a:r>
              <a:rPr lang="it-IT" altLang="it-IT" dirty="0">
                <a:solidFill>
                  <a:srgbClr val="012169"/>
                </a:solidFill>
                <a:latin typeface="Century Gothic" panose="020B0502020202020204" pitchFamily="34" charset="0"/>
              </a:rPr>
              <a:t>nei limiti del servizio cui </a:t>
            </a:r>
            <a:r>
              <a:rPr lang="it-IT" altLang="it-IT" dirty="0" smtClean="0">
                <a:solidFill>
                  <a:srgbClr val="012169"/>
                </a:solidFill>
                <a:latin typeface="Century Gothic" panose="020B0502020202020204" pitchFamily="34" charset="0"/>
              </a:rPr>
              <a:t>è </a:t>
            </a:r>
            <a:r>
              <a:rPr lang="it-IT" altLang="it-IT" dirty="0">
                <a:solidFill>
                  <a:srgbClr val="012169"/>
                </a:solidFill>
                <a:latin typeface="Century Gothic" panose="020B0502020202020204" pitchFamily="34" charset="0"/>
              </a:rPr>
              <a:t>destinato e secondo le attribuzioni ad esso conferite</a:t>
            </a:r>
            <a:endParaRPr lang="it-IT" dirty="0">
              <a:solidFill>
                <a:srgbClr val="012169"/>
              </a:solidFill>
              <a:latin typeface="Century Gothic" panose="020B0502020202020204" pitchFamily="34" charset="0"/>
            </a:endParaRPr>
          </a:p>
        </p:txBody>
      </p:sp>
      <p:sp>
        <p:nvSpPr>
          <p:cNvPr id="8" name="CasellaDiTesto 7"/>
          <p:cNvSpPr txBox="1"/>
          <p:nvPr/>
        </p:nvSpPr>
        <p:spPr>
          <a:xfrm>
            <a:off x="293210" y="4739742"/>
            <a:ext cx="10951965" cy="2031325"/>
          </a:xfrm>
          <a:prstGeom prst="rect">
            <a:avLst/>
          </a:prstGeom>
          <a:noFill/>
          <a:ln>
            <a:solidFill>
              <a:srgbClr val="012169"/>
            </a:solidFill>
          </a:ln>
        </p:spPr>
        <p:txBody>
          <a:bodyPr wrap="square" rtlCol="0">
            <a:spAutoFit/>
          </a:bodyPr>
          <a:lstStyle/>
          <a:p>
            <a:pPr lvl="0"/>
            <a:r>
              <a:rPr lang="it-IT" altLang="it-IT" b="1" dirty="0">
                <a:solidFill>
                  <a:srgbClr val="012169"/>
                </a:solidFill>
                <a:latin typeface="Century Gothic" panose="020B0502020202020204" pitchFamily="34" charset="0"/>
              </a:rPr>
              <a:t>Ministero della difesa </a:t>
            </a:r>
            <a:r>
              <a:rPr lang="it-IT" altLang="it-IT" dirty="0">
                <a:solidFill>
                  <a:srgbClr val="012169"/>
                </a:solidFill>
                <a:latin typeface="Century Gothic" panose="020B0502020202020204" pitchFamily="34" charset="0"/>
              </a:rPr>
              <a:t>è</a:t>
            </a:r>
            <a:r>
              <a:rPr lang="it-IT" altLang="it-IT" dirty="0" smtClean="0">
                <a:solidFill>
                  <a:srgbClr val="012169"/>
                </a:solidFill>
                <a:latin typeface="Century Gothic" panose="020B0502020202020204" pitchFamily="34" charset="0"/>
              </a:rPr>
              <a:t> Autorità </a:t>
            </a:r>
            <a:r>
              <a:rPr lang="it-IT" altLang="it-IT" dirty="0">
                <a:solidFill>
                  <a:srgbClr val="012169"/>
                </a:solidFill>
                <a:latin typeface="Century Gothic" panose="020B0502020202020204" pitchFamily="34" charset="0"/>
              </a:rPr>
              <a:t>competente per i controlli ufficiali e le altre </a:t>
            </a:r>
            <a:r>
              <a:rPr lang="it-IT" altLang="it-IT" dirty="0" smtClean="0">
                <a:solidFill>
                  <a:srgbClr val="012169"/>
                </a:solidFill>
                <a:latin typeface="Century Gothic" panose="020B0502020202020204" pitchFamily="34" charset="0"/>
              </a:rPr>
              <a:t>attività </a:t>
            </a:r>
            <a:r>
              <a:rPr lang="it-IT" altLang="it-IT" dirty="0">
                <a:solidFill>
                  <a:srgbClr val="012169"/>
                </a:solidFill>
                <a:latin typeface="Century Gothic" panose="020B0502020202020204" pitchFamily="34" charset="0"/>
              </a:rPr>
              <a:t>di controllo ufficiale condotte </a:t>
            </a:r>
            <a:r>
              <a:rPr lang="it-IT" altLang="it-IT" b="1" dirty="0">
                <a:solidFill>
                  <a:srgbClr val="012169"/>
                </a:solidFill>
                <a:latin typeface="Century Gothic" panose="020B0502020202020204" pitchFamily="34" charset="0"/>
              </a:rPr>
              <a:t>nelle strutture delle Forze armate, comprese quelle connesse alle </a:t>
            </a:r>
            <a:r>
              <a:rPr lang="it-IT" altLang="it-IT" b="1" dirty="0" smtClean="0">
                <a:solidFill>
                  <a:srgbClr val="012169"/>
                </a:solidFill>
                <a:latin typeface="Century Gothic" panose="020B0502020202020204" pitchFamily="34" charset="0"/>
              </a:rPr>
              <a:t>attività </a:t>
            </a:r>
            <a:r>
              <a:rPr lang="it-IT" altLang="it-IT" b="1" dirty="0">
                <a:solidFill>
                  <a:srgbClr val="012169"/>
                </a:solidFill>
                <a:latin typeface="Century Gothic" panose="020B0502020202020204" pitchFamily="34" charset="0"/>
              </a:rPr>
              <a:t>dei contingenti impiegati nelle missioni internazionali</a:t>
            </a:r>
            <a:r>
              <a:rPr lang="it-IT" altLang="it-IT" dirty="0">
                <a:solidFill>
                  <a:srgbClr val="012169"/>
                </a:solidFill>
                <a:latin typeface="Century Gothic" panose="020B0502020202020204" pitchFamily="34" charset="0"/>
              </a:rPr>
              <a:t>. Esso </a:t>
            </a:r>
            <a:r>
              <a:rPr lang="it-IT" altLang="it-IT" dirty="0" smtClean="0">
                <a:solidFill>
                  <a:srgbClr val="012169"/>
                </a:solidFill>
                <a:latin typeface="Century Gothic" panose="020B0502020202020204" pitchFamily="34" charset="0"/>
              </a:rPr>
              <a:t>può </a:t>
            </a:r>
            <a:r>
              <a:rPr lang="it-IT" altLang="it-IT" dirty="0">
                <a:solidFill>
                  <a:srgbClr val="012169"/>
                </a:solidFill>
                <a:latin typeface="Century Gothic" panose="020B0502020202020204" pitchFamily="34" charset="0"/>
              </a:rPr>
              <a:t>procedere anche a effettuare controlli ufficiali negli stabilimenti siti al di fuori delle strutture militari che forniscono merce per le Forze Armate, previo coordinamento con l'Azienda sanitaria locale competente sullo stabilimento oggetto di controllo, la quale </a:t>
            </a:r>
            <a:r>
              <a:rPr lang="it-IT" altLang="it-IT" dirty="0" smtClean="0">
                <a:solidFill>
                  <a:srgbClr val="012169"/>
                </a:solidFill>
                <a:latin typeface="Century Gothic" panose="020B0502020202020204" pitchFamily="34" charset="0"/>
              </a:rPr>
              <a:t>sarà </a:t>
            </a:r>
            <a:r>
              <a:rPr lang="it-IT" altLang="it-IT" dirty="0">
                <a:solidFill>
                  <a:srgbClr val="012169"/>
                </a:solidFill>
                <a:latin typeface="Century Gothic" panose="020B0502020202020204" pitchFamily="34" charset="0"/>
              </a:rPr>
              <a:t>destinataria anche dell'esito di tali controlli. </a:t>
            </a:r>
          </a:p>
          <a:p>
            <a:endParaRPr lang="it-IT" dirty="0"/>
          </a:p>
        </p:txBody>
      </p:sp>
      <p:pic>
        <p:nvPicPr>
          <p:cNvPr id="9" name="Immagin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56474"/>
            <a:ext cx="1606338" cy="864951"/>
          </a:xfrm>
          <a:prstGeom prst="rect">
            <a:avLst/>
          </a:prstGeom>
        </p:spPr>
      </p:pic>
    </p:spTree>
    <p:extLst>
      <p:ext uri="{BB962C8B-B14F-4D97-AF65-F5344CB8AC3E}">
        <p14:creationId xmlns:p14="http://schemas.microsoft.com/office/powerpoint/2010/main" val="35437743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sng" strike="noStrike" kern="0" cap="none" spc="0" normalizeH="0" baseline="0" noProof="0" dirty="0" smtClean="0">
                <a:ln>
                  <a:noFill/>
                </a:ln>
                <a:solidFill>
                  <a:srgbClr val="0F2D69"/>
                </a:solidFill>
                <a:effectLst/>
                <a:uLnTx/>
                <a:uFillTx/>
                <a:latin typeface="Century Gothic"/>
                <a:ea typeface="+mj-ea"/>
                <a:cs typeface="Arial"/>
              </a:rPr>
              <a:t>Agenda</a:t>
            </a:r>
            <a:endParaRPr kumimoji="0" lang="en-GB" sz="2200" b="1" i="0" u="sng" strike="noStrike" kern="0" cap="none" spc="0" normalizeH="0" baseline="0" noProof="0" dirty="0">
              <a:ln>
                <a:noFill/>
              </a:ln>
              <a:solidFill>
                <a:srgbClr val="0F2D69"/>
              </a:solidFill>
              <a:effectLst/>
              <a:uLnTx/>
              <a:uFillTx/>
              <a:latin typeface="Century Gothic"/>
              <a:ea typeface="+mj-ea"/>
              <a:cs typeface="Arial"/>
            </a:endParaRPr>
          </a:p>
        </p:txBody>
      </p:sp>
      <p:grpSp>
        <p:nvGrpSpPr>
          <p:cNvPr id="38" name="Group 37"/>
          <p:cNvGrpSpPr/>
          <p:nvPr/>
        </p:nvGrpSpPr>
        <p:grpSpPr>
          <a:xfrm>
            <a:off x="293209" y="894820"/>
            <a:ext cx="10557368" cy="4054779"/>
            <a:chOff x="293209" y="1110258"/>
            <a:chExt cx="10557368" cy="4054779"/>
          </a:xfrm>
        </p:grpSpPr>
        <p:grpSp>
          <p:nvGrpSpPr>
            <p:cNvPr id="37" name="Group 36"/>
            <p:cNvGrpSpPr/>
            <p:nvPr/>
          </p:nvGrpSpPr>
          <p:grpSpPr>
            <a:xfrm>
              <a:off x="293209" y="1993550"/>
              <a:ext cx="10549923" cy="576634"/>
              <a:chOff x="293209" y="2398699"/>
              <a:chExt cx="10549923" cy="576634"/>
            </a:xfrm>
          </p:grpSpPr>
          <p:sp>
            <p:nvSpPr>
              <p:cNvPr id="13" name="Rectangle 6"/>
              <p:cNvSpPr>
                <a:spLocks noChangeArrowheads="1"/>
              </p:cNvSpPr>
              <p:nvPr/>
            </p:nvSpPr>
            <p:spPr bwMode="auto">
              <a:xfrm>
                <a:off x="529746" y="2518714"/>
                <a:ext cx="1031338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sz="2200" b="1" dirty="0" smtClean="0">
                    <a:solidFill>
                      <a:srgbClr val="0F2D69"/>
                    </a:solidFill>
                    <a:latin typeface="Century Gothic"/>
                    <a:cs typeface="Arial"/>
                  </a:rPr>
                  <a:t>Ambito di applicazione</a:t>
                </a:r>
                <a:endParaRPr lang="it-IT" sz="2200" b="1" dirty="0">
                  <a:solidFill>
                    <a:srgbClr val="0F2D69"/>
                  </a:solidFill>
                  <a:latin typeface="Century Gothic"/>
                  <a:cs typeface="Arial"/>
                </a:endParaRPr>
              </a:p>
            </p:txBody>
          </p:sp>
          <p:sp>
            <p:nvSpPr>
              <p:cNvPr id="14" name="Rectangle 13"/>
              <p:cNvSpPr/>
              <p:nvPr/>
            </p:nvSpPr>
            <p:spPr bwMode="auto">
              <a:xfrm>
                <a:off x="293209" y="2398699"/>
                <a:ext cx="236537" cy="576634"/>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grpSp>
        <p:grpSp>
          <p:nvGrpSpPr>
            <p:cNvPr id="33" name="Group 32"/>
            <p:cNvGrpSpPr/>
            <p:nvPr/>
          </p:nvGrpSpPr>
          <p:grpSpPr>
            <a:xfrm>
              <a:off x="298768" y="2858501"/>
              <a:ext cx="10348404" cy="576634"/>
              <a:chOff x="298768" y="2651009"/>
              <a:chExt cx="10348404" cy="576634"/>
            </a:xfrm>
          </p:grpSpPr>
          <p:sp>
            <p:nvSpPr>
              <p:cNvPr id="16" name="Rectangle 15"/>
              <p:cNvSpPr>
                <a:spLocks noChangeArrowheads="1"/>
              </p:cNvSpPr>
              <p:nvPr/>
            </p:nvSpPr>
            <p:spPr bwMode="auto">
              <a:xfrm>
                <a:off x="529746" y="2794720"/>
                <a:ext cx="1011742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sz="2200" b="1" dirty="0" smtClean="0">
                    <a:solidFill>
                      <a:srgbClr val="0F2D69"/>
                    </a:solidFill>
                    <a:latin typeface="Century Gothic"/>
                    <a:cs typeface="Arial"/>
                  </a:rPr>
                  <a:t>Principi generali</a:t>
                </a:r>
                <a:endParaRPr lang="it-IT" sz="2200" b="1" dirty="0">
                  <a:solidFill>
                    <a:srgbClr val="0F2D69"/>
                  </a:solidFill>
                  <a:latin typeface="Century Gothic"/>
                  <a:cs typeface="Arial"/>
                </a:endParaRPr>
              </a:p>
            </p:txBody>
          </p:sp>
          <p:sp>
            <p:nvSpPr>
              <p:cNvPr id="15" name="Rectangle 14"/>
              <p:cNvSpPr/>
              <p:nvPr/>
            </p:nvSpPr>
            <p:spPr bwMode="auto">
              <a:xfrm>
                <a:off x="298768" y="2651009"/>
                <a:ext cx="236537" cy="576634"/>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grpSp>
        <p:grpSp>
          <p:nvGrpSpPr>
            <p:cNvPr id="32" name="Group 31"/>
            <p:cNvGrpSpPr/>
            <p:nvPr/>
          </p:nvGrpSpPr>
          <p:grpSpPr>
            <a:xfrm>
              <a:off x="298768" y="3723452"/>
              <a:ext cx="10404763" cy="576634"/>
              <a:chOff x="298768" y="3471469"/>
              <a:chExt cx="10404763" cy="576634"/>
            </a:xfrm>
          </p:grpSpPr>
          <p:sp>
            <p:nvSpPr>
              <p:cNvPr id="17" name="Rectangle 16"/>
              <p:cNvSpPr>
                <a:spLocks noChangeArrowheads="1"/>
              </p:cNvSpPr>
              <p:nvPr/>
            </p:nvSpPr>
            <p:spPr bwMode="auto">
              <a:xfrm>
                <a:off x="586105" y="3561536"/>
                <a:ext cx="1011742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altLang="it-IT" sz="2200" b="1" dirty="0" smtClean="0">
                    <a:solidFill>
                      <a:srgbClr val="0F2D69"/>
                    </a:solidFill>
                    <a:latin typeface="Century Gothic"/>
                    <a:cs typeface="Arial"/>
                  </a:rPr>
                  <a:t>I soggetti: Autorità Competente e Operatori</a:t>
                </a:r>
                <a:endParaRPr lang="it-IT" altLang="it-IT" sz="2200" b="1" dirty="0">
                  <a:solidFill>
                    <a:srgbClr val="0F2D69"/>
                  </a:solidFill>
                  <a:latin typeface="Century Gothic"/>
                  <a:cs typeface="Arial"/>
                </a:endParaRPr>
              </a:p>
            </p:txBody>
          </p:sp>
          <p:sp>
            <p:nvSpPr>
              <p:cNvPr id="21" name="Rectangle 20"/>
              <p:cNvSpPr/>
              <p:nvPr/>
            </p:nvSpPr>
            <p:spPr bwMode="auto">
              <a:xfrm>
                <a:off x="298768" y="3471469"/>
                <a:ext cx="236537" cy="576634"/>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grpSp>
        <p:grpSp>
          <p:nvGrpSpPr>
            <p:cNvPr id="31" name="Group 30"/>
            <p:cNvGrpSpPr/>
            <p:nvPr/>
          </p:nvGrpSpPr>
          <p:grpSpPr>
            <a:xfrm>
              <a:off x="293210" y="4588403"/>
              <a:ext cx="10459387" cy="576634"/>
              <a:chOff x="293210" y="4258792"/>
              <a:chExt cx="10459387" cy="576634"/>
            </a:xfrm>
          </p:grpSpPr>
          <p:sp>
            <p:nvSpPr>
              <p:cNvPr id="22" name="Rectangle 21"/>
              <p:cNvSpPr>
                <a:spLocks noChangeArrowheads="1"/>
              </p:cNvSpPr>
              <p:nvPr/>
            </p:nvSpPr>
            <p:spPr bwMode="auto">
              <a:xfrm>
                <a:off x="635171" y="4372555"/>
                <a:ext cx="1011742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altLang="it-IT" sz="2200" b="1" dirty="0" smtClean="0">
                    <a:solidFill>
                      <a:srgbClr val="0F2D69"/>
                    </a:solidFill>
                    <a:latin typeface="Century Gothic"/>
                    <a:cs typeface="Arial"/>
                  </a:rPr>
                  <a:t>Metodi di campionamento analisi test e diagnosi e IMSOC</a:t>
                </a:r>
                <a:endParaRPr lang="it-IT" altLang="it-IT" sz="2200" b="1" dirty="0">
                  <a:solidFill>
                    <a:srgbClr val="0F2D69"/>
                  </a:solidFill>
                  <a:latin typeface="Century Gothic"/>
                  <a:cs typeface="Arial"/>
                </a:endParaRPr>
              </a:p>
            </p:txBody>
          </p:sp>
          <p:sp>
            <p:nvSpPr>
              <p:cNvPr id="30" name="Rectangle 29"/>
              <p:cNvSpPr/>
              <p:nvPr/>
            </p:nvSpPr>
            <p:spPr bwMode="auto">
              <a:xfrm>
                <a:off x="293210" y="4258792"/>
                <a:ext cx="236537" cy="576634"/>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grpSp>
        <p:grpSp>
          <p:nvGrpSpPr>
            <p:cNvPr id="36" name="Group 35"/>
            <p:cNvGrpSpPr/>
            <p:nvPr/>
          </p:nvGrpSpPr>
          <p:grpSpPr>
            <a:xfrm>
              <a:off x="300654" y="1110258"/>
              <a:ext cx="10549923" cy="594547"/>
              <a:chOff x="300654" y="1439869"/>
              <a:chExt cx="10549923" cy="594547"/>
            </a:xfrm>
          </p:grpSpPr>
          <p:sp>
            <p:nvSpPr>
              <p:cNvPr id="12" name="Rectangle 11"/>
              <p:cNvSpPr/>
              <p:nvPr/>
            </p:nvSpPr>
            <p:spPr bwMode="auto">
              <a:xfrm>
                <a:off x="300654" y="1439869"/>
                <a:ext cx="236537" cy="594547"/>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sp>
            <p:nvSpPr>
              <p:cNvPr id="35" name="Rectangle 6"/>
              <p:cNvSpPr>
                <a:spLocks noChangeArrowheads="1"/>
              </p:cNvSpPr>
              <p:nvPr/>
            </p:nvSpPr>
            <p:spPr bwMode="auto">
              <a:xfrm>
                <a:off x="537191" y="1647425"/>
                <a:ext cx="1031338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sz="2200" b="1" dirty="0" smtClean="0">
                    <a:solidFill>
                      <a:srgbClr val="0F2D69"/>
                    </a:solidFill>
                    <a:latin typeface="Century Gothic"/>
                    <a:cs typeface="Arial"/>
                  </a:rPr>
                  <a:t>Finalità e struttura del Regolamento</a:t>
                </a:r>
                <a:endParaRPr lang="it-IT" sz="2200" b="1" dirty="0">
                  <a:solidFill>
                    <a:srgbClr val="0F2D69"/>
                  </a:solidFill>
                  <a:latin typeface="Century Gothic"/>
                  <a:cs typeface="Arial"/>
                </a:endParaRPr>
              </a:p>
            </p:txBody>
          </p:sp>
        </p:grpSp>
      </p:grpSp>
      <p:sp>
        <p:nvSpPr>
          <p:cNvPr id="23" name="Rectangle 29"/>
          <p:cNvSpPr/>
          <p:nvPr/>
        </p:nvSpPr>
        <p:spPr bwMode="auto">
          <a:xfrm>
            <a:off x="293208" y="5237916"/>
            <a:ext cx="236537" cy="576634"/>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sp>
        <p:nvSpPr>
          <p:cNvPr id="24" name="Rectangle 21"/>
          <p:cNvSpPr>
            <a:spLocks noChangeArrowheads="1"/>
          </p:cNvSpPr>
          <p:nvPr/>
        </p:nvSpPr>
        <p:spPr bwMode="auto">
          <a:xfrm>
            <a:off x="627726" y="5333872"/>
            <a:ext cx="1011742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altLang="it-IT" sz="2200" b="1" dirty="0" smtClean="0">
                <a:solidFill>
                  <a:srgbClr val="0F2D69"/>
                </a:solidFill>
                <a:latin typeface="Century Gothic"/>
                <a:cs typeface="Arial"/>
              </a:rPr>
              <a:t>Azioni in caso di accertata non conformità e ricorso </a:t>
            </a:r>
            <a:endParaRPr lang="it-IT" altLang="it-IT" sz="2200" b="1" dirty="0">
              <a:solidFill>
                <a:srgbClr val="0F2D69"/>
              </a:solidFill>
              <a:latin typeface="Century Gothic"/>
              <a:cs typeface="Arial"/>
            </a:endParaRPr>
          </a:p>
        </p:txBody>
      </p:sp>
      <p:sp>
        <p:nvSpPr>
          <p:cNvPr id="25" name="Rectangle 29"/>
          <p:cNvSpPr/>
          <p:nvPr/>
        </p:nvSpPr>
        <p:spPr bwMode="auto">
          <a:xfrm>
            <a:off x="293208" y="6102867"/>
            <a:ext cx="236537" cy="576634"/>
          </a:xfrm>
          <a:prstGeom prst="rect">
            <a:avLst/>
          </a:prstGeom>
          <a:solidFill>
            <a:srgbClr val="812143"/>
          </a:solidFill>
          <a:ln w="3175" cap="flat" cmpd="sng" algn="ctr">
            <a:solidFill>
              <a:srgbClr val="812143"/>
            </a:solidFill>
            <a:prstDash val="solid"/>
          </a:ln>
          <a:effectLst/>
        </p:spPr>
        <p:txBody>
          <a:bodyPr vert="horz" anchor="ctr"/>
          <a:lstStyle/>
          <a:p>
            <a:pPr algn="ctr" defTabSz="457200" eaLnBrk="0" fontAlgn="base" hangingPunct="0">
              <a:spcBef>
                <a:spcPct val="0"/>
              </a:spcBef>
              <a:spcAft>
                <a:spcPct val="0"/>
              </a:spcAft>
            </a:pPr>
            <a:endParaRPr lang="it-IT" sz="1400" b="1" kern="0" dirty="0">
              <a:solidFill>
                <a:prstClr val="white"/>
              </a:solidFill>
              <a:latin typeface="Century Gothic"/>
              <a:cs typeface="Arial"/>
            </a:endParaRPr>
          </a:p>
        </p:txBody>
      </p:sp>
      <p:sp>
        <p:nvSpPr>
          <p:cNvPr id="26" name="Rectangle 21"/>
          <p:cNvSpPr>
            <a:spLocks noChangeArrowheads="1"/>
          </p:cNvSpPr>
          <p:nvPr/>
        </p:nvSpPr>
        <p:spPr bwMode="auto">
          <a:xfrm>
            <a:off x="725706" y="6222519"/>
            <a:ext cx="1011742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p>
            <a:pPr defTabSz="457200" eaLnBrk="0" fontAlgn="base" hangingPunct="0">
              <a:spcBef>
                <a:spcPct val="0"/>
              </a:spcBef>
              <a:spcAft>
                <a:spcPct val="0"/>
              </a:spcAft>
            </a:pPr>
            <a:r>
              <a:rPr lang="it-IT" altLang="it-IT" sz="2200" b="1" dirty="0" smtClean="0">
                <a:solidFill>
                  <a:srgbClr val="0F2D69"/>
                </a:solidFill>
                <a:latin typeface="Century Gothic"/>
                <a:cs typeface="Arial"/>
              </a:rPr>
              <a:t>Normativa italiana di adeguamento: il D. </a:t>
            </a:r>
            <a:r>
              <a:rPr lang="it-IT" altLang="it-IT" sz="2200" b="1" dirty="0" err="1" smtClean="0">
                <a:solidFill>
                  <a:srgbClr val="0F2D69"/>
                </a:solidFill>
                <a:latin typeface="Century Gothic"/>
                <a:cs typeface="Arial"/>
              </a:rPr>
              <a:t>Lgs</a:t>
            </a:r>
            <a:r>
              <a:rPr lang="it-IT" altLang="it-IT" sz="2200" b="1" dirty="0" smtClean="0">
                <a:solidFill>
                  <a:srgbClr val="0F2D69"/>
                </a:solidFill>
                <a:latin typeface="Century Gothic"/>
                <a:cs typeface="Arial"/>
              </a:rPr>
              <a:t> 27/2021</a:t>
            </a:r>
            <a:endParaRPr lang="it-IT" altLang="it-IT" sz="2200" b="1" dirty="0">
              <a:solidFill>
                <a:srgbClr val="0F2D69"/>
              </a:solidFill>
              <a:latin typeface="Century Gothic"/>
              <a:cs typeface="Arial"/>
            </a:endParaRPr>
          </a:p>
        </p:txBody>
      </p:sp>
      <p:pic>
        <p:nvPicPr>
          <p:cNvPr id="27" name="Immagin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56474"/>
            <a:ext cx="1606338" cy="864951"/>
          </a:xfrm>
          <a:prstGeom prst="rect">
            <a:avLst/>
          </a:prstGeom>
        </p:spPr>
      </p:pic>
    </p:spTree>
    <p:extLst>
      <p:ext uri="{BB962C8B-B14F-4D97-AF65-F5344CB8AC3E}">
        <p14:creationId xmlns:p14="http://schemas.microsoft.com/office/powerpoint/2010/main" val="9524146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17. Il </a:t>
            </a:r>
            <a:r>
              <a:rPr lang="it-IT" kern="0" dirty="0" smtClean="0">
                <a:solidFill>
                  <a:srgbClr val="0F2D69"/>
                </a:solidFill>
                <a:latin typeface="Century Gothic"/>
                <a:cs typeface="Arial"/>
              </a:rPr>
              <a:t>Piano di controllo Nazionale Pluriennale (PCNP)</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29" name="Rectangle 28"/>
          <p:cNvSpPr/>
          <p:nvPr/>
        </p:nvSpPr>
        <p:spPr bwMode="auto">
          <a:xfrm>
            <a:off x="210312" y="867138"/>
            <a:ext cx="11110217" cy="5623814"/>
          </a:xfrm>
          <a:prstGeom prst="rect">
            <a:avLst/>
          </a:prstGeom>
          <a:noFill/>
          <a:ln w="19050" algn="ctr">
            <a:noFill/>
            <a:miter lim="800000"/>
            <a:headEnd/>
            <a:tailEnd/>
          </a:ln>
        </p:spPr>
        <p:txBody>
          <a:bodyPr wrap="square" lIns="88900" tIns="88900" rIns="88900" bIns="88900" rtlCol="0" anchor="ctr"/>
          <a:lstStyle/>
          <a:p>
            <a:pPr lvl="0" defTabSz="457200" eaLnBrk="0" fontAlgn="base" hangingPunct="0">
              <a:spcAft>
                <a:spcPct val="0"/>
              </a:spcAft>
            </a:pPr>
            <a:endParaRPr kumimoji="0" lang="it-IT" b="1" i="0"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endParaRPr>
          </a:p>
        </p:txBody>
      </p:sp>
      <p:sp>
        <p:nvSpPr>
          <p:cNvPr id="2" name="CasellaDiTesto 1"/>
          <p:cNvSpPr txBox="1"/>
          <p:nvPr/>
        </p:nvSpPr>
        <p:spPr>
          <a:xfrm>
            <a:off x="293210" y="1043189"/>
            <a:ext cx="11336413" cy="5632311"/>
          </a:xfrm>
          <a:prstGeom prst="rect">
            <a:avLst/>
          </a:prstGeom>
          <a:noFill/>
          <a:ln>
            <a:solidFill>
              <a:srgbClr val="012169"/>
            </a:solidFill>
          </a:ln>
        </p:spPr>
        <p:txBody>
          <a:bodyPr wrap="square" rtlCol="0">
            <a:spAutoFit/>
          </a:bodyPr>
          <a:lstStyle/>
          <a:p>
            <a:r>
              <a:rPr lang="it-IT" b="1" dirty="0" smtClean="0">
                <a:solidFill>
                  <a:srgbClr val="012169"/>
                </a:solidFill>
                <a:latin typeface="Century Gothic" panose="020B0502020202020204" pitchFamily="34" charset="0"/>
              </a:rPr>
              <a:t>Descrive </a:t>
            </a:r>
            <a:r>
              <a:rPr lang="it-IT" b="1" dirty="0">
                <a:solidFill>
                  <a:srgbClr val="012169"/>
                </a:solidFill>
                <a:latin typeface="Century Gothic" panose="020B0502020202020204" pitchFamily="34" charset="0"/>
              </a:rPr>
              <a:t>il sistema dei controlli ufficiali lungo l'intera filiera alimentare, al fine di verificare la corretta applicazione della legislazione comunitaria</a:t>
            </a:r>
            <a:r>
              <a:rPr lang="it-IT" b="1" dirty="0" smtClean="0">
                <a:solidFill>
                  <a:srgbClr val="012169"/>
                </a:solidFill>
                <a:latin typeface="Century Gothic" panose="020B0502020202020204" pitchFamily="34" charset="0"/>
              </a:rPr>
              <a:t>.</a:t>
            </a:r>
          </a:p>
          <a:p>
            <a:endParaRPr lang="it-IT" dirty="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Principio fondante: </a:t>
            </a:r>
            <a:r>
              <a:rPr lang="it-IT" b="1" dirty="0" smtClean="0">
                <a:solidFill>
                  <a:srgbClr val="012169"/>
                </a:solidFill>
                <a:latin typeface="Century Gothic" panose="020B0502020202020204" pitchFamily="34" charset="0"/>
              </a:rPr>
              <a:t>la </a:t>
            </a:r>
            <a:r>
              <a:rPr lang="it-IT" b="1" dirty="0">
                <a:solidFill>
                  <a:srgbClr val="012169"/>
                </a:solidFill>
                <a:latin typeface="Century Gothic" panose="020B0502020202020204" pitchFamily="34" charset="0"/>
              </a:rPr>
              <a:t>sicurezza degli alimenti </a:t>
            </a:r>
            <a:r>
              <a:rPr lang="it-IT" b="1" dirty="0" smtClean="0">
                <a:solidFill>
                  <a:srgbClr val="012169"/>
                </a:solidFill>
                <a:latin typeface="Century Gothic" panose="020B0502020202020204" pitchFamily="34" charset="0"/>
              </a:rPr>
              <a:t>può essere </a:t>
            </a:r>
            <a:r>
              <a:rPr lang="it-IT" b="1" dirty="0">
                <a:solidFill>
                  <a:srgbClr val="012169"/>
                </a:solidFill>
                <a:latin typeface="Century Gothic" panose="020B0502020202020204" pitchFamily="34" charset="0"/>
              </a:rPr>
              <a:t>garantita solo mediante un approccio di filiera comprendente tutti i fattori che intervengono direttamente o indirettamente nelle produzioni agro-zootecniche. </a:t>
            </a:r>
            <a:endParaRPr lang="it-IT" b="1" dirty="0" smtClean="0">
              <a:solidFill>
                <a:srgbClr val="012169"/>
              </a:solidFill>
              <a:latin typeface="Century Gothic" panose="020B0502020202020204" pitchFamily="34" charset="0"/>
            </a:endParaRPr>
          </a:p>
          <a:p>
            <a:endParaRPr lang="it-IT" dirty="0" smtClean="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A </a:t>
            </a:r>
            <a:r>
              <a:rPr lang="it-IT" dirty="0">
                <a:solidFill>
                  <a:srgbClr val="012169"/>
                </a:solidFill>
                <a:latin typeface="Century Gothic" panose="020B0502020202020204" pitchFamily="34" charset="0"/>
              </a:rPr>
              <a:t>tal fine gli aspetti igienico-sanitari delle produzioni alimentari devono essere integrati in una </a:t>
            </a:r>
            <a:r>
              <a:rPr lang="it-IT" b="1" dirty="0">
                <a:solidFill>
                  <a:srgbClr val="012169"/>
                </a:solidFill>
                <a:latin typeface="Century Gothic" panose="020B0502020202020204" pitchFamily="34" charset="0"/>
              </a:rPr>
              <a:t>visione </a:t>
            </a:r>
            <a:r>
              <a:rPr lang="it-IT" b="1" dirty="0" smtClean="0">
                <a:solidFill>
                  <a:srgbClr val="012169"/>
                </a:solidFill>
                <a:latin typeface="Century Gothic" panose="020B0502020202020204" pitchFamily="34" charset="0"/>
              </a:rPr>
              <a:t>di insieme </a:t>
            </a:r>
            <a:r>
              <a:rPr lang="it-IT" dirty="0">
                <a:solidFill>
                  <a:srgbClr val="012169"/>
                </a:solidFill>
                <a:latin typeface="Century Gothic" panose="020B0502020202020204" pitchFamily="34" charset="0"/>
              </a:rPr>
              <a:t>che comprende sia la </a:t>
            </a:r>
            <a:r>
              <a:rPr lang="it-IT" b="1" dirty="0">
                <a:solidFill>
                  <a:srgbClr val="012169"/>
                </a:solidFill>
                <a:latin typeface="Century Gothic" panose="020B0502020202020204" pitchFamily="34" charset="0"/>
              </a:rPr>
              <a:t>qualità merceologica degli alimenti </a:t>
            </a:r>
            <a:r>
              <a:rPr lang="it-IT" dirty="0">
                <a:solidFill>
                  <a:srgbClr val="012169"/>
                </a:solidFill>
                <a:latin typeface="Century Gothic" panose="020B0502020202020204" pitchFamily="34" charset="0"/>
              </a:rPr>
              <a:t>stessi sia diversi altri </a:t>
            </a:r>
            <a:r>
              <a:rPr lang="it-IT" dirty="0" smtClean="0">
                <a:solidFill>
                  <a:srgbClr val="012169"/>
                </a:solidFill>
                <a:latin typeface="Century Gothic" panose="020B0502020202020204" pitchFamily="34" charset="0"/>
              </a:rPr>
              <a:t>fattori, </a:t>
            </a:r>
            <a:r>
              <a:rPr lang="it-IT" dirty="0">
                <a:solidFill>
                  <a:srgbClr val="012169"/>
                </a:solidFill>
                <a:latin typeface="Century Gothic" panose="020B0502020202020204" pitchFamily="34" charset="0"/>
              </a:rPr>
              <a:t>quali la </a:t>
            </a:r>
            <a:r>
              <a:rPr lang="it-IT" b="1" dirty="0">
                <a:solidFill>
                  <a:srgbClr val="012169"/>
                </a:solidFill>
                <a:latin typeface="Century Gothic" panose="020B0502020202020204" pitchFamily="34" charset="0"/>
              </a:rPr>
              <a:t>sanità ed il benessere degli animali</a:t>
            </a:r>
            <a:r>
              <a:rPr lang="it-IT" dirty="0">
                <a:solidFill>
                  <a:srgbClr val="012169"/>
                </a:solidFill>
                <a:latin typeface="Century Gothic" panose="020B0502020202020204" pitchFamily="34" charset="0"/>
              </a:rPr>
              <a:t>, </a:t>
            </a:r>
            <a:r>
              <a:rPr lang="it-IT" b="1" dirty="0">
                <a:solidFill>
                  <a:srgbClr val="012169"/>
                </a:solidFill>
                <a:latin typeface="Century Gothic" panose="020B0502020202020204" pitchFamily="34" charset="0"/>
              </a:rPr>
              <a:t>l'alimentazione zootecnica e la sanità delle piante</a:t>
            </a:r>
            <a:r>
              <a:rPr lang="it-IT" dirty="0" smtClean="0">
                <a:solidFill>
                  <a:srgbClr val="012169"/>
                </a:solidFill>
                <a:latin typeface="Century Gothic" panose="020B0502020202020204" pitchFamily="34" charset="0"/>
              </a:rPr>
              <a:t>.</a:t>
            </a:r>
          </a:p>
          <a:p>
            <a:endParaRPr lang="it-IT" dirty="0">
              <a:solidFill>
                <a:srgbClr val="012169"/>
              </a:solidFill>
              <a:latin typeface="Century Gothic" panose="020B0502020202020204" pitchFamily="34" charset="0"/>
            </a:endParaRPr>
          </a:p>
          <a:p>
            <a:r>
              <a:rPr lang="it-IT" dirty="0">
                <a:solidFill>
                  <a:srgbClr val="012169"/>
                </a:solidFill>
                <a:latin typeface="Century Gothic" panose="020B0502020202020204" pitchFamily="34" charset="0"/>
              </a:rPr>
              <a:t>Sulla base delle attività pianificate e dei risultati raggiunti, il PCNP consente non solo di </a:t>
            </a:r>
            <a:r>
              <a:rPr lang="it-IT" b="1" dirty="0">
                <a:solidFill>
                  <a:srgbClr val="012169"/>
                </a:solidFill>
                <a:latin typeface="Century Gothic" panose="020B0502020202020204" pitchFamily="34" charset="0"/>
              </a:rPr>
              <a:t>fornire corrette informazioni al cittadino e ai servizi competenti della Commissione europea</a:t>
            </a:r>
            <a:r>
              <a:rPr lang="it-IT" dirty="0">
                <a:solidFill>
                  <a:srgbClr val="012169"/>
                </a:solidFill>
                <a:latin typeface="Century Gothic" panose="020B0502020202020204" pitchFamily="34" charset="0"/>
              </a:rPr>
              <a:t>, ma permette di </a:t>
            </a:r>
            <a:r>
              <a:rPr lang="it-IT" b="1" dirty="0">
                <a:solidFill>
                  <a:srgbClr val="012169"/>
                </a:solidFill>
                <a:latin typeface="Century Gothic" panose="020B0502020202020204" pitchFamily="34" charset="0"/>
              </a:rPr>
              <a:t>orientare i controlli ufficiali </a:t>
            </a:r>
            <a:r>
              <a:rPr lang="it-IT" dirty="0">
                <a:solidFill>
                  <a:srgbClr val="012169"/>
                </a:solidFill>
                <a:latin typeface="Century Gothic" panose="020B0502020202020204" pitchFamily="34" charset="0"/>
              </a:rPr>
              <a:t>al fine di </a:t>
            </a:r>
            <a:r>
              <a:rPr lang="it-IT" b="1" dirty="0">
                <a:solidFill>
                  <a:srgbClr val="012169"/>
                </a:solidFill>
                <a:latin typeface="Century Gothic" panose="020B0502020202020204" pitchFamily="34" charset="0"/>
              </a:rPr>
              <a:t>migliorarne l'efficacia </a:t>
            </a:r>
            <a:r>
              <a:rPr lang="it-IT" dirty="0">
                <a:solidFill>
                  <a:srgbClr val="012169"/>
                </a:solidFill>
                <a:latin typeface="Century Gothic" panose="020B0502020202020204" pitchFamily="34" charset="0"/>
              </a:rPr>
              <a:t>a tutela dei cittadini, </a:t>
            </a:r>
            <a:r>
              <a:rPr lang="it-IT" b="1" dirty="0">
                <a:solidFill>
                  <a:srgbClr val="012169"/>
                </a:solidFill>
                <a:latin typeface="Century Gothic" panose="020B0502020202020204" pitchFamily="34" charset="0"/>
              </a:rPr>
              <a:t>razionalizzando le attività </a:t>
            </a:r>
            <a:r>
              <a:rPr lang="it-IT" dirty="0">
                <a:solidFill>
                  <a:srgbClr val="012169"/>
                </a:solidFill>
                <a:latin typeface="Century Gothic" panose="020B0502020202020204" pitchFamily="34" charset="0"/>
              </a:rPr>
              <a:t>e ed </a:t>
            </a:r>
            <a:r>
              <a:rPr lang="it-IT" b="1" dirty="0">
                <a:solidFill>
                  <a:srgbClr val="012169"/>
                </a:solidFill>
                <a:latin typeface="Century Gothic" panose="020B0502020202020204" pitchFamily="34" charset="0"/>
              </a:rPr>
              <a:t>ottimizzando l'uso delle risorse disponibili</a:t>
            </a:r>
            <a:r>
              <a:rPr lang="it-IT" dirty="0" smtClean="0">
                <a:solidFill>
                  <a:srgbClr val="012169"/>
                </a:solidFill>
                <a:latin typeface="Century Gothic" panose="020B0502020202020204" pitchFamily="34" charset="0"/>
              </a:rPr>
              <a:t>.</a:t>
            </a:r>
          </a:p>
          <a:p>
            <a:r>
              <a:rPr lang="it-IT" dirty="0" smtClean="0">
                <a:solidFill>
                  <a:srgbClr val="012169"/>
                </a:solidFill>
                <a:latin typeface="Century Gothic" panose="020B0502020202020204" pitchFamily="34" charset="0"/>
              </a:rPr>
              <a:t>Al </a:t>
            </a:r>
            <a:r>
              <a:rPr lang="it-IT" dirty="0">
                <a:solidFill>
                  <a:srgbClr val="012169"/>
                </a:solidFill>
                <a:latin typeface="Century Gothic" panose="020B0502020202020204" pitchFamily="34" charset="0"/>
              </a:rPr>
              <a:t>fine di assicurare </a:t>
            </a:r>
            <a:r>
              <a:rPr lang="it-IT" b="1" dirty="0">
                <a:solidFill>
                  <a:srgbClr val="012169"/>
                </a:solidFill>
                <a:latin typeface="Century Gothic" panose="020B0502020202020204" pitchFamily="34" charset="0"/>
              </a:rPr>
              <a:t>l’omogeneità e l’uniformità di comportamento </a:t>
            </a:r>
            <a:r>
              <a:rPr lang="it-IT" dirty="0">
                <a:solidFill>
                  <a:srgbClr val="012169"/>
                </a:solidFill>
                <a:latin typeface="Century Gothic" panose="020B0502020202020204" pitchFamily="34" charset="0"/>
              </a:rPr>
              <a:t>nell’effettuazione dei controlli ufficiali, nel rispetto dei principi sanciti dal Regolamento, qualora siano coinvolte diverse Autorità competenti, </a:t>
            </a:r>
            <a:r>
              <a:rPr lang="it-IT" b="1" dirty="0">
                <a:solidFill>
                  <a:srgbClr val="012169"/>
                </a:solidFill>
                <a:latin typeface="Century Gothic" panose="020B0502020202020204" pitchFamily="34" charset="0"/>
              </a:rPr>
              <a:t>il Ministero della salute coordina l’attività </a:t>
            </a:r>
            <a:r>
              <a:rPr lang="it-IT" dirty="0">
                <a:solidFill>
                  <a:srgbClr val="012169"/>
                </a:solidFill>
                <a:latin typeface="Century Gothic" panose="020B0502020202020204" pitchFamily="34" charset="0"/>
              </a:rPr>
              <a:t>delle stesse </a:t>
            </a:r>
            <a:r>
              <a:rPr lang="it-IT" b="1" dirty="0">
                <a:solidFill>
                  <a:srgbClr val="012169"/>
                </a:solidFill>
                <a:latin typeface="Century Gothic" panose="020B0502020202020204" pitchFamily="34" charset="0"/>
              </a:rPr>
              <a:t>individuando modalità e strumenti condivisi.</a:t>
            </a:r>
          </a:p>
          <a:p>
            <a:endParaRPr lang="it-IT" dirty="0"/>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56474"/>
            <a:ext cx="1606338" cy="864951"/>
          </a:xfrm>
          <a:prstGeom prst="rect">
            <a:avLst/>
          </a:prstGeom>
        </p:spPr>
      </p:pic>
    </p:spTree>
    <p:extLst>
      <p:ext uri="{BB962C8B-B14F-4D97-AF65-F5344CB8AC3E}">
        <p14:creationId xmlns:p14="http://schemas.microsoft.com/office/powerpoint/2010/main" val="30550143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18. </a:t>
            </a:r>
            <a:r>
              <a:rPr lang="it-IT" kern="0" dirty="0" smtClean="0">
                <a:solidFill>
                  <a:srgbClr val="0F2D69"/>
                </a:solidFill>
                <a:latin typeface="Century Gothic"/>
                <a:cs typeface="Arial"/>
              </a:rPr>
              <a:t>Controlli ufficiali e altre attività ufficiali</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29" name="Rectangle 28"/>
          <p:cNvSpPr/>
          <p:nvPr/>
        </p:nvSpPr>
        <p:spPr bwMode="auto">
          <a:xfrm>
            <a:off x="210312" y="867138"/>
            <a:ext cx="11110217" cy="5623814"/>
          </a:xfrm>
          <a:prstGeom prst="rect">
            <a:avLst/>
          </a:prstGeom>
          <a:noFill/>
          <a:ln w="19050" algn="ctr">
            <a:noFill/>
            <a:miter lim="800000"/>
            <a:headEnd/>
            <a:tailEnd/>
          </a:ln>
        </p:spPr>
        <p:txBody>
          <a:bodyPr wrap="square" lIns="88900" tIns="88900" rIns="88900" bIns="88900" rtlCol="0" anchor="ctr"/>
          <a:lstStyle/>
          <a:p>
            <a:pPr lvl="0" defTabSz="457200" eaLnBrk="0" fontAlgn="base" hangingPunct="0">
              <a:spcAft>
                <a:spcPct val="0"/>
              </a:spcAft>
            </a:pPr>
            <a:endParaRPr kumimoji="0" lang="it-IT" b="1" i="0"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endParaRPr>
          </a:p>
        </p:txBody>
      </p:sp>
      <p:sp>
        <p:nvSpPr>
          <p:cNvPr id="2" name="CasellaDiTesto 1"/>
          <p:cNvSpPr txBox="1"/>
          <p:nvPr/>
        </p:nvSpPr>
        <p:spPr>
          <a:xfrm>
            <a:off x="293210" y="867138"/>
            <a:ext cx="11336413" cy="5909310"/>
          </a:xfrm>
          <a:prstGeom prst="rect">
            <a:avLst/>
          </a:prstGeom>
          <a:noFill/>
          <a:ln>
            <a:solidFill>
              <a:srgbClr val="012169"/>
            </a:solidFill>
          </a:ln>
        </p:spPr>
        <p:txBody>
          <a:bodyPr wrap="square" rtlCol="0">
            <a:spAutoFit/>
          </a:bodyPr>
          <a:lstStyle/>
          <a:p>
            <a:pPr lvl="0" algn="just" eaLnBrk="0" fontAlgn="base" hangingPunct="0">
              <a:spcBef>
                <a:spcPct val="0"/>
              </a:spcBef>
              <a:spcAft>
                <a:spcPct val="0"/>
              </a:spcAft>
            </a:pPr>
            <a:r>
              <a:rPr lang="it-IT" altLang="it-IT" b="1" dirty="0" smtClean="0">
                <a:solidFill>
                  <a:srgbClr val="012169"/>
                </a:solidFill>
                <a:latin typeface="Century Gothic" panose="020B0502020202020204" pitchFamily="34" charset="0"/>
              </a:rPr>
              <a:t>I </a:t>
            </a:r>
            <a:r>
              <a:rPr lang="it-IT" altLang="it-IT" b="1" dirty="0">
                <a:solidFill>
                  <a:srgbClr val="012169"/>
                </a:solidFill>
                <a:latin typeface="Century Gothic" panose="020B0502020202020204" pitchFamily="34" charset="0"/>
              </a:rPr>
              <a:t>controlli </a:t>
            </a:r>
            <a:r>
              <a:rPr lang="it-IT" altLang="it-IT" b="1" dirty="0" smtClean="0">
                <a:solidFill>
                  <a:srgbClr val="012169"/>
                </a:solidFill>
                <a:latin typeface="Century Gothic" panose="020B0502020202020204" pitchFamily="34" charset="0"/>
              </a:rPr>
              <a:t>ufficiali</a:t>
            </a:r>
            <a:r>
              <a:rPr lang="it-IT" altLang="it-IT" dirty="0" smtClean="0">
                <a:solidFill>
                  <a:srgbClr val="012169"/>
                </a:solidFill>
                <a:latin typeface="Century Gothic" panose="020B0502020202020204" pitchFamily="34" charset="0"/>
              </a:rPr>
              <a:t>:</a:t>
            </a:r>
          </a:p>
          <a:p>
            <a:pPr marL="285750" lvl="0" indent="-285750" algn="just" eaLnBrk="0" fontAlgn="base" hangingPunct="0">
              <a:spcBef>
                <a:spcPct val="0"/>
              </a:spcBef>
              <a:spcAft>
                <a:spcPct val="0"/>
              </a:spcAft>
              <a:buFontTx/>
              <a:buChar char="-"/>
            </a:pPr>
            <a:r>
              <a:rPr lang="it-IT" altLang="it-IT" dirty="0" smtClean="0">
                <a:solidFill>
                  <a:srgbClr val="012169"/>
                </a:solidFill>
                <a:latin typeface="Century Gothic" panose="020B0502020202020204" pitchFamily="34" charset="0"/>
              </a:rPr>
              <a:t>sono </a:t>
            </a:r>
            <a:r>
              <a:rPr lang="it-IT" altLang="it-IT" dirty="0">
                <a:solidFill>
                  <a:srgbClr val="012169"/>
                </a:solidFill>
                <a:latin typeface="Century Gothic" panose="020B0502020202020204" pitchFamily="34" charset="0"/>
              </a:rPr>
              <a:t>eseguiti di norma </a:t>
            </a:r>
            <a:r>
              <a:rPr lang="it-IT" altLang="it-IT" b="1" dirty="0">
                <a:solidFill>
                  <a:srgbClr val="012169"/>
                </a:solidFill>
                <a:latin typeface="Century Gothic" panose="020B0502020202020204" pitchFamily="34" charset="0"/>
              </a:rPr>
              <a:t>senza preavviso</a:t>
            </a:r>
            <a:r>
              <a:rPr lang="it-IT" altLang="it-IT" dirty="0">
                <a:solidFill>
                  <a:srgbClr val="012169"/>
                </a:solidFill>
                <a:latin typeface="Century Gothic" panose="020B0502020202020204" pitchFamily="34" charset="0"/>
              </a:rPr>
              <a:t>, tranne nel caso in cui tale preavviso sia necessario e debitamente giustificato per l'esecuzione del controllo </a:t>
            </a:r>
            <a:r>
              <a:rPr lang="it-IT" altLang="it-IT" dirty="0" smtClean="0">
                <a:solidFill>
                  <a:srgbClr val="012169"/>
                </a:solidFill>
                <a:latin typeface="Century Gothic" panose="020B0502020202020204" pitchFamily="34" charset="0"/>
              </a:rPr>
              <a:t>ufficiale;</a:t>
            </a:r>
          </a:p>
          <a:p>
            <a:pPr marL="285750" lvl="0" indent="-285750" algn="just" eaLnBrk="0" fontAlgn="base" hangingPunct="0">
              <a:spcBef>
                <a:spcPct val="0"/>
              </a:spcBef>
              <a:spcAft>
                <a:spcPct val="0"/>
              </a:spcAft>
              <a:buFontTx/>
              <a:buChar char="-"/>
            </a:pPr>
            <a:r>
              <a:rPr lang="it-IT" altLang="it-IT" dirty="0" smtClean="0">
                <a:solidFill>
                  <a:srgbClr val="012169"/>
                </a:solidFill>
                <a:latin typeface="Century Gothic" panose="020B0502020202020204" pitchFamily="34" charset="0"/>
              </a:rPr>
              <a:t>devono </a:t>
            </a:r>
            <a:r>
              <a:rPr lang="it-IT" altLang="it-IT" dirty="0">
                <a:solidFill>
                  <a:srgbClr val="012169"/>
                </a:solidFill>
                <a:latin typeface="Century Gothic" panose="020B0502020202020204" pitchFamily="34" charset="0"/>
              </a:rPr>
              <a:t>essere eseguiti secondo </a:t>
            </a:r>
            <a:r>
              <a:rPr lang="it-IT" altLang="it-IT" b="1" dirty="0">
                <a:solidFill>
                  <a:srgbClr val="012169"/>
                </a:solidFill>
                <a:latin typeface="Century Gothic" panose="020B0502020202020204" pitchFamily="34" charset="0"/>
              </a:rPr>
              <a:t>procedure documentate</a:t>
            </a:r>
            <a:r>
              <a:rPr lang="it-IT" altLang="it-IT" dirty="0">
                <a:solidFill>
                  <a:srgbClr val="012169"/>
                </a:solidFill>
                <a:latin typeface="Century Gothic" panose="020B0502020202020204" pitchFamily="34" charset="0"/>
              </a:rPr>
              <a:t>, aggiornate secondo </a:t>
            </a:r>
            <a:r>
              <a:rPr lang="it-IT" altLang="it-IT" dirty="0" smtClean="0">
                <a:solidFill>
                  <a:srgbClr val="012169"/>
                </a:solidFill>
                <a:latin typeface="Century Gothic" panose="020B0502020202020204" pitchFamily="34" charset="0"/>
              </a:rPr>
              <a:t>necessità, </a:t>
            </a:r>
            <a:r>
              <a:rPr lang="it-IT" altLang="it-IT" dirty="0">
                <a:solidFill>
                  <a:srgbClr val="012169"/>
                </a:solidFill>
                <a:latin typeface="Century Gothic" panose="020B0502020202020204" pitchFamily="34" charset="0"/>
              </a:rPr>
              <a:t>che contengano istruzioni per il personale addetto alla esecuzione dei controlli stessi, al fine di garantirne </a:t>
            </a:r>
            <a:r>
              <a:rPr lang="it-IT" altLang="it-IT" dirty="0" smtClean="0">
                <a:solidFill>
                  <a:srgbClr val="012169"/>
                </a:solidFill>
                <a:latin typeface="Century Gothic" panose="020B0502020202020204" pitchFamily="34" charset="0"/>
              </a:rPr>
              <a:t>l'omogeneità </a:t>
            </a:r>
            <a:r>
              <a:rPr lang="it-IT" altLang="it-IT" dirty="0">
                <a:solidFill>
                  <a:srgbClr val="012169"/>
                </a:solidFill>
                <a:latin typeface="Century Gothic" panose="020B0502020202020204" pitchFamily="34" charset="0"/>
              </a:rPr>
              <a:t>e l'efficacia. </a:t>
            </a:r>
            <a:endParaRPr lang="it-IT" altLang="it-IT" dirty="0" smtClean="0">
              <a:solidFill>
                <a:srgbClr val="012169"/>
              </a:solidFill>
              <a:latin typeface="Century Gothic" panose="020B0502020202020204" pitchFamily="34" charset="0"/>
            </a:endParaRPr>
          </a:p>
          <a:p>
            <a:pPr marL="285750" lvl="0" indent="-285750" algn="just" eaLnBrk="0" fontAlgn="base" hangingPunct="0">
              <a:spcBef>
                <a:spcPct val="0"/>
              </a:spcBef>
              <a:spcAft>
                <a:spcPct val="0"/>
              </a:spcAft>
              <a:buFontTx/>
              <a:buChar char="-"/>
            </a:pPr>
            <a:endParaRPr lang="it-IT" altLang="it-IT" dirty="0" smtClean="0">
              <a:solidFill>
                <a:srgbClr val="012169"/>
              </a:solidFill>
              <a:latin typeface="Century Gothic" panose="020B0502020202020204" pitchFamily="34" charset="0"/>
            </a:endParaRPr>
          </a:p>
          <a:p>
            <a:pPr lvl="0" algn="just" eaLnBrk="0" fontAlgn="base" hangingPunct="0">
              <a:spcBef>
                <a:spcPct val="0"/>
              </a:spcBef>
              <a:spcAft>
                <a:spcPct val="0"/>
              </a:spcAft>
            </a:pPr>
            <a:r>
              <a:rPr lang="it-IT" altLang="it-IT" b="1" dirty="0" smtClean="0">
                <a:solidFill>
                  <a:srgbClr val="012169"/>
                </a:solidFill>
                <a:latin typeface="Century Gothic" panose="020B0502020202020204" pitchFamily="34" charset="0"/>
              </a:rPr>
              <a:t>Le Autorità competenti:</a:t>
            </a:r>
          </a:p>
          <a:p>
            <a:pPr marL="285750" lvl="0" indent="-285750" algn="just" eaLnBrk="0" fontAlgn="base" hangingPunct="0">
              <a:spcBef>
                <a:spcPct val="0"/>
              </a:spcBef>
              <a:spcAft>
                <a:spcPct val="0"/>
              </a:spcAft>
              <a:buFontTx/>
              <a:buChar char="-"/>
            </a:pPr>
            <a:r>
              <a:rPr lang="it-IT" altLang="it-IT" dirty="0" smtClean="0">
                <a:solidFill>
                  <a:srgbClr val="012169"/>
                </a:solidFill>
                <a:latin typeface="Century Gothic" panose="020B0502020202020204" pitchFamily="34" charset="0"/>
              </a:rPr>
              <a:t>mettono </a:t>
            </a:r>
            <a:r>
              <a:rPr lang="it-IT" altLang="it-IT" dirty="0">
                <a:solidFill>
                  <a:srgbClr val="012169"/>
                </a:solidFill>
                <a:latin typeface="Century Gothic" panose="020B0502020202020204" pitchFamily="34" charset="0"/>
              </a:rPr>
              <a:t>in atto procedure per </a:t>
            </a:r>
            <a:r>
              <a:rPr lang="it-IT" altLang="it-IT" b="1" dirty="0">
                <a:solidFill>
                  <a:srgbClr val="012169"/>
                </a:solidFill>
                <a:latin typeface="Century Gothic" panose="020B0502020202020204" pitchFamily="34" charset="0"/>
              </a:rPr>
              <a:t>verificare la coerenza e l'efficacia dei controlli ufficiali</a:t>
            </a:r>
            <a:r>
              <a:rPr lang="it-IT" altLang="it-IT" dirty="0">
                <a:solidFill>
                  <a:srgbClr val="012169"/>
                </a:solidFill>
                <a:latin typeface="Century Gothic" panose="020B0502020202020204" pitchFamily="34" charset="0"/>
              </a:rPr>
              <a:t> e delle altre </a:t>
            </a:r>
            <a:r>
              <a:rPr lang="it-IT" altLang="it-IT" dirty="0" smtClean="0">
                <a:solidFill>
                  <a:srgbClr val="012169"/>
                </a:solidFill>
                <a:latin typeface="Century Gothic" panose="020B0502020202020204" pitchFamily="34" charset="0"/>
              </a:rPr>
              <a:t>attività </a:t>
            </a:r>
            <a:r>
              <a:rPr lang="it-IT" altLang="it-IT" dirty="0">
                <a:solidFill>
                  <a:srgbClr val="012169"/>
                </a:solidFill>
                <a:latin typeface="Century Gothic" panose="020B0502020202020204" pitchFamily="34" charset="0"/>
              </a:rPr>
              <a:t>ufficiali e </a:t>
            </a:r>
            <a:r>
              <a:rPr lang="it-IT" altLang="it-IT" b="1" dirty="0">
                <a:solidFill>
                  <a:srgbClr val="012169"/>
                </a:solidFill>
                <a:latin typeface="Century Gothic" panose="020B0502020202020204" pitchFamily="34" charset="0"/>
              </a:rPr>
              <a:t>adottano le azioni correttive </a:t>
            </a:r>
            <a:r>
              <a:rPr lang="it-IT" altLang="it-IT" dirty="0">
                <a:solidFill>
                  <a:srgbClr val="012169"/>
                </a:solidFill>
                <a:latin typeface="Century Gothic" panose="020B0502020202020204" pitchFamily="34" charset="0"/>
              </a:rPr>
              <a:t>in caso di </a:t>
            </a:r>
            <a:r>
              <a:rPr lang="it-IT" altLang="it-IT" dirty="0" smtClean="0">
                <a:solidFill>
                  <a:srgbClr val="012169"/>
                </a:solidFill>
                <a:latin typeface="Century Gothic" panose="020B0502020202020204" pitchFamily="34" charset="0"/>
              </a:rPr>
              <a:t>inadeguatezze;</a:t>
            </a:r>
          </a:p>
          <a:p>
            <a:pPr marL="285750" lvl="0" indent="-285750" algn="just" eaLnBrk="0" fontAlgn="base" hangingPunct="0">
              <a:spcBef>
                <a:spcPct val="0"/>
              </a:spcBef>
              <a:spcAft>
                <a:spcPct val="0"/>
              </a:spcAft>
              <a:buFontTx/>
              <a:buChar char="-"/>
            </a:pPr>
            <a:r>
              <a:rPr lang="it-IT" altLang="it-IT" dirty="0" smtClean="0">
                <a:solidFill>
                  <a:srgbClr val="012169"/>
                </a:solidFill>
                <a:latin typeface="Century Gothic" panose="020B0502020202020204" pitchFamily="34" charset="0"/>
              </a:rPr>
              <a:t>elaborano </a:t>
            </a:r>
            <a:r>
              <a:rPr lang="it-IT" altLang="it-IT" dirty="0">
                <a:solidFill>
                  <a:srgbClr val="012169"/>
                </a:solidFill>
                <a:latin typeface="Century Gothic" panose="020B0502020202020204" pitchFamily="34" charset="0"/>
              </a:rPr>
              <a:t>una </a:t>
            </a:r>
            <a:r>
              <a:rPr lang="it-IT" altLang="it-IT" b="1" dirty="0">
                <a:solidFill>
                  <a:srgbClr val="012169"/>
                </a:solidFill>
                <a:latin typeface="Century Gothic" panose="020B0502020202020204" pitchFamily="34" charset="0"/>
              </a:rPr>
              <a:t>documentazione scritta del controllo effettuato</a:t>
            </a:r>
            <a:r>
              <a:rPr lang="it-IT" altLang="it-IT" dirty="0">
                <a:solidFill>
                  <a:srgbClr val="012169"/>
                </a:solidFill>
                <a:latin typeface="Century Gothic" panose="020B0502020202020204" pitchFamily="34" charset="0"/>
              </a:rPr>
              <a:t>, tramite scheda di controllo ufficiale o verbale o altro documento altrimenti nominato, </a:t>
            </a:r>
            <a:r>
              <a:rPr lang="it-IT" altLang="it-IT" dirty="0" smtClean="0">
                <a:solidFill>
                  <a:srgbClr val="012169"/>
                </a:solidFill>
                <a:latin typeface="Century Gothic" panose="020B0502020202020204" pitchFamily="34" charset="0"/>
              </a:rPr>
              <a:t>anche in formato elettronico, che deve </a:t>
            </a:r>
            <a:r>
              <a:rPr lang="it-IT" altLang="it-IT" dirty="0">
                <a:solidFill>
                  <a:srgbClr val="012169"/>
                </a:solidFill>
                <a:latin typeface="Century Gothic" panose="020B0502020202020204" pitchFamily="34" charset="0"/>
              </a:rPr>
              <a:t>comunque essere resa disponibile </a:t>
            </a:r>
            <a:r>
              <a:rPr lang="it-IT" altLang="it-IT" dirty="0" smtClean="0">
                <a:solidFill>
                  <a:srgbClr val="012169"/>
                </a:solidFill>
                <a:latin typeface="Century Gothic" panose="020B0502020202020204" pitchFamily="34" charset="0"/>
              </a:rPr>
              <a:t>all'operatore;</a:t>
            </a:r>
          </a:p>
          <a:p>
            <a:pPr marL="285750" lvl="0" indent="-285750" algn="just" eaLnBrk="0" fontAlgn="base" hangingPunct="0">
              <a:spcBef>
                <a:spcPct val="0"/>
              </a:spcBef>
              <a:spcAft>
                <a:spcPct val="0"/>
              </a:spcAft>
              <a:buFontTx/>
              <a:buChar char="-"/>
            </a:pPr>
            <a:r>
              <a:rPr lang="it-IT" altLang="it-IT" dirty="0" smtClean="0">
                <a:solidFill>
                  <a:srgbClr val="012169"/>
                </a:solidFill>
                <a:latin typeface="Century Gothic" panose="020B0502020202020204" pitchFamily="34" charset="0"/>
              </a:rPr>
              <a:t>effettuano </a:t>
            </a:r>
            <a:r>
              <a:rPr lang="it-IT" altLang="it-IT" dirty="0">
                <a:solidFill>
                  <a:srgbClr val="012169"/>
                </a:solidFill>
                <a:latin typeface="Century Gothic" panose="020B0502020202020204" pitchFamily="34" charset="0"/>
              </a:rPr>
              <a:t>i controlli ufficiali con un </a:t>
            </a:r>
            <a:r>
              <a:rPr lang="it-IT" altLang="it-IT" b="1" dirty="0">
                <a:solidFill>
                  <a:srgbClr val="012169"/>
                </a:solidFill>
                <a:latin typeface="Century Gothic" panose="020B0502020202020204" pitchFamily="34" charset="0"/>
              </a:rPr>
              <a:t>livello elevato di trasparenza</a:t>
            </a:r>
            <a:r>
              <a:rPr lang="it-IT" altLang="it-IT" dirty="0">
                <a:solidFill>
                  <a:srgbClr val="012169"/>
                </a:solidFill>
                <a:latin typeface="Century Gothic" panose="020B0502020202020204" pitchFamily="34" charset="0"/>
              </a:rPr>
              <a:t> e, almeno una volta l'anno, mettono a disposizione del pubblico le informazioni </a:t>
            </a:r>
            <a:r>
              <a:rPr lang="it-IT" altLang="it-IT" dirty="0" smtClean="0">
                <a:solidFill>
                  <a:srgbClr val="012169"/>
                </a:solidFill>
                <a:latin typeface="Century Gothic" panose="020B0502020202020204" pitchFamily="34" charset="0"/>
              </a:rPr>
              <a:t>anche </a:t>
            </a:r>
            <a:r>
              <a:rPr lang="it-IT" altLang="it-IT" dirty="0">
                <a:solidFill>
                  <a:srgbClr val="012169"/>
                </a:solidFill>
                <a:latin typeface="Century Gothic" panose="020B0502020202020204" pitchFamily="34" charset="0"/>
              </a:rPr>
              <a:t>mediante la pubblicazione su internet. </a:t>
            </a:r>
            <a:endParaRPr lang="it-IT" altLang="it-IT" dirty="0" smtClean="0">
              <a:solidFill>
                <a:srgbClr val="012169"/>
              </a:solidFill>
              <a:latin typeface="Century Gothic" panose="020B0502020202020204" pitchFamily="34" charset="0"/>
            </a:endParaRPr>
          </a:p>
          <a:p>
            <a:pPr marL="285750" lvl="0" indent="-285750" algn="just" eaLnBrk="0" fontAlgn="base" hangingPunct="0">
              <a:spcBef>
                <a:spcPct val="0"/>
              </a:spcBef>
              <a:spcAft>
                <a:spcPct val="0"/>
              </a:spcAft>
              <a:buFontTx/>
              <a:buChar char="-"/>
            </a:pPr>
            <a:endParaRPr lang="it-IT" altLang="it-IT" dirty="0">
              <a:solidFill>
                <a:srgbClr val="012169"/>
              </a:solidFill>
              <a:latin typeface="Century Gothic" panose="020B0502020202020204" pitchFamily="34" charset="0"/>
            </a:endParaRPr>
          </a:p>
          <a:p>
            <a:pPr lvl="0" algn="just" eaLnBrk="0" fontAlgn="base" hangingPunct="0">
              <a:spcBef>
                <a:spcPct val="0"/>
              </a:spcBef>
              <a:spcAft>
                <a:spcPct val="0"/>
              </a:spcAft>
            </a:pPr>
            <a:r>
              <a:rPr lang="it-IT" altLang="it-IT" b="1" dirty="0" smtClean="0">
                <a:solidFill>
                  <a:srgbClr val="012169"/>
                </a:solidFill>
                <a:latin typeface="Century Gothic" panose="020B0502020202020204" pitchFamily="34" charset="0"/>
              </a:rPr>
              <a:t>Il </a:t>
            </a:r>
            <a:r>
              <a:rPr lang="it-IT" altLang="it-IT" b="1" dirty="0">
                <a:solidFill>
                  <a:srgbClr val="012169"/>
                </a:solidFill>
                <a:latin typeface="Century Gothic" panose="020B0502020202020204" pitchFamily="34" charset="0"/>
              </a:rPr>
              <a:t>Ministero della salute </a:t>
            </a:r>
            <a:r>
              <a:rPr lang="it-IT" altLang="it-IT" dirty="0" smtClean="0">
                <a:solidFill>
                  <a:srgbClr val="012169"/>
                </a:solidFill>
                <a:latin typeface="Century Gothic" panose="020B0502020202020204" pitchFamily="34" charset="0"/>
              </a:rPr>
              <a:t>è l'autorità </a:t>
            </a:r>
            <a:r>
              <a:rPr lang="it-IT" altLang="it-IT" dirty="0">
                <a:solidFill>
                  <a:srgbClr val="012169"/>
                </a:solidFill>
                <a:latin typeface="Century Gothic" panose="020B0502020202020204" pitchFamily="34" charset="0"/>
              </a:rPr>
              <a:t>competente a disporre la </a:t>
            </a:r>
            <a:r>
              <a:rPr lang="it-IT" altLang="it-IT" b="1" dirty="0">
                <a:solidFill>
                  <a:srgbClr val="012169"/>
                </a:solidFill>
                <a:latin typeface="Century Gothic" panose="020B0502020202020204" pitchFamily="34" charset="0"/>
              </a:rPr>
              <a:t>cessazione </a:t>
            </a:r>
            <a:r>
              <a:rPr lang="it-IT" altLang="it-IT" dirty="0">
                <a:solidFill>
                  <a:srgbClr val="012169"/>
                </a:solidFill>
                <a:latin typeface="Century Gothic" panose="020B0502020202020204" pitchFamily="34" charset="0"/>
              </a:rPr>
              <a:t>per un periodo di tempo appropriato </a:t>
            </a:r>
            <a:r>
              <a:rPr lang="it-IT" altLang="it-IT" b="1" dirty="0">
                <a:solidFill>
                  <a:srgbClr val="012169"/>
                </a:solidFill>
                <a:latin typeface="Century Gothic" panose="020B0502020202020204" pitchFamily="34" charset="0"/>
              </a:rPr>
              <a:t>della </a:t>
            </a:r>
            <a:r>
              <a:rPr lang="it-IT" altLang="it-IT" b="1" dirty="0" smtClean="0">
                <a:solidFill>
                  <a:srgbClr val="012169"/>
                </a:solidFill>
                <a:latin typeface="Century Gothic" panose="020B0502020202020204" pitchFamily="34" charset="0"/>
              </a:rPr>
              <a:t>totalità o </a:t>
            </a:r>
            <a:r>
              <a:rPr lang="it-IT" altLang="it-IT" b="1" dirty="0">
                <a:solidFill>
                  <a:srgbClr val="012169"/>
                </a:solidFill>
                <a:latin typeface="Century Gothic" panose="020B0502020202020204" pitchFamily="34" charset="0"/>
              </a:rPr>
              <a:t>di una parte delle </a:t>
            </a:r>
            <a:r>
              <a:rPr lang="it-IT" altLang="it-IT" b="1" dirty="0" smtClean="0">
                <a:solidFill>
                  <a:srgbClr val="012169"/>
                </a:solidFill>
                <a:latin typeface="Century Gothic" panose="020B0502020202020204" pitchFamily="34" charset="0"/>
              </a:rPr>
              <a:t>attività </a:t>
            </a:r>
            <a:r>
              <a:rPr lang="it-IT" altLang="it-IT" b="1" dirty="0">
                <a:solidFill>
                  <a:srgbClr val="012169"/>
                </a:solidFill>
                <a:latin typeface="Century Gothic" panose="020B0502020202020204" pitchFamily="34" charset="0"/>
              </a:rPr>
              <a:t>dell'operatore </a:t>
            </a:r>
            <a:r>
              <a:rPr lang="it-IT" altLang="it-IT" dirty="0">
                <a:solidFill>
                  <a:srgbClr val="012169"/>
                </a:solidFill>
                <a:latin typeface="Century Gothic" panose="020B0502020202020204" pitchFamily="34" charset="0"/>
              </a:rPr>
              <a:t>interessato e, se del caso, </a:t>
            </a:r>
            <a:r>
              <a:rPr lang="it-IT" altLang="it-IT" b="1" dirty="0">
                <a:solidFill>
                  <a:srgbClr val="012169"/>
                </a:solidFill>
                <a:latin typeface="Century Gothic" panose="020B0502020202020204" pitchFamily="34" charset="0"/>
              </a:rPr>
              <a:t>dei siti internet che gestisce o utilizza </a:t>
            </a:r>
            <a:r>
              <a:rPr lang="it-IT" altLang="it-IT" dirty="0" smtClean="0">
                <a:solidFill>
                  <a:srgbClr val="012169"/>
                </a:solidFill>
                <a:latin typeface="Century Gothic" panose="020B0502020202020204" pitchFamily="34" charset="0"/>
              </a:rPr>
              <a:t>così </a:t>
            </a:r>
            <a:r>
              <a:rPr lang="it-IT" altLang="it-IT" dirty="0">
                <a:solidFill>
                  <a:srgbClr val="012169"/>
                </a:solidFill>
                <a:latin typeface="Century Gothic" panose="020B0502020202020204" pitchFamily="34" charset="0"/>
              </a:rPr>
              <a:t>come previsto dall'articolo 138, paragrafo 2, lettere i) e j) del Regolamento.</a:t>
            </a:r>
            <a:r>
              <a:rPr lang="it-IT" altLang="it-IT" dirty="0">
                <a:solidFill>
                  <a:srgbClr val="012169"/>
                </a:solidFill>
                <a:latin typeface="Garamond" panose="02020404030301010803" pitchFamily="18" charset="0"/>
              </a:rPr>
              <a:t> </a:t>
            </a:r>
          </a:p>
          <a:p>
            <a:endParaRPr lang="it-IT" dirty="0"/>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7360" y="2187"/>
            <a:ext cx="1606338" cy="864951"/>
          </a:xfrm>
          <a:prstGeom prst="rect">
            <a:avLst/>
          </a:prstGeom>
        </p:spPr>
      </p:pic>
    </p:spTree>
    <p:extLst>
      <p:ext uri="{BB962C8B-B14F-4D97-AF65-F5344CB8AC3E}">
        <p14:creationId xmlns:p14="http://schemas.microsoft.com/office/powerpoint/2010/main" val="6580633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19. Non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conformità</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871811"/>
            <a:ext cx="11289190" cy="4801314"/>
          </a:xfrm>
          <a:prstGeom prst="rect">
            <a:avLst/>
          </a:prstGeom>
          <a:noFill/>
          <a:ln>
            <a:solidFill>
              <a:srgbClr val="012169"/>
            </a:solidFill>
          </a:ln>
        </p:spPr>
        <p:txBody>
          <a:bodyPr wrap="square" rtlCol="0" anchor="t">
            <a:spAutoFit/>
          </a:bodyPr>
          <a:lstStyle/>
          <a:p>
            <a:endParaRPr lang="it-IT" dirty="0" smtClean="0">
              <a:solidFill>
                <a:srgbClr val="012169"/>
              </a:solidFill>
              <a:latin typeface="Century Gothic" panose="020B0502020202020204" pitchFamily="34" charset="0"/>
            </a:endParaRPr>
          </a:p>
          <a:p>
            <a:endParaRPr lang="it-IT" dirty="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Al </a:t>
            </a:r>
            <a:r>
              <a:rPr lang="it-IT" dirty="0">
                <a:solidFill>
                  <a:srgbClr val="012169"/>
                </a:solidFill>
                <a:latin typeface="Century Gothic" panose="020B0502020202020204" pitchFamily="34" charset="0"/>
              </a:rPr>
              <a:t>fine di adottare provvedimenti proporzionati al rischio effettivo, le Autorità </a:t>
            </a:r>
            <a:r>
              <a:rPr lang="it-IT" dirty="0" smtClean="0">
                <a:solidFill>
                  <a:srgbClr val="012169"/>
                </a:solidFill>
                <a:latin typeface="Century Gothic" panose="020B0502020202020204" pitchFamily="34" charset="0"/>
              </a:rPr>
              <a:t>competenti </a:t>
            </a:r>
            <a:r>
              <a:rPr lang="it-IT" b="1" dirty="0">
                <a:solidFill>
                  <a:srgbClr val="012169"/>
                </a:solidFill>
                <a:latin typeface="Century Gothic" panose="020B0502020202020204" pitchFamily="34" charset="0"/>
              </a:rPr>
              <a:t>valutano le non conformità rilevate nel corso dei controlli ufficiali e delle altre attività ufficiali</a:t>
            </a:r>
            <a:r>
              <a:rPr lang="it-IT" dirty="0">
                <a:solidFill>
                  <a:srgbClr val="012169"/>
                </a:solidFill>
                <a:latin typeface="Century Gothic" panose="020B0502020202020204" pitchFamily="34" charset="0"/>
              </a:rPr>
              <a:t>. </a:t>
            </a:r>
            <a:endParaRPr lang="it-IT" dirty="0" smtClean="0">
              <a:solidFill>
                <a:srgbClr val="012169"/>
              </a:solidFill>
              <a:latin typeface="Century Gothic" panose="020B0502020202020204" pitchFamily="34" charset="0"/>
            </a:endParaRPr>
          </a:p>
          <a:p>
            <a:endParaRPr lang="it-IT" dirty="0" smtClean="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Si </a:t>
            </a:r>
            <a:r>
              <a:rPr lang="it-IT" dirty="0">
                <a:solidFill>
                  <a:srgbClr val="012169"/>
                </a:solidFill>
                <a:latin typeface="Century Gothic" panose="020B0502020202020204" pitchFamily="34" charset="0"/>
              </a:rPr>
              <a:t>definiscono come</a:t>
            </a:r>
          </a:p>
          <a:p>
            <a:r>
              <a:rPr lang="it-IT" dirty="0" smtClean="0">
                <a:solidFill>
                  <a:srgbClr val="012169"/>
                </a:solidFill>
                <a:latin typeface="Century Gothic" panose="020B0502020202020204" pitchFamily="34" charset="0"/>
              </a:rPr>
              <a:t>a</a:t>
            </a:r>
            <a:r>
              <a:rPr lang="it-IT" dirty="0">
                <a:solidFill>
                  <a:srgbClr val="012169"/>
                </a:solidFill>
                <a:latin typeface="Century Gothic" panose="020B0502020202020204" pitchFamily="34" charset="0"/>
              </a:rPr>
              <a:t>)</a:t>
            </a:r>
            <a:r>
              <a:rPr lang="it-IT" b="1" dirty="0">
                <a:solidFill>
                  <a:srgbClr val="012169"/>
                </a:solidFill>
                <a:latin typeface="Century Gothic" panose="020B0502020202020204" pitchFamily="34" charset="0"/>
              </a:rPr>
              <a:t> non conformità minori (</a:t>
            </a:r>
            <a:r>
              <a:rPr lang="it-IT" b="1" dirty="0" err="1">
                <a:solidFill>
                  <a:srgbClr val="012169"/>
                </a:solidFill>
                <a:latin typeface="Century Gothic" panose="020B0502020202020204" pitchFamily="34" charset="0"/>
              </a:rPr>
              <a:t>nc</a:t>
            </a:r>
            <a:r>
              <a:rPr lang="it-IT" b="1" dirty="0">
                <a:solidFill>
                  <a:srgbClr val="012169"/>
                </a:solidFill>
                <a:latin typeface="Century Gothic" panose="020B0502020202020204" pitchFamily="34" charset="0"/>
              </a:rPr>
              <a:t>) </a:t>
            </a:r>
            <a:r>
              <a:rPr lang="it-IT" dirty="0">
                <a:solidFill>
                  <a:srgbClr val="012169"/>
                </a:solidFill>
                <a:latin typeface="Century Gothic" panose="020B0502020202020204" pitchFamily="34" charset="0"/>
              </a:rPr>
              <a:t>quelle che non comportano un rischio immediato per la salute umana o per la salute e il benessere degli animali; </a:t>
            </a:r>
          </a:p>
          <a:p>
            <a:r>
              <a:rPr lang="it-IT" dirty="0">
                <a:solidFill>
                  <a:srgbClr val="012169"/>
                </a:solidFill>
                <a:latin typeface="Century Gothic" panose="020B0502020202020204" pitchFamily="34" charset="0"/>
              </a:rPr>
              <a:t>b) </a:t>
            </a:r>
            <a:r>
              <a:rPr lang="it-IT" b="1" dirty="0">
                <a:solidFill>
                  <a:srgbClr val="012169"/>
                </a:solidFill>
                <a:latin typeface="Century Gothic" panose="020B0502020202020204" pitchFamily="34" charset="0"/>
              </a:rPr>
              <a:t>non conformità maggiori (NC)</a:t>
            </a:r>
            <a:r>
              <a:rPr lang="it-IT" dirty="0">
                <a:solidFill>
                  <a:srgbClr val="012169"/>
                </a:solidFill>
                <a:latin typeface="Century Gothic" panose="020B0502020202020204" pitchFamily="34" charset="0"/>
              </a:rPr>
              <a:t> quelle che comportano un rischio immediato per la salute umana o per la salute e il benessere degli animali. </a:t>
            </a:r>
            <a:endParaRPr lang="it-IT" dirty="0" smtClean="0">
              <a:solidFill>
                <a:srgbClr val="012169"/>
              </a:solidFill>
              <a:latin typeface="Century Gothic" panose="020B0502020202020204" pitchFamily="34" charset="0"/>
            </a:endParaRPr>
          </a:p>
          <a:p>
            <a:endParaRPr lang="it-IT" dirty="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Possono </a:t>
            </a:r>
            <a:r>
              <a:rPr lang="it-IT" dirty="0">
                <a:solidFill>
                  <a:srgbClr val="012169"/>
                </a:solidFill>
                <a:latin typeface="Century Gothic" panose="020B0502020202020204" pitchFamily="34" charset="0"/>
              </a:rPr>
              <a:t>procedere ad una delle seguenti tipologie di sequestro o blocco ufficiale di attrezzature, locali, merci o animali: </a:t>
            </a:r>
            <a:endParaRPr lang="it-IT" dirty="0" smtClean="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a</a:t>
            </a:r>
            <a:r>
              <a:rPr lang="it-IT" dirty="0">
                <a:solidFill>
                  <a:srgbClr val="012169"/>
                </a:solidFill>
                <a:latin typeface="Century Gothic" panose="020B0502020202020204" pitchFamily="34" charset="0"/>
              </a:rPr>
              <a:t>) </a:t>
            </a:r>
            <a:r>
              <a:rPr lang="it-IT" b="1" dirty="0">
                <a:solidFill>
                  <a:srgbClr val="012169"/>
                </a:solidFill>
                <a:latin typeface="Century Gothic" panose="020B0502020202020204" pitchFamily="34" charset="0"/>
              </a:rPr>
              <a:t>sequestro amministrativo </a:t>
            </a:r>
            <a:r>
              <a:rPr lang="it-IT" dirty="0">
                <a:solidFill>
                  <a:srgbClr val="012169"/>
                </a:solidFill>
                <a:latin typeface="Century Gothic" panose="020B0502020202020204" pitchFamily="34" charset="0"/>
              </a:rPr>
              <a:t>nei casi previsti dall'articolo13 della L. n. 689/1981; </a:t>
            </a:r>
            <a:endParaRPr lang="it-IT" dirty="0" smtClean="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b</a:t>
            </a:r>
            <a:r>
              <a:rPr lang="it-IT" dirty="0">
                <a:solidFill>
                  <a:srgbClr val="012169"/>
                </a:solidFill>
                <a:latin typeface="Century Gothic" panose="020B0502020202020204" pitchFamily="34" charset="0"/>
              </a:rPr>
              <a:t>) </a:t>
            </a:r>
            <a:r>
              <a:rPr lang="it-IT" b="1" dirty="0">
                <a:solidFill>
                  <a:srgbClr val="012169"/>
                </a:solidFill>
                <a:latin typeface="Century Gothic" panose="020B0502020202020204" pitchFamily="34" charset="0"/>
              </a:rPr>
              <a:t>sequestro penale </a:t>
            </a:r>
            <a:r>
              <a:rPr lang="it-IT" dirty="0">
                <a:solidFill>
                  <a:srgbClr val="012169"/>
                </a:solidFill>
                <a:latin typeface="Century Gothic" panose="020B0502020202020204" pitchFamily="34" charset="0"/>
              </a:rPr>
              <a:t>nei casi di rilevazione di illeciti penali; </a:t>
            </a:r>
            <a:endParaRPr lang="it-IT" dirty="0" smtClean="0">
              <a:solidFill>
                <a:srgbClr val="012169"/>
              </a:solidFill>
              <a:latin typeface="Century Gothic" panose="020B0502020202020204" pitchFamily="34" charset="0"/>
            </a:endParaRPr>
          </a:p>
          <a:p>
            <a:r>
              <a:rPr lang="it-IT" dirty="0" smtClean="0">
                <a:solidFill>
                  <a:srgbClr val="012169"/>
                </a:solidFill>
                <a:latin typeface="Century Gothic" panose="020B0502020202020204" pitchFamily="34" charset="0"/>
              </a:rPr>
              <a:t>c</a:t>
            </a:r>
            <a:r>
              <a:rPr lang="it-IT" dirty="0">
                <a:solidFill>
                  <a:srgbClr val="012169"/>
                </a:solidFill>
                <a:latin typeface="Century Gothic" panose="020B0502020202020204" pitchFamily="34" charset="0"/>
              </a:rPr>
              <a:t>) </a:t>
            </a:r>
            <a:r>
              <a:rPr lang="it-IT" b="1" dirty="0">
                <a:solidFill>
                  <a:srgbClr val="012169"/>
                </a:solidFill>
                <a:latin typeface="Century Gothic" panose="020B0502020202020204" pitchFamily="34" charset="0"/>
              </a:rPr>
              <a:t>blocco ufficiale </a:t>
            </a:r>
            <a:r>
              <a:rPr lang="it-IT" dirty="0">
                <a:solidFill>
                  <a:srgbClr val="012169"/>
                </a:solidFill>
                <a:latin typeface="Century Gothic" panose="020B0502020202020204" pitchFamily="34" charset="0"/>
              </a:rPr>
              <a:t>ai sensi degli artt. 137 e 138 del Regolamento nei casi residuali</a:t>
            </a:r>
            <a:r>
              <a:rPr lang="it-IT" dirty="0" smtClean="0">
                <a:solidFill>
                  <a:srgbClr val="012169"/>
                </a:solidFill>
                <a:latin typeface="Century Gothic" panose="020B0502020202020204" pitchFamily="34" charset="0"/>
              </a:rPr>
              <a:t>.</a:t>
            </a:r>
            <a:endParaRPr lang="it-IT" dirty="0">
              <a:solidFill>
                <a:srgbClr val="012169"/>
              </a:solidFill>
              <a:latin typeface="Century Gothic" panose="020B0502020202020204" pitchFamily="34" charset="0"/>
            </a:endParaRPr>
          </a:p>
          <a:p>
            <a:endParaRPr lang="it-IT" dirty="0"/>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6860"/>
            <a:ext cx="1606338" cy="864951"/>
          </a:xfrm>
          <a:prstGeom prst="rect">
            <a:avLst/>
          </a:prstGeom>
        </p:spPr>
      </p:pic>
    </p:spTree>
    <p:extLst>
      <p:ext uri="{BB962C8B-B14F-4D97-AF65-F5344CB8AC3E}">
        <p14:creationId xmlns:p14="http://schemas.microsoft.com/office/powerpoint/2010/main" val="1723873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20.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Obbligh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degl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operatori</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870265"/>
            <a:ext cx="11289190" cy="5355312"/>
          </a:xfrm>
          <a:prstGeom prst="rect">
            <a:avLst/>
          </a:prstGeom>
          <a:noFill/>
          <a:ln>
            <a:solidFill>
              <a:srgbClr val="012169"/>
            </a:solidFill>
          </a:ln>
        </p:spPr>
        <p:txBody>
          <a:bodyPr wrap="square" rtlCol="0" anchor="ctr">
            <a:spAutoFit/>
          </a:bodyPr>
          <a:lstStyle/>
          <a:p>
            <a:endParaRPr lang="it-IT" dirty="0" smtClean="0">
              <a:solidFill>
                <a:srgbClr val="012169"/>
              </a:solidFill>
              <a:latin typeface="Century Gothic" panose="020B0502020202020204" pitchFamily="34" charset="0"/>
            </a:endParaRPr>
          </a:p>
          <a:p>
            <a:endParaRPr lang="it-IT" dirty="0">
              <a:solidFill>
                <a:srgbClr val="012169"/>
              </a:solidFill>
              <a:latin typeface="Century Gothic" panose="020B0502020202020204" pitchFamily="34" charset="0"/>
            </a:endParaRPr>
          </a:p>
          <a:p>
            <a:r>
              <a:rPr lang="it-IT" altLang="it-IT" dirty="0">
                <a:solidFill>
                  <a:srgbClr val="012169"/>
                </a:solidFill>
                <a:latin typeface="Century Gothic" panose="020B0502020202020204" pitchFamily="34" charset="0"/>
              </a:rPr>
              <a:t>Nei limiti di quanto necessario allo svolgimento </a:t>
            </a:r>
            <a:r>
              <a:rPr lang="it-IT" altLang="it-IT" dirty="0" smtClean="0">
                <a:solidFill>
                  <a:srgbClr val="012169"/>
                </a:solidFill>
                <a:latin typeface="Century Gothic" panose="020B0502020202020204" pitchFamily="34" charset="0"/>
              </a:rPr>
              <a:t>dell'attività </a:t>
            </a:r>
            <a:r>
              <a:rPr lang="it-IT" altLang="it-IT" dirty="0">
                <a:solidFill>
                  <a:srgbClr val="012169"/>
                </a:solidFill>
                <a:latin typeface="Century Gothic" panose="020B0502020202020204" pitchFamily="34" charset="0"/>
              </a:rPr>
              <a:t>di controllo ufficiale e delle altre </a:t>
            </a:r>
            <a:r>
              <a:rPr lang="it-IT" altLang="it-IT" dirty="0" smtClean="0">
                <a:solidFill>
                  <a:srgbClr val="012169"/>
                </a:solidFill>
                <a:latin typeface="Century Gothic" panose="020B0502020202020204" pitchFamily="34" charset="0"/>
              </a:rPr>
              <a:t>attività </a:t>
            </a:r>
            <a:r>
              <a:rPr lang="it-IT" altLang="it-IT" dirty="0">
                <a:solidFill>
                  <a:srgbClr val="012169"/>
                </a:solidFill>
                <a:latin typeface="Century Gothic" panose="020B0502020202020204" pitchFamily="34" charset="0"/>
              </a:rPr>
              <a:t>ufficiali, compresa </a:t>
            </a:r>
            <a:r>
              <a:rPr lang="it-IT" altLang="it-IT" dirty="0" smtClean="0">
                <a:solidFill>
                  <a:srgbClr val="012169"/>
                </a:solidFill>
                <a:latin typeface="Century Gothic" panose="020B0502020202020204" pitchFamily="34" charset="0"/>
              </a:rPr>
              <a:t>l'attività </a:t>
            </a:r>
            <a:r>
              <a:rPr lang="it-IT" altLang="it-IT" dirty="0">
                <a:solidFill>
                  <a:srgbClr val="012169"/>
                </a:solidFill>
                <a:latin typeface="Century Gothic" panose="020B0502020202020204" pitchFamily="34" charset="0"/>
              </a:rPr>
              <a:t>di certificazione ufficiale, gli operatori dei settori di cui all'articolo 2, comma 1, assicurano alle </a:t>
            </a:r>
            <a:r>
              <a:rPr lang="it-IT" altLang="it-IT" dirty="0" smtClean="0">
                <a:solidFill>
                  <a:srgbClr val="012169"/>
                </a:solidFill>
                <a:latin typeface="Century Gothic" panose="020B0502020202020204" pitchFamily="34" charset="0"/>
              </a:rPr>
              <a:t>autorità </a:t>
            </a:r>
            <a:r>
              <a:rPr lang="it-IT" altLang="it-IT" dirty="0">
                <a:solidFill>
                  <a:srgbClr val="012169"/>
                </a:solidFill>
                <a:latin typeface="Century Gothic" panose="020B0502020202020204" pitchFamily="34" charset="0"/>
              </a:rPr>
              <a:t>competenti o, qualora individuati, agli organismi delegati o designati, </a:t>
            </a:r>
            <a:r>
              <a:rPr lang="it-IT" altLang="it-IT" b="1" dirty="0">
                <a:solidFill>
                  <a:srgbClr val="012169"/>
                </a:solidFill>
                <a:latin typeface="Century Gothic" panose="020B0502020202020204" pitchFamily="34" charset="0"/>
              </a:rPr>
              <a:t>l'accesso</a:t>
            </a:r>
            <a:r>
              <a:rPr lang="it-IT" altLang="it-IT" dirty="0">
                <a:solidFill>
                  <a:srgbClr val="012169"/>
                </a:solidFill>
                <a:latin typeface="Century Gothic" panose="020B0502020202020204" pitchFamily="34" charset="0"/>
              </a:rPr>
              <a:t>: </a:t>
            </a:r>
            <a:endParaRPr lang="it-IT" altLang="it-IT" dirty="0" smtClean="0">
              <a:solidFill>
                <a:srgbClr val="012169"/>
              </a:solidFill>
              <a:latin typeface="Century Gothic" panose="020B0502020202020204" pitchFamily="34" charset="0"/>
            </a:endParaRPr>
          </a:p>
          <a:p>
            <a:pPr marL="342900" indent="-342900">
              <a:buAutoNum type="alphaLcParenR"/>
            </a:pPr>
            <a:r>
              <a:rPr lang="it-IT" altLang="it-IT" dirty="0" smtClean="0">
                <a:solidFill>
                  <a:srgbClr val="012169"/>
                </a:solidFill>
                <a:latin typeface="Century Gothic" panose="020B0502020202020204" pitchFamily="34" charset="0"/>
              </a:rPr>
              <a:t>alle </a:t>
            </a:r>
            <a:r>
              <a:rPr lang="it-IT" altLang="it-IT" b="1" dirty="0">
                <a:solidFill>
                  <a:srgbClr val="012169"/>
                </a:solidFill>
                <a:latin typeface="Century Gothic" panose="020B0502020202020204" pitchFamily="34" charset="0"/>
              </a:rPr>
              <a:t>attrezzature</a:t>
            </a:r>
            <a:r>
              <a:rPr lang="it-IT" altLang="it-IT" dirty="0">
                <a:solidFill>
                  <a:srgbClr val="012169"/>
                </a:solidFill>
                <a:latin typeface="Century Gothic" panose="020B0502020202020204" pitchFamily="34" charset="0"/>
              </a:rPr>
              <a:t>, ai </a:t>
            </a:r>
            <a:r>
              <a:rPr lang="it-IT" altLang="it-IT" b="1" dirty="0">
                <a:solidFill>
                  <a:srgbClr val="012169"/>
                </a:solidFill>
                <a:latin typeface="Century Gothic" panose="020B0502020202020204" pitchFamily="34" charset="0"/>
              </a:rPr>
              <a:t>mezzi di trasporto</a:t>
            </a:r>
            <a:r>
              <a:rPr lang="it-IT" altLang="it-IT" dirty="0">
                <a:solidFill>
                  <a:srgbClr val="012169"/>
                </a:solidFill>
                <a:latin typeface="Century Gothic" panose="020B0502020202020204" pitchFamily="34" charset="0"/>
              </a:rPr>
              <a:t>, ai </a:t>
            </a:r>
            <a:r>
              <a:rPr lang="it-IT" altLang="it-IT" b="1" dirty="0">
                <a:solidFill>
                  <a:srgbClr val="012169"/>
                </a:solidFill>
                <a:latin typeface="Century Gothic" panose="020B0502020202020204" pitchFamily="34" charset="0"/>
              </a:rPr>
              <a:t>locali </a:t>
            </a:r>
            <a:r>
              <a:rPr lang="it-IT" altLang="it-IT" dirty="0">
                <a:solidFill>
                  <a:srgbClr val="012169"/>
                </a:solidFill>
                <a:latin typeface="Century Gothic" panose="020B0502020202020204" pitchFamily="34" charset="0"/>
              </a:rPr>
              <a:t>e agli altri </a:t>
            </a:r>
            <a:r>
              <a:rPr lang="it-IT" altLang="it-IT" b="1" dirty="0">
                <a:solidFill>
                  <a:srgbClr val="012169"/>
                </a:solidFill>
                <a:latin typeface="Century Gothic" panose="020B0502020202020204" pitchFamily="34" charset="0"/>
              </a:rPr>
              <a:t>luoghi sotto il loro controllo e relative adiacenze</a:t>
            </a:r>
            <a:r>
              <a:rPr lang="it-IT" altLang="it-IT" dirty="0">
                <a:solidFill>
                  <a:srgbClr val="012169"/>
                </a:solidFill>
                <a:latin typeface="Century Gothic" panose="020B0502020202020204" pitchFamily="34" charset="0"/>
              </a:rPr>
              <a:t>; </a:t>
            </a:r>
            <a:endParaRPr lang="it-IT" altLang="it-IT" dirty="0" smtClean="0">
              <a:solidFill>
                <a:srgbClr val="012169"/>
              </a:solidFill>
              <a:latin typeface="Century Gothic" panose="020B0502020202020204" pitchFamily="34" charset="0"/>
            </a:endParaRPr>
          </a:p>
          <a:p>
            <a:pPr marL="342900" indent="-342900">
              <a:buAutoNum type="alphaLcParenR"/>
            </a:pPr>
            <a:r>
              <a:rPr lang="it-IT" altLang="it-IT" dirty="0" smtClean="0">
                <a:solidFill>
                  <a:srgbClr val="012169"/>
                </a:solidFill>
                <a:latin typeface="Century Gothic" panose="020B0502020202020204" pitchFamily="34" charset="0"/>
              </a:rPr>
              <a:t>ai </a:t>
            </a:r>
            <a:r>
              <a:rPr lang="it-IT" altLang="it-IT" dirty="0">
                <a:solidFill>
                  <a:srgbClr val="012169"/>
                </a:solidFill>
                <a:latin typeface="Century Gothic" panose="020B0502020202020204" pitchFamily="34" charset="0"/>
              </a:rPr>
              <a:t>propri </a:t>
            </a:r>
            <a:r>
              <a:rPr lang="it-IT" altLang="it-IT" b="1" dirty="0">
                <a:solidFill>
                  <a:srgbClr val="012169"/>
                </a:solidFill>
                <a:latin typeface="Century Gothic" panose="020B0502020202020204" pitchFamily="34" charset="0"/>
              </a:rPr>
              <a:t>sistemi informatici </a:t>
            </a:r>
            <a:r>
              <a:rPr lang="it-IT" altLang="it-IT" dirty="0">
                <a:solidFill>
                  <a:srgbClr val="012169"/>
                </a:solidFill>
                <a:latin typeface="Century Gothic" panose="020B0502020202020204" pitchFamily="34" charset="0"/>
              </a:rPr>
              <a:t>di trattamento delle informazioni; </a:t>
            </a:r>
            <a:endParaRPr lang="it-IT" altLang="it-IT" dirty="0" smtClean="0">
              <a:solidFill>
                <a:srgbClr val="012169"/>
              </a:solidFill>
              <a:latin typeface="Century Gothic" panose="020B0502020202020204" pitchFamily="34" charset="0"/>
            </a:endParaRPr>
          </a:p>
          <a:p>
            <a:pPr marL="342900" indent="-342900">
              <a:buAutoNum type="alphaLcParenR"/>
            </a:pPr>
            <a:r>
              <a:rPr lang="it-IT" altLang="it-IT" dirty="0" smtClean="0">
                <a:solidFill>
                  <a:srgbClr val="012169"/>
                </a:solidFill>
                <a:latin typeface="Century Gothic" panose="020B0502020202020204" pitchFamily="34" charset="0"/>
              </a:rPr>
              <a:t>agli </a:t>
            </a:r>
            <a:r>
              <a:rPr lang="it-IT" altLang="it-IT" b="1" dirty="0">
                <a:solidFill>
                  <a:srgbClr val="012169"/>
                </a:solidFill>
                <a:latin typeface="Century Gothic" panose="020B0502020202020204" pitchFamily="34" charset="0"/>
              </a:rPr>
              <a:t>animali </a:t>
            </a:r>
            <a:r>
              <a:rPr lang="it-IT" altLang="it-IT" dirty="0">
                <a:solidFill>
                  <a:srgbClr val="012169"/>
                </a:solidFill>
                <a:latin typeface="Century Gothic" panose="020B0502020202020204" pitchFamily="34" charset="0"/>
              </a:rPr>
              <a:t>e alle </a:t>
            </a:r>
            <a:r>
              <a:rPr lang="it-IT" altLang="it-IT" b="1" dirty="0">
                <a:solidFill>
                  <a:srgbClr val="012169"/>
                </a:solidFill>
                <a:latin typeface="Century Gothic" panose="020B0502020202020204" pitchFamily="34" charset="0"/>
              </a:rPr>
              <a:t>merci </a:t>
            </a:r>
            <a:r>
              <a:rPr lang="it-IT" altLang="it-IT" dirty="0">
                <a:solidFill>
                  <a:srgbClr val="012169"/>
                </a:solidFill>
                <a:latin typeface="Century Gothic" panose="020B0502020202020204" pitchFamily="34" charset="0"/>
              </a:rPr>
              <a:t>sotto il loro controllo; </a:t>
            </a:r>
            <a:endParaRPr lang="it-IT" altLang="it-IT" dirty="0" smtClean="0">
              <a:solidFill>
                <a:srgbClr val="012169"/>
              </a:solidFill>
              <a:latin typeface="Century Gothic" panose="020B0502020202020204" pitchFamily="34" charset="0"/>
            </a:endParaRPr>
          </a:p>
          <a:p>
            <a:pPr marL="342900" indent="-342900">
              <a:buAutoNum type="alphaLcParenR"/>
            </a:pPr>
            <a:r>
              <a:rPr lang="it-IT" altLang="it-IT" dirty="0" smtClean="0">
                <a:solidFill>
                  <a:srgbClr val="012169"/>
                </a:solidFill>
                <a:latin typeface="Century Gothic" panose="020B0502020202020204" pitchFamily="34" charset="0"/>
              </a:rPr>
              <a:t>ai </a:t>
            </a:r>
            <a:r>
              <a:rPr lang="it-IT" altLang="it-IT" dirty="0">
                <a:solidFill>
                  <a:srgbClr val="012169"/>
                </a:solidFill>
                <a:latin typeface="Century Gothic" panose="020B0502020202020204" pitchFamily="34" charset="0"/>
              </a:rPr>
              <a:t>propri </a:t>
            </a:r>
            <a:r>
              <a:rPr lang="it-IT" altLang="it-IT" b="1" dirty="0">
                <a:solidFill>
                  <a:srgbClr val="012169"/>
                </a:solidFill>
                <a:latin typeface="Century Gothic" panose="020B0502020202020204" pitchFamily="34" charset="0"/>
              </a:rPr>
              <a:t>documenti</a:t>
            </a:r>
            <a:r>
              <a:rPr lang="it-IT" altLang="it-IT" dirty="0">
                <a:solidFill>
                  <a:srgbClr val="012169"/>
                </a:solidFill>
                <a:latin typeface="Century Gothic" panose="020B0502020202020204" pitchFamily="34" charset="0"/>
              </a:rPr>
              <a:t>, anche informatizzati, e a tutte le altre informazioni pertinenti. </a:t>
            </a:r>
            <a:endParaRPr lang="it-IT" altLang="it-IT" dirty="0" smtClean="0">
              <a:solidFill>
                <a:srgbClr val="012169"/>
              </a:solidFill>
              <a:latin typeface="Century Gothic" panose="020B0502020202020204" pitchFamily="34" charset="0"/>
            </a:endParaRPr>
          </a:p>
          <a:p>
            <a:endParaRPr lang="it-IT" altLang="it-IT" dirty="0">
              <a:solidFill>
                <a:srgbClr val="012169"/>
              </a:solidFill>
              <a:latin typeface="Century Gothic" panose="020B0502020202020204" pitchFamily="34" charset="0"/>
            </a:endParaRPr>
          </a:p>
          <a:p>
            <a:r>
              <a:rPr lang="it-IT" altLang="it-IT" dirty="0" smtClean="0">
                <a:solidFill>
                  <a:srgbClr val="012169"/>
                </a:solidFill>
                <a:latin typeface="Century Gothic" panose="020B0502020202020204" pitchFamily="34" charset="0"/>
              </a:rPr>
              <a:t>Durante </a:t>
            </a:r>
            <a:r>
              <a:rPr lang="it-IT" altLang="it-IT" dirty="0">
                <a:solidFill>
                  <a:srgbClr val="012169"/>
                </a:solidFill>
                <a:latin typeface="Century Gothic" panose="020B0502020202020204" pitchFamily="34" charset="0"/>
              </a:rPr>
              <a:t>i controlli ufficiali e le altre </a:t>
            </a:r>
            <a:r>
              <a:rPr lang="it-IT" altLang="it-IT" dirty="0" smtClean="0">
                <a:solidFill>
                  <a:srgbClr val="012169"/>
                </a:solidFill>
                <a:latin typeface="Century Gothic" panose="020B0502020202020204" pitchFamily="34" charset="0"/>
              </a:rPr>
              <a:t>attività </a:t>
            </a:r>
            <a:r>
              <a:rPr lang="it-IT" altLang="it-IT" dirty="0">
                <a:solidFill>
                  <a:srgbClr val="012169"/>
                </a:solidFill>
                <a:latin typeface="Century Gothic" panose="020B0502020202020204" pitchFamily="34" charset="0"/>
              </a:rPr>
              <a:t>ufficiali, gli operatori </a:t>
            </a:r>
            <a:r>
              <a:rPr lang="it-IT" altLang="it-IT" b="1" dirty="0">
                <a:solidFill>
                  <a:srgbClr val="012169"/>
                </a:solidFill>
                <a:latin typeface="Century Gothic" panose="020B0502020202020204" pitchFamily="34" charset="0"/>
              </a:rPr>
              <a:t>forniscono assistenza e collaborano con il personale delle </a:t>
            </a:r>
            <a:r>
              <a:rPr lang="it-IT" altLang="it-IT" b="1" dirty="0" smtClean="0">
                <a:solidFill>
                  <a:srgbClr val="012169"/>
                </a:solidFill>
                <a:latin typeface="Century Gothic" panose="020B0502020202020204" pitchFamily="34" charset="0"/>
              </a:rPr>
              <a:t>autorità </a:t>
            </a:r>
            <a:r>
              <a:rPr lang="it-IT" altLang="it-IT" b="1" dirty="0">
                <a:solidFill>
                  <a:srgbClr val="012169"/>
                </a:solidFill>
                <a:latin typeface="Century Gothic" panose="020B0502020202020204" pitchFamily="34" charset="0"/>
              </a:rPr>
              <a:t>competenti </a:t>
            </a:r>
            <a:r>
              <a:rPr lang="it-IT" altLang="it-IT" dirty="0" smtClean="0">
                <a:solidFill>
                  <a:srgbClr val="012169"/>
                </a:solidFill>
                <a:latin typeface="Century Gothic" panose="020B0502020202020204" pitchFamily="34" charset="0"/>
              </a:rPr>
              <a:t>nell'adempimento </a:t>
            </a:r>
            <a:r>
              <a:rPr lang="it-IT" altLang="it-IT" dirty="0">
                <a:solidFill>
                  <a:srgbClr val="012169"/>
                </a:solidFill>
                <a:latin typeface="Century Gothic" panose="020B0502020202020204" pitchFamily="34" charset="0"/>
              </a:rPr>
              <a:t>dei rispettivi compiti. </a:t>
            </a:r>
          </a:p>
          <a:p>
            <a:endParaRPr lang="it-IT" altLang="it-IT" dirty="0" smtClean="0">
              <a:solidFill>
                <a:srgbClr val="012169"/>
              </a:solidFill>
              <a:latin typeface="Century Gothic" panose="020B0502020202020204" pitchFamily="34" charset="0"/>
            </a:endParaRPr>
          </a:p>
          <a:p>
            <a:r>
              <a:rPr lang="it-IT" altLang="it-IT" dirty="0" smtClean="0">
                <a:solidFill>
                  <a:srgbClr val="012169"/>
                </a:solidFill>
                <a:latin typeface="Century Gothic" panose="020B0502020202020204" pitchFamily="34" charset="0"/>
              </a:rPr>
              <a:t>Gli </a:t>
            </a:r>
            <a:r>
              <a:rPr lang="it-IT" altLang="it-IT" dirty="0">
                <a:solidFill>
                  <a:srgbClr val="012169"/>
                </a:solidFill>
                <a:latin typeface="Century Gothic" panose="020B0502020202020204" pitchFamily="34" charset="0"/>
              </a:rPr>
              <a:t>operatori sono tenuti ad assicurare che le </a:t>
            </a:r>
            <a:r>
              <a:rPr lang="it-IT" altLang="it-IT" dirty="0" smtClean="0">
                <a:solidFill>
                  <a:srgbClr val="012169"/>
                </a:solidFill>
                <a:latin typeface="Century Gothic" panose="020B0502020202020204" pitchFamily="34" charset="0"/>
              </a:rPr>
              <a:t>Autorità competenti </a:t>
            </a:r>
            <a:r>
              <a:rPr lang="it-IT" altLang="it-IT" b="1" dirty="0">
                <a:solidFill>
                  <a:srgbClr val="012169"/>
                </a:solidFill>
                <a:latin typeface="Century Gothic" panose="020B0502020202020204" pitchFamily="34" charset="0"/>
              </a:rPr>
              <a:t>possano prelevare gratuitamente</a:t>
            </a:r>
            <a:r>
              <a:rPr lang="it-IT" altLang="it-IT" dirty="0">
                <a:solidFill>
                  <a:srgbClr val="012169"/>
                </a:solidFill>
                <a:latin typeface="Century Gothic" panose="020B0502020202020204" pitchFamily="34" charset="0"/>
              </a:rPr>
              <a:t>, nell'ambito dei controlli ufficiali e delle altre </a:t>
            </a:r>
            <a:r>
              <a:rPr lang="it-IT" altLang="it-IT" dirty="0" smtClean="0">
                <a:solidFill>
                  <a:srgbClr val="012169"/>
                </a:solidFill>
                <a:latin typeface="Century Gothic" panose="020B0502020202020204" pitchFamily="34" charset="0"/>
              </a:rPr>
              <a:t>attività </a:t>
            </a:r>
            <a:r>
              <a:rPr lang="it-IT" altLang="it-IT" dirty="0">
                <a:solidFill>
                  <a:srgbClr val="012169"/>
                </a:solidFill>
                <a:latin typeface="Century Gothic" panose="020B0502020202020204" pitchFamily="34" charset="0"/>
              </a:rPr>
              <a:t>ufficiali, </a:t>
            </a:r>
            <a:r>
              <a:rPr lang="it-IT" altLang="it-IT" b="1" dirty="0">
                <a:solidFill>
                  <a:srgbClr val="012169"/>
                </a:solidFill>
                <a:latin typeface="Century Gothic" panose="020B0502020202020204" pitchFamily="34" charset="0"/>
              </a:rPr>
              <a:t>una </a:t>
            </a:r>
            <a:r>
              <a:rPr lang="it-IT" altLang="it-IT" b="1" dirty="0" smtClean="0">
                <a:solidFill>
                  <a:srgbClr val="012169"/>
                </a:solidFill>
                <a:latin typeface="Century Gothic" panose="020B0502020202020204" pitchFamily="34" charset="0"/>
              </a:rPr>
              <a:t>quantità </a:t>
            </a:r>
            <a:r>
              <a:rPr lang="it-IT" altLang="it-IT" b="1" dirty="0">
                <a:solidFill>
                  <a:srgbClr val="012169"/>
                </a:solidFill>
                <a:latin typeface="Century Gothic" panose="020B0502020202020204" pitchFamily="34" charset="0"/>
              </a:rPr>
              <a:t>sufficiente di matrici per consentire la formazione di campioni per l'analisi </a:t>
            </a:r>
            <a:r>
              <a:rPr lang="it-IT" altLang="it-IT" dirty="0">
                <a:solidFill>
                  <a:srgbClr val="012169"/>
                </a:solidFill>
                <a:latin typeface="Century Gothic" panose="020B0502020202020204" pitchFamily="34" charset="0"/>
              </a:rPr>
              <a:t>secondo quanto disposto dall'articolo 34 del Regolamento.</a:t>
            </a:r>
            <a:endParaRPr lang="it-IT" dirty="0">
              <a:solidFill>
                <a:srgbClr val="012169"/>
              </a:solidFill>
              <a:latin typeface="Century Gothic" panose="020B0502020202020204" pitchFamily="34" charset="0"/>
            </a:endParaRPr>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5033910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21.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Controperizia</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951484"/>
            <a:ext cx="11136790" cy="5355312"/>
          </a:xfrm>
          <a:prstGeom prst="rect">
            <a:avLst/>
          </a:prstGeom>
          <a:noFill/>
          <a:ln>
            <a:solidFill>
              <a:srgbClr val="012169"/>
            </a:solidFill>
          </a:ln>
        </p:spPr>
        <p:txBody>
          <a:bodyPr wrap="square" rtlCol="0" anchor="ctr">
            <a:spAutoFit/>
          </a:bodyPr>
          <a:lstStyle/>
          <a:p>
            <a:pPr lvl="0"/>
            <a:r>
              <a:rPr lang="it-IT" altLang="it-IT" dirty="0" smtClean="0">
                <a:solidFill>
                  <a:srgbClr val="012169"/>
                </a:solidFill>
                <a:latin typeface="Century Gothic" panose="020B0502020202020204" pitchFamily="34" charset="0"/>
              </a:rPr>
              <a:t>Se </a:t>
            </a:r>
            <a:r>
              <a:rPr lang="it-IT" altLang="it-IT" dirty="0">
                <a:solidFill>
                  <a:srgbClr val="012169"/>
                </a:solidFill>
                <a:latin typeface="Century Gothic" panose="020B0502020202020204" pitchFamily="34" charset="0"/>
              </a:rPr>
              <a:t>opportuno, pertinente e tecnicamente fattibile, le Autorità competenti </a:t>
            </a:r>
            <a:r>
              <a:rPr lang="it-IT" altLang="it-IT" dirty="0" smtClean="0">
                <a:solidFill>
                  <a:srgbClr val="012169"/>
                </a:solidFill>
                <a:latin typeface="Century Gothic" panose="020B0502020202020204" pitchFamily="34" charset="0"/>
              </a:rPr>
              <a:t>assicurano </a:t>
            </a:r>
            <a:r>
              <a:rPr lang="it-IT" altLang="it-IT" dirty="0">
                <a:solidFill>
                  <a:srgbClr val="012169"/>
                </a:solidFill>
                <a:latin typeface="Century Gothic" panose="020B0502020202020204" pitchFamily="34" charset="0"/>
              </a:rPr>
              <a:t>che, nel prelevare il campione, ne sia prelevata una </a:t>
            </a:r>
            <a:r>
              <a:rPr lang="it-IT" altLang="it-IT" b="1" dirty="0">
                <a:solidFill>
                  <a:srgbClr val="012169"/>
                </a:solidFill>
                <a:latin typeface="Century Gothic" panose="020B0502020202020204" pitchFamily="34" charset="0"/>
              </a:rPr>
              <a:t>quantità sufficiente per rendere disponibili tutte le aliquote previste, compresa quella destinata all'operatore per consentire allo stesso l'esame di parte presso un laboratorio di sua fiducia accreditato e quella per consentirgli l'espletamento dell'eventuale fase relativa alla controversia</a:t>
            </a:r>
            <a:r>
              <a:rPr lang="it-IT" altLang="it-IT" dirty="0">
                <a:solidFill>
                  <a:srgbClr val="012169"/>
                </a:solidFill>
                <a:latin typeface="Century Gothic" panose="020B0502020202020204" pitchFamily="34" charset="0"/>
              </a:rPr>
              <a:t>. </a:t>
            </a:r>
          </a:p>
          <a:p>
            <a:pPr lvl="0"/>
            <a:r>
              <a:rPr lang="it-IT" altLang="it-IT" dirty="0">
                <a:solidFill>
                  <a:srgbClr val="012169"/>
                </a:solidFill>
                <a:latin typeface="Century Gothic" panose="020B0502020202020204" pitchFamily="34" charset="0"/>
              </a:rPr>
              <a:t>Queste ultime aliquote non vengono prelevate in caso di espressa </a:t>
            </a:r>
            <a:r>
              <a:rPr lang="it-IT" altLang="it-IT" b="1" dirty="0">
                <a:solidFill>
                  <a:srgbClr val="012169"/>
                </a:solidFill>
                <a:latin typeface="Century Gothic" panose="020B0502020202020204" pitchFamily="34" charset="0"/>
              </a:rPr>
              <a:t>rinuncia dell'operatore </a:t>
            </a:r>
            <a:r>
              <a:rPr lang="it-IT" altLang="it-IT" dirty="0">
                <a:solidFill>
                  <a:srgbClr val="012169"/>
                </a:solidFill>
                <a:latin typeface="Century Gothic" panose="020B0502020202020204" pitchFamily="34" charset="0"/>
              </a:rPr>
              <a:t>o di un suo legale rappresentante, rinuncia che deve essere annotata nel verbale di prelievo. </a:t>
            </a:r>
            <a:endParaRPr lang="it-IT" altLang="it-IT" dirty="0" smtClean="0">
              <a:solidFill>
                <a:srgbClr val="012169"/>
              </a:solidFill>
              <a:latin typeface="Century Gothic" panose="020B0502020202020204" pitchFamily="34" charset="0"/>
            </a:endParaRPr>
          </a:p>
          <a:p>
            <a:pPr lvl="0"/>
            <a:r>
              <a:rPr lang="it-IT" altLang="it-IT" dirty="0" smtClean="0">
                <a:solidFill>
                  <a:srgbClr val="012169"/>
                </a:solidFill>
                <a:latin typeface="Century Gothic" panose="020B0502020202020204" pitchFamily="34" charset="0"/>
              </a:rPr>
              <a:t>Per </a:t>
            </a:r>
            <a:r>
              <a:rPr lang="it-IT" altLang="it-IT" dirty="0">
                <a:solidFill>
                  <a:srgbClr val="012169"/>
                </a:solidFill>
                <a:latin typeface="Century Gothic" panose="020B0502020202020204" pitchFamily="34" charset="0"/>
              </a:rPr>
              <a:t>ciascun campione prelevato è compilato a cura dell'autorità competente un verbale di </a:t>
            </a:r>
            <a:r>
              <a:rPr lang="it-IT" altLang="it-IT" dirty="0" smtClean="0">
                <a:solidFill>
                  <a:srgbClr val="012169"/>
                </a:solidFill>
                <a:latin typeface="Century Gothic" panose="020B0502020202020204" pitchFamily="34" charset="0"/>
              </a:rPr>
              <a:t>campionamento. </a:t>
            </a:r>
            <a:endParaRPr lang="it-IT" altLang="it-IT" dirty="0">
              <a:solidFill>
                <a:srgbClr val="012169"/>
              </a:solidFill>
              <a:latin typeface="Century Gothic" panose="020B0502020202020204" pitchFamily="34" charset="0"/>
            </a:endParaRPr>
          </a:p>
          <a:p>
            <a:pPr lvl="0"/>
            <a:r>
              <a:rPr lang="it-IT" altLang="it-IT" dirty="0" smtClean="0">
                <a:solidFill>
                  <a:srgbClr val="012169"/>
                </a:solidFill>
                <a:latin typeface="Century Gothic" panose="020B0502020202020204" pitchFamily="34" charset="0"/>
              </a:rPr>
              <a:t>Qualora </a:t>
            </a:r>
            <a:r>
              <a:rPr lang="it-IT" altLang="it-IT" dirty="0">
                <a:solidFill>
                  <a:srgbClr val="012169"/>
                </a:solidFill>
                <a:latin typeface="Century Gothic" panose="020B0502020202020204" pitchFamily="34" charset="0"/>
              </a:rPr>
              <a:t>l'esito dell'analisi, prova o diagnosi da condurre non assicuri la riproducibilità dell'esito analitico, in considerazione della prevalenza e della distribuzione del pericolo negli animali o nelle merci, della </a:t>
            </a:r>
            <a:r>
              <a:rPr lang="it-IT" altLang="it-IT" dirty="0" smtClean="0">
                <a:solidFill>
                  <a:srgbClr val="012169"/>
                </a:solidFill>
                <a:latin typeface="Century Gothic" panose="020B0502020202020204" pitchFamily="34" charset="0"/>
              </a:rPr>
              <a:t>deperibilità </a:t>
            </a:r>
            <a:r>
              <a:rPr lang="it-IT" altLang="it-IT" dirty="0">
                <a:solidFill>
                  <a:srgbClr val="012169"/>
                </a:solidFill>
                <a:latin typeface="Century Gothic" panose="020B0502020202020204" pitchFamily="34" charset="0"/>
              </a:rPr>
              <a:t>dei campioni o delle </a:t>
            </a:r>
            <a:r>
              <a:rPr lang="it-IT" altLang="it-IT" dirty="0" smtClean="0">
                <a:solidFill>
                  <a:srgbClr val="012169"/>
                </a:solidFill>
                <a:latin typeface="Century Gothic" panose="020B0502020202020204" pitchFamily="34" charset="0"/>
              </a:rPr>
              <a:t>merci, l'Autorità </a:t>
            </a:r>
            <a:r>
              <a:rPr lang="it-IT" altLang="it-IT" dirty="0">
                <a:solidFill>
                  <a:srgbClr val="012169"/>
                </a:solidFill>
                <a:latin typeface="Century Gothic" panose="020B0502020202020204" pitchFamily="34" charset="0"/>
              </a:rPr>
              <a:t>competente procede al </a:t>
            </a:r>
            <a:r>
              <a:rPr lang="it-IT" altLang="it-IT" b="1" dirty="0">
                <a:solidFill>
                  <a:srgbClr val="012169"/>
                </a:solidFill>
                <a:latin typeface="Century Gothic" panose="020B0502020202020204" pitchFamily="34" charset="0"/>
              </a:rPr>
              <a:t>prelievo del campione in un'unica aliquota </a:t>
            </a:r>
            <a:r>
              <a:rPr lang="it-IT" altLang="it-IT" dirty="0">
                <a:solidFill>
                  <a:srgbClr val="012169"/>
                </a:solidFill>
                <a:latin typeface="Century Gothic" panose="020B0502020202020204" pitchFamily="34" charset="0"/>
              </a:rPr>
              <a:t>specificando nel verbale di campionamento i relativi motivi che escludono la </a:t>
            </a:r>
            <a:r>
              <a:rPr lang="it-IT" altLang="it-IT" dirty="0" smtClean="0">
                <a:solidFill>
                  <a:srgbClr val="012169"/>
                </a:solidFill>
                <a:latin typeface="Century Gothic" panose="020B0502020202020204" pitchFamily="34" charset="0"/>
              </a:rPr>
              <a:t>opportunità, </a:t>
            </a:r>
            <a:r>
              <a:rPr lang="it-IT" altLang="it-IT" dirty="0">
                <a:solidFill>
                  <a:srgbClr val="012169"/>
                </a:solidFill>
                <a:latin typeface="Century Gothic" panose="020B0502020202020204" pitchFamily="34" charset="0"/>
              </a:rPr>
              <a:t>la pertinenza o la </a:t>
            </a:r>
            <a:r>
              <a:rPr lang="it-IT" altLang="it-IT" dirty="0" smtClean="0">
                <a:solidFill>
                  <a:srgbClr val="012169"/>
                </a:solidFill>
                <a:latin typeface="Century Gothic" panose="020B0502020202020204" pitchFamily="34" charset="0"/>
              </a:rPr>
              <a:t>fattibilità </a:t>
            </a:r>
            <a:r>
              <a:rPr lang="it-IT" altLang="it-IT" dirty="0">
                <a:solidFill>
                  <a:srgbClr val="012169"/>
                </a:solidFill>
                <a:latin typeface="Century Gothic" panose="020B0502020202020204" pitchFamily="34" charset="0"/>
              </a:rPr>
              <a:t>tecnica della ripetizione dell'analisi o della prova. </a:t>
            </a:r>
          </a:p>
          <a:p>
            <a:pPr lvl="0"/>
            <a:r>
              <a:rPr lang="it-IT" altLang="it-IT" dirty="0">
                <a:solidFill>
                  <a:srgbClr val="012169"/>
                </a:solidFill>
                <a:latin typeface="Century Gothic" panose="020B0502020202020204" pitchFamily="34" charset="0"/>
              </a:rPr>
              <a:t>Il laboratorio ufficiale deve comunicare tempestivamente </a:t>
            </a:r>
            <a:r>
              <a:rPr lang="it-IT" altLang="it-IT" dirty="0" smtClean="0">
                <a:solidFill>
                  <a:srgbClr val="012169"/>
                </a:solidFill>
                <a:latin typeface="Century Gothic" panose="020B0502020202020204" pitchFamily="34" charset="0"/>
              </a:rPr>
              <a:t>all'Autorità </a:t>
            </a:r>
            <a:r>
              <a:rPr lang="it-IT" altLang="it-IT" dirty="0">
                <a:solidFill>
                  <a:srgbClr val="012169"/>
                </a:solidFill>
                <a:latin typeface="Century Gothic" panose="020B0502020202020204" pitchFamily="34" charset="0"/>
              </a:rPr>
              <a:t>competente il risultato delle analisi, prove, diagnosi</a:t>
            </a:r>
            <a:r>
              <a:rPr lang="it-IT" altLang="it-IT" dirty="0" smtClean="0">
                <a:solidFill>
                  <a:srgbClr val="012169"/>
                </a:solidFill>
                <a:latin typeface="Century Gothic" panose="020B0502020202020204" pitchFamily="34" charset="0"/>
              </a:rPr>
              <a:t>.</a:t>
            </a:r>
          </a:p>
          <a:p>
            <a:pPr lvl="0"/>
            <a:r>
              <a:rPr lang="it-IT" altLang="it-IT" dirty="0" smtClean="0">
                <a:solidFill>
                  <a:srgbClr val="012169"/>
                </a:solidFill>
                <a:latin typeface="Century Gothic" panose="020B0502020202020204" pitchFamily="34" charset="0"/>
              </a:rPr>
              <a:t>L'Autorità </a:t>
            </a:r>
            <a:r>
              <a:rPr lang="it-IT" altLang="it-IT" dirty="0">
                <a:solidFill>
                  <a:srgbClr val="012169"/>
                </a:solidFill>
                <a:latin typeface="Century Gothic" panose="020B0502020202020204" pitchFamily="34" charset="0"/>
              </a:rPr>
              <a:t>competente effettua la valutazione del risultato e comunica il </a:t>
            </a:r>
            <a:r>
              <a:rPr lang="it-IT" altLang="it-IT" dirty="0" smtClean="0">
                <a:solidFill>
                  <a:srgbClr val="012169"/>
                </a:solidFill>
                <a:latin typeface="Century Gothic" panose="020B0502020202020204" pitchFamily="34" charset="0"/>
              </a:rPr>
              <a:t>più </a:t>
            </a:r>
            <a:r>
              <a:rPr lang="it-IT" altLang="it-IT" dirty="0">
                <a:solidFill>
                  <a:srgbClr val="012169"/>
                </a:solidFill>
                <a:latin typeface="Century Gothic" panose="020B0502020202020204" pitchFamily="34" charset="0"/>
              </a:rPr>
              <a:t>tempestivamente possibile alle parti interessate l'esito favorevole o sfavorevole delle analisi, prove, diagnosi. </a:t>
            </a:r>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86533"/>
            <a:ext cx="1606338" cy="864951"/>
          </a:xfrm>
          <a:prstGeom prst="rect">
            <a:avLst/>
          </a:prstGeom>
        </p:spPr>
      </p:pic>
    </p:spTree>
    <p:extLst>
      <p:ext uri="{BB962C8B-B14F-4D97-AF65-F5344CB8AC3E}">
        <p14:creationId xmlns:p14="http://schemas.microsoft.com/office/powerpoint/2010/main" val="21439134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49916" y="1767759"/>
            <a:ext cx="3742084" cy="3742084"/>
          </a:xfrm>
          <a:prstGeom prst="rect">
            <a:avLst/>
          </a:prstGeom>
        </p:spPr>
      </p:pic>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22. Segue…</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Controperizia</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1238144"/>
            <a:ext cx="8412640" cy="4801314"/>
          </a:xfrm>
          <a:prstGeom prst="rect">
            <a:avLst/>
          </a:prstGeom>
          <a:noFill/>
          <a:ln>
            <a:solidFill>
              <a:srgbClr val="012169"/>
            </a:solidFill>
          </a:ln>
        </p:spPr>
        <p:txBody>
          <a:bodyPr wrap="square" rtlCol="0" anchor="ctr">
            <a:spAutoFit/>
          </a:bodyPr>
          <a:lstStyle/>
          <a:p>
            <a:r>
              <a:rPr lang="it-IT" altLang="it-IT" dirty="0" smtClean="0">
                <a:solidFill>
                  <a:srgbClr val="012169"/>
                </a:solidFill>
                <a:latin typeface="Century Gothic" panose="020B0502020202020204" pitchFamily="34" charset="0"/>
              </a:rPr>
              <a:t>Gli </a:t>
            </a:r>
            <a:r>
              <a:rPr lang="it-IT" altLang="it-IT" dirty="0">
                <a:solidFill>
                  <a:srgbClr val="012169"/>
                </a:solidFill>
                <a:latin typeface="Century Gothic" panose="020B0502020202020204" pitchFamily="34" charset="0"/>
              </a:rPr>
              <a:t>operatori </a:t>
            </a:r>
            <a:r>
              <a:rPr lang="it-IT" altLang="it-IT" dirty="0" smtClean="0">
                <a:solidFill>
                  <a:srgbClr val="012169"/>
                </a:solidFill>
                <a:latin typeface="Century Gothic" panose="020B0502020202020204" pitchFamily="34" charset="0"/>
              </a:rPr>
              <a:t>i </a:t>
            </a:r>
            <a:r>
              <a:rPr lang="it-IT" altLang="it-IT" dirty="0">
                <a:solidFill>
                  <a:srgbClr val="012169"/>
                </a:solidFill>
                <a:latin typeface="Century Gothic" panose="020B0502020202020204" pitchFamily="34" charset="0"/>
              </a:rPr>
              <a:t>cui </a:t>
            </a:r>
            <a:r>
              <a:rPr lang="it-IT" altLang="it-IT" b="1" dirty="0">
                <a:solidFill>
                  <a:srgbClr val="012169"/>
                </a:solidFill>
                <a:latin typeface="Century Gothic" panose="020B0502020202020204" pitchFamily="34" charset="0"/>
              </a:rPr>
              <a:t>animali o merci </a:t>
            </a:r>
            <a:r>
              <a:rPr lang="it-IT" altLang="it-IT" dirty="0">
                <a:solidFill>
                  <a:srgbClr val="012169"/>
                </a:solidFill>
                <a:latin typeface="Century Gothic" panose="020B0502020202020204" pitchFamily="34" charset="0"/>
              </a:rPr>
              <a:t>sono stati oggetto di controllo ufficiale mediante campionamento con esito sfavorevole, </a:t>
            </a:r>
            <a:r>
              <a:rPr lang="it-IT" altLang="it-IT" dirty="0" smtClean="0">
                <a:solidFill>
                  <a:srgbClr val="012169"/>
                </a:solidFill>
                <a:latin typeface="Century Gothic" panose="020B0502020202020204" pitchFamily="34" charset="0"/>
              </a:rPr>
              <a:t>hanno </a:t>
            </a:r>
            <a:r>
              <a:rPr lang="it-IT" altLang="it-IT" dirty="0">
                <a:solidFill>
                  <a:srgbClr val="012169"/>
                </a:solidFill>
                <a:latin typeface="Century Gothic" panose="020B0502020202020204" pitchFamily="34" charset="0"/>
              </a:rPr>
              <a:t>diritto, a proprie spese, di fare </a:t>
            </a:r>
            <a:r>
              <a:rPr lang="it-IT" altLang="it-IT" b="1" dirty="0">
                <a:solidFill>
                  <a:srgbClr val="012169"/>
                </a:solidFill>
                <a:latin typeface="Century Gothic" panose="020B0502020202020204" pitchFamily="34" charset="0"/>
              </a:rPr>
              <a:t>condurre una controperizia </a:t>
            </a:r>
            <a:r>
              <a:rPr lang="it-IT" altLang="it-IT" dirty="0">
                <a:solidFill>
                  <a:srgbClr val="012169"/>
                </a:solidFill>
                <a:latin typeface="Century Gothic" panose="020B0502020202020204" pitchFamily="34" charset="0"/>
              </a:rPr>
              <a:t>a cura di un esperto di parte qualificato, consistente nell'</a:t>
            </a:r>
            <a:r>
              <a:rPr lang="it-IT" altLang="it-IT" b="1" dirty="0">
                <a:solidFill>
                  <a:srgbClr val="012169"/>
                </a:solidFill>
                <a:latin typeface="Century Gothic" panose="020B0502020202020204" pitchFamily="34" charset="0"/>
              </a:rPr>
              <a:t>esame documentale </a:t>
            </a:r>
            <a:r>
              <a:rPr lang="it-IT" altLang="it-IT" dirty="0">
                <a:solidFill>
                  <a:srgbClr val="012169"/>
                </a:solidFill>
                <a:latin typeface="Century Gothic" panose="020B0502020202020204" pitchFamily="34" charset="0"/>
              </a:rPr>
              <a:t>delle registrazioni inerenti le </a:t>
            </a:r>
            <a:r>
              <a:rPr lang="it-IT" altLang="it-IT" dirty="0" smtClean="0">
                <a:solidFill>
                  <a:srgbClr val="012169"/>
                </a:solidFill>
                <a:latin typeface="Century Gothic" panose="020B0502020202020204" pitchFamily="34" charset="0"/>
              </a:rPr>
              <a:t>attività </a:t>
            </a:r>
            <a:r>
              <a:rPr lang="it-IT" altLang="it-IT" dirty="0">
                <a:solidFill>
                  <a:srgbClr val="012169"/>
                </a:solidFill>
                <a:latin typeface="Century Gothic" panose="020B0502020202020204" pitchFamily="34" charset="0"/>
              </a:rPr>
              <a:t>condotte dal momento del campionamento sino all'emissione del rapporto di prova relativo alla singola analisi, prova o </a:t>
            </a:r>
            <a:r>
              <a:rPr lang="it-IT" altLang="it-IT" dirty="0" smtClean="0">
                <a:solidFill>
                  <a:srgbClr val="012169"/>
                </a:solidFill>
                <a:latin typeface="Century Gothic" panose="020B0502020202020204" pitchFamily="34" charset="0"/>
              </a:rPr>
              <a:t>diagnosi, ovvero nell'</a:t>
            </a:r>
            <a:r>
              <a:rPr lang="it-IT" altLang="it-IT" b="1" dirty="0" smtClean="0">
                <a:solidFill>
                  <a:srgbClr val="012169"/>
                </a:solidFill>
                <a:latin typeface="Century Gothic" panose="020B0502020202020204" pitchFamily="34" charset="0"/>
              </a:rPr>
              <a:t>analisi</a:t>
            </a:r>
            <a:r>
              <a:rPr lang="it-IT" altLang="it-IT" b="1" dirty="0">
                <a:solidFill>
                  <a:srgbClr val="012169"/>
                </a:solidFill>
                <a:latin typeface="Century Gothic" panose="020B0502020202020204" pitchFamily="34" charset="0"/>
              </a:rPr>
              <a:t>, prova o diagnosi </a:t>
            </a:r>
            <a:r>
              <a:rPr lang="it-IT" altLang="it-IT" b="1" dirty="0" smtClean="0">
                <a:solidFill>
                  <a:srgbClr val="012169"/>
                </a:solidFill>
                <a:latin typeface="Century Gothic" panose="020B0502020202020204" pitchFamily="34" charset="0"/>
              </a:rPr>
              <a:t>sull'aliquota </a:t>
            </a:r>
            <a:r>
              <a:rPr lang="it-IT" altLang="it-IT" b="1" dirty="0">
                <a:solidFill>
                  <a:srgbClr val="012169"/>
                </a:solidFill>
                <a:latin typeface="Century Gothic" panose="020B0502020202020204" pitchFamily="34" charset="0"/>
              </a:rPr>
              <a:t>eventualmente resa disponibile al momento del campionamento.</a:t>
            </a:r>
          </a:p>
          <a:p>
            <a:pPr lvl="0"/>
            <a:r>
              <a:rPr lang="it-IT" altLang="it-IT" dirty="0" smtClean="0">
                <a:solidFill>
                  <a:srgbClr val="012169"/>
                </a:solidFill>
                <a:latin typeface="Century Gothic" panose="020B0502020202020204" pitchFamily="34" charset="0"/>
              </a:rPr>
              <a:t> L'esame </a:t>
            </a:r>
            <a:r>
              <a:rPr lang="it-IT" altLang="it-IT" dirty="0">
                <a:solidFill>
                  <a:srgbClr val="012169"/>
                </a:solidFill>
                <a:latin typeface="Century Gothic" panose="020B0502020202020204" pitchFamily="34" charset="0"/>
              </a:rPr>
              <a:t>documentale viene richiesto </a:t>
            </a:r>
            <a:r>
              <a:rPr lang="it-IT" altLang="it-IT" dirty="0" smtClean="0">
                <a:solidFill>
                  <a:srgbClr val="012169"/>
                </a:solidFill>
                <a:latin typeface="Century Gothic" panose="020B0502020202020204" pitchFamily="34" charset="0"/>
              </a:rPr>
              <a:t>all'Autorità </a:t>
            </a:r>
            <a:r>
              <a:rPr lang="it-IT" altLang="it-IT" dirty="0">
                <a:solidFill>
                  <a:srgbClr val="012169"/>
                </a:solidFill>
                <a:latin typeface="Century Gothic" panose="020B0502020202020204" pitchFamily="34" charset="0"/>
              </a:rPr>
              <a:t>competente che ha effettuato il campionamento </a:t>
            </a:r>
            <a:r>
              <a:rPr lang="it-IT" altLang="it-IT" b="1" dirty="0">
                <a:solidFill>
                  <a:srgbClr val="012169"/>
                </a:solidFill>
                <a:latin typeface="Century Gothic" panose="020B0502020202020204" pitchFamily="34" charset="0"/>
              </a:rPr>
              <a:t>entro il termine perentorio di quindici giorni dal ricevimento della comunicazione dell'esito sfavorevole. </a:t>
            </a:r>
            <a:endParaRPr lang="it-IT" altLang="it-IT" b="1" dirty="0" smtClean="0">
              <a:solidFill>
                <a:srgbClr val="012169"/>
              </a:solidFill>
              <a:latin typeface="Century Gothic" panose="020B0502020202020204" pitchFamily="34" charset="0"/>
            </a:endParaRPr>
          </a:p>
          <a:p>
            <a:pPr lvl="0"/>
            <a:r>
              <a:rPr lang="it-IT" altLang="it-IT" dirty="0" smtClean="0">
                <a:solidFill>
                  <a:srgbClr val="012169"/>
                </a:solidFill>
                <a:latin typeface="Century Gothic" panose="020B0502020202020204" pitchFamily="34" charset="0"/>
              </a:rPr>
              <a:t>Le </a:t>
            </a:r>
            <a:r>
              <a:rPr lang="it-IT" altLang="it-IT" dirty="0">
                <a:solidFill>
                  <a:srgbClr val="012169"/>
                </a:solidFill>
                <a:latin typeface="Century Gothic" panose="020B0502020202020204" pitchFamily="34" charset="0"/>
              </a:rPr>
              <a:t>disposizioni di cui ai commi precedenti, non pregiudicano </a:t>
            </a:r>
            <a:r>
              <a:rPr lang="it-IT" altLang="it-IT" b="1" dirty="0">
                <a:solidFill>
                  <a:srgbClr val="012169"/>
                </a:solidFill>
                <a:latin typeface="Century Gothic" panose="020B0502020202020204" pitchFamily="34" charset="0"/>
              </a:rPr>
              <a:t>l'obbligo delle </a:t>
            </a:r>
            <a:r>
              <a:rPr lang="it-IT" altLang="it-IT" b="1" dirty="0" err="1">
                <a:solidFill>
                  <a:srgbClr val="012169"/>
                </a:solidFill>
                <a:latin typeface="Century Gothic" panose="020B0502020202020204" pitchFamily="34" charset="0"/>
              </a:rPr>
              <a:t>Autorita'</a:t>
            </a:r>
            <a:r>
              <a:rPr lang="it-IT" altLang="it-IT" b="1" dirty="0">
                <a:solidFill>
                  <a:srgbClr val="012169"/>
                </a:solidFill>
                <a:latin typeface="Century Gothic" panose="020B0502020202020204" pitchFamily="34" charset="0"/>
              </a:rPr>
              <a:t> competenti </a:t>
            </a:r>
            <a:r>
              <a:rPr lang="it-IT" altLang="it-IT" dirty="0">
                <a:solidFill>
                  <a:srgbClr val="012169"/>
                </a:solidFill>
                <a:latin typeface="Century Gothic" panose="020B0502020202020204" pitchFamily="34" charset="0"/>
              </a:rPr>
              <a:t>di intervenire </a:t>
            </a:r>
            <a:r>
              <a:rPr lang="it-IT" altLang="it-IT" b="1" dirty="0">
                <a:solidFill>
                  <a:srgbClr val="012169"/>
                </a:solidFill>
                <a:latin typeface="Century Gothic" panose="020B0502020202020204" pitchFamily="34" charset="0"/>
              </a:rPr>
              <a:t>rapidamente </a:t>
            </a:r>
            <a:r>
              <a:rPr lang="it-IT" altLang="it-IT" dirty="0">
                <a:solidFill>
                  <a:srgbClr val="012169"/>
                </a:solidFill>
                <a:latin typeface="Century Gothic" panose="020B0502020202020204" pitchFamily="34" charset="0"/>
              </a:rPr>
              <a:t>per </a:t>
            </a:r>
            <a:r>
              <a:rPr lang="it-IT" altLang="it-IT" b="1" dirty="0">
                <a:solidFill>
                  <a:srgbClr val="012169"/>
                </a:solidFill>
                <a:latin typeface="Century Gothic" panose="020B0502020202020204" pitchFamily="34" charset="0"/>
              </a:rPr>
              <a:t>eliminare o limitare i rischi sanitari per l'uomo, per gli animali e per le piante, o i rischi per il benessere degli animali o, relativamente agli OGM e ai prodotti fitosanitari e ai sottoprodotti di origine animale, anche i rischi per l'ambiente. </a:t>
            </a:r>
          </a:p>
        </p:txBody>
      </p:sp>
      <p:pic>
        <p:nvPicPr>
          <p:cNvPr id="6" name="Immagin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203626986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28857" y="2876791"/>
            <a:ext cx="3872593" cy="2833604"/>
          </a:xfrm>
          <a:prstGeom prst="rect">
            <a:avLst/>
          </a:prstGeom>
          <a:ln>
            <a:noFill/>
          </a:ln>
          <a:effectLst>
            <a:softEdge rad="112500"/>
          </a:effectLst>
        </p:spPr>
      </p:pic>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23.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Aliquote</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1186080"/>
            <a:ext cx="11308240" cy="4524315"/>
          </a:xfrm>
          <a:prstGeom prst="rect">
            <a:avLst/>
          </a:prstGeom>
          <a:noFill/>
          <a:ln>
            <a:solidFill>
              <a:srgbClr val="012169"/>
            </a:solidFill>
          </a:ln>
        </p:spPr>
        <p:txBody>
          <a:bodyPr wrap="square" rtlCol="0" anchor="ctr">
            <a:spAutoFit/>
          </a:bodyPr>
          <a:lstStyle/>
          <a:p>
            <a:pPr lvl="0"/>
            <a:endParaRPr lang="it-IT" altLang="it-IT" dirty="0" smtClean="0">
              <a:solidFill>
                <a:srgbClr val="012169"/>
              </a:solidFill>
              <a:latin typeface="Century Gothic" panose="020B0502020202020204" pitchFamily="34" charset="0"/>
            </a:endParaRPr>
          </a:p>
          <a:p>
            <a:pPr lvl="0"/>
            <a:r>
              <a:rPr lang="it-IT" altLang="it-IT" dirty="0" smtClean="0">
                <a:solidFill>
                  <a:srgbClr val="012169"/>
                </a:solidFill>
                <a:latin typeface="Century Gothic" panose="020B0502020202020204" pitchFamily="34" charset="0"/>
              </a:rPr>
              <a:t>Le aliquote previste, ad eccezione dei due casi di aliquota unica, sono:</a:t>
            </a:r>
          </a:p>
          <a:p>
            <a:pPr lvl="0"/>
            <a:endParaRPr lang="it-IT" altLang="it-IT" dirty="0" smtClean="0">
              <a:solidFill>
                <a:srgbClr val="012169"/>
              </a:solidFill>
              <a:latin typeface="Century Gothic" panose="020B0502020202020204" pitchFamily="34" charset="0"/>
            </a:endParaRPr>
          </a:p>
          <a:p>
            <a:pPr lvl="0"/>
            <a:r>
              <a:rPr lang="it-IT" altLang="it-IT" b="1" dirty="0" smtClean="0">
                <a:solidFill>
                  <a:srgbClr val="012169"/>
                </a:solidFill>
                <a:latin typeface="Century Gothic" panose="020B0502020202020204" pitchFamily="34" charset="0"/>
              </a:rPr>
              <a:t>1. Per l’analisi presso il primo laboratorio ufficiale</a:t>
            </a:r>
          </a:p>
          <a:p>
            <a:pPr marL="342900" lvl="0" indent="-342900">
              <a:buAutoNum type="alphaLcParenR"/>
            </a:pPr>
            <a:endParaRPr lang="it-IT" altLang="it-IT" b="1" dirty="0" smtClean="0">
              <a:solidFill>
                <a:srgbClr val="012169"/>
              </a:solidFill>
              <a:latin typeface="Century Gothic" panose="020B0502020202020204" pitchFamily="34" charset="0"/>
            </a:endParaRPr>
          </a:p>
          <a:p>
            <a:pPr lvl="0"/>
            <a:r>
              <a:rPr lang="it-IT" altLang="it-IT" b="1" dirty="0" smtClean="0">
                <a:solidFill>
                  <a:srgbClr val="012169"/>
                </a:solidFill>
                <a:latin typeface="Century Gothic" panose="020B0502020202020204" pitchFamily="34" charset="0"/>
              </a:rPr>
              <a:t>2. Per l’operatore presso cui è stato eseguito il campionamento ( controperizia)</a:t>
            </a:r>
          </a:p>
          <a:p>
            <a:pPr marL="342900" lvl="0" indent="-342900">
              <a:buAutoNum type="alphaLcParenR"/>
            </a:pPr>
            <a:endParaRPr lang="it-IT" altLang="it-IT" b="1" dirty="0" smtClean="0">
              <a:solidFill>
                <a:srgbClr val="012169"/>
              </a:solidFill>
              <a:latin typeface="Century Gothic" panose="020B0502020202020204" pitchFamily="34" charset="0"/>
            </a:endParaRPr>
          </a:p>
          <a:p>
            <a:pPr lvl="0"/>
            <a:r>
              <a:rPr lang="it-IT" altLang="it-IT" b="1" dirty="0" smtClean="0">
                <a:solidFill>
                  <a:srgbClr val="012169"/>
                </a:solidFill>
                <a:latin typeface="Century Gothic" panose="020B0502020202020204" pitchFamily="34" charset="0"/>
              </a:rPr>
              <a:t>3. Per l’operatore produttore, nel caso di prodotti preconfezionati (controperizia)</a:t>
            </a:r>
          </a:p>
          <a:p>
            <a:pPr lvl="0"/>
            <a:endParaRPr lang="it-IT" altLang="it-IT" b="1" dirty="0">
              <a:solidFill>
                <a:srgbClr val="012169"/>
              </a:solidFill>
              <a:latin typeface="Century Gothic" panose="020B0502020202020204" pitchFamily="34" charset="0"/>
            </a:endParaRPr>
          </a:p>
          <a:p>
            <a:pPr lvl="0"/>
            <a:r>
              <a:rPr lang="it-IT" altLang="it-IT" b="1" dirty="0" smtClean="0">
                <a:solidFill>
                  <a:srgbClr val="012169"/>
                </a:solidFill>
                <a:latin typeface="Century Gothic" panose="020B0502020202020204" pitchFamily="34" charset="0"/>
              </a:rPr>
              <a:t>4. Per l’analisi di revisione presso l’ISS con convocazione della </a:t>
            </a:r>
            <a:r>
              <a:rPr lang="it-IT" altLang="it-IT" b="1" smtClean="0">
                <a:solidFill>
                  <a:srgbClr val="012169"/>
                </a:solidFill>
                <a:latin typeface="Century Gothic" panose="020B0502020202020204" pitchFamily="34" charset="0"/>
              </a:rPr>
              <a:t>parte (controversia</a:t>
            </a:r>
            <a:r>
              <a:rPr lang="it-IT" altLang="it-IT" b="1" dirty="0" smtClean="0">
                <a:solidFill>
                  <a:srgbClr val="012169"/>
                </a:solidFill>
                <a:latin typeface="Century Gothic" panose="020B0502020202020204" pitchFamily="34" charset="0"/>
              </a:rPr>
              <a:t>)</a:t>
            </a:r>
          </a:p>
          <a:p>
            <a:pPr lvl="0"/>
            <a:endParaRPr lang="it-IT" altLang="it-IT" b="1" dirty="0" smtClean="0">
              <a:solidFill>
                <a:srgbClr val="012169"/>
              </a:solidFill>
              <a:latin typeface="Century Gothic" panose="020B0502020202020204" pitchFamily="34" charset="0"/>
            </a:endParaRPr>
          </a:p>
          <a:p>
            <a:pPr lvl="0"/>
            <a:r>
              <a:rPr lang="it-IT" altLang="it-IT" b="1" dirty="0" smtClean="0">
                <a:solidFill>
                  <a:srgbClr val="012169"/>
                </a:solidFill>
                <a:latin typeface="Century Gothic" panose="020B0502020202020204" pitchFamily="34" charset="0"/>
              </a:rPr>
              <a:t>5. Per l’eventuale perizia disposta dall’Autorità giudiziaria</a:t>
            </a:r>
            <a:endParaRPr lang="it-IT" altLang="it-IT" dirty="0" smtClean="0">
              <a:solidFill>
                <a:srgbClr val="012169"/>
              </a:solidFill>
              <a:latin typeface="Century Gothic" panose="020B0502020202020204" pitchFamily="34" charset="0"/>
            </a:endParaRPr>
          </a:p>
          <a:p>
            <a:pPr marL="342900" lvl="0" indent="-342900">
              <a:buAutoNum type="alphaLcParenR"/>
            </a:pPr>
            <a:endParaRPr lang="it-IT" altLang="it-IT" dirty="0">
              <a:solidFill>
                <a:srgbClr val="012169"/>
              </a:solidFill>
              <a:latin typeface="Century Gothic" panose="020B0502020202020204" pitchFamily="34" charset="0"/>
            </a:endParaRPr>
          </a:p>
          <a:p>
            <a:pPr marL="342900" lvl="0" indent="-342900">
              <a:buAutoNum type="alphaLcParenR"/>
            </a:pPr>
            <a:endParaRPr lang="it-IT" altLang="it-IT" dirty="0" smtClean="0">
              <a:solidFill>
                <a:srgbClr val="012169"/>
              </a:solidFill>
              <a:latin typeface="Century Gothic" panose="020B0502020202020204" pitchFamily="34" charset="0"/>
            </a:endParaRPr>
          </a:p>
          <a:p>
            <a:pPr marL="342900" lvl="0" indent="-342900">
              <a:buAutoNum type="alphaLcParenR"/>
            </a:pPr>
            <a:endParaRPr lang="it-IT" altLang="it-IT" dirty="0">
              <a:solidFill>
                <a:srgbClr val="012169"/>
              </a:solidFill>
              <a:latin typeface="Century Gothic" panose="020B0502020202020204" pitchFamily="34" charset="0"/>
            </a:endParaRPr>
          </a:p>
          <a:p>
            <a:pPr marL="342900" lvl="0" indent="-342900">
              <a:buAutoNum type="alphaLcParenR"/>
            </a:pPr>
            <a:endParaRPr lang="it-IT" altLang="it-IT" dirty="0">
              <a:solidFill>
                <a:srgbClr val="012169"/>
              </a:solidFill>
              <a:latin typeface="Century Gothic" panose="020B0502020202020204" pitchFamily="34" charset="0"/>
            </a:endParaRPr>
          </a:p>
        </p:txBody>
      </p:sp>
      <p:pic>
        <p:nvPicPr>
          <p:cNvPr id="5" name="Immagin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124788700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293210" y="1405047"/>
            <a:ext cx="6151088" cy="4524315"/>
          </a:xfrm>
          <a:prstGeom prst="rect">
            <a:avLst/>
          </a:prstGeom>
          <a:noFill/>
          <a:ln>
            <a:solidFill>
              <a:srgbClr val="012169"/>
            </a:solidFill>
          </a:ln>
        </p:spPr>
        <p:txBody>
          <a:bodyPr wrap="square" rtlCol="0" anchor="ctr">
            <a:spAutoFit/>
          </a:bodyPr>
          <a:lstStyle/>
          <a:p>
            <a:pPr algn="just"/>
            <a:r>
              <a:rPr lang="it-IT" dirty="0" smtClean="0">
                <a:solidFill>
                  <a:srgbClr val="012169"/>
                </a:solidFill>
                <a:latin typeface="Century Gothic" panose="020B0502020202020204" pitchFamily="34" charset="0"/>
              </a:rPr>
              <a:t>L'operatore </a:t>
            </a:r>
            <a:r>
              <a:rPr lang="it-IT" dirty="0">
                <a:solidFill>
                  <a:srgbClr val="012169"/>
                </a:solidFill>
                <a:latin typeface="Century Gothic" panose="020B0502020202020204" pitchFamily="34" charset="0"/>
              </a:rPr>
              <a:t>che a seguito di controperizia </a:t>
            </a:r>
            <a:r>
              <a:rPr lang="it-IT" dirty="0" smtClean="0">
                <a:solidFill>
                  <a:srgbClr val="012169"/>
                </a:solidFill>
                <a:latin typeface="Century Gothic" panose="020B0502020202020204" pitchFamily="34" charset="0"/>
              </a:rPr>
              <a:t>non </a:t>
            </a:r>
            <a:r>
              <a:rPr lang="it-IT" dirty="0">
                <a:solidFill>
                  <a:srgbClr val="012169"/>
                </a:solidFill>
                <a:latin typeface="Century Gothic" panose="020B0502020202020204" pitchFamily="34" charset="0"/>
              </a:rPr>
              <a:t>condivida </a:t>
            </a:r>
            <a:r>
              <a:rPr lang="it-IT" dirty="0" smtClean="0">
                <a:solidFill>
                  <a:srgbClr val="012169"/>
                </a:solidFill>
                <a:latin typeface="Century Gothic" panose="020B0502020202020204" pitchFamily="34" charset="0"/>
              </a:rPr>
              <a:t>le valutazioni </a:t>
            </a:r>
            <a:r>
              <a:rPr lang="it-IT" dirty="0">
                <a:solidFill>
                  <a:srgbClr val="012169"/>
                </a:solidFill>
                <a:latin typeface="Century Gothic" panose="020B0502020202020204" pitchFamily="34" charset="0"/>
              </a:rPr>
              <a:t>dell'autorità </a:t>
            </a:r>
            <a:r>
              <a:rPr lang="it-IT" dirty="0" smtClean="0">
                <a:solidFill>
                  <a:srgbClr val="012169"/>
                </a:solidFill>
                <a:latin typeface="Century Gothic" panose="020B0502020202020204" pitchFamily="34" charset="0"/>
              </a:rPr>
              <a:t>competente </a:t>
            </a:r>
            <a:r>
              <a:rPr lang="it-IT" dirty="0">
                <a:solidFill>
                  <a:srgbClr val="012169"/>
                </a:solidFill>
                <a:latin typeface="Century Gothic" panose="020B0502020202020204" pitchFamily="34" charset="0"/>
              </a:rPr>
              <a:t>in merito alla non </a:t>
            </a:r>
            <a:r>
              <a:rPr lang="it-IT" dirty="0" smtClean="0">
                <a:solidFill>
                  <a:srgbClr val="012169"/>
                </a:solidFill>
                <a:latin typeface="Century Gothic" panose="020B0502020202020204" pitchFamily="34" charset="0"/>
              </a:rPr>
              <a:t>conformità può </a:t>
            </a:r>
            <a:r>
              <a:rPr lang="it-IT" dirty="0">
                <a:solidFill>
                  <a:srgbClr val="012169"/>
                </a:solidFill>
                <a:latin typeface="Century Gothic" panose="020B0502020202020204" pitchFamily="34" charset="0"/>
              </a:rPr>
              <a:t>attivare, </a:t>
            </a:r>
            <a:r>
              <a:rPr lang="it-IT" b="1" dirty="0">
                <a:solidFill>
                  <a:srgbClr val="012169"/>
                </a:solidFill>
                <a:latin typeface="Century Gothic" panose="020B0502020202020204" pitchFamily="34" charset="0"/>
              </a:rPr>
              <a:t>entro il termine perentorio di </a:t>
            </a:r>
            <a:r>
              <a:rPr lang="it-IT" b="1" dirty="0" smtClean="0">
                <a:solidFill>
                  <a:srgbClr val="012169"/>
                </a:solidFill>
                <a:latin typeface="Century Gothic" panose="020B0502020202020204" pitchFamily="34" charset="0"/>
              </a:rPr>
              <a:t>trenta </a:t>
            </a:r>
            <a:r>
              <a:rPr lang="it-IT" b="1" dirty="0">
                <a:solidFill>
                  <a:srgbClr val="012169"/>
                </a:solidFill>
                <a:latin typeface="Century Gothic" panose="020B0502020202020204" pitchFamily="34" charset="0"/>
              </a:rPr>
              <a:t>giorni dal </a:t>
            </a:r>
            <a:r>
              <a:rPr lang="it-IT" b="1" dirty="0" smtClean="0">
                <a:solidFill>
                  <a:srgbClr val="012169"/>
                </a:solidFill>
                <a:latin typeface="Century Gothic" panose="020B0502020202020204" pitchFamily="34" charset="0"/>
              </a:rPr>
              <a:t>ricevimento </a:t>
            </a:r>
            <a:r>
              <a:rPr lang="it-IT" b="1" dirty="0">
                <a:solidFill>
                  <a:srgbClr val="012169"/>
                </a:solidFill>
                <a:latin typeface="Century Gothic" panose="020B0502020202020204" pitchFamily="34" charset="0"/>
              </a:rPr>
              <a:t>della </a:t>
            </a:r>
            <a:r>
              <a:rPr lang="it-IT" b="1" dirty="0" smtClean="0">
                <a:solidFill>
                  <a:srgbClr val="012169"/>
                </a:solidFill>
                <a:latin typeface="Century Gothic" panose="020B0502020202020204" pitchFamily="34" charset="0"/>
              </a:rPr>
              <a:t>comunicazione dell'esito </a:t>
            </a:r>
            <a:r>
              <a:rPr lang="it-IT" b="1" dirty="0">
                <a:solidFill>
                  <a:srgbClr val="012169"/>
                </a:solidFill>
                <a:latin typeface="Century Gothic" panose="020B0502020202020204" pitchFamily="34" charset="0"/>
              </a:rPr>
              <a:t>sfavorevole</a:t>
            </a:r>
            <a:r>
              <a:rPr lang="it-IT" dirty="0">
                <a:solidFill>
                  <a:srgbClr val="012169"/>
                </a:solidFill>
                <a:latin typeface="Century Gothic" panose="020B0502020202020204" pitchFamily="34" charset="0"/>
              </a:rPr>
              <a:t>, </a:t>
            </a:r>
            <a:r>
              <a:rPr lang="it-IT" dirty="0" smtClean="0">
                <a:solidFill>
                  <a:srgbClr val="012169"/>
                </a:solidFill>
                <a:latin typeface="Century Gothic" panose="020B0502020202020204" pitchFamily="34" charset="0"/>
              </a:rPr>
              <a:t>la procedura </a:t>
            </a:r>
            <a:r>
              <a:rPr lang="it-IT" dirty="0">
                <a:solidFill>
                  <a:srgbClr val="012169"/>
                </a:solidFill>
                <a:latin typeface="Century Gothic" panose="020B0502020202020204" pitchFamily="34" charset="0"/>
              </a:rPr>
              <a:t>di controversia</a:t>
            </a:r>
            <a:r>
              <a:rPr lang="it-IT" dirty="0" smtClean="0">
                <a:solidFill>
                  <a:srgbClr val="012169"/>
                </a:solidFill>
                <a:latin typeface="Century Gothic" panose="020B0502020202020204" pitchFamily="34" charset="0"/>
              </a:rPr>
              <a:t>, richiedendo alle </a:t>
            </a:r>
            <a:r>
              <a:rPr lang="it-IT" dirty="0">
                <a:solidFill>
                  <a:srgbClr val="012169"/>
                </a:solidFill>
                <a:latin typeface="Century Gothic" panose="020B0502020202020204" pitchFamily="34" charset="0"/>
              </a:rPr>
              <a:t>autorità </a:t>
            </a:r>
            <a:r>
              <a:rPr lang="it-IT" dirty="0" smtClean="0">
                <a:solidFill>
                  <a:srgbClr val="012169"/>
                </a:solidFill>
                <a:latin typeface="Century Gothic" panose="020B0502020202020204" pitchFamily="34" charset="0"/>
              </a:rPr>
              <a:t>competenti </a:t>
            </a:r>
            <a:r>
              <a:rPr lang="it-IT" dirty="0">
                <a:solidFill>
                  <a:srgbClr val="012169"/>
                </a:solidFill>
                <a:latin typeface="Century Gothic" panose="020B0502020202020204" pitchFamily="34" charset="0"/>
              </a:rPr>
              <a:t>di potere </a:t>
            </a:r>
            <a:r>
              <a:rPr lang="it-IT" dirty="0" smtClean="0">
                <a:solidFill>
                  <a:srgbClr val="012169"/>
                </a:solidFill>
                <a:latin typeface="Century Gothic" panose="020B0502020202020204" pitchFamily="34" charset="0"/>
              </a:rPr>
              <a:t>far effettuare</a:t>
            </a:r>
            <a:r>
              <a:rPr lang="it-IT" dirty="0">
                <a:solidFill>
                  <a:srgbClr val="012169"/>
                </a:solidFill>
                <a:latin typeface="Century Gothic" panose="020B0502020202020204" pitchFamily="34" charset="0"/>
              </a:rPr>
              <a:t>, a proprie spese, </a:t>
            </a:r>
            <a:r>
              <a:rPr lang="it-IT" dirty="0" smtClean="0">
                <a:solidFill>
                  <a:srgbClr val="012169"/>
                </a:solidFill>
                <a:latin typeface="Century Gothic" panose="020B0502020202020204" pitchFamily="34" charset="0"/>
              </a:rPr>
              <a:t>il </a:t>
            </a:r>
            <a:r>
              <a:rPr lang="it-IT" dirty="0">
                <a:solidFill>
                  <a:srgbClr val="012169"/>
                </a:solidFill>
                <a:latin typeface="Century Gothic" panose="020B0502020202020204" pitchFamily="34" charset="0"/>
              </a:rPr>
              <a:t>riesame della </a:t>
            </a:r>
            <a:r>
              <a:rPr lang="it-IT" dirty="0" smtClean="0">
                <a:solidFill>
                  <a:srgbClr val="012169"/>
                </a:solidFill>
                <a:latin typeface="Century Gothic" panose="020B0502020202020204" pitchFamily="34" charset="0"/>
              </a:rPr>
              <a:t>documentazione </a:t>
            </a:r>
            <a:r>
              <a:rPr lang="it-IT" dirty="0">
                <a:solidFill>
                  <a:srgbClr val="012169"/>
                </a:solidFill>
                <a:latin typeface="Century Gothic" panose="020B0502020202020204" pitchFamily="34" charset="0"/>
              </a:rPr>
              <a:t>relativa alla analisi, </a:t>
            </a:r>
            <a:r>
              <a:rPr lang="it-IT" dirty="0" smtClean="0">
                <a:solidFill>
                  <a:srgbClr val="012169"/>
                </a:solidFill>
                <a:latin typeface="Century Gothic" panose="020B0502020202020204" pitchFamily="34" charset="0"/>
              </a:rPr>
              <a:t>prova </a:t>
            </a:r>
            <a:r>
              <a:rPr lang="it-IT" dirty="0">
                <a:solidFill>
                  <a:srgbClr val="012169"/>
                </a:solidFill>
                <a:latin typeface="Century Gothic" panose="020B0502020202020204" pitchFamily="34" charset="0"/>
              </a:rPr>
              <a:t>o </a:t>
            </a:r>
            <a:r>
              <a:rPr lang="it-IT" dirty="0" smtClean="0">
                <a:solidFill>
                  <a:srgbClr val="012169"/>
                </a:solidFill>
                <a:latin typeface="Century Gothic" panose="020B0502020202020204" pitchFamily="34" charset="0"/>
              </a:rPr>
              <a:t> diagnosi </a:t>
            </a:r>
            <a:r>
              <a:rPr lang="it-IT" dirty="0">
                <a:solidFill>
                  <a:srgbClr val="012169"/>
                </a:solidFill>
                <a:latin typeface="Century Gothic" panose="020B0502020202020204" pitchFamily="34" charset="0"/>
              </a:rPr>
              <a:t>iniziale da parte </a:t>
            </a:r>
            <a:r>
              <a:rPr lang="it-IT" dirty="0" smtClean="0">
                <a:solidFill>
                  <a:srgbClr val="012169"/>
                </a:solidFill>
                <a:latin typeface="Century Gothic" panose="020B0502020202020204" pitchFamily="34" charset="0"/>
              </a:rPr>
              <a:t>dell'Istituto </a:t>
            </a:r>
            <a:r>
              <a:rPr lang="it-IT" dirty="0">
                <a:solidFill>
                  <a:srgbClr val="012169"/>
                </a:solidFill>
                <a:latin typeface="Century Gothic" panose="020B0502020202020204" pitchFamily="34" charset="0"/>
              </a:rPr>
              <a:t>superiore di sanità (ISS). </a:t>
            </a:r>
            <a:endParaRPr lang="it-IT" dirty="0" smtClean="0">
              <a:solidFill>
                <a:srgbClr val="012169"/>
              </a:solidFill>
              <a:latin typeface="Century Gothic" panose="020B0502020202020204" pitchFamily="34" charset="0"/>
            </a:endParaRPr>
          </a:p>
          <a:p>
            <a:pPr algn="just"/>
            <a:r>
              <a:rPr lang="it-IT" b="1" dirty="0" smtClean="0">
                <a:solidFill>
                  <a:srgbClr val="012169"/>
                </a:solidFill>
                <a:latin typeface="Century Gothic" panose="020B0502020202020204" pitchFamily="34" charset="0"/>
              </a:rPr>
              <a:t>L'ISS </a:t>
            </a:r>
            <a:r>
              <a:rPr lang="it-IT" b="1" dirty="0">
                <a:solidFill>
                  <a:srgbClr val="012169"/>
                </a:solidFill>
                <a:latin typeface="Century Gothic" panose="020B0502020202020204" pitchFamily="34" charset="0"/>
              </a:rPr>
              <a:t>si esprime entro trenta giorni dal </a:t>
            </a:r>
            <a:r>
              <a:rPr lang="it-IT" b="1" dirty="0" smtClean="0">
                <a:solidFill>
                  <a:srgbClr val="012169"/>
                </a:solidFill>
                <a:latin typeface="Century Gothic" panose="020B0502020202020204" pitchFamily="34" charset="0"/>
              </a:rPr>
              <a:t>ricevimento della </a:t>
            </a:r>
            <a:r>
              <a:rPr lang="it-IT" b="1" dirty="0">
                <a:solidFill>
                  <a:srgbClr val="012169"/>
                </a:solidFill>
                <a:latin typeface="Century Gothic" panose="020B0502020202020204" pitchFamily="34" charset="0"/>
              </a:rPr>
              <a:t>documentazione</a:t>
            </a:r>
            <a:r>
              <a:rPr lang="it-IT" dirty="0">
                <a:solidFill>
                  <a:srgbClr val="012169"/>
                </a:solidFill>
                <a:latin typeface="Century Gothic" panose="020B0502020202020204" pitchFamily="34" charset="0"/>
              </a:rPr>
              <a:t>, </a:t>
            </a:r>
            <a:r>
              <a:rPr lang="it-IT" dirty="0" smtClean="0">
                <a:solidFill>
                  <a:srgbClr val="012169"/>
                </a:solidFill>
                <a:latin typeface="Century Gothic" panose="020B0502020202020204" pitchFamily="34" charset="0"/>
              </a:rPr>
              <a:t>trasmettendo </a:t>
            </a:r>
            <a:r>
              <a:rPr lang="it-IT" dirty="0">
                <a:solidFill>
                  <a:srgbClr val="012169"/>
                </a:solidFill>
                <a:latin typeface="Century Gothic" panose="020B0502020202020204" pitchFamily="34" charset="0"/>
              </a:rPr>
              <a:t>l'esito della </a:t>
            </a:r>
            <a:r>
              <a:rPr lang="it-IT" dirty="0" smtClean="0">
                <a:solidFill>
                  <a:srgbClr val="012169"/>
                </a:solidFill>
                <a:latin typeface="Century Gothic" panose="020B0502020202020204" pitchFamily="34" charset="0"/>
              </a:rPr>
              <a:t>valutazione documentale </a:t>
            </a:r>
            <a:r>
              <a:rPr lang="it-IT" dirty="0">
                <a:solidFill>
                  <a:srgbClr val="012169"/>
                </a:solidFill>
                <a:latin typeface="Century Gothic" panose="020B0502020202020204" pitchFamily="34" charset="0"/>
              </a:rPr>
              <a:t>alle parti interessate, </a:t>
            </a:r>
            <a:r>
              <a:rPr lang="it-IT" dirty="0" smtClean="0">
                <a:solidFill>
                  <a:srgbClr val="012169"/>
                </a:solidFill>
                <a:latin typeface="Century Gothic" panose="020B0502020202020204" pitchFamily="34" charset="0"/>
              </a:rPr>
              <a:t>all'Autorità </a:t>
            </a:r>
            <a:r>
              <a:rPr lang="it-IT" dirty="0">
                <a:solidFill>
                  <a:srgbClr val="012169"/>
                </a:solidFill>
                <a:latin typeface="Century Gothic" panose="020B0502020202020204" pitchFamily="34" charset="0"/>
              </a:rPr>
              <a:t>competente e, per </a:t>
            </a:r>
            <a:r>
              <a:rPr lang="it-IT" dirty="0" smtClean="0">
                <a:solidFill>
                  <a:srgbClr val="012169"/>
                </a:solidFill>
                <a:latin typeface="Century Gothic" panose="020B0502020202020204" pitchFamily="34" charset="0"/>
              </a:rPr>
              <a:t>conoscenza</a:t>
            </a:r>
            <a:r>
              <a:rPr lang="it-IT" dirty="0">
                <a:solidFill>
                  <a:srgbClr val="012169"/>
                </a:solidFill>
                <a:latin typeface="Century Gothic" panose="020B0502020202020204" pitchFamily="34" charset="0"/>
              </a:rPr>
              <a:t>, </a:t>
            </a:r>
            <a:r>
              <a:rPr lang="it-IT" dirty="0" smtClean="0">
                <a:solidFill>
                  <a:srgbClr val="012169"/>
                </a:solidFill>
                <a:latin typeface="Century Gothic" panose="020B0502020202020204" pitchFamily="34" charset="0"/>
              </a:rPr>
              <a:t>al </a:t>
            </a:r>
            <a:r>
              <a:rPr lang="it-IT" dirty="0">
                <a:solidFill>
                  <a:srgbClr val="012169"/>
                </a:solidFill>
                <a:latin typeface="Century Gothic" panose="020B0502020202020204" pitchFamily="34" charset="0"/>
              </a:rPr>
              <a:t>laboratorio ufficiale che </a:t>
            </a:r>
            <a:r>
              <a:rPr lang="it-IT" dirty="0" smtClean="0">
                <a:solidFill>
                  <a:srgbClr val="012169"/>
                </a:solidFill>
                <a:latin typeface="Century Gothic" panose="020B0502020202020204" pitchFamily="34" charset="0"/>
              </a:rPr>
              <a:t>ha </a:t>
            </a:r>
            <a:r>
              <a:rPr lang="it-IT" dirty="0">
                <a:solidFill>
                  <a:srgbClr val="012169"/>
                </a:solidFill>
                <a:latin typeface="Century Gothic" panose="020B0502020202020204" pitchFamily="34" charset="0"/>
              </a:rPr>
              <a:t>effettuato la prima analisi</a:t>
            </a:r>
          </a:p>
          <a:p>
            <a:endParaRPr lang="it-IT" dirty="0" smtClean="0">
              <a:solidFill>
                <a:srgbClr val="012169"/>
              </a:solidFill>
              <a:latin typeface="Century Gothic" panose="020B0502020202020204" pitchFamily="34" charset="0"/>
            </a:endParaRPr>
          </a:p>
        </p:txBody>
      </p:sp>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24.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Controversia</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pic>
        <p:nvPicPr>
          <p:cNvPr id="5" name="Immagin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4298" y="1405047"/>
            <a:ext cx="5220017" cy="4524315"/>
          </a:xfrm>
          <a:prstGeom prst="rect">
            <a:avLst/>
          </a:prstGeom>
        </p:spPr>
      </p:pic>
      <p:pic>
        <p:nvPicPr>
          <p:cNvPr id="6" name="Immagin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19083264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25.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Laborator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ufficiali</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1147265"/>
            <a:ext cx="11289190" cy="4801314"/>
          </a:xfrm>
          <a:prstGeom prst="rect">
            <a:avLst/>
          </a:prstGeom>
          <a:noFill/>
          <a:ln>
            <a:solidFill>
              <a:srgbClr val="012169"/>
            </a:solidFill>
          </a:ln>
        </p:spPr>
        <p:txBody>
          <a:bodyPr wrap="square" rtlCol="0" anchor="ctr">
            <a:spAutoFit/>
          </a:bodyPr>
          <a:lstStyle/>
          <a:p>
            <a:pPr lvl="0"/>
            <a:r>
              <a:rPr lang="it-IT" altLang="it-IT" dirty="0" smtClean="0">
                <a:solidFill>
                  <a:srgbClr val="012169"/>
                </a:solidFill>
                <a:latin typeface="Century Gothic" panose="020B0502020202020204" pitchFamily="34" charset="0"/>
              </a:rPr>
              <a:t>Ai </a:t>
            </a:r>
            <a:r>
              <a:rPr lang="it-IT" altLang="it-IT" dirty="0">
                <a:solidFill>
                  <a:srgbClr val="012169"/>
                </a:solidFill>
                <a:latin typeface="Century Gothic" panose="020B0502020202020204" pitchFamily="34" charset="0"/>
              </a:rPr>
              <a:t>sensi dell'articolo 37 del Regolamento sono individuati, </a:t>
            </a:r>
            <a:r>
              <a:rPr lang="it-IT" altLang="it-IT" b="1" dirty="0">
                <a:solidFill>
                  <a:srgbClr val="012169"/>
                </a:solidFill>
                <a:latin typeface="Century Gothic" panose="020B0502020202020204" pitchFamily="34" charset="0"/>
              </a:rPr>
              <a:t>nei settori di competenza del Ministero della </a:t>
            </a:r>
            <a:r>
              <a:rPr lang="it-IT" altLang="it-IT" b="1" dirty="0" smtClean="0">
                <a:solidFill>
                  <a:srgbClr val="012169"/>
                </a:solidFill>
                <a:latin typeface="Century Gothic" panose="020B0502020202020204" pitchFamily="34" charset="0"/>
              </a:rPr>
              <a:t>salute</a:t>
            </a:r>
            <a:r>
              <a:rPr lang="it-IT" altLang="it-IT" dirty="0" smtClean="0">
                <a:solidFill>
                  <a:srgbClr val="012169"/>
                </a:solidFill>
                <a:latin typeface="Century Gothic" panose="020B0502020202020204" pitchFamily="34" charset="0"/>
              </a:rPr>
              <a:t>, </a:t>
            </a:r>
            <a:r>
              <a:rPr lang="it-IT" altLang="it-IT" dirty="0">
                <a:solidFill>
                  <a:srgbClr val="012169"/>
                </a:solidFill>
                <a:latin typeface="Century Gothic" panose="020B0502020202020204" pitchFamily="34" charset="0"/>
              </a:rPr>
              <a:t>i seguenti laboratori ufficiali: </a:t>
            </a:r>
          </a:p>
          <a:p>
            <a:pPr lvl="0"/>
            <a:r>
              <a:rPr lang="it-IT" altLang="it-IT" b="1" dirty="0">
                <a:solidFill>
                  <a:srgbClr val="012169"/>
                </a:solidFill>
                <a:latin typeface="Century Gothic" panose="020B0502020202020204" pitchFamily="34" charset="0"/>
              </a:rPr>
              <a:t>a) l'Istituto superiore di </a:t>
            </a:r>
            <a:r>
              <a:rPr lang="it-IT" altLang="it-IT" b="1" dirty="0" smtClean="0">
                <a:solidFill>
                  <a:srgbClr val="012169"/>
                </a:solidFill>
                <a:latin typeface="Century Gothic" panose="020B0502020202020204" pitchFamily="34" charset="0"/>
              </a:rPr>
              <a:t>sanità </a:t>
            </a:r>
            <a:r>
              <a:rPr lang="it-IT" altLang="it-IT" b="1" dirty="0">
                <a:solidFill>
                  <a:srgbClr val="012169"/>
                </a:solidFill>
                <a:latin typeface="Century Gothic" panose="020B0502020202020204" pitchFamily="34" charset="0"/>
              </a:rPr>
              <a:t>(ISS); </a:t>
            </a:r>
          </a:p>
          <a:p>
            <a:pPr lvl="0"/>
            <a:r>
              <a:rPr lang="it-IT" altLang="it-IT" b="1" dirty="0">
                <a:solidFill>
                  <a:srgbClr val="012169"/>
                </a:solidFill>
                <a:latin typeface="Century Gothic" panose="020B0502020202020204" pitchFamily="34" charset="0"/>
              </a:rPr>
              <a:t>b) gli Istituti zooprofilattici sperimentali (IIZZSS); </a:t>
            </a:r>
          </a:p>
          <a:p>
            <a:pPr lvl="0"/>
            <a:r>
              <a:rPr lang="it-IT" altLang="it-IT" b="1" dirty="0">
                <a:solidFill>
                  <a:srgbClr val="012169"/>
                </a:solidFill>
                <a:latin typeface="Century Gothic" panose="020B0502020202020204" pitchFamily="34" charset="0"/>
              </a:rPr>
              <a:t>c) i Laboratori di </a:t>
            </a:r>
            <a:r>
              <a:rPr lang="it-IT" altLang="it-IT" b="1" dirty="0" smtClean="0">
                <a:solidFill>
                  <a:srgbClr val="012169"/>
                </a:solidFill>
                <a:latin typeface="Century Gothic" panose="020B0502020202020204" pitchFamily="34" charset="0"/>
              </a:rPr>
              <a:t>sanità </a:t>
            </a:r>
            <a:r>
              <a:rPr lang="it-IT" altLang="it-IT" b="1" dirty="0">
                <a:solidFill>
                  <a:srgbClr val="012169"/>
                </a:solidFill>
                <a:latin typeface="Century Gothic" panose="020B0502020202020204" pitchFamily="34" charset="0"/>
              </a:rPr>
              <a:t>pubblica delle </a:t>
            </a:r>
            <a:r>
              <a:rPr lang="it-IT" altLang="it-IT" b="1" dirty="0" smtClean="0">
                <a:solidFill>
                  <a:srgbClr val="012169"/>
                </a:solidFill>
                <a:latin typeface="Century Gothic" panose="020B0502020202020204" pitchFamily="34" charset="0"/>
              </a:rPr>
              <a:t>unità </a:t>
            </a:r>
            <a:r>
              <a:rPr lang="it-IT" altLang="it-IT" b="1" dirty="0">
                <a:solidFill>
                  <a:srgbClr val="012169"/>
                </a:solidFill>
                <a:latin typeface="Century Gothic" panose="020B0502020202020204" pitchFamily="34" charset="0"/>
              </a:rPr>
              <a:t>sanitarie locali; </a:t>
            </a:r>
          </a:p>
          <a:p>
            <a:pPr lvl="0"/>
            <a:r>
              <a:rPr lang="it-IT" altLang="it-IT" b="1" dirty="0">
                <a:solidFill>
                  <a:srgbClr val="012169"/>
                </a:solidFill>
                <a:latin typeface="Century Gothic" panose="020B0502020202020204" pitchFamily="34" charset="0"/>
              </a:rPr>
              <a:t>d) i Laboratori delle agenzie per la protezione dell'ambiente (ARPA); </a:t>
            </a:r>
          </a:p>
          <a:p>
            <a:pPr lvl="0"/>
            <a:r>
              <a:rPr lang="it-IT" altLang="it-IT" b="1" dirty="0">
                <a:solidFill>
                  <a:srgbClr val="012169"/>
                </a:solidFill>
                <a:latin typeface="Century Gothic" panose="020B0502020202020204" pitchFamily="34" charset="0"/>
              </a:rPr>
              <a:t>e) i Laboratori designati quali laboratori nazionali di riferimento (LNR). </a:t>
            </a:r>
          </a:p>
          <a:p>
            <a:pPr lvl="0"/>
            <a:r>
              <a:rPr lang="it-IT" altLang="it-IT" dirty="0" smtClean="0">
                <a:solidFill>
                  <a:srgbClr val="012169"/>
                </a:solidFill>
                <a:latin typeface="Century Gothic" panose="020B0502020202020204" pitchFamily="34" charset="0"/>
              </a:rPr>
              <a:t> </a:t>
            </a:r>
            <a:endParaRPr lang="it-IT" altLang="it-IT" dirty="0">
              <a:solidFill>
                <a:srgbClr val="012169"/>
              </a:solidFill>
              <a:latin typeface="Century Gothic" panose="020B0502020202020204" pitchFamily="34" charset="0"/>
            </a:endParaRPr>
          </a:p>
          <a:p>
            <a:pPr lvl="0"/>
            <a:r>
              <a:rPr lang="it-IT" altLang="it-IT" dirty="0">
                <a:solidFill>
                  <a:srgbClr val="012169"/>
                </a:solidFill>
                <a:latin typeface="Century Gothic" panose="020B0502020202020204" pitchFamily="34" charset="0"/>
              </a:rPr>
              <a:t>I </a:t>
            </a:r>
            <a:r>
              <a:rPr lang="it-IT" altLang="it-IT" dirty="0" smtClean="0">
                <a:solidFill>
                  <a:srgbClr val="012169"/>
                </a:solidFill>
                <a:latin typeface="Century Gothic" panose="020B0502020202020204" pitchFamily="34" charset="0"/>
              </a:rPr>
              <a:t>laboratori </a:t>
            </a:r>
          </a:p>
          <a:p>
            <a:pPr marL="285750" lvl="0" indent="-285750">
              <a:buFontTx/>
              <a:buChar char="-"/>
            </a:pPr>
            <a:r>
              <a:rPr lang="it-IT" altLang="it-IT" dirty="0" smtClean="0">
                <a:solidFill>
                  <a:srgbClr val="012169"/>
                </a:solidFill>
                <a:latin typeface="Century Gothic" panose="020B0502020202020204" pitchFamily="34" charset="0"/>
              </a:rPr>
              <a:t>effettuano </a:t>
            </a:r>
            <a:r>
              <a:rPr lang="it-IT" altLang="it-IT" dirty="0">
                <a:solidFill>
                  <a:srgbClr val="012169"/>
                </a:solidFill>
                <a:latin typeface="Century Gothic" panose="020B0502020202020204" pitchFamily="34" charset="0"/>
              </a:rPr>
              <a:t>analisi, prove e diagnosi sui campioni prelevati durante i controlli ufficiali e durante le altre attività </a:t>
            </a:r>
            <a:r>
              <a:rPr lang="it-IT" altLang="it-IT" dirty="0" smtClean="0">
                <a:solidFill>
                  <a:srgbClr val="012169"/>
                </a:solidFill>
                <a:latin typeface="Century Gothic" panose="020B0502020202020204" pitchFamily="34" charset="0"/>
              </a:rPr>
              <a:t>ufficiali;</a:t>
            </a:r>
          </a:p>
          <a:p>
            <a:pPr marL="285750" lvl="0" indent="-285750">
              <a:buFontTx/>
              <a:buChar char="-"/>
            </a:pPr>
            <a:r>
              <a:rPr lang="it-IT" altLang="it-IT" dirty="0" smtClean="0">
                <a:solidFill>
                  <a:srgbClr val="012169"/>
                </a:solidFill>
                <a:latin typeface="Century Gothic" panose="020B0502020202020204" pitchFamily="34" charset="0"/>
              </a:rPr>
              <a:t>partecipano </a:t>
            </a:r>
            <a:r>
              <a:rPr lang="it-IT" altLang="it-IT" dirty="0">
                <a:solidFill>
                  <a:srgbClr val="012169"/>
                </a:solidFill>
                <a:latin typeface="Century Gothic" panose="020B0502020202020204" pitchFamily="34" charset="0"/>
              </a:rPr>
              <a:t>alle prove comparative </a:t>
            </a:r>
            <a:r>
              <a:rPr lang="it-IT" altLang="it-IT" dirty="0" err="1">
                <a:solidFill>
                  <a:srgbClr val="012169"/>
                </a:solidFill>
                <a:latin typeface="Century Gothic" panose="020B0502020202020204" pitchFamily="34" charset="0"/>
              </a:rPr>
              <a:t>interlaboratorio</a:t>
            </a:r>
            <a:r>
              <a:rPr lang="it-IT" altLang="it-IT" dirty="0">
                <a:solidFill>
                  <a:srgbClr val="012169"/>
                </a:solidFill>
                <a:latin typeface="Century Gothic" panose="020B0502020202020204" pitchFamily="34" charset="0"/>
              </a:rPr>
              <a:t> organizzate dai laboratori nazionali di riferimento e dai laboratori di riferimento dell'Unione </a:t>
            </a:r>
            <a:r>
              <a:rPr lang="it-IT" altLang="it-IT" dirty="0" smtClean="0">
                <a:solidFill>
                  <a:srgbClr val="012169"/>
                </a:solidFill>
                <a:latin typeface="Century Gothic" panose="020B0502020202020204" pitchFamily="34" charset="0"/>
              </a:rPr>
              <a:t>europea;</a:t>
            </a:r>
          </a:p>
          <a:p>
            <a:pPr marL="285750" lvl="0" indent="-285750">
              <a:buFontTx/>
              <a:buChar char="-"/>
            </a:pPr>
            <a:r>
              <a:rPr lang="it-IT" altLang="it-IT" dirty="0" smtClean="0">
                <a:solidFill>
                  <a:srgbClr val="012169"/>
                </a:solidFill>
                <a:latin typeface="Century Gothic" panose="020B0502020202020204" pitchFamily="34" charset="0"/>
              </a:rPr>
              <a:t>operano </a:t>
            </a:r>
            <a:r>
              <a:rPr lang="it-IT" altLang="it-IT" dirty="0">
                <a:solidFill>
                  <a:srgbClr val="012169"/>
                </a:solidFill>
                <a:latin typeface="Century Gothic" panose="020B0502020202020204" pitchFamily="34" charset="0"/>
              </a:rPr>
              <a:t>in rete per garantire in ogni caso l'effettuazione delle analisi, prove o diagnosi</a:t>
            </a:r>
            <a:endParaRPr lang="it-IT" altLang="it-IT" dirty="0" smtClean="0">
              <a:solidFill>
                <a:srgbClr val="012169"/>
              </a:solidFill>
              <a:latin typeface="Century Gothic" panose="020B0502020202020204" pitchFamily="34" charset="0"/>
            </a:endParaRPr>
          </a:p>
          <a:p>
            <a:pPr lvl="0"/>
            <a:endParaRPr lang="it-IT" altLang="it-IT" dirty="0">
              <a:solidFill>
                <a:srgbClr val="012169"/>
              </a:solidFill>
              <a:latin typeface="Century Gothic" panose="020B0502020202020204" pitchFamily="34" charset="0"/>
            </a:endParaRPr>
          </a:p>
          <a:p>
            <a:pPr lvl="0"/>
            <a:r>
              <a:rPr lang="it-IT" altLang="it-IT" dirty="0">
                <a:solidFill>
                  <a:srgbClr val="012169"/>
                </a:solidFill>
                <a:latin typeface="Century Gothic" panose="020B0502020202020204" pitchFamily="34" charset="0"/>
              </a:rPr>
              <a:t>Le </a:t>
            </a:r>
            <a:r>
              <a:rPr lang="it-IT" altLang="it-IT" dirty="0" smtClean="0">
                <a:solidFill>
                  <a:srgbClr val="012169"/>
                </a:solidFill>
                <a:latin typeface="Century Gothic" panose="020B0502020202020204" pitchFamily="34" charset="0"/>
              </a:rPr>
              <a:t>Autorità </a:t>
            </a:r>
            <a:r>
              <a:rPr lang="it-IT" altLang="it-IT" dirty="0">
                <a:solidFill>
                  <a:srgbClr val="012169"/>
                </a:solidFill>
                <a:latin typeface="Century Gothic" panose="020B0502020202020204" pitchFamily="34" charset="0"/>
              </a:rPr>
              <a:t>competenti inviano i campioni ai laboratori ufficiali insistenti nel territorio di propria competenza. </a:t>
            </a:r>
            <a:endParaRPr lang="it-IT" altLang="it-IT" dirty="0" smtClean="0">
              <a:solidFill>
                <a:srgbClr val="012169"/>
              </a:solidFill>
              <a:latin typeface="Century Gothic" panose="020B0502020202020204" pitchFamily="34" charset="0"/>
            </a:endParaRPr>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341576336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88634" y="2158137"/>
            <a:ext cx="7964966" cy="3092647"/>
          </a:xfrm>
          <a:prstGeom prst="rect">
            <a:avLst/>
          </a:prstGeom>
        </p:spPr>
      </p:pic>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26.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Laborator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Nazionali</a:t>
            </a:r>
            <a:r>
              <a:rPr kumimoji="0" lang="en-GB" sz="2200" b="1" i="0" u="none" strike="noStrike" kern="0" cap="none" spc="0" normalizeH="0" noProof="0" dirty="0" smtClean="0">
                <a:ln>
                  <a:noFill/>
                </a:ln>
                <a:solidFill>
                  <a:srgbClr val="0F2D69"/>
                </a:solidFill>
                <a:effectLst/>
                <a:uLnTx/>
                <a:uFillTx/>
                <a:latin typeface="Century Gothic"/>
                <a:ea typeface="+mj-ea"/>
                <a:cs typeface="Arial"/>
              </a:rPr>
              <a:t> di </a:t>
            </a:r>
            <a:r>
              <a:rPr kumimoji="0" lang="en-GB" sz="2200" b="1" i="0" u="none" strike="noStrike" kern="0" cap="none" spc="0" normalizeH="0" noProof="0" dirty="0" err="1" smtClean="0">
                <a:ln>
                  <a:noFill/>
                </a:ln>
                <a:solidFill>
                  <a:srgbClr val="0F2D69"/>
                </a:solidFill>
                <a:effectLst/>
                <a:uLnTx/>
                <a:uFillTx/>
                <a:latin typeface="Century Gothic"/>
                <a:ea typeface="+mj-ea"/>
                <a:cs typeface="Arial"/>
              </a:rPr>
              <a:t>Riferimento</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293210" y="888304"/>
            <a:ext cx="11289190" cy="5632311"/>
          </a:xfrm>
          <a:prstGeom prst="rect">
            <a:avLst/>
          </a:prstGeom>
          <a:noFill/>
          <a:ln>
            <a:solidFill>
              <a:srgbClr val="012169"/>
            </a:solidFill>
          </a:ln>
        </p:spPr>
        <p:txBody>
          <a:bodyPr wrap="square" rtlCol="0" anchor="ctr">
            <a:spAutoFit/>
          </a:bodyPr>
          <a:lstStyle/>
          <a:p>
            <a:pPr lvl="0"/>
            <a:r>
              <a:rPr lang="it-IT" altLang="it-IT" dirty="0">
                <a:solidFill>
                  <a:srgbClr val="012169"/>
                </a:solidFill>
                <a:latin typeface="Century Gothic" panose="020B0502020202020204" pitchFamily="34" charset="0"/>
              </a:rPr>
              <a:t>Per tutelare la salute pubblica e garantire la sicurezza alimentare in base a quanto previsto dalla normativa vigente, il Ministero della salute, quale </a:t>
            </a:r>
            <a:r>
              <a:rPr lang="it-IT" altLang="it-IT" dirty="0" smtClean="0">
                <a:solidFill>
                  <a:srgbClr val="012169"/>
                </a:solidFill>
                <a:latin typeface="Century Gothic" panose="020B0502020202020204" pitchFamily="34" charset="0"/>
              </a:rPr>
              <a:t>Autorità competente designa </a:t>
            </a:r>
            <a:r>
              <a:rPr lang="it-IT" altLang="it-IT" dirty="0">
                <a:solidFill>
                  <a:srgbClr val="012169"/>
                </a:solidFill>
                <a:latin typeface="Century Gothic" panose="020B0502020202020204" pitchFamily="34" charset="0"/>
              </a:rPr>
              <a:t>i laboratori nazionali di riferimento (LNR) per alimenti, mangimi, </a:t>
            </a:r>
            <a:r>
              <a:rPr lang="it-IT" altLang="it-IT" dirty="0" smtClean="0">
                <a:solidFill>
                  <a:srgbClr val="012169"/>
                </a:solidFill>
                <a:latin typeface="Century Gothic" panose="020B0502020202020204" pitchFamily="34" charset="0"/>
              </a:rPr>
              <a:t>sanità </a:t>
            </a:r>
            <a:r>
              <a:rPr lang="it-IT" altLang="it-IT" dirty="0">
                <a:solidFill>
                  <a:srgbClr val="012169"/>
                </a:solidFill>
                <a:latin typeface="Century Gothic" panose="020B0502020202020204" pitchFamily="34" charset="0"/>
              </a:rPr>
              <a:t>animale e formulati fitosanitari. </a:t>
            </a:r>
            <a:endParaRPr lang="it-IT" altLang="it-IT" dirty="0" smtClean="0">
              <a:solidFill>
                <a:srgbClr val="012169"/>
              </a:solidFill>
              <a:latin typeface="Century Gothic" panose="020B0502020202020204" pitchFamily="34" charset="0"/>
            </a:endParaRPr>
          </a:p>
          <a:p>
            <a:pPr lvl="0"/>
            <a:endParaRPr lang="it-IT" altLang="it-IT" dirty="0" smtClean="0">
              <a:solidFill>
                <a:srgbClr val="012169"/>
              </a:solidFill>
              <a:latin typeface="Century Gothic" panose="020B0502020202020204" pitchFamily="34" charset="0"/>
            </a:endParaRPr>
          </a:p>
          <a:p>
            <a:pPr lvl="0"/>
            <a:endParaRPr lang="it-IT" altLang="it-IT" dirty="0">
              <a:solidFill>
                <a:srgbClr val="012169"/>
              </a:solidFill>
              <a:latin typeface="Century Gothic" panose="020B0502020202020204" pitchFamily="34" charset="0"/>
            </a:endParaRPr>
          </a:p>
          <a:p>
            <a:pPr lvl="0"/>
            <a:endParaRPr lang="it-IT" altLang="it-IT" dirty="0" smtClean="0">
              <a:solidFill>
                <a:srgbClr val="012169"/>
              </a:solidFill>
              <a:latin typeface="Century Gothic" panose="020B0502020202020204" pitchFamily="34" charset="0"/>
            </a:endParaRPr>
          </a:p>
          <a:p>
            <a:pPr lvl="0"/>
            <a:endParaRPr lang="it-IT" altLang="it-IT" dirty="0">
              <a:solidFill>
                <a:srgbClr val="012169"/>
              </a:solidFill>
              <a:latin typeface="Century Gothic" panose="020B0502020202020204" pitchFamily="34" charset="0"/>
            </a:endParaRPr>
          </a:p>
          <a:p>
            <a:pPr lvl="0"/>
            <a:endParaRPr lang="it-IT" altLang="it-IT" dirty="0" smtClean="0">
              <a:solidFill>
                <a:srgbClr val="012169"/>
              </a:solidFill>
              <a:latin typeface="Century Gothic" panose="020B0502020202020204" pitchFamily="34" charset="0"/>
            </a:endParaRPr>
          </a:p>
          <a:p>
            <a:pPr lvl="0"/>
            <a:endParaRPr lang="it-IT" altLang="it-IT" dirty="0">
              <a:solidFill>
                <a:srgbClr val="012169"/>
              </a:solidFill>
              <a:latin typeface="Century Gothic" panose="020B0502020202020204" pitchFamily="34" charset="0"/>
            </a:endParaRPr>
          </a:p>
          <a:p>
            <a:pPr lvl="0"/>
            <a:endParaRPr lang="it-IT" altLang="it-IT" dirty="0" smtClean="0">
              <a:solidFill>
                <a:srgbClr val="012169"/>
              </a:solidFill>
              <a:latin typeface="Century Gothic" panose="020B0502020202020204" pitchFamily="34" charset="0"/>
            </a:endParaRPr>
          </a:p>
          <a:p>
            <a:pPr lvl="0"/>
            <a:endParaRPr lang="it-IT" altLang="it-IT" dirty="0">
              <a:solidFill>
                <a:srgbClr val="012169"/>
              </a:solidFill>
              <a:latin typeface="Century Gothic" panose="020B0502020202020204" pitchFamily="34" charset="0"/>
            </a:endParaRPr>
          </a:p>
          <a:p>
            <a:pPr lvl="0"/>
            <a:endParaRPr lang="it-IT" altLang="it-IT" dirty="0" smtClean="0">
              <a:solidFill>
                <a:srgbClr val="012169"/>
              </a:solidFill>
              <a:latin typeface="Century Gothic" panose="020B0502020202020204" pitchFamily="34" charset="0"/>
            </a:endParaRPr>
          </a:p>
          <a:p>
            <a:pPr lvl="0"/>
            <a:endParaRPr lang="it-IT" altLang="it-IT" dirty="0">
              <a:solidFill>
                <a:srgbClr val="012169"/>
              </a:solidFill>
              <a:latin typeface="Century Gothic" panose="020B0502020202020204" pitchFamily="34" charset="0"/>
            </a:endParaRPr>
          </a:p>
          <a:p>
            <a:pPr lvl="0"/>
            <a:endParaRPr lang="it-IT" altLang="it-IT" dirty="0">
              <a:solidFill>
                <a:srgbClr val="012169"/>
              </a:solidFill>
              <a:latin typeface="Century Gothic" panose="020B0502020202020204" pitchFamily="34" charset="0"/>
            </a:endParaRPr>
          </a:p>
          <a:p>
            <a:pPr lvl="0"/>
            <a:endParaRPr lang="it-IT" altLang="it-IT" dirty="0" smtClean="0">
              <a:solidFill>
                <a:srgbClr val="012169"/>
              </a:solidFill>
              <a:latin typeface="Century Gothic" panose="020B0502020202020204" pitchFamily="34" charset="0"/>
            </a:endParaRPr>
          </a:p>
          <a:p>
            <a:pPr lvl="0"/>
            <a:endParaRPr lang="it-IT" altLang="it-IT" dirty="0">
              <a:solidFill>
                <a:srgbClr val="012169"/>
              </a:solidFill>
              <a:latin typeface="Century Gothic" panose="020B0502020202020204" pitchFamily="34" charset="0"/>
            </a:endParaRPr>
          </a:p>
          <a:p>
            <a:pPr lvl="0"/>
            <a:endParaRPr lang="it-IT" altLang="it-IT" dirty="0" smtClean="0">
              <a:solidFill>
                <a:srgbClr val="012169"/>
              </a:solidFill>
              <a:latin typeface="Century Gothic" panose="020B0502020202020204" pitchFamily="34" charset="0"/>
            </a:endParaRPr>
          </a:p>
          <a:p>
            <a:pPr lvl="0"/>
            <a:endParaRPr lang="it-IT" altLang="it-IT" dirty="0">
              <a:solidFill>
                <a:srgbClr val="012169"/>
              </a:solidFill>
              <a:latin typeface="Century Gothic" panose="020B0502020202020204" pitchFamily="34" charset="0"/>
            </a:endParaRPr>
          </a:p>
          <a:p>
            <a:pPr lvl="0"/>
            <a:r>
              <a:rPr lang="it-IT" altLang="it-IT" dirty="0" smtClean="0">
                <a:solidFill>
                  <a:srgbClr val="012169"/>
                </a:solidFill>
                <a:latin typeface="Century Gothic" panose="020B0502020202020204" pitchFamily="34" charset="0"/>
              </a:rPr>
              <a:t>L'elenco </a:t>
            </a:r>
            <a:r>
              <a:rPr lang="it-IT" altLang="it-IT" dirty="0">
                <a:solidFill>
                  <a:srgbClr val="012169"/>
                </a:solidFill>
                <a:latin typeface="Century Gothic" panose="020B0502020202020204" pitchFamily="34" charset="0"/>
              </a:rPr>
              <a:t>dei laboratori nazionali di riferimento </a:t>
            </a:r>
            <a:r>
              <a:rPr lang="it-IT" altLang="it-IT" dirty="0" smtClean="0">
                <a:solidFill>
                  <a:srgbClr val="012169"/>
                </a:solidFill>
                <a:latin typeface="Century Gothic" panose="020B0502020202020204" pitchFamily="34" charset="0"/>
              </a:rPr>
              <a:t>è aggiornato </a:t>
            </a:r>
            <a:r>
              <a:rPr lang="it-IT" altLang="it-IT" dirty="0">
                <a:solidFill>
                  <a:srgbClr val="012169"/>
                </a:solidFill>
                <a:latin typeface="Century Gothic" panose="020B0502020202020204" pitchFamily="34" charset="0"/>
              </a:rPr>
              <a:t>ogni cinque anni e ogni anno gli stessi laboratori forniscono al Ministero della salute una relazione sulle </a:t>
            </a:r>
            <a:r>
              <a:rPr lang="it-IT" altLang="it-IT" dirty="0" smtClean="0">
                <a:solidFill>
                  <a:srgbClr val="012169"/>
                </a:solidFill>
                <a:latin typeface="Century Gothic" panose="020B0502020202020204" pitchFamily="34" charset="0"/>
              </a:rPr>
              <a:t>attività svolte</a:t>
            </a:r>
            <a:r>
              <a:rPr lang="it-IT" altLang="it-IT" dirty="0">
                <a:solidFill>
                  <a:srgbClr val="012169"/>
                </a:solidFill>
                <a:latin typeface="Century Gothic" panose="020B0502020202020204" pitchFamily="34" charset="0"/>
              </a:rPr>
              <a:t>. </a:t>
            </a:r>
            <a:endParaRPr lang="it-IT" altLang="it-IT" dirty="0" smtClean="0">
              <a:solidFill>
                <a:srgbClr val="012169"/>
              </a:solidFill>
              <a:latin typeface="Century Gothic" panose="020B0502020202020204" pitchFamily="34" charset="0"/>
            </a:endParaRPr>
          </a:p>
        </p:txBody>
      </p:sp>
      <p:pic>
        <p:nvPicPr>
          <p:cNvPr id="5" name="Immagin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85662" y="23353"/>
            <a:ext cx="1606338" cy="864951"/>
          </a:xfrm>
          <a:prstGeom prst="rect">
            <a:avLst/>
          </a:prstGeom>
        </p:spPr>
      </p:pic>
    </p:spTree>
    <p:extLst>
      <p:ext uri="{BB962C8B-B14F-4D97-AF65-F5344CB8AC3E}">
        <p14:creationId xmlns:p14="http://schemas.microsoft.com/office/powerpoint/2010/main" val="26721477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06377" y="1011386"/>
            <a:ext cx="7379247" cy="5430677"/>
            <a:chOff x="586147" y="1793883"/>
            <a:chExt cx="5055825" cy="4502160"/>
          </a:xfrm>
          <a:solidFill>
            <a:schemeClr val="bg1">
              <a:lumMod val="85000"/>
              <a:alpha val="56000"/>
            </a:schemeClr>
          </a:solidFill>
        </p:grpSpPr>
        <p:sp>
          <p:nvSpPr>
            <p:cNvPr id="9" name="Freeform 50272"/>
            <p:cNvSpPr>
              <a:spLocks/>
            </p:cNvSpPr>
            <p:nvPr/>
          </p:nvSpPr>
          <p:spPr bwMode="auto">
            <a:xfrm>
              <a:off x="3035298" y="5248292"/>
              <a:ext cx="93663" cy="219075"/>
            </a:xfrm>
            <a:custGeom>
              <a:avLst/>
              <a:gdLst>
                <a:gd name="T0" fmla="*/ 16 w 59"/>
                <a:gd name="T1" fmla="*/ 9 h 138"/>
                <a:gd name="T2" fmla="*/ 23 w 59"/>
                <a:gd name="T3" fmla="*/ 7 h 138"/>
                <a:gd name="T4" fmla="*/ 31 w 59"/>
                <a:gd name="T5" fmla="*/ 7 h 138"/>
                <a:gd name="T6" fmla="*/ 31 w 59"/>
                <a:gd name="T7" fmla="*/ 12 h 138"/>
                <a:gd name="T8" fmla="*/ 35 w 59"/>
                <a:gd name="T9" fmla="*/ 17 h 138"/>
                <a:gd name="T10" fmla="*/ 40 w 59"/>
                <a:gd name="T11" fmla="*/ 21 h 138"/>
                <a:gd name="T12" fmla="*/ 42 w 59"/>
                <a:gd name="T13" fmla="*/ 28 h 138"/>
                <a:gd name="T14" fmla="*/ 45 w 59"/>
                <a:gd name="T15" fmla="*/ 36 h 138"/>
                <a:gd name="T16" fmla="*/ 42 w 59"/>
                <a:gd name="T17" fmla="*/ 38 h 138"/>
                <a:gd name="T18" fmla="*/ 42 w 59"/>
                <a:gd name="T19" fmla="*/ 47 h 138"/>
                <a:gd name="T20" fmla="*/ 40 w 59"/>
                <a:gd name="T21" fmla="*/ 55 h 138"/>
                <a:gd name="T22" fmla="*/ 42 w 59"/>
                <a:gd name="T23" fmla="*/ 57 h 138"/>
                <a:gd name="T24" fmla="*/ 42 w 59"/>
                <a:gd name="T25" fmla="*/ 64 h 138"/>
                <a:gd name="T26" fmla="*/ 45 w 59"/>
                <a:gd name="T27" fmla="*/ 71 h 138"/>
                <a:gd name="T28" fmla="*/ 50 w 59"/>
                <a:gd name="T29" fmla="*/ 81 h 138"/>
                <a:gd name="T30" fmla="*/ 57 w 59"/>
                <a:gd name="T31" fmla="*/ 83 h 138"/>
                <a:gd name="T32" fmla="*/ 59 w 59"/>
                <a:gd name="T33" fmla="*/ 90 h 138"/>
                <a:gd name="T34" fmla="*/ 57 w 59"/>
                <a:gd name="T35" fmla="*/ 97 h 138"/>
                <a:gd name="T36" fmla="*/ 54 w 59"/>
                <a:gd name="T37" fmla="*/ 100 h 138"/>
                <a:gd name="T38" fmla="*/ 50 w 59"/>
                <a:gd name="T39" fmla="*/ 104 h 138"/>
                <a:gd name="T40" fmla="*/ 47 w 59"/>
                <a:gd name="T41" fmla="*/ 112 h 138"/>
                <a:gd name="T42" fmla="*/ 45 w 59"/>
                <a:gd name="T43" fmla="*/ 119 h 138"/>
                <a:gd name="T44" fmla="*/ 38 w 59"/>
                <a:gd name="T45" fmla="*/ 121 h 138"/>
                <a:gd name="T46" fmla="*/ 35 w 59"/>
                <a:gd name="T47" fmla="*/ 124 h 138"/>
                <a:gd name="T48" fmla="*/ 38 w 59"/>
                <a:gd name="T49" fmla="*/ 133 h 138"/>
                <a:gd name="T50" fmla="*/ 33 w 59"/>
                <a:gd name="T51" fmla="*/ 133 h 138"/>
                <a:gd name="T52" fmla="*/ 33 w 59"/>
                <a:gd name="T53" fmla="*/ 138 h 138"/>
                <a:gd name="T54" fmla="*/ 33 w 59"/>
                <a:gd name="T55" fmla="*/ 138 h 138"/>
                <a:gd name="T56" fmla="*/ 26 w 59"/>
                <a:gd name="T57" fmla="*/ 135 h 138"/>
                <a:gd name="T58" fmla="*/ 23 w 59"/>
                <a:gd name="T59" fmla="*/ 131 h 138"/>
                <a:gd name="T60" fmla="*/ 26 w 59"/>
                <a:gd name="T61" fmla="*/ 128 h 138"/>
                <a:gd name="T62" fmla="*/ 23 w 59"/>
                <a:gd name="T63" fmla="*/ 126 h 138"/>
                <a:gd name="T64" fmla="*/ 19 w 59"/>
                <a:gd name="T65" fmla="*/ 119 h 138"/>
                <a:gd name="T66" fmla="*/ 16 w 59"/>
                <a:gd name="T67" fmla="*/ 116 h 138"/>
                <a:gd name="T68" fmla="*/ 9 w 59"/>
                <a:gd name="T69" fmla="*/ 114 h 138"/>
                <a:gd name="T70" fmla="*/ 4 w 59"/>
                <a:gd name="T71" fmla="*/ 109 h 138"/>
                <a:gd name="T72" fmla="*/ 2 w 59"/>
                <a:gd name="T73" fmla="*/ 102 h 138"/>
                <a:gd name="T74" fmla="*/ 7 w 59"/>
                <a:gd name="T75" fmla="*/ 107 h 138"/>
                <a:gd name="T76" fmla="*/ 4 w 59"/>
                <a:gd name="T77" fmla="*/ 100 h 138"/>
                <a:gd name="T78" fmla="*/ 4 w 59"/>
                <a:gd name="T79" fmla="*/ 95 h 138"/>
                <a:gd name="T80" fmla="*/ 2 w 59"/>
                <a:gd name="T81" fmla="*/ 93 h 138"/>
                <a:gd name="T82" fmla="*/ 4 w 59"/>
                <a:gd name="T83" fmla="*/ 90 h 138"/>
                <a:gd name="T84" fmla="*/ 4 w 59"/>
                <a:gd name="T85" fmla="*/ 81 h 138"/>
                <a:gd name="T86" fmla="*/ 7 w 59"/>
                <a:gd name="T87" fmla="*/ 78 h 138"/>
                <a:gd name="T88" fmla="*/ 7 w 59"/>
                <a:gd name="T89" fmla="*/ 74 h 138"/>
                <a:gd name="T90" fmla="*/ 9 w 59"/>
                <a:gd name="T91" fmla="*/ 66 h 138"/>
                <a:gd name="T92" fmla="*/ 7 w 59"/>
                <a:gd name="T93" fmla="*/ 62 h 138"/>
                <a:gd name="T94" fmla="*/ 4 w 59"/>
                <a:gd name="T95" fmla="*/ 59 h 138"/>
                <a:gd name="T96" fmla="*/ 7 w 59"/>
                <a:gd name="T97" fmla="*/ 57 h 138"/>
                <a:gd name="T98" fmla="*/ 7 w 59"/>
                <a:gd name="T99" fmla="*/ 52 h 138"/>
                <a:gd name="T100" fmla="*/ 12 w 59"/>
                <a:gd name="T101" fmla="*/ 47 h 138"/>
                <a:gd name="T102" fmla="*/ 12 w 59"/>
                <a:gd name="T103" fmla="*/ 47 h 138"/>
                <a:gd name="T104" fmla="*/ 12 w 59"/>
                <a:gd name="T105" fmla="*/ 45 h 138"/>
                <a:gd name="T106" fmla="*/ 12 w 59"/>
                <a:gd name="T107" fmla="*/ 40 h 138"/>
                <a:gd name="T108" fmla="*/ 9 w 59"/>
                <a:gd name="T109" fmla="*/ 38 h 138"/>
                <a:gd name="T110" fmla="*/ 4 w 59"/>
                <a:gd name="T111" fmla="*/ 38 h 138"/>
                <a:gd name="T112" fmla="*/ 2 w 59"/>
                <a:gd name="T113" fmla="*/ 33 h 138"/>
                <a:gd name="T114" fmla="*/ 7 w 59"/>
                <a:gd name="T115" fmla="*/ 33 h 138"/>
                <a:gd name="T116" fmla="*/ 4 w 59"/>
                <a:gd name="T117" fmla="*/ 31 h 138"/>
                <a:gd name="T118" fmla="*/ 0 w 59"/>
                <a:gd name="T119" fmla="*/ 24 h 138"/>
                <a:gd name="T120" fmla="*/ 4 w 59"/>
                <a:gd name="T121" fmla="*/ 14 h 138"/>
                <a:gd name="T122" fmla="*/ 9 w 59"/>
                <a:gd name="T123" fmla="*/ 9 h 138"/>
                <a:gd name="T124" fmla="*/ 14 w 59"/>
                <a:gd name="T125" fmla="*/ 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 h="138">
                  <a:moveTo>
                    <a:pt x="16" y="2"/>
                  </a:moveTo>
                  <a:lnTo>
                    <a:pt x="16" y="5"/>
                  </a:lnTo>
                  <a:lnTo>
                    <a:pt x="16" y="7"/>
                  </a:lnTo>
                  <a:lnTo>
                    <a:pt x="16" y="9"/>
                  </a:lnTo>
                  <a:lnTo>
                    <a:pt x="19" y="9"/>
                  </a:lnTo>
                  <a:lnTo>
                    <a:pt x="21" y="9"/>
                  </a:lnTo>
                  <a:lnTo>
                    <a:pt x="21" y="7"/>
                  </a:lnTo>
                  <a:lnTo>
                    <a:pt x="23" y="7"/>
                  </a:lnTo>
                  <a:lnTo>
                    <a:pt x="26" y="7"/>
                  </a:lnTo>
                  <a:lnTo>
                    <a:pt x="26" y="5"/>
                  </a:lnTo>
                  <a:lnTo>
                    <a:pt x="28" y="7"/>
                  </a:lnTo>
                  <a:lnTo>
                    <a:pt x="31" y="7"/>
                  </a:lnTo>
                  <a:lnTo>
                    <a:pt x="31" y="9"/>
                  </a:lnTo>
                  <a:lnTo>
                    <a:pt x="31" y="12"/>
                  </a:lnTo>
                  <a:lnTo>
                    <a:pt x="33" y="12"/>
                  </a:lnTo>
                  <a:lnTo>
                    <a:pt x="31" y="12"/>
                  </a:lnTo>
                  <a:lnTo>
                    <a:pt x="31" y="14"/>
                  </a:lnTo>
                  <a:lnTo>
                    <a:pt x="33" y="14"/>
                  </a:lnTo>
                  <a:lnTo>
                    <a:pt x="33" y="17"/>
                  </a:lnTo>
                  <a:lnTo>
                    <a:pt x="35" y="17"/>
                  </a:lnTo>
                  <a:lnTo>
                    <a:pt x="38" y="17"/>
                  </a:lnTo>
                  <a:lnTo>
                    <a:pt x="38" y="19"/>
                  </a:lnTo>
                  <a:lnTo>
                    <a:pt x="40" y="19"/>
                  </a:lnTo>
                  <a:lnTo>
                    <a:pt x="40" y="21"/>
                  </a:lnTo>
                  <a:lnTo>
                    <a:pt x="42" y="21"/>
                  </a:lnTo>
                  <a:lnTo>
                    <a:pt x="42" y="24"/>
                  </a:lnTo>
                  <a:lnTo>
                    <a:pt x="42" y="26"/>
                  </a:lnTo>
                  <a:lnTo>
                    <a:pt x="42" y="28"/>
                  </a:lnTo>
                  <a:lnTo>
                    <a:pt x="45" y="28"/>
                  </a:lnTo>
                  <a:lnTo>
                    <a:pt x="45" y="31"/>
                  </a:lnTo>
                  <a:lnTo>
                    <a:pt x="45" y="33"/>
                  </a:lnTo>
                  <a:lnTo>
                    <a:pt x="45" y="36"/>
                  </a:lnTo>
                  <a:lnTo>
                    <a:pt x="42" y="36"/>
                  </a:lnTo>
                  <a:lnTo>
                    <a:pt x="45" y="36"/>
                  </a:lnTo>
                  <a:lnTo>
                    <a:pt x="45" y="38"/>
                  </a:lnTo>
                  <a:lnTo>
                    <a:pt x="42" y="38"/>
                  </a:lnTo>
                  <a:lnTo>
                    <a:pt x="42" y="40"/>
                  </a:lnTo>
                  <a:lnTo>
                    <a:pt x="42" y="43"/>
                  </a:lnTo>
                  <a:lnTo>
                    <a:pt x="42" y="45"/>
                  </a:lnTo>
                  <a:lnTo>
                    <a:pt x="42" y="47"/>
                  </a:lnTo>
                  <a:lnTo>
                    <a:pt x="42" y="50"/>
                  </a:lnTo>
                  <a:lnTo>
                    <a:pt x="42" y="52"/>
                  </a:lnTo>
                  <a:lnTo>
                    <a:pt x="40" y="52"/>
                  </a:lnTo>
                  <a:lnTo>
                    <a:pt x="40" y="55"/>
                  </a:lnTo>
                  <a:lnTo>
                    <a:pt x="42" y="55"/>
                  </a:lnTo>
                  <a:lnTo>
                    <a:pt x="42" y="57"/>
                  </a:lnTo>
                  <a:lnTo>
                    <a:pt x="40" y="57"/>
                  </a:lnTo>
                  <a:lnTo>
                    <a:pt x="42" y="57"/>
                  </a:lnTo>
                  <a:lnTo>
                    <a:pt x="42" y="59"/>
                  </a:lnTo>
                  <a:lnTo>
                    <a:pt x="42" y="62"/>
                  </a:lnTo>
                  <a:lnTo>
                    <a:pt x="40" y="62"/>
                  </a:lnTo>
                  <a:lnTo>
                    <a:pt x="42" y="64"/>
                  </a:lnTo>
                  <a:lnTo>
                    <a:pt x="42" y="66"/>
                  </a:lnTo>
                  <a:lnTo>
                    <a:pt x="42" y="69"/>
                  </a:lnTo>
                  <a:lnTo>
                    <a:pt x="45" y="69"/>
                  </a:lnTo>
                  <a:lnTo>
                    <a:pt x="45" y="71"/>
                  </a:lnTo>
                  <a:lnTo>
                    <a:pt x="45" y="74"/>
                  </a:lnTo>
                  <a:lnTo>
                    <a:pt x="47" y="74"/>
                  </a:lnTo>
                  <a:lnTo>
                    <a:pt x="47" y="78"/>
                  </a:lnTo>
                  <a:lnTo>
                    <a:pt x="50" y="81"/>
                  </a:lnTo>
                  <a:lnTo>
                    <a:pt x="52" y="81"/>
                  </a:lnTo>
                  <a:lnTo>
                    <a:pt x="54" y="81"/>
                  </a:lnTo>
                  <a:lnTo>
                    <a:pt x="57" y="81"/>
                  </a:lnTo>
                  <a:lnTo>
                    <a:pt x="57" y="83"/>
                  </a:lnTo>
                  <a:lnTo>
                    <a:pt x="57" y="85"/>
                  </a:lnTo>
                  <a:lnTo>
                    <a:pt x="57" y="88"/>
                  </a:lnTo>
                  <a:lnTo>
                    <a:pt x="57" y="90"/>
                  </a:lnTo>
                  <a:lnTo>
                    <a:pt x="59" y="90"/>
                  </a:lnTo>
                  <a:lnTo>
                    <a:pt x="59" y="93"/>
                  </a:lnTo>
                  <a:lnTo>
                    <a:pt x="59" y="95"/>
                  </a:lnTo>
                  <a:lnTo>
                    <a:pt x="59" y="97"/>
                  </a:lnTo>
                  <a:lnTo>
                    <a:pt x="57" y="97"/>
                  </a:lnTo>
                  <a:lnTo>
                    <a:pt x="57" y="100"/>
                  </a:lnTo>
                  <a:lnTo>
                    <a:pt x="57" y="102"/>
                  </a:lnTo>
                  <a:lnTo>
                    <a:pt x="54" y="102"/>
                  </a:lnTo>
                  <a:lnTo>
                    <a:pt x="54" y="100"/>
                  </a:lnTo>
                  <a:lnTo>
                    <a:pt x="52" y="100"/>
                  </a:lnTo>
                  <a:lnTo>
                    <a:pt x="52" y="102"/>
                  </a:lnTo>
                  <a:lnTo>
                    <a:pt x="50" y="102"/>
                  </a:lnTo>
                  <a:lnTo>
                    <a:pt x="50" y="104"/>
                  </a:lnTo>
                  <a:lnTo>
                    <a:pt x="50" y="107"/>
                  </a:lnTo>
                  <a:lnTo>
                    <a:pt x="50" y="109"/>
                  </a:lnTo>
                  <a:lnTo>
                    <a:pt x="47" y="109"/>
                  </a:lnTo>
                  <a:lnTo>
                    <a:pt x="47" y="112"/>
                  </a:lnTo>
                  <a:lnTo>
                    <a:pt x="47" y="114"/>
                  </a:lnTo>
                  <a:lnTo>
                    <a:pt x="47" y="116"/>
                  </a:lnTo>
                  <a:lnTo>
                    <a:pt x="47" y="119"/>
                  </a:lnTo>
                  <a:lnTo>
                    <a:pt x="45" y="119"/>
                  </a:lnTo>
                  <a:lnTo>
                    <a:pt x="42" y="119"/>
                  </a:lnTo>
                  <a:lnTo>
                    <a:pt x="40" y="119"/>
                  </a:lnTo>
                  <a:lnTo>
                    <a:pt x="38" y="119"/>
                  </a:lnTo>
                  <a:lnTo>
                    <a:pt x="38" y="121"/>
                  </a:lnTo>
                  <a:lnTo>
                    <a:pt x="38" y="124"/>
                  </a:lnTo>
                  <a:lnTo>
                    <a:pt x="35" y="124"/>
                  </a:lnTo>
                  <a:lnTo>
                    <a:pt x="35" y="121"/>
                  </a:lnTo>
                  <a:lnTo>
                    <a:pt x="35" y="124"/>
                  </a:lnTo>
                  <a:lnTo>
                    <a:pt x="35" y="126"/>
                  </a:lnTo>
                  <a:lnTo>
                    <a:pt x="38" y="128"/>
                  </a:lnTo>
                  <a:lnTo>
                    <a:pt x="38" y="131"/>
                  </a:lnTo>
                  <a:lnTo>
                    <a:pt x="38" y="133"/>
                  </a:lnTo>
                  <a:lnTo>
                    <a:pt x="35" y="131"/>
                  </a:lnTo>
                  <a:lnTo>
                    <a:pt x="33" y="131"/>
                  </a:lnTo>
                  <a:lnTo>
                    <a:pt x="35" y="133"/>
                  </a:lnTo>
                  <a:lnTo>
                    <a:pt x="33" y="133"/>
                  </a:lnTo>
                  <a:lnTo>
                    <a:pt x="35" y="133"/>
                  </a:lnTo>
                  <a:lnTo>
                    <a:pt x="35" y="135"/>
                  </a:lnTo>
                  <a:lnTo>
                    <a:pt x="33" y="135"/>
                  </a:lnTo>
                  <a:lnTo>
                    <a:pt x="33" y="138"/>
                  </a:lnTo>
                  <a:lnTo>
                    <a:pt x="33" y="135"/>
                  </a:lnTo>
                  <a:lnTo>
                    <a:pt x="33" y="138"/>
                  </a:lnTo>
                  <a:lnTo>
                    <a:pt x="31" y="138"/>
                  </a:lnTo>
                  <a:lnTo>
                    <a:pt x="33" y="138"/>
                  </a:lnTo>
                  <a:lnTo>
                    <a:pt x="31" y="138"/>
                  </a:lnTo>
                  <a:lnTo>
                    <a:pt x="28" y="138"/>
                  </a:lnTo>
                  <a:lnTo>
                    <a:pt x="28" y="135"/>
                  </a:lnTo>
                  <a:lnTo>
                    <a:pt x="26" y="135"/>
                  </a:lnTo>
                  <a:lnTo>
                    <a:pt x="23" y="135"/>
                  </a:lnTo>
                  <a:lnTo>
                    <a:pt x="23" y="133"/>
                  </a:lnTo>
                  <a:lnTo>
                    <a:pt x="26" y="133"/>
                  </a:lnTo>
                  <a:lnTo>
                    <a:pt x="23" y="131"/>
                  </a:lnTo>
                  <a:lnTo>
                    <a:pt x="26" y="131"/>
                  </a:lnTo>
                  <a:lnTo>
                    <a:pt x="23" y="131"/>
                  </a:lnTo>
                  <a:lnTo>
                    <a:pt x="26" y="131"/>
                  </a:lnTo>
                  <a:lnTo>
                    <a:pt x="26" y="128"/>
                  </a:lnTo>
                  <a:lnTo>
                    <a:pt x="23" y="128"/>
                  </a:lnTo>
                  <a:lnTo>
                    <a:pt x="23" y="126"/>
                  </a:lnTo>
                  <a:lnTo>
                    <a:pt x="21" y="126"/>
                  </a:lnTo>
                  <a:lnTo>
                    <a:pt x="23" y="126"/>
                  </a:lnTo>
                  <a:lnTo>
                    <a:pt x="21" y="124"/>
                  </a:lnTo>
                  <a:lnTo>
                    <a:pt x="21" y="121"/>
                  </a:lnTo>
                  <a:lnTo>
                    <a:pt x="19" y="121"/>
                  </a:lnTo>
                  <a:lnTo>
                    <a:pt x="19" y="119"/>
                  </a:lnTo>
                  <a:lnTo>
                    <a:pt x="19" y="121"/>
                  </a:lnTo>
                  <a:lnTo>
                    <a:pt x="19" y="119"/>
                  </a:lnTo>
                  <a:lnTo>
                    <a:pt x="16" y="119"/>
                  </a:lnTo>
                  <a:lnTo>
                    <a:pt x="16" y="116"/>
                  </a:lnTo>
                  <a:lnTo>
                    <a:pt x="14" y="116"/>
                  </a:lnTo>
                  <a:lnTo>
                    <a:pt x="12" y="116"/>
                  </a:lnTo>
                  <a:lnTo>
                    <a:pt x="12" y="114"/>
                  </a:lnTo>
                  <a:lnTo>
                    <a:pt x="9" y="114"/>
                  </a:lnTo>
                  <a:lnTo>
                    <a:pt x="7" y="114"/>
                  </a:lnTo>
                  <a:lnTo>
                    <a:pt x="7" y="112"/>
                  </a:lnTo>
                  <a:lnTo>
                    <a:pt x="4" y="112"/>
                  </a:lnTo>
                  <a:lnTo>
                    <a:pt x="4" y="109"/>
                  </a:lnTo>
                  <a:lnTo>
                    <a:pt x="4" y="107"/>
                  </a:lnTo>
                  <a:lnTo>
                    <a:pt x="2" y="107"/>
                  </a:lnTo>
                  <a:lnTo>
                    <a:pt x="2" y="104"/>
                  </a:lnTo>
                  <a:lnTo>
                    <a:pt x="2" y="102"/>
                  </a:lnTo>
                  <a:lnTo>
                    <a:pt x="4" y="102"/>
                  </a:lnTo>
                  <a:lnTo>
                    <a:pt x="4" y="104"/>
                  </a:lnTo>
                  <a:lnTo>
                    <a:pt x="4" y="107"/>
                  </a:lnTo>
                  <a:lnTo>
                    <a:pt x="7" y="107"/>
                  </a:lnTo>
                  <a:lnTo>
                    <a:pt x="7" y="104"/>
                  </a:lnTo>
                  <a:lnTo>
                    <a:pt x="7" y="102"/>
                  </a:lnTo>
                  <a:lnTo>
                    <a:pt x="7" y="100"/>
                  </a:lnTo>
                  <a:lnTo>
                    <a:pt x="4" y="100"/>
                  </a:lnTo>
                  <a:lnTo>
                    <a:pt x="7" y="100"/>
                  </a:lnTo>
                  <a:lnTo>
                    <a:pt x="4" y="100"/>
                  </a:lnTo>
                  <a:lnTo>
                    <a:pt x="4" y="97"/>
                  </a:lnTo>
                  <a:lnTo>
                    <a:pt x="4" y="95"/>
                  </a:lnTo>
                  <a:lnTo>
                    <a:pt x="4" y="97"/>
                  </a:lnTo>
                  <a:lnTo>
                    <a:pt x="4" y="95"/>
                  </a:lnTo>
                  <a:lnTo>
                    <a:pt x="2" y="95"/>
                  </a:lnTo>
                  <a:lnTo>
                    <a:pt x="2" y="93"/>
                  </a:lnTo>
                  <a:lnTo>
                    <a:pt x="4" y="93"/>
                  </a:lnTo>
                  <a:lnTo>
                    <a:pt x="2" y="93"/>
                  </a:lnTo>
                  <a:lnTo>
                    <a:pt x="2" y="90"/>
                  </a:lnTo>
                  <a:lnTo>
                    <a:pt x="4" y="90"/>
                  </a:lnTo>
                  <a:lnTo>
                    <a:pt x="4" y="88"/>
                  </a:lnTo>
                  <a:lnTo>
                    <a:pt x="4" y="85"/>
                  </a:lnTo>
                  <a:lnTo>
                    <a:pt x="4" y="83"/>
                  </a:lnTo>
                  <a:lnTo>
                    <a:pt x="4" y="81"/>
                  </a:lnTo>
                  <a:lnTo>
                    <a:pt x="7" y="81"/>
                  </a:lnTo>
                  <a:lnTo>
                    <a:pt x="7" y="78"/>
                  </a:lnTo>
                  <a:lnTo>
                    <a:pt x="7" y="76"/>
                  </a:lnTo>
                  <a:lnTo>
                    <a:pt x="7" y="78"/>
                  </a:lnTo>
                  <a:lnTo>
                    <a:pt x="7" y="76"/>
                  </a:lnTo>
                  <a:lnTo>
                    <a:pt x="7" y="78"/>
                  </a:lnTo>
                  <a:lnTo>
                    <a:pt x="7" y="76"/>
                  </a:lnTo>
                  <a:lnTo>
                    <a:pt x="7" y="74"/>
                  </a:lnTo>
                  <a:lnTo>
                    <a:pt x="7" y="71"/>
                  </a:lnTo>
                  <a:lnTo>
                    <a:pt x="7" y="69"/>
                  </a:lnTo>
                  <a:lnTo>
                    <a:pt x="7" y="66"/>
                  </a:lnTo>
                  <a:lnTo>
                    <a:pt x="9" y="66"/>
                  </a:lnTo>
                  <a:lnTo>
                    <a:pt x="9" y="64"/>
                  </a:lnTo>
                  <a:lnTo>
                    <a:pt x="7" y="62"/>
                  </a:lnTo>
                  <a:lnTo>
                    <a:pt x="7" y="64"/>
                  </a:lnTo>
                  <a:lnTo>
                    <a:pt x="7" y="62"/>
                  </a:lnTo>
                  <a:lnTo>
                    <a:pt x="7" y="64"/>
                  </a:lnTo>
                  <a:lnTo>
                    <a:pt x="7" y="62"/>
                  </a:lnTo>
                  <a:lnTo>
                    <a:pt x="4" y="62"/>
                  </a:lnTo>
                  <a:lnTo>
                    <a:pt x="4" y="59"/>
                  </a:lnTo>
                  <a:lnTo>
                    <a:pt x="4" y="57"/>
                  </a:lnTo>
                  <a:lnTo>
                    <a:pt x="4" y="59"/>
                  </a:lnTo>
                  <a:lnTo>
                    <a:pt x="7" y="59"/>
                  </a:lnTo>
                  <a:lnTo>
                    <a:pt x="7" y="57"/>
                  </a:lnTo>
                  <a:lnTo>
                    <a:pt x="7" y="55"/>
                  </a:lnTo>
                  <a:lnTo>
                    <a:pt x="9" y="55"/>
                  </a:lnTo>
                  <a:lnTo>
                    <a:pt x="9" y="52"/>
                  </a:lnTo>
                  <a:lnTo>
                    <a:pt x="7" y="52"/>
                  </a:lnTo>
                  <a:lnTo>
                    <a:pt x="7" y="50"/>
                  </a:lnTo>
                  <a:lnTo>
                    <a:pt x="9" y="50"/>
                  </a:lnTo>
                  <a:lnTo>
                    <a:pt x="12" y="50"/>
                  </a:lnTo>
                  <a:lnTo>
                    <a:pt x="12" y="47"/>
                  </a:lnTo>
                  <a:lnTo>
                    <a:pt x="12" y="50"/>
                  </a:lnTo>
                  <a:lnTo>
                    <a:pt x="12" y="47"/>
                  </a:lnTo>
                  <a:lnTo>
                    <a:pt x="9" y="47"/>
                  </a:lnTo>
                  <a:lnTo>
                    <a:pt x="12" y="47"/>
                  </a:lnTo>
                  <a:lnTo>
                    <a:pt x="9" y="47"/>
                  </a:lnTo>
                  <a:lnTo>
                    <a:pt x="12" y="47"/>
                  </a:lnTo>
                  <a:lnTo>
                    <a:pt x="9" y="47"/>
                  </a:lnTo>
                  <a:lnTo>
                    <a:pt x="12" y="45"/>
                  </a:lnTo>
                  <a:lnTo>
                    <a:pt x="12" y="43"/>
                  </a:lnTo>
                  <a:lnTo>
                    <a:pt x="9" y="43"/>
                  </a:lnTo>
                  <a:lnTo>
                    <a:pt x="12" y="43"/>
                  </a:lnTo>
                  <a:lnTo>
                    <a:pt x="12" y="40"/>
                  </a:lnTo>
                  <a:lnTo>
                    <a:pt x="12" y="43"/>
                  </a:lnTo>
                  <a:lnTo>
                    <a:pt x="12" y="40"/>
                  </a:lnTo>
                  <a:lnTo>
                    <a:pt x="9" y="40"/>
                  </a:lnTo>
                  <a:lnTo>
                    <a:pt x="9" y="38"/>
                  </a:lnTo>
                  <a:lnTo>
                    <a:pt x="7" y="38"/>
                  </a:lnTo>
                  <a:lnTo>
                    <a:pt x="7" y="36"/>
                  </a:lnTo>
                  <a:lnTo>
                    <a:pt x="7" y="38"/>
                  </a:lnTo>
                  <a:lnTo>
                    <a:pt x="4" y="38"/>
                  </a:lnTo>
                  <a:lnTo>
                    <a:pt x="4" y="36"/>
                  </a:lnTo>
                  <a:lnTo>
                    <a:pt x="2" y="36"/>
                  </a:lnTo>
                  <a:lnTo>
                    <a:pt x="4" y="36"/>
                  </a:lnTo>
                  <a:lnTo>
                    <a:pt x="2" y="33"/>
                  </a:lnTo>
                  <a:lnTo>
                    <a:pt x="4" y="33"/>
                  </a:lnTo>
                  <a:lnTo>
                    <a:pt x="4" y="31"/>
                  </a:lnTo>
                  <a:lnTo>
                    <a:pt x="4" y="33"/>
                  </a:lnTo>
                  <a:lnTo>
                    <a:pt x="7" y="33"/>
                  </a:lnTo>
                  <a:lnTo>
                    <a:pt x="7" y="31"/>
                  </a:lnTo>
                  <a:lnTo>
                    <a:pt x="7" y="33"/>
                  </a:lnTo>
                  <a:lnTo>
                    <a:pt x="4" y="33"/>
                  </a:lnTo>
                  <a:lnTo>
                    <a:pt x="4" y="31"/>
                  </a:lnTo>
                  <a:lnTo>
                    <a:pt x="4" y="28"/>
                  </a:lnTo>
                  <a:lnTo>
                    <a:pt x="4" y="26"/>
                  </a:lnTo>
                  <a:lnTo>
                    <a:pt x="2" y="24"/>
                  </a:lnTo>
                  <a:lnTo>
                    <a:pt x="0" y="24"/>
                  </a:lnTo>
                  <a:lnTo>
                    <a:pt x="2" y="21"/>
                  </a:lnTo>
                  <a:lnTo>
                    <a:pt x="4" y="19"/>
                  </a:lnTo>
                  <a:lnTo>
                    <a:pt x="4" y="17"/>
                  </a:lnTo>
                  <a:lnTo>
                    <a:pt x="4" y="14"/>
                  </a:lnTo>
                  <a:lnTo>
                    <a:pt x="7" y="14"/>
                  </a:lnTo>
                  <a:lnTo>
                    <a:pt x="7" y="12"/>
                  </a:lnTo>
                  <a:lnTo>
                    <a:pt x="9" y="12"/>
                  </a:lnTo>
                  <a:lnTo>
                    <a:pt x="9" y="9"/>
                  </a:lnTo>
                  <a:lnTo>
                    <a:pt x="9" y="7"/>
                  </a:lnTo>
                  <a:lnTo>
                    <a:pt x="12" y="7"/>
                  </a:lnTo>
                  <a:lnTo>
                    <a:pt x="12" y="5"/>
                  </a:lnTo>
                  <a:lnTo>
                    <a:pt x="14" y="2"/>
                  </a:lnTo>
                  <a:lnTo>
                    <a:pt x="16" y="2"/>
                  </a:lnTo>
                  <a:lnTo>
                    <a:pt x="16" y="0"/>
                  </a:lnTo>
                  <a:lnTo>
                    <a:pt x="1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 name="Freeform 50273"/>
            <p:cNvSpPr>
              <a:spLocks noEditPoints="1"/>
            </p:cNvSpPr>
            <p:nvPr/>
          </p:nvSpPr>
          <p:spPr bwMode="auto">
            <a:xfrm>
              <a:off x="3035298" y="5316556"/>
              <a:ext cx="19050" cy="90488"/>
            </a:xfrm>
            <a:custGeom>
              <a:avLst/>
              <a:gdLst>
                <a:gd name="T0" fmla="*/ 0 w 12"/>
                <a:gd name="T1" fmla="*/ 57 h 57"/>
                <a:gd name="T2" fmla="*/ 0 w 12"/>
                <a:gd name="T3" fmla="*/ 57 h 57"/>
                <a:gd name="T4" fmla="*/ 0 w 12"/>
                <a:gd name="T5" fmla="*/ 57 h 57"/>
                <a:gd name="T6" fmla="*/ 2 w 12"/>
                <a:gd name="T7" fmla="*/ 57 h 57"/>
                <a:gd name="T8" fmla="*/ 2 w 12"/>
                <a:gd name="T9" fmla="*/ 57 h 57"/>
                <a:gd name="T10" fmla="*/ 2 w 12"/>
                <a:gd name="T11" fmla="*/ 57 h 57"/>
                <a:gd name="T12" fmla="*/ 2 w 12"/>
                <a:gd name="T13" fmla="*/ 57 h 57"/>
                <a:gd name="T14" fmla="*/ 2 w 12"/>
                <a:gd name="T15" fmla="*/ 57 h 57"/>
                <a:gd name="T16" fmla="*/ 2 w 12"/>
                <a:gd name="T17" fmla="*/ 57 h 57"/>
                <a:gd name="T18" fmla="*/ 0 w 12"/>
                <a:gd name="T19" fmla="*/ 57 h 57"/>
                <a:gd name="T20" fmla="*/ 0 w 12"/>
                <a:gd name="T21" fmla="*/ 57 h 57"/>
                <a:gd name="T22" fmla="*/ 0 w 12"/>
                <a:gd name="T23" fmla="*/ 57 h 57"/>
                <a:gd name="T24" fmla="*/ 0 w 12"/>
                <a:gd name="T25" fmla="*/ 57 h 57"/>
                <a:gd name="T26" fmla="*/ 0 w 12"/>
                <a:gd name="T27" fmla="*/ 57 h 57"/>
                <a:gd name="T28" fmla="*/ 0 w 12"/>
                <a:gd name="T29" fmla="*/ 57 h 57"/>
                <a:gd name="T30" fmla="*/ 0 w 12"/>
                <a:gd name="T31" fmla="*/ 57 h 57"/>
                <a:gd name="T32" fmla="*/ 0 w 12"/>
                <a:gd name="T33" fmla="*/ 57 h 57"/>
                <a:gd name="T34" fmla="*/ 0 w 12"/>
                <a:gd name="T35" fmla="*/ 57 h 57"/>
                <a:gd name="T36" fmla="*/ 0 w 12"/>
                <a:gd name="T37" fmla="*/ 57 h 57"/>
                <a:gd name="T38" fmla="*/ 0 w 12"/>
                <a:gd name="T39" fmla="*/ 57 h 57"/>
                <a:gd name="T40" fmla="*/ 0 w 12"/>
                <a:gd name="T41" fmla="*/ 57 h 57"/>
                <a:gd name="T42" fmla="*/ 0 w 12"/>
                <a:gd name="T43" fmla="*/ 57 h 57"/>
                <a:gd name="T44" fmla="*/ 0 w 12"/>
                <a:gd name="T45" fmla="*/ 57 h 57"/>
                <a:gd name="T46" fmla="*/ 0 w 12"/>
                <a:gd name="T47" fmla="*/ 57 h 57"/>
                <a:gd name="T48" fmla="*/ 0 w 12"/>
                <a:gd name="T49" fmla="*/ 57 h 57"/>
                <a:gd name="T50" fmla="*/ 0 w 12"/>
                <a:gd name="T51" fmla="*/ 57 h 57"/>
                <a:gd name="T52" fmla="*/ 12 w 12"/>
                <a:gd name="T53" fmla="*/ 0 h 57"/>
                <a:gd name="T54" fmla="*/ 12 w 12"/>
                <a:gd name="T55" fmla="*/ 0 h 57"/>
                <a:gd name="T56" fmla="*/ 9 w 12"/>
                <a:gd name="T57" fmla="*/ 0 h 57"/>
                <a:gd name="T58" fmla="*/ 9 w 12"/>
                <a:gd name="T59" fmla="*/ 0 h 57"/>
                <a:gd name="T60" fmla="*/ 12 w 12"/>
                <a:gd name="T61" fmla="*/ 0 h 57"/>
                <a:gd name="T62" fmla="*/ 9 w 12"/>
                <a:gd name="T63" fmla="*/ 0 h 57"/>
                <a:gd name="T64" fmla="*/ 12 w 12"/>
                <a:gd name="T65" fmla="*/ 0 h 57"/>
                <a:gd name="T66" fmla="*/ 12 w 12"/>
                <a:gd name="T67" fmla="*/ 0 h 57"/>
                <a:gd name="T68" fmla="*/ 12 w 12"/>
                <a:gd name="T69" fmla="*/ 0 h 57"/>
                <a:gd name="T70" fmla="*/ 12 w 12"/>
                <a:gd name="T71" fmla="*/ 0 h 57"/>
                <a:gd name="T72" fmla="*/ 12 w 12"/>
                <a:gd name="T73" fmla="*/ 0 h 57"/>
                <a:gd name="T74" fmla="*/ 12 w 12"/>
                <a:gd name="T75" fmla="*/ 0 h 57"/>
                <a:gd name="T76" fmla="*/ 12 w 12"/>
                <a:gd name="T7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57">
                  <a:moveTo>
                    <a:pt x="0" y="57"/>
                  </a:moveTo>
                  <a:lnTo>
                    <a:pt x="0" y="57"/>
                  </a:lnTo>
                  <a:lnTo>
                    <a:pt x="0" y="57"/>
                  </a:lnTo>
                  <a:lnTo>
                    <a:pt x="2" y="57"/>
                  </a:lnTo>
                  <a:lnTo>
                    <a:pt x="2" y="57"/>
                  </a:lnTo>
                  <a:lnTo>
                    <a:pt x="2" y="57"/>
                  </a:lnTo>
                  <a:lnTo>
                    <a:pt x="2" y="57"/>
                  </a:lnTo>
                  <a:lnTo>
                    <a:pt x="2" y="57"/>
                  </a:lnTo>
                  <a:lnTo>
                    <a:pt x="2"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close/>
                  <a:moveTo>
                    <a:pt x="12" y="0"/>
                  </a:moveTo>
                  <a:lnTo>
                    <a:pt x="12" y="0"/>
                  </a:lnTo>
                  <a:lnTo>
                    <a:pt x="9" y="0"/>
                  </a:lnTo>
                  <a:lnTo>
                    <a:pt x="9" y="0"/>
                  </a:lnTo>
                  <a:lnTo>
                    <a:pt x="12" y="0"/>
                  </a:lnTo>
                  <a:lnTo>
                    <a:pt x="9" y="0"/>
                  </a:lnTo>
                  <a:lnTo>
                    <a:pt x="12" y="0"/>
                  </a:lnTo>
                  <a:lnTo>
                    <a:pt x="12" y="0"/>
                  </a:lnTo>
                  <a:lnTo>
                    <a:pt x="12" y="0"/>
                  </a:lnTo>
                  <a:lnTo>
                    <a:pt x="12" y="0"/>
                  </a:lnTo>
                  <a:lnTo>
                    <a:pt x="12" y="0"/>
                  </a:lnTo>
                  <a:lnTo>
                    <a:pt x="12"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 name="Freeform 50274"/>
            <p:cNvSpPr>
              <a:spLocks noEditPoints="1"/>
            </p:cNvSpPr>
            <p:nvPr/>
          </p:nvSpPr>
          <p:spPr bwMode="auto">
            <a:xfrm>
              <a:off x="3041648" y="5308618"/>
              <a:ext cx="30163" cy="150814"/>
            </a:xfrm>
            <a:custGeom>
              <a:avLst/>
              <a:gdLst>
                <a:gd name="T0" fmla="*/ 19 w 19"/>
                <a:gd name="T1" fmla="*/ 95 h 95"/>
                <a:gd name="T2" fmla="*/ 19 w 19"/>
                <a:gd name="T3" fmla="*/ 95 h 95"/>
                <a:gd name="T4" fmla="*/ 19 w 19"/>
                <a:gd name="T5" fmla="*/ 95 h 95"/>
                <a:gd name="T6" fmla="*/ 19 w 19"/>
                <a:gd name="T7" fmla="*/ 95 h 95"/>
                <a:gd name="T8" fmla="*/ 19 w 19"/>
                <a:gd name="T9" fmla="*/ 95 h 95"/>
                <a:gd name="T10" fmla="*/ 19 w 19"/>
                <a:gd name="T11" fmla="*/ 95 h 95"/>
                <a:gd name="T12" fmla="*/ 19 w 19"/>
                <a:gd name="T13" fmla="*/ 95 h 95"/>
                <a:gd name="T14" fmla="*/ 8 w 19"/>
                <a:gd name="T15" fmla="*/ 2 h 95"/>
                <a:gd name="T16" fmla="*/ 8 w 19"/>
                <a:gd name="T17" fmla="*/ 5 h 95"/>
                <a:gd name="T18" fmla="*/ 8 w 19"/>
                <a:gd name="T19" fmla="*/ 2 h 95"/>
                <a:gd name="T20" fmla="*/ 8 w 19"/>
                <a:gd name="T21" fmla="*/ 2 h 95"/>
                <a:gd name="T22" fmla="*/ 8 w 19"/>
                <a:gd name="T23" fmla="*/ 2 h 95"/>
                <a:gd name="T24" fmla="*/ 0 w 19"/>
                <a:gd name="T25" fmla="*/ 0 h 95"/>
                <a:gd name="T26" fmla="*/ 0 w 19"/>
                <a:gd name="T27" fmla="*/ 0 h 95"/>
                <a:gd name="T28" fmla="*/ 0 w 19"/>
                <a:gd name="T29" fmla="*/ 0 h 95"/>
                <a:gd name="T30" fmla="*/ 0 w 19"/>
                <a:gd name="T31" fmla="*/ 0 h 95"/>
                <a:gd name="T32" fmla="*/ 3 w 19"/>
                <a:gd name="T33" fmla="*/ 0 h 95"/>
                <a:gd name="T34" fmla="*/ 3 w 19"/>
                <a:gd name="T35" fmla="*/ 0 h 95"/>
                <a:gd name="T36" fmla="*/ 3 w 19"/>
                <a:gd name="T37" fmla="*/ 0 h 95"/>
                <a:gd name="T38" fmla="*/ 3 w 19"/>
                <a:gd name="T39" fmla="*/ 0 h 95"/>
                <a:gd name="T40" fmla="*/ 3 w 19"/>
                <a:gd name="T41" fmla="*/ 0 h 95"/>
                <a:gd name="T42" fmla="*/ 3 w 19"/>
                <a:gd name="T43" fmla="*/ 0 h 95"/>
                <a:gd name="T44" fmla="*/ 3 w 1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95">
                  <a:moveTo>
                    <a:pt x="19" y="95"/>
                  </a:moveTo>
                  <a:lnTo>
                    <a:pt x="19" y="95"/>
                  </a:lnTo>
                  <a:lnTo>
                    <a:pt x="19" y="95"/>
                  </a:lnTo>
                  <a:lnTo>
                    <a:pt x="19" y="95"/>
                  </a:lnTo>
                  <a:lnTo>
                    <a:pt x="19" y="95"/>
                  </a:lnTo>
                  <a:lnTo>
                    <a:pt x="19" y="95"/>
                  </a:lnTo>
                  <a:lnTo>
                    <a:pt x="19" y="95"/>
                  </a:lnTo>
                  <a:close/>
                  <a:moveTo>
                    <a:pt x="8" y="2"/>
                  </a:moveTo>
                  <a:lnTo>
                    <a:pt x="8" y="5"/>
                  </a:lnTo>
                  <a:lnTo>
                    <a:pt x="8" y="2"/>
                  </a:lnTo>
                  <a:lnTo>
                    <a:pt x="8" y="2"/>
                  </a:lnTo>
                  <a:lnTo>
                    <a:pt x="8" y="2"/>
                  </a:lnTo>
                  <a:close/>
                  <a:moveTo>
                    <a:pt x="0" y="0"/>
                  </a:moveTo>
                  <a:lnTo>
                    <a:pt x="0" y="0"/>
                  </a:lnTo>
                  <a:lnTo>
                    <a:pt x="0" y="0"/>
                  </a:lnTo>
                  <a:lnTo>
                    <a:pt x="0" y="0"/>
                  </a:lnTo>
                  <a:close/>
                  <a:moveTo>
                    <a:pt x="3" y="0"/>
                  </a:move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 name="Freeform 50275"/>
            <p:cNvSpPr>
              <a:spLocks/>
            </p:cNvSpPr>
            <p:nvPr/>
          </p:nvSpPr>
          <p:spPr bwMode="auto">
            <a:xfrm>
              <a:off x="2100261" y="5251467"/>
              <a:ext cx="19050" cy="15875"/>
            </a:xfrm>
            <a:custGeom>
              <a:avLst/>
              <a:gdLst>
                <a:gd name="T0" fmla="*/ 12 w 12"/>
                <a:gd name="T1" fmla="*/ 3 h 10"/>
                <a:gd name="T2" fmla="*/ 12 w 12"/>
                <a:gd name="T3" fmla="*/ 3 h 10"/>
                <a:gd name="T4" fmla="*/ 12 w 12"/>
                <a:gd name="T5" fmla="*/ 3 h 10"/>
                <a:gd name="T6" fmla="*/ 12 w 12"/>
                <a:gd name="T7" fmla="*/ 5 h 10"/>
                <a:gd name="T8" fmla="*/ 10 w 12"/>
                <a:gd name="T9" fmla="*/ 5 h 10"/>
                <a:gd name="T10" fmla="*/ 10 w 12"/>
                <a:gd name="T11" fmla="*/ 7 h 10"/>
                <a:gd name="T12" fmla="*/ 10 w 12"/>
                <a:gd name="T13" fmla="*/ 7 h 10"/>
                <a:gd name="T14" fmla="*/ 10 w 12"/>
                <a:gd name="T15" fmla="*/ 5 h 10"/>
                <a:gd name="T16" fmla="*/ 10 w 12"/>
                <a:gd name="T17" fmla="*/ 7 h 10"/>
                <a:gd name="T18" fmla="*/ 10 w 12"/>
                <a:gd name="T19" fmla="*/ 7 h 10"/>
                <a:gd name="T20" fmla="*/ 7 w 12"/>
                <a:gd name="T21" fmla="*/ 7 h 10"/>
                <a:gd name="T22" fmla="*/ 7 w 12"/>
                <a:gd name="T23" fmla="*/ 7 h 10"/>
                <a:gd name="T24" fmla="*/ 5 w 12"/>
                <a:gd name="T25" fmla="*/ 10 h 10"/>
                <a:gd name="T26" fmla="*/ 5 w 12"/>
                <a:gd name="T27" fmla="*/ 7 h 10"/>
                <a:gd name="T28" fmla="*/ 5 w 12"/>
                <a:gd name="T29" fmla="*/ 10 h 10"/>
                <a:gd name="T30" fmla="*/ 5 w 12"/>
                <a:gd name="T31" fmla="*/ 10 h 10"/>
                <a:gd name="T32" fmla="*/ 3 w 12"/>
                <a:gd name="T33" fmla="*/ 10 h 10"/>
                <a:gd name="T34" fmla="*/ 3 w 12"/>
                <a:gd name="T35" fmla="*/ 10 h 10"/>
                <a:gd name="T36" fmla="*/ 0 w 12"/>
                <a:gd name="T37" fmla="*/ 7 h 10"/>
                <a:gd name="T38" fmla="*/ 0 w 12"/>
                <a:gd name="T39" fmla="*/ 7 h 10"/>
                <a:gd name="T40" fmla="*/ 0 w 12"/>
                <a:gd name="T41" fmla="*/ 7 h 10"/>
                <a:gd name="T42" fmla="*/ 0 w 12"/>
                <a:gd name="T43" fmla="*/ 7 h 10"/>
                <a:gd name="T44" fmla="*/ 0 w 12"/>
                <a:gd name="T45" fmla="*/ 7 h 10"/>
                <a:gd name="T46" fmla="*/ 3 w 12"/>
                <a:gd name="T47" fmla="*/ 5 h 10"/>
                <a:gd name="T48" fmla="*/ 3 w 12"/>
                <a:gd name="T49" fmla="*/ 5 h 10"/>
                <a:gd name="T50" fmla="*/ 3 w 12"/>
                <a:gd name="T51" fmla="*/ 5 h 10"/>
                <a:gd name="T52" fmla="*/ 3 w 12"/>
                <a:gd name="T53" fmla="*/ 5 h 10"/>
                <a:gd name="T54" fmla="*/ 0 w 12"/>
                <a:gd name="T55" fmla="*/ 5 h 10"/>
                <a:gd name="T56" fmla="*/ 0 w 12"/>
                <a:gd name="T57" fmla="*/ 3 h 10"/>
                <a:gd name="T58" fmla="*/ 3 w 12"/>
                <a:gd name="T59" fmla="*/ 3 h 10"/>
                <a:gd name="T60" fmla="*/ 0 w 12"/>
                <a:gd name="T61" fmla="*/ 3 h 10"/>
                <a:gd name="T62" fmla="*/ 0 w 12"/>
                <a:gd name="T63" fmla="*/ 3 h 10"/>
                <a:gd name="T64" fmla="*/ 0 w 12"/>
                <a:gd name="T65" fmla="*/ 3 h 10"/>
                <a:gd name="T66" fmla="*/ 0 w 12"/>
                <a:gd name="T67" fmla="*/ 3 h 10"/>
                <a:gd name="T68" fmla="*/ 3 w 12"/>
                <a:gd name="T69" fmla="*/ 3 h 10"/>
                <a:gd name="T70" fmla="*/ 3 w 12"/>
                <a:gd name="T71" fmla="*/ 0 h 10"/>
                <a:gd name="T72" fmla="*/ 3 w 12"/>
                <a:gd name="T73" fmla="*/ 0 h 10"/>
                <a:gd name="T74" fmla="*/ 3 w 12"/>
                <a:gd name="T75" fmla="*/ 0 h 10"/>
                <a:gd name="T76" fmla="*/ 5 w 12"/>
                <a:gd name="T77" fmla="*/ 0 h 10"/>
                <a:gd name="T78" fmla="*/ 5 w 12"/>
                <a:gd name="T79" fmla="*/ 0 h 10"/>
                <a:gd name="T80" fmla="*/ 5 w 12"/>
                <a:gd name="T81" fmla="*/ 0 h 10"/>
                <a:gd name="T82" fmla="*/ 5 w 12"/>
                <a:gd name="T83" fmla="*/ 0 h 10"/>
                <a:gd name="T84" fmla="*/ 7 w 12"/>
                <a:gd name="T85" fmla="*/ 0 h 10"/>
                <a:gd name="T86" fmla="*/ 7 w 12"/>
                <a:gd name="T87" fmla="*/ 0 h 10"/>
                <a:gd name="T88" fmla="*/ 7 w 12"/>
                <a:gd name="T89" fmla="*/ 0 h 10"/>
                <a:gd name="T90" fmla="*/ 10 w 12"/>
                <a:gd name="T91" fmla="*/ 0 h 10"/>
                <a:gd name="T92" fmla="*/ 10 w 12"/>
                <a:gd name="T93" fmla="*/ 0 h 10"/>
                <a:gd name="T94" fmla="*/ 10 w 12"/>
                <a:gd name="T95" fmla="*/ 0 h 10"/>
                <a:gd name="T96" fmla="*/ 10 w 12"/>
                <a:gd name="T97" fmla="*/ 0 h 10"/>
                <a:gd name="T98" fmla="*/ 12 w 12"/>
                <a:gd name="T99" fmla="*/ 0 h 10"/>
                <a:gd name="T100" fmla="*/ 12 w 12"/>
                <a:gd name="T101" fmla="*/ 3 h 10"/>
                <a:gd name="T102" fmla="*/ 10 w 12"/>
                <a:gd name="T103" fmla="*/ 3 h 10"/>
                <a:gd name="T104" fmla="*/ 10 w 12"/>
                <a:gd name="T105" fmla="*/ 3 h 10"/>
                <a:gd name="T106" fmla="*/ 12 w 12"/>
                <a:gd name="T107" fmla="*/ 3 h 10"/>
                <a:gd name="T108" fmla="*/ 12 w 12"/>
                <a:gd name="T109" fmla="*/ 3 h 10"/>
                <a:gd name="T110" fmla="*/ 12 w 12"/>
                <a:gd name="T11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 h="10">
                  <a:moveTo>
                    <a:pt x="12" y="3"/>
                  </a:moveTo>
                  <a:lnTo>
                    <a:pt x="12" y="3"/>
                  </a:lnTo>
                  <a:lnTo>
                    <a:pt x="12" y="3"/>
                  </a:lnTo>
                  <a:lnTo>
                    <a:pt x="12" y="3"/>
                  </a:lnTo>
                  <a:lnTo>
                    <a:pt x="12" y="3"/>
                  </a:lnTo>
                  <a:lnTo>
                    <a:pt x="12" y="3"/>
                  </a:lnTo>
                  <a:lnTo>
                    <a:pt x="12" y="5"/>
                  </a:lnTo>
                  <a:lnTo>
                    <a:pt x="12" y="5"/>
                  </a:lnTo>
                  <a:lnTo>
                    <a:pt x="12" y="5"/>
                  </a:lnTo>
                  <a:lnTo>
                    <a:pt x="10" y="5"/>
                  </a:lnTo>
                  <a:lnTo>
                    <a:pt x="10" y="7"/>
                  </a:lnTo>
                  <a:lnTo>
                    <a:pt x="10" y="7"/>
                  </a:lnTo>
                  <a:lnTo>
                    <a:pt x="10" y="7"/>
                  </a:lnTo>
                  <a:lnTo>
                    <a:pt x="10" y="7"/>
                  </a:lnTo>
                  <a:lnTo>
                    <a:pt x="10" y="7"/>
                  </a:lnTo>
                  <a:lnTo>
                    <a:pt x="10" y="5"/>
                  </a:lnTo>
                  <a:lnTo>
                    <a:pt x="10" y="5"/>
                  </a:lnTo>
                  <a:lnTo>
                    <a:pt x="10" y="7"/>
                  </a:lnTo>
                  <a:lnTo>
                    <a:pt x="10" y="7"/>
                  </a:lnTo>
                  <a:lnTo>
                    <a:pt x="10" y="7"/>
                  </a:lnTo>
                  <a:lnTo>
                    <a:pt x="7" y="7"/>
                  </a:lnTo>
                  <a:lnTo>
                    <a:pt x="7" y="7"/>
                  </a:lnTo>
                  <a:lnTo>
                    <a:pt x="7" y="7"/>
                  </a:lnTo>
                  <a:lnTo>
                    <a:pt x="7" y="7"/>
                  </a:lnTo>
                  <a:lnTo>
                    <a:pt x="5" y="7"/>
                  </a:lnTo>
                  <a:lnTo>
                    <a:pt x="5" y="10"/>
                  </a:lnTo>
                  <a:lnTo>
                    <a:pt x="5" y="7"/>
                  </a:lnTo>
                  <a:lnTo>
                    <a:pt x="5" y="7"/>
                  </a:lnTo>
                  <a:lnTo>
                    <a:pt x="5" y="10"/>
                  </a:lnTo>
                  <a:lnTo>
                    <a:pt x="5" y="10"/>
                  </a:lnTo>
                  <a:lnTo>
                    <a:pt x="5" y="10"/>
                  </a:lnTo>
                  <a:lnTo>
                    <a:pt x="5" y="10"/>
                  </a:lnTo>
                  <a:lnTo>
                    <a:pt x="3" y="10"/>
                  </a:lnTo>
                  <a:lnTo>
                    <a:pt x="3" y="10"/>
                  </a:lnTo>
                  <a:lnTo>
                    <a:pt x="3" y="10"/>
                  </a:lnTo>
                  <a:lnTo>
                    <a:pt x="3" y="10"/>
                  </a:lnTo>
                  <a:lnTo>
                    <a:pt x="3" y="10"/>
                  </a:lnTo>
                  <a:lnTo>
                    <a:pt x="0" y="7"/>
                  </a:lnTo>
                  <a:lnTo>
                    <a:pt x="0" y="7"/>
                  </a:lnTo>
                  <a:lnTo>
                    <a:pt x="0" y="7"/>
                  </a:lnTo>
                  <a:lnTo>
                    <a:pt x="0" y="7"/>
                  </a:lnTo>
                  <a:lnTo>
                    <a:pt x="0" y="7"/>
                  </a:lnTo>
                  <a:lnTo>
                    <a:pt x="0" y="7"/>
                  </a:lnTo>
                  <a:lnTo>
                    <a:pt x="0" y="7"/>
                  </a:lnTo>
                  <a:lnTo>
                    <a:pt x="0" y="7"/>
                  </a:lnTo>
                  <a:lnTo>
                    <a:pt x="0" y="7"/>
                  </a:lnTo>
                  <a:lnTo>
                    <a:pt x="3" y="5"/>
                  </a:lnTo>
                  <a:lnTo>
                    <a:pt x="3" y="5"/>
                  </a:lnTo>
                  <a:lnTo>
                    <a:pt x="3" y="5"/>
                  </a:lnTo>
                  <a:lnTo>
                    <a:pt x="3" y="5"/>
                  </a:lnTo>
                  <a:lnTo>
                    <a:pt x="3" y="5"/>
                  </a:lnTo>
                  <a:lnTo>
                    <a:pt x="3" y="5"/>
                  </a:lnTo>
                  <a:lnTo>
                    <a:pt x="3" y="5"/>
                  </a:lnTo>
                  <a:lnTo>
                    <a:pt x="3" y="5"/>
                  </a:lnTo>
                  <a:lnTo>
                    <a:pt x="0" y="5"/>
                  </a:lnTo>
                  <a:lnTo>
                    <a:pt x="0" y="5"/>
                  </a:lnTo>
                  <a:lnTo>
                    <a:pt x="0" y="5"/>
                  </a:lnTo>
                  <a:lnTo>
                    <a:pt x="0" y="3"/>
                  </a:lnTo>
                  <a:lnTo>
                    <a:pt x="0" y="3"/>
                  </a:lnTo>
                  <a:lnTo>
                    <a:pt x="3" y="3"/>
                  </a:lnTo>
                  <a:lnTo>
                    <a:pt x="0" y="3"/>
                  </a:lnTo>
                  <a:lnTo>
                    <a:pt x="0" y="3"/>
                  </a:lnTo>
                  <a:lnTo>
                    <a:pt x="0" y="3"/>
                  </a:lnTo>
                  <a:lnTo>
                    <a:pt x="0" y="3"/>
                  </a:lnTo>
                  <a:lnTo>
                    <a:pt x="0" y="3"/>
                  </a:lnTo>
                  <a:lnTo>
                    <a:pt x="0" y="3"/>
                  </a:lnTo>
                  <a:lnTo>
                    <a:pt x="0" y="3"/>
                  </a:lnTo>
                  <a:lnTo>
                    <a:pt x="0" y="3"/>
                  </a:lnTo>
                  <a:lnTo>
                    <a:pt x="3" y="3"/>
                  </a:lnTo>
                  <a:lnTo>
                    <a:pt x="3" y="3"/>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5" y="0"/>
                  </a:lnTo>
                  <a:lnTo>
                    <a:pt x="5" y="0"/>
                  </a:lnTo>
                  <a:lnTo>
                    <a:pt x="7" y="0"/>
                  </a:lnTo>
                  <a:lnTo>
                    <a:pt x="7" y="0"/>
                  </a:lnTo>
                  <a:lnTo>
                    <a:pt x="7" y="0"/>
                  </a:lnTo>
                  <a:lnTo>
                    <a:pt x="7" y="0"/>
                  </a:lnTo>
                  <a:lnTo>
                    <a:pt x="7" y="0"/>
                  </a:lnTo>
                  <a:lnTo>
                    <a:pt x="7" y="0"/>
                  </a:lnTo>
                  <a:lnTo>
                    <a:pt x="7" y="0"/>
                  </a:lnTo>
                  <a:lnTo>
                    <a:pt x="10" y="0"/>
                  </a:lnTo>
                  <a:lnTo>
                    <a:pt x="10" y="0"/>
                  </a:lnTo>
                  <a:lnTo>
                    <a:pt x="10" y="0"/>
                  </a:lnTo>
                  <a:lnTo>
                    <a:pt x="10" y="0"/>
                  </a:lnTo>
                  <a:lnTo>
                    <a:pt x="10" y="0"/>
                  </a:lnTo>
                  <a:lnTo>
                    <a:pt x="10" y="0"/>
                  </a:lnTo>
                  <a:lnTo>
                    <a:pt x="10" y="0"/>
                  </a:lnTo>
                  <a:lnTo>
                    <a:pt x="12" y="0"/>
                  </a:lnTo>
                  <a:lnTo>
                    <a:pt x="12" y="0"/>
                  </a:lnTo>
                  <a:lnTo>
                    <a:pt x="12" y="0"/>
                  </a:lnTo>
                  <a:lnTo>
                    <a:pt x="12" y="3"/>
                  </a:lnTo>
                  <a:lnTo>
                    <a:pt x="10" y="3"/>
                  </a:lnTo>
                  <a:lnTo>
                    <a:pt x="10" y="3"/>
                  </a:lnTo>
                  <a:lnTo>
                    <a:pt x="10" y="3"/>
                  </a:lnTo>
                  <a:lnTo>
                    <a:pt x="10" y="3"/>
                  </a:lnTo>
                  <a:lnTo>
                    <a:pt x="12" y="3"/>
                  </a:lnTo>
                  <a:lnTo>
                    <a:pt x="12" y="3"/>
                  </a:lnTo>
                  <a:lnTo>
                    <a:pt x="12" y="3"/>
                  </a:lnTo>
                  <a:lnTo>
                    <a:pt x="12" y="3"/>
                  </a:lnTo>
                  <a:lnTo>
                    <a:pt x="12" y="3"/>
                  </a:lnTo>
                  <a:lnTo>
                    <a:pt x="12"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 name="Freeform 50276"/>
            <p:cNvSpPr>
              <a:spLocks/>
            </p:cNvSpPr>
            <p:nvPr/>
          </p:nvSpPr>
          <p:spPr bwMode="auto">
            <a:xfrm>
              <a:off x="2525711" y="4776804"/>
              <a:ext cx="400050" cy="200025"/>
            </a:xfrm>
            <a:custGeom>
              <a:avLst/>
              <a:gdLst>
                <a:gd name="T0" fmla="*/ 193 w 252"/>
                <a:gd name="T1" fmla="*/ 0 h 126"/>
                <a:gd name="T2" fmla="*/ 204 w 252"/>
                <a:gd name="T3" fmla="*/ 7 h 126"/>
                <a:gd name="T4" fmla="*/ 216 w 252"/>
                <a:gd name="T5" fmla="*/ 12 h 126"/>
                <a:gd name="T6" fmla="*/ 228 w 252"/>
                <a:gd name="T7" fmla="*/ 10 h 126"/>
                <a:gd name="T8" fmla="*/ 242 w 252"/>
                <a:gd name="T9" fmla="*/ 14 h 126"/>
                <a:gd name="T10" fmla="*/ 242 w 252"/>
                <a:gd name="T11" fmla="*/ 26 h 126"/>
                <a:gd name="T12" fmla="*/ 242 w 252"/>
                <a:gd name="T13" fmla="*/ 33 h 126"/>
                <a:gd name="T14" fmla="*/ 250 w 252"/>
                <a:gd name="T15" fmla="*/ 48 h 126"/>
                <a:gd name="T16" fmla="*/ 247 w 252"/>
                <a:gd name="T17" fmla="*/ 57 h 126"/>
                <a:gd name="T18" fmla="*/ 240 w 252"/>
                <a:gd name="T19" fmla="*/ 64 h 126"/>
                <a:gd name="T20" fmla="*/ 228 w 252"/>
                <a:gd name="T21" fmla="*/ 62 h 126"/>
                <a:gd name="T22" fmla="*/ 238 w 252"/>
                <a:gd name="T23" fmla="*/ 69 h 126"/>
                <a:gd name="T24" fmla="*/ 228 w 252"/>
                <a:gd name="T25" fmla="*/ 78 h 126"/>
                <a:gd name="T26" fmla="*/ 231 w 252"/>
                <a:gd name="T27" fmla="*/ 88 h 126"/>
                <a:gd name="T28" fmla="*/ 228 w 252"/>
                <a:gd name="T29" fmla="*/ 95 h 126"/>
                <a:gd name="T30" fmla="*/ 221 w 252"/>
                <a:gd name="T31" fmla="*/ 97 h 126"/>
                <a:gd name="T32" fmla="*/ 214 w 252"/>
                <a:gd name="T33" fmla="*/ 105 h 126"/>
                <a:gd name="T34" fmla="*/ 207 w 252"/>
                <a:gd name="T35" fmla="*/ 109 h 126"/>
                <a:gd name="T36" fmla="*/ 193 w 252"/>
                <a:gd name="T37" fmla="*/ 112 h 126"/>
                <a:gd name="T38" fmla="*/ 176 w 252"/>
                <a:gd name="T39" fmla="*/ 114 h 126"/>
                <a:gd name="T40" fmla="*/ 166 w 252"/>
                <a:gd name="T41" fmla="*/ 124 h 126"/>
                <a:gd name="T42" fmla="*/ 157 w 252"/>
                <a:gd name="T43" fmla="*/ 124 h 126"/>
                <a:gd name="T44" fmla="*/ 148 w 252"/>
                <a:gd name="T45" fmla="*/ 119 h 126"/>
                <a:gd name="T46" fmla="*/ 136 w 252"/>
                <a:gd name="T47" fmla="*/ 116 h 126"/>
                <a:gd name="T48" fmla="*/ 117 w 252"/>
                <a:gd name="T49" fmla="*/ 114 h 126"/>
                <a:gd name="T50" fmla="*/ 100 w 252"/>
                <a:gd name="T51" fmla="*/ 112 h 126"/>
                <a:gd name="T52" fmla="*/ 91 w 252"/>
                <a:gd name="T53" fmla="*/ 100 h 126"/>
                <a:gd name="T54" fmla="*/ 86 w 252"/>
                <a:gd name="T55" fmla="*/ 95 h 126"/>
                <a:gd name="T56" fmla="*/ 81 w 252"/>
                <a:gd name="T57" fmla="*/ 93 h 126"/>
                <a:gd name="T58" fmla="*/ 67 w 252"/>
                <a:gd name="T59" fmla="*/ 95 h 126"/>
                <a:gd name="T60" fmla="*/ 57 w 252"/>
                <a:gd name="T61" fmla="*/ 97 h 126"/>
                <a:gd name="T62" fmla="*/ 45 w 252"/>
                <a:gd name="T63" fmla="*/ 107 h 126"/>
                <a:gd name="T64" fmla="*/ 31 w 252"/>
                <a:gd name="T65" fmla="*/ 102 h 126"/>
                <a:gd name="T66" fmla="*/ 24 w 252"/>
                <a:gd name="T67" fmla="*/ 100 h 126"/>
                <a:gd name="T68" fmla="*/ 12 w 252"/>
                <a:gd name="T69" fmla="*/ 97 h 126"/>
                <a:gd name="T70" fmla="*/ 0 w 252"/>
                <a:gd name="T71" fmla="*/ 88 h 126"/>
                <a:gd name="T72" fmla="*/ 5 w 252"/>
                <a:gd name="T73" fmla="*/ 78 h 126"/>
                <a:gd name="T74" fmla="*/ 5 w 252"/>
                <a:gd name="T75" fmla="*/ 71 h 126"/>
                <a:gd name="T76" fmla="*/ 12 w 252"/>
                <a:gd name="T77" fmla="*/ 69 h 126"/>
                <a:gd name="T78" fmla="*/ 17 w 252"/>
                <a:gd name="T79" fmla="*/ 74 h 126"/>
                <a:gd name="T80" fmla="*/ 22 w 252"/>
                <a:gd name="T81" fmla="*/ 78 h 126"/>
                <a:gd name="T82" fmla="*/ 26 w 252"/>
                <a:gd name="T83" fmla="*/ 78 h 126"/>
                <a:gd name="T84" fmla="*/ 31 w 252"/>
                <a:gd name="T85" fmla="*/ 71 h 126"/>
                <a:gd name="T86" fmla="*/ 36 w 252"/>
                <a:gd name="T87" fmla="*/ 69 h 126"/>
                <a:gd name="T88" fmla="*/ 43 w 252"/>
                <a:gd name="T89" fmla="*/ 74 h 126"/>
                <a:gd name="T90" fmla="*/ 55 w 252"/>
                <a:gd name="T91" fmla="*/ 76 h 126"/>
                <a:gd name="T92" fmla="*/ 67 w 252"/>
                <a:gd name="T93" fmla="*/ 69 h 126"/>
                <a:gd name="T94" fmla="*/ 76 w 252"/>
                <a:gd name="T95" fmla="*/ 67 h 126"/>
                <a:gd name="T96" fmla="*/ 91 w 252"/>
                <a:gd name="T97" fmla="*/ 59 h 126"/>
                <a:gd name="T98" fmla="*/ 98 w 252"/>
                <a:gd name="T99" fmla="*/ 64 h 126"/>
                <a:gd name="T100" fmla="*/ 110 w 252"/>
                <a:gd name="T101" fmla="*/ 67 h 126"/>
                <a:gd name="T102" fmla="*/ 117 w 252"/>
                <a:gd name="T103" fmla="*/ 74 h 126"/>
                <a:gd name="T104" fmla="*/ 112 w 252"/>
                <a:gd name="T105" fmla="*/ 59 h 126"/>
                <a:gd name="T106" fmla="*/ 110 w 252"/>
                <a:gd name="T107" fmla="*/ 48 h 126"/>
                <a:gd name="T108" fmla="*/ 114 w 252"/>
                <a:gd name="T109" fmla="*/ 36 h 126"/>
                <a:gd name="T110" fmla="*/ 129 w 252"/>
                <a:gd name="T111" fmla="*/ 31 h 126"/>
                <a:gd name="T112" fmla="*/ 136 w 252"/>
                <a:gd name="T113" fmla="*/ 21 h 126"/>
                <a:gd name="T114" fmla="*/ 143 w 252"/>
                <a:gd name="T115" fmla="*/ 17 h 126"/>
                <a:gd name="T116" fmla="*/ 145 w 252"/>
                <a:gd name="T117" fmla="*/ 12 h 126"/>
                <a:gd name="T118" fmla="*/ 155 w 252"/>
                <a:gd name="T119" fmla="*/ 21 h 126"/>
                <a:gd name="T120" fmla="*/ 166 w 252"/>
                <a:gd name="T121" fmla="*/ 19 h 126"/>
                <a:gd name="T122" fmla="*/ 176 w 252"/>
                <a:gd name="T123" fmla="*/ 10 h 126"/>
                <a:gd name="T124" fmla="*/ 181 w 252"/>
                <a:gd name="T125"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2" h="126">
                  <a:moveTo>
                    <a:pt x="181" y="0"/>
                  </a:moveTo>
                  <a:lnTo>
                    <a:pt x="183" y="0"/>
                  </a:lnTo>
                  <a:lnTo>
                    <a:pt x="185" y="0"/>
                  </a:lnTo>
                  <a:lnTo>
                    <a:pt x="185" y="2"/>
                  </a:lnTo>
                  <a:lnTo>
                    <a:pt x="188" y="2"/>
                  </a:lnTo>
                  <a:lnTo>
                    <a:pt x="190" y="2"/>
                  </a:lnTo>
                  <a:lnTo>
                    <a:pt x="190" y="0"/>
                  </a:lnTo>
                  <a:lnTo>
                    <a:pt x="193" y="0"/>
                  </a:lnTo>
                  <a:lnTo>
                    <a:pt x="193" y="2"/>
                  </a:lnTo>
                  <a:lnTo>
                    <a:pt x="195" y="2"/>
                  </a:lnTo>
                  <a:lnTo>
                    <a:pt x="197" y="2"/>
                  </a:lnTo>
                  <a:lnTo>
                    <a:pt x="197" y="5"/>
                  </a:lnTo>
                  <a:lnTo>
                    <a:pt x="200" y="5"/>
                  </a:lnTo>
                  <a:lnTo>
                    <a:pt x="202" y="5"/>
                  </a:lnTo>
                  <a:lnTo>
                    <a:pt x="202" y="7"/>
                  </a:lnTo>
                  <a:lnTo>
                    <a:pt x="204" y="7"/>
                  </a:lnTo>
                  <a:lnTo>
                    <a:pt x="207" y="7"/>
                  </a:lnTo>
                  <a:lnTo>
                    <a:pt x="209" y="7"/>
                  </a:lnTo>
                  <a:lnTo>
                    <a:pt x="212" y="7"/>
                  </a:lnTo>
                  <a:lnTo>
                    <a:pt x="209" y="7"/>
                  </a:lnTo>
                  <a:lnTo>
                    <a:pt x="212" y="7"/>
                  </a:lnTo>
                  <a:lnTo>
                    <a:pt x="212" y="10"/>
                  </a:lnTo>
                  <a:lnTo>
                    <a:pt x="214" y="12"/>
                  </a:lnTo>
                  <a:lnTo>
                    <a:pt x="216" y="12"/>
                  </a:lnTo>
                  <a:lnTo>
                    <a:pt x="219" y="12"/>
                  </a:lnTo>
                  <a:lnTo>
                    <a:pt x="221" y="12"/>
                  </a:lnTo>
                  <a:lnTo>
                    <a:pt x="223" y="12"/>
                  </a:lnTo>
                  <a:lnTo>
                    <a:pt x="226" y="12"/>
                  </a:lnTo>
                  <a:lnTo>
                    <a:pt x="226" y="14"/>
                  </a:lnTo>
                  <a:lnTo>
                    <a:pt x="226" y="12"/>
                  </a:lnTo>
                  <a:lnTo>
                    <a:pt x="228" y="12"/>
                  </a:lnTo>
                  <a:lnTo>
                    <a:pt x="228" y="10"/>
                  </a:lnTo>
                  <a:lnTo>
                    <a:pt x="231" y="10"/>
                  </a:lnTo>
                  <a:lnTo>
                    <a:pt x="233" y="10"/>
                  </a:lnTo>
                  <a:lnTo>
                    <a:pt x="235" y="10"/>
                  </a:lnTo>
                  <a:lnTo>
                    <a:pt x="235" y="12"/>
                  </a:lnTo>
                  <a:lnTo>
                    <a:pt x="238" y="12"/>
                  </a:lnTo>
                  <a:lnTo>
                    <a:pt x="238" y="14"/>
                  </a:lnTo>
                  <a:lnTo>
                    <a:pt x="240" y="14"/>
                  </a:lnTo>
                  <a:lnTo>
                    <a:pt x="242" y="14"/>
                  </a:lnTo>
                  <a:lnTo>
                    <a:pt x="245" y="14"/>
                  </a:lnTo>
                  <a:lnTo>
                    <a:pt x="242" y="17"/>
                  </a:lnTo>
                  <a:lnTo>
                    <a:pt x="245" y="17"/>
                  </a:lnTo>
                  <a:lnTo>
                    <a:pt x="245" y="19"/>
                  </a:lnTo>
                  <a:lnTo>
                    <a:pt x="245" y="21"/>
                  </a:lnTo>
                  <a:lnTo>
                    <a:pt x="245" y="24"/>
                  </a:lnTo>
                  <a:lnTo>
                    <a:pt x="242" y="24"/>
                  </a:lnTo>
                  <a:lnTo>
                    <a:pt x="242" y="26"/>
                  </a:lnTo>
                  <a:lnTo>
                    <a:pt x="242" y="29"/>
                  </a:lnTo>
                  <a:lnTo>
                    <a:pt x="242" y="31"/>
                  </a:lnTo>
                  <a:lnTo>
                    <a:pt x="240" y="29"/>
                  </a:lnTo>
                  <a:lnTo>
                    <a:pt x="240" y="31"/>
                  </a:lnTo>
                  <a:lnTo>
                    <a:pt x="242" y="31"/>
                  </a:lnTo>
                  <a:lnTo>
                    <a:pt x="240" y="31"/>
                  </a:lnTo>
                  <a:lnTo>
                    <a:pt x="242" y="31"/>
                  </a:lnTo>
                  <a:lnTo>
                    <a:pt x="242" y="33"/>
                  </a:lnTo>
                  <a:lnTo>
                    <a:pt x="245" y="36"/>
                  </a:lnTo>
                  <a:lnTo>
                    <a:pt x="245" y="38"/>
                  </a:lnTo>
                  <a:lnTo>
                    <a:pt x="245" y="40"/>
                  </a:lnTo>
                  <a:lnTo>
                    <a:pt x="247" y="40"/>
                  </a:lnTo>
                  <a:lnTo>
                    <a:pt x="250" y="40"/>
                  </a:lnTo>
                  <a:lnTo>
                    <a:pt x="250" y="43"/>
                  </a:lnTo>
                  <a:lnTo>
                    <a:pt x="250" y="45"/>
                  </a:lnTo>
                  <a:lnTo>
                    <a:pt x="250" y="48"/>
                  </a:lnTo>
                  <a:lnTo>
                    <a:pt x="252" y="48"/>
                  </a:lnTo>
                  <a:lnTo>
                    <a:pt x="250" y="50"/>
                  </a:lnTo>
                  <a:lnTo>
                    <a:pt x="250" y="52"/>
                  </a:lnTo>
                  <a:lnTo>
                    <a:pt x="250" y="55"/>
                  </a:lnTo>
                  <a:lnTo>
                    <a:pt x="247" y="55"/>
                  </a:lnTo>
                  <a:lnTo>
                    <a:pt x="247" y="57"/>
                  </a:lnTo>
                  <a:lnTo>
                    <a:pt x="250" y="57"/>
                  </a:lnTo>
                  <a:lnTo>
                    <a:pt x="247" y="57"/>
                  </a:lnTo>
                  <a:lnTo>
                    <a:pt x="250" y="59"/>
                  </a:lnTo>
                  <a:lnTo>
                    <a:pt x="250" y="62"/>
                  </a:lnTo>
                  <a:lnTo>
                    <a:pt x="247" y="62"/>
                  </a:lnTo>
                  <a:lnTo>
                    <a:pt x="245" y="62"/>
                  </a:lnTo>
                  <a:lnTo>
                    <a:pt x="245" y="64"/>
                  </a:lnTo>
                  <a:lnTo>
                    <a:pt x="242" y="62"/>
                  </a:lnTo>
                  <a:lnTo>
                    <a:pt x="240" y="62"/>
                  </a:lnTo>
                  <a:lnTo>
                    <a:pt x="240" y="64"/>
                  </a:lnTo>
                  <a:lnTo>
                    <a:pt x="238" y="64"/>
                  </a:lnTo>
                  <a:lnTo>
                    <a:pt x="238" y="62"/>
                  </a:lnTo>
                  <a:lnTo>
                    <a:pt x="238" y="59"/>
                  </a:lnTo>
                  <a:lnTo>
                    <a:pt x="235" y="59"/>
                  </a:lnTo>
                  <a:lnTo>
                    <a:pt x="233" y="59"/>
                  </a:lnTo>
                  <a:lnTo>
                    <a:pt x="231" y="59"/>
                  </a:lnTo>
                  <a:lnTo>
                    <a:pt x="231" y="62"/>
                  </a:lnTo>
                  <a:lnTo>
                    <a:pt x="228" y="62"/>
                  </a:lnTo>
                  <a:lnTo>
                    <a:pt x="228" y="64"/>
                  </a:lnTo>
                  <a:lnTo>
                    <a:pt x="228" y="62"/>
                  </a:lnTo>
                  <a:lnTo>
                    <a:pt x="228" y="64"/>
                  </a:lnTo>
                  <a:lnTo>
                    <a:pt x="231" y="64"/>
                  </a:lnTo>
                  <a:lnTo>
                    <a:pt x="233" y="67"/>
                  </a:lnTo>
                  <a:lnTo>
                    <a:pt x="235" y="67"/>
                  </a:lnTo>
                  <a:lnTo>
                    <a:pt x="235" y="69"/>
                  </a:lnTo>
                  <a:lnTo>
                    <a:pt x="238" y="69"/>
                  </a:lnTo>
                  <a:lnTo>
                    <a:pt x="238" y="71"/>
                  </a:lnTo>
                  <a:lnTo>
                    <a:pt x="235" y="71"/>
                  </a:lnTo>
                  <a:lnTo>
                    <a:pt x="235" y="74"/>
                  </a:lnTo>
                  <a:lnTo>
                    <a:pt x="235" y="76"/>
                  </a:lnTo>
                  <a:lnTo>
                    <a:pt x="233" y="76"/>
                  </a:lnTo>
                  <a:lnTo>
                    <a:pt x="231" y="76"/>
                  </a:lnTo>
                  <a:lnTo>
                    <a:pt x="228" y="76"/>
                  </a:lnTo>
                  <a:lnTo>
                    <a:pt x="228" y="78"/>
                  </a:lnTo>
                  <a:lnTo>
                    <a:pt x="228" y="81"/>
                  </a:lnTo>
                  <a:lnTo>
                    <a:pt x="231" y="83"/>
                  </a:lnTo>
                  <a:lnTo>
                    <a:pt x="228" y="83"/>
                  </a:lnTo>
                  <a:lnTo>
                    <a:pt x="228" y="86"/>
                  </a:lnTo>
                  <a:lnTo>
                    <a:pt x="228" y="88"/>
                  </a:lnTo>
                  <a:lnTo>
                    <a:pt x="228" y="86"/>
                  </a:lnTo>
                  <a:lnTo>
                    <a:pt x="228" y="88"/>
                  </a:lnTo>
                  <a:lnTo>
                    <a:pt x="231" y="88"/>
                  </a:lnTo>
                  <a:lnTo>
                    <a:pt x="231" y="90"/>
                  </a:lnTo>
                  <a:lnTo>
                    <a:pt x="228" y="90"/>
                  </a:lnTo>
                  <a:lnTo>
                    <a:pt x="228" y="93"/>
                  </a:lnTo>
                  <a:lnTo>
                    <a:pt x="231" y="93"/>
                  </a:lnTo>
                  <a:lnTo>
                    <a:pt x="228" y="93"/>
                  </a:lnTo>
                  <a:lnTo>
                    <a:pt x="228" y="95"/>
                  </a:lnTo>
                  <a:lnTo>
                    <a:pt x="231" y="95"/>
                  </a:lnTo>
                  <a:lnTo>
                    <a:pt x="228" y="95"/>
                  </a:lnTo>
                  <a:lnTo>
                    <a:pt x="226" y="95"/>
                  </a:lnTo>
                  <a:lnTo>
                    <a:pt x="223" y="95"/>
                  </a:lnTo>
                  <a:lnTo>
                    <a:pt x="223" y="97"/>
                  </a:lnTo>
                  <a:lnTo>
                    <a:pt x="221" y="97"/>
                  </a:lnTo>
                  <a:lnTo>
                    <a:pt x="221" y="100"/>
                  </a:lnTo>
                  <a:lnTo>
                    <a:pt x="221" y="97"/>
                  </a:lnTo>
                  <a:lnTo>
                    <a:pt x="221" y="100"/>
                  </a:lnTo>
                  <a:lnTo>
                    <a:pt x="221" y="97"/>
                  </a:lnTo>
                  <a:lnTo>
                    <a:pt x="221" y="100"/>
                  </a:lnTo>
                  <a:lnTo>
                    <a:pt x="221" y="97"/>
                  </a:lnTo>
                  <a:lnTo>
                    <a:pt x="221" y="100"/>
                  </a:lnTo>
                  <a:lnTo>
                    <a:pt x="219" y="100"/>
                  </a:lnTo>
                  <a:lnTo>
                    <a:pt x="219" y="102"/>
                  </a:lnTo>
                  <a:lnTo>
                    <a:pt x="216" y="102"/>
                  </a:lnTo>
                  <a:lnTo>
                    <a:pt x="214" y="102"/>
                  </a:lnTo>
                  <a:lnTo>
                    <a:pt x="214" y="105"/>
                  </a:lnTo>
                  <a:lnTo>
                    <a:pt x="214" y="102"/>
                  </a:lnTo>
                  <a:lnTo>
                    <a:pt x="214" y="105"/>
                  </a:lnTo>
                  <a:lnTo>
                    <a:pt x="214" y="107"/>
                  </a:lnTo>
                  <a:lnTo>
                    <a:pt x="214" y="109"/>
                  </a:lnTo>
                  <a:lnTo>
                    <a:pt x="214" y="112"/>
                  </a:lnTo>
                  <a:lnTo>
                    <a:pt x="212" y="109"/>
                  </a:lnTo>
                  <a:lnTo>
                    <a:pt x="209" y="109"/>
                  </a:lnTo>
                  <a:lnTo>
                    <a:pt x="207" y="109"/>
                  </a:lnTo>
                  <a:lnTo>
                    <a:pt x="204" y="109"/>
                  </a:lnTo>
                  <a:lnTo>
                    <a:pt x="202" y="109"/>
                  </a:lnTo>
                  <a:lnTo>
                    <a:pt x="200" y="109"/>
                  </a:lnTo>
                  <a:lnTo>
                    <a:pt x="200" y="112"/>
                  </a:lnTo>
                  <a:lnTo>
                    <a:pt x="197" y="114"/>
                  </a:lnTo>
                  <a:lnTo>
                    <a:pt x="195" y="114"/>
                  </a:lnTo>
                  <a:lnTo>
                    <a:pt x="195" y="112"/>
                  </a:lnTo>
                  <a:lnTo>
                    <a:pt x="193" y="112"/>
                  </a:lnTo>
                  <a:lnTo>
                    <a:pt x="190" y="112"/>
                  </a:lnTo>
                  <a:lnTo>
                    <a:pt x="188" y="112"/>
                  </a:lnTo>
                  <a:lnTo>
                    <a:pt x="185" y="112"/>
                  </a:lnTo>
                  <a:lnTo>
                    <a:pt x="183" y="112"/>
                  </a:lnTo>
                  <a:lnTo>
                    <a:pt x="181" y="112"/>
                  </a:lnTo>
                  <a:lnTo>
                    <a:pt x="181" y="114"/>
                  </a:lnTo>
                  <a:lnTo>
                    <a:pt x="178" y="114"/>
                  </a:lnTo>
                  <a:lnTo>
                    <a:pt x="176" y="114"/>
                  </a:lnTo>
                  <a:lnTo>
                    <a:pt x="176" y="116"/>
                  </a:lnTo>
                  <a:lnTo>
                    <a:pt x="176" y="119"/>
                  </a:lnTo>
                  <a:lnTo>
                    <a:pt x="174" y="119"/>
                  </a:lnTo>
                  <a:lnTo>
                    <a:pt x="171" y="119"/>
                  </a:lnTo>
                  <a:lnTo>
                    <a:pt x="171" y="121"/>
                  </a:lnTo>
                  <a:lnTo>
                    <a:pt x="169" y="121"/>
                  </a:lnTo>
                  <a:lnTo>
                    <a:pt x="166" y="121"/>
                  </a:lnTo>
                  <a:lnTo>
                    <a:pt x="166" y="124"/>
                  </a:lnTo>
                  <a:lnTo>
                    <a:pt x="166" y="126"/>
                  </a:lnTo>
                  <a:lnTo>
                    <a:pt x="166" y="124"/>
                  </a:lnTo>
                  <a:lnTo>
                    <a:pt x="164" y="124"/>
                  </a:lnTo>
                  <a:lnTo>
                    <a:pt x="162" y="124"/>
                  </a:lnTo>
                  <a:lnTo>
                    <a:pt x="162" y="121"/>
                  </a:lnTo>
                  <a:lnTo>
                    <a:pt x="159" y="121"/>
                  </a:lnTo>
                  <a:lnTo>
                    <a:pt x="159" y="124"/>
                  </a:lnTo>
                  <a:lnTo>
                    <a:pt x="157" y="124"/>
                  </a:lnTo>
                  <a:lnTo>
                    <a:pt x="157" y="121"/>
                  </a:lnTo>
                  <a:lnTo>
                    <a:pt x="155" y="124"/>
                  </a:lnTo>
                  <a:lnTo>
                    <a:pt x="155" y="121"/>
                  </a:lnTo>
                  <a:lnTo>
                    <a:pt x="152" y="124"/>
                  </a:lnTo>
                  <a:lnTo>
                    <a:pt x="152" y="121"/>
                  </a:lnTo>
                  <a:lnTo>
                    <a:pt x="150" y="121"/>
                  </a:lnTo>
                  <a:lnTo>
                    <a:pt x="150" y="119"/>
                  </a:lnTo>
                  <a:lnTo>
                    <a:pt x="148" y="119"/>
                  </a:lnTo>
                  <a:lnTo>
                    <a:pt x="148" y="121"/>
                  </a:lnTo>
                  <a:lnTo>
                    <a:pt x="148" y="119"/>
                  </a:lnTo>
                  <a:lnTo>
                    <a:pt x="145" y="119"/>
                  </a:lnTo>
                  <a:lnTo>
                    <a:pt x="143" y="119"/>
                  </a:lnTo>
                  <a:lnTo>
                    <a:pt x="140" y="119"/>
                  </a:lnTo>
                  <a:lnTo>
                    <a:pt x="138" y="119"/>
                  </a:lnTo>
                  <a:lnTo>
                    <a:pt x="136" y="119"/>
                  </a:lnTo>
                  <a:lnTo>
                    <a:pt x="136" y="116"/>
                  </a:lnTo>
                  <a:lnTo>
                    <a:pt x="133" y="116"/>
                  </a:lnTo>
                  <a:lnTo>
                    <a:pt x="131" y="116"/>
                  </a:lnTo>
                  <a:lnTo>
                    <a:pt x="129" y="116"/>
                  </a:lnTo>
                  <a:lnTo>
                    <a:pt x="126" y="116"/>
                  </a:lnTo>
                  <a:lnTo>
                    <a:pt x="124" y="116"/>
                  </a:lnTo>
                  <a:lnTo>
                    <a:pt x="121" y="116"/>
                  </a:lnTo>
                  <a:lnTo>
                    <a:pt x="119" y="114"/>
                  </a:lnTo>
                  <a:lnTo>
                    <a:pt x="117" y="114"/>
                  </a:lnTo>
                  <a:lnTo>
                    <a:pt x="114" y="114"/>
                  </a:lnTo>
                  <a:lnTo>
                    <a:pt x="112" y="114"/>
                  </a:lnTo>
                  <a:lnTo>
                    <a:pt x="110" y="114"/>
                  </a:lnTo>
                  <a:lnTo>
                    <a:pt x="107" y="114"/>
                  </a:lnTo>
                  <a:lnTo>
                    <a:pt x="107" y="112"/>
                  </a:lnTo>
                  <a:lnTo>
                    <a:pt x="105" y="112"/>
                  </a:lnTo>
                  <a:lnTo>
                    <a:pt x="102" y="112"/>
                  </a:lnTo>
                  <a:lnTo>
                    <a:pt x="100" y="112"/>
                  </a:lnTo>
                  <a:lnTo>
                    <a:pt x="98" y="112"/>
                  </a:lnTo>
                  <a:lnTo>
                    <a:pt x="98" y="109"/>
                  </a:lnTo>
                  <a:lnTo>
                    <a:pt x="95" y="109"/>
                  </a:lnTo>
                  <a:lnTo>
                    <a:pt x="93" y="107"/>
                  </a:lnTo>
                  <a:lnTo>
                    <a:pt x="91" y="107"/>
                  </a:lnTo>
                  <a:lnTo>
                    <a:pt x="91" y="105"/>
                  </a:lnTo>
                  <a:lnTo>
                    <a:pt x="91" y="102"/>
                  </a:lnTo>
                  <a:lnTo>
                    <a:pt x="91" y="100"/>
                  </a:lnTo>
                  <a:lnTo>
                    <a:pt x="91" y="102"/>
                  </a:lnTo>
                  <a:lnTo>
                    <a:pt x="88" y="102"/>
                  </a:lnTo>
                  <a:lnTo>
                    <a:pt x="88" y="100"/>
                  </a:lnTo>
                  <a:lnTo>
                    <a:pt x="86" y="100"/>
                  </a:lnTo>
                  <a:lnTo>
                    <a:pt x="88" y="100"/>
                  </a:lnTo>
                  <a:lnTo>
                    <a:pt x="88" y="97"/>
                  </a:lnTo>
                  <a:lnTo>
                    <a:pt x="86" y="97"/>
                  </a:lnTo>
                  <a:lnTo>
                    <a:pt x="86" y="95"/>
                  </a:lnTo>
                  <a:lnTo>
                    <a:pt x="88" y="95"/>
                  </a:lnTo>
                  <a:lnTo>
                    <a:pt x="88" y="93"/>
                  </a:lnTo>
                  <a:lnTo>
                    <a:pt x="91" y="93"/>
                  </a:lnTo>
                  <a:lnTo>
                    <a:pt x="88" y="93"/>
                  </a:lnTo>
                  <a:lnTo>
                    <a:pt x="88" y="90"/>
                  </a:lnTo>
                  <a:lnTo>
                    <a:pt x="86" y="93"/>
                  </a:lnTo>
                  <a:lnTo>
                    <a:pt x="83" y="93"/>
                  </a:lnTo>
                  <a:lnTo>
                    <a:pt x="81" y="93"/>
                  </a:lnTo>
                  <a:lnTo>
                    <a:pt x="79" y="95"/>
                  </a:lnTo>
                  <a:lnTo>
                    <a:pt x="76" y="95"/>
                  </a:lnTo>
                  <a:lnTo>
                    <a:pt x="74" y="95"/>
                  </a:lnTo>
                  <a:lnTo>
                    <a:pt x="74" y="97"/>
                  </a:lnTo>
                  <a:lnTo>
                    <a:pt x="72" y="97"/>
                  </a:lnTo>
                  <a:lnTo>
                    <a:pt x="72" y="95"/>
                  </a:lnTo>
                  <a:lnTo>
                    <a:pt x="69" y="95"/>
                  </a:lnTo>
                  <a:lnTo>
                    <a:pt x="67" y="95"/>
                  </a:lnTo>
                  <a:lnTo>
                    <a:pt x="67" y="97"/>
                  </a:lnTo>
                  <a:lnTo>
                    <a:pt x="67" y="95"/>
                  </a:lnTo>
                  <a:lnTo>
                    <a:pt x="64" y="95"/>
                  </a:lnTo>
                  <a:lnTo>
                    <a:pt x="64" y="97"/>
                  </a:lnTo>
                  <a:lnTo>
                    <a:pt x="62" y="97"/>
                  </a:lnTo>
                  <a:lnTo>
                    <a:pt x="60" y="95"/>
                  </a:lnTo>
                  <a:lnTo>
                    <a:pt x="60" y="97"/>
                  </a:lnTo>
                  <a:lnTo>
                    <a:pt x="57" y="97"/>
                  </a:lnTo>
                  <a:lnTo>
                    <a:pt x="55" y="97"/>
                  </a:lnTo>
                  <a:lnTo>
                    <a:pt x="53" y="100"/>
                  </a:lnTo>
                  <a:lnTo>
                    <a:pt x="53" y="102"/>
                  </a:lnTo>
                  <a:lnTo>
                    <a:pt x="50" y="102"/>
                  </a:lnTo>
                  <a:lnTo>
                    <a:pt x="50" y="105"/>
                  </a:lnTo>
                  <a:lnTo>
                    <a:pt x="50" y="107"/>
                  </a:lnTo>
                  <a:lnTo>
                    <a:pt x="48" y="107"/>
                  </a:lnTo>
                  <a:lnTo>
                    <a:pt x="45" y="107"/>
                  </a:lnTo>
                  <a:lnTo>
                    <a:pt x="43" y="107"/>
                  </a:lnTo>
                  <a:lnTo>
                    <a:pt x="41" y="105"/>
                  </a:lnTo>
                  <a:lnTo>
                    <a:pt x="41" y="107"/>
                  </a:lnTo>
                  <a:lnTo>
                    <a:pt x="41" y="105"/>
                  </a:lnTo>
                  <a:lnTo>
                    <a:pt x="38" y="102"/>
                  </a:lnTo>
                  <a:lnTo>
                    <a:pt x="36" y="102"/>
                  </a:lnTo>
                  <a:lnTo>
                    <a:pt x="34" y="102"/>
                  </a:lnTo>
                  <a:lnTo>
                    <a:pt x="31" y="102"/>
                  </a:lnTo>
                  <a:lnTo>
                    <a:pt x="31" y="100"/>
                  </a:lnTo>
                  <a:lnTo>
                    <a:pt x="31" y="97"/>
                  </a:lnTo>
                  <a:lnTo>
                    <a:pt x="29" y="97"/>
                  </a:lnTo>
                  <a:lnTo>
                    <a:pt x="29" y="95"/>
                  </a:lnTo>
                  <a:lnTo>
                    <a:pt x="26" y="95"/>
                  </a:lnTo>
                  <a:lnTo>
                    <a:pt x="26" y="97"/>
                  </a:lnTo>
                  <a:lnTo>
                    <a:pt x="26" y="100"/>
                  </a:lnTo>
                  <a:lnTo>
                    <a:pt x="24" y="100"/>
                  </a:lnTo>
                  <a:lnTo>
                    <a:pt x="24" y="102"/>
                  </a:lnTo>
                  <a:lnTo>
                    <a:pt x="22" y="102"/>
                  </a:lnTo>
                  <a:lnTo>
                    <a:pt x="19" y="102"/>
                  </a:lnTo>
                  <a:lnTo>
                    <a:pt x="17" y="102"/>
                  </a:lnTo>
                  <a:lnTo>
                    <a:pt x="17" y="100"/>
                  </a:lnTo>
                  <a:lnTo>
                    <a:pt x="15" y="100"/>
                  </a:lnTo>
                  <a:lnTo>
                    <a:pt x="12" y="100"/>
                  </a:lnTo>
                  <a:lnTo>
                    <a:pt x="12" y="97"/>
                  </a:lnTo>
                  <a:lnTo>
                    <a:pt x="12" y="95"/>
                  </a:lnTo>
                  <a:lnTo>
                    <a:pt x="10" y="95"/>
                  </a:lnTo>
                  <a:lnTo>
                    <a:pt x="8" y="93"/>
                  </a:lnTo>
                  <a:lnTo>
                    <a:pt x="5" y="93"/>
                  </a:lnTo>
                  <a:lnTo>
                    <a:pt x="3" y="93"/>
                  </a:lnTo>
                  <a:lnTo>
                    <a:pt x="3" y="90"/>
                  </a:lnTo>
                  <a:lnTo>
                    <a:pt x="3" y="88"/>
                  </a:lnTo>
                  <a:lnTo>
                    <a:pt x="0" y="88"/>
                  </a:lnTo>
                  <a:lnTo>
                    <a:pt x="3" y="88"/>
                  </a:lnTo>
                  <a:lnTo>
                    <a:pt x="3" y="86"/>
                  </a:lnTo>
                  <a:lnTo>
                    <a:pt x="0" y="86"/>
                  </a:lnTo>
                  <a:lnTo>
                    <a:pt x="0" y="83"/>
                  </a:lnTo>
                  <a:lnTo>
                    <a:pt x="0" y="81"/>
                  </a:lnTo>
                  <a:lnTo>
                    <a:pt x="3" y="81"/>
                  </a:lnTo>
                  <a:lnTo>
                    <a:pt x="3" y="78"/>
                  </a:lnTo>
                  <a:lnTo>
                    <a:pt x="5" y="78"/>
                  </a:lnTo>
                  <a:lnTo>
                    <a:pt x="5" y="76"/>
                  </a:lnTo>
                  <a:lnTo>
                    <a:pt x="3" y="76"/>
                  </a:lnTo>
                  <a:lnTo>
                    <a:pt x="3" y="74"/>
                  </a:lnTo>
                  <a:lnTo>
                    <a:pt x="5" y="74"/>
                  </a:lnTo>
                  <a:lnTo>
                    <a:pt x="3" y="74"/>
                  </a:lnTo>
                  <a:lnTo>
                    <a:pt x="0" y="71"/>
                  </a:lnTo>
                  <a:lnTo>
                    <a:pt x="0" y="69"/>
                  </a:lnTo>
                  <a:lnTo>
                    <a:pt x="5" y="71"/>
                  </a:lnTo>
                  <a:lnTo>
                    <a:pt x="8" y="71"/>
                  </a:lnTo>
                  <a:lnTo>
                    <a:pt x="8" y="69"/>
                  </a:lnTo>
                  <a:lnTo>
                    <a:pt x="8" y="67"/>
                  </a:lnTo>
                  <a:lnTo>
                    <a:pt x="10" y="67"/>
                  </a:lnTo>
                  <a:lnTo>
                    <a:pt x="10" y="69"/>
                  </a:lnTo>
                  <a:lnTo>
                    <a:pt x="10" y="71"/>
                  </a:lnTo>
                  <a:lnTo>
                    <a:pt x="12" y="71"/>
                  </a:lnTo>
                  <a:lnTo>
                    <a:pt x="12" y="69"/>
                  </a:lnTo>
                  <a:lnTo>
                    <a:pt x="12" y="71"/>
                  </a:lnTo>
                  <a:lnTo>
                    <a:pt x="15" y="71"/>
                  </a:lnTo>
                  <a:lnTo>
                    <a:pt x="15" y="69"/>
                  </a:lnTo>
                  <a:lnTo>
                    <a:pt x="15" y="71"/>
                  </a:lnTo>
                  <a:lnTo>
                    <a:pt x="15" y="74"/>
                  </a:lnTo>
                  <a:lnTo>
                    <a:pt x="17" y="74"/>
                  </a:lnTo>
                  <a:lnTo>
                    <a:pt x="17" y="71"/>
                  </a:lnTo>
                  <a:lnTo>
                    <a:pt x="17" y="74"/>
                  </a:lnTo>
                  <a:lnTo>
                    <a:pt x="19" y="74"/>
                  </a:lnTo>
                  <a:lnTo>
                    <a:pt x="19" y="76"/>
                  </a:lnTo>
                  <a:lnTo>
                    <a:pt x="17" y="76"/>
                  </a:lnTo>
                  <a:lnTo>
                    <a:pt x="19" y="76"/>
                  </a:lnTo>
                  <a:lnTo>
                    <a:pt x="19" y="78"/>
                  </a:lnTo>
                  <a:lnTo>
                    <a:pt x="22" y="78"/>
                  </a:lnTo>
                  <a:lnTo>
                    <a:pt x="22" y="76"/>
                  </a:lnTo>
                  <a:lnTo>
                    <a:pt x="22" y="78"/>
                  </a:lnTo>
                  <a:lnTo>
                    <a:pt x="24" y="76"/>
                  </a:lnTo>
                  <a:lnTo>
                    <a:pt x="24" y="78"/>
                  </a:lnTo>
                  <a:lnTo>
                    <a:pt x="22" y="78"/>
                  </a:lnTo>
                  <a:lnTo>
                    <a:pt x="22" y="81"/>
                  </a:lnTo>
                  <a:lnTo>
                    <a:pt x="22" y="83"/>
                  </a:lnTo>
                  <a:lnTo>
                    <a:pt x="24" y="83"/>
                  </a:lnTo>
                  <a:lnTo>
                    <a:pt x="26" y="81"/>
                  </a:lnTo>
                  <a:lnTo>
                    <a:pt x="26" y="78"/>
                  </a:lnTo>
                  <a:lnTo>
                    <a:pt x="29" y="78"/>
                  </a:lnTo>
                  <a:lnTo>
                    <a:pt x="31" y="78"/>
                  </a:lnTo>
                  <a:lnTo>
                    <a:pt x="29" y="76"/>
                  </a:lnTo>
                  <a:lnTo>
                    <a:pt x="31" y="76"/>
                  </a:lnTo>
                  <a:lnTo>
                    <a:pt x="31" y="74"/>
                  </a:lnTo>
                  <a:lnTo>
                    <a:pt x="31" y="71"/>
                  </a:lnTo>
                  <a:lnTo>
                    <a:pt x="29" y="71"/>
                  </a:lnTo>
                  <a:lnTo>
                    <a:pt x="31" y="71"/>
                  </a:lnTo>
                  <a:lnTo>
                    <a:pt x="31" y="69"/>
                  </a:lnTo>
                  <a:lnTo>
                    <a:pt x="29" y="69"/>
                  </a:lnTo>
                  <a:lnTo>
                    <a:pt x="31" y="69"/>
                  </a:lnTo>
                  <a:lnTo>
                    <a:pt x="34" y="71"/>
                  </a:lnTo>
                  <a:lnTo>
                    <a:pt x="34" y="69"/>
                  </a:lnTo>
                  <a:lnTo>
                    <a:pt x="34" y="71"/>
                  </a:lnTo>
                  <a:lnTo>
                    <a:pt x="34" y="69"/>
                  </a:lnTo>
                  <a:lnTo>
                    <a:pt x="36" y="69"/>
                  </a:lnTo>
                  <a:lnTo>
                    <a:pt x="38" y="69"/>
                  </a:lnTo>
                  <a:lnTo>
                    <a:pt x="38" y="71"/>
                  </a:lnTo>
                  <a:lnTo>
                    <a:pt x="41" y="69"/>
                  </a:lnTo>
                  <a:lnTo>
                    <a:pt x="41" y="71"/>
                  </a:lnTo>
                  <a:lnTo>
                    <a:pt x="43" y="71"/>
                  </a:lnTo>
                  <a:lnTo>
                    <a:pt x="45" y="69"/>
                  </a:lnTo>
                  <a:lnTo>
                    <a:pt x="45" y="71"/>
                  </a:lnTo>
                  <a:lnTo>
                    <a:pt x="43" y="74"/>
                  </a:lnTo>
                  <a:lnTo>
                    <a:pt x="45" y="74"/>
                  </a:lnTo>
                  <a:lnTo>
                    <a:pt x="48" y="74"/>
                  </a:lnTo>
                  <a:lnTo>
                    <a:pt x="48" y="76"/>
                  </a:lnTo>
                  <a:lnTo>
                    <a:pt x="50" y="76"/>
                  </a:lnTo>
                  <a:lnTo>
                    <a:pt x="53" y="76"/>
                  </a:lnTo>
                  <a:lnTo>
                    <a:pt x="55" y="76"/>
                  </a:lnTo>
                  <a:lnTo>
                    <a:pt x="57" y="76"/>
                  </a:lnTo>
                  <a:lnTo>
                    <a:pt x="55" y="76"/>
                  </a:lnTo>
                  <a:lnTo>
                    <a:pt x="57" y="76"/>
                  </a:lnTo>
                  <a:lnTo>
                    <a:pt x="60" y="76"/>
                  </a:lnTo>
                  <a:lnTo>
                    <a:pt x="60" y="74"/>
                  </a:lnTo>
                  <a:lnTo>
                    <a:pt x="62" y="74"/>
                  </a:lnTo>
                  <a:lnTo>
                    <a:pt x="62" y="71"/>
                  </a:lnTo>
                  <a:lnTo>
                    <a:pt x="64" y="71"/>
                  </a:lnTo>
                  <a:lnTo>
                    <a:pt x="67" y="71"/>
                  </a:lnTo>
                  <a:lnTo>
                    <a:pt x="67" y="69"/>
                  </a:lnTo>
                  <a:lnTo>
                    <a:pt x="69" y="69"/>
                  </a:lnTo>
                  <a:lnTo>
                    <a:pt x="69" y="67"/>
                  </a:lnTo>
                  <a:lnTo>
                    <a:pt x="69" y="69"/>
                  </a:lnTo>
                  <a:lnTo>
                    <a:pt x="72" y="69"/>
                  </a:lnTo>
                  <a:lnTo>
                    <a:pt x="72" y="67"/>
                  </a:lnTo>
                  <a:lnTo>
                    <a:pt x="74" y="67"/>
                  </a:lnTo>
                  <a:lnTo>
                    <a:pt x="76" y="69"/>
                  </a:lnTo>
                  <a:lnTo>
                    <a:pt x="76" y="67"/>
                  </a:lnTo>
                  <a:lnTo>
                    <a:pt x="79" y="67"/>
                  </a:lnTo>
                  <a:lnTo>
                    <a:pt x="81" y="67"/>
                  </a:lnTo>
                  <a:lnTo>
                    <a:pt x="83" y="67"/>
                  </a:lnTo>
                  <a:lnTo>
                    <a:pt x="86" y="67"/>
                  </a:lnTo>
                  <a:lnTo>
                    <a:pt x="88" y="67"/>
                  </a:lnTo>
                  <a:lnTo>
                    <a:pt x="88" y="64"/>
                  </a:lnTo>
                  <a:lnTo>
                    <a:pt x="88" y="62"/>
                  </a:lnTo>
                  <a:lnTo>
                    <a:pt x="91" y="59"/>
                  </a:lnTo>
                  <a:lnTo>
                    <a:pt x="91" y="62"/>
                  </a:lnTo>
                  <a:lnTo>
                    <a:pt x="91" y="64"/>
                  </a:lnTo>
                  <a:lnTo>
                    <a:pt x="91" y="62"/>
                  </a:lnTo>
                  <a:lnTo>
                    <a:pt x="93" y="62"/>
                  </a:lnTo>
                  <a:lnTo>
                    <a:pt x="93" y="64"/>
                  </a:lnTo>
                  <a:lnTo>
                    <a:pt x="95" y="62"/>
                  </a:lnTo>
                  <a:lnTo>
                    <a:pt x="95" y="64"/>
                  </a:lnTo>
                  <a:lnTo>
                    <a:pt x="98" y="64"/>
                  </a:lnTo>
                  <a:lnTo>
                    <a:pt x="98" y="67"/>
                  </a:lnTo>
                  <a:lnTo>
                    <a:pt x="100" y="67"/>
                  </a:lnTo>
                  <a:lnTo>
                    <a:pt x="100" y="64"/>
                  </a:lnTo>
                  <a:lnTo>
                    <a:pt x="102" y="64"/>
                  </a:lnTo>
                  <a:lnTo>
                    <a:pt x="105" y="64"/>
                  </a:lnTo>
                  <a:lnTo>
                    <a:pt x="107" y="64"/>
                  </a:lnTo>
                  <a:lnTo>
                    <a:pt x="107" y="67"/>
                  </a:lnTo>
                  <a:lnTo>
                    <a:pt x="110" y="67"/>
                  </a:lnTo>
                  <a:lnTo>
                    <a:pt x="107" y="67"/>
                  </a:lnTo>
                  <a:lnTo>
                    <a:pt x="107" y="69"/>
                  </a:lnTo>
                  <a:lnTo>
                    <a:pt x="110" y="69"/>
                  </a:lnTo>
                  <a:lnTo>
                    <a:pt x="110" y="71"/>
                  </a:lnTo>
                  <a:lnTo>
                    <a:pt x="112" y="71"/>
                  </a:lnTo>
                  <a:lnTo>
                    <a:pt x="112" y="74"/>
                  </a:lnTo>
                  <a:lnTo>
                    <a:pt x="114" y="74"/>
                  </a:lnTo>
                  <a:lnTo>
                    <a:pt x="117" y="74"/>
                  </a:lnTo>
                  <a:lnTo>
                    <a:pt x="117" y="71"/>
                  </a:lnTo>
                  <a:lnTo>
                    <a:pt x="117" y="69"/>
                  </a:lnTo>
                  <a:lnTo>
                    <a:pt x="117" y="67"/>
                  </a:lnTo>
                  <a:lnTo>
                    <a:pt x="117" y="64"/>
                  </a:lnTo>
                  <a:lnTo>
                    <a:pt x="117" y="62"/>
                  </a:lnTo>
                  <a:lnTo>
                    <a:pt x="114" y="62"/>
                  </a:lnTo>
                  <a:lnTo>
                    <a:pt x="112" y="62"/>
                  </a:lnTo>
                  <a:lnTo>
                    <a:pt x="112" y="59"/>
                  </a:lnTo>
                  <a:lnTo>
                    <a:pt x="112" y="57"/>
                  </a:lnTo>
                  <a:lnTo>
                    <a:pt x="114" y="57"/>
                  </a:lnTo>
                  <a:lnTo>
                    <a:pt x="114" y="55"/>
                  </a:lnTo>
                  <a:lnTo>
                    <a:pt x="114" y="52"/>
                  </a:lnTo>
                  <a:lnTo>
                    <a:pt x="112" y="52"/>
                  </a:lnTo>
                  <a:lnTo>
                    <a:pt x="112" y="50"/>
                  </a:lnTo>
                  <a:lnTo>
                    <a:pt x="110" y="50"/>
                  </a:lnTo>
                  <a:lnTo>
                    <a:pt x="110" y="48"/>
                  </a:lnTo>
                  <a:lnTo>
                    <a:pt x="107" y="45"/>
                  </a:lnTo>
                  <a:lnTo>
                    <a:pt x="107" y="43"/>
                  </a:lnTo>
                  <a:lnTo>
                    <a:pt x="107" y="40"/>
                  </a:lnTo>
                  <a:lnTo>
                    <a:pt x="110" y="40"/>
                  </a:lnTo>
                  <a:lnTo>
                    <a:pt x="110" y="38"/>
                  </a:lnTo>
                  <a:lnTo>
                    <a:pt x="112" y="38"/>
                  </a:lnTo>
                  <a:lnTo>
                    <a:pt x="114" y="38"/>
                  </a:lnTo>
                  <a:lnTo>
                    <a:pt x="114" y="36"/>
                  </a:lnTo>
                  <a:lnTo>
                    <a:pt x="117" y="36"/>
                  </a:lnTo>
                  <a:lnTo>
                    <a:pt x="119" y="36"/>
                  </a:lnTo>
                  <a:lnTo>
                    <a:pt x="119" y="33"/>
                  </a:lnTo>
                  <a:lnTo>
                    <a:pt x="121" y="33"/>
                  </a:lnTo>
                  <a:lnTo>
                    <a:pt x="124" y="33"/>
                  </a:lnTo>
                  <a:lnTo>
                    <a:pt x="126" y="33"/>
                  </a:lnTo>
                  <a:lnTo>
                    <a:pt x="126" y="31"/>
                  </a:lnTo>
                  <a:lnTo>
                    <a:pt x="129" y="31"/>
                  </a:lnTo>
                  <a:lnTo>
                    <a:pt x="129" y="29"/>
                  </a:lnTo>
                  <a:lnTo>
                    <a:pt x="129" y="26"/>
                  </a:lnTo>
                  <a:lnTo>
                    <a:pt x="129" y="24"/>
                  </a:lnTo>
                  <a:lnTo>
                    <a:pt x="129" y="21"/>
                  </a:lnTo>
                  <a:lnTo>
                    <a:pt x="131" y="21"/>
                  </a:lnTo>
                  <a:lnTo>
                    <a:pt x="131" y="19"/>
                  </a:lnTo>
                  <a:lnTo>
                    <a:pt x="133" y="21"/>
                  </a:lnTo>
                  <a:lnTo>
                    <a:pt x="136" y="21"/>
                  </a:lnTo>
                  <a:lnTo>
                    <a:pt x="138" y="24"/>
                  </a:lnTo>
                  <a:lnTo>
                    <a:pt x="138" y="21"/>
                  </a:lnTo>
                  <a:lnTo>
                    <a:pt x="140" y="21"/>
                  </a:lnTo>
                  <a:lnTo>
                    <a:pt x="138" y="21"/>
                  </a:lnTo>
                  <a:lnTo>
                    <a:pt x="140" y="21"/>
                  </a:lnTo>
                  <a:lnTo>
                    <a:pt x="140" y="19"/>
                  </a:lnTo>
                  <a:lnTo>
                    <a:pt x="143" y="19"/>
                  </a:lnTo>
                  <a:lnTo>
                    <a:pt x="143" y="17"/>
                  </a:lnTo>
                  <a:lnTo>
                    <a:pt x="140" y="17"/>
                  </a:lnTo>
                  <a:lnTo>
                    <a:pt x="143" y="17"/>
                  </a:lnTo>
                  <a:lnTo>
                    <a:pt x="140" y="14"/>
                  </a:lnTo>
                  <a:lnTo>
                    <a:pt x="143" y="14"/>
                  </a:lnTo>
                  <a:lnTo>
                    <a:pt x="140" y="14"/>
                  </a:lnTo>
                  <a:lnTo>
                    <a:pt x="140" y="12"/>
                  </a:lnTo>
                  <a:lnTo>
                    <a:pt x="143" y="12"/>
                  </a:lnTo>
                  <a:lnTo>
                    <a:pt x="145" y="12"/>
                  </a:lnTo>
                  <a:lnTo>
                    <a:pt x="145" y="14"/>
                  </a:lnTo>
                  <a:lnTo>
                    <a:pt x="148" y="14"/>
                  </a:lnTo>
                  <a:lnTo>
                    <a:pt x="150" y="17"/>
                  </a:lnTo>
                  <a:lnTo>
                    <a:pt x="148" y="17"/>
                  </a:lnTo>
                  <a:lnTo>
                    <a:pt x="150" y="19"/>
                  </a:lnTo>
                  <a:lnTo>
                    <a:pt x="152" y="19"/>
                  </a:lnTo>
                  <a:lnTo>
                    <a:pt x="155" y="19"/>
                  </a:lnTo>
                  <a:lnTo>
                    <a:pt x="155" y="21"/>
                  </a:lnTo>
                  <a:lnTo>
                    <a:pt x="157" y="21"/>
                  </a:lnTo>
                  <a:lnTo>
                    <a:pt x="159" y="21"/>
                  </a:lnTo>
                  <a:lnTo>
                    <a:pt x="159" y="19"/>
                  </a:lnTo>
                  <a:lnTo>
                    <a:pt x="162" y="19"/>
                  </a:lnTo>
                  <a:lnTo>
                    <a:pt x="162" y="17"/>
                  </a:lnTo>
                  <a:lnTo>
                    <a:pt x="164" y="17"/>
                  </a:lnTo>
                  <a:lnTo>
                    <a:pt x="164" y="19"/>
                  </a:lnTo>
                  <a:lnTo>
                    <a:pt x="166" y="19"/>
                  </a:lnTo>
                  <a:lnTo>
                    <a:pt x="169" y="19"/>
                  </a:lnTo>
                  <a:lnTo>
                    <a:pt x="171" y="19"/>
                  </a:lnTo>
                  <a:lnTo>
                    <a:pt x="171" y="17"/>
                  </a:lnTo>
                  <a:lnTo>
                    <a:pt x="171" y="14"/>
                  </a:lnTo>
                  <a:lnTo>
                    <a:pt x="174" y="14"/>
                  </a:lnTo>
                  <a:lnTo>
                    <a:pt x="174" y="12"/>
                  </a:lnTo>
                  <a:lnTo>
                    <a:pt x="174" y="10"/>
                  </a:lnTo>
                  <a:lnTo>
                    <a:pt x="176" y="10"/>
                  </a:lnTo>
                  <a:lnTo>
                    <a:pt x="176" y="12"/>
                  </a:lnTo>
                  <a:lnTo>
                    <a:pt x="176" y="10"/>
                  </a:lnTo>
                  <a:lnTo>
                    <a:pt x="178" y="12"/>
                  </a:lnTo>
                  <a:lnTo>
                    <a:pt x="181" y="12"/>
                  </a:lnTo>
                  <a:lnTo>
                    <a:pt x="181" y="10"/>
                  </a:lnTo>
                  <a:lnTo>
                    <a:pt x="178" y="10"/>
                  </a:lnTo>
                  <a:lnTo>
                    <a:pt x="181" y="7"/>
                  </a:lnTo>
                  <a:lnTo>
                    <a:pt x="181" y="5"/>
                  </a:lnTo>
                  <a:lnTo>
                    <a:pt x="181" y="2"/>
                  </a:lnTo>
                  <a:lnTo>
                    <a:pt x="18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4" name="Freeform 50277"/>
            <p:cNvSpPr>
              <a:spLocks/>
            </p:cNvSpPr>
            <p:nvPr/>
          </p:nvSpPr>
          <p:spPr bwMode="auto">
            <a:xfrm>
              <a:off x="3241672" y="4211652"/>
              <a:ext cx="501650" cy="392114"/>
            </a:xfrm>
            <a:custGeom>
              <a:avLst/>
              <a:gdLst>
                <a:gd name="T0" fmla="*/ 176 w 316"/>
                <a:gd name="T1" fmla="*/ 2 h 247"/>
                <a:gd name="T2" fmla="*/ 185 w 316"/>
                <a:gd name="T3" fmla="*/ 9 h 247"/>
                <a:gd name="T4" fmla="*/ 202 w 316"/>
                <a:gd name="T5" fmla="*/ 12 h 247"/>
                <a:gd name="T6" fmla="*/ 211 w 316"/>
                <a:gd name="T7" fmla="*/ 23 h 247"/>
                <a:gd name="T8" fmla="*/ 228 w 316"/>
                <a:gd name="T9" fmla="*/ 16 h 247"/>
                <a:gd name="T10" fmla="*/ 245 w 316"/>
                <a:gd name="T11" fmla="*/ 21 h 247"/>
                <a:gd name="T12" fmla="*/ 256 w 316"/>
                <a:gd name="T13" fmla="*/ 31 h 247"/>
                <a:gd name="T14" fmla="*/ 252 w 316"/>
                <a:gd name="T15" fmla="*/ 45 h 247"/>
                <a:gd name="T16" fmla="*/ 256 w 316"/>
                <a:gd name="T17" fmla="*/ 59 h 247"/>
                <a:gd name="T18" fmla="*/ 256 w 316"/>
                <a:gd name="T19" fmla="*/ 73 h 247"/>
                <a:gd name="T20" fmla="*/ 261 w 316"/>
                <a:gd name="T21" fmla="*/ 80 h 247"/>
                <a:gd name="T22" fmla="*/ 268 w 316"/>
                <a:gd name="T23" fmla="*/ 97 h 247"/>
                <a:gd name="T24" fmla="*/ 283 w 316"/>
                <a:gd name="T25" fmla="*/ 107 h 247"/>
                <a:gd name="T26" fmla="*/ 283 w 316"/>
                <a:gd name="T27" fmla="*/ 121 h 247"/>
                <a:gd name="T28" fmla="*/ 299 w 316"/>
                <a:gd name="T29" fmla="*/ 123 h 247"/>
                <a:gd name="T30" fmla="*/ 309 w 316"/>
                <a:gd name="T31" fmla="*/ 135 h 247"/>
                <a:gd name="T32" fmla="*/ 311 w 316"/>
                <a:gd name="T33" fmla="*/ 145 h 247"/>
                <a:gd name="T34" fmla="*/ 297 w 316"/>
                <a:gd name="T35" fmla="*/ 154 h 247"/>
                <a:gd name="T36" fmla="*/ 275 w 316"/>
                <a:gd name="T37" fmla="*/ 152 h 247"/>
                <a:gd name="T38" fmla="*/ 271 w 316"/>
                <a:gd name="T39" fmla="*/ 164 h 247"/>
                <a:gd name="T40" fmla="*/ 275 w 316"/>
                <a:gd name="T41" fmla="*/ 180 h 247"/>
                <a:gd name="T42" fmla="*/ 278 w 316"/>
                <a:gd name="T43" fmla="*/ 192 h 247"/>
                <a:gd name="T44" fmla="*/ 271 w 316"/>
                <a:gd name="T45" fmla="*/ 204 h 247"/>
                <a:gd name="T46" fmla="*/ 256 w 316"/>
                <a:gd name="T47" fmla="*/ 206 h 247"/>
                <a:gd name="T48" fmla="*/ 247 w 316"/>
                <a:gd name="T49" fmla="*/ 218 h 247"/>
                <a:gd name="T50" fmla="*/ 240 w 316"/>
                <a:gd name="T51" fmla="*/ 230 h 247"/>
                <a:gd name="T52" fmla="*/ 245 w 316"/>
                <a:gd name="T53" fmla="*/ 242 h 247"/>
                <a:gd name="T54" fmla="*/ 233 w 316"/>
                <a:gd name="T55" fmla="*/ 235 h 247"/>
                <a:gd name="T56" fmla="*/ 214 w 316"/>
                <a:gd name="T57" fmla="*/ 235 h 247"/>
                <a:gd name="T58" fmla="*/ 200 w 316"/>
                <a:gd name="T59" fmla="*/ 235 h 247"/>
                <a:gd name="T60" fmla="*/ 183 w 316"/>
                <a:gd name="T61" fmla="*/ 237 h 247"/>
                <a:gd name="T62" fmla="*/ 169 w 316"/>
                <a:gd name="T63" fmla="*/ 228 h 247"/>
                <a:gd name="T64" fmla="*/ 152 w 316"/>
                <a:gd name="T65" fmla="*/ 230 h 247"/>
                <a:gd name="T66" fmla="*/ 145 w 316"/>
                <a:gd name="T67" fmla="*/ 228 h 247"/>
                <a:gd name="T68" fmla="*/ 133 w 316"/>
                <a:gd name="T69" fmla="*/ 228 h 247"/>
                <a:gd name="T70" fmla="*/ 119 w 316"/>
                <a:gd name="T71" fmla="*/ 223 h 247"/>
                <a:gd name="T72" fmla="*/ 102 w 316"/>
                <a:gd name="T73" fmla="*/ 216 h 247"/>
                <a:gd name="T74" fmla="*/ 76 w 316"/>
                <a:gd name="T75" fmla="*/ 213 h 247"/>
                <a:gd name="T76" fmla="*/ 60 w 316"/>
                <a:gd name="T77" fmla="*/ 213 h 247"/>
                <a:gd name="T78" fmla="*/ 38 w 316"/>
                <a:gd name="T79" fmla="*/ 218 h 247"/>
                <a:gd name="T80" fmla="*/ 19 w 316"/>
                <a:gd name="T81" fmla="*/ 225 h 247"/>
                <a:gd name="T82" fmla="*/ 12 w 316"/>
                <a:gd name="T83" fmla="*/ 223 h 247"/>
                <a:gd name="T84" fmla="*/ 14 w 316"/>
                <a:gd name="T85" fmla="*/ 216 h 247"/>
                <a:gd name="T86" fmla="*/ 7 w 316"/>
                <a:gd name="T87" fmla="*/ 199 h 247"/>
                <a:gd name="T88" fmla="*/ 10 w 316"/>
                <a:gd name="T89" fmla="*/ 183 h 247"/>
                <a:gd name="T90" fmla="*/ 24 w 316"/>
                <a:gd name="T91" fmla="*/ 159 h 247"/>
                <a:gd name="T92" fmla="*/ 14 w 316"/>
                <a:gd name="T93" fmla="*/ 133 h 247"/>
                <a:gd name="T94" fmla="*/ 14 w 316"/>
                <a:gd name="T95" fmla="*/ 114 h 247"/>
                <a:gd name="T96" fmla="*/ 31 w 316"/>
                <a:gd name="T97" fmla="*/ 111 h 247"/>
                <a:gd name="T98" fmla="*/ 45 w 316"/>
                <a:gd name="T99" fmla="*/ 111 h 247"/>
                <a:gd name="T100" fmla="*/ 52 w 316"/>
                <a:gd name="T101" fmla="*/ 104 h 247"/>
                <a:gd name="T102" fmla="*/ 71 w 316"/>
                <a:gd name="T103" fmla="*/ 97 h 247"/>
                <a:gd name="T104" fmla="*/ 79 w 316"/>
                <a:gd name="T105" fmla="*/ 102 h 247"/>
                <a:gd name="T106" fmla="*/ 83 w 316"/>
                <a:gd name="T107" fmla="*/ 95 h 247"/>
                <a:gd name="T108" fmla="*/ 81 w 316"/>
                <a:gd name="T109" fmla="*/ 83 h 247"/>
                <a:gd name="T110" fmla="*/ 88 w 316"/>
                <a:gd name="T111" fmla="*/ 66 h 247"/>
                <a:gd name="T112" fmla="*/ 102 w 316"/>
                <a:gd name="T113" fmla="*/ 57 h 247"/>
                <a:gd name="T114" fmla="*/ 116 w 316"/>
                <a:gd name="T115" fmla="*/ 50 h 247"/>
                <a:gd name="T116" fmla="*/ 112 w 316"/>
                <a:gd name="T117" fmla="*/ 42 h 247"/>
                <a:gd name="T118" fmla="*/ 109 w 316"/>
                <a:gd name="T119" fmla="*/ 35 h 247"/>
                <a:gd name="T120" fmla="*/ 121 w 316"/>
                <a:gd name="T121" fmla="*/ 23 h 247"/>
                <a:gd name="T122" fmla="*/ 138 w 316"/>
                <a:gd name="T123" fmla="*/ 19 h 247"/>
                <a:gd name="T124" fmla="*/ 152 w 316"/>
                <a:gd name="T125" fmla="*/ 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247">
                  <a:moveTo>
                    <a:pt x="164" y="0"/>
                  </a:moveTo>
                  <a:lnTo>
                    <a:pt x="164" y="2"/>
                  </a:lnTo>
                  <a:lnTo>
                    <a:pt x="166" y="2"/>
                  </a:lnTo>
                  <a:lnTo>
                    <a:pt x="166" y="4"/>
                  </a:lnTo>
                  <a:lnTo>
                    <a:pt x="169" y="4"/>
                  </a:lnTo>
                  <a:lnTo>
                    <a:pt x="169" y="7"/>
                  </a:lnTo>
                  <a:lnTo>
                    <a:pt x="169" y="4"/>
                  </a:lnTo>
                  <a:lnTo>
                    <a:pt x="171" y="7"/>
                  </a:lnTo>
                  <a:lnTo>
                    <a:pt x="171" y="4"/>
                  </a:lnTo>
                  <a:lnTo>
                    <a:pt x="173" y="4"/>
                  </a:lnTo>
                  <a:lnTo>
                    <a:pt x="176" y="4"/>
                  </a:lnTo>
                  <a:lnTo>
                    <a:pt x="176" y="2"/>
                  </a:lnTo>
                  <a:lnTo>
                    <a:pt x="178" y="4"/>
                  </a:lnTo>
                  <a:lnTo>
                    <a:pt x="181" y="4"/>
                  </a:lnTo>
                  <a:lnTo>
                    <a:pt x="178" y="4"/>
                  </a:lnTo>
                  <a:lnTo>
                    <a:pt x="181" y="7"/>
                  </a:lnTo>
                  <a:lnTo>
                    <a:pt x="181" y="9"/>
                  </a:lnTo>
                  <a:lnTo>
                    <a:pt x="183" y="9"/>
                  </a:lnTo>
                  <a:lnTo>
                    <a:pt x="183" y="12"/>
                  </a:lnTo>
                  <a:lnTo>
                    <a:pt x="183" y="9"/>
                  </a:lnTo>
                  <a:lnTo>
                    <a:pt x="185" y="12"/>
                  </a:lnTo>
                  <a:lnTo>
                    <a:pt x="185" y="9"/>
                  </a:lnTo>
                  <a:lnTo>
                    <a:pt x="185" y="12"/>
                  </a:lnTo>
                  <a:lnTo>
                    <a:pt x="185" y="9"/>
                  </a:lnTo>
                  <a:lnTo>
                    <a:pt x="188" y="9"/>
                  </a:lnTo>
                  <a:lnTo>
                    <a:pt x="190" y="9"/>
                  </a:lnTo>
                  <a:lnTo>
                    <a:pt x="192" y="9"/>
                  </a:lnTo>
                  <a:lnTo>
                    <a:pt x="192" y="7"/>
                  </a:lnTo>
                  <a:lnTo>
                    <a:pt x="195" y="7"/>
                  </a:lnTo>
                  <a:lnTo>
                    <a:pt x="195" y="9"/>
                  </a:lnTo>
                  <a:lnTo>
                    <a:pt x="195" y="7"/>
                  </a:lnTo>
                  <a:lnTo>
                    <a:pt x="197" y="7"/>
                  </a:lnTo>
                  <a:lnTo>
                    <a:pt x="197" y="9"/>
                  </a:lnTo>
                  <a:lnTo>
                    <a:pt x="200" y="9"/>
                  </a:lnTo>
                  <a:lnTo>
                    <a:pt x="202" y="9"/>
                  </a:lnTo>
                  <a:lnTo>
                    <a:pt x="202" y="12"/>
                  </a:lnTo>
                  <a:lnTo>
                    <a:pt x="204" y="12"/>
                  </a:lnTo>
                  <a:lnTo>
                    <a:pt x="207" y="12"/>
                  </a:lnTo>
                  <a:lnTo>
                    <a:pt x="204" y="12"/>
                  </a:lnTo>
                  <a:lnTo>
                    <a:pt x="207" y="12"/>
                  </a:lnTo>
                  <a:lnTo>
                    <a:pt x="207" y="14"/>
                  </a:lnTo>
                  <a:lnTo>
                    <a:pt x="204" y="14"/>
                  </a:lnTo>
                  <a:lnTo>
                    <a:pt x="204" y="16"/>
                  </a:lnTo>
                  <a:lnTo>
                    <a:pt x="204" y="19"/>
                  </a:lnTo>
                  <a:lnTo>
                    <a:pt x="204" y="21"/>
                  </a:lnTo>
                  <a:lnTo>
                    <a:pt x="207" y="23"/>
                  </a:lnTo>
                  <a:lnTo>
                    <a:pt x="209" y="23"/>
                  </a:lnTo>
                  <a:lnTo>
                    <a:pt x="211" y="23"/>
                  </a:lnTo>
                  <a:lnTo>
                    <a:pt x="211" y="21"/>
                  </a:lnTo>
                  <a:lnTo>
                    <a:pt x="214" y="21"/>
                  </a:lnTo>
                  <a:lnTo>
                    <a:pt x="214" y="19"/>
                  </a:lnTo>
                  <a:lnTo>
                    <a:pt x="216" y="19"/>
                  </a:lnTo>
                  <a:lnTo>
                    <a:pt x="216" y="21"/>
                  </a:lnTo>
                  <a:lnTo>
                    <a:pt x="218" y="21"/>
                  </a:lnTo>
                  <a:lnTo>
                    <a:pt x="218" y="19"/>
                  </a:lnTo>
                  <a:lnTo>
                    <a:pt x="221" y="19"/>
                  </a:lnTo>
                  <a:lnTo>
                    <a:pt x="221" y="16"/>
                  </a:lnTo>
                  <a:lnTo>
                    <a:pt x="223" y="16"/>
                  </a:lnTo>
                  <a:lnTo>
                    <a:pt x="226" y="16"/>
                  </a:lnTo>
                  <a:lnTo>
                    <a:pt x="228" y="16"/>
                  </a:lnTo>
                  <a:lnTo>
                    <a:pt x="228" y="19"/>
                  </a:lnTo>
                  <a:lnTo>
                    <a:pt x="228" y="16"/>
                  </a:lnTo>
                  <a:lnTo>
                    <a:pt x="230" y="16"/>
                  </a:lnTo>
                  <a:lnTo>
                    <a:pt x="233" y="16"/>
                  </a:lnTo>
                  <a:lnTo>
                    <a:pt x="235" y="16"/>
                  </a:lnTo>
                  <a:lnTo>
                    <a:pt x="235" y="19"/>
                  </a:lnTo>
                  <a:lnTo>
                    <a:pt x="237" y="19"/>
                  </a:lnTo>
                  <a:lnTo>
                    <a:pt x="240" y="19"/>
                  </a:lnTo>
                  <a:lnTo>
                    <a:pt x="242" y="19"/>
                  </a:lnTo>
                  <a:lnTo>
                    <a:pt x="240" y="21"/>
                  </a:lnTo>
                  <a:lnTo>
                    <a:pt x="242" y="21"/>
                  </a:lnTo>
                  <a:lnTo>
                    <a:pt x="245" y="21"/>
                  </a:lnTo>
                  <a:lnTo>
                    <a:pt x="245" y="23"/>
                  </a:lnTo>
                  <a:lnTo>
                    <a:pt x="245" y="26"/>
                  </a:lnTo>
                  <a:lnTo>
                    <a:pt x="247" y="26"/>
                  </a:lnTo>
                  <a:lnTo>
                    <a:pt x="247" y="28"/>
                  </a:lnTo>
                  <a:lnTo>
                    <a:pt x="247" y="26"/>
                  </a:lnTo>
                  <a:lnTo>
                    <a:pt x="249" y="26"/>
                  </a:lnTo>
                  <a:lnTo>
                    <a:pt x="249" y="28"/>
                  </a:lnTo>
                  <a:lnTo>
                    <a:pt x="249" y="31"/>
                  </a:lnTo>
                  <a:lnTo>
                    <a:pt x="252" y="31"/>
                  </a:lnTo>
                  <a:lnTo>
                    <a:pt x="252" y="28"/>
                  </a:lnTo>
                  <a:lnTo>
                    <a:pt x="254" y="28"/>
                  </a:lnTo>
                  <a:lnTo>
                    <a:pt x="256" y="31"/>
                  </a:lnTo>
                  <a:lnTo>
                    <a:pt x="254" y="31"/>
                  </a:lnTo>
                  <a:lnTo>
                    <a:pt x="256" y="31"/>
                  </a:lnTo>
                  <a:lnTo>
                    <a:pt x="256" y="33"/>
                  </a:lnTo>
                  <a:lnTo>
                    <a:pt x="254" y="33"/>
                  </a:lnTo>
                  <a:lnTo>
                    <a:pt x="256" y="33"/>
                  </a:lnTo>
                  <a:lnTo>
                    <a:pt x="256" y="35"/>
                  </a:lnTo>
                  <a:lnTo>
                    <a:pt x="254" y="35"/>
                  </a:lnTo>
                  <a:lnTo>
                    <a:pt x="254" y="38"/>
                  </a:lnTo>
                  <a:lnTo>
                    <a:pt x="254" y="40"/>
                  </a:lnTo>
                  <a:lnTo>
                    <a:pt x="254" y="42"/>
                  </a:lnTo>
                  <a:lnTo>
                    <a:pt x="252" y="42"/>
                  </a:lnTo>
                  <a:lnTo>
                    <a:pt x="252" y="45"/>
                  </a:lnTo>
                  <a:lnTo>
                    <a:pt x="254" y="47"/>
                  </a:lnTo>
                  <a:lnTo>
                    <a:pt x="254" y="50"/>
                  </a:lnTo>
                  <a:lnTo>
                    <a:pt x="256" y="50"/>
                  </a:lnTo>
                  <a:lnTo>
                    <a:pt x="256" y="52"/>
                  </a:lnTo>
                  <a:lnTo>
                    <a:pt x="259" y="52"/>
                  </a:lnTo>
                  <a:lnTo>
                    <a:pt x="259" y="54"/>
                  </a:lnTo>
                  <a:lnTo>
                    <a:pt x="256" y="54"/>
                  </a:lnTo>
                  <a:lnTo>
                    <a:pt x="256" y="57"/>
                  </a:lnTo>
                  <a:lnTo>
                    <a:pt x="259" y="57"/>
                  </a:lnTo>
                  <a:lnTo>
                    <a:pt x="256" y="59"/>
                  </a:lnTo>
                  <a:lnTo>
                    <a:pt x="254" y="59"/>
                  </a:lnTo>
                  <a:lnTo>
                    <a:pt x="256" y="59"/>
                  </a:lnTo>
                  <a:lnTo>
                    <a:pt x="256" y="61"/>
                  </a:lnTo>
                  <a:lnTo>
                    <a:pt x="254" y="61"/>
                  </a:lnTo>
                  <a:lnTo>
                    <a:pt x="252" y="61"/>
                  </a:lnTo>
                  <a:lnTo>
                    <a:pt x="252" y="64"/>
                  </a:lnTo>
                  <a:lnTo>
                    <a:pt x="252" y="66"/>
                  </a:lnTo>
                  <a:lnTo>
                    <a:pt x="249" y="66"/>
                  </a:lnTo>
                  <a:lnTo>
                    <a:pt x="249" y="69"/>
                  </a:lnTo>
                  <a:lnTo>
                    <a:pt x="249" y="71"/>
                  </a:lnTo>
                  <a:lnTo>
                    <a:pt x="252" y="71"/>
                  </a:lnTo>
                  <a:lnTo>
                    <a:pt x="254" y="71"/>
                  </a:lnTo>
                  <a:lnTo>
                    <a:pt x="254" y="73"/>
                  </a:lnTo>
                  <a:lnTo>
                    <a:pt x="256" y="73"/>
                  </a:lnTo>
                  <a:lnTo>
                    <a:pt x="256" y="76"/>
                  </a:lnTo>
                  <a:lnTo>
                    <a:pt x="256" y="73"/>
                  </a:lnTo>
                  <a:lnTo>
                    <a:pt x="259" y="73"/>
                  </a:lnTo>
                  <a:lnTo>
                    <a:pt x="256" y="76"/>
                  </a:lnTo>
                  <a:lnTo>
                    <a:pt x="259" y="76"/>
                  </a:lnTo>
                  <a:lnTo>
                    <a:pt x="261" y="76"/>
                  </a:lnTo>
                  <a:lnTo>
                    <a:pt x="261" y="78"/>
                  </a:lnTo>
                  <a:lnTo>
                    <a:pt x="261" y="76"/>
                  </a:lnTo>
                  <a:lnTo>
                    <a:pt x="264" y="76"/>
                  </a:lnTo>
                  <a:lnTo>
                    <a:pt x="264" y="78"/>
                  </a:lnTo>
                  <a:lnTo>
                    <a:pt x="264" y="80"/>
                  </a:lnTo>
                  <a:lnTo>
                    <a:pt x="261" y="80"/>
                  </a:lnTo>
                  <a:lnTo>
                    <a:pt x="261" y="83"/>
                  </a:lnTo>
                  <a:lnTo>
                    <a:pt x="261" y="85"/>
                  </a:lnTo>
                  <a:lnTo>
                    <a:pt x="264" y="88"/>
                  </a:lnTo>
                  <a:lnTo>
                    <a:pt x="264" y="85"/>
                  </a:lnTo>
                  <a:lnTo>
                    <a:pt x="264" y="88"/>
                  </a:lnTo>
                  <a:lnTo>
                    <a:pt x="266" y="88"/>
                  </a:lnTo>
                  <a:lnTo>
                    <a:pt x="266" y="90"/>
                  </a:lnTo>
                  <a:lnTo>
                    <a:pt x="266" y="92"/>
                  </a:lnTo>
                  <a:lnTo>
                    <a:pt x="268" y="92"/>
                  </a:lnTo>
                  <a:lnTo>
                    <a:pt x="266" y="95"/>
                  </a:lnTo>
                  <a:lnTo>
                    <a:pt x="268" y="95"/>
                  </a:lnTo>
                  <a:lnTo>
                    <a:pt x="268" y="97"/>
                  </a:lnTo>
                  <a:lnTo>
                    <a:pt x="268" y="99"/>
                  </a:lnTo>
                  <a:lnTo>
                    <a:pt x="268" y="97"/>
                  </a:lnTo>
                  <a:lnTo>
                    <a:pt x="271" y="97"/>
                  </a:lnTo>
                  <a:lnTo>
                    <a:pt x="271" y="99"/>
                  </a:lnTo>
                  <a:lnTo>
                    <a:pt x="273" y="99"/>
                  </a:lnTo>
                  <a:lnTo>
                    <a:pt x="273" y="102"/>
                  </a:lnTo>
                  <a:lnTo>
                    <a:pt x="275" y="102"/>
                  </a:lnTo>
                  <a:lnTo>
                    <a:pt x="275" y="104"/>
                  </a:lnTo>
                  <a:lnTo>
                    <a:pt x="278" y="104"/>
                  </a:lnTo>
                  <a:lnTo>
                    <a:pt x="280" y="104"/>
                  </a:lnTo>
                  <a:lnTo>
                    <a:pt x="283" y="104"/>
                  </a:lnTo>
                  <a:lnTo>
                    <a:pt x="283" y="107"/>
                  </a:lnTo>
                  <a:lnTo>
                    <a:pt x="285" y="107"/>
                  </a:lnTo>
                  <a:lnTo>
                    <a:pt x="287" y="107"/>
                  </a:lnTo>
                  <a:lnTo>
                    <a:pt x="287" y="109"/>
                  </a:lnTo>
                  <a:lnTo>
                    <a:pt x="285" y="109"/>
                  </a:lnTo>
                  <a:lnTo>
                    <a:pt x="285" y="111"/>
                  </a:lnTo>
                  <a:lnTo>
                    <a:pt x="287" y="111"/>
                  </a:lnTo>
                  <a:lnTo>
                    <a:pt x="285" y="111"/>
                  </a:lnTo>
                  <a:lnTo>
                    <a:pt x="285" y="114"/>
                  </a:lnTo>
                  <a:lnTo>
                    <a:pt x="285" y="116"/>
                  </a:lnTo>
                  <a:lnTo>
                    <a:pt x="285" y="118"/>
                  </a:lnTo>
                  <a:lnTo>
                    <a:pt x="283" y="118"/>
                  </a:lnTo>
                  <a:lnTo>
                    <a:pt x="283" y="121"/>
                  </a:lnTo>
                  <a:lnTo>
                    <a:pt x="285" y="121"/>
                  </a:lnTo>
                  <a:lnTo>
                    <a:pt x="287" y="121"/>
                  </a:lnTo>
                  <a:lnTo>
                    <a:pt x="290" y="121"/>
                  </a:lnTo>
                  <a:lnTo>
                    <a:pt x="292" y="121"/>
                  </a:lnTo>
                  <a:lnTo>
                    <a:pt x="294" y="121"/>
                  </a:lnTo>
                  <a:lnTo>
                    <a:pt x="294" y="118"/>
                  </a:lnTo>
                  <a:lnTo>
                    <a:pt x="294" y="121"/>
                  </a:lnTo>
                  <a:lnTo>
                    <a:pt x="297" y="121"/>
                  </a:lnTo>
                  <a:lnTo>
                    <a:pt x="297" y="123"/>
                  </a:lnTo>
                  <a:lnTo>
                    <a:pt x="299" y="123"/>
                  </a:lnTo>
                  <a:lnTo>
                    <a:pt x="299" y="121"/>
                  </a:lnTo>
                  <a:lnTo>
                    <a:pt x="299" y="123"/>
                  </a:lnTo>
                  <a:lnTo>
                    <a:pt x="302" y="123"/>
                  </a:lnTo>
                  <a:lnTo>
                    <a:pt x="302" y="126"/>
                  </a:lnTo>
                  <a:lnTo>
                    <a:pt x="302" y="123"/>
                  </a:lnTo>
                  <a:lnTo>
                    <a:pt x="304" y="123"/>
                  </a:lnTo>
                  <a:lnTo>
                    <a:pt x="306" y="123"/>
                  </a:lnTo>
                  <a:lnTo>
                    <a:pt x="306" y="126"/>
                  </a:lnTo>
                  <a:lnTo>
                    <a:pt x="306" y="128"/>
                  </a:lnTo>
                  <a:lnTo>
                    <a:pt x="304" y="128"/>
                  </a:lnTo>
                  <a:lnTo>
                    <a:pt x="304" y="130"/>
                  </a:lnTo>
                  <a:lnTo>
                    <a:pt x="306" y="133"/>
                  </a:lnTo>
                  <a:lnTo>
                    <a:pt x="309" y="133"/>
                  </a:lnTo>
                  <a:lnTo>
                    <a:pt x="309" y="135"/>
                  </a:lnTo>
                  <a:lnTo>
                    <a:pt x="311" y="135"/>
                  </a:lnTo>
                  <a:lnTo>
                    <a:pt x="311" y="137"/>
                  </a:lnTo>
                  <a:lnTo>
                    <a:pt x="311" y="135"/>
                  </a:lnTo>
                  <a:lnTo>
                    <a:pt x="311" y="137"/>
                  </a:lnTo>
                  <a:lnTo>
                    <a:pt x="313" y="137"/>
                  </a:lnTo>
                  <a:lnTo>
                    <a:pt x="316" y="137"/>
                  </a:lnTo>
                  <a:lnTo>
                    <a:pt x="316" y="140"/>
                  </a:lnTo>
                  <a:lnTo>
                    <a:pt x="313" y="142"/>
                  </a:lnTo>
                  <a:lnTo>
                    <a:pt x="316" y="142"/>
                  </a:lnTo>
                  <a:lnTo>
                    <a:pt x="316" y="145"/>
                  </a:lnTo>
                  <a:lnTo>
                    <a:pt x="313" y="145"/>
                  </a:lnTo>
                  <a:lnTo>
                    <a:pt x="311" y="145"/>
                  </a:lnTo>
                  <a:lnTo>
                    <a:pt x="309" y="145"/>
                  </a:lnTo>
                  <a:lnTo>
                    <a:pt x="309" y="147"/>
                  </a:lnTo>
                  <a:lnTo>
                    <a:pt x="309" y="145"/>
                  </a:lnTo>
                  <a:lnTo>
                    <a:pt x="306" y="145"/>
                  </a:lnTo>
                  <a:lnTo>
                    <a:pt x="306" y="147"/>
                  </a:lnTo>
                  <a:lnTo>
                    <a:pt x="304" y="149"/>
                  </a:lnTo>
                  <a:lnTo>
                    <a:pt x="304" y="152"/>
                  </a:lnTo>
                  <a:lnTo>
                    <a:pt x="302" y="152"/>
                  </a:lnTo>
                  <a:lnTo>
                    <a:pt x="302" y="154"/>
                  </a:lnTo>
                  <a:lnTo>
                    <a:pt x="299" y="154"/>
                  </a:lnTo>
                  <a:lnTo>
                    <a:pt x="297" y="156"/>
                  </a:lnTo>
                  <a:lnTo>
                    <a:pt x="297" y="154"/>
                  </a:lnTo>
                  <a:lnTo>
                    <a:pt x="297" y="156"/>
                  </a:lnTo>
                  <a:lnTo>
                    <a:pt x="294" y="156"/>
                  </a:lnTo>
                  <a:lnTo>
                    <a:pt x="292" y="156"/>
                  </a:lnTo>
                  <a:lnTo>
                    <a:pt x="290" y="156"/>
                  </a:lnTo>
                  <a:lnTo>
                    <a:pt x="287" y="156"/>
                  </a:lnTo>
                  <a:lnTo>
                    <a:pt x="287" y="154"/>
                  </a:lnTo>
                  <a:lnTo>
                    <a:pt x="285" y="154"/>
                  </a:lnTo>
                  <a:lnTo>
                    <a:pt x="283" y="152"/>
                  </a:lnTo>
                  <a:lnTo>
                    <a:pt x="280" y="152"/>
                  </a:lnTo>
                  <a:lnTo>
                    <a:pt x="280" y="149"/>
                  </a:lnTo>
                  <a:lnTo>
                    <a:pt x="278" y="149"/>
                  </a:lnTo>
                  <a:lnTo>
                    <a:pt x="275" y="152"/>
                  </a:lnTo>
                  <a:lnTo>
                    <a:pt x="273" y="149"/>
                  </a:lnTo>
                  <a:lnTo>
                    <a:pt x="271" y="149"/>
                  </a:lnTo>
                  <a:lnTo>
                    <a:pt x="271" y="152"/>
                  </a:lnTo>
                  <a:lnTo>
                    <a:pt x="268" y="154"/>
                  </a:lnTo>
                  <a:lnTo>
                    <a:pt x="271" y="154"/>
                  </a:lnTo>
                  <a:lnTo>
                    <a:pt x="271" y="156"/>
                  </a:lnTo>
                  <a:lnTo>
                    <a:pt x="268" y="156"/>
                  </a:lnTo>
                  <a:lnTo>
                    <a:pt x="268" y="159"/>
                  </a:lnTo>
                  <a:lnTo>
                    <a:pt x="266" y="159"/>
                  </a:lnTo>
                  <a:lnTo>
                    <a:pt x="268" y="161"/>
                  </a:lnTo>
                  <a:lnTo>
                    <a:pt x="271" y="161"/>
                  </a:lnTo>
                  <a:lnTo>
                    <a:pt x="271" y="164"/>
                  </a:lnTo>
                  <a:lnTo>
                    <a:pt x="271" y="166"/>
                  </a:lnTo>
                  <a:lnTo>
                    <a:pt x="273" y="166"/>
                  </a:lnTo>
                  <a:lnTo>
                    <a:pt x="273" y="168"/>
                  </a:lnTo>
                  <a:lnTo>
                    <a:pt x="275" y="168"/>
                  </a:lnTo>
                  <a:lnTo>
                    <a:pt x="275" y="171"/>
                  </a:lnTo>
                  <a:lnTo>
                    <a:pt x="278" y="171"/>
                  </a:lnTo>
                  <a:lnTo>
                    <a:pt x="278" y="173"/>
                  </a:lnTo>
                  <a:lnTo>
                    <a:pt x="275" y="173"/>
                  </a:lnTo>
                  <a:lnTo>
                    <a:pt x="275" y="175"/>
                  </a:lnTo>
                  <a:lnTo>
                    <a:pt x="273" y="175"/>
                  </a:lnTo>
                  <a:lnTo>
                    <a:pt x="275" y="178"/>
                  </a:lnTo>
                  <a:lnTo>
                    <a:pt x="275" y="180"/>
                  </a:lnTo>
                  <a:lnTo>
                    <a:pt x="278" y="180"/>
                  </a:lnTo>
                  <a:lnTo>
                    <a:pt x="278" y="183"/>
                  </a:lnTo>
                  <a:lnTo>
                    <a:pt x="280" y="183"/>
                  </a:lnTo>
                  <a:lnTo>
                    <a:pt x="278" y="183"/>
                  </a:lnTo>
                  <a:lnTo>
                    <a:pt x="278" y="185"/>
                  </a:lnTo>
                  <a:lnTo>
                    <a:pt x="275" y="185"/>
                  </a:lnTo>
                  <a:lnTo>
                    <a:pt x="278" y="185"/>
                  </a:lnTo>
                  <a:lnTo>
                    <a:pt x="275" y="185"/>
                  </a:lnTo>
                  <a:lnTo>
                    <a:pt x="275" y="187"/>
                  </a:lnTo>
                  <a:lnTo>
                    <a:pt x="278" y="187"/>
                  </a:lnTo>
                  <a:lnTo>
                    <a:pt x="278" y="190"/>
                  </a:lnTo>
                  <a:lnTo>
                    <a:pt x="278" y="192"/>
                  </a:lnTo>
                  <a:lnTo>
                    <a:pt x="278" y="194"/>
                  </a:lnTo>
                  <a:lnTo>
                    <a:pt x="278" y="197"/>
                  </a:lnTo>
                  <a:lnTo>
                    <a:pt x="280" y="197"/>
                  </a:lnTo>
                  <a:lnTo>
                    <a:pt x="280" y="199"/>
                  </a:lnTo>
                  <a:lnTo>
                    <a:pt x="280" y="202"/>
                  </a:lnTo>
                  <a:lnTo>
                    <a:pt x="283" y="202"/>
                  </a:lnTo>
                  <a:lnTo>
                    <a:pt x="283" y="204"/>
                  </a:lnTo>
                  <a:lnTo>
                    <a:pt x="280" y="204"/>
                  </a:lnTo>
                  <a:lnTo>
                    <a:pt x="278" y="204"/>
                  </a:lnTo>
                  <a:lnTo>
                    <a:pt x="275" y="204"/>
                  </a:lnTo>
                  <a:lnTo>
                    <a:pt x="273" y="204"/>
                  </a:lnTo>
                  <a:lnTo>
                    <a:pt x="271" y="204"/>
                  </a:lnTo>
                  <a:lnTo>
                    <a:pt x="268" y="204"/>
                  </a:lnTo>
                  <a:lnTo>
                    <a:pt x="268" y="206"/>
                  </a:lnTo>
                  <a:lnTo>
                    <a:pt x="266" y="206"/>
                  </a:lnTo>
                  <a:lnTo>
                    <a:pt x="266" y="209"/>
                  </a:lnTo>
                  <a:lnTo>
                    <a:pt x="264" y="206"/>
                  </a:lnTo>
                  <a:lnTo>
                    <a:pt x="261" y="206"/>
                  </a:lnTo>
                  <a:lnTo>
                    <a:pt x="261" y="204"/>
                  </a:lnTo>
                  <a:lnTo>
                    <a:pt x="261" y="206"/>
                  </a:lnTo>
                  <a:lnTo>
                    <a:pt x="259" y="206"/>
                  </a:lnTo>
                  <a:lnTo>
                    <a:pt x="256" y="206"/>
                  </a:lnTo>
                  <a:lnTo>
                    <a:pt x="254" y="206"/>
                  </a:lnTo>
                  <a:lnTo>
                    <a:pt x="256" y="206"/>
                  </a:lnTo>
                  <a:lnTo>
                    <a:pt x="256" y="209"/>
                  </a:lnTo>
                  <a:lnTo>
                    <a:pt x="254" y="209"/>
                  </a:lnTo>
                  <a:lnTo>
                    <a:pt x="256" y="209"/>
                  </a:lnTo>
                  <a:lnTo>
                    <a:pt x="254" y="209"/>
                  </a:lnTo>
                  <a:lnTo>
                    <a:pt x="254" y="211"/>
                  </a:lnTo>
                  <a:lnTo>
                    <a:pt x="252" y="211"/>
                  </a:lnTo>
                  <a:lnTo>
                    <a:pt x="252" y="213"/>
                  </a:lnTo>
                  <a:lnTo>
                    <a:pt x="249" y="216"/>
                  </a:lnTo>
                  <a:lnTo>
                    <a:pt x="249" y="213"/>
                  </a:lnTo>
                  <a:lnTo>
                    <a:pt x="249" y="216"/>
                  </a:lnTo>
                  <a:lnTo>
                    <a:pt x="247" y="216"/>
                  </a:lnTo>
                  <a:lnTo>
                    <a:pt x="247" y="218"/>
                  </a:lnTo>
                  <a:lnTo>
                    <a:pt x="247" y="221"/>
                  </a:lnTo>
                  <a:lnTo>
                    <a:pt x="245" y="221"/>
                  </a:lnTo>
                  <a:lnTo>
                    <a:pt x="245" y="223"/>
                  </a:lnTo>
                  <a:lnTo>
                    <a:pt x="245" y="225"/>
                  </a:lnTo>
                  <a:lnTo>
                    <a:pt x="245" y="223"/>
                  </a:lnTo>
                  <a:lnTo>
                    <a:pt x="242" y="223"/>
                  </a:lnTo>
                  <a:lnTo>
                    <a:pt x="242" y="225"/>
                  </a:lnTo>
                  <a:lnTo>
                    <a:pt x="242" y="228"/>
                  </a:lnTo>
                  <a:lnTo>
                    <a:pt x="242" y="225"/>
                  </a:lnTo>
                  <a:lnTo>
                    <a:pt x="242" y="228"/>
                  </a:lnTo>
                  <a:lnTo>
                    <a:pt x="242" y="230"/>
                  </a:lnTo>
                  <a:lnTo>
                    <a:pt x="240" y="230"/>
                  </a:lnTo>
                  <a:lnTo>
                    <a:pt x="242" y="230"/>
                  </a:lnTo>
                  <a:lnTo>
                    <a:pt x="242" y="232"/>
                  </a:lnTo>
                  <a:lnTo>
                    <a:pt x="245" y="232"/>
                  </a:lnTo>
                  <a:lnTo>
                    <a:pt x="242" y="232"/>
                  </a:lnTo>
                  <a:lnTo>
                    <a:pt x="242" y="235"/>
                  </a:lnTo>
                  <a:lnTo>
                    <a:pt x="245" y="235"/>
                  </a:lnTo>
                  <a:lnTo>
                    <a:pt x="245" y="237"/>
                  </a:lnTo>
                  <a:lnTo>
                    <a:pt x="242" y="237"/>
                  </a:lnTo>
                  <a:lnTo>
                    <a:pt x="245" y="237"/>
                  </a:lnTo>
                  <a:lnTo>
                    <a:pt x="245" y="240"/>
                  </a:lnTo>
                  <a:lnTo>
                    <a:pt x="247" y="240"/>
                  </a:lnTo>
                  <a:lnTo>
                    <a:pt x="245" y="242"/>
                  </a:lnTo>
                  <a:lnTo>
                    <a:pt x="245" y="244"/>
                  </a:lnTo>
                  <a:lnTo>
                    <a:pt x="242" y="247"/>
                  </a:lnTo>
                  <a:lnTo>
                    <a:pt x="240" y="244"/>
                  </a:lnTo>
                  <a:lnTo>
                    <a:pt x="240" y="247"/>
                  </a:lnTo>
                  <a:lnTo>
                    <a:pt x="240" y="244"/>
                  </a:lnTo>
                  <a:lnTo>
                    <a:pt x="237" y="244"/>
                  </a:lnTo>
                  <a:lnTo>
                    <a:pt x="237" y="242"/>
                  </a:lnTo>
                  <a:lnTo>
                    <a:pt x="235" y="242"/>
                  </a:lnTo>
                  <a:lnTo>
                    <a:pt x="235" y="240"/>
                  </a:lnTo>
                  <a:lnTo>
                    <a:pt x="235" y="237"/>
                  </a:lnTo>
                  <a:lnTo>
                    <a:pt x="233" y="237"/>
                  </a:lnTo>
                  <a:lnTo>
                    <a:pt x="233" y="235"/>
                  </a:lnTo>
                  <a:lnTo>
                    <a:pt x="230" y="235"/>
                  </a:lnTo>
                  <a:lnTo>
                    <a:pt x="228" y="235"/>
                  </a:lnTo>
                  <a:lnTo>
                    <a:pt x="226" y="235"/>
                  </a:lnTo>
                  <a:lnTo>
                    <a:pt x="223" y="235"/>
                  </a:lnTo>
                  <a:lnTo>
                    <a:pt x="221" y="235"/>
                  </a:lnTo>
                  <a:lnTo>
                    <a:pt x="221" y="237"/>
                  </a:lnTo>
                  <a:lnTo>
                    <a:pt x="218" y="237"/>
                  </a:lnTo>
                  <a:lnTo>
                    <a:pt x="216" y="237"/>
                  </a:lnTo>
                  <a:lnTo>
                    <a:pt x="216" y="235"/>
                  </a:lnTo>
                  <a:lnTo>
                    <a:pt x="216" y="232"/>
                  </a:lnTo>
                  <a:lnTo>
                    <a:pt x="214" y="232"/>
                  </a:lnTo>
                  <a:lnTo>
                    <a:pt x="214" y="235"/>
                  </a:lnTo>
                  <a:lnTo>
                    <a:pt x="211" y="235"/>
                  </a:lnTo>
                  <a:lnTo>
                    <a:pt x="211" y="237"/>
                  </a:lnTo>
                  <a:lnTo>
                    <a:pt x="209" y="237"/>
                  </a:lnTo>
                  <a:lnTo>
                    <a:pt x="209" y="235"/>
                  </a:lnTo>
                  <a:lnTo>
                    <a:pt x="209" y="237"/>
                  </a:lnTo>
                  <a:lnTo>
                    <a:pt x="209" y="240"/>
                  </a:lnTo>
                  <a:lnTo>
                    <a:pt x="207" y="240"/>
                  </a:lnTo>
                  <a:lnTo>
                    <a:pt x="204" y="240"/>
                  </a:lnTo>
                  <a:lnTo>
                    <a:pt x="202" y="240"/>
                  </a:lnTo>
                  <a:lnTo>
                    <a:pt x="202" y="237"/>
                  </a:lnTo>
                  <a:lnTo>
                    <a:pt x="200" y="237"/>
                  </a:lnTo>
                  <a:lnTo>
                    <a:pt x="200" y="235"/>
                  </a:lnTo>
                  <a:lnTo>
                    <a:pt x="200" y="232"/>
                  </a:lnTo>
                  <a:lnTo>
                    <a:pt x="200" y="230"/>
                  </a:lnTo>
                  <a:lnTo>
                    <a:pt x="197" y="230"/>
                  </a:lnTo>
                  <a:lnTo>
                    <a:pt x="197" y="228"/>
                  </a:lnTo>
                  <a:lnTo>
                    <a:pt x="195" y="228"/>
                  </a:lnTo>
                  <a:lnTo>
                    <a:pt x="192" y="228"/>
                  </a:lnTo>
                  <a:lnTo>
                    <a:pt x="192" y="230"/>
                  </a:lnTo>
                  <a:lnTo>
                    <a:pt x="190" y="230"/>
                  </a:lnTo>
                  <a:lnTo>
                    <a:pt x="188" y="230"/>
                  </a:lnTo>
                  <a:lnTo>
                    <a:pt x="185" y="232"/>
                  </a:lnTo>
                  <a:lnTo>
                    <a:pt x="183" y="235"/>
                  </a:lnTo>
                  <a:lnTo>
                    <a:pt x="183" y="237"/>
                  </a:lnTo>
                  <a:lnTo>
                    <a:pt x="183" y="240"/>
                  </a:lnTo>
                  <a:lnTo>
                    <a:pt x="183" y="237"/>
                  </a:lnTo>
                  <a:lnTo>
                    <a:pt x="181" y="237"/>
                  </a:lnTo>
                  <a:lnTo>
                    <a:pt x="181" y="235"/>
                  </a:lnTo>
                  <a:lnTo>
                    <a:pt x="181" y="232"/>
                  </a:lnTo>
                  <a:lnTo>
                    <a:pt x="178" y="232"/>
                  </a:lnTo>
                  <a:lnTo>
                    <a:pt x="181" y="230"/>
                  </a:lnTo>
                  <a:lnTo>
                    <a:pt x="176" y="230"/>
                  </a:lnTo>
                  <a:lnTo>
                    <a:pt x="173" y="230"/>
                  </a:lnTo>
                  <a:lnTo>
                    <a:pt x="171" y="232"/>
                  </a:lnTo>
                  <a:lnTo>
                    <a:pt x="169" y="230"/>
                  </a:lnTo>
                  <a:lnTo>
                    <a:pt x="169" y="228"/>
                  </a:lnTo>
                  <a:lnTo>
                    <a:pt x="166" y="228"/>
                  </a:lnTo>
                  <a:lnTo>
                    <a:pt x="166" y="225"/>
                  </a:lnTo>
                  <a:lnTo>
                    <a:pt x="166" y="228"/>
                  </a:lnTo>
                  <a:lnTo>
                    <a:pt x="164" y="228"/>
                  </a:lnTo>
                  <a:lnTo>
                    <a:pt x="164" y="230"/>
                  </a:lnTo>
                  <a:lnTo>
                    <a:pt x="162" y="230"/>
                  </a:lnTo>
                  <a:lnTo>
                    <a:pt x="159" y="230"/>
                  </a:lnTo>
                  <a:lnTo>
                    <a:pt x="157" y="232"/>
                  </a:lnTo>
                  <a:lnTo>
                    <a:pt x="157" y="230"/>
                  </a:lnTo>
                  <a:lnTo>
                    <a:pt x="154" y="228"/>
                  </a:lnTo>
                  <a:lnTo>
                    <a:pt x="152" y="228"/>
                  </a:lnTo>
                  <a:lnTo>
                    <a:pt x="152" y="230"/>
                  </a:lnTo>
                  <a:lnTo>
                    <a:pt x="152" y="232"/>
                  </a:lnTo>
                  <a:lnTo>
                    <a:pt x="154" y="232"/>
                  </a:lnTo>
                  <a:lnTo>
                    <a:pt x="152" y="232"/>
                  </a:lnTo>
                  <a:lnTo>
                    <a:pt x="152" y="235"/>
                  </a:lnTo>
                  <a:lnTo>
                    <a:pt x="150" y="235"/>
                  </a:lnTo>
                  <a:lnTo>
                    <a:pt x="147" y="235"/>
                  </a:lnTo>
                  <a:lnTo>
                    <a:pt x="147" y="232"/>
                  </a:lnTo>
                  <a:lnTo>
                    <a:pt x="150" y="232"/>
                  </a:lnTo>
                  <a:lnTo>
                    <a:pt x="150" y="230"/>
                  </a:lnTo>
                  <a:lnTo>
                    <a:pt x="147" y="230"/>
                  </a:lnTo>
                  <a:lnTo>
                    <a:pt x="145" y="230"/>
                  </a:lnTo>
                  <a:lnTo>
                    <a:pt x="145" y="228"/>
                  </a:lnTo>
                  <a:lnTo>
                    <a:pt x="143" y="228"/>
                  </a:lnTo>
                  <a:lnTo>
                    <a:pt x="143" y="230"/>
                  </a:lnTo>
                  <a:lnTo>
                    <a:pt x="140" y="230"/>
                  </a:lnTo>
                  <a:lnTo>
                    <a:pt x="143" y="230"/>
                  </a:lnTo>
                  <a:lnTo>
                    <a:pt x="140" y="230"/>
                  </a:lnTo>
                  <a:lnTo>
                    <a:pt x="140" y="228"/>
                  </a:lnTo>
                  <a:lnTo>
                    <a:pt x="140" y="230"/>
                  </a:lnTo>
                  <a:lnTo>
                    <a:pt x="138" y="230"/>
                  </a:lnTo>
                  <a:lnTo>
                    <a:pt x="138" y="228"/>
                  </a:lnTo>
                  <a:lnTo>
                    <a:pt x="135" y="230"/>
                  </a:lnTo>
                  <a:lnTo>
                    <a:pt x="133" y="230"/>
                  </a:lnTo>
                  <a:lnTo>
                    <a:pt x="133" y="228"/>
                  </a:lnTo>
                  <a:lnTo>
                    <a:pt x="135" y="228"/>
                  </a:lnTo>
                  <a:lnTo>
                    <a:pt x="133" y="228"/>
                  </a:lnTo>
                  <a:lnTo>
                    <a:pt x="133" y="225"/>
                  </a:lnTo>
                  <a:lnTo>
                    <a:pt x="133" y="223"/>
                  </a:lnTo>
                  <a:lnTo>
                    <a:pt x="133" y="221"/>
                  </a:lnTo>
                  <a:lnTo>
                    <a:pt x="128" y="221"/>
                  </a:lnTo>
                  <a:lnTo>
                    <a:pt x="126" y="221"/>
                  </a:lnTo>
                  <a:lnTo>
                    <a:pt x="124" y="223"/>
                  </a:lnTo>
                  <a:lnTo>
                    <a:pt x="121" y="223"/>
                  </a:lnTo>
                  <a:lnTo>
                    <a:pt x="121" y="221"/>
                  </a:lnTo>
                  <a:lnTo>
                    <a:pt x="119" y="221"/>
                  </a:lnTo>
                  <a:lnTo>
                    <a:pt x="119" y="223"/>
                  </a:lnTo>
                  <a:lnTo>
                    <a:pt x="119" y="221"/>
                  </a:lnTo>
                  <a:lnTo>
                    <a:pt x="116" y="221"/>
                  </a:lnTo>
                  <a:lnTo>
                    <a:pt x="116" y="218"/>
                  </a:lnTo>
                  <a:lnTo>
                    <a:pt x="114" y="218"/>
                  </a:lnTo>
                  <a:lnTo>
                    <a:pt x="112" y="218"/>
                  </a:lnTo>
                  <a:lnTo>
                    <a:pt x="112" y="221"/>
                  </a:lnTo>
                  <a:lnTo>
                    <a:pt x="109" y="221"/>
                  </a:lnTo>
                  <a:lnTo>
                    <a:pt x="107" y="221"/>
                  </a:lnTo>
                  <a:lnTo>
                    <a:pt x="107" y="218"/>
                  </a:lnTo>
                  <a:lnTo>
                    <a:pt x="105" y="218"/>
                  </a:lnTo>
                  <a:lnTo>
                    <a:pt x="105" y="216"/>
                  </a:lnTo>
                  <a:lnTo>
                    <a:pt x="102" y="216"/>
                  </a:lnTo>
                  <a:lnTo>
                    <a:pt x="100" y="216"/>
                  </a:lnTo>
                  <a:lnTo>
                    <a:pt x="97" y="216"/>
                  </a:lnTo>
                  <a:lnTo>
                    <a:pt x="95" y="216"/>
                  </a:lnTo>
                  <a:lnTo>
                    <a:pt x="95" y="213"/>
                  </a:lnTo>
                  <a:lnTo>
                    <a:pt x="93" y="213"/>
                  </a:lnTo>
                  <a:lnTo>
                    <a:pt x="90" y="213"/>
                  </a:lnTo>
                  <a:lnTo>
                    <a:pt x="88" y="213"/>
                  </a:lnTo>
                  <a:lnTo>
                    <a:pt x="86" y="213"/>
                  </a:lnTo>
                  <a:lnTo>
                    <a:pt x="83" y="213"/>
                  </a:lnTo>
                  <a:lnTo>
                    <a:pt x="81" y="213"/>
                  </a:lnTo>
                  <a:lnTo>
                    <a:pt x="79" y="213"/>
                  </a:lnTo>
                  <a:lnTo>
                    <a:pt x="76" y="213"/>
                  </a:lnTo>
                  <a:lnTo>
                    <a:pt x="74" y="213"/>
                  </a:lnTo>
                  <a:lnTo>
                    <a:pt x="71" y="213"/>
                  </a:lnTo>
                  <a:lnTo>
                    <a:pt x="69" y="213"/>
                  </a:lnTo>
                  <a:lnTo>
                    <a:pt x="69" y="211"/>
                  </a:lnTo>
                  <a:lnTo>
                    <a:pt x="67" y="211"/>
                  </a:lnTo>
                  <a:lnTo>
                    <a:pt x="64" y="211"/>
                  </a:lnTo>
                  <a:lnTo>
                    <a:pt x="64" y="213"/>
                  </a:lnTo>
                  <a:lnTo>
                    <a:pt x="62" y="211"/>
                  </a:lnTo>
                  <a:lnTo>
                    <a:pt x="62" y="213"/>
                  </a:lnTo>
                  <a:lnTo>
                    <a:pt x="60" y="213"/>
                  </a:lnTo>
                  <a:lnTo>
                    <a:pt x="57" y="213"/>
                  </a:lnTo>
                  <a:lnTo>
                    <a:pt x="60" y="213"/>
                  </a:lnTo>
                  <a:lnTo>
                    <a:pt x="57" y="216"/>
                  </a:lnTo>
                  <a:lnTo>
                    <a:pt x="57" y="213"/>
                  </a:lnTo>
                  <a:lnTo>
                    <a:pt x="55" y="216"/>
                  </a:lnTo>
                  <a:lnTo>
                    <a:pt x="55" y="213"/>
                  </a:lnTo>
                  <a:lnTo>
                    <a:pt x="52" y="213"/>
                  </a:lnTo>
                  <a:lnTo>
                    <a:pt x="52" y="216"/>
                  </a:lnTo>
                  <a:lnTo>
                    <a:pt x="50" y="216"/>
                  </a:lnTo>
                  <a:lnTo>
                    <a:pt x="48" y="216"/>
                  </a:lnTo>
                  <a:lnTo>
                    <a:pt x="45" y="216"/>
                  </a:lnTo>
                  <a:lnTo>
                    <a:pt x="43" y="216"/>
                  </a:lnTo>
                  <a:lnTo>
                    <a:pt x="38" y="216"/>
                  </a:lnTo>
                  <a:lnTo>
                    <a:pt x="38" y="218"/>
                  </a:lnTo>
                  <a:lnTo>
                    <a:pt x="36" y="218"/>
                  </a:lnTo>
                  <a:lnTo>
                    <a:pt x="36" y="221"/>
                  </a:lnTo>
                  <a:lnTo>
                    <a:pt x="36" y="223"/>
                  </a:lnTo>
                  <a:lnTo>
                    <a:pt x="31" y="225"/>
                  </a:lnTo>
                  <a:lnTo>
                    <a:pt x="29" y="228"/>
                  </a:lnTo>
                  <a:lnTo>
                    <a:pt x="26" y="230"/>
                  </a:lnTo>
                  <a:lnTo>
                    <a:pt x="24" y="230"/>
                  </a:lnTo>
                  <a:lnTo>
                    <a:pt x="22" y="230"/>
                  </a:lnTo>
                  <a:lnTo>
                    <a:pt x="24" y="228"/>
                  </a:lnTo>
                  <a:lnTo>
                    <a:pt x="22" y="228"/>
                  </a:lnTo>
                  <a:lnTo>
                    <a:pt x="19" y="228"/>
                  </a:lnTo>
                  <a:lnTo>
                    <a:pt x="19" y="225"/>
                  </a:lnTo>
                  <a:lnTo>
                    <a:pt x="19" y="228"/>
                  </a:lnTo>
                  <a:lnTo>
                    <a:pt x="17" y="228"/>
                  </a:lnTo>
                  <a:lnTo>
                    <a:pt x="14" y="228"/>
                  </a:lnTo>
                  <a:lnTo>
                    <a:pt x="14" y="230"/>
                  </a:lnTo>
                  <a:lnTo>
                    <a:pt x="14" y="232"/>
                  </a:lnTo>
                  <a:lnTo>
                    <a:pt x="14" y="235"/>
                  </a:lnTo>
                  <a:lnTo>
                    <a:pt x="14" y="232"/>
                  </a:lnTo>
                  <a:lnTo>
                    <a:pt x="12" y="232"/>
                  </a:lnTo>
                  <a:lnTo>
                    <a:pt x="12" y="230"/>
                  </a:lnTo>
                  <a:lnTo>
                    <a:pt x="12" y="228"/>
                  </a:lnTo>
                  <a:lnTo>
                    <a:pt x="12" y="225"/>
                  </a:lnTo>
                  <a:lnTo>
                    <a:pt x="12" y="223"/>
                  </a:lnTo>
                  <a:lnTo>
                    <a:pt x="10" y="223"/>
                  </a:lnTo>
                  <a:lnTo>
                    <a:pt x="12" y="223"/>
                  </a:lnTo>
                  <a:lnTo>
                    <a:pt x="12" y="221"/>
                  </a:lnTo>
                  <a:lnTo>
                    <a:pt x="12" y="223"/>
                  </a:lnTo>
                  <a:lnTo>
                    <a:pt x="12" y="221"/>
                  </a:lnTo>
                  <a:lnTo>
                    <a:pt x="14" y="221"/>
                  </a:lnTo>
                  <a:lnTo>
                    <a:pt x="14" y="218"/>
                  </a:lnTo>
                  <a:lnTo>
                    <a:pt x="12" y="218"/>
                  </a:lnTo>
                  <a:lnTo>
                    <a:pt x="14" y="218"/>
                  </a:lnTo>
                  <a:lnTo>
                    <a:pt x="12" y="218"/>
                  </a:lnTo>
                  <a:lnTo>
                    <a:pt x="14" y="218"/>
                  </a:lnTo>
                  <a:lnTo>
                    <a:pt x="14" y="216"/>
                  </a:lnTo>
                  <a:lnTo>
                    <a:pt x="14" y="213"/>
                  </a:lnTo>
                  <a:lnTo>
                    <a:pt x="14" y="211"/>
                  </a:lnTo>
                  <a:lnTo>
                    <a:pt x="17" y="211"/>
                  </a:lnTo>
                  <a:lnTo>
                    <a:pt x="17" y="209"/>
                  </a:lnTo>
                  <a:lnTo>
                    <a:pt x="14" y="209"/>
                  </a:lnTo>
                  <a:lnTo>
                    <a:pt x="14" y="206"/>
                  </a:lnTo>
                  <a:lnTo>
                    <a:pt x="14" y="204"/>
                  </a:lnTo>
                  <a:lnTo>
                    <a:pt x="12" y="204"/>
                  </a:lnTo>
                  <a:lnTo>
                    <a:pt x="10" y="204"/>
                  </a:lnTo>
                  <a:lnTo>
                    <a:pt x="10" y="202"/>
                  </a:lnTo>
                  <a:lnTo>
                    <a:pt x="7" y="202"/>
                  </a:lnTo>
                  <a:lnTo>
                    <a:pt x="7" y="199"/>
                  </a:lnTo>
                  <a:lnTo>
                    <a:pt x="5" y="199"/>
                  </a:lnTo>
                  <a:lnTo>
                    <a:pt x="3" y="199"/>
                  </a:lnTo>
                  <a:lnTo>
                    <a:pt x="0" y="199"/>
                  </a:lnTo>
                  <a:lnTo>
                    <a:pt x="0" y="197"/>
                  </a:lnTo>
                  <a:lnTo>
                    <a:pt x="0" y="194"/>
                  </a:lnTo>
                  <a:lnTo>
                    <a:pt x="0" y="192"/>
                  </a:lnTo>
                  <a:lnTo>
                    <a:pt x="3" y="190"/>
                  </a:lnTo>
                  <a:lnTo>
                    <a:pt x="5" y="190"/>
                  </a:lnTo>
                  <a:lnTo>
                    <a:pt x="5" y="187"/>
                  </a:lnTo>
                  <a:lnTo>
                    <a:pt x="7" y="185"/>
                  </a:lnTo>
                  <a:lnTo>
                    <a:pt x="7" y="183"/>
                  </a:lnTo>
                  <a:lnTo>
                    <a:pt x="10" y="183"/>
                  </a:lnTo>
                  <a:lnTo>
                    <a:pt x="12" y="180"/>
                  </a:lnTo>
                  <a:lnTo>
                    <a:pt x="14" y="180"/>
                  </a:lnTo>
                  <a:lnTo>
                    <a:pt x="17" y="180"/>
                  </a:lnTo>
                  <a:lnTo>
                    <a:pt x="19" y="178"/>
                  </a:lnTo>
                  <a:lnTo>
                    <a:pt x="22" y="175"/>
                  </a:lnTo>
                  <a:lnTo>
                    <a:pt x="24" y="175"/>
                  </a:lnTo>
                  <a:lnTo>
                    <a:pt x="24" y="171"/>
                  </a:lnTo>
                  <a:lnTo>
                    <a:pt x="24" y="168"/>
                  </a:lnTo>
                  <a:lnTo>
                    <a:pt x="24" y="166"/>
                  </a:lnTo>
                  <a:lnTo>
                    <a:pt x="24" y="164"/>
                  </a:lnTo>
                  <a:lnTo>
                    <a:pt x="24" y="161"/>
                  </a:lnTo>
                  <a:lnTo>
                    <a:pt x="24" y="159"/>
                  </a:lnTo>
                  <a:lnTo>
                    <a:pt x="24" y="156"/>
                  </a:lnTo>
                  <a:lnTo>
                    <a:pt x="22" y="156"/>
                  </a:lnTo>
                  <a:lnTo>
                    <a:pt x="22" y="154"/>
                  </a:lnTo>
                  <a:lnTo>
                    <a:pt x="24" y="154"/>
                  </a:lnTo>
                  <a:lnTo>
                    <a:pt x="24" y="152"/>
                  </a:lnTo>
                  <a:lnTo>
                    <a:pt x="22" y="152"/>
                  </a:lnTo>
                  <a:lnTo>
                    <a:pt x="22" y="149"/>
                  </a:lnTo>
                  <a:lnTo>
                    <a:pt x="19" y="145"/>
                  </a:lnTo>
                  <a:lnTo>
                    <a:pt x="17" y="140"/>
                  </a:lnTo>
                  <a:lnTo>
                    <a:pt x="17" y="137"/>
                  </a:lnTo>
                  <a:lnTo>
                    <a:pt x="14" y="135"/>
                  </a:lnTo>
                  <a:lnTo>
                    <a:pt x="14" y="133"/>
                  </a:lnTo>
                  <a:lnTo>
                    <a:pt x="14" y="130"/>
                  </a:lnTo>
                  <a:lnTo>
                    <a:pt x="12" y="126"/>
                  </a:lnTo>
                  <a:lnTo>
                    <a:pt x="12" y="123"/>
                  </a:lnTo>
                  <a:lnTo>
                    <a:pt x="12" y="121"/>
                  </a:lnTo>
                  <a:lnTo>
                    <a:pt x="12" y="118"/>
                  </a:lnTo>
                  <a:lnTo>
                    <a:pt x="10" y="118"/>
                  </a:lnTo>
                  <a:lnTo>
                    <a:pt x="10" y="116"/>
                  </a:lnTo>
                  <a:lnTo>
                    <a:pt x="10" y="114"/>
                  </a:lnTo>
                  <a:lnTo>
                    <a:pt x="10" y="111"/>
                  </a:lnTo>
                  <a:lnTo>
                    <a:pt x="10" y="114"/>
                  </a:lnTo>
                  <a:lnTo>
                    <a:pt x="12" y="114"/>
                  </a:lnTo>
                  <a:lnTo>
                    <a:pt x="14" y="114"/>
                  </a:lnTo>
                  <a:lnTo>
                    <a:pt x="17" y="114"/>
                  </a:lnTo>
                  <a:lnTo>
                    <a:pt x="19" y="114"/>
                  </a:lnTo>
                  <a:lnTo>
                    <a:pt x="19" y="116"/>
                  </a:lnTo>
                  <a:lnTo>
                    <a:pt x="22" y="114"/>
                  </a:lnTo>
                  <a:lnTo>
                    <a:pt x="19" y="114"/>
                  </a:lnTo>
                  <a:lnTo>
                    <a:pt x="22" y="114"/>
                  </a:lnTo>
                  <a:lnTo>
                    <a:pt x="24" y="114"/>
                  </a:lnTo>
                  <a:lnTo>
                    <a:pt x="24" y="111"/>
                  </a:lnTo>
                  <a:lnTo>
                    <a:pt x="26" y="114"/>
                  </a:lnTo>
                  <a:lnTo>
                    <a:pt x="29" y="114"/>
                  </a:lnTo>
                  <a:lnTo>
                    <a:pt x="31" y="114"/>
                  </a:lnTo>
                  <a:lnTo>
                    <a:pt x="31" y="111"/>
                  </a:lnTo>
                  <a:lnTo>
                    <a:pt x="33" y="111"/>
                  </a:lnTo>
                  <a:lnTo>
                    <a:pt x="33" y="114"/>
                  </a:lnTo>
                  <a:lnTo>
                    <a:pt x="36" y="114"/>
                  </a:lnTo>
                  <a:lnTo>
                    <a:pt x="36" y="116"/>
                  </a:lnTo>
                  <a:lnTo>
                    <a:pt x="38" y="116"/>
                  </a:lnTo>
                  <a:lnTo>
                    <a:pt x="38" y="114"/>
                  </a:lnTo>
                  <a:lnTo>
                    <a:pt x="38" y="116"/>
                  </a:lnTo>
                  <a:lnTo>
                    <a:pt x="41" y="116"/>
                  </a:lnTo>
                  <a:lnTo>
                    <a:pt x="41" y="114"/>
                  </a:lnTo>
                  <a:lnTo>
                    <a:pt x="43" y="114"/>
                  </a:lnTo>
                  <a:lnTo>
                    <a:pt x="43" y="111"/>
                  </a:lnTo>
                  <a:lnTo>
                    <a:pt x="45" y="111"/>
                  </a:lnTo>
                  <a:lnTo>
                    <a:pt x="48" y="111"/>
                  </a:lnTo>
                  <a:lnTo>
                    <a:pt x="48" y="109"/>
                  </a:lnTo>
                  <a:lnTo>
                    <a:pt x="50" y="109"/>
                  </a:lnTo>
                  <a:lnTo>
                    <a:pt x="50" y="111"/>
                  </a:lnTo>
                  <a:lnTo>
                    <a:pt x="52" y="111"/>
                  </a:lnTo>
                  <a:lnTo>
                    <a:pt x="55" y="111"/>
                  </a:lnTo>
                  <a:lnTo>
                    <a:pt x="55" y="109"/>
                  </a:lnTo>
                  <a:lnTo>
                    <a:pt x="52" y="109"/>
                  </a:lnTo>
                  <a:lnTo>
                    <a:pt x="52" y="107"/>
                  </a:lnTo>
                  <a:lnTo>
                    <a:pt x="52" y="104"/>
                  </a:lnTo>
                  <a:lnTo>
                    <a:pt x="55" y="104"/>
                  </a:lnTo>
                  <a:lnTo>
                    <a:pt x="52" y="104"/>
                  </a:lnTo>
                  <a:lnTo>
                    <a:pt x="55" y="102"/>
                  </a:lnTo>
                  <a:lnTo>
                    <a:pt x="57" y="102"/>
                  </a:lnTo>
                  <a:lnTo>
                    <a:pt x="60" y="102"/>
                  </a:lnTo>
                  <a:lnTo>
                    <a:pt x="60" y="104"/>
                  </a:lnTo>
                  <a:lnTo>
                    <a:pt x="62" y="104"/>
                  </a:lnTo>
                  <a:lnTo>
                    <a:pt x="62" y="102"/>
                  </a:lnTo>
                  <a:lnTo>
                    <a:pt x="64" y="102"/>
                  </a:lnTo>
                  <a:lnTo>
                    <a:pt x="64" y="99"/>
                  </a:lnTo>
                  <a:lnTo>
                    <a:pt x="67" y="99"/>
                  </a:lnTo>
                  <a:lnTo>
                    <a:pt x="67" y="97"/>
                  </a:lnTo>
                  <a:lnTo>
                    <a:pt x="69" y="97"/>
                  </a:lnTo>
                  <a:lnTo>
                    <a:pt x="71" y="97"/>
                  </a:lnTo>
                  <a:lnTo>
                    <a:pt x="74" y="97"/>
                  </a:lnTo>
                  <a:lnTo>
                    <a:pt x="74" y="95"/>
                  </a:lnTo>
                  <a:lnTo>
                    <a:pt x="76" y="95"/>
                  </a:lnTo>
                  <a:lnTo>
                    <a:pt x="76" y="97"/>
                  </a:lnTo>
                  <a:lnTo>
                    <a:pt x="79" y="97"/>
                  </a:lnTo>
                  <a:lnTo>
                    <a:pt x="79" y="99"/>
                  </a:lnTo>
                  <a:lnTo>
                    <a:pt x="76" y="99"/>
                  </a:lnTo>
                  <a:lnTo>
                    <a:pt x="79" y="99"/>
                  </a:lnTo>
                  <a:lnTo>
                    <a:pt x="76" y="102"/>
                  </a:lnTo>
                  <a:lnTo>
                    <a:pt x="79" y="102"/>
                  </a:lnTo>
                  <a:lnTo>
                    <a:pt x="79" y="104"/>
                  </a:lnTo>
                  <a:lnTo>
                    <a:pt x="79" y="102"/>
                  </a:lnTo>
                  <a:lnTo>
                    <a:pt x="79" y="104"/>
                  </a:lnTo>
                  <a:lnTo>
                    <a:pt x="81" y="104"/>
                  </a:lnTo>
                  <a:lnTo>
                    <a:pt x="83" y="102"/>
                  </a:lnTo>
                  <a:lnTo>
                    <a:pt x="81" y="102"/>
                  </a:lnTo>
                  <a:lnTo>
                    <a:pt x="83" y="102"/>
                  </a:lnTo>
                  <a:lnTo>
                    <a:pt x="86" y="102"/>
                  </a:lnTo>
                  <a:lnTo>
                    <a:pt x="86" y="99"/>
                  </a:lnTo>
                  <a:lnTo>
                    <a:pt x="83" y="99"/>
                  </a:lnTo>
                  <a:lnTo>
                    <a:pt x="86" y="99"/>
                  </a:lnTo>
                  <a:lnTo>
                    <a:pt x="86" y="97"/>
                  </a:lnTo>
                  <a:lnTo>
                    <a:pt x="83" y="97"/>
                  </a:lnTo>
                  <a:lnTo>
                    <a:pt x="83" y="95"/>
                  </a:lnTo>
                  <a:lnTo>
                    <a:pt x="81" y="95"/>
                  </a:lnTo>
                  <a:lnTo>
                    <a:pt x="79" y="95"/>
                  </a:lnTo>
                  <a:lnTo>
                    <a:pt x="76" y="95"/>
                  </a:lnTo>
                  <a:lnTo>
                    <a:pt x="76" y="92"/>
                  </a:lnTo>
                  <a:lnTo>
                    <a:pt x="79" y="92"/>
                  </a:lnTo>
                  <a:lnTo>
                    <a:pt x="79" y="90"/>
                  </a:lnTo>
                  <a:lnTo>
                    <a:pt x="81" y="90"/>
                  </a:lnTo>
                  <a:lnTo>
                    <a:pt x="81" y="88"/>
                  </a:lnTo>
                  <a:lnTo>
                    <a:pt x="79" y="88"/>
                  </a:lnTo>
                  <a:lnTo>
                    <a:pt x="81" y="88"/>
                  </a:lnTo>
                  <a:lnTo>
                    <a:pt x="81" y="85"/>
                  </a:lnTo>
                  <a:lnTo>
                    <a:pt x="81" y="83"/>
                  </a:lnTo>
                  <a:lnTo>
                    <a:pt x="83" y="83"/>
                  </a:lnTo>
                  <a:lnTo>
                    <a:pt x="83" y="80"/>
                  </a:lnTo>
                  <a:lnTo>
                    <a:pt x="86" y="80"/>
                  </a:lnTo>
                  <a:lnTo>
                    <a:pt x="83" y="80"/>
                  </a:lnTo>
                  <a:lnTo>
                    <a:pt x="83" y="78"/>
                  </a:lnTo>
                  <a:lnTo>
                    <a:pt x="83" y="76"/>
                  </a:lnTo>
                  <a:lnTo>
                    <a:pt x="83" y="73"/>
                  </a:lnTo>
                  <a:lnTo>
                    <a:pt x="83" y="71"/>
                  </a:lnTo>
                  <a:lnTo>
                    <a:pt x="83" y="69"/>
                  </a:lnTo>
                  <a:lnTo>
                    <a:pt x="86" y="69"/>
                  </a:lnTo>
                  <a:lnTo>
                    <a:pt x="86" y="66"/>
                  </a:lnTo>
                  <a:lnTo>
                    <a:pt x="88" y="66"/>
                  </a:lnTo>
                  <a:lnTo>
                    <a:pt x="88" y="64"/>
                  </a:lnTo>
                  <a:lnTo>
                    <a:pt x="90" y="64"/>
                  </a:lnTo>
                  <a:lnTo>
                    <a:pt x="90" y="61"/>
                  </a:lnTo>
                  <a:lnTo>
                    <a:pt x="93" y="61"/>
                  </a:lnTo>
                  <a:lnTo>
                    <a:pt x="93" y="64"/>
                  </a:lnTo>
                  <a:lnTo>
                    <a:pt x="95" y="64"/>
                  </a:lnTo>
                  <a:lnTo>
                    <a:pt x="95" y="61"/>
                  </a:lnTo>
                  <a:lnTo>
                    <a:pt x="97" y="61"/>
                  </a:lnTo>
                  <a:lnTo>
                    <a:pt x="100" y="61"/>
                  </a:lnTo>
                  <a:lnTo>
                    <a:pt x="100" y="59"/>
                  </a:lnTo>
                  <a:lnTo>
                    <a:pt x="100" y="57"/>
                  </a:lnTo>
                  <a:lnTo>
                    <a:pt x="102" y="57"/>
                  </a:lnTo>
                  <a:lnTo>
                    <a:pt x="100" y="54"/>
                  </a:lnTo>
                  <a:lnTo>
                    <a:pt x="102" y="54"/>
                  </a:lnTo>
                  <a:lnTo>
                    <a:pt x="102" y="52"/>
                  </a:lnTo>
                  <a:lnTo>
                    <a:pt x="105" y="52"/>
                  </a:lnTo>
                  <a:lnTo>
                    <a:pt x="107" y="52"/>
                  </a:lnTo>
                  <a:lnTo>
                    <a:pt x="107" y="54"/>
                  </a:lnTo>
                  <a:lnTo>
                    <a:pt x="109" y="52"/>
                  </a:lnTo>
                  <a:lnTo>
                    <a:pt x="112" y="52"/>
                  </a:lnTo>
                  <a:lnTo>
                    <a:pt x="114" y="52"/>
                  </a:lnTo>
                  <a:lnTo>
                    <a:pt x="116" y="52"/>
                  </a:lnTo>
                  <a:lnTo>
                    <a:pt x="114" y="50"/>
                  </a:lnTo>
                  <a:lnTo>
                    <a:pt x="116" y="50"/>
                  </a:lnTo>
                  <a:lnTo>
                    <a:pt x="116" y="47"/>
                  </a:lnTo>
                  <a:lnTo>
                    <a:pt x="119" y="47"/>
                  </a:lnTo>
                  <a:lnTo>
                    <a:pt x="119" y="45"/>
                  </a:lnTo>
                  <a:lnTo>
                    <a:pt x="116" y="42"/>
                  </a:lnTo>
                  <a:lnTo>
                    <a:pt x="114" y="42"/>
                  </a:lnTo>
                  <a:lnTo>
                    <a:pt x="112" y="42"/>
                  </a:lnTo>
                  <a:lnTo>
                    <a:pt x="112" y="45"/>
                  </a:lnTo>
                  <a:lnTo>
                    <a:pt x="112" y="42"/>
                  </a:lnTo>
                  <a:lnTo>
                    <a:pt x="112" y="45"/>
                  </a:lnTo>
                  <a:lnTo>
                    <a:pt x="112" y="42"/>
                  </a:lnTo>
                  <a:lnTo>
                    <a:pt x="112" y="45"/>
                  </a:lnTo>
                  <a:lnTo>
                    <a:pt x="112" y="42"/>
                  </a:lnTo>
                  <a:lnTo>
                    <a:pt x="109" y="42"/>
                  </a:lnTo>
                  <a:lnTo>
                    <a:pt x="107" y="42"/>
                  </a:lnTo>
                  <a:lnTo>
                    <a:pt x="109" y="40"/>
                  </a:lnTo>
                  <a:lnTo>
                    <a:pt x="112" y="40"/>
                  </a:lnTo>
                  <a:lnTo>
                    <a:pt x="109" y="40"/>
                  </a:lnTo>
                  <a:lnTo>
                    <a:pt x="112" y="40"/>
                  </a:lnTo>
                  <a:lnTo>
                    <a:pt x="109" y="38"/>
                  </a:lnTo>
                  <a:lnTo>
                    <a:pt x="112" y="38"/>
                  </a:lnTo>
                  <a:lnTo>
                    <a:pt x="109" y="38"/>
                  </a:lnTo>
                  <a:lnTo>
                    <a:pt x="112" y="38"/>
                  </a:lnTo>
                  <a:lnTo>
                    <a:pt x="112" y="35"/>
                  </a:lnTo>
                  <a:lnTo>
                    <a:pt x="109" y="35"/>
                  </a:lnTo>
                  <a:lnTo>
                    <a:pt x="109" y="33"/>
                  </a:lnTo>
                  <a:lnTo>
                    <a:pt x="112" y="33"/>
                  </a:lnTo>
                  <a:lnTo>
                    <a:pt x="112" y="31"/>
                  </a:lnTo>
                  <a:lnTo>
                    <a:pt x="114" y="31"/>
                  </a:lnTo>
                  <a:lnTo>
                    <a:pt x="114" y="28"/>
                  </a:lnTo>
                  <a:lnTo>
                    <a:pt x="114" y="26"/>
                  </a:lnTo>
                  <a:lnTo>
                    <a:pt x="114" y="23"/>
                  </a:lnTo>
                  <a:lnTo>
                    <a:pt x="116" y="23"/>
                  </a:lnTo>
                  <a:lnTo>
                    <a:pt x="116" y="26"/>
                  </a:lnTo>
                  <a:lnTo>
                    <a:pt x="119" y="26"/>
                  </a:lnTo>
                  <a:lnTo>
                    <a:pt x="119" y="23"/>
                  </a:lnTo>
                  <a:lnTo>
                    <a:pt x="121" y="23"/>
                  </a:lnTo>
                  <a:lnTo>
                    <a:pt x="121" y="21"/>
                  </a:lnTo>
                  <a:lnTo>
                    <a:pt x="124" y="21"/>
                  </a:lnTo>
                  <a:lnTo>
                    <a:pt x="124" y="19"/>
                  </a:lnTo>
                  <a:lnTo>
                    <a:pt x="126" y="19"/>
                  </a:lnTo>
                  <a:lnTo>
                    <a:pt x="128" y="19"/>
                  </a:lnTo>
                  <a:lnTo>
                    <a:pt x="128" y="16"/>
                  </a:lnTo>
                  <a:lnTo>
                    <a:pt x="131" y="16"/>
                  </a:lnTo>
                  <a:lnTo>
                    <a:pt x="131" y="19"/>
                  </a:lnTo>
                  <a:lnTo>
                    <a:pt x="133" y="19"/>
                  </a:lnTo>
                  <a:lnTo>
                    <a:pt x="135" y="21"/>
                  </a:lnTo>
                  <a:lnTo>
                    <a:pt x="135" y="19"/>
                  </a:lnTo>
                  <a:lnTo>
                    <a:pt x="138" y="19"/>
                  </a:lnTo>
                  <a:lnTo>
                    <a:pt x="140" y="19"/>
                  </a:lnTo>
                  <a:lnTo>
                    <a:pt x="143" y="21"/>
                  </a:lnTo>
                  <a:lnTo>
                    <a:pt x="145" y="21"/>
                  </a:lnTo>
                  <a:lnTo>
                    <a:pt x="145" y="19"/>
                  </a:lnTo>
                  <a:lnTo>
                    <a:pt x="147" y="16"/>
                  </a:lnTo>
                  <a:lnTo>
                    <a:pt x="145" y="14"/>
                  </a:lnTo>
                  <a:lnTo>
                    <a:pt x="147" y="14"/>
                  </a:lnTo>
                  <a:lnTo>
                    <a:pt x="147" y="12"/>
                  </a:lnTo>
                  <a:lnTo>
                    <a:pt x="150" y="12"/>
                  </a:lnTo>
                  <a:lnTo>
                    <a:pt x="150" y="9"/>
                  </a:lnTo>
                  <a:lnTo>
                    <a:pt x="152" y="9"/>
                  </a:lnTo>
                  <a:lnTo>
                    <a:pt x="152" y="7"/>
                  </a:lnTo>
                  <a:lnTo>
                    <a:pt x="154" y="7"/>
                  </a:lnTo>
                  <a:lnTo>
                    <a:pt x="157" y="7"/>
                  </a:lnTo>
                  <a:lnTo>
                    <a:pt x="157" y="4"/>
                  </a:lnTo>
                  <a:lnTo>
                    <a:pt x="157" y="2"/>
                  </a:lnTo>
                  <a:lnTo>
                    <a:pt x="159" y="2"/>
                  </a:lnTo>
                  <a:lnTo>
                    <a:pt x="162" y="2"/>
                  </a:lnTo>
                  <a:lnTo>
                    <a:pt x="162" y="0"/>
                  </a:lnTo>
                  <a:lnTo>
                    <a:pt x="16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5" name="Freeform 50278"/>
            <p:cNvSpPr>
              <a:spLocks/>
            </p:cNvSpPr>
            <p:nvPr/>
          </p:nvSpPr>
          <p:spPr bwMode="auto">
            <a:xfrm>
              <a:off x="2160586" y="4584715"/>
              <a:ext cx="200024" cy="153989"/>
            </a:xfrm>
            <a:custGeom>
              <a:avLst/>
              <a:gdLst>
                <a:gd name="T0" fmla="*/ 76 w 126"/>
                <a:gd name="T1" fmla="*/ 5 h 97"/>
                <a:gd name="T2" fmla="*/ 83 w 126"/>
                <a:gd name="T3" fmla="*/ 5 h 97"/>
                <a:gd name="T4" fmla="*/ 93 w 126"/>
                <a:gd name="T5" fmla="*/ 12 h 97"/>
                <a:gd name="T6" fmla="*/ 100 w 126"/>
                <a:gd name="T7" fmla="*/ 14 h 97"/>
                <a:gd name="T8" fmla="*/ 107 w 126"/>
                <a:gd name="T9" fmla="*/ 19 h 97"/>
                <a:gd name="T10" fmla="*/ 107 w 126"/>
                <a:gd name="T11" fmla="*/ 24 h 97"/>
                <a:gd name="T12" fmla="*/ 102 w 126"/>
                <a:gd name="T13" fmla="*/ 33 h 97"/>
                <a:gd name="T14" fmla="*/ 109 w 126"/>
                <a:gd name="T15" fmla="*/ 35 h 97"/>
                <a:gd name="T16" fmla="*/ 119 w 126"/>
                <a:gd name="T17" fmla="*/ 40 h 97"/>
                <a:gd name="T18" fmla="*/ 119 w 126"/>
                <a:gd name="T19" fmla="*/ 45 h 97"/>
                <a:gd name="T20" fmla="*/ 124 w 126"/>
                <a:gd name="T21" fmla="*/ 50 h 97"/>
                <a:gd name="T22" fmla="*/ 126 w 126"/>
                <a:gd name="T23" fmla="*/ 57 h 97"/>
                <a:gd name="T24" fmla="*/ 119 w 126"/>
                <a:gd name="T25" fmla="*/ 64 h 97"/>
                <a:gd name="T26" fmla="*/ 112 w 126"/>
                <a:gd name="T27" fmla="*/ 66 h 97"/>
                <a:gd name="T28" fmla="*/ 109 w 126"/>
                <a:gd name="T29" fmla="*/ 73 h 97"/>
                <a:gd name="T30" fmla="*/ 105 w 126"/>
                <a:gd name="T31" fmla="*/ 78 h 97"/>
                <a:gd name="T32" fmla="*/ 107 w 126"/>
                <a:gd name="T33" fmla="*/ 85 h 97"/>
                <a:gd name="T34" fmla="*/ 112 w 126"/>
                <a:gd name="T35" fmla="*/ 90 h 97"/>
                <a:gd name="T36" fmla="*/ 102 w 126"/>
                <a:gd name="T37" fmla="*/ 95 h 97"/>
                <a:gd name="T38" fmla="*/ 95 w 126"/>
                <a:gd name="T39" fmla="*/ 95 h 97"/>
                <a:gd name="T40" fmla="*/ 93 w 126"/>
                <a:gd name="T41" fmla="*/ 90 h 97"/>
                <a:gd name="T42" fmla="*/ 86 w 126"/>
                <a:gd name="T43" fmla="*/ 85 h 97"/>
                <a:gd name="T44" fmla="*/ 79 w 126"/>
                <a:gd name="T45" fmla="*/ 83 h 97"/>
                <a:gd name="T46" fmla="*/ 74 w 126"/>
                <a:gd name="T47" fmla="*/ 73 h 97"/>
                <a:gd name="T48" fmla="*/ 74 w 126"/>
                <a:gd name="T49" fmla="*/ 64 h 97"/>
                <a:gd name="T50" fmla="*/ 69 w 126"/>
                <a:gd name="T51" fmla="*/ 73 h 97"/>
                <a:gd name="T52" fmla="*/ 57 w 126"/>
                <a:gd name="T53" fmla="*/ 73 h 97"/>
                <a:gd name="T54" fmla="*/ 55 w 126"/>
                <a:gd name="T55" fmla="*/ 71 h 97"/>
                <a:gd name="T56" fmla="*/ 55 w 126"/>
                <a:gd name="T57" fmla="*/ 62 h 97"/>
                <a:gd name="T58" fmla="*/ 48 w 126"/>
                <a:gd name="T59" fmla="*/ 54 h 97"/>
                <a:gd name="T60" fmla="*/ 41 w 126"/>
                <a:gd name="T61" fmla="*/ 57 h 97"/>
                <a:gd name="T62" fmla="*/ 36 w 126"/>
                <a:gd name="T63" fmla="*/ 52 h 97"/>
                <a:gd name="T64" fmla="*/ 31 w 126"/>
                <a:gd name="T65" fmla="*/ 47 h 97"/>
                <a:gd name="T66" fmla="*/ 24 w 126"/>
                <a:gd name="T67" fmla="*/ 43 h 97"/>
                <a:gd name="T68" fmla="*/ 22 w 126"/>
                <a:gd name="T69" fmla="*/ 35 h 97"/>
                <a:gd name="T70" fmla="*/ 12 w 126"/>
                <a:gd name="T71" fmla="*/ 35 h 97"/>
                <a:gd name="T72" fmla="*/ 5 w 126"/>
                <a:gd name="T73" fmla="*/ 33 h 97"/>
                <a:gd name="T74" fmla="*/ 3 w 126"/>
                <a:gd name="T75" fmla="*/ 24 h 97"/>
                <a:gd name="T76" fmla="*/ 7 w 126"/>
                <a:gd name="T77" fmla="*/ 16 h 97"/>
                <a:gd name="T78" fmla="*/ 17 w 126"/>
                <a:gd name="T79" fmla="*/ 9 h 97"/>
                <a:gd name="T80" fmla="*/ 24 w 126"/>
                <a:gd name="T81" fmla="*/ 7 h 97"/>
                <a:gd name="T82" fmla="*/ 33 w 126"/>
                <a:gd name="T83" fmla="*/ 9 h 97"/>
                <a:gd name="T84" fmla="*/ 43 w 126"/>
                <a:gd name="T85" fmla="*/ 14 h 97"/>
                <a:gd name="T86" fmla="*/ 50 w 126"/>
                <a:gd name="T87" fmla="*/ 12 h 97"/>
                <a:gd name="T88" fmla="*/ 60 w 126"/>
                <a:gd name="T89" fmla="*/ 12 h 97"/>
                <a:gd name="T90" fmla="*/ 55 w 126"/>
                <a:gd name="T91" fmla="*/ 19 h 97"/>
                <a:gd name="T92" fmla="*/ 55 w 126"/>
                <a:gd name="T93" fmla="*/ 19 h 97"/>
                <a:gd name="T94" fmla="*/ 60 w 126"/>
                <a:gd name="T95" fmla="*/ 19 h 97"/>
                <a:gd name="T96" fmla="*/ 60 w 126"/>
                <a:gd name="T97" fmla="*/ 12 h 97"/>
                <a:gd name="T98" fmla="*/ 55 w 126"/>
                <a:gd name="T99" fmla="*/ 5 h 97"/>
                <a:gd name="T100" fmla="*/ 60 w 126"/>
                <a:gd name="T101" fmla="*/ 5 h 97"/>
                <a:gd name="T102" fmla="*/ 64 w 126"/>
                <a:gd name="T103" fmla="*/ 2 h 97"/>
                <a:gd name="T104" fmla="*/ 76 w 126"/>
                <a:gd name="T10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97">
                  <a:moveTo>
                    <a:pt x="74" y="2"/>
                  </a:moveTo>
                  <a:lnTo>
                    <a:pt x="76" y="2"/>
                  </a:lnTo>
                  <a:lnTo>
                    <a:pt x="76" y="5"/>
                  </a:lnTo>
                  <a:lnTo>
                    <a:pt x="74" y="2"/>
                  </a:lnTo>
                  <a:lnTo>
                    <a:pt x="74" y="5"/>
                  </a:lnTo>
                  <a:lnTo>
                    <a:pt x="76" y="5"/>
                  </a:lnTo>
                  <a:lnTo>
                    <a:pt x="79" y="5"/>
                  </a:lnTo>
                  <a:lnTo>
                    <a:pt x="81" y="2"/>
                  </a:lnTo>
                  <a:lnTo>
                    <a:pt x="81" y="0"/>
                  </a:lnTo>
                  <a:lnTo>
                    <a:pt x="83" y="0"/>
                  </a:lnTo>
                  <a:lnTo>
                    <a:pt x="83" y="2"/>
                  </a:lnTo>
                  <a:lnTo>
                    <a:pt x="83" y="5"/>
                  </a:lnTo>
                  <a:lnTo>
                    <a:pt x="86" y="7"/>
                  </a:lnTo>
                  <a:lnTo>
                    <a:pt x="86" y="9"/>
                  </a:lnTo>
                  <a:lnTo>
                    <a:pt x="88" y="9"/>
                  </a:lnTo>
                  <a:lnTo>
                    <a:pt x="88" y="12"/>
                  </a:lnTo>
                  <a:lnTo>
                    <a:pt x="90" y="12"/>
                  </a:lnTo>
                  <a:lnTo>
                    <a:pt x="93" y="12"/>
                  </a:lnTo>
                  <a:lnTo>
                    <a:pt x="93" y="9"/>
                  </a:lnTo>
                  <a:lnTo>
                    <a:pt x="95" y="12"/>
                  </a:lnTo>
                  <a:lnTo>
                    <a:pt x="95" y="9"/>
                  </a:lnTo>
                  <a:lnTo>
                    <a:pt x="98" y="9"/>
                  </a:lnTo>
                  <a:lnTo>
                    <a:pt x="100" y="12"/>
                  </a:lnTo>
                  <a:lnTo>
                    <a:pt x="100" y="14"/>
                  </a:lnTo>
                  <a:lnTo>
                    <a:pt x="102" y="14"/>
                  </a:lnTo>
                  <a:lnTo>
                    <a:pt x="105" y="14"/>
                  </a:lnTo>
                  <a:lnTo>
                    <a:pt x="107" y="14"/>
                  </a:lnTo>
                  <a:lnTo>
                    <a:pt x="107" y="16"/>
                  </a:lnTo>
                  <a:lnTo>
                    <a:pt x="109" y="16"/>
                  </a:lnTo>
                  <a:lnTo>
                    <a:pt x="107" y="19"/>
                  </a:lnTo>
                  <a:lnTo>
                    <a:pt x="109" y="19"/>
                  </a:lnTo>
                  <a:lnTo>
                    <a:pt x="107" y="19"/>
                  </a:lnTo>
                  <a:lnTo>
                    <a:pt x="107" y="21"/>
                  </a:lnTo>
                  <a:lnTo>
                    <a:pt x="105" y="21"/>
                  </a:lnTo>
                  <a:lnTo>
                    <a:pt x="105" y="24"/>
                  </a:lnTo>
                  <a:lnTo>
                    <a:pt x="107" y="24"/>
                  </a:lnTo>
                  <a:lnTo>
                    <a:pt x="105" y="24"/>
                  </a:lnTo>
                  <a:lnTo>
                    <a:pt x="105" y="26"/>
                  </a:lnTo>
                  <a:lnTo>
                    <a:pt x="105" y="28"/>
                  </a:lnTo>
                  <a:lnTo>
                    <a:pt x="102" y="28"/>
                  </a:lnTo>
                  <a:lnTo>
                    <a:pt x="102" y="31"/>
                  </a:lnTo>
                  <a:lnTo>
                    <a:pt x="102" y="33"/>
                  </a:lnTo>
                  <a:lnTo>
                    <a:pt x="105" y="33"/>
                  </a:lnTo>
                  <a:lnTo>
                    <a:pt x="105" y="35"/>
                  </a:lnTo>
                  <a:lnTo>
                    <a:pt x="102" y="35"/>
                  </a:lnTo>
                  <a:lnTo>
                    <a:pt x="105" y="35"/>
                  </a:lnTo>
                  <a:lnTo>
                    <a:pt x="107" y="35"/>
                  </a:lnTo>
                  <a:lnTo>
                    <a:pt x="109" y="35"/>
                  </a:lnTo>
                  <a:lnTo>
                    <a:pt x="112" y="35"/>
                  </a:lnTo>
                  <a:lnTo>
                    <a:pt x="114" y="35"/>
                  </a:lnTo>
                  <a:lnTo>
                    <a:pt x="114" y="38"/>
                  </a:lnTo>
                  <a:lnTo>
                    <a:pt x="117" y="38"/>
                  </a:lnTo>
                  <a:lnTo>
                    <a:pt x="119" y="38"/>
                  </a:lnTo>
                  <a:lnTo>
                    <a:pt x="119" y="40"/>
                  </a:lnTo>
                  <a:lnTo>
                    <a:pt x="119" y="43"/>
                  </a:lnTo>
                  <a:lnTo>
                    <a:pt x="121" y="43"/>
                  </a:lnTo>
                  <a:lnTo>
                    <a:pt x="124" y="43"/>
                  </a:lnTo>
                  <a:lnTo>
                    <a:pt x="121" y="43"/>
                  </a:lnTo>
                  <a:lnTo>
                    <a:pt x="121" y="45"/>
                  </a:lnTo>
                  <a:lnTo>
                    <a:pt x="119" y="45"/>
                  </a:lnTo>
                  <a:lnTo>
                    <a:pt x="119" y="47"/>
                  </a:lnTo>
                  <a:lnTo>
                    <a:pt x="121" y="47"/>
                  </a:lnTo>
                  <a:lnTo>
                    <a:pt x="121" y="50"/>
                  </a:lnTo>
                  <a:lnTo>
                    <a:pt x="121" y="47"/>
                  </a:lnTo>
                  <a:lnTo>
                    <a:pt x="124" y="47"/>
                  </a:lnTo>
                  <a:lnTo>
                    <a:pt x="124" y="50"/>
                  </a:lnTo>
                  <a:lnTo>
                    <a:pt x="126" y="50"/>
                  </a:lnTo>
                  <a:lnTo>
                    <a:pt x="126" y="52"/>
                  </a:lnTo>
                  <a:lnTo>
                    <a:pt x="126" y="54"/>
                  </a:lnTo>
                  <a:lnTo>
                    <a:pt x="124" y="54"/>
                  </a:lnTo>
                  <a:lnTo>
                    <a:pt x="126" y="54"/>
                  </a:lnTo>
                  <a:lnTo>
                    <a:pt x="126" y="57"/>
                  </a:lnTo>
                  <a:lnTo>
                    <a:pt x="124" y="57"/>
                  </a:lnTo>
                  <a:lnTo>
                    <a:pt x="124" y="59"/>
                  </a:lnTo>
                  <a:lnTo>
                    <a:pt x="121" y="59"/>
                  </a:lnTo>
                  <a:lnTo>
                    <a:pt x="121" y="62"/>
                  </a:lnTo>
                  <a:lnTo>
                    <a:pt x="119" y="62"/>
                  </a:lnTo>
                  <a:lnTo>
                    <a:pt x="119" y="64"/>
                  </a:lnTo>
                  <a:lnTo>
                    <a:pt x="119" y="66"/>
                  </a:lnTo>
                  <a:lnTo>
                    <a:pt x="117" y="66"/>
                  </a:lnTo>
                  <a:lnTo>
                    <a:pt x="117" y="64"/>
                  </a:lnTo>
                  <a:lnTo>
                    <a:pt x="114" y="64"/>
                  </a:lnTo>
                  <a:lnTo>
                    <a:pt x="112" y="64"/>
                  </a:lnTo>
                  <a:lnTo>
                    <a:pt x="112" y="66"/>
                  </a:lnTo>
                  <a:lnTo>
                    <a:pt x="109" y="66"/>
                  </a:lnTo>
                  <a:lnTo>
                    <a:pt x="109" y="69"/>
                  </a:lnTo>
                  <a:lnTo>
                    <a:pt x="109" y="71"/>
                  </a:lnTo>
                  <a:lnTo>
                    <a:pt x="107" y="71"/>
                  </a:lnTo>
                  <a:lnTo>
                    <a:pt x="107" y="73"/>
                  </a:lnTo>
                  <a:lnTo>
                    <a:pt x="109" y="73"/>
                  </a:lnTo>
                  <a:lnTo>
                    <a:pt x="107" y="73"/>
                  </a:lnTo>
                  <a:lnTo>
                    <a:pt x="107" y="76"/>
                  </a:lnTo>
                  <a:lnTo>
                    <a:pt x="105" y="76"/>
                  </a:lnTo>
                  <a:lnTo>
                    <a:pt x="105" y="78"/>
                  </a:lnTo>
                  <a:lnTo>
                    <a:pt x="107" y="78"/>
                  </a:lnTo>
                  <a:lnTo>
                    <a:pt x="105" y="78"/>
                  </a:lnTo>
                  <a:lnTo>
                    <a:pt x="105" y="81"/>
                  </a:lnTo>
                  <a:lnTo>
                    <a:pt x="105" y="83"/>
                  </a:lnTo>
                  <a:lnTo>
                    <a:pt x="107" y="83"/>
                  </a:lnTo>
                  <a:lnTo>
                    <a:pt x="107" y="85"/>
                  </a:lnTo>
                  <a:lnTo>
                    <a:pt x="109" y="85"/>
                  </a:lnTo>
                  <a:lnTo>
                    <a:pt x="107" y="85"/>
                  </a:lnTo>
                  <a:lnTo>
                    <a:pt x="109" y="85"/>
                  </a:lnTo>
                  <a:lnTo>
                    <a:pt x="109" y="88"/>
                  </a:lnTo>
                  <a:lnTo>
                    <a:pt x="109" y="90"/>
                  </a:lnTo>
                  <a:lnTo>
                    <a:pt x="112" y="90"/>
                  </a:lnTo>
                  <a:lnTo>
                    <a:pt x="109" y="90"/>
                  </a:lnTo>
                  <a:lnTo>
                    <a:pt x="112" y="90"/>
                  </a:lnTo>
                  <a:lnTo>
                    <a:pt x="109" y="90"/>
                  </a:lnTo>
                  <a:lnTo>
                    <a:pt x="109" y="92"/>
                  </a:lnTo>
                  <a:lnTo>
                    <a:pt x="109" y="95"/>
                  </a:lnTo>
                  <a:lnTo>
                    <a:pt x="107" y="95"/>
                  </a:lnTo>
                  <a:lnTo>
                    <a:pt x="105" y="95"/>
                  </a:lnTo>
                  <a:lnTo>
                    <a:pt x="102" y="95"/>
                  </a:lnTo>
                  <a:lnTo>
                    <a:pt x="102" y="97"/>
                  </a:lnTo>
                  <a:lnTo>
                    <a:pt x="100" y="97"/>
                  </a:lnTo>
                  <a:lnTo>
                    <a:pt x="100" y="95"/>
                  </a:lnTo>
                  <a:lnTo>
                    <a:pt x="98" y="97"/>
                  </a:lnTo>
                  <a:lnTo>
                    <a:pt x="95" y="97"/>
                  </a:lnTo>
                  <a:lnTo>
                    <a:pt x="95" y="95"/>
                  </a:lnTo>
                  <a:lnTo>
                    <a:pt x="95" y="92"/>
                  </a:lnTo>
                  <a:lnTo>
                    <a:pt x="93" y="90"/>
                  </a:lnTo>
                  <a:lnTo>
                    <a:pt x="90" y="90"/>
                  </a:lnTo>
                  <a:lnTo>
                    <a:pt x="90" y="92"/>
                  </a:lnTo>
                  <a:lnTo>
                    <a:pt x="90" y="90"/>
                  </a:lnTo>
                  <a:lnTo>
                    <a:pt x="93" y="90"/>
                  </a:lnTo>
                  <a:lnTo>
                    <a:pt x="90" y="88"/>
                  </a:lnTo>
                  <a:lnTo>
                    <a:pt x="88" y="88"/>
                  </a:lnTo>
                  <a:lnTo>
                    <a:pt x="86" y="88"/>
                  </a:lnTo>
                  <a:lnTo>
                    <a:pt x="86" y="85"/>
                  </a:lnTo>
                  <a:lnTo>
                    <a:pt x="86" y="88"/>
                  </a:lnTo>
                  <a:lnTo>
                    <a:pt x="86" y="85"/>
                  </a:lnTo>
                  <a:lnTo>
                    <a:pt x="83" y="85"/>
                  </a:lnTo>
                  <a:lnTo>
                    <a:pt x="83" y="83"/>
                  </a:lnTo>
                  <a:lnTo>
                    <a:pt x="83" y="85"/>
                  </a:lnTo>
                  <a:lnTo>
                    <a:pt x="83" y="83"/>
                  </a:lnTo>
                  <a:lnTo>
                    <a:pt x="81" y="83"/>
                  </a:lnTo>
                  <a:lnTo>
                    <a:pt x="79" y="83"/>
                  </a:lnTo>
                  <a:lnTo>
                    <a:pt x="76" y="83"/>
                  </a:lnTo>
                  <a:lnTo>
                    <a:pt x="76" y="81"/>
                  </a:lnTo>
                  <a:lnTo>
                    <a:pt x="76" y="78"/>
                  </a:lnTo>
                  <a:lnTo>
                    <a:pt x="76" y="76"/>
                  </a:lnTo>
                  <a:lnTo>
                    <a:pt x="74" y="76"/>
                  </a:lnTo>
                  <a:lnTo>
                    <a:pt x="74" y="73"/>
                  </a:lnTo>
                  <a:lnTo>
                    <a:pt x="76" y="71"/>
                  </a:lnTo>
                  <a:lnTo>
                    <a:pt x="74" y="69"/>
                  </a:lnTo>
                  <a:lnTo>
                    <a:pt x="76" y="69"/>
                  </a:lnTo>
                  <a:lnTo>
                    <a:pt x="76" y="66"/>
                  </a:lnTo>
                  <a:lnTo>
                    <a:pt x="76" y="64"/>
                  </a:lnTo>
                  <a:lnTo>
                    <a:pt x="74" y="64"/>
                  </a:lnTo>
                  <a:lnTo>
                    <a:pt x="74" y="66"/>
                  </a:lnTo>
                  <a:lnTo>
                    <a:pt x="71" y="66"/>
                  </a:lnTo>
                  <a:lnTo>
                    <a:pt x="71" y="69"/>
                  </a:lnTo>
                  <a:lnTo>
                    <a:pt x="71" y="71"/>
                  </a:lnTo>
                  <a:lnTo>
                    <a:pt x="71" y="73"/>
                  </a:lnTo>
                  <a:lnTo>
                    <a:pt x="69" y="73"/>
                  </a:lnTo>
                  <a:lnTo>
                    <a:pt x="67" y="73"/>
                  </a:lnTo>
                  <a:lnTo>
                    <a:pt x="64" y="76"/>
                  </a:lnTo>
                  <a:lnTo>
                    <a:pt x="62" y="76"/>
                  </a:lnTo>
                  <a:lnTo>
                    <a:pt x="60" y="76"/>
                  </a:lnTo>
                  <a:lnTo>
                    <a:pt x="60" y="73"/>
                  </a:lnTo>
                  <a:lnTo>
                    <a:pt x="57" y="73"/>
                  </a:lnTo>
                  <a:lnTo>
                    <a:pt x="57" y="76"/>
                  </a:lnTo>
                  <a:lnTo>
                    <a:pt x="55" y="76"/>
                  </a:lnTo>
                  <a:lnTo>
                    <a:pt x="55" y="73"/>
                  </a:lnTo>
                  <a:lnTo>
                    <a:pt x="52" y="73"/>
                  </a:lnTo>
                  <a:lnTo>
                    <a:pt x="52" y="71"/>
                  </a:lnTo>
                  <a:lnTo>
                    <a:pt x="55" y="71"/>
                  </a:lnTo>
                  <a:lnTo>
                    <a:pt x="55" y="69"/>
                  </a:lnTo>
                  <a:lnTo>
                    <a:pt x="55" y="66"/>
                  </a:lnTo>
                  <a:lnTo>
                    <a:pt x="52" y="66"/>
                  </a:lnTo>
                  <a:lnTo>
                    <a:pt x="52" y="64"/>
                  </a:lnTo>
                  <a:lnTo>
                    <a:pt x="52" y="62"/>
                  </a:lnTo>
                  <a:lnTo>
                    <a:pt x="55" y="62"/>
                  </a:lnTo>
                  <a:lnTo>
                    <a:pt x="55" y="59"/>
                  </a:lnTo>
                  <a:lnTo>
                    <a:pt x="52" y="59"/>
                  </a:lnTo>
                  <a:lnTo>
                    <a:pt x="52" y="57"/>
                  </a:lnTo>
                  <a:lnTo>
                    <a:pt x="50" y="57"/>
                  </a:lnTo>
                  <a:lnTo>
                    <a:pt x="48" y="57"/>
                  </a:lnTo>
                  <a:lnTo>
                    <a:pt x="48" y="54"/>
                  </a:lnTo>
                  <a:lnTo>
                    <a:pt x="48" y="57"/>
                  </a:lnTo>
                  <a:lnTo>
                    <a:pt x="45" y="57"/>
                  </a:lnTo>
                  <a:lnTo>
                    <a:pt x="43" y="57"/>
                  </a:lnTo>
                  <a:lnTo>
                    <a:pt x="43" y="54"/>
                  </a:lnTo>
                  <a:lnTo>
                    <a:pt x="43" y="57"/>
                  </a:lnTo>
                  <a:lnTo>
                    <a:pt x="41" y="57"/>
                  </a:lnTo>
                  <a:lnTo>
                    <a:pt x="41" y="54"/>
                  </a:lnTo>
                  <a:lnTo>
                    <a:pt x="41" y="57"/>
                  </a:lnTo>
                  <a:lnTo>
                    <a:pt x="38" y="57"/>
                  </a:lnTo>
                  <a:lnTo>
                    <a:pt x="36" y="57"/>
                  </a:lnTo>
                  <a:lnTo>
                    <a:pt x="36" y="54"/>
                  </a:lnTo>
                  <a:lnTo>
                    <a:pt x="36" y="52"/>
                  </a:lnTo>
                  <a:lnTo>
                    <a:pt x="36" y="50"/>
                  </a:lnTo>
                  <a:lnTo>
                    <a:pt x="33" y="50"/>
                  </a:lnTo>
                  <a:lnTo>
                    <a:pt x="33" y="47"/>
                  </a:lnTo>
                  <a:lnTo>
                    <a:pt x="33" y="50"/>
                  </a:lnTo>
                  <a:lnTo>
                    <a:pt x="31" y="50"/>
                  </a:lnTo>
                  <a:lnTo>
                    <a:pt x="31" y="47"/>
                  </a:lnTo>
                  <a:lnTo>
                    <a:pt x="29" y="47"/>
                  </a:lnTo>
                  <a:lnTo>
                    <a:pt x="29" y="50"/>
                  </a:lnTo>
                  <a:lnTo>
                    <a:pt x="26" y="47"/>
                  </a:lnTo>
                  <a:lnTo>
                    <a:pt x="24" y="47"/>
                  </a:lnTo>
                  <a:lnTo>
                    <a:pt x="24" y="45"/>
                  </a:lnTo>
                  <a:lnTo>
                    <a:pt x="24" y="43"/>
                  </a:lnTo>
                  <a:lnTo>
                    <a:pt x="24" y="40"/>
                  </a:lnTo>
                  <a:lnTo>
                    <a:pt x="22" y="40"/>
                  </a:lnTo>
                  <a:lnTo>
                    <a:pt x="24" y="40"/>
                  </a:lnTo>
                  <a:lnTo>
                    <a:pt x="24" y="38"/>
                  </a:lnTo>
                  <a:lnTo>
                    <a:pt x="22" y="38"/>
                  </a:lnTo>
                  <a:lnTo>
                    <a:pt x="22" y="35"/>
                  </a:lnTo>
                  <a:lnTo>
                    <a:pt x="19" y="35"/>
                  </a:lnTo>
                  <a:lnTo>
                    <a:pt x="19" y="33"/>
                  </a:lnTo>
                  <a:lnTo>
                    <a:pt x="19" y="35"/>
                  </a:lnTo>
                  <a:lnTo>
                    <a:pt x="17" y="35"/>
                  </a:lnTo>
                  <a:lnTo>
                    <a:pt x="14" y="35"/>
                  </a:lnTo>
                  <a:lnTo>
                    <a:pt x="12" y="35"/>
                  </a:lnTo>
                  <a:lnTo>
                    <a:pt x="12" y="38"/>
                  </a:lnTo>
                  <a:lnTo>
                    <a:pt x="10" y="38"/>
                  </a:lnTo>
                  <a:lnTo>
                    <a:pt x="7" y="38"/>
                  </a:lnTo>
                  <a:lnTo>
                    <a:pt x="7" y="35"/>
                  </a:lnTo>
                  <a:lnTo>
                    <a:pt x="5" y="35"/>
                  </a:lnTo>
                  <a:lnTo>
                    <a:pt x="5" y="33"/>
                  </a:lnTo>
                  <a:lnTo>
                    <a:pt x="3" y="33"/>
                  </a:lnTo>
                  <a:lnTo>
                    <a:pt x="3" y="31"/>
                  </a:lnTo>
                  <a:lnTo>
                    <a:pt x="3" y="28"/>
                  </a:lnTo>
                  <a:lnTo>
                    <a:pt x="0" y="28"/>
                  </a:lnTo>
                  <a:lnTo>
                    <a:pt x="3" y="26"/>
                  </a:lnTo>
                  <a:lnTo>
                    <a:pt x="3" y="24"/>
                  </a:lnTo>
                  <a:lnTo>
                    <a:pt x="0" y="24"/>
                  </a:lnTo>
                  <a:lnTo>
                    <a:pt x="0" y="21"/>
                  </a:lnTo>
                  <a:lnTo>
                    <a:pt x="0" y="19"/>
                  </a:lnTo>
                  <a:lnTo>
                    <a:pt x="3" y="19"/>
                  </a:lnTo>
                  <a:lnTo>
                    <a:pt x="5" y="16"/>
                  </a:lnTo>
                  <a:lnTo>
                    <a:pt x="7" y="16"/>
                  </a:lnTo>
                  <a:lnTo>
                    <a:pt x="10" y="14"/>
                  </a:lnTo>
                  <a:lnTo>
                    <a:pt x="12" y="12"/>
                  </a:lnTo>
                  <a:lnTo>
                    <a:pt x="12" y="14"/>
                  </a:lnTo>
                  <a:lnTo>
                    <a:pt x="12" y="12"/>
                  </a:lnTo>
                  <a:lnTo>
                    <a:pt x="14" y="12"/>
                  </a:lnTo>
                  <a:lnTo>
                    <a:pt x="17" y="9"/>
                  </a:lnTo>
                  <a:lnTo>
                    <a:pt x="19" y="9"/>
                  </a:lnTo>
                  <a:lnTo>
                    <a:pt x="19" y="7"/>
                  </a:lnTo>
                  <a:lnTo>
                    <a:pt x="22" y="7"/>
                  </a:lnTo>
                  <a:lnTo>
                    <a:pt x="19" y="7"/>
                  </a:lnTo>
                  <a:lnTo>
                    <a:pt x="22" y="7"/>
                  </a:lnTo>
                  <a:lnTo>
                    <a:pt x="24" y="7"/>
                  </a:lnTo>
                  <a:lnTo>
                    <a:pt x="26" y="7"/>
                  </a:lnTo>
                  <a:lnTo>
                    <a:pt x="26" y="9"/>
                  </a:lnTo>
                  <a:lnTo>
                    <a:pt x="29" y="12"/>
                  </a:lnTo>
                  <a:lnTo>
                    <a:pt x="31" y="12"/>
                  </a:lnTo>
                  <a:lnTo>
                    <a:pt x="31" y="9"/>
                  </a:lnTo>
                  <a:lnTo>
                    <a:pt x="33" y="9"/>
                  </a:lnTo>
                  <a:lnTo>
                    <a:pt x="36" y="9"/>
                  </a:lnTo>
                  <a:lnTo>
                    <a:pt x="38" y="9"/>
                  </a:lnTo>
                  <a:lnTo>
                    <a:pt x="38" y="12"/>
                  </a:lnTo>
                  <a:lnTo>
                    <a:pt x="41" y="12"/>
                  </a:lnTo>
                  <a:lnTo>
                    <a:pt x="41" y="14"/>
                  </a:lnTo>
                  <a:lnTo>
                    <a:pt x="43" y="14"/>
                  </a:lnTo>
                  <a:lnTo>
                    <a:pt x="45" y="14"/>
                  </a:lnTo>
                  <a:lnTo>
                    <a:pt x="43" y="14"/>
                  </a:lnTo>
                  <a:lnTo>
                    <a:pt x="45" y="14"/>
                  </a:lnTo>
                  <a:lnTo>
                    <a:pt x="48" y="14"/>
                  </a:lnTo>
                  <a:lnTo>
                    <a:pt x="48" y="12"/>
                  </a:lnTo>
                  <a:lnTo>
                    <a:pt x="50" y="12"/>
                  </a:lnTo>
                  <a:lnTo>
                    <a:pt x="52" y="9"/>
                  </a:lnTo>
                  <a:lnTo>
                    <a:pt x="55" y="7"/>
                  </a:lnTo>
                  <a:lnTo>
                    <a:pt x="57" y="7"/>
                  </a:lnTo>
                  <a:lnTo>
                    <a:pt x="57" y="9"/>
                  </a:lnTo>
                  <a:lnTo>
                    <a:pt x="57" y="12"/>
                  </a:lnTo>
                  <a:lnTo>
                    <a:pt x="60" y="12"/>
                  </a:lnTo>
                  <a:lnTo>
                    <a:pt x="62" y="12"/>
                  </a:lnTo>
                  <a:lnTo>
                    <a:pt x="60" y="14"/>
                  </a:lnTo>
                  <a:lnTo>
                    <a:pt x="60" y="16"/>
                  </a:lnTo>
                  <a:lnTo>
                    <a:pt x="57" y="16"/>
                  </a:lnTo>
                  <a:lnTo>
                    <a:pt x="57" y="19"/>
                  </a:lnTo>
                  <a:lnTo>
                    <a:pt x="55" y="19"/>
                  </a:lnTo>
                  <a:lnTo>
                    <a:pt x="52" y="19"/>
                  </a:lnTo>
                  <a:lnTo>
                    <a:pt x="55" y="19"/>
                  </a:lnTo>
                  <a:lnTo>
                    <a:pt x="55" y="21"/>
                  </a:lnTo>
                  <a:lnTo>
                    <a:pt x="55" y="19"/>
                  </a:lnTo>
                  <a:lnTo>
                    <a:pt x="52" y="19"/>
                  </a:lnTo>
                  <a:lnTo>
                    <a:pt x="55" y="19"/>
                  </a:lnTo>
                  <a:lnTo>
                    <a:pt x="57" y="19"/>
                  </a:lnTo>
                  <a:lnTo>
                    <a:pt x="60" y="19"/>
                  </a:lnTo>
                  <a:lnTo>
                    <a:pt x="57" y="19"/>
                  </a:lnTo>
                  <a:lnTo>
                    <a:pt x="60" y="19"/>
                  </a:lnTo>
                  <a:lnTo>
                    <a:pt x="60" y="21"/>
                  </a:lnTo>
                  <a:lnTo>
                    <a:pt x="60" y="19"/>
                  </a:lnTo>
                  <a:lnTo>
                    <a:pt x="57" y="19"/>
                  </a:lnTo>
                  <a:lnTo>
                    <a:pt x="60" y="19"/>
                  </a:lnTo>
                  <a:lnTo>
                    <a:pt x="60" y="16"/>
                  </a:lnTo>
                  <a:lnTo>
                    <a:pt x="60" y="14"/>
                  </a:lnTo>
                  <a:lnTo>
                    <a:pt x="62" y="12"/>
                  </a:lnTo>
                  <a:lnTo>
                    <a:pt x="60" y="12"/>
                  </a:lnTo>
                  <a:lnTo>
                    <a:pt x="57" y="12"/>
                  </a:lnTo>
                  <a:lnTo>
                    <a:pt x="60" y="9"/>
                  </a:lnTo>
                  <a:lnTo>
                    <a:pt x="57" y="9"/>
                  </a:lnTo>
                  <a:lnTo>
                    <a:pt x="57" y="7"/>
                  </a:lnTo>
                  <a:lnTo>
                    <a:pt x="55" y="7"/>
                  </a:lnTo>
                  <a:lnTo>
                    <a:pt x="55" y="5"/>
                  </a:lnTo>
                  <a:lnTo>
                    <a:pt x="57" y="5"/>
                  </a:lnTo>
                  <a:lnTo>
                    <a:pt x="60" y="5"/>
                  </a:lnTo>
                  <a:lnTo>
                    <a:pt x="60" y="7"/>
                  </a:lnTo>
                  <a:lnTo>
                    <a:pt x="62" y="7"/>
                  </a:lnTo>
                  <a:lnTo>
                    <a:pt x="62" y="5"/>
                  </a:lnTo>
                  <a:lnTo>
                    <a:pt x="60" y="5"/>
                  </a:lnTo>
                  <a:lnTo>
                    <a:pt x="60" y="2"/>
                  </a:lnTo>
                  <a:lnTo>
                    <a:pt x="62" y="2"/>
                  </a:lnTo>
                  <a:lnTo>
                    <a:pt x="62" y="0"/>
                  </a:lnTo>
                  <a:lnTo>
                    <a:pt x="64" y="0"/>
                  </a:lnTo>
                  <a:lnTo>
                    <a:pt x="67" y="0"/>
                  </a:lnTo>
                  <a:lnTo>
                    <a:pt x="64" y="2"/>
                  </a:lnTo>
                  <a:lnTo>
                    <a:pt x="67" y="2"/>
                  </a:lnTo>
                  <a:lnTo>
                    <a:pt x="69" y="2"/>
                  </a:lnTo>
                  <a:lnTo>
                    <a:pt x="71" y="2"/>
                  </a:lnTo>
                  <a:lnTo>
                    <a:pt x="71" y="0"/>
                  </a:lnTo>
                  <a:lnTo>
                    <a:pt x="74" y="0"/>
                  </a:lnTo>
                  <a:lnTo>
                    <a:pt x="76" y="0"/>
                  </a:lnTo>
                  <a:lnTo>
                    <a:pt x="76" y="2"/>
                  </a:lnTo>
                  <a:lnTo>
                    <a:pt x="74"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6" name="Freeform 50279"/>
            <p:cNvSpPr>
              <a:spLocks noEditPoints="1"/>
            </p:cNvSpPr>
            <p:nvPr/>
          </p:nvSpPr>
          <p:spPr bwMode="auto">
            <a:xfrm>
              <a:off x="2849561" y="5056205"/>
              <a:ext cx="204788" cy="200025"/>
            </a:xfrm>
            <a:custGeom>
              <a:avLst/>
              <a:gdLst>
                <a:gd name="T0" fmla="*/ 43 w 129"/>
                <a:gd name="T1" fmla="*/ 2 h 126"/>
                <a:gd name="T2" fmla="*/ 43 w 129"/>
                <a:gd name="T3" fmla="*/ 5 h 126"/>
                <a:gd name="T4" fmla="*/ 53 w 129"/>
                <a:gd name="T5" fmla="*/ 5 h 126"/>
                <a:gd name="T6" fmla="*/ 57 w 129"/>
                <a:gd name="T7" fmla="*/ 9 h 126"/>
                <a:gd name="T8" fmla="*/ 62 w 129"/>
                <a:gd name="T9" fmla="*/ 7 h 126"/>
                <a:gd name="T10" fmla="*/ 69 w 129"/>
                <a:gd name="T11" fmla="*/ 12 h 126"/>
                <a:gd name="T12" fmla="*/ 79 w 129"/>
                <a:gd name="T13" fmla="*/ 7 h 126"/>
                <a:gd name="T14" fmla="*/ 86 w 129"/>
                <a:gd name="T15" fmla="*/ 9 h 126"/>
                <a:gd name="T16" fmla="*/ 93 w 129"/>
                <a:gd name="T17" fmla="*/ 9 h 126"/>
                <a:gd name="T18" fmla="*/ 98 w 129"/>
                <a:gd name="T19" fmla="*/ 12 h 126"/>
                <a:gd name="T20" fmla="*/ 102 w 129"/>
                <a:gd name="T21" fmla="*/ 14 h 126"/>
                <a:gd name="T22" fmla="*/ 102 w 129"/>
                <a:gd name="T23" fmla="*/ 21 h 126"/>
                <a:gd name="T24" fmla="*/ 114 w 129"/>
                <a:gd name="T25" fmla="*/ 19 h 126"/>
                <a:gd name="T26" fmla="*/ 121 w 129"/>
                <a:gd name="T27" fmla="*/ 19 h 126"/>
                <a:gd name="T28" fmla="*/ 119 w 129"/>
                <a:gd name="T29" fmla="*/ 28 h 126"/>
                <a:gd name="T30" fmla="*/ 114 w 129"/>
                <a:gd name="T31" fmla="*/ 35 h 126"/>
                <a:gd name="T32" fmla="*/ 112 w 129"/>
                <a:gd name="T33" fmla="*/ 40 h 126"/>
                <a:gd name="T34" fmla="*/ 119 w 129"/>
                <a:gd name="T35" fmla="*/ 47 h 126"/>
                <a:gd name="T36" fmla="*/ 121 w 129"/>
                <a:gd name="T37" fmla="*/ 54 h 126"/>
                <a:gd name="T38" fmla="*/ 129 w 129"/>
                <a:gd name="T39" fmla="*/ 59 h 126"/>
                <a:gd name="T40" fmla="*/ 119 w 129"/>
                <a:gd name="T41" fmla="*/ 62 h 126"/>
                <a:gd name="T42" fmla="*/ 117 w 129"/>
                <a:gd name="T43" fmla="*/ 64 h 126"/>
                <a:gd name="T44" fmla="*/ 124 w 129"/>
                <a:gd name="T45" fmla="*/ 71 h 126"/>
                <a:gd name="T46" fmla="*/ 124 w 129"/>
                <a:gd name="T47" fmla="*/ 78 h 126"/>
                <a:gd name="T48" fmla="*/ 124 w 129"/>
                <a:gd name="T49" fmla="*/ 78 h 126"/>
                <a:gd name="T50" fmla="*/ 119 w 129"/>
                <a:gd name="T51" fmla="*/ 78 h 126"/>
                <a:gd name="T52" fmla="*/ 112 w 129"/>
                <a:gd name="T53" fmla="*/ 83 h 126"/>
                <a:gd name="T54" fmla="*/ 107 w 129"/>
                <a:gd name="T55" fmla="*/ 85 h 126"/>
                <a:gd name="T56" fmla="*/ 112 w 129"/>
                <a:gd name="T57" fmla="*/ 92 h 126"/>
                <a:gd name="T58" fmla="*/ 107 w 129"/>
                <a:gd name="T59" fmla="*/ 90 h 126"/>
                <a:gd name="T60" fmla="*/ 98 w 129"/>
                <a:gd name="T61" fmla="*/ 95 h 126"/>
                <a:gd name="T62" fmla="*/ 95 w 129"/>
                <a:gd name="T63" fmla="*/ 104 h 126"/>
                <a:gd name="T64" fmla="*/ 91 w 129"/>
                <a:gd name="T65" fmla="*/ 116 h 126"/>
                <a:gd name="T66" fmla="*/ 95 w 129"/>
                <a:gd name="T67" fmla="*/ 123 h 126"/>
                <a:gd name="T68" fmla="*/ 86 w 129"/>
                <a:gd name="T69" fmla="*/ 123 h 126"/>
                <a:gd name="T70" fmla="*/ 76 w 129"/>
                <a:gd name="T71" fmla="*/ 116 h 126"/>
                <a:gd name="T72" fmla="*/ 69 w 129"/>
                <a:gd name="T73" fmla="*/ 111 h 126"/>
                <a:gd name="T74" fmla="*/ 62 w 129"/>
                <a:gd name="T75" fmla="*/ 109 h 126"/>
                <a:gd name="T76" fmla="*/ 65 w 129"/>
                <a:gd name="T77" fmla="*/ 109 h 126"/>
                <a:gd name="T78" fmla="*/ 65 w 129"/>
                <a:gd name="T79" fmla="*/ 104 h 126"/>
                <a:gd name="T80" fmla="*/ 60 w 129"/>
                <a:gd name="T81" fmla="*/ 100 h 126"/>
                <a:gd name="T82" fmla="*/ 53 w 129"/>
                <a:gd name="T83" fmla="*/ 92 h 126"/>
                <a:gd name="T84" fmla="*/ 48 w 129"/>
                <a:gd name="T85" fmla="*/ 85 h 126"/>
                <a:gd name="T86" fmla="*/ 34 w 129"/>
                <a:gd name="T87" fmla="*/ 66 h 126"/>
                <a:gd name="T88" fmla="*/ 27 w 129"/>
                <a:gd name="T89" fmla="*/ 62 h 126"/>
                <a:gd name="T90" fmla="*/ 22 w 129"/>
                <a:gd name="T91" fmla="*/ 54 h 126"/>
                <a:gd name="T92" fmla="*/ 15 w 129"/>
                <a:gd name="T93" fmla="*/ 50 h 126"/>
                <a:gd name="T94" fmla="*/ 15 w 129"/>
                <a:gd name="T95" fmla="*/ 43 h 126"/>
                <a:gd name="T96" fmla="*/ 10 w 129"/>
                <a:gd name="T97" fmla="*/ 31 h 126"/>
                <a:gd name="T98" fmla="*/ 3 w 129"/>
                <a:gd name="T99" fmla="*/ 21 h 126"/>
                <a:gd name="T100" fmla="*/ 0 w 129"/>
                <a:gd name="T101" fmla="*/ 12 h 126"/>
                <a:gd name="T102" fmla="*/ 5 w 129"/>
                <a:gd name="T103" fmla="*/ 2 h 126"/>
                <a:gd name="T104" fmla="*/ 10 w 129"/>
                <a:gd name="T105" fmla="*/ 5 h 126"/>
                <a:gd name="T106" fmla="*/ 17 w 129"/>
                <a:gd name="T107" fmla="*/ 12 h 126"/>
                <a:gd name="T108" fmla="*/ 22 w 129"/>
                <a:gd name="T109" fmla="*/ 9 h 126"/>
                <a:gd name="T110" fmla="*/ 29 w 129"/>
                <a:gd name="T111" fmla="*/ 5 h 126"/>
                <a:gd name="T112" fmla="*/ 38 w 129"/>
                <a:gd name="T113" fmla="*/ 5 h 126"/>
                <a:gd name="T114" fmla="*/ 41 w 129"/>
                <a:gd name="T115"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 h="126">
                  <a:moveTo>
                    <a:pt x="124" y="81"/>
                  </a:moveTo>
                  <a:lnTo>
                    <a:pt x="121" y="81"/>
                  </a:lnTo>
                  <a:lnTo>
                    <a:pt x="124" y="81"/>
                  </a:lnTo>
                  <a:close/>
                  <a:moveTo>
                    <a:pt x="41" y="2"/>
                  </a:moveTo>
                  <a:lnTo>
                    <a:pt x="43" y="2"/>
                  </a:lnTo>
                  <a:lnTo>
                    <a:pt x="41" y="2"/>
                  </a:lnTo>
                  <a:lnTo>
                    <a:pt x="43" y="2"/>
                  </a:lnTo>
                  <a:lnTo>
                    <a:pt x="43" y="5"/>
                  </a:lnTo>
                  <a:lnTo>
                    <a:pt x="43" y="2"/>
                  </a:lnTo>
                  <a:lnTo>
                    <a:pt x="43" y="5"/>
                  </a:lnTo>
                  <a:lnTo>
                    <a:pt x="46" y="5"/>
                  </a:lnTo>
                  <a:lnTo>
                    <a:pt x="48" y="7"/>
                  </a:lnTo>
                  <a:lnTo>
                    <a:pt x="50" y="7"/>
                  </a:lnTo>
                  <a:lnTo>
                    <a:pt x="50" y="5"/>
                  </a:lnTo>
                  <a:lnTo>
                    <a:pt x="53" y="5"/>
                  </a:lnTo>
                  <a:lnTo>
                    <a:pt x="53" y="7"/>
                  </a:lnTo>
                  <a:lnTo>
                    <a:pt x="55" y="7"/>
                  </a:lnTo>
                  <a:lnTo>
                    <a:pt x="57" y="7"/>
                  </a:lnTo>
                  <a:lnTo>
                    <a:pt x="60" y="7"/>
                  </a:lnTo>
                  <a:lnTo>
                    <a:pt x="57" y="9"/>
                  </a:lnTo>
                  <a:lnTo>
                    <a:pt x="60" y="9"/>
                  </a:lnTo>
                  <a:lnTo>
                    <a:pt x="60" y="7"/>
                  </a:lnTo>
                  <a:lnTo>
                    <a:pt x="60" y="9"/>
                  </a:lnTo>
                  <a:lnTo>
                    <a:pt x="62" y="9"/>
                  </a:lnTo>
                  <a:lnTo>
                    <a:pt x="62" y="7"/>
                  </a:lnTo>
                  <a:lnTo>
                    <a:pt x="65" y="7"/>
                  </a:lnTo>
                  <a:lnTo>
                    <a:pt x="65" y="9"/>
                  </a:lnTo>
                  <a:lnTo>
                    <a:pt x="67" y="9"/>
                  </a:lnTo>
                  <a:lnTo>
                    <a:pt x="69" y="9"/>
                  </a:lnTo>
                  <a:lnTo>
                    <a:pt x="69" y="12"/>
                  </a:lnTo>
                  <a:lnTo>
                    <a:pt x="72" y="12"/>
                  </a:lnTo>
                  <a:lnTo>
                    <a:pt x="74" y="9"/>
                  </a:lnTo>
                  <a:lnTo>
                    <a:pt x="74" y="7"/>
                  </a:lnTo>
                  <a:lnTo>
                    <a:pt x="76" y="7"/>
                  </a:lnTo>
                  <a:lnTo>
                    <a:pt x="79" y="7"/>
                  </a:lnTo>
                  <a:lnTo>
                    <a:pt x="79" y="9"/>
                  </a:lnTo>
                  <a:lnTo>
                    <a:pt x="81" y="9"/>
                  </a:lnTo>
                  <a:lnTo>
                    <a:pt x="83" y="9"/>
                  </a:lnTo>
                  <a:lnTo>
                    <a:pt x="83" y="7"/>
                  </a:lnTo>
                  <a:lnTo>
                    <a:pt x="86" y="9"/>
                  </a:lnTo>
                  <a:lnTo>
                    <a:pt x="88" y="9"/>
                  </a:lnTo>
                  <a:lnTo>
                    <a:pt x="91" y="9"/>
                  </a:lnTo>
                  <a:lnTo>
                    <a:pt x="91" y="12"/>
                  </a:lnTo>
                  <a:lnTo>
                    <a:pt x="93" y="12"/>
                  </a:lnTo>
                  <a:lnTo>
                    <a:pt x="93" y="9"/>
                  </a:lnTo>
                  <a:lnTo>
                    <a:pt x="95" y="9"/>
                  </a:lnTo>
                  <a:lnTo>
                    <a:pt x="95" y="12"/>
                  </a:lnTo>
                  <a:lnTo>
                    <a:pt x="95" y="9"/>
                  </a:lnTo>
                  <a:lnTo>
                    <a:pt x="95" y="12"/>
                  </a:lnTo>
                  <a:lnTo>
                    <a:pt x="98" y="12"/>
                  </a:lnTo>
                  <a:lnTo>
                    <a:pt x="98" y="9"/>
                  </a:lnTo>
                  <a:lnTo>
                    <a:pt x="98" y="12"/>
                  </a:lnTo>
                  <a:lnTo>
                    <a:pt x="100" y="12"/>
                  </a:lnTo>
                  <a:lnTo>
                    <a:pt x="100" y="14"/>
                  </a:lnTo>
                  <a:lnTo>
                    <a:pt x="102" y="14"/>
                  </a:lnTo>
                  <a:lnTo>
                    <a:pt x="102" y="16"/>
                  </a:lnTo>
                  <a:lnTo>
                    <a:pt x="100" y="16"/>
                  </a:lnTo>
                  <a:lnTo>
                    <a:pt x="100" y="19"/>
                  </a:lnTo>
                  <a:lnTo>
                    <a:pt x="102" y="19"/>
                  </a:lnTo>
                  <a:lnTo>
                    <a:pt x="102" y="21"/>
                  </a:lnTo>
                  <a:lnTo>
                    <a:pt x="105" y="21"/>
                  </a:lnTo>
                  <a:lnTo>
                    <a:pt x="107" y="21"/>
                  </a:lnTo>
                  <a:lnTo>
                    <a:pt x="110" y="21"/>
                  </a:lnTo>
                  <a:lnTo>
                    <a:pt x="112" y="19"/>
                  </a:lnTo>
                  <a:lnTo>
                    <a:pt x="114" y="19"/>
                  </a:lnTo>
                  <a:lnTo>
                    <a:pt x="114" y="16"/>
                  </a:lnTo>
                  <a:lnTo>
                    <a:pt x="114" y="19"/>
                  </a:lnTo>
                  <a:lnTo>
                    <a:pt x="117" y="19"/>
                  </a:lnTo>
                  <a:lnTo>
                    <a:pt x="119" y="19"/>
                  </a:lnTo>
                  <a:lnTo>
                    <a:pt x="121" y="19"/>
                  </a:lnTo>
                  <a:lnTo>
                    <a:pt x="121" y="21"/>
                  </a:lnTo>
                  <a:lnTo>
                    <a:pt x="119" y="21"/>
                  </a:lnTo>
                  <a:lnTo>
                    <a:pt x="119" y="24"/>
                  </a:lnTo>
                  <a:lnTo>
                    <a:pt x="119" y="26"/>
                  </a:lnTo>
                  <a:lnTo>
                    <a:pt x="119" y="28"/>
                  </a:lnTo>
                  <a:lnTo>
                    <a:pt x="117" y="28"/>
                  </a:lnTo>
                  <a:lnTo>
                    <a:pt x="117" y="31"/>
                  </a:lnTo>
                  <a:lnTo>
                    <a:pt x="117" y="33"/>
                  </a:lnTo>
                  <a:lnTo>
                    <a:pt x="114" y="33"/>
                  </a:lnTo>
                  <a:lnTo>
                    <a:pt x="114" y="35"/>
                  </a:lnTo>
                  <a:lnTo>
                    <a:pt x="112" y="35"/>
                  </a:lnTo>
                  <a:lnTo>
                    <a:pt x="112" y="38"/>
                  </a:lnTo>
                  <a:lnTo>
                    <a:pt x="114" y="38"/>
                  </a:lnTo>
                  <a:lnTo>
                    <a:pt x="114" y="40"/>
                  </a:lnTo>
                  <a:lnTo>
                    <a:pt x="112" y="40"/>
                  </a:lnTo>
                  <a:lnTo>
                    <a:pt x="112" y="43"/>
                  </a:lnTo>
                  <a:lnTo>
                    <a:pt x="112" y="45"/>
                  </a:lnTo>
                  <a:lnTo>
                    <a:pt x="114" y="47"/>
                  </a:lnTo>
                  <a:lnTo>
                    <a:pt x="117" y="47"/>
                  </a:lnTo>
                  <a:lnTo>
                    <a:pt x="119" y="47"/>
                  </a:lnTo>
                  <a:lnTo>
                    <a:pt x="119" y="50"/>
                  </a:lnTo>
                  <a:lnTo>
                    <a:pt x="121" y="50"/>
                  </a:lnTo>
                  <a:lnTo>
                    <a:pt x="119" y="50"/>
                  </a:lnTo>
                  <a:lnTo>
                    <a:pt x="121" y="52"/>
                  </a:lnTo>
                  <a:lnTo>
                    <a:pt x="121" y="54"/>
                  </a:lnTo>
                  <a:lnTo>
                    <a:pt x="124" y="54"/>
                  </a:lnTo>
                  <a:lnTo>
                    <a:pt x="126" y="57"/>
                  </a:lnTo>
                  <a:lnTo>
                    <a:pt x="129" y="59"/>
                  </a:lnTo>
                  <a:lnTo>
                    <a:pt x="129" y="57"/>
                  </a:lnTo>
                  <a:lnTo>
                    <a:pt x="129" y="59"/>
                  </a:lnTo>
                  <a:lnTo>
                    <a:pt x="126" y="59"/>
                  </a:lnTo>
                  <a:lnTo>
                    <a:pt x="126" y="62"/>
                  </a:lnTo>
                  <a:lnTo>
                    <a:pt x="124" y="62"/>
                  </a:lnTo>
                  <a:lnTo>
                    <a:pt x="121" y="62"/>
                  </a:lnTo>
                  <a:lnTo>
                    <a:pt x="119" y="62"/>
                  </a:lnTo>
                  <a:lnTo>
                    <a:pt x="119" y="59"/>
                  </a:lnTo>
                  <a:lnTo>
                    <a:pt x="119" y="62"/>
                  </a:lnTo>
                  <a:lnTo>
                    <a:pt x="117" y="59"/>
                  </a:lnTo>
                  <a:lnTo>
                    <a:pt x="117" y="62"/>
                  </a:lnTo>
                  <a:lnTo>
                    <a:pt x="117" y="64"/>
                  </a:lnTo>
                  <a:lnTo>
                    <a:pt x="119" y="64"/>
                  </a:lnTo>
                  <a:lnTo>
                    <a:pt x="119" y="66"/>
                  </a:lnTo>
                  <a:lnTo>
                    <a:pt x="121" y="69"/>
                  </a:lnTo>
                  <a:lnTo>
                    <a:pt x="121" y="71"/>
                  </a:lnTo>
                  <a:lnTo>
                    <a:pt x="124" y="71"/>
                  </a:lnTo>
                  <a:lnTo>
                    <a:pt x="124" y="73"/>
                  </a:lnTo>
                  <a:lnTo>
                    <a:pt x="126" y="73"/>
                  </a:lnTo>
                  <a:lnTo>
                    <a:pt x="126" y="76"/>
                  </a:lnTo>
                  <a:lnTo>
                    <a:pt x="126" y="78"/>
                  </a:lnTo>
                  <a:lnTo>
                    <a:pt x="124" y="78"/>
                  </a:lnTo>
                  <a:lnTo>
                    <a:pt x="124" y="76"/>
                  </a:lnTo>
                  <a:lnTo>
                    <a:pt x="124" y="78"/>
                  </a:lnTo>
                  <a:lnTo>
                    <a:pt x="126" y="78"/>
                  </a:lnTo>
                  <a:lnTo>
                    <a:pt x="124" y="81"/>
                  </a:lnTo>
                  <a:lnTo>
                    <a:pt x="124" y="78"/>
                  </a:lnTo>
                  <a:lnTo>
                    <a:pt x="121" y="81"/>
                  </a:lnTo>
                  <a:lnTo>
                    <a:pt x="121" y="78"/>
                  </a:lnTo>
                  <a:lnTo>
                    <a:pt x="121" y="81"/>
                  </a:lnTo>
                  <a:lnTo>
                    <a:pt x="121" y="78"/>
                  </a:lnTo>
                  <a:lnTo>
                    <a:pt x="119" y="78"/>
                  </a:lnTo>
                  <a:lnTo>
                    <a:pt x="117" y="78"/>
                  </a:lnTo>
                  <a:lnTo>
                    <a:pt x="117" y="81"/>
                  </a:lnTo>
                  <a:lnTo>
                    <a:pt x="117" y="83"/>
                  </a:lnTo>
                  <a:lnTo>
                    <a:pt x="114" y="83"/>
                  </a:lnTo>
                  <a:lnTo>
                    <a:pt x="112" y="83"/>
                  </a:lnTo>
                  <a:lnTo>
                    <a:pt x="110" y="83"/>
                  </a:lnTo>
                  <a:lnTo>
                    <a:pt x="110" y="81"/>
                  </a:lnTo>
                  <a:lnTo>
                    <a:pt x="107" y="81"/>
                  </a:lnTo>
                  <a:lnTo>
                    <a:pt x="107" y="83"/>
                  </a:lnTo>
                  <a:lnTo>
                    <a:pt x="107" y="85"/>
                  </a:lnTo>
                  <a:lnTo>
                    <a:pt x="110" y="85"/>
                  </a:lnTo>
                  <a:lnTo>
                    <a:pt x="110" y="88"/>
                  </a:lnTo>
                  <a:lnTo>
                    <a:pt x="110" y="90"/>
                  </a:lnTo>
                  <a:lnTo>
                    <a:pt x="112" y="90"/>
                  </a:lnTo>
                  <a:lnTo>
                    <a:pt x="112" y="92"/>
                  </a:lnTo>
                  <a:lnTo>
                    <a:pt x="110" y="92"/>
                  </a:lnTo>
                  <a:lnTo>
                    <a:pt x="110" y="95"/>
                  </a:lnTo>
                  <a:lnTo>
                    <a:pt x="107" y="95"/>
                  </a:lnTo>
                  <a:lnTo>
                    <a:pt x="107" y="92"/>
                  </a:lnTo>
                  <a:lnTo>
                    <a:pt x="107" y="90"/>
                  </a:lnTo>
                  <a:lnTo>
                    <a:pt x="105" y="90"/>
                  </a:lnTo>
                  <a:lnTo>
                    <a:pt x="102" y="90"/>
                  </a:lnTo>
                  <a:lnTo>
                    <a:pt x="102" y="92"/>
                  </a:lnTo>
                  <a:lnTo>
                    <a:pt x="100" y="92"/>
                  </a:lnTo>
                  <a:lnTo>
                    <a:pt x="98" y="95"/>
                  </a:lnTo>
                  <a:lnTo>
                    <a:pt x="98" y="97"/>
                  </a:lnTo>
                  <a:lnTo>
                    <a:pt x="98" y="100"/>
                  </a:lnTo>
                  <a:lnTo>
                    <a:pt x="98" y="102"/>
                  </a:lnTo>
                  <a:lnTo>
                    <a:pt x="98" y="104"/>
                  </a:lnTo>
                  <a:lnTo>
                    <a:pt x="95" y="104"/>
                  </a:lnTo>
                  <a:lnTo>
                    <a:pt x="93" y="107"/>
                  </a:lnTo>
                  <a:lnTo>
                    <a:pt x="93" y="109"/>
                  </a:lnTo>
                  <a:lnTo>
                    <a:pt x="93" y="111"/>
                  </a:lnTo>
                  <a:lnTo>
                    <a:pt x="91" y="114"/>
                  </a:lnTo>
                  <a:lnTo>
                    <a:pt x="91" y="116"/>
                  </a:lnTo>
                  <a:lnTo>
                    <a:pt x="91" y="119"/>
                  </a:lnTo>
                  <a:lnTo>
                    <a:pt x="93" y="119"/>
                  </a:lnTo>
                  <a:lnTo>
                    <a:pt x="93" y="121"/>
                  </a:lnTo>
                  <a:lnTo>
                    <a:pt x="95" y="121"/>
                  </a:lnTo>
                  <a:lnTo>
                    <a:pt x="95" y="123"/>
                  </a:lnTo>
                  <a:lnTo>
                    <a:pt x="93" y="123"/>
                  </a:lnTo>
                  <a:lnTo>
                    <a:pt x="91" y="126"/>
                  </a:lnTo>
                  <a:lnTo>
                    <a:pt x="88" y="126"/>
                  </a:lnTo>
                  <a:lnTo>
                    <a:pt x="88" y="123"/>
                  </a:lnTo>
                  <a:lnTo>
                    <a:pt x="86" y="123"/>
                  </a:lnTo>
                  <a:lnTo>
                    <a:pt x="83" y="123"/>
                  </a:lnTo>
                  <a:lnTo>
                    <a:pt x="81" y="121"/>
                  </a:lnTo>
                  <a:lnTo>
                    <a:pt x="79" y="121"/>
                  </a:lnTo>
                  <a:lnTo>
                    <a:pt x="76" y="119"/>
                  </a:lnTo>
                  <a:lnTo>
                    <a:pt x="76" y="116"/>
                  </a:lnTo>
                  <a:lnTo>
                    <a:pt x="74" y="116"/>
                  </a:lnTo>
                  <a:lnTo>
                    <a:pt x="72" y="116"/>
                  </a:lnTo>
                  <a:lnTo>
                    <a:pt x="72" y="114"/>
                  </a:lnTo>
                  <a:lnTo>
                    <a:pt x="72" y="111"/>
                  </a:lnTo>
                  <a:lnTo>
                    <a:pt x="69" y="111"/>
                  </a:lnTo>
                  <a:lnTo>
                    <a:pt x="67" y="109"/>
                  </a:lnTo>
                  <a:lnTo>
                    <a:pt x="67" y="111"/>
                  </a:lnTo>
                  <a:lnTo>
                    <a:pt x="65" y="111"/>
                  </a:lnTo>
                  <a:lnTo>
                    <a:pt x="62" y="111"/>
                  </a:lnTo>
                  <a:lnTo>
                    <a:pt x="62" y="109"/>
                  </a:lnTo>
                  <a:lnTo>
                    <a:pt x="60" y="109"/>
                  </a:lnTo>
                  <a:lnTo>
                    <a:pt x="62" y="109"/>
                  </a:lnTo>
                  <a:lnTo>
                    <a:pt x="62" y="111"/>
                  </a:lnTo>
                  <a:lnTo>
                    <a:pt x="62" y="109"/>
                  </a:lnTo>
                  <a:lnTo>
                    <a:pt x="65" y="109"/>
                  </a:lnTo>
                  <a:lnTo>
                    <a:pt x="67" y="107"/>
                  </a:lnTo>
                  <a:lnTo>
                    <a:pt x="65" y="104"/>
                  </a:lnTo>
                  <a:lnTo>
                    <a:pt x="67" y="104"/>
                  </a:lnTo>
                  <a:lnTo>
                    <a:pt x="65" y="102"/>
                  </a:lnTo>
                  <a:lnTo>
                    <a:pt x="65" y="104"/>
                  </a:lnTo>
                  <a:lnTo>
                    <a:pt x="67" y="104"/>
                  </a:lnTo>
                  <a:lnTo>
                    <a:pt x="65" y="104"/>
                  </a:lnTo>
                  <a:lnTo>
                    <a:pt x="65" y="102"/>
                  </a:lnTo>
                  <a:lnTo>
                    <a:pt x="62" y="100"/>
                  </a:lnTo>
                  <a:lnTo>
                    <a:pt x="60" y="100"/>
                  </a:lnTo>
                  <a:lnTo>
                    <a:pt x="57" y="100"/>
                  </a:lnTo>
                  <a:lnTo>
                    <a:pt x="57" y="97"/>
                  </a:lnTo>
                  <a:lnTo>
                    <a:pt x="57" y="95"/>
                  </a:lnTo>
                  <a:lnTo>
                    <a:pt x="55" y="95"/>
                  </a:lnTo>
                  <a:lnTo>
                    <a:pt x="53" y="92"/>
                  </a:lnTo>
                  <a:lnTo>
                    <a:pt x="53" y="90"/>
                  </a:lnTo>
                  <a:lnTo>
                    <a:pt x="53" y="88"/>
                  </a:lnTo>
                  <a:lnTo>
                    <a:pt x="53" y="85"/>
                  </a:lnTo>
                  <a:lnTo>
                    <a:pt x="50" y="85"/>
                  </a:lnTo>
                  <a:lnTo>
                    <a:pt x="48" y="85"/>
                  </a:lnTo>
                  <a:lnTo>
                    <a:pt x="48" y="83"/>
                  </a:lnTo>
                  <a:lnTo>
                    <a:pt x="38" y="73"/>
                  </a:lnTo>
                  <a:lnTo>
                    <a:pt x="34" y="71"/>
                  </a:lnTo>
                  <a:lnTo>
                    <a:pt x="34" y="69"/>
                  </a:lnTo>
                  <a:lnTo>
                    <a:pt x="34" y="66"/>
                  </a:lnTo>
                  <a:lnTo>
                    <a:pt x="31" y="66"/>
                  </a:lnTo>
                  <a:lnTo>
                    <a:pt x="31" y="64"/>
                  </a:lnTo>
                  <a:lnTo>
                    <a:pt x="29" y="64"/>
                  </a:lnTo>
                  <a:lnTo>
                    <a:pt x="29" y="62"/>
                  </a:lnTo>
                  <a:lnTo>
                    <a:pt x="27" y="62"/>
                  </a:lnTo>
                  <a:lnTo>
                    <a:pt x="27" y="59"/>
                  </a:lnTo>
                  <a:lnTo>
                    <a:pt x="24" y="59"/>
                  </a:lnTo>
                  <a:lnTo>
                    <a:pt x="24" y="57"/>
                  </a:lnTo>
                  <a:lnTo>
                    <a:pt x="22" y="57"/>
                  </a:lnTo>
                  <a:lnTo>
                    <a:pt x="22" y="54"/>
                  </a:lnTo>
                  <a:lnTo>
                    <a:pt x="19" y="54"/>
                  </a:lnTo>
                  <a:lnTo>
                    <a:pt x="19" y="52"/>
                  </a:lnTo>
                  <a:lnTo>
                    <a:pt x="17" y="52"/>
                  </a:lnTo>
                  <a:lnTo>
                    <a:pt x="17" y="50"/>
                  </a:lnTo>
                  <a:lnTo>
                    <a:pt x="15" y="50"/>
                  </a:lnTo>
                  <a:lnTo>
                    <a:pt x="15" y="47"/>
                  </a:lnTo>
                  <a:lnTo>
                    <a:pt x="15" y="45"/>
                  </a:lnTo>
                  <a:lnTo>
                    <a:pt x="17" y="45"/>
                  </a:lnTo>
                  <a:lnTo>
                    <a:pt x="17" y="43"/>
                  </a:lnTo>
                  <a:lnTo>
                    <a:pt x="15" y="43"/>
                  </a:lnTo>
                  <a:lnTo>
                    <a:pt x="15" y="40"/>
                  </a:lnTo>
                  <a:lnTo>
                    <a:pt x="15" y="38"/>
                  </a:lnTo>
                  <a:lnTo>
                    <a:pt x="15" y="35"/>
                  </a:lnTo>
                  <a:lnTo>
                    <a:pt x="12" y="35"/>
                  </a:lnTo>
                  <a:lnTo>
                    <a:pt x="10" y="31"/>
                  </a:lnTo>
                  <a:lnTo>
                    <a:pt x="8" y="28"/>
                  </a:lnTo>
                  <a:lnTo>
                    <a:pt x="8" y="26"/>
                  </a:lnTo>
                  <a:lnTo>
                    <a:pt x="5" y="26"/>
                  </a:lnTo>
                  <a:lnTo>
                    <a:pt x="5" y="24"/>
                  </a:lnTo>
                  <a:lnTo>
                    <a:pt x="3" y="21"/>
                  </a:lnTo>
                  <a:lnTo>
                    <a:pt x="3" y="19"/>
                  </a:lnTo>
                  <a:lnTo>
                    <a:pt x="0" y="19"/>
                  </a:lnTo>
                  <a:lnTo>
                    <a:pt x="0" y="16"/>
                  </a:lnTo>
                  <a:lnTo>
                    <a:pt x="0" y="14"/>
                  </a:lnTo>
                  <a:lnTo>
                    <a:pt x="0" y="12"/>
                  </a:lnTo>
                  <a:lnTo>
                    <a:pt x="3" y="12"/>
                  </a:lnTo>
                  <a:lnTo>
                    <a:pt x="3" y="9"/>
                  </a:lnTo>
                  <a:lnTo>
                    <a:pt x="3" y="7"/>
                  </a:lnTo>
                  <a:lnTo>
                    <a:pt x="3" y="5"/>
                  </a:lnTo>
                  <a:lnTo>
                    <a:pt x="5" y="2"/>
                  </a:lnTo>
                  <a:lnTo>
                    <a:pt x="5" y="5"/>
                  </a:lnTo>
                  <a:lnTo>
                    <a:pt x="5" y="2"/>
                  </a:lnTo>
                  <a:lnTo>
                    <a:pt x="8" y="2"/>
                  </a:lnTo>
                  <a:lnTo>
                    <a:pt x="8" y="5"/>
                  </a:lnTo>
                  <a:lnTo>
                    <a:pt x="10" y="5"/>
                  </a:lnTo>
                  <a:lnTo>
                    <a:pt x="12" y="7"/>
                  </a:lnTo>
                  <a:lnTo>
                    <a:pt x="12" y="9"/>
                  </a:lnTo>
                  <a:lnTo>
                    <a:pt x="15" y="9"/>
                  </a:lnTo>
                  <a:lnTo>
                    <a:pt x="15" y="12"/>
                  </a:lnTo>
                  <a:lnTo>
                    <a:pt x="17" y="12"/>
                  </a:lnTo>
                  <a:lnTo>
                    <a:pt x="17" y="14"/>
                  </a:lnTo>
                  <a:lnTo>
                    <a:pt x="19" y="14"/>
                  </a:lnTo>
                  <a:lnTo>
                    <a:pt x="22" y="14"/>
                  </a:lnTo>
                  <a:lnTo>
                    <a:pt x="22" y="12"/>
                  </a:lnTo>
                  <a:lnTo>
                    <a:pt x="22" y="9"/>
                  </a:lnTo>
                  <a:lnTo>
                    <a:pt x="24" y="7"/>
                  </a:lnTo>
                  <a:lnTo>
                    <a:pt x="24" y="5"/>
                  </a:lnTo>
                  <a:lnTo>
                    <a:pt x="27" y="5"/>
                  </a:lnTo>
                  <a:lnTo>
                    <a:pt x="27" y="2"/>
                  </a:lnTo>
                  <a:lnTo>
                    <a:pt x="29" y="5"/>
                  </a:lnTo>
                  <a:lnTo>
                    <a:pt x="29" y="2"/>
                  </a:lnTo>
                  <a:lnTo>
                    <a:pt x="31" y="5"/>
                  </a:lnTo>
                  <a:lnTo>
                    <a:pt x="34" y="5"/>
                  </a:lnTo>
                  <a:lnTo>
                    <a:pt x="36" y="5"/>
                  </a:lnTo>
                  <a:lnTo>
                    <a:pt x="38" y="5"/>
                  </a:lnTo>
                  <a:lnTo>
                    <a:pt x="36" y="5"/>
                  </a:lnTo>
                  <a:lnTo>
                    <a:pt x="38" y="2"/>
                  </a:lnTo>
                  <a:lnTo>
                    <a:pt x="36" y="2"/>
                  </a:lnTo>
                  <a:lnTo>
                    <a:pt x="38" y="2"/>
                  </a:lnTo>
                  <a:lnTo>
                    <a:pt x="41" y="2"/>
                  </a:lnTo>
                  <a:lnTo>
                    <a:pt x="41" y="0"/>
                  </a:lnTo>
                  <a:lnTo>
                    <a:pt x="41"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7" name="Freeform 50280"/>
            <p:cNvSpPr>
              <a:spLocks/>
            </p:cNvSpPr>
            <p:nvPr/>
          </p:nvSpPr>
          <p:spPr bwMode="auto">
            <a:xfrm>
              <a:off x="3197223" y="5135579"/>
              <a:ext cx="327025" cy="217488"/>
            </a:xfrm>
            <a:custGeom>
              <a:avLst/>
              <a:gdLst>
                <a:gd name="T0" fmla="*/ 23 w 206"/>
                <a:gd name="T1" fmla="*/ 7 h 137"/>
                <a:gd name="T2" fmla="*/ 19 w 206"/>
                <a:gd name="T3" fmla="*/ 19 h 137"/>
                <a:gd name="T4" fmla="*/ 35 w 206"/>
                <a:gd name="T5" fmla="*/ 16 h 137"/>
                <a:gd name="T6" fmla="*/ 47 w 206"/>
                <a:gd name="T7" fmla="*/ 21 h 137"/>
                <a:gd name="T8" fmla="*/ 61 w 206"/>
                <a:gd name="T9" fmla="*/ 23 h 137"/>
                <a:gd name="T10" fmla="*/ 76 w 206"/>
                <a:gd name="T11" fmla="*/ 23 h 137"/>
                <a:gd name="T12" fmla="*/ 90 w 206"/>
                <a:gd name="T13" fmla="*/ 26 h 137"/>
                <a:gd name="T14" fmla="*/ 104 w 206"/>
                <a:gd name="T15" fmla="*/ 26 h 137"/>
                <a:gd name="T16" fmla="*/ 118 w 206"/>
                <a:gd name="T17" fmla="*/ 19 h 137"/>
                <a:gd name="T18" fmla="*/ 128 w 206"/>
                <a:gd name="T19" fmla="*/ 9 h 137"/>
                <a:gd name="T20" fmla="*/ 147 w 206"/>
                <a:gd name="T21" fmla="*/ 7 h 137"/>
                <a:gd name="T22" fmla="*/ 163 w 206"/>
                <a:gd name="T23" fmla="*/ 4 h 137"/>
                <a:gd name="T24" fmla="*/ 178 w 206"/>
                <a:gd name="T25" fmla="*/ 12 h 137"/>
                <a:gd name="T26" fmla="*/ 197 w 206"/>
                <a:gd name="T27" fmla="*/ 21 h 137"/>
                <a:gd name="T28" fmla="*/ 206 w 206"/>
                <a:gd name="T29" fmla="*/ 33 h 137"/>
                <a:gd name="T30" fmla="*/ 197 w 206"/>
                <a:gd name="T31" fmla="*/ 38 h 137"/>
                <a:gd name="T32" fmla="*/ 187 w 206"/>
                <a:gd name="T33" fmla="*/ 47 h 137"/>
                <a:gd name="T34" fmla="*/ 182 w 206"/>
                <a:gd name="T35" fmla="*/ 47 h 137"/>
                <a:gd name="T36" fmla="*/ 182 w 206"/>
                <a:gd name="T37" fmla="*/ 59 h 137"/>
                <a:gd name="T38" fmla="*/ 178 w 206"/>
                <a:gd name="T39" fmla="*/ 73 h 137"/>
                <a:gd name="T40" fmla="*/ 173 w 206"/>
                <a:gd name="T41" fmla="*/ 76 h 137"/>
                <a:gd name="T42" fmla="*/ 168 w 206"/>
                <a:gd name="T43" fmla="*/ 80 h 137"/>
                <a:gd name="T44" fmla="*/ 175 w 206"/>
                <a:gd name="T45" fmla="*/ 80 h 137"/>
                <a:gd name="T46" fmla="*/ 178 w 206"/>
                <a:gd name="T47" fmla="*/ 83 h 137"/>
                <a:gd name="T48" fmla="*/ 178 w 206"/>
                <a:gd name="T49" fmla="*/ 92 h 137"/>
                <a:gd name="T50" fmla="*/ 185 w 206"/>
                <a:gd name="T51" fmla="*/ 97 h 137"/>
                <a:gd name="T52" fmla="*/ 185 w 206"/>
                <a:gd name="T53" fmla="*/ 102 h 137"/>
                <a:gd name="T54" fmla="*/ 178 w 206"/>
                <a:gd name="T55" fmla="*/ 104 h 137"/>
                <a:gd name="T56" fmla="*/ 168 w 206"/>
                <a:gd name="T57" fmla="*/ 104 h 137"/>
                <a:gd name="T58" fmla="*/ 159 w 206"/>
                <a:gd name="T59" fmla="*/ 99 h 137"/>
                <a:gd name="T60" fmla="*/ 154 w 206"/>
                <a:gd name="T61" fmla="*/ 102 h 137"/>
                <a:gd name="T62" fmla="*/ 142 w 206"/>
                <a:gd name="T63" fmla="*/ 104 h 137"/>
                <a:gd name="T64" fmla="*/ 130 w 206"/>
                <a:gd name="T65" fmla="*/ 114 h 137"/>
                <a:gd name="T66" fmla="*/ 123 w 206"/>
                <a:gd name="T67" fmla="*/ 118 h 137"/>
                <a:gd name="T68" fmla="*/ 125 w 206"/>
                <a:gd name="T69" fmla="*/ 133 h 137"/>
                <a:gd name="T70" fmla="*/ 116 w 206"/>
                <a:gd name="T71" fmla="*/ 133 h 137"/>
                <a:gd name="T72" fmla="*/ 107 w 206"/>
                <a:gd name="T73" fmla="*/ 133 h 137"/>
                <a:gd name="T74" fmla="*/ 95 w 206"/>
                <a:gd name="T75" fmla="*/ 135 h 137"/>
                <a:gd name="T76" fmla="*/ 80 w 206"/>
                <a:gd name="T77" fmla="*/ 130 h 137"/>
                <a:gd name="T78" fmla="*/ 73 w 206"/>
                <a:gd name="T79" fmla="*/ 123 h 137"/>
                <a:gd name="T80" fmla="*/ 59 w 206"/>
                <a:gd name="T81" fmla="*/ 126 h 137"/>
                <a:gd name="T82" fmla="*/ 52 w 206"/>
                <a:gd name="T83" fmla="*/ 128 h 137"/>
                <a:gd name="T84" fmla="*/ 40 w 206"/>
                <a:gd name="T85" fmla="*/ 130 h 137"/>
                <a:gd name="T86" fmla="*/ 23 w 206"/>
                <a:gd name="T87" fmla="*/ 133 h 137"/>
                <a:gd name="T88" fmla="*/ 21 w 206"/>
                <a:gd name="T89" fmla="*/ 121 h 137"/>
                <a:gd name="T90" fmla="*/ 21 w 206"/>
                <a:gd name="T91" fmla="*/ 111 h 137"/>
                <a:gd name="T92" fmla="*/ 12 w 206"/>
                <a:gd name="T93" fmla="*/ 99 h 137"/>
                <a:gd name="T94" fmla="*/ 2 w 206"/>
                <a:gd name="T95" fmla="*/ 88 h 137"/>
                <a:gd name="T96" fmla="*/ 4 w 206"/>
                <a:gd name="T97" fmla="*/ 78 h 137"/>
                <a:gd name="T98" fmla="*/ 2 w 206"/>
                <a:gd name="T99" fmla="*/ 64 h 137"/>
                <a:gd name="T100" fmla="*/ 14 w 206"/>
                <a:gd name="T101" fmla="*/ 61 h 137"/>
                <a:gd name="T102" fmla="*/ 21 w 206"/>
                <a:gd name="T103" fmla="*/ 50 h 137"/>
                <a:gd name="T104" fmla="*/ 14 w 206"/>
                <a:gd name="T105" fmla="*/ 38 h 137"/>
                <a:gd name="T106" fmla="*/ 4 w 206"/>
                <a:gd name="T107" fmla="*/ 33 h 137"/>
                <a:gd name="T108" fmla="*/ 0 w 206"/>
                <a:gd name="T109" fmla="*/ 16 h 137"/>
                <a:gd name="T110" fmla="*/ 9 w 206"/>
                <a:gd name="T111" fmla="*/ 7 h 137"/>
                <a:gd name="T112" fmla="*/ 12 w 206"/>
                <a:gd name="T11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6" h="137">
                  <a:moveTo>
                    <a:pt x="12" y="0"/>
                  </a:moveTo>
                  <a:lnTo>
                    <a:pt x="14" y="2"/>
                  </a:lnTo>
                  <a:lnTo>
                    <a:pt x="16" y="2"/>
                  </a:lnTo>
                  <a:lnTo>
                    <a:pt x="16" y="4"/>
                  </a:lnTo>
                  <a:lnTo>
                    <a:pt x="19" y="4"/>
                  </a:lnTo>
                  <a:lnTo>
                    <a:pt x="19" y="7"/>
                  </a:lnTo>
                  <a:lnTo>
                    <a:pt x="21" y="7"/>
                  </a:lnTo>
                  <a:lnTo>
                    <a:pt x="23" y="7"/>
                  </a:lnTo>
                  <a:lnTo>
                    <a:pt x="21" y="9"/>
                  </a:lnTo>
                  <a:lnTo>
                    <a:pt x="19" y="9"/>
                  </a:lnTo>
                  <a:lnTo>
                    <a:pt x="19" y="12"/>
                  </a:lnTo>
                  <a:lnTo>
                    <a:pt x="16" y="12"/>
                  </a:lnTo>
                  <a:lnTo>
                    <a:pt x="16" y="14"/>
                  </a:lnTo>
                  <a:lnTo>
                    <a:pt x="16" y="16"/>
                  </a:lnTo>
                  <a:lnTo>
                    <a:pt x="16" y="19"/>
                  </a:lnTo>
                  <a:lnTo>
                    <a:pt x="19" y="19"/>
                  </a:lnTo>
                  <a:lnTo>
                    <a:pt x="21" y="19"/>
                  </a:lnTo>
                  <a:lnTo>
                    <a:pt x="23" y="19"/>
                  </a:lnTo>
                  <a:lnTo>
                    <a:pt x="26" y="19"/>
                  </a:lnTo>
                  <a:lnTo>
                    <a:pt x="28" y="19"/>
                  </a:lnTo>
                  <a:lnTo>
                    <a:pt x="31" y="19"/>
                  </a:lnTo>
                  <a:lnTo>
                    <a:pt x="31" y="16"/>
                  </a:lnTo>
                  <a:lnTo>
                    <a:pt x="33" y="16"/>
                  </a:lnTo>
                  <a:lnTo>
                    <a:pt x="35" y="16"/>
                  </a:lnTo>
                  <a:lnTo>
                    <a:pt x="38" y="19"/>
                  </a:lnTo>
                  <a:lnTo>
                    <a:pt x="40" y="19"/>
                  </a:lnTo>
                  <a:lnTo>
                    <a:pt x="42" y="19"/>
                  </a:lnTo>
                  <a:lnTo>
                    <a:pt x="42" y="21"/>
                  </a:lnTo>
                  <a:lnTo>
                    <a:pt x="42" y="19"/>
                  </a:lnTo>
                  <a:lnTo>
                    <a:pt x="45" y="19"/>
                  </a:lnTo>
                  <a:lnTo>
                    <a:pt x="47" y="19"/>
                  </a:lnTo>
                  <a:lnTo>
                    <a:pt x="47" y="21"/>
                  </a:lnTo>
                  <a:lnTo>
                    <a:pt x="50" y="21"/>
                  </a:lnTo>
                  <a:lnTo>
                    <a:pt x="52" y="21"/>
                  </a:lnTo>
                  <a:lnTo>
                    <a:pt x="54" y="21"/>
                  </a:lnTo>
                  <a:lnTo>
                    <a:pt x="57" y="23"/>
                  </a:lnTo>
                  <a:lnTo>
                    <a:pt x="59" y="23"/>
                  </a:lnTo>
                  <a:lnTo>
                    <a:pt x="59" y="26"/>
                  </a:lnTo>
                  <a:lnTo>
                    <a:pt x="61" y="26"/>
                  </a:lnTo>
                  <a:lnTo>
                    <a:pt x="61" y="23"/>
                  </a:lnTo>
                  <a:lnTo>
                    <a:pt x="64" y="23"/>
                  </a:lnTo>
                  <a:lnTo>
                    <a:pt x="66" y="23"/>
                  </a:lnTo>
                  <a:lnTo>
                    <a:pt x="69" y="23"/>
                  </a:lnTo>
                  <a:lnTo>
                    <a:pt x="69" y="21"/>
                  </a:lnTo>
                  <a:lnTo>
                    <a:pt x="71" y="21"/>
                  </a:lnTo>
                  <a:lnTo>
                    <a:pt x="73" y="21"/>
                  </a:lnTo>
                  <a:lnTo>
                    <a:pt x="76" y="21"/>
                  </a:lnTo>
                  <a:lnTo>
                    <a:pt x="76" y="23"/>
                  </a:lnTo>
                  <a:lnTo>
                    <a:pt x="78" y="26"/>
                  </a:lnTo>
                  <a:lnTo>
                    <a:pt x="80" y="26"/>
                  </a:lnTo>
                  <a:lnTo>
                    <a:pt x="80" y="23"/>
                  </a:lnTo>
                  <a:lnTo>
                    <a:pt x="83" y="23"/>
                  </a:lnTo>
                  <a:lnTo>
                    <a:pt x="85" y="23"/>
                  </a:lnTo>
                  <a:lnTo>
                    <a:pt x="88" y="23"/>
                  </a:lnTo>
                  <a:lnTo>
                    <a:pt x="90" y="23"/>
                  </a:lnTo>
                  <a:lnTo>
                    <a:pt x="90" y="26"/>
                  </a:lnTo>
                  <a:lnTo>
                    <a:pt x="92" y="26"/>
                  </a:lnTo>
                  <a:lnTo>
                    <a:pt x="92" y="23"/>
                  </a:lnTo>
                  <a:lnTo>
                    <a:pt x="95" y="23"/>
                  </a:lnTo>
                  <a:lnTo>
                    <a:pt x="95" y="26"/>
                  </a:lnTo>
                  <a:lnTo>
                    <a:pt x="97" y="26"/>
                  </a:lnTo>
                  <a:lnTo>
                    <a:pt x="99" y="28"/>
                  </a:lnTo>
                  <a:lnTo>
                    <a:pt x="102" y="28"/>
                  </a:lnTo>
                  <a:lnTo>
                    <a:pt x="104" y="26"/>
                  </a:lnTo>
                  <a:lnTo>
                    <a:pt x="107" y="26"/>
                  </a:lnTo>
                  <a:lnTo>
                    <a:pt x="109" y="26"/>
                  </a:lnTo>
                  <a:lnTo>
                    <a:pt x="111" y="23"/>
                  </a:lnTo>
                  <a:lnTo>
                    <a:pt x="114" y="23"/>
                  </a:lnTo>
                  <a:lnTo>
                    <a:pt x="114" y="21"/>
                  </a:lnTo>
                  <a:lnTo>
                    <a:pt x="116" y="21"/>
                  </a:lnTo>
                  <a:lnTo>
                    <a:pt x="116" y="19"/>
                  </a:lnTo>
                  <a:lnTo>
                    <a:pt x="118" y="19"/>
                  </a:lnTo>
                  <a:lnTo>
                    <a:pt x="118" y="16"/>
                  </a:lnTo>
                  <a:lnTo>
                    <a:pt x="121" y="16"/>
                  </a:lnTo>
                  <a:lnTo>
                    <a:pt x="121" y="14"/>
                  </a:lnTo>
                  <a:lnTo>
                    <a:pt x="123" y="14"/>
                  </a:lnTo>
                  <a:lnTo>
                    <a:pt x="123" y="12"/>
                  </a:lnTo>
                  <a:lnTo>
                    <a:pt x="125" y="12"/>
                  </a:lnTo>
                  <a:lnTo>
                    <a:pt x="128" y="12"/>
                  </a:lnTo>
                  <a:lnTo>
                    <a:pt x="128" y="9"/>
                  </a:lnTo>
                  <a:lnTo>
                    <a:pt x="130" y="9"/>
                  </a:lnTo>
                  <a:lnTo>
                    <a:pt x="133" y="9"/>
                  </a:lnTo>
                  <a:lnTo>
                    <a:pt x="135" y="9"/>
                  </a:lnTo>
                  <a:lnTo>
                    <a:pt x="137" y="7"/>
                  </a:lnTo>
                  <a:lnTo>
                    <a:pt x="140" y="7"/>
                  </a:lnTo>
                  <a:lnTo>
                    <a:pt x="142" y="7"/>
                  </a:lnTo>
                  <a:lnTo>
                    <a:pt x="144" y="7"/>
                  </a:lnTo>
                  <a:lnTo>
                    <a:pt x="147" y="7"/>
                  </a:lnTo>
                  <a:lnTo>
                    <a:pt x="147" y="4"/>
                  </a:lnTo>
                  <a:lnTo>
                    <a:pt x="149" y="4"/>
                  </a:lnTo>
                  <a:lnTo>
                    <a:pt x="152" y="4"/>
                  </a:lnTo>
                  <a:lnTo>
                    <a:pt x="154" y="4"/>
                  </a:lnTo>
                  <a:lnTo>
                    <a:pt x="156" y="4"/>
                  </a:lnTo>
                  <a:lnTo>
                    <a:pt x="159" y="4"/>
                  </a:lnTo>
                  <a:lnTo>
                    <a:pt x="161" y="4"/>
                  </a:lnTo>
                  <a:lnTo>
                    <a:pt x="163" y="4"/>
                  </a:lnTo>
                  <a:lnTo>
                    <a:pt x="163" y="7"/>
                  </a:lnTo>
                  <a:lnTo>
                    <a:pt x="166" y="7"/>
                  </a:lnTo>
                  <a:lnTo>
                    <a:pt x="166" y="9"/>
                  </a:lnTo>
                  <a:lnTo>
                    <a:pt x="168" y="9"/>
                  </a:lnTo>
                  <a:lnTo>
                    <a:pt x="173" y="9"/>
                  </a:lnTo>
                  <a:lnTo>
                    <a:pt x="175" y="9"/>
                  </a:lnTo>
                  <a:lnTo>
                    <a:pt x="175" y="12"/>
                  </a:lnTo>
                  <a:lnTo>
                    <a:pt x="178" y="12"/>
                  </a:lnTo>
                  <a:lnTo>
                    <a:pt x="180" y="12"/>
                  </a:lnTo>
                  <a:lnTo>
                    <a:pt x="182" y="9"/>
                  </a:lnTo>
                  <a:lnTo>
                    <a:pt x="185" y="12"/>
                  </a:lnTo>
                  <a:lnTo>
                    <a:pt x="185" y="14"/>
                  </a:lnTo>
                  <a:lnTo>
                    <a:pt x="187" y="19"/>
                  </a:lnTo>
                  <a:lnTo>
                    <a:pt x="190" y="19"/>
                  </a:lnTo>
                  <a:lnTo>
                    <a:pt x="194" y="21"/>
                  </a:lnTo>
                  <a:lnTo>
                    <a:pt x="197" y="21"/>
                  </a:lnTo>
                  <a:lnTo>
                    <a:pt x="201" y="23"/>
                  </a:lnTo>
                  <a:lnTo>
                    <a:pt x="206" y="23"/>
                  </a:lnTo>
                  <a:lnTo>
                    <a:pt x="204" y="23"/>
                  </a:lnTo>
                  <a:lnTo>
                    <a:pt x="204" y="26"/>
                  </a:lnTo>
                  <a:lnTo>
                    <a:pt x="206" y="26"/>
                  </a:lnTo>
                  <a:lnTo>
                    <a:pt x="206" y="28"/>
                  </a:lnTo>
                  <a:lnTo>
                    <a:pt x="206" y="31"/>
                  </a:lnTo>
                  <a:lnTo>
                    <a:pt x="206" y="33"/>
                  </a:lnTo>
                  <a:lnTo>
                    <a:pt x="206" y="35"/>
                  </a:lnTo>
                  <a:lnTo>
                    <a:pt x="204" y="35"/>
                  </a:lnTo>
                  <a:lnTo>
                    <a:pt x="204" y="38"/>
                  </a:lnTo>
                  <a:lnTo>
                    <a:pt x="201" y="38"/>
                  </a:lnTo>
                  <a:lnTo>
                    <a:pt x="201" y="40"/>
                  </a:lnTo>
                  <a:lnTo>
                    <a:pt x="201" y="38"/>
                  </a:lnTo>
                  <a:lnTo>
                    <a:pt x="199" y="38"/>
                  </a:lnTo>
                  <a:lnTo>
                    <a:pt x="197" y="38"/>
                  </a:lnTo>
                  <a:lnTo>
                    <a:pt x="194" y="38"/>
                  </a:lnTo>
                  <a:lnTo>
                    <a:pt x="192" y="38"/>
                  </a:lnTo>
                  <a:lnTo>
                    <a:pt x="190" y="38"/>
                  </a:lnTo>
                  <a:lnTo>
                    <a:pt x="190" y="40"/>
                  </a:lnTo>
                  <a:lnTo>
                    <a:pt x="190" y="42"/>
                  </a:lnTo>
                  <a:lnTo>
                    <a:pt x="187" y="42"/>
                  </a:lnTo>
                  <a:lnTo>
                    <a:pt x="187" y="45"/>
                  </a:lnTo>
                  <a:lnTo>
                    <a:pt x="187" y="47"/>
                  </a:lnTo>
                  <a:lnTo>
                    <a:pt x="185" y="47"/>
                  </a:lnTo>
                  <a:lnTo>
                    <a:pt x="182" y="47"/>
                  </a:lnTo>
                  <a:lnTo>
                    <a:pt x="180" y="47"/>
                  </a:lnTo>
                  <a:lnTo>
                    <a:pt x="178" y="47"/>
                  </a:lnTo>
                  <a:lnTo>
                    <a:pt x="175" y="47"/>
                  </a:lnTo>
                  <a:lnTo>
                    <a:pt x="178" y="47"/>
                  </a:lnTo>
                  <a:lnTo>
                    <a:pt x="180" y="47"/>
                  </a:lnTo>
                  <a:lnTo>
                    <a:pt x="182" y="47"/>
                  </a:lnTo>
                  <a:lnTo>
                    <a:pt x="182" y="50"/>
                  </a:lnTo>
                  <a:lnTo>
                    <a:pt x="185" y="47"/>
                  </a:lnTo>
                  <a:lnTo>
                    <a:pt x="185" y="50"/>
                  </a:lnTo>
                  <a:lnTo>
                    <a:pt x="185" y="52"/>
                  </a:lnTo>
                  <a:lnTo>
                    <a:pt x="182" y="52"/>
                  </a:lnTo>
                  <a:lnTo>
                    <a:pt x="182" y="54"/>
                  </a:lnTo>
                  <a:lnTo>
                    <a:pt x="182" y="57"/>
                  </a:lnTo>
                  <a:lnTo>
                    <a:pt x="182" y="59"/>
                  </a:lnTo>
                  <a:lnTo>
                    <a:pt x="182" y="61"/>
                  </a:lnTo>
                  <a:lnTo>
                    <a:pt x="182" y="64"/>
                  </a:lnTo>
                  <a:lnTo>
                    <a:pt x="182" y="66"/>
                  </a:lnTo>
                  <a:lnTo>
                    <a:pt x="182" y="69"/>
                  </a:lnTo>
                  <a:lnTo>
                    <a:pt x="182" y="71"/>
                  </a:lnTo>
                  <a:lnTo>
                    <a:pt x="180" y="71"/>
                  </a:lnTo>
                  <a:lnTo>
                    <a:pt x="178" y="71"/>
                  </a:lnTo>
                  <a:lnTo>
                    <a:pt x="178" y="73"/>
                  </a:lnTo>
                  <a:lnTo>
                    <a:pt x="178" y="71"/>
                  </a:lnTo>
                  <a:lnTo>
                    <a:pt x="178" y="73"/>
                  </a:lnTo>
                  <a:lnTo>
                    <a:pt x="175" y="73"/>
                  </a:lnTo>
                  <a:lnTo>
                    <a:pt x="173" y="76"/>
                  </a:lnTo>
                  <a:lnTo>
                    <a:pt x="175" y="76"/>
                  </a:lnTo>
                  <a:lnTo>
                    <a:pt x="175" y="78"/>
                  </a:lnTo>
                  <a:lnTo>
                    <a:pt x="175" y="76"/>
                  </a:lnTo>
                  <a:lnTo>
                    <a:pt x="173" y="76"/>
                  </a:lnTo>
                  <a:lnTo>
                    <a:pt x="173" y="78"/>
                  </a:lnTo>
                  <a:lnTo>
                    <a:pt x="171" y="78"/>
                  </a:lnTo>
                  <a:lnTo>
                    <a:pt x="171" y="76"/>
                  </a:lnTo>
                  <a:lnTo>
                    <a:pt x="171" y="78"/>
                  </a:lnTo>
                  <a:lnTo>
                    <a:pt x="168" y="78"/>
                  </a:lnTo>
                  <a:lnTo>
                    <a:pt x="168" y="80"/>
                  </a:lnTo>
                  <a:lnTo>
                    <a:pt x="168" y="83"/>
                  </a:lnTo>
                  <a:lnTo>
                    <a:pt x="168" y="80"/>
                  </a:lnTo>
                  <a:lnTo>
                    <a:pt x="171" y="83"/>
                  </a:lnTo>
                  <a:lnTo>
                    <a:pt x="171" y="80"/>
                  </a:lnTo>
                  <a:lnTo>
                    <a:pt x="171" y="83"/>
                  </a:lnTo>
                  <a:lnTo>
                    <a:pt x="173" y="83"/>
                  </a:lnTo>
                  <a:lnTo>
                    <a:pt x="173" y="80"/>
                  </a:lnTo>
                  <a:lnTo>
                    <a:pt x="173" y="83"/>
                  </a:lnTo>
                  <a:lnTo>
                    <a:pt x="173" y="80"/>
                  </a:lnTo>
                  <a:lnTo>
                    <a:pt x="175" y="80"/>
                  </a:lnTo>
                  <a:lnTo>
                    <a:pt x="175" y="83"/>
                  </a:lnTo>
                  <a:lnTo>
                    <a:pt x="178" y="83"/>
                  </a:lnTo>
                  <a:lnTo>
                    <a:pt x="175" y="83"/>
                  </a:lnTo>
                  <a:lnTo>
                    <a:pt x="178" y="83"/>
                  </a:lnTo>
                  <a:lnTo>
                    <a:pt x="178" y="85"/>
                  </a:lnTo>
                  <a:lnTo>
                    <a:pt x="178" y="83"/>
                  </a:lnTo>
                  <a:lnTo>
                    <a:pt x="178" y="85"/>
                  </a:lnTo>
                  <a:lnTo>
                    <a:pt x="178" y="83"/>
                  </a:lnTo>
                  <a:lnTo>
                    <a:pt x="178" y="85"/>
                  </a:lnTo>
                  <a:lnTo>
                    <a:pt x="178" y="88"/>
                  </a:lnTo>
                  <a:lnTo>
                    <a:pt x="180" y="88"/>
                  </a:lnTo>
                  <a:lnTo>
                    <a:pt x="178" y="88"/>
                  </a:lnTo>
                  <a:lnTo>
                    <a:pt x="180" y="88"/>
                  </a:lnTo>
                  <a:lnTo>
                    <a:pt x="178" y="88"/>
                  </a:lnTo>
                  <a:lnTo>
                    <a:pt x="178" y="90"/>
                  </a:lnTo>
                  <a:lnTo>
                    <a:pt x="178" y="92"/>
                  </a:lnTo>
                  <a:lnTo>
                    <a:pt x="178" y="90"/>
                  </a:lnTo>
                  <a:lnTo>
                    <a:pt x="180" y="92"/>
                  </a:lnTo>
                  <a:lnTo>
                    <a:pt x="180" y="95"/>
                  </a:lnTo>
                  <a:lnTo>
                    <a:pt x="182" y="95"/>
                  </a:lnTo>
                  <a:lnTo>
                    <a:pt x="180" y="95"/>
                  </a:lnTo>
                  <a:lnTo>
                    <a:pt x="182" y="95"/>
                  </a:lnTo>
                  <a:lnTo>
                    <a:pt x="182" y="97"/>
                  </a:lnTo>
                  <a:lnTo>
                    <a:pt x="185" y="97"/>
                  </a:lnTo>
                  <a:lnTo>
                    <a:pt x="185" y="99"/>
                  </a:lnTo>
                  <a:lnTo>
                    <a:pt x="187" y="99"/>
                  </a:lnTo>
                  <a:lnTo>
                    <a:pt x="185" y="99"/>
                  </a:lnTo>
                  <a:lnTo>
                    <a:pt x="187" y="99"/>
                  </a:lnTo>
                  <a:lnTo>
                    <a:pt x="187" y="102"/>
                  </a:lnTo>
                  <a:lnTo>
                    <a:pt x="187" y="104"/>
                  </a:lnTo>
                  <a:lnTo>
                    <a:pt x="185" y="104"/>
                  </a:lnTo>
                  <a:lnTo>
                    <a:pt x="185" y="102"/>
                  </a:lnTo>
                  <a:lnTo>
                    <a:pt x="185" y="104"/>
                  </a:lnTo>
                  <a:lnTo>
                    <a:pt x="182" y="104"/>
                  </a:lnTo>
                  <a:lnTo>
                    <a:pt x="182" y="102"/>
                  </a:lnTo>
                  <a:lnTo>
                    <a:pt x="180" y="102"/>
                  </a:lnTo>
                  <a:lnTo>
                    <a:pt x="180" y="104"/>
                  </a:lnTo>
                  <a:lnTo>
                    <a:pt x="178" y="104"/>
                  </a:lnTo>
                  <a:lnTo>
                    <a:pt x="175" y="104"/>
                  </a:lnTo>
                  <a:lnTo>
                    <a:pt x="178" y="104"/>
                  </a:lnTo>
                  <a:lnTo>
                    <a:pt x="175" y="104"/>
                  </a:lnTo>
                  <a:lnTo>
                    <a:pt x="173" y="104"/>
                  </a:lnTo>
                  <a:lnTo>
                    <a:pt x="173" y="107"/>
                  </a:lnTo>
                  <a:lnTo>
                    <a:pt x="173" y="104"/>
                  </a:lnTo>
                  <a:lnTo>
                    <a:pt x="173" y="107"/>
                  </a:lnTo>
                  <a:lnTo>
                    <a:pt x="171" y="107"/>
                  </a:lnTo>
                  <a:lnTo>
                    <a:pt x="171" y="104"/>
                  </a:lnTo>
                  <a:lnTo>
                    <a:pt x="168" y="104"/>
                  </a:lnTo>
                  <a:lnTo>
                    <a:pt x="168" y="102"/>
                  </a:lnTo>
                  <a:lnTo>
                    <a:pt x="166" y="102"/>
                  </a:lnTo>
                  <a:lnTo>
                    <a:pt x="166" y="99"/>
                  </a:lnTo>
                  <a:lnTo>
                    <a:pt x="163" y="99"/>
                  </a:lnTo>
                  <a:lnTo>
                    <a:pt x="163" y="97"/>
                  </a:lnTo>
                  <a:lnTo>
                    <a:pt x="161" y="97"/>
                  </a:lnTo>
                  <a:lnTo>
                    <a:pt x="161" y="99"/>
                  </a:lnTo>
                  <a:lnTo>
                    <a:pt x="159" y="99"/>
                  </a:lnTo>
                  <a:lnTo>
                    <a:pt x="161" y="99"/>
                  </a:lnTo>
                  <a:lnTo>
                    <a:pt x="159" y="99"/>
                  </a:lnTo>
                  <a:lnTo>
                    <a:pt x="156" y="99"/>
                  </a:lnTo>
                  <a:lnTo>
                    <a:pt x="156" y="97"/>
                  </a:lnTo>
                  <a:lnTo>
                    <a:pt x="156" y="99"/>
                  </a:lnTo>
                  <a:lnTo>
                    <a:pt x="154" y="99"/>
                  </a:lnTo>
                  <a:lnTo>
                    <a:pt x="152" y="99"/>
                  </a:lnTo>
                  <a:lnTo>
                    <a:pt x="154" y="102"/>
                  </a:lnTo>
                  <a:lnTo>
                    <a:pt x="152" y="102"/>
                  </a:lnTo>
                  <a:lnTo>
                    <a:pt x="149" y="102"/>
                  </a:lnTo>
                  <a:lnTo>
                    <a:pt x="149" y="104"/>
                  </a:lnTo>
                  <a:lnTo>
                    <a:pt x="147" y="104"/>
                  </a:lnTo>
                  <a:lnTo>
                    <a:pt x="147" y="102"/>
                  </a:lnTo>
                  <a:lnTo>
                    <a:pt x="147" y="104"/>
                  </a:lnTo>
                  <a:lnTo>
                    <a:pt x="144" y="104"/>
                  </a:lnTo>
                  <a:lnTo>
                    <a:pt x="142" y="104"/>
                  </a:lnTo>
                  <a:lnTo>
                    <a:pt x="140" y="104"/>
                  </a:lnTo>
                  <a:lnTo>
                    <a:pt x="140" y="107"/>
                  </a:lnTo>
                  <a:lnTo>
                    <a:pt x="140" y="109"/>
                  </a:lnTo>
                  <a:lnTo>
                    <a:pt x="137" y="109"/>
                  </a:lnTo>
                  <a:lnTo>
                    <a:pt x="137" y="111"/>
                  </a:lnTo>
                  <a:lnTo>
                    <a:pt x="133" y="111"/>
                  </a:lnTo>
                  <a:lnTo>
                    <a:pt x="133" y="114"/>
                  </a:lnTo>
                  <a:lnTo>
                    <a:pt x="130" y="114"/>
                  </a:lnTo>
                  <a:lnTo>
                    <a:pt x="133" y="116"/>
                  </a:lnTo>
                  <a:lnTo>
                    <a:pt x="130" y="116"/>
                  </a:lnTo>
                  <a:lnTo>
                    <a:pt x="128" y="116"/>
                  </a:lnTo>
                  <a:lnTo>
                    <a:pt x="128" y="114"/>
                  </a:lnTo>
                  <a:lnTo>
                    <a:pt x="125" y="114"/>
                  </a:lnTo>
                  <a:lnTo>
                    <a:pt x="123" y="114"/>
                  </a:lnTo>
                  <a:lnTo>
                    <a:pt x="123" y="116"/>
                  </a:lnTo>
                  <a:lnTo>
                    <a:pt x="123" y="118"/>
                  </a:lnTo>
                  <a:lnTo>
                    <a:pt x="125" y="118"/>
                  </a:lnTo>
                  <a:lnTo>
                    <a:pt x="125" y="121"/>
                  </a:lnTo>
                  <a:lnTo>
                    <a:pt x="125" y="123"/>
                  </a:lnTo>
                  <a:lnTo>
                    <a:pt x="125" y="126"/>
                  </a:lnTo>
                  <a:lnTo>
                    <a:pt x="128" y="128"/>
                  </a:lnTo>
                  <a:lnTo>
                    <a:pt x="125" y="128"/>
                  </a:lnTo>
                  <a:lnTo>
                    <a:pt x="125" y="130"/>
                  </a:lnTo>
                  <a:lnTo>
                    <a:pt x="125" y="133"/>
                  </a:lnTo>
                  <a:lnTo>
                    <a:pt x="125" y="130"/>
                  </a:lnTo>
                  <a:lnTo>
                    <a:pt x="125" y="133"/>
                  </a:lnTo>
                  <a:lnTo>
                    <a:pt x="123" y="133"/>
                  </a:lnTo>
                  <a:lnTo>
                    <a:pt x="121" y="133"/>
                  </a:lnTo>
                  <a:lnTo>
                    <a:pt x="118" y="133"/>
                  </a:lnTo>
                  <a:lnTo>
                    <a:pt x="118" y="135"/>
                  </a:lnTo>
                  <a:lnTo>
                    <a:pt x="116" y="135"/>
                  </a:lnTo>
                  <a:lnTo>
                    <a:pt x="116" y="133"/>
                  </a:lnTo>
                  <a:lnTo>
                    <a:pt x="114" y="133"/>
                  </a:lnTo>
                  <a:lnTo>
                    <a:pt x="111" y="133"/>
                  </a:lnTo>
                  <a:lnTo>
                    <a:pt x="111" y="135"/>
                  </a:lnTo>
                  <a:lnTo>
                    <a:pt x="109" y="135"/>
                  </a:lnTo>
                  <a:lnTo>
                    <a:pt x="109" y="133"/>
                  </a:lnTo>
                  <a:lnTo>
                    <a:pt x="109" y="135"/>
                  </a:lnTo>
                  <a:lnTo>
                    <a:pt x="107" y="135"/>
                  </a:lnTo>
                  <a:lnTo>
                    <a:pt x="107" y="133"/>
                  </a:lnTo>
                  <a:lnTo>
                    <a:pt x="107" y="135"/>
                  </a:lnTo>
                  <a:lnTo>
                    <a:pt x="104" y="135"/>
                  </a:lnTo>
                  <a:lnTo>
                    <a:pt x="102" y="135"/>
                  </a:lnTo>
                  <a:lnTo>
                    <a:pt x="99" y="135"/>
                  </a:lnTo>
                  <a:lnTo>
                    <a:pt x="99" y="137"/>
                  </a:lnTo>
                  <a:lnTo>
                    <a:pt x="97" y="137"/>
                  </a:lnTo>
                  <a:lnTo>
                    <a:pt x="95" y="137"/>
                  </a:lnTo>
                  <a:lnTo>
                    <a:pt x="95" y="135"/>
                  </a:lnTo>
                  <a:lnTo>
                    <a:pt x="92" y="135"/>
                  </a:lnTo>
                  <a:lnTo>
                    <a:pt x="92" y="133"/>
                  </a:lnTo>
                  <a:lnTo>
                    <a:pt x="90" y="133"/>
                  </a:lnTo>
                  <a:lnTo>
                    <a:pt x="90" y="130"/>
                  </a:lnTo>
                  <a:lnTo>
                    <a:pt x="88" y="130"/>
                  </a:lnTo>
                  <a:lnTo>
                    <a:pt x="85" y="130"/>
                  </a:lnTo>
                  <a:lnTo>
                    <a:pt x="83" y="130"/>
                  </a:lnTo>
                  <a:lnTo>
                    <a:pt x="80" y="130"/>
                  </a:lnTo>
                  <a:lnTo>
                    <a:pt x="80" y="133"/>
                  </a:lnTo>
                  <a:lnTo>
                    <a:pt x="80" y="130"/>
                  </a:lnTo>
                  <a:lnTo>
                    <a:pt x="78" y="130"/>
                  </a:lnTo>
                  <a:lnTo>
                    <a:pt x="78" y="128"/>
                  </a:lnTo>
                  <a:lnTo>
                    <a:pt x="76" y="128"/>
                  </a:lnTo>
                  <a:lnTo>
                    <a:pt x="73" y="128"/>
                  </a:lnTo>
                  <a:lnTo>
                    <a:pt x="73" y="126"/>
                  </a:lnTo>
                  <a:lnTo>
                    <a:pt x="73" y="123"/>
                  </a:lnTo>
                  <a:lnTo>
                    <a:pt x="71" y="123"/>
                  </a:lnTo>
                  <a:lnTo>
                    <a:pt x="69" y="123"/>
                  </a:lnTo>
                  <a:lnTo>
                    <a:pt x="66" y="123"/>
                  </a:lnTo>
                  <a:lnTo>
                    <a:pt x="64" y="126"/>
                  </a:lnTo>
                  <a:lnTo>
                    <a:pt x="64" y="123"/>
                  </a:lnTo>
                  <a:lnTo>
                    <a:pt x="64" y="121"/>
                  </a:lnTo>
                  <a:lnTo>
                    <a:pt x="61" y="123"/>
                  </a:lnTo>
                  <a:lnTo>
                    <a:pt x="59" y="126"/>
                  </a:lnTo>
                  <a:lnTo>
                    <a:pt x="59" y="123"/>
                  </a:lnTo>
                  <a:lnTo>
                    <a:pt x="57" y="123"/>
                  </a:lnTo>
                  <a:lnTo>
                    <a:pt x="57" y="126"/>
                  </a:lnTo>
                  <a:lnTo>
                    <a:pt x="57" y="128"/>
                  </a:lnTo>
                  <a:lnTo>
                    <a:pt x="54" y="128"/>
                  </a:lnTo>
                  <a:lnTo>
                    <a:pt x="54" y="126"/>
                  </a:lnTo>
                  <a:lnTo>
                    <a:pt x="54" y="128"/>
                  </a:lnTo>
                  <a:lnTo>
                    <a:pt x="52" y="128"/>
                  </a:lnTo>
                  <a:lnTo>
                    <a:pt x="52" y="126"/>
                  </a:lnTo>
                  <a:lnTo>
                    <a:pt x="52" y="128"/>
                  </a:lnTo>
                  <a:lnTo>
                    <a:pt x="50" y="128"/>
                  </a:lnTo>
                  <a:lnTo>
                    <a:pt x="47" y="128"/>
                  </a:lnTo>
                  <a:lnTo>
                    <a:pt x="47" y="130"/>
                  </a:lnTo>
                  <a:lnTo>
                    <a:pt x="45" y="130"/>
                  </a:lnTo>
                  <a:lnTo>
                    <a:pt x="42" y="130"/>
                  </a:lnTo>
                  <a:lnTo>
                    <a:pt x="40" y="130"/>
                  </a:lnTo>
                  <a:lnTo>
                    <a:pt x="38" y="130"/>
                  </a:lnTo>
                  <a:lnTo>
                    <a:pt x="35" y="130"/>
                  </a:lnTo>
                  <a:lnTo>
                    <a:pt x="33" y="130"/>
                  </a:lnTo>
                  <a:lnTo>
                    <a:pt x="31" y="130"/>
                  </a:lnTo>
                  <a:lnTo>
                    <a:pt x="28" y="130"/>
                  </a:lnTo>
                  <a:lnTo>
                    <a:pt x="28" y="133"/>
                  </a:lnTo>
                  <a:lnTo>
                    <a:pt x="26" y="133"/>
                  </a:lnTo>
                  <a:lnTo>
                    <a:pt x="23" y="133"/>
                  </a:lnTo>
                  <a:lnTo>
                    <a:pt x="21" y="133"/>
                  </a:lnTo>
                  <a:lnTo>
                    <a:pt x="19" y="133"/>
                  </a:lnTo>
                  <a:lnTo>
                    <a:pt x="21" y="133"/>
                  </a:lnTo>
                  <a:lnTo>
                    <a:pt x="21" y="130"/>
                  </a:lnTo>
                  <a:lnTo>
                    <a:pt x="21" y="128"/>
                  </a:lnTo>
                  <a:lnTo>
                    <a:pt x="21" y="126"/>
                  </a:lnTo>
                  <a:lnTo>
                    <a:pt x="21" y="123"/>
                  </a:lnTo>
                  <a:lnTo>
                    <a:pt x="21" y="121"/>
                  </a:lnTo>
                  <a:lnTo>
                    <a:pt x="19" y="121"/>
                  </a:lnTo>
                  <a:lnTo>
                    <a:pt x="19" y="118"/>
                  </a:lnTo>
                  <a:lnTo>
                    <a:pt x="21" y="118"/>
                  </a:lnTo>
                  <a:lnTo>
                    <a:pt x="21" y="116"/>
                  </a:lnTo>
                  <a:lnTo>
                    <a:pt x="23" y="116"/>
                  </a:lnTo>
                  <a:lnTo>
                    <a:pt x="23" y="114"/>
                  </a:lnTo>
                  <a:lnTo>
                    <a:pt x="21" y="114"/>
                  </a:lnTo>
                  <a:lnTo>
                    <a:pt x="21" y="111"/>
                  </a:lnTo>
                  <a:lnTo>
                    <a:pt x="19" y="111"/>
                  </a:lnTo>
                  <a:lnTo>
                    <a:pt x="19" y="109"/>
                  </a:lnTo>
                  <a:lnTo>
                    <a:pt x="19" y="107"/>
                  </a:lnTo>
                  <a:lnTo>
                    <a:pt x="16" y="107"/>
                  </a:lnTo>
                  <a:lnTo>
                    <a:pt x="16" y="104"/>
                  </a:lnTo>
                  <a:lnTo>
                    <a:pt x="16" y="102"/>
                  </a:lnTo>
                  <a:lnTo>
                    <a:pt x="14" y="99"/>
                  </a:lnTo>
                  <a:lnTo>
                    <a:pt x="12" y="99"/>
                  </a:lnTo>
                  <a:lnTo>
                    <a:pt x="9" y="99"/>
                  </a:lnTo>
                  <a:lnTo>
                    <a:pt x="9" y="97"/>
                  </a:lnTo>
                  <a:lnTo>
                    <a:pt x="7" y="97"/>
                  </a:lnTo>
                  <a:lnTo>
                    <a:pt x="4" y="95"/>
                  </a:lnTo>
                  <a:lnTo>
                    <a:pt x="4" y="92"/>
                  </a:lnTo>
                  <a:lnTo>
                    <a:pt x="2" y="92"/>
                  </a:lnTo>
                  <a:lnTo>
                    <a:pt x="2" y="90"/>
                  </a:lnTo>
                  <a:lnTo>
                    <a:pt x="2" y="88"/>
                  </a:lnTo>
                  <a:lnTo>
                    <a:pt x="0" y="88"/>
                  </a:lnTo>
                  <a:lnTo>
                    <a:pt x="2" y="88"/>
                  </a:lnTo>
                  <a:lnTo>
                    <a:pt x="4" y="88"/>
                  </a:lnTo>
                  <a:lnTo>
                    <a:pt x="4" y="85"/>
                  </a:lnTo>
                  <a:lnTo>
                    <a:pt x="7" y="83"/>
                  </a:lnTo>
                  <a:lnTo>
                    <a:pt x="7" y="80"/>
                  </a:lnTo>
                  <a:lnTo>
                    <a:pt x="7" y="78"/>
                  </a:lnTo>
                  <a:lnTo>
                    <a:pt x="4" y="78"/>
                  </a:lnTo>
                  <a:lnTo>
                    <a:pt x="4" y="76"/>
                  </a:lnTo>
                  <a:lnTo>
                    <a:pt x="2" y="76"/>
                  </a:lnTo>
                  <a:lnTo>
                    <a:pt x="4" y="73"/>
                  </a:lnTo>
                  <a:lnTo>
                    <a:pt x="4" y="71"/>
                  </a:lnTo>
                  <a:lnTo>
                    <a:pt x="4" y="69"/>
                  </a:lnTo>
                  <a:lnTo>
                    <a:pt x="4" y="66"/>
                  </a:lnTo>
                  <a:lnTo>
                    <a:pt x="2" y="66"/>
                  </a:lnTo>
                  <a:lnTo>
                    <a:pt x="2" y="64"/>
                  </a:lnTo>
                  <a:lnTo>
                    <a:pt x="4" y="64"/>
                  </a:lnTo>
                  <a:lnTo>
                    <a:pt x="4" y="61"/>
                  </a:lnTo>
                  <a:lnTo>
                    <a:pt x="7" y="61"/>
                  </a:lnTo>
                  <a:lnTo>
                    <a:pt x="7" y="64"/>
                  </a:lnTo>
                  <a:lnTo>
                    <a:pt x="7" y="61"/>
                  </a:lnTo>
                  <a:lnTo>
                    <a:pt x="9" y="61"/>
                  </a:lnTo>
                  <a:lnTo>
                    <a:pt x="12" y="61"/>
                  </a:lnTo>
                  <a:lnTo>
                    <a:pt x="14" y="61"/>
                  </a:lnTo>
                  <a:lnTo>
                    <a:pt x="14" y="59"/>
                  </a:lnTo>
                  <a:lnTo>
                    <a:pt x="14" y="57"/>
                  </a:lnTo>
                  <a:lnTo>
                    <a:pt x="16" y="57"/>
                  </a:lnTo>
                  <a:lnTo>
                    <a:pt x="16" y="54"/>
                  </a:lnTo>
                  <a:lnTo>
                    <a:pt x="19" y="54"/>
                  </a:lnTo>
                  <a:lnTo>
                    <a:pt x="19" y="52"/>
                  </a:lnTo>
                  <a:lnTo>
                    <a:pt x="21" y="52"/>
                  </a:lnTo>
                  <a:lnTo>
                    <a:pt x="21" y="50"/>
                  </a:lnTo>
                  <a:lnTo>
                    <a:pt x="21" y="47"/>
                  </a:lnTo>
                  <a:lnTo>
                    <a:pt x="19" y="47"/>
                  </a:lnTo>
                  <a:lnTo>
                    <a:pt x="19" y="45"/>
                  </a:lnTo>
                  <a:lnTo>
                    <a:pt x="16" y="45"/>
                  </a:lnTo>
                  <a:lnTo>
                    <a:pt x="16" y="42"/>
                  </a:lnTo>
                  <a:lnTo>
                    <a:pt x="16" y="40"/>
                  </a:lnTo>
                  <a:lnTo>
                    <a:pt x="14" y="40"/>
                  </a:lnTo>
                  <a:lnTo>
                    <a:pt x="14" y="38"/>
                  </a:lnTo>
                  <a:lnTo>
                    <a:pt x="12" y="38"/>
                  </a:lnTo>
                  <a:lnTo>
                    <a:pt x="9" y="38"/>
                  </a:lnTo>
                  <a:lnTo>
                    <a:pt x="9" y="35"/>
                  </a:lnTo>
                  <a:lnTo>
                    <a:pt x="9" y="38"/>
                  </a:lnTo>
                  <a:lnTo>
                    <a:pt x="9" y="35"/>
                  </a:lnTo>
                  <a:lnTo>
                    <a:pt x="7" y="35"/>
                  </a:lnTo>
                  <a:lnTo>
                    <a:pt x="7" y="33"/>
                  </a:lnTo>
                  <a:lnTo>
                    <a:pt x="4" y="33"/>
                  </a:lnTo>
                  <a:lnTo>
                    <a:pt x="4" y="31"/>
                  </a:lnTo>
                  <a:lnTo>
                    <a:pt x="4" y="28"/>
                  </a:lnTo>
                  <a:lnTo>
                    <a:pt x="4" y="26"/>
                  </a:lnTo>
                  <a:lnTo>
                    <a:pt x="2" y="26"/>
                  </a:lnTo>
                  <a:lnTo>
                    <a:pt x="2" y="23"/>
                  </a:lnTo>
                  <a:lnTo>
                    <a:pt x="2" y="21"/>
                  </a:lnTo>
                  <a:lnTo>
                    <a:pt x="0" y="19"/>
                  </a:lnTo>
                  <a:lnTo>
                    <a:pt x="0" y="16"/>
                  </a:lnTo>
                  <a:lnTo>
                    <a:pt x="2" y="16"/>
                  </a:lnTo>
                  <a:lnTo>
                    <a:pt x="2" y="14"/>
                  </a:lnTo>
                  <a:lnTo>
                    <a:pt x="2" y="12"/>
                  </a:lnTo>
                  <a:lnTo>
                    <a:pt x="2" y="9"/>
                  </a:lnTo>
                  <a:lnTo>
                    <a:pt x="4" y="9"/>
                  </a:lnTo>
                  <a:lnTo>
                    <a:pt x="7" y="9"/>
                  </a:lnTo>
                  <a:lnTo>
                    <a:pt x="7" y="7"/>
                  </a:lnTo>
                  <a:lnTo>
                    <a:pt x="9" y="7"/>
                  </a:lnTo>
                  <a:lnTo>
                    <a:pt x="9" y="4"/>
                  </a:lnTo>
                  <a:lnTo>
                    <a:pt x="9" y="2"/>
                  </a:lnTo>
                  <a:lnTo>
                    <a:pt x="9" y="0"/>
                  </a:lnTo>
                  <a:lnTo>
                    <a:pt x="12" y="0"/>
                  </a:lnTo>
                  <a:lnTo>
                    <a:pt x="9" y="0"/>
                  </a:lnTo>
                  <a:lnTo>
                    <a:pt x="12" y="0"/>
                  </a:lnTo>
                  <a:lnTo>
                    <a:pt x="9"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8" name="Freeform 50281"/>
            <p:cNvSpPr>
              <a:spLocks/>
            </p:cNvSpPr>
            <p:nvPr/>
          </p:nvSpPr>
          <p:spPr bwMode="auto">
            <a:xfrm>
              <a:off x="3475035" y="526734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9" name="Freeform 50282"/>
            <p:cNvSpPr>
              <a:spLocks/>
            </p:cNvSpPr>
            <p:nvPr/>
          </p:nvSpPr>
          <p:spPr bwMode="auto">
            <a:xfrm>
              <a:off x="2774948" y="5064142"/>
              <a:ext cx="14288" cy="52388"/>
            </a:xfrm>
            <a:custGeom>
              <a:avLst/>
              <a:gdLst>
                <a:gd name="T0" fmla="*/ 2 w 9"/>
                <a:gd name="T1" fmla="*/ 2 h 33"/>
                <a:gd name="T2" fmla="*/ 2 w 9"/>
                <a:gd name="T3" fmla="*/ 7 h 33"/>
                <a:gd name="T4" fmla="*/ 7 w 9"/>
                <a:gd name="T5" fmla="*/ 9 h 33"/>
                <a:gd name="T6" fmla="*/ 5 w 9"/>
                <a:gd name="T7" fmla="*/ 11 h 33"/>
                <a:gd name="T8" fmla="*/ 5 w 9"/>
                <a:gd name="T9" fmla="*/ 16 h 33"/>
                <a:gd name="T10" fmla="*/ 5 w 9"/>
                <a:gd name="T11" fmla="*/ 19 h 33"/>
                <a:gd name="T12" fmla="*/ 7 w 9"/>
                <a:gd name="T13" fmla="*/ 21 h 33"/>
                <a:gd name="T14" fmla="*/ 7 w 9"/>
                <a:gd name="T15" fmla="*/ 21 h 33"/>
                <a:gd name="T16" fmla="*/ 7 w 9"/>
                <a:gd name="T17" fmla="*/ 26 h 33"/>
                <a:gd name="T18" fmla="*/ 7 w 9"/>
                <a:gd name="T19" fmla="*/ 26 h 33"/>
                <a:gd name="T20" fmla="*/ 7 w 9"/>
                <a:gd name="T21" fmla="*/ 26 h 33"/>
                <a:gd name="T22" fmla="*/ 7 w 9"/>
                <a:gd name="T23" fmla="*/ 26 h 33"/>
                <a:gd name="T24" fmla="*/ 5 w 9"/>
                <a:gd name="T25" fmla="*/ 23 h 33"/>
                <a:gd name="T26" fmla="*/ 5 w 9"/>
                <a:gd name="T27" fmla="*/ 23 h 33"/>
                <a:gd name="T28" fmla="*/ 2 w 9"/>
                <a:gd name="T29" fmla="*/ 26 h 33"/>
                <a:gd name="T30" fmla="*/ 5 w 9"/>
                <a:gd name="T31" fmla="*/ 28 h 33"/>
                <a:gd name="T32" fmla="*/ 7 w 9"/>
                <a:gd name="T33" fmla="*/ 30 h 33"/>
                <a:gd name="T34" fmla="*/ 9 w 9"/>
                <a:gd name="T35" fmla="*/ 33 h 33"/>
                <a:gd name="T36" fmla="*/ 7 w 9"/>
                <a:gd name="T37" fmla="*/ 30 h 33"/>
                <a:gd name="T38" fmla="*/ 7 w 9"/>
                <a:gd name="T39" fmla="*/ 30 h 33"/>
                <a:gd name="T40" fmla="*/ 5 w 9"/>
                <a:gd name="T41" fmla="*/ 28 h 33"/>
                <a:gd name="T42" fmla="*/ 5 w 9"/>
                <a:gd name="T43" fmla="*/ 28 h 33"/>
                <a:gd name="T44" fmla="*/ 2 w 9"/>
                <a:gd name="T45" fmla="*/ 30 h 33"/>
                <a:gd name="T46" fmla="*/ 2 w 9"/>
                <a:gd name="T47" fmla="*/ 26 h 33"/>
                <a:gd name="T48" fmla="*/ 2 w 9"/>
                <a:gd name="T49" fmla="*/ 21 h 33"/>
                <a:gd name="T50" fmla="*/ 5 w 9"/>
                <a:gd name="T51" fmla="*/ 23 h 33"/>
                <a:gd name="T52" fmla="*/ 5 w 9"/>
                <a:gd name="T53" fmla="*/ 23 h 33"/>
                <a:gd name="T54" fmla="*/ 2 w 9"/>
                <a:gd name="T55" fmla="*/ 21 h 33"/>
                <a:gd name="T56" fmla="*/ 2 w 9"/>
                <a:gd name="T57" fmla="*/ 21 h 33"/>
                <a:gd name="T58" fmla="*/ 2 w 9"/>
                <a:gd name="T59" fmla="*/ 16 h 33"/>
                <a:gd name="T60" fmla="*/ 2 w 9"/>
                <a:gd name="T61" fmla="*/ 16 h 33"/>
                <a:gd name="T62" fmla="*/ 0 w 9"/>
                <a:gd name="T63" fmla="*/ 14 h 33"/>
                <a:gd name="T64" fmla="*/ 2 w 9"/>
                <a:gd name="T65" fmla="*/ 11 h 33"/>
                <a:gd name="T66" fmla="*/ 5 w 9"/>
                <a:gd name="T67" fmla="*/ 14 h 33"/>
                <a:gd name="T68" fmla="*/ 2 w 9"/>
                <a:gd name="T69" fmla="*/ 11 h 33"/>
                <a:gd name="T70" fmla="*/ 2 w 9"/>
                <a:gd name="T71" fmla="*/ 11 h 33"/>
                <a:gd name="T72" fmla="*/ 2 w 9"/>
                <a:gd name="T73" fmla="*/ 7 h 33"/>
                <a:gd name="T74" fmla="*/ 0 w 9"/>
                <a:gd name="T75" fmla="*/ 4 h 33"/>
                <a:gd name="T76" fmla="*/ 0 w 9"/>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 h="33">
                  <a:moveTo>
                    <a:pt x="2" y="0"/>
                  </a:moveTo>
                  <a:lnTo>
                    <a:pt x="2" y="2"/>
                  </a:lnTo>
                  <a:lnTo>
                    <a:pt x="2" y="4"/>
                  </a:lnTo>
                  <a:lnTo>
                    <a:pt x="2" y="7"/>
                  </a:lnTo>
                  <a:lnTo>
                    <a:pt x="5" y="9"/>
                  </a:lnTo>
                  <a:lnTo>
                    <a:pt x="7" y="9"/>
                  </a:lnTo>
                  <a:lnTo>
                    <a:pt x="7" y="11"/>
                  </a:lnTo>
                  <a:lnTo>
                    <a:pt x="5" y="11"/>
                  </a:lnTo>
                  <a:lnTo>
                    <a:pt x="5" y="14"/>
                  </a:lnTo>
                  <a:lnTo>
                    <a:pt x="5" y="16"/>
                  </a:lnTo>
                  <a:lnTo>
                    <a:pt x="7" y="19"/>
                  </a:lnTo>
                  <a:lnTo>
                    <a:pt x="5" y="19"/>
                  </a:lnTo>
                  <a:lnTo>
                    <a:pt x="7" y="19"/>
                  </a:lnTo>
                  <a:lnTo>
                    <a:pt x="7" y="21"/>
                  </a:lnTo>
                  <a:lnTo>
                    <a:pt x="5" y="21"/>
                  </a:lnTo>
                  <a:lnTo>
                    <a:pt x="7" y="21"/>
                  </a:lnTo>
                  <a:lnTo>
                    <a:pt x="7" y="23"/>
                  </a:lnTo>
                  <a:lnTo>
                    <a:pt x="7" y="26"/>
                  </a:lnTo>
                  <a:lnTo>
                    <a:pt x="9" y="26"/>
                  </a:lnTo>
                  <a:lnTo>
                    <a:pt x="7" y="26"/>
                  </a:lnTo>
                  <a:lnTo>
                    <a:pt x="7" y="28"/>
                  </a:lnTo>
                  <a:lnTo>
                    <a:pt x="7" y="26"/>
                  </a:lnTo>
                  <a:lnTo>
                    <a:pt x="7" y="28"/>
                  </a:lnTo>
                  <a:lnTo>
                    <a:pt x="7" y="26"/>
                  </a:lnTo>
                  <a:lnTo>
                    <a:pt x="5" y="26"/>
                  </a:lnTo>
                  <a:lnTo>
                    <a:pt x="5" y="23"/>
                  </a:lnTo>
                  <a:lnTo>
                    <a:pt x="2" y="23"/>
                  </a:lnTo>
                  <a:lnTo>
                    <a:pt x="5" y="23"/>
                  </a:lnTo>
                  <a:lnTo>
                    <a:pt x="5" y="26"/>
                  </a:lnTo>
                  <a:lnTo>
                    <a:pt x="2" y="26"/>
                  </a:lnTo>
                  <a:lnTo>
                    <a:pt x="5" y="26"/>
                  </a:lnTo>
                  <a:lnTo>
                    <a:pt x="5" y="28"/>
                  </a:lnTo>
                  <a:lnTo>
                    <a:pt x="5" y="30"/>
                  </a:lnTo>
                  <a:lnTo>
                    <a:pt x="7" y="30"/>
                  </a:lnTo>
                  <a:lnTo>
                    <a:pt x="7" y="33"/>
                  </a:lnTo>
                  <a:lnTo>
                    <a:pt x="9" y="33"/>
                  </a:lnTo>
                  <a:lnTo>
                    <a:pt x="7" y="33"/>
                  </a:lnTo>
                  <a:lnTo>
                    <a:pt x="7" y="30"/>
                  </a:lnTo>
                  <a:lnTo>
                    <a:pt x="5" y="30"/>
                  </a:lnTo>
                  <a:lnTo>
                    <a:pt x="7" y="30"/>
                  </a:lnTo>
                  <a:lnTo>
                    <a:pt x="5" y="30"/>
                  </a:lnTo>
                  <a:lnTo>
                    <a:pt x="5" y="28"/>
                  </a:lnTo>
                  <a:lnTo>
                    <a:pt x="5" y="30"/>
                  </a:lnTo>
                  <a:lnTo>
                    <a:pt x="5" y="28"/>
                  </a:lnTo>
                  <a:lnTo>
                    <a:pt x="5" y="30"/>
                  </a:lnTo>
                  <a:lnTo>
                    <a:pt x="2" y="30"/>
                  </a:lnTo>
                  <a:lnTo>
                    <a:pt x="2" y="28"/>
                  </a:lnTo>
                  <a:lnTo>
                    <a:pt x="2" y="26"/>
                  </a:lnTo>
                  <a:lnTo>
                    <a:pt x="2" y="23"/>
                  </a:lnTo>
                  <a:lnTo>
                    <a:pt x="2" y="21"/>
                  </a:lnTo>
                  <a:lnTo>
                    <a:pt x="2" y="23"/>
                  </a:lnTo>
                  <a:lnTo>
                    <a:pt x="5" y="23"/>
                  </a:lnTo>
                  <a:lnTo>
                    <a:pt x="2" y="23"/>
                  </a:lnTo>
                  <a:lnTo>
                    <a:pt x="5" y="23"/>
                  </a:lnTo>
                  <a:lnTo>
                    <a:pt x="5" y="21"/>
                  </a:lnTo>
                  <a:lnTo>
                    <a:pt x="2" y="21"/>
                  </a:lnTo>
                  <a:lnTo>
                    <a:pt x="5" y="21"/>
                  </a:lnTo>
                  <a:lnTo>
                    <a:pt x="2" y="21"/>
                  </a:lnTo>
                  <a:lnTo>
                    <a:pt x="2" y="19"/>
                  </a:lnTo>
                  <a:lnTo>
                    <a:pt x="2" y="16"/>
                  </a:lnTo>
                  <a:lnTo>
                    <a:pt x="2" y="19"/>
                  </a:lnTo>
                  <a:lnTo>
                    <a:pt x="2" y="16"/>
                  </a:lnTo>
                  <a:lnTo>
                    <a:pt x="2" y="14"/>
                  </a:lnTo>
                  <a:lnTo>
                    <a:pt x="0" y="14"/>
                  </a:lnTo>
                  <a:lnTo>
                    <a:pt x="0" y="11"/>
                  </a:lnTo>
                  <a:lnTo>
                    <a:pt x="2" y="11"/>
                  </a:lnTo>
                  <a:lnTo>
                    <a:pt x="2" y="14"/>
                  </a:lnTo>
                  <a:lnTo>
                    <a:pt x="5" y="14"/>
                  </a:lnTo>
                  <a:lnTo>
                    <a:pt x="5" y="11"/>
                  </a:lnTo>
                  <a:lnTo>
                    <a:pt x="2" y="11"/>
                  </a:lnTo>
                  <a:lnTo>
                    <a:pt x="5" y="11"/>
                  </a:lnTo>
                  <a:lnTo>
                    <a:pt x="2" y="11"/>
                  </a:lnTo>
                  <a:lnTo>
                    <a:pt x="2" y="9"/>
                  </a:lnTo>
                  <a:lnTo>
                    <a:pt x="2" y="7"/>
                  </a:lnTo>
                  <a:lnTo>
                    <a:pt x="0" y="7"/>
                  </a:lnTo>
                  <a:lnTo>
                    <a:pt x="0" y="4"/>
                  </a:lnTo>
                  <a:lnTo>
                    <a:pt x="0" y="2"/>
                  </a:lnTo>
                  <a:lnTo>
                    <a:pt x="0"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0" name="Freeform 50283"/>
            <p:cNvSpPr>
              <a:spLocks noEditPoints="1"/>
            </p:cNvSpPr>
            <p:nvPr/>
          </p:nvSpPr>
          <p:spPr bwMode="auto">
            <a:xfrm>
              <a:off x="2733673" y="4960954"/>
              <a:ext cx="312738" cy="309565"/>
            </a:xfrm>
            <a:custGeom>
              <a:avLst/>
              <a:gdLst>
                <a:gd name="T0" fmla="*/ 130 w 197"/>
                <a:gd name="T1" fmla="*/ 169 h 195"/>
                <a:gd name="T2" fmla="*/ 138 w 197"/>
                <a:gd name="T3" fmla="*/ 174 h 195"/>
                <a:gd name="T4" fmla="*/ 149 w 197"/>
                <a:gd name="T5" fmla="*/ 179 h 195"/>
                <a:gd name="T6" fmla="*/ 166 w 197"/>
                <a:gd name="T7" fmla="*/ 193 h 195"/>
                <a:gd name="T8" fmla="*/ 154 w 197"/>
                <a:gd name="T9" fmla="*/ 183 h 195"/>
                <a:gd name="T10" fmla="*/ 145 w 197"/>
                <a:gd name="T11" fmla="*/ 176 h 195"/>
                <a:gd name="T12" fmla="*/ 138 w 197"/>
                <a:gd name="T13" fmla="*/ 174 h 195"/>
                <a:gd name="T14" fmla="*/ 121 w 197"/>
                <a:gd name="T15" fmla="*/ 167 h 195"/>
                <a:gd name="T16" fmla="*/ 130 w 197"/>
                <a:gd name="T17" fmla="*/ 167 h 195"/>
                <a:gd name="T18" fmla="*/ 104 w 197"/>
                <a:gd name="T19" fmla="*/ 8 h 195"/>
                <a:gd name="T20" fmla="*/ 111 w 197"/>
                <a:gd name="T21" fmla="*/ 15 h 195"/>
                <a:gd name="T22" fmla="*/ 126 w 197"/>
                <a:gd name="T23" fmla="*/ 29 h 195"/>
                <a:gd name="T24" fmla="*/ 145 w 197"/>
                <a:gd name="T25" fmla="*/ 36 h 195"/>
                <a:gd name="T26" fmla="*/ 156 w 197"/>
                <a:gd name="T27" fmla="*/ 38 h 195"/>
                <a:gd name="T28" fmla="*/ 175 w 197"/>
                <a:gd name="T29" fmla="*/ 34 h 195"/>
                <a:gd name="T30" fmla="*/ 180 w 197"/>
                <a:gd name="T31" fmla="*/ 43 h 195"/>
                <a:gd name="T32" fmla="*/ 180 w 197"/>
                <a:gd name="T33" fmla="*/ 55 h 195"/>
                <a:gd name="T34" fmla="*/ 194 w 197"/>
                <a:gd name="T35" fmla="*/ 67 h 195"/>
                <a:gd name="T36" fmla="*/ 183 w 197"/>
                <a:gd name="T37" fmla="*/ 79 h 195"/>
                <a:gd name="T38" fmla="*/ 175 w 197"/>
                <a:gd name="T39" fmla="*/ 74 h 195"/>
                <a:gd name="T40" fmla="*/ 164 w 197"/>
                <a:gd name="T41" fmla="*/ 72 h 195"/>
                <a:gd name="T42" fmla="*/ 145 w 197"/>
                <a:gd name="T43" fmla="*/ 72 h 195"/>
                <a:gd name="T44" fmla="*/ 133 w 197"/>
                <a:gd name="T45" fmla="*/ 67 h 195"/>
                <a:gd name="T46" fmla="*/ 116 w 197"/>
                <a:gd name="T47" fmla="*/ 62 h 195"/>
                <a:gd name="T48" fmla="*/ 107 w 197"/>
                <a:gd name="T49" fmla="*/ 65 h 195"/>
                <a:gd name="T50" fmla="*/ 90 w 197"/>
                <a:gd name="T51" fmla="*/ 74 h 195"/>
                <a:gd name="T52" fmla="*/ 76 w 197"/>
                <a:gd name="T53" fmla="*/ 65 h 195"/>
                <a:gd name="T54" fmla="*/ 81 w 197"/>
                <a:gd name="T55" fmla="*/ 86 h 195"/>
                <a:gd name="T56" fmla="*/ 88 w 197"/>
                <a:gd name="T57" fmla="*/ 110 h 195"/>
                <a:gd name="T58" fmla="*/ 102 w 197"/>
                <a:gd name="T59" fmla="*/ 124 h 195"/>
                <a:gd name="T60" fmla="*/ 126 w 197"/>
                <a:gd name="T61" fmla="*/ 150 h 195"/>
                <a:gd name="T62" fmla="*/ 135 w 197"/>
                <a:gd name="T63" fmla="*/ 164 h 195"/>
                <a:gd name="T64" fmla="*/ 116 w 197"/>
                <a:gd name="T65" fmla="*/ 155 h 195"/>
                <a:gd name="T66" fmla="*/ 97 w 197"/>
                <a:gd name="T67" fmla="*/ 143 h 195"/>
                <a:gd name="T68" fmla="*/ 92 w 197"/>
                <a:gd name="T69" fmla="*/ 143 h 195"/>
                <a:gd name="T70" fmla="*/ 85 w 197"/>
                <a:gd name="T71" fmla="*/ 145 h 195"/>
                <a:gd name="T72" fmla="*/ 81 w 197"/>
                <a:gd name="T73" fmla="*/ 136 h 195"/>
                <a:gd name="T74" fmla="*/ 78 w 197"/>
                <a:gd name="T75" fmla="*/ 131 h 195"/>
                <a:gd name="T76" fmla="*/ 69 w 197"/>
                <a:gd name="T77" fmla="*/ 131 h 195"/>
                <a:gd name="T78" fmla="*/ 64 w 197"/>
                <a:gd name="T79" fmla="*/ 124 h 195"/>
                <a:gd name="T80" fmla="*/ 52 w 197"/>
                <a:gd name="T81" fmla="*/ 107 h 195"/>
                <a:gd name="T82" fmla="*/ 62 w 197"/>
                <a:gd name="T83" fmla="*/ 107 h 195"/>
                <a:gd name="T84" fmla="*/ 69 w 197"/>
                <a:gd name="T85" fmla="*/ 112 h 195"/>
                <a:gd name="T86" fmla="*/ 57 w 197"/>
                <a:gd name="T87" fmla="*/ 100 h 195"/>
                <a:gd name="T88" fmla="*/ 45 w 197"/>
                <a:gd name="T89" fmla="*/ 88 h 195"/>
                <a:gd name="T90" fmla="*/ 45 w 197"/>
                <a:gd name="T91" fmla="*/ 74 h 195"/>
                <a:gd name="T92" fmla="*/ 35 w 197"/>
                <a:gd name="T93" fmla="*/ 60 h 195"/>
                <a:gd name="T94" fmla="*/ 24 w 197"/>
                <a:gd name="T95" fmla="*/ 69 h 195"/>
                <a:gd name="T96" fmla="*/ 17 w 197"/>
                <a:gd name="T97" fmla="*/ 76 h 195"/>
                <a:gd name="T98" fmla="*/ 12 w 197"/>
                <a:gd name="T99" fmla="*/ 81 h 195"/>
                <a:gd name="T100" fmla="*/ 7 w 197"/>
                <a:gd name="T101" fmla="*/ 74 h 195"/>
                <a:gd name="T102" fmla="*/ 5 w 197"/>
                <a:gd name="T103" fmla="*/ 67 h 195"/>
                <a:gd name="T104" fmla="*/ 2 w 197"/>
                <a:gd name="T105" fmla="*/ 55 h 195"/>
                <a:gd name="T106" fmla="*/ 12 w 197"/>
                <a:gd name="T107" fmla="*/ 53 h 195"/>
                <a:gd name="T108" fmla="*/ 33 w 197"/>
                <a:gd name="T109" fmla="*/ 48 h 195"/>
                <a:gd name="T110" fmla="*/ 45 w 197"/>
                <a:gd name="T111" fmla="*/ 53 h 195"/>
                <a:gd name="T112" fmla="*/ 62 w 197"/>
                <a:gd name="T113" fmla="*/ 53 h 195"/>
                <a:gd name="T114" fmla="*/ 64 w 197"/>
                <a:gd name="T115" fmla="*/ 36 h 195"/>
                <a:gd name="T116" fmla="*/ 71 w 197"/>
                <a:gd name="T117" fmla="*/ 24 h 195"/>
                <a:gd name="T118" fmla="*/ 83 w 197"/>
                <a:gd name="T119"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195">
                  <a:moveTo>
                    <a:pt x="116" y="164"/>
                  </a:moveTo>
                  <a:lnTo>
                    <a:pt x="119" y="164"/>
                  </a:lnTo>
                  <a:lnTo>
                    <a:pt x="119" y="167"/>
                  </a:lnTo>
                  <a:lnTo>
                    <a:pt x="119" y="164"/>
                  </a:lnTo>
                  <a:lnTo>
                    <a:pt x="119" y="167"/>
                  </a:lnTo>
                  <a:lnTo>
                    <a:pt x="119" y="164"/>
                  </a:lnTo>
                  <a:lnTo>
                    <a:pt x="121" y="164"/>
                  </a:lnTo>
                  <a:lnTo>
                    <a:pt x="123" y="167"/>
                  </a:lnTo>
                  <a:lnTo>
                    <a:pt x="126" y="167"/>
                  </a:lnTo>
                  <a:lnTo>
                    <a:pt x="128" y="167"/>
                  </a:lnTo>
                  <a:lnTo>
                    <a:pt x="128" y="169"/>
                  </a:lnTo>
                  <a:lnTo>
                    <a:pt x="130" y="169"/>
                  </a:lnTo>
                  <a:lnTo>
                    <a:pt x="130" y="171"/>
                  </a:lnTo>
                  <a:lnTo>
                    <a:pt x="130" y="169"/>
                  </a:lnTo>
                  <a:lnTo>
                    <a:pt x="133" y="171"/>
                  </a:lnTo>
                  <a:lnTo>
                    <a:pt x="133" y="169"/>
                  </a:lnTo>
                  <a:lnTo>
                    <a:pt x="133" y="171"/>
                  </a:lnTo>
                  <a:lnTo>
                    <a:pt x="135" y="171"/>
                  </a:lnTo>
                  <a:lnTo>
                    <a:pt x="138" y="171"/>
                  </a:lnTo>
                  <a:lnTo>
                    <a:pt x="138" y="174"/>
                  </a:lnTo>
                  <a:lnTo>
                    <a:pt x="140" y="174"/>
                  </a:lnTo>
                  <a:lnTo>
                    <a:pt x="138" y="174"/>
                  </a:lnTo>
                  <a:lnTo>
                    <a:pt x="140" y="174"/>
                  </a:lnTo>
                  <a:lnTo>
                    <a:pt x="138" y="174"/>
                  </a:lnTo>
                  <a:lnTo>
                    <a:pt x="138" y="171"/>
                  </a:lnTo>
                  <a:lnTo>
                    <a:pt x="140" y="171"/>
                  </a:lnTo>
                  <a:lnTo>
                    <a:pt x="138" y="171"/>
                  </a:lnTo>
                  <a:lnTo>
                    <a:pt x="140" y="171"/>
                  </a:lnTo>
                  <a:lnTo>
                    <a:pt x="140" y="169"/>
                  </a:lnTo>
                  <a:lnTo>
                    <a:pt x="142" y="171"/>
                  </a:lnTo>
                  <a:lnTo>
                    <a:pt x="145" y="171"/>
                  </a:lnTo>
                  <a:lnTo>
                    <a:pt x="145" y="174"/>
                  </a:lnTo>
                  <a:lnTo>
                    <a:pt x="145" y="176"/>
                  </a:lnTo>
                  <a:lnTo>
                    <a:pt x="147" y="176"/>
                  </a:lnTo>
                  <a:lnTo>
                    <a:pt x="149" y="176"/>
                  </a:lnTo>
                  <a:lnTo>
                    <a:pt x="149" y="179"/>
                  </a:lnTo>
                  <a:lnTo>
                    <a:pt x="152" y="181"/>
                  </a:lnTo>
                  <a:lnTo>
                    <a:pt x="154" y="181"/>
                  </a:lnTo>
                  <a:lnTo>
                    <a:pt x="156" y="183"/>
                  </a:lnTo>
                  <a:lnTo>
                    <a:pt x="159" y="183"/>
                  </a:lnTo>
                  <a:lnTo>
                    <a:pt x="161" y="183"/>
                  </a:lnTo>
                  <a:lnTo>
                    <a:pt x="161" y="186"/>
                  </a:lnTo>
                  <a:lnTo>
                    <a:pt x="164" y="186"/>
                  </a:lnTo>
                  <a:lnTo>
                    <a:pt x="164" y="190"/>
                  </a:lnTo>
                  <a:lnTo>
                    <a:pt x="164" y="193"/>
                  </a:lnTo>
                  <a:lnTo>
                    <a:pt x="166" y="193"/>
                  </a:lnTo>
                  <a:lnTo>
                    <a:pt x="166" y="195"/>
                  </a:lnTo>
                  <a:lnTo>
                    <a:pt x="166" y="193"/>
                  </a:lnTo>
                  <a:lnTo>
                    <a:pt x="164" y="193"/>
                  </a:lnTo>
                  <a:lnTo>
                    <a:pt x="164" y="190"/>
                  </a:lnTo>
                  <a:lnTo>
                    <a:pt x="164" y="193"/>
                  </a:lnTo>
                  <a:lnTo>
                    <a:pt x="161" y="190"/>
                  </a:lnTo>
                  <a:lnTo>
                    <a:pt x="164" y="190"/>
                  </a:lnTo>
                  <a:lnTo>
                    <a:pt x="161" y="190"/>
                  </a:lnTo>
                  <a:lnTo>
                    <a:pt x="159" y="190"/>
                  </a:lnTo>
                  <a:lnTo>
                    <a:pt x="159" y="188"/>
                  </a:lnTo>
                  <a:lnTo>
                    <a:pt x="156" y="188"/>
                  </a:lnTo>
                  <a:lnTo>
                    <a:pt x="156" y="186"/>
                  </a:lnTo>
                  <a:lnTo>
                    <a:pt x="156" y="183"/>
                  </a:lnTo>
                  <a:lnTo>
                    <a:pt x="154" y="183"/>
                  </a:lnTo>
                  <a:lnTo>
                    <a:pt x="152" y="183"/>
                  </a:lnTo>
                  <a:lnTo>
                    <a:pt x="149" y="183"/>
                  </a:lnTo>
                  <a:lnTo>
                    <a:pt x="152" y="183"/>
                  </a:lnTo>
                  <a:lnTo>
                    <a:pt x="149" y="181"/>
                  </a:lnTo>
                  <a:lnTo>
                    <a:pt x="152" y="181"/>
                  </a:lnTo>
                  <a:lnTo>
                    <a:pt x="152" y="183"/>
                  </a:lnTo>
                  <a:lnTo>
                    <a:pt x="152" y="181"/>
                  </a:lnTo>
                  <a:lnTo>
                    <a:pt x="149" y="181"/>
                  </a:lnTo>
                  <a:lnTo>
                    <a:pt x="147" y="181"/>
                  </a:lnTo>
                  <a:lnTo>
                    <a:pt x="147" y="179"/>
                  </a:lnTo>
                  <a:lnTo>
                    <a:pt x="145" y="179"/>
                  </a:lnTo>
                  <a:lnTo>
                    <a:pt x="145" y="176"/>
                  </a:lnTo>
                  <a:lnTo>
                    <a:pt x="142" y="176"/>
                  </a:lnTo>
                  <a:lnTo>
                    <a:pt x="145" y="176"/>
                  </a:lnTo>
                  <a:lnTo>
                    <a:pt x="142" y="176"/>
                  </a:lnTo>
                  <a:lnTo>
                    <a:pt x="140" y="176"/>
                  </a:lnTo>
                  <a:lnTo>
                    <a:pt x="140" y="174"/>
                  </a:lnTo>
                  <a:lnTo>
                    <a:pt x="138" y="174"/>
                  </a:lnTo>
                  <a:lnTo>
                    <a:pt x="140" y="174"/>
                  </a:lnTo>
                  <a:lnTo>
                    <a:pt x="140" y="176"/>
                  </a:lnTo>
                  <a:lnTo>
                    <a:pt x="140" y="179"/>
                  </a:lnTo>
                  <a:lnTo>
                    <a:pt x="140" y="176"/>
                  </a:lnTo>
                  <a:lnTo>
                    <a:pt x="138" y="176"/>
                  </a:lnTo>
                  <a:lnTo>
                    <a:pt x="138" y="174"/>
                  </a:lnTo>
                  <a:lnTo>
                    <a:pt x="138" y="176"/>
                  </a:lnTo>
                  <a:lnTo>
                    <a:pt x="138" y="174"/>
                  </a:lnTo>
                  <a:lnTo>
                    <a:pt x="135" y="174"/>
                  </a:lnTo>
                  <a:lnTo>
                    <a:pt x="133" y="174"/>
                  </a:lnTo>
                  <a:lnTo>
                    <a:pt x="130" y="174"/>
                  </a:lnTo>
                  <a:lnTo>
                    <a:pt x="130" y="171"/>
                  </a:lnTo>
                  <a:lnTo>
                    <a:pt x="128" y="171"/>
                  </a:lnTo>
                  <a:lnTo>
                    <a:pt x="128" y="169"/>
                  </a:lnTo>
                  <a:lnTo>
                    <a:pt x="126" y="169"/>
                  </a:lnTo>
                  <a:lnTo>
                    <a:pt x="123" y="169"/>
                  </a:lnTo>
                  <a:lnTo>
                    <a:pt x="123" y="167"/>
                  </a:lnTo>
                  <a:lnTo>
                    <a:pt x="121" y="167"/>
                  </a:lnTo>
                  <a:lnTo>
                    <a:pt x="119" y="167"/>
                  </a:lnTo>
                  <a:lnTo>
                    <a:pt x="116" y="167"/>
                  </a:lnTo>
                  <a:lnTo>
                    <a:pt x="116" y="164"/>
                  </a:lnTo>
                  <a:close/>
                  <a:moveTo>
                    <a:pt x="138" y="164"/>
                  </a:moveTo>
                  <a:lnTo>
                    <a:pt x="140" y="167"/>
                  </a:lnTo>
                  <a:lnTo>
                    <a:pt x="138" y="169"/>
                  </a:lnTo>
                  <a:lnTo>
                    <a:pt x="135" y="169"/>
                  </a:lnTo>
                  <a:lnTo>
                    <a:pt x="133" y="169"/>
                  </a:lnTo>
                  <a:lnTo>
                    <a:pt x="133" y="167"/>
                  </a:lnTo>
                  <a:lnTo>
                    <a:pt x="130" y="167"/>
                  </a:lnTo>
                  <a:lnTo>
                    <a:pt x="130" y="164"/>
                  </a:lnTo>
                  <a:lnTo>
                    <a:pt x="130" y="167"/>
                  </a:lnTo>
                  <a:lnTo>
                    <a:pt x="130" y="164"/>
                  </a:lnTo>
                  <a:lnTo>
                    <a:pt x="133" y="164"/>
                  </a:lnTo>
                  <a:lnTo>
                    <a:pt x="135" y="167"/>
                  </a:lnTo>
                  <a:lnTo>
                    <a:pt x="135" y="164"/>
                  </a:lnTo>
                  <a:lnTo>
                    <a:pt x="138" y="164"/>
                  </a:lnTo>
                  <a:close/>
                  <a:moveTo>
                    <a:pt x="95" y="3"/>
                  </a:moveTo>
                  <a:lnTo>
                    <a:pt x="97" y="3"/>
                  </a:lnTo>
                  <a:lnTo>
                    <a:pt x="100" y="3"/>
                  </a:lnTo>
                  <a:lnTo>
                    <a:pt x="100" y="5"/>
                  </a:lnTo>
                  <a:lnTo>
                    <a:pt x="102" y="5"/>
                  </a:lnTo>
                  <a:lnTo>
                    <a:pt x="104" y="5"/>
                  </a:lnTo>
                  <a:lnTo>
                    <a:pt x="104" y="8"/>
                  </a:lnTo>
                  <a:lnTo>
                    <a:pt x="107" y="8"/>
                  </a:lnTo>
                  <a:lnTo>
                    <a:pt x="107" y="10"/>
                  </a:lnTo>
                  <a:lnTo>
                    <a:pt x="107" y="8"/>
                  </a:lnTo>
                  <a:lnTo>
                    <a:pt x="109" y="8"/>
                  </a:lnTo>
                  <a:lnTo>
                    <a:pt x="109" y="10"/>
                  </a:lnTo>
                  <a:lnTo>
                    <a:pt x="109" y="8"/>
                  </a:lnTo>
                  <a:lnTo>
                    <a:pt x="109" y="10"/>
                  </a:lnTo>
                  <a:lnTo>
                    <a:pt x="111" y="10"/>
                  </a:lnTo>
                  <a:lnTo>
                    <a:pt x="111" y="12"/>
                  </a:lnTo>
                  <a:lnTo>
                    <a:pt x="111" y="10"/>
                  </a:lnTo>
                  <a:lnTo>
                    <a:pt x="111" y="12"/>
                  </a:lnTo>
                  <a:lnTo>
                    <a:pt x="111" y="15"/>
                  </a:lnTo>
                  <a:lnTo>
                    <a:pt x="114" y="15"/>
                  </a:lnTo>
                  <a:lnTo>
                    <a:pt x="114" y="17"/>
                  </a:lnTo>
                  <a:lnTo>
                    <a:pt x="116" y="17"/>
                  </a:lnTo>
                  <a:lnTo>
                    <a:pt x="119" y="17"/>
                  </a:lnTo>
                  <a:lnTo>
                    <a:pt x="119" y="19"/>
                  </a:lnTo>
                  <a:lnTo>
                    <a:pt x="121" y="19"/>
                  </a:lnTo>
                  <a:lnTo>
                    <a:pt x="121" y="22"/>
                  </a:lnTo>
                  <a:lnTo>
                    <a:pt x="123" y="22"/>
                  </a:lnTo>
                  <a:lnTo>
                    <a:pt x="123" y="24"/>
                  </a:lnTo>
                  <a:lnTo>
                    <a:pt x="123" y="27"/>
                  </a:lnTo>
                  <a:lnTo>
                    <a:pt x="126" y="27"/>
                  </a:lnTo>
                  <a:lnTo>
                    <a:pt x="126" y="29"/>
                  </a:lnTo>
                  <a:lnTo>
                    <a:pt x="128" y="29"/>
                  </a:lnTo>
                  <a:lnTo>
                    <a:pt x="126" y="29"/>
                  </a:lnTo>
                  <a:lnTo>
                    <a:pt x="128" y="29"/>
                  </a:lnTo>
                  <a:lnTo>
                    <a:pt x="130" y="29"/>
                  </a:lnTo>
                  <a:lnTo>
                    <a:pt x="133" y="29"/>
                  </a:lnTo>
                  <a:lnTo>
                    <a:pt x="135" y="29"/>
                  </a:lnTo>
                  <a:lnTo>
                    <a:pt x="135" y="31"/>
                  </a:lnTo>
                  <a:lnTo>
                    <a:pt x="138" y="34"/>
                  </a:lnTo>
                  <a:lnTo>
                    <a:pt x="140" y="34"/>
                  </a:lnTo>
                  <a:lnTo>
                    <a:pt x="140" y="36"/>
                  </a:lnTo>
                  <a:lnTo>
                    <a:pt x="142" y="36"/>
                  </a:lnTo>
                  <a:lnTo>
                    <a:pt x="145" y="36"/>
                  </a:lnTo>
                  <a:lnTo>
                    <a:pt x="145" y="38"/>
                  </a:lnTo>
                  <a:lnTo>
                    <a:pt x="145" y="36"/>
                  </a:lnTo>
                  <a:lnTo>
                    <a:pt x="147" y="36"/>
                  </a:lnTo>
                  <a:lnTo>
                    <a:pt x="149" y="36"/>
                  </a:lnTo>
                  <a:lnTo>
                    <a:pt x="149" y="38"/>
                  </a:lnTo>
                  <a:lnTo>
                    <a:pt x="152" y="38"/>
                  </a:lnTo>
                  <a:lnTo>
                    <a:pt x="152" y="36"/>
                  </a:lnTo>
                  <a:lnTo>
                    <a:pt x="154" y="36"/>
                  </a:lnTo>
                  <a:lnTo>
                    <a:pt x="154" y="38"/>
                  </a:lnTo>
                  <a:lnTo>
                    <a:pt x="154" y="36"/>
                  </a:lnTo>
                  <a:lnTo>
                    <a:pt x="156" y="36"/>
                  </a:lnTo>
                  <a:lnTo>
                    <a:pt x="156" y="38"/>
                  </a:lnTo>
                  <a:lnTo>
                    <a:pt x="159" y="38"/>
                  </a:lnTo>
                  <a:lnTo>
                    <a:pt x="161" y="38"/>
                  </a:lnTo>
                  <a:lnTo>
                    <a:pt x="164" y="38"/>
                  </a:lnTo>
                  <a:lnTo>
                    <a:pt x="164" y="36"/>
                  </a:lnTo>
                  <a:lnTo>
                    <a:pt x="166" y="36"/>
                  </a:lnTo>
                  <a:lnTo>
                    <a:pt x="168" y="36"/>
                  </a:lnTo>
                  <a:lnTo>
                    <a:pt x="168" y="34"/>
                  </a:lnTo>
                  <a:lnTo>
                    <a:pt x="171" y="34"/>
                  </a:lnTo>
                  <a:lnTo>
                    <a:pt x="171" y="31"/>
                  </a:lnTo>
                  <a:lnTo>
                    <a:pt x="173" y="31"/>
                  </a:lnTo>
                  <a:lnTo>
                    <a:pt x="175" y="31"/>
                  </a:lnTo>
                  <a:lnTo>
                    <a:pt x="175" y="34"/>
                  </a:lnTo>
                  <a:lnTo>
                    <a:pt x="175" y="31"/>
                  </a:lnTo>
                  <a:lnTo>
                    <a:pt x="178" y="31"/>
                  </a:lnTo>
                  <a:lnTo>
                    <a:pt x="178" y="34"/>
                  </a:lnTo>
                  <a:lnTo>
                    <a:pt x="175" y="36"/>
                  </a:lnTo>
                  <a:lnTo>
                    <a:pt x="178" y="36"/>
                  </a:lnTo>
                  <a:lnTo>
                    <a:pt x="178" y="38"/>
                  </a:lnTo>
                  <a:lnTo>
                    <a:pt x="180" y="36"/>
                  </a:lnTo>
                  <a:lnTo>
                    <a:pt x="180" y="38"/>
                  </a:lnTo>
                  <a:lnTo>
                    <a:pt x="180" y="41"/>
                  </a:lnTo>
                  <a:lnTo>
                    <a:pt x="178" y="41"/>
                  </a:lnTo>
                  <a:lnTo>
                    <a:pt x="180" y="41"/>
                  </a:lnTo>
                  <a:lnTo>
                    <a:pt x="180" y="43"/>
                  </a:lnTo>
                  <a:lnTo>
                    <a:pt x="178" y="46"/>
                  </a:lnTo>
                  <a:lnTo>
                    <a:pt x="178" y="48"/>
                  </a:lnTo>
                  <a:lnTo>
                    <a:pt x="180" y="48"/>
                  </a:lnTo>
                  <a:lnTo>
                    <a:pt x="183" y="48"/>
                  </a:lnTo>
                  <a:lnTo>
                    <a:pt x="185" y="48"/>
                  </a:lnTo>
                  <a:lnTo>
                    <a:pt x="185" y="50"/>
                  </a:lnTo>
                  <a:lnTo>
                    <a:pt x="183" y="50"/>
                  </a:lnTo>
                  <a:lnTo>
                    <a:pt x="180" y="50"/>
                  </a:lnTo>
                  <a:lnTo>
                    <a:pt x="180" y="53"/>
                  </a:lnTo>
                  <a:lnTo>
                    <a:pt x="183" y="53"/>
                  </a:lnTo>
                  <a:lnTo>
                    <a:pt x="183" y="55"/>
                  </a:lnTo>
                  <a:lnTo>
                    <a:pt x="180" y="55"/>
                  </a:lnTo>
                  <a:lnTo>
                    <a:pt x="180" y="57"/>
                  </a:lnTo>
                  <a:lnTo>
                    <a:pt x="183" y="57"/>
                  </a:lnTo>
                  <a:lnTo>
                    <a:pt x="185" y="57"/>
                  </a:lnTo>
                  <a:lnTo>
                    <a:pt x="185" y="60"/>
                  </a:lnTo>
                  <a:lnTo>
                    <a:pt x="187" y="60"/>
                  </a:lnTo>
                  <a:lnTo>
                    <a:pt x="187" y="62"/>
                  </a:lnTo>
                  <a:lnTo>
                    <a:pt x="190" y="62"/>
                  </a:lnTo>
                  <a:lnTo>
                    <a:pt x="192" y="62"/>
                  </a:lnTo>
                  <a:lnTo>
                    <a:pt x="194" y="62"/>
                  </a:lnTo>
                  <a:lnTo>
                    <a:pt x="197" y="62"/>
                  </a:lnTo>
                  <a:lnTo>
                    <a:pt x="194" y="65"/>
                  </a:lnTo>
                  <a:lnTo>
                    <a:pt x="194" y="67"/>
                  </a:lnTo>
                  <a:lnTo>
                    <a:pt x="192" y="67"/>
                  </a:lnTo>
                  <a:lnTo>
                    <a:pt x="190" y="67"/>
                  </a:lnTo>
                  <a:lnTo>
                    <a:pt x="185" y="69"/>
                  </a:lnTo>
                  <a:lnTo>
                    <a:pt x="185" y="72"/>
                  </a:lnTo>
                  <a:lnTo>
                    <a:pt x="185" y="74"/>
                  </a:lnTo>
                  <a:lnTo>
                    <a:pt x="183" y="74"/>
                  </a:lnTo>
                  <a:lnTo>
                    <a:pt x="185" y="74"/>
                  </a:lnTo>
                  <a:lnTo>
                    <a:pt x="187" y="74"/>
                  </a:lnTo>
                  <a:lnTo>
                    <a:pt x="187" y="76"/>
                  </a:lnTo>
                  <a:lnTo>
                    <a:pt x="185" y="76"/>
                  </a:lnTo>
                  <a:lnTo>
                    <a:pt x="185" y="79"/>
                  </a:lnTo>
                  <a:lnTo>
                    <a:pt x="183" y="79"/>
                  </a:lnTo>
                  <a:lnTo>
                    <a:pt x="183" y="76"/>
                  </a:lnTo>
                  <a:lnTo>
                    <a:pt x="180" y="79"/>
                  </a:lnTo>
                  <a:lnTo>
                    <a:pt x="183" y="79"/>
                  </a:lnTo>
                  <a:lnTo>
                    <a:pt x="183" y="81"/>
                  </a:lnTo>
                  <a:lnTo>
                    <a:pt x="180" y="81"/>
                  </a:lnTo>
                  <a:lnTo>
                    <a:pt x="178" y="81"/>
                  </a:lnTo>
                  <a:lnTo>
                    <a:pt x="175" y="81"/>
                  </a:lnTo>
                  <a:lnTo>
                    <a:pt x="175" y="79"/>
                  </a:lnTo>
                  <a:lnTo>
                    <a:pt x="173" y="79"/>
                  </a:lnTo>
                  <a:lnTo>
                    <a:pt x="173" y="76"/>
                  </a:lnTo>
                  <a:lnTo>
                    <a:pt x="175" y="76"/>
                  </a:lnTo>
                  <a:lnTo>
                    <a:pt x="175" y="74"/>
                  </a:lnTo>
                  <a:lnTo>
                    <a:pt x="173" y="74"/>
                  </a:lnTo>
                  <a:lnTo>
                    <a:pt x="173" y="72"/>
                  </a:lnTo>
                  <a:lnTo>
                    <a:pt x="171" y="72"/>
                  </a:lnTo>
                  <a:lnTo>
                    <a:pt x="171" y="69"/>
                  </a:lnTo>
                  <a:lnTo>
                    <a:pt x="171" y="72"/>
                  </a:lnTo>
                  <a:lnTo>
                    <a:pt x="168" y="72"/>
                  </a:lnTo>
                  <a:lnTo>
                    <a:pt x="168" y="69"/>
                  </a:lnTo>
                  <a:lnTo>
                    <a:pt x="168" y="72"/>
                  </a:lnTo>
                  <a:lnTo>
                    <a:pt x="168" y="69"/>
                  </a:lnTo>
                  <a:lnTo>
                    <a:pt x="166" y="69"/>
                  </a:lnTo>
                  <a:lnTo>
                    <a:pt x="166" y="72"/>
                  </a:lnTo>
                  <a:lnTo>
                    <a:pt x="164" y="72"/>
                  </a:lnTo>
                  <a:lnTo>
                    <a:pt x="164" y="69"/>
                  </a:lnTo>
                  <a:lnTo>
                    <a:pt x="161" y="69"/>
                  </a:lnTo>
                  <a:lnTo>
                    <a:pt x="159" y="69"/>
                  </a:lnTo>
                  <a:lnTo>
                    <a:pt x="156" y="67"/>
                  </a:lnTo>
                  <a:lnTo>
                    <a:pt x="156" y="69"/>
                  </a:lnTo>
                  <a:lnTo>
                    <a:pt x="154" y="69"/>
                  </a:lnTo>
                  <a:lnTo>
                    <a:pt x="152" y="69"/>
                  </a:lnTo>
                  <a:lnTo>
                    <a:pt x="152" y="67"/>
                  </a:lnTo>
                  <a:lnTo>
                    <a:pt x="149" y="67"/>
                  </a:lnTo>
                  <a:lnTo>
                    <a:pt x="147" y="67"/>
                  </a:lnTo>
                  <a:lnTo>
                    <a:pt x="147" y="69"/>
                  </a:lnTo>
                  <a:lnTo>
                    <a:pt x="145" y="72"/>
                  </a:lnTo>
                  <a:lnTo>
                    <a:pt x="142" y="72"/>
                  </a:lnTo>
                  <a:lnTo>
                    <a:pt x="142" y="69"/>
                  </a:lnTo>
                  <a:lnTo>
                    <a:pt x="140" y="69"/>
                  </a:lnTo>
                  <a:lnTo>
                    <a:pt x="138" y="69"/>
                  </a:lnTo>
                  <a:lnTo>
                    <a:pt x="138" y="67"/>
                  </a:lnTo>
                  <a:lnTo>
                    <a:pt x="135" y="67"/>
                  </a:lnTo>
                  <a:lnTo>
                    <a:pt x="135" y="69"/>
                  </a:lnTo>
                  <a:lnTo>
                    <a:pt x="133" y="69"/>
                  </a:lnTo>
                  <a:lnTo>
                    <a:pt x="133" y="67"/>
                  </a:lnTo>
                  <a:lnTo>
                    <a:pt x="133" y="69"/>
                  </a:lnTo>
                  <a:lnTo>
                    <a:pt x="130" y="69"/>
                  </a:lnTo>
                  <a:lnTo>
                    <a:pt x="133" y="67"/>
                  </a:lnTo>
                  <a:lnTo>
                    <a:pt x="130" y="67"/>
                  </a:lnTo>
                  <a:lnTo>
                    <a:pt x="128" y="67"/>
                  </a:lnTo>
                  <a:lnTo>
                    <a:pt x="126" y="67"/>
                  </a:lnTo>
                  <a:lnTo>
                    <a:pt x="126" y="65"/>
                  </a:lnTo>
                  <a:lnTo>
                    <a:pt x="123" y="65"/>
                  </a:lnTo>
                  <a:lnTo>
                    <a:pt x="123" y="67"/>
                  </a:lnTo>
                  <a:lnTo>
                    <a:pt x="121" y="67"/>
                  </a:lnTo>
                  <a:lnTo>
                    <a:pt x="119" y="65"/>
                  </a:lnTo>
                  <a:lnTo>
                    <a:pt x="116" y="65"/>
                  </a:lnTo>
                  <a:lnTo>
                    <a:pt x="116" y="62"/>
                  </a:lnTo>
                  <a:lnTo>
                    <a:pt x="116" y="65"/>
                  </a:lnTo>
                  <a:lnTo>
                    <a:pt x="116" y="62"/>
                  </a:lnTo>
                  <a:lnTo>
                    <a:pt x="114" y="62"/>
                  </a:lnTo>
                  <a:lnTo>
                    <a:pt x="116" y="62"/>
                  </a:lnTo>
                  <a:lnTo>
                    <a:pt x="114" y="62"/>
                  </a:lnTo>
                  <a:lnTo>
                    <a:pt x="114" y="60"/>
                  </a:lnTo>
                  <a:lnTo>
                    <a:pt x="114" y="62"/>
                  </a:lnTo>
                  <a:lnTo>
                    <a:pt x="111" y="62"/>
                  </a:lnTo>
                  <a:lnTo>
                    <a:pt x="109" y="62"/>
                  </a:lnTo>
                  <a:lnTo>
                    <a:pt x="111" y="62"/>
                  </a:lnTo>
                  <a:lnTo>
                    <a:pt x="109" y="65"/>
                  </a:lnTo>
                  <a:lnTo>
                    <a:pt x="111" y="65"/>
                  </a:lnTo>
                  <a:lnTo>
                    <a:pt x="109" y="65"/>
                  </a:lnTo>
                  <a:lnTo>
                    <a:pt x="107" y="65"/>
                  </a:lnTo>
                  <a:lnTo>
                    <a:pt x="104" y="65"/>
                  </a:lnTo>
                  <a:lnTo>
                    <a:pt x="102" y="62"/>
                  </a:lnTo>
                  <a:lnTo>
                    <a:pt x="102" y="65"/>
                  </a:lnTo>
                  <a:lnTo>
                    <a:pt x="100" y="62"/>
                  </a:lnTo>
                  <a:lnTo>
                    <a:pt x="100" y="65"/>
                  </a:lnTo>
                  <a:lnTo>
                    <a:pt x="97" y="65"/>
                  </a:lnTo>
                  <a:lnTo>
                    <a:pt x="97" y="67"/>
                  </a:lnTo>
                  <a:lnTo>
                    <a:pt x="95" y="69"/>
                  </a:lnTo>
                  <a:lnTo>
                    <a:pt x="95" y="72"/>
                  </a:lnTo>
                  <a:lnTo>
                    <a:pt x="95" y="74"/>
                  </a:lnTo>
                  <a:lnTo>
                    <a:pt x="92" y="74"/>
                  </a:lnTo>
                  <a:lnTo>
                    <a:pt x="90" y="74"/>
                  </a:lnTo>
                  <a:lnTo>
                    <a:pt x="90" y="72"/>
                  </a:lnTo>
                  <a:lnTo>
                    <a:pt x="88" y="72"/>
                  </a:lnTo>
                  <a:lnTo>
                    <a:pt x="88" y="69"/>
                  </a:lnTo>
                  <a:lnTo>
                    <a:pt x="85" y="69"/>
                  </a:lnTo>
                  <a:lnTo>
                    <a:pt x="85" y="67"/>
                  </a:lnTo>
                  <a:lnTo>
                    <a:pt x="83" y="65"/>
                  </a:lnTo>
                  <a:lnTo>
                    <a:pt x="81" y="65"/>
                  </a:lnTo>
                  <a:lnTo>
                    <a:pt x="81" y="62"/>
                  </a:lnTo>
                  <a:lnTo>
                    <a:pt x="78" y="62"/>
                  </a:lnTo>
                  <a:lnTo>
                    <a:pt x="78" y="65"/>
                  </a:lnTo>
                  <a:lnTo>
                    <a:pt x="78" y="62"/>
                  </a:lnTo>
                  <a:lnTo>
                    <a:pt x="76" y="65"/>
                  </a:lnTo>
                  <a:lnTo>
                    <a:pt x="76" y="67"/>
                  </a:lnTo>
                  <a:lnTo>
                    <a:pt x="76" y="69"/>
                  </a:lnTo>
                  <a:lnTo>
                    <a:pt x="76" y="72"/>
                  </a:lnTo>
                  <a:lnTo>
                    <a:pt x="73" y="72"/>
                  </a:lnTo>
                  <a:lnTo>
                    <a:pt x="73" y="74"/>
                  </a:lnTo>
                  <a:lnTo>
                    <a:pt x="73" y="76"/>
                  </a:lnTo>
                  <a:lnTo>
                    <a:pt x="73" y="79"/>
                  </a:lnTo>
                  <a:lnTo>
                    <a:pt x="76" y="79"/>
                  </a:lnTo>
                  <a:lnTo>
                    <a:pt x="76" y="81"/>
                  </a:lnTo>
                  <a:lnTo>
                    <a:pt x="78" y="84"/>
                  </a:lnTo>
                  <a:lnTo>
                    <a:pt x="78" y="86"/>
                  </a:lnTo>
                  <a:lnTo>
                    <a:pt x="81" y="86"/>
                  </a:lnTo>
                  <a:lnTo>
                    <a:pt x="81" y="88"/>
                  </a:lnTo>
                  <a:lnTo>
                    <a:pt x="83" y="91"/>
                  </a:lnTo>
                  <a:lnTo>
                    <a:pt x="85" y="95"/>
                  </a:lnTo>
                  <a:lnTo>
                    <a:pt x="88" y="95"/>
                  </a:lnTo>
                  <a:lnTo>
                    <a:pt x="88" y="98"/>
                  </a:lnTo>
                  <a:lnTo>
                    <a:pt x="88" y="100"/>
                  </a:lnTo>
                  <a:lnTo>
                    <a:pt x="88" y="103"/>
                  </a:lnTo>
                  <a:lnTo>
                    <a:pt x="90" y="103"/>
                  </a:lnTo>
                  <a:lnTo>
                    <a:pt x="90" y="105"/>
                  </a:lnTo>
                  <a:lnTo>
                    <a:pt x="88" y="105"/>
                  </a:lnTo>
                  <a:lnTo>
                    <a:pt x="88" y="107"/>
                  </a:lnTo>
                  <a:lnTo>
                    <a:pt x="88" y="110"/>
                  </a:lnTo>
                  <a:lnTo>
                    <a:pt x="90" y="110"/>
                  </a:lnTo>
                  <a:lnTo>
                    <a:pt x="90" y="112"/>
                  </a:lnTo>
                  <a:lnTo>
                    <a:pt x="92" y="112"/>
                  </a:lnTo>
                  <a:lnTo>
                    <a:pt x="92" y="114"/>
                  </a:lnTo>
                  <a:lnTo>
                    <a:pt x="95" y="114"/>
                  </a:lnTo>
                  <a:lnTo>
                    <a:pt x="95" y="117"/>
                  </a:lnTo>
                  <a:lnTo>
                    <a:pt x="97" y="117"/>
                  </a:lnTo>
                  <a:lnTo>
                    <a:pt x="97" y="119"/>
                  </a:lnTo>
                  <a:lnTo>
                    <a:pt x="100" y="119"/>
                  </a:lnTo>
                  <a:lnTo>
                    <a:pt x="100" y="122"/>
                  </a:lnTo>
                  <a:lnTo>
                    <a:pt x="102" y="122"/>
                  </a:lnTo>
                  <a:lnTo>
                    <a:pt x="102" y="124"/>
                  </a:lnTo>
                  <a:lnTo>
                    <a:pt x="104" y="124"/>
                  </a:lnTo>
                  <a:lnTo>
                    <a:pt x="104" y="126"/>
                  </a:lnTo>
                  <a:lnTo>
                    <a:pt x="107" y="126"/>
                  </a:lnTo>
                  <a:lnTo>
                    <a:pt x="107" y="129"/>
                  </a:lnTo>
                  <a:lnTo>
                    <a:pt x="107" y="131"/>
                  </a:lnTo>
                  <a:lnTo>
                    <a:pt x="111" y="133"/>
                  </a:lnTo>
                  <a:lnTo>
                    <a:pt x="121" y="143"/>
                  </a:lnTo>
                  <a:lnTo>
                    <a:pt x="121" y="145"/>
                  </a:lnTo>
                  <a:lnTo>
                    <a:pt x="123" y="145"/>
                  </a:lnTo>
                  <a:lnTo>
                    <a:pt x="126" y="145"/>
                  </a:lnTo>
                  <a:lnTo>
                    <a:pt x="126" y="148"/>
                  </a:lnTo>
                  <a:lnTo>
                    <a:pt x="126" y="150"/>
                  </a:lnTo>
                  <a:lnTo>
                    <a:pt x="126" y="152"/>
                  </a:lnTo>
                  <a:lnTo>
                    <a:pt x="128" y="155"/>
                  </a:lnTo>
                  <a:lnTo>
                    <a:pt x="130" y="155"/>
                  </a:lnTo>
                  <a:lnTo>
                    <a:pt x="130" y="157"/>
                  </a:lnTo>
                  <a:lnTo>
                    <a:pt x="130" y="160"/>
                  </a:lnTo>
                  <a:lnTo>
                    <a:pt x="133" y="160"/>
                  </a:lnTo>
                  <a:lnTo>
                    <a:pt x="135" y="160"/>
                  </a:lnTo>
                  <a:lnTo>
                    <a:pt x="138" y="162"/>
                  </a:lnTo>
                  <a:lnTo>
                    <a:pt x="138" y="164"/>
                  </a:lnTo>
                  <a:lnTo>
                    <a:pt x="135" y="164"/>
                  </a:lnTo>
                  <a:lnTo>
                    <a:pt x="135" y="167"/>
                  </a:lnTo>
                  <a:lnTo>
                    <a:pt x="135" y="164"/>
                  </a:lnTo>
                  <a:lnTo>
                    <a:pt x="133" y="164"/>
                  </a:lnTo>
                  <a:lnTo>
                    <a:pt x="130" y="164"/>
                  </a:lnTo>
                  <a:lnTo>
                    <a:pt x="128" y="164"/>
                  </a:lnTo>
                  <a:lnTo>
                    <a:pt x="128" y="162"/>
                  </a:lnTo>
                  <a:lnTo>
                    <a:pt x="126" y="162"/>
                  </a:lnTo>
                  <a:lnTo>
                    <a:pt x="126" y="160"/>
                  </a:lnTo>
                  <a:lnTo>
                    <a:pt x="123" y="160"/>
                  </a:lnTo>
                  <a:lnTo>
                    <a:pt x="121" y="160"/>
                  </a:lnTo>
                  <a:lnTo>
                    <a:pt x="121" y="157"/>
                  </a:lnTo>
                  <a:lnTo>
                    <a:pt x="119" y="157"/>
                  </a:lnTo>
                  <a:lnTo>
                    <a:pt x="119" y="155"/>
                  </a:lnTo>
                  <a:lnTo>
                    <a:pt x="116" y="155"/>
                  </a:lnTo>
                  <a:lnTo>
                    <a:pt x="116" y="152"/>
                  </a:lnTo>
                  <a:lnTo>
                    <a:pt x="114" y="152"/>
                  </a:lnTo>
                  <a:lnTo>
                    <a:pt x="114" y="150"/>
                  </a:lnTo>
                  <a:lnTo>
                    <a:pt x="111" y="150"/>
                  </a:lnTo>
                  <a:lnTo>
                    <a:pt x="111" y="148"/>
                  </a:lnTo>
                  <a:lnTo>
                    <a:pt x="109" y="148"/>
                  </a:lnTo>
                  <a:lnTo>
                    <a:pt x="107" y="148"/>
                  </a:lnTo>
                  <a:lnTo>
                    <a:pt x="107" y="145"/>
                  </a:lnTo>
                  <a:lnTo>
                    <a:pt x="104" y="145"/>
                  </a:lnTo>
                  <a:lnTo>
                    <a:pt x="102" y="145"/>
                  </a:lnTo>
                  <a:lnTo>
                    <a:pt x="100" y="143"/>
                  </a:lnTo>
                  <a:lnTo>
                    <a:pt x="97" y="143"/>
                  </a:lnTo>
                  <a:lnTo>
                    <a:pt x="95" y="143"/>
                  </a:lnTo>
                  <a:lnTo>
                    <a:pt x="97" y="143"/>
                  </a:lnTo>
                  <a:lnTo>
                    <a:pt x="97" y="141"/>
                  </a:lnTo>
                  <a:lnTo>
                    <a:pt x="95" y="141"/>
                  </a:lnTo>
                  <a:lnTo>
                    <a:pt x="92" y="141"/>
                  </a:lnTo>
                  <a:lnTo>
                    <a:pt x="92" y="143"/>
                  </a:lnTo>
                  <a:lnTo>
                    <a:pt x="90" y="143"/>
                  </a:lnTo>
                  <a:lnTo>
                    <a:pt x="92" y="143"/>
                  </a:lnTo>
                  <a:lnTo>
                    <a:pt x="95" y="143"/>
                  </a:lnTo>
                  <a:lnTo>
                    <a:pt x="95" y="145"/>
                  </a:lnTo>
                  <a:lnTo>
                    <a:pt x="92" y="145"/>
                  </a:lnTo>
                  <a:lnTo>
                    <a:pt x="92" y="143"/>
                  </a:lnTo>
                  <a:lnTo>
                    <a:pt x="90" y="143"/>
                  </a:lnTo>
                  <a:lnTo>
                    <a:pt x="90" y="145"/>
                  </a:lnTo>
                  <a:lnTo>
                    <a:pt x="90" y="143"/>
                  </a:lnTo>
                  <a:lnTo>
                    <a:pt x="90" y="145"/>
                  </a:lnTo>
                  <a:lnTo>
                    <a:pt x="90" y="143"/>
                  </a:lnTo>
                  <a:lnTo>
                    <a:pt x="88" y="143"/>
                  </a:lnTo>
                  <a:lnTo>
                    <a:pt x="85" y="143"/>
                  </a:lnTo>
                  <a:lnTo>
                    <a:pt x="88" y="143"/>
                  </a:lnTo>
                  <a:lnTo>
                    <a:pt x="88" y="145"/>
                  </a:lnTo>
                  <a:lnTo>
                    <a:pt x="85" y="143"/>
                  </a:lnTo>
                  <a:lnTo>
                    <a:pt x="88" y="145"/>
                  </a:lnTo>
                  <a:lnTo>
                    <a:pt x="85" y="145"/>
                  </a:lnTo>
                  <a:lnTo>
                    <a:pt x="85" y="143"/>
                  </a:lnTo>
                  <a:lnTo>
                    <a:pt x="85" y="145"/>
                  </a:lnTo>
                  <a:lnTo>
                    <a:pt x="83" y="145"/>
                  </a:lnTo>
                  <a:lnTo>
                    <a:pt x="83" y="143"/>
                  </a:lnTo>
                  <a:lnTo>
                    <a:pt x="81" y="143"/>
                  </a:lnTo>
                  <a:lnTo>
                    <a:pt x="83" y="143"/>
                  </a:lnTo>
                  <a:lnTo>
                    <a:pt x="83" y="141"/>
                  </a:lnTo>
                  <a:lnTo>
                    <a:pt x="81" y="141"/>
                  </a:lnTo>
                  <a:lnTo>
                    <a:pt x="81" y="143"/>
                  </a:lnTo>
                  <a:lnTo>
                    <a:pt x="81" y="141"/>
                  </a:lnTo>
                  <a:lnTo>
                    <a:pt x="81" y="138"/>
                  </a:lnTo>
                  <a:lnTo>
                    <a:pt x="81" y="136"/>
                  </a:lnTo>
                  <a:lnTo>
                    <a:pt x="78" y="136"/>
                  </a:lnTo>
                  <a:lnTo>
                    <a:pt x="81" y="136"/>
                  </a:lnTo>
                  <a:lnTo>
                    <a:pt x="81" y="133"/>
                  </a:lnTo>
                  <a:lnTo>
                    <a:pt x="81" y="136"/>
                  </a:lnTo>
                  <a:lnTo>
                    <a:pt x="78" y="133"/>
                  </a:lnTo>
                  <a:lnTo>
                    <a:pt x="78" y="131"/>
                  </a:lnTo>
                  <a:lnTo>
                    <a:pt x="78" y="129"/>
                  </a:lnTo>
                  <a:lnTo>
                    <a:pt x="78" y="131"/>
                  </a:lnTo>
                  <a:lnTo>
                    <a:pt x="78" y="129"/>
                  </a:lnTo>
                  <a:lnTo>
                    <a:pt x="81" y="129"/>
                  </a:lnTo>
                  <a:lnTo>
                    <a:pt x="78" y="129"/>
                  </a:lnTo>
                  <a:lnTo>
                    <a:pt x="78" y="131"/>
                  </a:lnTo>
                  <a:lnTo>
                    <a:pt x="76" y="131"/>
                  </a:lnTo>
                  <a:lnTo>
                    <a:pt x="78" y="131"/>
                  </a:lnTo>
                  <a:lnTo>
                    <a:pt x="78" y="133"/>
                  </a:lnTo>
                  <a:lnTo>
                    <a:pt x="76" y="133"/>
                  </a:lnTo>
                  <a:lnTo>
                    <a:pt x="76" y="131"/>
                  </a:lnTo>
                  <a:lnTo>
                    <a:pt x="73" y="131"/>
                  </a:lnTo>
                  <a:lnTo>
                    <a:pt x="71" y="131"/>
                  </a:lnTo>
                  <a:lnTo>
                    <a:pt x="71" y="129"/>
                  </a:lnTo>
                  <a:lnTo>
                    <a:pt x="71" y="131"/>
                  </a:lnTo>
                  <a:lnTo>
                    <a:pt x="69" y="131"/>
                  </a:lnTo>
                  <a:lnTo>
                    <a:pt x="69" y="129"/>
                  </a:lnTo>
                  <a:lnTo>
                    <a:pt x="69" y="131"/>
                  </a:lnTo>
                  <a:lnTo>
                    <a:pt x="69" y="129"/>
                  </a:lnTo>
                  <a:lnTo>
                    <a:pt x="71" y="129"/>
                  </a:lnTo>
                  <a:lnTo>
                    <a:pt x="69" y="129"/>
                  </a:lnTo>
                  <a:lnTo>
                    <a:pt x="71" y="129"/>
                  </a:lnTo>
                  <a:lnTo>
                    <a:pt x="69" y="129"/>
                  </a:lnTo>
                  <a:lnTo>
                    <a:pt x="71" y="129"/>
                  </a:lnTo>
                  <a:lnTo>
                    <a:pt x="71" y="126"/>
                  </a:lnTo>
                  <a:lnTo>
                    <a:pt x="71" y="129"/>
                  </a:lnTo>
                  <a:lnTo>
                    <a:pt x="69" y="126"/>
                  </a:lnTo>
                  <a:lnTo>
                    <a:pt x="66" y="126"/>
                  </a:lnTo>
                  <a:lnTo>
                    <a:pt x="66" y="124"/>
                  </a:lnTo>
                  <a:lnTo>
                    <a:pt x="64" y="124"/>
                  </a:lnTo>
                  <a:lnTo>
                    <a:pt x="64" y="122"/>
                  </a:lnTo>
                  <a:lnTo>
                    <a:pt x="62" y="122"/>
                  </a:lnTo>
                  <a:lnTo>
                    <a:pt x="62" y="119"/>
                  </a:lnTo>
                  <a:lnTo>
                    <a:pt x="59" y="119"/>
                  </a:lnTo>
                  <a:lnTo>
                    <a:pt x="59" y="117"/>
                  </a:lnTo>
                  <a:lnTo>
                    <a:pt x="57" y="117"/>
                  </a:lnTo>
                  <a:lnTo>
                    <a:pt x="57" y="114"/>
                  </a:lnTo>
                  <a:lnTo>
                    <a:pt x="57" y="112"/>
                  </a:lnTo>
                  <a:lnTo>
                    <a:pt x="54" y="112"/>
                  </a:lnTo>
                  <a:lnTo>
                    <a:pt x="54" y="110"/>
                  </a:lnTo>
                  <a:lnTo>
                    <a:pt x="54" y="107"/>
                  </a:lnTo>
                  <a:lnTo>
                    <a:pt x="52" y="107"/>
                  </a:lnTo>
                  <a:lnTo>
                    <a:pt x="54" y="107"/>
                  </a:lnTo>
                  <a:lnTo>
                    <a:pt x="54" y="110"/>
                  </a:lnTo>
                  <a:lnTo>
                    <a:pt x="57" y="110"/>
                  </a:lnTo>
                  <a:lnTo>
                    <a:pt x="57" y="107"/>
                  </a:lnTo>
                  <a:lnTo>
                    <a:pt x="59" y="107"/>
                  </a:lnTo>
                  <a:lnTo>
                    <a:pt x="59" y="110"/>
                  </a:lnTo>
                  <a:lnTo>
                    <a:pt x="59" y="107"/>
                  </a:lnTo>
                  <a:lnTo>
                    <a:pt x="59" y="105"/>
                  </a:lnTo>
                  <a:lnTo>
                    <a:pt x="59" y="107"/>
                  </a:lnTo>
                  <a:lnTo>
                    <a:pt x="62" y="107"/>
                  </a:lnTo>
                  <a:lnTo>
                    <a:pt x="59" y="107"/>
                  </a:lnTo>
                  <a:lnTo>
                    <a:pt x="62" y="107"/>
                  </a:lnTo>
                  <a:lnTo>
                    <a:pt x="64" y="107"/>
                  </a:lnTo>
                  <a:lnTo>
                    <a:pt x="66" y="107"/>
                  </a:lnTo>
                  <a:lnTo>
                    <a:pt x="66" y="110"/>
                  </a:lnTo>
                  <a:lnTo>
                    <a:pt x="66" y="107"/>
                  </a:lnTo>
                  <a:lnTo>
                    <a:pt x="66" y="110"/>
                  </a:lnTo>
                  <a:lnTo>
                    <a:pt x="64" y="110"/>
                  </a:lnTo>
                  <a:lnTo>
                    <a:pt x="66" y="112"/>
                  </a:lnTo>
                  <a:lnTo>
                    <a:pt x="69" y="112"/>
                  </a:lnTo>
                  <a:lnTo>
                    <a:pt x="69" y="114"/>
                  </a:lnTo>
                  <a:lnTo>
                    <a:pt x="71" y="114"/>
                  </a:lnTo>
                  <a:lnTo>
                    <a:pt x="71" y="112"/>
                  </a:lnTo>
                  <a:lnTo>
                    <a:pt x="69" y="112"/>
                  </a:lnTo>
                  <a:lnTo>
                    <a:pt x="69" y="110"/>
                  </a:lnTo>
                  <a:lnTo>
                    <a:pt x="66" y="110"/>
                  </a:lnTo>
                  <a:lnTo>
                    <a:pt x="66" y="107"/>
                  </a:lnTo>
                  <a:lnTo>
                    <a:pt x="64" y="107"/>
                  </a:lnTo>
                  <a:lnTo>
                    <a:pt x="64" y="105"/>
                  </a:lnTo>
                  <a:lnTo>
                    <a:pt x="62" y="105"/>
                  </a:lnTo>
                  <a:lnTo>
                    <a:pt x="59" y="105"/>
                  </a:lnTo>
                  <a:lnTo>
                    <a:pt x="59" y="103"/>
                  </a:lnTo>
                  <a:lnTo>
                    <a:pt x="57" y="103"/>
                  </a:lnTo>
                  <a:lnTo>
                    <a:pt x="57" y="100"/>
                  </a:lnTo>
                  <a:lnTo>
                    <a:pt x="54" y="100"/>
                  </a:lnTo>
                  <a:lnTo>
                    <a:pt x="57" y="100"/>
                  </a:lnTo>
                  <a:lnTo>
                    <a:pt x="54" y="100"/>
                  </a:lnTo>
                  <a:lnTo>
                    <a:pt x="54" y="98"/>
                  </a:lnTo>
                  <a:lnTo>
                    <a:pt x="52" y="98"/>
                  </a:lnTo>
                  <a:lnTo>
                    <a:pt x="52" y="95"/>
                  </a:lnTo>
                  <a:lnTo>
                    <a:pt x="50" y="95"/>
                  </a:lnTo>
                  <a:lnTo>
                    <a:pt x="50" y="93"/>
                  </a:lnTo>
                  <a:lnTo>
                    <a:pt x="50" y="95"/>
                  </a:lnTo>
                  <a:lnTo>
                    <a:pt x="50" y="93"/>
                  </a:lnTo>
                  <a:lnTo>
                    <a:pt x="47" y="93"/>
                  </a:lnTo>
                  <a:lnTo>
                    <a:pt x="47" y="91"/>
                  </a:lnTo>
                  <a:lnTo>
                    <a:pt x="47" y="88"/>
                  </a:lnTo>
                  <a:lnTo>
                    <a:pt x="45" y="88"/>
                  </a:lnTo>
                  <a:lnTo>
                    <a:pt x="45" y="86"/>
                  </a:lnTo>
                  <a:lnTo>
                    <a:pt x="47" y="86"/>
                  </a:lnTo>
                  <a:lnTo>
                    <a:pt x="45" y="86"/>
                  </a:lnTo>
                  <a:lnTo>
                    <a:pt x="45" y="84"/>
                  </a:lnTo>
                  <a:lnTo>
                    <a:pt x="45" y="81"/>
                  </a:lnTo>
                  <a:lnTo>
                    <a:pt x="45" y="79"/>
                  </a:lnTo>
                  <a:lnTo>
                    <a:pt x="47" y="79"/>
                  </a:lnTo>
                  <a:lnTo>
                    <a:pt x="47" y="76"/>
                  </a:lnTo>
                  <a:lnTo>
                    <a:pt x="47" y="74"/>
                  </a:lnTo>
                  <a:lnTo>
                    <a:pt x="45" y="74"/>
                  </a:lnTo>
                  <a:lnTo>
                    <a:pt x="47" y="74"/>
                  </a:lnTo>
                  <a:lnTo>
                    <a:pt x="45" y="74"/>
                  </a:lnTo>
                  <a:lnTo>
                    <a:pt x="45" y="72"/>
                  </a:lnTo>
                  <a:lnTo>
                    <a:pt x="45" y="69"/>
                  </a:lnTo>
                  <a:lnTo>
                    <a:pt x="43" y="69"/>
                  </a:lnTo>
                  <a:lnTo>
                    <a:pt x="43" y="67"/>
                  </a:lnTo>
                  <a:lnTo>
                    <a:pt x="40" y="67"/>
                  </a:lnTo>
                  <a:lnTo>
                    <a:pt x="40" y="65"/>
                  </a:lnTo>
                  <a:lnTo>
                    <a:pt x="38" y="65"/>
                  </a:lnTo>
                  <a:lnTo>
                    <a:pt x="38" y="62"/>
                  </a:lnTo>
                  <a:lnTo>
                    <a:pt x="35" y="62"/>
                  </a:lnTo>
                  <a:lnTo>
                    <a:pt x="35" y="60"/>
                  </a:lnTo>
                  <a:lnTo>
                    <a:pt x="33" y="60"/>
                  </a:lnTo>
                  <a:lnTo>
                    <a:pt x="35" y="60"/>
                  </a:lnTo>
                  <a:lnTo>
                    <a:pt x="33" y="60"/>
                  </a:lnTo>
                  <a:lnTo>
                    <a:pt x="31" y="60"/>
                  </a:lnTo>
                  <a:lnTo>
                    <a:pt x="31" y="57"/>
                  </a:lnTo>
                  <a:lnTo>
                    <a:pt x="28" y="57"/>
                  </a:lnTo>
                  <a:lnTo>
                    <a:pt x="26" y="57"/>
                  </a:lnTo>
                  <a:lnTo>
                    <a:pt x="26" y="60"/>
                  </a:lnTo>
                  <a:lnTo>
                    <a:pt x="26" y="62"/>
                  </a:lnTo>
                  <a:lnTo>
                    <a:pt x="24" y="65"/>
                  </a:lnTo>
                  <a:lnTo>
                    <a:pt x="24" y="67"/>
                  </a:lnTo>
                  <a:lnTo>
                    <a:pt x="24" y="69"/>
                  </a:lnTo>
                  <a:lnTo>
                    <a:pt x="24" y="67"/>
                  </a:lnTo>
                  <a:lnTo>
                    <a:pt x="24" y="69"/>
                  </a:lnTo>
                  <a:lnTo>
                    <a:pt x="21" y="69"/>
                  </a:lnTo>
                  <a:lnTo>
                    <a:pt x="21" y="72"/>
                  </a:lnTo>
                  <a:lnTo>
                    <a:pt x="21" y="74"/>
                  </a:lnTo>
                  <a:lnTo>
                    <a:pt x="21" y="76"/>
                  </a:lnTo>
                  <a:lnTo>
                    <a:pt x="21" y="74"/>
                  </a:lnTo>
                  <a:lnTo>
                    <a:pt x="19" y="74"/>
                  </a:lnTo>
                  <a:lnTo>
                    <a:pt x="19" y="76"/>
                  </a:lnTo>
                  <a:lnTo>
                    <a:pt x="19" y="74"/>
                  </a:lnTo>
                  <a:lnTo>
                    <a:pt x="19" y="72"/>
                  </a:lnTo>
                  <a:lnTo>
                    <a:pt x="19" y="74"/>
                  </a:lnTo>
                  <a:lnTo>
                    <a:pt x="19" y="76"/>
                  </a:lnTo>
                  <a:lnTo>
                    <a:pt x="17" y="76"/>
                  </a:lnTo>
                  <a:lnTo>
                    <a:pt x="19" y="76"/>
                  </a:lnTo>
                  <a:lnTo>
                    <a:pt x="17" y="76"/>
                  </a:lnTo>
                  <a:lnTo>
                    <a:pt x="17" y="79"/>
                  </a:lnTo>
                  <a:lnTo>
                    <a:pt x="17" y="81"/>
                  </a:lnTo>
                  <a:lnTo>
                    <a:pt x="17" y="84"/>
                  </a:lnTo>
                  <a:lnTo>
                    <a:pt x="14" y="84"/>
                  </a:lnTo>
                  <a:lnTo>
                    <a:pt x="14" y="81"/>
                  </a:lnTo>
                  <a:lnTo>
                    <a:pt x="12" y="81"/>
                  </a:lnTo>
                  <a:lnTo>
                    <a:pt x="14" y="81"/>
                  </a:lnTo>
                  <a:lnTo>
                    <a:pt x="14" y="84"/>
                  </a:lnTo>
                  <a:lnTo>
                    <a:pt x="12" y="84"/>
                  </a:lnTo>
                  <a:lnTo>
                    <a:pt x="12" y="81"/>
                  </a:lnTo>
                  <a:lnTo>
                    <a:pt x="9" y="81"/>
                  </a:lnTo>
                  <a:lnTo>
                    <a:pt x="9" y="79"/>
                  </a:lnTo>
                  <a:lnTo>
                    <a:pt x="9" y="81"/>
                  </a:lnTo>
                  <a:lnTo>
                    <a:pt x="12" y="79"/>
                  </a:lnTo>
                  <a:lnTo>
                    <a:pt x="12" y="81"/>
                  </a:lnTo>
                  <a:lnTo>
                    <a:pt x="12" y="79"/>
                  </a:lnTo>
                  <a:lnTo>
                    <a:pt x="12" y="81"/>
                  </a:lnTo>
                  <a:lnTo>
                    <a:pt x="12" y="79"/>
                  </a:lnTo>
                  <a:lnTo>
                    <a:pt x="9" y="79"/>
                  </a:lnTo>
                  <a:lnTo>
                    <a:pt x="9" y="76"/>
                  </a:lnTo>
                  <a:lnTo>
                    <a:pt x="9" y="74"/>
                  </a:lnTo>
                  <a:lnTo>
                    <a:pt x="7" y="74"/>
                  </a:lnTo>
                  <a:lnTo>
                    <a:pt x="7" y="72"/>
                  </a:lnTo>
                  <a:lnTo>
                    <a:pt x="5" y="72"/>
                  </a:lnTo>
                  <a:lnTo>
                    <a:pt x="5" y="69"/>
                  </a:lnTo>
                  <a:lnTo>
                    <a:pt x="5" y="67"/>
                  </a:lnTo>
                  <a:lnTo>
                    <a:pt x="5" y="69"/>
                  </a:lnTo>
                  <a:lnTo>
                    <a:pt x="5" y="67"/>
                  </a:lnTo>
                  <a:lnTo>
                    <a:pt x="7" y="67"/>
                  </a:lnTo>
                  <a:lnTo>
                    <a:pt x="5" y="67"/>
                  </a:lnTo>
                  <a:lnTo>
                    <a:pt x="2" y="67"/>
                  </a:lnTo>
                  <a:lnTo>
                    <a:pt x="5" y="67"/>
                  </a:lnTo>
                  <a:lnTo>
                    <a:pt x="2" y="67"/>
                  </a:lnTo>
                  <a:lnTo>
                    <a:pt x="5" y="67"/>
                  </a:lnTo>
                  <a:lnTo>
                    <a:pt x="2" y="67"/>
                  </a:lnTo>
                  <a:lnTo>
                    <a:pt x="2" y="65"/>
                  </a:lnTo>
                  <a:lnTo>
                    <a:pt x="5" y="65"/>
                  </a:lnTo>
                  <a:lnTo>
                    <a:pt x="2" y="65"/>
                  </a:lnTo>
                  <a:lnTo>
                    <a:pt x="2" y="62"/>
                  </a:lnTo>
                  <a:lnTo>
                    <a:pt x="2" y="60"/>
                  </a:lnTo>
                  <a:lnTo>
                    <a:pt x="5" y="60"/>
                  </a:lnTo>
                  <a:lnTo>
                    <a:pt x="2" y="60"/>
                  </a:lnTo>
                  <a:lnTo>
                    <a:pt x="2" y="57"/>
                  </a:lnTo>
                  <a:lnTo>
                    <a:pt x="2" y="60"/>
                  </a:lnTo>
                  <a:lnTo>
                    <a:pt x="2" y="57"/>
                  </a:lnTo>
                  <a:lnTo>
                    <a:pt x="2" y="55"/>
                  </a:lnTo>
                  <a:lnTo>
                    <a:pt x="0" y="55"/>
                  </a:lnTo>
                  <a:lnTo>
                    <a:pt x="0" y="53"/>
                  </a:lnTo>
                  <a:lnTo>
                    <a:pt x="0" y="50"/>
                  </a:lnTo>
                  <a:lnTo>
                    <a:pt x="2" y="50"/>
                  </a:lnTo>
                  <a:lnTo>
                    <a:pt x="2" y="53"/>
                  </a:lnTo>
                  <a:lnTo>
                    <a:pt x="2" y="50"/>
                  </a:lnTo>
                  <a:lnTo>
                    <a:pt x="2" y="53"/>
                  </a:lnTo>
                  <a:lnTo>
                    <a:pt x="5" y="53"/>
                  </a:lnTo>
                  <a:lnTo>
                    <a:pt x="7" y="53"/>
                  </a:lnTo>
                  <a:lnTo>
                    <a:pt x="9" y="53"/>
                  </a:lnTo>
                  <a:lnTo>
                    <a:pt x="12" y="50"/>
                  </a:lnTo>
                  <a:lnTo>
                    <a:pt x="12" y="53"/>
                  </a:lnTo>
                  <a:lnTo>
                    <a:pt x="14" y="53"/>
                  </a:lnTo>
                  <a:lnTo>
                    <a:pt x="17" y="53"/>
                  </a:lnTo>
                  <a:lnTo>
                    <a:pt x="17" y="50"/>
                  </a:lnTo>
                  <a:lnTo>
                    <a:pt x="19" y="50"/>
                  </a:lnTo>
                  <a:lnTo>
                    <a:pt x="21" y="50"/>
                  </a:lnTo>
                  <a:lnTo>
                    <a:pt x="24" y="53"/>
                  </a:lnTo>
                  <a:lnTo>
                    <a:pt x="24" y="50"/>
                  </a:lnTo>
                  <a:lnTo>
                    <a:pt x="26" y="50"/>
                  </a:lnTo>
                  <a:lnTo>
                    <a:pt x="28" y="50"/>
                  </a:lnTo>
                  <a:lnTo>
                    <a:pt x="31" y="50"/>
                  </a:lnTo>
                  <a:lnTo>
                    <a:pt x="33" y="50"/>
                  </a:lnTo>
                  <a:lnTo>
                    <a:pt x="33" y="48"/>
                  </a:lnTo>
                  <a:lnTo>
                    <a:pt x="33" y="46"/>
                  </a:lnTo>
                  <a:lnTo>
                    <a:pt x="35" y="43"/>
                  </a:lnTo>
                  <a:lnTo>
                    <a:pt x="38" y="43"/>
                  </a:lnTo>
                  <a:lnTo>
                    <a:pt x="38" y="46"/>
                  </a:lnTo>
                  <a:lnTo>
                    <a:pt x="40" y="46"/>
                  </a:lnTo>
                  <a:lnTo>
                    <a:pt x="40" y="48"/>
                  </a:lnTo>
                  <a:lnTo>
                    <a:pt x="40" y="50"/>
                  </a:lnTo>
                  <a:lnTo>
                    <a:pt x="40" y="48"/>
                  </a:lnTo>
                  <a:lnTo>
                    <a:pt x="40" y="50"/>
                  </a:lnTo>
                  <a:lnTo>
                    <a:pt x="43" y="50"/>
                  </a:lnTo>
                  <a:lnTo>
                    <a:pt x="43" y="53"/>
                  </a:lnTo>
                  <a:lnTo>
                    <a:pt x="45" y="53"/>
                  </a:lnTo>
                  <a:lnTo>
                    <a:pt x="45" y="50"/>
                  </a:lnTo>
                  <a:lnTo>
                    <a:pt x="47" y="50"/>
                  </a:lnTo>
                  <a:lnTo>
                    <a:pt x="47" y="48"/>
                  </a:lnTo>
                  <a:lnTo>
                    <a:pt x="47" y="50"/>
                  </a:lnTo>
                  <a:lnTo>
                    <a:pt x="50" y="50"/>
                  </a:lnTo>
                  <a:lnTo>
                    <a:pt x="52" y="50"/>
                  </a:lnTo>
                  <a:lnTo>
                    <a:pt x="52" y="53"/>
                  </a:lnTo>
                  <a:lnTo>
                    <a:pt x="54" y="53"/>
                  </a:lnTo>
                  <a:lnTo>
                    <a:pt x="54" y="55"/>
                  </a:lnTo>
                  <a:lnTo>
                    <a:pt x="57" y="53"/>
                  </a:lnTo>
                  <a:lnTo>
                    <a:pt x="59" y="53"/>
                  </a:lnTo>
                  <a:lnTo>
                    <a:pt x="62" y="53"/>
                  </a:lnTo>
                  <a:lnTo>
                    <a:pt x="62" y="50"/>
                  </a:lnTo>
                  <a:lnTo>
                    <a:pt x="59" y="50"/>
                  </a:lnTo>
                  <a:lnTo>
                    <a:pt x="59" y="48"/>
                  </a:lnTo>
                  <a:lnTo>
                    <a:pt x="59" y="46"/>
                  </a:lnTo>
                  <a:lnTo>
                    <a:pt x="59" y="43"/>
                  </a:lnTo>
                  <a:lnTo>
                    <a:pt x="62" y="43"/>
                  </a:lnTo>
                  <a:lnTo>
                    <a:pt x="62" y="41"/>
                  </a:lnTo>
                  <a:lnTo>
                    <a:pt x="59" y="41"/>
                  </a:lnTo>
                  <a:lnTo>
                    <a:pt x="59" y="38"/>
                  </a:lnTo>
                  <a:lnTo>
                    <a:pt x="62" y="38"/>
                  </a:lnTo>
                  <a:lnTo>
                    <a:pt x="62" y="36"/>
                  </a:lnTo>
                  <a:lnTo>
                    <a:pt x="64" y="36"/>
                  </a:lnTo>
                  <a:lnTo>
                    <a:pt x="66" y="36"/>
                  </a:lnTo>
                  <a:lnTo>
                    <a:pt x="66" y="34"/>
                  </a:lnTo>
                  <a:lnTo>
                    <a:pt x="69" y="34"/>
                  </a:lnTo>
                  <a:lnTo>
                    <a:pt x="71" y="34"/>
                  </a:lnTo>
                  <a:lnTo>
                    <a:pt x="71" y="36"/>
                  </a:lnTo>
                  <a:lnTo>
                    <a:pt x="71" y="34"/>
                  </a:lnTo>
                  <a:lnTo>
                    <a:pt x="71" y="31"/>
                  </a:lnTo>
                  <a:lnTo>
                    <a:pt x="73" y="31"/>
                  </a:lnTo>
                  <a:lnTo>
                    <a:pt x="73" y="29"/>
                  </a:lnTo>
                  <a:lnTo>
                    <a:pt x="73" y="27"/>
                  </a:lnTo>
                  <a:lnTo>
                    <a:pt x="73" y="24"/>
                  </a:lnTo>
                  <a:lnTo>
                    <a:pt x="71" y="24"/>
                  </a:lnTo>
                  <a:lnTo>
                    <a:pt x="71" y="22"/>
                  </a:lnTo>
                  <a:lnTo>
                    <a:pt x="69" y="22"/>
                  </a:lnTo>
                  <a:lnTo>
                    <a:pt x="69" y="19"/>
                  </a:lnTo>
                  <a:lnTo>
                    <a:pt x="71" y="19"/>
                  </a:lnTo>
                  <a:lnTo>
                    <a:pt x="71" y="17"/>
                  </a:lnTo>
                  <a:lnTo>
                    <a:pt x="73" y="17"/>
                  </a:lnTo>
                  <a:lnTo>
                    <a:pt x="76" y="17"/>
                  </a:lnTo>
                  <a:lnTo>
                    <a:pt x="76" y="15"/>
                  </a:lnTo>
                  <a:lnTo>
                    <a:pt x="78" y="15"/>
                  </a:lnTo>
                  <a:lnTo>
                    <a:pt x="81" y="12"/>
                  </a:lnTo>
                  <a:lnTo>
                    <a:pt x="83" y="12"/>
                  </a:lnTo>
                  <a:lnTo>
                    <a:pt x="83" y="10"/>
                  </a:lnTo>
                  <a:lnTo>
                    <a:pt x="85" y="10"/>
                  </a:lnTo>
                  <a:lnTo>
                    <a:pt x="85" y="8"/>
                  </a:lnTo>
                  <a:lnTo>
                    <a:pt x="88" y="8"/>
                  </a:lnTo>
                  <a:lnTo>
                    <a:pt x="90" y="8"/>
                  </a:lnTo>
                  <a:lnTo>
                    <a:pt x="92" y="8"/>
                  </a:lnTo>
                  <a:lnTo>
                    <a:pt x="92" y="5"/>
                  </a:lnTo>
                  <a:lnTo>
                    <a:pt x="90" y="5"/>
                  </a:lnTo>
                  <a:lnTo>
                    <a:pt x="92" y="3"/>
                  </a:lnTo>
                  <a:lnTo>
                    <a:pt x="95" y="3"/>
                  </a:lnTo>
                  <a:lnTo>
                    <a:pt x="95" y="0"/>
                  </a:lnTo>
                  <a:lnTo>
                    <a:pt x="95"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1" name="Freeform 50284"/>
            <p:cNvSpPr>
              <a:spLocks noEditPoints="1"/>
            </p:cNvSpPr>
            <p:nvPr/>
          </p:nvSpPr>
          <p:spPr bwMode="auto">
            <a:xfrm>
              <a:off x="2744786" y="5059380"/>
              <a:ext cx="225425" cy="188913"/>
            </a:xfrm>
            <a:custGeom>
              <a:avLst/>
              <a:gdLst>
                <a:gd name="T0" fmla="*/ 138 w 142"/>
                <a:gd name="T1" fmla="*/ 117 h 119"/>
                <a:gd name="T2" fmla="*/ 107 w 142"/>
                <a:gd name="T3" fmla="*/ 114 h 119"/>
                <a:gd name="T4" fmla="*/ 102 w 142"/>
                <a:gd name="T5" fmla="*/ 117 h 119"/>
                <a:gd name="T6" fmla="*/ 109 w 142"/>
                <a:gd name="T7" fmla="*/ 114 h 119"/>
                <a:gd name="T8" fmla="*/ 133 w 142"/>
                <a:gd name="T9" fmla="*/ 117 h 119"/>
                <a:gd name="T10" fmla="*/ 119 w 142"/>
                <a:gd name="T11" fmla="*/ 114 h 119"/>
                <a:gd name="T12" fmla="*/ 107 w 142"/>
                <a:gd name="T13" fmla="*/ 105 h 119"/>
                <a:gd name="T14" fmla="*/ 114 w 142"/>
                <a:gd name="T15" fmla="*/ 109 h 119"/>
                <a:gd name="T16" fmla="*/ 100 w 142"/>
                <a:gd name="T17" fmla="*/ 109 h 119"/>
                <a:gd name="T18" fmla="*/ 76 w 142"/>
                <a:gd name="T19" fmla="*/ 107 h 119"/>
                <a:gd name="T20" fmla="*/ 83 w 142"/>
                <a:gd name="T21" fmla="*/ 100 h 119"/>
                <a:gd name="T22" fmla="*/ 81 w 142"/>
                <a:gd name="T23" fmla="*/ 105 h 119"/>
                <a:gd name="T24" fmla="*/ 97 w 142"/>
                <a:gd name="T25" fmla="*/ 100 h 119"/>
                <a:gd name="T26" fmla="*/ 95 w 142"/>
                <a:gd name="T27" fmla="*/ 95 h 119"/>
                <a:gd name="T28" fmla="*/ 109 w 142"/>
                <a:gd name="T29" fmla="*/ 98 h 119"/>
                <a:gd name="T30" fmla="*/ 97 w 142"/>
                <a:gd name="T31" fmla="*/ 100 h 119"/>
                <a:gd name="T32" fmla="*/ 93 w 142"/>
                <a:gd name="T33" fmla="*/ 93 h 119"/>
                <a:gd name="T34" fmla="*/ 93 w 142"/>
                <a:gd name="T35" fmla="*/ 86 h 119"/>
                <a:gd name="T36" fmla="*/ 104 w 142"/>
                <a:gd name="T37" fmla="*/ 90 h 119"/>
                <a:gd name="T38" fmla="*/ 88 w 142"/>
                <a:gd name="T39" fmla="*/ 90 h 119"/>
                <a:gd name="T40" fmla="*/ 88 w 142"/>
                <a:gd name="T41" fmla="*/ 88 h 119"/>
                <a:gd name="T42" fmla="*/ 81 w 142"/>
                <a:gd name="T43" fmla="*/ 86 h 119"/>
                <a:gd name="T44" fmla="*/ 66 w 142"/>
                <a:gd name="T45" fmla="*/ 76 h 119"/>
                <a:gd name="T46" fmla="*/ 66 w 142"/>
                <a:gd name="T47" fmla="*/ 74 h 119"/>
                <a:gd name="T48" fmla="*/ 64 w 142"/>
                <a:gd name="T49" fmla="*/ 74 h 119"/>
                <a:gd name="T50" fmla="*/ 69 w 142"/>
                <a:gd name="T51" fmla="*/ 71 h 119"/>
                <a:gd name="T52" fmla="*/ 66 w 142"/>
                <a:gd name="T53" fmla="*/ 71 h 119"/>
                <a:gd name="T54" fmla="*/ 62 w 142"/>
                <a:gd name="T55" fmla="*/ 64 h 119"/>
                <a:gd name="T56" fmla="*/ 55 w 142"/>
                <a:gd name="T57" fmla="*/ 64 h 119"/>
                <a:gd name="T58" fmla="*/ 50 w 142"/>
                <a:gd name="T59" fmla="*/ 62 h 119"/>
                <a:gd name="T60" fmla="*/ 45 w 142"/>
                <a:gd name="T61" fmla="*/ 57 h 119"/>
                <a:gd name="T62" fmla="*/ 50 w 142"/>
                <a:gd name="T63" fmla="*/ 57 h 119"/>
                <a:gd name="T64" fmla="*/ 52 w 142"/>
                <a:gd name="T65" fmla="*/ 57 h 119"/>
                <a:gd name="T66" fmla="*/ 43 w 142"/>
                <a:gd name="T67" fmla="*/ 50 h 119"/>
                <a:gd name="T68" fmla="*/ 40 w 142"/>
                <a:gd name="T69" fmla="*/ 52 h 119"/>
                <a:gd name="T70" fmla="*/ 50 w 142"/>
                <a:gd name="T71" fmla="*/ 64 h 119"/>
                <a:gd name="T72" fmla="*/ 50 w 142"/>
                <a:gd name="T73" fmla="*/ 64 h 119"/>
                <a:gd name="T74" fmla="*/ 43 w 142"/>
                <a:gd name="T75" fmla="*/ 57 h 119"/>
                <a:gd name="T76" fmla="*/ 38 w 142"/>
                <a:gd name="T77" fmla="*/ 50 h 119"/>
                <a:gd name="T78" fmla="*/ 43 w 142"/>
                <a:gd name="T79" fmla="*/ 50 h 119"/>
                <a:gd name="T80" fmla="*/ 38 w 142"/>
                <a:gd name="T81" fmla="*/ 48 h 119"/>
                <a:gd name="T82" fmla="*/ 33 w 142"/>
                <a:gd name="T83" fmla="*/ 45 h 119"/>
                <a:gd name="T84" fmla="*/ 28 w 142"/>
                <a:gd name="T85" fmla="*/ 43 h 119"/>
                <a:gd name="T86" fmla="*/ 36 w 142"/>
                <a:gd name="T87" fmla="*/ 38 h 119"/>
                <a:gd name="T88" fmla="*/ 40 w 142"/>
                <a:gd name="T89" fmla="*/ 38 h 119"/>
                <a:gd name="T90" fmla="*/ 19 w 142"/>
                <a:gd name="T91" fmla="*/ 33 h 119"/>
                <a:gd name="T92" fmla="*/ 19 w 142"/>
                <a:gd name="T93" fmla="*/ 26 h 119"/>
                <a:gd name="T94" fmla="*/ 40 w 142"/>
                <a:gd name="T95" fmla="*/ 31 h 119"/>
                <a:gd name="T96" fmla="*/ 45 w 142"/>
                <a:gd name="T97" fmla="*/ 38 h 119"/>
                <a:gd name="T98" fmla="*/ 50 w 142"/>
                <a:gd name="T99" fmla="*/ 43 h 119"/>
                <a:gd name="T100" fmla="*/ 43 w 142"/>
                <a:gd name="T101" fmla="*/ 38 h 119"/>
                <a:gd name="T102" fmla="*/ 36 w 142"/>
                <a:gd name="T103" fmla="*/ 29 h 119"/>
                <a:gd name="T104" fmla="*/ 36 w 142"/>
                <a:gd name="T105" fmla="*/ 19 h 119"/>
                <a:gd name="T106" fmla="*/ 38 w 142"/>
                <a:gd name="T107" fmla="*/ 26 h 119"/>
                <a:gd name="T108" fmla="*/ 31 w 142"/>
                <a:gd name="T109" fmla="*/ 19 h 119"/>
                <a:gd name="T110" fmla="*/ 0 w 142"/>
                <a:gd name="T111" fmla="*/ 17 h 119"/>
                <a:gd name="T112" fmla="*/ 2 w 142"/>
                <a:gd name="T113" fmla="*/ 14 h 119"/>
                <a:gd name="T114" fmla="*/ 28 w 142"/>
                <a:gd name="T115" fmla="*/ 3 h 119"/>
                <a:gd name="T116" fmla="*/ 36 w 142"/>
                <a:gd name="T117" fmla="*/ 12 h 119"/>
                <a:gd name="T118" fmla="*/ 31 w 142"/>
                <a:gd name="T119" fmla="*/ 10 h 119"/>
                <a:gd name="T120" fmla="*/ 24 w 142"/>
                <a:gd name="T121" fmla="*/ 10 h 119"/>
                <a:gd name="T122" fmla="*/ 26 w 142"/>
                <a:gd name="T123" fmla="*/ 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19">
                  <a:moveTo>
                    <a:pt x="142" y="119"/>
                  </a:moveTo>
                  <a:lnTo>
                    <a:pt x="140" y="119"/>
                  </a:lnTo>
                  <a:lnTo>
                    <a:pt x="142" y="119"/>
                  </a:lnTo>
                  <a:close/>
                  <a:moveTo>
                    <a:pt x="135" y="117"/>
                  </a:moveTo>
                  <a:lnTo>
                    <a:pt x="138" y="117"/>
                  </a:lnTo>
                  <a:lnTo>
                    <a:pt x="140" y="117"/>
                  </a:lnTo>
                  <a:lnTo>
                    <a:pt x="138" y="117"/>
                  </a:lnTo>
                  <a:lnTo>
                    <a:pt x="138" y="119"/>
                  </a:lnTo>
                  <a:lnTo>
                    <a:pt x="138" y="117"/>
                  </a:lnTo>
                  <a:lnTo>
                    <a:pt x="135" y="117"/>
                  </a:lnTo>
                  <a:lnTo>
                    <a:pt x="138" y="117"/>
                  </a:lnTo>
                  <a:lnTo>
                    <a:pt x="135" y="117"/>
                  </a:lnTo>
                  <a:close/>
                  <a:moveTo>
                    <a:pt x="107" y="117"/>
                  </a:moveTo>
                  <a:lnTo>
                    <a:pt x="107" y="114"/>
                  </a:lnTo>
                  <a:lnTo>
                    <a:pt x="107" y="117"/>
                  </a:lnTo>
                  <a:close/>
                  <a:moveTo>
                    <a:pt x="135" y="114"/>
                  </a:moveTo>
                  <a:lnTo>
                    <a:pt x="135" y="117"/>
                  </a:lnTo>
                  <a:lnTo>
                    <a:pt x="133" y="117"/>
                  </a:lnTo>
                  <a:lnTo>
                    <a:pt x="133" y="114"/>
                  </a:lnTo>
                  <a:lnTo>
                    <a:pt x="135" y="114"/>
                  </a:lnTo>
                  <a:close/>
                  <a:moveTo>
                    <a:pt x="109" y="114"/>
                  </a:moveTo>
                  <a:lnTo>
                    <a:pt x="107" y="114"/>
                  </a:lnTo>
                  <a:lnTo>
                    <a:pt x="109" y="114"/>
                  </a:lnTo>
                  <a:close/>
                  <a:moveTo>
                    <a:pt x="93" y="114"/>
                  </a:moveTo>
                  <a:lnTo>
                    <a:pt x="93" y="117"/>
                  </a:lnTo>
                  <a:lnTo>
                    <a:pt x="93" y="114"/>
                  </a:lnTo>
                  <a:lnTo>
                    <a:pt x="93" y="117"/>
                  </a:lnTo>
                  <a:lnTo>
                    <a:pt x="93" y="114"/>
                  </a:lnTo>
                  <a:close/>
                  <a:moveTo>
                    <a:pt x="104" y="114"/>
                  </a:moveTo>
                  <a:lnTo>
                    <a:pt x="107" y="114"/>
                  </a:lnTo>
                  <a:lnTo>
                    <a:pt x="107" y="117"/>
                  </a:lnTo>
                  <a:lnTo>
                    <a:pt x="104" y="117"/>
                  </a:lnTo>
                  <a:lnTo>
                    <a:pt x="102" y="117"/>
                  </a:lnTo>
                  <a:lnTo>
                    <a:pt x="102" y="114"/>
                  </a:lnTo>
                  <a:lnTo>
                    <a:pt x="102" y="117"/>
                  </a:lnTo>
                  <a:lnTo>
                    <a:pt x="102" y="114"/>
                  </a:lnTo>
                  <a:lnTo>
                    <a:pt x="104" y="114"/>
                  </a:lnTo>
                  <a:close/>
                  <a:moveTo>
                    <a:pt x="102" y="114"/>
                  </a:moveTo>
                  <a:lnTo>
                    <a:pt x="102" y="117"/>
                  </a:lnTo>
                  <a:lnTo>
                    <a:pt x="102" y="114"/>
                  </a:lnTo>
                  <a:lnTo>
                    <a:pt x="102" y="117"/>
                  </a:lnTo>
                  <a:lnTo>
                    <a:pt x="102" y="114"/>
                  </a:lnTo>
                  <a:close/>
                  <a:moveTo>
                    <a:pt x="107" y="114"/>
                  </a:moveTo>
                  <a:lnTo>
                    <a:pt x="109" y="114"/>
                  </a:lnTo>
                  <a:lnTo>
                    <a:pt x="107" y="114"/>
                  </a:lnTo>
                  <a:close/>
                  <a:moveTo>
                    <a:pt x="121" y="114"/>
                  </a:moveTo>
                  <a:lnTo>
                    <a:pt x="123" y="114"/>
                  </a:lnTo>
                  <a:lnTo>
                    <a:pt x="121" y="114"/>
                  </a:lnTo>
                  <a:close/>
                  <a:moveTo>
                    <a:pt x="121" y="114"/>
                  </a:moveTo>
                  <a:lnTo>
                    <a:pt x="123" y="114"/>
                  </a:lnTo>
                  <a:lnTo>
                    <a:pt x="126" y="114"/>
                  </a:lnTo>
                  <a:lnTo>
                    <a:pt x="126" y="117"/>
                  </a:lnTo>
                  <a:lnTo>
                    <a:pt x="128" y="117"/>
                  </a:lnTo>
                  <a:lnTo>
                    <a:pt x="131" y="117"/>
                  </a:lnTo>
                  <a:lnTo>
                    <a:pt x="133" y="117"/>
                  </a:lnTo>
                  <a:lnTo>
                    <a:pt x="133" y="119"/>
                  </a:lnTo>
                  <a:lnTo>
                    <a:pt x="131" y="119"/>
                  </a:lnTo>
                  <a:lnTo>
                    <a:pt x="131" y="117"/>
                  </a:lnTo>
                  <a:lnTo>
                    <a:pt x="128" y="117"/>
                  </a:lnTo>
                  <a:lnTo>
                    <a:pt x="126" y="117"/>
                  </a:lnTo>
                  <a:lnTo>
                    <a:pt x="123" y="117"/>
                  </a:lnTo>
                  <a:lnTo>
                    <a:pt x="121" y="117"/>
                  </a:lnTo>
                  <a:lnTo>
                    <a:pt x="121" y="114"/>
                  </a:lnTo>
                  <a:lnTo>
                    <a:pt x="121" y="117"/>
                  </a:lnTo>
                  <a:lnTo>
                    <a:pt x="121" y="114"/>
                  </a:lnTo>
                  <a:lnTo>
                    <a:pt x="119" y="114"/>
                  </a:lnTo>
                  <a:lnTo>
                    <a:pt x="121" y="114"/>
                  </a:lnTo>
                  <a:close/>
                  <a:moveTo>
                    <a:pt x="97" y="105"/>
                  </a:moveTo>
                  <a:lnTo>
                    <a:pt x="100" y="105"/>
                  </a:lnTo>
                  <a:lnTo>
                    <a:pt x="102" y="105"/>
                  </a:lnTo>
                  <a:lnTo>
                    <a:pt x="102" y="107"/>
                  </a:lnTo>
                  <a:lnTo>
                    <a:pt x="102" y="105"/>
                  </a:lnTo>
                  <a:lnTo>
                    <a:pt x="102" y="107"/>
                  </a:lnTo>
                  <a:lnTo>
                    <a:pt x="104" y="107"/>
                  </a:lnTo>
                  <a:lnTo>
                    <a:pt x="107" y="107"/>
                  </a:lnTo>
                  <a:lnTo>
                    <a:pt x="104" y="105"/>
                  </a:lnTo>
                  <a:lnTo>
                    <a:pt x="107" y="105"/>
                  </a:lnTo>
                  <a:lnTo>
                    <a:pt x="107" y="107"/>
                  </a:lnTo>
                  <a:lnTo>
                    <a:pt x="107" y="105"/>
                  </a:lnTo>
                  <a:lnTo>
                    <a:pt x="109" y="105"/>
                  </a:lnTo>
                  <a:lnTo>
                    <a:pt x="112" y="105"/>
                  </a:lnTo>
                  <a:lnTo>
                    <a:pt x="112" y="107"/>
                  </a:lnTo>
                  <a:lnTo>
                    <a:pt x="112" y="105"/>
                  </a:lnTo>
                  <a:lnTo>
                    <a:pt x="112" y="107"/>
                  </a:lnTo>
                  <a:lnTo>
                    <a:pt x="114" y="107"/>
                  </a:lnTo>
                  <a:lnTo>
                    <a:pt x="116" y="107"/>
                  </a:lnTo>
                  <a:lnTo>
                    <a:pt x="116" y="109"/>
                  </a:lnTo>
                  <a:lnTo>
                    <a:pt x="114" y="109"/>
                  </a:lnTo>
                  <a:lnTo>
                    <a:pt x="114" y="107"/>
                  </a:lnTo>
                  <a:lnTo>
                    <a:pt x="114" y="109"/>
                  </a:lnTo>
                  <a:lnTo>
                    <a:pt x="112" y="109"/>
                  </a:lnTo>
                  <a:lnTo>
                    <a:pt x="109" y="107"/>
                  </a:lnTo>
                  <a:lnTo>
                    <a:pt x="107" y="107"/>
                  </a:lnTo>
                  <a:lnTo>
                    <a:pt x="107" y="109"/>
                  </a:lnTo>
                  <a:lnTo>
                    <a:pt x="104" y="109"/>
                  </a:lnTo>
                  <a:lnTo>
                    <a:pt x="102" y="109"/>
                  </a:lnTo>
                  <a:lnTo>
                    <a:pt x="100" y="109"/>
                  </a:lnTo>
                  <a:lnTo>
                    <a:pt x="100" y="107"/>
                  </a:lnTo>
                  <a:lnTo>
                    <a:pt x="100" y="109"/>
                  </a:lnTo>
                  <a:lnTo>
                    <a:pt x="100" y="107"/>
                  </a:lnTo>
                  <a:lnTo>
                    <a:pt x="97" y="107"/>
                  </a:lnTo>
                  <a:lnTo>
                    <a:pt x="97" y="109"/>
                  </a:lnTo>
                  <a:lnTo>
                    <a:pt x="97" y="107"/>
                  </a:lnTo>
                  <a:lnTo>
                    <a:pt x="100" y="107"/>
                  </a:lnTo>
                  <a:lnTo>
                    <a:pt x="97" y="107"/>
                  </a:lnTo>
                  <a:lnTo>
                    <a:pt x="97" y="105"/>
                  </a:lnTo>
                  <a:lnTo>
                    <a:pt x="97" y="107"/>
                  </a:lnTo>
                  <a:lnTo>
                    <a:pt x="97" y="105"/>
                  </a:lnTo>
                  <a:close/>
                  <a:moveTo>
                    <a:pt x="76" y="105"/>
                  </a:moveTo>
                  <a:lnTo>
                    <a:pt x="76" y="107"/>
                  </a:lnTo>
                  <a:lnTo>
                    <a:pt x="76" y="105"/>
                  </a:lnTo>
                  <a:close/>
                  <a:moveTo>
                    <a:pt x="69" y="102"/>
                  </a:moveTo>
                  <a:lnTo>
                    <a:pt x="66" y="105"/>
                  </a:lnTo>
                  <a:lnTo>
                    <a:pt x="66" y="102"/>
                  </a:lnTo>
                  <a:lnTo>
                    <a:pt x="69" y="102"/>
                  </a:lnTo>
                  <a:close/>
                  <a:moveTo>
                    <a:pt x="81" y="100"/>
                  </a:moveTo>
                  <a:lnTo>
                    <a:pt x="83" y="100"/>
                  </a:lnTo>
                  <a:lnTo>
                    <a:pt x="83" y="102"/>
                  </a:lnTo>
                  <a:lnTo>
                    <a:pt x="81" y="102"/>
                  </a:lnTo>
                  <a:lnTo>
                    <a:pt x="83" y="102"/>
                  </a:lnTo>
                  <a:lnTo>
                    <a:pt x="83" y="100"/>
                  </a:lnTo>
                  <a:lnTo>
                    <a:pt x="83" y="102"/>
                  </a:lnTo>
                  <a:lnTo>
                    <a:pt x="83" y="100"/>
                  </a:lnTo>
                  <a:lnTo>
                    <a:pt x="83" y="102"/>
                  </a:lnTo>
                  <a:lnTo>
                    <a:pt x="83" y="100"/>
                  </a:lnTo>
                  <a:lnTo>
                    <a:pt x="83" y="102"/>
                  </a:lnTo>
                  <a:lnTo>
                    <a:pt x="83" y="105"/>
                  </a:lnTo>
                  <a:lnTo>
                    <a:pt x="83" y="102"/>
                  </a:lnTo>
                  <a:lnTo>
                    <a:pt x="83" y="105"/>
                  </a:lnTo>
                  <a:lnTo>
                    <a:pt x="83" y="102"/>
                  </a:lnTo>
                  <a:lnTo>
                    <a:pt x="83" y="105"/>
                  </a:lnTo>
                  <a:lnTo>
                    <a:pt x="81" y="105"/>
                  </a:lnTo>
                  <a:lnTo>
                    <a:pt x="81" y="102"/>
                  </a:lnTo>
                  <a:lnTo>
                    <a:pt x="81" y="105"/>
                  </a:lnTo>
                  <a:lnTo>
                    <a:pt x="78" y="105"/>
                  </a:lnTo>
                  <a:lnTo>
                    <a:pt x="78" y="102"/>
                  </a:lnTo>
                  <a:lnTo>
                    <a:pt x="78" y="100"/>
                  </a:lnTo>
                  <a:lnTo>
                    <a:pt x="78" y="102"/>
                  </a:lnTo>
                  <a:lnTo>
                    <a:pt x="78" y="100"/>
                  </a:lnTo>
                  <a:lnTo>
                    <a:pt x="81" y="100"/>
                  </a:lnTo>
                  <a:close/>
                  <a:moveTo>
                    <a:pt x="97" y="100"/>
                  </a:moveTo>
                  <a:lnTo>
                    <a:pt x="100" y="100"/>
                  </a:lnTo>
                  <a:lnTo>
                    <a:pt x="97" y="100"/>
                  </a:lnTo>
                  <a:close/>
                  <a:moveTo>
                    <a:pt x="88" y="98"/>
                  </a:moveTo>
                  <a:lnTo>
                    <a:pt x="85" y="98"/>
                  </a:lnTo>
                  <a:lnTo>
                    <a:pt x="88" y="98"/>
                  </a:lnTo>
                  <a:lnTo>
                    <a:pt x="88" y="95"/>
                  </a:lnTo>
                  <a:lnTo>
                    <a:pt x="88" y="98"/>
                  </a:lnTo>
                  <a:lnTo>
                    <a:pt x="88" y="95"/>
                  </a:lnTo>
                  <a:lnTo>
                    <a:pt x="88" y="98"/>
                  </a:lnTo>
                  <a:lnTo>
                    <a:pt x="88" y="95"/>
                  </a:lnTo>
                  <a:lnTo>
                    <a:pt x="88" y="98"/>
                  </a:lnTo>
                  <a:close/>
                  <a:moveTo>
                    <a:pt x="95" y="93"/>
                  </a:moveTo>
                  <a:lnTo>
                    <a:pt x="95" y="95"/>
                  </a:lnTo>
                  <a:lnTo>
                    <a:pt x="97" y="95"/>
                  </a:lnTo>
                  <a:lnTo>
                    <a:pt x="100" y="95"/>
                  </a:lnTo>
                  <a:lnTo>
                    <a:pt x="97" y="95"/>
                  </a:lnTo>
                  <a:lnTo>
                    <a:pt x="97" y="98"/>
                  </a:lnTo>
                  <a:lnTo>
                    <a:pt x="100" y="98"/>
                  </a:lnTo>
                  <a:lnTo>
                    <a:pt x="97" y="98"/>
                  </a:lnTo>
                  <a:lnTo>
                    <a:pt x="100" y="98"/>
                  </a:lnTo>
                  <a:lnTo>
                    <a:pt x="102" y="98"/>
                  </a:lnTo>
                  <a:lnTo>
                    <a:pt x="104" y="98"/>
                  </a:lnTo>
                  <a:lnTo>
                    <a:pt x="107" y="98"/>
                  </a:lnTo>
                  <a:lnTo>
                    <a:pt x="109" y="98"/>
                  </a:lnTo>
                  <a:lnTo>
                    <a:pt x="112" y="98"/>
                  </a:lnTo>
                  <a:lnTo>
                    <a:pt x="114" y="98"/>
                  </a:lnTo>
                  <a:lnTo>
                    <a:pt x="114" y="100"/>
                  </a:lnTo>
                  <a:lnTo>
                    <a:pt x="112" y="100"/>
                  </a:lnTo>
                  <a:lnTo>
                    <a:pt x="109" y="100"/>
                  </a:lnTo>
                  <a:lnTo>
                    <a:pt x="107" y="100"/>
                  </a:lnTo>
                  <a:lnTo>
                    <a:pt x="104" y="100"/>
                  </a:lnTo>
                  <a:lnTo>
                    <a:pt x="102" y="100"/>
                  </a:lnTo>
                  <a:lnTo>
                    <a:pt x="102" y="98"/>
                  </a:lnTo>
                  <a:lnTo>
                    <a:pt x="100" y="98"/>
                  </a:lnTo>
                  <a:lnTo>
                    <a:pt x="97" y="100"/>
                  </a:lnTo>
                  <a:lnTo>
                    <a:pt x="97" y="98"/>
                  </a:lnTo>
                  <a:lnTo>
                    <a:pt x="95" y="98"/>
                  </a:lnTo>
                  <a:lnTo>
                    <a:pt x="93" y="98"/>
                  </a:lnTo>
                  <a:lnTo>
                    <a:pt x="90" y="98"/>
                  </a:lnTo>
                  <a:lnTo>
                    <a:pt x="90" y="95"/>
                  </a:lnTo>
                  <a:lnTo>
                    <a:pt x="88" y="95"/>
                  </a:lnTo>
                  <a:lnTo>
                    <a:pt x="90" y="95"/>
                  </a:lnTo>
                  <a:lnTo>
                    <a:pt x="93" y="95"/>
                  </a:lnTo>
                  <a:lnTo>
                    <a:pt x="95" y="95"/>
                  </a:lnTo>
                  <a:lnTo>
                    <a:pt x="93" y="95"/>
                  </a:lnTo>
                  <a:lnTo>
                    <a:pt x="93" y="93"/>
                  </a:lnTo>
                  <a:lnTo>
                    <a:pt x="93" y="95"/>
                  </a:lnTo>
                  <a:lnTo>
                    <a:pt x="93" y="93"/>
                  </a:lnTo>
                  <a:lnTo>
                    <a:pt x="93" y="95"/>
                  </a:lnTo>
                  <a:lnTo>
                    <a:pt x="93" y="93"/>
                  </a:lnTo>
                  <a:lnTo>
                    <a:pt x="93" y="95"/>
                  </a:lnTo>
                  <a:lnTo>
                    <a:pt x="93" y="93"/>
                  </a:lnTo>
                  <a:lnTo>
                    <a:pt x="93" y="95"/>
                  </a:lnTo>
                  <a:lnTo>
                    <a:pt x="93" y="93"/>
                  </a:lnTo>
                  <a:lnTo>
                    <a:pt x="95" y="93"/>
                  </a:lnTo>
                  <a:close/>
                  <a:moveTo>
                    <a:pt x="90" y="86"/>
                  </a:moveTo>
                  <a:lnTo>
                    <a:pt x="93" y="86"/>
                  </a:lnTo>
                  <a:lnTo>
                    <a:pt x="95" y="86"/>
                  </a:lnTo>
                  <a:lnTo>
                    <a:pt x="95" y="88"/>
                  </a:lnTo>
                  <a:lnTo>
                    <a:pt x="95" y="86"/>
                  </a:lnTo>
                  <a:lnTo>
                    <a:pt x="95" y="88"/>
                  </a:lnTo>
                  <a:lnTo>
                    <a:pt x="95" y="86"/>
                  </a:lnTo>
                  <a:lnTo>
                    <a:pt x="95" y="88"/>
                  </a:lnTo>
                  <a:lnTo>
                    <a:pt x="97" y="88"/>
                  </a:lnTo>
                  <a:lnTo>
                    <a:pt x="100" y="88"/>
                  </a:lnTo>
                  <a:lnTo>
                    <a:pt x="102" y="88"/>
                  </a:lnTo>
                  <a:lnTo>
                    <a:pt x="104" y="88"/>
                  </a:lnTo>
                  <a:lnTo>
                    <a:pt x="104" y="90"/>
                  </a:lnTo>
                  <a:lnTo>
                    <a:pt x="104" y="93"/>
                  </a:lnTo>
                  <a:lnTo>
                    <a:pt x="102" y="93"/>
                  </a:lnTo>
                  <a:lnTo>
                    <a:pt x="100" y="93"/>
                  </a:lnTo>
                  <a:lnTo>
                    <a:pt x="97" y="93"/>
                  </a:lnTo>
                  <a:lnTo>
                    <a:pt x="95" y="93"/>
                  </a:lnTo>
                  <a:lnTo>
                    <a:pt x="93" y="93"/>
                  </a:lnTo>
                  <a:lnTo>
                    <a:pt x="93" y="90"/>
                  </a:lnTo>
                  <a:lnTo>
                    <a:pt x="93" y="93"/>
                  </a:lnTo>
                  <a:lnTo>
                    <a:pt x="93" y="90"/>
                  </a:lnTo>
                  <a:lnTo>
                    <a:pt x="90" y="90"/>
                  </a:lnTo>
                  <a:lnTo>
                    <a:pt x="88" y="90"/>
                  </a:lnTo>
                  <a:lnTo>
                    <a:pt x="90" y="90"/>
                  </a:lnTo>
                  <a:lnTo>
                    <a:pt x="90" y="88"/>
                  </a:lnTo>
                  <a:lnTo>
                    <a:pt x="90" y="90"/>
                  </a:lnTo>
                  <a:lnTo>
                    <a:pt x="90" y="88"/>
                  </a:lnTo>
                  <a:lnTo>
                    <a:pt x="90" y="86"/>
                  </a:lnTo>
                  <a:close/>
                  <a:moveTo>
                    <a:pt x="83" y="86"/>
                  </a:moveTo>
                  <a:lnTo>
                    <a:pt x="85" y="86"/>
                  </a:lnTo>
                  <a:lnTo>
                    <a:pt x="88" y="86"/>
                  </a:lnTo>
                  <a:lnTo>
                    <a:pt x="88" y="88"/>
                  </a:lnTo>
                  <a:lnTo>
                    <a:pt x="88" y="90"/>
                  </a:lnTo>
                  <a:lnTo>
                    <a:pt x="88" y="88"/>
                  </a:lnTo>
                  <a:lnTo>
                    <a:pt x="88" y="90"/>
                  </a:lnTo>
                  <a:lnTo>
                    <a:pt x="88" y="88"/>
                  </a:lnTo>
                  <a:lnTo>
                    <a:pt x="88" y="90"/>
                  </a:lnTo>
                  <a:lnTo>
                    <a:pt x="88" y="88"/>
                  </a:lnTo>
                  <a:lnTo>
                    <a:pt x="85" y="88"/>
                  </a:lnTo>
                  <a:lnTo>
                    <a:pt x="83" y="88"/>
                  </a:lnTo>
                  <a:lnTo>
                    <a:pt x="83" y="86"/>
                  </a:lnTo>
                  <a:lnTo>
                    <a:pt x="83" y="88"/>
                  </a:lnTo>
                  <a:lnTo>
                    <a:pt x="83" y="86"/>
                  </a:lnTo>
                  <a:close/>
                  <a:moveTo>
                    <a:pt x="81" y="83"/>
                  </a:moveTo>
                  <a:lnTo>
                    <a:pt x="81" y="86"/>
                  </a:lnTo>
                  <a:lnTo>
                    <a:pt x="81" y="83"/>
                  </a:lnTo>
                  <a:lnTo>
                    <a:pt x="81" y="86"/>
                  </a:lnTo>
                  <a:lnTo>
                    <a:pt x="78" y="86"/>
                  </a:lnTo>
                  <a:lnTo>
                    <a:pt x="78" y="83"/>
                  </a:lnTo>
                  <a:lnTo>
                    <a:pt x="81" y="83"/>
                  </a:lnTo>
                  <a:close/>
                  <a:moveTo>
                    <a:pt x="62" y="74"/>
                  </a:moveTo>
                  <a:lnTo>
                    <a:pt x="64" y="74"/>
                  </a:lnTo>
                  <a:lnTo>
                    <a:pt x="66" y="74"/>
                  </a:lnTo>
                  <a:lnTo>
                    <a:pt x="66" y="76"/>
                  </a:lnTo>
                  <a:lnTo>
                    <a:pt x="64" y="76"/>
                  </a:lnTo>
                  <a:lnTo>
                    <a:pt x="66" y="76"/>
                  </a:lnTo>
                  <a:lnTo>
                    <a:pt x="64" y="76"/>
                  </a:lnTo>
                  <a:lnTo>
                    <a:pt x="64" y="74"/>
                  </a:lnTo>
                  <a:lnTo>
                    <a:pt x="62" y="74"/>
                  </a:lnTo>
                  <a:close/>
                  <a:moveTo>
                    <a:pt x="57" y="71"/>
                  </a:moveTo>
                  <a:lnTo>
                    <a:pt x="59" y="71"/>
                  </a:lnTo>
                  <a:lnTo>
                    <a:pt x="57" y="74"/>
                  </a:lnTo>
                  <a:lnTo>
                    <a:pt x="57" y="71"/>
                  </a:lnTo>
                  <a:close/>
                  <a:moveTo>
                    <a:pt x="66" y="71"/>
                  </a:moveTo>
                  <a:lnTo>
                    <a:pt x="69" y="71"/>
                  </a:lnTo>
                  <a:lnTo>
                    <a:pt x="69" y="74"/>
                  </a:lnTo>
                  <a:lnTo>
                    <a:pt x="66" y="74"/>
                  </a:lnTo>
                  <a:lnTo>
                    <a:pt x="66" y="71"/>
                  </a:lnTo>
                  <a:lnTo>
                    <a:pt x="66" y="74"/>
                  </a:lnTo>
                  <a:lnTo>
                    <a:pt x="66" y="71"/>
                  </a:lnTo>
                  <a:close/>
                  <a:moveTo>
                    <a:pt x="71" y="71"/>
                  </a:moveTo>
                  <a:lnTo>
                    <a:pt x="71" y="74"/>
                  </a:lnTo>
                  <a:lnTo>
                    <a:pt x="69" y="71"/>
                  </a:lnTo>
                  <a:lnTo>
                    <a:pt x="71" y="71"/>
                  </a:lnTo>
                  <a:close/>
                  <a:moveTo>
                    <a:pt x="64" y="71"/>
                  </a:moveTo>
                  <a:lnTo>
                    <a:pt x="64" y="74"/>
                  </a:lnTo>
                  <a:lnTo>
                    <a:pt x="66" y="74"/>
                  </a:lnTo>
                  <a:lnTo>
                    <a:pt x="64" y="74"/>
                  </a:lnTo>
                  <a:lnTo>
                    <a:pt x="64" y="71"/>
                  </a:lnTo>
                  <a:close/>
                  <a:moveTo>
                    <a:pt x="59" y="71"/>
                  </a:moveTo>
                  <a:lnTo>
                    <a:pt x="59" y="74"/>
                  </a:lnTo>
                  <a:lnTo>
                    <a:pt x="59" y="71"/>
                  </a:lnTo>
                  <a:lnTo>
                    <a:pt x="57" y="71"/>
                  </a:lnTo>
                  <a:lnTo>
                    <a:pt x="59" y="71"/>
                  </a:lnTo>
                  <a:close/>
                  <a:moveTo>
                    <a:pt x="64" y="71"/>
                  </a:moveTo>
                  <a:lnTo>
                    <a:pt x="66" y="71"/>
                  </a:lnTo>
                  <a:lnTo>
                    <a:pt x="66" y="74"/>
                  </a:lnTo>
                  <a:lnTo>
                    <a:pt x="64" y="71"/>
                  </a:lnTo>
                  <a:close/>
                  <a:moveTo>
                    <a:pt x="69" y="71"/>
                  </a:moveTo>
                  <a:lnTo>
                    <a:pt x="66" y="71"/>
                  </a:lnTo>
                  <a:lnTo>
                    <a:pt x="69" y="71"/>
                  </a:lnTo>
                  <a:close/>
                  <a:moveTo>
                    <a:pt x="59" y="71"/>
                  </a:moveTo>
                  <a:lnTo>
                    <a:pt x="57" y="71"/>
                  </a:lnTo>
                  <a:lnTo>
                    <a:pt x="59" y="71"/>
                  </a:lnTo>
                  <a:close/>
                  <a:moveTo>
                    <a:pt x="69" y="71"/>
                  </a:moveTo>
                  <a:lnTo>
                    <a:pt x="69" y="69"/>
                  </a:lnTo>
                  <a:lnTo>
                    <a:pt x="69" y="71"/>
                  </a:lnTo>
                  <a:close/>
                  <a:moveTo>
                    <a:pt x="66" y="71"/>
                  </a:moveTo>
                  <a:lnTo>
                    <a:pt x="66" y="69"/>
                  </a:lnTo>
                  <a:lnTo>
                    <a:pt x="66" y="71"/>
                  </a:lnTo>
                  <a:close/>
                  <a:moveTo>
                    <a:pt x="55" y="69"/>
                  </a:moveTo>
                  <a:lnTo>
                    <a:pt x="52" y="69"/>
                  </a:lnTo>
                  <a:lnTo>
                    <a:pt x="55" y="69"/>
                  </a:lnTo>
                  <a:close/>
                  <a:moveTo>
                    <a:pt x="52" y="67"/>
                  </a:moveTo>
                  <a:lnTo>
                    <a:pt x="50" y="67"/>
                  </a:lnTo>
                  <a:lnTo>
                    <a:pt x="52" y="67"/>
                  </a:lnTo>
                  <a:close/>
                  <a:moveTo>
                    <a:pt x="50" y="67"/>
                  </a:moveTo>
                  <a:lnTo>
                    <a:pt x="52" y="67"/>
                  </a:lnTo>
                  <a:lnTo>
                    <a:pt x="50" y="67"/>
                  </a:lnTo>
                  <a:close/>
                  <a:moveTo>
                    <a:pt x="62" y="67"/>
                  </a:moveTo>
                  <a:lnTo>
                    <a:pt x="62" y="64"/>
                  </a:lnTo>
                  <a:lnTo>
                    <a:pt x="62" y="67"/>
                  </a:lnTo>
                  <a:close/>
                  <a:moveTo>
                    <a:pt x="62" y="64"/>
                  </a:moveTo>
                  <a:lnTo>
                    <a:pt x="59" y="64"/>
                  </a:lnTo>
                  <a:lnTo>
                    <a:pt x="62" y="64"/>
                  </a:lnTo>
                  <a:close/>
                  <a:moveTo>
                    <a:pt x="57" y="64"/>
                  </a:moveTo>
                  <a:lnTo>
                    <a:pt x="55" y="64"/>
                  </a:lnTo>
                  <a:lnTo>
                    <a:pt x="57" y="64"/>
                  </a:lnTo>
                  <a:close/>
                  <a:moveTo>
                    <a:pt x="52" y="64"/>
                  </a:moveTo>
                  <a:lnTo>
                    <a:pt x="55" y="64"/>
                  </a:lnTo>
                  <a:lnTo>
                    <a:pt x="52" y="64"/>
                  </a:lnTo>
                  <a:lnTo>
                    <a:pt x="55" y="64"/>
                  </a:lnTo>
                  <a:lnTo>
                    <a:pt x="55" y="67"/>
                  </a:lnTo>
                  <a:lnTo>
                    <a:pt x="52" y="64"/>
                  </a:lnTo>
                  <a:lnTo>
                    <a:pt x="50" y="64"/>
                  </a:lnTo>
                  <a:lnTo>
                    <a:pt x="52" y="64"/>
                  </a:lnTo>
                  <a:close/>
                  <a:moveTo>
                    <a:pt x="50" y="62"/>
                  </a:moveTo>
                  <a:lnTo>
                    <a:pt x="50" y="64"/>
                  </a:lnTo>
                  <a:lnTo>
                    <a:pt x="50" y="62"/>
                  </a:lnTo>
                  <a:close/>
                  <a:moveTo>
                    <a:pt x="52" y="62"/>
                  </a:moveTo>
                  <a:lnTo>
                    <a:pt x="50" y="62"/>
                  </a:lnTo>
                  <a:lnTo>
                    <a:pt x="52" y="62"/>
                  </a:lnTo>
                  <a:close/>
                  <a:moveTo>
                    <a:pt x="50" y="62"/>
                  </a:moveTo>
                  <a:lnTo>
                    <a:pt x="50" y="60"/>
                  </a:lnTo>
                  <a:lnTo>
                    <a:pt x="50" y="62"/>
                  </a:lnTo>
                  <a:close/>
                  <a:moveTo>
                    <a:pt x="57" y="60"/>
                  </a:moveTo>
                  <a:lnTo>
                    <a:pt x="55" y="60"/>
                  </a:lnTo>
                  <a:lnTo>
                    <a:pt x="57" y="60"/>
                  </a:lnTo>
                  <a:close/>
                  <a:moveTo>
                    <a:pt x="45" y="55"/>
                  </a:moveTo>
                  <a:lnTo>
                    <a:pt x="47" y="55"/>
                  </a:lnTo>
                  <a:lnTo>
                    <a:pt x="47" y="57"/>
                  </a:lnTo>
                  <a:lnTo>
                    <a:pt x="47" y="60"/>
                  </a:lnTo>
                  <a:lnTo>
                    <a:pt x="47" y="57"/>
                  </a:lnTo>
                  <a:lnTo>
                    <a:pt x="45" y="57"/>
                  </a:lnTo>
                  <a:lnTo>
                    <a:pt x="45" y="55"/>
                  </a:lnTo>
                  <a:close/>
                  <a:moveTo>
                    <a:pt x="45" y="52"/>
                  </a:moveTo>
                  <a:lnTo>
                    <a:pt x="47" y="52"/>
                  </a:lnTo>
                  <a:lnTo>
                    <a:pt x="47" y="55"/>
                  </a:lnTo>
                  <a:lnTo>
                    <a:pt x="47" y="52"/>
                  </a:lnTo>
                  <a:lnTo>
                    <a:pt x="50" y="55"/>
                  </a:lnTo>
                  <a:lnTo>
                    <a:pt x="47" y="55"/>
                  </a:lnTo>
                  <a:lnTo>
                    <a:pt x="50" y="55"/>
                  </a:lnTo>
                  <a:lnTo>
                    <a:pt x="50" y="57"/>
                  </a:lnTo>
                  <a:lnTo>
                    <a:pt x="52" y="57"/>
                  </a:lnTo>
                  <a:lnTo>
                    <a:pt x="50" y="57"/>
                  </a:lnTo>
                  <a:lnTo>
                    <a:pt x="52" y="57"/>
                  </a:lnTo>
                  <a:lnTo>
                    <a:pt x="52" y="60"/>
                  </a:lnTo>
                  <a:lnTo>
                    <a:pt x="55" y="60"/>
                  </a:lnTo>
                  <a:lnTo>
                    <a:pt x="55" y="62"/>
                  </a:lnTo>
                  <a:lnTo>
                    <a:pt x="57" y="62"/>
                  </a:lnTo>
                  <a:lnTo>
                    <a:pt x="57" y="64"/>
                  </a:lnTo>
                  <a:lnTo>
                    <a:pt x="57" y="62"/>
                  </a:lnTo>
                  <a:lnTo>
                    <a:pt x="55" y="62"/>
                  </a:lnTo>
                  <a:lnTo>
                    <a:pt x="52" y="62"/>
                  </a:lnTo>
                  <a:lnTo>
                    <a:pt x="52" y="60"/>
                  </a:lnTo>
                  <a:lnTo>
                    <a:pt x="52" y="57"/>
                  </a:lnTo>
                  <a:lnTo>
                    <a:pt x="50" y="57"/>
                  </a:lnTo>
                  <a:lnTo>
                    <a:pt x="50" y="55"/>
                  </a:lnTo>
                  <a:lnTo>
                    <a:pt x="50" y="57"/>
                  </a:lnTo>
                  <a:lnTo>
                    <a:pt x="47" y="57"/>
                  </a:lnTo>
                  <a:lnTo>
                    <a:pt x="47" y="55"/>
                  </a:lnTo>
                  <a:lnTo>
                    <a:pt x="47" y="52"/>
                  </a:lnTo>
                  <a:lnTo>
                    <a:pt x="45" y="52"/>
                  </a:lnTo>
                  <a:lnTo>
                    <a:pt x="45" y="50"/>
                  </a:lnTo>
                  <a:lnTo>
                    <a:pt x="45" y="52"/>
                  </a:lnTo>
                  <a:close/>
                  <a:moveTo>
                    <a:pt x="45" y="52"/>
                  </a:moveTo>
                  <a:lnTo>
                    <a:pt x="43" y="50"/>
                  </a:lnTo>
                  <a:lnTo>
                    <a:pt x="45" y="50"/>
                  </a:lnTo>
                  <a:lnTo>
                    <a:pt x="45" y="52"/>
                  </a:lnTo>
                  <a:close/>
                  <a:moveTo>
                    <a:pt x="40" y="50"/>
                  </a:moveTo>
                  <a:lnTo>
                    <a:pt x="40" y="52"/>
                  </a:lnTo>
                  <a:lnTo>
                    <a:pt x="40" y="50"/>
                  </a:lnTo>
                  <a:lnTo>
                    <a:pt x="40" y="52"/>
                  </a:lnTo>
                  <a:lnTo>
                    <a:pt x="40" y="50"/>
                  </a:lnTo>
                  <a:lnTo>
                    <a:pt x="38" y="50"/>
                  </a:lnTo>
                  <a:lnTo>
                    <a:pt x="40" y="50"/>
                  </a:lnTo>
                  <a:close/>
                  <a:moveTo>
                    <a:pt x="38" y="50"/>
                  </a:moveTo>
                  <a:lnTo>
                    <a:pt x="40" y="52"/>
                  </a:lnTo>
                  <a:lnTo>
                    <a:pt x="40" y="55"/>
                  </a:lnTo>
                  <a:lnTo>
                    <a:pt x="43" y="55"/>
                  </a:lnTo>
                  <a:lnTo>
                    <a:pt x="43" y="57"/>
                  </a:lnTo>
                  <a:lnTo>
                    <a:pt x="45" y="57"/>
                  </a:lnTo>
                  <a:lnTo>
                    <a:pt x="45" y="60"/>
                  </a:lnTo>
                  <a:lnTo>
                    <a:pt x="47" y="60"/>
                  </a:lnTo>
                  <a:lnTo>
                    <a:pt x="47" y="62"/>
                  </a:lnTo>
                  <a:lnTo>
                    <a:pt x="50" y="62"/>
                  </a:lnTo>
                  <a:lnTo>
                    <a:pt x="50" y="64"/>
                  </a:lnTo>
                  <a:lnTo>
                    <a:pt x="52" y="64"/>
                  </a:lnTo>
                  <a:lnTo>
                    <a:pt x="50" y="64"/>
                  </a:lnTo>
                  <a:lnTo>
                    <a:pt x="52" y="64"/>
                  </a:lnTo>
                  <a:lnTo>
                    <a:pt x="52" y="67"/>
                  </a:lnTo>
                  <a:lnTo>
                    <a:pt x="55" y="67"/>
                  </a:lnTo>
                  <a:lnTo>
                    <a:pt x="55" y="69"/>
                  </a:lnTo>
                  <a:lnTo>
                    <a:pt x="57" y="69"/>
                  </a:lnTo>
                  <a:lnTo>
                    <a:pt x="57" y="71"/>
                  </a:lnTo>
                  <a:lnTo>
                    <a:pt x="57" y="69"/>
                  </a:lnTo>
                  <a:lnTo>
                    <a:pt x="55" y="69"/>
                  </a:lnTo>
                  <a:lnTo>
                    <a:pt x="52" y="67"/>
                  </a:lnTo>
                  <a:lnTo>
                    <a:pt x="50" y="67"/>
                  </a:lnTo>
                  <a:lnTo>
                    <a:pt x="50" y="64"/>
                  </a:lnTo>
                  <a:lnTo>
                    <a:pt x="50" y="62"/>
                  </a:lnTo>
                  <a:lnTo>
                    <a:pt x="47" y="62"/>
                  </a:lnTo>
                  <a:lnTo>
                    <a:pt x="47" y="64"/>
                  </a:lnTo>
                  <a:lnTo>
                    <a:pt x="47" y="62"/>
                  </a:lnTo>
                  <a:lnTo>
                    <a:pt x="47" y="64"/>
                  </a:lnTo>
                  <a:lnTo>
                    <a:pt x="50" y="64"/>
                  </a:lnTo>
                  <a:lnTo>
                    <a:pt x="47" y="64"/>
                  </a:lnTo>
                  <a:lnTo>
                    <a:pt x="47" y="62"/>
                  </a:lnTo>
                  <a:lnTo>
                    <a:pt x="45" y="62"/>
                  </a:lnTo>
                  <a:lnTo>
                    <a:pt x="45" y="60"/>
                  </a:lnTo>
                  <a:lnTo>
                    <a:pt x="43" y="57"/>
                  </a:lnTo>
                  <a:lnTo>
                    <a:pt x="43" y="55"/>
                  </a:lnTo>
                  <a:lnTo>
                    <a:pt x="40" y="55"/>
                  </a:lnTo>
                  <a:lnTo>
                    <a:pt x="40" y="52"/>
                  </a:lnTo>
                  <a:lnTo>
                    <a:pt x="38" y="52"/>
                  </a:lnTo>
                  <a:lnTo>
                    <a:pt x="36" y="52"/>
                  </a:lnTo>
                  <a:lnTo>
                    <a:pt x="36" y="50"/>
                  </a:lnTo>
                  <a:lnTo>
                    <a:pt x="38" y="50"/>
                  </a:lnTo>
                  <a:lnTo>
                    <a:pt x="36" y="50"/>
                  </a:lnTo>
                  <a:lnTo>
                    <a:pt x="38" y="50"/>
                  </a:lnTo>
                  <a:lnTo>
                    <a:pt x="38" y="52"/>
                  </a:lnTo>
                  <a:lnTo>
                    <a:pt x="38" y="50"/>
                  </a:lnTo>
                  <a:lnTo>
                    <a:pt x="38" y="52"/>
                  </a:lnTo>
                  <a:lnTo>
                    <a:pt x="38" y="50"/>
                  </a:lnTo>
                  <a:lnTo>
                    <a:pt x="38" y="52"/>
                  </a:lnTo>
                  <a:lnTo>
                    <a:pt x="38" y="50"/>
                  </a:lnTo>
                  <a:close/>
                  <a:moveTo>
                    <a:pt x="40" y="48"/>
                  </a:moveTo>
                  <a:lnTo>
                    <a:pt x="40" y="50"/>
                  </a:lnTo>
                  <a:lnTo>
                    <a:pt x="43" y="50"/>
                  </a:lnTo>
                  <a:lnTo>
                    <a:pt x="43" y="52"/>
                  </a:lnTo>
                  <a:lnTo>
                    <a:pt x="43" y="50"/>
                  </a:lnTo>
                  <a:lnTo>
                    <a:pt x="40" y="50"/>
                  </a:lnTo>
                  <a:lnTo>
                    <a:pt x="43" y="50"/>
                  </a:lnTo>
                  <a:lnTo>
                    <a:pt x="40" y="50"/>
                  </a:lnTo>
                  <a:lnTo>
                    <a:pt x="40" y="48"/>
                  </a:lnTo>
                  <a:close/>
                  <a:moveTo>
                    <a:pt x="36" y="45"/>
                  </a:moveTo>
                  <a:lnTo>
                    <a:pt x="36" y="48"/>
                  </a:lnTo>
                  <a:lnTo>
                    <a:pt x="38" y="48"/>
                  </a:lnTo>
                  <a:lnTo>
                    <a:pt x="40" y="48"/>
                  </a:lnTo>
                  <a:lnTo>
                    <a:pt x="38" y="48"/>
                  </a:lnTo>
                  <a:lnTo>
                    <a:pt x="40" y="48"/>
                  </a:lnTo>
                  <a:lnTo>
                    <a:pt x="38" y="48"/>
                  </a:lnTo>
                  <a:lnTo>
                    <a:pt x="38" y="50"/>
                  </a:lnTo>
                  <a:lnTo>
                    <a:pt x="38" y="48"/>
                  </a:lnTo>
                  <a:lnTo>
                    <a:pt x="38" y="50"/>
                  </a:lnTo>
                  <a:lnTo>
                    <a:pt x="38" y="48"/>
                  </a:lnTo>
                  <a:lnTo>
                    <a:pt x="36" y="48"/>
                  </a:lnTo>
                  <a:lnTo>
                    <a:pt x="38" y="48"/>
                  </a:lnTo>
                  <a:lnTo>
                    <a:pt x="38" y="50"/>
                  </a:lnTo>
                  <a:lnTo>
                    <a:pt x="36" y="48"/>
                  </a:lnTo>
                  <a:lnTo>
                    <a:pt x="36" y="45"/>
                  </a:lnTo>
                  <a:close/>
                  <a:moveTo>
                    <a:pt x="36" y="45"/>
                  </a:moveTo>
                  <a:lnTo>
                    <a:pt x="33" y="45"/>
                  </a:lnTo>
                  <a:lnTo>
                    <a:pt x="36" y="45"/>
                  </a:lnTo>
                  <a:lnTo>
                    <a:pt x="33" y="45"/>
                  </a:lnTo>
                  <a:lnTo>
                    <a:pt x="36" y="45"/>
                  </a:lnTo>
                  <a:close/>
                  <a:moveTo>
                    <a:pt x="43" y="43"/>
                  </a:moveTo>
                  <a:lnTo>
                    <a:pt x="45" y="43"/>
                  </a:lnTo>
                  <a:lnTo>
                    <a:pt x="47" y="45"/>
                  </a:lnTo>
                  <a:lnTo>
                    <a:pt x="45" y="45"/>
                  </a:lnTo>
                  <a:lnTo>
                    <a:pt x="43" y="45"/>
                  </a:lnTo>
                  <a:lnTo>
                    <a:pt x="43" y="43"/>
                  </a:lnTo>
                  <a:close/>
                  <a:moveTo>
                    <a:pt x="31" y="43"/>
                  </a:moveTo>
                  <a:lnTo>
                    <a:pt x="31" y="45"/>
                  </a:lnTo>
                  <a:lnTo>
                    <a:pt x="31" y="43"/>
                  </a:lnTo>
                  <a:lnTo>
                    <a:pt x="28" y="43"/>
                  </a:lnTo>
                  <a:lnTo>
                    <a:pt x="28" y="41"/>
                  </a:lnTo>
                  <a:lnTo>
                    <a:pt x="28" y="43"/>
                  </a:lnTo>
                  <a:lnTo>
                    <a:pt x="31" y="43"/>
                  </a:lnTo>
                  <a:close/>
                  <a:moveTo>
                    <a:pt x="33" y="41"/>
                  </a:moveTo>
                  <a:lnTo>
                    <a:pt x="33" y="43"/>
                  </a:lnTo>
                  <a:lnTo>
                    <a:pt x="33" y="41"/>
                  </a:lnTo>
                  <a:lnTo>
                    <a:pt x="31" y="41"/>
                  </a:lnTo>
                  <a:lnTo>
                    <a:pt x="31" y="38"/>
                  </a:lnTo>
                  <a:lnTo>
                    <a:pt x="33" y="38"/>
                  </a:lnTo>
                  <a:lnTo>
                    <a:pt x="33" y="41"/>
                  </a:lnTo>
                  <a:close/>
                  <a:moveTo>
                    <a:pt x="36" y="38"/>
                  </a:moveTo>
                  <a:lnTo>
                    <a:pt x="36" y="41"/>
                  </a:lnTo>
                  <a:lnTo>
                    <a:pt x="36" y="43"/>
                  </a:lnTo>
                  <a:lnTo>
                    <a:pt x="36" y="41"/>
                  </a:lnTo>
                  <a:lnTo>
                    <a:pt x="33" y="41"/>
                  </a:lnTo>
                  <a:lnTo>
                    <a:pt x="36" y="41"/>
                  </a:lnTo>
                  <a:lnTo>
                    <a:pt x="36" y="38"/>
                  </a:lnTo>
                  <a:close/>
                  <a:moveTo>
                    <a:pt x="40" y="38"/>
                  </a:moveTo>
                  <a:lnTo>
                    <a:pt x="40" y="41"/>
                  </a:lnTo>
                  <a:lnTo>
                    <a:pt x="40" y="38"/>
                  </a:lnTo>
                  <a:lnTo>
                    <a:pt x="38" y="38"/>
                  </a:lnTo>
                  <a:lnTo>
                    <a:pt x="40" y="38"/>
                  </a:lnTo>
                  <a:close/>
                  <a:moveTo>
                    <a:pt x="28" y="38"/>
                  </a:moveTo>
                  <a:lnTo>
                    <a:pt x="26" y="38"/>
                  </a:lnTo>
                  <a:lnTo>
                    <a:pt x="26" y="36"/>
                  </a:lnTo>
                  <a:lnTo>
                    <a:pt x="28" y="36"/>
                  </a:lnTo>
                  <a:lnTo>
                    <a:pt x="28" y="38"/>
                  </a:lnTo>
                  <a:close/>
                  <a:moveTo>
                    <a:pt x="28" y="36"/>
                  </a:moveTo>
                  <a:lnTo>
                    <a:pt x="28" y="33"/>
                  </a:lnTo>
                  <a:lnTo>
                    <a:pt x="28" y="36"/>
                  </a:lnTo>
                  <a:close/>
                  <a:moveTo>
                    <a:pt x="19" y="33"/>
                  </a:moveTo>
                  <a:lnTo>
                    <a:pt x="19" y="36"/>
                  </a:lnTo>
                  <a:lnTo>
                    <a:pt x="19" y="33"/>
                  </a:lnTo>
                  <a:lnTo>
                    <a:pt x="19" y="36"/>
                  </a:lnTo>
                  <a:lnTo>
                    <a:pt x="21" y="33"/>
                  </a:lnTo>
                  <a:lnTo>
                    <a:pt x="21" y="36"/>
                  </a:lnTo>
                  <a:lnTo>
                    <a:pt x="19" y="36"/>
                  </a:lnTo>
                  <a:lnTo>
                    <a:pt x="19" y="33"/>
                  </a:lnTo>
                  <a:close/>
                  <a:moveTo>
                    <a:pt x="21" y="31"/>
                  </a:moveTo>
                  <a:lnTo>
                    <a:pt x="19" y="31"/>
                  </a:lnTo>
                  <a:lnTo>
                    <a:pt x="21" y="31"/>
                  </a:lnTo>
                  <a:close/>
                  <a:moveTo>
                    <a:pt x="19" y="26"/>
                  </a:moveTo>
                  <a:lnTo>
                    <a:pt x="19" y="29"/>
                  </a:lnTo>
                  <a:lnTo>
                    <a:pt x="19" y="26"/>
                  </a:lnTo>
                  <a:lnTo>
                    <a:pt x="19" y="29"/>
                  </a:lnTo>
                  <a:lnTo>
                    <a:pt x="19" y="31"/>
                  </a:lnTo>
                  <a:lnTo>
                    <a:pt x="19" y="29"/>
                  </a:lnTo>
                  <a:lnTo>
                    <a:pt x="17" y="29"/>
                  </a:lnTo>
                  <a:lnTo>
                    <a:pt x="17" y="26"/>
                  </a:lnTo>
                  <a:lnTo>
                    <a:pt x="19" y="26"/>
                  </a:lnTo>
                  <a:close/>
                  <a:moveTo>
                    <a:pt x="36" y="29"/>
                  </a:moveTo>
                  <a:lnTo>
                    <a:pt x="38" y="29"/>
                  </a:lnTo>
                  <a:lnTo>
                    <a:pt x="38" y="31"/>
                  </a:lnTo>
                  <a:lnTo>
                    <a:pt x="38" y="29"/>
                  </a:lnTo>
                  <a:lnTo>
                    <a:pt x="40" y="31"/>
                  </a:lnTo>
                  <a:lnTo>
                    <a:pt x="40" y="29"/>
                  </a:lnTo>
                  <a:lnTo>
                    <a:pt x="40" y="31"/>
                  </a:lnTo>
                  <a:lnTo>
                    <a:pt x="40" y="33"/>
                  </a:lnTo>
                  <a:lnTo>
                    <a:pt x="43" y="33"/>
                  </a:lnTo>
                  <a:lnTo>
                    <a:pt x="45" y="33"/>
                  </a:lnTo>
                  <a:lnTo>
                    <a:pt x="45" y="36"/>
                  </a:lnTo>
                  <a:lnTo>
                    <a:pt x="43" y="36"/>
                  </a:lnTo>
                  <a:lnTo>
                    <a:pt x="43" y="33"/>
                  </a:lnTo>
                  <a:lnTo>
                    <a:pt x="40" y="33"/>
                  </a:lnTo>
                  <a:lnTo>
                    <a:pt x="43" y="36"/>
                  </a:lnTo>
                  <a:lnTo>
                    <a:pt x="45" y="38"/>
                  </a:lnTo>
                  <a:lnTo>
                    <a:pt x="45" y="36"/>
                  </a:lnTo>
                  <a:lnTo>
                    <a:pt x="45" y="38"/>
                  </a:lnTo>
                  <a:lnTo>
                    <a:pt x="47" y="38"/>
                  </a:lnTo>
                  <a:lnTo>
                    <a:pt x="47" y="41"/>
                  </a:lnTo>
                  <a:lnTo>
                    <a:pt x="50" y="41"/>
                  </a:lnTo>
                  <a:lnTo>
                    <a:pt x="50" y="43"/>
                  </a:lnTo>
                  <a:lnTo>
                    <a:pt x="52" y="43"/>
                  </a:lnTo>
                  <a:lnTo>
                    <a:pt x="50" y="43"/>
                  </a:lnTo>
                  <a:lnTo>
                    <a:pt x="50" y="41"/>
                  </a:lnTo>
                  <a:lnTo>
                    <a:pt x="47" y="41"/>
                  </a:lnTo>
                  <a:lnTo>
                    <a:pt x="50" y="43"/>
                  </a:lnTo>
                  <a:lnTo>
                    <a:pt x="50" y="45"/>
                  </a:lnTo>
                  <a:lnTo>
                    <a:pt x="50" y="43"/>
                  </a:lnTo>
                  <a:lnTo>
                    <a:pt x="47" y="43"/>
                  </a:lnTo>
                  <a:lnTo>
                    <a:pt x="47" y="45"/>
                  </a:lnTo>
                  <a:lnTo>
                    <a:pt x="47" y="43"/>
                  </a:lnTo>
                  <a:lnTo>
                    <a:pt x="45" y="43"/>
                  </a:lnTo>
                  <a:lnTo>
                    <a:pt x="45" y="41"/>
                  </a:lnTo>
                  <a:lnTo>
                    <a:pt x="47" y="41"/>
                  </a:lnTo>
                  <a:lnTo>
                    <a:pt x="45" y="41"/>
                  </a:lnTo>
                  <a:lnTo>
                    <a:pt x="43" y="41"/>
                  </a:lnTo>
                  <a:lnTo>
                    <a:pt x="43" y="38"/>
                  </a:lnTo>
                  <a:lnTo>
                    <a:pt x="43" y="36"/>
                  </a:lnTo>
                  <a:lnTo>
                    <a:pt x="40" y="36"/>
                  </a:lnTo>
                  <a:lnTo>
                    <a:pt x="40" y="33"/>
                  </a:lnTo>
                  <a:lnTo>
                    <a:pt x="38" y="33"/>
                  </a:lnTo>
                  <a:lnTo>
                    <a:pt x="38" y="31"/>
                  </a:lnTo>
                  <a:lnTo>
                    <a:pt x="36" y="31"/>
                  </a:lnTo>
                  <a:lnTo>
                    <a:pt x="36" y="29"/>
                  </a:lnTo>
                  <a:lnTo>
                    <a:pt x="36" y="26"/>
                  </a:lnTo>
                  <a:lnTo>
                    <a:pt x="33" y="26"/>
                  </a:lnTo>
                  <a:lnTo>
                    <a:pt x="36" y="26"/>
                  </a:lnTo>
                  <a:lnTo>
                    <a:pt x="36" y="29"/>
                  </a:lnTo>
                  <a:close/>
                  <a:moveTo>
                    <a:pt x="38" y="26"/>
                  </a:moveTo>
                  <a:lnTo>
                    <a:pt x="36" y="26"/>
                  </a:lnTo>
                  <a:lnTo>
                    <a:pt x="36" y="24"/>
                  </a:lnTo>
                  <a:lnTo>
                    <a:pt x="36" y="26"/>
                  </a:lnTo>
                  <a:lnTo>
                    <a:pt x="38" y="26"/>
                  </a:lnTo>
                  <a:close/>
                  <a:moveTo>
                    <a:pt x="19" y="24"/>
                  </a:moveTo>
                  <a:lnTo>
                    <a:pt x="19" y="22"/>
                  </a:lnTo>
                  <a:lnTo>
                    <a:pt x="19" y="24"/>
                  </a:lnTo>
                  <a:close/>
                  <a:moveTo>
                    <a:pt x="36" y="19"/>
                  </a:moveTo>
                  <a:lnTo>
                    <a:pt x="38" y="19"/>
                  </a:lnTo>
                  <a:lnTo>
                    <a:pt x="36" y="19"/>
                  </a:lnTo>
                  <a:lnTo>
                    <a:pt x="38" y="19"/>
                  </a:lnTo>
                  <a:lnTo>
                    <a:pt x="36" y="19"/>
                  </a:lnTo>
                  <a:close/>
                  <a:moveTo>
                    <a:pt x="33" y="19"/>
                  </a:moveTo>
                  <a:lnTo>
                    <a:pt x="36" y="19"/>
                  </a:lnTo>
                  <a:lnTo>
                    <a:pt x="33" y="19"/>
                  </a:lnTo>
                  <a:lnTo>
                    <a:pt x="36" y="19"/>
                  </a:lnTo>
                  <a:lnTo>
                    <a:pt x="33" y="19"/>
                  </a:lnTo>
                  <a:lnTo>
                    <a:pt x="36" y="22"/>
                  </a:lnTo>
                  <a:lnTo>
                    <a:pt x="36" y="24"/>
                  </a:lnTo>
                  <a:lnTo>
                    <a:pt x="38" y="24"/>
                  </a:lnTo>
                  <a:lnTo>
                    <a:pt x="38" y="26"/>
                  </a:lnTo>
                  <a:lnTo>
                    <a:pt x="36" y="24"/>
                  </a:lnTo>
                  <a:lnTo>
                    <a:pt x="33" y="24"/>
                  </a:lnTo>
                  <a:lnTo>
                    <a:pt x="33" y="22"/>
                  </a:lnTo>
                  <a:lnTo>
                    <a:pt x="33" y="24"/>
                  </a:lnTo>
                  <a:lnTo>
                    <a:pt x="36" y="24"/>
                  </a:lnTo>
                  <a:lnTo>
                    <a:pt x="33" y="24"/>
                  </a:lnTo>
                  <a:lnTo>
                    <a:pt x="33" y="22"/>
                  </a:lnTo>
                  <a:lnTo>
                    <a:pt x="31" y="22"/>
                  </a:lnTo>
                  <a:lnTo>
                    <a:pt x="33" y="22"/>
                  </a:lnTo>
                  <a:lnTo>
                    <a:pt x="33" y="19"/>
                  </a:lnTo>
                  <a:lnTo>
                    <a:pt x="31" y="19"/>
                  </a:lnTo>
                  <a:lnTo>
                    <a:pt x="33" y="19"/>
                  </a:lnTo>
                  <a:close/>
                  <a:moveTo>
                    <a:pt x="36" y="17"/>
                  </a:moveTo>
                  <a:lnTo>
                    <a:pt x="36" y="19"/>
                  </a:lnTo>
                  <a:lnTo>
                    <a:pt x="33" y="19"/>
                  </a:lnTo>
                  <a:lnTo>
                    <a:pt x="33" y="17"/>
                  </a:lnTo>
                  <a:lnTo>
                    <a:pt x="36" y="17"/>
                  </a:lnTo>
                  <a:close/>
                  <a:moveTo>
                    <a:pt x="2" y="14"/>
                  </a:moveTo>
                  <a:lnTo>
                    <a:pt x="2" y="17"/>
                  </a:lnTo>
                  <a:lnTo>
                    <a:pt x="0" y="17"/>
                  </a:lnTo>
                  <a:lnTo>
                    <a:pt x="2" y="17"/>
                  </a:lnTo>
                  <a:lnTo>
                    <a:pt x="0" y="17"/>
                  </a:lnTo>
                  <a:lnTo>
                    <a:pt x="2" y="17"/>
                  </a:lnTo>
                  <a:lnTo>
                    <a:pt x="2" y="14"/>
                  </a:lnTo>
                  <a:lnTo>
                    <a:pt x="0" y="14"/>
                  </a:lnTo>
                  <a:lnTo>
                    <a:pt x="2" y="14"/>
                  </a:lnTo>
                  <a:close/>
                  <a:moveTo>
                    <a:pt x="36" y="14"/>
                  </a:moveTo>
                  <a:lnTo>
                    <a:pt x="36" y="17"/>
                  </a:lnTo>
                  <a:lnTo>
                    <a:pt x="38" y="17"/>
                  </a:lnTo>
                  <a:lnTo>
                    <a:pt x="36" y="17"/>
                  </a:lnTo>
                  <a:lnTo>
                    <a:pt x="36" y="14"/>
                  </a:lnTo>
                  <a:close/>
                  <a:moveTo>
                    <a:pt x="0" y="14"/>
                  </a:moveTo>
                  <a:lnTo>
                    <a:pt x="2" y="14"/>
                  </a:lnTo>
                  <a:lnTo>
                    <a:pt x="0" y="14"/>
                  </a:lnTo>
                  <a:close/>
                  <a:moveTo>
                    <a:pt x="26" y="12"/>
                  </a:moveTo>
                  <a:lnTo>
                    <a:pt x="28" y="12"/>
                  </a:lnTo>
                  <a:lnTo>
                    <a:pt x="28" y="14"/>
                  </a:lnTo>
                  <a:lnTo>
                    <a:pt x="26" y="14"/>
                  </a:lnTo>
                  <a:lnTo>
                    <a:pt x="26" y="12"/>
                  </a:lnTo>
                  <a:close/>
                  <a:moveTo>
                    <a:pt x="28" y="0"/>
                  </a:moveTo>
                  <a:lnTo>
                    <a:pt x="28" y="3"/>
                  </a:lnTo>
                  <a:lnTo>
                    <a:pt x="31" y="3"/>
                  </a:lnTo>
                  <a:lnTo>
                    <a:pt x="31" y="5"/>
                  </a:lnTo>
                  <a:lnTo>
                    <a:pt x="28" y="3"/>
                  </a:lnTo>
                  <a:lnTo>
                    <a:pt x="28" y="5"/>
                  </a:lnTo>
                  <a:lnTo>
                    <a:pt x="31" y="5"/>
                  </a:lnTo>
                  <a:lnTo>
                    <a:pt x="31" y="7"/>
                  </a:lnTo>
                  <a:lnTo>
                    <a:pt x="33" y="7"/>
                  </a:lnTo>
                  <a:lnTo>
                    <a:pt x="33" y="10"/>
                  </a:lnTo>
                  <a:lnTo>
                    <a:pt x="33" y="7"/>
                  </a:lnTo>
                  <a:lnTo>
                    <a:pt x="33" y="10"/>
                  </a:lnTo>
                  <a:lnTo>
                    <a:pt x="33" y="7"/>
                  </a:lnTo>
                  <a:lnTo>
                    <a:pt x="33" y="10"/>
                  </a:lnTo>
                  <a:lnTo>
                    <a:pt x="36" y="10"/>
                  </a:lnTo>
                  <a:lnTo>
                    <a:pt x="36" y="12"/>
                  </a:lnTo>
                  <a:lnTo>
                    <a:pt x="36" y="14"/>
                  </a:lnTo>
                  <a:lnTo>
                    <a:pt x="36" y="12"/>
                  </a:lnTo>
                  <a:lnTo>
                    <a:pt x="36" y="14"/>
                  </a:lnTo>
                  <a:lnTo>
                    <a:pt x="36" y="12"/>
                  </a:lnTo>
                  <a:lnTo>
                    <a:pt x="33" y="12"/>
                  </a:lnTo>
                  <a:lnTo>
                    <a:pt x="33" y="14"/>
                  </a:lnTo>
                  <a:lnTo>
                    <a:pt x="36" y="14"/>
                  </a:lnTo>
                  <a:lnTo>
                    <a:pt x="33" y="14"/>
                  </a:lnTo>
                  <a:lnTo>
                    <a:pt x="31" y="14"/>
                  </a:lnTo>
                  <a:lnTo>
                    <a:pt x="31" y="12"/>
                  </a:lnTo>
                  <a:lnTo>
                    <a:pt x="31" y="10"/>
                  </a:lnTo>
                  <a:lnTo>
                    <a:pt x="28" y="10"/>
                  </a:lnTo>
                  <a:lnTo>
                    <a:pt x="31" y="10"/>
                  </a:lnTo>
                  <a:lnTo>
                    <a:pt x="31" y="12"/>
                  </a:lnTo>
                  <a:lnTo>
                    <a:pt x="28" y="12"/>
                  </a:lnTo>
                  <a:lnTo>
                    <a:pt x="28" y="10"/>
                  </a:lnTo>
                  <a:lnTo>
                    <a:pt x="28" y="12"/>
                  </a:lnTo>
                  <a:lnTo>
                    <a:pt x="26" y="12"/>
                  </a:lnTo>
                  <a:lnTo>
                    <a:pt x="26" y="10"/>
                  </a:lnTo>
                  <a:lnTo>
                    <a:pt x="26" y="12"/>
                  </a:lnTo>
                  <a:lnTo>
                    <a:pt x="26" y="10"/>
                  </a:lnTo>
                  <a:lnTo>
                    <a:pt x="24" y="10"/>
                  </a:lnTo>
                  <a:lnTo>
                    <a:pt x="24" y="7"/>
                  </a:lnTo>
                  <a:lnTo>
                    <a:pt x="26" y="7"/>
                  </a:lnTo>
                  <a:lnTo>
                    <a:pt x="24" y="7"/>
                  </a:lnTo>
                  <a:lnTo>
                    <a:pt x="26" y="5"/>
                  </a:lnTo>
                  <a:lnTo>
                    <a:pt x="26" y="7"/>
                  </a:lnTo>
                  <a:lnTo>
                    <a:pt x="26" y="5"/>
                  </a:lnTo>
                  <a:lnTo>
                    <a:pt x="28" y="5"/>
                  </a:lnTo>
                  <a:lnTo>
                    <a:pt x="28" y="3"/>
                  </a:lnTo>
                  <a:lnTo>
                    <a:pt x="26" y="3"/>
                  </a:lnTo>
                  <a:lnTo>
                    <a:pt x="28" y="3"/>
                  </a:lnTo>
                  <a:lnTo>
                    <a:pt x="26" y="3"/>
                  </a:lnTo>
                  <a:lnTo>
                    <a:pt x="26" y="0"/>
                  </a:lnTo>
                  <a:lnTo>
                    <a:pt x="28" y="3"/>
                  </a:lnTo>
                  <a:lnTo>
                    <a:pt x="28" y="0"/>
                  </a:lnTo>
                  <a:lnTo>
                    <a:pt x="26" y="0"/>
                  </a:lnTo>
                  <a:lnTo>
                    <a:pt x="2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2" name="Freeform 50285"/>
            <p:cNvSpPr>
              <a:spLocks noEditPoints="1"/>
            </p:cNvSpPr>
            <p:nvPr/>
          </p:nvSpPr>
          <p:spPr bwMode="auto">
            <a:xfrm>
              <a:off x="2736848" y="5051441"/>
              <a:ext cx="230188" cy="219075"/>
            </a:xfrm>
            <a:custGeom>
              <a:avLst/>
              <a:gdLst>
                <a:gd name="T0" fmla="*/ 90 w 145"/>
                <a:gd name="T1" fmla="*/ 138 h 138"/>
                <a:gd name="T2" fmla="*/ 145 w 145"/>
                <a:gd name="T3" fmla="*/ 124 h 138"/>
                <a:gd name="T4" fmla="*/ 117 w 145"/>
                <a:gd name="T5" fmla="*/ 122 h 138"/>
                <a:gd name="T6" fmla="*/ 117 w 145"/>
                <a:gd name="T7" fmla="*/ 119 h 138"/>
                <a:gd name="T8" fmla="*/ 117 w 145"/>
                <a:gd name="T9" fmla="*/ 119 h 138"/>
                <a:gd name="T10" fmla="*/ 105 w 145"/>
                <a:gd name="T11" fmla="*/ 119 h 138"/>
                <a:gd name="T12" fmla="*/ 124 w 145"/>
                <a:gd name="T13" fmla="*/ 119 h 138"/>
                <a:gd name="T14" fmla="*/ 105 w 145"/>
                <a:gd name="T15" fmla="*/ 114 h 138"/>
                <a:gd name="T16" fmla="*/ 102 w 145"/>
                <a:gd name="T17" fmla="*/ 114 h 138"/>
                <a:gd name="T18" fmla="*/ 119 w 145"/>
                <a:gd name="T19" fmla="*/ 107 h 138"/>
                <a:gd name="T20" fmla="*/ 88 w 145"/>
                <a:gd name="T21" fmla="*/ 110 h 138"/>
                <a:gd name="T22" fmla="*/ 95 w 145"/>
                <a:gd name="T23" fmla="*/ 103 h 138"/>
                <a:gd name="T24" fmla="*/ 90 w 145"/>
                <a:gd name="T25" fmla="*/ 103 h 138"/>
                <a:gd name="T26" fmla="*/ 105 w 145"/>
                <a:gd name="T27" fmla="*/ 100 h 138"/>
                <a:gd name="T28" fmla="*/ 88 w 145"/>
                <a:gd name="T29" fmla="*/ 91 h 138"/>
                <a:gd name="T30" fmla="*/ 86 w 145"/>
                <a:gd name="T31" fmla="*/ 91 h 138"/>
                <a:gd name="T32" fmla="*/ 79 w 145"/>
                <a:gd name="T33" fmla="*/ 84 h 138"/>
                <a:gd name="T34" fmla="*/ 79 w 145"/>
                <a:gd name="T35" fmla="*/ 81 h 138"/>
                <a:gd name="T36" fmla="*/ 79 w 145"/>
                <a:gd name="T37" fmla="*/ 79 h 138"/>
                <a:gd name="T38" fmla="*/ 74 w 145"/>
                <a:gd name="T39" fmla="*/ 79 h 138"/>
                <a:gd name="T40" fmla="*/ 71 w 145"/>
                <a:gd name="T41" fmla="*/ 76 h 138"/>
                <a:gd name="T42" fmla="*/ 69 w 145"/>
                <a:gd name="T43" fmla="*/ 76 h 138"/>
                <a:gd name="T44" fmla="*/ 62 w 145"/>
                <a:gd name="T45" fmla="*/ 76 h 138"/>
                <a:gd name="T46" fmla="*/ 60 w 145"/>
                <a:gd name="T47" fmla="*/ 74 h 138"/>
                <a:gd name="T48" fmla="*/ 60 w 145"/>
                <a:gd name="T49" fmla="*/ 74 h 138"/>
                <a:gd name="T50" fmla="*/ 57 w 145"/>
                <a:gd name="T51" fmla="*/ 69 h 138"/>
                <a:gd name="T52" fmla="*/ 57 w 145"/>
                <a:gd name="T53" fmla="*/ 67 h 138"/>
                <a:gd name="T54" fmla="*/ 57 w 145"/>
                <a:gd name="T55" fmla="*/ 67 h 138"/>
                <a:gd name="T56" fmla="*/ 60 w 145"/>
                <a:gd name="T57" fmla="*/ 65 h 138"/>
                <a:gd name="T58" fmla="*/ 50 w 145"/>
                <a:gd name="T59" fmla="*/ 65 h 138"/>
                <a:gd name="T60" fmla="*/ 52 w 145"/>
                <a:gd name="T61" fmla="*/ 62 h 138"/>
                <a:gd name="T62" fmla="*/ 50 w 145"/>
                <a:gd name="T63" fmla="*/ 62 h 138"/>
                <a:gd name="T64" fmla="*/ 50 w 145"/>
                <a:gd name="T65" fmla="*/ 57 h 138"/>
                <a:gd name="T66" fmla="*/ 45 w 145"/>
                <a:gd name="T67" fmla="*/ 55 h 138"/>
                <a:gd name="T68" fmla="*/ 41 w 145"/>
                <a:gd name="T69" fmla="*/ 53 h 138"/>
                <a:gd name="T70" fmla="*/ 55 w 145"/>
                <a:gd name="T71" fmla="*/ 50 h 138"/>
                <a:gd name="T72" fmla="*/ 55 w 145"/>
                <a:gd name="T73" fmla="*/ 48 h 138"/>
                <a:gd name="T74" fmla="*/ 33 w 145"/>
                <a:gd name="T75" fmla="*/ 46 h 138"/>
                <a:gd name="T76" fmla="*/ 41 w 145"/>
                <a:gd name="T77" fmla="*/ 43 h 138"/>
                <a:gd name="T78" fmla="*/ 36 w 145"/>
                <a:gd name="T79" fmla="*/ 29 h 138"/>
                <a:gd name="T80" fmla="*/ 7 w 145"/>
                <a:gd name="T81" fmla="*/ 22 h 138"/>
                <a:gd name="T82" fmla="*/ 5 w 145"/>
                <a:gd name="T83" fmla="*/ 15 h 138"/>
                <a:gd name="T84" fmla="*/ 3 w 145"/>
                <a:gd name="T85" fmla="*/ 10 h 138"/>
                <a:gd name="T86" fmla="*/ 29 w 145"/>
                <a:gd name="T8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5" h="138">
                  <a:moveTo>
                    <a:pt x="90" y="138"/>
                  </a:moveTo>
                  <a:lnTo>
                    <a:pt x="88" y="138"/>
                  </a:lnTo>
                  <a:lnTo>
                    <a:pt x="90" y="138"/>
                  </a:lnTo>
                  <a:close/>
                  <a:moveTo>
                    <a:pt x="145" y="124"/>
                  </a:moveTo>
                  <a:lnTo>
                    <a:pt x="145" y="122"/>
                  </a:lnTo>
                  <a:lnTo>
                    <a:pt x="145" y="124"/>
                  </a:lnTo>
                  <a:close/>
                  <a:moveTo>
                    <a:pt x="117" y="122"/>
                  </a:moveTo>
                  <a:lnTo>
                    <a:pt x="117" y="119"/>
                  </a:lnTo>
                  <a:lnTo>
                    <a:pt x="117" y="122"/>
                  </a:lnTo>
                  <a:close/>
                  <a:moveTo>
                    <a:pt x="117" y="119"/>
                  </a:moveTo>
                  <a:lnTo>
                    <a:pt x="117" y="122"/>
                  </a:lnTo>
                  <a:lnTo>
                    <a:pt x="117" y="119"/>
                  </a:lnTo>
                  <a:close/>
                  <a:moveTo>
                    <a:pt x="117" y="119"/>
                  </a:moveTo>
                  <a:lnTo>
                    <a:pt x="117" y="122"/>
                  </a:lnTo>
                  <a:lnTo>
                    <a:pt x="117" y="119"/>
                  </a:lnTo>
                  <a:close/>
                  <a:moveTo>
                    <a:pt x="105" y="119"/>
                  </a:moveTo>
                  <a:lnTo>
                    <a:pt x="105" y="122"/>
                  </a:lnTo>
                  <a:lnTo>
                    <a:pt x="105" y="119"/>
                  </a:lnTo>
                  <a:close/>
                  <a:moveTo>
                    <a:pt x="124" y="119"/>
                  </a:moveTo>
                  <a:lnTo>
                    <a:pt x="126" y="119"/>
                  </a:lnTo>
                  <a:lnTo>
                    <a:pt x="124" y="119"/>
                  </a:lnTo>
                  <a:close/>
                  <a:moveTo>
                    <a:pt x="105" y="114"/>
                  </a:moveTo>
                  <a:lnTo>
                    <a:pt x="102" y="114"/>
                  </a:lnTo>
                  <a:lnTo>
                    <a:pt x="105" y="114"/>
                  </a:lnTo>
                  <a:close/>
                  <a:moveTo>
                    <a:pt x="102" y="114"/>
                  </a:moveTo>
                  <a:lnTo>
                    <a:pt x="102" y="112"/>
                  </a:lnTo>
                  <a:lnTo>
                    <a:pt x="102" y="114"/>
                  </a:lnTo>
                  <a:close/>
                  <a:moveTo>
                    <a:pt x="119" y="107"/>
                  </a:moveTo>
                  <a:lnTo>
                    <a:pt x="119" y="110"/>
                  </a:lnTo>
                  <a:lnTo>
                    <a:pt x="119" y="107"/>
                  </a:lnTo>
                  <a:close/>
                  <a:moveTo>
                    <a:pt x="88" y="110"/>
                  </a:moveTo>
                  <a:lnTo>
                    <a:pt x="88" y="107"/>
                  </a:lnTo>
                  <a:lnTo>
                    <a:pt x="88" y="110"/>
                  </a:lnTo>
                  <a:close/>
                  <a:moveTo>
                    <a:pt x="95" y="103"/>
                  </a:moveTo>
                  <a:lnTo>
                    <a:pt x="93" y="103"/>
                  </a:lnTo>
                  <a:lnTo>
                    <a:pt x="95" y="103"/>
                  </a:lnTo>
                  <a:close/>
                  <a:moveTo>
                    <a:pt x="90" y="103"/>
                  </a:moveTo>
                  <a:lnTo>
                    <a:pt x="90" y="100"/>
                  </a:lnTo>
                  <a:lnTo>
                    <a:pt x="90" y="103"/>
                  </a:lnTo>
                  <a:close/>
                  <a:moveTo>
                    <a:pt x="105" y="100"/>
                  </a:moveTo>
                  <a:lnTo>
                    <a:pt x="102" y="100"/>
                  </a:lnTo>
                  <a:lnTo>
                    <a:pt x="105" y="100"/>
                  </a:lnTo>
                  <a:close/>
                  <a:moveTo>
                    <a:pt x="88" y="91"/>
                  </a:moveTo>
                  <a:lnTo>
                    <a:pt x="86" y="91"/>
                  </a:lnTo>
                  <a:lnTo>
                    <a:pt x="88" y="91"/>
                  </a:lnTo>
                  <a:close/>
                  <a:moveTo>
                    <a:pt x="86" y="91"/>
                  </a:moveTo>
                  <a:lnTo>
                    <a:pt x="83" y="91"/>
                  </a:lnTo>
                  <a:lnTo>
                    <a:pt x="86" y="91"/>
                  </a:lnTo>
                  <a:close/>
                  <a:moveTo>
                    <a:pt x="79" y="84"/>
                  </a:moveTo>
                  <a:lnTo>
                    <a:pt x="76" y="84"/>
                  </a:lnTo>
                  <a:lnTo>
                    <a:pt x="79" y="84"/>
                  </a:lnTo>
                  <a:close/>
                  <a:moveTo>
                    <a:pt x="79" y="81"/>
                  </a:moveTo>
                  <a:lnTo>
                    <a:pt x="76" y="81"/>
                  </a:lnTo>
                  <a:lnTo>
                    <a:pt x="79" y="81"/>
                  </a:lnTo>
                  <a:close/>
                  <a:moveTo>
                    <a:pt x="79" y="79"/>
                  </a:moveTo>
                  <a:lnTo>
                    <a:pt x="76" y="79"/>
                  </a:lnTo>
                  <a:lnTo>
                    <a:pt x="79" y="79"/>
                  </a:lnTo>
                  <a:close/>
                  <a:moveTo>
                    <a:pt x="74" y="79"/>
                  </a:moveTo>
                  <a:lnTo>
                    <a:pt x="71" y="79"/>
                  </a:lnTo>
                  <a:lnTo>
                    <a:pt x="74" y="79"/>
                  </a:lnTo>
                  <a:close/>
                  <a:moveTo>
                    <a:pt x="71" y="76"/>
                  </a:moveTo>
                  <a:lnTo>
                    <a:pt x="69" y="76"/>
                  </a:lnTo>
                  <a:lnTo>
                    <a:pt x="71" y="76"/>
                  </a:lnTo>
                  <a:close/>
                  <a:moveTo>
                    <a:pt x="69" y="76"/>
                  </a:moveTo>
                  <a:lnTo>
                    <a:pt x="67" y="76"/>
                  </a:lnTo>
                  <a:lnTo>
                    <a:pt x="69" y="76"/>
                  </a:lnTo>
                  <a:close/>
                  <a:moveTo>
                    <a:pt x="62" y="76"/>
                  </a:moveTo>
                  <a:lnTo>
                    <a:pt x="60" y="76"/>
                  </a:lnTo>
                  <a:lnTo>
                    <a:pt x="62" y="76"/>
                  </a:lnTo>
                  <a:close/>
                  <a:moveTo>
                    <a:pt x="60" y="74"/>
                  </a:moveTo>
                  <a:lnTo>
                    <a:pt x="60" y="76"/>
                  </a:lnTo>
                  <a:lnTo>
                    <a:pt x="60" y="74"/>
                  </a:lnTo>
                  <a:close/>
                  <a:moveTo>
                    <a:pt x="60" y="74"/>
                  </a:moveTo>
                  <a:lnTo>
                    <a:pt x="60" y="76"/>
                  </a:lnTo>
                  <a:lnTo>
                    <a:pt x="60" y="74"/>
                  </a:lnTo>
                  <a:close/>
                  <a:moveTo>
                    <a:pt x="57" y="69"/>
                  </a:moveTo>
                  <a:lnTo>
                    <a:pt x="55" y="69"/>
                  </a:lnTo>
                  <a:lnTo>
                    <a:pt x="57" y="69"/>
                  </a:lnTo>
                  <a:close/>
                  <a:moveTo>
                    <a:pt x="57" y="67"/>
                  </a:moveTo>
                  <a:lnTo>
                    <a:pt x="60" y="67"/>
                  </a:lnTo>
                  <a:lnTo>
                    <a:pt x="57" y="67"/>
                  </a:lnTo>
                  <a:close/>
                  <a:moveTo>
                    <a:pt x="57" y="67"/>
                  </a:moveTo>
                  <a:lnTo>
                    <a:pt x="55" y="67"/>
                  </a:lnTo>
                  <a:lnTo>
                    <a:pt x="57" y="67"/>
                  </a:lnTo>
                  <a:close/>
                  <a:moveTo>
                    <a:pt x="62" y="67"/>
                  </a:moveTo>
                  <a:lnTo>
                    <a:pt x="60" y="67"/>
                  </a:lnTo>
                  <a:lnTo>
                    <a:pt x="60" y="65"/>
                  </a:lnTo>
                  <a:lnTo>
                    <a:pt x="60" y="67"/>
                  </a:lnTo>
                  <a:lnTo>
                    <a:pt x="62" y="67"/>
                  </a:lnTo>
                  <a:close/>
                  <a:moveTo>
                    <a:pt x="50" y="65"/>
                  </a:moveTo>
                  <a:lnTo>
                    <a:pt x="50" y="62"/>
                  </a:lnTo>
                  <a:lnTo>
                    <a:pt x="50" y="65"/>
                  </a:lnTo>
                  <a:close/>
                  <a:moveTo>
                    <a:pt x="52" y="62"/>
                  </a:moveTo>
                  <a:lnTo>
                    <a:pt x="50" y="62"/>
                  </a:lnTo>
                  <a:lnTo>
                    <a:pt x="52" y="62"/>
                  </a:lnTo>
                  <a:close/>
                  <a:moveTo>
                    <a:pt x="50" y="62"/>
                  </a:moveTo>
                  <a:lnTo>
                    <a:pt x="48" y="62"/>
                  </a:lnTo>
                  <a:lnTo>
                    <a:pt x="50" y="62"/>
                  </a:lnTo>
                  <a:close/>
                  <a:moveTo>
                    <a:pt x="50" y="57"/>
                  </a:moveTo>
                  <a:lnTo>
                    <a:pt x="48" y="57"/>
                  </a:lnTo>
                  <a:lnTo>
                    <a:pt x="50" y="57"/>
                  </a:lnTo>
                  <a:close/>
                  <a:moveTo>
                    <a:pt x="45" y="55"/>
                  </a:moveTo>
                  <a:lnTo>
                    <a:pt x="43" y="55"/>
                  </a:lnTo>
                  <a:lnTo>
                    <a:pt x="45" y="55"/>
                  </a:lnTo>
                  <a:close/>
                  <a:moveTo>
                    <a:pt x="41" y="53"/>
                  </a:moveTo>
                  <a:lnTo>
                    <a:pt x="38" y="53"/>
                  </a:lnTo>
                  <a:lnTo>
                    <a:pt x="41" y="53"/>
                  </a:lnTo>
                  <a:close/>
                  <a:moveTo>
                    <a:pt x="55" y="50"/>
                  </a:moveTo>
                  <a:lnTo>
                    <a:pt x="52" y="50"/>
                  </a:lnTo>
                  <a:lnTo>
                    <a:pt x="55" y="50"/>
                  </a:lnTo>
                  <a:close/>
                  <a:moveTo>
                    <a:pt x="55" y="48"/>
                  </a:moveTo>
                  <a:lnTo>
                    <a:pt x="55" y="50"/>
                  </a:lnTo>
                  <a:lnTo>
                    <a:pt x="55" y="48"/>
                  </a:lnTo>
                  <a:close/>
                  <a:moveTo>
                    <a:pt x="33" y="46"/>
                  </a:moveTo>
                  <a:lnTo>
                    <a:pt x="33" y="48"/>
                  </a:lnTo>
                  <a:lnTo>
                    <a:pt x="33" y="46"/>
                  </a:lnTo>
                  <a:close/>
                  <a:moveTo>
                    <a:pt x="41" y="43"/>
                  </a:moveTo>
                  <a:lnTo>
                    <a:pt x="38" y="43"/>
                  </a:lnTo>
                  <a:lnTo>
                    <a:pt x="41" y="43"/>
                  </a:lnTo>
                  <a:close/>
                  <a:moveTo>
                    <a:pt x="36" y="29"/>
                  </a:moveTo>
                  <a:lnTo>
                    <a:pt x="36" y="31"/>
                  </a:lnTo>
                  <a:lnTo>
                    <a:pt x="36" y="29"/>
                  </a:lnTo>
                  <a:close/>
                  <a:moveTo>
                    <a:pt x="7" y="22"/>
                  </a:moveTo>
                  <a:lnTo>
                    <a:pt x="5" y="22"/>
                  </a:lnTo>
                  <a:lnTo>
                    <a:pt x="7" y="22"/>
                  </a:lnTo>
                  <a:close/>
                  <a:moveTo>
                    <a:pt x="5" y="15"/>
                  </a:moveTo>
                  <a:lnTo>
                    <a:pt x="3" y="15"/>
                  </a:lnTo>
                  <a:lnTo>
                    <a:pt x="5" y="15"/>
                  </a:lnTo>
                  <a:close/>
                  <a:moveTo>
                    <a:pt x="3" y="10"/>
                  </a:moveTo>
                  <a:lnTo>
                    <a:pt x="0" y="10"/>
                  </a:lnTo>
                  <a:lnTo>
                    <a:pt x="3" y="10"/>
                  </a:lnTo>
                  <a:close/>
                  <a:moveTo>
                    <a:pt x="29" y="0"/>
                  </a:moveTo>
                  <a:lnTo>
                    <a:pt x="29" y="3"/>
                  </a:lnTo>
                  <a:lnTo>
                    <a:pt x="2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3" name="Freeform 50286"/>
            <p:cNvSpPr>
              <a:spLocks/>
            </p:cNvSpPr>
            <p:nvPr/>
          </p:nvSpPr>
          <p:spPr bwMode="auto">
            <a:xfrm>
              <a:off x="2662236" y="4618053"/>
              <a:ext cx="354013" cy="192090"/>
            </a:xfrm>
            <a:custGeom>
              <a:avLst/>
              <a:gdLst>
                <a:gd name="T0" fmla="*/ 80 w 223"/>
                <a:gd name="T1" fmla="*/ 3 h 121"/>
                <a:gd name="T2" fmla="*/ 88 w 223"/>
                <a:gd name="T3" fmla="*/ 12 h 121"/>
                <a:gd name="T4" fmla="*/ 95 w 223"/>
                <a:gd name="T5" fmla="*/ 3 h 121"/>
                <a:gd name="T6" fmla="*/ 102 w 223"/>
                <a:gd name="T7" fmla="*/ 3 h 121"/>
                <a:gd name="T8" fmla="*/ 107 w 223"/>
                <a:gd name="T9" fmla="*/ 14 h 121"/>
                <a:gd name="T10" fmla="*/ 114 w 223"/>
                <a:gd name="T11" fmla="*/ 14 h 121"/>
                <a:gd name="T12" fmla="*/ 123 w 223"/>
                <a:gd name="T13" fmla="*/ 19 h 121"/>
                <a:gd name="T14" fmla="*/ 133 w 223"/>
                <a:gd name="T15" fmla="*/ 22 h 121"/>
                <a:gd name="T16" fmla="*/ 142 w 223"/>
                <a:gd name="T17" fmla="*/ 24 h 121"/>
                <a:gd name="T18" fmla="*/ 135 w 223"/>
                <a:gd name="T19" fmla="*/ 29 h 121"/>
                <a:gd name="T20" fmla="*/ 140 w 223"/>
                <a:gd name="T21" fmla="*/ 36 h 121"/>
                <a:gd name="T22" fmla="*/ 147 w 223"/>
                <a:gd name="T23" fmla="*/ 45 h 121"/>
                <a:gd name="T24" fmla="*/ 156 w 223"/>
                <a:gd name="T25" fmla="*/ 41 h 121"/>
                <a:gd name="T26" fmla="*/ 159 w 223"/>
                <a:gd name="T27" fmla="*/ 33 h 121"/>
                <a:gd name="T28" fmla="*/ 166 w 223"/>
                <a:gd name="T29" fmla="*/ 33 h 121"/>
                <a:gd name="T30" fmla="*/ 173 w 223"/>
                <a:gd name="T31" fmla="*/ 38 h 121"/>
                <a:gd name="T32" fmla="*/ 180 w 223"/>
                <a:gd name="T33" fmla="*/ 38 h 121"/>
                <a:gd name="T34" fmla="*/ 185 w 223"/>
                <a:gd name="T35" fmla="*/ 41 h 121"/>
                <a:gd name="T36" fmla="*/ 183 w 223"/>
                <a:gd name="T37" fmla="*/ 45 h 121"/>
                <a:gd name="T38" fmla="*/ 190 w 223"/>
                <a:gd name="T39" fmla="*/ 52 h 121"/>
                <a:gd name="T40" fmla="*/ 194 w 223"/>
                <a:gd name="T41" fmla="*/ 50 h 121"/>
                <a:gd name="T42" fmla="*/ 206 w 223"/>
                <a:gd name="T43" fmla="*/ 55 h 121"/>
                <a:gd name="T44" fmla="*/ 213 w 223"/>
                <a:gd name="T45" fmla="*/ 55 h 121"/>
                <a:gd name="T46" fmla="*/ 216 w 223"/>
                <a:gd name="T47" fmla="*/ 67 h 121"/>
                <a:gd name="T48" fmla="*/ 220 w 223"/>
                <a:gd name="T49" fmla="*/ 74 h 121"/>
                <a:gd name="T50" fmla="*/ 209 w 223"/>
                <a:gd name="T51" fmla="*/ 79 h 121"/>
                <a:gd name="T52" fmla="*/ 199 w 223"/>
                <a:gd name="T53" fmla="*/ 86 h 121"/>
                <a:gd name="T54" fmla="*/ 194 w 223"/>
                <a:gd name="T55" fmla="*/ 98 h 121"/>
                <a:gd name="T56" fmla="*/ 187 w 223"/>
                <a:gd name="T57" fmla="*/ 102 h 121"/>
                <a:gd name="T58" fmla="*/ 178 w 223"/>
                <a:gd name="T59" fmla="*/ 110 h 121"/>
                <a:gd name="T60" fmla="*/ 166 w 223"/>
                <a:gd name="T61" fmla="*/ 107 h 121"/>
                <a:gd name="T62" fmla="*/ 159 w 223"/>
                <a:gd name="T63" fmla="*/ 117 h 121"/>
                <a:gd name="T64" fmla="*/ 152 w 223"/>
                <a:gd name="T65" fmla="*/ 114 h 121"/>
                <a:gd name="T66" fmla="*/ 142 w 223"/>
                <a:gd name="T67" fmla="*/ 112 h 121"/>
                <a:gd name="T68" fmla="*/ 130 w 223"/>
                <a:gd name="T69" fmla="*/ 112 h 121"/>
                <a:gd name="T70" fmla="*/ 121 w 223"/>
                <a:gd name="T71" fmla="*/ 107 h 121"/>
                <a:gd name="T72" fmla="*/ 109 w 223"/>
                <a:gd name="T73" fmla="*/ 102 h 121"/>
                <a:gd name="T74" fmla="*/ 99 w 223"/>
                <a:gd name="T75" fmla="*/ 100 h 121"/>
                <a:gd name="T76" fmla="*/ 95 w 223"/>
                <a:gd name="T77" fmla="*/ 110 h 121"/>
                <a:gd name="T78" fmla="*/ 88 w 223"/>
                <a:gd name="T79" fmla="*/ 112 h 121"/>
                <a:gd name="T80" fmla="*/ 78 w 223"/>
                <a:gd name="T81" fmla="*/ 119 h 121"/>
                <a:gd name="T82" fmla="*/ 69 w 223"/>
                <a:gd name="T83" fmla="*/ 121 h 121"/>
                <a:gd name="T84" fmla="*/ 59 w 223"/>
                <a:gd name="T85" fmla="*/ 114 h 121"/>
                <a:gd name="T86" fmla="*/ 52 w 223"/>
                <a:gd name="T87" fmla="*/ 105 h 121"/>
                <a:gd name="T88" fmla="*/ 43 w 223"/>
                <a:gd name="T89" fmla="*/ 102 h 121"/>
                <a:gd name="T90" fmla="*/ 35 w 223"/>
                <a:gd name="T91" fmla="*/ 93 h 121"/>
                <a:gd name="T92" fmla="*/ 28 w 223"/>
                <a:gd name="T93" fmla="*/ 86 h 121"/>
                <a:gd name="T94" fmla="*/ 21 w 223"/>
                <a:gd name="T95" fmla="*/ 81 h 121"/>
                <a:gd name="T96" fmla="*/ 14 w 223"/>
                <a:gd name="T97" fmla="*/ 71 h 121"/>
                <a:gd name="T98" fmla="*/ 9 w 223"/>
                <a:gd name="T99" fmla="*/ 67 h 121"/>
                <a:gd name="T100" fmla="*/ 12 w 223"/>
                <a:gd name="T101" fmla="*/ 55 h 121"/>
                <a:gd name="T102" fmla="*/ 5 w 223"/>
                <a:gd name="T103" fmla="*/ 48 h 121"/>
                <a:gd name="T104" fmla="*/ 0 w 223"/>
                <a:gd name="T105" fmla="*/ 41 h 121"/>
                <a:gd name="T106" fmla="*/ 5 w 223"/>
                <a:gd name="T107" fmla="*/ 38 h 121"/>
                <a:gd name="T108" fmla="*/ 9 w 223"/>
                <a:gd name="T109" fmla="*/ 36 h 121"/>
                <a:gd name="T110" fmla="*/ 19 w 223"/>
                <a:gd name="T111" fmla="*/ 31 h 121"/>
                <a:gd name="T112" fmla="*/ 28 w 223"/>
                <a:gd name="T113" fmla="*/ 29 h 121"/>
                <a:gd name="T114" fmla="*/ 38 w 223"/>
                <a:gd name="T115" fmla="*/ 22 h 121"/>
                <a:gd name="T116" fmla="*/ 47 w 223"/>
                <a:gd name="T117" fmla="*/ 19 h 121"/>
                <a:gd name="T118" fmla="*/ 57 w 223"/>
                <a:gd name="T119" fmla="*/ 14 h 121"/>
                <a:gd name="T120" fmla="*/ 66 w 223"/>
                <a:gd name="T121" fmla="*/ 12 h 121"/>
                <a:gd name="T122" fmla="*/ 76 w 223"/>
                <a:gd name="T123" fmla="*/ 7 h 121"/>
                <a:gd name="T124" fmla="*/ 73 w 223"/>
                <a:gd name="T125" fmla="*/ 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121">
                  <a:moveTo>
                    <a:pt x="73" y="0"/>
                  </a:moveTo>
                  <a:lnTo>
                    <a:pt x="73" y="3"/>
                  </a:lnTo>
                  <a:lnTo>
                    <a:pt x="76" y="3"/>
                  </a:lnTo>
                  <a:lnTo>
                    <a:pt x="76" y="0"/>
                  </a:lnTo>
                  <a:lnTo>
                    <a:pt x="78" y="0"/>
                  </a:lnTo>
                  <a:lnTo>
                    <a:pt x="78" y="3"/>
                  </a:lnTo>
                  <a:lnTo>
                    <a:pt x="80" y="3"/>
                  </a:lnTo>
                  <a:lnTo>
                    <a:pt x="80" y="5"/>
                  </a:lnTo>
                  <a:lnTo>
                    <a:pt x="80" y="7"/>
                  </a:lnTo>
                  <a:lnTo>
                    <a:pt x="83" y="7"/>
                  </a:lnTo>
                  <a:lnTo>
                    <a:pt x="83" y="10"/>
                  </a:lnTo>
                  <a:lnTo>
                    <a:pt x="85" y="10"/>
                  </a:lnTo>
                  <a:lnTo>
                    <a:pt x="85" y="12"/>
                  </a:lnTo>
                  <a:lnTo>
                    <a:pt x="88" y="12"/>
                  </a:lnTo>
                  <a:lnTo>
                    <a:pt x="88" y="10"/>
                  </a:lnTo>
                  <a:lnTo>
                    <a:pt x="90" y="10"/>
                  </a:lnTo>
                  <a:lnTo>
                    <a:pt x="92" y="10"/>
                  </a:lnTo>
                  <a:lnTo>
                    <a:pt x="95" y="10"/>
                  </a:lnTo>
                  <a:lnTo>
                    <a:pt x="95" y="7"/>
                  </a:lnTo>
                  <a:lnTo>
                    <a:pt x="95" y="5"/>
                  </a:lnTo>
                  <a:lnTo>
                    <a:pt x="95" y="3"/>
                  </a:lnTo>
                  <a:lnTo>
                    <a:pt x="95" y="5"/>
                  </a:lnTo>
                  <a:lnTo>
                    <a:pt x="95" y="3"/>
                  </a:lnTo>
                  <a:lnTo>
                    <a:pt x="97" y="3"/>
                  </a:lnTo>
                  <a:lnTo>
                    <a:pt x="99" y="3"/>
                  </a:lnTo>
                  <a:lnTo>
                    <a:pt x="99" y="5"/>
                  </a:lnTo>
                  <a:lnTo>
                    <a:pt x="102" y="5"/>
                  </a:lnTo>
                  <a:lnTo>
                    <a:pt x="102" y="3"/>
                  </a:lnTo>
                  <a:lnTo>
                    <a:pt x="102" y="5"/>
                  </a:lnTo>
                  <a:lnTo>
                    <a:pt x="104" y="5"/>
                  </a:lnTo>
                  <a:lnTo>
                    <a:pt x="104" y="7"/>
                  </a:lnTo>
                  <a:lnTo>
                    <a:pt x="104" y="10"/>
                  </a:lnTo>
                  <a:lnTo>
                    <a:pt x="107" y="10"/>
                  </a:lnTo>
                  <a:lnTo>
                    <a:pt x="107" y="12"/>
                  </a:lnTo>
                  <a:lnTo>
                    <a:pt x="107" y="14"/>
                  </a:lnTo>
                  <a:lnTo>
                    <a:pt x="109" y="14"/>
                  </a:lnTo>
                  <a:lnTo>
                    <a:pt x="109" y="12"/>
                  </a:lnTo>
                  <a:lnTo>
                    <a:pt x="111" y="12"/>
                  </a:lnTo>
                  <a:lnTo>
                    <a:pt x="111" y="14"/>
                  </a:lnTo>
                  <a:lnTo>
                    <a:pt x="111" y="12"/>
                  </a:lnTo>
                  <a:lnTo>
                    <a:pt x="111" y="14"/>
                  </a:lnTo>
                  <a:lnTo>
                    <a:pt x="114" y="14"/>
                  </a:lnTo>
                  <a:lnTo>
                    <a:pt x="116" y="14"/>
                  </a:lnTo>
                  <a:lnTo>
                    <a:pt x="118" y="17"/>
                  </a:lnTo>
                  <a:lnTo>
                    <a:pt x="118" y="14"/>
                  </a:lnTo>
                  <a:lnTo>
                    <a:pt x="121" y="14"/>
                  </a:lnTo>
                  <a:lnTo>
                    <a:pt x="121" y="17"/>
                  </a:lnTo>
                  <a:lnTo>
                    <a:pt x="123" y="17"/>
                  </a:lnTo>
                  <a:lnTo>
                    <a:pt x="123" y="19"/>
                  </a:lnTo>
                  <a:lnTo>
                    <a:pt x="126" y="19"/>
                  </a:lnTo>
                  <a:lnTo>
                    <a:pt x="128" y="19"/>
                  </a:lnTo>
                  <a:lnTo>
                    <a:pt x="128" y="22"/>
                  </a:lnTo>
                  <a:lnTo>
                    <a:pt x="130" y="22"/>
                  </a:lnTo>
                  <a:lnTo>
                    <a:pt x="130" y="19"/>
                  </a:lnTo>
                  <a:lnTo>
                    <a:pt x="133" y="19"/>
                  </a:lnTo>
                  <a:lnTo>
                    <a:pt x="133" y="22"/>
                  </a:lnTo>
                  <a:lnTo>
                    <a:pt x="135" y="22"/>
                  </a:lnTo>
                  <a:lnTo>
                    <a:pt x="135" y="19"/>
                  </a:lnTo>
                  <a:lnTo>
                    <a:pt x="137" y="19"/>
                  </a:lnTo>
                  <a:lnTo>
                    <a:pt x="140" y="19"/>
                  </a:lnTo>
                  <a:lnTo>
                    <a:pt x="140" y="22"/>
                  </a:lnTo>
                  <a:lnTo>
                    <a:pt x="142" y="22"/>
                  </a:lnTo>
                  <a:lnTo>
                    <a:pt x="142" y="24"/>
                  </a:lnTo>
                  <a:lnTo>
                    <a:pt x="140" y="24"/>
                  </a:lnTo>
                  <a:lnTo>
                    <a:pt x="142" y="24"/>
                  </a:lnTo>
                  <a:lnTo>
                    <a:pt x="140" y="24"/>
                  </a:lnTo>
                  <a:lnTo>
                    <a:pt x="140" y="26"/>
                  </a:lnTo>
                  <a:lnTo>
                    <a:pt x="137" y="26"/>
                  </a:lnTo>
                  <a:lnTo>
                    <a:pt x="137" y="29"/>
                  </a:lnTo>
                  <a:lnTo>
                    <a:pt x="135" y="29"/>
                  </a:lnTo>
                  <a:lnTo>
                    <a:pt x="135" y="31"/>
                  </a:lnTo>
                  <a:lnTo>
                    <a:pt x="135" y="29"/>
                  </a:lnTo>
                  <a:lnTo>
                    <a:pt x="135" y="31"/>
                  </a:lnTo>
                  <a:lnTo>
                    <a:pt x="135" y="33"/>
                  </a:lnTo>
                  <a:lnTo>
                    <a:pt x="137" y="33"/>
                  </a:lnTo>
                  <a:lnTo>
                    <a:pt x="140" y="33"/>
                  </a:lnTo>
                  <a:lnTo>
                    <a:pt x="140" y="36"/>
                  </a:lnTo>
                  <a:lnTo>
                    <a:pt x="142" y="36"/>
                  </a:lnTo>
                  <a:lnTo>
                    <a:pt x="142" y="38"/>
                  </a:lnTo>
                  <a:lnTo>
                    <a:pt x="145" y="38"/>
                  </a:lnTo>
                  <a:lnTo>
                    <a:pt x="145" y="41"/>
                  </a:lnTo>
                  <a:lnTo>
                    <a:pt x="147" y="41"/>
                  </a:lnTo>
                  <a:lnTo>
                    <a:pt x="147" y="43"/>
                  </a:lnTo>
                  <a:lnTo>
                    <a:pt x="147" y="45"/>
                  </a:lnTo>
                  <a:lnTo>
                    <a:pt x="149" y="45"/>
                  </a:lnTo>
                  <a:lnTo>
                    <a:pt x="149" y="48"/>
                  </a:lnTo>
                  <a:lnTo>
                    <a:pt x="152" y="48"/>
                  </a:lnTo>
                  <a:lnTo>
                    <a:pt x="152" y="45"/>
                  </a:lnTo>
                  <a:lnTo>
                    <a:pt x="154" y="45"/>
                  </a:lnTo>
                  <a:lnTo>
                    <a:pt x="154" y="43"/>
                  </a:lnTo>
                  <a:lnTo>
                    <a:pt x="156" y="41"/>
                  </a:lnTo>
                  <a:lnTo>
                    <a:pt x="156" y="43"/>
                  </a:lnTo>
                  <a:lnTo>
                    <a:pt x="156" y="41"/>
                  </a:lnTo>
                  <a:lnTo>
                    <a:pt x="159" y="41"/>
                  </a:lnTo>
                  <a:lnTo>
                    <a:pt x="161" y="41"/>
                  </a:lnTo>
                  <a:lnTo>
                    <a:pt x="161" y="38"/>
                  </a:lnTo>
                  <a:lnTo>
                    <a:pt x="159" y="36"/>
                  </a:lnTo>
                  <a:lnTo>
                    <a:pt x="159" y="33"/>
                  </a:lnTo>
                  <a:lnTo>
                    <a:pt x="156" y="33"/>
                  </a:lnTo>
                  <a:lnTo>
                    <a:pt x="156" y="31"/>
                  </a:lnTo>
                  <a:lnTo>
                    <a:pt x="159" y="31"/>
                  </a:lnTo>
                  <a:lnTo>
                    <a:pt x="161" y="31"/>
                  </a:lnTo>
                  <a:lnTo>
                    <a:pt x="164" y="31"/>
                  </a:lnTo>
                  <a:lnTo>
                    <a:pt x="164" y="33"/>
                  </a:lnTo>
                  <a:lnTo>
                    <a:pt x="166" y="33"/>
                  </a:lnTo>
                  <a:lnTo>
                    <a:pt x="168" y="33"/>
                  </a:lnTo>
                  <a:lnTo>
                    <a:pt x="166" y="33"/>
                  </a:lnTo>
                  <a:lnTo>
                    <a:pt x="168" y="33"/>
                  </a:lnTo>
                  <a:lnTo>
                    <a:pt x="168" y="36"/>
                  </a:lnTo>
                  <a:lnTo>
                    <a:pt x="171" y="36"/>
                  </a:lnTo>
                  <a:lnTo>
                    <a:pt x="173" y="36"/>
                  </a:lnTo>
                  <a:lnTo>
                    <a:pt x="173" y="38"/>
                  </a:lnTo>
                  <a:lnTo>
                    <a:pt x="171" y="38"/>
                  </a:lnTo>
                  <a:lnTo>
                    <a:pt x="173" y="38"/>
                  </a:lnTo>
                  <a:lnTo>
                    <a:pt x="175" y="38"/>
                  </a:lnTo>
                  <a:lnTo>
                    <a:pt x="175" y="41"/>
                  </a:lnTo>
                  <a:lnTo>
                    <a:pt x="175" y="38"/>
                  </a:lnTo>
                  <a:lnTo>
                    <a:pt x="178" y="38"/>
                  </a:lnTo>
                  <a:lnTo>
                    <a:pt x="180" y="38"/>
                  </a:lnTo>
                  <a:lnTo>
                    <a:pt x="183" y="38"/>
                  </a:lnTo>
                  <a:lnTo>
                    <a:pt x="183" y="36"/>
                  </a:lnTo>
                  <a:lnTo>
                    <a:pt x="185" y="36"/>
                  </a:lnTo>
                  <a:lnTo>
                    <a:pt x="185" y="38"/>
                  </a:lnTo>
                  <a:lnTo>
                    <a:pt x="185" y="41"/>
                  </a:lnTo>
                  <a:lnTo>
                    <a:pt x="185" y="43"/>
                  </a:lnTo>
                  <a:lnTo>
                    <a:pt x="185" y="41"/>
                  </a:lnTo>
                  <a:lnTo>
                    <a:pt x="185" y="43"/>
                  </a:lnTo>
                  <a:lnTo>
                    <a:pt x="183" y="43"/>
                  </a:lnTo>
                  <a:lnTo>
                    <a:pt x="180" y="43"/>
                  </a:lnTo>
                  <a:lnTo>
                    <a:pt x="180" y="45"/>
                  </a:lnTo>
                  <a:lnTo>
                    <a:pt x="183" y="45"/>
                  </a:lnTo>
                  <a:lnTo>
                    <a:pt x="183" y="48"/>
                  </a:lnTo>
                  <a:lnTo>
                    <a:pt x="183" y="45"/>
                  </a:lnTo>
                  <a:lnTo>
                    <a:pt x="185" y="48"/>
                  </a:lnTo>
                  <a:lnTo>
                    <a:pt x="185" y="50"/>
                  </a:lnTo>
                  <a:lnTo>
                    <a:pt x="187" y="50"/>
                  </a:lnTo>
                  <a:lnTo>
                    <a:pt x="185" y="50"/>
                  </a:lnTo>
                  <a:lnTo>
                    <a:pt x="187" y="50"/>
                  </a:lnTo>
                  <a:lnTo>
                    <a:pt x="187" y="52"/>
                  </a:lnTo>
                  <a:lnTo>
                    <a:pt x="190" y="52"/>
                  </a:lnTo>
                  <a:lnTo>
                    <a:pt x="192" y="52"/>
                  </a:lnTo>
                  <a:lnTo>
                    <a:pt x="192" y="50"/>
                  </a:lnTo>
                  <a:lnTo>
                    <a:pt x="194" y="50"/>
                  </a:lnTo>
                  <a:lnTo>
                    <a:pt x="194" y="52"/>
                  </a:lnTo>
                  <a:lnTo>
                    <a:pt x="194" y="50"/>
                  </a:lnTo>
                  <a:lnTo>
                    <a:pt x="194" y="48"/>
                  </a:lnTo>
                  <a:lnTo>
                    <a:pt x="194" y="50"/>
                  </a:lnTo>
                  <a:lnTo>
                    <a:pt x="197" y="50"/>
                  </a:lnTo>
                  <a:lnTo>
                    <a:pt x="197" y="52"/>
                  </a:lnTo>
                  <a:lnTo>
                    <a:pt x="199" y="52"/>
                  </a:lnTo>
                  <a:lnTo>
                    <a:pt x="201" y="52"/>
                  </a:lnTo>
                  <a:lnTo>
                    <a:pt x="204" y="52"/>
                  </a:lnTo>
                  <a:lnTo>
                    <a:pt x="204" y="55"/>
                  </a:lnTo>
                  <a:lnTo>
                    <a:pt x="206" y="55"/>
                  </a:lnTo>
                  <a:lnTo>
                    <a:pt x="204" y="55"/>
                  </a:lnTo>
                  <a:lnTo>
                    <a:pt x="206" y="55"/>
                  </a:lnTo>
                  <a:lnTo>
                    <a:pt x="209" y="55"/>
                  </a:lnTo>
                  <a:lnTo>
                    <a:pt x="209" y="57"/>
                  </a:lnTo>
                  <a:lnTo>
                    <a:pt x="211" y="57"/>
                  </a:lnTo>
                  <a:lnTo>
                    <a:pt x="211" y="55"/>
                  </a:lnTo>
                  <a:lnTo>
                    <a:pt x="213" y="55"/>
                  </a:lnTo>
                  <a:lnTo>
                    <a:pt x="213" y="57"/>
                  </a:lnTo>
                  <a:lnTo>
                    <a:pt x="211" y="57"/>
                  </a:lnTo>
                  <a:lnTo>
                    <a:pt x="213" y="57"/>
                  </a:lnTo>
                  <a:lnTo>
                    <a:pt x="213" y="60"/>
                  </a:lnTo>
                  <a:lnTo>
                    <a:pt x="213" y="62"/>
                  </a:lnTo>
                  <a:lnTo>
                    <a:pt x="213" y="64"/>
                  </a:lnTo>
                  <a:lnTo>
                    <a:pt x="216" y="67"/>
                  </a:lnTo>
                  <a:lnTo>
                    <a:pt x="218" y="67"/>
                  </a:lnTo>
                  <a:lnTo>
                    <a:pt x="220" y="67"/>
                  </a:lnTo>
                  <a:lnTo>
                    <a:pt x="220" y="69"/>
                  </a:lnTo>
                  <a:lnTo>
                    <a:pt x="220" y="71"/>
                  </a:lnTo>
                  <a:lnTo>
                    <a:pt x="220" y="74"/>
                  </a:lnTo>
                  <a:lnTo>
                    <a:pt x="223" y="74"/>
                  </a:lnTo>
                  <a:lnTo>
                    <a:pt x="220" y="74"/>
                  </a:lnTo>
                  <a:lnTo>
                    <a:pt x="220" y="76"/>
                  </a:lnTo>
                  <a:lnTo>
                    <a:pt x="218" y="76"/>
                  </a:lnTo>
                  <a:lnTo>
                    <a:pt x="216" y="76"/>
                  </a:lnTo>
                  <a:lnTo>
                    <a:pt x="213" y="76"/>
                  </a:lnTo>
                  <a:lnTo>
                    <a:pt x="211" y="76"/>
                  </a:lnTo>
                  <a:lnTo>
                    <a:pt x="211" y="79"/>
                  </a:lnTo>
                  <a:lnTo>
                    <a:pt x="209" y="79"/>
                  </a:lnTo>
                  <a:lnTo>
                    <a:pt x="209" y="81"/>
                  </a:lnTo>
                  <a:lnTo>
                    <a:pt x="206" y="81"/>
                  </a:lnTo>
                  <a:lnTo>
                    <a:pt x="206" y="83"/>
                  </a:lnTo>
                  <a:lnTo>
                    <a:pt x="206" y="86"/>
                  </a:lnTo>
                  <a:lnTo>
                    <a:pt x="204" y="86"/>
                  </a:lnTo>
                  <a:lnTo>
                    <a:pt x="201" y="86"/>
                  </a:lnTo>
                  <a:lnTo>
                    <a:pt x="199" y="86"/>
                  </a:lnTo>
                  <a:lnTo>
                    <a:pt x="199" y="88"/>
                  </a:lnTo>
                  <a:lnTo>
                    <a:pt x="199" y="91"/>
                  </a:lnTo>
                  <a:lnTo>
                    <a:pt x="197" y="91"/>
                  </a:lnTo>
                  <a:lnTo>
                    <a:pt x="197" y="93"/>
                  </a:lnTo>
                  <a:lnTo>
                    <a:pt x="197" y="95"/>
                  </a:lnTo>
                  <a:lnTo>
                    <a:pt x="197" y="98"/>
                  </a:lnTo>
                  <a:lnTo>
                    <a:pt x="194" y="98"/>
                  </a:lnTo>
                  <a:lnTo>
                    <a:pt x="194" y="100"/>
                  </a:lnTo>
                  <a:lnTo>
                    <a:pt x="194" y="98"/>
                  </a:lnTo>
                  <a:lnTo>
                    <a:pt x="192" y="100"/>
                  </a:lnTo>
                  <a:lnTo>
                    <a:pt x="190" y="100"/>
                  </a:lnTo>
                  <a:lnTo>
                    <a:pt x="190" y="102"/>
                  </a:lnTo>
                  <a:lnTo>
                    <a:pt x="190" y="105"/>
                  </a:lnTo>
                  <a:lnTo>
                    <a:pt x="187" y="102"/>
                  </a:lnTo>
                  <a:lnTo>
                    <a:pt x="187" y="105"/>
                  </a:lnTo>
                  <a:lnTo>
                    <a:pt x="185" y="105"/>
                  </a:lnTo>
                  <a:lnTo>
                    <a:pt x="185" y="107"/>
                  </a:lnTo>
                  <a:lnTo>
                    <a:pt x="183" y="107"/>
                  </a:lnTo>
                  <a:lnTo>
                    <a:pt x="180" y="107"/>
                  </a:lnTo>
                  <a:lnTo>
                    <a:pt x="180" y="110"/>
                  </a:lnTo>
                  <a:lnTo>
                    <a:pt x="178" y="110"/>
                  </a:lnTo>
                  <a:lnTo>
                    <a:pt x="178" y="107"/>
                  </a:lnTo>
                  <a:lnTo>
                    <a:pt x="175" y="107"/>
                  </a:lnTo>
                  <a:lnTo>
                    <a:pt x="175" y="110"/>
                  </a:lnTo>
                  <a:lnTo>
                    <a:pt x="173" y="110"/>
                  </a:lnTo>
                  <a:lnTo>
                    <a:pt x="171" y="107"/>
                  </a:lnTo>
                  <a:lnTo>
                    <a:pt x="168" y="107"/>
                  </a:lnTo>
                  <a:lnTo>
                    <a:pt x="166" y="107"/>
                  </a:lnTo>
                  <a:lnTo>
                    <a:pt x="164" y="107"/>
                  </a:lnTo>
                  <a:lnTo>
                    <a:pt x="164" y="110"/>
                  </a:lnTo>
                  <a:lnTo>
                    <a:pt x="164" y="112"/>
                  </a:lnTo>
                  <a:lnTo>
                    <a:pt x="161" y="112"/>
                  </a:lnTo>
                  <a:lnTo>
                    <a:pt x="161" y="114"/>
                  </a:lnTo>
                  <a:lnTo>
                    <a:pt x="159" y="114"/>
                  </a:lnTo>
                  <a:lnTo>
                    <a:pt x="159" y="117"/>
                  </a:lnTo>
                  <a:lnTo>
                    <a:pt x="159" y="119"/>
                  </a:lnTo>
                  <a:lnTo>
                    <a:pt x="159" y="117"/>
                  </a:lnTo>
                  <a:lnTo>
                    <a:pt x="156" y="117"/>
                  </a:lnTo>
                  <a:lnTo>
                    <a:pt x="159" y="114"/>
                  </a:lnTo>
                  <a:lnTo>
                    <a:pt x="156" y="114"/>
                  </a:lnTo>
                  <a:lnTo>
                    <a:pt x="154" y="114"/>
                  </a:lnTo>
                  <a:lnTo>
                    <a:pt x="152" y="114"/>
                  </a:lnTo>
                  <a:lnTo>
                    <a:pt x="152" y="112"/>
                  </a:lnTo>
                  <a:lnTo>
                    <a:pt x="149" y="112"/>
                  </a:lnTo>
                  <a:lnTo>
                    <a:pt x="149" y="110"/>
                  </a:lnTo>
                  <a:lnTo>
                    <a:pt x="147" y="110"/>
                  </a:lnTo>
                  <a:lnTo>
                    <a:pt x="145" y="110"/>
                  </a:lnTo>
                  <a:lnTo>
                    <a:pt x="142" y="110"/>
                  </a:lnTo>
                  <a:lnTo>
                    <a:pt x="142" y="112"/>
                  </a:lnTo>
                  <a:lnTo>
                    <a:pt x="140" y="112"/>
                  </a:lnTo>
                  <a:lnTo>
                    <a:pt x="140" y="114"/>
                  </a:lnTo>
                  <a:lnTo>
                    <a:pt x="140" y="112"/>
                  </a:lnTo>
                  <a:lnTo>
                    <a:pt x="137" y="112"/>
                  </a:lnTo>
                  <a:lnTo>
                    <a:pt x="135" y="112"/>
                  </a:lnTo>
                  <a:lnTo>
                    <a:pt x="133" y="112"/>
                  </a:lnTo>
                  <a:lnTo>
                    <a:pt x="130" y="112"/>
                  </a:lnTo>
                  <a:lnTo>
                    <a:pt x="128" y="112"/>
                  </a:lnTo>
                  <a:lnTo>
                    <a:pt x="126" y="110"/>
                  </a:lnTo>
                  <a:lnTo>
                    <a:pt x="126" y="107"/>
                  </a:lnTo>
                  <a:lnTo>
                    <a:pt x="123" y="107"/>
                  </a:lnTo>
                  <a:lnTo>
                    <a:pt x="126" y="107"/>
                  </a:lnTo>
                  <a:lnTo>
                    <a:pt x="123" y="107"/>
                  </a:lnTo>
                  <a:lnTo>
                    <a:pt x="121" y="107"/>
                  </a:lnTo>
                  <a:lnTo>
                    <a:pt x="118" y="107"/>
                  </a:lnTo>
                  <a:lnTo>
                    <a:pt x="116" y="107"/>
                  </a:lnTo>
                  <a:lnTo>
                    <a:pt x="116" y="105"/>
                  </a:lnTo>
                  <a:lnTo>
                    <a:pt x="114" y="105"/>
                  </a:lnTo>
                  <a:lnTo>
                    <a:pt x="111" y="105"/>
                  </a:lnTo>
                  <a:lnTo>
                    <a:pt x="111" y="102"/>
                  </a:lnTo>
                  <a:lnTo>
                    <a:pt x="109" y="102"/>
                  </a:lnTo>
                  <a:lnTo>
                    <a:pt x="107" y="102"/>
                  </a:lnTo>
                  <a:lnTo>
                    <a:pt x="107" y="100"/>
                  </a:lnTo>
                  <a:lnTo>
                    <a:pt x="104" y="100"/>
                  </a:lnTo>
                  <a:lnTo>
                    <a:pt x="104" y="102"/>
                  </a:lnTo>
                  <a:lnTo>
                    <a:pt x="102" y="102"/>
                  </a:lnTo>
                  <a:lnTo>
                    <a:pt x="99" y="102"/>
                  </a:lnTo>
                  <a:lnTo>
                    <a:pt x="99" y="100"/>
                  </a:lnTo>
                  <a:lnTo>
                    <a:pt x="97" y="100"/>
                  </a:lnTo>
                  <a:lnTo>
                    <a:pt x="95" y="100"/>
                  </a:lnTo>
                  <a:lnTo>
                    <a:pt x="95" y="102"/>
                  </a:lnTo>
                  <a:lnTo>
                    <a:pt x="95" y="105"/>
                  </a:lnTo>
                  <a:lnTo>
                    <a:pt x="95" y="107"/>
                  </a:lnTo>
                  <a:lnTo>
                    <a:pt x="92" y="110"/>
                  </a:lnTo>
                  <a:lnTo>
                    <a:pt x="95" y="110"/>
                  </a:lnTo>
                  <a:lnTo>
                    <a:pt x="95" y="112"/>
                  </a:lnTo>
                  <a:lnTo>
                    <a:pt x="92" y="112"/>
                  </a:lnTo>
                  <a:lnTo>
                    <a:pt x="90" y="110"/>
                  </a:lnTo>
                  <a:lnTo>
                    <a:pt x="90" y="112"/>
                  </a:lnTo>
                  <a:lnTo>
                    <a:pt x="90" y="110"/>
                  </a:lnTo>
                  <a:lnTo>
                    <a:pt x="88" y="110"/>
                  </a:lnTo>
                  <a:lnTo>
                    <a:pt x="88" y="112"/>
                  </a:lnTo>
                  <a:lnTo>
                    <a:pt x="88" y="114"/>
                  </a:lnTo>
                  <a:lnTo>
                    <a:pt x="85" y="114"/>
                  </a:lnTo>
                  <a:lnTo>
                    <a:pt x="85" y="117"/>
                  </a:lnTo>
                  <a:lnTo>
                    <a:pt x="85" y="119"/>
                  </a:lnTo>
                  <a:lnTo>
                    <a:pt x="83" y="119"/>
                  </a:lnTo>
                  <a:lnTo>
                    <a:pt x="80" y="119"/>
                  </a:lnTo>
                  <a:lnTo>
                    <a:pt x="78" y="119"/>
                  </a:lnTo>
                  <a:lnTo>
                    <a:pt x="78" y="117"/>
                  </a:lnTo>
                  <a:lnTo>
                    <a:pt x="76" y="117"/>
                  </a:lnTo>
                  <a:lnTo>
                    <a:pt x="76" y="119"/>
                  </a:lnTo>
                  <a:lnTo>
                    <a:pt x="73" y="119"/>
                  </a:lnTo>
                  <a:lnTo>
                    <a:pt x="73" y="121"/>
                  </a:lnTo>
                  <a:lnTo>
                    <a:pt x="71" y="121"/>
                  </a:lnTo>
                  <a:lnTo>
                    <a:pt x="69" y="121"/>
                  </a:lnTo>
                  <a:lnTo>
                    <a:pt x="69" y="119"/>
                  </a:lnTo>
                  <a:lnTo>
                    <a:pt x="66" y="119"/>
                  </a:lnTo>
                  <a:lnTo>
                    <a:pt x="64" y="119"/>
                  </a:lnTo>
                  <a:lnTo>
                    <a:pt x="62" y="117"/>
                  </a:lnTo>
                  <a:lnTo>
                    <a:pt x="64" y="117"/>
                  </a:lnTo>
                  <a:lnTo>
                    <a:pt x="62" y="114"/>
                  </a:lnTo>
                  <a:lnTo>
                    <a:pt x="59" y="114"/>
                  </a:lnTo>
                  <a:lnTo>
                    <a:pt x="59" y="112"/>
                  </a:lnTo>
                  <a:lnTo>
                    <a:pt x="57" y="112"/>
                  </a:lnTo>
                  <a:lnTo>
                    <a:pt x="54" y="112"/>
                  </a:lnTo>
                  <a:lnTo>
                    <a:pt x="54" y="110"/>
                  </a:lnTo>
                  <a:lnTo>
                    <a:pt x="54" y="107"/>
                  </a:lnTo>
                  <a:lnTo>
                    <a:pt x="52" y="107"/>
                  </a:lnTo>
                  <a:lnTo>
                    <a:pt x="52" y="105"/>
                  </a:lnTo>
                  <a:lnTo>
                    <a:pt x="52" y="107"/>
                  </a:lnTo>
                  <a:lnTo>
                    <a:pt x="52" y="105"/>
                  </a:lnTo>
                  <a:lnTo>
                    <a:pt x="50" y="105"/>
                  </a:lnTo>
                  <a:lnTo>
                    <a:pt x="50" y="102"/>
                  </a:lnTo>
                  <a:lnTo>
                    <a:pt x="47" y="102"/>
                  </a:lnTo>
                  <a:lnTo>
                    <a:pt x="45" y="102"/>
                  </a:lnTo>
                  <a:lnTo>
                    <a:pt x="43" y="102"/>
                  </a:lnTo>
                  <a:lnTo>
                    <a:pt x="43" y="100"/>
                  </a:lnTo>
                  <a:lnTo>
                    <a:pt x="43" y="98"/>
                  </a:lnTo>
                  <a:lnTo>
                    <a:pt x="40" y="98"/>
                  </a:lnTo>
                  <a:lnTo>
                    <a:pt x="40" y="95"/>
                  </a:lnTo>
                  <a:lnTo>
                    <a:pt x="38" y="95"/>
                  </a:lnTo>
                  <a:lnTo>
                    <a:pt x="35" y="95"/>
                  </a:lnTo>
                  <a:lnTo>
                    <a:pt x="35" y="93"/>
                  </a:lnTo>
                  <a:lnTo>
                    <a:pt x="33" y="93"/>
                  </a:lnTo>
                  <a:lnTo>
                    <a:pt x="35" y="93"/>
                  </a:lnTo>
                  <a:lnTo>
                    <a:pt x="33" y="91"/>
                  </a:lnTo>
                  <a:lnTo>
                    <a:pt x="31" y="88"/>
                  </a:lnTo>
                  <a:lnTo>
                    <a:pt x="28" y="86"/>
                  </a:lnTo>
                  <a:lnTo>
                    <a:pt x="31" y="86"/>
                  </a:lnTo>
                  <a:lnTo>
                    <a:pt x="28" y="86"/>
                  </a:lnTo>
                  <a:lnTo>
                    <a:pt x="28" y="83"/>
                  </a:lnTo>
                  <a:lnTo>
                    <a:pt x="26" y="83"/>
                  </a:lnTo>
                  <a:lnTo>
                    <a:pt x="24" y="83"/>
                  </a:lnTo>
                  <a:lnTo>
                    <a:pt x="26" y="83"/>
                  </a:lnTo>
                  <a:lnTo>
                    <a:pt x="24" y="83"/>
                  </a:lnTo>
                  <a:lnTo>
                    <a:pt x="21" y="83"/>
                  </a:lnTo>
                  <a:lnTo>
                    <a:pt x="21" y="81"/>
                  </a:lnTo>
                  <a:lnTo>
                    <a:pt x="19" y="81"/>
                  </a:lnTo>
                  <a:lnTo>
                    <a:pt x="19" y="79"/>
                  </a:lnTo>
                  <a:lnTo>
                    <a:pt x="16" y="79"/>
                  </a:lnTo>
                  <a:lnTo>
                    <a:pt x="16" y="76"/>
                  </a:lnTo>
                  <a:lnTo>
                    <a:pt x="16" y="74"/>
                  </a:lnTo>
                  <a:lnTo>
                    <a:pt x="14" y="74"/>
                  </a:lnTo>
                  <a:lnTo>
                    <a:pt x="14" y="71"/>
                  </a:lnTo>
                  <a:lnTo>
                    <a:pt x="14" y="69"/>
                  </a:lnTo>
                  <a:lnTo>
                    <a:pt x="12" y="69"/>
                  </a:lnTo>
                  <a:lnTo>
                    <a:pt x="14" y="69"/>
                  </a:lnTo>
                  <a:lnTo>
                    <a:pt x="12" y="69"/>
                  </a:lnTo>
                  <a:lnTo>
                    <a:pt x="14" y="67"/>
                  </a:lnTo>
                  <a:lnTo>
                    <a:pt x="12" y="67"/>
                  </a:lnTo>
                  <a:lnTo>
                    <a:pt x="9" y="67"/>
                  </a:lnTo>
                  <a:lnTo>
                    <a:pt x="9" y="64"/>
                  </a:lnTo>
                  <a:lnTo>
                    <a:pt x="12" y="62"/>
                  </a:lnTo>
                  <a:lnTo>
                    <a:pt x="12" y="60"/>
                  </a:lnTo>
                  <a:lnTo>
                    <a:pt x="12" y="57"/>
                  </a:lnTo>
                  <a:lnTo>
                    <a:pt x="14" y="57"/>
                  </a:lnTo>
                  <a:lnTo>
                    <a:pt x="14" y="55"/>
                  </a:lnTo>
                  <a:lnTo>
                    <a:pt x="12" y="55"/>
                  </a:lnTo>
                  <a:lnTo>
                    <a:pt x="12" y="52"/>
                  </a:lnTo>
                  <a:lnTo>
                    <a:pt x="9" y="52"/>
                  </a:lnTo>
                  <a:lnTo>
                    <a:pt x="9" y="50"/>
                  </a:lnTo>
                  <a:lnTo>
                    <a:pt x="7" y="50"/>
                  </a:lnTo>
                  <a:lnTo>
                    <a:pt x="5" y="48"/>
                  </a:lnTo>
                  <a:lnTo>
                    <a:pt x="5" y="50"/>
                  </a:lnTo>
                  <a:lnTo>
                    <a:pt x="5" y="48"/>
                  </a:lnTo>
                  <a:lnTo>
                    <a:pt x="2" y="48"/>
                  </a:lnTo>
                  <a:lnTo>
                    <a:pt x="2" y="45"/>
                  </a:lnTo>
                  <a:lnTo>
                    <a:pt x="2" y="43"/>
                  </a:lnTo>
                  <a:lnTo>
                    <a:pt x="2" y="41"/>
                  </a:lnTo>
                  <a:lnTo>
                    <a:pt x="0" y="41"/>
                  </a:lnTo>
                  <a:lnTo>
                    <a:pt x="2" y="41"/>
                  </a:lnTo>
                  <a:lnTo>
                    <a:pt x="0" y="41"/>
                  </a:lnTo>
                  <a:lnTo>
                    <a:pt x="0" y="38"/>
                  </a:lnTo>
                  <a:lnTo>
                    <a:pt x="0" y="36"/>
                  </a:lnTo>
                  <a:lnTo>
                    <a:pt x="2" y="36"/>
                  </a:lnTo>
                  <a:lnTo>
                    <a:pt x="2" y="38"/>
                  </a:lnTo>
                  <a:lnTo>
                    <a:pt x="5" y="38"/>
                  </a:lnTo>
                  <a:lnTo>
                    <a:pt x="5" y="41"/>
                  </a:lnTo>
                  <a:lnTo>
                    <a:pt x="5" y="38"/>
                  </a:lnTo>
                  <a:lnTo>
                    <a:pt x="5" y="41"/>
                  </a:lnTo>
                  <a:lnTo>
                    <a:pt x="5" y="43"/>
                  </a:lnTo>
                  <a:lnTo>
                    <a:pt x="7" y="43"/>
                  </a:lnTo>
                  <a:lnTo>
                    <a:pt x="7" y="41"/>
                  </a:lnTo>
                  <a:lnTo>
                    <a:pt x="7" y="38"/>
                  </a:lnTo>
                  <a:lnTo>
                    <a:pt x="9" y="38"/>
                  </a:lnTo>
                  <a:lnTo>
                    <a:pt x="9" y="36"/>
                  </a:lnTo>
                  <a:lnTo>
                    <a:pt x="12" y="36"/>
                  </a:lnTo>
                  <a:lnTo>
                    <a:pt x="12" y="33"/>
                  </a:lnTo>
                  <a:lnTo>
                    <a:pt x="14" y="33"/>
                  </a:lnTo>
                  <a:lnTo>
                    <a:pt x="16" y="31"/>
                  </a:lnTo>
                  <a:lnTo>
                    <a:pt x="19" y="31"/>
                  </a:lnTo>
                  <a:lnTo>
                    <a:pt x="19" y="33"/>
                  </a:lnTo>
                  <a:lnTo>
                    <a:pt x="19" y="31"/>
                  </a:lnTo>
                  <a:lnTo>
                    <a:pt x="21" y="31"/>
                  </a:lnTo>
                  <a:lnTo>
                    <a:pt x="24" y="31"/>
                  </a:lnTo>
                  <a:lnTo>
                    <a:pt x="24" y="29"/>
                  </a:lnTo>
                  <a:lnTo>
                    <a:pt x="24" y="31"/>
                  </a:lnTo>
                  <a:lnTo>
                    <a:pt x="26" y="31"/>
                  </a:lnTo>
                  <a:lnTo>
                    <a:pt x="28" y="31"/>
                  </a:lnTo>
                  <a:lnTo>
                    <a:pt x="28" y="29"/>
                  </a:lnTo>
                  <a:lnTo>
                    <a:pt x="31" y="29"/>
                  </a:lnTo>
                  <a:lnTo>
                    <a:pt x="31" y="26"/>
                  </a:lnTo>
                  <a:lnTo>
                    <a:pt x="33" y="26"/>
                  </a:lnTo>
                  <a:lnTo>
                    <a:pt x="35" y="26"/>
                  </a:lnTo>
                  <a:lnTo>
                    <a:pt x="35" y="24"/>
                  </a:lnTo>
                  <a:lnTo>
                    <a:pt x="38" y="24"/>
                  </a:lnTo>
                  <a:lnTo>
                    <a:pt x="38" y="22"/>
                  </a:lnTo>
                  <a:lnTo>
                    <a:pt x="38" y="24"/>
                  </a:lnTo>
                  <a:lnTo>
                    <a:pt x="40" y="24"/>
                  </a:lnTo>
                  <a:lnTo>
                    <a:pt x="40" y="22"/>
                  </a:lnTo>
                  <a:lnTo>
                    <a:pt x="43" y="22"/>
                  </a:lnTo>
                  <a:lnTo>
                    <a:pt x="45" y="22"/>
                  </a:lnTo>
                  <a:lnTo>
                    <a:pt x="45" y="19"/>
                  </a:lnTo>
                  <a:lnTo>
                    <a:pt x="47" y="19"/>
                  </a:lnTo>
                  <a:lnTo>
                    <a:pt x="45" y="17"/>
                  </a:lnTo>
                  <a:lnTo>
                    <a:pt x="47" y="17"/>
                  </a:lnTo>
                  <a:lnTo>
                    <a:pt x="50" y="17"/>
                  </a:lnTo>
                  <a:lnTo>
                    <a:pt x="52" y="17"/>
                  </a:lnTo>
                  <a:lnTo>
                    <a:pt x="54" y="17"/>
                  </a:lnTo>
                  <a:lnTo>
                    <a:pt x="57" y="17"/>
                  </a:lnTo>
                  <a:lnTo>
                    <a:pt x="57" y="14"/>
                  </a:lnTo>
                  <a:lnTo>
                    <a:pt x="57" y="17"/>
                  </a:lnTo>
                  <a:lnTo>
                    <a:pt x="59" y="17"/>
                  </a:lnTo>
                  <a:lnTo>
                    <a:pt x="59" y="14"/>
                  </a:lnTo>
                  <a:lnTo>
                    <a:pt x="59" y="12"/>
                  </a:lnTo>
                  <a:lnTo>
                    <a:pt x="62" y="12"/>
                  </a:lnTo>
                  <a:lnTo>
                    <a:pt x="64" y="12"/>
                  </a:lnTo>
                  <a:lnTo>
                    <a:pt x="66" y="12"/>
                  </a:lnTo>
                  <a:lnTo>
                    <a:pt x="66" y="10"/>
                  </a:lnTo>
                  <a:lnTo>
                    <a:pt x="69" y="10"/>
                  </a:lnTo>
                  <a:lnTo>
                    <a:pt x="69" y="7"/>
                  </a:lnTo>
                  <a:lnTo>
                    <a:pt x="71" y="7"/>
                  </a:lnTo>
                  <a:lnTo>
                    <a:pt x="71" y="10"/>
                  </a:lnTo>
                  <a:lnTo>
                    <a:pt x="73" y="7"/>
                  </a:lnTo>
                  <a:lnTo>
                    <a:pt x="76" y="7"/>
                  </a:lnTo>
                  <a:lnTo>
                    <a:pt x="73" y="7"/>
                  </a:lnTo>
                  <a:lnTo>
                    <a:pt x="76" y="7"/>
                  </a:lnTo>
                  <a:lnTo>
                    <a:pt x="76" y="5"/>
                  </a:lnTo>
                  <a:lnTo>
                    <a:pt x="73" y="5"/>
                  </a:lnTo>
                  <a:lnTo>
                    <a:pt x="71" y="5"/>
                  </a:lnTo>
                  <a:lnTo>
                    <a:pt x="73" y="5"/>
                  </a:lnTo>
                  <a:lnTo>
                    <a:pt x="73" y="3"/>
                  </a:lnTo>
                  <a:lnTo>
                    <a:pt x="71" y="5"/>
                  </a:lnTo>
                  <a:lnTo>
                    <a:pt x="71" y="3"/>
                  </a:lnTo>
                  <a:lnTo>
                    <a:pt x="71" y="0"/>
                  </a:lnTo>
                  <a:lnTo>
                    <a:pt x="7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4" name="Freeform 50287"/>
            <p:cNvSpPr>
              <a:spLocks noEditPoints="1"/>
            </p:cNvSpPr>
            <p:nvPr/>
          </p:nvSpPr>
          <p:spPr bwMode="auto">
            <a:xfrm>
              <a:off x="2473323" y="4146564"/>
              <a:ext cx="346075" cy="196850"/>
            </a:xfrm>
            <a:custGeom>
              <a:avLst/>
              <a:gdLst>
                <a:gd name="T0" fmla="*/ 95 w 218"/>
                <a:gd name="T1" fmla="*/ 107 h 124"/>
                <a:gd name="T2" fmla="*/ 100 w 218"/>
                <a:gd name="T3" fmla="*/ 110 h 124"/>
                <a:gd name="T4" fmla="*/ 105 w 218"/>
                <a:gd name="T5" fmla="*/ 107 h 124"/>
                <a:gd name="T6" fmla="*/ 109 w 218"/>
                <a:gd name="T7" fmla="*/ 114 h 124"/>
                <a:gd name="T8" fmla="*/ 107 w 218"/>
                <a:gd name="T9" fmla="*/ 119 h 124"/>
                <a:gd name="T10" fmla="*/ 105 w 218"/>
                <a:gd name="T11" fmla="*/ 119 h 124"/>
                <a:gd name="T12" fmla="*/ 97 w 218"/>
                <a:gd name="T13" fmla="*/ 119 h 124"/>
                <a:gd name="T14" fmla="*/ 95 w 218"/>
                <a:gd name="T15" fmla="*/ 119 h 124"/>
                <a:gd name="T16" fmla="*/ 88 w 218"/>
                <a:gd name="T17" fmla="*/ 114 h 124"/>
                <a:gd name="T18" fmla="*/ 83 w 218"/>
                <a:gd name="T19" fmla="*/ 110 h 124"/>
                <a:gd name="T20" fmla="*/ 83 w 218"/>
                <a:gd name="T21" fmla="*/ 107 h 124"/>
                <a:gd name="T22" fmla="*/ 86 w 218"/>
                <a:gd name="T23" fmla="*/ 102 h 124"/>
                <a:gd name="T24" fmla="*/ 109 w 218"/>
                <a:gd name="T25" fmla="*/ 105 h 124"/>
                <a:gd name="T26" fmla="*/ 119 w 218"/>
                <a:gd name="T27" fmla="*/ 107 h 124"/>
                <a:gd name="T28" fmla="*/ 116 w 218"/>
                <a:gd name="T29" fmla="*/ 112 h 124"/>
                <a:gd name="T30" fmla="*/ 114 w 218"/>
                <a:gd name="T31" fmla="*/ 121 h 124"/>
                <a:gd name="T32" fmla="*/ 109 w 218"/>
                <a:gd name="T33" fmla="*/ 119 h 124"/>
                <a:gd name="T34" fmla="*/ 112 w 218"/>
                <a:gd name="T35" fmla="*/ 114 h 124"/>
                <a:gd name="T36" fmla="*/ 109 w 218"/>
                <a:gd name="T37" fmla="*/ 110 h 124"/>
                <a:gd name="T38" fmla="*/ 107 w 218"/>
                <a:gd name="T39" fmla="*/ 105 h 124"/>
                <a:gd name="T40" fmla="*/ 109 w 218"/>
                <a:gd name="T41" fmla="*/ 105 h 124"/>
                <a:gd name="T42" fmla="*/ 216 w 218"/>
                <a:gd name="T43" fmla="*/ 93 h 124"/>
                <a:gd name="T44" fmla="*/ 218 w 218"/>
                <a:gd name="T45" fmla="*/ 100 h 124"/>
                <a:gd name="T46" fmla="*/ 209 w 218"/>
                <a:gd name="T47" fmla="*/ 100 h 124"/>
                <a:gd name="T48" fmla="*/ 204 w 218"/>
                <a:gd name="T49" fmla="*/ 93 h 124"/>
                <a:gd name="T50" fmla="*/ 207 w 218"/>
                <a:gd name="T51" fmla="*/ 86 h 124"/>
                <a:gd name="T52" fmla="*/ 62 w 218"/>
                <a:gd name="T53" fmla="*/ 69 h 124"/>
                <a:gd name="T54" fmla="*/ 64 w 218"/>
                <a:gd name="T55" fmla="*/ 74 h 124"/>
                <a:gd name="T56" fmla="*/ 64 w 218"/>
                <a:gd name="T57" fmla="*/ 76 h 124"/>
                <a:gd name="T58" fmla="*/ 67 w 218"/>
                <a:gd name="T59" fmla="*/ 76 h 124"/>
                <a:gd name="T60" fmla="*/ 69 w 218"/>
                <a:gd name="T61" fmla="*/ 72 h 124"/>
                <a:gd name="T62" fmla="*/ 71 w 218"/>
                <a:gd name="T63" fmla="*/ 76 h 124"/>
                <a:gd name="T64" fmla="*/ 74 w 218"/>
                <a:gd name="T65" fmla="*/ 83 h 124"/>
                <a:gd name="T66" fmla="*/ 76 w 218"/>
                <a:gd name="T67" fmla="*/ 88 h 124"/>
                <a:gd name="T68" fmla="*/ 74 w 218"/>
                <a:gd name="T69" fmla="*/ 98 h 124"/>
                <a:gd name="T70" fmla="*/ 64 w 218"/>
                <a:gd name="T71" fmla="*/ 98 h 124"/>
                <a:gd name="T72" fmla="*/ 59 w 218"/>
                <a:gd name="T73" fmla="*/ 98 h 124"/>
                <a:gd name="T74" fmla="*/ 57 w 218"/>
                <a:gd name="T75" fmla="*/ 98 h 124"/>
                <a:gd name="T76" fmla="*/ 50 w 218"/>
                <a:gd name="T77" fmla="*/ 95 h 124"/>
                <a:gd name="T78" fmla="*/ 52 w 218"/>
                <a:gd name="T79" fmla="*/ 91 h 124"/>
                <a:gd name="T80" fmla="*/ 50 w 218"/>
                <a:gd name="T81" fmla="*/ 91 h 124"/>
                <a:gd name="T82" fmla="*/ 45 w 218"/>
                <a:gd name="T83" fmla="*/ 88 h 124"/>
                <a:gd name="T84" fmla="*/ 41 w 218"/>
                <a:gd name="T85" fmla="*/ 81 h 124"/>
                <a:gd name="T86" fmla="*/ 43 w 218"/>
                <a:gd name="T87" fmla="*/ 81 h 124"/>
                <a:gd name="T88" fmla="*/ 41 w 218"/>
                <a:gd name="T89" fmla="*/ 79 h 124"/>
                <a:gd name="T90" fmla="*/ 43 w 218"/>
                <a:gd name="T91" fmla="*/ 76 h 124"/>
                <a:gd name="T92" fmla="*/ 41 w 218"/>
                <a:gd name="T93" fmla="*/ 76 h 124"/>
                <a:gd name="T94" fmla="*/ 50 w 218"/>
                <a:gd name="T95" fmla="*/ 74 h 124"/>
                <a:gd name="T96" fmla="*/ 55 w 218"/>
                <a:gd name="T97" fmla="*/ 72 h 124"/>
                <a:gd name="T98" fmla="*/ 59 w 218"/>
                <a:gd name="T99" fmla="*/ 72 h 124"/>
                <a:gd name="T100" fmla="*/ 12 w 218"/>
                <a:gd name="T101" fmla="*/ 3 h 124"/>
                <a:gd name="T102" fmla="*/ 10 w 218"/>
                <a:gd name="T103" fmla="*/ 10 h 124"/>
                <a:gd name="T104" fmla="*/ 7 w 218"/>
                <a:gd name="T105" fmla="*/ 15 h 124"/>
                <a:gd name="T106" fmla="*/ 3 w 218"/>
                <a:gd name="T107" fmla="*/ 12 h 124"/>
                <a:gd name="T108" fmla="*/ 0 w 218"/>
                <a:gd name="T109" fmla="*/ 12 h 124"/>
                <a:gd name="T110" fmla="*/ 3 w 218"/>
                <a:gd name="T111" fmla="*/ 7 h 124"/>
                <a:gd name="T112" fmla="*/ 5 w 218"/>
                <a:gd name="T113" fmla="*/ 5 h 124"/>
                <a:gd name="T114" fmla="*/ 12 w 218"/>
                <a:gd name="T11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124">
                  <a:moveTo>
                    <a:pt x="90" y="102"/>
                  </a:moveTo>
                  <a:lnTo>
                    <a:pt x="90" y="105"/>
                  </a:lnTo>
                  <a:lnTo>
                    <a:pt x="93" y="105"/>
                  </a:lnTo>
                  <a:lnTo>
                    <a:pt x="93" y="107"/>
                  </a:lnTo>
                  <a:lnTo>
                    <a:pt x="95" y="107"/>
                  </a:lnTo>
                  <a:lnTo>
                    <a:pt x="97" y="107"/>
                  </a:lnTo>
                  <a:lnTo>
                    <a:pt x="97" y="110"/>
                  </a:lnTo>
                  <a:lnTo>
                    <a:pt x="100" y="110"/>
                  </a:lnTo>
                  <a:lnTo>
                    <a:pt x="102" y="110"/>
                  </a:lnTo>
                  <a:lnTo>
                    <a:pt x="100" y="110"/>
                  </a:lnTo>
                  <a:lnTo>
                    <a:pt x="100" y="107"/>
                  </a:lnTo>
                  <a:lnTo>
                    <a:pt x="102" y="110"/>
                  </a:lnTo>
                  <a:lnTo>
                    <a:pt x="102" y="107"/>
                  </a:lnTo>
                  <a:lnTo>
                    <a:pt x="102" y="105"/>
                  </a:lnTo>
                  <a:lnTo>
                    <a:pt x="105" y="107"/>
                  </a:lnTo>
                  <a:lnTo>
                    <a:pt x="107" y="107"/>
                  </a:lnTo>
                  <a:lnTo>
                    <a:pt x="107" y="110"/>
                  </a:lnTo>
                  <a:lnTo>
                    <a:pt x="107" y="112"/>
                  </a:lnTo>
                  <a:lnTo>
                    <a:pt x="109" y="112"/>
                  </a:lnTo>
                  <a:lnTo>
                    <a:pt x="109" y="114"/>
                  </a:lnTo>
                  <a:lnTo>
                    <a:pt x="109" y="117"/>
                  </a:lnTo>
                  <a:lnTo>
                    <a:pt x="109" y="119"/>
                  </a:lnTo>
                  <a:lnTo>
                    <a:pt x="107" y="119"/>
                  </a:lnTo>
                  <a:lnTo>
                    <a:pt x="105" y="119"/>
                  </a:lnTo>
                  <a:lnTo>
                    <a:pt x="107" y="119"/>
                  </a:lnTo>
                  <a:lnTo>
                    <a:pt x="105" y="117"/>
                  </a:lnTo>
                  <a:lnTo>
                    <a:pt x="105" y="119"/>
                  </a:lnTo>
                  <a:lnTo>
                    <a:pt x="105" y="117"/>
                  </a:lnTo>
                  <a:lnTo>
                    <a:pt x="102" y="119"/>
                  </a:lnTo>
                  <a:lnTo>
                    <a:pt x="105" y="119"/>
                  </a:lnTo>
                  <a:lnTo>
                    <a:pt x="102" y="119"/>
                  </a:lnTo>
                  <a:lnTo>
                    <a:pt x="100" y="119"/>
                  </a:lnTo>
                  <a:lnTo>
                    <a:pt x="102" y="119"/>
                  </a:lnTo>
                  <a:lnTo>
                    <a:pt x="100" y="119"/>
                  </a:lnTo>
                  <a:lnTo>
                    <a:pt x="97" y="119"/>
                  </a:lnTo>
                  <a:lnTo>
                    <a:pt x="97" y="121"/>
                  </a:lnTo>
                  <a:lnTo>
                    <a:pt x="100" y="121"/>
                  </a:lnTo>
                  <a:lnTo>
                    <a:pt x="97" y="121"/>
                  </a:lnTo>
                  <a:lnTo>
                    <a:pt x="95" y="121"/>
                  </a:lnTo>
                  <a:lnTo>
                    <a:pt x="95" y="119"/>
                  </a:lnTo>
                  <a:lnTo>
                    <a:pt x="93" y="119"/>
                  </a:lnTo>
                  <a:lnTo>
                    <a:pt x="93" y="117"/>
                  </a:lnTo>
                  <a:lnTo>
                    <a:pt x="90" y="117"/>
                  </a:lnTo>
                  <a:lnTo>
                    <a:pt x="88" y="117"/>
                  </a:lnTo>
                  <a:lnTo>
                    <a:pt x="88" y="114"/>
                  </a:lnTo>
                  <a:lnTo>
                    <a:pt x="86" y="114"/>
                  </a:lnTo>
                  <a:lnTo>
                    <a:pt x="83" y="114"/>
                  </a:lnTo>
                  <a:lnTo>
                    <a:pt x="81" y="112"/>
                  </a:lnTo>
                  <a:lnTo>
                    <a:pt x="81" y="110"/>
                  </a:lnTo>
                  <a:lnTo>
                    <a:pt x="83" y="110"/>
                  </a:lnTo>
                  <a:lnTo>
                    <a:pt x="83" y="112"/>
                  </a:lnTo>
                  <a:lnTo>
                    <a:pt x="83" y="110"/>
                  </a:lnTo>
                  <a:lnTo>
                    <a:pt x="86" y="110"/>
                  </a:lnTo>
                  <a:lnTo>
                    <a:pt x="83" y="110"/>
                  </a:lnTo>
                  <a:lnTo>
                    <a:pt x="83" y="107"/>
                  </a:lnTo>
                  <a:lnTo>
                    <a:pt x="83" y="105"/>
                  </a:lnTo>
                  <a:lnTo>
                    <a:pt x="86" y="105"/>
                  </a:lnTo>
                  <a:lnTo>
                    <a:pt x="86" y="102"/>
                  </a:lnTo>
                  <a:lnTo>
                    <a:pt x="86" y="105"/>
                  </a:lnTo>
                  <a:lnTo>
                    <a:pt x="86" y="102"/>
                  </a:lnTo>
                  <a:lnTo>
                    <a:pt x="88" y="102"/>
                  </a:lnTo>
                  <a:lnTo>
                    <a:pt x="90" y="102"/>
                  </a:lnTo>
                  <a:close/>
                  <a:moveTo>
                    <a:pt x="109" y="102"/>
                  </a:moveTo>
                  <a:lnTo>
                    <a:pt x="112" y="105"/>
                  </a:lnTo>
                  <a:lnTo>
                    <a:pt x="109" y="105"/>
                  </a:lnTo>
                  <a:lnTo>
                    <a:pt x="112" y="105"/>
                  </a:lnTo>
                  <a:lnTo>
                    <a:pt x="114" y="105"/>
                  </a:lnTo>
                  <a:lnTo>
                    <a:pt x="114" y="107"/>
                  </a:lnTo>
                  <a:lnTo>
                    <a:pt x="116" y="107"/>
                  </a:lnTo>
                  <a:lnTo>
                    <a:pt x="119" y="107"/>
                  </a:lnTo>
                  <a:lnTo>
                    <a:pt x="119" y="110"/>
                  </a:lnTo>
                  <a:lnTo>
                    <a:pt x="121" y="110"/>
                  </a:lnTo>
                  <a:lnTo>
                    <a:pt x="119" y="110"/>
                  </a:lnTo>
                  <a:lnTo>
                    <a:pt x="119" y="112"/>
                  </a:lnTo>
                  <a:lnTo>
                    <a:pt x="116" y="112"/>
                  </a:lnTo>
                  <a:lnTo>
                    <a:pt x="116" y="114"/>
                  </a:lnTo>
                  <a:lnTo>
                    <a:pt x="114" y="114"/>
                  </a:lnTo>
                  <a:lnTo>
                    <a:pt x="114" y="117"/>
                  </a:lnTo>
                  <a:lnTo>
                    <a:pt x="114" y="119"/>
                  </a:lnTo>
                  <a:lnTo>
                    <a:pt x="114" y="121"/>
                  </a:lnTo>
                  <a:lnTo>
                    <a:pt x="114" y="124"/>
                  </a:lnTo>
                  <a:lnTo>
                    <a:pt x="112" y="124"/>
                  </a:lnTo>
                  <a:lnTo>
                    <a:pt x="112" y="121"/>
                  </a:lnTo>
                  <a:lnTo>
                    <a:pt x="112" y="119"/>
                  </a:lnTo>
                  <a:lnTo>
                    <a:pt x="109" y="119"/>
                  </a:lnTo>
                  <a:lnTo>
                    <a:pt x="109" y="117"/>
                  </a:lnTo>
                  <a:lnTo>
                    <a:pt x="112" y="117"/>
                  </a:lnTo>
                  <a:lnTo>
                    <a:pt x="112" y="114"/>
                  </a:lnTo>
                  <a:lnTo>
                    <a:pt x="109" y="114"/>
                  </a:lnTo>
                  <a:lnTo>
                    <a:pt x="112" y="114"/>
                  </a:lnTo>
                  <a:lnTo>
                    <a:pt x="109" y="112"/>
                  </a:lnTo>
                  <a:lnTo>
                    <a:pt x="107" y="110"/>
                  </a:lnTo>
                  <a:lnTo>
                    <a:pt x="109" y="110"/>
                  </a:lnTo>
                  <a:lnTo>
                    <a:pt x="107" y="110"/>
                  </a:lnTo>
                  <a:lnTo>
                    <a:pt x="109" y="110"/>
                  </a:lnTo>
                  <a:lnTo>
                    <a:pt x="107" y="110"/>
                  </a:lnTo>
                  <a:lnTo>
                    <a:pt x="107" y="107"/>
                  </a:lnTo>
                  <a:lnTo>
                    <a:pt x="107" y="105"/>
                  </a:lnTo>
                  <a:lnTo>
                    <a:pt x="105" y="105"/>
                  </a:lnTo>
                  <a:lnTo>
                    <a:pt x="107" y="105"/>
                  </a:lnTo>
                  <a:lnTo>
                    <a:pt x="107" y="102"/>
                  </a:lnTo>
                  <a:lnTo>
                    <a:pt x="105" y="102"/>
                  </a:lnTo>
                  <a:lnTo>
                    <a:pt x="107" y="102"/>
                  </a:lnTo>
                  <a:lnTo>
                    <a:pt x="107" y="105"/>
                  </a:lnTo>
                  <a:lnTo>
                    <a:pt x="109" y="105"/>
                  </a:lnTo>
                  <a:lnTo>
                    <a:pt x="109" y="102"/>
                  </a:lnTo>
                  <a:close/>
                  <a:moveTo>
                    <a:pt x="211" y="91"/>
                  </a:moveTo>
                  <a:lnTo>
                    <a:pt x="214" y="91"/>
                  </a:lnTo>
                  <a:lnTo>
                    <a:pt x="214" y="93"/>
                  </a:lnTo>
                  <a:lnTo>
                    <a:pt x="216" y="93"/>
                  </a:lnTo>
                  <a:lnTo>
                    <a:pt x="218" y="93"/>
                  </a:lnTo>
                  <a:lnTo>
                    <a:pt x="218" y="95"/>
                  </a:lnTo>
                  <a:lnTo>
                    <a:pt x="218" y="98"/>
                  </a:lnTo>
                  <a:lnTo>
                    <a:pt x="216" y="100"/>
                  </a:lnTo>
                  <a:lnTo>
                    <a:pt x="218" y="100"/>
                  </a:lnTo>
                  <a:lnTo>
                    <a:pt x="216" y="100"/>
                  </a:lnTo>
                  <a:lnTo>
                    <a:pt x="216" y="102"/>
                  </a:lnTo>
                  <a:lnTo>
                    <a:pt x="214" y="100"/>
                  </a:lnTo>
                  <a:lnTo>
                    <a:pt x="211" y="100"/>
                  </a:lnTo>
                  <a:lnTo>
                    <a:pt x="209" y="100"/>
                  </a:lnTo>
                  <a:lnTo>
                    <a:pt x="209" y="98"/>
                  </a:lnTo>
                  <a:lnTo>
                    <a:pt x="207" y="98"/>
                  </a:lnTo>
                  <a:lnTo>
                    <a:pt x="204" y="98"/>
                  </a:lnTo>
                  <a:lnTo>
                    <a:pt x="204" y="95"/>
                  </a:lnTo>
                  <a:lnTo>
                    <a:pt x="204" y="93"/>
                  </a:lnTo>
                  <a:lnTo>
                    <a:pt x="204" y="91"/>
                  </a:lnTo>
                  <a:lnTo>
                    <a:pt x="204" y="88"/>
                  </a:lnTo>
                  <a:lnTo>
                    <a:pt x="207" y="86"/>
                  </a:lnTo>
                  <a:lnTo>
                    <a:pt x="204" y="86"/>
                  </a:lnTo>
                  <a:lnTo>
                    <a:pt x="207" y="86"/>
                  </a:lnTo>
                  <a:lnTo>
                    <a:pt x="207" y="88"/>
                  </a:lnTo>
                  <a:lnTo>
                    <a:pt x="209" y="88"/>
                  </a:lnTo>
                  <a:lnTo>
                    <a:pt x="211" y="91"/>
                  </a:lnTo>
                  <a:close/>
                  <a:moveTo>
                    <a:pt x="59" y="69"/>
                  </a:moveTo>
                  <a:lnTo>
                    <a:pt x="62" y="69"/>
                  </a:lnTo>
                  <a:lnTo>
                    <a:pt x="62" y="72"/>
                  </a:lnTo>
                  <a:lnTo>
                    <a:pt x="64" y="72"/>
                  </a:lnTo>
                  <a:lnTo>
                    <a:pt x="64" y="74"/>
                  </a:lnTo>
                  <a:lnTo>
                    <a:pt x="67" y="74"/>
                  </a:lnTo>
                  <a:lnTo>
                    <a:pt x="64" y="74"/>
                  </a:lnTo>
                  <a:lnTo>
                    <a:pt x="64" y="76"/>
                  </a:lnTo>
                  <a:lnTo>
                    <a:pt x="62" y="76"/>
                  </a:lnTo>
                  <a:lnTo>
                    <a:pt x="62" y="79"/>
                  </a:lnTo>
                  <a:lnTo>
                    <a:pt x="62" y="76"/>
                  </a:lnTo>
                  <a:lnTo>
                    <a:pt x="64" y="76"/>
                  </a:lnTo>
                  <a:lnTo>
                    <a:pt x="62" y="76"/>
                  </a:lnTo>
                  <a:lnTo>
                    <a:pt x="62" y="79"/>
                  </a:lnTo>
                  <a:lnTo>
                    <a:pt x="64" y="79"/>
                  </a:lnTo>
                  <a:lnTo>
                    <a:pt x="64" y="76"/>
                  </a:lnTo>
                  <a:lnTo>
                    <a:pt x="67" y="76"/>
                  </a:lnTo>
                  <a:lnTo>
                    <a:pt x="69" y="76"/>
                  </a:lnTo>
                  <a:lnTo>
                    <a:pt x="69" y="74"/>
                  </a:lnTo>
                  <a:lnTo>
                    <a:pt x="67" y="74"/>
                  </a:lnTo>
                  <a:lnTo>
                    <a:pt x="69" y="74"/>
                  </a:lnTo>
                  <a:lnTo>
                    <a:pt x="69" y="72"/>
                  </a:lnTo>
                  <a:lnTo>
                    <a:pt x="69" y="69"/>
                  </a:lnTo>
                  <a:lnTo>
                    <a:pt x="69" y="72"/>
                  </a:lnTo>
                  <a:lnTo>
                    <a:pt x="71" y="72"/>
                  </a:lnTo>
                  <a:lnTo>
                    <a:pt x="71" y="74"/>
                  </a:lnTo>
                  <a:lnTo>
                    <a:pt x="71" y="76"/>
                  </a:lnTo>
                  <a:lnTo>
                    <a:pt x="74" y="76"/>
                  </a:lnTo>
                  <a:lnTo>
                    <a:pt x="71" y="76"/>
                  </a:lnTo>
                  <a:lnTo>
                    <a:pt x="71" y="79"/>
                  </a:lnTo>
                  <a:lnTo>
                    <a:pt x="74" y="81"/>
                  </a:lnTo>
                  <a:lnTo>
                    <a:pt x="74" y="83"/>
                  </a:lnTo>
                  <a:lnTo>
                    <a:pt x="76" y="83"/>
                  </a:lnTo>
                  <a:lnTo>
                    <a:pt x="76" y="86"/>
                  </a:lnTo>
                  <a:lnTo>
                    <a:pt x="74" y="86"/>
                  </a:lnTo>
                  <a:lnTo>
                    <a:pt x="74" y="88"/>
                  </a:lnTo>
                  <a:lnTo>
                    <a:pt x="76" y="88"/>
                  </a:lnTo>
                  <a:lnTo>
                    <a:pt x="76" y="91"/>
                  </a:lnTo>
                  <a:lnTo>
                    <a:pt x="76" y="93"/>
                  </a:lnTo>
                  <a:lnTo>
                    <a:pt x="74" y="93"/>
                  </a:lnTo>
                  <a:lnTo>
                    <a:pt x="74" y="95"/>
                  </a:lnTo>
                  <a:lnTo>
                    <a:pt x="74" y="98"/>
                  </a:lnTo>
                  <a:lnTo>
                    <a:pt x="71" y="98"/>
                  </a:lnTo>
                  <a:lnTo>
                    <a:pt x="69" y="98"/>
                  </a:lnTo>
                  <a:lnTo>
                    <a:pt x="67" y="100"/>
                  </a:lnTo>
                  <a:lnTo>
                    <a:pt x="64" y="100"/>
                  </a:lnTo>
                  <a:lnTo>
                    <a:pt x="64" y="98"/>
                  </a:lnTo>
                  <a:lnTo>
                    <a:pt x="64" y="100"/>
                  </a:lnTo>
                  <a:lnTo>
                    <a:pt x="62" y="98"/>
                  </a:lnTo>
                  <a:lnTo>
                    <a:pt x="62" y="100"/>
                  </a:lnTo>
                  <a:lnTo>
                    <a:pt x="62" y="98"/>
                  </a:lnTo>
                  <a:lnTo>
                    <a:pt x="59" y="98"/>
                  </a:lnTo>
                  <a:lnTo>
                    <a:pt x="57" y="98"/>
                  </a:lnTo>
                  <a:lnTo>
                    <a:pt x="57" y="95"/>
                  </a:lnTo>
                  <a:lnTo>
                    <a:pt x="55" y="95"/>
                  </a:lnTo>
                  <a:lnTo>
                    <a:pt x="57" y="95"/>
                  </a:lnTo>
                  <a:lnTo>
                    <a:pt x="57" y="98"/>
                  </a:lnTo>
                  <a:lnTo>
                    <a:pt x="55" y="98"/>
                  </a:lnTo>
                  <a:lnTo>
                    <a:pt x="52" y="95"/>
                  </a:lnTo>
                  <a:lnTo>
                    <a:pt x="52" y="98"/>
                  </a:lnTo>
                  <a:lnTo>
                    <a:pt x="50" y="98"/>
                  </a:lnTo>
                  <a:lnTo>
                    <a:pt x="50" y="95"/>
                  </a:lnTo>
                  <a:lnTo>
                    <a:pt x="52" y="95"/>
                  </a:lnTo>
                  <a:lnTo>
                    <a:pt x="55" y="95"/>
                  </a:lnTo>
                  <a:lnTo>
                    <a:pt x="55" y="93"/>
                  </a:lnTo>
                  <a:lnTo>
                    <a:pt x="52" y="93"/>
                  </a:lnTo>
                  <a:lnTo>
                    <a:pt x="52" y="91"/>
                  </a:lnTo>
                  <a:lnTo>
                    <a:pt x="52" y="93"/>
                  </a:lnTo>
                  <a:lnTo>
                    <a:pt x="50" y="93"/>
                  </a:lnTo>
                  <a:lnTo>
                    <a:pt x="50" y="91"/>
                  </a:lnTo>
                  <a:lnTo>
                    <a:pt x="50" y="93"/>
                  </a:lnTo>
                  <a:lnTo>
                    <a:pt x="50" y="91"/>
                  </a:lnTo>
                  <a:lnTo>
                    <a:pt x="48" y="91"/>
                  </a:lnTo>
                  <a:lnTo>
                    <a:pt x="50" y="91"/>
                  </a:lnTo>
                  <a:lnTo>
                    <a:pt x="48" y="91"/>
                  </a:lnTo>
                  <a:lnTo>
                    <a:pt x="45" y="91"/>
                  </a:lnTo>
                  <a:lnTo>
                    <a:pt x="45" y="88"/>
                  </a:lnTo>
                  <a:lnTo>
                    <a:pt x="45" y="86"/>
                  </a:lnTo>
                  <a:lnTo>
                    <a:pt x="45" y="83"/>
                  </a:lnTo>
                  <a:lnTo>
                    <a:pt x="43" y="83"/>
                  </a:lnTo>
                  <a:lnTo>
                    <a:pt x="41" y="83"/>
                  </a:lnTo>
                  <a:lnTo>
                    <a:pt x="41" y="81"/>
                  </a:lnTo>
                  <a:lnTo>
                    <a:pt x="43" y="81"/>
                  </a:lnTo>
                  <a:lnTo>
                    <a:pt x="41" y="81"/>
                  </a:lnTo>
                  <a:lnTo>
                    <a:pt x="43" y="81"/>
                  </a:lnTo>
                  <a:lnTo>
                    <a:pt x="43" y="79"/>
                  </a:lnTo>
                  <a:lnTo>
                    <a:pt x="43" y="81"/>
                  </a:lnTo>
                  <a:lnTo>
                    <a:pt x="43" y="79"/>
                  </a:lnTo>
                  <a:lnTo>
                    <a:pt x="41" y="79"/>
                  </a:lnTo>
                  <a:lnTo>
                    <a:pt x="38" y="76"/>
                  </a:lnTo>
                  <a:lnTo>
                    <a:pt x="41" y="76"/>
                  </a:lnTo>
                  <a:lnTo>
                    <a:pt x="41" y="79"/>
                  </a:lnTo>
                  <a:lnTo>
                    <a:pt x="43" y="79"/>
                  </a:lnTo>
                  <a:lnTo>
                    <a:pt x="41" y="79"/>
                  </a:lnTo>
                  <a:lnTo>
                    <a:pt x="41" y="76"/>
                  </a:lnTo>
                  <a:lnTo>
                    <a:pt x="43" y="79"/>
                  </a:lnTo>
                  <a:lnTo>
                    <a:pt x="43" y="76"/>
                  </a:lnTo>
                  <a:lnTo>
                    <a:pt x="41" y="76"/>
                  </a:lnTo>
                  <a:lnTo>
                    <a:pt x="38" y="76"/>
                  </a:lnTo>
                  <a:lnTo>
                    <a:pt x="38" y="74"/>
                  </a:lnTo>
                  <a:lnTo>
                    <a:pt x="41" y="74"/>
                  </a:lnTo>
                  <a:lnTo>
                    <a:pt x="41" y="76"/>
                  </a:lnTo>
                  <a:lnTo>
                    <a:pt x="41" y="74"/>
                  </a:lnTo>
                  <a:lnTo>
                    <a:pt x="43" y="74"/>
                  </a:lnTo>
                  <a:lnTo>
                    <a:pt x="45" y="74"/>
                  </a:lnTo>
                  <a:lnTo>
                    <a:pt x="48" y="74"/>
                  </a:lnTo>
                  <a:lnTo>
                    <a:pt x="50" y="74"/>
                  </a:lnTo>
                  <a:lnTo>
                    <a:pt x="50" y="72"/>
                  </a:lnTo>
                  <a:lnTo>
                    <a:pt x="52" y="72"/>
                  </a:lnTo>
                  <a:lnTo>
                    <a:pt x="50" y="72"/>
                  </a:lnTo>
                  <a:lnTo>
                    <a:pt x="52" y="72"/>
                  </a:lnTo>
                  <a:lnTo>
                    <a:pt x="55" y="72"/>
                  </a:lnTo>
                  <a:lnTo>
                    <a:pt x="57" y="69"/>
                  </a:lnTo>
                  <a:lnTo>
                    <a:pt x="59" y="69"/>
                  </a:lnTo>
                  <a:lnTo>
                    <a:pt x="57" y="69"/>
                  </a:lnTo>
                  <a:lnTo>
                    <a:pt x="57" y="72"/>
                  </a:lnTo>
                  <a:lnTo>
                    <a:pt x="59" y="72"/>
                  </a:lnTo>
                  <a:lnTo>
                    <a:pt x="59" y="69"/>
                  </a:lnTo>
                  <a:lnTo>
                    <a:pt x="57" y="69"/>
                  </a:lnTo>
                  <a:lnTo>
                    <a:pt x="59" y="69"/>
                  </a:lnTo>
                  <a:close/>
                  <a:moveTo>
                    <a:pt x="12" y="0"/>
                  </a:moveTo>
                  <a:lnTo>
                    <a:pt x="12" y="3"/>
                  </a:lnTo>
                  <a:lnTo>
                    <a:pt x="12" y="5"/>
                  </a:lnTo>
                  <a:lnTo>
                    <a:pt x="10" y="5"/>
                  </a:lnTo>
                  <a:lnTo>
                    <a:pt x="10" y="7"/>
                  </a:lnTo>
                  <a:lnTo>
                    <a:pt x="12" y="10"/>
                  </a:lnTo>
                  <a:lnTo>
                    <a:pt x="10" y="10"/>
                  </a:lnTo>
                  <a:lnTo>
                    <a:pt x="12" y="10"/>
                  </a:lnTo>
                  <a:lnTo>
                    <a:pt x="10" y="10"/>
                  </a:lnTo>
                  <a:lnTo>
                    <a:pt x="10" y="12"/>
                  </a:lnTo>
                  <a:lnTo>
                    <a:pt x="10" y="15"/>
                  </a:lnTo>
                  <a:lnTo>
                    <a:pt x="7" y="15"/>
                  </a:lnTo>
                  <a:lnTo>
                    <a:pt x="5" y="15"/>
                  </a:lnTo>
                  <a:lnTo>
                    <a:pt x="5" y="17"/>
                  </a:lnTo>
                  <a:lnTo>
                    <a:pt x="5" y="15"/>
                  </a:lnTo>
                  <a:lnTo>
                    <a:pt x="3" y="15"/>
                  </a:lnTo>
                  <a:lnTo>
                    <a:pt x="3" y="12"/>
                  </a:lnTo>
                  <a:lnTo>
                    <a:pt x="3" y="15"/>
                  </a:lnTo>
                  <a:lnTo>
                    <a:pt x="5" y="15"/>
                  </a:lnTo>
                  <a:lnTo>
                    <a:pt x="3" y="15"/>
                  </a:lnTo>
                  <a:lnTo>
                    <a:pt x="3" y="12"/>
                  </a:lnTo>
                  <a:lnTo>
                    <a:pt x="0" y="12"/>
                  </a:lnTo>
                  <a:lnTo>
                    <a:pt x="0" y="10"/>
                  </a:lnTo>
                  <a:lnTo>
                    <a:pt x="3" y="10"/>
                  </a:lnTo>
                  <a:lnTo>
                    <a:pt x="5" y="10"/>
                  </a:lnTo>
                  <a:lnTo>
                    <a:pt x="5" y="7"/>
                  </a:lnTo>
                  <a:lnTo>
                    <a:pt x="3" y="7"/>
                  </a:lnTo>
                  <a:lnTo>
                    <a:pt x="5" y="7"/>
                  </a:lnTo>
                  <a:lnTo>
                    <a:pt x="3" y="7"/>
                  </a:lnTo>
                  <a:lnTo>
                    <a:pt x="5" y="5"/>
                  </a:lnTo>
                  <a:lnTo>
                    <a:pt x="3" y="5"/>
                  </a:lnTo>
                  <a:lnTo>
                    <a:pt x="5" y="5"/>
                  </a:lnTo>
                  <a:lnTo>
                    <a:pt x="7" y="5"/>
                  </a:lnTo>
                  <a:lnTo>
                    <a:pt x="10" y="3"/>
                  </a:lnTo>
                  <a:lnTo>
                    <a:pt x="12" y="0"/>
                  </a:lnTo>
                  <a:lnTo>
                    <a:pt x="14"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5" name="Freeform 50288"/>
            <p:cNvSpPr>
              <a:spLocks noEditPoints="1"/>
            </p:cNvSpPr>
            <p:nvPr/>
          </p:nvSpPr>
          <p:spPr bwMode="auto">
            <a:xfrm>
              <a:off x="2451098" y="4083064"/>
              <a:ext cx="236538" cy="241300"/>
            </a:xfrm>
            <a:custGeom>
              <a:avLst/>
              <a:gdLst>
                <a:gd name="T0" fmla="*/ 147 w 149"/>
                <a:gd name="T1" fmla="*/ 95 h 152"/>
                <a:gd name="T2" fmla="*/ 147 w 149"/>
                <a:gd name="T3" fmla="*/ 107 h 152"/>
                <a:gd name="T4" fmla="*/ 135 w 149"/>
                <a:gd name="T5" fmla="*/ 119 h 152"/>
                <a:gd name="T6" fmla="*/ 135 w 149"/>
                <a:gd name="T7" fmla="*/ 128 h 152"/>
                <a:gd name="T8" fmla="*/ 133 w 149"/>
                <a:gd name="T9" fmla="*/ 135 h 152"/>
                <a:gd name="T10" fmla="*/ 126 w 149"/>
                <a:gd name="T11" fmla="*/ 140 h 152"/>
                <a:gd name="T12" fmla="*/ 121 w 149"/>
                <a:gd name="T13" fmla="*/ 133 h 152"/>
                <a:gd name="T14" fmla="*/ 109 w 149"/>
                <a:gd name="T15" fmla="*/ 131 h 152"/>
                <a:gd name="T16" fmla="*/ 97 w 149"/>
                <a:gd name="T17" fmla="*/ 114 h 152"/>
                <a:gd name="T18" fmla="*/ 95 w 149"/>
                <a:gd name="T19" fmla="*/ 104 h 152"/>
                <a:gd name="T20" fmla="*/ 107 w 149"/>
                <a:gd name="T21" fmla="*/ 102 h 152"/>
                <a:gd name="T22" fmla="*/ 109 w 149"/>
                <a:gd name="T23" fmla="*/ 93 h 152"/>
                <a:gd name="T24" fmla="*/ 121 w 149"/>
                <a:gd name="T25" fmla="*/ 90 h 152"/>
                <a:gd name="T26" fmla="*/ 119 w 149"/>
                <a:gd name="T27" fmla="*/ 104 h 152"/>
                <a:gd name="T28" fmla="*/ 128 w 149"/>
                <a:gd name="T29" fmla="*/ 97 h 152"/>
                <a:gd name="T30" fmla="*/ 128 w 149"/>
                <a:gd name="T31" fmla="*/ 107 h 152"/>
                <a:gd name="T32" fmla="*/ 130 w 149"/>
                <a:gd name="T33" fmla="*/ 104 h 152"/>
                <a:gd name="T34" fmla="*/ 128 w 149"/>
                <a:gd name="T35" fmla="*/ 88 h 152"/>
                <a:gd name="T36" fmla="*/ 71 w 149"/>
                <a:gd name="T37" fmla="*/ 40 h 152"/>
                <a:gd name="T38" fmla="*/ 64 w 149"/>
                <a:gd name="T39" fmla="*/ 55 h 152"/>
                <a:gd name="T40" fmla="*/ 73 w 149"/>
                <a:gd name="T41" fmla="*/ 57 h 152"/>
                <a:gd name="T42" fmla="*/ 73 w 149"/>
                <a:gd name="T43" fmla="*/ 59 h 152"/>
                <a:gd name="T44" fmla="*/ 95 w 149"/>
                <a:gd name="T45" fmla="*/ 66 h 152"/>
                <a:gd name="T46" fmla="*/ 83 w 149"/>
                <a:gd name="T47" fmla="*/ 81 h 152"/>
                <a:gd name="T48" fmla="*/ 73 w 149"/>
                <a:gd name="T49" fmla="*/ 81 h 152"/>
                <a:gd name="T50" fmla="*/ 69 w 149"/>
                <a:gd name="T51" fmla="*/ 81 h 152"/>
                <a:gd name="T52" fmla="*/ 66 w 149"/>
                <a:gd name="T53" fmla="*/ 97 h 152"/>
                <a:gd name="T54" fmla="*/ 64 w 149"/>
                <a:gd name="T55" fmla="*/ 102 h 152"/>
                <a:gd name="T56" fmla="*/ 50 w 149"/>
                <a:gd name="T57" fmla="*/ 107 h 152"/>
                <a:gd name="T58" fmla="*/ 50 w 149"/>
                <a:gd name="T59" fmla="*/ 116 h 152"/>
                <a:gd name="T60" fmla="*/ 52 w 149"/>
                <a:gd name="T61" fmla="*/ 126 h 152"/>
                <a:gd name="T62" fmla="*/ 50 w 149"/>
                <a:gd name="T63" fmla="*/ 131 h 152"/>
                <a:gd name="T64" fmla="*/ 47 w 149"/>
                <a:gd name="T65" fmla="*/ 138 h 152"/>
                <a:gd name="T66" fmla="*/ 52 w 149"/>
                <a:gd name="T67" fmla="*/ 147 h 152"/>
                <a:gd name="T68" fmla="*/ 40 w 149"/>
                <a:gd name="T69" fmla="*/ 150 h 152"/>
                <a:gd name="T70" fmla="*/ 17 w 149"/>
                <a:gd name="T71" fmla="*/ 145 h 152"/>
                <a:gd name="T72" fmla="*/ 12 w 149"/>
                <a:gd name="T73" fmla="*/ 135 h 152"/>
                <a:gd name="T74" fmla="*/ 19 w 149"/>
                <a:gd name="T75" fmla="*/ 133 h 152"/>
                <a:gd name="T76" fmla="*/ 9 w 149"/>
                <a:gd name="T77" fmla="*/ 114 h 152"/>
                <a:gd name="T78" fmla="*/ 2 w 149"/>
                <a:gd name="T79" fmla="*/ 102 h 152"/>
                <a:gd name="T80" fmla="*/ 0 w 149"/>
                <a:gd name="T81" fmla="*/ 71 h 152"/>
                <a:gd name="T82" fmla="*/ 5 w 149"/>
                <a:gd name="T83" fmla="*/ 59 h 152"/>
                <a:gd name="T84" fmla="*/ 17 w 149"/>
                <a:gd name="T85" fmla="*/ 59 h 152"/>
                <a:gd name="T86" fmla="*/ 21 w 149"/>
                <a:gd name="T87" fmla="*/ 62 h 152"/>
                <a:gd name="T88" fmla="*/ 28 w 149"/>
                <a:gd name="T89" fmla="*/ 50 h 152"/>
                <a:gd name="T90" fmla="*/ 33 w 149"/>
                <a:gd name="T91" fmla="*/ 59 h 152"/>
                <a:gd name="T92" fmla="*/ 40 w 149"/>
                <a:gd name="T93" fmla="*/ 62 h 152"/>
                <a:gd name="T94" fmla="*/ 38 w 149"/>
                <a:gd name="T95" fmla="*/ 40 h 152"/>
                <a:gd name="T96" fmla="*/ 57 w 149"/>
                <a:gd name="T97" fmla="*/ 36 h 152"/>
                <a:gd name="T98" fmla="*/ 81 w 149"/>
                <a:gd name="T99" fmla="*/ 19 h 152"/>
                <a:gd name="T100" fmla="*/ 73 w 149"/>
                <a:gd name="T101" fmla="*/ 38 h 152"/>
                <a:gd name="T102" fmla="*/ 57 w 149"/>
                <a:gd name="T103" fmla="*/ 33 h 152"/>
                <a:gd name="T104" fmla="*/ 38 w 149"/>
                <a:gd name="T105" fmla="*/ 40 h 152"/>
                <a:gd name="T106" fmla="*/ 21 w 149"/>
                <a:gd name="T107" fmla="*/ 40 h 152"/>
                <a:gd name="T108" fmla="*/ 12 w 149"/>
                <a:gd name="T109" fmla="*/ 55 h 152"/>
                <a:gd name="T110" fmla="*/ 7 w 149"/>
                <a:gd name="T111" fmla="*/ 50 h 152"/>
                <a:gd name="T112" fmla="*/ 19 w 149"/>
                <a:gd name="T113" fmla="*/ 33 h 152"/>
                <a:gd name="T114" fmla="*/ 50 w 149"/>
                <a:gd name="T115" fmla="*/ 24 h 152"/>
                <a:gd name="T116" fmla="*/ 71 w 149"/>
                <a:gd name="T117"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152">
                  <a:moveTo>
                    <a:pt x="140" y="83"/>
                  </a:moveTo>
                  <a:lnTo>
                    <a:pt x="140" y="85"/>
                  </a:lnTo>
                  <a:lnTo>
                    <a:pt x="142" y="85"/>
                  </a:lnTo>
                  <a:lnTo>
                    <a:pt x="145" y="85"/>
                  </a:lnTo>
                  <a:lnTo>
                    <a:pt x="147" y="85"/>
                  </a:lnTo>
                  <a:lnTo>
                    <a:pt x="147" y="88"/>
                  </a:lnTo>
                  <a:lnTo>
                    <a:pt x="149" y="88"/>
                  </a:lnTo>
                  <a:lnTo>
                    <a:pt x="149" y="90"/>
                  </a:lnTo>
                  <a:lnTo>
                    <a:pt x="147" y="90"/>
                  </a:lnTo>
                  <a:lnTo>
                    <a:pt x="147" y="93"/>
                  </a:lnTo>
                  <a:lnTo>
                    <a:pt x="145" y="93"/>
                  </a:lnTo>
                  <a:lnTo>
                    <a:pt x="147" y="93"/>
                  </a:lnTo>
                  <a:lnTo>
                    <a:pt x="145" y="95"/>
                  </a:lnTo>
                  <a:lnTo>
                    <a:pt x="147" y="95"/>
                  </a:lnTo>
                  <a:lnTo>
                    <a:pt x="147" y="97"/>
                  </a:lnTo>
                  <a:lnTo>
                    <a:pt x="147" y="100"/>
                  </a:lnTo>
                  <a:lnTo>
                    <a:pt x="149" y="102"/>
                  </a:lnTo>
                  <a:lnTo>
                    <a:pt x="147" y="102"/>
                  </a:lnTo>
                  <a:lnTo>
                    <a:pt x="149" y="102"/>
                  </a:lnTo>
                  <a:lnTo>
                    <a:pt x="147" y="102"/>
                  </a:lnTo>
                  <a:lnTo>
                    <a:pt x="147" y="104"/>
                  </a:lnTo>
                  <a:lnTo>
                    <a:pt x="149" y="104"/>
                  </a:lnTo>
                  <a:lnTo>
                    <a:pt x="147" y="104"/>
                  </a:lnTo>
                  <a:lnTo>
                    <a:pt x="149" y="104"/>
                  </a:lnTo>
                  <a:lnTo>
                    <a:pt x="149" y="107"/>
                  </a:lnTo>
                  <a:lnTo>
                    <a:pt x="147" y="107"/>
                  </a:lnTo>
                  <a:lnTo>
                    <a:pt x="147" y="109"/>
                  </a:lnTo>
                  <a:lnTo>
                    <a:pt x="147" y="107"/>
                  </a:lnTo>
                  <a:lnTo>
                    <a:pt x="147" y="109"/>
                  </a:lnTo>
                  <a:lnTo>
                    <a:pt x="145" y="109"/>
                  </a:lnTo>
                  <a:lnTo>
                    <a:pt x="145" y="112"/>
                  </a:lnTo>
                  <a:lnTo>
                    <a:pt x="142" y="109"/>
                  </a:lnTo>
                  <a:lnTo>
                    <a:pt x="140" y="109"/>
                  </a:lnTo>
                  <a:lnTo>
                    <a:pt x="142" y="109"/>
                  </a:lnTo>
                  <a:lnTo>
                    <a:pt x="140" y="112"/>
                  </a:lnTo>
                  <a:lnTo>
                    <a:pt x="138" y="112"/>
                  </a:lnTo>
                  <a:lnTo>
                    <a:pt x="138" y="114"/>
                  </a:lnTo>
                  <a:lnTo>
                    <a:pt x="135" y="114"/>
                  </a:lnTo>
                  <a:lnTo>
                    <a:pt x="135" y="116"/>
                  </a:lnTo>
                  <a:lnTo>
                    <a:pt x="135" y="114"/>
                  </a:lnTo>
                  <a:lnTo>
                    <a:pt x="135" y="116"/>
                  </a:lnTo>
                  <a:lnTo>
                    <a:pt x="135" y="119"/>
                  </a:lnTo>
                  <a:lnTo>
                    <a:pt x="138" y="119"/>
                  </a:lnTo>
                  <a:lnTo>
                    <a:pt x="138" y="121"/>
                  </a:lnTo>
                  <a:lnTo>
                    <a:pt x="140" y="121"/>
                  </a:lnTo>
                  <a:lnTo>
                    <a:pt x="142" y="121"/>
                  </a:lnTo>
                  <a:lnTo>
                    <a:pt x="142" y="123"/>
                  </a:lnTo>
                  <a:lnTo>
                    <a:pt x="145" y="123"/>
                  </a:lnTo>
                  <a:lnTo>
                    <a:pt x="142" y="123"/>
                  </a:lnTo>
                  <a:lnTo>
                    <a:pt x="142" y="126"/>
                  </a:lnTo>
                  <a:lnTo>
                    <a:pt x="145" y="126"/>
                  </a:lnTo>
                  <a:lnTo>
                    <a:pt x="142" y="126"/>
                  </a:lnTo>
                  <a:lnTo>
                    <a:pt x="142" y="128"/>
                  </a:lnTo>
                  <a:lnTo>
                    <a:pt x="140" y="128"/>
                  </a:lnTo>
                  <a:lnTo>
                    <a:pt x="138" y="128"/>
                  </a:lnTo>
                  <a:lnTo>
                    <a:pt x="135" y="128"/>
                  </a:lnTo>
                  <a:lnTo>
                    <a:pt x="135" y="131"/>
                  </a:lnTo>
                  <a:lnTo>
                    <a:pt x="133" y="131"/>
                  </a:lnTo>
                  <a:lnTo>
                    <a:pt x="133" y="133"/>
                  </a:lnTo>
                  <a:lnTo>
                    <a:pt x="130" y="135"/>
                  </a:lnTo>
                  <a:lnTo>
                    <a:pt x="130" y="133"/>
                  </a:lnTo>
                  <a:lnTo>
                    <a:pt x="133" y="133"/>
                  </a:lnTo>
                  <a:lnTo>
                    <a:pt x="130" y="133"/>
                  </a:lnTo>
                  <a:lnTo>
                    <a:pt x="128" y="133"/>
                  </a:lnTo>
                  <a:lnTo>
                    <a:pt x="130" y="133"/>
                  </a:lnTo>
                  <a:lnTo>
                    <a:pt x="130" y="135"/>
                  </a:lnTo>
                  <a:lnTo>
                    <a:pt x="133" y="135"/>
                  </a:lnTo>
                  <a:lnTo>
                    <a:pt x="135" y="135"/>
                  </a:lnTo>
                  <a:lnTo>
                    <a:pt x="133" y="138"/>
                  </a:lnTo>
                  <a:lnTo>
                    <a:pt x="133" y="135"/>
                  </a:lnTo>
                  <a:lnTo>
                    <a:pt x="133" y="138"/>
                  </a:lnTo>
                  <a:lnTo>
                    <a:pt x="133" y="140"/>
                  </a:lnTo>
                  <a:lnTo>
                    <a:pt x="135" y="140"/>
                  </a:lnTo>
                  <a:lnTo>
                    <a:pt x="135" y="142"/>
                  </a:lnTo>
                  <a:lnTo>
                    <a:pt x="133" y="140"/>
                  </a:lnTo>
                  <a:lnTo>
                    <a:pt x="133" y="142"/>
                  </a:lnTo>
                  <a:lnTo>
                    <a:pt x="133" y="140"/>
                  </a:lnTo>
                  <a:lnTo>
                    <a:pt x="133" y="142"/>
                  </a:lnTo>
                  <a:lnTo>
                    <a:pt x="133" y="140"/>
                  </a:lnTo>
                  <a:lnTo>
                    <a:pt x="133" y="142"/>
                  </a:lnTo>
                  <a:lnTo>
                    <a:pt x="130" y="142"/>
                  </a:lnTo>
                  <a:lnTo>
                    <a:pt x="128" y="142"/>
                  </a:lnTo>
                  <a:lnTo>
                    <a:pt x="128" y="140"/>
                  </a:lnTo>
                  <a:lnTo>
                    <a:pt x="126" y="140"/>
                  </a:lnTo>
                  <a:lnTo>
                    <a:pt x="126" y="142"/>
                  </a:lnTo>
                  <a:lnTo>
                    <a:pt x="126" y="140"/>
                  </a:lnTo>
                  <a:lnTo>
                    <a:pt x="123" y="140"/>
                  </a:lnTo>
                  <a:lnTo>
                    <a:pt x="121" y="138"/>
                  </a:lnTo>
                  <a:lnTo>
                    <a:pt x="119" y="138"/>
                  </a:lnTo>
                  <a:lnTo>
                    <a:pt x="121" y="138"/>
                  </a:lnTo>
                  <a:lnTo>
                    <a:pt x="123" y="138"/>
                  </a:lnTo>
                  <a:lnTo>
                    <a:pt x="121" y="138"/>
                  </a:lnTo>
                  <a:lnTo>
                    <a:pt x="121" y="135"/>
                  </a:lnTo>
                  <a:lnTo>
                    <a:pt x="119" y="135"/>
                  </a:lnTo>
                  <a:lnTo>
                    <a:pt x="121" y="135"/>
                  </a:lnTo>
                  <a:lnTo>
                    <a:pt x="123" y="135"/>
                  </a:lnTo>
                  <a:lnTo>
                    <a:pt x="123" y="133"/>
                  </a:lnTo>
                  <a:lnTo>
                    <a:pt x="121" y="133"/>
                  </a:lnTo>
                  <a:lnTo>
                    <a:pt x="119" y="133"/>
                  </a:lnTo>
                  <a:lnTo>
                    <a:pt x="121" y="133"/>
                  </a:lnTo>
                  <a:lnTo>
                    <a:pt x="121" y="131"/>
                  </a:lnTo>
                  <a:lnTo>
                    <a:pt x="119" y="131"/>
                  </a:lnTo>
                  <a:lnTo>
                    <a:pt x="121" y="131"/>
                  </a:lnTo>
                  <a:lnTo>
                    <a:pt x="119" y="131"/>
                  </a:lnTo>
                  <a:lnTo>
                    <a:pt x="116" y="131"/>
                  </a:lnTo>
                  <a:lnTo>
                    <a:pt x="116" y="133"/>
                  </a:lnTo>
                  <a:lnTo>
                    <a:pt x="119" y="133"/>
                  </a:lnTo>
                  <a:lnTo>
                    <a:pt x="116" y="133"/>
                  </a:lnTo>
                  <a:lnTo>
                    <a:pt x="116" y="131"/>
                  </a:lnTo>
                  <a:lnTo>
                    <a:pt x="114" y="131"/>
                  </a:lnTo>
                  <a:lnTo>
                    <a:pt x="111" y="131"/>
                  </a:lnTo>
                  <a:lnTo>
                    <a:pt x="109" y="131"/>
                  </a:lnTo>
                  <a:lnTo>
                    <a:pt x="107" y="131"/>
                  </a:lnTo>
                  <a:lnTo>
                    <a:pt x="104" y="131"/>
                  </a:lnTo>
                  <a:lnTo>
                    <a:pt x="104" y="128"/>
                  </a:lnTo>
                  <a:lnTo>
                    <a:pt x="104" y="126"/>
                  </a:lnTo>
                  <a:lnTo>
                    <a:pt x="102" y="126"/>
                  </a:lnTo>
                  <a:lnTo>
                    <a:pt x="100" y="126"/>
                  </a:lnTo>
                  <a:lnTo>
                    <a:pt x="100" y="123"/>
                  </a:lnTo>
                  <a:lnTo>
                    <a:pt x="100" y="121"/>
                  </a:lnTo>
                  <a:lnTo>
                    <a:pt x="100" y="123"/>
                  </a:lnTo>
                  <a:lnTo>
                    <a:pt x="102" y="121"/>
                  </a:lnTo>
                  <a:lnTo>
                    <a:pt x="102" y="119"/>
                  </a:lnTo>
                  <a:lnTo>
                    <a:pt x="102" y="116"/>
                  </a:lnTo>
                  <a:lnTo>
                    <a:pt x="100" y="114"/>
                  </a:lnTo>
                  <a:lnTo>
                    <a:pt x="97" y="114"/>
                  </a:lnTo>
                  <a:lnTo>
                    <a:pt x="100" y="114"/>
                  </a:lnTo>
                  <a:lnTo>
                    <a:pt x="102" y="112"/>
                  </a:lnTo>
                  <a:lnTo>
                    <a:pt x="100" y="112"/>
                  </a:lnTo>
                  <a:lnTo>
                    <a:pt x="100" y="109"/>
                  </a:lnTo>
                  <a:lnTo>
                    <a:pt x="97" y="109"/>
                  </a:lnTo>
                  <a:lnTo>
                    <a:pt x="97" y="107"/>
                  </a:lnTo>
                  <a:lnTo>
                    <a:pt x="95" y="107"/>
                  </a:lnTo>
                  <a:lnTo>
                    <a:pt x="92" y="107"/>
                  </a:lnTo>
                  <a:lnTo>
                    <a:pt x="95" y="107"/>
                  </a:lnTo>
                  <a:lnTo>
                    <a:pt x="97" y="107"/>
                  </a:lnTo>
                  <a:lnTo>
                    <a:pt x="100" y="107"/>
                  </a:lnTo>
                  <a:lnTo>
                    <a:pt x="97" y="107"/>
                  </a:lnTo>
                  <a:lnTo>
                    <a:pt x="97" y="104"/>
                  </a:lnTo>
                  <a:lnTo>
                    <a:pt x="95" y="104"/>
                  </a:lnTo>
                  <a:lnTo>
                    <a:pt x="92" y="104"/>
                  </a:lnTo>
                  <a:lnTo>
                    <a:pt x="92" y="102"/>
                  </a:lnTo>
                  <a:lnTo>
                    <a:pt x="95" y="102"/>
                  </a:lnTo>
                  <a:lnTo>
                    <a:pt x="95" y="104"/>
                  </a:lnTo>
                  <a:lnTo>
                    <a:pt x="97" y="104"/>
                  </a:lnTo>
                  <a:lnTo>
                    <a:pt x="100" y="102"/>
                  </a:lnTo>
                  <a:lnTo>
                    <a:pt x="102" y="102"/>
                  </a:lnTo>
                  <a:lnTo>
                    <a:pt x="102" y="104"/>
                  </a:lnTo>
                  <a:lnTo>
                    <a:pt x="102" y="102"/>
                  </a:lnTo>
                  <a:lnTo>
                    <a:pt x="104" y="104"/>
                  </a:lnTo>
                  <a:lnTo>
                    <a:pt x="104" y="102"/>
                  </a:lnTo>
                  <a:lnTo>
                    <a:pt x="107" y="102"/>
                  </a:lnTo>
                  <a:lnTo>
                    <a:pt x="104" y="102"/>
                  </a:lnTo>
                  <a:lnTo>
                    <a:pt x="107" y="102"/>
                  </a:lnTo>
                  <a:lnTo>
                    <a:pt x="109" y="102"/>
                  </a:lnTo>
                  <a:lnTo>
                    <a:pt x="109" y="100"/>
                  </a:lnTo>
                  <a:lnTo>
                    <a:pt x="107" y="97"/>
                  </a:lnTo>
                  <a:lnTo>
                    <a:pt x="109" y="97"/>
                  </a:lnTo>
                  <a:lnTo>
                    <a:pt x="109" y="100"/>
                  </a:lnTo>
                  <a:lnTo>
                    <a:pt x="109" y="97"/>
                  </a:lnTo>
                  <a:lnTo>
                    <a:pt x="111" y="97"/>
                  </a:lnTo>
                  <a:lnTo>
                    <a:pt x="114" y="97"/>
                  </a:lnTo>
                  <a:lnTo>
                    <a:pt x="114" y="95"/>
                  </a:lnTo>
                  <a:lnTo>
                    <a:pt x="114" y="97"/>
                  </a:lnTo>
                  <a:lnTo>
                    <a:pt x="114" y="95"/>
                  </a:lnTo>
                  <a:lnTo>
                    <a:pt x="114" y="93"/>
                  </a:lnTo>
                  <a:lnTo>
                    <a:pt x="111" y="93"/>
                  </a:lnTo>
                  <a:lnTo>
                    <a:pt x="109" y="93"/>
                  </a:lnTo>
                  <a:lnTo>
                    <a:pt x="107" y="93"/>
                  </a:lnTo>
                  <a:lnTo>
                    <a:pt x="107" y="90"/>
                  </a:lnTo>
                  <a:lnTo>
                    <a:pt x="107" y="93"/>
                  </a:lnTo>
                  <a:lnTo>
                    <a:pt x="104" y="93"/>
                  </a:lnTo>
                  <a:lnTo>
                    <a:pt x="104" y="90"/>
                  </a:lnTo>
                  <a:lnTo>
                    <a:pt x="107" y="90"/>
                  </a:lnTo>
                  <a:lnTo>
                    <a:pt x="107" y="93"/>
                  </a:lnTo>
                  <a:lnTo>
                    <a:pt x="109" y="93"/>
                  </a:lnTo>
                  <a:lnTo>
                    <a:pt x="111" y="93"/>
                  </a:lnTo>
                  <a:lnTo>
                    <a:pt x="114" y="93"/>
                  </a:lnTo>
                  <a:lnTo>
                    <a:pt x="116" y="93"/>
                  </a:lnTo>
                  <a:lnTo>
                    <a:pt x="119" y="93"/>
                  </a:lnTo>
                  <a:lnTo>
                    <a:pt x="121" y="93"/>
                  </a:lnTo>
                  <a:lnTo>
                    <a:pt x="121" y="90"/>
                  </a:lnTo>
                  <a:lnTo>
                    <a:pt x="121" y="93"/>
                  </a:lnTo>
                  <a:lnTo>
                    <a:pt x="121" y="95"/>
                  </a:lnTo>
                  <a:lnTo>
                    <a:pt x="119" y="95"/>
                  </a:lnTo>
                  <a:lnTo>
                    <a:pt x="119" y="97"/>
                  </a:lnTo>
                  <a:lnTo>
                    <a:pt x="121" y="100"/>
                  </a:lnTo>
                  <a:lnTo>
                    <a:pt x="119" y="100"/>
                  </a:lnTo>
                  <a:lnTo>
                    <a:pt x="116" y="100"/>
                  </a:lnTo>
                  <a:lnTo>
                    <a:pt x="116" y="102"/>
                  </a:lnTo>
                  <a:lnTo>
                    <a:pt x="119" y="102"/>
                  </a:lnTo>
                  <a:lnTo>
                    <a:pt x="119" y="100"/>
                  </a:lnTo>
                  <a:lnTo>
                    <a:pt x="121" y="100"/>
                  </a:lnTo>
                  <a:lnTo>
                    <a:pt x="121" y="102"/>
                  </a:lnTo>
                  <a:lnTo>
                    <a:pt x="121" y="104"/>
                  </a:lnTo>
                  <a:lnTo>
                    <a:pt x="119" y="104"/>
                  </a:lnTo>
                  <a:lnTo>
                    <a:pt x="116" y="104"/>
                  </a:lnTo>
                  <a:lnTo>
                    <a:pt x="119" y="104"/>
                  </a:lnTo>
                  <a:lnTo>
                    <a:pt x="121" y="104"/>
                  </a:lnTo>
                  <a:lnTo>
                    <a:pt x="123" y="107"/>
                  </a:lnTo>
                  <a:lnTo>
                    <a:pt x="121" y="107"/>
                  </a:lnTo>
                  <a:lnTo>
                    <a:pt x="123" y="107"/>
                  </a:lnTo>
                  <a:lnTo>
                    <a:pt x="121" y="107"/>
                  </a:lnTo>
                  <a:lnTo>
                    <a:pt x="123" y="107"/>
                  </a:lnTo>
                  <a:lnTo>
                    <a:pt x="123" y="104"/>
                  </a:lnTo>
                  <a:lnTo>
                    <a:pt x="123" y="102"/>
                  </a:lnTo>
                  <a:lnTo>
                    <a:pt x="123" y="100"/>
                  </a:lnTo>
                  <a:lnTo>
                    <a:pt x="126" y="100"/>
                  </a:lnTo>
                  <a:lnTo>
                    <a:pt x="128" y="100"/>
                  </a:lnTo>
                  <a:lnTo>
                    <a:pt x="128" y="97"/>
                  </a:lnTo>
                  <a:lnTo>
                    <a:pt x="126" y="97"/>
                  </a:lnTo>
                  <a:lnTo>
                    <a:pt x="126" y="95"/>
                  </a:lnTo>
                  <a:lnTo>
                    <a:pt x="126" y="93"/>
                  </a:lnTo>
                  <a:lnTo>
                    <a:pt x="128" y="93"/>
                  </a:lnTo>
                  <a:lnTo>
                    <a:pt x="128" y="95"/>
                  </a:lnTo>
                  <a:lnTo>
                    <a:pt x="130" y="95"/>
                  </a:lnTo>
                  <a:lnTo>
                    <a:pt x="128" y="95"/>
                  </a:lnTo>
                  <a:lnTo>
                    <a:pt x="128" y="97"/>
                  </a:lnTo>
                  <a:lnTo>
                    <a:pt x="130" y="97"/>
                  </a:lnTo>
                  <a:lnTo>
                    <a:pt x="130" y="100"/>
                  </a:lnTo>
                  <a:lnTo>
                    <a:pt x="130" y="102"/>
                  </a:lnTo>
                  <a:lnTo>
                    <a:pt x="130" y="104"/>
                  </a:lnTo>
                  <a:lnTo>
                    <a:pt x="128" y="104"/>
                  </a:lnTo>
                  <a:lnTo>
                    <a:pt x="128" y="107"/>
                  </a:lnTo>
                  <a:lnTo>
                    <a:pt x="126" y="107"/>
                  </a:lnTo>
                  <a:lnTo>
                    <a:pt x="126" y="109"/>
                  </a:lnTo>
                  <a:lnTo>
                    <a:pt x="126" y="107"/>
                  </a:lnTo>
                  <a:lnTo>
                    <a:pt x="128" y="107"/>
                  </a:lnTo>
                  <a:lnTo>
                    <a:pt x="128" y="104"/>
                  </a:lnTo>
                  <a:lnTo>
                    <a:pt x="128" y="107"/>
                  </a:lnTo>
                  <a:lnTo>
                    <a:pt x="128" y="104"/>
                  </a:lnTo>
                  <a:lnTo>
                    <a:pt x="128" y="107"/>
                  </a:lnTo>
                  <a:lnTo>
                    <a:pt x="130" y="107"/>
                  </a:lnTo>
                  <a:lnTo>
                    <a:pt x="128" y="107"/>
                  </a:lnTo>
                  <a:lnTo>
                    <a:pt x="130" y="107"/>
                  </a:lnTo>
                  <a:lnTo>
                    <a:pt x="133" y="107"/>
                  </a:lnTo>
                  <a:lnTo>
                    <a:pt x="130" y="107"/>
                  </a:lnTo>
                  <a:lnTo>
                    <a:pt x="130" y="104"/>
                  </a:lnTo>
                  <a:lnTo>
                    <a:pt x="133" y="104"/>
                  </a:lnTo>
                  <a:lnTo>
                    <a:pt x="133" y="102"/>
                  </a:lnTo>
                  <a:lnTo>
                    <a:pt x="130" y="102"/>
                  </a:lnTo>
                  <a:lnTo>
                    <a:pt x="130" y="100"/>
                  </a:lnTo>
                  <a:lnTo>
                    <a:pt x="130" y="97"/>
                  </a:lnTo>
                  <a:lnTo>
                    <a:pt x="130" y="95"/>
                  </a:lnTo>
                  <a:lnTo>
                    <a:pt x="130" y="93"/>
                  </a:lnTo>
                  <a:lnTo>
                    <a:pt x="128" y="93"/>
                  </a:lnTo>
                  <a:lnTo>
                    <a:pt x="126" y="93"/>
                  </a:lnTo>
                  <a:lnTo>
                    <a:pt x="123" y="93"/>
                  </a:lnTo>
                  <a:lnTo>
                    <a:pt x="123" y="90"/>
                  </a:lnTo>
                  <a:lnTo>
                    <a:pt x="126" y="90"/>
                  </a:lnTo>
                  <a:lnTo>
                    <a:pt x="128" y="90"/>
                  </a:lnTo>
                  <a:lnTo>
                    <a:pt x="128" y="88"/>
                  </a:lnTo>
                  <a:lnTo>
                    <a:pt x="130" y="88"/>
                  </a:lnTo>
                  <a:lnTo>
                    <a:pt x="133" y="85"/>
                  </a:lnTo>
                  <a:lnTo>
                    <a:pt x="135" y="85"/>
                  </a:lnTo>
                  <a:lnTo>
                    <a:pt x="135" y="83"/>
                  </a:lnTo>
                  <a:lnTo>
                    <a:pt x="138" y="83"/>
                  </a:lnTo>
                  <a:lnTo>
                    <a:pt x="140" y="83"/>
                  </a:lnTo>
                  <a:close/>
                  <a:moveTo>
                    <a:pt x="64" y="36"/>
                  </a:moveTo>
                  <a:lnTo>
                    <a:pt x="66" y="36"/>
                  </a:lnTo>
                  <a:lnTo>
                    <a:pt x="66" y="38"/>
                  </a:lnTo>
                  <a:lnTo>
                    <a:pt x="69" y="38"/>
                  </a:lnTo>
                  <a:lnTo>
                    <a:pt x="69" y="40"/>
                  </a:lnTo>
                  <a:lnTo>
                    <a:pt x="71" y="40"/>
                  </a:lnTo>
                  <a:lnTo>
                    <a:pt x="73" y="40"/>
                  </a:lnTo>
                  <a:lnTo>
                    <a:pt x="71" y="40"/>
                  </a:lnTo>
                  <a:lnTo>
                    <a:pt x="71" y="43"/>
                  </a:lnTo>
                  <a:lnTo>
                    <a:pt x="71" y="45"/>
                  </a:lnTo>
                  <a:lnTo>
                    <a:pt x="71" y="47"/>
                  </a:lnTo>
                  <a:lnTo>
                    <a:pt x="71" y="50"/>
                  </a:lnTo>
                  <a:lnTo>
                    <a:pt x="73" y="52"/>
                  </a:lnTo>
                  <a:lnTo>
                    <a:pt x="73" y="55"/>
                  </a:lnTo>
                  <a:lnTo>
                    <a:pt x="71" y="55"/>
                  </a:lnTo>
                  <a:lnTo>
                    <a:pt x="71" y="52"/>
                  </a:lnTo>
                  <a:lnTo>
                    <a:pt x="69" y="52"/>
                  </a:lnTo>
                  <a:lnTo>
                    <a:pt x="69" y="55"/>
                  </a:lnTo>
                  <a:lnTo>
                    <a:pt x="69" y="52"/>
                  </a:lnTo>
                  <a:lnTo>
                    <a:pt x="66" y="52"/>
                  </a:lnTo>
                  <a:lnTo>
                    <a:pt x="66" y="55"/>
                  </a:lnTo>
                  <a:lnTo>
                    <a:pt x="64" y="55"/>
                  </a:lnTo>
                  <a:lnTo>
                    <a:pt x="62" y="55"/>
                  </a:lnTo>
                  <a:lnTo>
                    <a:pt x="62" y="57"/>
                  </a:lnTo>
                  <a:lnTo>
                    <a:pt x="59" y="57"/>
                  </a:lnTo>
                  <a:lnTo>
                    <a:pt x="57" y="57"/>
                  </a:lnTo>
                  <a:lnTo>
                    <a:pt x="59" y="57"/>
                  </a:lnTo>
                  <a:lnTo>
                    <a:pt x="62" y="57"/>
                  </a:lnTo>
                  <a:lnTo>
                    <a:pt x="64" y="55"/>
                  </a:lnTo>
                  <a:lnTo>
                    <a:pt x="66" y="55"/>
                  </a:lnTo>
                  <a:lnTo>
                    <a:pt x="69" y="55"/>
                  </a:lnTo>
                  <a:lnTo>
                    <a:pt x="66" y="55"/>
                  </a:lnTo>
                  <a:lnTo>
                    <a:pt x="69" y="55"/>
                  </a:lnTo>
                  <a:lnTo>
                    <a:pt x="71" y="55"/>
                  </a:lnTo>
                  <a:lnTo>
                    <a:pt x="73" y="55"/>
                  </a:lnTo>
                  <a:lnTo>
                    <a:pt x="73" y="57"/>
                  </a:lnTo>
                  <a:lnTo>
                    <a:pt x="73" y="59"/>
                  </a:lnTo>
                  <a:lnTo>
                    <a:pt x="71" y="59"/>
                  </a:lnTo>
                  <a:lnTo>
                    <a:pt x="71" y="62"/>
                  </a:lnTo>
                  <a:lnTo>
                    <a:pt x="69" y="62"/>
                  </a:lnTo>
                  <a:lnTo>
                    <a:pt x="69" y="64"/>
                  </a:lnTo>
                  <a:lnTo>
                    <a:pt x="71" y="64"/>
                  </a:lnTo>
                  <a:lnTo>
                    <a:pt x="69" y="66"/>
                  </a:lnTo>
                  <a:lnTo>
                    <a:pt x="71" y="66"/>
                  </a:lnTo>
                  <a:lnTo>
                    <a:pt x="69" y="66"/>
                  </a:lnTo>
                  <a:lnTo>
                    <a:pt x="71" y="66"/>
                  </a:lnTo>
                  <a:lnTo>
                    <a:pt x="71" y="64"/>
                  </a:lnTo>
                  <a:lnTo>
                    <a:pt x="71" y="62"/>
                  </a:lnTo>
                  <a:lnTo>
                    <a:pt x="71" y="59"/>
                  </a:lnTo>
                  <a:lnTo>
                    <a:pt x="73" y="59"/>
                  </a:lnTo>
                  <a:lnTo>
                    <a:pt x="73" y="62"/>
                  </a:lnTo>
                  <a:lnTo>
                    <a:pt x="76" y="62"/>
                  </a:lnTo>
                  <a:lnTo>
                    <a:pt x="76" y="64"/>
                  </a:lnTo>
                  <a:lnTo>
                    <a:pt x="78" y="64"/>
                  </a:lnTo>
                  <a:lnTo>
                    <a:pt x="81" y="64"/>
                  </a:lnTo>
                  <a:lnTo>
                    <a:pt x="83" y="64"/>
                  </a:lnTo>
                  <a:lnTo>
                    <a:pt x="85" y="64"/>
                  </a:lnTo>
                  <a:lnTo>
                    <a:pt x="85" y="62"/>
                  </a:lnTo>
                  <a:lnTo>
                    <a:pt x="88" y="62"/>
                  </a:lnTo>
                  <a:lnTo>
                    <a:pt x="90" y="62"/>
                  </a:lnTo>
                  <a:lnTo>
                    <a:pt x="90" y="64"/>
                  </a:lnTo>
                  <a:lnTo>
                    <a:pt x="92" y="64"/>
                  </a:lnTo>
                  <a:lnTo>
                    <a:pt x="92" y="66"/>
                  </a:lnTo>
                  <a:lnTo>
                    <a:pt x="95" y="66"/>
                  </a:lnTo>
                  <a:lnTo>
                    <a:pt x="95" y="69"/>
                  </a:lnTo>
                  <a:lnTo>
                    <a:pt x="92" y="69"/>
                  </a:lnTo>
                  <a:lnTo>
                    <a:pt x="92" y="71"/>
                  </a:lnTo>
                  <a:lnTo>
                    <a:pt x="92" y="74"/>
                  </a:lnTo>
                  <a:lnTo>
                    <a:pt x="90" y="74"/>
                  </a:lnTo>
                  <a:lnTo>
                    <a:pt x="90" y="76"/>
                  </a:lnTo>
                  <a:lnTo>
                    <a:pt x="90" y="78"/>
                  </a:lnTo>
                  <a:lnTo>
                    <a:pt x="88" y="78"/>
                  </a:lnTo>
                  <a:lnTo>
                    <a:pt x="88" y="81"/>
                  </a:lnTo>
                  <a:lnTo>
                    <a:pt x="85" y="83"/>
                  </a:lnTo>
                  <a:lnTo>
                    <a:pt x="85" y="81"/>
                  </a:lnTo>
                  <a:lnTo>
                    <a:pt x="85" y="83"/>
                  </a:lnTo>
                  <a:lnTo>
                    <a:pt x="85" y="81"/>
                  </a:lnTo>
                  <a:lnTo>
                    <a:pt x="83" y="81"/>
                  </a:lnTo>
                  <a:lnTo>
                    <a:pt x="85" y="81"/>
                  </a:lnTo>
                  <a:lnTo>
                    <a:pt x="85" y="78"/>
                  </a:lnTo>
                  <a:lnTo>
                    <a:pt x="83" y="78"/>
                  </a:lnTo>
                  <a:lnTo>
                    <a:pt x="81" y="78"/>
                  </a:lnTo>
                  <a:lnTo>
                    <a:pt x="81" y="81"/>
                  </a:lnTo>
                  <a:lnTo>
                    <a:pt x="81" y="83"/>
                  </a:lnTo>
                  <a:lnTo>
                    <a:pt x="81" y="85"/>
                  </a:lnTo>
                  <a:lnTo>
                    <a:pt x="78" y="85"/>
                  </a:lnTo>
                  <a:lnTo>
                    <a:pt x="78" y="83"/>
                  </a:lnTo>
                  <a:lnTo>
                    <a:pt x="81" y="83"/>
                  </a:lnTo>
                  <a:lnTo>
                    <a:pt x="81" y="81"/>
                  </a:lnTo>
                  <a:lnTo>
                    <a:pt x="78" y="81"/>
                  </a:lnTo>
                  <a:lnTo>
                    <a:pt x="76" y="81"/>
                  </a:lnTo>
                  <a:lnTo>
                    <a:pt x="73" y="81"/>
                  </a:lnTo>
                  <a:lnTo>
                    <a:pt x="76" y="81"/>
                  </a:lnTo>
                  <a:lnTo>
                    <a:pt x="76" y="78"/>
                  </a:lnTo>
                  <a:lnTo>
                    <a:pt x="78" y="78"/>
                  </a:lnTo>
                  <a:lnTo>
                    <a:pt x="76" y="78"/>
                  </a:lnTo>
                  <a:lnTo>
                    <a:pt x="76" y="81"/>
                  </a:lnTo>
                  <a:lnTo>
                    <a:pt x="78" y="81"/>
                  </a:lnTo>
                  <a:lnTo>
                    <a:pt x="78" y="78"/>
                  </a:lnTo>
                  <a:lnTo>
                    <a:pt x="78" y="76"/>
                  </a:lnTo>
                  <a:lnTo>
                    <a:pt x="76" y="76"/>
                  </a:lnTo>
                  <a:lnTo>
                    <a:pt x="73" y="76"/>
                  </a:lnTo>
                  <a:lnTo>
                    <a:pt x="73" y="78"/>
                  </a:lnTo>
                  <a:lnTo>
                    <a:pt x="71" y="78"/>
                  </a:lnTo>
                  <a:lnTo>
                    <a:pt x="71" y="81"/>
                  </a:lnTo>
                  <a:lnTo>
                    <a:pt x="69" y="81"/>
                  </a:lnTo>
                  <a:lnTo>
                    <a:pt x="69" y="83"/>
                  </a:lnTo>
                  <a:lnTo>
                    <a:pt x="71" y="83"/>
                  </a:lnTo>
                  <a:lnTo>
                    <a:pt x="69" y="83"/>
                  </a:lnTo>
                  <a:lnTo>
                    <a:pt x="71" y="83"/>
                  </a:lnTo>
                  <a:lnTo>
                    <a:pt x="69" y="83"/>
                  </a:lnTo>
                  <a:lnTo>
                    <a:pt x="71" y="83"/>
                  </a:lnTo>
                  <a:lnTo>
                    <a:pt x="71" y="85"/>
                  </a:lnTo>
                  <a:lnTo>
                    <a:pt x="71" y="88"/>
                  </a:lnTo>
                  <a:lnTo>
                    <a:pt x="71" y="90"/>
                  </a:lnTo>
                  <a:lnTo>
                    <a:pt x="71" y="93"/>
                  </a:lnTo>
                  <a:lnTo>
                    <a:pt x="71" y="95"/>
                  </a:lnTo>
                  <a:lnTo>
                    <a:pt x="69" y="95"/>
                  </a:lnTo>
                  <a:lnTo>
                    <a:pt x="69" y="97"/>
                  </a:lnTo>
                  <a:lnTo>
                    <a:pt x="66" y="97"/>
                  </a:lnTo>
                  <a:lnTo>
                    <a:pt x="66" y="95"/>
                  </a:lnTo>
                  <a:lnTo>
                    <a:pt x="64" y="95"/>
                  </a:lnTo>
                  <a:lnTo>
                    <a:pt x="64" y="97"/>
                  </a:lnTo>
                  <a:lnTo>
                    <a:pt x="62" y="97"/>
                  </a:lnTo>
                  <a:lnTo>
                    <a:pt x="59" y="97"/>
                  </a:lnTo>
                  <a:lnTo>
                    <a:pt x="57" y="97"/>
                  </a:lnTo>
                  <a:lnTo>
                    <a:pt x="59" y="97"/>
                  </a:lnTo>
                  <a:lnTo>
                    <a:pt x="62" y="100"/>
                  </a:lnTo>
                  <a:lnTo>
                    <a:pt x="64" y="100"/>
                  </a:lnTo>
                  <a:lnTo>
                    <a:pt x="64" y="97"/>
                  </a:lnTo>
                  <a:lnTo>
                    <a:pt x="64" y="100"/>
                  </a:lnTo>
                  <a:lnTo>
                    <a:pt x="64" y="102"/>
                  </a:lnTo>
                  <a:lnTo>
                    <a:pt x="66" y="102"/>
                  </a:lnTo>
                  <a:lnTo>
                    <a:pt x="64" y="102"/>
                  </a:lnTo>
                  <a:lnTo>
                    <a:pt x="64" y="104"/>
                  </a:lnTo>
                  <a:lnTo>
                    <a:pt x="62" y="104"/>
                  </a:lnTo>
                  <a:lnTo>
                    <a:pt x="64" y="104"/>
                  </a:lnTo>
                  <a:lnTo>
                    <a:pt x="62" y="104"/>
                  </a:lnTo>
                  <a:lnTo>
                    <a:pt x="62" y="107"/>
                  </a:lnTo>
                  <a:lnTo>
                    <a:pt x="59" y="107"/>
                  </a:lnTo>
                  <a:lnTo>
                    <a:pt x="57" y="107"/>
                  </a:lnTo>
                  <a:lnTo>
                    <a:pt x="55" y="107"/>
                  </a:lnTo>
                  <a:lnTo>
                    <a:pt x="55" y="104"/>
                  </a:lnTo>
                  <a:lnTo>
                    <a:pt x="52" y="104"/>
                  </a:lnTo>
                  <a:lnTo>
                    <a:pt x="50" y="104"/>
                  </a:lnTo>
                  <a:lnTo>
                    <a:pt x="47" y="104"/>
                  </a:lnTo>
                  <a:lnTo>
                    <a:pt x="47" y="107"/>
                  </a:lnTo>
                  <a:lnTo>
                    <a:pt x="50" y="107"/>
                  </a:lnTo>
                  <a:lnTo>
                    <a:pt x="52" y="107"/>
                  </a:lnTo>
                  <a:lnTo>
                    <a:pt x="55" y="107"/>
                  </a:lnTo>
                  <a:lnTo>
                    <a:pt x="55" y="109"/>
                  </a:lnTo>
                  <a:lnTo>
                    <a:pt x="57" y="109"/>
                  </a:lnTo>
                  <a:lnTo>
                    <a:pt x="57" y="112"/>
                  </a:lnTo>
                  <a:lnTo>
                    <a:pt x="55" y="112"/>
                  </a:lnTo>
                  <a:lnTo>
                    <a:pt x="55" y="114"/>
                  </a:lnTo>
                  <a:lnTo>
                    <a:pt x="52" y="114"/>
                  </a:lnTo>
                  <a:lnTo>
                    <a:pt x="50" y="114"/>
                  </a:lnTo>
                  <a:lnTo>
                    <a:pt x="47" y="114"/>
                  </a:lnTo>
                  <a:lnTo>
                    <a:pt x="50" y="114"/>
                  </a:lnTo>
                  <a:lnTo>
                    <a:pt x="47" y="114"/>
                  </a:lnTo>
                  <a:lnTo>
                    <a:pt x="50" y="114"/>
                  </a:lnTo>
                  <a:lnTo>
                    <a:pt x="50" y="116"/>
                  </a:lnTo>
                  <a:lnTo>
                    <a:pt x="47" y="116"/>
                  </a:lnTo>
                  <a:lnTo>
                    <a:pt x="45" y="116"/>
                  </a:lnTo>
                  <a:lnTo>
                    <a:pt x="47" y="116"/>
                  </a:lnTo>
                  <a:lnTo>
                    <a:pt x="50" y="116"/>
                  </a:lnTo>
                  <a:lnTo>
                    <a:pt x="52" y="116"/>
                  </a:lnTo>
                  <a:lnTo>
                    <a:pt x="52" y="119"/>
                  </a:lnTo>
                  <a:lnTo>
                    <a:pt x="50" y="119"/>
                  </a:lnTo>
                  <a:lnTo>
                    <a:pt x="50" y="121"/>
                  </a:lnTo>
                  <a:lnTo>
                    <a:pt x="50" y="123"/>
                  </a:lnTo>
                  <a:lnTo>
                    <a:pt x="52" y="123"/>
                  </a:lnTo>
                  <a:lnTo>
                    <a:pt x="50" y="123"/>
                  </a:lnTo>
                  <a:lnTo>
                    <a:pt x="52" y="123"/>
                  </a:lnTo>
                  <a:lnTo>
                    <a:pt x="50" y="126"/>
                  </a:lnTo>
                  <a:lnTo>
                    <a:pt x="52" y="126"/>
                  </a:lnTo>
                  <a:lnTo>
                    <a:pt x="50" y="126"/>
                  </a:lnTo>
                  <a:lnTo>
                    <a:pt x="50" y="128"/>
                  </a:lnTo>
                  <a:lnTo>
                    <a:pt x="47" y="128"/>
                  </a:lnTo>
                  <a:lnTo>
                    <a:pt x="50" y="128"/>
                  </a:lnTo>
                  <a:lnTo>
                    <a:pt x="50" y="126"/>
                  </a:lnTo>
                  <a:lnTo>
                    <a:pt x="52" y="126"/>
                  </a:lnTo>
                  <a:lnTo>
                    <a:pt x="52" y="128"/>
                  </a:lnTo>
                  <a:lnTo>
                    <a:pt x="55" y="128"/>
                  </a:lnTo>
                  <a:lnTo>
                    <a:pt x="52" y="128"/>
                  </a:lnTo>
                  <a:lnTo>
                    <a:pt x="52" y="131"/>
                  </a:lnTo>
                  <a:lnTo>
                    <a:pt x="50" y="133"/>
                  </a:lnTo>
                  <a:lnTo>
                    <a:pt x="50" y="131"/>
                  </a:lnTo>
                  <a:lnTo>
                    <a:pt x="50" y="133"/>
                  </a:lnTo>
                  <a:lnTo>
                    <a:pt x="50" y="131"/>
                  </a:lnTo>
                  <a:lnTo>
                    <a:pt x="47" y="133"/>
                  </a:lnTo>
                  <a:lnTo>
                    <a:pt x="45" y="133"/>
                  </a:lnTo>
                  <a:lnTo>
                    <a:pt x="47" y="133"/>
                  </a:lnTo>
                  <a:lnTo>
                    <a:pt x="47" y="135"/>
                  </a:lnTo>
                  <a:lnTo>
                    <a:pt x="45" y="135"/>
                  </a:lnTo>
                  <a:lnTo>
                    <a:pt x="47" y="135"/>
                  </a:lnTo>
                  <a:lnTo>
                    <a:pt x="47" y="138"/>
                  </a:lnTo>
                  <a:lnTo>
                    <a:pt x="45" y="138"/>
                  </a:lnTo>
                  <a:lnTo>
                    <a:pt x="43" y="138"/>
                  </a:lnTo>
                  <a:lnTo>
                    <a:pt x="43" y="140"/>
                  </a:lnTo>
                  <a:lnTo>
                    <a:pt x="45" y="140"/>
                  </a:lnTo>
                  <a:lnTo>
                    <a:pt x="47" y="140"/>
                  </a:lnTo>
                  <a:lnTo>
                    <a:pt x="50" y="140"/>
                  </a:lnTo>
                  <a:lnTo>
                    <a:pt x="47" y="138"/>
                  </a:lnTo>
                  <a:lnTo>
                    <a:pt x="50" y="138"/>
                  </a:lnTo>
                  <a:lnTo>
                    <a:pt x="50" y="140"/>
                  </a:lnTo>
                  <a:lnTo>
                    <a:pt x="52" y="140"/>
                  </a:lnTo>
                  <a:lnTo>
                    <a:pt x="52" y="142"/>
                  </a:lnTo>
                  <a:lnTo>
                    <a:pt x="55" y="142"/>
                  </a:lnTo>
                  <a:lnTo>
                    <a:pt x="55" y="145"/>
                  </a:lnTo>
                  <a:lnTo>
                    <a:pt x="55" y="147"/>
                  </a:lnTo>
                  <a:lnTo>
                    <a:pt x="55" y="145"/>
                  </a:lnTo>
                  <a:lnTo>
                    <a:pt x="52" y="145"/>
                  </a:lnTo>
                  <a:lnTo>
                    <a:pt x="52" y="147"/>
                  </a:lnTo>
                  <a:lnTo>
                    <a:pt x="55" y="147"/>
                  </a:lnTo>
                  <a:lnTo>
                    <a:pt x="55" y="150"/>
                  </a:lnTo>
                  <a:lnTo>
                    <a:pt x="52" y="150"/>
                  </a:lnTo>
                  <a:lnTo>
                    <a:pt x="52" y="147"/>
                  </a:lnTo>
                  <a:lnTo>
                    <a:pt x="50" y="147"/>
                  </a:lnTo>
                  <a:lnTo>
                    <a:pt x="52" y="147"/>
                  </a:lnTo>
                  <a:lnTo>
                    <a:pt x="50" y="147"/>
                  </a:lnTo>
                  <a:lnTo>
                    <a:pt x="50" y="145"/>
                  </a:lnTo>
                  <a:lnTo>
                    <a:pt x="52" y="145"/>
                  </a:lnTo>
                  <a:lnTo>
                    <a:pt x="50" y="145"/>
                  </a:lnTo>
                  <a:lnTo>
                    <a:pt x="50" y="147"/>
                  </a:lnTo>
                  <a:lnTo>
                    <a:pt x="47" y="147"/>
                  </a:lnTo>
                  <a:lnTo>
                    <a:pt x="45" y="147"/>
                  </a:lnTo>
                  <a:lnTo>
                    <a:pt x="45" y="150"/>
                  </a:lnTo>
                  <a:lnTo>
                    <a:pt x="43" y="150"/>
                  </a:lnTo>
                  <a:lnTo>
                    <a:pt x="40" y="150"/>
                  </a:lnTo>
                  <a:lnTo>
                    <a:pt x="40" y="152"/>
                  </a:lnTo>
                  <a:lnTo>
                    <a:pt x="40" y="150"/>
                  </a:lnTo>
                  <a:lnTo>
                    <a:pt x="40" y="152"/>
                  </a:lnTo>
                  <a:lnTo>
                    <a:pt x="38" y="150"/>
                  </a:lnTo>
                  <a:lnTo>
                    <a:pt x="36" y="147"/>
                  </a:lnTo>
                  <a:lnTo>
                    <a:pt x="33" y="147"/>
                  </a:lnTo>
                  <a:lnTo>
                    <a:pt x="31" y="147"/>
                  </a:lnTo>
                  <a:lnTo>
                    <a:pt x="28" y="147"/>
                  </a:lnTo>
                  <a:lnTo>
                    <a:pt x="28" y="145"/>
                  </a:lnTo>
                  <a:lnTo>
                    <a:pt x="26" y="145"/>
                  </a:lnTo>
                  <a:lnTo>
                    <a:pt x="26" y="147"/>
                  </a:lnTo>
                  <a:lnTo>
                    <a:pt x="24" y="147"/>
                  </a:lnTo>
                  <a:lnTo>
                    <a:pt x="24" y="145"/>
                  </a:lnTo>
                  <a:lnTo>
                    <a:pt x="21" y="147"/>
                  </a:lnTo>
                  <a:lnTo>
                    <a:pt x="19" y="145"/>
                  </a:lnTo>
                  <a:lnTo>
                    <a:pt x="17" y="145"/>
                  </a:lnTo>
                  <a:lnTo>
                    <a:pt x="19" y="142"/>
                  </a:lnTo>
                  <a:lnTo>
                    <a:pt x="19" y="140"/>
                  </a:lnTo>
                  <a:lnTo>
                    <a:pt x="17" y="140"/>
                  </a:lnTo>
                  <a:lnTo>
                    <a:pt x="17" y="138"/>
                  </a:lnTo>
                  <a:lnTo>
                    <a:pt x="19" y="138"/>
                  </a:lnTo>
                  <a:lnTo>
                    <a:pt x="19" y="135"/>
                  </a:lnTo>
                  <a:lnTo>
                    <a:pt x="19" y="133"/>
                  </a:lnTo>
                  <a:lnTo>
                    <a:pt x="17" y="133"/>
                  </a:lnTo>
                  <a:lnTo>
                    <a:pt x="14" y="133"/>
                  </a:lnTo>
                  <a:lnTo>
                    <a:pt x="14" y="135"/>
                  </a:lnTo>
                  <a:lnTo>
                    <a:pt x="17" y="138"/>
                  </a:lnTo>
                  <a:lnTo>
                    <a:pt x="14" y="138"/>
                  </a:lnTo>
                  <a:lnTo>
                    <a:pt x="12" y="138"/>
                  </a:lnTo>
                  <a:lnTo>
                    <a:pt x="12" y="135"/>
                  </a:lnTo>
                  <a:lnTo>
                    <a:pt x="14" y="138"/>
                  </a:lnTo>
                  <a:lnTo>
                    <a:pt x="12" y="135"/>
                  </a:lnTo>
                  <a:lnTo>
                    <a:pt x="12" y="133"/>
                  </a:lnTo>
                  <a:lnTo>
                    <a:pt x="12" y="131"/>
                  </a:lnTo>
                  <a:lnTo>
                    <a:pt x="14" y="131"/>
                  </a:lnTo>
                  <a:lnTo>
                    <a:pt x="12" y="131"/>
                  </a:lnTo>
                  <a:lnTo>
                    <a:pt x="14" y="131"/>
                  </a:lnTo>
                  <a:lnTo>
                    <a:pt x="12" y="131"/>
                  </a:lnTo>
                  <a:lnTo>
                    <a:pt x="14" y="131"/>
                  </a:lnTo>
                  <a:lnTo>
                    <a:pt x="17" y="131"/>
                  </a:lnTo>
                  <a:lnTo>
                    <a:pt x="17" y="133"/>
                  </a:lnTo>
                  <a:lnTo>
                    <a:pt x="14" y="133"/>
                  </a:lnTo>
                  <a:lnTo>
                    <a:pt x="17" y="133"/>
                  </a:lnTo>
                  <a:lnTo>
                    <a:pt x="19" y="133"/>
                  </a:lnTo>
                  <a:lnTo>
                    <a:pt x="19" y="131"/>
                  </a:lnTo>
                  <a:lnTo>
                    <a:pt x="19" y="128"/>
                  </a:lnTo>
                  <a:lnTo>
                    <a:pt x="19" y="126"/>
                  </a:lnTo>
                  <a:lnTo>
                    <a:pt x="19" y="123"/>
                  </a:lnTo>
                  <a:lnTo>
                    <a:pt x="19" y="121"/>
                  </a:lnTo>
                  <a:lnTo>
                    <a:pt x="17" y="121"/>
                  </a:lnTo>
                  <a:lnTo>
                    <a:pt x="19" y="121"/>
                  </a:lnTo>
                  <a:lnTo>
                    <a:pt x="17" y="121"/>
                  </a:lnTo>
                  <a:lnTo>
                    <a:pt x="17" y="119"/>
                  </a:lnTo>
                  <a:lnTo>
                    <a:pt x="14" y="119"/>
                  </a:lnTo>
                  <a:lnTo>
                    <a:pt x="12" y="119"/>
                  </a:lnTo>
                  <a:lnTo>
                    <a:pt x="12" y="116"/>
                  </a:lnTo>
                  <a:lnTo>
                    <a:pt x="9" y="116"/>
                  </a:lnTo>
                  <a:lnTo>
                    <a:pt x="9" y="114"/>
                  </a:lnTo>
                  <a:lnTo>
                    <a:pt x="7" y="114"/>
                  </a:lnTo>
                  <a:lnTo>
                    <a:pt x="7" y="112"/>
                  </a:lnTo>
                  <a:lnTo>
                    <a:pt x="5" y="112"/>
                  </a:lnTo>
                  <a:lnTo>
                    <a:pt x="5" y="114"/>
                  </a:lnTo>
                  <a:lnTo>
                    <a:pt x="7" y="116"/>
                  </a:lnTo>
                  <a:lnTo>
                    <a:pt x="5" y="116"/>
                  </a:lnTo>
                  <a:lnTo>
                    <a:pt x="5" y="114"/>
                  </a:lnTo>
                  <a:lnTo>
                    <a:pt x="2" y="114"/>
                  </a:lnTo>
                  <a:lnTo>
                    <a:pt x="0" y="114"/>
                  </a:lnTo>
                  <a:lnTo>
                    <a:pt x="0" y="112"/>
                  </a:lnTo>
                  <a:lnTo>
                    <a:pt x="0" y="109"/>
                  </a:lnTo>
                  <a:lnTo>
                    <a:pt x="2" y="107"/>
                  </a:lnTo>
                  <a:lnTo>
                    <a:pt x="2" y="104"/>
                  </a:lnTo>
                  <a:lnTo>
                    <a:pt x="2" y="102"/>
                  </a:lnTo>
                  <a:lnTo>
                    <a:pt x="2" y="100"/>
                  </a:lnTo>
                  <a:lnTo>
                    <a:pt x="2" y="97"/>
                  </a:lnTo>
                  <a:lnTo>
                    <a:pt x="2" y="95"/>
                  </a:lnTo>
                  <a:lnTo>
                    <a:pt x="2" y="93"/>
                  </a:lnTo>
                  <a:lnTo>
                    <a:pt x="0" y="93"/>
                  </a:lnTo>
                  <a:lnTo>
                    <a:pt x="0" y="90"/>
                  </a:lnTo>
                  <a:lnTo>
                    <a:pt x="0" y="88"/>
                  </a:lnTo>
                  <a:lnTo>
                    <a:pt x="0" y="85"/>
                  </a:lnTo>
                  <a:lnTo>
                    <a:pt x="0" y="83"/>
                  </a:lnTo>
                  <a:lnTo>
                    <a:pt x="0" y="81"/>
                  </a:lnTo>
                  <a:lnTo>
                    <a:pt x="0" y="78"/>
                  </a:lnTo>
                  <a:lnTo>
                    <a:pt x="0" y="76"/>
                  </a:lnTo>
                  <a:lnTo>
                    <a:pt x="0" y="74"/>
                  </a:lnTo>
                  <a:lnTo>
                    <a:pt x="0" y="71"/>
                  </a:lnTo>
                  <a:lnTo>
                    <a:pt x="0" y="69"/>
                  </a:lnTo>
                  <a:lnTo>
                    <a:pt x="0" y="66"/>
                  </a:lnTo>
                  <a:lnTo>
                    <a:pt x="0" y="64"/>
                  </a:lnTo>
                  <a:lnTo>
                    <a:pt x="0" y="62"/>
                  </a:lnTo>
                  <a:lnTo>
                    <a:pt x="0" y="59"/>
                  </a:lnTo>
                  <a:lnTo>
                    <a:pt x="2" y="59"/>
                  </a:lnTo>
                  <a:lnTo>
                    <a:pt x="2" y="57"/>
                  </a:lnTo>
                  <a:lnTo>
                    <a:pt x="2" y="55"/>
                  </a:lnTo>
                  <a:lnTo>
                    <a:pt x="5" y="55"/>
                  </a:lnTo>
                  <a:lnTo>
                    <a:pt x="2" y="57"/>
                  </a:lnTo>
                  <a:lnTo>
                    <a:pt x="5" y="57"/>
                  </a:lnTo>
                  <a:lnTo>
                    <a:pt x="2" y="57"/>
                  </a:lnTo>
                  <a:lnTo>
                    <a:pt x="5" y="57"/>
                  </a:lnTo>
                  <a:lnTo>
                    <a:pt x="5" y="59"/>
                  </a:lnTo>
                  <a:lnTo>
                    <a:pt x="7" y="59"/>
                  </a:lnTo>
                  <a:lnTo>
                    <a:pt x="7" y="62"/>
                  </a:lnTo>
                  <a:lnTo>
                    <a:pt x="7" y="59"/>
                  </a:lnTo>
                  <a:lnTo>
                    <a:pt x="9" y="62"/>
                  </a:lnTo>
                  <a:lnTo>
                    <a:pt x="9" y="59"/>
                  </a:lnTo>
                  <a:lnTo>
                    <a:pt x="9" y="62"/>
                  </a:lnTo>
                  <a:lnTo>
                    <a:pt x="12" y="62"/>
                  </a:lnTo>
                  <a:lnTo>
                    <a:pt x="14" y="62"/>
                  </a:lnTo>
                  <a:lnTo>
                    <a:pt x="14" y="59"/>
                  </a:lnTo>
                  <a:lnTo>
                    <a:pt x="14" y="62"/>
                  </a:lnTo>
                  <a:lnTo>
                    <a:pt x="17" y="62"/>
                  </a:lnTo>
                  <a:lnTo>
                    <a:pt x="17" y="64"/>
                  </a:lnTo>
                  <a:lnTo>
                    <a:pt x="17" y="62"/>
                  </a:lnTo>
                  <a:lnTo>
                    <a:pt x="17" y="59"/>
                  </a:lnTo>
                  <a:lnTo>
                    <a:pt x="19" y="59"/>
                  </a:lnTo>
                  <a:lnTo>
                    <a:pt x="17" y="62"/>
                  </a:lnTo>
                  <a:lnTo>
                    <a:pt x="19" y="62"/>
                  </a:lnTo>
                  <a:lnTo>
                    <a:pt x="17" y="62"/>
                  </a:lnTo>
                  <a:lnTo>
                    <a:pt x="17" y="64"/>
                  </a:lnTo>
                  <a:lnTo>
                    <a:pt x="14" y="64"/>
                  </a:lnTo>
                  <a:lnTo>
                    <a:pt x="14" y="66"/>
                  </a:lnTo>
                  <a:lnTo>
                    <a:pt x="14" y="64"/>
                  </a:lnTo>
                  <a:lnTo>
                    <a:pt x="17" y="64"/>
                  </a:lnTo>
                  <a:lnTo>
                    <a:pt x="17" y="66"/>
                  </a:lnTo>
                  <a:lnTo>
                    <a:pt x="19" y="66"/>
                  </a:lnTo>
                  <a:lnTo>
                    <a:pt x="21" y="66"/>
                  </a:lnTo>
                  <a:lnTo>
                    <a:pt x="21" y="64"/>
                  </a:lnTo>
                  <a:lnTo>
                    <a:pt x="21" y="62"/>
                  </a:lnTo>
                  <a:lnTo>
                    <a:pt x="19" y="59"/>
                  </a:lnTo>
                  <a:lnTo>
                    <a:pt x="19" y="57"/>
                  </a:lnTo>
                  <a:lnTo>
                    <a:pt x="19" y="59"/>
                  </a:lnTo>
                  <a:lnTo>
                    <a:pt x="21" y="59"/>
                  </a:lnTo>
                  <a:lnTo>
                    <a:pt x="21" y="57"/>
                  </a:lnTo>
                  <a:lnTo>
                    <a:pt x="24" y="55"/>
                  </a:lnTo>
                  <a:lnTo>
                    <a:pt x="26" y="55"/>
                  </a:lnTo>
                  <a:lnTo>
                    <a:pt x="26" y="52"/>
                  </a:lnTo>
                  <a:lnTo>
                    <a:pt x="26" y="55"/>
                  </a:lnTo>
                  <a:lnTo>
                    <a:pt x="24" y="55"/>
                  </a:lnTo>
                  <a:lnTo>
                    <a:pt x="24" y="52"/>
                  </a:lnTo>
                  <a:lnTo>
                    <a:pt x="26" y="52"/>
                  </a:lnTo>
                  <a:lnTo>
                    <a:pt x="26" y="50"/>
                  </a:lnTo>
                  <a:lnTo>
                    <a:pt x="28" y="50"/>
                  </a:lnTo>
                  <a:lnTo>
                    <a:pt x="31" y="50"/>
                  </a:lnTo>
                  <a:lnTo>
                    <a:pt x="33" y="50"/>
                  </a:lnTo>
                  <a:lnTo>
                    <a:pt x="33" y="52"/>
                  </a:lnTo>
                  <a:lnTo>
                    <a:pt x="36" y="52"/>
                  </a:lnTo>
                  <a:lnTo>
                    <a:pt x="36" y="55"/>
                  </a:lnTo>
                  <a:lnTo>
                    <a:pt x="33" y="55"/>
                  </a:lnTo>
                  <a:lnTo>
                    <a:pt x="33" y="57"/>
                  </a:lnTo>
                  <a:lnTo>
                    <a:pt x="31" y="57"/>
                  </a:lnTo>
                  <a:lnTo>
                    <a:pt x="31" y="59"/>
                  </a:lnTo>
                  <a:lnTo>
                    <a:pt x="31" y="62"/>
                  </a:lnTo>
                  <a:lnTo>
                    <a:pt x="33" y="62"/>
                  </a:lnTo>
                  <a:lnTo>
                    <a:pt x="33" y="59"/>
                  </a:lnTo>
                  <a:lnTo>
                    <a:pt x="36" y="59"/>
                  </a:lnTo>
                  <a:lnTo>
                    <a:pt x="33" y="59"/>
                  </a:lnTo>
                  <a:lnTo>
                    <a:pt x="33" y="57"/>
                  </a:lnTo>
                  <a:lnTo>
                    <a:pt x="36" y="57"/>
                  </a:lnTo>
                  <a:lnTo>
                    <a:pt x="36" y="59"/>
                  </a:lnTo>
                  <a:lnTo>
                    <a:pt x="36" y="57"/>
                  </a:lnTo>
                  <a:lnTo>
                    <a:pt x="38" y="57"/>
                  </a:lnTo>
                  <a:lnTo>
                    <a:pt x="38" y="59"/>
                  </a:lnTo>
                  <a:lnTo>
                    <a:pt x="40" y="59"/>
                  </a:lnTo>
                  <a:lnTo>
                    <a:pt x="38" y="59"/>
                  </a:lnTo>
                  <a:lnTo>
                    <a:pt x="38" y="62"/>
                  </a:lnTo>
                  <a:lnTo>
                    <a:pt x="40" y="62"/>
                  </a:lnTo>
                  <a:lnTo>
                    <a:pt x="40" y="64"/>
                  </a:lnTo>
                  <a:lnTo>
                    <a:pt x="40" y="62"/>
                  </a:lnTo>
                  <a:lnTo>
                    <a:pt x="43" y="62"/>
                  </a:lnTo>
                  <a:lnTo>
                    <a:pt x="40" y="62"/>
                  </a:lnTo>
                  <a:lnTo>
                    <a:pt x="40" y="59"/>
                  </a:lnTo>
                  <a:lnTo>
                    <a:pt x="40" y="57"/>
                  </a:lnTo>
                  <a:lnTo>
                    <a:pt x="40" y="55"/>
                  </a:lnTo>
                  <a:lnTo>
                    <a:pt x="38" y="55"/>
                  </a:lnTo>
                  <a:lnTo>
                    <a:pt x="36" y="55"/>
                  </a:lnTo>
                  <a:lnTo>
                    <a:pt x="36" y="57"/>
                  </a:lnTo>
                  <a:lnTo>
                    <a:pt x="36" y="55"/>
                  </a:lnTo>
                  <a:lnTo>
                    <a:pt x="38" y="52"/>
                  </a:lnTo>
                  <a:lnTo>
                    <a:pt x="36" y="50"/>
                  </a:lnTo>
                  <a:lnTo>
                    <a:pt x="36" y="47"/>
                  </a:lnTo>
                  <a:lnTo>
                    <a:pt x="36" y="45"/>
                  </a:lnTo>
                  <a:lnTo>
                    <a:pt x="36" y="43"/>
                  </a:lnTo>
                  <a:lnTo>
                    <a:pt x="38" y="43"/>
                  </a:lnTo>
                  <a:lnTo>
                    <a:pt x="38" y="40"/>
                  </a:lnTo>
                  <a:lnTo>
                    <a:pt x="40" y="40"/>
                  </a:lnTo>
                  <a:lnTo>
                    <a:pt x="40" y="38"/>
                  </a:lnTo>
                  <a:lnTo>
                    <a:pt x="43" y="38"/>
                  </a:lnTo>
                  <a:lnTo>
                    <a:pt x="45" y="38"/>
                  </a:lnTo>
                  <a:lnTo>
                    <a:pt x="47" y="38"/>
                  </a:lnTo>
                  <a:lnTo>
                    <a:pt x="50" y="40"/>
                  </a:lnTo>
                  <a:lnTo>
                    <a:pt x="47" y="40"/>
                  </a:lnTo>
                  <a:lnTo>
                    <a:pt x="47" y="43"/>
                  </a:lnTo>
                  <a:lnTo>
                    <a:pt x="50" y="43"/>
                  </a:lnTo>
                  <a:lnTo>
                    <a:pt x="50" y="40"/>
                  </a:lnTo>
                  <a:lnTo>
                    <a:pt x="52" y="38"/>
                  </a:lnTo>
                  <a:lnTo>
                    <a:pt x="52" y="36"/>
                  </a:lnTo>
                  <a:lnTo>
                    <a:pt x="55" y="36"/>
                  </a:lnTo>
                  <a:lnTo>
                    <a:pt x="57" y="36"/>
                  </a:lnTo>
                  <a:lnTo>
                    <a:pt x="59" y="36"/>
                  </a:lnTo>
                  <a:lnTo>
                    <a:pt x="62" y="36"/>
                  </a:lnTo>
                  <a:lnTo>
                    <a:pt x="64" y="36"/>
                  </a:lnTo>
                  <a:close/>
                  <a:moveTo>
                    <a:pt x="83" y="2"/>
                  </a:moveTo>
                  <a:lnTo>
                    <a:pt x="81" y="2"/>
                  </a:lnTo>
                  <a:lnTo>
                    <a:pt x="78" y="5"/>
                  </a:lnTo>
                  <a:lnTo>
                    <a:pt x="78" y="7"/>
                  </a:lnTo>
                  <a:lnTo>
                    <a:pt x="76" y="7"/>
                  </a:lnTo>
                  <a:lnTo>
                    <a:pt x="76" y="9"/>
                  </a:lnTo>
                  <a:lnTo>
                    <a:pt x="78" y="12"/>
                  </a:lnTo>
                  <a:lnTo>
                    <a:pt x="78" y="14"/>
                  </a:lnTo>
                  <a:lnTo>
                    <a:pt x="81" y="14"/>
                  </a:lnTo>
                  <a:lnTo>
                    <a:pt x="81" y="17"/>
                  </a:lnTo>
                  <a:lnTo>
                    <a:pt x="81" y="19"/>
                  </a:lnTo>
                  <a:lnTo>
                    <a:pt x="81" y="21"/>
                  </a:lnTo>
                  <a:lnTo>
                    <a:pt x="81" y="24"/>
                  </a:lnTo>
                  <a:lnTo>
                    <a:pt x="81" y="26"/>
                  </a:lnTo>
                  <a:lnTo>
                    <a:pt x="81" y="28"/>
                  </a:lnTo>
                  <a:lnTo>
                    <a:pt x="78" y="28"/>
                  </a:lnTo>
                  <a:lnTo>
                    <a:pt x="78" y="31"/>
                  </a:lnTo>
                  <a:lnTo>
                    <a:pt x="76" y="31"/>
                  </a:lnTo>
                  <a:lnTo>
                    <a:pt x="76" y="33"/>
                  </a:lnTo>
                  <a:lnTo>
                    <a:pt x="76" y="36"/>
                  </a:lnTo>
                  <a:lnTo>
                    <a:pt x="73" y="38"/>
                  </a:lnTo>
                  <a:lnTo>
                    <a:pt x="73" y="40"/>
                  </a:lnTo>
                  <a:lnTo>
                    <a:pt x="73" y="38"/>
                  </a:lnTo>
                  <a:lnTo>
                    <a:pt x="73" y="40"/>
                  </a:lnTo>
                  <a:lnTo>
                    <a:pt x="73" y="38"/>
                  </a:lnTo>
                  <a:lnTo>
                    <a:pt x="71" y="38"/>
                  </a:lnTo>
                  <a:lnTo>
                    <a:pt x="71" y="40"/>
                  </a:lnTo>
                  <a:lnTo>
                    <a:pt x="69" y="40"/>
                  </a:lnTo>
                  <a:lnTo>
                    <a:pt x="69" y="38"/>
                  </a:lnTo>
                  <a:lnTo>
                    <a:pt x="66" y="38"/>
                  </a:lnTo>
                  <a:lnTo>
                    <a:pt x="66" y="36"/>
                  </a:lnTo>
                  <a:lnTo>
                    <a:pt x="64" y="36"/>
                  </a:lnTo>
                  <a:lnTo>
                    <a:pt x="64" y="33"/>
                  </a:lnTo>
                  <a:lnTo>
                    <a:pt x="62" y="33"/>
                  </a:lnTo>
                  <a:lnTo>
                    <a:pt x="62" y="36"/>
                  </a:lnTo>
                  <a:lnTo>
                    <a:pt x="59" y="36"/>
                  </a:lnTo>
                  <a:lnTo>
                    <a:pt x="57" y="33"/>
                  </a:lnTo>
                  <a:lnTo>
                    <a:pt x="55" y="33"/>
                  </a:lnTo>
                  <a:lnTo>
                    <a:pt x="57" y="33"/>
                  </a:lnTo>
                  <a:lnTo>
                    <a:pt x="55" y="33"/>
                  </a:lnTo>
                  <a:lnTo>
                    <a:pt x="55" y="36"/>
                  </a:lnTo>
                  <a:lnTo>
                    <a:pt x="52" y="36"/>
                  </a:lnTo>
                  <a:lnTo>
                    <a:pt x="52" y="33"/>
                  </a:lnTo>
                  <a:lnTo>
                    <a:pt x="50" y="33"/>
                  </a:lnTo>
                  <a:lnTo>
                    <a:pt x="50" y="36"/>
                  </a:lnTo>
                  <a:lnTo>
                    <a:pt x="47" y="36"/>
                  </a:lnTo>
                  <a:lnTo>
                    <a:pt x="45" y="36"/>
                  </a:lnTo>
                  <a:lnTo>
                    <a:pt x="45" y="38"/>
                  </a:lnTo>
                  <a:lnTo>
                    <a:pt x="45" y="36"/>
                  </a:lnTo>
                  <a:lnTo>
                    <a:pt x="43" y="38"/>
                  </a:lnTo>
                  <a:lnTo>
                    <a:pt x="40" y="38"/>
                  </a:lnTo>
                  <a:lnTo>
                    <a:pt x="38" y="38"/>
                  </a:lnTo>
                  <a:lnTo>
                    <a:pt x="38" y="40"/>
                  </a:lnTo>
                  <a:lnTo>
                    <a:pt x="38" y="38"/>
                  </a:lnTo>
                  <a:lnTo>
                    <a:pt x="36" y="38"/>
                  </a:lnTo>
                  <a:lnTo>
                    <a:pt x="33" y="38"/>
                  </a:lnTo>
                  <a:lnTo>
                    <a:pt x="33" y="36"/>
                  </a:lnTo>
                  <a:lnTo>
                    <a:pt x="33" y="38"/>
                  </a:lnTo>
                  <a:lnTo>
                    <a:pt x="31" y="38"/>
                  </a:lnTo>
                  <a:lnTo>
                    <a:pt x="28" y="38"/>
                  </a:lnTo>
                  <a:lnTo>
                    <a:pt x="26" y="38"/>
                  </a:lnTo>
                  <a:lnTo>
                    <a:pt x="26" y="40"/>
                  </a:lnTo>
                  <a:lnTo>
                    <a:pt x="26" y="38"/>
                  </a:lnTo>
                  <a:lnTo>
                    <a:pt x="26" y="40"/>
                  </a:lnTo>
                  <a:lnTo>
                    <a:pt x="24" y="38"/>
                  </a:lnTo>
                  <a:lnTo>
                    <a:pt x="24" y="40"/>
                  </a:lnTo>
                  <a:lnTo>
                    <a:pt x="21" y="40"/>
                  </a:lnTo>
                  <a:lnTo>
                    <a:pt x="19" y="40"/>
                  </a:lnTo>
                  <a:lnTo>
                    <a:pt x="19" y="43"/>
                  </a:lnTo>
                  <a:lnTo>
                    <a:pt x="19" y="45"/>
                  </a:lnTo>
                  <a:lnTo>
                    <a:pt x="17" y="45"/>
                  </a:lnTo>
                  <a:lnTo>
                    <a:pt x="17" y="47"/>
                  </a:lnTo>
                  <a:lnTo>
                    <a:pt x="14" y="47"/>
                  </a:lnTo>
                  <a:lnTo>
                    <a:pt x="14" y="50"/>
                  </a:lnTo>
                  <a:lnTo>
                    <a:pt x="12" y="50"/>
                  </a:lnTo>
                  <a:lnTo>
                    <a:pt x="14" y="52"/>
                  </a:lnTo>
                  <a:lnTo>
                    <a:pt x="12" y="52"/>
                  </a:lnTo>
                  <a:lnTo>
                    <a:pt x="12" y="55"/>
                  </a:lnTo>
                  <a:lnTo>
                    <a:pt x="12" y="52"/>
                  </a:lnTo>
                  <a:lnTo>
                    <a:pt x="14" y="55"/>
                  </a:lnTo>
                  <a:lnTo>
                    <a:pt x="12" y="55"/>
                  </a:lnTo>
                  <a:lnTo>
                    <a:pt x="9" y="55"/>
                  </a:lnTo>
                  <a:lnTo>
                    <a:pt x="12" y="55"/>
                  </a:lnTo>
                  <a:lnTo>
                    <a:pt x="12" y="57"/>
                  </a:lnTo>
                  <a:lnTo>
                    <a:pt x="14" y="57"/>
                  </a:lnTo>
                  <a:lnTo>
                    <a:pt x="14" y="55"/>
                  </a:lnTo>
                  <a:lnTo>
                    <a:pt x="17" y="55"/>
                  </a:lnTo>
                  <a:lnTo>
                    <a:pt x="17" y="57"/>
                  </a:lnTo>
                  <a:lnTo>
                    <a:pt x="17" y="59"/>
                  </a:lnTo>
                  <a:lnTo>
                    <a:pt x="14" y="59"/>
                  </a:lnTo>
                  <a:lnTo>
                    <a:pt x="12" y="57"/>
                  </a:lnTo>
                  <a:lnTo>
                    <a:pt x="9" y="55"/>
                  </a:lnTo>
                  <a:lnTo>
                    <a:pt x="7" y="55"/>
                  </a:lnTo>
                  <a:lnTo>
                    <a:pt x="7" y="52"/>
                  </a:lnTo>
                  <a:lnTo>
                    <a:pt x="7" y="50"/>
                  </a:lnTo>
                  <a:lnTo>
                    <a:pt x="5" y="50"/>
                  </a:lnTo>
                  <a:lnTo>
                    <a:pt x="5" y="52"/>
                  </a:lnTo>
                  <a:lnTo>
                    <a:pt x="5" y="55"/>
                  </a:lnTo>
                  <a:lnTo>
                    <a:pt x="5" y="52"/>
                  </a:lnTo>
                  <a:lnTo>
                    <a:pt x="5" y="50"/>
                  </a:lnTo>
                  <a:lnTo>
                    <a:pt x="5" y="47"/>
                  </a:lnTo>
                  <a:lnTo>
                    <a:pt x="7" y="45"/>
                  </a:lnTo>
                  <a:lnTo>
                    <a:pt x="7" y="43"/>
                  </a:lnTo>
                  <a:lnTo>
                    <a:pt x="9" y="40"/>
                  </a:lnTo>
                  <a:lnTo>
                    <a:pt x="12" y="38"/>
                  </a:lnTo>
                  <a:lnTo>
                    <a:pt x="12" y="36"/>
                  </a:lnTo>
                  <a:lnTo>
                    <a:pt x="14" y="36"/>
                  </a:lnTo>
                  <a:lnTo>
                    <a:pt x="17" y="33"/>
                  </a:lnTo>
                  <a:lnTo>
                    <a:pt x="19" y="33"/>
                  </a:lnTo>
                  <a:lnTo>
                    <a:pt x="21" y="33"/>
                  </a:lnTo>
                  <a:lnTo>
                    <a:pt x="24" y="33"/>
                  </a:lnTo>
                  <a:lnTo>
                    <a:pt x="26" y="33"/>
                  </a:lnTo>
                  <a:lnTo>
                    <a:pt x="28" y="31"/>
                  </a:lnTo>
                  <a:lnTo>
                    <a:pt x="31" y="31"/>
                  </a:lnTo>
                  <a:lnTo>
                    <a:pt x="33" y="31"/>
                  </a:lnTo>
                  <a:lnTo>
                    <a:pt x="36" y="31"/>
                  </a:lnTo>
                  <a:lnTo>
                    <a:pt x="38" y="31"/>
                  </a:lnTo>
                  <a:lnTo>
                    <a:pt x="40" y="31"/>
                  </a:lnTo>
                  <a:lnTo>
                    <a:pt x="43" y="31"/>
                  </a:lnTo>
                  <a:lnTo>
                    <a:pt x="45" y="28"/>
                  </a:lnTo>
                  <a:lnTo>
                    <a:pt x="47" y="28"/>
                  </a:lnTo>
                  <a:lnTo>
                    <a:pt x="47" y="26"/>
                  </a:lnTo>
                  <a:lnTo>
                    <a:pt x="50" y="24"/>
                  </a:lnTo>
                  <a:lnTo>
                    <a:pt x="52" y="21"/>
                  </a:lnTo>
                  <a:lnTo>
                    <a:pt x="52" y="19"/>
                  </a:lnTo>
                  <a:lnTo>
                    <a:pt x="55" y="19"/>
                  </a:lnTo>
                  <a:lnTo>
                    <a:pt x="55" y="14"/>
                  </a:lnTo>
                  <a:lnTo>
                    <a:pt x="57" y="14"/>
                  </a:lnTo>
                  <a:lnTo>
                    <a:pt x="57" y="12"/>
                  </a:lnTo>
                  <a:lnTo>
                    <a:pt x="59" y="12"/>
                  </a:lnTo>
                  <a:lnTo>
                    <a:pt x="59" y="9"/>
                  </a:lnTo>
                  <a:lnTo>
                    <a:pt x="62" y="9"/>
                  </a:lnTo>
                  <a:lnTo>
                    <a:pt x="62" y="7"/>
                  </a:lnTo>
                  <a:lnTo>
                    <a:pt x="64" y="7"/>
                  </a:lnTo>
                  <a:lnTo>
                    <a:pt x="66" y="9"/>
                  </a:lnTo>
                  <a:lnTo>
                    <a:pt x="69" y="7"/>
                  </a:lnTo>
                  <a:lnTo>
                    <a:pt x="71" y="7"/>
                  </a:lnTo>
                  <a:lnTo>
                    <a:pt x="73" y="7"/>
                  </a:lnTo>
                  <a:lnTo>
                    <a:pt x="73" y="5"/>
                  </a:lnTo>
                  <a:lnTo>
                    <a:pt x="76" y="5"/>
                  </a:lnTo>
                  <a:lnTo>
                    <a:pt x="78" y="2"/>
                  </a:lnTo>
                  <a:lnTo>
                    <a:pt x="81" y="0"/>
                  </a:lnTo>
                  <a:lnTo>
                    <a:pt x="83" y="0"/>
                  </a:lnTo>
                  <a:lnTo>
                    <a:pt x="83"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6" name="Freeform 50289"/>
            <p:cNvSpPr>
              <a:spLocks noEditPoints="1"/>
            </p:cNvSpPr>
            <p:nvPr/>
          </p:nvSpPr>
          <p:spPr bwMode="auto">
            <a:xfrm>
              <a:off x="2462210" y="4102114"/>
              <a:ext cx="233363" cy="225425"/>
            </a:xfrm>
            <a:custGeom>
              <a:avLst/>
              <a:gdLst>
                <a:gd name="T0" fmla="*/ 55 w 147"/>
                <a:gd name="T1" fmla="*/ 138 h 142"/>
                <a:gd name="T2" fmla="*/ 76 w 147"/>
                <a:gd name="T3" fmla="*/ 135 h 142"/>
                <a:gd name="T4" fmla="*/ 76 w 147"/>
                <a:gd name="T5" fmla="*/ 135 h 142"/>
                <a:gd name="T6" fmla="*/ 121 w 147"/>
                <a:gd name="T7" fmla="*/ 133 h 142"/>
                <a:gd name="T8" fmla="*/ 104 w 147"/>
                <a:gd name="T9" fmla="*/ 130 h 142"/>
                <a:gd name="T10" fmla="*/ 66 w 147"/>
                <a:gd name="T11" fmla="*/ 133 h 142"/>
                <a:gd name="T12" fmla="*/ 74 w 147"/>
                <a:gd name="T13" fmla="*/ 138 h 142"/>
                <a:gd name="T14" fmla="*/ 62 w 147"/>
                <a:gd name="T15" fmla="*/ 130 h 142"/>
                <a:gd name="T16" fmla="*/ 69 w 147"/>
                <a:gd name="T17" fmla="*/ 130 h 142"/>
                <a:gd name="T18" fmla="*/ 116 w 147"/>
                <a:gd name="T19" fmla="*/ 128 h 142"/>
                <a:gd name="T20" fmla="*/ 102 w 147"/>
                <a:gd name="T21" fmla="*/ 128 h 142"/>
                <a:gd name="T22" fmla="*/ 76 w 147"/>
                <a:gd name="T23" fmla="*/ 126 h 142"/>
                <a:gd name="T24" fmla="*/ 78 w 147"/>
                <a:gd name="T25" fmla="*/ 128 h 142"/>
                <a:gd name="T26" fmla="*/ 76 w 147"/>
                <a:gd name="T27" fmla="*/ 128 h 142"/>
                <a:gd name="T28" fmla="*/ 131 w 147"/>
                <a:gd name="T29" fmla="*/ 126 h 142"/>
                <a:gd name="T30" fmla="*/ 138 w 147"/>
                <a:gd name="T31" fmla="*/ 128 h 142"/>
                <a:gd name="T32" fmla="*/ 133 w 147"/>
                <a:gd name="T33" fmla="*/ 130 h 142"/>
                <a:gd name="T34" fmla="*/ 126 w 147"/>
                <a:gd name="T35" fmla="*/ 133 h 142"/>
                <a:gd name="T36" fmla="*/ 59 w 147"/>
                <a:gd name="T37" fmla="*/ 128 h 142"/>
                <a:gd name="T38" fmla="*/ 109 w 147"/>
                <a:gd name="T39" fmla="*/ 126 h 142"/>
                <a:gd name="T40" fmla="*/ 57 w 147"/>
                <a:gd name="T41" fmla="*/ 130 h 142"/>
                <a:gd name="T42" fmla="*/ 50 w 147"/>
                <a:gd name="T43" fmla="*/ 135 h 142"/>
                <a:gd name="T44" fmla="*/ 52 w 147"/>
                <a:gd name="T45" fmla="*/ 130 h 142"/>
                <a:gd name="T46" fmla="*/ 48 w 147"/>
                <a:gd name="T47" fmla="*/ 128 h 142"/>
                <a:gd name="T48" fmla="*/ 43 w 147"/>
                <a:gd name="T49" fmla="*/ 126 h 142"/>
                <a:gd name="T50" fmla="*/ 59 w 147"/>
                <a:gd name="T51" fmla="*/ 123 h 142"/>
                <a:gd name="T52" fmla="*/ 85 w 147"/>
                <a:gd name="T53" fmla="*/ 130 h 142"/>
                <a:gd name="T54" fmla="*/ 78 w 147"/>
                <a:gd name="T55" fmla="*/ 142 h 142"/>
                <a:gd name="T56" fmla="*/ 78 w 147"/>
                <a:gd name="T57" fmla="*/ 133 h 142"/>
                <a:gd name="T58" fmla="*/ 83 w 147"/>
                <a:gd name="T59" fmla="*/ 128 h 142"/>
                <a:gd name="T60" fmla="*/ 95 w 147"/>
                <a:gd name="T61" fmla="*/ 121 h 142"/>
                <a:gd name="T62" fmla="*/ 55 w 147"/>
                <a:gd name="T63" fmla="*/ 121 h 142"/>
                <a:gd name="T64" fmla="*/ 102 w 147"/>
                <a:gd name="T65" fmla="*/ 119 h 142"/>
                <a:gd name="T66" fmla="*/ 5 w 147"/>
                <a:gd name="T67" fmla="*/ 119 h 142"/>
                <a:gd name="T68" fmla="*/ 48 w 147"/>
                <a:gd name="T69" fmla="*/ 116 h 142"/>
                <a:gd name="T70" fmla="*/ 7 w 147"/>
                <a:gd name="T71" fmla="*/ 114 h 142"/>
                <a:gd name="T72" fmla="*/ 2 w 147"/>
                <a:gd name="T73" fmla="*/ 111 h 142"/>
                <a:gd name="T74" fmla="*/ 5 w 147"/>
                <a:gd name="T75" fmla="*/ 111 h 142"/>
                <a:gd name="T76" fmla="*/ 48 w 147"/>
                <a:gd name="T77" fmla="*/ 111 h 142"/>
                <a:gd name="T78" fmla="*/ 7 w 147"/>
                <a:gd name="T79" fmla="*/ 111 h 142"/>
                <a:gd name="T80" fmla="*/ 81 w 147"/>
                <a:gd name="T81" fmla="*/ 104 h 142"/>
                <a:gd name="T82" fmla="*/ 147 w 147"/>
                <a:gd name="T83" fmla="*/ 97 h 142"/>
                <a:gd name="T84" fmla="*/ 147 w 147"/>
                <a:gd name="T85" fmla="*/ 97 h 142"/>
                <a:gd name="T86" fmla="*/ 145 w 147"/>
                <a:gd name="T87" fmla="*/ 100 h 142"/>
                <a:gd name="T88" fmla="*/ 140 w 147"/>
                <a:gd name="T89" fmla="*/ 95 h 142"/>
                <a:gd name="T90" fmla="*/ 123 w 147"/>
                <a:gd name="T91" fmla="*/ 90 h 142"/>
                <a:gd name="T92" fmla="*/ 66 w 147"/>
                <a:gd name="T93" fmla="*/ 90 h 142"/>
                <a:gd name="T94" fmla="*/ 97 w 147"/>
                <a:gd name="T95" fmla="*/ 88 h 142"/>
                <a:gd name="T96" fmla="*/ 116 w 147"/>
                <a:gd name="T97" fmla="*/ 90 h 142"/>
                <a:gd name="T98" fmla="*/ 59 w 147"/>
                <a:gd name="T99" fmla="*/ 88 h 142"/>
                <a:gd name="T100" fmla="*/ 78 w 147"/>
                <a:gd name="T101" fmla="*/ 83 h 142"/>
                <a:gd name="T102" fmla="*/ 93 w 147"/>
                <a:gd name="T103" fmla="*/ 83 h 142"/>
                <a:gd name="T104" fmla="*/ 76 w 147"/>
                <a:gd name="T105" fmla="*/ 83 h 142"/>
                <a:gd name="T106" fmla="*/ 76 w 147"/>
                <a:gd name="T107" fmla="*/ 90 h 142"/>
                <a:gd name="T108" fmla="*/ 74 w 147"/>
                <a:gd name="T109" fmla="*/ 81 h 142"/>
                <a:gd name="T110" fmla="*/ 10 w 147"/>
                <a:gd name="T111" fmla="*/ 45 h 142"/>
                <a:gd name="T112" fmla="*/ 7 w 147"/>
                <a:gd name="T113" fmla="*/ 40 h 142"/>
                <a:gd name="T114" fmla="*/ 104 w 147"/>
                <a:gd name="T115" fmla="*/ 40 h 142"/>
                <a:gd name="T116" fmla="*/ 24 w 147"/>
                <a:gd name="T117" fmla="*/ 35 h 142"/>
                <a:gd name="T118" fmla="*/ 26 w 147"/>
                <a:gd name="T119" fmla="*/ 33 h 142"/>
                <a:gd name="T120" fmla="*/ 95 w 147"/>
                <a:gd name="T121" fmla="*/ 9 h 142"/>
                <a:gd name="T122" fmla="*/ 88 w 147"/>
                <a:gd name="T123" fmla="*/ 16 h 142"/>
                <a:gd name="T124" fmla="*/ 93 w 147"/>
                <a:gd name="T1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42">
                  <a:moveTo>
                    <a:pt x="90" y="138"/>
                  </a:moveTo>
                  <a:lnTo>
                    <a:pt x="90" y="135"/>
                  </a:lnTo>
                  <a:lnTo>
                    <a:pt x="90" y="138"/>
                  </a:lnTo>
                  <a:close/>
                  <a:moveTo>
                    <a:pt x="55" y="135"/>
                  </a:moveTo>
                  <a:lnTo>
                    <a:pt x="55" y="138"/>
                  </a:lnTo>
                  <a:lnTo>
                    <a:pt x="55" y="135"/>
                  </a:lnTo>
                  <a:lnTo>
                    <a:pt x="55" y="138"/>
                  </a:lnTo>
                  <a:lnTo>
                    <a:pt x="55" y="135"/>
                  </a:lnTo>
                  <a:lnTo>
                    <a:pt x="52" y="135"/>
                  </a:lnTo>
                  <a:lnTo>
                    <a:pt x="55" y="135"/>
                  </a:lnTo>
                  <a:close/>
                  <a:moveTo>
                    <a:pt x="76" y="135"/>
                  </a:moveTo>
                  <a:lnTo>
                    <a:pt x="74" y="135"/>
                  </a:lnTo>
                  <a:lnTo>
                    <a:pt x="74" y="133"/>
                  </a:lnTo>
                  <a:lnTo>
                    <a:pt x="76" y="135"/>
                  </a:lnTo>
                  <a:close/>
                  <a:moveTo>
                    <a:pt x="104" y="135"/>
                  </a:moveTo>
                  <a:lnTo>
                    <a:pt x="107" y="135"/>
                  </a:lnTo>
                  <a:lnTo>
                    <a:pt x="104" y="135"/>
                  </a:lnTo>
                  <a:lnTo>
                    <a:pt x="104" y="133"/>
                  </a:lnTo>
                  <a:lnTo>
                    <a:pt x="104" y="135"/>
                  </a:lnTo>
                  <a:close/>
                  <a:moveTo>
                    <a:pt x="76" y="133"/>
                  </a:moveTo>
                  <a:lnTo>
                    <a:pt x="76" y="135"/>
                  </a:lnTo>
                  <a:lnTo>
                    <a:pt x="76" y="133"/>
                  </a:lnTo>
                  <a:close/>
                  <a:moveTo>
                    <a:pt x="74" y="133"/>
                  </a:moveTo>
                  <a:lnTo>
                    <a:pt x="71" y="133"/>
                  </a:lnTo>
                  <a:lnTo>
                    <a:pt x="74" y="133"/>
                  </a:lnTo>
                  <a:close/>
                  <a:moveTo>
                    <a:pt x="121" y="133"/>
                  </a:moveTo>
                  <a:lnTo>
                    <a:pt x="123" y="133"/>
                  </a:lnTo>
                  <a:lnTo>
                    <a:pt x="121" y="133"/>
                  </a:lnTo>
                  <a:lnTo>
                    <a:pt x="121" y="130"/>
                  </a:lnTo>
                  <a:lnTo>
                    <a:pt x="121" y="133"/>
                  </a:lnTo>
                  <a:close/>
                  <a:moveTo>
                    <a:pt x="126" y="130"/>
                  </a:moveTo>
                  <a:lnTo>
                    <a:pt x="123" y="130"/>
                  </a:lnTo>
                  <a:lnTo>
                    <a:pt x="126" y="130"/>
                  </a:lnTo>
                  <a:close/>
                  <a:moveTo>
                    <a:pt x="102" y="130"/>
                  </a:moveTo>
                  <a:lnTo>
                    <a:pt x="104" y="130"/>
                  </a:lnTo>
                  <a:lnTo>
                    <a:pt x="104" y="133"/>
                  </a:lnTo>
                  <a:lnTo>
                    <a:pt x="102" y="133"/>
                  </a:lnTo>
                  <a:lnTo>
                    <a:pt x="100" y="133"/>
                  </a:lnTo>
                  <a:lnTo>
                    <a:pt x="100" y="130"/>
                  </a:lnTo>
                  <a:lnTo>
                    <a:pt x="102" y="130"/>
                  </a:lnTo>
                  <a:close/>
                  <a:moveTo>
                    <a:pt x="64" y="133"/>
                  </a:moveTo>
                  <a:lnTo>
                    <a:pt x="66" y="133"/>
                  </a:lnTo>
                  <a:lnTo>
                    <a:pt x="66" y="135"/>
                  </a:lnTo>
                  <a:lnTo>
                    <a:pt x="69" y="135"/>
                  </a:lnTo>
                  <a:lnTo>
                    <a:pt x="69" y="133"/>
                  </a:lnTo>
                  <a:lnTo>
                    <a:pt x="69" y="135"/>
                  </a:lnTo>
                  <a:lnTo>
                    <a:pt x="71" y="135"/>
                  </a:lnTo>
                  <a:lnTo>
                    <a:pt x="74" y="135"/>
                  </a:lnTo>
                  <a:lnTo>
                    <a:pt x="74" y="138"/>
                  </a:lnTo>
                  <a:lnTo>
                    <a:pt x="71" y="138"/>
                  </a:lnTo>
                  <a:lnTo>
                    <a:pt x="69" y="138"/>
                  </a:lnTo>
                  <a:lnTo>
                    <a:pt x="66" y="138"/>
                  </a:lnTo>
                  <a:lnTo>
                    <a:pt x="66" y="135"/>
                  </a:lnTo>
                  <a:lnTo>
                    <a:pt x="64" y="135"/>
                  </a:lnTo>
                  <a:lnTo>
                    <a:pt x="64" y="133"/>
                  </a:lnTo>
                  <a:lnTo>
                    <a:pt x="62" y="130"/>
                  </a:lnTo>
                  <a:lnTo>
                    <a:pt x="64" y="130"/>
                  </a:lnTo>
                  <a:lnTo>
                    <a:pt x="64" y="133"/>
                  </a:lnTo>
                  <a:close/>
                  <a:moveTo>
                    <a:pt x="69" y="130"/>
                  </a:moveTo>
                  <a:lnTo>
                    <a:pt x="71" y="130"/>
                  </a:lnTo>
                  <a:lnTo>
                    <a:pt x="69" y="130"/>
                  </a:lnTo>
                  <a:lnTo>
                    <a:pt x="66" y="130"/>
                  </a:lnTo>
                  <a:lnTo>
                    <a:pt x="69" y="130"/>
                  </a:lnTo>
                  <a:close/>
                  <a:moveTo>
                    <a:pt x="107" y="130"/>
                  </a:moveTo>
                  <a:lnTo>
                    <a:pt x="107" y="133"/>
                  </a:lnTo>
                  <a:lnTo>
                    <a:pt x="107" y="130"/>
                  </a:lnTo>
                  <a:lnTo>
                    <a:pt x="104" y="130"/>
                  </a:lnTo>
                  <a:lnTo>
                    <a:pt x="107" y="130"/>
                  </a:lnTo>
                  <a:close/>
                  <a:moveTo>
                    <a:pt x="119" y="130"/>
                  </a:moveTo>
                  <a:lnTo>
                    <a:pt x="116" y="128"/>
                  </a:lnTo>
                  <a:lnTo>
                    <a:pt x="119" y="128"/>
                  </a:lnTo>
                  <a:lnTo>
                    <a:pt x="119" y="130"/>
                  </a:lnTo>
                  <a:close/>
                  <a:moveTo>
                    <a:pt x="64" y="128"/>
                  </a:moveTo>
                  <a:lnTo>
                    <a:pt x="66" y="128"/>
                  </a:lnTo>
                  <a:lnTo>
                    <a:pt x="64" y="128"/>
                  </a:lnTo>
                  <a:close/>
                  <a:moveTo>
                    <a:pt x="100" y="128"/>
                  </a:moveTo>
                  <a:lnTo>
                    <a:pt x="102" y="128"/>
                  </a:lnTo>
                  <a:lnTo>
                    <a:pt x="100" y="128"/>
                  </a:lnTo>
                  <a:close/>
                  <a:moveTo>
                    <a:pt x="78" y="126"/>
                  </a:moveTo>
                  <a:lnTo>
                    <a:pt x="78" y="128"/>
                  </a:lnTo>
                  <a:lnTo>
                    <a:pt x="78" y="126"/>
                  </a:lnTo>
                  <a:lnTo>
                    <a:pt x="78" y="128"/>
                  </a:lnTo>
                  <a:lnTo>
                    <a:pt x="76" y="128"/>
                  </a:lnTo>
                  <a:lnTo>
                    <a:pt x="76" y="126"/>
                  </a:lnTo>
                  <a:lnTo>
                    <a:pt x="78" y="126"/>
                  </a:lnTo>
                  <a:close/>
                  <a:moveTo>
                    <a:pt x="76" y="128"/>
                  </a:moveTo>
                  <a:lnTo>
                    <a:pt x="78" y="128"/>
                  </a:lnTo>
                  <a:lnTo>
                    <a:pt x="76" y="128"/>
                  </a:lnTo>
                  <a:lnTo>
                    <a:pt x="76" y="130"/>
                  </a:lnTo>
                  <a:lnTo>
                    <a:pt x="78" y="130"/>
                  </a:lnTo>
                  <a:lnTo>
                    <a:pt x="78" y="128"/>
                  </a:lnTo>
                  <a:lnTo>
                    <a:pt x="78" y="130"/>
                  </a:lnTo>
                  <a:lnTo>
                    <a:pt x="76" y="130"/>
                  </a:lnTo>
                  <a:lnTo>
                    <a:pt x="74" y="130"/>
                  </a:lnTo>
                  <a:lnTo>
                    <a:pt x="74" y="133"/>
                  </a:lnTo>
                  <a:lnTo>
                    <a:pt x="74" y="130"/>
                  </a:lnTo>
                  <a:lnTo>
                    <a:pt x="74" y="128"/>
                  </a:lnTo>
                  <a:lnTo>
                    <a:pt x="76" y="128"/>
                  </a:lnTo>
                  <a:lnTo>
                    <a:pt x="76" y="126"/>
                  </a:lnTo>
                  <a:lnTo>
                    <a:pt x="76" y="128"/>
                  </a:lnTo>
                  <a:close/>
                  <a:moveTo>
                    <a:pt x="128" y="128"/>
                  </a:moveTo>
                  <a:lnTo>
                    <a:pt x="128" y="126"/>
                  </a:lnTo>
                  <a:lnTo>
                    <a:pt x="131" y="126"/>
                  </a:lnTo>
                  <a:lnTo>
                    <a:pt x="128" y="126"/>
                  </a:lnTo>
                  <a:lnTo>
                    <a:pt x="131" y="126"/>
                  </a:lnTo>
                  <a:lnTo>
                    <a:pt x="128" y="126"/>
                  </a:lnTo>
                  <a:lnTo>
                    <a:pt x="128" y="128"/>
                  </a:lnTo>
                  <a:close/>
                  <a:moveTo>
                    <a:pt x="131" y="126"/>
                  </a:moveTo>
                  <a:lnTo>
                    <a:pt x="131" y="128"/>
                  </a:lnTo>
                  <a:lnTo>
                    <a:pt x="133" y="128"/>
                  </a:lnTo>
                  <a:lnTo>
                    <a:pt x="135" y="128"/>
                  </a:lnTo>
                  <a:lnTo>
                    <a:pt x="138" y="128"/>
                  </a:lnTo>
                  <a:lnTo>
                    <a:pt x="140" y="128"/>
                  </a:lnTo>
                  <a:lnTo>
                    <a:pt x="140" y="130"/>
                  </a:lnTo>
                  <a:lnTo>
                    <a:pt x="140" y="133"/>
                  </a:lnTo>
                  <a:lnTo>
                    <a:pt x="138" y="133"/>
                  </a:lnTo>
                  <a:lnTo>
                    <a:pt x="138" y="130"/>
                  </a:lnTo>
                  <a:lnTo>
                    <a:pt x="135" y="130"/>
                  </a:lnTo>
                  <a:lnTo>
                    <a:pt x="133" y="130"/>
                  </a:lnTo>
                  <a:lnTo>
                    <a:pt x="131" y="130"/>
                  </a:lnTo>
                  <a:lnTo>
                    <a:pt x="131" y="133"/>
                  </a:lnTo>
                  <a:lnTo>
                    <a:pt x="128" y="135"/>
                  </a:lnTo>
                  <a:lnTo>
                    <a:pt x="126" y="135"/>
                  </a:lnTo>
                  <a:lnTo>
                    <a:pt x="126" y="133"/>
                  </a:lnTo>
                  <a:lnTo>
                    <a:pt x="126" y="135"/>
                  </a:lnTo>
                  <a:lnTo>
                    <a:pt x="126" y="133"/>
                  </a:lnTo>
                  <a:lnTo>
                    <a:pt x="126" y="130"/>
                  </a:lnTo>
                  <a:lnTo>
                    <a:pt x="128" y="130"/>
                  </a:lnTo>
                  <a:lnTo>
                    <a:pt x="131" y="130"/>
                  </a:lnTo>
                  <a:lnTo>
                    <a:pt x="131" y="128"/>
                  </a:lnTo>
                  <a:lnTo>
                    <a:pt x="128" y="126"/>
                  </a:lnTo>
                  <a:lnTo>
                    <a:pt x="131" y="126"/>
                  </a:lnTo>
                  <a:close/>
                  <a:moveTo>
                    <a:pt x="59" y="128"/>
                  </a:moveTo>
                  <a:lnTo>
                    <a:pt x="59" y="126"/>
                  </a:lnTo>
                  <a:lnTo>
                    <a:pt x="62" y="126"/>
                  </a:lnTo>
                  <a:lnTo>
                    <a:pt x="62" y="128"/>
                  </a:lnTo>
                  <a:lnTo>
                    <a:pt x="59" y="128"/>
                  </a:lnTo>
                  <a:close/>
                  <a:moveTo>
                    <a:pt x="109" y="126"/>
                  </a:moveTo>
                  <a:lnTo>
                    <a:pt x="112" y="126"/>
                  </a:lnTo>
                  <a:lnTo>
                    <a:pt x="109" y="126"/>
                  </a:lnTo>
                  <a:close/>
                  <a:moveTo>
                    <a:pt x="48" y="126"/>
                  </a:moveTo>
                  <a:lnTo>
                    <a:pt x="50" y="126"/>
                  </a:lnTo>
                  <a:lnTo>
                    <a:pt x="50" y="128"/>
                  </a:lnTo>
                  <a:lnTo>
                    <a:pt x="52" y="128"/>
                  </a:lnTo>
                  <a:lnTo>
                    <a:pt x="55" y="128"/>
                  </a:lnTo>
                  <a:lnTo>
                    <a:pt x="55" y="130"/>
                  </a:lnTo>
                  <a:lnTo>
                    <a:pt x="57" y="130"/>
                  </a:lnTo>
                  <a:lnTo>
                    <a:pt x="57" y="133"/>
                  </a:lnTo>
                  <a:lnTo>
                    <a:pt x="57" y="135"/>
                  </a:lnTo>
                  <a:lnTo>
                    <a:pt x="55" y="135"/>
                  </a:lnTo>
                  <a:lnTo>
                    <a:pt x="52" y="133"/>
                  </a:lnTo>
                  <a:lnTo>
                    <a:pt x="52" y="135"/>
                  </a:lnTo>
                  <a:lnTo>
                    <a:pt x="52" y="133"/>
                  </a:lnTo>
                  <a:lnTo>
                    <a:pt x="50" y="135"/>
                  </a:lnTo>
                  <a:lnTo>
                    <a:pt x="50" y="133"/>
                  </a:lnTo>
                  <a:lnTo>
                    <a:pt x="48" y="133"/>
                  </a:lnTo>
                  <a:lnTo>
                    <a:pt x="48" y="130"/>
                  </a:lnTo>
                  <a:lnTo>
                    <a:pt x="50" y="130"/>
                  </a:lnTo>
                  <a:lnTo>
                    <a:pt x="50" y="133"/>
                  </a:lnTo>
                  <a:lnTo>
                    <a:pt x="52" y="133"/>
                  </a:lnTo>
                  <a:lnTo>
                    <a:pt x="52" y="130"/>
                  </a:lnTo>
                  <a:lnTo>
                    <a:pt x="52" y="133"/>
                  </a:lnTo>
                  <a:lnTo>
                    <a:pt x="50" y="133"/>
                  </a:lnTo>
                  <a:lnTo>
                    <a:pt x="50" y="130"/>
                  </a:lnTo>
                  <a:lnTo>
                    <a:pt x="48" y="130"/>
                  </a:lnTo>
                  <a:lnTo>
                    <a:pt x="50" y="128"/>
                  </a:lnTo>
                  <a:lnTo>
                    <a:pt x="48" y="130"/>
                  </a:lnTo>
                  <a:lnTo>
                    <a:pt x="48" y="128"/>
                  </a:lnTo>
                  <a:lnTo>
                    <a:pt x="50" y="128"/>
                  </a:lnTo>
                  <a:lnTo>
                    <a:pt x="48" y="128"/>
                  </a:lnTo>
                  <a:lnTo>
                    <a:pt x="45" y="128"/>
                  </a:lnTo>
                  <a:lnTo>
                    <a:pt x="45" y="126"/>
                  </a:lnTo>
                  <a:lnTo>
                    <a:pt x="45" y="128"/>
                  </a:lnTo>
                  <a:lnTo>
                    <a:pt x="43" y="128"/>
                  </a:lnTo>
                  <a:lnTo>
                    <a:pt x="43" y="126"/>
                  </a:lnTo>
                  <a:lnTo>
                    <a:pt x="45" y="126"/>
                  </a:lnTo>
                  <a:lnTo>
                    <a:pt x="48" y="126"/>
                  </a:lnTo>
                  <a:close/>
                  <a:moveTo>
                    <a:pt x="59" y="123"/>
                  </a:moveTo>
                  <a:lnTo>
                    <a:pt x="57" y="123"/>
                  </a:lnTo>
                  <a:lnTo>
                    <a:pt x="59" y="123"/>
                  </a:lnTo>
                  <a:lnTo>
                    <a:pt x="59" y="121"/>
                  </a:lnTo>
                  <a:lnTo>
                    <a:pt x="59" y="123"/>
                  </a:lnTo>
                  <a:close/>
                  <a:moveTo>
                    <a:pt x="112" y="123"/>
                  </a:moveTo>
                  <a:lnTo>
                    <a:pt x="112" y="121"/>
                  </a:lnTo>
                  <a:lnTo>
                    <a:pt x="112" y="123"/>
                  </a:lnTo>
                  <a:close/>
                  <a:moveTo>
                    <a:pt x="88" y="123"/>
                  </a:moveTo>
                  <a:lnTo>
                    <a:pt x="85" y="126"/>
                  </a:lnTo>
                  <a:lnTo>
                    <a:pt x="85" y="128"/>
                  </a:lnTo>
                  <a:lnTo>
                    <a:pt x="85" y="130"/>
                  </a:lnTo>
                  <a:lnTo>
                    <a:pt x="83" y="130"/>
                  </a:lnTo>
                  <a:lnTo>
                    <a:pt x="83" y="133"/>
                  </a:lnTo>
                  <a:lnTo>
                    <a:pt x="83" y="135"/>
                  </a:lnTo>
                  <a:lnTo>
                    <a:pt x="81" y="138"/>
                  </a:lnTo>
                  <a:lnTo>
                    <a:pt x="81" y="140"/>
                  </a:lnTo>
                  <a:lnTo>
                    <a:pt x="81" y="142"/>
                  </a:lnTo>
                  <a:lnTo>
                    <a:pt x="78" y="142"/>
                  </a:lnTo>
                  <a:lnTo>
                    <a:pt x="78" y="140"/>
                  </a:lnTo>
                  <a:lnTo>
                    <a:pt x="76" y="138"/>
                  </a:lnTo>
                  <a:lnTo>
                    <a:pt x="78" y="138"/>
                  </a:lnTo>
                  <a:lnTo>
                    <a:pt x="78" y="135"/>
                  </a:lnTo>
                  <a:lnTo>
                    <a:pt x="81" y="135"/>
                  </a:lnTo>
                  <a:lnTo>
                    <a:pt x="78" y="135"/>
                  </a:lnTo>
                  <a:lnTo>
                    <a:pt x="78" y="133"/>
                  </a:lnTo>
                  <a:lnTo>
                    <a:pt x="78" y="135"/>
                  </a:lnTo>
                  <a:lnTo>
                    <a:pt x="78" y="133"/>
                  </a:lnTo>
                  <a:lnTo>
                    <a:pt x="78" y="135"/>
                  </a:lnTo>
                  <a:lnTo>
                    <a:pt x="78" y="133"/>
                  </a:lnTo>
                  <a:lnTo>
                    <a:pt x="78" y="130"/>
                  </a:lnTo>
                  <a:lnTo>
                    <a:pt x="81" y="130"/>
                  </a:lnTo>
                  <a:lnTo>
                    <a:pt x="83" y="128"/>
                  </a:lnTo>
                  <a:lnTo>
                    <a:pt x="83" y="126"/>
                  </a:lnTo>
                  <a:lnTo>
                    <a:pt x="85" y="126"/>
                  </a:lnTo>
                  <a:lnTo>
                    <a:pt x="85" y="123"/>
                  </a:lnTo>
                  <a:lnTo>
                    <a:pt x="85" y="121"/>
                  </a:lnTo>
                  <a:lnTo>
                    <a:pt x="88" y="121"/>
                  </a:lnTo>
                  <a:lnTo>
                    <a:pt x="88" y="123"/>
                  </a:lnTo>
                  <a:close/>
                  <a:moveTo>
                    <a:pt x="95" y="121"/>
                  </a:moveTo>
                  <a:lnTo>
                    <a:pt x="93" y="121"/>
                  </a:lnTo>
                  <a:lnTo>
                    <a:pt x="95" y="121"/>
                  </a:lnTo>
                  <a:close/>
                  <a:moveTo>
                    <a:pt x="55" y="121"/>
                  </a:moveTo>
                  <a:lnTo>
                    <a:pt x="57" y="121"/>
                  </a:lnTo>
                  <a:lnTo>
                    <a:pt x="57" y="123"/>
                  </a:lnTo>
                  <a:lnTo>
                    <a:pt x="55" y="123"/>
                  </a:lnTo>
                  <a:lnTo>
                    <a:pt x="55" y="121"/>
                  </a:lnTo>
                  <a:close/>
                  <a:moveTo>
                    <a:pt x="100" y="119"/>
                  </a:moveTo>
                  <a:lnTo>
                    <a:pt x="102" y="119"/>
                  </a:lnTo>
                  <a:lnTo>
                    <a:pt x="100" y="119"/>
                  </a:lnTo>
                  <a:close/>
                  <a:moveTo>
                    <a:pt x="112" y="119"/>
                  </a:moveTo>
                  <a:lnTo>
                    <a:pt x="112" y="121"/>
                  </a:lnTo>
                  <a:lnTo>
                    <a:pt x="112" y="119"/>
                  </a:lnTo>
                  <a:close/>
                  <a:moveTo>
                    <a:pt x="102" y="119"/>
                  </a:moveTo>
                  <a:lnTo>
                    <a:pt x="104" y="119"/>
                  </a:lnTo>
                  <a:lnTo>
                    <a:pt x="102" y="119"/>
                  </a:lnTo>
                  <a:close/>
                  <a:moveTo>
                    <a:pt x="95" y="116"/>
                  </a:moveTo>
                  <a:lnTo>
                    <a:pt x="95" y="119"/>
                  </a:lnTo>
                  <a:lnTo>
                    <a:pt x="95" y="116"/>
                  </a:lnTo>
                  <a:close/>
                  <a:moveTo>
                    <a:pt x="7" y="116"/>
                  </a:moveTo>
                  <a:lnTo>
                    <a:pt x="5" y="119"/>
                  </a:lnTo>
                  <a:lnTo>
                    <a:pt x="7" y="119"/>
                  </a:lnTo>
                  <a:lnTo>
                    <a:pt x="5" y="119"/>
                  </a:lnTo>
                  <a:lnTo>
                    <a:pt x="5" y="116"/>
                  </a:lnTo>
                  <a:lnTo>
                    <a:pt x="7" y="116"/>
                  </a:lnTo>
                  <a:lnTo>
                    <a:pt x="7" y="114"/>
                  </a:lnTo>
                  <a:lnTo>
                    <a:pt x="7" y="116"/>
                  </a:lnTo>
                  <a:close/>
                  <a:moveTo>
                    <a:pt x="48" y="116"/>
                  </a:moveTo>
                  <a:lnTo>
                    <a:pt x="48" y="114"/>
                  </a:lnTo>
                  <a:lnTo>
                    <a:pt x="48" y="116"/>
                  </a:lnTo>
                  <a:close/>
                  <a:moveTo>
                    <a:pt x="7" y="114"/>
                  </a:moveTo>
                  <a:lnTo>
                    <a:pt x="10" y="114"/>
                  </a:lnTo>
                  <a:lnTo>
                    <a:pt x="10" y="116"/>
                  </a:lnTo>
                  <a:lnTo>
                    <a:pt x="7" y="116"/>
                  </a:lnTo>
                  <a:lnTo>
                    <a:pt x="7" y="114"/>
                  </a:lnTo>
                  <a:close/>
                  <a:moveTo>
                    <a:pt x="50" y="111"/>
                  </a:moveTo>
                  <a:lnTo>
                    <a:pt x="50" y="114"/>
                  </a:lnTo>
                  <a:lnTo>
                    <a:pt x="48" y="114"/>
                  </a:lnTo>
                  <a:lnTo>
                    <a:pt x="50" y="111"/>
                  </a:lnTo>
                  <a:lnTo>
                    <a:pt x="50" y="114"/>
                  </a:lnTo>
                  <a:lnTo>
                    <a:pt x="50" y="111"/>
                  </a:lnTo>
                  <a:close/>
                  <a:moveTo>
                    <a:pt x="2" y="111"/>
                  </a:moveTo>
                  <a:lnTo>
                    <a:pt x="2" y="114"/>
                  </a:lnTo>
                  <a:lnTo>
                    <a:pt x="5" y="114"/>
                  </a:lnTo>
                  <a:lnTo>
                    <a:pt x="5" y="111"/>
                  </a:lnTo>
                  <a:lnTo>
                    <a:pt x="5" y="114"/>
                  </a:lnTo>
                  <a:lnTo>
                    <a:pt x="2" y="114"/>
                  </a:lnTo>
                  <a:lnTo>
                    <a:pt x="2" y="111"/>
                  </a:lnTo>
                  <a:lnTo>
                    <a:pt x="5" y="111"/>
                  </a:lnTo>
                  <a:lnTo>
                    <a:pt x="2" y="111"/>
                  </a:lnTo>
                  <a:close/>
                  <a:moveTo>
                    <a:pt x="7" y="111"/>
                  </a:moveTo>
                  <a:lnTo>
                    <a:pt x="5" y="114"/>
                  </a:lnTo>
                  <a:lnTo>
                    <a:pt x="5" y="111"/>
                  </a:lnTo>
                  <a:lnTo>
                    <a:pt x="7" y="111"/>
                  </a:lnTo>
                  <a:close/>
                  <a:moveTo>
                    <a:pt x="45" y="111"/>
                  </a:moveTo>
                  <a:lnTo>
                    <a:pt x="48" y="111"/>
                  </a:lnTo>
                  <a:lnTo>
                    <a:pt x="45" y="111"/>
                  </a:lnTo>
                  <a:close/>
                  <a:moveTo>
                    <a:pt x="2" y="104"/>
                  </a:moveTo>
                  <a:lnTo>
                    <a:pt x="2" y="107"/>
                  </a:lnTo>
                  <a:lnTo>
                    <a:pt x="5" y="107"/>
                  </a:lnTo>
                  <a:lnTo>
                    <a:pt x="5" y="109"/>
                  </a:lnTo>
                  <a:lnTo>
                    <a:pt x="5" y="111"/>
                  </a:lnTo>
                  <a:lnTo>
                    <a:pt x="7" y="111"/>
                  </a:lnTo>
                  <a:lnTo>
                    <a:pt x="5" y="111"/>
                  </a:lnTo>
                  <a:lnTo>
                    <a:pt x="2" y="109"/>
                  </a:lnTo>
                  <a:lnTo>
                    <a:pt x="2" y="107"/>
                  </a:lnTo>
                  <a:lnTo>
                    <a:pt x="0" y="107"/>
                  </a:lnTo>
                  <a:lnTo>
                    <a:pt x="2" y="104"/>
                  </a:lnTo>
                  <a:close/>
                  <a:moveTo>
                    <a:pt x="83" y="102"/>
                  </a:moveTo>
                  <a:lnTo>
                    <a:pt x="81" y="104"/>
                  </a:lnTo>
                  <a:lnTo>
                    <a:pt x="81" y="102"/>
                  </a:lnTo>
                  <a:lnTo>
                    <a:pt x="83" y="102"/>
                  </a:lnTo>
                  <a:close/>
                  <a:moveTo>
                    <a:pt x="0" y="102"/>
                  </a:moveTo>
                  <a:lnTo>
                    <a:pt x="0" y="104"/>
                  </a:lnTo>
                  <a:lnTo>
                    <a:pt x="0" y="102"/>
                  </a:lnTo>
                  <a:close/>
                  <a:moveTo>
                    <a:pt x="147" y="100"/>
                  </a:moveTo>
                  <a:lnTo>
                    <a:pt x="147" y="97"/>
                  </a:lnTo>
                  <a:lnTo>
                    <a:pt x="145" y="97"/>
                  </a:lnTo>
                  <a:lnTo>
                    <a:pt x="147" y="97"/>
                  </a:lnTo>
                  <a:lnTo>
                    <a:pt x="147" y="100"/>
                  </a:lnTo>
                  <a:close/>
                  <a:moveTo>
                    <a:pt x="147" y="95"/>
                  </a:moveTo>
                  <a:lnTo>
                    <a:pt x="147" y="97"/>
                  </a:lnTo>
                  <a:lnTo>
                    <a:pt x="145" y="97"/>
                  </a:lnTo>
                  <a:lnTo>
                    <a:pt x="147" y="97"/>
                  </a:lnTo>
                  <a:lnTo>
                    <a:pt x="145" y="97"/>
                  </a:lnTo>
                  <a:lnTo>
                    <a:pt x="145" y="95"/>
                  </a:lnTo>
                  <a:lnTo>
                    <a:pt x="147" y="95"/>
                  </a:lnTo>
                  <a:close/>
                  <a:moveTo>
                    <a:pt x="142" y="95"/>
                  </a:moveTo>
                  <a:lnTo>
                    <a:pt x="142" y="97"/>
                  </a:lnTo>
                  <a:lnTo>
                    <a:pt x="145" y="97"/>
                  </a:lnTo>
                  <a:lnTo>
                    <a:pt x="145" y="100"/>
                  </a:lnTo>
                  <a:lnTo>
                    <a:pt x="142" y="100"/>
                  </a:lnTo>
                  <a:lnTo>
                    <a:pt x="140" y="102"/>
                  </a:lnTo>
                  <a:lnTo>
                    <a:pt x="140" y="100"/>
                  </a:lnTo>
                  <a:lnTo>
                    <a:pt x="138" y="100"/>
                  </a:lnTo>
                  <a:lnTo>
                    <a:pt x="138" y="97"/>
                  </a:lnTo>
                  <a:lnTo>
                    <a:pt x="140" y="97"/>
                  </a:lnTo>
                  <a:lnTo>
                    <a:pt x="140" y="95"/>
                  </a:lnTo>
                  <a:lnTo>
                    <a:pt x="142" y="95"/>
                  </a:lnTo>
                  <a:lnTo>
                    <a:pt x="142" y="92"/>
                  </a:lnTo>
                  <a:lnTo>
                    <a:pt x="142" y="95"/>
                  </a:lnTo>
                  <a:close/>
                  <a:moveTo>
                    <a:pt x="123" y="92"/>
                  </a:moveTo>
                  <a:lnTo>
                    <a:pt x="126" y="92"/>
                  </a:lnTo>
                  <a:lnTo>
                    <a:pt x="123" y="92"/>
                  </a:lnTo>
                  <a:lnTo>
                    <a:pt x="123" y="90"/>
                  </a:lnTo>
                  <a:lnTo>
                    <a:pt x="123" y="92"/>
                  </a:lnTo>
                  <a:close/>
                  <a:moveTo>
                    <a:pt x="116" y="90"/>
                  </a:moveTo>
                  <a:lnTo>
                    <a:pt x="116" y="92"/>
                  </a:lnTo>
                  <a:lnTo>
                    <a:pt x="116" y="90"/>
                  </a:lnTo>
                  <a:lnTo>
                    <a:pt x="114" y="90"/>
                  </a:lnTo>
                  <a:lnTo>
                    <a:pt x="116" y="90"/>
                  </a:lnTo>
                  <a:close/>
                  <a:moveTo>
                    <a:pt x="66" y="90"/>
                  </a:moveTo>
                  <a:lnTo>
                    <a:pt x="64" y="90"/>
                  </a:lnTo>
                  <a:lnTo>
                    <a:pt x="66" y="90"/>
                  </a:lnTo>
                  <a:lnTo>
                    <a:pt x="66" y="88"/>
                  </a:lnTo>
                  <a:lnTo>
                    <a:pt x="66" y="90"/>
                  </a:lnTo>
                  <a:close/>
                  <a:moveTo>
                    <a:pt x="100" y="90"/>
                  </a:moveTo>
                  <a:lnTo>
                    <a:pt x="97" y="90"/>
                  </a:lnTo>
                  <a:lnTo>
                    <a:pt x="97" y="88"/>
                  </a:lnTo>
                  <a:lnTo>
                    <a:pt x="97" y="90"/>
                  </a:lnTo>
                  <a:lnTo>
                    <a:pt x="100" y="90"/>
                  </a:lnTo>
                  <a:close/>
                  <a:moveTo>
                    <a:pt x="116" y="88"/>
                  </a:moveTo>
                  <a:lnTo>
                    <a:pt x="116" y="90"/>
                  </a:lnTo>
                  <a:lnTo>
                    <a:pt x="114" y="90"/>
                  </a:lnTo>
                  <a:lnTo>
                    <a:pt x="114" y="88"/>
                  </a:lnTo>
                  <a:lnTo>
                    <a:pt x="116" y="90"/>
                  </a:lnTo>
                  <a:lnTo>
                    <a:pt x="116" y="88"/>
                  </a:lnTo>
                  <a:close/>
                  <a:moveTo>
                    <a:pt x="59" y="88"/>
                  </a:moveTo>
                  <a:lnTo>
                    <a:pt x="57" y="88"/>
                  </a:lnTo>
                  <a:lnTo>
                    <a:pt x="59" y="88"/>
                  </a:lnTo>
                  <a:lnTo>
                    <a:pt x="57" y="88"/>
                  </a:lnTo>
                  <a:lnTo>
                    <a:pt x="57" y="85"/>
                  </a:lnTo>
                  <a:lnTo>
                    <a:pt x="59" y="88"/>
                  </a:lnTo>
                  <a:close/>
                  <a:moveTo>
                    <a:pt x="59" y="85"/>
                  </a:moveTo>
                  <a:lnTo>
                    <a:pt x="57" y="85"/>
                  </a:lnTo>
                  <a:lnTo>
                    <a:pt x="59" y="85"/>
                  </a:lnTo>
                  <a:close/>
                  <a:moveTo>
                    <a:pt x="55" y="85"/>
                  </a:moveTo>
                  <a:lnTo>
                    <a:pt x="57" y="85"/>
                  </a:lnTo>
                  <a:lnTo>
                    <a:pt x="55" y="85"/>
                  </a:lnTo>
                  <a:close/>
                  <a:moveTo>
                    <a:pt x="78" y="83"/>
                  </a:moveTo>
                  <a:lnTo>
                    <a:pt x="76" y="83"/>
                  </a:lnTo>
                  <a:lnTo>
                    <a:pt x="78" y="83"/>
                  </a:lnTo>
                  <a:close/>
                  <a:moveTo>
                    <a:pt x="93" y="83"/>
                  </a:moveTo>
                  <a:lnTo>
                    <a:pt x="95" y="83"/>
                  </a:lnTo>
                  <a:lnTo>
                    <a:pt x="95" y="85"/>
                  </a:lnTo>
                  <a:lnTo>
                    <a:pt x="93" y="85"/>
                  </a:lnTo>
                  <a:lnTo>
                    <a:pt x="93" y="83"/>
                  </a:lnTo>
                  <a:lnTo>
                    <a:pt x="90" y="83"/>
                  </a:lnTo>
                  <a:lnTo>
                    <a:pt x="93" y="83"/>
                  </a:lnTo>
                  <a:close/>
                  <a:moveTo>
                    <a:pt x="71" y="81"/>
                  </a:moveTo>
                  <a:lnTo>
                    <a:pt x="69" y="81"/>
                  </a:lnTo>
                  <a:lnTo>
                    <a:pt x="71" y="81"/>
                  </a:lnTo>
                  <a:close/>
                  <a:moveTo>
                    <a:pt x="76" y="81"/>
                  </a:moveTo>
                  <a:lnTo>
                    <a:pt x="76" y="83"/>
                  </a:lnTo>
                  <a:lnTo>
                    <a:pt x="76" y="85"/>
                  </a:lnTo>
                  <a:lnTo>
                    <a:pt x="78" y="85"/>
                  </a:lnTo>
                  <a:lnTo>
                    <a:pt x="78" y="83"/>
                  </a:lnTo>
                  <a:lnTo>
                    <a:pt x="78" y="85"/>
                  </a:lnTo>
                  <a:lnTo>
                    <a:pt x="76" y="85"/>
                  </a:lnTo>
                  <a:lnTo>
                    <a:pt x="76" y="88"/>
                  </a:lnTo>
                  <a:lnTo>
                    <a:pt x="76" y="90"/>
                  </a:lnTo>
                  <a:lnTo>
                    <a:pt x="74" y="90"/>
                  </a:lnTo>
                  <a:lnTo>
                    <a:pt x="74" y="88"/>
                  </a:lnTo>
                  <a:lnTo>
                    <a:pt x="74" y="85"/>
                  </a:lnTo>
                  <a:lnTo>
                    <a:pt x="76" y="85"/>
                  </a:lnTo>
                  <a:lnTo>
                    <a:pt x="76" y="83"/>
                  </a:lnTo>
                  <a:lnTo>
                    <a:pt x="76" y="81"/>
                  </a:lnTo>
                  <a:lnTo>
                    <a:pt x="74" y="81"/>
                  </a:lnTo>
                  <a:lnTo>
                    <a:pt x="74" y="78"/>
                  </a:lnTo>
                  <a:lnTo>
                    <a:pt x="74" y="81"/>
                  </a:lnTo>
                  <a:lnTo>
                    <a:pt x="76" y="81"/>
                  </a:lnTo>
                  <a:close/>
                  <a:moveTo>
                    <a:pt x="83" y="71"/>
                  </a:moveTo>
                  <a:lnTo>
                    <a:pt x="81" y="71"/>
                  </a:lnTo>
                  <a:lnTo>
                    <a:pt x="83" y="71"/>
                  </a:lnTo>
                  <a:close/>
                  <a:moveTo>
                    <a:pt x="10" y="45"/>
                  </a:moveTo>
                  <a:lnTo>
                    <a:pt x="12" y="45"/>
                  </a:lnTo>
                  <a:lnTo>
                    <a:pt x="10" y="45"/>
                  </a:lnTo>
                  <a:lnTo>
                    <a:pt x="10" y="47"/>
                  </a:lnTo>
                  <a:lnTo>
                    <a:pt x="10" y="45"/>
                  </a:lnTo>
                  <a:close/>
                  <a:moveTo>
                    <a:pt x="10" y="43"/>
                  </a:moveTo>
                  <a:lnTo>
                    <a:pt x="7" y="43"/>
                  </a:lnTo>
                  <a:lnTo>
                    <a:pt x="7" y="40"/>
                  </a:lnTo>
                  <a:lnTo>
                    <a:pt x="10" y="40"/>
                  </a:lnTo>
                  <a:lnTo>
                    <a:pt x="10" y="43"/>
                  </a:lnTo>
                  <a:close/>
                  <a:moveTo>
                    <a:pt x="109" y="40"/>
                  </a:moveTo>
                  <a:lnTo>
                    <a:pt x="109" y="43"/>
                  </a:lnTo>
                  <a:lnTo>
                    <a:pt x="107" y="43"/>
                  </a:lnTo>
                  <a:lnTo>
                    <a:pt x="104" y="43"/>
                  </a:lnTo>
                  <a:lnTo>
                    <a:pt x="104" y="40"/>
                  </a:lnTo>
                  <a:lnTo>
                    <a:pt x="107" y="40"/>
                  </a:lnTo>
                  <a:lnTo>
                    <a:pt x="109" y="40"/>
                  </a:lnTo>
                  <a:close/>
                  <a:moveTo>
                    <a:pt x="24" y="35"/>
                  </a:moveTo>
                  <a:lnTo>
                    <a:pt x="26" y="35"/>
                  </a:lnTo>
                  <a:lnTo>
                    <a:pt x="24" y="35"/>
                  </a:lnTo>
                  <a:lnTo>
                    <a:pt x="26" y="35"/>
                  </a:lnTo>
                  <a:lnTo>
                    <a:pt x="24" y="35"/>
                  </a:lnTo>
                  <a:lnTo>
                    <a:pt x="24" y="38"/>
                  </a:lnTo>
                  <a:lnTo>
                    <a:pt x="21" y="35"/>
                  </a:lnTo>
                  <a:lnTo>
                    <a:pt x="24" y="35"/>
                  </a:lnTo>
                  <a:close/>
                  <a:moveTo>
                    <a:pt x="26" y="33"/>
                  </a:moveTo>
                  <a:lnTo>
                    <a:pt x="24" y="33"/>
                  </a:lnTo>
                  <a:lnTo>
                    <a:pt x="26" y="31"/>
                  </a:lnTo>
                  <a:lnTo>
                    <a:pt x="26" y="33"/>
                  </a:lnTo>
                  <a:close/>
                  <a:moveTo>
                    <a:pt x="50" y="24"/>
                  </a:moveTo>
                  <a:lnTo>
                    <a:pt x="52" y="24"/>
                  </a:lnTo>
                  <a:lnTo>
                    <a:pt x="50" y="24"/>
                  </a:lnTo>
                  <a:close/>
                  <a:moveTo>
                    <a:pt x="90" y="16"/>
                  </a:moveTo>
                  <a:lnTo>
                    <a:pt x="88" y="16"/>
                  </a:lnTo>
                  <a:lnTo>
                    <a:pt x="90" y="16"/>
                  </a:lnTo>
                  <a:close/>
                  <a:moveTo>
                    <a:pt x="95" y="9"/>
                  </a:moveTo>
                  <a:lnTo>
                    <a:pt x="95" y="12"/>
                  </a:lnTo>
                  <a:lnTo>
                    <a:pt x="93" y="12"/>
                  </a:lnTo>
                  <a:lnTo>
                    <a:pt x="90" y="12"/>
                  </a:lnTo>
                  <a:lnTo>
                    <a:pt x="93" y="12"/>
                  </a:lnTo>
                  <a:lnTo>
                    <a:pt x="93" y="14"/>
                  </a:lnTo>
                  <a:lnTo>
                    <a:pt x="90" y="14"/>
                  </a:lnTo>
                  <a:lnTo>
                    <a:pt x="88" y="16"/>
                  </a:lnTo>
                  <a:lnTo>
                    <a:pt x="88" y="14"/>
                  </a:lnTo>
                  <a:lnTo>
                    <a:pt x="85" y="14"/>
                  </a:lnTo>
                  <a:lnTo>
                    <a:pt x="85" y="12"/>
                  </a:lnTo>
                  <a:lnTo>
                    <a:pt x="88" y="12"/>
                  </a:lnTo>
                  <a:lnTo>
                    <a:pt x="90" y="12"/>
                  </a:lnTo>
                  <a:lnTo>
                    <a:pt x="90" y="9"/>
                  </a:lnTo>
                  <a:lnTo>
                    <a:pt x="93" y="9"/>
                  </a:lnTo>
                  <a:lnTo>
                    <a:pt x="95" y="9"/>
                  </a:lnTo>
                  <a:close/>
                  <a:moveTo>
                    <a:pt x="76" y="2"/>
                  </a:moveTo>
                  <a:lnTo>
                    <a:pt x="76" y="0"/>
                  </a:lnTo>
                  <a:lnTo>
                    <a:pt x="7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7" name="Freeform 50290"/>
            <p:cNvSpPr>
              <a:spLocks noEditPoints="1"/>
            </p:cNvSpPr>
            <p:nvPr/>
          </p:nvSpPr>
          <p:spPr bwMode="auto">
            <a:xfrm>
              <a:off x="2481261" y="4105290"/>
              <a:ext cx="342900" cy="211138"/>
            </a:xfrm>
            <a:custGeom>
              <a:avLst/>
              <a:gdLst>
                <a:gd name="T0" fmla="*/ 26 w 216"/>
                <a:gd name="T1" fmla="*/ 133 h 133"/>
                <a:gd name="T2" fmla="*/ 59 w 216"/>
                <a:gd name="T3" fmla="*/ 133 h 133"/>
                <a:gd name="T4" fmla="*/ 59 w 216"/>
                <a:gd name="T5" fmla="*/ 133 h 133"/>
                <a:gd name="T6" fmla="*/ 90 w 216"/>
                <a:gd name="T7" fmla="*/ 133 h 133"/>
                <a:gd name="T8" fmla="*/ 57 w 216"/>
                <a:gd name="T9" fmla="*/ 133 h 133"/>
                <a:gd name="T10" fmla="*/ 57 w 216"/>
                <a:gd name="T11" fmla="*/ 133 h 133"/>
                <a:gd name="T12" fmla="*/ 62 w 216"/>
                <a:gd name="T13" fmla="*/ 128 h 133"/>
                <a:gd name="T14" fmla="*/ 119 w 216"/>
                <a:gd name="T15" fmla="*/ 126 h 133"/>
                <a:gd name="T16" fmla="*/ 119 w 216"/>
                <a:gd name="T17" fmla="*/ 126 h 133"/>
                <a:gd name="T18" fmla="*/ 54 w 216"/>
                <a:gd name="T19" fmla="*/ 124 h 133"/>
                <a:gd name="T20" fmla="*/ 111 w 216"/>
                <a:gd name="T21" fmla="*/ 121 h 133"/>
                <a:gd name="T22" fmla="*/ 111 w 216"/>
                <a:gd name="T23" fmla="*/ 121 h 133"/>
                <a:gd name="T24" fmla="*/ 33 w 216"/>
                <a:gd name="T25" fmla="*/ 112 h 133"/>
                <a:gd name="T26" fmla="*/ 216 w 216"/>
                <a:gd name="T27" fmla="*/ 109 h 133"/>
                <a:gd name="T28" fmla="*/ 213 w 216"/>
                <a:gd name="T29" fmla="*/ 112 h 133"/>
                <a:gd name="T30" fmla="*/ 216 w 216"/>
                <a:gd name="T31" fmla="*/ 109 h 133"/>
                <a:gd name="T32" fmla="*/ 36 w 216"/>
                <a:gd name="T33" fmla="*/ 109 h 133"/>
                <a:gd name="T34" fmla="*/ 36 w 216"/>
                <a:gd name="T35" fmla="*/ 109 h 133"/>
                <a:gd name="T36" fmla="*/ 59 w 216"/>
                <a:gd name="T37" fmla="*/ 105 h 133"/>
                <a:gd name="T38" fmla="*/ 59 w 216"/>
                <a:gd name="T39" fmla="*/ 105 h 133"/>
                <a:gd name="T40" fmla="*/ 78 w 216"/>
                <a:gd name="T41" fmla="*/ 102 h 133"/>
                <a:gd name="T42" fmla="*/ 50 w 216"/>
                <a:gd name="T43" fmla="*/ 95 h 133"/>
                <a:gd name="T44" fmla="*/ 50 w 216"/>
                <a:gd name="T45" fmla="*/ 95 h 133"/>
                <a:gd name="T46" fmla="*/ 50 w 216"/>
                <a:gd name="T47" fmla="*/ 95 h 133"/>
                <a:gd name="T48" fmla="*/ 114 w 216"/>
                <a:gd name="T49" fmla="*/ 88 h 133"/>
                <a:gd name="T50" fmla="*/ 114 w 216"/>
                <a:gd name="T51" fmla="*/ 88 h 133"/>
                <a:gd name="T52" fmla="*/ 52 w 216"/>
                <a:gd name="T53" fmla="*/ 83 h 133"/>
                <a:gd name="T54" fmla="*/ 66 w 216"/>
                <a:gd name="T55" fmla="*/ 81 h 133"/>
                <a:gd name="T56" fmla="*/ 66 w 216"/>
                <a:gd name="T57" fmla="*/ 81 h 133"/>
                <a:gd name="T58" fmla="*/ 66 w 216"/>
                <a:gd name="T59" fmla="*/ 79 h 133"/>
                <a:gd name="T60" fmla="*/ 2 w 216"/>
                <a:gd name="T61" fmla="*/ 45 h 133"/>
                <a:gd name="T62" fmla="*/ 2 w 216"/>
                <a:gd name="T63" fmla="*/ 43 h 133"/>
                <a:gd name="T64" fmla="*/ 36 w 216"/>
                <a:gd name="T65" fmla="*/ 22 h 133"/>
                <a:gd name="T66" fmla="*/ 36 w 216"/>
                <a:gd name="T67" fmla="*/ 22 h 133"/>
                <a:gd name="T68" fmla="*/ 38 w 216"/>
                <a:gd name="T69" fmla="*/ 19 h 133"/>
                <a:gd name="T70" fmla="*/ 78 w 216"/>
                <a:gd name="T71" fmla="*/ 14 h 133"/>
                <a:gd name="T72" fmla="*/ 78 w 216"/>
                <a:gd name="T73" fmla="*/ 14 h 133"/>
                <a:gd name="T74" fmla="*/ 76 w 216"/>
                <a:gd name="T75" fmla="*/ 12 h 133"/>
                <a:gd name="T76" fmla="*/ 73 w 216"/>
                <a:gd name="T77" fmla="*/ 7 h 133"/>
                <a:gd name="T78" fmla="*/ 73 w 216"/>
                <a:gd name="T79" fmla="*/ 7 h 133"/>
                <a:gd name="T80" fmla="*/ 62 w 216"/>
                <a:gd name="T8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 h="133">
                  <a:moveTo>
                    <a:pt x="28" y="133"/>
                  </a:moveTo>
                  <a:lnTo>
                    <a:pt x="26" y="133"/>
                  </a:lnTo>
                  <a:lnTo>
                    <a:pt x="28" y="133"/>
                  </a:lnTo>
                  <a:close/>
                  <a:moveTo>
                    <a:pt x="59" y="133"/>
                  </a:moveTo>
                  <a:lnTo>
                    <a:pt x="57" y="133"/>
                  </a:lnTo>
                  <a:lnTo>
                    <a:pt x="59" y="133"/>
                  </a:lnTo>
                  <a:close/>
                  <a:moveTo>
                    <a:pt x="92" y="133"/>
                  </a:moveTo>
                  <a:lnTo>
                    <a:pt x="90" y="133"/>
                  </a:lnTo>
                  <a:lnTo>
                    <a:pt x="92" y="133"/>
                  </a:lnTo>
                  <a:close/>
                  <a:moveTo>
                    <a:pt x="57" y="133"/>
                  </a:moveTo>
                  <a:lnTo>
                    <a:pt x="57" y="131"/>
                  </a:lnTo>
                  <a:lnTo>
                    <a:pt x="57" y="133"/>
                  </a:lnTo>
                  <a:close/>
                  <a:moveTo>
                    <a:pt x="64" y="128"/>
                  </a:moveTo>
                  <a:lnTo>
                    <a:pt x="62" y="128"/>
                  </a:lnTo>
                  <a:lnTo>
                    <a:pt x="64" y="128"/>
                  </a:lnTo>
                  <a:close/>
                  <a:moveTo>
                    <a:pt x="119" y="126"/>
                  </a:moveTo>
                  <a:lnTo>
                    <a:pt x="116" y="126"/>
                  </a:lnTo>
                  <a:lnTo>
                    <a:pt x="119" y="126"/>
                  </a:lnTo>
                  <a:close/>
                  <a:moveTo>
                    <a:pt x="54" y="126"/>
                  </a:moveTo>
                  <a:lnTo>
                    <a:pt x="54" y="124"/>
                  </a:lnTo>
                  <a:lnTo>
                    <a:pt x="54" y="126"/>
                  </a:lnTo>
                  <a:close/>
                  <a:moveTo>
                    <a:pt x="111" y="121"/>
                  </a:moveTo>
                  <a:lnTo>
                    <a:pt x="111" y="119"/>
                  </a:lnTo>
                  <a:lnTo>
                    <a:pt x="111" y="121"/>
                  </a:lnTo>
                  <a:close/>
                  <a:moveTo>
                    <a:pt x="36" y="112"/>
                  </a:moveTo>
                  <a:lnTo>
                    <a:pt x="33" y="112"/>
                  </a:lnTo>
                  <a:lnTo>
                    <a:pt x="36" y="112"/>
                  </a:lnTo>
                  <a:close/>
                  <a:moveTo>
                    <a:pt x="216" y="109"/>
                  </a:moveTo>
                  <a:lnTo>
                    <a:pt x="216" y="112"/>
                  </a:lnTo>
                  <a:lnTo>
                    <a:pt x="213" y="112"/>
                  </a:lnTo>
                  <a:lnTo>
                    <a:pt x="213" y="109"/>
                  </a:lnTo>
                  <a:lnTo>
                    <a:pt x="216" y="109"/>
                  </a:lnTo>
                  <a:close/>
                  <a:moveTo>
                    <a:pt x="38" y="109"/>
                  </a:moveTo>
                  <a:lnTo>
                    <a:pt x="36" y="109"/>
                  </a:lnTo>
                  <a:lnTo>
                    <a:pt x="38" y="109"/>
                  </a:lnTo>
                  <a:lnTo>
                    <a:pt x="36" y="109"/>
                  </a:lnTo>
                  <a:lnTo>
                    <a:pt x="38" y="109"/>
                  </a:lnTo>
                  <a:close/>
                  <a:moveTo>
                    <a:pt x="59" y="105"/>
                  </a:moveTo>
                  <a:lnTo>
                    <a:pt x="59" y="102"/>
                  </a:lnTo>
                  <a:lnTo>
                    <a:pt x="59" y="105"/>
                  </a:lnTo>
                  <a:close/>
                  <a:moveTo>
                    <a:pt x="81" y="102"/>
                  </a:moveTo>
                  <a:lnTo>
                    <a:pt x="78" y="102"/>
                  </a:lnTo>
                  <a:lnTo>
                    <a:pt x="81" y="102"/>
                  </a:lnTo>
                  <a:close/>
                  <a:moveTo>
                    <a:pt x="50" y="95"/>
                  </a:moveTo>
                  <a:lnTo>
                    <a:pt x="50" y="98"/>
                  </a:lnTo>
                  <a:lnTo>
                    <a:pt x="50" y="95"/>
                  </a:lnTo>
                  <a:close/>
                  <a:moveTo>
                    <a:pt x="50" y="98"/>
                  </a:moveTo>
                  <a:lnTo>
                    <a:pt x="50" y="95"/>
                  </a:lnTo>
                  <a:lnTo>
                    <a:pt x="50" y="98"/>
                  </a:lnTo>
                  <a:close/>
                  <a:moveTo>
                    <a:pt x="114" y="88"/>
                  </a:moveTo>
                  <a:lnTo>
                    <a:pt x="111" y="88"/>
                  </a:lnTo>
                  <a:lnTo>
                    <a:pt x="114" y="88"/>
                  </a:lnTo>
                  <a:close/>
                  <a:moveTo>
                    <a:pt x="52" y="81"/>
                  </a:moveTo>
                  <a:lnTo>
                    <a:pt x="52" y="83"/>
                  </a:lnTo>
                  <a:lnTo>
                    <a:pt x="52" y="81"/>
                  </a:lnTo>
                  <a:close/>
                  <a:moveTo>
                    <a:pt x="66" y="81"/>
                  </a:moveTo>
                  <a:lnTo>
                    <a:pt x="64" y="81"/>
                  </a:lnTo>
                  <a:lnTo>
                    <a:pt x="66" y="81"/>
                  </a:lnTo>
                  <a:close/>
                  <a:moveTo>
                    <a:pt x="66" y="81"/>
                  </a:moveTo>
                  <a:lnTo>
                    <a:pt x="66" y="79"/>
                  </a:lnTo>
                  <a:lnTo>
                    <a:pt x="66" y="81"/>
                  </a:lnTo>
                  <a:close/>
                  <a:moveTo>
                    <a:pt x="2" y="45"/>
                  </a:moveTo>
                  <a:lnTo>
                    <a:pt x="0" y="43"/>
                  </a:lnTo>
                  <a:lnTo>
                    <a:pt x="2" y="43"/>
                  </a:lnTo>
                  <a:lnTo>
                    <a:pt x="2" y="45"/>
                  </a:lnTo>
                  <a:close/>
                  <a:moveTo>
                    <a:pt x="36" y="22"/>
                  </a:moveTo>
                  <a:lnTo>
                    <a:pt x="38" y="22"/>
                  </a:lnTo>
                  <a:lnTo>
                    <a:pt x="36" y="22"/>
                  </a:lnTo>
                  <a:close/>
                  <a:moveTo>
                    <a:pt x="38" y="22"/>
                  </a:moveTo>
                  <a:lnTo>
                    <a:pt x="38" y="19"/>
                  </a:lnTo>
                  <a:lnTo>
                    <a:pt x="38" y="22"/>
                  </a:lnTo>
                  <a:close/>
                  <a:moveTo>
                    <a:pt x="78" y="14"/>
                  </a:moveTo>
                  <a:lnTo>
                    <a:pt x="76" y="14"/>
                  </a:lnTo>
                  <a:lnTo>
                    <a:pt x="78" y="14"/>
                  </a:lnTo>
                  <a:close/>
                  <a:moveTo>
                    <a:pt x="76" y="14"/>
                  </a:moveTo>
                  <a:lnTo>
                    <a:pt x="76" y="12"/>
                  </a:lnTo>
                  <a:lnTo>
                    <a:pt x="76" y="14"/>
                  </a:lnTo>
                  <a:close/>
                  <a:moveTo>
                    <a:pt x="73" y="7"/>
                  </a:moveTo>
                  <a:lnTo>
                    <a:pt x="73" y="5"/>
                  </a:lnTo>
                  <a:lnTo>
                    <a:pt x="73" y="7"/>
                  </a:lnTo>
                  <a:close/>
                  <a:moveTo>
                    <a:pt x="64" y="3"/>
                  </a:moveTo>
                  <a:lnTo>
                    <a:pt x="62" y="0"/>
                  </a:lnTo>
                  <a:lnTo>
                    <a:pt x="64"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8" name="Freeform 50291"/>
            <p:cNvSpPr>
              <a:spLocks noEditPoints="1"/>
            </p:cNvSpPr>
            <p:nvPr/>
          </p:nvSpPr>
          <p:spPr bwMode="auto">
            <a:xfrm>
              <a:off x="3170236" y="3970351"/>
              <a:ext cx="82550" cy="101600"/>
            </a:xfrm>
            <a:custGeom>
              <a:avLst/>
              <a:gdLst>
                <a:gd name="T0" fmla="*/ 50 w 52"/>
                <a:gd name="T1" fmla="*/ 26 h 64"/>
                <a:gd name="T2" fmla="*/ 50 w 52"/>
                <a:gd name="T3" fmla="*/ 30 h 64"/>
                <a:gd name="T4" fmla="*/ 48 w 52"/>
                <a:gd name="T5" fmla="*/ 30 h 64"/>
                <a:gd name="T6" fmla="*/ 45 w 52"/>
                <a:gd name="T7" fmla="*/ 30 h 64"/>
                <a:gd name="T8" fmla="*/ 45 w 52"/>
                <a:gd name="T9" fmla="*/ 33 h 64"/>
                <a:gd name="T10" fmla="*/ 48 w 52"/>
                <a:gd name="T11" fmla="*/ 33 h 64"/>
                <a:gd name="T12" fmla="*/ 45 w 52"/>
                <a:gd name="T13" fmla="*/ 33 h 64"/>
                <a:gd name="T14" fmla="*/ 45 w 52"/>
                <a:gd name="T15" fmla="*/ 35 h 64"/>
                <a:gd name="T16" fmla="*/ 40 w 52"/>
                <a:gd name="T17" fmla="*/ 35 h 64"/>
                <a:gd name="T18" fmla="*/ 38 w 52"/>
                <a:gd name="T19" fmla="*/ 40 h 64"/>
                <a:gd name="T20" fmla="*/ 38 w 52"/>
                <a:gd name="T21" fmla="*/ 40 h 64"/>
                <a:gd name="T22" fmla="*/ 31 w 52"/>
                <a:gd name="T23" fmla="*/ 45 h 64"/>
                <a:gd name="T24" fmla="*/ 31 w 52"/>
                <a:gd name="T25" fmla="*/ 47 h 64"/>
                <a:gd name="T26" fmla="*/ 26 w 52"/>
                <a:gd name="T27" fmla="*/ 45 h 64"/>
                <a:gd name="T28" fmla="*/ 24 w 52"/>
                <a:gd name="T29" fmla="*/ 45 h 64"/>
                <a:gd name="T30" fmla="*/ 21 w 52"/>
                <a:gd name="T31" fmla="*/ 45 h 64"/>
                <a:gd name="T32" fmla="*/ 14 w 52"/>
                <a:gd name="T33" fmla="*/ 52 h 64"/>
                <a:gd name="T34" fmla="*/ 10 w 52"/>
                <a:gd name="T35" fmla="*/ 59 h 64"/>
                <a:gd name="T36" fmla="*/ 5 w 52"/>
                <a:gd name="T37" fmla="*/ 61 h 64"/>
                <a:gd name="T38" fmla="*/ 7 w 52"/>
                <a:gd name="T39" fmla="*/ 57 h 64"/>
                <a:gd name="T40" fmla="*/ 12 w 52"/>
                <a:gd name="T41" fmla="*/ 49 h 64"/>
                <a:gd name="T42" fmla="*/ 7 w 52"/>
                <a:gd name="T43" fmla="*/ 49 h 64"/>
                <a:gd name="T44" fmla="*/ 5 w 52"/>
                <a:gd name="T45" fmla="*/ 45 h 64"/>
                <a:gd name="T46" fmla="*/ 0 w 52"/>
                <a:gd name="T47" fmla="*/ 42 h 64"/>
                <a:gd name="T48" fmla="*/ 0 w 52"/>
                <a:gd name="T49" fmla="*/ 40 h 64"/>
                <a:gd name="T50" fmla="*/ 3 w 52"/>
                <a:gd name="T51" fmla="*/ 40 h 64"/>
                <a:gd name="T52" fmla="*/ 5 w 52"/>
                <a:gd name="T53" fmla="*/ 35 h 64"/>
                <a:gd name="T54" fmla="*/ 0 w 52"/>
                <a:gd name="T55" fmla="*/ 33 h 64"/>
                <a:gd name="T56" fmla="*/ 5 w 52"/>
                <a:gd name="T57" fmla="*/ 30 h 64"/>
                <a:gd name="T58" fmla="*/ 10 w 52"/>
                <a:gd name="T59" fmla="*/ 33 h 64"/>
                <a:gd name="T60" fmla="*/ 12 w 52"/>
                <a:gd name="T61" fmla="*/ 28 h 64"/>
                <a:gd name="T62" fmla="*/ 14 w 52"/>
                <a:gd name="T63" fmla="*/ 33 h 64"/>
                <a:gd name="T64" fmla="*/ 14 w 52"/>
                <a:gd name="T65" fmla="*/ 30 h 64"/>
                <a:gd name="T66" fmla="*/ 21 w 52"/>
                <a:gd name="T67" fmla="*/ 26 h 64"/>
                <a:gd name="T68" fmla="*/ 24 w 52"/>
                <a:gd name="T69" fmla="*/ 23 h 64"/>
                <a:gd name="T70" fmla="*/ 29 w 52"/>
                <a:gd name="T71" fmla="*/ 28 h 64"/>
                <a:gd name="T72" fmla="*/ 33 w 52"/>
                <a:gd name="T73" fmla="*/ 26 h 64"/>
                <a:gd name="T74" fmla="*/ 43 w 52"/>
                <a:gd name="T75" fmla="*/ 28 h 64"/>
                <a:gd name="T76" fmla="*/ 43 w 52"/>
                <a:gd name="T77" fmla="*/ 21 h 64"/>
                <a:gd name="T78" fmla="*/ 29 w 52"/>
                <a:gd name="T79" fmla="*/ 2 h 64"/>
                <a:gd name="T80" fmla="*/ 33 w 52"/>
                <a:gd name="T81" fmla="*/ 4 h 64"/>
                <a:gd name="T82" fmla="*/ 36 w 52"/>
                <a:gd name="T83" fmla="*/ 9 h 64"/>
                <a:gd name="T84" fmla="*/ 40 w 52"/>
                <a:gd name="T85" fmla="*/ 11 h 64"/>
                <a:gd name="T86" fmla="*/ 36 w 52"/>
                <a:gd name="T87" fmla="*/ 14 h 64"/>
                <a:gd name="T88" fmla="*/ 33 w 52"/>
                <a:gd name="T89" fmla="*/ 14 h 64"/>
                <a:gd name="T90" fmla="*/ 31 w 52"/>
                <a:gd name="T91" fmla="*/ 16 h 64"/>
                <a:gd name="T92" fmla="*/ 29 w 52"/>
                <a:gd name="T93" fmla="*/ 21 h 64"/>
                <a:gd name="T94" fmla="*/ 21 w 52"/>
                <a:gd name="T95" fmla="*/ 16 h 64"/>
                <a:gd name="T96" fmla="*/ 21 w 52"/>
                <a:gd name="T97" fmla="*/ 14 h 64"/>
                <a:gd name="T98" fmla="*/ 12 w 52"/>
                <a:gd name="T99" fmla="*/ 11 h 64"/>
                <a:gd name="T100" fmla="*/ 12 w 52"/>
                <a:gd name="T101" fmla="*/ 9 h 64"/>
                <a:gd name="T102" fmla="*/ 21 w 52"/>
                <a:gd name="T103" fmla="*/ 7 h 64"/>
                <a:gd name="T104" fmla="*/ 21 w 52"/>
                <a:gd name="T105" fmla="*/ 4 h 64"/>
                <a:gd name="T106" fmla="*/ 24 w 52"/>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64">
                  <a:moveTo>
                    <a:pt x="45" y="21"/>
                  </a:moveTo>
                  <a:lnTo>
                    <a:pt x="45" y="23"/>
                  </a:lnTo>
                  <a:lnTo>
                    <a:pt x="48" y="23"/>
                  </a:lnTo>
                  <a:lnTo>
                    <a:pt x="50" y="23"/>
                  </a:lnTo>
                  <a:lnTo>
                    <a:pt x="50" y="26"/>
                  </a:lnTo>
                  <a:lnTo>
                    <a:pt x="52" y="28"/>
                  </a:lnTo>
                  <a:lnTo>
                    <a:pt x="52" y="30"/>
                  </a:lnTo>
                  <a:lnTo>
                    <a:pt x="50" y="30"/>
                  </a:lnTo>
                  <a:lnTo>
                    <a:pt x="52" y="30"/>
                  </a:lnTo>
                  <a:lnTo>
                    <a:pt x="50" y="30"/>
                  </a:lnTo>
                  <a:lnTo>
                    <a:pt x="50" y="28"/>
                  </a:lnTo>
                  <a:lnTo>
                    <a:pt x="50" y="30"/>
                  </a:lnTo>
                  <a:lnTo>
                    <a:pt x="48" y="30"/>
                  </a:lnTo>
                  <a:lnTo>
                    <a:pt x="48" y="28"/>
                  </a:lnTo>
                  <a:lnTo>
                    <a:pt x="48" y="30"/>
                  </a:lnTo>
                  <a:lnTo>
                    <a:pt x="48" y="28"/>
                  </a:lnTo>
                  <a:lnTo>
                    <a:pt x="48" y="30"/>
                  </a:lnTo>
                  <a:lnTo>
                    <a:pt x="45" y="30"/>
                  </a:lnTo>
                  <a:lnTo>
                    <a:pt x="45" y="28"/>
                  </a:lnTo>
                  <a:lnTo>
                    <a:pt x="45" y="30"/>
                  </a:lnTo>
                  <a:lnTo>
                    <a:pt x="45" y="28"/>
                  </a:lnTo>
                  <a:lnTo>
                    <a:pt x="43" y="28"/>
                  </a:lnTo>
                  <a:lnTo>
                    <a:pt x="43" y="30"/>
                  </a:lnTo>
                  <a:lnTo>
                    <a:pt x="45" y="30"/>
                  </a:lnTo>
                  <a:lnTo>
                    <a:pt x="45" y="33"/>
                  </a:lnTo>
                  <a:lnTo>
                    <a:pt x="48" y="33"/>
                  </a:lnTo>
                  <a:lnTo>
                    <a:pt x="50" y="33"/>
                  </a:lnTo>
                  <a:lnTo>
                    <a:pt x="50" y="35"/>
                  </a:lnTo>
                  <a:lnTo>
                    <a:pt x="48" y="35"/>
                  </a:lnTo>
                  <a:lnTo>
                    <a:pt x="48" y="33"/>
                  </a:lnTo>
                  <a:lnTo>
                    <a:pt x="48" y="35"/>
                  </a:lnTo>
                  <a:lnTo>
                    <a:pt x="48" y="33"/>
                  </a:lnTo>
                  <a:lnTo>
                    <a:pt x="48" y="35"/>
                  </a:lnTo>
                  <a:lnTo>
                    <a:pt x="48" y="33"/>
                  </a:lnTo>
                  <a:lnTo>
                    <a:pt x="45" y="33"/>
                  </a:lnTo>
                  <a:lnTo>
                    <a:pt x="45" y="35"/>
                  </a:lnTo>
                  <a:lnTo>
                    <a:pt x="48" y="35"/>
                  </a:lnTo>
                  <a:lnTo>
                    <a:pt x="45" y="35"/>
                  </a:lnTo>
                  <a:lnTo>
                    <a:pt x="45" y="33"/>
                  </a:lnTo>
                  <a:lnTo>
                    <a:pt x="45" y="35"/>
                  </a:lnTo>
                  <a:lnTo>
                    <a:pt x="43" y="35"/>
                  </a:lnTo>
                  <a:lnTo>
                    <a:pt x="45" y="33"/>
                  </a:lnTo>
                  <a:lnTo>
                    <a:pt x="43" y="33"/>
                  </a:lnTo>
                  <a:lnTo>
                    <a:pt x="43" y="35"/>
                  </a:lnTo>
                  <a:lnTo>
                    <a:pt x="40" y="35"/>
                  </a:lnTo>
                  <a:lnTo>
                    <a:pt x="40" y="38"/>
                  </a:lnTo>
                  <a:lnTo>
                    <a:pt x="40" y="40"/>
                  </a:lnTo>
                  <a:lnTo>
                    <a:pt x="38" y="40"/>
                  </a:lnTo>
                  <a:lnTo>
                    <a:pt x="38" y="38"/>
                  </a:lnTo>
                  <a:lnTo>
                    <a:pt x="38" y="40"/>
                  </a:lnTo>
                  <a:lnTo>
                    <a:pt x="38" y="38"/>
                  </a:lnTo>
                  <a:lnTo>
                    <a:pt x="36" y="38"/>
                  </a:lnTo>
                  <a:lnTo>
                    <a:pt x="38" y="38"/>
                  </a:lnTo>
                  <a:lnTo>
                    <a:pt x="36" y="38"/>
                  </a:lnTo>
                  <a:lnTo>
                    <a:pt x="38" y="40"/>
                  </a:lnTo>
                  <a:lnTo>
                    <a:pt x="36" y="40"/>
                  </a:lnTo>
                  <a:lnTo>
                    <a:pt x="36" y="42"/>
                  </a:lnTo>
                  <a:lnTo>
                    <a:pt x="33" y="42"/>
                  </a:lnTo>
                  <a:lnTo>
                    <a:pt x="33" y="45"/>
                  </a:lnTo>
                  <a:lnTo>
                    <a:pt x="31" y="45"/>
                  </a:lnTo>
                  <a:lnTo>
                    <a:pt x="31" y="42"/>
                  </a:lnTo>
                  <a:lnTo>
                    <a:pt x="29" y="42"/>
                  </a:lnTo>
                  <a:lnTo>
                    <a:pt x="29" y="45"/>
                  </a:lnTo>
                  <a:lnTo>
                    <a:pt x="31" y="45"/>
                  </a:lnTo>
                  <a:lnTo>
                    <a:pt x="31" y="47"/>
                  </a:lnTo>
                  <a:lnTo>
                    <a:pt x="29" y="47"/>
                  </a:lnTo>
                  <a:lnTo>
                    <a:pt x="26" y="47"/>
                  </a:lnTo>
                  <a:lnTo>
                    <a:pt x="26" y="45"/>
                  </a:lnTo>
                  <a:lnTo>
                    <a:pt x="26" y="47"/>
                  </a:lnTo>
                  <a:lnTo>
                    <a:pt x="26" y="45"/>
                  </a:lnTo>
                  <a:lnTo>
                    <a:pt x="26" y="47"/>
                  </a:lnTo>
                  <a:lnTo>
                    <a:pt x="24" y="47"/>
                  </a:lnTo>
                  <a:lnTo>
                    <a:pt x="24" y="45"/>
                  </a:lnTo>
                  <a:lnTo>
                    <a:pt x="24" y="47"/>
                  </a:lnTo>
                  <a:lnTo>
                    <a:pt x="24" y="45"/>
                  </a:lnTo>
                  <a:lnTo>
                    <a:pt x="21" y="45"/>
                  </a:lnTo>
                  <a:lnTo>
                    <a:pt x="21" y="47"/>
                  </a:lnTo>
                  <a:lnTo>
                    <a:pt x="21" y="45"/>
                  </a:lnTo>
                  <a:lnTo>
                    <a:pt x="19" y="45"/>
                  </a:lnTo>
                  <a:lnTo>
                    <a:pt x="21" y="45"/>
                  </a:lnTo>
                  <a:lnTo>
                    <a:pt x="19" y="47"/>
                  </a:lnTo>
                  <a:lnTo>
                    <a:pt x="17" y="47"/>
                  </a:lnTo>
                  <a:lnTo>
                    <a:pt x="14" y="47"/>
                  </a:lnTo>
                  <a:lnTo>
                    <a:pt x="14" y="49"/>
                  </a:lnTo>
                  <a:lnTo>
                    <a:pt x="14" y="52"/>
                  </a:lnTo>
                  <a:lnTo>
                    <a:pt x="14" y="54"/>
                  </a:lnTo>
                  <a:lnTo>
                    <a:pt x="12" y="54"/>
                  </a:lnTo>
                  <a:lnTo>
                    <a:pt x="12" y="57"/>
                  </a:lnTo>
                  <a:lnTo>
                    <a:pt x="12" y="59"/>
                  </a:lnTo>
                  <a:lnTo>
                    <a:pt x="10" y="59"/>
                  </a:lnTo>
                  <a:lnTo>
                    <a:pt x="10" y="61"/>
                  </a:lnTo>
                  <a:lnTo>
                    <a:pt x="7" y="61"/>
                  </a:lnTo>
                  <a:lnTo>
                    <a:pt x="7" y="64"/>
                  </a:lnTo>
                  <a:lnTo>
                    <a:pt x="7" y="61"/>
                  </a:lnTo>
                  <a:lnTo>
                    <a:pt x="5" y="61"/>
                  </a:lnTo>
                  <a:lnTo>
                    <a:pt x="5" y="59"/>
                  </a:lnTo>
                  <a:lnTo>
                    <a:pt x="7" y="59"/>
                  </a:lnTo>
                  <a:lnTo>
                    <a:pt x="5" y="59"/>
                  </a:lnTo>
                  <a:lnTo>
                    <a:pt x="5" y="57"/>
                  </a:lnTo>
                  <a:lnTo>
                    <a:pt x="7" y="57"/>
                  </a:lnTo>
                  <a:lnTo>
                    <a:pt x="7" y="54"/>
                  </a:lnTo>
                  <a:lnTo>
                    <a:pt x="10" y="54"/>
                  </a:lnTo>
                  <a:lnTo>
                    <a:pt x="12" y="54"/>
                  </a:lnTo>
                  <a:lnTo>
                    <a:pt x="12" y="52"/>
                  </a:lnTo>
                  <a:lnTo>
                    <a:pt x="12" y="49"/>
                  </a:lnTo>
                  <a:lnTo>
                    <a:pt x="10" y="49"/>
                  </a:lnTo>
                  <a:lnTo>
                    <a:pt x="10" y="47"/>
                  </a:lnTo>
                  <a:lnTo>
                    <a:pt x="7" y="49"/>
                  </a:lnTo>
                  <a:lnTo>
                    <a:pt x="7" y="47"/>
                  </a:lnTo>
                  <a:lnTo>
                    <a:pt x="7" y="49"/>
                  </a:lnTo>
                  <a:lnTo>
                    <a:pt x="7" y="47"/>
                  </a:lnTo>
                  <a:lnTo>
                    <a:pt x="7" y="45"/>
                  </a:lnTo>
                  <a:lnTo>
                    <a:pt x="5" y="45"/>
                  </a:lnTo>
                  <a:lnTo>
                    <a:pt x="7" y="45"/>
                  </a:lnTo>
                  <a:lnTo>
                    <a:pt x="5" y="45"/>
                  </a:lnTo>
                  <a:lnTo>
                    <a:pt x="5" y="47"/>
                  </a:lnTo>
                  <a:lnTo>
                    <a:pt x="5" y="45"/>
                  </a:lnTo>
                  <a:lnTo>
                    <a:pt x="3" y="45"/>
                  </a:lnTo>
                  <a:lnTo>
                    <a:pt x="0" y="45"/>
                  </a:lnTo>
                  <a:lnTo>
                    <a:pt x="0" y="42"/>
                  </a:lnTo>
                  <a:lnTo>
                    <a:pt x="3" y="42"/>
                  </a:lnTo>
                  <a:lnTo>
                    <a:pt x="3" y="40"/>
                  </a:lnTo>
                  <a:lnTo>
                    <a:pt x="0" y="40"/>
                  </a:lnTo>
                  <a:lnTo>
                    <a:pt x="3" y="40"/>
                  </a:lnTo>
                  <a:lnTo>
                    <a:pt x="0" y="40"/>
                  </a:lnTo>
                  <a:lnTo>
                    <a:pt x="3" y="40"/>
                  </a:lnTo>
                  <a:lnTo>
                    <a:pt x="3" y="42"/>
                  </a:lnTo>
                  <a:lnTo>
                    <a:pt x="5" y="42"/>
                  </a:lnTo>
                  <a:lnTo>
                    <a:pt x="5" y="40"/>
                  </a:lnTo>
                  <a:lnTo>
                    <a:pt x="3" y="40"/>
                  </a:lnTo>
                  <a:lnTo>
                    <a:pt x="5" y="40"/>
                  </a:lnTo>
                  <a:lnTo>
                    <a:pt x="5" y="38"/>
                  </a:lnTo>
                  <a:lnTo>
                    <a:pt x="7" y="38"/>
                  </a:lnTo>
                  <a:lnTo>
                    <a:pt x="5" y="38"/>
                  </a:lnTo>
                  <a:lnTo>
                    <a:pt x="5" y="35"/>
                  </a:lnTo>
                  <a:lnTo>
                    <a:pt x="3" y="35"/>
                  </a:lnTo>
                  <a:lnTo>
                    <a:pt x="5" y="35"/>
                  </a:lnTo>
                  <a:lnTo>
                    <a:pt x="3" y="35"/>
                  </a:lnTo>
                  <a:lnTo>
                    <a:pt x="3" y="33"/>
                  </a:lnTo>
                  <a:lnTo>
                    <a:pt x="0" y="33"/>
                  </a:lnTo>
                  <a:lnTo>
                    <a:pt x="3" y="33"/>
                  </a:lnTo>
                  <a:lnTo>
                    <a:pt x="0" y="33"/>
                  </a:lnTo>
                  <a:lnTo>
                    <a:pt x="3" y="33"/>
                  </a:lnTo>
                  <a:lnTo>
                    <a:pt x="3" y="30"/>
                  </a:lnTo>
                  <a:lnTo>
                    <a:pt x="5" y="30"/>
                  </a:lnTo>
                  <a:lnTo>
                    <a:pt x="7" y="30"/>
                  </a:lnTo>
                  <a:lnTo>
                    <a:pt x="7" y="33"/>
                  </a:lnTo>
                  <a:lnTo>
                    <a:pt x="7" y="35"/>
                  </a:lnTo>
                  <a:lnTo>
                    <a:pt x="10" y="35"/>
                  </a:lnTo>
                  <a:lnTo>
                    <a:pt x="10" y="33"/>
                  </a:lnTo>
                  <a:lnTo>
                    <a:pt x="10" y="30"/>
                  </a:lnTo>
                  <a:lnTo>
                    <a:pt x="10" y="33"/>
                  </a:lnTo>
                  <a:lnTo>
                    <a:pt x="10" y="30"/>
                  </a:lnTo>
                  <a:lnTo>
                    <a:pt x="12" y="30"/>
                  </a:lnTo>
                  <a:lnTo>
                    <a:pt x="12" y="28"/>
                  </a:lnTo>
                  <a:lnTo>
                    <a:pt x="12" y="30"/>
                  </a:lnTo>
                  <a:lnTo>
                    <a:pt x="14" y="30"/>
                  </a:lnTo>
                  <a:lnTo>
                    <a:pt x="12" y="30"/>
                  </a:lnTo>
                  <a:lnTo>
                    <a:pt x="14" y="30"/>
                  </a:lnTo>
                  <a:lnTo>
                    <a:pt x="14" y="33"/>
                  </a:lnTo>
                  <a:lnTo>
                    <a:pt x="14" y="30"/>
                  </a:lnTo>
                  <a:lnTo>
                    <a:pt x="17" y="30"/>
                  </a:lnTo>
                  <a:lnTo>
                    <a:pt x="14" y="30"/>
                  </a:lnTo>
                  <a:lnTo>
                    <a:pt x="17" y="30"/>
                  </a:lnTo>
                  <a:lnTo>
                    <a:pt x="14" y="30"/>
                  </a:lnTo>
                  <a:lnTo>
                    <a:pt x="14" y="28"/>
                  </a:lnTo>
                  <a:lnTo>
                    <a:pt x="17" y="28"/>
                  </a:lnTo>
                  <a:lnTo>
                    <a:pt x="19" y="28"/>
                  </a:lnTo>
                  <a:lnTo>
                    <a:pt x="21" y="28"/>
                  </a:lnTo>
                  <a:lnTo>
                    <a:pt x="21" y="26"/>
                  </a:lnTo>
                  <a:lnTo>
                    <a:pt x="24" y="26"/>
                  </a:lnTo>
                  <a:lnTo>
                    <a:pt x="21" y="26"/>
                  </a:lnTo>
                  <a:lnTo>
                    <a:pt x="24" y="23"/>
                  </a:lnTo>
                  <a:lnTo>
                    <a:pt x="24" y="26"/>
                  </a:lnTo>
                  <a:lnTo>
                    <a:pt x="24" y="23"/>
                  </a:lnTo>
                  <a:lnTo>
                    <a:pt x="24" y="26"/>
                  </a:lnTo>
                  <a:lnTo>
                    <a:pt x="24" y="23"/>
                  </a:lnTo>
                  <a:lnTo>
                    <a:pt x="24" y="26"/>
                  </a:lnTo>
                  <a:lnTo>
                    <a:pt x="26" y="28"/>
                  </a:lnTo>
                  <a:lnTo>
                    <a:pt x="29" y="28"/>
                  </a:lnTo>
                  <a:lnTo>
                    <a:pt x="29" y="26"/>
                  </a:lnTo>
                  <a:lnTo>
                    <a:pt x="29" y="28"/>
                  </a:lnTo>
                  <a:lnTo>
                    <a:pt x="31" y="28"/>
                  </a:lnTo>
                  <a:lnTo>
                    <a:pt x="31" y="26"/>
                  </a:lnTo>
                  <a:lnTo>
                    <a:pt x="33" y="26"/>
                  </a:lnTo>
                  <a:lnTo>
                    <a:pt x="36" y="26"/>
                  </a:lnTo>
                  <a:lnTo>
                    <a:pt x="38" y="26"/>
                  </a:lnTo>
                  <a:lnTo>
                    <a:pt x="38" y="28"/>
                  </a:lnTo>
                  <a:lnTo>
                    <a:pt x="40" y="28"/>
                  </a:lnTo>
                  <a:lnTo>
                    <a:pt x="43" y="28"/>
                  </a:lnTo>
                  <a:lnTo>
                    <a:pt x="40" y="28"/>
                  </a:lnTo>
                  <a:lnTo>
                    <a:pt x="40" y="26"/>
                  </a:lnTo>
                  <a:lnTo>
                    <a:pt x="43" y="26"/>
                  </a:lnTo>
                  <a:lnTo>
                    <a:pt x="43" y="23"/>
                  </a:lnTo>
                  <a:lnTo>
                    <a:pt x="43" y="21"/>
                  </a:lnTo>
                  <a:lnTo>
                    <a:pt x="43" y="23"/>
                  </a:lnTo>
                  <a:lnTo>
                    <a:pt x="45" y="23"/>
                  </a:lnTo>
                  <a:lnTo>
                    <a:pt x="45" y="21"/>
                  </a:lnTo>
                  <a:close/>
                  <a:moveTo>
                    <a:pt x="26" y="2"/>
                  </a:moveTo>
                  <a:lnTo>
                    <a:pt x="29" y="2"/>
                  </a:lnTo>
                  <a:lnTo>
                    <a:pt x="29" y="4"/>
                  </a:lnTo>
                  <a:lnTo>
                    <a:pt x="31" y="4"/>
                  </a:lnTo>
                  <a:lnTo>
                    <a:pt x="33" y="4"/>
                  </a:lnTo>
                  <a:lnTo>
                    <a:pt x="33" y="7"/>
                  </a:lnTo>
                  <a:lnTo>
                    <a:pt x="33" y="4"/>
                  </a:lnTo>
                  <a:lnTo>
                    <a:pt x="33" y="7"/>
                  </a:lnTo>
                  <a:lnTo>
                    <a:pt x="36" y="7"/>
                  </a:lnTo>
                  <a:lnTo>
                    <a:pt x="38" y="7"/>
                  </a:lnTo>
                  <a:lnTo>
                    <a:pt x="38" y="9"/>
                  </a:lnTo>
                  <a:lnTo>
                    <a:pt x="36" y="9"/>
                  </a:lnTo>
                  <a:lnTo>
                    <a:pt x="36" y="7"/>
                  </a:lnTo>
                  <a:lnTo>
                    <a:pt x="36" y="9"/>
                  </a:lnTo>
                  <a:lnTo>
                    <a:pt x="38" y="9"/>
                  </a:lnTo>
                  <a:lnTo>
                    <a:pt x="38" y="11"/>
                  </a:lnTo>
                  <a:lnTo>
                    <a:pt x="40" y="11"/>
                  </a:lnTo>
                  <a:lnTo>
                    <a:pt x="38" y="11"/>
                  </a:lnTo>
                  <a:lnTo>
                    <a:pt x="40" y="11"/>
                  </a:lnTo>
                  <a:lnTo>
                    <a:pt x="40" y="14"/>
                  </a:lnTo>
                  <a:lnTo>
                    <a:pt x="38" y="14"/>
                  </a:lnTo>
                  <a:lnTo>
                    <a:pt x="36" y="14"/>
                  </a:lnTo>
                  <a:lnTo>
                    <a:pt x="38" y="14"/>
                  </a:lnTo>
                  <a:lnTo>
                    <a:pt x="36" y="14"/>
                  </a:lnTo>
                  <a:lnTo>
                    <a:pt x="33" y="14"/>
                  </a:lnTo>
                  <a:lnTo>
                    <a:pt x="36" y="14"/>
                  </a:lnTo>
                  <a:lnTo>
                    <a:pt x="33" y="14"/>
                  </a:lnTo>
                  <a:lnTo>
                    <a:pt x="33" y="16"/>
                  </a:lnTo>
                  <a:lnTo>
                    <a:pt x="33" y="19"/>
                  </a:lnTo>
                  <a:lnTo>
                    <a:pt x="31" y="19"/>
                  </a:lnTo>
                  <a:lnTo>
                    <a:pt x="33" y="16"/>
                  </a:lnTo>
                  <a:lnTo>
                    <a:pt x="31" y="16"/>
                  </a:lnTo>
                  <a:lnTo>
                    <a:pt x="31" y="19"/>
                  </a:lnTo>
                  <a:lnTo>
                    <a:pt x="31" y="16"/>
                  </a:lnTo>
                  <a:lnTo>
                    <a:pt x="29" y="16"/>
                  </a:lnTo>
                  <a:lnTo>
                    <a:pt x="29" y="19"/>
                  </a:lnTo>
                  <a:lnTo>
                    <a:pt x="29" y="21"/>
                  </a:lnTo>
                  <a:lnTo>
                    <a:pt x="26" y="21"/>
                  </a:lnTo>
                  <a:lnTo>
                    <a:pt x="24" y="21"/>
                  </a:lnTo>
                  <a:lnTo>
                    <a:pt x="21" y="21"/>
                  </a:lnTo>
                  <a:lnTo>
                    <a:pt x="21" y="19"/>
                  </a:lnTo>
                  <a:lnTo>
                    <a:pt x="21" y="16"/>
                  </a:lnTo>
                  <a:lnTo>
                    <a:pt x="19" y="16"/>
                  </a:lnTo>
                  <a:lnTo>
                    <a:pt x="21" y="16"/>
                  </a:lnTo>
                  <a:lnTo>
                    <a:pt x="19" y="16"/>
                  </a:lnTo>
                  <a:lnTo>
                    <a:pt x="21" y="16"/>
                  </a:lnTo>
                  <a:lnTo>
                    <a:pt x="21" y="14"/>
                  </a:lnTo>
                  <a:lnTo>
                    <a:pt x="19" y="14"/>
                  </a:lnTo>
                  <a:lnTo>
                    <a:pt x="19" y="11"/>
                  </a:lnTo>
                  <a:lnTo>
                    <a:pt x="17" y="11"/>
                  </a:lnTo>
                  <a:lnTo>
                    <a:pt x="14" y="11"/>
                  </a:lnTo>
                  <a:lnTo>
                    <a:pt x="12" y="11"/>
                  </a:lnTo>
                  <a:lnTo>
                    <a:pt x="10" y="11"/>
                  </a:lnTo>
                  <a:lnTo>
                    <a:pt x="10" y="9"/>
                  </a:lnTo>
                  <a:lnTo>
                    <a:pt x="7" y="9"/>
                  </a:lnTo>
                  <a:lnTo>
                    <a:pt x="10" y="9"/>
                  </a:lnTo>
                  <a:lnTo>
                    <a:pt x="12" y="9"/>
                  </a:lnTo>
                  <a:lnTo>
                    <a:pt x="14" y="9"/>
                  </a:lnTo>
                  <a:lnTo>
                    <a:pt x="17" y="9"/>
                  </a:lnTo>
                  <a:lnTo>
                    <a:pt x="19" y="9"/>
                  </a:lnTo>
                  <a:lnTo>
                    <a:pt x="19" y="7"/>
                  </a:lnTo>
                  <a:lnTo>
                    <a:pt x="21" y="7"/>
                  </a:lnTo>
                  <a:lnTo>
                    <a:pt x="19" y="7"/>
                  </a:lnTo>
                  <a:lnTo>
                    <a:pt x="21" y="7"/>
                  </a:lnTo>
                  <a:lnTo>
                    <a:pt x="19" y="7"/>
                  </a:lnTo>
                  <a:lnTo>
                    <a:pt x="21" y="7"/>
                  </a:lnTo>
                  <a:lnTo>
                    <a:pt x="21" y="4"/>
                  </a:lnTo>
                  <a:lnTo>
                    <a:pt x="24" y="4"/>
                  </a:lnTo>
                  <a:lnTo>
                    <a:pt x="21" y="4"/>
                  </a:lnTo>
                  <a:lnTo>
                    <a:pt x="24" y="4"/>
                  </a:lnTo>
                  <a:lnTo>
                    <a:pt x="24" y="2"/>
                  </a:lnTo>
                  <a:lnTo>
                    <a:pt x="24" y="0"/>
                  </a:lnTo>
                  <a:lnTo>
                    <a:pt x="26" y="0"/>
                  </a:lnTo>
                  <a:lnTo>
                    <a:pt x="2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9" name="Freeform 50292"/>
            <p:cNvSpPr>
              <a:spLocks/>
            </p:cNvSpPr>
            <p:nvPr/>
          </p:nvSpPr>
          <p:spPr bwMode="auto">
            <a:xfrm>
              <a:off x="3252785" y="3921139"/>
              <a:ext cx="252413" cy="180977"/>
            </a:xfrm>
            <a:custGeom>
              <a:avLst/>
              <a:gdLst>
                <a:gd name="T0" fmla="*/ 81 w 159"/>
                <a:gd name="T1" fmla="*/ 4 h 114"/>
                <a:gd name="T2" fmla="*/ 86 w 159"/>
                <a:gd name="T3" fmla="*/ 2 h 114"/>
                <a:gd name="T4" fmla="*/ 86 w 159"/>
                <a:gd name="T5" fmla="*/ 4 h 114"/>
                <a:gd name="T6" fmla="*/ 100 w 159"/>
                <a:gd name="T7" fmla="*/ 7 h 114"/>
                <a:gd name="T8" fmla="*/ 109 w 159"/>
                <a:gd name="T9" fmla="*/ 9 h 114"/>
                <a:gd name="T10" fmla="*/ 121 w 159"/>
                <a:gd name="T11" fmla="*/ 14 h 114"/>
                <a:gd name="T12" fmla="*/ 138 w 159"/>
                <a:gd name="T13" fmla="*/ 14 h 114"/>
                <a:gd name="T14" fmla="*/ 150 w 159"/>
                <a:gd name="T15" fmla="*/ 14 h 114"/>
                <a:gd name="T16" fmla="*/ 159 w 159"/>
                <a:gd name="T17" fmla="*/ 16 h 114"/>
                <a:gd name="T18" fmla="*/ 157 w 159"/>
                <a:gd name="T19" fmla="*/ 21 h 114"/>
                <a:gd name="T20" fmla="*/ 147 w 159"/>
                <a:gd name="T21" fmla="*/ 28 h 114"/>
                <a:gd name="T22" fmla="*/ 136 w 159"/>
                <a:gd name="T23" fmla="*/ 42 h 114"/>
                <a:gd name="T24" fmla="*/ 136 w 159"/>
                <a:gd name="T25" fmla="*/ 71 h 114"/>
                <a:gd name="T26" fmla="*/ 140 w 159"/>
                <a:gd name="T27" fmla="*/ 88 h 114"/>
                <a:gd name="T28" fmla="*/ 145 w 159"/>
                <a:gd name="T29" fmla="*/ 95 h 114"/>
                <a:gd name="T30" fmla="*/ 136 w 159"/>
                <a:gd name="T31" fmla="*/ 102 h 114"/>
                <a:gd name="T32" fmla="*/ 131 w 159"/>
                <a:gd name="T33" fmla="*/ 114 h 114"/>
                <a:gd name="T34" fmla="*/ 117 w 159"/>
                <a:gd name="T35" fmla="*/ 109 h 114"/>
                <a:gd name="T36" fmla="*/ 107 w 159"/>
                <a:gd name="T37" fmla="*/ 111 h 114"/>
                <a:gd name="T38" fmla="*/ 95 w 159"/>
                <a:gd name="T39" fmla="*/ 111 h 114"/>
                <a:gd name="T40" fmla="*/ 90 w 159"/>
                <a:gd name="T41" fmla="*/ 104 h 114"/>
                <a:gd name="T42" fmla="*/ 88 w 159"/>
                <a:gd name="T43" fmla="*/ 97 h 114"/>
                <a:gd name="T44" fmla="*/ 79 w 159"/>
                <a:gd name="T45" fmla="*/ 95 h 114"/>
                <a:gd name="T46" fmla="*/ 67 w 159"/>
                <a:gd name="T47" fmla="*/ 90 h 114"/>
                <a:gd name="T48" fmla="*/ 60 w 159"/>
                <a:gd name="T49" fmla="*/ 88 h 114"/>
                <a:gd name="T50" fmla="*/ 45 w 159"/>
                <a:gd name="T51" fmla="*/ 90 h 114"/>
                <a:gd name="T52" fmla="*/ 38 w 159"/>
                <a:gd name="T53" fmla="*/ 92 h 114"/>
                <a:gd name="T54" fmla="*/ 34 w 159"/>
                <a:gd name="T55" fmla="*/ 88 h 114"/>
                <a:gd name="T56" fmla="*/ 34 w 159"/>
                <a:gd name="T57" fmla="*/ 78 h 114"/>
                <a:gd name="T58" fmla="*/ 36 w 159"/>
                <a:gd name="T59" fmla="*/ 69 h 114"/>
                <a:gd name="T60" fmla="*/ 34 w 159"/>
                <a:gd name="T61" fmla="*/ 69 h 114"/>
                <a:gd name="T62" fmla="*/ 24 w 159"/>
                <a:gd name="T63" fmla="*/ 76 h 114"/>
                <a:gd name="T64" fmla="*/ 17 w 159"/>
                <a:gd name="T65" fmla="*/ 73 h 114"/>
                <a:gd name="T66" fmla="*/ 10 w 159"/>
                <a:gd name="T67" fmla="*/ 66 h 114"/>
                <a:gd name="T68" fmla="*/ 3 w 159"/>
                <a:gd name="T69" fmla="*/ 59 h 114"/>
                <a:gd name="T70" fmla="*/ 3 w 159"/>
                <a:gd name="T71" fmla="*/ 52 h 114"/>
                <a:gd name="T72" fmla="*/ 10 w 159"/>
                <a:gd name="T73" fmla="*/ 50 h 114"/>
                <a:gd name="T74" fmla="*/ 3 w 159"/>
                <a:gd name="T75" fmla="*/ 50 h 114"/>
                <a:gd name="T76" fmla="*/ 3 w 159"/>
                <a:gd name="T77" fmla="*/ 45 h 114"/>
                <a:gd name="T78" fmla="*/ 3 w 159"/>
                <a:gd name="T79" fmla="*/ 40 h 114"/>
                <a:gd name="T80" fmla="*/ 7 w 159"/>
                <a:gd name="T81" fmla="*/ 38 h 114"/>
                <a:gd name="T82" fmla="*/ 3 w 159"/>
                <a:gd name="T83" fmla="*/ 38 h 114"/>
                <a:gd name="T84" fmla="*/ 3 w 159"/>
                <a:gd name="T85" fmla="*/ 31 h 114"/>
                <a:gd name="T86" fmla="*/ 10 w 159"/>
                <a:gd name="T87" fmla="*/ 21 h 114"/>
                <a:gd name="T88" fmla="*/ 22 w 159"/>
                <a:gd name="T89" fmla="*/ 21 h 114"/>
                <a:gd name="T90" fmla="*/ 26 w 159"/>
                <a:gd name="T91" fmla="*/ 19 h 114"/>
                <a:gd name="T92" fmla="*/ 29 w 159"/>
                <a:gd name="T93" fmla="*/ 14 h 114"/>
                <a:gd name="T94" fmla="*/ 38 w 159"/>
                <a:gd name="T95" fmla="*/ 12 h 114"/>
                <a:gd name="T96" fmla="*/ 45 w 159"/>
                <a:gd name="T97" fmla="*/ 14 h 114"/>
                <a:gd name="T98" fmla="*/ 48 w 159"/>
                <a:gd name="T99" fmla="*/ 7 h 114"/>
                <a:gd name="T100" fmla="*/ 55 w 159"/>
                <a:gd name="T101" fmla="*/ 12 h 114"/>
                <a:gd name="T102" fmla="*/ 64 w 159"/>
                <a:gd name="T103" fmla="*/ 9 h 114"/>
                <a:gd name="T104" fmla="*/ 69 w 159"/>
                <a:gd name="T105" fmla="*/ 7 h 114"/>
                <a:gd name="T106" fmla="*/ 74 w 159"/>
                <a:gd name="T107" fmla="*/ 7 h 114"/>
                <a:gd name="T108" fmla="*/ 76 w 159"/>
                <a:gd name="T109" fmla="*/ 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 h="114">
                  <a:moveTo>
                    <a:pt x="76" y="2"/>
                  </a:moveTo>
                  <a:lnTo>
                    <a:pt x="79" y="2"/>
                  </a:lnTo>
                  <a:lnTo>
                    <a:pt x="76" y="2"/>
                  </a:lnTo>
                  <a:lnTo>
                    <a:pt x="79" y="4"/>
                  </a:lnTo>
                  <a:lnTo>
                    <a:pt x="79" y="7"/>
                  </a:lnTo>
                  <a:lnTo>
                    <a:pt x="81" y="7"/>
                  </a:lnTo>
                  <a:lnTo>
                    <a:pt x="81" y="4"/>
                  </a:lnTo>
                  <a:lnTo>
                    <a:pt x="83" y="4"/>
                  </a:lnTo>
                  <a:lnTo>
                    <a:pt x="83" y="7"/>
                  </a:lnTo>
                  <a:lnTo>
                    <a:pt x="83" y="4"/>
                  </a:lnTo>
                  <a:lnTo>
                    <a:pt x="86" y="4"/>
                  </a:lnTo>
                  <a:lnTo>
                    <a:pt x="83" y="4"/>
                  </a:lnTo>
                  <a:lnTo>
                    <a:pt x="83" y="2"/>
                  </a:lnTo>
                  <a:lnTo>
                    <a:pt x="86" y="2"/>
                  </a:lnTo>
                  <a:lnTo>
                    <a:pt x="86" y="4"/>
                  </a:lnTo>
                  <a:lnTo>
                    <a:pt x="86" y="2"/>
                  </a:lnTo>
                  <a:lnTo>
                    <a:pt x="86" y="4"/>
                  </a:lnTo>
                  <a:lnTo>
                    <a:pt x="88" y="4"/>
                  </a:lnTo>
                  <a:lnTo>
                    <a:pt x="88" y="2"/>
                  </a:lnTo>
                  <a:lnTo>
                    <a:pt x="88" y="4"/>
                  </a:lnTo>
                  <a:lnTo>
                    <a:pt x="86" y="4"/>
                  </a:lnTo>
                  <a:lnTo>
                    <a:pt x="88" y="4"/>
                  </a:lnTo>
                  <a:lnTo>
                    <a:pt x="90" y="4"/>
                  </a:lnTo>
                  <a:lnTo>
                    <a:pt x="93" y="4"/>
                  </a:lnTo>
                  <a:lnTo>
                    <a:pt x="95" y="4"/>
                  </a:lnTo>
                  <a:lnTo>
                    <a:pt x="95" y="7"/>
                  </a:lnTo>
                  <a:lnTo>
                    <a:pt x="98" y="7"/>
                  </a:lnTo>
                  <a:lnTo>
                    <a:pt x="100" y="7"/>
                  </a:lnTo>
                  <a:lnTo>
                    <a:pt x="100" y="9"/>
                  </a:lnTo>
                  <a:lnTo>
                    <a:pt x="102" y="9"/>
                  </a:lnTo>
                  <a:lnTo>
                    <a:pt x="105" y="9"/>
                  </a:lnTo>
                  <a:lnTo>
                    <a:pt x="105" y="7"/>
                  </a:lnTo>
                  <a:lnTo>
                    <a:pt x="107" y="7"/>
                  </a:lnTo>
                  <a:lnTo>
                    <a:pt x="107" y="9"/>
                  </a:lnTo>
                  <a:lnTo>
                    <a:pt x="109" y="9"/>
                  </a:lnTo>
                  <a:lnTo>
                    <a:pt x="112" y="9"/>
                  </a:lnTo>
                  <a:lnTo>
                    <a:pt x="112" y="12"/>
                  </a:lnTo>
                  <a:lnTo>
                    <a:pt x="114" y="12"/>
                  </a:lnTo>
                  <a:lnTo>
                    <a:pt x="114" y="14"/>
                  </a:lnTo>
                  <a:lnTo>
                    <a:pt x="117" y="14"/>
                  </a:lnTo>
                  <a:lnTo>
                    <a:pt x="119" y="14"/>
                  </a:lnTo>
                  <a:lnTo>
                    <a:pt x="121" y="14"/>
                  </a:lnTo>
                  <a:lnTo>
                    <a:pt x="124" y="14"/>
                  </a:lnTo>
                  <a:lnTo>
                    <a:pt x="126" y="14"/>
                  </a:lnTo>
                  <a:lnTo>
                    <a:pt x="128" y="14"/>
                  </a:lnTo>
                  <a:lnTo>
                    <a:pt x="131" y="14"/>
                  </a:lnTo>
                  <a:lnTo>
                    <a:pt x="133" y="14"/>
                  </a:lnTo>
                  <a:lnTo>
                    <a:pt x="136" y="14"/>
                  </a:lnTo>
                  <a:lnTo>
                    <a:pt x="138" y="14"/>
                  </a:lnTo>
                  <a:lnTo>
                    <a:pt x="140" y="14"/>
                  </a:lnTo>
                  <a:lnTo>
                    <a:pt x="143" y="14"/>
                  </a:lnTo>
                  <a:lnTo>
                    <a:pt x="143" y="16"/>
                  </a:lnTo>
                  <a:lnTo>
                    <a:pt x="145" y="16"/>
                  </a:lnTo>
                  <a:lnTo>
                    <a:pt x="147" y="14"/>
                  </a:lnTo>
                  <a:lnTo>
                    <a:pt x="147" y="16"/>
                  </a:lnTo>
                  <a:lnTo>
                    <a:pt x="150" y="14"/>
                  </a:lnTo>
                  <a:lnTo>
                    <a:pt x="152" y="14"/>
                  </a:lnTo>
                  <a:lnTo>
                    <a:pt x="152" y="12"/>
                  </a:lnTo>
                  <a:lnTo>
                    <a:pt x="155" y="12"/>
                  </a:lnTo>
                  <a:lnTo>
                    <a:pt x="155" y="14"/>
                  </a:lnTo>
                  <a:lnTo>
                    <a:pt x="157" y="14"/>
                  </a:lnTo>
                  <a:lnTo>
                    <a:pt x="157" y="16"/>
                  </a:lnTo>
                  <a:lnTo>
                    <a:pt x="159" y="16"/>
                  </a:lnTo>
                  <a:lnTo>
                    <a:pt x="157" y="16"/>
                  </a:lnTo>
                  <a:lnTo>
                    <a:pt x="159" y="16"/>
                  </a:lnTo>
                  <a:lnTo>
                    <a:pt x="157" y="16"/>
                  </a:lnTo>
                  <a:lnTo>
                    <a:pt x="159" y="16"/>
                  </a:lnTo>
                  <a:lnTo>
                    <a:pt x="159" y="19"/>
                  </a:lnTo>
                  <a:lnTo>
                    <a:pt x="157" y="19"/>
                  </a:lnTo>
                  <a:lnTo>
                    <a:pt x="157" y="21"/>
                  </a:lnTo>
                  <a:lnTo>
                    <a:pt x="155" y="21"/>
                  </a:lnTo>
                  <a:lnTo>
                    <a:pt x="152" y="21"/>
                  </a:lnTo>
                  <a:lnTo>
                    <a:pt x="150" y="21"/>
                  </a:lnTo>
                  <a:lnTo>
                    <a:pt x="150" y="23"/>
                  </a:lnTo>
                  <a:lnTo>
                    <a:pt x="147" y="23"/>
                  </a:lnTo>
                  <a:lnTo>
                    <a:pt x="147" y="26"/>
                  </a:lnTo>
                  <a:lnTo>
                    <a:pt x="147" y="28"/>
                  </a:lnTo>
                  <a:lnTo>
                    <a:pt x="145" y="28"/>
                  </a:lnTo>
                  <a:lnTo>
                    <a:pt x="145" y="31"/>
                  </a:lnTo>
                  <a:lnTo>
                    <a:pt x="145" y="33"/>
                  </a:lnTo>
                  <a:lnTo>
                    <a:pt x="143" y="33"/>
                  </a:lnTo>
                  <a:lnTo>
                    <a:pt x="143" y="35"/>
                  </a:lnTo>
                  <a:lnTo>
                    <a:pt x="143" y="38"/>
                  </a:lnTo>
                  <a:lnTo>
                    <a:pt x="136" y="42"/>
                  </a:lnTo>
                  <a:lnTo>
                    <a:pt x="133" y="45"/>
                  </a:lnTo>
                  <a:lnTo>
                    <a:pt x="131" y="47"/>
                  </a:lnTo>
                  <a:lnTo>
                    <a:pt x="131" y="52"/>
                  </a:lnTo>
                  <a:lnTo>
                    <a:pt x="133" y="57"/>
                  </a:lnTo>
                  <a:lnTo>
                    <a:pt x="136" y="64"/>
                  </a:lnTo>
                  <a:lnTo>
                    <a:pt x="136" y="69"/>
                  </a:lnTo>
                  <a:lnTo>
                    <a:pt x="136" y="71"/>
                  </a:lnTo>
                  <a:lnTo>
                    <a:pt x="136" y="73"/>
                  </a:lnTo>
                  <a:lnTo>
                    <a:pt x="136" y="78"/>
                  </a:lnTo>
                  <a:lnTo>
                    <a:pt x="138" y="83"/>
                  </a:lnTo>
                  <a:lnTo>
                    <a:pt x="140" y="83"/>
                  </a:lnTo>
                  <a:lnTo>
                    <a:pt x="138" y="85"/>
                  </a:lnTo>
                  <a:lnTo>
                    <a:pt x="138" y="88"/>
                  </a:lnTo>
                  <a:lnTo>
                    <a:pt x="140" y="88"/>
                  </a:lnTo>
                  <a:lnTo>
                    <a:pt x="140" y="90"/>
                  </a:lnTo>
                  <a:lnTo>
                    <a:pt x="140" y="88"/>
                  </a:lnTo>
                  <a:lnTo>
                    <a:pt x="140" y="90"/>
                  </a:lnTo>
                  <a:lnTo>
                    <a:pt x="140" y="92"/>
                  </a:lnTo>
                  <a:lnTo>
                    <a:pt x="143" y="92"/>
                  </a:lnTo>
                  <a:lnTo>
                    <a:pt x="143" y="95"/>
                  </a:lnTo>
                  <a:lnTo>
                    <a:pt x="145" y="95"/>
                  </a:lnTo>
                  <a:lnTo>
                    <a:pt x="145" y="97"/>
                  </a:lnTo>
                  <a:lnTo>
                    <a:pt x="143" y="97"/>
                  </a:lnTo>
                  <a:lnTo>
                    <a:pt x="140" y="97"/>
                  </a:lnTo>
                  <a:lnTo>
                    <a:pt x="138" y="97"/>
                  </a:lnTo>
                  <a:lnTo>
                    <a:pt x="136" y="97"/>
                  </a:lnTo>
                  <a:lnTo>
                    <a:pt x="136" y="100"/>
                  </a:lnTo>
                  <a:lnTo>
                    <a:pt x="136" y="102"/>
                  </a:lnTo>
                  <a:lnTo>
                    <a:pt x="136" y="104"/>
                  </a:lnTo>
                  <a:lnTo>
                    <a:pt x="133" y="104"/>
                  </a:lnTo>
                  <a:lnTo>
                    <a:pt x="131" y="104"/>
                  </a:lnTo>
                  <a:lnTo>
                    <a:pt x="131" y="107"/>
                  </a:lnTo>
                  <a:lnTo>
                    <a:pt x="131" y="109"/>
                  </a:lnTo>
                  <a:lnTo>
                    <a:pt x="128" y="111"/>
                  </a:lnTo>
                  <a:lnTo>
                    <a:pt x="131" y="114"/>
                  </a:lnTo>
                  <a:lnTo>
                    <a:pt x="128" y="114"/>
                  </a:lnTo>
                  <a:lnTo>
                    <a:pt x="126" y="111"/>
                  </a:lnTo>
                  <a:lnTo>
                    <a:pt x="124" y="111"/>
                  </a:lnTo>
                  <a:lnTo>
                    <a:pt x="121" y="111"/>
                  </a:lnTo>
                  <a:lnTo>
                    <a:pt x="119" y="111"/>
                  </a:lnTo>
                  <a:lnTo>
                    <a:pt x="119" y="109"/>
                  </a:lnTo>
                  <a:lnTo>
                    <a:pt x="117" y="109"/>
                  </a:lnTo>
                  <a:lnTo>
                    <a:pt x="117" y="107"/>
                  </a:lnTo>
                  <a:lnTo>
                    <a:pt x="114" y="109"/>
                  </a:lnTo>
                  <a:lnTo>
                    <a:pt x="112" y="111"/>
                  </a:lnTo>
                  <a:lnTo>
                    <a:pt x="109" y="111"/>
                  </a:lnTo>
                  <a:lnTo>
                    <a:pt x="112" y="111"/>
                  </a:lnTo>
                  <a:lnTo>
                    <a:pt x="109" y="111"/>
                  </a:lnTo>
                  <a:lnTo>
                    <a:pt x="107" y="111"/>
                  </a:lnTo>
                  <a:lnTo>
                    <a:pt x="107" y="114"/>
                  </a:lnTo>
                  <a:lnTo>
                    <a:pt x="105" y="114"/>
                  </a:lnTo>
                  <a:lnTo>
                    <a:pt x="102" y="114"/>
                  </a:lnTo>
                  <a:lnTo>
                    <a:pt x="102" y="111"/>
                  </a:lnTo>
                  <a:lnTo>
                    <a:pt x="100" y="111"/>
                  </a:lnTo>
                  <a:lnTo>
                    <a:pt x="98" y="111"/>
                  </a:lnTo>
                  <a:lnTo>
                    <a:pt x="95" y="111"/>
                  </a:lnTo>
                  <a:lnTo>
                    <a:pt x="95" y="109"/>
                  </a:lnTo>
                  <a:lnTo>
                    <a:pt x="95" y="111"/>
                  </a:lnTo>
                  <a:lnTo>
                    <a:pt x="95" y="109"/>
                  </a:lnTo>
                  <a:lnTo>
                    <a:pt x="93" y="109"/>
                  </a:lnTo>
                  <a:lnTo>
                    <a:pt x="93" y="107"/>
                  </a:lnTo>
                  <a:lnTo>
                    <a:pt x="93" y="104"/>
                  </a:lnTo>
                  <a:lnTo>
                    <a:pt x="90" y="104"/>
                  </a:lnTo>
                  <a:lnTo>
                    <a:pt x="93" y="104"/>
                  </a:lnTo>
                  <a:lnTo>
                    <a:pt x="90" y="104"/>
                  </a:lnTo>
                  <a:lnTo>
                    <a:pt x="90" y="102"/>
                  </a:lnTo>
                  <a:lnTo>
                    <a:pt x="88" y="102"/>
                  </a:lnTo>
                  <a:lnTo>
                    <a:pt x="86" y="102"/>
                  </a:lnTo>
                  <a:lnTo>
                    <a:pt x="86" y="100"/>
                  </a:lnTo>
                  <a:lnTo>
                    <a:pt x="88" y="97"/>
                  </a:lnTo>
                  <a:lnTo>
                    <a:pt x="86" y="97"/>
                  </a:lnTo>
                  <a:lnTo>
                    <a:pt x="83" y="97"/>
                  </a:lnTo>
                  <a:lnTo>
                    <a:pt x="81" y="97"/>
                  </a:lnTo>
                  <a:lnTo>
                    <a:pt x="81" y="95"/>
                  </a:lnTo>
                  <a:lnTo>
                    <a:pt x="81" y="97"/>
                  </a:lnTo>
                  <a:lnTo>
                    <a:pt x="79" y="97"/>
                  </a:lnTo>
                  <a:lnTo>
                    <a:pt x="79" y="95"/>
                  </a:lnTo>
                  <a:lnTo>
                    <a:pt x="76" y="92"/>
                  </a:lnTo>
                  <a:lnTo>
                    <a:pt x="76" y="95"/>
                  </a:lnTo>
                  <a:lnTo>
                    <a:pt x="74" y="92"/>
                  </a:lnTo>
                  <a:lnTo>
                    <a:pt x="72" y="92"/>
                  </a:lnTo>
                  <a:lnTo>
                    <a:pt x="72" y="90"/>
                  </a:lnTo>
                  <a:lnTo>
                    <a:pt x="69" y="90"/>
                  </a:lnTo>
                  <a:lnTo>
                    <a:pt x="67" y="90"/>
                  </a:lnTo>
                  <a:lnTo>
                    <a:pt x="67" y="88"/>
                  </a:lnTo>
                  <a:lnTo>
                    <a:pt x="64" y="88"/>
                  </a:lnTo>
                  <a:lnTo>
                    <a:pt x="64" y="85"/>
                  </a:lnTo>
                  <a:lnTo>
                    <a:pt x="62" y="85"/>
                  </a:lnTo>
                  <a:lnTo>
                    <a:pt x="62" y="88"/>
                  </a:lnTo>
                  <a:lnTo>
                    <a:pt x="62" y="90"/>
                  </a:lnTo>
                  <a:lnTo>
                    <a:pt x="60" y="88"/>
                  </a:lnTo>
                  <a:lnTo>
                    <a:pt x="60" y="85"/>
                  </a:lnTo>
                  <a:lnTo>
                    <a:pt x="57" y="85"/>
                  </a:lnTo>
                  <a:lnTo>
                    <a:pt x="55" y="85"/>
                  </a:lnTo>
                  <a:lnTo>
                    <a:pt x="53" y="88"/>
                  </a:lnTo>
                  <a:lnTo>
                    <a:pt x="50" y="88"/>
                  </a:lnTo>
                  <a:lnTo>
                    <a:pt x="48" y="90"/>
                  </a:lnTo>
                  <a:lnTo>
                    <a:pt x="45" y="90"/>
                  </a:lnTo>
                  <a:lnTo>
                    <a:pt x="43" y="90"/>
                  </a:lnTo>
                  <a:lnTo>
                    <a:pt x="43" y="92"/>
                  </a:lnTo>
                  <a:lnTo>
                    <a:pt x="41" y="90"/>
                  </a:lnTo>
                  <a:lnTo>
                    <a:pt x="41" y="92"/>
                  </a:lnTo>
                  <a:lnTo>
                    <a:pt x="38" y="92"/>
                  </a:lnTo>
                  <a:lnTo>
                    <a:pt x="38" y="90"/>
                  </a:lnTo>
                  <a:lnTo>
                    <a:pt x="38" y="92"/>
                  </a:lnTo>
                  <a:lnTo>
                    <a:pt x="36" y="92"/>
                  </a:lnTo>
                  <a:lnTo>
                    <a:pt x="34" y="92"/>
                  </a:lnTo>
                  <a:lnTo>
                    <a:pt x="34" y="95"/>
                  </a:lnTo>
                  <a:lnTo>
                    <a:pt x="31" y="95"/>
                  </a:lnTo>
                  <a:lnTo>
                    <a:pt x="31" y="92"/>
                  </a:lnTo>
                  <a:lnTo>
                    <a:pt x="34" y="90"/>
                  </a:lnTo>
                  <a:lnTo>
                    <a:pt x="34" y="88"/>
                  </a:lnTo>
                  <a:lnTo>
                    <a:pt x="36" y="85"/>
                  </a:lnTo>
                  <a:lnTo>
                    <a:pt x="36" y="83"/>
                  </a:lnTo>
                  <a:lnTo>
                    <a:pt x="34" y="83"/>
                  </a:lnTo>
                  <a:lnTo>
                    <a:pt x="36" y="83"/>
                  </a:lnTo>
                  <a:lnTo>
                    <a:pt x="36" y="80"/>
                  </a:lnTo>
                  <a:lnTo>
                    <a:pt x="34" y="80"/>
                  </a:lnTo>
                  <a:lnTo>
                    <a:pt x="34" y="78"/>
                  </a:lnTo>
                  <a:lnTo>
                    <a:pt x="36" y="78"/>
                  </a:lnTo>
                  <a:lnTo>
                    <a:pt x="34" y="78"/>
                  </a:lnTo>
                  <a:lnTo>
                    <a:pt x="36" y="78"/>
                  </a:lnTo>
                  <a:lnTo>
                    <a:pt x="36" y="76"/>
                  </a:lnTo>
                  <a:lnTo>
                    <a:pt x="38" y="73"/>
                  </a:lnTo>
                  <a:lnTo>
                    <a:pt x="38" y="71"/>
                  </a:lnTo>
                  <a:lnTo>
                    <a:pt x="36" y="69"/>
                  </a:lnTo>
                  <a:lnTo>
                    <a:pt x="38" y="69"/>
                  </a:lnTo>
                  <a:lnTo>
                    <a:pt x="38" y="71"/>
                  </a:lnTo>
                  <a:lnTo>
                    <a:pt x="38" y="69"/>
                  </a:lnTo>
                  <a:lnTo>
                    <a:pt x="41" y="69"/>
                  </a:lnTo>
                  <a:lnTo>
                    <a:pt x="38" y="69"/>
                  </a:lnTo>
                  <a:lnTo>
                    <a:pt x="36" y="69"/>
                  </a:lnTo>
                  <a:lnTo>
                    <a:pt x="34" y="69"/>
                  </a:lnTo>
                  <a:lnTo>
                    <a:pt x="31" y="69"/>
                  </a:lnTo>
                  <a:lnTo>
                    <a:pt x="29" y="69"/>
                  </a:lnTo>
                  <a:lnTo>
                    <a:pt x="29" y="71"/>
                  </a:lnTo>
                  <a:lnTo>
                    <a:pt x="29" y="73"/>
                  </a:lnTo>
                  <a:lnTo>
                    <a:pt x="26" y="73"/>
                  </a:lnTo>
                  <a:lnTo>
                    <a:pt x="26" y="76"/>
                  </a:lnTo>
                  <a:lnTo>
                    <a:pt x="24" y="76"/>
                  </a:lnTo>
                  <a:lnTo>
                    <a:pt x="22" y="76"/>
                  </a:lnTo>
                  <a:lnTo>
                    <a:pt x="22" y="73"/>
                  </a:lnTo>
                  <a:lnTo>
                    <a:pt x="19" y="73"/>
                  </a:lnTo>
                  <a:lnTo>
                    <a:pt x="19" y="71"/>
                  </a:lnTo>
                  <a:lnTo>
                    <a:pt x="19" y="73"/>
                  </a:lnTo>
                  <a:lnTo>
                    <a:pt x="17" y="71"/>
                  </a:lnTo>
                  <a:lnTo>
                    <a:pt x="17" y="73"/>
                  </a:lnTo>
                  <a:lnTo>
                    <a:pt x="15" y="71"/>
                  </a:lnTo>
                  <a:lnTo>
                    <a:pt x="12" y="71"/>
                  </a:lnTo>
                  <a:lnTo>
                    <a:pt x="10" y="71"/>
                  </a:lnTo>
                  <a:lnTo>
                    <a:pt x="12" y="71"/>
                  </a:lnTo>
                  <a:lnTo>
                    <a:pt x="10" y="71"/>
                  </a:lnTo>
                  <a:lnTo>
                    <a:pt x="10" y="69"/>
                  </a:lnTo>
                  <a:lnTo>
                    <a:pt x="10" y="66"/>
                  </a:lnTo>
                  <a:lnTo>
                    <a:pt x="10" y="64"/>
                  </a:lnTo>
                  <a:lnTo>
                    <a:pt x="10" y="61"/>
                  </a:lnTo>
                  <a:lnTo>
                    <a:pt x="7" y="61"/>
                  </a:lnTo>
                  <a:lnTo>
                    <a:pt x="10" y="61"/>
                  </a:lnTo>
                  <a:lnTo>
                    <a:pt x="7" y="61"/>
                  </a:lnTo>
                  <a:lnTo>
                    <a:pt x="5" y="59"/>
                  </a:lnTo>
                  <a:lnTo>
                    <a:pt x="3" y="59"/>
                  </a:lnTo>
                  <a:lnTo>
                    <a:pt x="3" y="57"/>
                  </a:lnTo>
                  <a:lnTo>
                    <a:pt x="5" y="57"/>
                  </a:lnTo>
                  <a:lnTo>
                    <a:pt x="5" y="59"/>
                  </a:lnTo>
                  <a:lnTo>
                    <a:pt x="5" y="57"/>
                  </a:lnTo>
                  <a:lnTo>
                    <a:pt x="3" y="57"/>
                  </a:lnTo>
                  <a:lnTo>
                    <a:pt x="3" y="54"/>
                  </a:lnTo>
                  <a:lnTo>
                    <a:pt x="3" y="52"/>
                  </a:lnTo>
                  <a:lnTo>
                    <a:pt x="5" y="52"/>
                  </a:lnTo>
                  <a:lnTo>
                    <a:pt x="3" y="52"/>
                  </a:lnTo>
                  <a:lnTo>
                    <a:pt x="5" y="50"/>
                  </a:lnTo>
                  <a:lnTo>
                    <a:pt x="3" y="50"/>
                  </a:lnTo>
                  <a:lnTo>
                    <a:pt x="5" y="50"/>
                  </a:lnTo>
                  <a:lnTo>
                    <a:pt x="7" y="50"/>
                  </a:lnTo>
                  <a:lnTo>
                    <a:pt x="10" y="50"/>
                  </a:lnTo>
                  <a:lnTo>
                    <a:pt x="10" y="47"/>
                  </a:lnTo>
                  <a:lnTo>
                    <a:pt x="7" y="47"/>
                  </a:lnTo>
                  <a:lnTo>
                    <a:pt x="5" y="47"/>
                  </a:lnTo>
                  <a:lnTo>
                    <a:pt x="5" y="50"/>
                  </a:lnTo>
                  <a:lnTo>
                    <a:pt x="5" y="47"/>
                  </a:lnTo>
                  <a:lnTo>
                    <a:pt x="3" y="47"/>
                  </a:lnTo>
                  <a:lnTo>
                    <a:pt x="3" y="50"/>
                  </a:lnTo>
                  <a:lnTo>
                    <a:pt x="3" y="47"/>
                  </a:lnTo>
                  <a:lnTo>
                    <a:pt x="3" y="50"/>
                  </a:lnTo>
                  <a:lnTo>
                    <a:pt x="0" y="50"/>
                  </a:lnTo>
                  <a:lnTo>
                    <a:pt x="3" y="47"/>
                  </a:lnTo>
                  <a:lnTo>
                    <a:pt x="0" y="47"/>
                  </a:lnTo>
                  <a:lnTo>
                    <a:pt x="3" y="47"/>
                  </a:lnTo>
                  <a:lnTo>
                    <a:pt x="3" y="45"/>
                  </a:lnTo>
                  <a:lnTo>
                    <a:pt x="3" y="47"/>
                  </a:lnTo>
                  <a:lnTo>
                    <a:pt x="5" y="47"/>
                  </a:lnTo>
                  <a:lnTo>
                    <a:pt x="3" y="45"/>
                  </a:lnTo>
                  <a:lnTo>
                    <a:pt x="3" y="42"/>
                  </a:lnTo>
                  <a:lnTo>
                    <a:pt x="0" y="42"/>
                  </a:lnTo>
                  <a:lnTo>
                    <a:pt x="0" y="40"/>
                  </a:lnTo>
                  <a:lnTo>
                    <a:pt x="3" y="40"/>
                  </a:lnTo>
                  <a:lnTo>
                    <a:pt x="5" y="40"/>
                  </a:lnTo>
                  <a:lnTo>
                    <a:pt x="3" y="38"/>
                  </a:lnTo>
                  <a:lnTo>
                    <a:pt x="3" y="40"/>
                  </a:lnTo>
                  <a:lnTo>
                    <a:pt x="3" y="38"/>
                  </a:lnTo>
                  <a:lnTo>
                    <a:pt x="5" y="40"/>
                  </a:lnTo>
                  <a:lnTo>
                    <a:pt x="5" y="38"/>
                  </a:lnTo>
                  <a:lnTo>
                    <a:pt x="7" y="38"/>
                  </a:lnTo>
                  <a:lnTo>
                    <a:pt x="7" y="35"/>
                  </a:lnTo>
                  <a:lnTo>
                    <a:pt x="7" y="38"/>
                  </a:lnTo>
                  <a:lnTo>
                    <a:pt x="5" y="35"/>
                  </a:lnTo>
                  <a:lnTo>
                    <a:pt x="5" y="38"/>
                  </a:lnTo>
                  <a:lnTo>
                    <a:pt x="5" y="35"/>
                  </a:lnTo>
                  <a:lnTo>
                    <a:pt x="5" y="38"/>
                  </a:lnTo>
                  <a:lnTo>
                    <a:pt x="3" y="38"/>
                  </a:lnTo>
                  <a:lnTo>
                    <a:pt x="0" y="38"/>
                  </a:lnTo>
                  <a:lnTo>
                    <a:pt x="0" y="35"/>
                  </a:lnTo>
                  <a:lnTo>
                    <a:pt x="0" y="33"/>
                  </a:lnTo>
                  <a:lnTo>
                    <a:pt x="3" y="33"/>
                  </a:lnTo>
                  <a:lnTo>
                    <a:pt x="3" y="31"/>
                  </a:lnTo>
                  <a:lnTo>
                    <a:pt x="5" y="31"/>
                  </a:lnTo>
                  <a:lnTo>
                    <a:pt x="3" y="31"/>
                  </a:lnTo>
                  <a:lnTo>
                    <a:pt x="3" y="28"/>
                  </a:lnTo>
                  <a:lnTo>
                    <a:pt x="3" y="26"/>
                  </a:lnTo>
                  <a:lnTo>
                    <a:pt x="3" y="23"/>
                  </a:lnTo>
                  <a:lnTo>
                    <a:pt x="5" y="26"/>
                  </a:lnTo>
                  <a:lnTo>
                    <a:pt x="7" y="23"/>
                  </a:lnTo>
                  <a:lnTo>
                    <a:pt x="10" y="23"/>
                  </a:lnTo>
                  <a:lnTo>
                    <a:pt x="10" y="21"/>
                  </a:lnTo>
                  <a:lnTo>
                    <a:pt x="12" y="21"/>
                  </a:lnTo>
                  <a:lnTo>
                    <a:pt x="15" y="21"/>
                  </a:lnTo>
                  <a:lnTo>
                    <a:pt x="17" y="21"/>
                  </a:lnTo>
                  <a:lnTo>
                    <a:pt x="19" y="21"/>
                  </a:lnTo>
                  <a:lnTo>
                    <a:pt x="22" y="21"/>
                  </a:lnTo>
                  <a:lnTo>
                    <a:pt x="24" y="21"/>
                  </a:lnTo>
                  <a:lnTo>
                    <a:pt x="22" y="21"/>
                  </a:lnTo>
                  <a:lnTo>
                    <a:pt x="24" y="21"/>
                  </a:lnTo>
                  <a:lnTo>
                    <a:pt x="24" y="19"/>
                  </a:lnTo>
                  <a:lnTo>
                    <a:pt x="22" y="19"/>
                  </a:lnTo>
                  <a:lnTo>
                    <a:pt x="22" y="16"/>
                  </a:lnTo>
                  <a:lnTo>
                    <a:pt x="24" y="16"/>
                  </a:lnTo>
                  <a:lnTo>
                    <a:pt x="24" y="19"/>
                  </a:lnTo>
                  <a:lnTo>
                    <a:pt x="26" y="19"/>
                  </a:lnTo>
                  <a:lnTo>
                    <a:pt x="26" y="16"/>
                  </a:lnTo>
                  <a:lnTo>
                    <a:pt x="24" y="16"/>
                  </a:lnTo>
                  <a:lnTo>
                    <a:pt x="26" y="16"/>
                  </a:lnTo>
                  <a:lnTo>
                    <a:pt x="26" y="14"/>
                  </a:lnTo>
                  <a:lnTo>
                    <a:pt x="26" y="16"/>
                  </a:lnTo>
                  <a:lnTo>
                    <a:pt x="29" y="16"/>
                  </a:lnTo>
                  <a:lnTo>
                    <a:pt x="29" y="14"/>
                  </a:lnTo>
                  <a:lnTo>
                    <a:pt x="31" y="14"/>
                  </a:lnTo>
                  <a:lnTo>
                    <a:pt x="31" y="12"/>
                  </a:lnTo>
                  <a:lnTo>
                    <a:pt x="34" y="12"/>
                  </a:lnTo>
                  <a:lnTo>
                    <a:pt x="36" y="12"/>
                  </a:lnTo>
                  <a:lnTo>
                    <a:pt x="36" y="14"/>
                  </a:lnTo>
                  <a:lnTo>
                    <a:pt x="38" y="14"/>
                  </a:lnTo>
                  <a:lnTo>
                    <a:pt x="38" y="12"/>
                  </a:lnTo>
                  <a:lnTo>
                    <a:pt x="41" y="14"/>
                  </a:lnTo>
                  <a:lnTo>
                    <a:pt x="43" y="12"/>
                  </a:lnTo>
                  <a:lnTo>
                    <a:pt x="41" y="12"/>
                  </a:lnTo>
                  <a:lnTo>
                    <a:pt x="43" y="12"/>
                  </a:lnTo>
                  <a:lnTo>
                    <a:pt x="43" y="14"/>
                  </a:lnTo>
                  <a:lnTo>
                    <a:pt x="45" y="12"/>
                  </a:lnTo>
                  <a:lnTo>
                    <a:pt x="45" y="14"/>
                  </a:lnTo>
                  <a:lnTo>
                    <a:pt x="45" y="12"/>
                  </a:lnTo>
                  <a:lnTo>
                    <a:pt x="45" y="14"/>
                  </a:lnTo>
                  <a:lnTo>
                    <a:pt x="45" y="12"/>
                  </a:lnTo>
                  <a:lnTo>
                    <a:pt x="48" y="12"/>
                  </a:lnTo>
                  <a:lnTo>
                    <a:pt x="45" y="9"/>
                  </a:lnTo>
                  <a:lnTo>
                    <a:pt x="45" y="7"/>
                  </a:lnTo>
                  <a:lnTo>
                    <a:pt x="48" y="7"/>
                  </a:lnTo>
                  <a:lnTo>
                    <a:pt x="48" y="9"/>
                  </a:lnTo>
                  <a:lnTo>
                    <a:pt x="50" y="9"/>
                  </a:lnTo>
                  <a:lnTo>
                    <a:pt x="50" y="12"/>
                  </a:lnTo>
                  <a:lnTo>
                    <a:pt x="53" y="12"/>
                  </a:lnTo>
                  <a:lnTo>
                    <a:pt x="53" y="9"/>
                  </a:lnTo>
                  <a:lnTo>
                    <a:pt x="55" y="9"/>
                  </a:lnTo>
                  <a:lnTo>
                    <a:pt x="55" y="12"/>
                  </a:lnTo>
                  <a:lnTo>
                    <a:pt x="57" y="12"/>
                  </a:lnTo>
                  <a:lnTo>
                    <a:pt x="57" y="9"/>
                  </a:lnTo>
                  <a:lnTo>
                    <a:pt x="57" y="7"/>
                  </a:lnTo>
                  <a:lnTo>
                    <a:pt x="57" y="9"/>
                  </a:lnTo>
                  <a:lnTo>
                    <a:pt x="60" y="9"/>
                  </a:lnTo>
                  <a:lnTo>
                    <a:pt x="62" y="9"/>
                  </a:lnTo>
                  <a:lnTo>
                    <a:pt x="64" y="9"/>
                  </a:lnTo>
                  <a:lnTo>
                    <a:pt x="64" y="12"/>
                  </a:lnTo>
                  <a:lnTo>
                    <a:pt x="67" y="12"/>
                  </a:lnTo>
                  <a:lnTo>
                    <a:pt x="67" y="9"/>
                  </a:lnTo>
                  <a:lnTo>
                    <a:pt x="69" y="9"/>
                  </a:lnTo>
                  <a:lnTo>
                    <a:pt x="72" y="9"/>
                  </a:lnTo>
                  <a:lnTo>
                    <a:pt x="72" y="7"/>
                  </a:lnTo>
                  <a:lnTo>
                    <a:pt x="69" y="7"/>
                  </a:lnTo>
                  <a:lnTo>
                    <a:pt x="69" y="4"/>
                  </a:lnTo>
                  <a:lnTo>
                    <a:pt x="69" y="2"/>
                  </a:lnTo>
                  <a:lnTo>
                    <a:pt x="69" y="4"/>
                  </a:lnTo>
                  <a:lnTo>
                    <a:pt x="72" y="4"/>
                  </a:lnTo>
                  <a:lnTo>
                    <a:pt x="74" y="4"/>
                  </a:lnTo>
                  <a:lnTo>
                    <a:pt x="72" y="4"/>
                  </a:lnTo>
                  <a:lnTo>
                    <a:pt x="74" y="7"/>
                  </a:lnTo>
                  <a:lnTo>
                    <a:pt x="76" y="7"/>
                  </a:lnTo>
                  <a:lnTo>
                    <a:pt x="76" y="4"/>
                  </a:lnTo>
                  <a:lnTo>
                    <a:pt x="74" y="4"/>
                  </a:lnTo>
                  <a:lnTo>
                    <a:pt x="74" y="2"/>
                  </a:lnTo>
                  <a:lnTo>
                    <a:pt x="76" y="2"/>
                  </a:lnTo>
                  <a:lnTo>
                    <a:pt x="74" y="2"/>
                  </a:lnTo>
                  <a:lnTo>
                    <a:pt x="76" y="2"/>
                  </a:lnTo>
                  <a:lnTo>
                    <a:pt x="76" y="0"/>
                  </a:lnTo>
                  <a:lnTo>
                    <a:pt x="7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0" name="Freeform 50293"/>
            <p:cNvSpPr>
              <a:spLocks noEditPoints="1"/>
            </p:cNvSpPr>
            <p:nvPr/>
          </p:nvSpPr>
          <p:spPr bwMode="auto">
            <a:xfrm>
              <a:off x="3167061" y="3921139"/>
              <a:ext cx="211138" cy="158750"/>
            </a:xfrm>
            <a:custGeom>
              <a:avLst/>
              <a:gdLst>
                <a:gd name="T0" fmla="*/ 47 w 133"/>
                <a:gd name="T1" fmla="*/ 97 h 100"/>
                <a:gd name="T2" fmla="*/ 26 w 133"/>
                <a:gd name="T3" fmla="*/ 80 h 100"/>
                <a:gd name="T4" fmla="*/ 23 w 133"/>
                <a:gd name="T5" fmla="*/ 80 h 100"/>
                <a:gd name="T6" fmla="*/ 73 w 133"/>
                <a:gd name="T7" fmla="*/ 80 h 100"/>
                <a:gd name="T8" fmla="*/ 73 w 133"/>
                <a:gd name="T9" fmla="*/ 80 h 100"/>
                <a:gd name="T10" fmla="*/ 71 w 133"/>
                <a:gd name="T11" fmla="*/ 80 h 100"/>
                <a:gd name="T12" fmla="*/ 26 w 133"/>
                <a:gd name="T13" fmla="*/ 80 h 100"/>
                <a:gd name="T14" fmla="*/ 23 w 133"/>
                <a:gd name="T15" fmla="*/ 83 h 100"/>
                <a:gd name="T16" fmla="*/ 28 w 133"/>
                <a:gd name="T17" fmla="*/ 78 h 100"/>
                <a:gd name="T18" fmla="*/ 76 w 133"/>
                <a:gd name="T19" fmla="*/ 78 h 100"/>
                <a:gd name="T20" fmla="*/ 78 w 133"/>
                <a:gd name="T21" fmla="*/ 78 h 100"/>
                <a:gd name="T22" fmla="*/ 0 w 133"/>
                <a:gd name="T23" fmla="*/ 73 h 100"/>
                <a:gd name="T24" fmla="*/ 0 w 133"/>
                <a:gd name="T25" fmla="*/ 71 h 100"/>
                <a:gd name="T26" fmla="*/ 5 w 133"/>
                <a:gd name="T27" fmla="*/ 71 h 100"/>
                <a:gd name="T28" fmla="*/ 5 w 133"/>
                <a:gd name="T29" fmla="*/ 69 h 100"/>
                <a:gd name="T30" fmla="*/ 54 w 133"/>
                <a:gd name="T31" fmla="*/ 61 h 100"/>
                <a:gd name="T32" fmla="*/ 54 w 133"/>
                <a:gd name="T33" fmla="*/ 54 h 100"/>
                <a:gd name="T34" fmla="*/ 40 w 133"/>
                <a:gd name="T35" fmla="*/ 54 h 100"/>
                <a:gd name="T36" fmla="*/ 40 w 133"/>
                <a:gd name="T37" fmla="*/ 57 h 100"/>
                <a:gd name="T38" fmla="*/ 61 w 133"/>
                <a:gd name="T39" fmla="*/ 50 h 100"/>
                <a:gd name="T40" fmla="*/ 64 w 133"/>
                <a:gd name="T41" fmla="*/ 50 h 100"/>
                <a:gd name="T42" fmla="*/ 42 w 133"/>
                <a:gd name="T43" fmla="*/ 47 h 100"/>
                <a:gd name="T44" fmla="*/ 38 w 133"/>
                <a:gd name="T45" fmla="*/ 47 h 100"/>
                <a:gd name="T46" fmla="*/ 40 w 133"/>
                <a:gd name="T47" fmla="*/ 47 h 100"/>
                <a:gd name="T48" fmla="*/ 42 w 133"/>
                <a:gd name="T49" fmla="*/ 47 h 100"/>
                <a:gd name="T50" fmla="*/ 54 w 133"/>
                <a:gd name="T51" fmla="*/ 45 h 100"/>
                <a:gd name="T52" fmla="*/ 54 w 133"/>
                <a:gd name="T53" fmla="*/ 45 h 100"/>
                <a:gd name="T54" fmla="*/ 42 w 133"/>
                <a:gd name="T55" fmla="*/ 42 h 100"/>
                <a:gd name="T56" fmla="*/ 42 w 133"/>
                <a:gd name="T57" fmla="*/ 42 h 100"/>
                <a:gd name="T58" fmla="*/ 52 w 133"/>
                <a:gd name="T59" fmla="*/ 40 h 100"/>
                <a:gd name="T60" fmla="*/ 54 w 133"/>
                <a:gd name="T61" fmla="*/ 40 h 100"/>
                <a:gd name="T62" fmla="*/ 50 w 133"/>
                <a:gd name="T63" fmla="*/ 33 h 100"/>
                <a:gd name="T64" fmla="*/ 47 w 133"/>
                <a:gd name="T65" fmla="*/ 35 h 100"/>
                <a:gd name="T66" fmla="*/ 54 w 133"/>
                <a:gd name="T67" fmla="*/ 38 h 100"/>
                <a:gd name="T68" fmla="*/ 47 w 133"/>
                <a:gd name="T69" fmla="*/ 38 h 100"/>
                <a:gd name="T70" fmla="*/ 45 w 133"/>
                <a:gd name="T71" fmla="*/ 33 h 100"/>
                <a:gd name="T72" fmla="*/ 52 w 133"/>
                <a:gd name="T73" fmla="*/ 21 h 100"/>
                <a:gd name="T74" fmla="*/ 71 w 133"/>
                <a:gd name="T75" fmla="*/ 21 h 100"/>
                <a:gd name="T76" fmla="*/ 71 w 133"/>
                <a:gd name="T77" fmla="*/ 19 h 100"/>
                <a:gd name="T78" fmla="*/ 71 w 133"/>
                <a:gd name="T79" fmla="*/ 16 h 100"/>
                <a:gd name="T80" fmla="*/ 99 w 133"/>
                <a:gd name="T81" fmla="*/ 4 h 100"/>
                <a:gd name="T82" fmla="*/ 97 w 133"/>
                <a:gd name="T83" fmla="*/ 4 h 100"/>
                <a:gd name="T84" fmla="*/ 92 w 133"/>
                <a:gd name="T85" fmla="*/ 9 h 100"/>
                <a:gd name="T86" fmla="*/ 90 w 133"/>
                <a:gd name="T87" fmla="*/ 4 h 100"/>
                <a:gd name="T88" fmla="*/ 107 w 133"/>
                <a:gd name="T89" fmla="*/ 4 h 100"/>
                <a:gd name="T90" fmla="*/ 107 w 133"/>
                <a:gd name="T91" fmla="*/ 2 h 100"/>
                <a:gd name="T92" fmla="*/ 104 w 133"/>
                <a:gd name="T93" fmla="*/ 2 h 100"/>
                <a:gd name="T94" fmla="*/ 133 w 133"/>
                <a:gd name="T95"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100">
                  <a:moveTo>
                    <a:pt x="50" y="100"/>
                  </a:moveTo>
                  <a:lnTo>
                    <a:pt x="47" y="100"/>
                  </a:lnTo>
                  <a:lnTo>
                    <a:pt x="47" y="97"/>
                  </a:lnTo>
                  <a:lnTo>
                    <a:pt x="50" y="97"/>
                  </a:lnTo>
                  <a:lnTo>
                    <a:pt x="50" y="100"/>
                  </a:lnTo>
                  <a:close/>
                  <a:moveTo>
                    <a:pt x="26" y="80"/>
                  </a:moveTo>
                  <a:lnTo>
                    <a:pt x="26" y="83"/>
                  </a:lnTo>
                  <a:lnTo>
                    <a:pt x="26" y="80"/>
                  </a:lnTo>
                  <a:close/>
                  <a:moveTo>
                    <a:pt x="23" y="80"/>
                  </a:moveTo>
                  <a:lnTo>
                    <a:pt x="23" y="83"/>
                  </a:lnTo>
                  <a:lnTo>
                    <a:pt x="23" y="80"/>
                  </a:lnTo>
                  <a:close/>
                  <a:moveTo>
                    <a:pt x="73" y="80"/>
                  </a:moveTo>
                  <a:lnTo>
                    <a:pt x="73" y="83"/>
                  </a:lnTo>
                  <a:lnTo>
                    <a:pt x="71" y="83"/>
                  </a:lnTo>
                  <a:lnTo>
                    <a:pt x="73" y="80"/>
                  </a:lnTo>
                  <a:lnTo>
                    <a:pt x="71" y="80"/>
                  </a:lnTo>
                  <a:lnTo>
                    <a:pt x="73" y="80"/>
                  </a:lnTo>
                  <a:lnTo>
                    <a:pt x="71" y="80"/>
                  </a:lnTo>
                  <a:lnTo>
                    <a:pt x="73" y="80"/>
                  </a:lnTo>
                  <a:close/>
                  <a:moveTo>
                    <a:pt x="23" y="80"/>
                  </a:moveTo>
                  <a:lnTo>
                    <a:pt x="26" y="80"/>
                  </a:lnTo>
                  <a:lnTo>
                    <a:pt x="23" y="80"/>
                  </a:lnTo>
                  <a:lnTo>
                    <a:pt x="26" y="80"/>
                  </a:lnTo>
                  <a:lnTo>
                    <a:pt x="23" y="83"/>
                  </a:lnTo>
                  <a:lnTo>
                    <a:pt x="23" y="80"/>
                  </a:lnTo>
                  <a:close/>
                  <a:moveTo>
                    <a:pt x="26" y="78"/>
                  </a:moveTo>
                  <a:lnTo>
                    <a:pt x="28" y="78"/>
                  </a:lnTo>
                  <a:lnTo>
                    <a:pt x="26" y="78"/>
                  </a:lnTo>
                  <a:close/>
                  <a:moveTo>
                    <a:pt x="78" y="78"/>
                  </a:moveTo>
                  <a:lnTo>
                    <a:pt x="76" y="78"/>
                  </a:lnTo>
                  <a:lnTo>
                    <a:pt x="78" y="78"/>
                  </a:lnTo>
                  <a:lnTo>
                    <a:pt x="78" y="76"/>
                  </a:lnTo>
                  <a:lnTo>
                    <a:pt x="78" y="78"/>
                  </a:lnTo>
                  <a:close/>
                  <a:moveTo>
                    <a:pt x="0" y="73"/>
                  </a:moveTo>
                  <a:lnTo>
                    <a:pt x="0" y="71"/>
                  </a:lnTo>
                  <a:lnTo>
                    <a:pt x="0" y="73"/>
                  </a:lnTo>
                  <a:close/>
                  <a:moveTo>
                    <a:pt x="0" y="71"/>
                  </a:moveTo>
                  <a:lnTo>
                    <a:pt x="2" y="71"/>
                  </a:lnTo>
                  <a:lnTo>
                    <a:pt x="0" y="71"/>
                  </a:lnTo>
                  <a:close/>
                  <a:moveTo>
                    <a:pt x="5" y="71"/>
                  </a:moveTo>
                  <a:lnTo>
                    <a:pt x="5" y="69"/>
                  </a:lnTo>
                  <a:lnTo>
                    <a:pt x="5" y="71"/>
                  </a:lnTo>
                  <a:close/>
                  <a:moveTo>
                    <a:pt x="5" y="69"/>
                  </a:moveTo>
                  <a:lnTo>
                    <a:pt x="2" y="69"/>
                  </a:lnTo>
                  <a:lnTo>
                    <a:pt x="5" y="69"/>
                  </a:lnTo>
                  <a:lnTo>
                    <a:pt x="2" y="69"/>
                  </a:lnTo>
                  <a:lnTo>
                    <a:pt x="5" y="69"/>
                  </a:lnTo>
                  <a:close/>
                  <a:moveTo>
                    <a:pt x="54" y="61"/>
                  </a:moveTo>
                  <a:lnTo>
                    <a:pt x="54" y="59"/>
                  </a:lnTo>
                  <a:lnTo>
                    <a:pt x="54" y="61"/>
                  </a:lnTo>
                  <a:close/>
                  <a:moveTo>
                    <a:pt x="54" y="54"/>
                  </a:moveTo>
                  <a:lnTo>
                    <a:pt x="54" y="57"/>
                  </a:lnTo>
                  <a:lnTo>
                    <a:pt x="54" y="54"/>
                  </a:lnTo>
                  <a:close/>
                  <a:moveTo>
                    <a:pt x="40" y="54"/>
                  </a:moveTo>
                  <a:lnTo>
                    <a:pt x="42" y="54"/>
                  </a:lnTo>
                  <a:lnTo>
                    <a:pt x="42" y="57"/>
                  </a:lnTo>
                  <a:lnTo>
                    <a:pt x="40" y="57"/>
                  </a:lnTo>
                  <a:lnTo>
                    <a:pt x="40" y="54"/>
                  </a:lnTo>
                  <a:close/>
                  <a:moveTo>
                    <a:pt x="64" y="50"/>
                  </a:moveTo>
                  <a:lnTo>
                    <a:pt x="61" y="50"/>
                  </a:lnTo>
                  <a:lnTo>
                    <a:pt x="61" y="47"/>
                  </a:lnTo>
                  <a:lnTo>
                    <a:pt x="61" y="50"/>
                  </a:lnTo>
                  <a:lnTo>
                    <a:pt x="64" y="50"/>
                  </a:lnTo>
                  <a:close/>
                  <a:moveTo>
                    <a:pt x="42" y="47"/>
                  </a:moveTo>
                  <a:lnTo>
                    <a:pt x="42" y="50"/>
                  </a:lnTo>
                  <a:lnTo>
                    <a:pt x="42" y="47"/>
                  </a:lnTo>
                  <a:close/>
                  <a:moveTo>
                    <a:pt x="38" y="47"/>
                  </a:moveTo>
                  <a:lnTo>
                    <a:pt x="35" y="47"/>
                  </a:lnTo>
                  <a:lnTo>
                    <a:pt x="38" y="47"/>
                  </a:lnTo>
                  <a:close/>
                  <a:moveTo>
                    <a:pt x="40" y="47"/>
                  </a:moveTo>
                  <a:lnTo>
                    <a:pt x="40" y="45"/>
                  </a:lnTo>
                  <a:lnTo>
                    <a:pt x="40" y="47"/>
                  </a:lnTo>
                  <a:close/>
                  <a:moveTo>
                    <a:pt x="42" y="47"/>
                  </a:moveTo>
                  <a:lnTo>
                    <a:pt x="42" y="45"/>
                  </a:lnTo>
                  <a:lnTo>
                    <a:pt x="42" y="47"/>
                  </a:lnTo>
                  <a:close/>
                  <a:moveTo>
                    <a:pt x="57" y="47"/>
                  </a:moveTo>
                  <a:lnTo>
                    <a:pt x="54" y="47"/>
                  </a:lnTo>
                  <a:lnTo>
                    <a:pt x="54" y="45"/>
                  </a:lnTo>
                  <a:lnTo>
                    <a:pt x="57" y="45"/>
                  </a:lnTo>
                  <a:lnTo>
                    <a:pt x="57" y="47"/>
                  </a:lnTo>
                  <a:close/>
                  <a:moveTo>
                    <a:pt x="54" y="45"/>
                  </a:moveTo>
                  <a:lnTo>
                    <a:pt x="52" y="45"/>
                  </a:lnTo>
                  <a:lnTo>
                    <a:pt x="54" y="45"/>
                  </a:lnTo>
                  <a:close/>
                  <a:moveTo>
                    <a:pt x="42" y="42"/>
                  </a:moveTo>
                  <a:lnTo>
                    <a:pt x="40" y="40"/>
                  </a:lnTo>
                  <a:lnTo>
                    <a:pt x="42" y="40"/>
                  </a:lnTo>
                  <a:lnTo>
                    <a:pt x="42" y="42"/>
                  </a:lnTo>
                  <a:close/>
                  <a:moveTo>
                    <a:pt x="52" y="40"/>
                  </a:moveTo>
                  <a:lnTo>
                    <a:pt x="54" y="40"/>
                  </a:lnTo>
                  <a:lnTo>
                    <a:pt x="52" y="40"/>
                  </a:lnTo>
                  <a:lnTo>
                    <a:pt x="52" y="38"/>
                  </a:lnTo>
                  <a:lnTo>
                    <a:pt x="54" y="38"/>
                  </a:lnTo>
                  <a:lnTo>
                    <a:pt x="54" y="40"/>
                  </a:lnTo>
                  <a:lnTo>
                    <a:pt x="52" y="40"/>
                  </a:lnTo>
                  <a:close/>
                  <a:moveTo>
                    <a:pt x="50" y="35"/>
                  </a:moveTo>
                  <a:lnTo>
                    <a:pt x="50" y="33"/>
                  </a:lnTo>
                  <a:lnTo>
                    <a:pt x="50" y="35"/>
                  </a:lnTo>
                  <a:close/>
                  <a:moveTo>
                    <a:pt x="47" y="33"/>
                  </a:moveTo>
                  <a:lnTo>
                    <a:pt x="47" y="35"/>
                  </a:lnTo>
                  <a:lnTo>
                    <a:pt x="50" y="35"/>
                  </a:lnTo>
                  <a:lnTo>
                    <a:pt x="52" y="35"/>
                  </a:lnTo>
                  <a:lnTo>
                    <a:pt x="54" y="38"/>
                  </a:lnTo>
                  <a:lnTo>
                    <a:pt x="52" y="38"/>
                  </a:lnTo>
                  <a:lnTo>
                    <a:pt x="50" y="38"/>
                  </a:lnTo>
                  <a:lnTo>
                    <a:pt x="47" y="38"/>
                  </a:lnTo>
                  <a:lnTo>
                    <a:pt x="45" y="38"/>
                  </a:lnTo>
                  <a:lnTo>
                    <a:pt x="45" y="35"/>
                  </a:lnTo>
                  <a:lnTo>
                    <a:pt x="45" y="33"/>
                  </a:lnTo>
                  <a:lnTo>
                    <a:pt x="47" y="33"/>
                  </a:lnTo>
                  <a:close/>
                  <a:moveTo>
                    <a:pt x="54" y="21"/>
                  </a:moveTo>
                  <a:lnTo>
                    <a:pt x="52" y="21"/>
                  </a:lnTo>
                  <a:lnTo>
                    <a:pt x="54" y="21"/>
                  </a:lnTo>
                  <a:close/>
                  <a:moveTo>
                    <a:pt x="71" y="19"/>
                  </a:moveTo>
                  <a:lnTo>
                    <a:pt x="71" y="21"/>
                  </a:lnTo>
                  <a:lnTo>
                    <a:pt x="71" y="19"/>
                  </a:lnTo>
                  <a:lnTo>
                    <a:pt x="69" y="19"/>
                  </a:lnTo>
                  <a:lnTo>
                    <a:pt x="71" y="19"/>
                  </a:lnTo>
                  <a:close/>
                  <a:moveTo>
                    <a:pt x="73" y="19"/>
                  </a:moveTo>
                  <a:lnTo>
                    <a:pt x="71" y="19"/>
                  </a:lnTo>
                  <a:lnTo>
                    <a:pt x="71" y="16"/>
                  </a:lnTo>
                  <a:lnTo>
                    <a:pt x="73" y="16"/>
                  </a:lnTo>
                  <a:lnTo>
                    <a:pt x="73" y="19"/>
                  </a:lnTo>
                  <a:close/>
                  <a:moveTo>
                    <a:pt x="99" y="4"/>
                  </a:moveTo>
                  <a:lnTo>
                    <a:pt x="99" y="7"/>
                  </a:lnTo>
                  <a:lnTo>
                    <a:pt x="97" y="7"/>
                  </a:lnTo>
                  <a:lnTo>
                    <a:pt x="97" y="4"/>
                  </a:lnTo>
                  <a:lnTo>
                    <a:pt x="99" y="4"/>
                  </a:lnTo>
                  <a:close/>
                  <a:moveTo>
                    <a:pt x="92" y="7"/>
                  </a:moveTo>
                  <a:lnTo>
                    <a:pt x="92" y="9"/>
                  </a:lnTo>
                  <a:lnTo>
                    <a:pt x="90" y="9"/>
                  </a:lnTo>
                  <a:lnTo>
                    <a:pt x="90" y="7"/>
                  </a:lnTo>
                  <a:lnTo>
                    <a:pt x="90" y="4"/>
                  </a:lnTo>
                  <a:lnTo>
                    <a:pt x="92" y="7"/>
                  </a:lnTo>
                  <a:close/>
                  <a:moveTo>
                    <a:pt x="107" y="2"/>
                  </a:moveTo>
                  <a:lnTo>
                    <a:pt x="107" y="4"/>
                  </a:lnTo>
                  <a:lnTo>
                    <a:pt x="109" y="4"/>
                  </a:lnTo>
                  <a:lnTo>
                    <a:pt x="107" y="4"/>
                  </a:lnTo>
                  <a:lnTo>
                    <a:pt x="107" y="2"/>
                  </a:lnTo>
                  <a:lnTo>
                    <a:pt x="107" y="4"/>
                  </a:lnTo>
                  <a:lnTo>
                    <a:pt x="107" y="2"/>
                  </a:lnTo>
                  <a:lnTo>
                    <a:pt x="104" y="2"/>
                  </a:lnTo>
                  <a:lnTo>
                    <a:pt x="107" y="2"/>
                  </a:lnTo>
                  <a:close/>
                  <a:moveTo>
                    <a:pt x="133" y="0"/>
                  </a:moveTo>
                  <a:lnTo>
                    <a:pt x="133" y="2"/>
                  </a:lnTo>
                  <a:lnTo>
                    <a:pt x="13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1" name="Freeform 50294"/>
            <p:cNvSpPr>
              <a:spLocks noEditPoints="1"/>
            </p:cNvSpPr>
            <p:nvPr/>
          </p:nvSpPr>
          <p:spPr bwMode="auto">
            <a:xfrm>
              <a:off x="3167061" y="3927488"/>
              <a:ext cx="203200" cy="120650"/>
            </a:xfrm>
            <a:custGeom>
              <a:avLst/>
              <a:gdLst>
                <a:gd name="T0" fmla="*/ 33 w 128"/>
                <a:gd name="T1" fmla="*/ 76 h 76"/>
                <a:gd name="T2" fmla="*/ 2 w 128"/>
                <a:gd name="T3" fmla="*/ 69 h 76"/>
                <a:gd name="T4" fmla="*/ 2 w 128"/>
                <a:gd name="T5" fmla="*/ 69 h 76"/>
                <a:gd name="T6" fmla="*/ 2 w 128"/>
                <a:gd name="T7" fmla="*/ 67 h 76"/>
                <a:gd name="T8" fmla="*/ 40 w 128"/>
                <a:gd name="T9" fmla="*/ 65 h 76"/>
                <a:gd name="T10" fmla="*/ 40 w 128"/>
                <a:gd name="T11" fmla="*/ 65 h 76"/>
                <a:gd name="T12" fmla="*/ 0 w 128"/>
                <a:gd name="T13" fmla="*/ 65 h 76"/>
                <a:gd name="T14" fmla="*/ 42 w 128"/>
                <a:gd name="T15" fmla="*/ 65 h 76"/>
                <a:gd name="T16" fmla="*/ 42 w 128"/>
                <a:gd name="T17" fmla="*/ 65 h 76"/>
                <a:gd name="T18" fmla="*/ 42 w 128"/>
                <a:gd name="T19" fmla="*/ 62 h 76"/>
                <a:gd name="T20" fmla="*/ 45 w 128"/>
                <a:gd name="T21" fmla="*/ 62 h 76"/>
                <a:gd name="T22" fmla="*/ 45 w 128"/>
                <a:gd name="T23" fmla="*/ 62 h 76"/>
                <a:gd name="T24" fmla="*/ 61 w 128"/>
                <a:gd name="T25" fmla="*/ 62 h 76"/>
                <a:gd name="T26" fmla="*/ 64 w 128"/>
                <a:gd name="T27" fmla="*/ 62 h 76"/>
                <a:gd name="T28" fmla="*/ 45 w 128"/>
                <a:gd name="T29" fmla="*/ 60 h 76"/>
                <a:gd name="T30" fmla="*/ 54 w 128"/>
                <a:gd name="T31" fmla="*/ 50 h 76"/>
                <a:gd name="T32" fmla="*/ 54 w 128"/>
                <a:gd name="T33" fmla="*/ 50 h 76"/>
                <a:gd name="T34" fmla="*/ 45 w 128"/>
                <a:gd name="T35" fmla="*/ 46 h 76"/>
                <a:gd name="T36" fmla="*/ 42 w 128"/>
                <a:gd name="T37" fmla="*/ 46 h 76"/>
                <a:gd name="T38" fmla="*/ 42 w 128"/>
                <a:gd name="T39" fmla="*/ 46 h 76"/>
                <a:gd name="T40" fmla="*/ 45 w 128"/>
                <a:gd name="T41" fmla="*/ 46 h 76"/>
                <a:gd name="T42" fmla="*/ 38 w 128"/>
                <a:gd name="T43" fmla="*/ 43 h 76"/>
                <a:gd name="T44" fmla="*/ 38 w 128"/>
                <a:gd name="T45" fmla="*/ 43 h 76"/>
                <a:gd name="T46" fmla="*/ 40 w 128"/>
                <a:gd name="T47" fmla="*/ 34 h 76"/>
                <a:gd name="T48" fmla="*/ 21 w 128"/>
                <a:gd name="T49" fmla="*/ 34 h 76"/>
                <a:gd name="T50" fmla="*/ 21 w 128"/>
                <a:gd name="T51" fmla="*/ 34 h 76"/>
                <a:gd name="T52" fmla="*/ 35 w 128"/>
                <a:gd name="T53" fmla="*/ 34 h 76"/>
                <a:gd name="T54" fmla="*/ 21 w 128"/>
                <a:gd name="T55" fmla="*/ 34 h 76"/>
                <a:gd name="T56" fmla="*/ 21 w 128"/>
                <a:gd name="T57" fmla="*/ 34 h 76"/>
                <a:gd name="T58" fmla="*/ 52 w 128"/>
                <a:gd name="T59" fmla="*/ 31 h 76"/>
                <a:gd name="T60" fmla="*/ 128 w 128"/>
                <a:gd name="T61" fmla="*/ 0 h 76"/>
                <a:gd name="T62" fmla="*/ 128 w 128"/>
                <a:gd name="T6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76">
                  <a:moveTo>
                    <a:pt x="35" y="76"/>
                  </a:moveTo>
                  <a:lnTo>
                    <a:pt x="33" y="76"/>
                  </a:lnTo>
                  <a:lnTo>
                    <a:pt x="35" y="76"/>
                  </a:lnTo>
                  <a:close/>
                  <a:moveTo>
                    <a:pt x="2" y="69"/>
                  </a:moveTo>
                  <a:lnTo>
                    <a:pt x="2" y="67"/>
                  </a:lnTo>
                  <a:lnTo>
                    <a:pt x="2" y="69"/>
                  </a:lnTo>
                  <a:close/>
                  <a:moveTo>
                    <a:pt x="5" y="67"/>
                  </a:moveTo>
                  <a:lnTo>
                    <a:pt x="2" y="67"/>
                  </a:lnTo>
                  <a:lnTo>
                    <a:pt x="5" y="67"/>
                  </a:lnTo>
                  <a:close/>
                  <a:moveTo>
                    <a:pt x="40" y="65"/>
                  </a:moveTo>
                  <a:lnTo>
                    <a:pt x="38" y="65"/>
                  </a:lnTo>
                  <a:lnTo>
                    <a:pt x="40" y="65"/>
                  </a:lnTo>
                  <a:close/>
                  <a:moveTo>
                    <a:pt x="2" y="65"/>
                  </a:moveTo>
                  <a:lnTo>
                    <a:pt x="0" y="65"/>
                  </a:lnTo>
                  <a:lnTo>
                    <a:pt x="2" y="65"/>
                  </a:lnTo>
                  <a:close/>
                  <a:moveTo>
                    <a:pt x="42" y="65"/>
                  </a:moveTo>
                  <a:lnTo>
                    <a:pt x="42" y="62"/>
                  </a:lnTo>
                  <a:lnTo>
                    <a:pt x="42" y="65"/>
                  </a:lnTo>
                  <a:close/>
                  <a:moveTo>
                    <a:pt x="45" y="62"/>
                  </a:moveTo>
                  <a:lnTo>
                    <a:pt x="42" y="62"/>
                  </a:lnTo>
                  <a:lnTo>
                    <a:pt x="45" y="62"/>
                  </a:lnTo>
                  <a:close/>
                  <a:moveTo>
                    <a:pt x="45" y="62"/>
                  </a:moveTo>
                  <a:lnTo>
                    <a:pt x="47" y="62"/>
                  </a:lnTo>
                  <a:lnTo>
                    <a:pt x="45" y="62"/>
                  </a:lnTo>
                  <a:close/>
                  <a:moveTo>
                    <a:pt x="64" y="62"/>
                  </a:moveTo>
                  <a:lnTo>
                    <a:pt x="61" y="62"/>
                  </a:lnTo>
                  <a:lnTo>
                    <a:pt x="64" y="60"/>
                  </a:lnTo>
                  <a:lnTo>
                    <a:pt x="64" y="62"/>
                  </a:lnTo>
                  <a:close/>
                  <a:moveTo>
                    <a:pt x="45" y="62"/>
                  </a:moveTo>
                  <a:lnTo>
                    <a:pt x="45" y="60"/>
                  </a:lnTo>
                  <a:lnTo>
                    <a:pt x="45" y="62"/>
                  </a:lnTo>
                  <a:close/>
                  <a:moveTo>
                    <a:pt x="54" y="50"/>
                  </a:moveTo>
                  <a:lnTo>
                    <a:pt x="54" y="48"/>
                  </a:lnTo>
                  <a:lnTo>
                    <a:pt x="54" y="50"/>
                  </a:lnTo>
                  <a:close/>
                  <a:moveTo>
                    <a:pt x="42" y="46"/>
                  </a:moveTo>
                  <a:lnTo>
                    <a:pt x="45" y="46"/>
                  </a:lnTo>
                  <a:lnTo>
                    <a:pt x="42" y="46"/>
                  </a:lnTo>
                  <a:close/>
                  <a:moveTo>
                    <a:pt x="42" y="46"/>
                  </a:moveTo>
                  <a:lnTo>
                    <a:pt x="45" y="46"/>
                  </a:lnTo>
                  <a:lnTo>
                    <a:pt x="42" y="46"/>
                  </a:lnTo>
                  <a:close/>
                  <a:moveTo>
                    <a:pt x="47" y="46"/>
                  </a:moveTo>
                  <a:lnTo>
                    <a:pt x="45" y="46"/>
                  </a:lnTo>
                  <a:lnTo>
                    <a:pt x="47" y="46"/>
                  </a:lnTo>
                  <a:close/>
                  <a:moveTo>
                    <a:pt x="38" y="43"/>
                  </a:moveTo>
                  <a:lnTo>
                    <a:pt x="35" y="43"/>
                  </a:lnTo>
                  <a:lnTo>
                    <a:pt x="38" y="43"/>
                  </a:lnTo>
                  <a:close/>
                  <a:moveTo>
                    <a:pt x="40" y="36"/>
                  </a:moveTo>
                  <a:lnTo>
                    <a:pt x="40" y="34"/>
                  </a:lnTo>
                  <a:lnTo>
                    <a:pt x="40" y="36"/>
                  </a:lnTo>
                  <a:close/>
                  <a:moveTo>
                    <a:pt x="21" y="34"/>
                  </a:moveTo>
                  <a:lnTo>
                    <a:pt x="19" y="34"/>
                  </a:lnTo>
                  <a:lnTo>
                    <a:pt x="21" y="34"/>
                  </a:lnTo>
                  <a:close/>
                  <a:moveTo>
                    <a:pt x="38" y="34"/>
                  </a:moveTo>
                  <a:lnTo>
                    <a:pt x="35" y="34"/>
                  </a:lnTo>
                  <a:lnTo>
                    <a:pt x="38" y="34"/>
                  </a:lnTo>
                  <a:close/>
                  <a:moveTo>
                    <a:pt x="21" y="34"/>
                  </a:moveTo>
                  <a:lnTo>
                    <a:pt x="21" y="31"/>
                  </a:lnTo>
                  <a:lnTo>
                    <a:pt x="21" y="34"/>
                  </a:lnTo>
                  <a:close/>
                  <a:moveTo>
                    <a:pt x="54" y="31"/>
                  </a:moveTo>
                  <a:lnTo>
                    <a:pt x="52" y="31"/>
                  </a:lnTo>
                  <a:lnTo>
                    <a:pt x="54" y="31"/>
                  </a:lnTo>
                  <a:close/>
                  <a:moveTo>
                    <a:pt x="128" y="0"/>
                  </a:moveTo>
                  <a:lnTo>
                    <a:pt x="128" y="3"/>
                  </a:lnTo>
                  <a:lnTo>
                    <a:pt x="12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2" name="Freeform 50295"/>
            <p:cNvSpPr>
              <a:spLocks/>
            </p:cNvSpPr>
            <p:nvPr/>
          </p:nvSpPr>
          <p:spPr bwMode="auto">
            <a:xfrm>
              <a:off x="1644648" y="3698887"/>
              <a:ext cx="30163" cy="30163"/>
            </a:xfrm>
            <a:custGeom>
              <a:avLst/>
              <a:gdLst>
                <a:gd name="T0" fmla="*/ 5 w 19"/>
                <a:gd name="T1" fmla="*/ 0 h 19"/>
                <a:gd name="T2" fmla="*/ 5 w 19"/>
                <a:gd name="T3" fmla="*/ 0 h 19"/>
                <a:gd name="T4" fmla="*/ 7 w 19"/>
                <a:gd name="T5" fmla="*/ 2 h 19"/>
                <a:gd name="T6" fmla="*/ 7 w 19"/>
                <a:gd name="T7" fmla="*/ 2 h 19"/>
                <a:gd name="T8" fmla="*/ 10 w 19"/>
                <a:gd name="T9" fmla="*/ 4 h 19"/>
                <a:gd name="T10" fmla="*/ 10 w 19"/>
                <a:gd name="T11" fmla="*/ 4 h 19"/>
                <a:gd name="T12" fmla="*/ 10 w 19"/>
                <a:gd name="T13" fmla="*/ 7 h 19"/>
                <a:gd name="T14" fmla="*/ 12 w 19"/>
                <a:gd name="T15" fmla="*/ 7 h 19"/>
                <a:gd name="T16" fmla="*/ 12 w 19"/>
                <a:gd name="T17" fmla="*/ 9 h 19"/>
                <a:gd name="T18" fmla="*/ 14 w 19"/>
                <a:gd name="T19" fmla="*/ 9 h 19"/>
                <a:gd name="T20" fmla="*/ 12 w 19"/>
                <a:gd name="T21" fmla="*/ 11 h 19"/>
                <a:gd name="T22" fmla="*/ 12 w 19"/>
                <a:gd name="T23" fmla="*/ 11 h 19"/>
                <a:gd name="T24" fmla="*/ 14 w 19"/>
                <a:gd name="T25" fmla="*/ 11 h 19"/>
                <a:gd name="T26" fmla="*/ 17 w 19"/>
                <a:gd name="T27" fmla="*/ 11 h 19"/>
                <a:gd name="T28" fmla="*/ 17 w 19"/>
                <a:gd name="T29" fmla="*/ 14 h 19"/>
                <a:gd name="T30" fmla="*/ 14 w 19"/>
                <a:gd name="T31" fmla="*/ 14 h 19"/>
                <a:gd name="T32" fmla="*/ 14 w 19"/>
                <a:gd name="T33" fmla="*/ 14 h 19"/>
                <a:gd name="T34" fmla="*/ 14 w 19"/>
                <a:gd name="T35" fmla="*/ 14 h 19"/>
                <a:gd name="T36" fmla="*/ 14 w 19"/>
                <a:gd name="T37" fmla="*/ 14 h 19"/>
                <a:gd name="T38" fmla="*/ 17 w 19"/>
                <a:gd name="T39" fmla="*/ 14 h 19"/>
                <a:gd name="T40" fmla="*/ 17 w 19"/>
                <a:gd name="T41" fmla="*/ 14 h 19"/>
                <a:gd name="T42" fmla="*/ 19 w 19"/>
                <a:gd name="T43" fmla="*/ 14 h 19"/>
                <a:gd name="T44" fmla="*/ 19 w 19"/>
                <a:gd name="T45" fmla="*/ 16 h 19"/>
                <a:gd name="T46" fmla="*/ 17 w 19"/>
                <a:gd name="T47" fmla="*/ 16 h 19"/>
                <a:gd name="T48" fmla="*/ 19 w 19"/>
                <a:gd name="T49" fmla="*/ 16 h 19"/>
                <a:gd name="T50" fmla="*/ 19 w 19"/>
                <a:gd name="T51" fmla="*/ 19 h 19"/>
                <a:gd name="T52" fmla="*/ 17 w 19"/>
                <a:gd name="T53" fmla="*/ 19 h 19"/>
                <a:gd name="T54" fmla="*/ 14 w 19"/>
                <a:gd name="T55" fmla="*/ 16 h 19"/>
                <a:gd name="T56" fmla="*/ 14 w 19"/>
                <a:gd name="T57" fmla="*/ 16 h 19"/>
                <a:gd name="T58" fmla="*/ 12 w 19"/>
                <a:gd name="T59" fmla="*/ 16 h 19"/>
                <a:gd name="T60" fmla="*/ 12 w 19"/>
                <a:gd name="T61" fmla="*/ 14 h 19"/>
                <a:gd name="T62" fmla="*/ 10 w 19"/>
                <a:gd name="T63" fmla="*/ 14 h 19"/>
                <a:gd name="T64" fmla="*/ 10 w 19"/>
                <a:gd name="T65" fmla="*/ 14 h 19"/>
                <a:gd name="T66" fmla="*/ 10 w 19"/>
                <a:gd name="T67" fmla="*/ 11 h 19"/>
                <a:gd name="T68" fmla="*/ 7 w 19"/>
                <a:gd name="T69" fmla="*/ 9 h 19"/>
                <a:gd name="T70" fmla="*/ 7 w 19"/>
                <a:gd name="T71" fmla="*/ 9 h 19"/>
                <a:gd name="T72" fmla="*/ 5 w 19"/>
                <a:gd name="T73" fmla="*/ 9 h 19"/>
                <a:gd name="T74" fmla="*/ 5 w 19"/>
                <a:gd name="T75" fmla="*/ 9 h 19"/>
                <a:gd name="T76" fmla="*/ 5 w 19"/>
                <a:gd name="T77" fmla="*/ 7 h 19"/>
                <a:gd name="T78" fmla="*/ 3 w 19"/>
                <a:gd name="T79" fmla="*/ 9 h 19"/>
                <a:gd name="T80" fmla="*/ 3 w 19"/>
                <a:gd name="T81" fmla="*/ 7 h 19"/>
                <a:gd name="T82" fmla="*/ 3 w 19"/>
                <a:gd name="T83" fmla="*/ 7 h 19"/>
                <a:gd name="T84" fmla="*/ 3 w 19"/>
                <a:gd name="T85" fmla="*/ 7 h 19"/>
                <a:gd name="T86" fmla="*/ 3 w 19"/>
                <a:gd name="T87" fmla="*/ 4 h 19"/>
                <a:gd name="T88" fmla="*/ 3 w 19"/>
                <a:gd name="T89" fmla="*/ 4 h 19"/>
                <a:gd name="T90" fmla="*/ 3 w 19"/>
                <a:gd name="T91" fmla="*/ 4 h 19"/>
                <a:gd name="T92" fmla="*/ 3 w 19"/>
                <a:gd name="T93" fmla="*/ 4 h 19"/>
                <a:gd name="T94" fmla="*/ 3 w 19"/>
                <a:gd name="T95" fmla="*/ 2 h 19"/>
                <a:gd name="T96" fmla="*/ 3 w 19"/>
                <a:gd name="T97" fmla="*/ 2 h 19"/>
                <a:gd name="T98" fmla="*/ 3 w 19"/>
                <a:gd name="T99" fmla="*/ 2 h 19"/>
                <a:gd name="T100" fmla="*/ 3 w 19"/>
                <a:gd name="T101" fmla="*/ 2 h 19"/>
                <a:gd name="T102" fmla="*/ 3 w 19"/>
                <a:gd name="T103" fmla="*/ 2 h 19"/>
                <a:gd name="T104" fmla="*/ 3 w 19"/>
                <a:gd name="T105" fmla="*/ 2 h 19"/>
                <a:gd name="T106" fmla="*/ 3 w 19"/>
                <a:gd name="T107" fmla="*/ 0 h 19"/>
                <a:gd name="T108" fmla="*/ 3 w 19"/>
                <a:gd name="T109" fmla="*/ 0 h 19"/>
                <a:gd name="T110" fmla="*/ 3 w 19"/>
                <a:gd name="T111" fmla="*/ 0 h 19"/>
                <a:gd name="T112" fmla="*/ 3 w 19"/>
                <a:gd name="T113" fmla="*/ 0 h 19"/>
                <a:gd name="T114" fmla="*/ 5 w 19"/>
                <a:gd name="T11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 h="19">
                  <a:moveTo>
                    <a:pt x="5" y="0"/>
                  </a:moveTo>
                  <a:lnTo>
                    <a:pt x="5" y="0"/>
                  </a:lnTo>
                  <a:lnTo>
                    <a:pt x="5" y="0"/>
                  </a:lnTo>
                  <a:lnTo>
                    <a:pt x="5" y="0"/>
                  </a:lnTo>
                  <a:lnTo>
                    <a:pt x="5" y="0"/>
                  </a:lnTo>
                  <a:lnTo>
                    <a:pt x="5" y="0"/>
                  </a:lnTo>
                  <a:lnTo>
                    <a:pt x="5" y="0"/>
                  </a:lnTo>
                  <a:lnTo>
                    <a:pt x="5" y="0"/>
                  </a:lnTo>
                  <a:lnTo>
                    <a:pt x="7" y="0"/>
                  </a:lnTo>
                  <a:lnTo>
                    <a:pt x="7" y="0"/>
                  </a:lnTo>
                  <a:lnTo>
                    <a:pt x="7" y="0"/>
                  </a:lnTo>
                  <a:lnTo>
                    <a:pt x="7" y="2"/>
                  </a:lnTo>
                  <a:lnTo>
                    <a:pt x="7" y="2"/>
                  </a:lnTo>
                  <a:lnTo>
                    <a:pt x="7" y="2"/>
                  </a:lnTo>
                  <a:lnTo>
                    <a:pt x="7" y="2"/>
                  </a:lnTo>
                  <a:lnTo>
                    <a:pt x="7" y="2"/>
                  </a:lnTo>
                  <a:lnTo>
                    <a:pt x="7" y="4"/>
                  </a:lnTo>
                  <a:lnTo>
                    <a:pt x="10" y="4"/>
                  </a:lnTo>
                  <a:lnTo>
                    <a:pt x="10" y="4"/>
                  </a:lnTo>
                  <a:lnTo>
                    <a:pt x="10" y="4"/>
                  </a:lnTo>
                  <a:lnTo>
                    <a:pt x="10" y="4"/>
                  </a:lnTo>
                  <a:lnTo>
                    <a:pt x="10" y="4"/>
                  </a:lnTo>
                  <a:lnTo>
                    <a:pt x="10" y="4"/>
                  </a:lnTo>
                  <a:lnTo>
                    <a:pt x="10" y="4"/>
                  </a:lnTo>
                  <a:lnTo>
                    <a:pt x="10" y="4"/>
                  </a:lnTo>
                  <a:lnTo>
                    <a:pt x="10" y="7"/>
                  </a:lnTo>
                  <a:lnTo>
                    <a:pt x="10" y="7"/>
                  </a:lnTo>
                  <a:lnTo>
                    <a:pt x="10" y="7"/>
                  </a:lnTo>
                  <a:lnTo>
                    <a:pt x="10" y="7"/>
                  </a:lnTo>
                  <a:lnTo>
                    <a:pt x="12" y="7"/>
                  </a:lnTo>
                  <a:lnTo>
                    <a:pt x="12" y="7"/>
                  </a:lnTo>
                  <a:lnTo>
                    <a:pt x="12" y="7"/>
                  </a:lnTo>
                  <a:lnTo>
                    <a:pt x="12" y="9"/>
                  </a:lnTo>
                  <a:lnTo>
                    <a:pt x="12" y="9"/>
                  </a:lnTo>
                  <a:lnTo>
                    <a:pt x="12" y="9"/>
                  </a:lnTo>
                  <a:lnTo>
                    <a:pt x="12" y="9"/>
                  </a:lnTo>
                  <a:lnTo>
                    <a:pt x="12" y="9"/>
                  </a:lnTo>
                  <a:lnTo>
                    <a:pt x="14" y="9"/>
                  </a:lnTo>
                  <a:lnTo>
                    <a:pt x="14" y="9"/>
                  </a:lnTo>
                  <a:lnTo>
                    <a:pt x="14" y="9"/>
                  </a:lnTo>
                  <a:lnTo>
                    <a:pt x="14" y="9"/>
                  </a:lnTo>
                  <a:lnTo>
                    <a:pt x="14" y="9"/>
                  </a:lnTo>
                  <a:lnTo>
                    <a:pt x="12" y="9"/>
                  </a:lnTo>
                  <a:lnTo>
                    <a:pt x="12" y="11"/>
                  </a:lnTo>
                  <a:lnTo>
                    <a:pt x="12" y="11"/>
                  </a:lnTo>
                  <a:lnTo>
                    <a:pt x="12" y="11"/>
                  </a:lnTo>
                  <a:lnTo>
                    <a:pt x="12" y="11"/>
                  </a:lnTo>
                  <a:lnTo>
                    <a:pt x="12" y="11"/>
                  </a:lnTo>
                  <a:lnTo>
                    <a:pt x="12" y="11"/>
                  </a:lnTo>
                  <a:lnTo>
                    <a:pt x="14" y="11"/>
                  </a:lnTo>
                  <a:lnTo>
                    <a:pt x="14" y="11"/>
                  </a:lnTo>
                  <a:lnTo>
                    <a:pt x="14" y="11"/>
                  </a:lnTo>
                  <a:lnTo>
                    <a:pt x="14" y="11"/>
                  </a:lnTo>
                  <a:lnTo>
                    <a:pt x="14" y="11"/>
                  </a:lnTo>
                  <a:lnTo>
                    <a:pt x="17" y="11"/>
                  </a:lnTo>
                  <a:lnTo>
                    <a:pt x="17" y="11"/>
                  </a:lnTo>
                  <a:lnTo>
                    <a:pt x="17" y="11"/>
                  </a:lnTo>
                  <a:lnTo>
                    <a:pt x="17" y="11"/>
                  </a:lnTo>
                  <a:lnTo>
                    <a:pt x="17" y="11"/>
                  </a:lnTo>
                  <a:lnTo>
                    <a:pt x="17" y="14"/>
                  </a:lnTo>
                  <a:lnTo>
                    <a:pt x="14" y="14"/>
                  </a:lnTo>
                  <a:lnTo>
                    <a:pt x="14" y="14"/>
                  </a:lnTo>
                  <a:lnTo>
                    <a:pt x="14" y="14"/>
                  </a:lnTo>
                  <a:lnTo>
                    <a:pt x="14" y="14"/>
                  </a:lnTo>
                  <a:lnTo>
                    <a:pt x="14" y="14"/>
                  </a:lnTo>
                  <a:lnTo>
                    <a:pt x="14" y="14"/>
                  </a:lnTo>
                  <a:lnTo>
                    <a:pt x="14" y="14"/>
                  </a:lnTo>
                  <a:lnTo>
                    <a:pt x="14" y="14"/>
                  </a:lnTo>
                  <a:lnTo>
                    <a:pt x="12" y="11"/>
                  </a:lnTo>
                  <a:lnTo>
                    <a:pt x="12" y="14"/>
                  </a:lnTo>
                  <a:lnTo>
                    <a:pt x="12" y="14"/>
                  </a:lnTo>
                  <a:lnTo>
                    <a:pt x="14" y="14"/>
                  </a:lnTo>
                  <a:lnTo>
                    <a:pt x="14" y="14"/>
                  </a:lnTo>
                  <a:lnTo>
                    <a:pt x="14" y="14"/>
                  </a:lnTo>
                  <a:lnTo>
                    <a:pt x="14" y="14"/>
                  </a:lnTo>
                  <a:lnTo>
                    <a:pt x="14" y="14"/>
                  </a:lnTo>
                  <a:lnTo>
                    <a:pt x="17" y="14"/>
                  </a:lnTo>
                  <a:lnTo>
                    <a:pt x="17" y="14"/>
                  </a:lnTo>
                  <a:lnTo>
                    <a:pt x="17" y="14"/>
                  </a:lnTo>
                  <a:lnTo>
                    <a:pt x="17" y="14"/>
                  </a:lnTo>
                  <a:lnTo>
                    <a:pt x="17" y="14"/>
                  </a:lnTo>
                  <a:lnTo>
                    <a:pt x="17" y="14"/>
                  </a:lnTo>
                  <a:lnTo>
                    <a:pt x="17" y="14"/>
                  </a:lnTo>
                  <a:lnTo>
                    <a:pt x="17" y="14"/>
                  </a:lnTo>
                  <a:lnTo>
                    <a:pt x="17" y="14"/>
                  </a:lnTo>
                  <a:lnTo>
                    <a:pt x="19" y="14"/>
                  </a:lnTo>
                  <a:lnTo>
                    <a:pt x="19" y="14"/>
                  </a:lnTo>
                  <a:lnTo>
                    <a:pt x="19" y="14"/>
                  </a:lnTo>
                  <a:lnTo>
                    <a:pt x="17" y="14"/>
                  </a:lnTo>
                  <a:lnTo>
                    <a:pt x="17" y="14"/>
                  </a:lnTo>
                  <a:lnTo>
                    <a:pt x="19" y="14"/>
                  </a:lnTo>
                  <a:lnTo>
                    <a:pt x="19" y="16"/>
                  </a:lnTo>
                  <a:lnTo>
                    <a:pt x="17" y="16"/>
                  </a:lnTo>
                  <a:lnTo>
                    <a:pt x="17" y="16"/>
                  </a:lnTo>
                  <a:lnTo>
                    <a:pt x="17" y="16"/>
                  </a:lnTo>
                  <a:lnTo>
                    <a:pt x="17" y="16"/>
                  </a:lnTo>
                  <a:lnTo>
                    <a:pt x="17" y="16"/>
                  </a:lnTo>
                  <a:lnTo>
                    <a:pt x="17" y="16"/>
                  </a:lnTo>
                  <a:lnTo>
                    <a:pt x="17" y="16"/>
                  </a:lnTo>
                  <a:lnTo>
                    <a:pt x="19" y="16"/>
                  </a:lnTo>
                  <a:lnTo>
                    <a:pt x="19" y="19"/>
                  </a:lnTo>
                  <a:lnTo>
                    <a:pt x="19" y="19"/>
                  </a:lnTo>
                  <a:lnTo>
                    <a:pt x="19" y="19"/>
                  </a:lnTo>
                  <a:lnTo>
                    <a:pt x="19" y="19"/>
                  </a:lnTo>
                  <a:lnTo>
                    <a:pt x="19" y="19"/>
                  </a:lnTo>
                  <a:lnTo>
                    <a:pt x="17" y="19"/>
                  </a:lnTo>
                  <a:lnTo>
                    <a:pt x="17" y="19"/>
                  </a:lnTo>
                  <a:lnTo>
                    <a:pt x="17" y="19"/>
                  </a:lnTo>
                  <a:lnTo>
                    <a:pt x="17" y="19"/>
                  </a:lnTo>
                  <a:lnTo>
                    <a:pt x="17" y="19"/>
                  </a:lnTo>
                  <a:lnTo>
                    <a:pt x="14" y="16"/>
                  </a:lnTo>
                  <a:lnTo>
                    <a:pt x="14" y="16"/>
                  </a:lnTo>
                  <a:lnTo>
                    <a:pt x="14" y="16"/>
                  </a:lnTo>
                  <a:lnTo>
                    <a:pt x="14" y="16"/>
                  </a:lnTo>
                  <a:lnTo>
                    <a:pt x="14" y="16"/>
                  </a:lnTo>
                  <a:lnTo>
                    <a:pt x="14" y="16"/>
                  </a:lnTo>
                  <a:lnTo>
                    <a:pt x="12" y="16"/>
                  </a:lnTo>
                  <a:lnTo>
                    <a:pt x="12" y="16"/>
                  </a:lnTo>
                  <a:lnTo>
                    <a:pt x="12" y="16"/>
                  </a:lnTo>
                  <a:lnTo>
                    <a:pt x="12" y="16"/>
                  </a:lnTo>
                  <a:lnTo>
                    <a:pt x="12" y="14"/>
                  </a:lnTo>
                  <a:lnTo>
                    <a:pt x="12" y="14"/>
                  </a:lnTo>
                  <a:lnTo>
                    <a:pt x="12" y="14"/>
                  </a:lnTo>
                  <a:lnTo>
                    <a:pt x="12" y="14"/>
                  </a:lnTo>
                  <a:lnTo>
                    <a:pt x="10" y="14"/>
                  </a:lnTo>
                  <a:lnTo>
                    <a:pt x="10" y="14"/>
                  </a:lnTo>
                  <a:lnTo>
                    <a:pt x="10" y="14"/>
                  </a:lnTo>
                  <a:lnTo>
                    <a:pt x="10" y="14"/>
                  </a:lnTo>
                  <a:lnTo>
                    <a:pt x="10" y="14"/>
                  </a:lnTo>
                  <a:lnTo>
                    <a:pt x="10" y="14"/>
                  </a:lnTo>
                  <a:lnTo>
                    <a:pt x="10" y="14"/>
                  </a:lnTo>
                  <a:lnTo>
                    <a:pt x="10" y="14"/>
                  </a:lnTo>
                  <a:lnTo>
                    <a:pt x="10" y="11"/>
                  </a:lnTo>
                  <a:lnTo>
                    <a:pt x="10" y="11"/>
                  </a:lnTo>
                  <a:lnTo>
                    <a:pt x="10" y="11"/>
                  </a:lnTo>
                  <a:lnTo>
                    <a:pt x="10" y="11"/>
                  </a:lnTo>
                  <a:lnTo>
                    <a:pt x="10" y="11"/>
                  </a:lnTo>
                  <a:lnTo>
                    <a:pt x="10" y="11"/>
                  </a:lnTo>
                  <a:lnTo>
                    <a:pt x="10" y="9"/>
                  </a:lnTo>
                  <a:lnTo>
                    <a:pt x="7" y="9"/>
                  </a:lnTo>
                  <a:lnTo>
                    <a:pt x="7" y="9"/>
                  </a:lnTo>
                  <a:lnTo>
                    <a:pt x="7" y="9"/>
                  </a:lnTo>
                  <a:lnTo>
                    <a:pt x="7" y="9"/>
                  </a:lnTo>
                  <a:lnTo>
                    <a:pt x="7" y="9"/>
                  </a:lnTo>
                  <a:lnTo>
                    <a:pt x="5" y="9"/>
                  </a:lnTo>
                  <a:lnTo>
                    <a:pt x="5" y="9"/>
                  </a:lnTo>
                  <a:lnTo>
                    <a:pt x="5" y="9"/>
                  </a:lnTo>
                  <a:lnTo>
                    <a:pt x="5" y="9"/>
                  </a:lnTo>
                  <a:lnTo>
                    <a:pt x="5" y="9"/>
                  </a:lnTo>
                  <a:lnTo>
                    <a:pt x="5" y="9"/>
                  </a:lnTo>
                  <a:lnTo>
                    <a:pt x="5" y="9"/>
                  </a:lnTo>
                  <a:lnTo>
                    <a:pt x="5" y="9"/>
                  </a:lnTo>
                  <a:lnTo>
                    <a:pt x="5" y="9"/>
                  </a:lnTo>
                  <a:lnTo>
                    <a:pt x="5" y="9"/>
                  </a:lnTo>
                  <a:lnTo>
                    <a:pt x="5" y="7"/>
                  </a:lnTo>
                  <a:lnTo>
                    <a:pt x="5" y="7"/>
                  </a:lnTo>
                  <a:lnTo>
                    <a:pt x="5" y="7"/>
                  </a:lnTo>
                  <a:lnTo>
                    <a:pt x="5" y="9"/>
                  </a:lnTo>
                  <a:lnTo>
                    <a:pt x="5" y="9"/>
                  </a:lnTo>
                  <a:lnTo>
                    <a:pt x="3" y="9"/>
                  </a:lnTo>
                  <a:lnTo>
                    <a:pt x="3" y="9"/>
                  </a:lnTo>
                  <a:lnTo>
                    <a:pt x="3" y="7"/>
                  </a:lnTo>
                  <a:lnTo>
                    <a:pt x="3" y="7"/>
                  </a:lnTo>
                  <a:lnTo>
                    <a:pt x="3" y="7"/>
                  </a:lnTo>
                  <a:lnTo>
                    <a:pt x="3" y="7"/>
                  </a:lnTo>
                  <a:lnTo>
                    <a:pt x="3" y="7"/>
                  </a:lnTo>
                  <a:lnTo>
                    <a:pt x="3" y="7"/>
                  </a:lnTo>
                  <a:lnTo>
                    <a:pt x="3" y="7"/>
                  </a:lnTo>
                  <a:lnTo>
                    <a:pt x="0" y="7"/>
                  </a:lnTo>
                  <a:lnTo>
                    <a:pt x="3" y="7"/>
                  </a:lnTo>
                  <a:lnTo>
                    <a:pt x="3" y="7"/>
                  </a:lnTo>
                  <a:lnTo>
                    <a:pt x="3" y="7"/>
                  </a:lnTo>
                  <a:lnTo>
                    <a:pt x="3" y="7"/>
                  </a:lnTo>
                  <a:lnTo>
                    <a:pt x="3" y="7"/>
                  </a:lnTo>
                  <a:lnTo>
                    <a:pt x="3" y="7"/>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2"/>
                  </a:lnTo>
                  <a:lnTo>
                    <a:pt x="3" y="2"/>
                  </a:lnTo>
                  <a:lnTo>
                    <a:pt x="3" y="2"/>
                  </a:lnTo>
                  <a:lnTo>
                    <a:pt x="3" y="2"/>
                  </a:lnTo>
                  <a:lnTo>
                    <a:pt x="3" y="2"/>
                  </a:lnTo>
                  <a:lnTo>
                    <a:pt x="3" y="2"/>
                  </a:lnTo>
                  <a:lnTo>
                    <a:pt x="5" y="2"/>
                  </a:lnTo>
                  <a:lnTo>
                    <a:pt x="5"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5" y="0"/>
                  </a:lnTo>
                  <a:lnTo>
                    <a:pt x="5" y="0"/>
                  </a:lnTo>
                  <a:lnTo>
                    <a:pt x="5" y="0"/>
                  </a:lnTo>
                  <a:lnTo>
                    <a:pt x="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3" name="Freeform 50296"/>
            <p:cNvSpPr>
              <a:spLocks noEditPoints="1"/>
            </p:cNvSpPr>
            <p:nvPr/>
          </p:nvSpPr>
          <p:spPr bwMode="auto">
            <a:xfrm>
              <a:off x="1625598" y="3690950"/>
              <a:ext cx="71438" cy="85725"/>
            </a:xfrm>
            <a:custGeom>
              <a:avLst/>
              <a:gdLst>
                <a:gd name="T0" fmla="*/ 24 w 45"/>
                <a:gd name="T1" fmla="*/ 40 h 54"/>
                <a:gd name="T2" fmla="*/ 26 w 45"/>
                <a:gd name="T3" fmla="*/ 43 h 54"/>
                <a:gd name="T4" fmla="*/ 29 w 45"/>
                <a:gd name="T5" fmla="*/ 45 h 54"/>
                <a:gd name="T6" fmla="*/ 29 w 45"/>
                <a:gd name="T7" fmla="*/ 45 h 54"/>
                <a:gd name="T8" fmla="*/ 31 w 45"/>
                <a:gd name="T9" fmla="*/ 47 h 54"/>
                <a:gd name="T10" fmla="*/ 29 w 45"/>
                <a:gd name="T11" fmla="*/ 50 h 54"/>
                <a:gd name="T12" fmla="*/ 31 w 45"/>
                <a:gd name="T13" fmla="*/ 52 h 54"/>
                <a:gd name="T14" fmla="*/ 31 w 45"/>
                <a:gd name="T15" fmla="*/ 52 h 54"/>
                <a:gd name="T16" fmla="*/ 24 w 45"/>
                <a:gd name="T17" fmla="*/ 47 h 54"/>
                <a:gd name="T18" fmla="*/ 22 w 45"/>
                <a:gd name="T19" fmla="*/ 45 h 54"/>
                <a:gd name="T20" fmla="*/ 22 w 45"/>
                <a:gd name="T21" fmla="*/ 43 h 54"/>
                <a:gd name="T22" fmla="*/ 24 w 45"/>
                <a:gd name="T23" fmla="*/ 40 h 54"/>
                <a:gd name="T24" fmla="*/ 29 w 45"/>
                <a:gd name="T25" fmla="*/ 35 h 54"/>
                <a:gd name="T26" fmla="*/ 26 w 45"/>
                <a:gd name="T27" fmla="*/ 26 h 54"/>
                <a:gd name="T28" fmla="*/ 34 w 45"/>
                <a:gd name="T29" fmla="*/ 28 h 54"/>
                <a:gd name="T30" fmla="*/ 31 w 45"/>
                <a:gd name="T31" fmla="*/ 35 h 54"/>
                <a:gd name="T32" fmla="*/ 24 w 45"/>
                <a:gd name="T33" fmla="*/ 31 h 54"/>
                <a:gd name="T34" fmla="*/ 26 w 45"/>
                <a:gd name="T35" fmla="*/ 26 h 54"/>
                <a:gd name="T36" fmla="*/ 26 w 45"/>
                <a:gd name="T37" fmla="*/ 24 h 54"/>
                <a:gd name="T38" fmla="*/ 22 w 45"/>
                <a:gd name="T39" fmla="*/ 21 h 54"/>
                <a:gd name="T40" fmla="*/ 36 w 45"/>
                <a:gd name="T41" fmla="*/ 24 h 54"/>
                <a:gd name="T42" fmla="*/ 34 w 45"/>
                <a:gd name="T43" fmla="*/ 21 h 54"/>
                <a:gd name="T44" fmla="*/ 3 w 45"/>
                <a:gd name="T45" fmla="*/ 16 h 54"/>
                <a:gd name="T46" fmla="*/ 3 w 45"/>
                <a:gd name="T47" fmla="*/ 16 h 54"/>
                <a:gd name="T48" fmla="*/ 15 w 45"/>
                <a:gd name="T49" fmla="*/ 14 h 54"/>
                <a:gd name="T50" fmla="*/ 19 w 45"/>
                <a:gd name="T51" fmla="*/ 19 h 54"/>
                <a:gd name="T52" fmla="*/ 15 w 45"/>
                <a:gd name="T53" fmla="*/ 19 h 54"/>
                <a:gd name="T54" fmla="*/ 10 w 45"/>
                <a:gd name="T55" fmla="*/ 16 h 54"/>
                <a:gd name="T56" fmla="*/ 7 w 45"/>
                <a:gd name="T57" fmla="*/ 14 h 54"/>
                <a:gd name="T58" fmla="*/ 15 w 45"/>
                <a:gd name="T59" fmla="*/ 12 h 54"/>
                <a:gd name="T60" fmla="*/ 45 w 45"/>
                <a:gd name="T61" fmla="*/ 7 h 54"/>
                <a:gd name="T62" fmla="*/ 41 w 45"/>
                <a:gd name="T63" fmla="*/ 7 h 54"/>
                <a:gd name="T64" fmla="*/ 45 w 45"/>
                <a:gd name="T65" fmla="*/ 7 h 54"/>
                <a:gd name="T66" fmla="*/ 24 w 45"/>
                <a:gd name="T67" fmla="*/ 7 h 54"/>
                <a:gd name="T68" fmla="*/ 26 w 45"/>
                <a:gd name="T69" fmla="*/ 5 h 54"/>
                <a:gd name="T70" fmla="*/ 29 w 45"/>
                <a:gd name="T71" fmla="*/ 7 h 54"/>
                <a:gd name="T72" fmla="*/ 34 w 45"/>
                <a:gd name="T73" fmla="*/ 12 h 54"/>
                <a:gd name="T74" fmla="*/ 34 w 45"/>
                <a:gd name="T75" fmla="*/ 12 h 54"/>
                <a:gd name="T76" fmla="*/ 31 w 45"/>
                <a:gd name="T77" fmla="*/ 14 h 54"/>
                <a:gd name="T78" fmla="*/ 31 w 45"/>
                <a:gd name="T79" fmla="*/ 19 h 54"/>
                <a:gd name="T80" fmla="*/ 31 w 45"/>
                <a:gd name="T81" fmla="*/ 14 h 54"/>
                <a:gd name="T82" fmla="*/ 29 w 45"/>
                <a:gd name="T83" fmla="*/ 12 h 54"/>
                <a:gd name="T84" fmla="*/ 29 w 45"/>
                <a:gd name="T85" fmla="*/ 14 h 54"/>
                <a:gd name="T86" fmla="*/ 22 w 45"/>
                <a:gd name="T87" fmla="*/ 12 h 54"/>
                <a:gd name="T88" fmla="*/ 22 w 45"/>
                <a:gd name="T89" fmla="*/ 5 h 54"/>
                <a:gd name="T90" fmla="*/ 45 w 45"/>
                <a:gd name="T91" fmla="*/ 2 h 54"/>
                <a:gd name="T92" fmla="*/ 45 w 45"/>
                <a:gd name="T93" fmla="*/ 2 h 54"/>
                <a:gd name="T94" fmla="*/ 38 w 45"/>
                <a:gd name="T95" fmla="*/ 7 h 54"/>
                <a:gd name="T96" fmla="*/ 38 w 45"/>
                <a:gd name="T97" fmla="*/ 12 h 54"/>
                <a:gd name="T98" fmla="*/ 38 w 45"/>
                <a:gd name="T99" fmla="*/ 12 h 54"/>
                <a:gd name="T100" fmla="*/ 36 w 45"/>
                <a:gd name="T101" fmla="*/ 7 h 54"/>
                <a:gd name="T102" fmla="*/ 34 w 45"/>
                <a:gd name="T103" fmla="*/ 2 h 54"/>
                <a:gd name="T104" fmla="*/ 38 w 45"/>
                <a:gd name="T105" fmla="*/ 7 h 54"/>
                <a:gd name="T106" fmla="*/ 36 w 45"/>
                <a:gd name="T107" fmla="*/ 5 h 54"/>
                <a:gd name="T108" fmla="*/ 31 w 45"/>
                <a:gd name="T109" fmla="*/ 5 h 54"/>
                <a:gd name="T110" fmla="*/ 31 w 45"/>
                <a:gd name="T111" fmla="*/ 9 h 54"/>
                <a:gd name="T112" fmla="*/ 29 w 45"/>
                <a:gd name="T113" fmla="*/ 2 h 54"/>
                <a:gd name="T114" fmla="*/ 31 w 45"/>
                <a:gd name="T115" fmla="*/ 7 h 54"/>
                <a:gd name="T116" fmla="*/ 38 w 45"/>
                <a:gd name="T117" fmla="*/ 0 h 54"/>
                <a:gd name="T118" fmla="*/ 41 w 45"/>
                <a:gd name="T119" fmla="*/ 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 h="54">
                  <a:moveTo>
                    <a:pt x="31" y="40"/>
                  </a:moveTo>
                  <a:lnTo>
                    <a:pt x="31" y="43"/>
                  </a:lnTo>
                  <a:lnTo>
                    <a:pt x="31" y="40"/>
                  </a:lnTo>
                  <a:close/>
                  <a:moveTo>
                    <a:pt x="24" y="40"/>
                  </a:moveTo>
                  <a:lnTo>
                    <a:pt x="26" y="40"/>
                  </a:lnTo>
                  <a:lnTo>
                    <a:pt x="24" y="40"/>
                  </a:lnTo>
                  <a:lnTo>
                    <a:pt x="24" y="43"/>
                  </a:lnTo>
                  <a:lnTo>
                    <a:pt x="26" y="43"/>
                  </a:lnTo>
                  <a:lnTo>
                    <a:pt x="24" y="43"/>
                  </a:lnTo>
                  <a:lnTo>
                    <a:pt x="26" y="43"/>
                  </a:lnTo>
                  <a:lnTo>
                    <a:pt x="26" y="45"/>
                  </a:lnTo>
                  <a:lnTo>
                    <a:pt x="29" y="45"/>
                  </a:lnTo>
                  <a:lnTo>
                    <a:pt x="31" y="45"/>
                  </a:lnTo>
                  <a:lnTo>
                    <a:pt x="29" y="45"/>
                  </a:lnTo>
                  <a:lnTo>
                    <a:pt x="31" y="45"/>
                  </a:lnTo>
                  <a:lnTo>
                    <a:pt x="29" y="45"/>
                  </a:lnTo>
                  <a:lnTo>
                    <a:pt x="26" y="45"/>
                  </a:lnTo>
                  <a:lnTo>
                    <a:pt x="29" y="45"/>
                  </a:lnTo>
                  <a:lnTo>
                    <a:pt x="29" y="47"/>
                  </a:lnTo>
                  <a:lnTo>
                    <a:pt x="31" y="47"/>
                  </a:lnTo>
                  <a:lnTo>
                    <a:pt x="29" y="47"/>
                  </a:lnTo>
                  <a:lnTo>
                    <a:pt x="29" y="50"/>
                  </a:lnTo>
                  <a:lnTo>
                    <a:pt x="31" y="50"/>
                  </a:lnTo>
                  <a:lnTo>
                    <a:pt x="29" y="50"/>
                  </a:lnTo>
                  <a:lnTo>
                    <a:pt x="29" y="52"/>
                  </a:lnTo>
                  <a:lnTo>
                    <a:pt x="29" y="50"/>
                  </a:lnTo>
                  <a:lnTo>
                    <a:pt x="31" y="50"/>
                  </a:lnTo>
                  <a:lnTo>
                    <a:pt x="31" y="52"/>
                  </a:lnTo>
                  <a:lnTo>
                    <a:pt x="34" y="52"/>
                  </a:lnTo>
                  <a:lnTo>
                    <a:pt x="34" y="54"/>
                  </a:lnTo>
                  <a:lnTo>
                    <a:pt x="31" y="54"/>
                  </a:lnTo>
                  <a:lnTo>
                    <a:pt x="31" y="52"/>
                  </a:lnTo>
                  <a:lnTo>
                    <a:pt x="29" y="52"/>
                  </a:lnTo>
                  <a:lnTo>
                    <a:pt x="26" y="50"/>
                  </a:lnTo>
                  <a:lnTo>
                    <a:pt x="26" y="47"/>
                  </a:lnTo>
                  <a:lnTo>
                    <a:pt x="24" y="47"/>
                  </a:lnTo>
                  <a:lnTo>
                    <a:pt x="26" y="47"/>
                  </a:lnTo>
                  <a:lnTo>
                    <a:pt x="24" y="47"/>
                  </a:lnTo>
                  <a:lnTo>
                    <a:pt x="24" y="45"/>
                  </a:lnTo>
                  <a:lnTo>
                    <a:pt x="22" y="45"/>
                  </a:lnTo>
                  <a:lnTo>
                    <a:pt x="24" y="43"/>
                  </a:lnTo>
                  <a:lnTo>
                    <a:pt x="22" y="43"/>
                  </a:lnTo>
                  <a:lnTo>
                    <a:pt x="24" y="43"/>
                  </a:lnTo>
                  <a:lnTo>
                    <a:pt x="22" y="43"/>
                  </a:lnTo>
                  <a:lnTo>
                    <a:pt x="22" y="40"/>
                  </a:lnTo>
                  <a:lnTo>
                    <a:pt x="22" y="43"/>
                  </a:lnTo>
                  <a:lnTo>
                    <a:pt x="22" y="40"/>
                  </a:lnTo>
                  <a:lnTo>
                    <a:pt x="24" y="40"/>
                  </a:lnTo>
                  <a:close/>
                  <a:moveTo>
                    <a:pt x="31" y="38"/>
                  </a:moveTo>
                  <a:lnTo>
                    <a:pt x="29" y="38"/>
                  </a:lnTo>
                  <a:lnTo>
                    <a:pt x="31" y="38"/>
                  </a:lnTo>
                  <a:close/>
                  <a:moveTo>
                    <a:pt x="29" y="35"/>
                  </a:moveTo>
                  <a:lnTo>
                    <a:pt x="26" y="33"/>
                  </a:lnTo>
                  <a:lnTo>
                    <a:pt x="29" y="33"/>
                  </a:lnTo>
                  <a:lnTo>
                    <a:pt x="29" y="35"/>
                  </a:lnTo>
                  <a:close/>
                  <a:moveTo>
                    <a:pt x="26" y="26"/>
                  </a:moveTo>
                  <a:lnTo>
                    <a:pt x="29" y="26"/>
                  </a:lnTo>
                  <a:lnTo>
                    <a:pt x="29" y="28"/>
                  </a:lnTo>
                  <a:lnTo>
                    <a:pt x="31" y="28"/>
                  </a:lnTo>
                  <a:lnTo>
                    <a:pt x="34" y="28"/>
                  </a:lnTo>
                  <a:lnTo>
                    <a:pt x="34" y="31"/>
                  </a:lnTo>
                  <a:lnTo>
                    <a:pt x="34" y="33"/>
                  </a:lnTo>
                  <a:lnTo>
                    <a:pt x="34" y="35"/>
                  </a:lnTo>
                  <a:lnTo>
                    <a:pt x="31" y="35"/>
                  </a:lnTo>
                  <a:lnTo>
                    <a:pt x="31" y="33"/>
                  </a:lnTo>
                  <a:lnTo>
                    <a:pt x="29" y="31"/>
                  </a:lnTo>
                  <a:lnTo>
                    <a:pt x="26" y="31"/>
                  </a:lnTo>
                  <a:lnTo>
                    <a:pt x="24" y="31"/>
                  </a:lnTo>
                  <a:lnTo>
                    <a:pt x="26" y="31"/>
                  </a:lnTo>
                  <a:lnTo>
                    <a:pt x="24" y="28"/>
                  </a:lnTo>
                  <a:lnTo>
                    <a:pt x="24" y="26"/>
                  </a:lnTo>
                  <a:lnTo>
                    <a:pt x="26" y="26"/>
                  </a:lnTo>
                  <a:close/>
                  <a:moveTo>
                    <a:pt x="26" y="26"/>
                  </a:moveTo>
                  <a:lnTo>
                    <a:pt x="26" y="24"/>
                  </a:lnTo>
                  <a:lnTo>
                    <a:pt x="24" y="24"/>
                  </a:lnTo>
                  <a:lnTo>
                    <a:pt x="26" y="24"/>
                  </a:lnTo>
                  <a:lnTo>
                    <a:pt x="26" y="26"/>
                  </a:lnTo>
                  <a:close/>
                  <a:moveTo>
                    <a:pt x="24" y="21"/>
                  </a:moveTo>
                  <a:lnTo>
                    <a:pt x="24" y="24"/>
                  </a:lnTo>
                  <a:lnTo>
                    <a:pt x="22" y="21"/>
                  </a:lnTo>
                  <a:lnTo>
                    <a:pt x="24" y="21"/>
                  </a:lnTo>
                  <a:close/>
                  <a:moveTo>
                    <a:pt x="34" y="21"/>
                  </a:moveTo>
                  <a:lnTo>
                    <a:pt x="34" y="24"/>
                  </a:lnTo>
                  <a:lnTo>
                    <a:pt x="36" y="24"/>
                  </a:lnTo>
                  <a:lnTo>
                    <a:pt x="34" y="24"/>
                  </a:lnTo>
                  <a:lnTo>
                    <a:pt x="36" y="24"/>
                  </a:lnTo>
                  <a:lnTo>
                    <a:pt x="34" y="24"/>
                  </a:lnTo>
                  <a:lnTo>
                    <a:pt x="34" y="21"/>
                  </a:lnTo>
                  <a:lnTo>
                    <a:pt x="31" y="19"/>
                  </a:lnTo>
                  <a:lnTo>
                    <a:pt x="34" y="21"/>
                  </a:lnTo>
                  <a:close/>
                  <a:moveTo>
                    <a:pt x="3" y="14"/>
                  </a:moveTo>
                  <a:lnTo>
                    <a:pt x="3" y="16"/>
                  </a:lnTo>
                  <a:lnTo>
                    <a:pt x="5" y="16"/>
                  </a:lnTo>
                  <a:lnTo>
                    <a:pt x="3" y="16"/>
                  </a:lnTo>
                  <a:lnTo>
                    <a:pt x="5" y="16"/>
                  </a:lnTo>
                  <a:lnTo>
                    <a:pt x="3" y="16"/>
                  </a:lnTo>
                  <a:lnTo>
                    <a:pt x="0" y="16"/>
                  </a:lnTo>
                  <a:lnTo>
                    <a:pt x="0" y="14"/>
                  </a:lnTo>
                  <a:lnTo>
                    <a:pt x="3" y="14"/>
                  </a:lnTo>
                  <a:close/>
                  <a:moveTo>
                    <a:pt x="15" y="14"/>
                  </a:moveTo>
                  <a:lnTo>
                    <a:pt x="17" y="14"/>
                  </a:lnTo>
                  <a:lnTo>
                    <a:pt x="17" y="16"/>
                  </a:lnTo>
                  <a:lnTo>
                    <a:pt x="19" y="16"/>
                  </a:lnTo>
                  <a:lnTo>
                    <a:pt x="19" y="19"/>
                  </a:lnTo>
                  <a:lnTo>
                    <a:pt x="17" y="19"/>
                  </a:lnTo>
                  <a:lnTo>
                    <a:pt x="15" y="19"/>
                  </a:lnTo>
                  <a:lnTo>
                    <a:pt x="17" y="19"/>
                  </a:lnTo>
                  <a:lnTo>
                    <a:pt x="15" y="19"/>
                  </a:lnTo>
                  <a:lnTo>
                    <a:pt x="12" y="19"/>
                  </a:lnTo>
                  <a:lnTo>
                    <a:pt x="10" y="19"/>
                  </a:lnTo>
                  <a:lnTo>
                    <a:pt x="7" y="16"/>
                  </a:lnTo>
                  <a:lnTo>
                    <a:pt x="10" y="16"/>
                  </a:lnTo>
                  <a:lnTo>
                    <a:pt x="12" y="16"/>
                  </a:lnTo>
                  <a:lnTo>
                    <a:pt x="10" y="16"/>
                  </a:lnTo>
                  <a:lnTo>
                    <a:pt x="7" y="16"/>
                  </a:lnTo>
                  <a:lnTo>
                    <a:pt x="7" y="14"/>
                  </a:lnTo>
                  <a:lnTo>
                    <a:pt x="10" y="14"/>
                  </a:lnTo>
                  <a:lnTo>
                    <a:pt x="12" y="14"/>
                  </a:lnTo>
                  <a:lnTo>
                    <a:pt x="12" y="12"/>
                  </a:lnTo>
                  <a:lnTo>
                    <a:pt x="15" y="12"/>
                  </a:lnTo>
                  <a:lnTo>
                    <a:pt x="15" y="14"/>
                  </a:lnTo>
                  <a:close/>
                  <a:moveTo>
                    <a:pt x="45" y="7"/>
                  </a:moveTo>
                  <a:lnTo>
                    <a:pt x="43" y="7"/>
                  </a:lnTo>
                  <a:lnTo>
                    <a:pt x="45" y="7"/>
                  </a:lnTo>
                  <a:lnTo>
                    <a:pt x="43" y="7"/>
                  </a:lnTo>
                  <a:lnTo>
                    <a:pt x="43" y="9"/>
                  </a:lnTo>
                  <a:lnTo>
                    <a:pt x="43" y="7"/>
                  </a:lnTo>
                  <a:lnTo>
                    <a:pt x="41" y="7"/>
                  </a:lnTo>
                  <a:lnTo>
                    <a:pt x="43" y="7"/>
                  </a:lnTo>
                  <a:lnTo>
                    <a:pt x="43" y="5"/>
                  </a:lnTo>
                  <a:lnTo>
                    <a:pt x="45" y="5"/>
                  </a:lnTo>
                  <a:lnTo>
                    <a:pt x="45" y="7"/>
                  </a:lnTo>
                  <a:close/>
                  <a:moveTo>
                    <a:pt x="22" y="2"/>
                  </a:moveTo>
                  <a:lnTo>
                    <a:pt x="24" y="2"/>
                  </a:lnTo>
                  <a:lnTo>
                    <a:pt x="24" y="5"/>
                  </a:lnTo>
                  <a:lnTo>
                    <a:pt x="24" y="7"/>
                  </a:lnTo>
                  <a:lnTo>
                    <a:pt x="24" y="9"/>
                  </a:lnTo>
                  <a:lnTo>
                    <a:pt x="24" y="7"/>
                  </a:lnTo>
                  <a:lnTo>
                    <a:pt x="24" y="5"/>
                  </a:lnTo>
                  <a:lnTo>
                    <a:pt x="26" y="5"/>
                  </a:lnTo>
                  <a:lnTo>
                    <a:pt x="26" y="7"/>
                  </a:lnTo>
                  <a:lnTo>
                    <a:pt x="29" y="7"/>
                  </a:lnTo>
                  <a:lnTo>
                    <a:pt x="29" y="9"/>
                  </a:lnTo>
                  <a:lnTo>
                    <a:pt x="29" y="7"/>
                  </a:lnTo>
                  <a:lnTo>
                    <a:pt x="29" y="9"/>
                  </a:lnTo>
                  <a:lnTo>
                    <a:pt x="31" y="9"/>
                  </a:lnTo>
                  <a:lnTo>
                    <a:pt x="34" y="9"/>
                  </a:lnTo>
                  <a:lnTo>
                    <a:pt x="34" y="12"/>
                  </a:lnTo>
                  <a:lnTo>
                    <a:pt x="31" y="12"/>
                  </a:lnTo>
                  <a:lnTo>
                    <a:pt x="31" y="9"/>
                  </a:lnTo>
                  <a:lnTo>
                    <a:pt x="31" y="12"/>
                  </a:lnTo>
                  <a:lnTo>
                    <a:pt x="34" y="12"/>
                  </a:lnTo>
                  <a:lnTo>
                    <a:pt x="34" y="14"/>
                  </a:lnTo>
                  <a:lnTo>
                    <a:pt x="36" y="14"/>
                  </a:lnTo>
                  <a:lnTo>
                    <a:pt x="34" y="14"/>
                  </a:lnTo>
                  <a:lnTo>
                    <a:pt x="31" y="14"/>
                  </a:lnTo>
                  <a:lnTo>
                    <a:pt x="34" y="14"/>
                  </a:lnTo>
                  <a:lnTo>
                    <a:pt x="34" y="16"/>
                  </a:lnTo>
                  <a:lnTo>
                    <a:pt x="31" y="16"/>
                  </a:lnTo>
                  <a:lnTo>
                    <a:pt x="31" y="19"/>
                  </a:lnTo>
                  <a:lnTo>
                    <a:pt x="31" y="16"/>
                  </a:lnTo>
                  <a:lnTo>
                    <a:pt x="31" y="14"/>
                  </a:lnTo>
                  <a:lnTo>
                    <a:pt x="31" y="16"/>
                  </a:lnTo>
                  <a:lnTo>
                    <a:pt x="31" y="14"/>
                  </a:lnTo>
                  <a:lnTo>
                    <a:pt x="29" y="12"/>
                  </a:lnTo>
                  <a:lnTo>
                    <a:pt x="26" y="9"/>
                  </a:lnTo>
                  <a:lnTo>
                    <a:pt x="26" y="12"/>
                  </a:lnTo>
                  <a:lnTo>
                    <a:pt x="29" y="12"/>
                  </a:lnTo>
                  <a:lnTo>
                    <a:pt x="29" y="14"/>
                  </a:lnTo>
                  <a:lnTo>
                    <a:pt x="31" y="14"/>
                  </a:lnTo>
                  <a:lnTo>
                    <a:pt x="29" y="16"/>
                  </a:lnTo>
                  <a:lnTo>
                    <a:pt x="29" y="14"/>
                  </a:lnTo>
                  <a:lnTo>
                    <a:pt x="26" y="14"/>
                  </a:lnTo>
                  <a:lnTo>
                    <a:pt x="26" y="12"/>
                  </a:lnTo>
                  <a:lnTo>
                    <a:pt x="24" y="12"/>
                  </a:lnTo>
                  <a:lnTo>
                    <a:pt x="22" y="12"/>
                  </a:lnTo>
                  <a:lnTo>
                    <a:pt x="22" y="9"/>
                  </a:lnTo>
                  <a:lnTo>
                    <a:pt x="19" y="7"/>
                  </a:lnTo>
                  <a:lnTo>
                    <a:pt x="19" y="5"/>
                  </a:lnTo>
                  <a:lnTo>
                    <a:pt x="22" y="5"/>
                  </a:lnTo>
                  <a:lnTo>
                    <a:pt x="22" y="2"/>
                  </a:lnTo>
                  <a:close/>
                  <a:moveTo>
                    <a:pt x="45" y="2"/>
                  </a:moveTo>
                  <a:lnTo>
                    <a:pt x="45" y="5"/>
                  </a:lnTo>
                  <a:lnTo>
                    <a:pt x="45" y="2"/>
                  </a:lnTo>
                  <a:lnTo>
                    <a:pt x="45" y="5"/>
                  </a:lnTo>
                  <a:lnTo>
                    <a:pt x="43" y="5"/>
                  </a:lnTo>
                  <a:lnTo>
                    <a:pt x="43" y="2"/>
                  </a:lnTo>
                  <a:lnTo>
                    <a:pt x="45" y="2"/>
                  </a:lnTo>
                  <a:close/>
                  <a:moveTo>
                    <a:pt x="41" y="7"/>
                  </a:moveTo>
                  <a:lnTo>
                    <a:pt x="41" y="9"/>
                  </a:lnTo>
                  <a:lnTo>
                    <a:pt x="38" y="9"/>
                  </a:lnTo>
                  <a:lnTo>
                    <a:pt x="38" y="7"/>
                  </a:lnTo>
                  <a:lnTo>
                    <a:pt x="38" y="9"/>
                  </a:lnTo>
                  <a:lnTo>
                    <a:pt x="41" y="9"/>
                  </a:lnTo>
                  <a:lnTo>
                    <a:pt x="41" y="12"/>
                  </a:lnTo>
                  <a:lnTo>
                    <a:pt x="38" y="12"/>
                  </a:lnTo>
                  <a:lnTo>
                    <a:pt x="38" y="9"/>
                  </a:lnTo>
                  <a:lnTo>
                    <a:pt x="36" y="9"/>
                  </a:lnTo>
                  <a:lnTo>
                    <a:pt x="36" y="12"/>
                  </a:lnTo>
                  <a:lnTo>
                    <a:pt x="38" y="12"/>
                  </a:lnTo>
                  <a:lnTo>
                    <a:pt x="36" y="12"/>
                  </a:lnTo>
                  <a:lnTo>
                    <a:pt x="34" y="9"/>
                  </a:lnTo>
                  <a:lnTo>
                    <a:pt x="34" y="7"/>
                  </a:lnTo>
                  <a:lnTo>
                    <a:pt x="36" y="7"/>
                  </a:lnTo>
                  <a:lnTo>
                    <a:pt x="36" y="9"/>
                  </a:lnTo>
                  <a:lnTo>
                    <a:pt x="36" y="7"/>
                  </a:lnTo>
                  <a:lnTo>
                    <a:pt x="36" y="5"/>
                  </a:lnTo>
                  <a:lnTo>
                    <a:pt x="34" y="2"/>
                  </a:lnTo>
                  <a:lnTo>
                    <a:pt x="36" y="2"/>
                  </a:lnTo>
                  <a:lnTo>
                    <a:pt x="36" y="5"/>
                  </a:lnTo>
                  <a:lnTo>
                    <a:pt x="38" y="5"/>
                  </a:lnTo>
                  <a:lnTo>
                    <a:pt x="38" y="7"/>
                  </a:lnTo>
                  <a:lnTo>
                    <a:pt x="41" y="7"/>
                  </a:lnTo>
                  <a:close/>
                  <a:moveTo>
                    <a:pt x="34" y="2"/>
                  </a:moveTo>
                  <a:lnTo>
                    <a:pt x="34" y="5"/>
                  </a:lnTo>
                  <a:lnTo>
                    <a:pt x="36" y="5"/>
                  </a:lnTo>
                  <a:lnTo>
                    <a:pt x="36" y="7"/>
                  </a:lnTo>
                  <a:lnTo>
                    <a:pt x="34" y="7"/>
                  </a:lnTo>
                  <a:lnTo>
                    <a:pt x="34" y="5"/>
                  </a:lnTo>
                  <a:lnTo>
                    <a:pt x="31" y="5"/>
                  </a:lnTo>
                  <a:lnTo>
                    <a:pt x="31" y="2"/>
                  </a:lnTo>
                  <a:lnTo>
                    <a:pt x="34" y="2"/>
                  </a:lnTo>
                  <a:close/>
                  <a:moveTo>
                    <a:pt x="34" y="9"/>
                  </a:moveTo>
                  <a:lnTo>
                    <a:pt x="31" y="9"/>
                  </a:lnTo>
                  <a:lnTo>
                    <a:pt x="31" y="7"/>
                  </a:lnTo>
                  <a:lnTo>
                    <a:pt x="31" y="5"/>
                  </a:lnTo>
                  <a:lnTo>
                    <a:pt x="29" y="5"/>
                  </a:lnTo>
                  <a:lnTo>
                    <a:pt x="29" y="2"/>
                  </a:lnTo>
                  <a:lnTo>
                    <a:pt x="29" y="0"/>
                  </a:lnTo>
                  <a:lnTo>
                    <a:pt x="29" y="2"/>
                  </a:lnTo>
                  <a:lnTo>
                    <a:pt x="31" y="5"/>
                  </a:lnTo>
                  <a:lnTo>
                    <a:pt x="31" y="7"/>
                  </a:lnTo>
                  <a:lnTo>
                    <a:pt x="34" y="7"/>
                  </a:lnTo>
                  <a:lnTo>
                    <a:pt x="34" y="9"/>
                  </a:lnTo>
                  <a:close/>
                  <a:moveTo>
                    <a:pt x="36" y="0"/>
                  </a:moveTo>
                  <a:lnTo>
                    <a:pt x="38" y="0"/>
                  </a:lnTo>
                  <a:lnTo>
                    <a:pt x="38" y="2"/>
                  </a:lnTo>
                  <a:lnTo>
                    <a:pt x="38" y="5"/>
                  </a:lnTo>
                  <a:lnTo>
                    <a:pt x="41" y="5"/>
                  </a:lnTo>
                  <a:lnTo>
                    <a:pt x="41" y="7"/>
                  </a:lnTo>
                  <a:lnTo>
                    <a:pt x="38" y="5"/>
                  </a:lnTo>
                  <a:lnTo>
                    <a:pt x="36" y="2"/>
                  </a:lnTo>
                  <a:lnTo>
                    <a:pt x="3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4" name="Freeform 50297"/>
            <p:cNvSpPr>
              <a:spLocks noEditPoints="1"/>
            </p:cNvSpPr>
            <p:nvPr/>
          </p:nvSpPr>
          <p:spPr bwMode="auto">
            <a:xfrm>
              <a:off x="1636712" y="3716350"/>
              <a:ext cx="38100" cy="60325"/>
            </a:xfrm>
            <a:custGeom>
              <a:avLst/>
              <a:gdLst>
                <a:gd name="T0" fmla="*/ 24 w 24"/>
                <a:gd name="T1" fmla="*/ 38 h 38"/>
                <a:gd name="T2" fmla="*/ 24 w 24"/>
                <a:gd name="T3" fmla="*/ 38 h 38"/>
                <a:gd name="T4" fmla="*/ 24 w 24"/>
                <a:gd name="T5" fmla="*/ 38 h 38"/>
                <a:gd name="T6" fmla="*/ 24 w 24"/>
                <a:gd name="T7" fmla="*/ 38 h 38"/>
                <a:gd name="T8" fmla="*/ 24 w 24"/>
                <a:gd name="T9" fmla="*/ 38 h 38"/>
                <a:gd name="T10" fmla="*/ 24 w 24"/>
                <a:gd name="T11" fmla="*/ 38 h 38"/>
                <a:gd name="T12" fmla="*/ 22 w 24"/>
                <a:gd name="T13" fmla="*/ 31 h 38"/>
                <a:gd name="T14" fmla="*/ 22 w 24"/>
                <a:gd name="T15" fmla="*/ 31 h 38"/>
                <a:gd name="T16" fmla="*/ 22 w 24"/>
                <a:gd name="T17" fmla="*/ 31 h 38"/>
                <a:gd name="T18" fmla="*/ 22 w 24"/>
                <a:gd name="T19" fmla="*/ 31 h 38"/>
                <a:gd name="T20" fmla="*/ 22 w 24"/>
                <a:gd name="T21" fmla="*/ 31 h 38"/>
                <a:gd name="T22" fmla="*/ 0 w 24"/>
                <a:gd name="T23" fmla="*/ 0 h 38"/>
                <a:gd name="T24" fmla="*/ 0 w 24"/>
                <a:gd name="T25" fmla="*/ 0 h 38"/>
                <a:gd name="T26" fmla="*/ 0 w 24"/>
                <a:gd name="T27" fmla="*/ 0 h 38"/>
                <a:gd name="T28" fmla="*/ 0 w 24"/>
                <a:gd name="T29" fmla="*/ 0 h 38"/>
                <a:gd name="T30" fmla="*/ 0 w 24"/>
                <a:gd name="T31" fmla="*/ 0 h 38"/>
                <a:gd name="T32" fmla="*/ 0 w 24"/>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8">
                  <a:moveTo>
                    <a:pt x="24" y="38"/>
                  </a:moveTo>
                  <a:lnTo>
                    <a:pt x="24" y="38"/>
                  </a:lnTo>
                  <a:lnTo>
                    <a:pt x="24" y="38"/>
                  </a:lnTo>
                  <a:lnTo>
                    <a:pt x="24" y="38"/>
                  </a:lnTo>
                  <a:lnTo>
                    <a:pt x="24" y="38"/>
                  </a:lnTo>
                  <a:lnTo>
                    <a:pt x="24" y="38"/>
                  </a:lnTo>
                  <a:close/>
                  <a:moveTo>
                    <a:pt x="22" y="31"/>
                  </a:moveTo>
                  <a:lnTo>
                    <a:pt x="22" y="31"/>
                  </a:lnTo>
                  <a:lnTo>
                    <a:pt x="22" y="31"/>
                  </a:lnTo>
                  <a:lnTo>
                    <a:pt x="22" y="31"/>
                  </a:lnTo>
                  <a:lnTo>
                    <a:pt x="22" y="31"/>
                  </a:lnTo>
                  <a:close/>
                  <a:moveTo>
                    <a:pt x="0" y="0"/>
                  </a:move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5" name="Freeform 50298"/>
            <p:cNvSpPr>
              <a:spLocks/>
            </p:cNvSpPr>
            <p:nvPr/>
          </p:nvSpPr>
          <p:spPr bwMode="auto">
            <a:xfrm>
              <a:off x="3197223" y="3867164"/>
              <a:ext cx="33338" cy="26988"/>
            </a:xfrm>
            <a:custGeom>
              <a:avLst/>
              <a:gdLst>
                <a:gd name="T0" fmla="*/ 2 w 21"/>
                <a:gd name="T1" fmla="*/ 17 h 17"/>
                <a:gd name="T2" fmla="*/ 2 w 21"/>
                <a:gd name="T3" fmla="*/ 17 h 17"/>
                <a:gd name="T4" fmla="*/ 2 w 21"/>
                <a:gd name="T5" fmla="*/ 17 h 17"/>
                <a:gd name="T6" fmla="*/ 2 w 21"/>
                <a:gd name="T7" fmla="*/ 17 h 17"/>
                <a:gd name="T8" fmla="*/ 2 w 21"/>
                <a:gd name="T9" fmla="*/ 17 h 17"/>
                <a:gd name="T10" fmla="*/ 2 w 21"/>
                <a:gd name="T11" fmla="*/ 17 h 17"/>
                <a:gd name="T12" fmla="*/ 0 w 21"/>
                <a:gd name="T13" fmla="*/ 15 h 17"/>
                <a:gd name="T14" fmla="*/ 2 w 21"/>
                <a:gd name="T15" fmla="*/ 12 h 17"/>
                <a:gd name="T16" fmla="*/ 4 w 21"/>
                <a:gd name="T17" fmla="*/ 15 h 17"/>
                <a:gd name="T18" fmla="*/ 2 w 21"/>
                <a:gd name="T19" fmla="*/ 10 h 17"/>
                <a:gd name="T20" fmla="*/ 2 w 21"/>
                <a:gd name="T21" fmla="*/ 10 h 17"/>
                <a:gd name="T22" fmla="*/ 2 w 21"/>
                <a:gd name="T23" fmla="*/ 10 h 17"/>
                <a:gd name="T24" fmla="*/ 7 w 21"/>
                <a:gd name="T25" fmla="*/ 10 h 17"/>
                <a:gd name="T26" fmla="*/ 7 w 21"/>
                <a:gd name="T27" fmla="*/ 10 h 17"/>
                <a:gd name="T28" fmla="*/ 4 w 21"/>
                <a:gd name="T29" fmla="*/ 8 h 17"/>
                <a:gd name="T30" fmla="*/ 2 w 21"/>
                <a:gd name="T31" fmla="*/ 10 h 17"/>
                <a:gd name="T32" fmla="*/ 2 w 21"/>
                <a:gd name="T33" fmla="*/ 8 h 17"/>
                <a:gd name="T34" fmla="*/ 2 w 21"/>
                <a:gd name="T35" fmla="*/ 8 h 17"/>
                <a:gd name="T36" fmla="*/ 4 w 21"/>
                <a:gd name="T37" fmla="*/ 5 h 17"/>
                <a:gd name="T38" fmla="*/ 4 w 21"/>
                <a:gd name="T39" fmla="*/ 5 h 17"/>
                <a:gd name="T40" fmla="*/ 7 w 21"/>
                <a:gd name="T41" fmla="*/ 8 h 17"/>
                <a:gd name="T42" fmla="*/ 7 w 21"/>
                <a:gd name="T43" fmla="*/ 8 h 17"/>
                <a:gd name="T44" fmla="*/ 9 w 21"/>
                <a:gd name="T45" fmla="*/ 5 h 17"/>
                <a:gd name="T46" fmla="*/ 14 w 21"/>
                <a:gd name="T47" fmla="*/ 5 h 17"/>
                <a:gd name="T48" fmla="*/ 16 w 21"/>
                <a:gd name="T49" fmla="*/ 3 h 17"/>
                <a:gd name="T50" fmla="*/ 19 w 21"/>
                <a:gd name="T51" fmla="*/ 0 h 17"/>
                <a:gd name="T52" fmla="*/ 21 w 21"/>
                <a:gd name="T53" fmla="*/ 3 h 17"/>
                <a:gd name="T54" fmla="*/ 19 w 21"/>
                <a:gd name="T55" fmla="*/ 5 h 17"/>
                <a:gd name="T56" fmla="*/ 16 w 21"/>
                <a:gd name="T57" fmla="*/ 8 h 17"/>
                <a:gd name="T58" fmla="*/ 19 w 21"/>
                <a:gd name="T59" fmla="*/ 10 h 17"/>
                <a:gd name="T60" fmla="*/ 16 w 21"/>
                <a:gd name="T61" fmla="*/ 12 h 17"/>
                <a:gd name="T62" fmla="*/ 14 w 21"/>
                <a:gd name="T63" fmla="*/ 15 h 17"/>
                <a:gd name="T64" fmla="*/ 14 w 21"/>
                <a:gd name="T65" fmla="*/ 15 h 17"/>
                <a:gd name="T66" fmla="*/ 14 w 21"/>
                <a:gd name="T67" fmla="*/ 15 h 17"/>
                <a:gd name="T68" fmla="*/ 12 w 21"/>
                <a:gd name="T69" fmla="*/ 17 h 17"/>
                <a:gd name="T70" fmla="*/ 9 w 21"/>
                <a:gd name="T71" fmla="*/ 15 h 17"/>
                <a:gd name="T72" fmla="*/ 7 w 21"/>
                <a:gd name="T73" fmla="*/ 17 h 17"/>
                <a:gd name="T74" fmla="*/ 9 w 21"/>
                <a:gd name="T75" fmla="*/ 15 h 17"/>
                <a:gd name="T76" fmla="*/ 7 w 21"/>
                <a:gd name="T7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 h="17">
                  <a:moveTo>
                    <a:pt x="4" y="17"/>
                  </a:moveTo>
                  <a:lnTo>
                    <a:pt x="2" y="17"/>
                  </a:lnTo>
                  <a:lnTo>
                    <a:pt x="2" y="15"/>
                  </a:lnTo>
                  <a:lnTo>
                    <a:pt x="2" y="17"/>
                  </a:lnTo>
                  <a:lnTo>
                    <a:pt x="2" y="15"/>
                  </a:lnTo>
                  <a:lnTo>
                    <a:pt x="2" y="17"/>
                  </a:lnTo>
                  <a:lnTo>
                    <a:pt x="2" y="15"/>
                  </a:lnTo>
                  <a:lnTo>
                    <a:pt x="2" y="17"/>
                  </a:lnTo>
                  <a:lnTo>
                    <a:pt x="0" y="17"/>
                  </a:lnTo>
                  <a:lnTo>
                    <a:pt x="2" y="17"/>
                  </a:lnTo>
                  <a:lnTo>
                    <a:pt x="2" y="15"/>
                  </a:lnTo>
                  <a:lnTo>
                    <a:pt x="2" y="17"/>
                  </a:lnTo>
                  <a:lnTo>
                    <a:pt x="2" y="15"/>
                  </a:lnTo>
                  <a:lnTo>
                    <a:pt x="0" y="15"/>
                  </a:lnTo>
                  <a:lnTo>
                    <a:pt x="0" y="12"/>
                  </a:lnTo>
                  <a:lnTo>
                    <a:pt x="2" y="12"/>
                  </a:lnTo>
                  <a:lnTo>
                    <a:pt x="4" y="12"/>
                  </a:lnTo>
                  <a:lnTo>
                    <a:pt x="4" y="15"/>
                  </a:lnTo>
                  <a:lnTo>
                    <a:pt x="4" y="12"/>
                  </a:lnTo>
                  <a:lnTo>
                    <a:pt x="2" y="10"/>
                  </a:lnTo>
                  <a:lnTo>
                    <a:pt x="2" y="12"/>
                  </a:lnTo>
                  <a:lnTo>
                    <a:pt x="2" y="10"/>
                  </a:lnTo>
                  <a:lnTo>
                    <a:pt x="2" y="12"/>
                  </a:lnTo>
                  <a:lnTo>
                    <a:pt x="2" y="10"/>
                  </a:lnTo>
                  <a:lnTo>
                    <a:pt x="4" y="10"/>
                  </a:lnTo>
                  <a:lnTo>
                    <a:pt x="7" y="10"/>
                  </a:lnTo>
                  <a:lnTo>
                    <a:pt x="9" y="10"/>
                  </a:lnTo>
                  <a:lnTo>
                    <a:pt x="7" y="10"/>
                  </a:lnTo>
                  <a:lnTo>
                    <a:pt x="4" y="10"/>
                  </a:lnTo>
                  <a:lnTo>
                    <a:pt x="4" y="8"/>
                  </a:lnTo>
                  <a:lnTo>
                    <a:pt x="4" y="10"/>
                  </a:lnTo>
                  <a:lnTo>
                    <a:pt x="2" y="10"/>
                  </a:lnTo>
                  <a:lnTo>
                    <a:pt x="4" y="8"/>
                  </a:lnTo>
                  <a:lnTo>
                    <a:pt x="2" y="8"/>
                  </a:lnTo>
                  <a:lnTo>
                    <a:pt x="2" y="10"/>
                  </a:lnTo>
                  <a:lnTo>
                    <a:pt x="2" y="8"/>
                  </a:lnTo>
                  <a:lnTo>
                    <a:pt x="4" y="8"/>
                  </a:lnTo>
                  <a:lnTo>
                    <a:pt x="4" y="5"/>
                  </a:lnTo>
                  <a:lnTo>
                    <a:pt x="4" y="8"/>
                  </a:lnTo>
                  <a:lnTo>
                    <a:pt x="4" y="5"/>
                  </a:lnTo>
                  <a:lnTo>
                    <a:pt x="7" y="5"/>
                  </a:lnTo>
                  <a:lnTo>
                    <a:pt x="7" y="8"/>
                  </a:lnTo>
                  <a:lnTo>
                    <a:pt x="7" y="5"/>
                  </a:lnTo>
                  <a:lnTo>
                    <a:pt x="7" y="8"/>
                  </a:lnTo>
                  <a:lnTo>
                    <a:pt x="7" y="5"/>
                  </a:lnTo>
                  <a:lnTo>
                    <a:pt x="9" y="5"/>
                  </a:lnTo>
                  <a:lnTo>
                    <a:pt x="12" y="5"/>
                  </a:lnTo>
                  <a:lnTo>
                    <a:pt x="14" y="5"/>
                  </a:lnTo>
                  <a:lnTo>
                    <a:pt x="16" y="5"/>
                  </a:lnTo>
                  <a:lnTo>
                    <a:pt x="16" y="3"/>
                  </a:lnTo>
                  <a:lnTo>
                    <a:pt x="19" y="3"/>
                  </a:lnTo>
                  <a:lnTo>
                    <a:pt x="19" y="0"/>
                  </a:lnTo>
                  <a:lnTo>
                    <a:pt x="21" y="0"/>
                  </a:lnTo>
                  <a:lnTo>
                    <a:pt x="21" y="3"/>
                  </a:lnTo>
                  <a:lnTo>
                    <a:pt x="19" y="3"/>
                  </a:lnTo>
                  <a:lnTo>
                    <a:pt x="19" y="5"/>
                  </a:lnTo>
                  <a:lnTo>
                    <a:pt x="16" y="5"/>
                  </a:lnTo>
                  <a:lnTo>
                    <a:pt x="16" y="8"/>
                  </a:lnTo>
                  <a:lnTo>
                    <a:pt x="16" y="10"/>
                  </a:lnTo>
                  <a:lnTo>
                    <a:pt x="19" y="10"/>
                  </a:lnTo>
                  <a:lnTo>
                    <a:pt x="16" y="10"/>
                  </a:lnTo>
                  <a:lnTo>
                    <a:pt x="16" y="12"/>
                  </a:lnTo>
                  <a:lnTo>
                    <a:pt x="14" y="12"/>
                  </a:lnTo>
                  <a:lnTo>
                    <a:pt x="14" y="15"/>
                  </a:lnTo>
                  <a:lnTo>
                    <a:pt x="14" y="17"/>
                  </a:lnTo>
                  <a:lnTo>
                    <a:pt x="14" y="15"/>
                  </a:lnTo>
                  <a:lnTo>
                    <a:pt x="14" y="17"/>
                  </a:lnTo>
                  <a:lnTo>
                    <a:pt x="14" y="15"/>
                  </a:lnTo>
                  <a:lnTo>
                    <a:pt x="14" y="17"/>
                  </a:lnTo>
                  <a:lnTo>
                    <a:pt x="12" y="17"/>
                  </a:lnTo>
                  <a:lnTo>
                    <a:pt x="12" y="15"/>
                  </a:lnTo>
                  <a:lnTo>
                    <a:pt x="9" y="15"/>
                  </a:lnTo>
                  <a:lnTo>
                    <a:pt x="9" y="17"/>
                  </a:lnTo>
                  <a:lnTo>
                    <a:pt x="7" y="17"/>
                  </a:lnTo>
                  <a:lnTo>
                    <a:pt x="7" y="15"/>
                  </a:lnTo>
                  <a:lnTo>
                    <a:pt x="9" y="15"/>
                  </a:lnTo>
                  <a:lnTo>
                    <a:pt x="7" y="15"/>
                  </a:lnTo>
                  <a:lnTo>
                    <a:pt x="7" y="17"/>
                  </a:lnTo>
                  <a:lnTo>
                    <a:pt x="4" y="17"/>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6" name="Freeform 50299"/>
            <p:cNvSpPr>
              <a:spLocks noEditPoints="1"/>
            </p:cNvSpPr>
            <p:nvPr/>
          </p:nvSpPr>
          <p:spPr bwMode="auto">
            <a:xfrm>
              <a:off x="3054348" y="2997212"/>
              <a:ext cx="623888" cy="912816"/>
            </a:xfrm>
            <a:custGeom>
              <a:avLst/>
              <a:gdLst>
                <a:gd name="T0" fmla="*/ 16 w 393"/>
                <a:gd name="T1" fmla="*/ 548 h 575"/>
                <a:gd name="T2" fmla="*/ 14 w 393"/>
                <a:gd name="T3" fmla="*/ 563 h 575"/>
                <a:gd name="T4" fmla="*/ 16 w 393"/>
                <a:gd name="T5" fmla="*/ 565 h 575"/>
                <a:gd name="T6" fmla="*/ 4 w 393"/>
                <a:gd name="T7" fmla="*/ 553 h 575"/>
                <a:gd name="T8" fmla="*/ 52 w 393"/>
                <a:gd name="T9" fmla="*/ 434 h 575"/>
                <a:gd name="T10" fmla="*/ 85 w 393"/>
                <a:gd name="T11" fmla="*/ 387 h 575"/>
                <a:gd name="T12" fmla="*/ 54 w 393"/>
                <a:gd name="T13" fmla="*/ 389 h 575"/>
                <a:gd name="T14" fmla="*/ 132 w 393"/>
                <a:gd name="T15" fmla="*/ 339 h 575"/>
                <a:gd name="T16" fmla="*/ 189 w 393"/>
                <a:gd name="T17" fmla="*/ 553 h 575"/>
                <a:gd name="T18" fmla="*/ 178 w 393"/>
                <a:gd name="T19" fmla="*/ 558 h 575"/>
                <a:gd name="T20" fmla="*/ 166 w 393"/>
                <a:gd name="T21" fmla="*/ 558 h 575"/>
                <a:gd name="T22" fmla="*/ 154 w 393"/>
                <a:gd name="T23" fmla="*/ 565 h 575"/>
                <a:gd name="T24" fmla="*/ 144 w 393"/>
                <a:gd name="T25" fmla="*/ 565 h 575"/>
                <a:gd name="T26" fmla="*/ 125 w 393"/>
                <a:gd name="T27" fmla="*/ 567 h 575"/>
                <a:gd name="T28" fmla="*/ 121 w 393"/>
                <a:gd name="T29" fmla="*/ 572 h 575"/>
                <a:gd name="T30" fmla="*/ 113 w 393"/>
                <a:gd name="T31" fmla="*/ 567 h 575"/>
                <a:gd name="T32" fmla="*/ 113 w 393"/>
                <a:gd name="T33" fmla="*/ 563 h 575"/>
                <a:gd name="T34" fmla="*/ 97 w 393"/>
                <a:gd name="T35" fmla="*/ 553 h 575"/>
                <a:gd name="T36" fmla="*/ 76 w 393"/>
                <a:gd name="T37" fmla="*/ 539 h 575"/>
                <a:gd name="T38" fmla="*/ 57 w 393"/>
                <a:gd name="T39" fmla="*/ 529 h 575"/>
                <a:gd name="T40" fmla="*/ 57 w 393"/>
                <a:gd name="T41" fmla="*/ 518 h 575"/>
                <a:gd name="T42" fmla="*/ 59 w 393"/>
                <a:gd name="T43" fmla="*/ 508 h 575"/>
                <a:gd name="T44" fmla="*/ 64 w 393"/>
                <a:gd name="T45" fmla="*/ 496 h 575"/>
                <a:gd name="T46" fmla="*/ 68 w 393"/>
                <a:gd name="T47" fmla="*/ 484 h 575"/>
                <a:gd name="T48" fmla="*/ 64 w 393"/>
                <a:gd name="T49" fmla="*/ 470 h 575"/>
                <a:gd name="T50" fmla="*/ 54 w 393"/>
                <a:gd name="T51" fmla="*/ 456 h 575"/>
                <a:gd name="T52" fmla="*/ 54 w 393"/>
                <a:gd name="T53" fmla="*/ 434 h 575"/>
                <a:gd name="T54" fmla="*/ 52 w 393"/>
                <a:gd name="T55" fmla="*/ 415 h 575"/>
                <a:gd name="T56" fmla="*/ 61 w 393"/>
                <a:gd name="T57" fmla="*/ 401 h 575"/>
                <a:gd name="T58" fmla="*/ 64 w 393"/>
                <a:gd name="T59" fmla="*/ 389 h 575"/>
                <a:gd name="T60" fmla="*/ 80 w 393"/>
                <a:gd name="T61" fmla="*/ 392 h 575"/>
                <a:gd name="T62" fmla="*/ 94 w 393"/>
                <a:gd name="T63" fmla="*/ 377 h 575"/>
                <a:gd name="T64" fmla="*/ 106 w 393"/>
                <a:gd name="T65" fmla="*/ 361 h 575"/>
                <a:gd name="T66" fmla="*/ 104 w 393"/>
                <a:gd name="T67" fmla="*/ 356 h 575"/>
                <a:gd name="T68" fmla="*/ 116 w 393"/>
                <a:gd name="T69" fmla="*/ 356 h 575"/>
                <a:gd name="T70" fmla="*/ 132 w 393"/>
                <a:gd name="T71" fmla="*/ 339 h 575"/>
                <a:gd name="T72" fmla="*/ 151 w 393"/>
                <a:gd name="T73" fmla="*/ 318 h 575"/>
                <a:gd name="T74" fmla="*/ 187 w 393"/>
                <a:gd name="T75" fmla="*/ 299 h 575"/>
                <a:gd name="T76" fmla="*/ 218 w 393"/>
                <a:gd name="T77" fmla="*/ 304 h 575"/>
                <a:gd name="T78" fmla="*/ 187 w 393"/>
                <a:gd name="T79" fmla="*/ 278 h 575"/>
                <a:gd name="T80" fmla="*/ 185 w 393"/>
                <a:gd name="T81" fmla="*/ 259 h 575"/>
                <a:gd name="T82" fmla="*/ 168 w 393"/>
                <a:gd name="T83" fmla="*/ 242 h 575"/>
                <a:gd name="T84" fmla="*/ 154 w 393"/>
                <a:gd name="T85" fmla="*/ 249 h 575"/>
                <a:gd name="T86" fmla="*/ 135 w 393"/>
                <a:gd name="T87" fmla="*/ 209 h 575"/>
                <a:gd name="T88" fmla="*/ 135 w 393"/>
                <a:gd name="T89" fmla="*/ 154 h 575"/>
                <a:gd name="T90" fmla="*/ 116 w 393"/>
                <a:gd name="T91" fmla="*/ 109 h 575"/>
                <a:gd name="T92" fmla="*/ 54 w 393"/>
                <a:gd name="T93" fmla="*/ 73 h 575"/>
                <a:gd name="T94" fmla="*/ 113 w 393"/>
                <a:gd name="T95" fmla="*/ 80 h 575"/>
                <a:gd name="T96" fmla="*/ 194 w 393"/>
                <a:gd name="T97" fmla="*/ 69 h 575"/>
                <a:gd name="T98" fmla="*/ 223 w 393"/>
                <a:gd name="T99" fmla="*/ 14 h 575"/>
                <a:gd name="T100" fmla="*/ 289 w 393"/>
                <a:gd name="T101" fmla="*/ 14 h 575"/>
                <a:gd name="T102" fmla="*/ 332 w 393"/>
                <a:gd name="T103" fmla="*/ 159 h 575"/>
                <a:gd name="T104" fmla="*/ 332 w 393"/>
                <a:gd name="T105" fmla="*/ 256 h 575"/>
                <a:gd name="T106" fmla="*/ 344 w 393"/>
                <a:gd name="T107" fmla="*/ 323 h 575"/>
                <a:gd name="T108" fmla="*/ 382 w 393"/>
                <a:gd name="T109" fmla="*/ 389 h 575"/>
                <a:gd name="T110" fmla="*/ 346 w 393"/>
                <a:gd name="T111" fmla="*/ 465 h 575"/>
                <a:gd name="T112" fmla="*/ 272 w 393"/>
                <a:gd name="T113" fmla="*/ 532 h 575"/>
                <a:gd name="T114" fmla="*/ 251 w 393"/>
                <a:gd name="T115" fmla="*/ 539 h 575"/>
                <a:gd name="T116" fmla="*/ 239 w 393"/>
                <a:gd name="T117" fmla="*/ 541 h 575"/>
                <a:gd name="T118" fmla="*/ 227 w 393"/>
                <a:gd name="T119" fmla="*/ 548 h 575"/>
                <a:gd name="T120" fmla="*/ 215 w 393"/>
                <a:gd name="T121" fmla="*/ 544 h 575"/>
                <a:gd name="T122" fmla="*/ 204 w 393"/>
                <a:gd name="T123" fmla="*/ 548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3" h="575">
                  <a:moveTo>
                    <a:pt x="42" y="570"/>
                  </a:moveTo>
                  <a:lnTo>
                    <a:pt x="42" y="572"/>
                  </a:lnTo>
                  <a:lnTo>
                    <a:pt x="42" y="570"/>
                  </a:lnTo>
                  <a:lnTo>
                    <a:pt x="42" y="572"/>
                  </a:lnTo>
                  <a:lnTo>
                    <a:pt x="45" y="572"/>
                  </a:lnTo>
                  <a:lnTo>
                    <a:pt x="42" y="570"/>
                  </a:lnTo>
                  <a:lnTo>
                    <a:pt x="45" y="570"/>
                  </a:lnTo>
                  <a:lnTo>
                    <a:pt x="45" y="572"/>
                  </a:lnTo>
                  <a:lnTo>
                    <a:pt x="45" y="570"/>
                  </a:lnTo>
                  <a:lnTo>
                    <a:pt x="45" y="572"/>
                  </a:lnTo>
                  <a:lnTo>
                    <a:pt x="42" y="572"/>
                  </a:lnTo>
                  <a:lnTo>
                    <a:pt x="45" y="572"/>
                  </a:lnTo>
                  <a:lnTo>
                    <a:pt x="42" y="572"/>
                  </a:lnTo>
                  <a:lnTo>
                    <a:pt x="42" y="570"/>
                  </a:lnTo>
                  <a:lnTo>
                    <a:pt x="42" y="572"/>
                  </a:lnTo>
                  <a:lnTo>
                    <a:pt x="42" y="570"/>
                  </a:lnTo>
                  <a:close/>
                  <a:moveTo>
                    <a:pt x="57" y="567"/>
                  </a:moveTo>
                  <a:lnTo>
                    <a:pt x="54" y="567"/>
                  </a:lnTo>
                  <a:lnTo>
                    <a:pt x="57" y="567"/>
                  </a:lnTo>
                  <a:close/>
                  <a:moveTo>
                    <a:pt x="7" y="544"/>
                  </a:moveTo>
                  <a:lnTo>
                    <a:pt x="9" y="544"/>
                  </a:lnTo>
                  <a:lnTo>
                    <a:pt x="11" y="544"/>
                  </a:lnTo>
                  <a:lnTo>
                    <a:pt x="9" y="544"/>
                  </a:lnTo>
                  <a:lnTo>
                    <a:pt x="11" y="544"/>
                  </a:lnTo>
                  <a:lnTo>
                    <a:pt x="11" y="546"/>
                  </a:lnTo>
                  <a:lnTo>
                    <a:pt x="11" y="544"/>
                  </a:lnTo>
                  <a:lnTo>
                    <a:pt x="11" y="546"/>
                  </a:lnTo>
                  <a:lnTo>
                    <a:pt x="9" y="546"/>
                  </a:lnTo>
                  <a:lnTo>
                    <a:pt x="11" y="546"/>
                  </a:lnTo>
                  <a:lnTo>
                    <a:pt x="9" y="546"/>
                  </a:lnTo>
                  <a:lnTo>
                    <a:pt x="11" y="546"/>
                  </a:lnTo>
                  <a:lnTo>
                    <a:pt x="9" y="546"/>
                  </a:lnTo>
                  <a:lnTo>
                    <a:pt x="11" y="546"/>
                  </a:lnTo>
                  <a:lnTo>
                    <a:pt x="14" y="546"/>
                  </a:lnTo>
                  <a:lnTo>
                    <a:pt x="16" y="546"/>
                  </a:lnTo>
                  <a:lnTo>
                    <a:pt x="14" y="546"/>
                  </a:lnTo>
                  <a:lnTo>
                    <a:pt x="16" y="546"/>
                  </a:lnTo>
                  <a:lnTo>
                    <a:pt x="16" y="548"/>
                  </a:lnTo>
                  <a:lnTo>
                    <a:pt x="16" y="546"/>
                  </a:lnTo>
                  <a:lnTo>
                    <a:pt x="16" y="548"/>
                  </a:lnTo>
                  <a:lnTo>
                    <a:pt x="19" y="548"/>
                  </a:lnTo>
                  <a:lnTo>
                    <a:pt x="19" y="546"/>
                  </a:lnTo>
                  <a:lnTo>
                    <a:pt x="16" y="546"/>
                  </a:lnTo>
                  <a:lnTo>
                    <a:pt x="19" y="546"/>
                  </a:lnTo>
                  <a:lnTo>
                    <a:pt x="19" y="548"/>
                  </a:lnTo>
                  <a:lnTo>
                    <a:pt x="19" y="551"/>
                  </a:lnTo>
                  <a:lnTo>
                    <a:pt x="19" y="548"/>
                  </a:lnTo>
                  <a:lnTo>
                    <a:pt x="19" y="551"/>
                  </a:lnTo>
                  <a:lnTo>
                    <a:pt x="21" y="551"/>
                  </a:lnTo>
                  <a:lnTo>
                    <a:pt x="21" y="553"/>
                  </a:lnTo>
                  <a:lnTo>
                    <a:pt x="19" y="553"/>
                  </a:lnTo>
                  <a:lnTo>
                    <a:pt x="21" y="553"/>
                  </a:lnTo>
                  <a:lnTo>
                    <a:pt x="21" y="556"/>
                  </a:lnTo>
                  <a:lnTo>
                    <a:pt x="21" y="553"/>
                  </a:lnTo>
                  <a:lnTo>
                    <a:pt x="21" y="556"/>
                  </a:lnTo>
                  <a:lnTo>
                    <a:pt x="19" y="556"/>
                  </a:lnTo>
                  <a:lnTo>
                    <a:pt x="16" y="556"/>
                  </a:lnTo>
                  <a:lnTo>
                    <a:pt x="14" y="556"/>
                  </a:lnTo>
                  <a:lnTo>
                    <a:pt x="16" y="556"/>
                  </a:lnTo>
                  <a:lnTo>
                    <a:pt x="16" y="553"/>
                  </a:lnTo>
                  <a:lnTo>
                    <a:pt x="14" y="553"/>
                  </a:lnTo>
                  <a:lnTo>
                    <a:pt x="16" y="553"/>
                  </a:lnTo>
                  <a:lnTo>
                    <a:pt x="14" y="553"/>
                  </a:lnTo>
                  <a:lnTo>
                    <a:pt x="14" y="556"/>
                  </a:lnTo>
                  <a:lnTo>
                    <a:pt x="14" y="553"/>
                  </a:lnTo>
                  <a:lnTo>
                    <a:pt x="14" y="551"/>
                  </a:lnTo>
                  <a:lnTo>
                    <a:pt x="14" y="548"/>
                  </a:lnTo>
                  <a:lnTo>
                    <a:pt x="14" y="551"/>
                  </a:lnTo>
                  <a:lnTo>
                    <a:pt x="11" y="551"/>
                  </a:lnTo>
                  <a:lnTo>
                    <a:pt x="11" y="553"/>
                  </a:lnTo>
                  <a:lnTo>
                    <a:pt x="14" y="553"/>
                  </a:lnTo>
                  <a:lnTo>
                    <a:pt x="11" y="556"/>
                  </a:lnTo>
                  <a:lnTo>
                    <a:pt x="14" y="556"/>
                  </a:lnTo>
                  <a:lnTo>
                    <a:pt x="11" y="556"/>
                  </a:lnTo>
                  <a:lnTo>
                    <a:pt x="14" y="556"/>
                  </a:lnTo>
                  <a:lnTo>
                    <a:pt x="11" y="556"/>
                  </a:lnTo>
                  <a:lnTo>
                    <a:pt x="14" y="556"/>
                  </a:lnTo>
                  <a:lnTo>
                    <a:pt x="14" y="558"/>
                  </a:lnTo>
                  <a:lnTo>
                    <a:pt x="14" y="560"/>
                  </a:lnTo>
                  <a:lnTo>
                    <a:pt x="14" y="563"/>
                  </a:lnTo>
                  <a:lnTo>
                    <a:pt x="14" y="560"/>
                  </a:lnTo>
                  <a:lnTo>
                    <a:pt x="16" y="560"/>
                  </a:lnTo>
                  <a:lnTo>
                    <a:pt x="19" y="560"/>
                  </a:lnTo>
                  <a:lnTo>
                    <a:pt x="21" y="560"/>
                  </a:lnTo>
                  <a:lnTo>
                    <a:pt x="19" y="558"/>
                  </a:lnTo>
                  <a:lnTo>
                    <a:pt x="21" y="558"/>
                  </a:lnTo>
                  <a:lnTo>
                    <a:pt x="19" y="558"/>
                  </a:lnTo>
                  <a:lnTo>
                    <a:pt x="21" y="558"/>
                  </a:lnTo>
                  <a:lnTo>
                    <a:pt x="21" y="556"/>
                  </a:lnTo>
                  <a:lnTo>
                    <a:pt x="21" y="558"/>
                  </a:lnTo>
                  <a:lnTo>
                    <a:pt x="21" y="556"/>
                  </a:lnTo>
                  <a:lnTo>
                    <a:pt x="21" y="558"/>
                  </a:lnTo>
                  <a:lnTo>
                    <a:pt x="23" y="558"/>
                  </a:lnTo>
                  <a:lnTo>
                    <a:pt x="21" y="558"/>
                  </a:lnTo>
                  <a:lnTo>
                    <a:pt x="23" y="560"/>
                  </a:lnTo>
                  <a:lnTo>
                    <a:pt x="21" y="560"/>
                  </a:lnTo>
                  <a:lnTo>
                    <a:pt x="21" y="563"/>
                  </a:lnTo>
                  <a:lnTo>
                    <a:pt x="21" y="560"/>
                  </a:lnTo>
                  <a:lnTo>
                    <a:pt x="21" y="563"/>
                  </a:lnTo>
                  <a:lnTo>
                    <a:pt x="21" y="560"/>
                  </a:lnTo>
                  <a:lnTo>
                    <a:pt x="21" y="563"/>
                  </a:lnTo>
                  <a:lnTo>
                    <a:pt x="21" y="560"/>
                  </a:lnTo>
                  <a:lnTo>
                    <a:pt x="19" y="563"/>
                  </a:lnTo>
                  <a:lnTo>
                    <a:pt x="21" y="563"/>
                  </a:lnTo>
                  <a:lnTo>
                    <a:pt x="19" y="563"/>
                  </a:lnTo>
                  <a:lnTo>
                    <a:pt x="21" y="563"/>
                  </a:lnTo>
                  <a:lnTo>
                    <a:pt x="19" y="563"/>
                  </a:lnTo>
                  <a:lnTo>
                    <a:pt x="19" y="565"/>
                  </a:lnTo>
                  <a:lnTo>
                    <a:pt x="21" y="565"/>
                  </a:lnTo>
                  <a:lnTo>
                    <a:pt x="19" y="565"/>
                  </a:lnTo>
                  <a:lnTo>
                    <a:pt x="21" y="565"/>
                  </a:lnTo>
                  <a:lnTo>
                    <a:pt x="19" y="567"/>
                  </a:lnTo>
                  <a:lnTo>
                    <a:pt x="19" y="565"/>
                  </a:lnTo>
                  <a:lnTo>
                    <a:pt x="19" y="567"/>
                  </a:lnTo>
                  <a:lnTo>
                    <a:pt x="19" y="565"/>
                  </a:lnTo>
                  <a:lnTo>
                    <a:pt x="19" y="567"/>
                  </a:lnTo>
                  <a:lnTo>
                    <a:pt x="19" y="565"/>
                  </a:lnTo>
                  <a:lnTo>
                    <a:pt x="19" y="567"/>
                  </a:lnTo>
                  <a:lnTo>
                    <a:pt x="19" y="565"/>
                  </a:lnTo>
                  <a:lnTo>
                    <a:pt x="16" y="565"/>
                  </a:lnTo>
                  <a:lnTo>
                    <a:pt x="16" y="563"/>
                  </a:lnTo>
                  <a:lnTo>
                    <a:pt x="14" y="563"/>
                  </a:lnTo>
                  <a:lnTo>
                    <a:pt x="16" y="563"/>
                  </a:lnTo>
                  <a:lnTo>
                    <a:pt x="14" y="563"/>
                  </a:lnTo>
                  <a:lnTo>
                    <a:pt x="11" y="563"/>
                  </a:lnTo>
                  <a:lnTo>
                    <a:pt x="11" y="560"/>
                  </a:lnTo>
                  <a:lnTo>
                    <a:pt x="14" y="560"/>
                  </a:lnTo>
                  <a:lnTo>
                    <a:pt x="11" y="560"/>
                  </a:lnTo>
                  <a:lnTo>
                    <a:pt x="11" y="563"/>
                  </a:lnTo>
                  <a:lnTo>
                    <a:pt x="9" y="563"/>
                  </a:lnTo>
                  <a:lnTo>
                    <a:pt x="11" y="563"/>
                  </a:lnTo>
                  <a:lnTo>
                    <a:pt x="9" y="563"/>
                  </a:lnTo>
                  <a:lnTo>
                    <a:pt x="11" y="563"/>
                  </a:lnTo>
                  <a:lnTo>
                    <a:pt x="11" y="560"/>
                  </a:lnTo>
                  <a:lnTo>
                    <a:pt x="9" y="560"/>
                  </a:lnTo>
                  <a:lnTo>
                    <a:pt x="7" y="560"/>
                  </a:lnTo>
                  <a:lnTo>
                    <a:pt x="9" y="560"/>
                  </a:lnTo>
                  <a:lnTo>
                    <a:pt x="7" y="560"/>
                  </a:lnTo>
                  <a:lnTo>
                    <a:pt x="4" y="560"/>
                  </a:lnTo>
                  <a:lnTo>
                    <a:pt x="4" y="558"/>
                  </a:lnTo>
                  <a:lnTo>
                    <a:pt x="2" y="558"/>
                  </a:lnTo>
                  <a:lnTo>
                    <a:pt x="4" y="558"/>
                  </a:lnTo>
                  <a:lnTo>
                    <a:pt x="2" y="558"/>
                  </a:lnTo>
                  <a:lnTo>
                    <a:pt x="2" y="556"/>
                  </a:lnTo>
                  <a:lnTo>
                    <a:pt x="2" y="553"/>
                  </a:lnTo>
                  <a:lnTo>
                    <a:pt x="2" y="551"/>
                  </a:lnTo>
                  <a:lnTo>
                    <a:pt x="0" y="551"/>
                  </a:lnTo>
                  <a:lnTo>
                    <a:pt x="0" y="548"/>
                  </a:lnTo>
                  <a:lnTo>
                    <a:pt x="2" y="548"/>
                  </a:lnTo>
                  <a:lnTo>
                    <a:pt x="2" y="551"/>
                  </a:lnTo>
                  <a:lnTo>
                    <a:pt x="2" y="548"/>
                  </a:lnTo>
                  <a:lnTo>
                    <a:pt x="2" y="551"/>
                  </a:lnTo>
                  <a:lnTo>
                    <a:pt x="2" y="548"/>
                  </a:lnTo>
                  <a:lnTo>
                    <a:pt x="4" y="548"/>
                  </a:lnTo>
                  <a:lnTo>
                    <a:pt x="4" y="551"/>
                  </a:lnTo>
                  <a:lnTo>
                    <a:pt x="4" y="548"/>
                  </a:lnTo>
                  <a:lnTo>
                    <a:pt x="7" y="548"/>
                  </a:lnTo>
                  <a:lnTo>
                    <a:pt x="7" y="551"/>
                  </a:lnTo>
                  <a:lnTo>
                    <a:pt x="4" y="551"/>
                  </a:lnTo>
                  <a:lnTo>
                    <a:pt x="4" y="553"/>
                  </a:lnTo>
                  <a:lnTo>
                    <a:pt x="7" y="553"/>
                  </a:lnTo>
                  <a:lnTo>
                    <a:pt x="7" y="556"/>
                  </a:lnTo>
                  <a:lnTo>
                    <a:pt x="7" y="553"/>
                  </a:lnTo>
                  <a:lnTo>
                    <a:pt x="7" y="551"/>
                  </a:lnTo>
                  <a:lnTo>
                    <a:pt x="7" y="548"/>
                  </a:lnTo>
                  <a:lnTo>
                    <a:pt x="7" y="551"/>
                  </a:lnTo>
                  <a:lnTo>
                    <a:pt x="7" y="553"/>
                  </a:lnTo>
                  <a:lnTo>
                    <a:pt x="9" y="551"/>
                  </a:lnTo>
                  <a:lnTo>
                    <a:pt x="7" y="551"/>
                  </a:lnTo>
                  <a:lnTo>
                    <a:pt x="9" y="551"/>
                  </a:lnTo>
                  <a:lnTo>
                    <a:pt x="7" y="551"/>
                  </a:lnTo>
                  <a:lnTo>
                    <a:pt x="9" y="551"/>
                  </a:lnTo>
                  <a:lnTo>
                    <a:pt x="9" y="548"/>
                  </a:lnTo>
                  <a:lnTo>
                    <a:pt x="9" y="551"/>
                  </a:lnTo>
                  <a:lnTo>
                    <a:pt x="9" y="548"/>
                  </a:lnTo>
                  <a:lnTo>
                    <a:pt x="7" y="548"/>
                  </a:lnTo>
                  <a:lnTo>
                    <a:pt x="9" y="548"/>
                  </a:lnTo>
                  <a:lnTo>
                    <a:pt x="7" y="551"/>
                  </a:lnTo>
                  <a:lnTo>
                    <a:pt x="7" y="548"/>
                  </a:lnTo>
                  <a:lnTo>
                    <a:pt x="9" y="548"/>
                  </a:lnTo>
                  <a:lnTo>
                    <a:pt x="9" y="546"/>
                  </a:lnTo>
                  <a:lnTo>
                    <a:pt x="9" y="548"/>
                  </a:lnTo>
                  <a:lnTo>
                    <a:pt x="7" y="548"/>
                  </a:lnTo>
                  <a:lnTo>
                    <a:pt x="7" y="546"/>
                  </a:lnTo>
                  <a:lnTo>
                    <a:pt x="7" y="548"/>
                  </a:lnTo>
                  <a:lnTo>
                    <a:pt x="4" y="548"/>
                  </a:lnTo>
                  <a:lnTo>
                    <a:pt x="4" y="546"/>
                  </a:lnTo>
                  <a:lnTo>
                    <a:pt x="7" y="546"/>
                  </a:lnTo>
                  <a:lnTo>
                    <a:pt x="4" y="546"/>
                  </a:lnTo>
                  <a:lnTo>
                    <a:pt x="7" y="546"/>
                  </a:lnTo>
                  <a:lnTo>
                    <a:pt x="4" y="546"/>
                  </a:lnTo>
                  <a:lnTo>
                    <a:pt x="7" y="546"/>
                  </a:lnTo>
                  <a:lnTo>
                    <a:pt x="7" y="544"/>
                  </a:lnTo>
                  <a:close/>
                  <a:moveTo>
                    <a:pt x="268" y="541"/>
                  </a:moveTo>
                  <a:lnTo>
                    <a:pt x="268" y="539"/>
                  </a:lnTo>
                  <a:lnTo>
                    <a:pt x="268" y="541"/>
                  </a:lnTo>
                  <a:close/>
                  <a:moveTo>
                    <a:pt x="52" y="522"/>
                  </a:moveTo>
                  <a:lnTo>
                    <a:pt x="49" y="522"/>
                  </a:lnTo>
                  <a:lnTo>
                    <a:pt x="52" y="522"/>
                  </a:lnTo>
                  <a:close/>
                  <a:moveTo>
                    <a:pt x="52" y="434"/>
                  </a:moveTo>
                  <a:lnTo>
                    <a:pt x="52" y="432"/>
                  </a:lnTo>
                  <a:lnTo>
                    <a:pt x="52" y="434"/>
                  </a:lnTo>
                  <a:close/>
                  <a:moveTo>
                    <a:pt x="87" y="387"/>
                  </a:moveTo>
                  <a:lnTo>
                    <a:pt x="85" y="387"/>
                  </a:lnTo>
                  <a:lnTo>
                    <a:pt x="85" y="389"/>
                  </a:lnTo>
                  <a:lnTo>
                    <a:pt x="87" y="389"/>
                  </a:lnTo>
                  <a:lnTo>
                    <a:pt x="85" y="389"/>
                  </a:lnTo>
                  <a:lnTo>
                    <a:pt x="87" y="389"/>
                  </a:lnTo>
                  <a:lnTo>
                    <a:pt x="85" y="389"/>
                  </a:lnTo>
                  <a:lnTo>
                    <a:pt x="85" y="387"/>
                  </a:lnTo>
                  <a:lnTo>
                    <a:pt x="83" y="387"/>
                  </a:lnTo>
                  <a:lnTo>
                    <a:pt x="83" y="389"/>
                  </a:lnTo>
                  <a:lnTo>
                    <a:pt x="85" y="389"/>
                  </a:lnTo>
                  <a:lnTo>
                    <a:pt x="83" y="389"/>
                  </a:lnTo>
                  <a:lnTo>
                    <a:pt x="85" y="389"/>
                  </a:lnTo>
                  <a:lnTo>
                    <a:pt x="83" y="389"/>
                  </a:lnTo>
                  <a:lnTo>
                    <a:pt x="80" y="389"/>
                  </a:lnTo>
                  <a:lnTo>
                    <a:pt x="80" y="387"/>
                  </a:lnTo>
                  <a:lnTo>
                    <a:pt x="80" y="389"/>
                  </a:lnTo>
                  <a:lnTo>
                    <a:pt x="80" y="387"/>
                  </a:lnTo>
                  <a:lnTo>
                    <a:pt x="80" y="389"/>
                  </a:lnTo>
                  <a:lnTo>
                    <a:pt x="78" y="387"/>
                  </a:lnTo>
                  <a:lnTo>
                    <a:pt x="78" y="389"/>
                  </a:lnTo>
                  <a:lnTo>
                    <a:pt x="78" y="387"/>
                  </a:lnTo>
                  <a:lnTo>
                    <a:pt x="80" y="387"/>
                  </a:lnTo>
                  <a:lnTo>
                    <a:pt x="78" y="387"/>
                  </a:lnTo>
                  <a:lnTo>
                    <a:pt x="78" y="385"/>
                  </a:lnTo>
                  <a:lnTo>
                    <a:pt x="80" y="385"/>
                  </a:lnTo>
                  <a:lnTo>
                    <a:pt x="80" y="387"/>
                  </a:lnTo>
                  <a:lnTo>
                    <a:pt x="83" y="387"/>
                  </a:lnTo>
                  <a:lnTo>
                    <a:pt x="80" y="387"/>
                  </a:lnTo>
                  <a:lnTo>
                    <a:pt x="80" y="385"/>
                  </a:lnTo>
                  <a:lnTo>
                    <a:pt x="80" y="387"/>
                  </a:lnTo>
                  <a:lnTo>
                    <a:pt x="80" y="385"/>
                  </a:lnTo>
                  <a:lnTo>
                    <a:pt x="83" y="385"/>
                  </a:lnTo>
                  <a:lnTo>
                    <a:pt x="83" y="387"/>
                  </a:lnTo>
                  <a:lnTo>
                    <a:pt x="83" y="385"/>
                  </a:lnTo>
                  <a:lnTo>
                    <a:pt x="83" y="387"/>
                  </a:lnTo>
                  <a:lnTo>
                    <a:pt x="85" y="385"/>
                  </a:lnTo>
                  <a:lnTo>
                    <a:pt x="85" y="387"/>
                  </a:lnTo>
                  <a:lnTo>
                    <a:pt x="85" y="385"/>
                  </a:lnTo>
                  <a:lnTo>
                    <a:pt x="87" y="385"/>
                  </a:lnTo>
                  <a:lnTo>
                    <a:pt x="87" y="387"/>
                  </a:lnTo>
                  <a:close/>
                  <a:moveTo>
                    <a:pt x="52" y="392"/>
                  </a:moveTo>
                  <a:lnTo>
                    <a:pt x="52" y="394"/>
                  </a:lnTo>
                  <a:lnTo>
                    <a:pt x="52" y="392"/>
                  </a:lnTo>
                  <a:lnTo>
                    <a:pt x="52" y="394"/>
                  </a:lnTo>
                  <a:lnTo>
                    <a:pt x="52" y="392"/>
                  </a:lnTo>
                  <a:lnTo>
                    <a:pt x="52" y="394"/>
                  </a:lnTo>
                  <a:lnTo>
                    <a:pt x="49" y="392"/>
                  </a:lnTo>
                  <a:lnTo>
                    <a:pt x="52" y="392"/>
                  </a:lnTo>
                  <a:lnTo>
                    <a:pt x="49" y="392"/>
                  </a:lnTo>
                  <a:lnTo>
                    <a:pt x="49" y="389"/>
                  </a:lnTo>
                  <a:lnTo>
                    <a:pt x="49" y="387"/>
                  </a:lnTo>
                  <a:lnTo>
                    <a:pt x="49" y="385"/>
                  </a:lnTo>
                  <a:lnTo>
                    <a:pt x="52" y="387"/>
                  </a:lnTo>
                  <a:lnTo>
                    <a:pt x="52" y="385"/>
                  </a:lnTo>
                  <a:lnTo>
                    <a:pt x="49" y="385"/>
                  </a:lnTo>
                  <a:lnTo>
                    <a:pt x="52" y="385"/>
                  </a:lnTo>
                  <a:lnTo>
                    <a:pt x="49" y="385"/>
                  </a:lnTo>
                  <a:lnTo>
                    <a:pt x="52" y="385"/>
                  </a:lnTo>
                  <a:lnTo>
                    <a:pt x="54" y="385"/>
                  </a:lnTo>
                  <a:lnTo>
                    <a:pt x="52" y="385"/>
                  </a:lnTo>
                  <a:lnTo>
                    <a:pt x="54" y="385"/>
                  </a:lnTo>
                  <a:lnTo>
                    <a:pt x="52" y="385"/>
                  </a:lnTo>
                  <a:lnTo>
                    <a:pt x="54" y="385"/>
                  </a:lnTo>
                  <a:lnTo>
                    <a:pt x="52" y="385"/>
                  </a:lnTo>
                  <a:lnTo>
                    <a:pt x="52" y="387"/>
                  </a:lnTo>
                  <a:lnTo>
                    <a:pt x="52" y="385"/>
                  </a:lnTo>
                  <a:lnTo>
                    <a:pt x="52" y="387"/>
                  </a:lnTo>
                  <a:lnTo>
                    <a:pt x="49" y="387"/>
                  </a:lnTo>
                  <a:lnTo>
                    <a:pt x="49" y="389"/>
                  </a:lnTo>
                  <a:lnTo>
                    <a:pt x="49" y="387"/>
                  </a:lnTo>
                  <a:lnTo>
                    <a:pt x="52" y="387"/>
                  </a:lnTo>
                  <a:lnTo>
                    <a:pt x="52" y="389"/>
                  </a:lnTo>
                  <a:lnTo>
                    <a:pt x="52" y="387"/>
                  </a:lnTo>
                  <a:lnTo>
                    <a:pt x="54" y="387"/>
                  </a:lnTo>
                  <a:lnTo>
                    <a:pt x="54" y="389"/>
                  </a:lnTo>
                  <a:lnTo>
                    <a:pt x="54" y="387"/>
                  </a:lnTo>
                  <a:lnTo>
                    <a:pt x="54" y="389"/>
                  </a:lnTo>
                  <a:lnTo>
                    <a:pt x="52" y="389"/>
                  </a:lnTo>
                  <a:lnTo>
                    <a:pt x="54" y="389"/>
                  </a:lnTo>
                  <a:lnTo>
                    <a:pt x="52" y="389"/>
                  </a:lnTo>
                  <a:lnTo>
                    <a:pt x="54" y="389"/>
                  </a:lnTo>
                  <a:lnTo>
                    <a:pt x="54" y="392"/>
                  </a:lnTo>
                  <a:lnTo>
                    <a:pt x="54" y="389"/>
                  </a:lnTo>
                  <a:lnTo>
                    <a:pt x="57" y="389"/>
                  </a:lnTo>
                  <a:lnTo>
                    <a:pt x="59" y="389"/>
                  </a:lnTo>
                  <a:lnTo>
                    <a:pt x="57" y="389"/>
                  </a:lnTo>
                  <a:lnTo>
                    <a:pt x="59" y="389"/>
                  </a:lnTo>
                  <a:lnTo>
                    <a:pt x="59" y="387"/>
                  </a:lnTo>
                  <a:lnTo>
                    <a:pt x="59" y="389"/>
                  </a:lnTo>
                  <a:lnTo>
                    <a:pt x="61" y="389"/>
                  </a:lnTo>
                  <a:lnTo>
                    <a:pt x="59" y="389"/>
                  </a:lnTo>
                  <a:lnTo>
                    <a:pt x="61" y="389"/>
                  </a:lnTo>
                  <a:lnTo>
                    <a:pt x="59" y="389"/>
                  </a:lnTo>
                  <a:lnTo>
                    <a:pt x="61" y="389"/>
                  </a:lnTo>
                  <a:lnTo>
                    <a:pt x="61" y="392"/>
                  </a:lnTo>
                  <a:lnTo>
                    <a:pt x="59" y="392"/>
                  </a:lnTo>
                  <a:lnTo>
                    <a:pt x="59" y="394"/>
                  </a:lnTo>
                  <a:lnTo>
                    <a:pt x="59" y="392"/>
                  </a:lnTo>
                  <a:lnTo>
                    <a:pt x="59" y="394"/>
                  </a:lnTo>
                  <a:lnTo>
                    <a:pt x="57" y="394"/>
                  </a:lnTo>
                  <a:lnTo>
                    <a:pt x="57" y="392"/>
                  </a:lnTo>
                  <a:lnTo>
                    <a:pt x="59" y="392"/>
                  </a:lnTo>
                  <a:lnTo>
                    <a:pt x="57" y="392"/>
                  </a:lnTo>
                  <a:lnTo>
                    <a:pt x="57" y="394"/>
                  </a:lnTo>
                  <a:lnTo>
                    <a:pt x="54" y="394"/>
                  </a:lnTo>
                  <a:lnTo>
                    <a:pt x="52" y="394"/>
                  </a:lnTo>
                  <a:lnTo>
                    <a:pt x="52" y="392"/>
                  </a:lnTo>
                  <a:close/>
                  <a:moveTo>
                    <a:pt x="132" y="337"/>
                  </a:moveTo>
                  <a:lnTo>
                    <a:pt x="132" y="339"/>
                  </a:lnTo>
                  <a:lnTo>
                    <a:pt x="135" y="339"/>
                  </a:lnTo>
                  <a:lnTo>
                    <a:pt x="132" y="339"/>
                  </a:lnTo>
                  <a:lnTo>
                    <a:pt x="135" y="339"/>
                  </a:lnTo>
                  <a:lnTo>
                    <a:pt x="132" y="339"/>
                  </a:lnTo>
                  <a:lnTo>
                    <a:pt x="132" y="337"/>
                  </a:lnTo>
                  <a:lnTo>
                    <a:pt x="132" y="339"/>
                  </a:lnTo>
                  <a:lnTo>
                    <a:pt x="132" y="337"/>
                  </a:lnTo>
                  <a:lnTo>
                    <a:pt x="132" y="339"/>
                  </a:lnTo>
                  <a:lnTo>
                    <a:pt x="132" y="337"/>
                  </a:lnTo>
                  <a:lnTo>
                    <a:pt x="132" y="339"/>
                  </a:lnTo>
                  <a:lnTo>
                    <a:pt x="130" y="337"/>
                  </a:lnTo>
                  <a:lnTo>
                    <a:pt x="132" y="337"/>
                  </a:lnTo>
                  <a:close/>
                  <a:moveTo>
                    <a:pt x="151" y="247"/>
                  </a:moveTo>
                  <a:lnTo>
                    <a:pt x="154" y="247"/>
                  </a:lnTo>
                  <a:lnTo>
                    <a:pt x="151" y="247"/>
                  </a:lnTo>
                  <a:lnTo>
                    <a:pt x="154" y="247"/>
                  </a:lnTo>
                  <a:lnTo>
                    <a:pt x="154" y="249"/>
                  </a:lnTo>
                  <a:lnTo>
                    <a:pt x="151" y="249"/>
                  </a:lnTo>
                  <a:lnTo>
                    <a:pt x="151" y="247"/>
                  </a:lnTo>
                  <a:lnTo>
                    <a:pt x="151" y="249"/>
                  </a:lnTo>
                  <a:lnTo>
                    <a:pt x="149" y="249"/>
                  </a:lnTo>
                  <a:lnTo>
                    <a:pt x="149" y="252"/>
                  </a:lnTo>
                  <a:lnTo>
                    <a:pt x="149" y="249"/>
                  </a:lnTo>
                  <a:lnTo>
                    <a:pt x="149" y="247"/>
                  </a:lnTo>
                  <a:lnTo>
                    <a:pt x="151" y="247"/>
                  </a:lnTo>
                  <a:close/>
                  <a:moveTo>
                    <a:pt x="135" y="223"/>
                  </a:moveTo>
                  <a:lnTo>
                    <a:pt x="137" y="223"/>
                  </a:lnTo>
                  <a:lnTo>
                    <a:pt x="137" y="225"/>
                  </a:lnTo>
                  <a:lnTo>
                    <a:pt x="135" y="225"/>
                  </a:lnTo>
                  <a:lnTo>
                    <a:pt x="135" y="223"/>
                  </a:lnTo>
                  <a:close/>
                  <a:moveTo>
                    <a:pt x="137" y="225"/>
                  </a:moveTo>
                  <a:lnTo>
                    <a:pt x="135" y="225"/>
                  </a:lnTo>
                  <a:lnTo>
                    <a:pt x="137" y="225"/>
                  </a:lnTo>
                  <a:close/>
                  <a:moveTo>
                    <a:pt x="135" y="216"/>
                  </a:moveTo>
                  <a:lnTo>
                    <a:pt x="132" y="216"/>
                  </a:lnTo>
                  <a:lnTo>
                    <a:pt x="135" y="213"/>
                  </a:lnTo>
                  <a:lnTo>
                    <a:pt x="135" y="216"/>
                  </a:lnTo>
                  <a:close/>
                  <a:moveTo>
                    <a:pt x="194" y="548"/>
                  </a:moveTo>
                  <a:lnTo>
                    <a:pt x="194" y="546"/>
                  </a:lnTo>
                  <a:lnTo>
                    <a:pt x="194" y="548"/>
                  </a:lnTo>
                  <a:lnTo>
                    <a:pt x="197" y="548"/>
                  </a:lnTo>
                  <a:lnTo>
                    <a:pt x="194" y="548"/>
                  </a:lnTo>
                  <a:lnTo>
                    <a:pt x="197" y="548"/>
                  </a:lnTo>
                  <a:lnTo>
                    <a:pt x="197" y="551"/>
                  </a:lnTo>
                  <a:lnTo>
                    <a:pt x="194" y="551"/>
                  </a:lnTo>
                  <a:lnTo>
                    <a:pt x="194" y="553"/>
                  </a:lnTo>
                  <a:lnTo>
                    <a:pt x="192" y="553"/>
                  </a:lnTo>
                  <a:lnTo>
                    <a:pt x="189" y="553"/>
                  </a:lnTo>
                  <a:lnTo>
                    <a:pt x="192" y="553"/>
                  </a:lnTo>
                  <a:lnTo>
                    <a:pt x="194" y="553"/>
                  </a:lnTo>
                  <a:lnTo>
                    <a:pt x="194" y="551"/>
                  </a:lnTo>
                  <a:lnTo>
                    <a:pt x="192" y="551"/>
                  </a:lnTo>
                  <a:lnTo>
                    <a:pt x="194" y="551"/>
                  </a:lnTo>
                  <a:lnTo>
                    <a:pt x="192" y="553"/>
                  </a:lnTo>
                  <a:lnTo>
                    <a:pt x="192" y="551"/>
                  </a:lnTo>
                  <a:lnTo>
                    <a:pt x="192" y="553"/>
                  </a:lnTo>
                  <a:lnTo>
                    <a:pt x="192" y="551"/>
                  </a:lnTo>
                  <a:lnTo>
                    <a:pt x="189" y="551"/>
                  </a:lnTo>
                  <a:lnTo>
                    <a:pt x="189" y="553"/>
                  </a:lnTo>
                  <a:lnTo>
                    <a:pt x="189" y="551"/>
                  </a:lnTo>
                  <a:lnTo>
                    <a:pt x="187" y="551"/>
                  </a:lnTo>
                  <a:lnTo>
                    <a:pt x="189" y="551"/>
                  </a:lnTo>
                  <a:lnTo>
                    <a:pt x="187" y="551"/>
                  </a:lnTo>
                  <a:lnTo>
                    <a:pt x="187" y="553"/>
                  </a:lnTo>
                  <a:lnTo>
                    <a:pt x="185" y="553"/>
                  </a:lnTo>
                  <a:lnTo>
                    <a:pt x="185" y="551"/>
                  </a:lnTo>
                  <a:lnTo>
                    <a:pt x="185" y="553"/>
                  </a:lnTo>
                  <a:lnTo>
                    <a:pt x="182" y="553"/>
                  </a:lnTo>
                  <a:lnTo>
                    <a:pt x="185" y="553"/>
                  </a:lnTo>
                  <a:lnTo>
                    <a:pt x="182" y="553"/>
                  </a:lnTo>
                  <a:lnTo>
                    <a:pt x="185" y="553"/>
                  </a:lnTo>
                  <a:lnTo>
                    <a:pt x="182" y="553"/>
                  </a:lnTo>
                  <a:lnTo>
                    <a:pt x="185" y="553"/>
                  </a:lnTo>
                  <a:lnTo>
                    <a:pt x="182" y="556"/>
                  </a:lnTo>
                  <a:lnTo>
                    <a:pt x="185" y="556"/>
                  </a:lnTo>
                  <a:lnTo>
                    <a:pt x="182" y="556"/>
                  </a:lnTo>
                  <a:lnTo>
                    <a:pt x="180" y="556"/>
                  </a:lnTo>
                  <a:lnTo>
                    <a:pt x="182" y="556"/>
                  </a:lnTo>
                  <a:lnTo>
                    <a:pt x="182" y="553"/>
                  </a:lnTo>
                  <a:lnTo>
                    <a:pt x="180" y="556"/>
                  </a:lnTo>
                  <a:lnTo>
                    <a:pt x="180" y="558"/>
                  </a:lnTo>
                  <a:lnTo>
                    <a:pt x="180" y="556"/>
                  </a:lnTo>
                  <a:lnTo>
                    <a:pt x="180" y="558"/>
                  </a:lnTo>
                  <a:lnTo>
                    <a:pt x="178" y="558"/>
                  </a:lnTo>
                  <a:lnTo>
                    <a:pt x="180" y="558"/>
                  </a:lnTo>
                  <a:lnTo>
                    <a:pt x="178" y="558"/>
                  </a:lnTo>
                  <a:lnTo>
                    <a:pt x="178" y="556"/>
                  </a:lnTo>
                  <a:lnTo>
                    <a:pt x="178" y="558"/>
                  </a:lnTo>
                  <a:lnTo>
                    <a:pt x="178" y="556"/>
                  </a:lnTo>
                  <a:lnTo>
                    <a:pt x="180" y="556"/>
                  </a:lnTo>
                  <a:lnTo>
                    <a:pt x="178" y="556"/>
                  </a:lnTo>
                  <a:lnTo>
                    <a:pt x="178" y="553"/>
                  </a:lnTo>
                  <a:lnTo>
                    <a:pt x="178" y="556"/>
                  </a:lnTo>
                  <a:lnTo>
                    <a:pt x="178" y="553"/>
                  </a:lnTo>
                  <a:lnTo>
                    <a:pt x="178" y="556"/>
                  </a:lnTo>
                  <a:lnTo>
                    <a:pt x="178" y="553"/>
                  </a:lnTo>
                  <a:lnTo>
                    <a:pt x="178" y="556"/>
                  </a:lnTo>
                  <a:lnTo>
                    <a:pt x="175" y="556"/>
                  </a:lnTo>
                  <a:lnTo>
                    <a:pt x="178" y="556"/>
                  </a:lnTo>
                  <a:lnTo>
                    <a:pt x="175" y="558"/>
                  </a:lnTo>
                  <a:lnTo>
                    <a:pt x="175" y="556"/>
                  </a:lnTo>
                  <a:lnTo>
                    <a:pt x="175" y="558"/>
                  </a:lnTo>
                  <a:lnTo>
                    <a:pt x="175" y="556"/>
                  </a:lnTo>
                  <a:lnTo>
                    <a:pt x="173" y="556"/>
                  </a:lnTo>
                  <a:lnTo>
                    <a:pt x="170" y="556"/>
                  </a:lnTo>
                  <a:lnTo>
                    <a:pt x="173" y="556"/>
                  </a:lnTo>
                  <a:lnTo>
                    <a:pt x="170" y="556"/>
                  </a:lnTo>
                  <a:lnTo>
                    <a:pt x="170" y="558"/>
                  </a:lnTo>
                  <a:lnTo>
                    <a:pt x="168" y="558"/>
                  </a:lnTo>
                  <a:lnTo>
                    <a:pt x="168" y="560"/>
                  </a:lnTo>
                  <a:lnTo>
                    <a:pt x="166" y="560"/>
                  </a:lnTo>
                  <a:lnTo>
                    <a:pt x="168" y="560"/>
                  </a:lnTo>
                  <a:lnTo>
                    <a:pt x="168" y="558"/>
                  </a:lnTo>
                  <a:lnTo>
                    <a:pt x="168" y="560"/>
                  </a:lnTo>
                  <a:lnTo>
                    <a:pt x="168" y="558"/>
                  </a:lnTo>
                  <a:lnTo>
                    <a:pt x="168" y="560"/>
                  </a:lnTo>
                  <a:lnTo>
                    <a:pt x="168" y="558"/>
                  </a:lnTo>
                  <a:lnTo>
                    <a:pt x="166" y="558"/>
                  </a:lnTo>
                  <a:lnTo>
                    <a:pt x="168" y="558"/>
                  </a:lnTo>
                  <a:lnTo>
                    <a:pt x="166" y="558"/>
                  </a:lnTo>
                  <a:lnTo>
                    <a:pt x="168" y="558"/>
                  </a:lnTo>
                  <a:lnTo>
                    <a:pt x="168" y="560"/>
                  </a:lnTo>
                  <a:lnTo>
                    <a:pt x="166" y="560"/>
                  </a:lnTo>
                  <a:lnTo>
                    <a:pt x="166" y="558"/>
                  </a:lnTo>
                  <a:lnTo>
                    <a:pt x="163" y="558"/>
                  </a:lnTo>
                  <a:lnTo>
                    <a:pt x="163" y="556"/>
                  </a:lnTo>
                  <a:lnTo>
                    <a:pt x="163" y="558"/>
                  </a:lnTo>
                  <a:lnTo>
                    <a:pt x="166" y="558"/>
                  </a:lnTo>
                  <a:lnTo>
                    <a:pt x="166" y="560"/>
                  </a:lnTo>
                  <a:lnTo>
                    <a:pt x="163" y="560"/>
                  </a:lnTo>
                  <a:lnTo>
                    <a:pt x="166" y="558"/>
                  </a:lnTo>
                  <a:lnTo>
                    <a:pt x="166" y="560"/>
                  </a:lnTo>
                  <a:lnTo>
                    <a:pt x="166" y="558"/>
                  </a:lnTo>
                  <a:lnTo>
                    <a:pt x="166" y="560"/>
                  </a:lnTo>
                  <a:lnTo>
                    <a:pt x="163" y="560"/>
                  </a:lnTo>
                  <a:lnTo>
                    <a:pt x="166" y="560"/>
                  </a:lnTo>
                  <a:lnTo>
                    <a:pt x="163" y="563"/>
                  </a:lnTo>
                  <a:lnTo>
                    <a:pt x="166" y="563"/>
                  </a:lnTo>
                  <a:lnTo>
                    <a:pt x="163" y="563"/>
                  </a:lnTo>
                  <a:lnTo>
                    <a:pt x="163" y="565"/>
                  </a:lnTo>
                  <a:lnTo>
                    <a:pt x="163" y="563"/>
                  </a:lnTo>
                  <a:lnTo>
                    <a:pt x="163" y="565"/>
                  </a:lnTo>
                  <a:lnTo>
                    <a:pt x="161" y="565"/>
                  </a:lnTo>
                  <a:lnTo>
                    <a:pt x="159" y="565"/>
                  </a:lnTo>
                  <a:lnTo>
                    <a:pt x="161" y="565"/>
                  </a:lnTo>
                  <a:lnTo>
                    <a:pt x="159" y="565"/>
                  </a:lnTo>
                  <a:lnTo>
                    <a:pt x="159" y="567"/>
                  </a:lnTo>
                  <a:lnTo>
                    <a:pt x="159" y="565"/>
                  </a:lnTo>
                  <a:lnTo>
                    <a:pt x="159" y="567"/>
                  </a:lnTo>
                  <a:lnTo>
                    <a:pt x="159" y="565"/>
                  </a:lnTo>
                  <a:lnTo>
                    <a:pt x="159" y="567"/>
                  </a:lnTo>
                  <a:lnTo>
                    <a:pt x="156" y="567"/>
                  </a:lnTo>
                  <a:lnTo>
                    <a:pt x="159" y="567"/>
                  </a:lnTo>
                  <a:lnTo>
                    <a:pt x="159" y="565"/>
                  </a:lnTo>
                  <a:lnTo>
                    <a:pt x="161" y="563"/>
                  </a:lnTo>
                  <a:lnTo>
                    <a:pt x="159" y="565"/>
                  </a:lnTo>
                  <a:lnTo>
                    <a:pt x="159" y="563"/>
                  </a:lnTo>
                  <a:lnTo>
                    <a:pt x="161" y="563"/>
                  </a:lnTo>
                  <a:lnTo>
                    <a:pt x="159" y="563"/>
                  </a:lnTo>
                  <a:lnTo>
                    <a:pt x="159" y="565"/>
                  </a:lnTo>
                  <a:lnTo>
                    <a:pt x="159" y="563"/>
                  </a:lnTo>
                  <a:lnTo>
                    <a:pt x="159" y="565"/>
                  </a:lnTo>
                  <a:lnTo>
                    <a:pt x="156" y="565"/>
                  </a:lnTo>
                  <a:lnTo>
                    <a:pt x="156" y="563"/>
                  </a:lnTo>
                  <a:lnTo>
                    <a:pt x="156" y="565"/>
                  </a:lnTo>
                  <a:lnTo>
                    <a:pt x="154" y="565"/>
                  </a:lnTo>
                  <a:lnTo>
                    <a:pt x="156" y="565"/>
                  </a:lnTo>
                  <a:lnTo>
                    <a:pt x="154" y="565"/>
                  </a:lnTo>
                  <a:lnTo>
                    <a:pt x="156" y="565"/>
                  </a:lnTo>
                  <a:lnTo>
                    <a:pt x="156" y="563"/>
                  </a:lnTo>
                  <a:lnTo>
                    <a:pt x="156" y="560"/>
                  </a:lnTo>
                  <a:lnTo>
                    <a:pt x="154" y="560"/>
                  </a:lnTo>
                  <a:lnTo>
                    <a:pt x="156" y="560"/>
                  </a:lnTo>
                  <a:lnTo>
                    <a:pt x="154" y="560"/>
                  </a:lnTo>
                  <a:lnTo>
                    <a:pt x="154" y="563"/>
                  </a:lnTo>
                  <a:lnTo>
                    <a:pt x="151" y="563"/>
                  </a:lnTo>
                  <a:lnTo>
                    <a:pt x="149" y="563"/>
                  </a:lnTo>
                  <a:lnTo>
                    <a:pt x="151" y="563"/>
                  </a:lnTo>
                  <a:lnTo>
                    <a:pt x="151" y="565"/>
                  </a:lnTo>
                  <a:lnTo>
                    <a:pt x="149" y="565"/>
                  </a:lnTo>
                  <a:lnTo>
                    <a:pt x="149" y="563"/>
                  </a:lnTo>
                  <a:lnTo>
                    <a:pt x="149" y="565"/>
                  </a:lnTo>
                  <a:lnTo>
                    <a:pt x="147" y="565"/>
                  </a:lnTo>
                  <a:lnTo>
                    <a:pt x="147" y="563"/>
                  </a:lnTo>
                  <a:lnTo>
                    <a:pt x="147" y="565"/>
                  </a:lnTo>
                  <a:lnTo>
                    <a:pt x="147" y="563"/>
                  </a:lnTo>
                  <a:lnTo>
                    <a:pt x="147" y="565"/>
                  </a:lnTo>
                  <a:lnTo>
                    <a:pt x="144" y="565"/>
                  </a:lnTo>
                  <a:lnTo>
                    <a:pt x="144" y="563"/>
                  </a:lnTo>
                  <a:lnTo>
                    <a:pt x="144" y="565"/>
                  </a:lnTo>
                  <a:lnTo>
                    <a:pt x="142" y="565"/>
                  </a:lnTo>
                  <a:lnTo>
                    <a:pt x="144" y="565"/>
                  </a:lnTo>
                  <a:lnTo>
                    <a:pt x="142" y="565"/>
                  </a:lnTo>
                  <a:lnTo>
                    <a:pt x="140" y="565"/>
                  </a:lnTo>
                  <a:lnTo>
                    <a:pt x="142" y="565"/>
                  </a:lnTo>
                  <a:lnTo>
                    <a:pt x="140" y="565"/>
                  </a:lnTo>
                  <a:lnTo>
                    <a:pt x="142" y="565"/>
                  </a:lnTo>
                  <a:lnTo>
                    <a:pt x="140" y="565"/>
                  </a:lnTo>
                  <a:lnTo>
                    <a:pt x="142" y="565"/>
                  </a:lnTo>
                  <a:lnTo>
                    <a:pt x="140" y="565"/>
                  </a:lnTo>
                  <a:lnTo>
                    <a:pt x="140" y="567"/>
                  </a:lnTo>
                  <a:lnTo>
                    <a:pt x="142" y="567"/>
                  </a:lnTo>
                  <a:lnTo>
                    <a:pt x="142" y="565"/>
                  </a:lnTo>
                  <a:lnTo>
                    <a:pt x="142" y="567"/>
                  </a:lnTo>
                  <a:lnTo>
                    <a:pt x="142" y="565"/>
                  </a:lnTo>
                  <a:lnTo>
                    <a:pt x="142" y="567"/>
                  </a:lnTo>
                  <a:lnTo>
                    <a:pt x="142" y="565"/>
                  </a:lnTo>
                  <a:lnTo>
                    <a:pt x="144" y="565"/>
                  </a:lnTo>
                  <a:lnTo>
                    <a:pt x="144" y="567"/>
                  </a:lnTo>
                  <a:lnTo>
                    <a:pt x="142" y="567"/>
                  </a:lnTo>
                  <a:lnTo>
                    <a:pt x="144" y="567"/>
                  </a:lnTo>
                  <a:lnTo>
                    <a:pt x="142" y="567"/>
                  </a:lnTo>
                  <a:lnTo>
                    <a:pt x="144" y="567"/>
                  </a:lnTo>
                  <a:lnTo>
                    <a:pt x="142" y="567"/>
                  </a:lnTo>
                  <a:lnTo>
                    <a:pt x="142" y="570"/>
                  </a:lnTo>
                  <a:lnTo>
                    <a:pt x="142" y="567"/>
                  </a:lnTo>
                  <a:lnTo>
                    <a:pt x="142" y="570"/>
                  </a:lnTo>
                  <a:lnTo>
                    <a:pt x="142" y="567"/>
                  </a:lnTo>
                  <a:lnTo>
                    <a:pt x="140" y="567"/>
                  </a:lnTo>
                  <a:lnTo>
                    <a:pt x="140" y="570"/>
                  </a:lnTo>
                  <a:lnTo>
                    <a:pt x="137" y="570"/>
                  </a:lnTo>
                  <a:lnTo>
                    <a:pt x="140" y="570"/>
                  </a:lnTo>
                  <a:lnTo>
                    <a:pt x="137" y="567"/>
                  </a:lnTo>
                  <a:lnTo>
                    <a:pt x="140" y="567"/>
                  </a:lnTo>
                  <a:lnTo>
                    <a:pt x="140" y="565"/>
                  </a:lnTo>
                  <a:lnTo>
                    <a:pt x="140" y="567"/>
                  </a:lnTo>
                  <a:lnTo>
                    <a:pt x="137" y="567"/>
                  </a:lnTo>
                  <a:lnTo>
                    <a:pt x="140" y="567"/>
                  </a:lnTo>
                  <a:lnTo>
                    <a:pt x="137" y="567"/>
                  </a:lnTo>
                  <a:lnTo>
                    <a:pt x="135" y="567"/>
                  </a:lnTo>
                  <a:lnTo>
                    <a:pt x="137" y="567"/>
                  </a:lnTo>
                  <a:lnTo>
                    <a:pt x="135" y="567"/>
                  </a:lnTo>
                  <a:lnTo>
                    <a:pt x="137" y="567"/>
                  </a:lnTo>
                  <a:lnTo>
                    <a:pt x="135" y="567"/>
                  </a:lnTo>
                  <a:lnTo>
                    <a:pt x="137" y="567"/>
                  </a:lnTo>
                  <a:lnTo>
                    <a:pt x="135" y="567"/>
                  </a:lnTo>
                  <a:lnTo>
                    <a:pt x="135" y="570"/>
                  </a:lnTo>
                  <a:lnTo>
                    <a:pt x="135" y="567"/>
                  </a:lnTo>
                  <a:lnTo>
                    <a:pt x="135" y="570"/>
                  </a:lnTo>
                  <a:lnTo>
                    <a:pt x="135" y="567"/>
                  </a:lnTo>
                  <a:lnTo>
                    <a:pt x="135" y="570"/>
                  </a:lnTo>
                  <a:lnTo>
                    <a:pt x="132" y="570"/>
                  </a:lnTo>
                  <a:lnTo>
                    <a:pt x="130" y="570"/>
                  </a:lnTo>
                  <a:lnTo>
                    <a:pt x="128" y="570"/>
                  </a:lnTo>
                  <a:lnTo>
                    <a:pt x="125" y="570"/>
                  </a:lnTo>
                  <a:lnTo>
                    <a:pt x="123" y="570"/>
                  </a:lnTo>
                  <a:lnTo>
                    <a:pt x="123" y="567"/>
                  </a:lnTo>
                  <a:lnTo>
                    <a:pt x="125" y="567"/>
                  </a:lnTo>
                  <a:lnTo>
                    <a:pt x="125" y="570"/>
                  </a:lnTo>
                  <a:lnTo>
                    <a:pt x="125" y="567"/>
                  </a:lnTo>
                  <a:lnTo>
                    <a:pt x="128" y="567"/>
                  </a:lnTo>
                  <a:lnTo>
                    <a:pt x="128" y="570"/>
                  </a:lnTo>
                  <a:lnTo>
                    <a:pt x="128" y="567"/>
                  </a:lnTo>
                  <a:lnTo>
                    <a:pt x="125" y="567"/>
                  </a:lnTo>
                  <a:lnTo>
                    <a:pt x="128" y="567"/>
                  </a:lnTo>
                  <a:lnTo>
                    <a:pt x="130" y="567"/>
                  </a:lnTo>
                  <a:lnTo>
                    <a:pt x="130" y="565"/>
                  </a:lnTo>
                  <a:lnTo>
                    <a:pt x="130" y="567"/>
                  </a:lnTo>
                  <a:lnTo>
                    <a:pt x="130" y="565"/>
                  </a:lnTo>
                  <a:lnTo>
                    <a:pt x="130" y="567"/>
                  </a:lnTo>
                  <a:lnTo>
                    <a:pt x="128" y="567"/>
                  </a:lnTo>
                  <a:lnTo>
                    <a:pt x="125" y="567"/>
                  </a:lnTo>
                  <a:lnTo>
                    <a:pt x="128" y="567"/>
                  </a:lnTo>
                  <a:lnTo>
                    <a:pt x="125" y="567"/>
                  </a:lnTo>
                  <a:lnTo>
                    <a:pt x="125" y="565"/>
                  </a:lnTo>
                  <a:lnTo>
                    <a:pt x="125" y="567"/>
                  </a:lnTo>
                  <a:lnTo>
                    <a:pt x="125" y="565"/>
                  </a:lnTo>
                  <a:lnTo>
                    <a:pt x="128" y="565"/>
                  </a:lnTo>
                  <a:lnTo>
                    <a:pt x="128" y="563"/>
                  </a:lnTo>
                  <a:lnTo>
                    <a:pt x="130" y="563"/>
                  </a:lnTo>
                  <a:lnTo>
                    <a:pt x="130" y="560"/>
                  </a:lnTo>
                  <a:lnTo>
                    <a:pt x="128" y="560"/>
                  </a:lnTo>
                  <a:lnTo>
                    <a:pt x="128" y="563"/>
                  </a:lnTo>
                  <a:lnTo>
                    <a:pt x="128" y="565"/>
                  </a:lnTo>
                  <a:lnTo>
                    <a:pt x="125" y="565"/>
                  </a:lnTo>
                  <a:lnTo>
                    <a:pt x="128" y="565"/>
                  </a:lnTo>
                  <a:lnTo>
                    <a:pt x="125" y="565"/>
                  </a:lnTo>
                  <a:lnTo>
                    <a:pt x="125" y="567"/>
                  </a:lnTo>
                  <a:lnTo>
                    <a:pt x="123" y="567"/>
                  </a:lnTo>
                  <a:lnTo>
                    <a:pt x="125" y="567"/>
                  </a:lnTo>
                  <a:lnTo>
                    <a:pt x="123" y="567"/>
                  </a:lnTo>
                  <a:lnTo>
                    <a:pt x="123" y="570"/>
                  </a:lnTo>
                  <a:lnTo>
                    <a:pt x="121" y="570"/>
                  </a:lnTo>
                  <a:lnTo>
                    <a:pt x="118" y="570"/>
                  </a:lnTo>
                  <a:lnTo>
                    <a:pt x="118" y="572"/>
                  </a:lnTo>
                  <a:lnTo>
                    <a:pt x="121" y="572"/>
                  </a:lnTo>
                  <a:lnTo>
                    <a:pt x="118" y="572"/>
                  </a:lnTo>
                  <a:lnTo>
                    <a:pt x="121" y="572"/>
                  </a:lnTo>
                  <a:lnTo>
                    <a:pt x="118" y="572"/>
                  </a:lnTo>
                  <a:lnTo>
                    <a:pt x="118" y="575"/>
                  </a:lnTo>
                  <a:lnTo>
                    <a:pt x="121" y="575"/>
                  </a:lnTo>
                  <a:lnTo>
                    <a:pt x="118" y="575"/>
                  </a:lnTo>
                  <a:lnTo>
                    <a:pt x="116" y="575"/>
                  </a:lnTo>
                  <a:lnTo>
                    <a:pt x="113" y="575"/>
                  </a:lnTo>
                  <a:lnTo>
                    <a:pt x="116" y="575"/>
                  </a:lnTo>
                  <a:lnTo>
                    <a:pt x="113" y="575"/>
                  </a:lnTo>
                  <a:lnTo>
                    <a:pt x="111" y="575"/>
                  </a:lnTo>
                  <a:lnTo>
                    <a:pt x="109" y="575"/>
                  </a:lnTo>
                  <a:lnTo>
                    <a:pt x="111" y="575"/>
                  </a:lnTo>
                  <a:lnTo>
                    <a:pt x="111" y="572"/>
                  </a:lnTo>
                  <a:lnTo>
                    <a:pt x="113" y="572"/>
                  </a:lnTo>
                  <a:lnTo>
                    <a:pt x="116" y="572"/>
                  </a:lnTo>
                  <a:lnTo>
                    <a:pt x="116" y="570"/>
                  </a:lnTo>
                  <a:lnTo>
                    <a:pt x="118" y="570"/>
                  </a:lnTo>
                  <a:lnTo>
                    <a:pt x="116" y="570"/>
                  </a:lnTo>
                  <a:lnTo>
                    <a:pt x="118" y="570"/>
                  </a:lnTo>
                  <a:lnTo>
                    <a:pt x="116" y="570"/>
                  </a:lnTo>
                  <a:lnTo>
                    <a:pt x="116" y="567"/>
                  </a:lnTo>
                  <a:lnTo>
                    <a:pt x="118" y="570"/>
                  </a:lnTo>
                  <a:lnTo>
                    <a:pt x="118" y="567"/>
                  </a:lnTo>
                  <a:lnTo>
                    <a:pt x="116" y="567"/>
                  </a:lnTo>
                  <a:lnTo>
                    <a:pt x="116" y="570"/>
                  </a:lnTo>
                  <a:lnTo>
                    <a:pt x="116" y="567"/>
                  </a:lnTo>
                  <a:lnTo>
                    <a:pt x="116" y="570"/>
                  </a:lnTo>
                  <a:lnTo>
                    <a:pt x="113" y="570"/>
                  </a:lnTo>
                  <a:lnTo>
                    <a:pt x="113" y="567"/>
                  </a:lnTo>
                  <a:lnTo>
                    <a:pt x="116" y="567"/>
                  </a:lnTo>
                  <a:lnTo>
                    <a:pt x="113" y="567"/>
                  </a:lnTo>
                  <a:lnTo>
                    <a:pt x="116" y="567"/>
                  </a:lnTo>
                  <a:lnTo>
                    <a:pt x="116" y="565"/>
                  </a:lnTo>
                  <a:lnTo>
                    <a:pt x="118" y="565"/>
                  </a:lnTo>
                  <a:lnTo>
                    <a:pt x="118" y="563"/>
                  </a:lnTo>
                  <a:lnTo>
                    <a:pt x="118" y="565"/>
                  </a:lnTo>
                  <a:lnTo>
                    <a:pt x="118" y="563"/>
                  </a:lnTo>
                  <a:lnTo>
                    <a:pt x="118" y="565"/>
                  </a:lnTo>
                  <a:lnTo>
                    <a:pt x="116" y="565"/>
                  </a:lnTo>
                  <a:lnTo>
                    <a:pt x="113" y="565"/>
                  </a:lnTo>
                  <a:lnTo>
                    <a:pt x="113" y="567"/>
                  </a:lnTo>
                  <a:lnTo>
                    <a:pt x="113" y="565"/>
                  </a:lnTo>
                  <a:lnTo>
                    <a:pt x="113" y="567"/>
                  </a:lnTo>
                  <a:lnTo>
                    <a:pt x="113" y="570"/>
                  </a:lnTo>
                  <a:lnTo>
                    <a:pt x="111" y="570"/>
                  </a:lnTo>
                  <a:lnTo>
                    <a:pt x="111" y="567"/>
                  </a:lnTo>
                  <a:lnTo>
                    <a:pt x="111" y="570"/>
                  </a:lnTo>
                  <a:lnTo>
                    <a:pt x="111" y="567"/>
                  </a:lnTo>
                  <a:lnTo>
                    <a:pt x="111" y="570"/>
                  </a:lnTo>
                  <a:lnTo>
                    <a:pt x="109" y="570"/>
                  </a:lnTo>
                  <a:lnTo>
                    <a:pt x="111" y="570"/>
                  </a:lnTo>
                  <a:lnTo>
                    <a:pt x="109" y="570"/>
                  </a:lnTo>
                  <a:lnTo>
                    <a:pt x="106" y="570"/>
                  </a:lnTo>
                  <a:lnTo>
                    <a:pt x="106" y="567"/>
                  </a:lnTo>
                  <a:lnTo>
                    <a:pt x="106" y="565"/>
                  </a:lnTo>
                  <a:lnTo>
                    <a:pt x="104" y="565"/>
                  </a:lnTo>
                  <a:lnTo>
                    <a:pt x="106" y="565"/>
                  </a:lnTo>
                  <a:lnTo>
                    <a:pt x="106" y="567"/>
                  </a:lnTo>
                  <a:lnTo>
                    <a:pt x="109" y="567"/>
                  </a:lnTo>
                  <a:lnTo>
                    <a:pt x="109" y="565"/>
                  </a:lnTo>
                  <a:lnTo>
                    <a:pt x="111" y="565"/>
                  </a:lnTo>
                  <a:lnTo>
                    <a:pt x="109" y="567"/>
                  </a:lnTo>
                  <a:lnTo>
                    <a:pt x="111" y="567"/>
                  </a:lnTo>
                  <a:lnTo>
                    <a:pt x="109" y="567"/>
                  </a:lnTo>
                  <a:lnTo>
                    <a:pt x="111" y="567"/>
                  </a:lnTo>
                  <a:lnTo>
                    <a:pt x="111" y="565"/>
                  </a:lnTo>
                  <a:lnTo>
                    <a:pt x="111" y="567"/>
                  </a:lnTo>
                  <a:lnTo>
                    <a:pt x="113" y="565"/>
                  </a:lnTo>
                  <a:lnTo>
                    <a:pt x="111" y="565"/>
                  </a:lnTo>
                  <a:lnTo>
                    <a:pt x="111" y="563"/>
                  </a:lnTo>
                  <a:lnTo>
                    <a:pt x="113" y="563"/>
                  </a:lnTo>
                  <a:lnTo>
                    <a:pt x="116" y="563"/>
                  </a:lnTo>
                  <a:lnTo>
                    <a:pt x="116" y="565"/>
                  </a:lnTo>
                  <a:lnTo>
                    <a:pt x="113" y="565"/>
                  </a:lnTo>
                  <a:lnTo>
                    <a:pt x="116" y="565"/>
                  </a:lnTo>
                  <a:lnTo>
                    <a:pt x="116" y="563"/>
                  </a:lnTo>
                  <a:lnTo>
                    <a:pt x="118" y="563"/>
                  </a:lnTo>
                  <a:lnTo>
                    <a:pt x="121" y="563"/>
                  </a:lnTo>
                  <a:lnTo>
                    <a:pt x="118" y="563"/>
                  </a:lnTo>
                  <a:lnTo>
                    <a:pt x="116" y="563"/>
                  </a:lnTo>
                  <a:lnTo>
                    <a:pt x="113" y="563"/>
                  </a:lnTo>
                  <a:lnTo>
                    <a:pt x="111" y="563"/>
                  </a:lnTo>
                  <a:lnTo>
                    <a:pt x="113" y="563"/>
                  </a:lnTo>
                  <a:lnTo>
                    <a:pt x="111" y="563"/>
                  </a:lnTo>
                  <a:lnTo>
                    <a:pt x="111" y="560"/>
                  </a:lnTo>
                  <a:lnTo>
                    <a:pt x="113" y="560"/>
                  </a:lnTo>
                  <a:lnTo>
                    <a:pt x="111" y="560"/>
                  </a:lnTo>
                  <a:lnTo>
                    <a:pt x="113" y="560"/>
                  </a:lnTo>
                  <a:lnTo>
                    <a:pt x="113" y="558"/>
                  </a:lnTo>
                  <a:lnTo>
                    <a:pt x="111" y="558"/>
                  </a:lnTo>
                  <a:lnTo>
                    <a:pt x="111" y="560"/>
                  </a:lnTo>
                  <a:lnTo>
                    <a:pt x="111" y="558"/>
                  </a:lnTo>
                  <a:lnTo>
                    <a:pt x="109" y="558"/>
                  </a:lnTo>
                  <a:lnTo>
                    <a:pt x="106" y="558"/>
                  </a:lnTo>
                  <a:lnTo>
                    <a:pt x="106" y="556"/>
                  </a:lnTo>
                  <a:lnTo>
                    <a:pt x="109" y="556"/>
                  </a:lnTo>
                  <a:lnTo>
                    <a:pt x="106" y="556"/>
                  </a:lnTo>
                  <a:lnTo>
                    <a:pt x="109" y="553"/>
                  </a:lnTo>
                  <a:lnTo>
                    <a:pt x="109" y="551"/>
                  </a:lnTo>
                  <a:lnTo>
                    <a:pt x="111" y="551"/>
                  </a:lnTo>
                  <a:lnTo>
                    <a:pt x="111" y="548"/>
                  </a:lnTo>
                  <a:lnTo>
                    <a:pt x="113" y="548"/>
                  </a:lnTo>
                  <a:lnTo>
                    <a:pt x="113" y="546"/>
                  </a:lnTo>
                  <a:lnTo>
                    <a:pt x="113" y="548"/>
                  </a:lnTo>
                  <a:lnTo>
                    <a:pt x="111" y="548"/>
                  </a:lnTo>
                  <a:lnTo>
                    <a:pt x="109" y="548"/>
                  </a:lnTo>
                  <a:lnTo>
                    <a:pt x="106" y="548"/>
                  </a:lnTo>
                  <a:lnTo>
                    <a:pt x="106" y="551"/>
                  </a:lnTo>
                  <a:lnTo>
                    <a:pt x="104" y="551"/>
                  </a:lnTo>
                  <a:lnTo>
                    <a:pt x="104" y="553"/>
                  </a:lnTo>
                  <a:lnTo>
                    <a:pt x="104" y="551"/>
                  </a:lnTo>
                  <a:lnTo>
                    <a:pt x="104" y="553"/>
                  </a:lnTo>
                  <a:lnTo>
                    <a:pt x="102" y="553"/>
                  </a:lnTo>
                  <a:lnTo>
                    <a:pt x="99" y="553"/>
                  </a:lnTo>
                  <a:lnTo>
                    <a:pt x="97" y="553"/>
                  </a:lnTo>
                  <a:lnTo>
                    <a:pt x="94" y="553"/>
                  </a:lnTo>
                  <a:lnTo>
                    <a:pt x="97" y="553"/>
                  </a:lnTo>
                  <a:lnTo>
                    <a:pt x="99" y="553"/>
                  </a:lnTo>
                  <a:lnTo>
                    <a:pt x="97" y="553"/>
                  </a:lnTo>
                  <a:lnTo>
                    <a:pt x="97" y="551"/>
                  </a:lnTo>
                  <a:lnTo>
                    <a:pt x="97" y="553"/>
                  </a:lnTo>
                  <a:lnTo>
                    <a:pt x="97" y="551"/>
                  </a:lnTo>
                  <a:lnTo>
                    <a:pt x="99" y="551"/>
                  </a:lnTo>
                  <a:lnTo>
                    <a:pt x="97" y="551"/>
                  </a:lnTo>
                  <a:lnTo>
                    <a:pt x="94" y="551"/>
                  </a:lnTo>
                  <a:lnTo>
                    <a:pt x="94" y="553"/>
                  </a:lnTo>
                  <a:lnTo>
                    <a:pt x="94" y="551"/>
                  </a:lnTo>
                  <a:lnTo>
                    <a:pt x="94" y="548"/>
                  </a:lnTo>
                  <a:lnTo>
                    <a:pt x="97" y="548"/>
                  </a:lnTo>
                  <a:lnTo>
                    <a:pt x="94" y="548"/>
                  </a:lnTo>
                  <a:lnTo>
                    <a:pt x="97" y="548"/>
                  </a:lnTo>
                  <a:lnTo>
                    <a:pt x="97" y="546"/>
                  </a:lnTo>
                  <a:lnTo>
                    <a:pt x="99" y="546"/>
                  </a:lnTo>
                  <a:lnTo>
                    <a:pt x="99" y="544"/>
                  </a:lnTo>
                  <a:lnTo>
                    <a:pt x="99" y="546"/>
                  </a:lnTo>
                  <a:lnTo>
                    <a:pt x="97" y="546"/>
                  </a:lnTo>
                  <a:lnTo>
                    <a:pt x="94" y="546"/>
                  </a:lnTo>
                  <a:lnTo>
                    <a:pt x="94" y="544"/>
                  </a:lnTo>
                  <a:lnTo>
                    <a:pt x="92" y="544"/>
                  </a:lnTo>
                  <a:lnTo>
                    <a:pt x="90" y="544"/>
                  </a:lnTo>
                  <a:lnTo>
                    <a:pt x="87" y="546"/>
                  </a:lnTo>
                  <a:lnTo>
                    <a:pt x="87" y="544"/>
                  </a:lnTo>
                  <a:lnTo>
                    <a:pt x="85" y="541"/>
                  </a:lnTo>
                  <a:lnTo>
                    <a:pt x="87" y="541"/>
                  </a:lnTo>
                  <a:lnTo>
                    <a:pt x="85" y="541"/>
                  </a:lnTo>
                  <a:lnTo>
                    <a:pt x="83" y="541"/>
                  </a:lnTo>
                  <a:lnTo>
                    <a:pt x="80" y="541"/>
                  </a:lnTo>
                  <a:lnTo>
                    <a:pt x="78" y="541"/>
                  </a:lnTo>
                  <a:lnTo>
                    <a:pt x="80" y="541"/>
                  </a:lnTo>
                  <a:lnTo>
                    <a:pt x="80" y="539"/>
                  </a:lnTo>
                  <a:lnTo>
                    <a:pt x="78" y="539"/>
                  </a:lnTo>
                  <a:lnTo>
                    <a:pt x="80" y="539"/>
                  </a:lnTo>
                  <a:lnTo>
                    <a:pt x="78" y="539"/>
                  </a:lnTo>
                  <a:lnTo>
                    <a:pt x="78" y="537"/>
                  </a:lnTo>
                  <a:lnTo>
                    <a:pt x="76" y="537"/>
                  </a:lnTo>
                  <a:lnTo>
                    <a:pt x="78" y="537"/>
                  </a:lnTo>
                  <a:lnTo>
                    <a:pt x="76" y="537"/>
                  </a:lnTo>
                  <a:lnTo>
                    <a:pt x="73" y="537"/>
                  </a:lnTo>
                  <a:lnTo>
                    <a:pt x="76" y="537"/>
                  </a:lnTo>
                  <a:lnTo>
                    <a:pt x="73" y="539"/>
                  </a:lnTo>
                  <a:lnTo>
                    <a:pt x="76" y="539"/>
                  </a:lnTo>
                  <a:lnTo>
                    <a:pt x="73" y="539"/>
                  </a:lnTo>
                  <a:lnTo>
                    <a:pt x="71" y="539"/>
                  </a:lnTo>
                  <a:lnTo>
                    <a:pt x="71" y="541"/>
                  </a:lnTo>
                  <a:lnTo>
                    <a:pt x="71" y="539"/>
                  </a:lnTo>
                  <a:lnTo>
                    <a:pt x="71" y="537"/>
                  </a:lnTo>
                  <a:lnTo>
                    <a:pt x="73" y="537"/>
                  </a:lnTo>
                  <a:lnTo>
                    <a:pt x="73" y="534"/>
                  </a:lnTo>
                  <a:lnTo>
                    <a:pt x="73" y="532"/>
                  </a:lnTo>
                  <a:lnTo>
                    <a:pt x="71" y="532"/>
                  </a:lnTo>
                  <a:lnTo>
                    <a:pt x="71" y="534"/>
                  </a:lnTo>
                  <a:lnTo>
                    <a:pt x="68" y="534"/>
                  </a:lnTo>
                  <a:lnTo>
                    <a:pt x="68" y="532"/>
                  </a:lnTo>
                  <a:lnTo>
                    <a:pt x="68" y="534"/>
                  </a:lnTo>
                  <a:lnTo>
                    <a:pt x="68" y="537"/>
                  </a:lnTo>
                  <a:lnTo>
                    <a:pt x="66" y="539"/>
                  </a:lnTo>
                  <a:lnTo>
                    <a:pt x="64" y="539"/>
                  </a:lnTo>
                  <a:lnTo>
                    <a:pt x="64" y="537"/>
                  </a:lnTo>
                  <a:lnTo>
                    <a:pt x="66" y="537"/>
                  </a:lnTo>
                  <a:lnTo>
                    <a:pt x="64" y="537"/>
                  </a:lnTo>
                  <a:lnTo>
                    <a:pt x="66" y="539"/>
                  </a:lnTo>
                  <a:lnTo>
                    <a:pt x="66" y="537"/>
                  </a:lnTo>
                  <a:lnTo>
                    <a:pt x="64" y="537"/>
                  </a:lnTo>
                  <a:lnTo>
                    <a:pt x="64" y="534"/>
                  </a:lnTo>
                  <a:lnTo>
                    <a:pt x="61" y="534"/>
                  </a:lnTo>
                  <a:lnTo>
                    <a:pt x="64" y="534"/>
                  </a:lnTo>
                  <a:lnTo>
                    <a:pt x="61" y="534"/>
                  </a:lnTo>
                  <a:lnTo>
                    <a:pt x="64" y="534"/>
                  </a:lnTo>
                  <a:lnTo>
                    <a:pt x="61" y="534"/>
                  </a:lnTo>
                  <a:lnTo>
                    <a:pt x="59" y="534"/>
                  </a:lnTo>
                  <a:lnTo>
                    <a:pt x="59" y="532"/>
                  </a:lnTo>
                  <a:lnTo>
                    <a:pt x="59" y="534"/>
                  </a:lnTo>
                  <a:lnTo>
                    <a:pt x="59" y="532"/>
                  </a:lnTo>
                  <a:lnTo>
                    <a:pt x="61" y="532"/>
                  </a:lnTo>
                  <a:lnTo>
                    <a:pt x="59" y="532"/>
                  </a:lnTo>
                  <a:lnTo>
                    <a:pt x="61" y="532"/>
                  </a:lnTo>
                  <a:lnTo>
                    <a:pt x="59" y="532"/>
                  </a:lnTo>
                  <a:lnTo>
                    <a:pt x="59" y="529"/>
                  </a:lnTo>
                  <a:lnTo>
                    <a:pt x="57" y="529"/>
                  </a:lnTo>
                  <a:lnTo>
                    <a:pt x="59" y="529"/>
                  </a:lnTo>
                  <a:lnTo>
                    <a:pt x="57" y="529"/>
                  </a:lnTo>
                  <a:lnTo>
                    <a:pt x="57" y="527"/>
                  </a:lnTo>
                  <a:lnTo>
                    <a:pt x="57" y="529"/>
                  </a:lnTo>
                  <a:lnTo>
                    <a:pt x="57" y="527"/>
                  </a:lnTo>
                  <a:lnTo>
                    <a:pt x="57" y="529"/>
                  </a:lnTo>
                  <a:lnTo>
                    <a:pt x="57" y="527"/>
                  </a:lnTo>
                  <a:lnTo>
                    <a:pt x="59" y="527"/>
                  </a:lnTo>
                  <a:lnTo>
                    <a:pt x="57" y="527"/>
                  </a:lnTo>
                  <a:lnTo>
                    <a:pt x="59" y="527"/>
                  </a:lnTo>
                  <a:lnTo>
                    <a:pt x="57" y="527"/>
                  </a:lnTo>
                  <a:lnTo>
                    <a:pt x="59" y="527"/>
                  </a:lnTo>
                  <a:lnTo>
                    <a:pt x="59" y="525"/>
                  </a:lnTo>
                  <a:lnTo>
                    <a:pt x="59" y="527"/>
                  </a:lnTo>
                  <a:lnTo>
                    <a:pt x="59" y="525"/>
                  </a:lnTo>
                  <a:lnTo>
                    <a:pt x="59" y="527"/>
                  </a:lnTo>
                  <a:lnTo>
                    <a:pt x="57" y="527"/>
                  </a:lnTo>
                  <a:lnTo>
                    <a:pt x="59" y="527"/>
                  </a:lnTo>
                  <a:lnTo>
                    <a:pt x="61" y="527"/>
                  </a:lnTo>
                  <a:lnTo>
                    <a:pt x="59" y="527"/>
                  </a:lnTo>
                  <a:lnTo>
                    <a:pt x="59" y="525"/>
                  </a:lnTo>
                  <a:lnTo>
                    <a:pt x="59" y="527"/>
                  </a:lnTo>
                  <a:lnTo>
                    <a:pt x="61" y="525"/>
                  </a:lnTo>
                  <a:lnTo>
                    <a:pt x="59" y="525"/>
                  </a:lnTo>
                  <a:lnTo>
                    <a:pt x="59" y="522"/>
                  </a:lnTo>
                  <a:lnTo>
                    <a:pt x="59" y="520"/>
                  </a:lnTo>
                  <a:lnTo>
                    <a:pt x="59" y="522"/>
                  </a:lnTo>
                  <a:lnTo>
                    <a:pt x="57" y="522"/>
                  </a:lnTo>
                  <a:lnTo>
                    <a:pt x="57" y="520"/>
                  </a:lnTo>
                  <a:lnTo>
                    <a:pt x="54" y="520"/>
                  </a:lnTo>
                  <a:lnTo>
                    <a:pt x="57" y="520"/>
                  </a:lnTo>
                  <a:lnTo>
                    <a:pt x="57" y="518"/>
                  </a:lnTo>
                  <a:lnTo>
                    <a:pt x="59" y="518"/>
                  </a:lnTo>
                  <a:lnTo>
                    <a:pt x="57" y="518"/>
                  </a:lnTo>
                  <a:lnTo>
                    <a:pt x="59" y="518"/>
                  </a:lnTo>
                  <a:lnTo>
                    <a:pt x="57" y="518"/>
                  </a:lnTo>
                  <a:lnTo>
                    <a:pt x="59" y="518"/>
                  </a:lnTo>
                  <a:lnTo>
                    <a:pt x="57" y="518"/>
                  </a:lnTo>
                  <a:lnTo>
                    <a:pt x="54" y="518"/>
                  </a:lnTo>
                  <a:lnTo>
                    <a:pt x="57" y="518"/>
                  </a:lnTo>
                  <a:lnTo>
                    <a:pt x="54" y="518"/>
                  </a:lnTo>
                  <a:lnTo>
                    <a:pt x="57" y="518"/>
                  </a:lnTo>
                  <a:lnTo>
                    <a:pt x="54" y="518"/>
                  </a:lnTo>
                  <a:lnTo>
                    <a:pt x="52" y="518"/>
                  </a:lnTo>
                  <a:lnTo>
                    <a:pt x="54" y="518"/>
                  </a:lnTo>
                  <a:lnTo>
                    <a:pt x="52" y="518"/>
                  </a:lnTo>
                  <a:lnTo>
                    <a:pt x="54" y="518"/>
                  </a:lnTo>
                  <a:lnTo>
                    <a:pt x="54" y="515"/>
                  </a:lnTo>
                  <a:lnTo>
                    <a:pt x="54" y="518"/>
                  </a:lnTo>
                  <a:lnTo>
                    <a:pt x="54" y="515"/>
                  </a:lnTo>
                  <a:lnTo>
                    <a:pt x="57" y="515"/>
                  </a:lnTo>
                  <a:lnTo>
                    <a:pt x="54" y="515"/>
                  </a:lnTo>
                  <a:lnTo>
                    <a:pt x="57" y="515"/>
                  </a:lnTo>
                  <a:lnTo>
                    <a:pt x="54" y="515"/>
                  </a:lnTo>
                  <a:lnTo>
                    <a:pt x="57" y="515"/>
                  </a:lnTo>
                  <a:lnTo>
                    <a:pt x="54" y="513"/>
                  </a:lnTo>
                  <a:lnTo>
                    <a:pt x="54" y="510"/>
                  </a:lnTo>
                  <a:lnTo>
                    <a:pt x="54" y="513"/>
                  </a:lnTo>
                  <a:lnTo>
                    <a:pt x="57" y="513"/>
                  </a:lnTo>
                  <a:lnTo>
                    <a:pt x="57" y="515"/>
                  </a:lnTo>
                  <a:lnTo>
                    <a:pt x="59" y="515"/>
                  </a:lnTo>
                  <a:lnTo>
                    <a:pt x="57" y="515"/>
                  </a:lnTo>
                  <a:lnTo>
                    <a:pt x="59" y="515"/>
                  </a:lnTo>
                  <a:lnTo>
                    <a:pt x="59" y="518"/>
                  </a:lnTo>
                  <a:lnTo>
                    <a:pt x="61" y="518"/>
                  </a:lnTo>
                  <a:lnTo>
                    <a:pt x="61" y="515"/>
                  </a:lnTo>
                  <a:lnTo>
                    <a:pt x="59" y="515"/>
                  </a:lnTo>
                  <a:lnTo>
                    <a:pt x="59" y="513"/>
                  </a:lnTo>
                  <a:lnTo>
                    <a:pt x="57" y="513"/>
                  </a:lnTo>
                  <a:lnTo>
                    <a:pt x="57" y="510"/>
                  </a:lnTo>
                  <a:lnTo>
                    <a:pt x="59" y="510"/>
                  </a:lnTo>
                  <a:lnTo>
                    <a:pt x="57" y="510"/>
                  </a:lnTo>
                  <a:lnTo>
                    <a:pt x="57" y="508"/>
                  </a:lnTo>
                  <a:lnTo>
                    <a:pt x="57" y="510"/>
                  </a:lnTo>
                  <a:lnTo>
                    <a:pt x="57" y="508"/>
                  </a:lnTo>
                  <a:lnTo>
                    <a:pt x="54" y="508"/>
                  </a:lnTo>
                  <a:lnTo>
                    <a:pt x="57" y="508"/>
                  </a:lnTo>
                  <a:lnTo>
                    <a:pt x="59" y="508"/>
                  </a:lnTo>
                  <a:lnTo>
                    <a:pt x="59" y="510"/>
                  </a:lnTo>
                  <a:lnTo>
                    <a:pt x="59" y="508"/>
                  </a:lnTo>
                  <a:lnTo>
                    <a:pt x="57" y="508"/>
                  </a:lnTo>
                  <a:lnTo>
                    <a:pt x="59" y="508"/>
                  </a:lnTo>
                  <a:lnTo>
                    <a:pt x="57" y="508"/>
                  </a:lnTo>
                  <a:lnTo>
                    <a:pt x="59" y="508"/>
                  </a:lnTo>
                  <a:lnTo>
                    <a:pt x="61" y="508"/>
                  </a:lnTo>
                  <a:lnTo>
                    <a:pt x="61" y="506"/>
                  </a:lnTo>
                  <a:lnTo>
                    <a:pt x="59" y="506"/>
                  </a:lnTo>
                  <a:lnTo>
                    <a:pt x="61" y="506"/>
                  </a:lnTo>
                  <a:lnTo>
                    <a:pt x="59" y="506"/>
                  </a:lnTo>
                  <a:lnTo>
                    <a:pt x="61" y="506"/>
                  </a:lnTo>
                  <a:lnTo>
                    <a:pt x="59" y="506"/>
                  </a:lnTo>
                  <a:lnTo>
                    <a:pt x="61" y="506"/>
                  </a:lnTo>
                  <a:lnTo>
                    <a:pt x="61" y="503"/>
                  </a:lnTo>
                  <a:lnTo>
                    <a:pt x="59" y="503"/>
                  </a:lnTo>
                  <a:lnTo>
                    <a:pt x="61" y="503"/>
                  </a:lnTo>
                  <a:lnTo>
                    <a:pt x="59" y="501"/>
                  </a:lnTo>
                  <a:lnTo>
                    <a:pt x="61" y="501"/>
                  </a:lnTo>
                  <a:lnTo>
                    <a:pt x="59" y="501"/>
                  </a:lnTo>
                  <a:lnTo>
                    <a:pt x="61" y="501"/>
                  </a:lnTo>
                  <a:lnTo>
                    <a:pt x="64" y="501"/>
                  </a:lnTo>
                  <a:lnTo>
                    <a:pt x="61" y="501"/>
                  </a:lnTo>
                  <a:lnTo>
                    <a:pt x="64" y="501"/>
                  </a:lnTo>
                  <a:lnTo>
                    <a:pt x="61" y="501"/>
                  </a:lnTo>
                  <a:lnTo>
                    <a:pt x="61" y="499"/>
                  </a:lnTo>
                  <a:lnTo>
                    <a:pt x="59" y="499"/>
                  </a:lnTo>
                  <a:lnTo>
                    <a:pt x="61" y="499"/>
                  </a:lnTo>
                  <a:lnTo>
                    <a:pt x="64" y="499"/>
                  </a:lnTo>
                  <a:lnTo>
                    <a:pt x="64" y="501"/>
                  </a:lnTo>
                  <a:lnTo>
                    <a:pt x="64" y="499"/>
                  </a:lnTo>
                  <a:lnTo>
                    <a:pt x="64" y="501"/>
                  </a:lnTo>
                  <a:lnTo>
                    <a:pt x="66" y="501"/>
                  </a:lnTo>
                  <a:lnTo>
                    <a:pt x="64" y="501"/>
                  </a:lnTo>
                  <a:lnTo>
                    <a:pt x="66" y="501"/>
                  </a:lnTo>
                  <a:lnTo>
                    <a:pt x="66" y="499"/>
                  </a:lnTo>
                  <a:lnTo>
                    <a:pt x="64" y="499"/>
                  </a:lnTo>
                  <a:lnTo>
                    <a:pt x="61" y="499"/>
                  </a:lnTo>
                  <a:lnTo>
                    <a:pt x="61" y="496"/>
                  </a:lnTo>
                  <a:lnTo>
                    <a:pt x="64" y="496"/>
                  </a:lnTo>
                  <a:lnTo>
                    <a:pt x="61" y="496"/>
                  </a:lnTo>
                  <a:lnTo>
                    <a:pt x="64" y="496"/>
                  </a:lnTo>
                  <a:lnTo>
                    <a:pt x="61" y="496"/>
                  </a:lnTo>
                  <a:lnTo>
                    <a:pt x="64" y="496"/>
                  </a:lnTo>
                  <a:lnTo>
                    <a:pt x="61" y="496"/>
                  </a:lnTo>
                  <a:lnTo>
                    <a:pt x="64" y="496"/>
                  </a:lnTo>
                  <a:lnTo>
                    <a:pt x="61" y="496"/>
                  </a:lnTo>
                  <a:lnTo>
                    <a:pt x="64" y="496"/>
                  </a:lnTo>
                  <a:lnTo>
                    <a:pt x="64" y="494"/>
                  </a:lnTo>
                  <a:lnTo>
                    <a:pt x="64" y="491"/>
                  </a:lnTo>
                  <a:lnTo>
                    <a:pt x="61" y="491"/>
                  </a:lnTo>
                  <a:lnTo>
                    <a:pt x="64" y="491"/>
                  </a:lnTo>
                  <a:lnTo>
                    <a:pt x="61" y="491"/>
                  </a:lnTo>
                  <a:lnTo>
                    <a:pt x="64" y="491"/>
                  </a:lnTo>
                  <a:lnTo>
                    <a:pt x="64" y="489"/>
                  </a:lnTo>
                  <a:lnTo>
                    <a:pt x="61" y="489"/>
                  </a:lnTo>
                  <a:lnTo>
                    <a:pt x="64" y="489"/>
                  </a:lnTo>
                  <a:lnTo>
                    <a:pt x="66" y="489"/>
                  </a:lnTo>
                  <a:lnTo>
                    <a:pt x="64" y="489"/>
                  </a:lnTo>
                  <a:lnTo>
                    <a:pt x="66" y="489"/>
                  </a:lnTo>
                  <a:lnTo>
                    <a:pt x="64" y="487"/>
                  </a:lnTo>
                  <a:lnTo>
                    <a:pt x="61" y="487"/>
                  </a:lnTo>
                  <a:lnTo>
                    <a:pt x="64" y="487"/>
                  </a:lnTo>
                  <a:lnTo>
                    <a:pt x="61" y="487"/>
                  </a:lnTo>
                  <a:lnTo>
                    <a:pt x="61" y="484"/>
                  </a:lnTo>
                  <a:lnTo>
                    <a:pt x="64" y="484"/>
                  </a:lnTo>
                  <a:lnTo>
                    <a:pt x="66" y="484"/>
                  </a:lnTo>
                  <a:lnTo>
                    <a:pt x="64" y="484"/>
                  </a:lnTo>
                  <a:lnTo>
                    <a:pt x="66" y="484"/>
                  </a:lnTo>
                  <a:lnTo>
                    <a:pt x="64" y="484"/>
                  </a:lnTo>
                  <a:lnTo>
                    <a:pt x="64" y="482"/>
                  </a:lnTo>
                  <a:lnTo>
                    <a:pt x="61" y="482"/>
                  </a:lnTo>
                  <a:lnTo>
                    <a:pt x="61" y="480"/>
                  </a:lnTo>
                  <a:lnTo>
                    <a:pt x="64" y="480"/>
                  </a:lnTo>
                  <a:lnTo>
                    <a:pt x="64" y="482"/>
                  </a:lnTo>
                  <a:lnTo>
                    <a:pt x="66" y="482"/>
                  </a:lnTo>
                  <a:lnTo>
                    <a:pt x="68" y="482"/>
                  </a:lnTo>
                  <a:lnTo>
                    <a:pt x="66" y="482"/>
                  </a:lnTo>
                  <a:lnTo>
                    <a:pt x="68" y="482"/>
                  </a:lnTo>
                  <a:lnTo>
                    <a:pt x="66" y="482"/>
                  </a:lnTo>
                  <a:lnTo>
                    <a:pt x="68" y="482"/>
                  </a:lnTo>
                  <a:lnTo>
                    <a:pt x="68" y="484"/>
                  </a:lnTo>
                  <a:lnTo>
                    <a:pt x="68" y="482"/>
                  </a:lnTo>
                  <a:lnTo>
                    <a:pt x="68" y="484"/>
                  </a:lnTo>
                  <a:lnTo>
                    <a:pt x="71" y="484"/>
                  </a:lnTo>
                  <a:lnTo>
                    <a:pt x="71" y="487"/>
                  </a:lnTo>
                  <a:lnTo>
                    <a:pt x="73" y="487"/>
                  </a:lnTo>
                  <a:lnTo>
                    <a:pt x="76" y="487"/>
                  </a:lnTo>
                  <a:lnTo>
                    <a:pt x="73" y="487"/>
                  </a:lnTo>
                  <a:lnTo>
                    <a:pt x="73" y="489"/>
                  </a:lnTo>
                  <a:lnTo>
                    <a:pt x="76" y="489"/>
                  </a:lnTo>
                  <a:lnTo>
                    <a:pt x="78" y="491"/>
                  </a:lnTo>
                  <a:lnTo>
                    <a:pt x="80" y="491"/>
                  </a:lnTo>
                  <a:lnTo>
                    <a:pt x="80" y="494"/>
                  </a:lnTo>
                  <a:lnTo>
                    <a:pt x="83" y="494"/>
                  </a:lnTo>
                  <a:lnTo>
                    <a:pt x="80" y="494"/>
                  </a:lnTo>
                  <a:lnTo>
                    <a:pt x="80" y="491"/>
                  </a:lnTo>
                  <a:lnTo>
                    <a:pt x="78" y="491"/>
                  </a:lnTo>
                  <a:lnTo>
                    <a:pt x="76" y="489"/>
                  </a:lnTo>
                  <a:lnTo>
                    <a:pt x="73" y="489"/>
                  </a:lnTo>
                  <a:lnTo>
                    <a:pt x="73" y="487"/>
                  </a:lnTo>
                  <a:lnTo>
                    <a:pt x="76" y="487"/>
                  </a:lnTo>
                  <a:lnTo>
                    <a:pt x="73" y="487"/>
                  </a:lnTo>
                  <a:lnTo>
                    <a:pt x="73" y="484"/>
                  </a:lnTo>
                  <a:lnTo>
                    <a:pt x="73" y="487"/>
                  </a:lnTo>
                  <a:lnTo>
                    <a:pt x="71" y="487"/>
                  </a:lnTo>
                  <a:lnTo>
                    <a:pt x="71" y="484"/>
                  </a:lnTo>
                  <a:lnTo>
                    <a:pt x="68" y="482"/>
                  </a:lnTo>
                  <a:lnTo>
                    <a:pt x="66" y="482"/>
                  </a:lnTo>
                  <a:lnTo>
                    <a:pt x="68" y="482"/>
                  </a:lnTo>
                  <a:lnTo>
                    <a:pt x="66" y="480"/>
                  </a:lnTo>
                  <a:lnTo>
                    <a:pt x="66" y="477"/>
                  </a:lnTo>
                  <a:lnTo>
                    <a:pt x="64" y="477"/>
                  </a:lnTo>
                  <a:lnTo>
                    <a:pt x="64" y="475"/>
                  </a:lnTo>
                  <a:lnTo>
                    <a:pt x="64" y="472"/>
                  </a:lnTo>
                  <a:lnTo>
                    <a:pt x="61" y="472"/>
                  </a:lnTo>
                  <a:lnTo>
                    <a:pt x="64" y="472"/>
                  </a:lnTo>
                  <a:lnTo>
                    <a:pt x="64" y="475"/>
                  </a:lnTo>
                  <a:lnTo>
                    <a:pt x="64" y="472"/>
                  </a:lnTo>
                  <a:lnTo>
                    <a:pt x="66" y="472"/>
                  </a:lnTo>
                  <a:lnTo>
                    <a:pt x="66" y="475"/>
                  </a:lnTo>
                  <a:lnTo>
                    <a:pt x="66" y="472"/>
                  </a:lnTo>
                  <a:lnTo>
                    <a:pt x="64" y="472"/>
                  </a:lnTo>
                  <a:lnTo>
                    <a:pt x="64" y="470"/>
                  </a:lnTo>
                  <a:lnTo>
                    <a:pt x="61" y="470"/>
                  </a:lnTo>
                  <a:lnTo>
                    <a:pt x="64" y="472"/>
                  </a:lnTo>
                  <a:lnTo>
                    <a:pt x="64" y="470"/>
                  </a:lnTo>
                  <a:lnTo>
                    <a:pt x="64" y="472"/>
                  </a:lnTo>
                  <a:lnTo>
                    <a:pt x="61" y="472"/>
                  </a:lnTo>
                  <a:lnTo>
                    <a:pt x="64" y="470"/>
                  </a:lnTo>
                  <a:lnTo>
                    <a:pt x="61" y="470"/>
                  </a:lnTo>
                  <a:lnTo>
                    <a:pt x="59" y="468"/>
                  </a:lnTo>
                  <a:lnTo>
                    <a:pt x="59" y="470"/>
                  </a:lnTo>
                  <a:lnTo>
                    <a:pt x="59" y="468"/>
                  </a:lnTo>
                  <a:lnTo>
                    <a:pt x="61" y="468"/>
                  </a:lnTo>
                  <a:lnTo>
                    <a:pt x="61" y="470"/>
                  </a:lnTo>
                  <a:lnTo>
                    <a:pt x="64" y="470"/>
                  </a:lnTo>
                  <a:lnTo>
                    <a:pt x="61" y="468"/>
                  </a:lnTo>
                  <a:lnTo>
                    <a:pt x="64" y="468"/>
                  </a:lnTo>
                  <a:lnTo>
                    <a:pt x="61" y="468"/>
                  </a:lnTo>
                  <a:lnTo>
                    <a:pt x="64" y="468"/>
                  </a:lnTo>
                  <a:lnTo>
                    <a:pt x="61" y="468"/>
                  </a:lnTo>
                  <a:lnTo>
                    <a:pt x="64" y="468"/>
                  </a:lnTo>
                  <a:lnTo>
                    <a:pt x="61" y="468"/>
                  </a:lnTo>
                  <a:lnTo>
                    <a:pt x="61" y="465"/>
                  </a:lnTo>
                  <a:lnTo>
                    <a:pt x="61" y="468"/>
                  </a:lnTo>
                  <a:lnTo>
                    <a:pt x="61" y="465"/>
                  </a:lnTo>
                  <a:lnTo>
                    <a:pt x="61" y="463"/>
                  </a:lnTo>
                  <a:lnTo>
                    <a:pt x="61" y="465"/>
                  </a:lnTo>
                  <a:lnTo>
                    <a:pt x="61" y="463"/>
                  </a:lnTo>
                  <a:lnTo>
                    <a:pt x="59" y="463"/>
                  </a:lnTo>
                  <a:lnTo>
                    <a:pt x="59" y="461"/>
                  </a:lnTo>
                  <a:lnTo>
                    <a:pt x="57" y="461"/>
                  </a:lnTo>
                  <a:lnTo>
                    <a:pt x="59" y="461"/>
                  </a:lnTo>
                  <a:lnTo>
                    <a:pt x="57" y="461"/>
                  </a:lnTo>
                  <a:lnTo>
                    <a:pt x="59" y="461"/>
                  </a:lnTo>
                  <a:lnTo>
                    <a:pt x="57" y="461"/>
                  </a:lnTo>
                  <a:lnTo>
                    <a:pt x="57" y="463"/>
                  </a:lnTo>
                  <a:lnTo>
                    <a:pt x="59" y="463"/>
                  </a:lnTo>
                  <a:lnTo>
                    <a:pt x="57" y="463"/>
                  </a:lnTo>
                  <a:lnTo>
                    <a:pt x="57" y="461"/>
                  </a:lnTo>
                  <a:lnTo>
                    <a:pt x="57" y="458"/>
                  </a:lnTo>
                  <a:lnTo>
                    <a:pt x="54" y="458"/>
                  </a:lnTo>
                  <a:lnTo>
                    <a:pt x="54" y="456"/>
                  </a:lnTo>
                  <a:lnTo>
                    <a:pt x="57" y="456"/>
                  </a:lnTo>
                  <a:lnTo>
                    <a:pt x="57" y="453"/>
                  </a:lnTo>
                  <a:lnTo>
                    <a:pt x="57" y="451"/>
                  </a:lnTo>
                  <a:lnTo>
                    <a:pt x="57" y="449"/>
                  </a:lnTo>
                  <a:lnTo>
                    <a:pt x="57" y="451"/>
                  </a:lnTo>
                  <a:lnTo>
                    <a:pt x="57" y="449"/>
                  </a:lnTo>
                  <a:lnTo>
                    <a:pt x="57" y="451"/>
                  </a:lnTo>
                  <a:lnTo>
                    <a:pt x="57" y="449"/>
                  </a:lnTo>
                  <a:lnTo>
                    <a:pt x="57" y="451"/>
                  </a:lnTo>
                  <a:lnTo>
                    <a:pt x="57" y="449"/>
                  </a:lnTo>
                  <a:lnTo>
                    <a:pt x="59" y="449"/>
                  </a:lnTo>
                  <a:lnTo>
                    <a:pt x="59" y="446"/>
                  </a:lnTo>
                  <a:lnTo>
                    <a:pt x="59" y="444"/>
                  </a:lnTo>
                  <a:lnTo>
                    <a:pt x="59" y="442"/>
                  </a:lnTo>
                  <a:lnTo>
                    <a:pt x="59" y="444"/>
                  </a:lnTo>
                  <a:lnTo>
                    <a:pt x="57" y="444"/>
                  </a:lnTo>
                  <a:lnTo>
                    <a:pt x="57" y="442"/>
                  </a:lnTo>
                  <a:lnTo>
                    <a:pt x="54" y="442"/>
                  </a:lnTo>
                  <a:lnTo>
                    <a:pt x="57" y="442"/>
                  </a:lnTo>
                  <a:lnTo>
                    <a:pt x="57" y="439"/>
                  </a:lnTo>
                  <a:lnTo>
                    <a:pt x="57" y="442"/>
                  </a:lnTo>
                  <a:lnTo>
                    <a:pt x="57" y="439"/>
                  </a:lnTo>
                  <a:lnTo>
                    <a:pt x="57" y="442"/>
                  </a:lnTo>
                  <a:lnTo>
                    <a:pt x="57" y="439"/>
                  </a:lnTo>
                  <a:lnTo>
                    <a:pt x="57" y="437"/>
                  </a:lnTo>
                  <a:lnTo>
                    <a:pt x="57" y="439"/>
                  </a:lnTo>
                  <a:lnTo>
                    <a:pt x="57" y="437"/>
                  </a:lnTo>
                  <a:lnTo>
                    <a:pt x="57" y="439"/>
                  </a:lnTo>
                  <a:lnTo>
                    <a:pt x="57" y="437"/>
                  </a:lnTo>
                  <a:lnTo>
                    <a:pt x="54" y="437"/>
                  </a:lnTo>
                  <a:lnTo>
                    <a:pt x="57" y="437"/>
                  </a:lnTo>
                  <a:lnTo>
                    <a:pt x="54" y="437"/>
                  </a:lnTo>
                  <a:lnTo>
                    <a:pt x="54" y="439"/>
                  </a:lnTo>
                  <a:lnTo>
                    <a:pt x="52" y="439"/>
                  </a:lnTo>
                  <a:lnTo>
                    <a:pt x="52" y="437"/>
                  </a:lnTo>
                  <a:lnTo>
                    <a:pt x="54" y="437"/>
                  </a:lnTo>
                  <a:lnTo>
                    <a:pt x="52" y="437"/>
                  </a:lnTo>
                  <a:lnTo>
                    <a:pt x="54" y="437"/>
                  </a:lnTo>
                  <a:lnTo>
                    <a:pt x="52" y="437"/>
                  </a:lnTo>
                  <a:lnTo>
                    <a:pt x="54" y="434"/>
                  </a:lnTo>
                  <a:lnTo>
                    <a:pt x="52" y="434"/>
                  </a:lnTo>
                  <a:lnTo>
                    <a:pt x="52" y="432"/>
                  </a:lnTo>
                  <a:lnTo>
                    <a:pt x="49" y="432"/>
                  </a:lnTo>
                  <a:lnTo>
                    <a:pt x="49" y="430"/>
                  </a:lnTo>
                  <a:lnTo>
                    <a:pt x="52" y="430"/>
                  </a:lnTo>
                  <a:lnTo>
                    <a:pt x="49" y="430"/>
                  </a:lnTo>
                  <a:lnTo>
                    <a:pt x="49" y="427"/>
                  </a:lnTo>
                  <a:lnTo>
                    <a:pt x="49" y="430"/>
                  </a:lnTo>
                  <a:lnTo>
                    <a:pt x="52" y="430"/>
                  </a:lnTo>
                  <a:lnTo>
                    <a:pt x="52" y="427"/>
                  </a:lnTo>
                  <a:lnTo>
                    <a:pt x="52" y="430"/>
                  </a:lnTo>
                  <a:lnTo>
                    <a:pt x="52" y="427"/>
                  </a:lnTo>
                  <a:lnTo>
                    <a:pt x="52" y="430"/>
                  </a:lnTo>
                  <a:lnTo>
                    <a:pt x="52" y="427"/>
                  </a:lnTo>
                  <a:lnTo>
                    <a:pt x="49" y="427"/>
                  </a:lnTo>
                  <a:lnTo>
                    <a:pt x="52" y="427"/>
                  </a:lnTo>
                  <a:lnTo>
                    <a:pt x="49" y="427"/>
                  </a:lnTo>
                  <a:lnTo>
                    <a:pt x="52" y="427"/>
                  </a:lnTo>
                  <a:lnTo>
                    <a:pt x="52" y="425"/>
                  </a:lnTo>
                  <a:lnTo>
                    <a:pt x="54" y="425"/>
                  </a:lnTo>
                  <a:lnTo>
                    <a:pt x="52" y="425"/>
                  </a:lnTo>
                  <a:lnTo>
                    <a:pt x="49" y="425"/>
                  </a:lnTo>
                  <a:lnTo>
                    <a:pt x="49" y="423"/>
                  </a:lnTo>
                  <a:lnTo>
                    <a:pt x="49" y="425"/>
                  </a:lnTo>
                  <a:lnTo>
                    <a:pt x="47" y="425"/>
                  </a:lnTo>
                  <a:lnTo>
                    <a:pt x="49" y="425"/>
                  </a:lnTo>
                  <a:lnTo>
                    <a:pt x="47" y="425"/>
                  </a:lnTo>
                  <a:lnTo>
                    <a:pt x="49" y="423"/>
                  </a:lnTo>
                  <a:lnTo>
                    <a:pt x="49" y="420"/>
                  </a:lnTo>
                  <a:lnTo>
                    <a:pt x="49" y="423"/>
                  </a:lnTo>
                  <a:lnTo>
                    <a:pt x="49" y="420"/>
                  </a:lnTo>
                  <a:lnTo>
                    <a:pt x="47" y="420"/>
                  </a:lnTo>
                  <a:lnTo>
                    <a:pt x="49" y="420"/>
                  </a:lnTo>
                  <a:lnTo>
                    <a:pt x="49" y="418"/>
                  </a:lnTo>
                  <a:lnTo>
                    <a:pt x="52" y="418"/>
                  </a:lnTo>
                  <a:lnTo>
                    <a:pt x="49" y="418"/>
                  </a:lnTo>
                  <a:lnTo>
                    <a:pt x="49" y="415"/>
                  </a:lnTo>
                  <a:lnTo>
                    <a:pt x="49" y="413"/>
                  </a:lnTo>
                  <a:lnTo>
                    <a:pt x="52" y="413"/>
                  </a:lnTo>
                  <a:lnTo>
                    <a:pt x="52" y="415"/>
                  </a:lnTo>
                  <a:lnTo>
                    <a:pt x="52" y="413"/>
                  </a:lnTo>
                  <a:lnTo>
                    <a:pt x="54" y="413"/>
                  </a:lnTo>
                  <a:lnTo>
                    <a:pt x="54" y="411"/>
                  </a:lnTo>
                  <a:lnTo>
                    <a:pt x="54" y="408"/>
                  </a:lnTo>
                  <a:lnTo>
                    <a:pt x="54" y="411"/>
                  </a:lnTo>
                  <a:lnTo>
                    <a:pt x="54" y="408"/>
                  </a:lnTo>
                  <a:lnTo>
                    <a:pt x="54" y="411"/>
                  </a:lnTo>
                  <a:lnTo>
                    <a:pt x="57" y="411"/>
                  </a:lnTo>
                  <a:lnTo>
                    <a:pt x="59" y="411"/>
                  </a:lnTo>
                  <a:lnTo>
                    <a:pt x="57" y="411"/>
                  </a:lnTo>
                  <a:lnTo>
                    <a:pt x="59" y="411"/>
                  </a:lnTo>
                  <a:lnTo>
                    <a:pt x="57" y="411"/>
                  </a:lnTo>
                  <a:lnTo>
                    <a:pt x="57" y="408"/>
                  </a:lnTo>
                  <a:lnTo>
                    <a:pt x="59" y="408"/>
                  </a:lnTo>
                  <a:lnTo>
                    <a:pt x="57" y="408"/>
                  </a:lnTo>
                  <a:lnTo>
                    <a:pt x="59" y="408"/>
                  </a:lnTo>
                  <a:lnTo>
                    <a:pt x="59" y="411"/>
                  </a:lnTo>
                  <a:lnTo>
                    <a:pt x="59" y="408"/>
                  </a:lnTo>
                  <a:lnTo>
                    <a:pt x="59" y="406"/>
                  </a:lnTo>
                  <a:lnTo>
                    <a:pt x="61" y="406"/>
                  </a:lnTo>
                  <a:lnTo>
                    <a:pt x="61" y="404"/>
                  </a:lnTo>
                  <a:lnTo>
                    <a:pt x="59" y="404"/>
                  </a:lnTo>
                  <a:lnTo>
                    <a:pt x="61" y="404"/>
                  </a:lnTo>
                  <a:lnTo>
                    <a:pt x="59" y="404"/>
                  </a:lnTo>
                  <a:lnTo>
                    <a:pt x="59" y="401"/>
                  </a:lnTo>
                  <a:lnTo>
                    <a:pt x="57" y="401"/>
                  </a:lnTo>
                  <a:lnTo>
                    <a:pt x="59" y="401"/>
                  </a:lnTo>
                  <a:lnTo>
                    <a:pt x="59" y="399"/>
                  </a:lnTo>
                  <a:lnTo>
                    <a:pt x="61" y="399"/>
                  </a:lnTo>
                  <a:lnTo>
                    <a:pt x="61" y="401"/>
                  </a:lnTo>
                  <a:lnTo>
                    <a:pt x="59" y="401"/>
                  </a:lnTo>
                  <a:lnTo>
                    <a:pt x="61" y="401"/>
                  </a:lnTo>
                  <a:lnTo>
                    <a:pt x="59" y="401"/>
                  </a:lnTo>
                  <a:lnTo>
                    <a:pt x="61" y="401"/>
                  </a:lnTo>
                  <a:lnTo>
                    <a:pt x="59" y="401"/>
                  </a:lnTo>
                  <a:lnTo>
                    <a:pt x="61" y="401"/>
                  </a:lnTo>
                  <a:lnTo>
                    <a:pt x="59" y="401"/>
                  </a:lnTo>
                  <a:lnTo>
                    <a:pt x="61" y="401"/>
                  </a:lnTo>
                  <a:lnTo>
                    <a:pt x="61" y="404"/>
                  </a:lnTo>
                  <a:lnTo>
                    <a:pt x="61" y="401"/>
                  </a:lnTo>
                  <a:lnTo>
                    <a:pt x="61" y="399"/>
                  </a:lnTo>
                  <a:lnTo>
                    <a:pt x="61" y="401"/>
                  </a:lnTo>
                  <a:lnTo>
                    <a:pt x="61" y="399"/>
                  </a:lnTo>
                  <a:lnTo>
                    <a:pt x="61" y="401"/>
                  </a:lnTo>
                  <a:lnTo>
                    <a:pt x="61" y="399"/>
                  </a:lnTo>
                  <a:lnTo>
                    <a:pt x="61" y="401"/>
                  </a:lnTo>
                  <a:lnTo>
                    <a:pt x="64" y="401"/>
                  </a:lnTo>
                  <a:lnTo>
                    <a:pt x="64" y="399"/>
                  </a:lnTo>
                  <a:lnTo>
                    <a:pt x="64" y="401"/>
                  </a:lnTo>
                  <a:lnTo>
                    <a:pt x="66" y="401"/>
                  </a:lnTo>
                  <a:lnTo>
                    <a:pt x="68" y="401"/>
                  </a:lnTo>
                  <a:lnTo>
                    <a:pt x="68" y="399"/>
                  </a:lnTo>
                  <a:lnTo>
                    <a:pt x="68" y="401"/>
                  </a:lnTo>
                  <a:lnTo>
                    <a:pt x="66" y="401"/>
                  </a:lnTo>
                  <a:lnTo>
                    <a:pt x="68" y="401"/>
                  </a:lnTo>
                  <a:lnTo>
                    <a:pt x="66" y="401"/>
                  </a:lnTo>
                  <a:lnTo>
                    <a:pt x="66" y="399"/>
                  </a:lnTo>
                  <a:lnTo>
                    <a:pt x="64" y="399"/>
                  </a:lnTo>
                  <a:lnTo>
                    <a:pt x="64" y="396"/>
                  </a:lnTo>
                  <a:lnTo>
                    <a:pt x="66" y="396"/>
                  </a:lnTo>
                  <a:lnTo>
                    <a:pt x="64" y="396"/>
                  </a:lnTo>
                  <a:lnTo>
                    <a:pt x="64" y="394"/>
                  </a:lnTo>
                  <a:lnTo>
                    <a:pt x="61" y="394"/>
                  </a:lnTo>
                  <a:lnTo>
                    <a:pt x="64" y="394"/>
                  </a:lnTo>
                  <a:lnTo>
                    <a:pt x="61" y="394"/>
                  </a:lnTo>
                  <a:lnTo>
                    <a:pt x="64" y="394"/>
                  </a:lnTo>
                  <a:lnTo>
                    <a:pt x="64" y="392"/>
                  </a:lnTo>
                  <a:lnTo>
                    <a:pt x="64" y="389"/>
                  </a:lnTo>
                  <a:lnTo>
                    <a:pt x="64" y="392"/>
                  </a:lnTo>
                  <a:lnTo>
                    <a:pt x="64" y="389"/>
                  </a:lnTo>
                  <a:lnTo>
                    <a:pt x="64" y="387"/>
                  </a:lnTo>
                  <a:lnTo>
                    <a:pt x="66" y="387"/>
                  </a:lnTo>
                  <a:lnTo>
                    <a:pt x="64" y="387"/>
                  </a:lnTo>
                  <a:lnTo>
                    <a:pt x="64" y="389"/>
                  </a:lnTo>
                  <a:lnTo>
                    <a:pt x="64" y="387"/>
                  </a:lnTo>
                  <a:lnTo>
                    <a:pt x="64" y="389"/>
                  </a:lnTo>
                  <a:lnTo>
                    <a:pt x="66" y="389"/>
                  </a:lnTo>
                  <a:lnTo>
                    <a:pt x="64" y="389"/>
                  </a:lnTo>
                  <a:lnTo>
                    <a:pt x="66" y="389"/>
                  </a:lnTo>
                  <a:lnTo>
                    <a:pt x="64" y="389"/>
                  </a:lnTo>
                  <a:lnTo>
                    <a:pt x="66" y="389"/>
                  </a:lnTo>
                  <a:lnTo>
                    <a:pt x="66" y="392"/>
                  </a:lnTo>
                  <a:lnTo>
                    <a:pt x="68" y="392"/>
                  </a:lnTo>
                  <a:lnTo>
                    <a:pt x="71" y="392"/>
                  </a:lnTo>
                  <a:lnTo>
                    <a:pt x="71" y="389"/>
                  </a:lnTo>
                  <a:lnTo>
                    <a:pt x="73" y="389"/>
                  </a:lnTo>
                  <a:lnTo>
                    <a:pt x="71" y="389"/>
                  </a:lnTo>
                  <a:lnTo>
                    <a:pt x="73" y="389"/>
                  </a:lnTo>
                  <a:lnTo>
                    <a:pt x="76" y="389"/>
                  </a:lnTo>
                  <a:lnTo>
                    <a:pt x="76" y="392"/>
                  </a:lnTo>
                  <a:lnTo>
                    <a:pt x="76" y="389"/>
                  </a:lnTo>
                  <a:lnTo>
                    <a:pt x="78" y="389"/>
                  </a:lnTo>
                  <a:lnTo>
                    <a:pt x="76" y="389"/>
                  </a:lnTo>
                  <a:lnTo>
                    <a:pt x="78" y="389"/>
                  </a:lnTo>
                  <a:lnTo>
                    <a:pt x="80" y="389"/>
                  </a:lnTo>
                  <a:lnTo>
                    <a:pt x="78" y="389"/>
                  </a:lnTo>
                  <a:lnTo>
                    <a:pt x="78" y="392"/>
                  </a:lnTo>
                  <a:lnTo>
                    <a:pt x="78" y="389"/>
                  </a:lnTo>
                  <a:lnTo>
                    <a:pt x="78" y="392"/>
                  </a:lnTo>
                  <a:lnTo>
                    <a:pt x="80" y="392"/>
                  </a:lnTo>
                  <a:lnTo>
                    <a:pt x="78" y="392"/>
                  </a:lnTo>
                  <a:lnTo>
                    <a:pt x="78" y="394"/>
                  </a:lnTo>
                  <a:lnTo>
                    <a:pt x="76" y="394"/>
                  </a:lnTo>
                  <a:lnTo>
                    <a:pt x="73" y="394"/>
                  </a:lnTo>
                  <a:lnTo>
                    <a:pt x="76" y="394"/>
                  </a:lnTo>
                  <a:lnTo>
                    <a:pt x="78" y="394"/>
                  </a:lnTo>
                  <a:lnTo>
                    <a:pt x="78" y="392"/>
                  </a:lnTo>
                  <a:lnTo>
                    <a:pt x="80" y="392"/>
                  </a:lnTo>
                  <a:lnTo>
                    <a:pt x="80" y="389"/>
                  </a:lnTo>
                  <a:lnTo>
                    <a:pt x="80" y="392"/>
                  </a:lnTo>
                  <a:lnTo>
                    <a:pt x="80" y="389"/>
                  </a:lnTo>
                  <a:lnTo>
                    <a:pt x="80" y="392"/>
                  </a:lnTo>
                  <a:lnTo>
                    <a:pt x="80" y="389"/>
                  </a:lnTo>
                  <a:lnTo>
                    <a:pt x="83" y="389"/>
                  </a:lnTo>
                  <a:lnTo>
                    <a:pt x="80" y="389"/>
                  </a:lnTo>
                  <a:lnTo>
                    <a:pt x="83" y="389"/>
                  </a:lnTo>
                  <a:lnTo>
                    <a:pt x="83" y="392"/>
                  </a:lnTo>
                  <a:lnTo>
                    <a:pt x="80" y="392"/>
                  </a:lnTo>
                  <a:lnTo>
                    <a:pt x="83" y="392"/>
                  </a:lnTo>
                  <a:lnTo>
                    <a:pt x="80" y="392"/>
                  </a:lnTo>
                  <a:lnTo>
                    <a:pt x="83" y="392"/>
                  </a:lnTo>
                  <a:lnTo>
                    <a:pt x="83" y="389"/>
                  </a:lnTo>
                  <a:lnTo>
                    <a:pt x="85" y="389"/>
                  </a:lnTo>
                  <a:lnTo>
                    <a:pt x="85" y="392"/>
                  </a:lnTo>
                  <a:lnTo>
                    <a:pt x="85" y="389"/>
                  </a:lnTo>
                  <a:lnTo>
                    <a:pt x="87" y="389"/>
                  </a:lnTo>
                  <a:lnTo>
                    <a:pt x="87" y="387"/>
                  </a:lnTo>
                  <a:lnTo>
                    <a:pt x="90" y="387"/>
                  </a:lnTo>
                  <a:lnTo>
                    <a:pt x="90" y="385"/>
                  </a:lnTo>
                  <a:lnTo>
                    <a:pt x="90" y="387"/>
                  </a:lnTo>
                  <a:lnTo>
                    <a:pt x="90" y="385"/>
                  </a:lnTo>
                  <a:lnTo>
                    <a:pt x="92" y="385"/>
                  </a:lnTo>
                  <a:lnTo>
                    <a:pt x="90" y="385"/>
                  </a:lnTo>
                  <a:lnTo>
                    <a:pt x="90" y="382"/>
                  </a:lnTo>
                  <a:lnTo>
                    <a:pt x="87" y="382"/>
                  </a:lnTo>
                  <a:lnTo>
                    <a:pt x="87" y="380"/>
                  </a:lnTo>
                  <a:lnTo>
                    <a:pt x="87" y="382"/>
                  </a:lnTo>
                  <a:lnTo>
                    <a:pt x="87" y="380"/>
                  </a:lnTo>
                  <a:lnTo>
                    <a:pt x="85" y="380"/>
                  </a:lnTo>
                  <a:lnTo>
                    <a:pt x="85" y="377"/>
                  </a:lnTo>
                  <a:lnTo>
                    <a:pt x="87" y="377"/>
                  </a:lnTo>
                  <a:lnTo>
                    <a:pt x="90" y="377"/>
                  </a:lnTo>
                  <a:lnTo>
                    <a:pt x="90" y="380"/>
                  </a:lnTo>
                  <a:lnTo>
                    <a:pt x="90" y="377"/>
                  </a:lnTo>
                  <a:lnTo>
                    <a:pt x="90" y="380"/>
                  </a:lnTo>
                  <a:lnTo>
                    <a:pt x="92" y="380"/>
                  </a:lnTo>
                  <a:lnTo>
                    <a:pt x="90" y="377"/>
                  </a:lnTo>
                  <a:lnTo>
                    <a:pt x="87" y="375"/>
                  </a:lnTo>
                  <a:lnTo>
                    <a:pt x="90" y="375"/>
                  </a:lnTo>
                  <a:lnTo>
                    <a:pt x="90" y="373"/>
                  </a:lnTo>
                  <a:lnTo>
                    <a:pt x="90" y="370"/>
                  </a:lnTo>
                  <a:lnTo>
                    <a:pt x="90" y="373"/>
                  </a:lnTo>
                  <a:lnTo>
                    <a:pt x="92" y="373"/>
                  </a:lnTo>
                  <a:lnTo>
                    <a:pt x="90" y="373"/>
                  </a:lnTo>
                  <a:lnTo>
                    <a:pt x="90" y="375"/>
                  </a:lnTo>
                  <a:lnTo>
                    <a:pt x="92" y="375"/>
                  </a:lnTo>
                  <a:lnTo>
                    <a:pt x="90" y="375"/>
                  </a:lnTo>
                  <a:lnTo>
                    <a:pt x="92" y="375"/>
                  </a:lnTo>
                  <a:lnTo>
                    <a:pt x="92" y="377"/>
                  </a:lnTo>
                  <a:lnTo>
                    <a:pt x="94" y="377"/>
                  </a:lnTo>
                  <a:lnTo>
                    <a:pt x="92" y="377"/>
                  </a:lnTo>
                  <a:lnTo>
                    <a:pt x="94" y="377"/>
                  </a:lnTo>
                  <a:lnTo>
                    <a:pt x="92" y="375"/>
                  </a:lnTo>
                  <a:lnTo>
                    <a:pt x="94" y="375"/>
                  </a:lnTo>
                  <a:lnTo>
                    <a:pt x="94" y="373"/>
                  </a:lnTo>
                  <a:lnTo>
                    <a:pt x="97" y="373"/>
                  </a:lnTo>
                  <a:lnTo>
                    <a:pt x="97" y="375"/>
                  </a:lnTo>
                  <a:lnTo>
                    <a:pt x="97" y="373"/>
                  </a:lnTo>
                  <a:lnTo>
                    <a:pt x="94" y="373"/>
                  </a:lnTo>
                  <a:lnTo>
                    <a:pt x="94" y="370"/>
                  </a:lnTo>
                  <a:lnTo>
                    <a:pt x="94" y="373"/>
                  </a:lnTo>
                  <a:lnTo>
                    <a:pt x="94" y="370"/>
                  </a:lnTo>
                  <a:lnTo>
                    <a:pt x="92" y="370"/>
                  </a:lnTo>
                  <a:lnTo>
                    <a:pt x="94" y="370"/>
                  </a:lnTo>
                  <a:lnTo>
                    <a:pt x="94" y="368"/>
                  </a:lnTo>
                  <a:lnTo>
                    <a:pt x="97" y="368"/>
                  </a:lnTo>
                  <a:lnTo>
                    <a:pt x="97" y="366"/>
                  </a:lnTo>
                  <a:lnTo>
                    <a:pt x="97" y="368"/>
                  </a:lnTo>
                  <a:lnTo>
                    <a:pt x="99" y="366"/>
                  </a:lnTo>
                  <a:lnTo>
                    <a:pt x="99" y="363"/>
                  </a:lnTo>
                  <a:lnTo>
                    <a:pt x="99" y="366"/>
                  </a:lnTo>
                  <a:lnTo>
                    <a:pt x="102" y="366"/>
                  </a:lnTo>
                  <a:lnTo>
                    <a:pt x="99" y="366"/>
                  </a:lnTo>
                  <a:lnTo>
                    <a:pt x="102" y="366"/>
                  </a:lnTo>
                  <a:lnTo>
                    <a:pt x="102" y="363"/>
                  </a:lnTo>
                  <a:lnTo>
                    <a:pt x="102" y="366"/>
                  </a:lnTo>
                  <a:lnTo>
                    <a:pt x="104" y="366"/>
                  </a:lnTo>
                  <a:lnTo>
                    <a:pt x="104" y="368"/>
                  </a:lnTo>
                  <a:lnTo>
                    <a:pt x="104" y="366"/>
                  </a:lnTo>
                  <a:lnTo>
                    <a:pt x="106" y="366"/>
                  </a:lnTo>
                  <a:lnTo>
                    <a:pt x="106" y="368"/>
                  </a:lnTo>
                  <a:lnTo>
                    <a:pt x="106" y="366"/>
                  </a:lnTo>
                  <a:lnTo>
                    <a:pt x="109" y="366"/>
                  </a:lnTo>
                  <a:lnTo>
                    <a:pt x="106" y="366"/>
                  </a:lnTo>
                  <a:lnTo>
                    <a:pt x="109" y="366"/>
                  </a:lnTo>
                  <a:lnTo>
                    <a:pt x="109" y="363"/>
                  </a:lnTo>
                  <a:lnTo>
                    <a:pt x="106" y="363"/>
                  </a:lnTo>
                  <a:lnTo>
                    <a:pt x="106" y="361"/>
                  </a:lnTo>
                  <a:lnTo>
                    <a:pt x="106" y="363"/>
                  </a:lnTo>
                  <a:lnTo>
                    <a:pt x="106" y="361"/>
                  </a:lnTo>
                  <a:lnTo>
                    <a:pt x="109" y="363"/>
                  </a:lnTo>
                  <a:lnTo>
                    <a:pt x="109" y="361"/>
                  </a:lnTo>
                  <a:lnTo>
                    <a:pt x="109" y="363"/>
                  </a:lnTo>
                  <a:lnTo>
                    <a:pt x="109" y="361"/>
                  </a:lnTo>
                  <a:lnTo>
                    <a:pt x="109" y="363"/>
                  </a:lnTo>
                  <a:lnTo>
                    <a:pt x="109" y="361"/>
                  </a:lnTo>
                  <a:lnTo>
                    <a:pt x="106" y="358"/>
                  </a:lnTo>
                  <a:lnTo>
                    <a:pt x="106" y="361"/>
                  </a:lnTo>
                  <a:lnTo>
                    <a:pt x="104" y="361"/>
                  </a:lnTo>
                  <a:lnTo>
                    <a:pt x="104" y="358"/>
                  </a:lnTo>
                  <a:lnTo>
                    <a:pt x="104" y="361"/>
                  </a:lnTo>
                  <a:lnTo>
                    <a:pt x="106" y="361"/>
                  </a:lnTo>
                  <a:lnTo>
                    <a:pt x="104" y="361"/>
                  </a:lnTo>
                  <a:lnTo>
                    <a:pt x="106" y="361"/>
                  </a:lnTo>
                  <a:lnTo>
                    <a:pt x="106" y="363"/>
                  </a:lnTo>
                  <a:lnTo>
                    <a:pt x="104" y="363"/>
                  </a:lnTo>
                  <a:lnTo>
                    <a:pt x="104" y="366"/>
                  </a:lnTo>
                  <a:lnTo>
                    <a:pt x="104" y="363"/>
                  </a:lnTo>
                  <a:lnTo>
                    <a:pt x="102" y="363"/>
                  </a:lnTo>
                  <a:lnTo>
                    <a:pt x="102" y="361"/>
                  </a:lnTo>
                  <a:lnTo>
                    <a:pt x="104" y="361"/>
                  </a:lnTo>
                  <a:lnTo>
                    <a:pt x="104" y="358"/>
                  </a:lnTo>
                  <a:lnTo>
                    <a:pt x="102" y="358"/>
                  </a:lnTo>
                  <a:lnTo>
                    <a:pt x="104" y="361"/>
                  </a:lnTo>
                  <a:lnTo>
                    <a:pt x="102" y="361"/>
                  </a:lnTo>
                  <a:lnTo>
                    <a:pt x="102" y="358"/>
                  </a:lnTo>
                  <a:lnTo>
                    <a:pt x="102" y="356"/>
                  </a:lnTo>
                  <a:lnTo>
                    <a:pt x="102" y="358"/>
                  </a:lnTo>
                  <a:lnTo>
                    <a:pt x="102" y="356"/>
                  </a:lnTo>
                  <a:lnTo>
                    <a:pt x="102" y="358"/>
                  </a:lnTo>
                  <a:lnTo>
                    <a:pt x="102" y="356"/>
                  </a:lnTo>
                  <a:lnTo>
                    <a:pt x="102" y="358"/>
                  </a:lnTo>
                  <a:lnTo>
                    <a:pt x="102" y="356"/>
                  </a:lnTo>
                  <a:lnTo>
                    <a:pt x="104" y="356"/>
                  </a:lnTo>
                  <a:lnTo>
                    <a:pt x="104" y="358"/>
                  </a:lnTo>
                  <a:lnTo>
                    <a:pt x="104" y="356"/>
                  </a:lnTo>
                  <a:lnTo>
                    <a:pt x="104" y="358"/>
                  </a:lnTo>
                  <a:lnTo>
                    <a:pt x="104" y="356"/>
                  </a:lnTo>
                  <a:lnTo>
                    <a:pt x="104" y="358"/>
                  </a:lnTo>
                  <a:lnTo>
                    <a:pt x="104" y="356"/>
                  </a:lnTo>
                  <a:lnTo>
                    <a:pt x="106" y="356"/>
                  </a:lnTo>
                  <a:lnTo>
                    <a:pt x="104" y="356"/>
                  </a:lnTo>
                  <a:lnTo>
                    <a:pt x="106" y="356"/>
                  </a:lnTo>
                  <a:lnTo>
                    <a:pt x="106" y="358"/>
                  </a:lnTo>
                  <a:lnTo>
                    <a:pt x="106" y="356"/>
                  </a:lnTo>
                  <a:lnTo>
                    <a:pt x="106" y="358"/>
                  </a:lnTo>
                  <a:lnTo>
                    <a:pt x="109" y="358"/>
                  </a:lnTo>
                  <a:lnTo>
                    <a:pt x="106" y="358"/>
                  </a:lnTo>
                  <a:lnTo>
                    <a:pt x="109" y="358"/>
                  </a:lnTo>
                  <a:lnTo>
                    <a:pt x="109" y="356"/>
                  </a:lnTo>
                  <a:lnTo>
                    <a:pt x="106" y="356"/>
                  </a:lnTo>
                  <a:lnTo>
                    <a:pt x="106" y="354"/>
                  </a:lnTo>
                  <a:lnTo>
                    <a:pt x="109" y="354"/>
                  </a:lnTo>
                  <a:lnTo>
                    <a:pt x="106" y="354"/>
                  </a:lnTo>
                  <a:lnTo>
                    <a:pt x="109" y="354"/>
                  </a:lnTo>
                  <a:lnTo>
                    <a:pt x="109" y="356"/>
                  </a:lnTo>
                  <a:lnTo>
                    <a:pt x="111" y="356"/>
                  </a:lnTo>
                  <a:lnTo>
                    <a:pt x="109" y="356"/>
                  </a:lnTo>
                  <a:lnTo>
                    <a:pt x="111" y="356"/>
                  </a:lnTo>
                  <a:lnTo>
                    <a:pt x="111" y="358"/>
                  </a:lnTo>
                  <a:lnTo>
                    <a:pt x="111" y="356"/>
                  </a:lnTo>
                  <a:lnTo>
                    <a:pt x="109" y="356"/>
                  </a:lnTo>
                  <a:lnTo>
                    <a:pt x="111" y="356"/>
                  </a:lnTo>
                  <a:lnTo>
                    <a:pt x="111" y="358"/>
                  </a:lnTo>
                  <a:lnTo>
                    <a:pt x="109" y="358"/>
                  </a:lnTo>
                  <a:lnTo>
                    <a:pt x="111" y="358"/>
                  </a:lnTo>
                  <a:lnTo>
                    <a:pt x="111" y="361"/>
                  </a:lnTo>
                  <a:lnTo>
                    <a:pt x="111" y="358"/>
                  </a:lnTo>
                  <a:lnTo>
                    <a:pt x="113" y="358"/>
                  </a:lnTo>
                  <a:lnTo>
                    <a:pt x="111" y="356"/>
                  </a:lnTo>
                  <a:lnTo>
                    <a:pt x="113" y="356"/>
                  </a:lnTo>
                  <a:lnTo>
                    <a:pt x="111" y="356"/>
                  </a:lnTo>
                  <a:lnTo>
                    <a:pt x="113" y="356"/>
                  </a:lnTo>
                  <a:lnTo>
                    <a:pt x="116" y="356"/>
                  </a:lnTo>
                  <a:lnTo>
                    <a:pt x="116" y="354"/>
                  </a:lnTo>
                  <a:lnTo>
                    <a:pt x="113" y="354"/>
                  </a:lnTo>
                  <a:lnTo>
                    <a:pt x="116" y="354"/>
                  </a:lnTo>
                  <a:lnTo>
                    <a:pt x="116" y="356"/>
                  </a:lnTo>
                  <a:lnTo>
                    <a:pt x="118" y="356"/>
                  </a:lnTo>
                  <a:lnTo>
                    <a:pt x="116" y="356"/>
                  </a:lnTo>
                  <a:lnTo>
                    <a:pt x="116" y="354"/>
                  </a:lnTo>
                  <a:lnTo>
                    <a:pt x="118" y="354"/>
                  </a:lnTo>
                  <a:lnTo>
                    <a:pt x="121" y="354"/>
                  </a:lnTo>
                  <a:lnTo>
                    <a:pt x="123" y="354"/>
                  </a:lnTo>
                  <a:lnTo>
                    <a:pt x="121" y="354"/>
                  </a:lnTo>
                  <a:lnTo>
                    <a:pt x="121" y="351"/>
                  </a:lnTo>
                  <a:lnTo>
                    <a:pt x="123" y="351"/>
                  </a:lnTo>
                  <a:lnTo>
                    <a:pt x="123" y="354"/>
                  </a:lnTo>
                  <a:lnTo>
                    <a:pt x="123" y="351"/>
                  </a:lnTo>
                  <a:lnTo>
                    <a:pt x="125" y="351"/>
                  </a:lnTo>
                  <a:lnTo>
                    <a:pt x="123" y="351"/>
                  </a:lnTo>
                  <a:lnTo>
                    <a:pt x="123" y="349"/>
                  </a:lnTo>
                  <a:lnTo>
                    <a:pt x="123" y="351"/>
                  </a:lnTo>
                  <a:lnTo>
                    <a:pt x="123" y="349"/>
                  </a:lnTo>
                  <a:lnTo>
                    <a:pt x="125" y="349"/>
                  </a:lnTo>
                  <a:lnTo>
                    <a:pt x="123" y="349"/>
                  </a:lnTo>
                  <a:lnTo>
                    <a:pt x="125" y="349"/>
                  </a:lnTo>
                  <a:lnTo>
                    <a:pt x="123" y="349"/>
                  </a:lnTo>
                  <a:lnTo>
                    <a:pt x="125" y="349"/>
                  </a:lnTo>
                  <a:lnTo>
                    <a:pt x="125" y="347"/>
                  </a:lnTo>
                  <a:lnTo>
                    <a:pt x="123" y="347"/>
                  </a:lnTo>
                  <a:lnTo>
                    <a:pt x="123" y="344"/>
                  </a:lnTo>
                  <a:lnTo>
                    <a:pt x="125" y="344"/>
                  </a:lnTo>
                  <a:lnTo>
                    <a:pt x="128" y="344"/>
                  </a:lnTo>
                  <a:lnTo>
                    <a:pt x="128" y="347"/>
                  </a:lnTo>
                  <a:lnTo>
                    <a:pt x="128" y="344"/>
                  </a:lnTo>
                  <a:lnTo>
                    <a:pt x="128" y="347"/>
                  </a:lnTo>
                  <a:lnTo>
                    <a:pt x="130" y="347"/>
                  </a:lnTo>
                  <a:lnTo>
                    <a:pt x="130" y="344"/>
                  </a:lnTo>
                  <a:lnTo>
                    <a:pt x="130" y="347"/>
                  </a:lnTo>
                  <a:lnTo>
                    <a:pt x="132" y="347"/>
                  </a:lnTo>
                  <a:lnTo>
                    <a:pt x="132" y="344"/>
                  </a:lnTo>
                  <a:lnTo>
                    <a:pt x="130" y="344"/>
                  </a:lnTo>
                  <a:lnTo>
                    <a:pt x="132" y="344"/>
                  </a:lnTo>
                  <a:lnTo>
                    <a:pt x="130" y="344"/>
                  </a:lnTo>
                  <a:lnTo>
                    <a:pt x="130" y="342"/>
                  </a:lnTo>
                  <a:lnTo>
                    <a:pt x="132" y="342"/>
                  </a:lnTo>
                  <a:lnTo>
                    <a:pt x="132" y="339"/>
                  </a:lnTo>
                  <a:lnTo>
                    <a:pt x="132" y="342"/>
                  </a:lnTo>
                  <a:lnTo>
                    <a:pt x="132" y="339"/>
                  </a:lnTo>
                  <a:lnTo>
                    <a:pt x="135" y="339"/>
                  </a:lnTo>
                  <a:lnTo>
                    <a:pt x="132" y="339"/>
                  </a:lnTo>
                  <a:lnTo>
                    <a:pt x="135" y="339"/>
                  </a:lnTo>
                  <a:lnTo>
                    <a:pt x="135" y="337"/>
                  </a:lnTo>
                  <a:lnTo>
                    <a:pt x="137" y="337"/>
                  </a:lnTo>
                  <a:lnTo>
                    <a:pt x="137" y="335"/>
                  </a:lnTo>
                  <a:lnTo>
                    <a:pt x="140" y="335"/>
                  </a:lnTo>
                  <a:lnTo>
                    <a:pt x="137" y="335"/>
                  </a:lnTo>
                  <a:lnTo>
                    <a:pt x="140" y="335"/>
                  </a:lnTo>
                  <a:lnTo>
                    <a:pt x="137" y="335"/>
                  </a:lnTo>
                  <a:lnTo>
                    <a:pt x="140" y="335"/>
                  </a:lnTo>
                  <a:lnTo>
                    <a:pt x="140" y="332"/>
                  </a:lnTo>
                  <a:lnTo>
                    <a:pt x="142" y="332"/>
                  </a:lnTo>
                  <a:lnTo>
                    <a:pt x="142" y="335"/>
                  </a:lnTo>
                  <a:lnTo>
                    <a:pt x="142" y="332"/>
                  </a:lnTo>
                  <a:lnTo>
                    <a:pt x="142" y="335"/>
                  </a:lnTo>
                  <a:lnTo>
                    <a:pt x="142" y="332"/>
                  </a:lnTo>
                  <a:lnTo>
                    <a:pt x="142" y="330"/>
                  </a:lnTo>
                  <a:lnTo>
                    <a:pt x="144" y="330"/>
                  </a:lnTo>
                  <a:lnTo>
                    <a:pt x="144" y="328"/>
                  </a:lnTo>
                  <a:lnTo>
                    <a:pt x="144" y="325"/>
                  </a:lnTo>
                  <a:lnTo>
                    <a:pt x="147" y="325"/>
                  </a:lnTo>
                  <a:lnTo>
                    <a:pt x="147" y="323"/>
                  </a:lnTo>
                  <a:lnTo>
                    <a:pt x="147" y="325"/>
                  </a:lnTo>
                  <a:lnTo>
                    <a:pt x="149" y="323"/>
                  </a:lnTo>
                  <a:lnTo>
                    <a:pt x="149" y="325"/>
                  </a:lnTo>
                  <a:lnTo>
                    <a:pt x="149" y="323"/>
                  </a:lnTo>
                  <a:lnTo>
                    <a:pt x="151" y="323"/>
                  </a:lnTo>
                  <a:lnTo>
                    <a:pt x="149" y="323"/>
                  </a:lnTo>
                  <a:lnTo>
                    <a:pt x="151" y="323"/>
                  </a:lnTo>
                  <a:lnTo>
                    <a:pt x="151" y="320"/>
                  </a:lnTo>
                  <a:lnTo>
                    <a:pt x="151" y="323"/>
                  </a:lnTo>
                  <a:lnTo>
                    <a:pt x="154" y="323"/>
                  </a:lnTo>
                  <a:lnTo>
                    <a:pt x="151" y="323"/>
                  </a:lnTo>
                  <a:lnTo>
                    <a:pt x="151" y="320"/>
                  </a:lnTo>
                  <a:lnTo>
                    <a:pt x="154" y="320"/>
                  </a:lnTo>
                  <a:lnTo>
                    <a:pt x="151" y="320"/>
                  </a:lnTo>
                  <a:lnTo>
                    <a:pt x="154" y="320"/>
                  </a:lnTo>
                  <a:lnTo>
                    <a:pt x="154" y="318"/>
                  </a:lnTo>
                  <a:lnTo>
                    <a:pt x="151" y="318"/>
                  </a:lnTo>
                  <a:lnTo>
                    <a:pt x="154" y="318"/>
                  </a:lnTo>
                  <a:lnTo>
                    <a:pt x="154" y="320"/>
                  </a:lnTo>
                  <a:lnTo>
                    <a:pt x="154" y="318"/>
                  </a:lnTo>
                  <a:lnTo>
                    <a:pt x="156" y="318"/>
                  </a:lnTo>
                  <a:lnTo>
                    <a:pt x="156" y="316"/>
                  </a:lnTo>
                  <a:lnTo>
                    <a:pt x="156" y="313"/>
                  </a:lnTo>
                  <a:lnTo>
                    <a:pt x="159" y="313"/>
                  </a:lnTo>
                  <a:lnTo>
                    <a:pt x="156" y="313"/>
                  </a:lnTo>
                  <a:lnTo>
                    <a:pt x="159" y="313"/>
                  </a:lnTo>
                  <a:lnTo>
                    <a:pt x="159" y="311"/>
                  </a:lnTo>
                  <a:lnTo>
                    <a:pt x="159" y="313"/>
                  </a:lnTo>
                  <a:lnTo>
                    <a:pt x="159" y="311"/>
                  </a:lnTo>
                  <a:lnTo>
                    <a:pt x="161" y="311"/>
                  </a:lnTo>
                  <a:lnTo>
                    <a:pt x="159" y="311"/>
                  </a:lnTo>
                  <a:lnTo>
                    <a:pt x="161" y="311"/>
                  </a:lnTo>
                  <a:lnTo>
                    <a:pt x="159" y="311"/>
                  </a:lnTo>
                  <a:lnTo>
                    <a:pt x="161" y="309"/>
                  </a:lnTo>
                  <a:lnTo>
                    <a:pt x="163" y="309"/>
                  </a:lnTo>
                  <a:lnTo>
                    <a:pt x="161" y="309"/>
                  </a:lnTo>
                  <a:lnTo>
                    <a:pt x="163" y="309"/>
                  </a:lnTo>
                  <a:lnTo>
                    <a:pt x="163" y="306"/>
                  </a:lnTo>
                  <a:lnTo>
                    <a:pt x="163" y="304"/>
                  </a:lnTo>
                  <a:lnTo>
                    <a:pt x="166" y="301"/>
                  </a:lnTo>
                  <a:lnTo>
                    <a:pt x="166" y="304"/>
                  </a:lnTo>
                  <a:lnTo>
                    <a:pt x="166" y="301"/>
                  </a:lnTo>
                  <a:lnTo>
                    <a:pt x="168" y="301"/>
                  </a:lnTo>
                  <a:lnTo>
                    <a:pt x="168" y="299"/>
                  </a:lnTo>
                  <a:lnTo>
                    <a:pt x="170" y="299"/>
                  </a:lnTo>
                  <a:lnTo>
                    <a:pt x="173" y="299"/>
                  </a:lnTo>
                  <a:lnTo>
                    <a:pt x="175" y="299"/>
                  </a:lnTo>
                  <a:lnTo>
                    <a:pt x="178" y="299"/>
                  </a:lnTo>
                  <a:lnTo>
                    <a:pt x="178" y="297"/>
                  </a:lnTo>
                  <a:lnTo>
                    <a:pt x="178" y="299"/>
                  </a:lnTo>
                  <a:lnTo>
                    <a:pt x="180" y="297"/>
                  </a:lnTo>
                  <a:lnTo>
                    <a:pt x="182" y="297"/>
                  </a:lnTo>
                  <a:lnTo>
                    <a:pt x="182" y="299"/>
                  </a:lnTo>
                  <a:lnTo>
                    <a:pt x="185" y="299"/>
                  </a:lnTo>
                  <a:lnTo>
                    <a:pt x="182" y="299"/>
                  </a:lnTo>
                  <a:lnTo>
                    <a:pt x="185" y="299"/>
                  </a:lnTo>
                  <a:lnTo>
                    <a:pt x="187" y="299"/>
                  </a:lnTo>
                  <a:lnTo>
                    <a:pt x="187" y="301"/>
                  </a:lnTo>
                  <a:lnTo>
                    <a:pt x="189" y="301"/>
                  </a:lnTo>
                  <a:lnTo>
                    <a:pt x="189" y="299"/>
                  </a:lnTo>
                  <a:lnTo>
                    <a:pt x="189" y="297"/>
                  </a:lnTo>
                  <a:lnTo>
                    <a:pt x="189" y="299"/>
                  </a:lnTo>
                  <a:lnTo>
                    <a:pt x="187" y="299"/>
                  </a:lnTo>
                  <a:lnTo>
                    <a:pt x="187" y="297"/>
                  </a:lnTo>
                  <a:lnTo>
                    <a:pt x="185" y="297"/>
                  </a:lnTo>
                  <a:lnTo>
                    <a:pt x="185" y="294"/>
                  </a:lnTo>
                  <a:lnTo>
                    <a:pt x="185" y="292"/>
                  </a:lnTo>
                  <a:lnTo>
                    <a:pt x="187" y="292"/>
                  </a:lnTo>
                  <a:lnTo>
                    <a:pt x="187" y="294"/>
                  </a:lnTo>
                  <a:lnTo>
                    <a:pt x="189" y="294"/>
                  </a:lnTo>
                  <a:lnTo>
                    <a:pt x="192" y="294"/>
                  </a:lnTo>
                  <a:lnTo>
                    <a:pt x="192" y="297"/>
                  </a:lnTo>
                  <a:lnTo>
                    <a:pt x="194" y="294"/>
                  </a:lnTo>
                  <a:lnTo>
                    <a:pt x="192" y="294"/>
                  </a:lnTo>
                  <a:lnTo>
                    <a:pt x="192" y="292"/>
                  </a:lnTo>
                  <a:lnTo>
                    <a:pt x="194" y="292"/>
                  </a:lnTo>
                  <a:lnTo>
                    <a:pt x="197" y="292"/>
                  </a:lnTo>
                  <a:lnTo>
                    <a:pt x="197" y="294"/>
                  </a:lnTo>
                  <a:lnTo>
                    <a:pt x="199" y="294"/>
                  </a:lnTo>
                  <a:lnTo>
                    <a:pt x="201" y="294"/>
                  </a:lnTo>
                  <a:lnTo>
                    <a:pt x="201" y="297"/>
                  </a:lnTo>
                  <a:lnTo>
                    <a:pt x="204" y="297"/>
                  </a:lnTo>
                  <a:lnTo>
                    <a:pt x="204" y="299"/>
                  </a:lnTo>
                  <a:lnTo>
                    <a:pt x="206" y="299"/>
                  </a:lnTo>
                  <a:lnTo>
                    <a:pt x="206" y="301"/>
                  </a:lnTo>
                  <a:lnTo>
                    <a:pt x="208" y="301"/>
                  </a:lnTo>
                  <a:lnTo>
                    <a:pt x="208" y="304"/>
                  </a:lnTo>
                  <a:lnTo>
                    <a:pt x="211" y="304"/>
                  </a:lnTo>
                  <a:lnTo>
                    <a:pt x="211" y="301"/>
                  </a:lnTo>
                  <a:lnTo>
                    <a:pt x="213" y="301"/>
                  </a:lnTo>
                  <a:lnTo>
                    <a:pt x="215" y="301"/>
                  </a:lnTo>
                  <a:lnTo>
                    <a:pt x="218" y="301"/>
                  </a:lnTo>
                  <a:lnTo>
                    <a:pt x="218" y="304"/>
                  </a:lnTo>
                  <a:lnTo>
                    <a:pt x="220" y="304"/>
                  </a:lnTo>
                  <a:lnTo>
                    <a:pt x="218" y="304"/>
                  </a:lnTo>
                  <a:lnTo>
                    <a:pt x="220" y="304"/>
                  </a:lnTo>
                  <a:lnTo>
                    <a:pt x="218" y="304"/>
                  </a:lnTo>
                  <a:lnTo>
                    <a:pt x="218" y="301"/>
                  </a:lnTo>
                  <a:lnTo>
                    <a:pt x="215" y="301"/>
                  </a:lnTo>
                  <a:lnTo>
                    <a:pt x="213" y="301"/>
                  </a:lnTo>
                  <a:lnTo>
                    <a:pt x="211" y="301"/>
                  </a:lnTo>
                  <a:lnTo>
                    <a:pt x="211" y="304"/>
                  </a:lnTo>
                  <a:lnTo>
                    <a:pt x="208" y="304"/>
                  </a:lnTo>
                  <a:lnTo>
                    <a:pt x="208" y="301"/>
                  </a:lnTo>
                  <a:lnTo>
                    <a:pt x="206" y="301"/>
                  </a:lnTo>
                  <a:lnTo>
                    <a:pt x="206" y="299"/>
                  </a:lnTo>
                  <a:lnTo>
                    <a:pt x="204" y="299"/>
                  </a:lnTo>
                  <a:lnTo>
                    <a:pt x="204" y="297"/>
                  </a:lnTo>
                  <a:lnTo>
                    <a:pt x="201" y="297"/>
                  </a:lnTo>
                  <a:lnTo>
                    <a:pt x="201" y="294"/>
                  </a:lnTo>
                  <a:lnTo>
                    <a:pt x="199" y="294"/>
                  </a:lnTo>
                  <a:lnTo>
                    <a:pt x="197" y="294"/>
                  </a:lnTo>
                  <a:lnTo>
                    <a:pt x="197" y="292"/>
                  </a:lnTo>
                  <a:lnTo>
                    <a:pt x="194" y="292"/>
                  </a:lnTo>
                  <a:lnTo>
                    <a:pt x="192" y="292"/>
                  </a:lnTo>
                  <a:lnTo>
                    <a:pt x="192" y="290"/>
                  </a:lnTo>
                  <a:lnTo>
                    <a:pt x="189" y="290"/>
                  </a:lnTo>
                  <a:lnTo>
                    <a:pt x="192" y="290"/>
                  </a:lnTo>
                  <a:lnTo>
                    <a:pt x="189" y="290"/>
                  </a:lnTo>
                  <a:lnTo>
                    <a:pt x="189" y="287"/>
                  </a:lnTo>
                  <a:lnTo>
                    <a:pt x="187" y="287"/>
                  </a:lnTo>
                  <a:lnTo>
                    <a:pt x="187" y="285"/>
                  </a:lnTo>
                  <a:lnTo>
                    <a:pt x="185" y="285"/>
                  </a:lnTo>
                  <a:lnTo>
                    <a:pt x="185" y="282"/>
                  </a:lnTo>
                  <a:lnTo>
                    <a:pt x="187" y="282"/>
                  </a:lnTo>
                  <a:lnTo>
                    <a:pt x="189" y="282"/>
                  </a:lnTo>
                  <a:lnTo>
                    <a:pt x="192" y="282"/>
                  </a:lnTo>
                  <a:lnTo>
                    <a:pt x="189" y="282"/>
                  </a:lnTo>
                  <a:lnTo>
                    <a:pt x="187" y="282"/>
                  </a:lnTo>
                  <a:lnTo>
                    <a:pt x="187" y="280"/>
                  </a:lnTo>
                  <a:lnTo>
                    <a:pt x="185" y="280"/>
                  </a:lnTo>
                  <a:lnTo>
                    <a:pt x="187" y="280"/>
                  </a:lnTo>
                  <a:lnTo>
                    <a:pt x="189" y="280"/>
                  </a:lnTo>
                  <a:lnTo>
                    <a:pt x="187" y="280"/>
                  </a:lnTo>
                  <a:lnTo>
                    <a:pt x="187" y="278"/>
                  </a:lnTo>
                  <a:lnTo>
                    <a:pt x="187" y="280"/>
                  </a:lnTo>
                  <a:lnTo>
                    <a:pt x="187" y="278"/>
                  </a:lnTo>
                  <a:lnTo>
                    <a:pt x="189" y="278"/>
                  </a:lnTo>
                  <a:lnTo>
                    <a:pt x="187" y="278"/>
                  </a:lnTo>
                  <a:lnTo>
                    <a:pt x="187" y="275"/>
                  </a:lnTo>
                  <a:lnTo>
                    <a:pt x="185" y="275"/>
                  </a:lnTo>
                  <a:lnTo>
                    <a:pt x="185" y="273"/>
                  </a:lnTo>
                  <a:lnTo>
                    <a:pt x="185" y="275"/>
                  </a:lnTo>
                  <a:lnTo>
                    <a:pt x="185" y="273"/>
                  </a:lnTo>
                  <a:lnTo>
                    <a:pt x="187" y="273"/>
                  </a:lnTo>
                  <a:lnTo>
                    <a:pt x="185" y="273"/>
                  </a:lnTo>
                  <a:lnTo>
                    <a:pt x="187" y="273"/>
                  </a:lnTo>
                  <a:lnTo>
                    <a:pt x="187" y="275"/>
                  </a:lnTo>
                  <a:lnTo>
                    <a:pt x="189" y="275"/>
                  </a:lnTo>
                  <a:lnTo>
                    <a:pt x="187" y="275"/>
                  </a:lnTo>
                  <a:lnTo>
                    <a:pt x="187" y="273"/>
                  </a:lnTo>
                  <a:lnTo>
                    <a:pt x="189" y="273"/>
                  </a:lnTo>
                  <a:lnTo>
                    <a:pt x="187" y="273"/>
                  </a:lnTo>
                  <a:lnTo>
                    <a:pt x="187" y="271"/>
                  </a:lnTo>
                  <a:lnTo>
                    <a:pt x="185" y="271"/>
                  </a:lnTo>
                  <a:lnTo>
                    <a:pt x="187" y="271"/>
                  </a:lnTo>
                  <a:lnTo>
                    <a:pt x="189" y="271"/>
                  </a:lnTo>
                  <a:lnTo>
                    <a:pt x="187" y="271"/>
                  </a:lnTo>
                  <a:lnTo>
                    <a:pt x="189" y="268"/>
                  </a:lnTo>
                  <a:lnTo>
                    <a:pt x="187" y="268"/>
                  </a:lnTo>
                  <a:lnTo>
                    <a:pt x="189" y="268"/>
                  </a:lnTo>
                  <a:lnTo>
                    <a:pt x="187" y="268"/>
                  </a:lnTo>
                  <a:lnTo>
                    <a:pt x="189" y="268"/>
                  </a:lnTo>
                  <a:lnTo>
                    <a:pt x="187" y="268"/>
                  </a:lnTo>
                  <a:lnTo>
                    <a:pt x="189" y="268"/>
                  </a:lnTo>
                  <a:lnTo>
                    <a:pt x="189" y="266"/>
                  </a:lnTo>
                  <a:lnTo>
                    <a:pt x="187" y="266"/>
                  </a:lnTo>
                  <a:lnTo>
                    <a:pt x="189" y="266"/>
                  </a:lnTo>
                  <a:lnTo>
                    <a:pt x="187" y="266"/>
                  </a:lnTo>
                  <a:lnTo>
                    <a:pt x="187" y="263"/>
                  </a:lnTo>
                  <a:lnTo>
                    <a:pt x="185" y="263"/>
                  </a:lnTo>
                  <a:lnTo>
                    <a:pt x="187" y="263"/>
                  </a:lnTo>
                  <a:lnTo>
                    <a:pt x="185" y="263"/>
                  </a:lnTo>
                  <a:lnTo>
                    <a:pt x="185" y="261"/>
                  </a:lnTo>
                  <a:lnTo>
                    <a:pt x="182" y="261"/>
                  </a:lnTo>
                  <a:lnTo>
                    <a:pt x="182" y="259"/>
                  </a:lnTo>
                  <a:lnTo>
                    <a:pt x="185" y="259"/>
                  </a:lnTo>
                  <a:lnTo>
                    <a:pt x="182" y="259"/>
                  </a:lnTo>
                  <a:lnTo>
                    <a:pt x="182" y="261"/>
                  </a:lnTo>
                  <a:lnTo>
                    <a:pt x="180" y="261"/>
                  </a:lnTo>
                  <a:lnTo>
                    <a:pt x="182" y="261"/>
                  </a:lnTo>
                  <a:lnTo>
                    <a:pt x="180" y="261"/>
                  </a:lnTo>
                  <a:lnTo>
                    <a:pt x="180" y="259"/>
                  </a:lnTo>
                  <a:lnTo>
                    <a:pt x="180" y="256"/>
                  </a:lnTo>
                  <a:lnTo>
                    <a:pt x="180" y="259"/>
                  </a:lnTo>
                  <a:lnTo>
                    <a:pt x="178" y="259"/>
                  </a:lnTo>
                  <a:lnTo>
                    <a:pt x="178" y="256"/>
                  </a:lnTo>
                  <a:lnTo>
                    <a:pt x="175" y="256"/>
                  </a:lnTo>
                  <a:lnTo>
                    <a:pt x="173" y="256"/>
                  </a:lnTo>
                  <a:lnTo>
                    <a:pt x="170" y="256"/>
                  </a:lnTo>
                  <a:lnTo>
                    <a:pt x="170" y="254"/>
                  </a:lnTo>
                  <a:lnTo>
                    <a:pt x="170" y="256"/>
                  </a:lnTo>
                  <a:lnTo>
                    <a:pt x="168" y="256"/>
                  </a:lnTo>
                  <a:lnTo>
                    <a:pt x="170" y="256"/>
                  </a:lnTo>
                  <a:lnTo>
                    <a:pt x="168" y="256"/>
                  </a:lnTo>
                  <a:lnTo>
                    <a:pt x="166" y="256"/>
                  </a:lnTo>
                  <a:lnTo>
                    <a:pt x="166" y="254"/>
                  </a:lnTo>
                  <a:lnTo>
                    <a:pt x="163" y="254"/>
                  </a:lnTo>
                  <a:lnTo>
                    <a:pt x="166" y="254"/>
                  </a:lnTo>
                  <a:lnTo>
                    <a:pt x="166" y="252"/>
                  </a:lnTo>
                  <a:lnTo>
                    <a:pt x="163" y="252"/>
                  </a:lnTo>
                  <a:lnTo>
                    <a:pt x="163" y="254"/>
                  </a:lnTo>
                  <a:lnTo>
                    <a:pt x="163" y="252"/>
                  </a:lnTo>
                  <a:lnTo>
                    <a:pt x="161" y="252"/>
                  </a:lnTo>
                  <a:lnTo>
                    <a:pt x="161" y="249"/>
                  </a:lnTo>
                  <a:lnTo>
                    <a:pt x="161" y="252"/>
                  </a:lnTo>
                  <a:lnTo>
                    <a:pt x="161" y="249"/>
                  </a:lnTo>
                  <a:lnTo>
                    <a:pt x="161" y="252"/>
                  </a:lnTo>
                  <a:lnTo>
                    <a:pt x="159" y="252"/>
                  </a:lnTo>
                  <a:lnTo>
                    <a:pt x="159" y="249"/>
                  </a:lnTo>
                  <a:lnTo>
                    <a:pt x="161" y="249"/>
                  </a:lnTo>
                  <a:lnTo>
                    <a:pt x="163" y="249"/>
                  </a:lnTo>
                  <a:lnTo>
                    <a:pt x="163" y="247"/>
                  </a:lnTo>
                  <a:lnTo>
                    <a:pt x="163" y="244"/>
                  </a:lnTo>
                  <a:lnTo>
                    <a:pt x="166" y="244"/>
                  </a:lnTo>
                  <a:lnTo>
                    <a:pt x="166" y="242"/>
                  </a:lnTo>
                  <a:lnTo>
                    <a:pt x="168" y="242"/>
                  </a:lnTo>
                  <a:lnTo>
                    <a:pt x="168" y="240"/>
                  </a:lnTo>
                  <a:lnTo>
                    <a:pt x="168" y="237"/>
                  </a:lnTo>
                  <a:lnTo>
                    <a:pt x="168" y="235"/>
                  </a:lnTo>
                  <a:lnTo>
                    <a:pt x="170" y="235"/>
                  </a:lnTo>
                  <a:lnTo>
                    <a:pt x="170" y="232"/>
                  </a:lnTo>
                  <a:lnTo>
                    <a:pt x="170" y="230"/>
                  </a:lnTo>
                  <a:lnTo>
                    <a:pt x="173" y="230"/>
                  </a:lnTo>
                  <a:lnTo>
                    <a:pt x="175" y="230"/>
                  </a:lnTo>
                  <a:lnTo>
                    <a:pt x="178" y="230"/>
                  </a:lnTo>
                  <a:lnTo>
                    <a:pt x="178" y="228"/>
                  </a:lnTo>
                  <a:lnTo>
                    <a:pt x="180" y="228"/>
                  </a:lnTo>
                  <a:lnTo>
                    <a:pt x="182" y="228"/>
                  </a:lnTo>
                  <a:lnTo>
                    <a:pt x="180" y="228"/>
                  </a:lnTo>
                  <a:lnTo>
                    <a:pt x="182" y="228"/>
                  </a:lnTo>
                  <a:lnTo>
                    <a:pt x="180" y="228"/>
                  </a:lnTo>
                  <a:lnTo>
                    <a:pt x="178" y="228"/>
                  </a:lnTo>
                  <a:lnTo>
                    <a:pt x="180" y="228"/>
                  </a:lnTo>
                  <a:lnTo>
                    <a:pt x="178" y="228"/>
                  </a:lnTo>
                  <a:lnTo>
                    <a:pt x="175" y="230"/>
                  </a:lnTo>
                  <a:lnTo>
                    <a:pt x="173" y="230"/>
                  </a:lnTo>
                  <a:lnTo>
                    <a:pt x="170" y="230"/>
                  </a:lnTo>
                  <a:lnTo>
                    <a:pt x="170" y="232"/>
                  </a:lnTo>
                  <a:lnTo>
                    <a:pt x="170" y="235"/>
                  </a:lnTo>
                  <a:lnTo>
                    <a:pt x="168" y="235"/>
                  </a:lnTo>
                  <a:lnTo>
                    <a:pt x="168" y="237"/>
                  </a:lnTo>
                  <a:lnTo>
                    <a:pt x="168" y="240"/>
                  </a:lnTo>
                  <a:lnTo>
                    <a:pt x="168" y="242"/>
                  </a:lnTo>
                  <a:lnTo>
                    <a:pt x="166" y="242"/>
                  </a:lnTo>
                  <a:lnTo>
                    <a:pt x="163" y="242"/>
                  </a:lnTo>
                  <a:lnTo>
                    <a:pt x="163" y="244"/>
                  </a:lnTo>
                  <a:lnTo>
                    <a:pt x="163" y="247"/>
                  </a:lnTo>
                  <a:lnTo>
                    <a:pt x="163" y="249"/>
                  </a:lnTo>
                  <a:lnTo>
                    <a:pt x="161" y="249"/>
                  </a:lnTo>
                  <a:lnTo>
                    <a:pt x="159" y="249"/>
                  </a:lnTo>
                  <a:lnTo>
                    <a:pt x="156" y="249"/>
                  </a:lnTo>
                  <a:lnTo>
                    <a:pt x="156" y="247"/>
                  </a:lnTo>
                  <a:lnTo>
                    <a:pt x="154" y="247"/>
                  </a:lnTo>
                  <a:lnTo>
                    <a:pt x="154" y="249"/>
                  </a:lnTo>
                  <a:lnTo>
                    <a:pt x="154" y="247"/>
                  </a:lnTo>
                  <a:lnTo>
                    <a:pt x="154" y="249"/>
                  </a:lnTo>
                  <a:lnTo>
                    <a:pt x="154" y="247"/>
                  </a:lnTo>
                  <a:lnTo>
                    <a:pt x="154" y="249"/>
                  </a:lnTo>
                  <a:lnTo>
                    <a:pt x="154" y="247"/>
                  </a:lnTo>
                  <a:lnTo>
                    <a:pt x="151" y="247"/>
                  </a:lnTo>
                  <a:lnTo>
                    <a:pt x="154" y="247"/>
                  </a:lnTo>
                  <a:lnTo>
                    <a:pt x="151" y="247"/>
                  </a:lnTo>
                  <a:lnTo>
                    <a:pt x="149" y="247"/>
                  </a:lnTo>
                  <a:lnTo>
                    <a:pt x="149" y="244"/>
                  </a:lnTo>
                  <a:lnTo>
                    <a:pt x="149" y="242"/>
                  </a:lnTo>
                  <a:lnTo>
                    <a:pt x="149" y="244"/>
                  </a:lnTo>
                  <a:lnTo>
                    <a:pt x="149" y="242"/>
                  </a:lnTo>
                  <a:lnTo>
                    <a:pt x="149" y="240"/>
                  </a:lnTo>
                  <a:lnTo>
                    <a:pt x="147" y="240"/>
                  </a:lnTo>
                  <a:lnTo>
                    <a:pt x="147" y="237"/>
                  </a:lnTo>
                  <a:lnTo>
                    <a:pt x="147" y="235"/>
                  </a:lnTo>
                  <a:lnTo>
                    <a:pt x="144" y="235"/>
                  </a:lnTo>
                  <a:lnTo>
                    <a:pt x="144" y="232"/>
                  </a:lnTo>
                  <a:lnTo>
                    <a:pt x="142" y="232"/>
                  </a:lnTo>
                  <a:lnTo>
                    <a:pt x="144" y="232"/>
                  </a:lnTo>
                  <a:lnTo>
                    <a:pt x="142" y="232"/>
                  </a:lnTo>
                  <a:lnTo>
                    <a:pt x="142" y="230"/>
                  </a:lnTo>
                  <a:lnTo>
                    <a:pt x="142" y="228"/>
                  </a:lnTo>
                  <a:lnTo>
                    <a:pt x="140" y="228"/>
                  </a:lnTo>
                  <a:lnTo>
                    <a:pt x="140" y="225"/>
                  </a:lnTo>
                  <a:lnTo>
                    <a:pt x="137" y="225"/>
                  </a:lnTo>
                  <a:lnTo>
                    <a:pt x="137" y="223"/>
                  </a:lnTo>
                  <a:lnTo>
                    <a:pt x="135" y="223"/>
                  </a:lnTo>
                  <a:lnTo>
                    <a:pt x="135" y="221"/>
                  </a:lnTo>
                  <a:lnTo>
                    <a:pt x="132" y="221"/>
                  </a:lnTo>
                  <a:lnTo>
                    <a:pt x="132" y="218"/>
                  </a:lnTo>
                  <a:lnTo>
                    <a:pt x="135" y="218"/>
                  </a:lnTo>
                  <a:lnTo>
                    <a:pt x="135" y="216"/>
                  </a:lnTo>
                  <a:lnTo>
                    <a:pt x="135" y="213"/>
                  </a:lnTo>
                  <a:lnTo>
                    <a:pt x="135" y="216"/>
                  </a:lnTo>
                  <a:lnTo>
                    <a:pt x="135" y="213"/>
                  </a:lnTo>
                  <a:lnTo>
                    <a:pt x="132" y="213"/>
                  </a:lnTo>
                  <a:lnTo>
                    <a:pt x="132" y="211"/>
                  </a:lnTo>
                  <a:lnTo>
                    <a:pt x="135" y="211"/>
                  </a:lnTo>
                  <a:lnTo>
                    <a:pt x="132" y="211"/>
                  </a:lnTo>
                  <a:lnTo>
                    <a:pt x="135" y="209"/>
                  </a:lnTo>
                  <a:lnTo>
                    <a:pt x="137" y="209"/>
                  </a:lnTo>
                  <a:lnTo>
                    <a:pt x="137" y="206"/>
                  </a:lnTo>
                  <a:lnTo>
                    <a:pt x="140" y="206"/>
                  </a:lnTo>
                  <a:lnTo>
                    <a:pt x="140" y="204"/>
                  </a:lnTo>
                  <a:lnTo>
                    <a:pt x="140" y="202"/>
                  </a:lnTo>
                  <a:lnTo>
                    <a:pt x="140" y="199"/>
                  </a:lnTo>
                  <a:lnTo>
                    <a:pt x="142" y="199"/>
                  </a:lnTo>
                  <a:lnTo>
                    <a:pt x="142" y="197"/>
                  </a:lnTo>
                  <a:lnTo>
                    <a:pt x="142" y="194"/>
                  </a:lnTo>
                  <a:lnTo>
                    <a:pt x="140" y="194"/>
                  </a:lnTo>
                  <a:lnTo>
                    <a:pt x="140" y="192"/>
                  </a:lnTo>
                  <a:lnTo>
                    <a:pt x="142" y="192"/>
                  </a:lnTo>
                  <a:lnTo>
                    <a:pt x="144" y="192"/>
                  </a:lnTo>
                  <a:lnTo>
                    <a:pt x="144" y="190"/>
                  </a:lnTo>
                  <a:lnTo>
                    <a:pt x="144" y="187"/>
                  </a:lnTo>
                  <a:lnTo>
                    <a:pt x="142" y="187"/>
                  </a:lnTo>
                  <a:lnTo>
                    <a:pt x="142" y="185"/>
                  </a:lnTo>
                  <a:lnTo>
                    <a:pt x="140" y="185"/>
                  </a:lnTo>
                  <a:lnTo>
                    <a:pt x="140" y="183"/>
                  </a:lnTo>
                  <a:lnTo>
                    <a:pt x="140" y="180"/>
                  </a:lnTo>
                  <a:lnTo>
                    <a:pt x="137" y="180"/>
                  </a:lnTo>
                  <a:lnTo>
                    <a:pt x="137" y="178"/>
                  </a:lnTo>
                  <a:lnTo>
                    <a:pt x="135" y="178"/>
                  </a:lnTo>
                  <a:lnTo>
                    <a:pt x="135" y="175"/>
                  </a:lnTo>
                  <a:lnTo>
                    <a:pt x="132" y="175"/>
                  </a:lnTo>
                  <a:lnTo>
                    <a:pt x="132" y="173"/>
                  </a:lnTo>
                  <a:lnTo>
                    <a:pt x="130" y="171"/>
                  </a:lnTo>
                  <a:lnTo>
                    <a:pt x="130" y="168"/>
                  </a:lnTo>
                  <a:lnTo>
                    <a:pt x="130" y="166"/>
                  </a:lnTo>
                  <a:lnTo>
                    <a:pt x="130" y="164"/>
                  </a:lnTo>
                  <a:lnTo>
                    <a:pt x="132" y="164"/>
                  </a:lnTo>
                  <a:lnTo>
                    <a:pt x="135" y="164"/>
                  </a:lnTo>
                  <a:lnTo>
                    <a:pt x="135" y="161"/>
                  </a:lnTo>
                  <a:lnTo>
                    <a:pt x="137" y="161"/>
                  </a:lnTo>
                  <a:lnTo>
                    <a:pt x="137" y="159"/>
                  </a:lnTo>
                  <a:lnTo>
                    <a:pt x="135" y="159"/>
                  </a:lnTo>
                  <a:lnTo>
                    <a:pt x="135" y="156"/>
                  </a:lnTo>
                  <a:lnTo>
                    <a:pt x="137" y="156"/>
                  </a:lnTo>
                  <a:lnTo>
                    <a:pt x="137" y="154"/>
                  </a:lnTo>
                  <a:lnTo>
                    <a:pt x="135" y="154"/>
                  </a:lnTo>
                  <a:lnTo>
                    <a:pt x="132" y="154"/>
                  </a:lnTo>
                  <a:lnTo>
                    <a:pt x="130" y="154"/>
                  </a:lnTo>
                  <a:lnTo>
                    <a:pt x="130" y="152"/>
                  </a:lnTo>
                  <a:lnTo>
                    <a:pt x="130" y="154"/>
                  </a:lnTo>
                  <a:lnTo>
                    <a:pt x="128" y="154"/>
                  </a:lnTo>
                  <a:lnTo>
                    <a:pt x="125" y="154"/>
                  </a:lnTo>
                  <a:lnTo>
                    <a:pt x="125" y="152"/>
                  </a:lnTo>
                  <a:lnTo>
                    <a:pt x="125" y="149"/>
                  </a:lnTo>
                  <a:lnTo>
                    <a:pt x="128" y="149"/>
                  </a:lnTo>
                  <a:lnTo>
                    <a:pt x="128" y="147"/>
                  </a:lnTo>
                  <a:lnTo>
                    <a:pt x="125" y="147"/>
                  </a:lnTo>
                  <a:lnTo>
                    <a:pt x="128" y="147"/>
                  </a:lnTo>
                  <a:lnTo>
                    <a:pt x="130" y="147"/>
                  </a:lnTo>
                  <a:lnTo>
                    <a:pt x="130" y="145"/>
                  </a:lnTo>
                  <a:lnTo>
                    <a:pt x="130" y="142"/>
                  </a:lnTo>
                  <a:lnTo>
                    <a:pt x="128" y="142"/>
                  </a:lnTo>
                  <a:lnTo>
                    <a:pt x="128" y="140"/>
                  </a:lnTo>
                  <a:lnTo>
                    <a:pt x="128" y="137"/>
                  </a:lnTo>
                  <a:lnTo>
                    <a:pt x="128" y="135"/>
                  </a:lnTo>
                  <a:lnTo>
                    <a:pt x="128" y="133"/>
                  </a:lnTo>
                  <a:lnTo>
                    <a:pt x="128" y="130"/>
                  </a:lnTo>
                  <a:lnTo>
                    <a:pt x="128" y="128"/>
                  </a:lnTo>
                  <a:lnTo>
                    <a:pt x="130" y="128"/>
                  </a:lnTo>
                  <a:lnTo>
                    <a:pt x="132" y="128"/>
                  </a:lnTo>
                  <a:lnTo>
                    <a:pt x="132" y="126"/>
                  </a:lnTo>
                  <a:lnTo>
                    <a:pt x="132" y="123"/>
                  </a:lnTo>
                  <a:lnTo>
                    <a:pt x="130" y="123"/>
                  </a:lnTo>
                  <a:lnTo>
                    <a:pt x="130" y="121"/>
                  </a:lnTo>
                  <a:lnTo>
                    <a:pt x="128" y="121"/>
                  </a:lnTo>
                  <a:lnTo>
                    <a:pt x="125" y="118"/>
                  </a:lnTo>
                  <a:lnTo>
                    <a:pt x="123" y="118"/>
                  </a:lnTo>
                  <a:lnTo>
                    <a:pt x="125" y="118"/>
                  </a:lnTo>
                  <a:lnTo>
                    <a:pt x="123" y="118"/>
                  </a:lnTo>
                  <a:lnTo>
                    <a:pt x="123" y="116"/>
                  </a:lnTo>
                  <a:lnTo>
                    <a:pt x="123" y="114"/>
                  </a:lnTo>
                  <a:lnTo>
                    <a:pt x="121" y="114"/>
                  </a:lnTo>
                  <a:lnTo>
                    <a:pt x="118" y="114"/>
                  </a:lnTo>
                  <a:lnTo>
                    <a:pt x="116" y="114"/>
                  </a:lnTo>
                  <a:lnTo>
                    <a:pt x="116" y="111"/>
                  </a:lnTo>
                  <a:lnTo>
                    <a:pt x="116" y="109"/>
                  </a:lnTo>
                  <a:lnTo>
                    <a:pt x="116" y="107"/>
                  </a:lnTo>
                  <a:lnTo>
                    <a:pt x="113" y="107"/>
                  </a:lnTo>
                  <a:lnTo>
                    <a:pt x="113" y="104"/>
                  </a:lnTo>
                  <a:lnTo>
                    <a:pt x="111" y="104"/>
                  </a:lnTo>
                  <a:lnTo>
                    <a:pt x="111" y="102"/>
                  </a:lnTo>
                  <a:lnTo>
                    <a:pt x="109" y="102"/>
                  </a:lnTo>
                  <a:lnTo>
                    <a:pt x="106" y="102"/>
                  </a:lnTo>
                  <a:lnTo>
                    <a:pt x="106" y="99"/>
                  </a:lnTo>
                  <a:lnTo>
                    <a:pt x="104" y="99"/>
                  </a:lnTo>
                  <a:lnTo>
                    <a:pt x="102" y="99"/>
                  </a:lnTo>
                  <a:lnTo>
                    <a:pt x="102" y="97"/>
                  </a:lnTo>
                  <a:lnTo>
                    <a:pt x="99" y="97"/>
                  </a:lnTo>
                  <a:lnTo>
                    <a:pt x="97" y="97"/>
                  </a:lnTo>
                  <a:lnTo>
                    <a:pt x="94" y="97"/>
                  </a:lnTo>
                  <a:lnTo>
                    <a:pt x="94" y="95"/>
                  </a:lnTo>
                  <a:lnTo>
                    <a:pt x="92" y="95"/>
                  </a:lnTo>
                  <a:lnTo>
                    <a:pt x="90" y="95"/>
                  </a:lnTo>
                  <a:lnTo>
                    <a:pt x="87" y="95"/>
                  </a:lnTo>
                  <a:lnTo>
                    <a:pt x="85" y="95"/>
                  </a:lnTo>
                  <a:lnTo>
                    <a:pt x="83" y="95"/>
                  </a:lnTo>
                  <a:lnTo>
                    <a:pt x="80" y="95"/>
                  </a:lnTo>
                  <a:lnTo>
                    <a:pt x="80" y="92"/>
                  </a:lnTo>
                  <a:lnTo>
                    <a:pt x="78" y="92"/>
                  </a:lnTo>
                  <a:lnTo>
                    <a:pt x="78" y="90"/>
                  </a:lnTo>
                  <a:lnTo>
                    <a:pt x="76" y="90"/>
                  </a:lnTo>
                  <a:lnTo>
                    <a:pt x="76" y="88"/>
                  </a:lnTo>
                  <a:lnTo>
                    <a:pt x="73" y="88"/>
                  </a:lnTo>
                  <a:lnTo>
                    <a:pt x="71" y="88"/>
                  </a:lnTo>
                  <a:lnTo>
                    <a:pt x="68" y="88"/>
                  </a:lnTo>
                  <a:lnTo>
                    <a:pt x="68" y="85"/>
                  </a:lnTo>
                  <a:lnTo>
                    <a:pt x="66" y="85"/>
                  </a:lnTo>
                  <a:lnTo>
                    <a:pt x="66" y="83"/>
                  </a:lnTo>
                  <a:lnTo>
                    <a:pt x="64" y="83"/>
                  </a:lnTo>
                  <a:lnTo>
                    <a:pt x="61" y="83"/>
                  </a:lnTo>
                  <a:lnTo>
                    <a:pt x="59" y="80"/>
                  </a:lnTo>
                  <a:lnTo>
                    <a:pt x="59" y="78"/>
                  </a:lnTo>
                  <a:lnTo>
                    <a:pt x="57" y="78"/>
                  </a:lnTo>
                  <a:lnTo>
                    <a:pt x="54" y="78"/>
                  </a:lnTo>
                  <a:lnTo>
                    <a:pt x="54" y="76"/>
                  </a:lnTo>
                  <a:lnTo>
                    <a:pt x="54" y="73"/>
                  </a:lnTo>
                  <a:lnTo>
                    <a:pt x="52" y="73"/>
                  </a:lnTo>
                  <a:lnTo>
                    <a:pt x="49" y="73"/>
                  </a:lnTo>
                  <a:lnTo>
                    <a:pt x="49" y="71"/>
                  </a:lnTo>
                  <a:lnTo>
                    <a:pt x="47" y="71"/>
                  </a:lnTo>
                  <a:lnTo>
                    <a:pt x="45" y="71"/>
                  </a:lnTo>
                  <a:lnTo>
                    <a:pt x="45" y="69"/>
                  </a:lnTo>
                  <a:lnTo>
                    <a:pt x="42" y="69"/>
                  </a:lnTo>
                  <a:lnTo>
                    <a:pt x="40" y="69"/>
                  </a:lnTo>
                  <a:lnTo>
                    <a:pt x="40" y="66"/>
                  </a:lnTo>
                  <a:lnTo>
                    <a:pt x="42" y="66"/>
                  </a:lnTo>
                  <a:lnTo>
                    <a:pt x="42" y="64"/>
                  </a:lnTo>
                  <a:lnTo>
                    <a:pt x="40" y="64"/>
                  </a:lnTo>
                  <a:lnTo>
                    <a:pt x="40" y="61"/>
                  </a:lnTo>
                  <a:lnTo>
                    <a:pt x="38" y="61"/>
                  </a:lnTo>
                  <a:lnTo>
                    <a:pt x="35" y="61"/>
                  </a:lnTo>
                  <a:lnTo>
                    <a:pt x="33" y="61"/>
                  </a:lnTo>
                  <a:lnTo>
                    <a:pt x="33" y="59"/>
                  </a:lnTo>
                  <a:lnTo>
                    <a:pt x="30" y="61"/>
                  </a:lnTo>
                  <a:lnTo>
                    <a:pt x="30" y="59"/>
                  </a:lnTo>
                  <a:lnTo>
                    <a:pt x="35" y="57"/>
                  </a:lnTo>
                  <a:lnTo>
                    <a:pt x="38" y="57"/>
                  </a:lnTo>
                  <a:lnTo>
                    <a:pt x="47" y="61"/>
                  </a:lnTo>
                  <a:lnTo>
                    <a:pt x="49" y="57"/>
                  </a:lnTo>
                  <a:lnTo>
                    <a:pt x="47" y="57"/>
                  </a:lnTo>
                  <a:lnTo>
                    <a:pt x="47" y="54"/>
                  </a:lnTo>
                  <a:lnTo>
                    <a:pt x="45" y="52"/>
                  </a:lnTo>
                  <a:lnTo>
                    <a:pt x="45" y="50"/>
                  </a:lnTo>
                  <a:lnTo>
                    <a:pt x="49" y="47"/>
                  </a:lnTo>
                  <a:lnTo>
                    <a:pt x="54" y="45"/>
                  </a:lnTo>
                  <a:lnTo>
                    <a:pt x="66" y="47"/>
                  </a:lnTo>
                  <a:lnTo>
                    <a:pt x="71" y="52"/>
                  </a:lnTo>
                  <a:lnTo>
                    <a:pt x="78" y="59"/>
                  </a:lnTo>
                  <a:lnTo>
                    <a:pt x="80" y="61"/>
                  </a:lnTo>
                  <a:lnTo>
                    <a:pt x="85" y="66"/>
                  </a:lnTo>
                  <a:lnTo>
                    <a:pt x="85" y="69"/>
                  </a:lnTo>
                  <a:lnTo>
                    <a:pt x="90" y="73"/>
                  </a:lnTo>
                  <a:lnTo>
                    <a:pt x="92" y="80"/>
                  </a:lnTo>
                  <a:lnTo>
                    <a:pt x="97" y="78"/>
                  </a:lnTo>
                  <a:lnTo>
                    <a:pt x="104" y="83"/>
                  </a:lnTo>
                  <a:lnTo>
                    <a:pt x="113" y="80"/>
                  </a:lnTo>
                  <a:lnTo>
                    <a:pt x="116" y="85"/>
                  </a:lnTo>
                  <a:lnTo>
                    <a:pt x="118" y="85"/>
                  </a:lnTo>
                  <a:lnTo>
                    <a:pt x="121" y="83"/>
                  </a:lnTo>
                  <a:lnTo>
                    <a:pt x="125" y="80"/>
                  </a:lnTo>
                  <a:lnTo>
                    <a:pt x="135" y="80"/>
                  </a:lnTo>
                  <a:lnTo>
                    <a:pt x="135" y="78"/>
                  </a:lnTo>
                  <a:lnTo>
                    <a:pt x="137" y="73"/>
                  </a:lnTo>
                  <a:lnTo>
                    <a:pt x="140" y="73"/>
                  </a:lnTo>
                  <a:lnTo>
                    <a:pt x="144" y="73"/>
                  </a:lnTo>
                  <a:lnTo>
                    <a:pt x="147" y="76"/>
                  </a:lnTo>
                  <a:lnTo>
                    <a:pt x="149" y="76"/>
                  </a:lnTo>
                  <a:lnTo>
                    <a:pt x="149" y="78"/>
                  </a:lnTo>
                  <a:lnTo>
                    <a:pt x="151" y="78"/>
                  </a:lnTo>
                  <a:lnTo>
                    <a:pt x="154" y="80"/>
                  </a:lnTo>
                  <a:lnTo>
                    <a:pt x="166" y="83"/>
                  </a:lnTo>
                  <a:lnTo>
                    <a:pt x="168" y="83"/>
                  </a:lnTo>
                  <a:lnTo>
                    <a:pt x="170" y="85"/>
                  </a:lnTo>
                  <a:lnTo>
                    <a:pt x="173" y="88"/>
                  </a:lnTo>
                  <a:lnTo>
                    <a:pt x="173" y="90"/>
                  </a:lnTo>
                  <a:lnTo>
                    <a:pt x="175" y="90"/>
                  </a:lnTo>
                  <a:lnTo>
                    <a:pt x="175" y="88"/>
                  </a:lnTo>
                  <a:lnTo>
                    <a:pt x="175" y="85"/>
                  </a:lnTo>
                  <a:lnTo>
                    <a:pt x="178" y="85"/>
                  </a:lnTo>
                  <a:lnTo>
                    <a:pt x="180" y="85"/>
                  </a:lnTo>
                  <a:lnTo>
                    <a:pt x="182" y="85"/>
                  </a:lnTo>
                  <a:lnTo>
                    <a:pt x="182" y="83"/>
                  </a:lnTo>
                  <a:lnTo>
                    <a:pt x="180" y="83"/>
                  </a:lnTo>
                  <a:lnTo>
                    <a:pt x="182" y="80"/>
                  </a:lnTo>
                  <a:lnTo>
                    <a:pt x="180" y="80"/>
                  </a:lnTo>
                  <a:lnTo>
                    <a:pt x="182" y="80"/>
                  </a:lnTo>
                  <a:lnTo>
                    <a:pt x="182" y="78"/>
                  </a:lnTo>
                  <a:lnTo>
                    <a:pt x="182" y="76"/>
                  </a:lnTo>
                  <a:lnTo>
                    <a:pt x="185" y="76"/>
                  </a:lnTo>
                  <a:lnTo>
                    <a:pt x="185" y="73"/>
                  </a:lnTo>
                  <a:lnTo>
                    <a:pt x="187" y="71"/>
                  </a:lnTo>
                  <a:lnTo>
                    <a:pt x="189" y="71"/>
                  </a:lnTo>
                  <a:lnTo>
                    <a:pt x="192" y="71"/>
                  </a:lnTo>
                  <a:lnTo>
                    <a:pt x="189" y="69"/>
                  </a:lnTo>
                  <a:lnTo>
                    <a:pt x="192" y="69"/>
                  </a:lnTo>
                  <a:lnTo>
                    <a:pt x="194" y="69"/>
                  </a:lnTo>
                  <a:lnTo>
                    <a:pt x="194" y="71"/>
                  </a:lnTo>
                  <a:lnTo>
                    <a:pt x="197" y="71"/>
                  </a:lnTo>
                  <a:lnTo>
                    <a:pt x="199" y="69"/>
                  </a:lnTo>
                  <a:lnTo>
                    <a:pt x="199" y="66"/>
                  </a:lnTo>
                  <a:lnTo>
                    <a:pt x="201" y="66"/>
                  </a:lnTo>
                  <a:lnTo>
                    <a:pt x="201" y="64"/>
                  </a:lnTo>
                  <a:lnTo>
                    <a:pt x="204" y="64"/>
                  </a:lnTo>
                  <a:lnTo>
                    <a:pt x="204" y="61"/>
                  </a:lnTo>
                  <a:lnTo>
                    <a:pt x="201" y="61"/>
                  </a:lnTo>
                  <a:lnTo>
                    <a:pt x="201" y="59"/>
                  </a:lnTo>
                  <a:lnTo>
                    <a:pt x="201" y="57"/>
                  </a:lnTo>
                  <a:lnTo>
                    <a:pt x="201" y="54"/>
                  </a:lnTo>
                  <a:lnTo>
                    <a:pt x="201" y="52"/>
                  </a:lnTo>
                  <a:lnTo>
                    <a:pt x="201" y="50"/>
                  </a:lnTo>
                  <a:lnTo>
                    <a:pt x="201" y="47"/>
                  </a:lnTo>
                  <a:lnTo>
                    <a:pt x="201" y="45"/>
                  </a:lnTo>
                  <a:lnTo>
                    <a:pt x="204" y="45"/>
                  </a:lnTo>
                  <a:lnTo>
                    <a:pt x="204" y="42"/>
                  </a:lnTo>
                  <a:lnTo>
                    <a:pt x="204" y="40"/>
                  </a:lnTo>
                  <a:lnTo>
                    <a:pt x="206" y="40"/>
                  </a:lnTo>
                  <a:lnTo>
                    <a:pt x="204" y="40"/>
                  </a:lnTo>
                  <a:lnTo>
                    <a:pt x="204" y="38"/>
                  </a:lnTo>
                  <a:lnTo>
                    <a:pt x="204" y="35"/>
                  </a:lnTo>
                  <a:lnTo>
                    <a:pt x="206" y="35"/>
                  </a:lnTo>
                  <a:lnTo>
                    <a:pt x="206" y="33"/>
                  </a:lnTo>
                  <a:lnTo>
                    <a:pt x="206" y="31"/>
                  </a:lnTo>
                  <a:lnTo>
                    <a:pt x="208" y="31"/>
                  </a:lnTo>
                  <a:lnTo>
                    <a:pt x="208" y="28"/>
                  </a:lnTo>
                  <a:lnTo>
                    <a:pt x="208" y="26"/>
                  </a:lnTo>
                  <a:lnTo>
                    <a:pt x="206" y="23"/>
                  </a:lnTo>
                  <a:lnTo>
                    <a:pt x="208" y="23"/>
                  </a:lnTo>
                  <a:lnTo>
                    <a:pt x="208" y="21"/>
                  </a:lnTo>
                  <a:lnTo>
                    <a:pt x="211" y="21"/>
                  </a:lnTo>
                  <a:lnTo>
                    <a:pt x="213" y="21"/>
                  </a:lnTo>
                  <a:lnTo>
                    <a:pt x="215" y="21"/>
                  </a:lnTo>
                  <a:lnTo>
                    <a:pt x="215" y="19"/>
                  </a:lnTo>
                  <a:lnTo>
                    <a:pt x="218" y="19"/>
                  </a:lnTo>
                  <a:lnTo>
                    <a:pt x="218" y="16"/>
                  </a:lnTo>
                  <a:lnTo>
                    <a:pt x="220" y="14"/>
                  </a:lnTo>
                  <a:lnTo>
                    <a:pt x="223" y="14"/>
                  </a:lnTo>
                  <a:lnTo>
                    <a:pt x="223" y="12"/>
                  </a:lnTo>
                  <a:lnTo>
                    <a:pt x="225" y="12"/>
                  </a:lnTo>
                  <a:lnTo>
                    <a:pt x="225" y="9"/>
                  </a:lnTo>
                  <a:lnTo>
                    <a:pt x="225" y="7"/>
                  </a:lnTo>
                  <a:lnTo>
                    <a:pt x="227" y="7"/>
                  </a:lnTo>
                  <a:lnTo>
                    <a:pt x="230" y="7"/>
                  </a:lnTo>
                  <a:lnTo>
                    <a:pt x="232" y="7"/>
                  </a:lnTo>
                  <a:lnTo>
                    <a:pt x="234" y="7"/>
                  </a:lnTo>
                  <a:lnTo>
                    <a:pt x="237" y="7"/>
                  </a:lnTo>
                  <a:lnTo>
                    <a:pt x="239" y="7"/>
                  </a:lnTo>
                  <a:lnTo>
                    <a:pt x="239" y="9"/>
                  </a:lnTo>
                  <a:lnTo>
                    <a:pt x="242" y="9"/>
                  </a:lnTo>
                  <a:lnTo>
                    <a:pt x="242" y="7"/>
                  </a:lnTo>
                  <a:lnTo>
                    <a:pt x="242" y="9"/>
                  </a:lnTo>
                  <a:lnTo>
                    <a:pt x="244" y="9"/>
                  </a:lnTo>
                  <a:lnTo>
                    <a:pt x="246" y="9"/>
                  </a:lnTo>
                  <a:lnTo>
                    <a:pt x="249" y="9"/>
                  </a:lnTo>
                  <a:lnTo>
                    <a:pt x="249" y="7"/>
                  </a:lnTo>
                  <a:lnTo>
                    <a:pt x="251" y="7"/>
                  </a:lnTo>
                  <a:lnTo>
                    <a:pt x="253" y="7"/>
                  </a:lnTo>
                  <a:lnTo>
                    <a:pt x="253" y="4"/>
                  </a:lnTo>
                  <a:lnTo>
                    <a:pt x="256" y="4"/>
                  </a:lnTo>
                  <a:lnTo>
                    <a:pt x="258" y="2"/>
                  </a:lnTo>
                  <a:lnTo>
                    <a:pt x="261" y="2"/>
                  </a:lnTo>
                  <a:lnTo>
                    <a:pt x="261" y="0"/>
                  </a:lnTo>
                  <a:lnTo>
                    <a:pt x="263" y="0"/>
                  </a:lnTo>
                  <a:lnTo>
                    <a:pt x="265" y="0"/>
                  </a:lnTo>
                  <a:lnTo>
                    <a:pt x="268" y="0"/>
                  </a:lnTo>
                  <a:lnTo>
                    <a:pt x="270" y="0"/>
                  </a:lnTo>
                  <a:lnTo>
                    <a:pt x="272" y="0"/>
                  </a:lnTo>
                  <a:lnTo>
                    <a:pt x="275" y="0"/>
                  </a:lnTo>
                  <a:lnTo>
                    <a:pt x="275" y="2"/>
                  </a:lnTo>
                  <a:lnTo>
                    <a:pt x="275" y="4"/>
                  </a:lnTo>
                  <a:lnTo>
                    <a:pt x="277" y="4"/>
                  </a:lnTo>
                  <a:lnTo>
                    <a:pt x="280" y="7"/>
                  </a:lnTo>
                  <a:lnTo>
                    <a:pt x="282" y="9"/>
                  </a:lnTo>
                  <a:lnTo>
                    <a:pt x="287" y="12"/>
                  </a:lnTo>
                  <a:lnTo>
                    <a:pt x="289" y="12"/>
                  </a:lnTo>
                  <a:lnTo>
                    <a:pt x="287" y="14"/>
                  </a:lnTo>
                  <a:lnTo>
                    <a:pt x="289" y="14"/>
                  </a:lnTo>
                  <a:lnTo>
                    <a:pt x="291" y="16"/>
                  </a:lnTo>
                  <a:lnTo>
                    <a:pt x="296" y="16"/>
                  </a:lnTo>
                  <a:lnTo>
                    <a:pt x="308" y="21"/>
                  </a:lnTo>
                  <a:lnTo>
                    <a:pt x="313" y="23"/>
                  </a:lnTo>
                  <a:lnTo>
                    <a:pt x="318" y="28"/>
                  </a:lnTo>
                  <a:lnTo>
                    <a:pt x="320" y="35"/>
                  </a:lnTo>
                  <a:lnTo>
                    <a:pt x="318" y="40"/>
                  </a:lnTo>
                  <a:lnTo>
                    <a:pt x="315" y="40"/>
                  </a:lnTo>
                  <a:lnTo>
                    <a:pt x="310" y="45"/>
                  </a:lnTo>
                  <a:lnTo>
                    <a:pt x="303" y="50"/>
                  </a:lnTo>
                  <a:lnTo>
                    <a:pt x="303" y="52"/>
                  </a:lnTo>
                  <a:lnTo>
                    <a:pt x="303" y="54"/>
                  </a:lnTo>
                  <a:lnTo>
                    <a:pt x="303" y="57"/>
                  </a:lnTo>
                  <a:lnTo>
                    <a:pt x="303" y="59"/>
                  </a:lnTo>
                  <a:lnTo>
                    <a:pt x="306" y="59"/>
                  </a:lnTo>
                  <a:lnTo>
                    <a:pt x="308" y="61"/>
                  </a:lnTo>
                  <a:lnTo>
                    <a:pt x="303" y="61"/>
                  </a:lnTo>
                  <a:lnTo>
                    <a:pt x="294" y="69"/>
                  </a:lnTo>
                  <a:lnTo>
                    <a:pt x="289" y="69"/>
                  </a:lnTo>
                  <a:lnTo>
                    <a:pt x="291" y="71"/>
                  </a:lnTo>
                  <a:lnTo>
                    <a:pt x="299" y="71"/>
                  </a:lnTo>
                  <a:lnTo>
                    <a:pt x="303" y="71"/>
                  </a:lnTo>
                  <a:lnTo>
                    <a:pt x="301" y="78"/>
                  </a:lnTo>
                  <a:lnTo>
                    <a:pt x="296" y="83"/>
                  </a:lnTo>
                  <a:lnTo>
                    <a:pt x="294" y="85"/>
                  </a:lnTo>
                  <a:lnTo>
                    <a:pt x="291" y="90"/>
                  </a:lnTo>
                  <a:lnTo>
                    <a:pt x="296" y="107"/>
                  </a:lnTo>
                  <a:lnTo>
                    <a:pt x="299" y="111"/>
                  </a:lnTo>
                  <a:lnTo>
                    <a:pt x="320" y="118"/>
                  </a:lnTo>
                  <a:lnTo>
                    <a:pt x="332" y="133"/>
                  </a:lnTo>
                  <a:lnTo>
                    <a:pt x="344" y="140"/>
                  </a:lnTo>
                  <a:lnTo>
                    <a:pt x="341" y="142"/>
                  </a:lnTo>
                  <a:lnTo>
                    <a:pt x="339" y="149"/>
                  </a:lnTo>
                  <a:lnTo>
                    <a:pt x="336" y="152"/>
                  </a:lnTo>
                  <a:lnTo>
                    <a:pt x="334" y="154"/>
                  </a:lnTo>
                  <a:lnTo>
                    <a:pt x="334" y="156"/>
                  </a:lnTo>
                  <a:lnTo>
                    <a:pt x="332" y="156"/>
                  </a:lnTo>
                  <a:lnTo>
                    <a:pt x="332" y="159"/>
                  </a:lnTo>
                  <a:lnTo>
                    <a:pt x="329" y="159"/>
                  </a:lnTo>
                  <a:lnTo>
                    <a:pt x="332" y="159"/>
                  </a:lnTo>
                  <a:lnTo>
                    <a:pt x="329" y="159"/>
                  </a:lnTo>
                  <a:lnTo>
                    <a:pt x="329" y="161"/>
                  </a:lnTo>
                  <a:lnTo>
                    <a:pt x="327" y="161"/>
                  </a:lnTo>
                  <a:lnTo>
                    <a:pt x="329" y="161"/>
                  </a:lnTo>
                  <a:lnTo>
                    <a:pt x="327" y="161"/>
                  </a:lnTo>
                  <a:lnTo>
                    <a:pt x="327" y="164"/>
                  </a:lnTo>
                  <a:lnTo>
                    <a:pt x="325" y="164"/>
                  </a:lnTo>
                  <a:lnTo>
                    <a:pt x="322" y="168"/>
                  </a:lnTo>
                  <a:lnTo>
                    <a:pt x="313" y="178"/>
                  </a:lnTo>
                  <a:lnTo>
                    <a:pt x="310" y="180"/>
                  </a:lnTo>
                  <a:lnTo>
                    <a:pt x="310" y="183"/>
                  </a:lnTo>
                  <a:lnTo>
                    <a:pt x="310" y="185"/>
                  </a:lnTo>
                  <a:lnTo>
                    <a:pt x="310" y="187"/>
                  </a:lnTo>
                  <a:lnTo>
                    <a:pt x="313" y="190"/>
                  </a:lnTo>
                  <a:lnTo>
                    <a:pt x="313" y="192"/>
                  </a:lnTo>
                  <a:lnTo>
                    <a:pt x="315" y="192"/>
                  </a:lnTo>
                  <a:lnTo>
                    <a:pt x="318" y="194"/>
                  </a:lnTo>
                  <a:lnTo>
                    <a:pt x="320" y="199"/>
                  </a:lnTo>
                  <a:lnTo>
                    <a:pt x="322" y="202"/>
                  </a:lnTo>
                  <a:lnTo>
                    <a:pt x="322" y="204"/>
                  </a:lnTo>
                  <a:lnTo>
                    <a:pt x="325" y="204"/>
                  </a:lnTo>
                  <a:lnTo>
                    <a:pt x="327" y="206"/>
                  </a:lnTo>
                  <a:lnTo>
                    <a:pt x="329" y="216"/>
                  </a:lnTo>
                  <a:lnTo>
                    <a:pt x="332" y="218"/>
                  </a:lnTo>
                  <a:lnTo>
                    <a:pt x="332" y="221"/>
                  </a:lnTo>
                  <a:lnTo>
                    <a:pt x="334" y="221"/>
                  </a:lnTo>
                  <a:lnTo>
                    <a:pt x="339" y="228"/>
                  </a:lnTo>
                  <a:lnTo>
                    <a:pt x="339" y="230"/>
                  </a:lnTo>
                  <a:lnTo>
                    <a:pt x="341" y="235"/>
                  </a:lnTo>
                  <a:lnTo>
                    <a:pt x="341" y="237"/>
                  </a:lnTo>
                  <a:lnTo>
                    <a:pt x="344" y="237"/>
                  </a:lnTo>
                  <a:lnTo>
                    <a:pt x="344" y="242"/>
                  </a:lnTo>
                  <a:lnTo>
                    <a:pt x="346" y="247"/>
                  </a:lnTo>
                  <a:lnTo>
                    <a:pt x="346" y="252"/>
                  </a:lnTo>
                  <a:lnTo>
                    <a:pt x="346" y="254"/>
                  </a:lnTo>
                  <a:lnTo>
                    <a:pt x="346" y="256"/>
                  </a:lnTo>
                  <a:lnTo>
                    <a:pt x="344" y="254"/>
                  </a:lnTo>
                  <a:lnTo>
                    <a:pt x="339" y="254"/>
                  </a:lnTo>
                  <a:lnTo>
                    <a:pt x="339" y="256"/>
                  </a:lnTo>
                  <a:lnTo>
                    <a:pt x="332" y="256"/>
                  </a:lnTo>
                  <a:lnTo>
                    <a:pt x="334" y="259"/>
                  </a:lnTo>
                  <a:lnTo>
                    <a:pt x="339" y="261"/>
                  </a:lnTo>
                  <a:lnTo>
                    <a:pt x="334" y="263"/>
                  </a:lnTo>
                  <a:lnTo>
                    <a:pt x="334" y="266"/>
                  </a:lnTo>
                  <a:lnTo>
                    <a:pt x="334" y="271"/>
                  </a:lnTo>
                  <a:lnTo>
                    <a:pt x="334" y="273"/>
                  </a:lnTo>
                  <a:lnTo>
                    <a:pt x="332" y="275"/>
                  </a:lnTo>
                  <a:lnTo>
                    <a:pt x="329" y="278"/>
                  </a:lnTo>
                  <a:lnTo>
                    <a:pt x="329" y="280"/>
                  </a:lnTo>
                  <a:lnTo>
                    <a:pt x="332" y="280"/>
                  </a:lnTo>
                  <a:lnTo>
                    <a:pt x="334" y="280"/>
                  </a:lnTo>
                  <a:lnTo>
                    <a:pt x="336" y="280"/>
                  </a:lnTo>
                  <a:lnTo>
                    <a:pt x="339" y="280"/>
                  </a:lnTo>
                  <a:lnTo>
                    <a:pt x="339" y="282"/>
                  </a:lnTo>
                  <a:lnTo>
                    <a:pt x="336" y="285"/>
                  </a:lnTo>
                  <a:lnTo>
                    <a:pt x="339" y="285"/>
                  </a:lnTo>
                  <a:lnTo>
                    <a:pt x="339" y="287"/>
                  </a:lnTo>
                  <a:lnTo>
                    <a:pt x="336" y="287"/>
                  </a:lnTo>
                  <a:lnTo>
                    <a:pt x="334" y="287"/>
                  </a:lnTo>
                  <a:lnTo>
                    <a:pt x="329" y="290"/>
                  </a:lnTo>
                  <a:lnTo>
                    <a:pt x="329" y="292"/>
                  </a:lnTo>
                  <a:lnTo>
                    <a:pt x="329" y="294"/>
                  </a:lnTo>
                  <a:lnTo>
                    <a:pt x="329" y="297"/>
                  </a:lnTo>
                  <a:lnTo>
                    <a:pt x="329" y="299"/>
                  </a:lnTo>
                  <a:lnTo>
                    <a:pt x="332" y="301"/>
                  </a:lnTo>
                  <a:lnTo>
                    <a:pt x="332" y="304"/>
                  </a:lnTo>
                  <a:lnTo>
                    <a:pt x="334" y="304"/>
                  </a:lnTo>
                  <a:lnTo>
                    <a:pt x="336" y="304"/>
                  </a:lnTo>
                  <a:lnTo>
                    <a:pt x="339" y="304"/>
                  </a:lnTo>
                  <a:lnTo>
                    <a:pt x="341" y="304"/>
                  </a:lnTo>
                  <a:lnTo>
                    <a:pt x="344" y="304"/>
                  </a:lnTo>
                  <a:lnTo>
                    <a:pt x="346" y="306"/>
                  </a:lnTo>
                  <a:lnTo>
                    <a:pt x="344" y="306"/>
                  </a:lnTo>
                  <a:lnTo>
                    <a:pt x="344" y="309"/>
                  </a:lnTo>
                  <a:lnTo>
                    <a:pt x="346" y="313"/>
                  </a:lnTo>
                  <a:lnTo>
                    <a:pt x="344" y="313"/>
                  </a:lnTo>
                  <a:lnTo>
                    <a:pt x="341" y="316"/>
                  </a:lnTo>
                  <a:lnTo>
                    <a:pt x="341" y="318"/>
                  </a:lnTo>
                  <a:lnTo>
                    <a:pt x="344" y="320"/>
                  </a:lnTo>
                  <a:lnTo>
                    <a:pt x="344" y="323"/>
                  </a:lnTo>
                  <a:lnTo>
                    <a:pt x="344" y="325"/>
                  </a:lnTo>
                  <a:lnTo>
                    <a:pt x="346" y="328"/>
                  </a:lnTo>
                  <a:lnTo>
                    <a:pt x="348" y="330"/>
                  </a:lnTo>
                  <a:lnTo>
                    <a:pt x="351" y="330"/>
                  </a:lnTo>
                  <a:lnTo>
                    <a:pt x="355" y="332"/>
                  </a:lnTo>
                  <a:lnTo>
                    <a:pt x="353" y="332"/>
                  </a:lnTo>
                  <a:lnTo>
                    <a:pt x="355" y="332"/>
                  </a:lnTo>
                  <a:lnTo>
                    <a:pt x="358" y="335"/>
                  </a:lnTo>
                  <a:lnTo>
                    <a:pt x="360" y="337"/>
                  </a:lnTo>
                  <a:lnTo>
                    <a:pt x="358" y="337"/>
                  </a:lnTo>
                  <a:lnTo>
                    <a:pt x="360" y="339"/>
                  </a:lnTo>
                  <a:lnTo>
                    <a:pt x="360" y="342"/>
                  </a:lnTo>
                  <a:lnTo>
                    <a:pt x="360" y="344"/>
                  </a:lnTo>
                  <a:lnTo>
                    <a:pt x="360" y="347"/>
                  </a:lnTo>
                  <a:lnTo>
                    <a:pt x="358" y="347"/>
                  </a:lnTo>
                  <a:lnTo>
                    <a:pt x="358" y="349"/>
                  </a:lnTo>
                  <a:lnTo>
                    <a:pt x="355" y="351"/>
                  </a:lnTo>
                  <a:lnTo>
                    <a:pt x="353" y="351"/>
                  </a:lnTo>
                  <a:lnTo>
                    <a:pt x="353" y="354"/>
                  </a:lnTo>
                  <a:lnTo>
                    <a:pt x="351" y="358"/>
                  </a:lnTo>
                  <a:lnTo>
                    <a:pt x="348" y="358"/>
                  </a:lnTo>
                  <a:lnTo>
                    <a:pt x="341" y="361"/>
                  </a:lnTo>
                  <a:lnTo>
                    <a:pt x="344" y="366"/>
                  </a:lnTo>
                  <a:lnTo>
                    <a:pt x="346" y="366"/>
                  </a:lnTo>
                  <a:lnTo>
                    <a:pt x="346" y="368"/>
                  </a:lnTo>
                  <a:lnTo>
                    <a:pt x="351" y="370"/>
                  </a:lnTo>
                  <a:lnTo>
                    <a:pt x="353" y="373"/>
                  </a:lnTo>
                  <a:lnTo>
                    <a:pt x="355" y="373"/>
                  </a:lnTo>
                  <a:lnTo>
                    <a:pt x="358" y="377"/>
                  </a:lnTo>
                  <a:lnTo>
                    <a:pt x="363" y="380"/>
                  </a:lnTo>
                  <a:lnTo>
                    <a:pt x="365" y="380"/>
                  </a:lnTo>
                  <a:lnTo>
                    <a:pt x="367" y="382"/>
                  </a:lnTo>
                  <a:lnTo>
                    <a:pt x="370" y="382"/>
                  </a:lnTo>
                  <a:lnTo>
                    <a:pt x="370" y="385"/>
                  </a:lnTo>
                  <a:lnTo>
                    <a:pt x="372" y="385"/>
                  </a:lnTo>
                  <a:lnTo>
                    <a:pt x="374" y="385"/>
                  </a:lnTo>
                  <a:lnTo>
                    <a:pt x="374" y="387"/>
                  </a:lnTo>
                  <a:lnTo>
                    <a:pt x="377" y="387"/>
                  </a:lnTo>
                  <a:lnTo>
                    <a:pt x="379" y="389"/>
                  </a:lnTo>
                  <a:lnTo>
                    <a:pt x="382" y="389"/>
                  </a:lnTo>
                  <a:lnTo>
                    <a:pt x="382" y="392"/>
                  </a:lnTo>
                  <a:lnTo>
                    <a:pt x="384" y="392"/>
                  </a:lnTo>
                  <a:lnTo>
                    <a:pt x="384" y="394"/>
                  </a:lnTo>
                  <a:lnTo>
                    <a:pt x="384" y="396"/>
                  </a:lnTo>
                  <a:lnTo>
                    <a:pt x="384" y="399"/>
                  </a:lnTo>
                  <a:lnTo>
                    <a:pt x="386" y="399"/>
                  </a:lnTo>
                  <a:lnTo>
                    <a:pt x="389" y="401"/>
                  </a:lnTo>
                  <a:lnTo>
                    <a:pt x="391" y="401"/>
                  </a:lnTo>
                  <a:lnTo>
                    <a:pt x="391" y="404"/>
                  </a:lnTo>
                  <a:lnTo>
                    <a:pt x="393" y="408"/>
                  </a:lnTo>
                  <a:lnTo>
                    <a:pt x="391" y="413"/>
                  </a:lnTo>
                  <a:lnTo>
                    <a:pt x="391" y="415"/>
                  </a:lnTo>
                  <a:lnTo>
                    <a:pt x="389" y="415"/>
                  </a:lnTo>
                  <a:lnTo>
                    <a:pt x="389" y="420"/>
                  </a:lnTo>
                  <a:lnTo>
                    <a:pt x="389" y="423"/>
                  </a:lnTo>
                  <a:lnTo>
                    <a:pt x="386" y="423"/>
                  </a:lnTo>
                  <a:lnTo>
                    <a:pt x="384" y="430"/>
                  </a:lnTo>
                  <a:lnTo>
                    <a:pt x="382" y="432"/>
                  </a:lnTo>
                  <a:lnTo>
                    <a:pt x="382" y="434"/>
                  </a:lnTo>
                  <a:lnTo>
                    <a:pt x="379" y="434"/>
                  </a:lnTo>
                  <a:lnTo>
                    <a:pt x="374" y="439"/>
                  </a:lnTo>
                  <a:lnTo>
                    <a:pt x="374" y="442"/>
                  </a:lnTo>
                  <a:lnTo>
                    <a:pt x="372" y="442"/>
                  </a:lnTo>
                  <a:lnTo>
                    <a:pt x="370" y="444"/>
                  </a:lnTo>
                  <a:lnTo>
                    <a:pt x="367" y="444"/>
                  </a:lnTo>
                  <a:lnTo>
                    <a:pt x="367" y="446"/>
                  </a:lnTo>
                  <a:lnTo>
                    <a:pt x="365" y="446"/>
                  </a:lnTo>
                  <a:lnTo>
                    <a:pt x="363" y="446"/>
                  </a:lnTo>
                  <a:lnTo>
                    <a:pt x="363" y="449"/>
                  </a:lnTo>
                  <a:lnTo>
                    <a:pt x="363" y="451"/>
                  </a:lnTo>
                  <a:lnTo>
                    <a:pt x="360" y="451"/>
                  </a:lnTo>
                  <a:lnTo>
                    <a:pt x="355" y="456"/>
                  </a:lnTo>
                  <a:lnTo>
                    <a:pt x="355" y="458"/>
                  </a:lnTo>
                  <a:lnTo>
                    <a:pt x="353" y="458"/>
                  </a:lnTo>
                  <a:lnTo>
                    <a:pt x="353" y="461"/>
                  </a:lnTo>
                  <a:lnTo>
                    <a:pt x="351" y="461"/>
                  </a:lnTo>
                  <a:lnTo>
                    <a:pt x="351" y="463"/>
                  </a:lnTo>
                  <a:lnTo>
                    <a:pt x="348" y="463"/>
                  </a:lnTo>
                  <a:lnTo>
                    <a:pt x="348" y="465"/>
                  </a:lnTo>
                  <a:lnTo>
                    <a:pt x="346" y="465"/>
                  </a:lnTo>
                  <a:lnTo>
                    <a:pt x="344" y="468"/>
                  </a:lnTo>
                  <a:lnTo>
                    <a:pt x="344" y="470"/>
                  </a:lnTo>
                  <a:lnTo>
                    <a:pt x="339" y="475"/>
                  </a:lnTo>
                  <a:lnTo>
                    <a:pt x="336" y="477"/>
                  </a:lnTo>
                  <a:lnTo>
                    <a:pt x="334" y="480"/>
                  </a:lnTo>
                  <a:lnTo>
                    <a:pt x="334" y="482"/>
                  </a:lnTo>
                  <a:lnTo>
                    <a:pt x="332" y="482"/>
                  </a:lnTo>
                  <a:lnTo>
                    <a:pt x="329" y="484"/>
                  </a:lnTo>
                  <a:lnTo>
                    <a:pt x="327" y="487"/>
                  </a:lnTo>
                  <a:lnTo>
                    <a:pt x="325" y="487"/>
                  </a:lnTo>
                  <a:lnTo>
                    <a:pt x="327" y="487"/>
                  </a:lnTo>
                  <a:lnTo>
                    <a:pt x="322" y="491"/>
                  </a:lnTo>
                  <a:lnTo>
                    <a:pt x="320" y="494"/>
                  </a:lnTo>
                  <a:lnTo>
                    <a:pt x="318" y="496"/>
                  </a:lnTo>
                  <a:lnTo>
                    <a:pt x="318" y="499"/>
                  </a:lnTo>
                  <a:lnTo>
                    <a:pt x="315" y="499"/>
                  </a:lnTo>
                  <a:lnTo>
                    <a:pt x="313" y="501"/>
                  </a:lnTo>
                  <a:lnTo>
                    <a:pt x="310" y="501"/>
                  </a:lnTo>
                  <a:lnTo>
                    <a:pt x="308" y="503"/>
                  </a:lnTo>
                  <a:lnTo>
                    <a:pt x="306" y="503"/>
                  </a:lnTo>
                  <a:lnTo>
                    <a:pt x="306" y="506"/>
                  </a:lnTo>
                  <a:lnTo>
                    <a:pt x="303" y="506"/>
                  </a:lnTo>
                  <a:lnTo>
                    <a:pt x="303" y="508"/>
                  </a:lnTo>
                  <a:lnTo>
                    <a:pt x="301" y="508"/>
                  </a:lnTo>
                  <a:lnTo>
                    <a:pt x="301" y="510"/>
                  </a:lnTo>
                  <a:lnTo>
                    <a:pt x="299" y="510"/>
                  </a:lnTo>
                  <a:lnTo>
                    <a:pt x="299" y="513"/>
                  </a:lnTo>
                  <a:lnTo>
                    <a:pt x="299" y="515"/>
                  </a:lnTo>
                  <a:lnTo>
                    <a:pt x="296" y="515"/>
                  </a:lnTo>
                  <a:lnTo>
                    <a:pt x="294" y="515"/>
                  </a:lnTo>
                  <a:lnTo>
                    <a:pt x="291" y="515"/>
                  </a:lnTo>
                  <a:lnTo>
                    <a:pt x="291" y="518"/>
                  </a:lnTo>
                  <a:lnTo>
                    <a:pt x="287" y="520"/>
                  </a:lnTo>
                  <a:lnTo>
                    <a:pt x="284" y="522"/>
                  </a:lnTo>
                  <a:lnTo>
                    <a:pt x="284" y="525"/>
                  </a:lnTo>
                  <a:lnTo>
                    <a:pt x="282" y="525"/>
                  </a:lnTo>
                  <a:lnTo>
                    <a:pt x="282" y="527"/>
                  </a:lnTo>
                  <a:lnTo>
                    <a:pt x="280" y="527"/>
                  </a:lnTo>
                  <a:lnTo>
                    <a:pt x="277" y="527"/>
                  </a:lnTo>
                  <a:lnTo>
                    <a:pt x="272" y="532"/>
                  </a:lnTo>
                  <a:lnTo>
                    <a:pt x="272" y="534"/>
                  </a:lnTo>
                  <a:lnTo>
                    <a:pt x="270" y="534"/>
                  </a:lnTo>
                  <a:lnTo>
                    <a:pt x="270" y="537"/>
                  </a:lnTo>
                  <a:lnTo>
                    <a:pt x="268" y="537"/>
                  </a:lnTo>
                  <a:lnTo>
                    <a:pt x="270" y="537"/>
                  </a:lnTo>
                  <a:lnTo>
                    <a:pt x="268" y="537"/>
                  </a:lnTo>
                  <a:lnTo>
                    <a:pt x="268" y="534"/>
                  </a:lnTo>
                  <a:lnTo>
                    <a:pt x="268" y="537"/>
                  </a:lnTo>
                  <a:lnTo>
                    <a:pt x="268" y="539"/>
                  </a:lnTo>
                  <a:lnTo>
                    <a:pt x="268" y="537"/>
                  </a:lnTo>
                  <a:lnTo>
                    <a:pt x="268" y="539"/>
                  </a:lnTo>
                  <a:lnTo>
                    <a:pt x="268" y="537"/>
                  </a:lnTo>
                  <a:lnTo>
                    <a:pt x="268" y="539"/>
                  </a:lnTo>
                  <a:lnTo>
                    <a:pt x="265" y="539"/>
                  </a:lnTo>
                  <a:lnTo>
                    <a:pt x="263" y="539"/>
                  </a:lnTo>
                  <a:lnTo>
                    <a:pt x="265" y="539"/>
                  </a:lnTo>
                  <a:lnTo>
                    <a:pt x="263" y="539"/>
                  </a:lnTo>
                  <a:lnTo>
                    <a:pt x="263" y="537"/>
                  </a:lnTo>
                  <a:lnTo>
                    <a:pt x="263" y="539"/>
                  </a:lnTo>
                  <a:lnTo>
                    <a:pt x="265" y="539"/>
                  </a:lnTo>
                  <a:lnTo>
                    <a:pt x="265" y="537"/>
                  </a:lnTo>
                  <a:lnTo>
                    <a:pt x="263" y="537"/>
                  </a:lnTo>
                  <a:lnTo>
                    <a:pt x="263" y="539"/>
                  </a:lnTo>
                  <a:lnTo>
                    <a:pt x="263" y="541"/>
                  </a:lnTo>
                  <a:lnTo>
                    <a:pt x="263" y="539"/>
                  </a:lnTo>
                  <a:lnTo>
                    <a:pt x="261" y="539"/>
                  </a:lnTo>
                  <a:lnTo>
                    <a:pt x="258" y="539"/>
                  </a:lnTo>
                  <a:lnTo>
                    <a:pt x="258" y="541"/>
                  </a:lnTo>
                  <a:lnTo>
                    <a:pt x="261" y="541"/>
                  </a:lnTo>
                  <a:lnTo>
                    <a:pt x="258" y="541"/>
                  </a:lnTo>
                  <a:lnTo>
                    <a:pt x="256" y="541"/>
                  </a:lnTo>
                  <a:lnTo>
                    <a:pt x="256" y="539"/>
                  </a:lnTo>
                  <a:lnTo>
                    <a:pt x="253" y="539"/>
                  </a:lnTo>
                  <a:lnTo>
                    <a:pt x="256" y="539"/>
                  </a:lnTo>
                  <a:lnTo>
                    <a:pt x="253" y="539"/>
                  </a:lnTo>
                  <a:lnTo>
                    <a:pt x="253" y="537"/>
                  </a:lnTo>
                  <a:lnTo>
                    <a:pt x="253" y="539"/>
                  </a:lnTo>
                  <a:lnTo>
                    <a:pt x="251" y="539"/>
                  </a:lnTo>
                  <a:lnTo>
                    <a:pt x="253" y="539"/>
                  </a:lnTo>
                  <a:lnTo>
                    <a:pt x="251" y="539"/>
                  </a:lnTo>
                  <a:lnTo>
                    <a:pt x="251" y="537"/>
                  </a:lnTo>
                  <a:lnTo>
                    <a:pt x="251" y="539"/>
                  </a:lnTo>
                  <a:lnTo>
                    <a:pt x="249" y="539"/>
                  </a:lnTo>
                  <a:lnTo>
                    <a:pt x="249" y="537"/>
                  </a:lnTo>
                  <a:lnTo>
                    <a:pt x="251" y="537"/>
                  </a:lnTo>
                  <a:lnTo>
                    <a:pt x="249" y="537"/>
                  </a:lnTo>
                  <a:lnTo>
                    <a:pt x="251" y="537"/>
                  </a:lnTo>
                  <a:lnTo>
                    <a:pt x="249" y="537"/>
                  </a:lnTo>
                  <a:lnTo>
                    <a:pt x="251" y="537"/>
                  </a:lnTo>
                  <a:lnTo>
                    <a:pt x="249" y="537"/>
                  </a:lnTo>
                  <a:lnTo>
                    <a:pt x="249" y="534"/>
                  </a:lnTo>
                  <a:lnTo>
                    <a:pt x="249" y="537"/>
                  </a:lnTo>
                  <a:lnTo>
                    <a:pt x="249" y="534"/>
                  </a:lnTo>
                  <a:lnTo>
                    <a:pt x="249" y="537"/>
                  </a:lnTo>
                  <a:lnTo>
                    <a:pt x="249" y="539"/>
                  </a:lnTo>
                  <a:lnTo>
                    <a:pt x="249" y="537"/>
                  </a:lnTo>
                  <a:lnTo>
                    <a:pt x="249" y="539"/>
                  </a:lnTo>
                  <a:lnTo>
                    <a:pt x="249" y="537"/>
                  </a:lnTo>
                  <a:lnTo>
                    <a:pt x="246" y="537"/>
                  </a:lnTo>
                  <a:lnTo>
                    <a:pt x="244" y="537"/>
                  </a:lnTo>
                  <a:lnTo>
                    <a:pt x="246" y="537"/>
                  </a:lnTo>
                  <a:lnTo>
                    <a:pt x="244" y="537"/>
                  </a:lnTo>
                  <a:lnTo>
                    <a:pt x="244" y="539"/>
                  </a:lnTo>
                  <a:lnTo>
                    <a:pt x="244" y="537"/>
                  </a:lnTo>
                  <a:lnTo>
                    <a:pt x="244" y="539"/>
                  </a:lnTo>
                  <a:lnTo>
                    <a:pt x="242" y="539"/>
                  </a:lnTo>
                  <a:lnTo>
                    <a:pt x="244" y="539"/>
                  </a:lnTo>
                  <a:lnTo>
                    <a:pt x="242" y="539"/>
                  </a:lnTo>
                  <a:lnTo>
                    <a:pt x="242" y="541"/>
                  </a:lnTo>
                  <a:lnTo>
                    <a:pt x="244" y="541"/>
                  </a:lnTo>
                  <a:lnTo>
                    <a:pt x="242" y="541"/>
                  </a:lnTo>
                  <a:lnTo>
                    <a:pt x="242" y="539"/>
                  </a:lnTo>
                  <a:lnTo>
                    <a:pt x="239" y="539"/>
                  </a:lnTo>
                  <a:lnTo>
                    <a:pt x="242" y="539"/>
                  </a:lnTo>
                  <a:lnTo>
                    <a:pt x="242" y="541"/>
                  </a:lnTo>
                  <a:lnTo>
                    <a:pt x="239" y="541"/>
                  </a:lnTo>
                  <a:lnTo>
                    <a:pt x="239" y="539"/>
                  </a:lnTo>
                  <a:lnTo>
                    <a:pt x="239" y="541"/>
                  </a:lnTo>
                  <a:lnTo>
                    <a:pt x="242" y="541"/>
                  </a:lnTo>
                  <a:lnTo>
                    <a:pt x="239" y="541"/>
                  </a:lnTo>
                  <a:lnTo>
                    <a:pt x="242" y="541"/>
                  </a:lnTo>
                  <a:lnTo>
                    <a:pt x="239" y="541"/>
                  </a:lnTo>
                  <a:lnTo>
                    <a:pt x="239" y="544"/>
                  </a:lnTo>
                  <a:lnTo>
                    <a:pt x="242" y="541"/>
                  </a:lnTo>
                  <a:lnTo>
                    <a:pt x="242" y="544"/>
                  </a:lnTo>
                  <a:lnTo>
                    <a:pt x="239" y="544"/>
                  </a:lnTo>
                  <a:lnTo>
                    <a:pt x="239" y="541"/>
                  </a:lnTo>
                  <a:lnTo>
                    <a:pt x="239" y="544"/>
                  </a:lnTo>
                  <a:lnTo>
                    <a:pt x="239" y="541"/>
                  </a:lnTo>
                  <a:lnTo>
                    <a:pt x="239" y="539"/>
                  </a:lnTo>
                  <a:lnTo>
                    <a:pt x="239" y="541"/>
                  </a:lnTo>
                  <a:lnTo>
                    <a:pt x="237" y="541"/>
                  </a:lnTo>
                  <a:lnTo>
                    <a:pt x="234" y="541"/>
                  </a:lnTo>
                  <a:lnTo>
                    <a:pt x="237" y="539"/>
                  </a:lnTo>
                  <a:lnTo>
                    <a:pt x="234" y="539"/>
                  </a:lnTo>
                  <a:lnTo>
                    <a:pt x="234" y="541"/>
                  </a:lnTo>
                  <a:lnTo>
                    <a:pt x="234" y="539"/>
                  </a:lnTo>
                  <a:lnTo>
                    <a:pt x="234" y="541"/>
                  </a:lnTo>
                  <a:lnTo>
                    <a:pt x="232" y="541"/>
                  </a:lnTo>
                  <a:lnTo>
                    <a:pt x="232" y="544"/>
                  </a:lnTo>
                  <a:lnTo>
                    <a:pt x="232" y="541"/>
                  </a:lnTo>
                  <a:lnTo>
                    <a:pt x="232" y="544"/>
                  </a:lnTo>
                  <a:lnTo>
                    <a:pt x="232" y="541"/>
                  </a:lnTo>
                  <a:lnTo>
                    <a:pt x="230" y="541"/>
                  </a:lnTo>
                  <a:lnTo>
                    <a:pt x="230" y="544"/>
                  </a:lnTo>
                  <a:lnTo>
                    <a:pt x="230" y="541"/>
                  </a:lnTo>
                  <a:lnTo>
                    <a:pt x="227" y="541"/>
                  </a:lnTo>
                  <a:lnTo>
                    <a:pt x="225" y="541"/>
                  </a:lnTo>
                  <a:lnTo>
                    <a:pt x="225" y="539"/>
                  </a:lnTo>
                  <a:lnTo>
                    <a:pt x="225" y="541"/>
                  </a:lnTo>
                  <a:lnTo>
                    <a:pt x="225" y="544"/>
                  </a:lnTo>
                  <a:lnTo>
                    <a:pt x="223" y="544"/>
                  </a:lnTo>
                  <a:lnTo>
                    <a:pt x="225" y="544"/>
                  </a:lnTo>
                  <a:lnTo>
                    <a:pt x="223" y="544"/>
                  </a:lnTo>
                  <a:lnTo>
                    <a:pt x="225" y="544"/>
                  </a:lnTo>
                  <a:lnTo>
                    <a:pt x="225" y="546"/>
                  </a:lnTo>
                  <a:lnTo>
                    <a:pt x="227" y="546"/>
                  </a:lnTo>
                  <a:lnTo>
                    <a:pt x="227" y="548"/>
                  </a:lnTo>
                  <a:lnTo>
                    <a:pt x="227" y="546"/>
                  </a:lnTo>
                  <a:lnTo>
                    <a:pt x="227" y="548"/>
                  </a:lnTo>
                  <a:lnTo>
                    <a:pt x="227" y="546"/>
                  </a:lnTo>
                  <a:lnTo>
                    <a:pt x="225" y="546"/>
                  </a:lnTo>
                  <a:lnTo>
                    <a:pt x="223" y="546"/>
                  </a:lnTo>
                  <a:lnTo>
                    <a:pt x="225" y="546"/>
                  </a:lnTo>
                  <a:lnTo>
                    <a:pt x="223" y="546"/>
                  </a:lnTo>
                  <a:lnTo>
                    <a:pt x="223" y="544"/>
                  </a:lnTo>
                  <a:lnTo>
                    <a:pt x="223" y="546"/>
                  </a:lnTo>
                  <a:lnTo>
                    <a:pt x="225" y="546"/>
                  </a:lnTo>
                  <a:lnTo>
                    <a:pt x="225" y="544"/>
                  </a:lnTo>
                  <a:lnTo>
                    <a:pt x="225" y="546"/>
                  </a:lnTo>
                  <a:lnTo>
                    <a:pt x="225" y="544"/>
                  </a:lnTo>
                  <a:lnTo>
                    <a:pt x="223" y="544"/>
                  </a:lnTo>
                  <a:lnTo>
                    <a:pt x="225" y="544"/>
                  </a:lnTo>
                  <a:lnTo>
                    <a:pt x="223" y="544"/>
                  </a:lnTo>
                  <a:lnTo>
                    <a:pt x="220" y="544"/>
                  </a:lnTo>
                  <a:lnTo>
                    <a:pt x="223" y="544"/>
                  </a:lnTo>
                  <a:lnTo>
                    <a:pt x="223" y="546"/>
                  </a:lnTo>
                  <a:lnTo>
                    <a:pt x="220" y="546"/>
                  </a:lnTo>
                  <a:lnTo>
                    <a:pt x="223" y="546"/>
                  </a:lnTo>
                  <a:lnTo>
                    <a:pt x="220" y="546"/>
                  </a:lnTo>
                  <a:lnTo>
                    <a:pt x="220" y="544"/>
                  </a:lnTo>
                  <a:lnTo>
                    <a:pt x="220" y="541"/>
                  </a:lnTo>
                  <a:lnTo>
                    <a:pt x="220" y="544"/>
                  </a:lnTo>
                  <a:lnTo>
                    <a:pt x="220" y="541"/>
                  </a:lnTo>
                  <a:lnTo>
                    <a:pt x="218" y="541"/>
                  </a:lnTo>
                  <a:lnTo>
                    <a:pt x="218" y="544"/>
                  </a:lnTo>
                  <a:lnTo>
                    <a:pt x="220" y="544"/>
                  </a:lnTo>
                  <a:lnTo>
                    <a:pt x="218" y="544"/>
                  </a:lnTo>
                  <a:lnTo>
                    <a:pt x="220" y="544"/>
                  </a:lnTo>
                  <a:lnTo>
                    <a:pt x="220" y="546"/>
                  </a:lnTo>
                  <a:lnTo>
                    <a:pt x="218" y="544"/>
                  </a:lnTo>
                  <a:lnTo>
                    <a:pt x="215" y="544"/>
                  </a:lnTo>
                  <a:lnTo>
                    <a:pt x="218" y="544"/>
                  </a:lnTo>
                  <a:lnTo>
                    <a:pt x="218" y="546"/>
                  </a:lnTo>
                  <a:lnTo>
                    <a:pt x="218" y="544"/>
                  </a:lnTo>
                  <a:lnTo>
                    <a:pt x="218" y="546"/>
                  </a:lnTo>
                  <a:lnTo>
                    <a:pt x="215" y="546"/>
                  </a:lnTo>
                  <a:lnTo>
                    <a:pt x="218" y="546"/>
                  </a:lnTo>
                  <a:lnTo>
                    <a:pt x="215" y="546"/>
                  </a:lnTo>
                  <a:lnTo>
                    <a:pt x="215" y="544"/>
                  </a:lnTo>
                  <a:lnTo>
                    <a:pt x="213" y="544"/>
                  </a:lnTo>
                  <a:lnTo>
                    <a:pt x="215" y="544"/>
                  </a:lnTo>
                  <a:lnTo>
                    <a:pt x="213" y="544"/>
                  </a:lnTo>
                  <a:lnTo>
                    <a:pt x="213" y="541"/>
                  </a:lnTo>
                  <a:lnTo>
                    <a:pt x="213" y="544"/>
                  </a:lnTo>
                  <a:lnTo>
                    <a:pt x="211" y="544"/>
                  </a:lnTo>
                  <a:lnTo>
                    <a:pt x="211" y="541"/>
                  </a:lnTo>
                  <a:lnTo>
                    <a:pt x="208" y="539"/>
                  </a:lnTo>
                  <a:lnTo>
                    <a:pt x="208" y="541"/>
                  </a:lnTo>
                  <a:lnTo>
                    <a:pt x="208" y="539"/>
                  </a:lnTo>
                  <a:lnTo>
                    <a:pt x="208" y="541"/>
                  </a:lnTo>
                  <a:lnTo>
                    <a:pt x="211" y="541"/>
                  </a:lnTo>
                  <a:lnTo>
                    <a:pt x="208" y="541"/>
                  </a:lnTo>
                  <a:lnTo>
                    <a:pt x="211" y="541"/>
                  </a:lnTo>
                  <a:lnTo>
                    <a:pt x="211" y="544"/>
                  </a:lnTo>
                  <a:lnTo>
                    <a:pt x="211" y="546"/>
                  </a:lnTo>
                  <a:lnTo>
                    <a:pt x="213" y="546"/>
                  </a:lnTo>
                  <a:lnTo>
                    <a:pt x="213" y="548"/>
                  </a:lnTo>
                  <a:lnTo>
                    <a:pt x="213" y="546"/>
                  </a:lnTo>
                  <a:lnTo>
                    <a:pt x="213" y="548"/>
                  </a:lnTo>
                  <a:lnTo>
                    <a:pt x="211" y="548"/>
                  </a:lnTo>
                  <a:lnTo>
                    <a:pt x="211" y="546"/>
                  </a:lnTo>
                  <a:lnTo>
                    <a:pt x="211" y="548"/>
                  </a:lnTo>
                  <a:lnTo>
                    <a:pt x="211" y="546"/>
                  </a:lnTo>
                  <a:lnTo>
                    <a:pt x="208" y="546"/>
                  </a:lnTo>
                  <a:lnTo>
                    <a:pt x="206" y="546"/>
                  </a:lnTo>
                  <a:lnTo>
                    <a:pt x="206" y="544"/>
                  </a:lnTo>
                  <a:lnTo>
                    <a:pt x="206" y="546"/>
                  </a:lnTo>
                  <a:lnTo>
                    <a:pt x="208" y="546"/>
                  </a:lnTo>
                  <a:lnTo>
                    <a:pt x="208" y="548"/>
                  </a:lnTo>
                  <a:lnTo>
                    <a:pt x="206" y="548"/>
                  </a:lnTo>
                  <a:lnTo>
                    <a:pt x="206" y="551"/>
                  </a:lnTo>
                  <a:lnTo>
                    <a:pt x="208" y="551"/>
                  </a:lnTo>
                  <a:lnTo>
                    <a:pt x="206" y="551"/>
                  </a:lnTo>
                  <a:lnTo>
                    <a:pt x="208" y="551"/>
                  </a:lnTo>
                  <a:lnTo>
                    <a:pt x="208" y="553"/>
                  </a:lnTo>
                  <a:lnTo>
                    <a:pt x="206" y="553"/>
                  </a:lnTo>
                  <a:lnTo>
                    <a:pt x="206" y="551"/>
                  </a:lnTo>
                  <a:lnTo>
                    <a:pt x="204" y="551"/>
                  </a:lnTo>
                  <a:lnTo>
                    <a:pt x="204" y="548"/>
                  </a:lnTo>
                  <a:lnTo>
                    <a:pt x="201" y="548"/>
                  </a:lnTo>
                  <a:lnTo>
                    <a:pt x="204" y="548"/>
                  </a:lnTo>
                  <a:lnTo>
                    <a:pt x="204" y="551"/>
                  </a:lnTo>
                  <a:lnTo>
                    <a:pt x="206" y="551"/>
                  </a:lnTo>
                  <a:lnTo>
                    <a:pt x="204" y="551"/>
                  </a:lnTo>
                  <a:lnTo>
                    <a:pt x="204" y="553"/>
                  </a:lnTo>
                  <a:lnTo>
                    <a:pt x="201" y="551"/>
                  </a:lnTo>
                  <a:lnTo>
                    <a:pt x="201" y="553"/>
                  </a:lnTo>
                  <a:lnTo>
                    <a:pt x="204" y="553"/>
                  </a:lnTo>
                  <a:lnTo>
                    <a:pt x="201" y="553"/>
                  </a:lnTo>
                  <a:lnTo>
                    <a:pt x="201" y="551"/>
                  </a:lnTo>
                  <a:lnTo>
                    <a:pt x="199" y="551"/>
                  </a:lnTo>
                  <a:lnTo>
                    <a:pt x="199" y="548"/>
                  </a:lnTo>
                  <a:lnTo>
                    <a:pt x="201" y="548"/>
                  </a:lnTo>
                  <a:lnTo>
                    <a:pt x="199" y="548"/>
                  </a:lnTo>
                  <a:lnTo>
                    <a:pt x="199" y="546"/>
                  </a:lnTo>
                  <a:lnTo>
                    <a:pt x="201" y="546"/>
                  </a:lnTo>
                  <a:lnTo>
                    <a:pt x="201" y="548"/>
                  </a:lnTo>
                  <a:lnTo>
                    <a:pt x="201" y="546"/>
                  </a:lnTo>
                  <a:lnTo>
                    <a:pt x="199" y="546"/>
                  </a:lnTo>
                  <a:lnTo>
                    <a:pt x="201" y="546"/>
                  </a:lnTo>
                  <a:lnTo>
                    <a:pt x="199" y="546"/>
                  </a:lnTo>
                  <a:lnTo>
                    <a:pt x="199" y="544"/>
                  </a:lnTo>
                  <a:lnTo>
                    <a:pt x="199" y="546"/>
                  </a:lnTo>
                  <a:lnTo>
                    <a:pt x="199" y="548"/>
                  </a:lnTo>
                  <a:lnTo>
                    <a:pt x="197" y="548"/>
                  </a:lnTo>
                  <a:lnTo>
                    <a:pt x="197" y="546"/>
                  </a:lnTo>
                  <a:lnTo>
                    <a:pt x="197" y="548"/>
                  </a:lnTo>
                  <a:lnTo>
                    <a:pt x="197" y="546"/>
                  </a:lnTo>
                  <a:lnTo>
                    <a:pt x="197" y="548"/>
                  </a:lnTo>
                  <a:lnTo>
                    <a:pt x="197" y="546"/>
                  </a:lnTo>
                  <a:lnTo>
                    <a:pt x="197" y="548"/>
                  </a:lnTo>
                  <a:lnTo>
                    <a:pt x="194" y="54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7" name="Freeform 50316"/>
            <p:cNvSpPr>
              <a:spLocks noEditPoints="1"/>
            </p:cNvSpPr>
            <p:nvPr/>
          </p:nvSpPr>
          <p:spPr bwMode="auto">
            <a:xfrm>
              <a:off x="3038473" y="3321062"/>
              <a:ext cx="430213" cy="592140"/>
            </a:xfrm>
            <a:custGeom>
              <a:avLst/>
              <a:gdLst>
                <a:gd name="T0" fmla="*/ 52 w 271"/>
                <a:gd name="T1" fmla="*/ 371 h 373"/>
                <a:gd name="T2" fmla="*/ 138 w 271"/>
                <a:gd name="T3" fmla="*/ 368 h 373"/>
                <a:gd name="T4" fmla="*/ 107 w 271"/>
                <a:gd name="T5" fmla="*/ 366 h 373"/>
                <a:gd name="T6" fmla="*/ 78 w 271"/>
                <a:gd name="T7" fmla="*/ 366 h 373"/>
                <a:gd name="T8" fmla="*/ 135 w 271"/>
                <a:gd name="T9" fmla="*/ 366 h 373"/>
                <a:gd name="T10" fmla="*/ 100 w 271"/>
                <a:gd name="T11" fmla="*/ 363 h 373"/>
                <a:gd name="T12" fmla="*/ 55 w 271"/>
                <a:gd name="T13" fmla="*/ 366 h 373"/>
                <a:gd name="T14" fmla="*/ 36 w 271"/>
                <a:gd name="T15" fmla="*/ 363 h 373"/>
                <a:gd name="T16" fmla="*/ 40 w 271"/>
                <a:gd name="T17" fmla="*/ 361 h 373"/>
                <a:gd name="T18" fmla="*/ 26 w 271"/>
                <a:gd name="T19" fmla="*/ 361 h 373"/>
                <a:gd name="T20" fmla="*/ 100 w 271"/>
                <a:gd name="T21" fmla="*/ 361 h 373"/>
                <a:gd name="T22" fmla="*/ 21 w 271"/>
                <a:gd name="T23" fmla="*/ 359 h 373"/>
                <a:gd name="T24" fmla="*/ 45 w 271"/>
                <a:gd name="T25" fmla="*/ 356 h 373"/>
                <a:gd name="T26" fmla="*/ 64 w 271"/>
                <a:gd name="T27" fmla="*/ 359 h 373"/>
                <a:gd name="T28" fmla="*/ 40 w 271"/>
                <a:gd name="T29" fmla="*/ 356 h 373"/>
                <a:gd name="T30" fmla="*/ 90 w 271"/>
                <a:gd name="T31" fmla="*/ 354 h 373"/>
                <a:gd name="T32" fmla="*/ 86 w 271"/>
                <a:gd name="T33" fmla="*/ 354 h 373"/>
                <a:gd name="T34" fmla="*/ 199 w 271"/>
                <a:gd name="T35" fmla="*/ 352 h 373"/>
                <a:gd name="T36" fmla="*/ 76 w 271"/>
                <a:gd name="T37" fmla="*/ 354 h 373"/>
                <a:gd name="T38" fmla="*/ 102 w 271"/>
                <a:gd name="T39" fmla="*/ 349 h 373"/>
                <a:gd name="T40" fmla="*/ 78 w 271"/>
                <a:gd name="T41" fmla="*/ 354 h 373"/>
                <a:gd name="T42" fmla="*/ 197 w 271"/>
                <a:gd name="T43" fmla="*/ 349 h 373"/>
                <a:gd name="T44" fmla="*/ 214 w 271"/>
                <a:gd name="T45" fmla="*/ 349 h 373"/>
                <a:gd name="T46" fmla="*/ 48 w 271"/>
                <a:gd name="T47" fmla="*/ 349 h 373"/>
                <a:gd name="T48" fmla="*/ 71 w 271"/>
                <a:gd name="T49" fmla="*/ 347 h 373"/>
                <a:gd name="T50" fmla="*/ 36 w 271"/>
                <a:gd name="T51" fmla="*/ 349 h 373"/>
                <a:gd name="T52" fmla="*/ 78 w 271"/>
                <a:gd name="T53" fmla="*/ 344 h 373"/>
                <a:gd name="T54" fmla="*/ 12 w 271"/>
                <a:gd name="T55" fmla="*/ 347 h 373"/>
                <a:gd name="T56" fmla="*/ 209 w 271"/>
                <a:gd name="T57" fmla="*/ 349 h 373"/>
                <a:gd name="T58" fmla="*/ 88 w 271"/>
                <a:gd name="T59" fmla="*/ 344 h 373"/>
                <a:gd name="T60" fmla="*/ 14 w 271"/>
                <a:gd name="T61" fmla="*/ 344 h 373"/>
                <a:gd name="T62" fmla="*/ 218 w 271"/>
                <a:gd name="T63" fmla="*/ 344 h 373"/>
                <a:gd name="T64" fmla="*/ 59 w 271"/>
                <a:gd name="T65" fmla="*/ 344 h 373"/>
                <a:gd name="T66" fmla="*/ 100 w 271"/>
                <a:gd name="T67" fmla="*/ 347 h 373"/>
                <a:gd name="T68" fmla="*/ 59 w 271"/>
                <a:gd name="T69" fmla="*/ 340 h 373"/>
                <a:gd name="T70" fmla="*/ 12 w 271"/>
                <a:gd name="T71" fmla="*/ 342 h 373"/>
                <a:gd name="T72" fmla="*/ 74 w 271"/>
                <a:gd name="T73" fmla="*/ 340 h 373"/>
                <a:gd name="T74" fmla="*/ 263 w 271"/>
                <a:gd name="T75" fmla="*/ 340 h 373"/>
                <a:gd name="T76" fmla="*/ 62 w 271"/>
                <a:gd name="T77" fmla="*/ 340 h 373"/>
                <a:gd name="T78" fmla="*/ 78 w 271"/>
                <a:gd name="T79" fmla="*/ 337 h 373"/>
                <a:gd name="T80" fmla="*/ 244 w 271"/>
                <a:gd name="T81" fmla="*/ 337 h 373"/>
                <a:gd name="T82" fmla="*/ 55 w 271"/>
                <a:gd name="T83" fmla="*/ 337 h 373"/>
                <a:gd name="T84" fmla="*/ 71 w 271"/>
                <a:gd name="T85" fmla="*/ 335 h 373"/>
                <a:gd name="T86" fmla="*/ 55 w 271"/>
                <a:gd name="T87" fmla="*/ 333 h 373"/>
                <a:gd name="T88" fmla="*/ 81 w 271"/>
                <a:gd name="T89" fmla="*/ 330 h 373"/>
                <a:gd name="T90" fmla="*/ 69 w 271"/>
                <a:gd name="T91" fmla="*/ 333 h 373"/>
                <a:gd name="T92" fmla="*/ 64 w 271"/>
                <a:gd name="T93" fmla="*/ 318 h 373"/>
                <a:gd name="T94" fmla="*/ 67 w 271"/>
                <a:gd name="T95" fmla="*/ 318 h 373"/>
                <a:gd name="T96" fmla="*/ 71 w 271"/>
                <a:gd name="T97" fmla="*/ 287 h 373"/>
                <a:gd name="T98" fmla="*/ 71 w 271"/>
                <a:gd name="T99" fmla="*/ 276 h 373"/>
                <a:gd name="T100" fmla="*/ 62 w 271"/>
                <a:gd name="T101" fmla="*/ 230 h 373"/>
                <a:gd name="T102" fmla="*/ 64 w 271"/>
                <a:gd name="T103" fmla="*/ 204 h 373"/>
                <a:gd name="T104" fmla="*/ 59 w 271"/>
                <a:gd name="T105" fmla="*/ 202 h 373"/>
                <a:gd name="T106" fmla="*/ 48 w 271"/>
                <a:gd name="T107" fmla="*/ 195 h 373"/>
                <a:gd name="T108" fmla="*/ 83 w 271"/>
                <a:gd name="T109" fmla="*/ 183 h 373"/>
                <a:gd name="T110" fmla="*/ 59 w 271"/>
                <a:gd name="T111" fmla="*/ 181 h 373"/>
                <a:gd name="T112" fmla="*/ 83 w 271"/>
                <a:gd name="T113" fmla="*/ 176 h 373"/>
                <a:gd name="T114" fmla="*/ 100 w 271"/>
                <a:gd name="T115" fmla="*/ 164 h 373"/>
                <a:gd name="T116" fmla="*/ 109 w 271"/>
                <a:gd name="T117" fmla="*/ 154 h 373"/>
                <a:gd name="T118" fmla="*/ 138 w 271"/>
                <a:gd name="T119" fmla="*/ 140 h 373"/>
                <a:gd name="T120" fmla="*/ 183 w 271"/>
                <a:gd name="T121" fmla="*/ 83 h 373"/>
                <a:gd name="T122" fmla="*/ 173 w 271"/>
                <a:gd name="T123" fmla="*/ 50 h 373"/>
                <a:gd name="T124" fmla="*/ 142 w 271"/>
                <a:gd name="T125" fmla="*/ 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 h="373">
                  <a:moveTo>
                    <a:pt x="62" y="373"/>
                  </a:moveTo>
                  <a:lnTo>
                    <a:pt x="59" y="373"/>
                  </a:lnTo>
                  <a:lnTo>
                    <a:pt x="62" y="373"/>
                  </a:lnTo>
                  <a:close/>
                  <a:moveTo>
                    <a:pt x="102" y="373"/>
                  </a:moveTo>
                  <a:lnTo>
                    <a:pt x="100" y="373"/>
                  </a:lnTo>
                  <a:lnTo>
                    <a:pt x="102" y="373"/>
                  </a:lnTo>
                  <a:close/>
                  <a:moveTo>
                    <a:pt x="67" y="373"/>
                  </a:moveTo>
                  <a:lnTo>
                    <a:pt x="69" y="373"/>
                  </a:lnTo>
                  <a:lnTo>
                    <a:pt x="67" y="373"/>
                  </a:lnTo>
                  <a:close/>
                  <a:moveTo>
                    <a:pt x="69" y="373"/>
                  </a:moveTo>
                  <a:lnTo>
                    <a:pt x="67" y="373"/>
                  </a:lnTo>
                  <a:lnTo>
                    <a:pt x="69" y="373"/>
                  </a:lnTo>
                  <a:close/>
                  <a:moveTo>
                    <a:pt x="102" y="373"/>
                  </a:moveTo>
                  <a:lnTo>
                    <a:pt x="100" y="373"/>
                  </a:lnTo>
                  <a:lnTo>
                    <a:pt x="102" y="373"/>
                  </a:lnTo>
                  <a:lnTo>
                    <a:pt x="100" y="373"/>
                  </a:lnTo>
                  <a:lnTo>
                    <a:pt x="102" y="373"/>
                  </a:lnTo>
                  <a:close/>
                  <a:moveTo>
                    <a:pt x="128" y="371"/>
                  </a:moveTo>
                  <a:lnTo>
                    <a:pt x="131" y="371"/>
                  </a:lnTo>
                  <a:lnTo>
                    <a:pt x="128" y="371"/>
                  </a:lnTo>
                  <a:close/>
                  <a:moveTo>
                    <a:pt x="100" y="371"/>
                  </a:moveTo>
                  <a:lnTo>
                    <a:pt x="100" y="373"/>
                  </a:lnTo>
                  <a:lnTo>
                    <a:pt x="100" y="371"/>
                  </a:lnTo>
                  <a:lnTo>
                    <a:pt x="100" y="373"/>
                  </a:lnTo>
                  <a:lnTo>
                    <a:pt x="100" y="371"/>
                  </a:lnTo>
                  <a:close/>
                  <a:moveTo>
                    <a:pt x="102" y="371"/>
                  </a:moveTo>
                  <a:lnTo>
                    <a:pt x="100" y="371"/>
                  </a:lnTo>
                  <a:lnTo>
                    <a:pt x="102" y="371"/>
                  </a:lnTo>
                  <a:lnTo>
                    <a:pt x="102" y="373"/>
                  </a:lnTo>
                  <a:lnTo>
                    <a:pt x="102" y="371"/>
                  </a:lnTo>
                  <a:lnTo>
                    <a:pt x="102" y="373"/>
                  </a:lnTo>
                  <a:lnTo>
                    <a:pt x="102" y="371"/>
                  </a:lnTo>
                  <a:lnTo>
                    <a:pt x="100" y="373"/>
                  </a:lnTo>
                  <a:lnTo>
                    <a:pt x="100" y="371"/>
                  </a:lnTo>
                  <a:lnTo>
                    <a:pt x="102" y="371"/>
                  </a:lnTo>
                  <a:close/>
                  <a:moveTo>
                    <a:pt x="76" y="371"/>
                  </a:moveTo>
                  <a:lnTo>
                    <a:pt x="74" y="371"/>
                  </a:lnTo>
                  <a:lnTo>
                    <a:pt x="76" y="371"/>
                  </a:lnTo>
                  <a:close/>
                  <a:moveTo>
                    <a:pt x="19" y="371"/>
                  </a:moveTo>
                  <a:lnTo>
                    <a:pt x="21" y="371"/>
                  </a:lnTo>
                  <a:lnTo>
                    <a:pt x="19" y="371"/>
                  </a:lnTo>
                  <a:close/>
                  <a:moveTo>
                    <a:pt x="95" y="371"/>
                  </a:moveTo>
                  <a:lnTo>
                    <a:pt x="93" y="371"/>
                  </a:lnTo>
                  <a:lnTo>
                    <a:pt x="95" y="371"/>
                  </a:lnTo>
                  <a:close/>
                  <a:moveTo>
                    <a:pt x="135" y="371"/>
                  </a:moveTo>
                  <a:lnTo>
                    <a:pt x="138" y="371"/>
                  </a:lnTo>
                  <a:lnTo>
                    <a:pt x="135" y="371"/>
                  </a:lnTo>
                  <a:close/>
                  <a:moveTo>
                    <a:pt x="133" y="371"/>
                  </a:moveTo>
                  <a:lnTo>
                    <a:pt x="133" y="368"/>
                  </a:lnTo>
                  <a:lnTo>
                    <a:pt x="133" y="371"/>
                  </a:lnTo>
                  <a:close/>
                  <a:moveTo>
                    <a:pt x="52" y="371"/>
                  </a:moveTo>
                  <a:lnTo>
                    <a:pt x="52" y="368"/>
                  </a:lnTo>
                  <a:lnTo>
                    <a:pt x="52" y="371"/>
                  </a:lnTo>
                  <a:close/>
                  <a:moveTo>
                    <a:pt x="88" y="371"/>
                  </a:moveTo>
                  <a:lnTo>
                    <a:pt x="88" y="368"/>
                  </a:lnTo>
                  <a:lnTo>
                    <a:pt x="88" y="371"/>
                  </a:lnTo>
                  <a:close/>
                  <a:moveTo>
                    <a:pt x="116" y="371"/>
                  </a:moveTo>
                  <a:lnTo>
                    <a:pt x="116" y="368"/>
                  </a:lnTo>
                  <a:lnTo>
                    <a:pt x="116" y="371"/>
                  </a:lnTo>
                  <a:close/>
                  <a:moveTo>
                    <a:pt x="90" y="368"/>
                  </a:moveTo>
                  <a:lnTo>
                    <a:pt x="90" y="371"/>
                  </a:lnTo>
                  <a:lnTo>
                    <a:pt x="90" y="368"/>
                  </a:lnTo>
                  <a:close/>
                  <a:moveTo>
                    <a:pt x="93" y="368"/>
                  </a:moveTo>
                  <a:lnTo>
                    <a:pt x="93" y="371"/>
                  </a:lnTo>
                  <a:lnTo>
                    <a:pt x="93" y="368"/>
                  </a:lnTo>
                  <a:close/>
                  <a:moveTo>
                    <a:pt x="138" y="368"/>
                  </a:moveTo>
                  <a:lnTo>
                    <a:pt x="138" y="371"/>
                  </a:lnTo>
                  <a:lnTo>
                    <a:pt x="138" y="368"/>
                  </a:lnTo>
                  <a:close/>
                  <a:moveTo>
                    <a:pt x="88" y="368"/>
                  </a:moveTo>
                  <a:lnTo>
                    <a:pt x="88" y="371"/>
                  </a:lnTo>
                  <a:lnTo>
                    <a:pt x="88" y="368"/>
                  </a:lnTo>
                  <a:lnTo>
                    <a:pt x="88" y="371"/>
                  </a:lnTo>
                  <a:lnTo>
                    <a:pt x="88" y="368"/>
                  </a:lnTo>
                  <a:close/>
                  <a:moveTo>
                    <a:pt x="140" y="368"/>
                  </a:moveTo>
                  <a:lnTo>
                    <a:pt x="138" y="368"/>
                  </a:lnTo>
                  <a:lnTo>
                    <a:pt x="140" y="368"/>
                  </a:lnTo>
                  <a:close/>
                  <a:moveTo>
                    <a:pt x="135" y="368"/>
                  </a:moveTo>
                  <a:lnTo>
                    <a:pt x="133" y="368"/>
                  </a:lnTo>
                  <a:lnTo>
                    <a:pt x="135" y="368"/>
                  </a:lnTo>
                  <a:close/>
                  <a:moveTo>
                    <a:pt x="95" y="368"/>
                  </a:moveTo>
                  <a:lnTo>
                    <a:pt x="95" y="371"/>
                  </a:lnTo>
                  <a:lnTo>
                    <a:pt x="95" y="368"/>
                  </a:lnTo>
                  <a:close/>
                  <a:moveTo>
                    <a:pt x="100" y="368"/>
                  </a:moveTo>
                  <a:lnTo>
                    <a:pt x="100" y="371"/>
                  </a:lnTo>
                  <a:lnTo>
                    <a:pt x="100" y="368"/>
                  </a:lnTo>
                  <a:lnTo>
                    <a:pt x="100" y="371"/>
                  </a:lnTo>
                  <a:lnTo>
                    <a:pt x="100" y="368"/>
                  </a:lnTo>
                  <a:lnTo>
                    <a:pt x="97" y="368"/>
                  </a:lnTo>
                  <a:lnTo>
                    <a:pt x="100" y="368"/>
                  </a:lnTo>
                  <a:close/>
                  <a:moveTo>
                    <a:pt x="93" y="368"/>
                  </a:moveTo>
                  <a:lnTo>
                    <a:pt x="90" y="368"/>
                  </a:lnTo>
                  <a:lnTo>
                    <a:pt x="93" y="368"/>
                  </a:lnTo>
                  <a:close/>
                  <a:moveTo>
                    <a:pt x="142" y="368"/>
                  </a:moveTo>
                  <a:lnTo>
                    <a:pt x="140" y="368"/>
                  </a:lnTo>
                  <a:lnTo>
                    <a:pt x="142" y="368"/>
                  </a:lnTo>
                  <a:close/>
                  <a:moveTo>
                    <a:pt x="138" y="368"/>
                  </a:moveTo>
                  <a:lnTo>
                    <a:pt x="135" y="368"/>
                  </a:lnTo>
                  <a:lnTo>
                    <a:pt x="138" y="368"/>
                  </a:lnTo>
                  <a:close/>
                  <a:moveTo>
                    <a:pt x="102" y="368"/>
                  </a:moveTo>
                  <a:lnTo>
                    <a:pt x="100" y="368"/>
                  </a:lnTo>
                  <a:lnTo>
                    <a:pt x="102" y="368"/>
                  </a:lnTo>
                  <a:close/>
                  <a:moveTo>
                    <a:pt x="135" y="368"/>
                  </a:moveTo>
                  <a:lnTo>
                    <a:pt x="133" y="368"/>
                  </a:lnTo>
                  <a:lnTo>
                    <a:pt x="135" y="368"/>
                  </a:lnTo>
                  <a:close/>
                  <a:moveTo>
                    <a:pt x="140" y="368"/>
                  </a:moveTo>
                  <a:lnTo>
                    <a:pt x="138" y="368"/>
                  </a:lnTo>
                  <a:lnTo>
                    <a:pt x="140" y="368"/>
                  </a:lnTo>
                  <a:lnTo>
                    <a:pt x="138" y="368"/>
                  </a:lnTo>
                  <a:lnTo>
                    <a:pt x="140" y="368"/>
                  </a:lnTo>
                  <a:close/>
                  <a:moveTo>
                    <a:pt x="133" y="368"/>
                  </a:moveTo>
                  <a:lnTo>
                    <a:pt x="131" y="368"/>
                  </a:lnTo>
                  <a:lnTo>
                    <a:pt x="133" y="368"/>
                  </a:lnTo>
                  <a:close/>
                  <a:moveTo>
                    <a:pt x="78" y="368"/>
                  </a:moveTo>
                  <a:lnTo>
                    <a:pt x="76" y="368"/>
                  </a:lnTo>
                  <a:lnTo>
                    <a:pt x="78" y="368"/>
                  </a:lnTo>
                  <a:close/>
                  <a:moveTo>
                    <a:pt x="102" y="366"/>
                  </a:moveTo>
                  <a:lnTo>
                    <a:pt x="102" y="368"/>
                  </a:lnTo>
                  <a:lnTo>
                    <a:pt x="102" y="366"/>
                  </a:lnTo>
                  <a:lnTo>
                    <a:pt x="102" y="368"/>
                  </a:lnTo>
                  <a:lnTo>
                    <a:pt x="102" y="366"/>
                  </a:lnTo>
                  <a:close/>
                  <a:moveTo>
                    <a:pt x="119" y="368"/>
                  </a:moveTo>
                  <a:lnTo>
                    <a:pt x="116" y="368"/>
                  </a:lnTo>
                  <a:lnTo>
                    <a:pt x="116" y="366"/>
                  </a:lnTo>
                  <a:lnTo>
                    <a:pt x="119" y="368"/>
                  </a:lnTo>
                  <a:close/>
                  <a:moveTo>
                    <a:pt x="107" y="366"/>
                  </a:moveTo>
                  <a:lnTo>
                    <a:pt x="107" y="368"/>
                  </a:lnTo>
                  <a:lnTo>
                    <a:pt x="107" y="366"/>
                  </a:lnTo>
                  <a:close/>
                  <a:moveTo>
                    <a:pt x="109" y="368"/>
                  </a:moveTo>
                  <a:lnTo>
                    <a:pt x="109" y="366"/>
                  </a:lnTo>
                  <a:lnTo>
                    <a:pt x="109" y="368"/>
                  </a:lnTo>
                  <a:close/>
                  <a:moveTo>
                    <a:pt x="131" y="366"/>
                  </a:moveTo>
                  <a:lnTo>
                    <a:pt x="131" y="368"/>
                  </a:lnTo>
                  <a:lnTo>
                    <a:pt x="131" y="366"/>
                  </a:lnTo>
                  <a:close/>
                  <a:moveTo>
                    <a:pt x="107" y="366"/>
                  </a:moveTo>
                  <a:lnTo>
                    <a:pt x="107" y="368"/>
                  </a:lnTo>
                  <a:lnTo>
                    <a:pt x="104" y="368"/>
                  </a:lnTo>
                  <a:lnTo>
                    <a:pt x="107" y="368"/>
                  </a:lnTo>
                  <a:lnTo>
                    <a:pt x="104" y="368"/>
                  </a:lnTo>
                  <a:lnTo>
                    <a:pt x="104" y="371"/>
                  </a:lnTo>
                  <a:lnTo>
                    <a:pt x="104" y="368"/>
                  </a:lnTo>
                  <a:lnTo>
                    <a:pt x="104" y="371"/>
                  </a:lnTo>
                  <a:lnTo>
                    <a:pt x="102" y="371"/>
                  </a:lnTo>
                  <a:lnTo>
                    <a:pt x="104" y="371"/>
                  </a:lnTo>
                  <a:lnTo>
                    <a:pt x="104" y="368"/>
                  </a:lnTo>
                  <a:lnTo>
                    <a:pt x="102" y="371"/>
                  </a:lnTo>
                  <a:lnTo>
                    <a:pt x="102" y="368"/>
                  </a:lnTo>
                  <a:lnTo>
                    <a:pt x="102" y="371"/>
                  </a:lnTo>
                  <a:lnTo>
                    <a:pt x="100" y="371"/>
                  </a:lnTo>
                  <a:lnTo>
                    <a:pt x="100" y="368"/>
                  </a:lnTo>
                  <a:lnTo>
                    <a:pt x="102" y="368"/>
                  </a:lnTo>
                  <a:lnTo>
                    <a:pt x="100" y="368"/>
                  </a:lnTo>
                  <a:lnTo>
                    <a:pt x="102" y="368"/>
                  </a:lnTo>
                  <a:lnTo>
                    <a:pt x="100" y="368"/>
                  </a:lnTo>
                  <a:lnTo>
                    <a:pt x="102" y="368"/>
                  </a:lnTo>
                  <a:lnTo>
                    <a:pt x="100" y="368"/>
                  </a:lnTo>
                  <a:lnTo>
                    <a:pt x="102" y="368"/>
                  </a:lnTo>
                  <a:lnTo>
                    <a:pt x="104" y="368"/>
                  </a:lnTo>
                  <a:lnTo>
                    <a:pt x="104" y="366"/>
                  </a:lnTo>
                  <a:lnTo>
                    <a:pt x="107" y="366"/>
                  </a:lnTo>
                  <a:close/>
                  <a:moveTo>
                    <a:pt x="121" y="366"/>
                  </a:moveTo>
                  <a:lnTo>
                    <a:pt x="121" y="368"/>
                  </a:lnTo>
                  <a:lnTo>
                    <a:pt x="119" y="368"/>
                  </a:lnTo>
                  <a:lnTo>
                    <a:pt x="119" y="366"/>
                  </a:lnTo>
                  <a:lnTo>
                    <a:pt x="121" y="368"/>
                  </a:lnTo>
                  <a:lnTo>
                    <a:pt x="121" y="366"/>
                  </a:lnTo>
                  <a:close/>
                  <a:moveTo>
                    <a:pt x="119" y="368"/>
                  </a:moveTo>
                  <a:lnTo>
                    <a:pt x="119" y="366"/>
                  </a:lnTo>
                  <a:lnTo>
                    <a:pt x="119" y="368"/>
                  </a:lnTo>
                  <a:close/>
                  <a:moveTo>
                    <a:pt x="121" y="366"/>
                  </a:moveTo>
                  <a:lnTo>
                    <a:pt x="121" y="368"/>
                  </a:lnTo>
                  <a:lnTo>
                    <a:pt x="121" y="366"/>
                  </a:lnTo>
                  <a:close/>
                  <a:moveTo>
                    <a:pt x="100" y="366"/>
                  </a:moveTo>
                  <a:lnTo>
                    <a:pt x="102" y="366"/>
                  </a:lnTo>
                  <a:lnTo>
                    <a:pt x="102" y="368"/>
                  </a:lnTo>
                  <a:lnTo>
                    <a:pt x="102" y="366"/>
                  </a:lnTo>
                  <a:lnTo>
                    <a:pt x="102" y="368"/>
                  </a:lnTo>
                  <a:lnTo>
                    <a:pt x="100" y="368"/>
                  </a:lnTo>
                  <a:lnTo>
                    <a:pt x="100" y="366"/>
                  </a:lnTo>
                  <a:close/>
                  <a:moveTo>
                    <a:pt x="83" y="366"/>
                  </a:moveTo>
                  <a:lnTo>
                    <a:pt x="81" y="366"/>
                  </a:lnTo>
                  <a:lnTo>
                    <a:pt x="83" y="366"/>
                  </a:lnTo>
                  <a:close/>
                  <a:moveTo>
                    <a:pt x="123" y="366"/>
                  </a:moveTo>
                  <a:lnTo>
                    <a:pt x="123" y="368"/>
                  </a:lnTo>
                  <a:lnTo>
                    <a:pt x="123" y="366"/>
                  </a:lnTo>
                  <a:lnTo>
                    <a:pt x="123" y="368"/>
                  </a:lnTo>
                  <a:lnTo>
                    <a:pt x="123" y="366"/>
                  </a:lnTo>
                  <a:close/>
                  <a:moveTo>
                    <a:pt x="145" y="366"/>
                  </a:moveTo>
                  <a:lnTo>
                    <a:pt x="142" y="366"/>
                  </a:lnTo>
                  <a:lnTo>
                    <a:pt x="142" y="368"/>
                  </a:lnTo>
                  <a:lnTo>
                    <a:pt x="142" y="366"/>
                  </a:lnTo>
                  <a:lnTo>
                    <a:pt x="145" y="366"/>
                  </a:lnTo>
                  <a:close/>
                  <a:moveTo>
                    <a:pt x="107" y="366"/>
                  </a:moveTo>
                  <a:lnTo>
                    <a:pt x="109" y="366"/>
                  </a:lnTo>
                  <a:lnTo>
                    <a:pt x="107" y="366"/>
                  </a:lnTo>
                  <a:lnTo>
                    <a:pt x="109" y="366"/>
                  </a:lnTo>
                  <a:lnTo>
                    <a:pt x="109" y="368"/>
                  </a:lnTo>
                  <a:lnTo>
                    <a:pt x="107" y="368"/>
                  </a:lnTo>
                  <a:lnTo>
                    <a:pt x="107" y="366"/>
                  </a:lnTo>
                  <a:close/>
                  <a:moveTo>
                    <a:pt x="133" y="366"/>
                  </a:moveTo>
                  <a:lnTo>
                    <a:pt x="135" y="368"/>
                  </a:lnTo>
                  <a:lnTo>
                    <a:pt x="135" y="366"/>
                  </a:lnTo>
                  <a:lnTo>
                    <a:pt x="135" y="368"/>
                  </a:lnTo>
                  <a:lnTo>
                    <a:pt x="133" y="368"/>
                  </a:lnTo>
                  <a:lnTo>
                    <a:pt x="133" y="366"/>
                  </a:lnTo>
                  <a:close/>
                  <a:moveTo>
                    <a:pt x="107" y="366"/>
                  </a:moveTo>
                  <a:lnTo>
                    <a:pt x="107" y="368"/>
                  </a:lnTo>
                  <a:lnTo>
                    <a:pt x="107" y="366"/>
                  </a:lnTo>
                  <a:close/>
                  <a:moveTo>
                    <a:pt x="133" y="366"/>
                  </a:moveTo>
                  <a:lnTo>
                    <a:pt x="131" y="366"/>
                  </a:lnTo>
                  <a:lnTo>
                    <a:pt x="133" y="366"/>
                  </a:lnTo>
                  <a:close/>
                  <a:moveTo>
                    <a:pt x="81" y="366"/>
                  </a:moveTo>
                  <a:lnTo>
                    <a:pt x="78" y="366"/>
                  </a:lnTo>
                  <a:lnTo>
                    <a:pt x="81" y="366"/>
                  </a:lnTo>
                  <a:close/>
                  <a:moveTo>
                    <a:pt x="86" y="366"/>
                  </a:moveTo>
                  <a:lnTo>
                    <a:pt x="83" y="366"/>
                  </a:lnTo>
                  <a:lnTo>
                    <a:pt x="86" y="366"/>
                  </a:lnTo>
                  <a:close/>
                  <a:moveTo>
                    <a:pt x="81" y="366"/>
                  </a:moveTo>
                  <a:lnTo>
                    <a:pt x="78" y="366"/>
                  </a:lnTo>
                  <a:lnTo>
                    <a:pt x="81" y="366"/>
                  </a:lnTo>
                  <a:lnTo>
                    <a:pt x="78" y="366"/>
                  </a:lnTo>
                  <a:lnTo>
                    <a:pt x="81" y="366"/>
                  </a:lnTo>
                  <a:close/>
                  <a:moveTo>
                    <a:pt x="102" y="366"/>
                  </a:moveTo>
                  <a:lnTo>
                    <a:pt x="100" y="366"/>
                  </a:lnTo>
                  <a:lnTo>
                    <a:pt x="102" y="366"/>
                  </a:lnTo>
                  <a:close/>
                  <a:moveTo>
                    <a:pt x="150" y="366"/>
                  </a:moveTo>
                  <a:lnTo>
                    <a:pt x="147" y="366"/>
                  </a:lnTo>
                  <a:lnTo>
                    <a:pt x="150" y="366"/>
                  </a:lnTo>
                  <a:close/>
                  <a:moveTo>
                    <a:pt x="126" y="366"/>
                  </a:moveTo>
                  <a:lnTo>
                    <a:pt x="126" y="368"/>
                  </a:lnTo>
                  <a:lnTo>
                    <a:pt x="126" y="366"/>
                  </a:lnTo>
                  <a:lnTo>
                    <a:pt x="126" y="368"/>
                  </a:lnTo>
                  <a:lnTo>
                    <a:pt x="126" y="366"/>
                  </a:lnTo>
                  <a:lnTo>
                    <a:pt x="123" y="366"/>
                  </a:lnTo>
                  <a:lnTo>
                    <a:pt x="126" y="366"/>
                  </a:lnTo>
                  <a:lnTo>
                    <a:pt x="123" y="366"/>
                  </a:lnTo>
                  <a:lnTo>
                    <a:pt x="126" y="366"/>
                  </a:lnTo>
                  <a:close/>
                  <a:moveTo>
                    <a:pt x="150" y="366"/>
                  </a:moveTo>
                  <a:lnTo>
                    <a:pt x="152" y="366"/>
                  </a:lnTo>
                  <a:lnTo>
                    <a:pt x="150" y="366"/>
                  </a:lnTo>
                  <a:lnTo>
                    <a:pt x="152" y="366"/>
                  </a:lnTo>
                  <a:lnTo>
                    <a:pt x="150" y="366"/>
                  </a:lnTo>
                  <a:lnTo>
                    <a:pt x="152" y="366"/>
                  </a:lnTo>
                  <a:lnTo>
                    <a:pt x="150" y="366"/>
                  </a:lnTo>
                  <a:close/>
                  <a:moveTo>
                    <a:pt x="154" y="366"/>
                  </a:moveTo>
                  <a:lnTo>
                    <a:pt x="152" y="366"/>
                  </a:lnTo>
                  <a:lnTo>
                    <a:pt x="154" y="366"/>
                  </a:lnTo>
                  <a:close/>
                  <a:moveTo>
                    <a:pt x="142" y="366"/>
                  </a:moveTo>
                  <a:lnTo>
                    <a:pt x="145" y="366"/>
                  </a:lnTo>
                  <a:lnTo>
                    <a:pt x="142" y="366"/>
                  </a:lnTo>
                  <a:lnTo>
                    <a:pt x="140" y="366"/>
                  </a:lnTo>
                  <a:lnTo>
                    <a:pt x="142" y="366"/>
                  </a:lnTo>
                  <a:lnTo>
                    <a:pt x="140" y="366"/>
                  </a:lnTo>
                  <a:lnTo>
                    <a:pt x="138" y="366"/>
                  </a:lnTo>
                  <a:lnTo>
                    <a:pt x="140" y="366"/>
                  </a:lnTo>
                  <a:lnTo>
                    <a:pt x="138" y="366"/>
                  </a:lnTo>
                  <a:lnTo>
                    <a:pt x="140" y="366"/>
                  </a:lnTo>
                  <a:lnTo>
                    <a:pt x="140" y="368"/>
                  </a:lnTo>
                  <a:lnTo>
                    <a:pt x="138" y="368"/>
                  </a:lnTo>
                  <a:lnTo>
                    <a:pt x="138" y="366"/>
                  </a:lnTo>
                  <a:lnTo>
                    <a:pt x="138" y="368"/>
                  </a:lnTo>
                  <a:lnTo>
                    <a:pt x="135" y="368"/>
                  </a:lnTo>
                  <a:lnTo>
                    <a:pt x="135" y="366"/>
                  </a:lnTo>
                  <a:lnTo>
                    <a:pt x="138" y="368"/>
                  </a:lnTo>
                  <a:lnTo>
                    <a:pt x="138" y="366"/>
                  </a:lnTo>
                  <a:lnTo>
                    <a:pt x="135" y="366"/>
                  </a:lnTo>
                  <a:lnTo>
                    <a:pt x="135" y="368"/>
                  </a:lnTo>
                  <a:lnTo>
                    <a:pt x="135" y="366"/>
                  </a:lnTo>
                  <a:lnTo>
                    <a:pt x="135" y="368"/>
                  </a:lnTo>
                  <a:lnTo>
                    <a:pt x="135" y="366"/>
                  </a:lnTo>
                  <a:lnTo>
                    <a:pt x="133" y="366"/>
                  </a:lnTo>
                  <a:lnTo>
                    <a:pt x="135" y="366"/>
                  </a:lnTo>
                  <a:lnTo>
                    <a:pt x="138" y="366"/>
                  </a:lnTo>
                  <a:lnTo>
                    <a:pt x="140" y="366"/>
                  </a:lnTo>
                  <a:lnTo>
                    <a:pt x="142" y="366"/>
                  </a:lnTo>
                  <a:close/>
                  <a:moveTo>
                    <a:pt x="166" y="366"/>
                  </a:moveTo>
                  <a:lnTo>
                    <a:pt x="169" y="366"/>
                  </a:lnTo>
                  <a:lnTo>
                    <a:pt x="166" y="366"/>
                  </a:lnTo>
                  <a:close/>
                  <a:moveTo>
                    <a:pt x="31" y="366"/>
                  </a:moveTo>
                  <a:lnTo>
                    <a:pt x="29" y="366"/>
                  </a:lnTo>
                  <a:lnTo>
                    <a:pt x="29" y="363"/>
                  </a:lnTo>
                  <a:lnTo>
                    <a:pt x="31" y="363"/>
                  </a:lnTo>
                  <a:lnTo>
                    <a:pt x="31" y="366"/>
                  </a:lnTo>
                  <a:close/>
                  <a:moveTo>
                    <a:pt x="152" y="366"/>
                  </a:moveTo>
                  <a:lnTo>
                    <a:pt x="152" y="363"/>
                  </a:lnTo>
                  <a:lnTo>
                    <a:pt x="152" y="366"/>
                  </a:lnTo>
                  <a:close/>
                  <a:moveTo>
                    <a:pt x="40" y="366"/>
                  </a:moveTo>
                  <a:lnTo>
                    <a:pt x="40" y="363"/>
                  </a:lnTo>
                  <a:lnTo>
                    <a:pt x="40" y="366"/>
                  </a:lnTo>
                  <a:close/>
                  <a:moveTo>
                    <a:pt x="81" y="363"/>
                  </a:moveTo>
                  <a:lnTo>
                    <a:pt x="78" y="366"/>
                  </a:lnTo>
                  <a:lnTo>
                    <a:pt x="78" y="363"/>
                  </a:lnTo>
                  <a:lnTo>
                    <a:pt x="81" y="363"/>
                  </a:lnTo>
                  <a:close/>
                  <a:moveTo>
                    <a:pt x="76" y="363"/>
                  </a:moveTo>
                  <a:lnTo>
                    <a:pt x="76" y="366"/>
                  </a:lnTo>
                  <a:lnTo>
                    <a:pt x="76" y="363"/>
                  </a:lnTo>
                  <a:close/>
                  <a:moveTo>
                    <a:pt x="86" y="363"/>
                  </a:moveTo>
                  <a:lnTo>
                    <a:pt x="86" y="366"/>
                  </a:lnTo>
                  <a:lnTo>
                    <a:pt x="86" y="363"/>
                  </a:lnTo>
                  <a:close/>
                  <a:moveTo>
                    <a:pt x="29" y="363"/>
                  </a:moveTo>
                  <a:lnTo>
                    <a:pt x="29" y="366"/>
                  </a:lnTo>
                  <a:lnTo>
                    <a:pt x="29" y="363"/>
                  </a:lnTo>
                  <a:close/>
                  <a:moveTo>
                    <a:pt x="154" y="363"/>
                  </a:moveTo>
                  <a:lnTo>
                    <a:pt x="154" y="366"/>
                  </a:lnTo>
                  <a:lnTo>
                    <a:pt x="152" y="366"/>
                  </a:lnTo>
                  <a:lnTo>
                    <a:pt x="152" y="363"/>
                  </a:lnTo>
                  <a:lnTo>
                    <a:pt x="154" y="363"/>
                  </a:lnTo>
                  <a:close/>
                  <a:moveTo>
                    <a:pt x="83" y="366"/>
                  </a:moveTo>
                  <a:lnTo>
                    <a:pt x="81" y="366"/>
                  </a:lnTo>
                  <a:lnTo>
                    <a:pt x="83" y="366"/>
                  </a:lnTo>
                  <a:lnTo>
                    <a:pt x="81" y="363"/>
                  </a:lnTo>
                  <a:lnTo>
                    <a:pt x="83" y="363"/>
                  </a:lnTo>
                  <a:lnTo>
                    <a:pt x="83" y="366"/>
                  </a:lnTo>
                  <a:close/>
                  <a:moveTo>
                    <a:pt x="102" y="363"/>
                  </a:moveTo>
                  <a:lnTo>
                    <a:pt x="100" y="363"/>
                  </a:lnTo>
                  <a:lnTo>
                    <a:pt x="102" y="363"/>
                  </a:lnTo>
                  <a:lnTo>
                    <a:pt x="102" y="366"/>
                  </a:lnTo>
                  <a:lnTo>
                    <a:pt x="100" y="366"/>
                  </a:lnTo>
                  <a:lnTo>
                    <a:pt x="100" y="363"/>
                  </a:lnTo>
                  <a:lnTo>
                    <a:pt x="102" y="363"/>
                  </a:lnTo>
                  <a:close/>
                  <a:moveTo>
                    <a:pt x="57" y="363"/>
                  </a:moveTo>
                  <a:lnTo>
                    <a:pt x="57" y="366"/>
                  </a:lnTo>
                  <a:lnTo>
                    <a:pt x="57" y="363"/>
                  </a:lnTo>
                  <a:close/>
                  <a:moveTo>
                    <a:pt x="112" y="366"/>
                  </a:moveTo>
                  <a:lnTo>
                    <a:pt x="112" y="363"/>
                  </a:lnTo>
                  <a:lnTo>
                    <a:pt x="112" y="366"/>
                  </a:lnTo>
                  <a:close/>
                  <a:moveTo>
                    <a:pt x="57" y="363"/>
                  </a:moveTo>
                  <a:lnTo>
                    <a:pt x="55" y="363"/>
                  </a:lnTo>
                  <a:lnTo>
                    <a:pt x="57" y="363"/>
                  </a:lnTo>
                  <a:close/>
                  <a:moveTo>
                    <a:pt x="147" y="363"/>
                  </a:moveTo>
                  <a:lnTo>
                    <a:pt x="147" y="366"/>
                  </a:lnTo>
                  <a:lnTo>
                    <a:pt x="145" y="366"/>
                  </a:lnTo>
                  <a:lnTo>
                    <a:pt x="147" y="366"/>
                  </a:lnTo>
                  <a:lnTo>
                    <a:pt x="145" y="366"/>
                  </a:lnTo>
                  <a:lnTo>
                    <a:pt x="147" y="366"/>
                  </a:lnTo>
                  <a:lnTo>
                    <a:pt x="145" y="366"/>
                  </a:lnTo>
                  <a:lnTo>
                    <a:pt x="147" y="366"/>
                  </a:lnTo>
                  <a:lnTo>
                    <a:pt x="147" y="363"/>
                  </a:lnTo>
                  <a:lnTo>
                    <a:pt x="147" y="366"/>
                  </a:lnTo>
                  <a:lnTo>
                    <a:pt x="147" y="363"/>
                  </a:lnTo>
                  <a:close/>
                  <a:moveTo>
                    <a:pt x="57" y="363"/>
                  </a:moveTo>
                  <a:lnTo>
                    <a:pt x="59" y="363"/>
                  </a:lnTo>
                  <a:lnTo>
                    <a:pt x="57" y="363"/>
                  </a:lnTo>
                  <a:close/>
                  <a:moveTo>
                    <a:pt x="57" y="363"/>
                  </a:moveTo>
                  <a:lnTo>
                    <a:pt x="57" y="366"/>
                  </a:lnTo>
                  <a:lnTo>
                    <a:pt x="57" y="363"/>
                  </a:lnTo>
                  <a:lnTo>
                    <a:pt x="57" y="366"/>
                  </a:lnTo>
                  <a:lnTo>
                    <a:pt x="57" y="363"/>
                  </a:lnTo>
                  <a:close/>
                  <a:moveTo>
                    <a:pt x="104" y="363"/>
                  </a:moveTo>
                  <a:lnTo>
                    <a:pt x="104" y="366"/>
                  </a:lnTo>
                  <a:lnTo>
                    <a:pt x="104" y="363"/>
                  </a:lnTo>
                  <a:close/>
                  <a:moveTo>
                    <a:pt x="57" y="363"/>
                  </a:moveTo>
                  <a:lnTo>
                    <a:pt x="55" y="363"/>
                  </a:lnTo>
                  <a:lnTo>
                    <a:pt x="57" y="363"/>
                  </a:lnTo>
                  <a:close/>
                  <a:moveTo>
                    <a:pt x="104" y="363"/>
                  </a:moveTo>
                  <a:lnTo>
                    <a:pt x="104" y="366"/>
                  </a:lnTo>
                  <a:lnTo>
                    <a:pt x="104" y="363"/>
                  </a:lnTo>
                  <a:lnTo>
                    <a:pt x="104" y="366"/>
                  </a:lnTo>
                  <a:lnTo>
                    <a:pt x="104" y="363"/>
                  </a:lnTo>
                  <a:lnTo>
                    <a:pt x="104" y="366"/>
                  </a:lnTo>
                  <a:lnTo>
                    <a:pt x="102" y="366"/>
                  </a:lnTo>
                  <a:lnTo>
                    <a:pt x="104" y="366"/>
                  </a:lnTo>
                  <a:lnTo>
                    <a:pt x="104" y="363"/>
                  </a:lnTo>
                  <a:lnTo>
                    <a:pt x="102" y="363"/>
                  </a:lnTo>
                  <a:lnTo>
                    <a:pt x="104" y="363"/>
                  </a:lnTo>
                  <a:lnTo>
                    <a:pt x="102" y="363"/>
                  </a:lnTo>
                  <a:lnTo>
                    <a:pt x="104" y="363"/>
                  </a:lnTo>
                  <a:close/>
                  <a:moveTo>
                    <a:pt x="152" y="363"/>
                  </a:moveTo>
                  <a:lnTo>
                    <a:pt x="154" y="363"/>
                  </a:lnTo>
                  <a:lnTo>
                    <a:pt x="152" y="363"/>
                  </a:lnTo>
                  <a:close/>
                  <a:moveTo>
                    <a:pt x="55" y="363"/>
                  </a:moveTo>
                  <a:lnTo>
                    <a:pt x="55" y="366"/>
                  </a:lnTo>
                  <a:lnTo>
                    <a:pt x="55" y="363"/>
                  </a:lnTo>
                  <a:lnTo>
                    <a:pt x="55" y="366"/>
                  </a:lnTo>
                  <a:lnTo>
                    <a:pt x="55" y="363"/>
                  </a:lnTo>
                  <a:lnTo>
                    <a:pt x="55" y="366"/>
                  </a:lnTo>
                  <a:lnTo>
                    <a:pt x="52" y="366"/>
                  </a:lnTo>
                  <a:lnTo>
                    <a:pt x="55" y="366"/>
                  </a:lnTo>
                  <a:lnTo>
                    <a:pt x="52" y="366"/>
                  </a:lnTo>
                  <a:lnTo>
                    <a:pt x="50" y="366"/>
                  </a:lnTo>
                  <a:lnTo>
                    <a:pt x="52" y="366"/>
                  </a:lnTo>
                  <a:lnTo>
                    <a:pt x="52" y="363"/>
                  </a:lnTo>
                  <a:lnTo>
                    <a:pt x="50" y="363"/>
                  </a:lnTo>
                  <a:lnTo>
                    <a:pt x="52" y="363"/>
                  </a:lnTo>
                  <a:lnTo>
                    <a:pt x="52" y="366"/>
                  </a:lnTo>
                  <a:lnTo>
                    <a:pt x="52" y="363"/>
                  </a:lnTo>
                  <a:lnTo>
                    <a:pt x="52" y="366"/>
                  </a:lnTo>
                  <a:lnTo>
                    <a:pt x="52" y="363"/>
                  </a:lnTo>
                  <a:lnTo>
                    <a:pt x="55" y="363"/>
                  </a:lnTo>
                  <a:close/>
                  <a:moveTo>
                    <a:pt x="67" y="363"/>
                  </a:moveTo>
                  <a:lnTo>
                    <a:pt x="64" y="363"/>
                  </a:lnTo>
                  <a:lnTo>
                    <a:pt x="67" y="363"/>
                  </a:lnTo>
                  <a:close/>
                  <a:moveTo>
                    <a:pt x="81" y="363"/>
                  </a:moveTo>
                  <a:lnTo>
                    <a:pt x="81" y="366"/>
                  </a:lnTo>
                  <a:lnTo>
                    <a:pt x="81" y="363"/>
                  </a:lnTo>
                  <a:close/>
                  <a:moveTo>
                    <a:pt x="112" y="363"/>
                  </a:moveTo>
                  <a:lnTo>
                    <a:pt x="114" y="363"/>
                  </a:lnTo>
                  <a:lnTo>
                    <a:pt x="112" y="363"/>
                  </a:lnTo>
                  <a:close/>
                  <a:moveTo>
                    <a:pt x="104" y="363"/>
                  </a:moveTo>
                  <a:lnTo>
                    <a:pt x="102" y="363"/>
                  </a:lnTo>
                  <a:lnTo>
                    <a:pt x="104" y="363"/>
                  </a:lnTo>
                  <a:lnTo>
                    <a:pt x="102" y="363"/>
                  </a:lnTo>
                  <a:lnTo>
                    <a:pt x="102" y="366"/>
                  </a:lnTo>
                  <a:lnTo>
                    <a:pt x="102" y="363"/>
                  </a:lnTo>
                  <a:lnTo>
                    <a:pt x="102" y="361"/>
                  </a:lnTo>
                  <a:lnTo>
                    <a:pt x="104" y="363"/>
                  </a:lnTo>
                  <a:close/>
                  <a:moveTo>
                    <a:pt x="40" y="361"/>
                  </a:moveTo>
                  <a:lnTo>
                    <a:pt x="40" y="363"/>
                  </a:lnTo>
                  <a:lnTo>
                    <a:pt x="40" y="361"/>
                  </a:lnTo>
                  <a:lnTo>
                    <a:pt x="40" y="363"/>
                  </a:lnTo>
                  <a:lnTo>
                    <a:pt x="38" y="363"/>
                  </a:lnTo>
                  <a:lnTo>
                    <a:pt x="40" y="361"/>
                  </a:lnTo>
                  <a:close/>
                  <a:moveTo>
                    <a:pt x="159" y="363"/>
                  </a:moveTo>
                  <a:lnTo>
                    <a:pt x="159" y="361"/>
                  </a:lnTo>
                  <a:lnTo>
                    <a:pt x="159" y="363"/>
                  </a:lnTo>
                  <a:lnTo>
                    <a:pt x="159" y="361"/>
                  </a:lnTo>
                  <a:lnTo>
                    <a:pt x="161" y="361"/>
                  </a:lnTo>
                  <a:lnTo>
                    <a:pt x="159" y="363"/>
                  </a:lnTo>
                  <a:close/>
                  <a:moveTo>
                    <a:pt x="36" y="361"/>
                  </a:moveTo>
                  <a:lnTo>
                    <a:pt x="38" y="363"/>
                  </a:lnTo>
                  <a:lnTo>
                    <a:pt x="36" y="363"/>
                  </a:lnTo>
                  <a:lnTo>
                    <a:pt x="36" y="361"/>
                  </a:lnTo>
                  <a:lnTo>
                    <a:pt x="36" y="363"/>
                  </a:lnTo>
                  <a:lnTo>
                    <a:pt x="36" y="361"/>
                  </a:lnTo>
                  <a:lnTo>
                    <a:pt x="36" y="363"/>
                  </a:lnTo>
                  <a:lnTo>
                    <a:pt x="36" y="361"/>
                  </a:lnTo>
                  <a:lnTo>
                    <a:pt x="36" y="363"/>
                  </a:lnTo>
                  <a:lnTo>
                    <a:pt x="36" y="361"/>
                  </a:lnTo>
                  <a:close/>
                  <a:moveTo>
                    <a:pt x="161" y="361"/>
                  </a:moveTo>
                  <a:lnTo>
                    <a:pt x="161" y="363"/>
                  </a:lnTo>
                  <a:lnTo>
                    <a:pt x="161" y="361"/>
                  </a:lnTo>
                  <a:close/>
                  <a:moveTo>
                    <a:pt x="76" y="363"/>
                  </a:moveTo>
                  <a:lnTo>
                    <a:pt x="78" y="363"/>
                  </a:lnTo>
                  <a:lnTo>
                    <a:pt x="76" y="363"/>
                  </a:lnTo>
                  <a:lnTo>
                    <a:pt x="76" y="361"/>
                  </a:lnTo>
                  <a:lnTo>
                    <a:pt x="76" y="363"/>
                  </a:lnTo>
                  <a:close/>
                  <a:moveTo>
                    <a:pt x="21" y="361"/>
                  </a:moveTo>
                  <a:lnTo>
                    <a:pt x="21" y="363"/>
                  </a:lnTo>
                  <a:lnTo>
                    <a:pt x="21" y="361"/>
                  </a:lnTo>
                  <a:close/>
                  <a:moveTo>
                    <a:pt x="38" y="363"/>
                  </a:moveTo>
                  <a:lnTo>
                    <a:pt x="38" y="361"/>
                  </a:lnTo>
                  <a:lnTo>
                    <a:pt x="38" y="363"/>
                  </a:lnTo>
                  <a:close/>
                  <a:moveTo>
                    <a:pt x="26" y="361"/>
                  </a:moveTo>
                  <a:lnTo>
                    <a:pt x="26" y="363"/>
                  </a:lnTo>
                  <a:lnTo>
                    <a:pt x="26" y="361"/>
                  </a:lnTo>
                  <a:lnTo>
                    <a:pt x="26" y="363"/>
                  </a:lnTo>
                  <a:lnTo>
                    <a:pt x="26" y="361"/>
                  </a:lnTo>
                  <a:close/>
                  <a:moveTo>
                    <a:pt x="64" y="361"/>
                  </a:moveTo>
                  <a:lnTo>
                    <a:pt x="64" y="363"/>
                  </a:lnTo>
                  <a:lnTo>
                    <a:pt x="64" y="361"/>
                  </a:lnTo>
                  <a:close/>
                  <a:moveTo>
                    <a:pt x="76" y="361"/>
                  </a:moveTo>
                  <a:lnTo>
                    <a:pt x="76" y="363"/>
                  </a:lnTo>
                  <a:lnTo>
                    <a:pt x="76" y="361"/>
                  </a:lnTo>
                  <a:close/>
                  <a:moveTo>
                    <a:pt x="107" y="361"/>
                  </a:moveTo>
                  <a:lnTo>
                    <a:pt x="107" y="363"/>
                  </a:lnTo>
                  <a:lnTo>
                    <a:pt x="107" y="361"/>
                  </a:lnTo>
                  <a:lnTo>
                    <a:pt x="107" y="363"/>
                  </a:lnTo>
                  <a:lnTo>
                    <a:pt x="104" y="363"/>
                  </a:lnTo>
                  <a:lnTo>
                    <a:pt x="107" y="363"/>
                  </a:lnTo>
                  <a:lnTo>
                    <a:pt x="104" y="363"/>
                  </a:lnTo>
                  <a:lnTo>
                    <a:pt x="104" y="361"/>
                  </a:lnTo>
                  <a:lnTo>
                    <a:pt x="107" y="361"/>
                  </a:lnTo>
                  <a:close/>
                  <a:moveTo>
                    <a:pt x="21" y="361"/>
                  </a:moveTo>
                  <a:lnTo>
                    <a:pt x="21" y="363"/>
                  </a:lnTo>
                  <a:lnTo>
                    <a:pt x="21" y="361"/>
                  </a:lnTo>
                  <a:lnTo>
                    <a:pt x="21" y="363"/>
                  </a:lnTo>
                  <a:lnTo>
                    <a:pt x="21" y="361"/>
                  </a:lnTo>
                  <a:close/>
                  <a:moveTo>
                    <a:pt x="157" y="361"/>
                  </a:moveTo>
                  <a:lnTo>
                    <a:pt x="159" y="361"/>
                  </a:lnTo>
                  <a:lnTo>
                    <a:pt x="159" y="363"/>
                  </a:lnTo>
                  <a:lnTo>
                    <a:pt x="159" y="361"/>
                  </a:lnTo>
                  <a:lnTo>
                    <a:pt x="157" y="361"/>
                  </a:lnTo>
                  <a:close/>
                  <a:moveTo>
                    <a:pt x="64" y="361"/>
                  </a:moveTo>
                  <a:lnTo>
                    <a:pt x="64" y="363"/>
                  </a:lnTo>
                  <a:lnTo>
                    <a:pt x="64" y="361"/>
                  </a:lnTo>
                  <a:close/>
                  <a:moveTo>
                    <a:pt x="40" y="361"/>
                  </a:moveTo>
                  <a:lnTo>
                    <a:pt x="40" y="363"/>
                  </a:lnTo>
                  <a:lnTo>
                    <a:pt x="40" y="361"/>
                  </a:lnTo>
                  <a:close/>
                  <a:moveTo>
                    <a:pt x="109" y="361"/>
                  </a:moveTo>
                  <a:lnTo>
                    <a:pt x="109" y="363"/>
                  </a:lnTo>
                  <a:lnTo>
                    <a:pt x="112" y="363"/>
                  </a:lnTo>
                  <a:lnTo>
                    <a:pt x="112" y="366"/>
                  </a:lnTo>
                  <a:lnTo>
                    <a:pt x="109" y="366"/>
                  </a:lnTo>
                  <a:lnTo>
                    <a:pt x="109" y="363"/>
                  </a:lnTo>
                  <a:lnTo>
                    <a:pt x="109" y="366"/>
                  </a:lnTo>
                  <a:lnTo>
                    <a:pt x="109" y="363"/>
                  </a:lnTo>
                  <a:lnTo>
                    <a:pt x="107" y="363"/>
                  </a:lnTo>
                  <a:lnTo>
                    <a:pt x="109" y="363"/>
                  </a:lnTo>
                  <a:lnTo>
                    <a:pt x="107" y="363"/>
                  </a:lnTo>
                  <a:lnTo>
                    <a:pt x="109" y="363"/>
                  </a:lnTo>
                  <a:lnTo>
                    <a:pt x="109" y="361"/>
                  </a:lnTo>
                  <a:close/>
                  <a:moveTo>
                    <a:pt x="104" y="361"/>
                  </a:moveTo>
                  <a:lnTo>
                    <a:pt x="104" y="363"/>
                  </a:lnTo>
                  <a:lnTo>
                    <a:pt x="102" y="361"/>
                  </a:lnTo>
                  <a:lnTo>
                    <a:pt x="104" y="361"/>
                  </a:lnTo>
                  <a:close/>
                  <a:moveTo>
                    <a:pt x="26" y="361"/>
                  </a:moveTo>
                  <a:lnTo>
                    <a:pt x="26" y="363"/>
                  </a:lnTo>
                  <a:lnTo>
                    <a:pt x="26" y="361"/>
                  </a:lnTo>
                  <a:lnTo>
                    <a:pt x="26" y="363"/>
                  </a:lnTo>
                  <a:lnTo>
                    <a:pt x="26" y="361"/>
                  </a:lnTo>
                  <a:lnTo>
                    <a:pt x="26" y="363"/>
                  </a:lnTo>
                  <a:lnTo>
                    <a:pt x="26" y="361"/>
                  </a:lnTo>
                  <a:close/>
                  <a:moveTo>
                    <a:pt x="38" y="361"/>
                  </a:moveTo>
                  <a:lnTo>
                    <a:pt x="38" y="363"/>
                  </a:lnTo>
                  <a:lnTo>
                    <a:pt x="38" y="361"/>
                  </a:lnTo>
                  <a:close/>
                  <a:moveTo>
                    <a:pt x="157" y="363"/>
                  </a:moveTo>
                  <a:lnTo>
                    <a:pt x="157" y="361"/>
                  </a:lnTo>
                  <a:lnTo>
                    <a:pt x="157" y="363"/>
                  </a:lnTo>
                  <a:close/>
                  <a:moveTo>
                    <a:pt x="78" y="361"/>
                  </a:moveTo>
                  <a:lnTo>
                    <a:pt x="76" y="361"/>
                  </a:lnTo>
                  <a:lnTo>
                    <a:pt x="78" y="361"/>
                  </a:lnTo>
                  <a:close/>
                  <a:moveTo>
                    <a:pt x="100" y="361"/>
                  </a:moveTo>
                  <a:lnTo>
                    <a:pt x="100" y="363"/>
                  </a:lnTo>
                  <a:lnTo>
                    <a:pt x="100" y="366"/>
                  </a:lnTo>
                  <a:lnTo>
                    <a:pt x="100" y="363"/>
                  </a:lnTo>
                  <a:lnTo>
                    <a:pt x="100" y="361"/>
                  </a:lnTo>
                  <a:close/>
                  <a:moveTo>
                    <a:pt x="107" y="361"/>
                  </a:moveTo>
                  <a:lnTo>
                    <a:pt x="104" y="361"/>
                  </a:lnTo>
                  <a:lnTo>
                    <a:pt x="107" y="361"/>
                  </a:lnTo>
                  <a:close/>
                  <a:moveTo>
                    <a:pt x="171" y="363"/>
                  </a:moveTo>
                  <a:lnTo>
                    <a:pt x="171" y="361"/>
                  </a:lnTo>
                  <a:lnTo>
                    <a:pt x="171" y="363"/>
                  </a:lnTo>
                  <a:close/>
                  <a:moveTo>
                    <a:pt x="38" y="361"/>
                  </a:moveTo>
                  <a:lnTo>
                    <a:pt x="40" y="361"/>
                  </a:lnTo>
                  <a:lnTo>
                    <a:pt x="38" y="361"/>
                  </a:lnTo>
                  <a:lnTo>
                    <a:pt x="40" y="361"/>
                  </a:lnTo>
                  <a:lnTo>
                    <a:pt x="38" y="361"/>
                  </a:lnTo>
                  <a:close/>
                  <a:moveTo>
                    <a:pt x="102" y="361"/>
                  </a:moveTo>
                  <a:lnTo>
                    <a:pt x="102" y="363"/>
                  </a:lnTo>
                  <a:lnTo>
                    <a:pt x="102" y="361"/>
                  </a:lnTo>
                  <a:close/>
                  <a:moveTo>
                    <a:pt x="26" y="361"/>
                  </a:moveTo>
                  <a:lnTo>
                    <a:pt x="24" y="361"/>
                  </a:lnTo>
                  <a:lnTo>
                    <a:pt x="26" y="361"/>
                  </a:lnTo>
                  <a:close/>
                  <a:moveTo>
                    <a:pt x="154" y="361"/>
                  </a:moveTo>
                  <a:lnTo>
                    <a:pt x="152" y="361"/>
                  </a:lnTo>
                  <a:lnTo>
                    <a:pt x="154" y="361"/>
                  </a:lnTo>
                  <a:lnTo>
                    <a:pt x="152" y="361"/>
                  </a:lnTo>
                  <a:lnTo>
                    <a:pt x="154" y="361"/>
                  </a:lnTo>
                  <a:close/>
                  <a:moveTo>
                    <a:pt x="112" y="361"/>
                  </a:moveTo>
                  <a:lnTo>
                    <a:pt x="114" y="361"/>
                  </a:lnTo>
                  <a:lnTo>
                    <a:pt x="112" y="361"/>
                  </a:lnTo>
                  <a:close/>
                  <a:moveTo>
                    <a:pt x="86" y="361"/>
                  </a:moveTo>
                  <a:lnTo>
                    <a:pt x="83" y="361"/>
                  </a:lnTo>
                  <a:lnTo>
                    <a:pt x="86" y="361"/>
                  </a:lnTo>
                  <a:close/>
                  <a:moveTo>
                    <a:pt x="169" y="361"/>
                  </a:moveTo>
                  <a:lnTo>
                    <a:pt x="166" y="361"/>
                  </a:lnTo>
                  <a:lnTo>
                    <a:pt x="169" y="361"/>
                  </a:lnTo>
                  <a:lnTo>
                    <a:pt x="166" y="361"/>
                  </a:lnTo>
                  <a:lnTo>
                    <a:pt x="169" y="361"/>
                  </a:lnTo>
                  <a:close/>
                  <a:moveTo>
                    <a:pt x="36" y="361"/>
                  </a:moveTo>
                  <a:lnTo>
                    <a:pt x="38" y="361"/>
                  </a:lnTo>
                  <a:lnTo>
                    <a:pt x="36" y="361"/>
                  </a:lnTo>
                  <a:lnTo>
                    <a:pt x="36" y="363"/>
                  </a:lnTo>
                  <a:lnTo>
                    <a:pt x="33" y="363"/>
                  </a:lnTo>
                  <a:lnTo>
                    <a:pt x="33" y="361"/>
                  </a:lnTo>
                  <a:lnTo>
                    <a:pt x="33" y="363"/>
                  </a:lnTo>
                  <a:lnTo>
                    <a:pt x="33" y="361"/>
                  </a:lnTo>
                  <a:lnTo>
                    <a:pt x="33" y="363"/>
                  </a:lnTo>
                  <a:lnTo>
                    <a:pt x="33" y="361"/>
                  </a:lnTo>
                  <a:lnTo>
                    <a:pt x="33" y="363"/>
                  </a:lnTo>
                  <a:lnTo>
                    <a:pt x="31" y="363"/>
                  </a:lnTo>
                  <a:lnTo>
                    <a:pt x="33" y="363"/>
                  </a:lnTo>
                  <a:lnTo>
                    <a:pt x="31" y="363"/>
                  </a:lnTo>
                  <a:lnTo>
                    <a:pt x="33" y="363"/>
                  </a:lnTo>
                  <a:lnTo>
                    <a:pt x="31" y="363"/>
                  </a:lnTo>
                  <a:lnTo>
                    <a:pt x="33" y="363"/>
                  </a:lnTo>
                  <a:lnTo>
                    <a:pt x="31" y="361"/>
                  </a:lnTo>
                  <a:lnTo>
                    <a:pt x="33" y="361"/>
                  </a:lnTo>
                  <a:lnTo>
                    <a:pt x="36" y="361"/>
                  </a:lnTo>
                  <a:close/>
                  <a:moveTo>
                    <a:pt x="171" y="361"/>
                  </a:moveTo>
                  <a:lnTo>
                    <a:pt x="173" y="361"/>
                  </a:lnTo>
                  <a:lnTo>
                    <a:pt x="171" y="361"/>
                  </a:lnTo>
                  <a:close/>
                  <a:moveTo>
                    <a:pt x="154" y="361"/>
                  </a:moveTo>
                  <a:lnTo>
                    <a:pt x="157" y="361"/>
                  </a:lnTo>
                  <a:lnTo>
                    <a:pt x="154" y="361"/>
                  </a:lnTo>
                  <a:close/>
                  <a:moveTo>
                    <a:pt x="157" y="361"/>
                  </a:moveTo>
                  <a:lnTo>
                    <a:pt x="159" y="361"/>
                  </a:lnTo>
                  <a:lnTo>
                    <a:pt x="157" y="361"/>
                  </a:lnTo>
                  <a:close/>
                  <a:moveTo>
                    <a:pt x="169" y="361"/>
                  </a:moveTo>
                  <a:lnTo>
                    <a:pt x="169" y="359"/>
                  </a:lnTo>
                  <a:lnTo>
                    <a:pt x="169" y="361"/>
                  </a:lnTo>
                  <a:close/>
                  <a:moveTo>
                    <a:pt x="100" y="361"/>
                  </a:moveTo>
                  <a:lnTo>
                    <a:pt x="100" y="359"/>
                  </a:lnTo>
                  <a:lnTo>
                    <a:pt x="100" y="361"/>
                  </a:lnTo>
                  <a:close/>
                  <a:moveTo>
                    <a:pt x="71" y="361"/>
                  </a:moveTo>
                  <a:lnTo>
                    <a:pt x="71" y="359"/>
                  </a:lnTo>
                  <a:lnTo>
                    <a:pt x="71" y="361"/>
                  </a:lnTo>
                  <a:close/>
                  <a:moveTo>
                    <a:pt x="52" y="361"/>
                  </a:moveTo>
                  <a:lnTo>
                    <a:pt x="52" y="359"/>
                  </a:lnTo>
                  <a:lnTo>
                    <a:pt x="52" y="361"/>
                  </a:lnTo>
                  <a:lnTo>
                    <a:pt x="52" y="359"/>
                  </a:lnTo>
                  <a:lnTo>
                    <a:pt x="52" y="361"/>
                  </a:lnTo>
                  <a:lnTo>
                    <a:pt x="52" y="359"/>
                  </a:lnTo>
                  <a:lnTo>
                    <a:pt x="52" y="361"/>
                  </a:lnTo>
                  <a:close/>
                  <a:moveTo>
                    <a:pt x="112" y="359"/>
                  </a:moveTo>
                  <a:lnTo>
                    <a:pt x="112" y="361"/>
                  </a:lnTo>
                  <a:lnTo>
                    <a:pt x="109" y="361"/>
                  </a:lnTo>
                  <a:lnTo>
                    <a:pt x="112" y="361"/>
                  </a:lnTo>
                  <a:lnTo>
                    <a:pt x="109" y="361"/>
                  </a:lnTo>
                  <a:lnTo>
                    <a:pt x="109" y="359"/>
                  </a:lnTo>
                  <a:lnTo>
                    <a:pt x="109" y="361"/>
                  </a:lnTo>
                  <a:lnTo>
                    <a:pt x="109" y="359"/>
                  </a:lnTo>
                  <a:lnTo>
                    <a:pt x="112" y="359"/>
                  </a:lnTo>
                  <a:close/>
                  <a:moveTo>
                    <a:pt x="19" y="359"/>
                  </a:moveTo>
                  <a:lnTo>
                    <a:pt x="19" y="361"/>
                  </a:lnTo>
                  <a:lnTo>
                    <a:pt x="19" y="359"/>
                  </a:lnTo>
                  <a:lnTo>
                    <a:pt x="21" y="359"/>
                  </a:lnTo>
                  <a:lnTo>
                    <a:pt x="21" y="361"/>
                  </a:lnTo>
                  <a:lnTo>
                    <a:pt x="19" y="359"/>
                  </a:lnTo>
                  <a:lnTo>
                    <a:pt x="19" y="361"/>
                  </a:lnTo>
                  <a:lnTo>
                    <a:pt x="21" y="361"/>
                  </a:lnTo>
                  <a:lnTo>
                    <a:pt x="19" y="361"/>
                  </a:lnTo>
                  <a:lnTo>
                    <a:pt x="19" y="359"/>
                  </a:lnTo>
                  <a:close/>
                  <a:moveTo>
                    <a:pt x="100" y="359"/>
                  </a:moveTo>
                  <a:lnTo>
                    <a:pt x="100" y="361"/>
                  </a:lnTo>
                  <a:lnTo>
                    <a:pt x="100" y="359"/>
                  </a:lnTo>
                  <a:close/>
                  <a:moveTo>
                    <a:pt x="43" y="361"/>
                  </a:moveTo>
                  <a:lnTo>
                    <a:pt x="43" y="359"/>
                  </a:lnTo>
                  <a:lnTo>
                    <a:pt x="43" y="361"/>
                  </a:lnTo>
                  <a:close/>
                  <a:moveTo>
                    <a:pt x="81" y="359"/>
                  </a:moveTo>
                  <a:lnTo>
                    <a:pt x="81" y="361"/>
                  </a:lnTo>
                  <a:lnTo>
                    <a:pt x="81" y="359"/>
                  </a:lnTo>
                  <a:lnTo>
                    <a:pt x="81" y="361"/>
                  </a:lnTo>
                  <a:lnTo>
                    <a:pt x="81" y="359"/>
                  </a:lnTo>
                  <a:close/>
                  <a:moveTo>
                    <a:pt x="121" y="359"/>
                  </a:moveTo>
                  <a:lnTo>
                    <a:pt x="121" y="361"/>
                  </a:lnTo>
                  <a:lnTo>
                    <a:pt x="119" y="361"/>
                  </a:lnTo>
                  <a:lnTo>
                    <a:pt x="119" y="359"/>
                  </a:lnTo>
                  <a:lnTo>
                    <a:pt x="121" y="359"/>
                  </a:lnTo>
                  <a:close/>
                  <a:moveTo>
                    <a:pt x="116" y="359"/>
                  </a:moveTo>
                  <a:lnTo>
                    <a:pt x="114" y="359"/>
                  </a:lnTo>
                  <a:lnTo>
                    <a:pt x="116" y="359"/>
                  </a:lnTo>
                  <a:close/>
                  <a:moveTo>
                    <a:pt x="21" y="359"/>
                  </a:moveTo>
                  <a:lnTo>
                    <a:pt x="21" y="361"/>
                  </a:lnTo>
                  <a:lnTo>
                    <a:pt x="24" y="361"/>
                  </a:lnTo>
                  <a:lnTo>
                    <a:pt x="21" y="361"/>
                  </a:lnTo>
                  <a:lnTo>
                    <a:pt x="21" y="359"/>
                  </a:lnTo>
                  <a:close/>
                  <a:moveTo>
                    <a:pt x="164" y="359"/>
                  </a:moveTo>
                  <a:lnTo>
                    <a:pt x="166" y="359"/>
                  </a:lnTo>
                  <a:lnTo>
                    <a:pt x="164" y="359"/>
                  </a:lnTo>
                  <a:close/>
                  <a:moveTo>
                    <a:pt x="36" y="359"/>
                  </a:moveTo>
                  <a:lnTo>
                    <a:pt x="33" y="359"/>
                  </a:lnTo>
                  <a:lnTo>
                    <a:pt x="36" y="359"/>
                  </a:lnTo>
                  <a:close/>
                  <a:moveTo>
                    <a:pt x="83" y="359"/>
                  </a:moveTo>
                  <a:lnTo>
                    <a:pt x="81" y="359"/>
                  </a:lnTo>
                  <a:lnTo>
                    <a:pt x="83" y="359"/>
                  </a:lnTo>
                  <a:close/>
                  <a:moveTo>
                    <a:pt x="40" y="359"/>
                  </a:moveTo>
                  <a:lnTo>
                    <a:pt x="43" y="359"/>
                  </a:lnTo>
                  <a:lnTo>
                    <a:pt x="43" y="361"/>
                  </a:lnTo>
                  <a:lnTo>
                    <a:pt x="40" y="361"/>
                  </a:lnTo>
                  <a:lnTo>
                    <a:pt x="43" y="361"/>
                  </a:lnTo>
                  <a:lnTo>
                    <a:pt x="40" y="361"/>
                  </a:lnTo>
                  <a:lnTo>
                    <a:pt x="38" y="361"/>
                  </a:lnTo>
                  <a:lnTo>
                    <a:pt x="40" y="361"/>
                  </a:lnTo>
                  <a:lnTo>
                    <a:pt x="38" y="361"/>
                  </a:lnTo>
                  <a:lnTo>
                    <a:pt x="40" y="359"/>
                  </a:lnTo>
                  <a:lnTo>
                    <a:pt x="43" y="359"/>
                  </a:lnTo>
                  <a:lnTo>
                    <a:pt x="40" y="359"/>
                  </a:lnTo>
                  <a:close/>
                  <a:moveTo>
                    <a:pt x="40" y="359"/>
                  </a:moveTo>
                  <a:lnTo>
                    <a:pt x="38" y="359"/>
                  </a:lnTo>
                  <a:lnTo>
                    <a:pt x="38" y="361"/>
                  </a:lnTo>
                  <a:lnTo>
                    <a:pt x="38" y="359"/>
                  </a:lnTo>
                  <a:lnTo>
                    <a:pt x="38" y="361"/>
                  </a:lnTo>
                  <a:lnTo>
                    <a:pt x="38" y="359"/>
                  </a:lnTo>
                  <a:lnTo>
                    <a:pt x="40" y="359"/>
                  </a:lnTo>
                  <a:close/>
                  <a:moveTo>
                    <a:pt x="166" y="359"/>
                  </a:moveTo>
                  <a:lnTo>
                    <a:pt x="164" y="359"/>
                  </a:lnTo>
                  <a:lnTo>
                    <a:pt x="166" y="359"/>
                  </a:lnTo>
                  <a:close/>
                  <a:moveTo>
                    <a:pt x="38" y="359"/>
                  </a:moveTo>
                  <a:lnTo>
                    <a:pt x="38" y="361"/>
                  </a:lnTo>
                  <a:lnTo>
                    <a:pt x="36" y="361"/>
                  </a:lnTo>
                  <a:lnTo>
                    <a:pt x="36" y="359"/>
                  </a:lnTo>
                  <a:lnTo>
                    <a:pt x="38" y="359"/>
                  </a:lnTo>
                  <a:close/>
                  <a:moveTo>
                    <a:pt x="119" y="359"/>
                  </a:moveTo>
                  <a:lnTo>
                    <a:pt x="116" y="359"/>
                  </a:lnTo>
                  <a:lnTo>
                    <a:pt x="119" y="361"/>
                  </a:lnTo>
                  <a:lnTo>
                    <a:pt x="116" y="361"/>
                  </a:lnTo>
                  <a:lnTo>
                    <a:pt x="119" y="361"/>
                  </a:lnTo>
                  <a:lnTo>
                    <a:pt x="116" y="361"/>
                  </a:lnTo>
                  <a:lnTo>
                    <a:pt x="116" y="359"/>
                  </a:lnTo>
                  <a:lnTo>
                    <a:pt x="119" y="359"/>
                  </a:lnTo>
                  <a:lnTo>
                    <a:pt x="116" y="359"/>
                  </a:lnTo>
                  <a:lnTo>
                    <a:pt x="119" y="359"/>
                  </a:lnTo>
                  <a:lnTo>
                    <a:pt x="116" y="359"/>
                  </a:lnTo>
                  <a:lnTo>
                    <a:pt x="119" y="359"/>
                  </a:lnTo>
                  <a:close/>
                  <a:moveTo>
                    <a:pt x="116" y="359"/>
                  </a:moveTo>
                  <a:lnTo>
                    <a:pt x="114" y="359"/>
                  </a:lnTo>
                  <a:lnTo>
                    <a:pt x="116" y="359"/>
                  </a:lnTo>
                  <a:close/>
                  <a:moveTo>
                    <a:pt x="45" y="359"/>
                  </a:moveTo>
                  <a:lnTo>
                    <a:pt x="45" y="356"/>
                  </a:lnTo>
                  <a:lnTo>
                    <a:pt x="45" y="359"/>
                  </a:lnTo>
                  <a:close/>
                  <a:moveTo>
                    <a:pt x="67" y="359"/>
                  </a:moveTo>
                  <a:lnTo>
                    <a:pt x="67" y="356"/>
                  </a:lnTo>
                  <a:lnTo>
                    <a:pt x="67" y="359"/>
                  </a:lnTo>
                  <a:close/>
                  <a:moveTo>
                    <a:pt x="40" y="356"/>
                  </a:moveTo>
                  <a:lnTo>
                    <a:pt x="40" y="359"/>
                  </a:lnTo>
                  <a:lnTo>
                    <a:pt x="38" y="359"/>
                  </a:lnTo>
                  <a:lnTo>
                    <a:pt x="40" y="359"/>
                  </a:lnTo>
                  <a:lnTo>
                    <a:pt x="38" y="359"/>
                  </a:lnTo>
                  <a:lnTo>
                    <a:pt x="38" y="356"/>
                  </a:lnTo>
                  <a:lnTo>
                    <a:pt x="38" y="359"/>
                  </a:lnTo>
                  <a:lnTo>
                    <a:pt x="40" y="359"/>
                  </a:lnTo>
                  <a:lnTo>
                    <a:pt x="40" y="356"/>
                  </a:lnTo>
                  <a:lnTo>
                    <a:pt x="40" y="359"/>
                  </a:lnTo>
                  <a:lnTo>
                    <a:pt x="40" y="356"/>
                  </a:lnTo>
                  <a:close/>
                  <a:moveTo>
                    <a:pt x="48" y="359"/>
                  </a:moveTo>
                  <a:lnTo>
                    <a:pt x="48" y="356"/>
                  </a:lnTo>
                  <a:lnTo>
                    <a:pt x="48" y="359"/>
                  </a:lnTo>
                  <a:close/>
                  <a:moveTo>
                    <a:pt x="45" y="356"/>
                  </a:moveTo>
                  <a:lnTo>
                    <a:pt x="48" y="356"/>
                  </a:lnTo>
                  <a:lnTo>
                    <a:pt x="48" y="359"/>
                  </a:lnTo>
                  <a:lnTo>
                    <a:pt x="45" y="359"/>
                  </a:lnTo>
                  <a:lnTo>
                    <a:pt x="45" y="356"/>
                  </a:lnTo>
                  <a:close/>
                  <a:moveTo>
                    <a:pt x="50" y="359"/>
                  </a:moveTo>
                  <a:lnTo>
                    <a:pt x="48" y="359"/>
                  </a:lnTo>
                  <a:lnTo>
                    <a:pt x="50" y="359"/>
                  </a:lnTo>
                  <a:lnTo>
                    <a:pt x="50" y="356"/>
                  </a:lnTo>
                  <a:lnTo>
                    <a:pt x="50" y="359"/>
                  </a:lnTo>
                  <a:close/>
                  <a:moveTo>
                    <a:pt x="36" y="359"/>
                  </a:moveTo>
                  <a:lnTo>
                    <a:pt x="36" y="356"/>
                  </a:lnTo>
                  <a:lnTo>
                    <a:pt x="36" y="359"/>
                  </a:lnTo>
                  <a:close/>
                  <a:moveTo>
                    <a:pt x="116" y="356"/>
                  </a:moveTo>
                  <a:lnTo>
                    <a:pt x="116" y="359"/>
                  </a:lnTo>
                  <a:lnTo>
                    <a:pt x="116" y="356"/>
                  </a:lnTo>
                  <a:close/>
                  <a:moveTo>
                    <a:pt x="38" y="359"/>
                  </a:moveTo>
                  <a:lnTo>
                    <a:pt x="36" y="359"/>
                  </a:lnTo>
                  <a:lnTo>
                    <a:pt x="36" y="356"/>
                  </a:lnTo>
                  <a:lnTo>
                    <a:pt x="38" y="356"/>
                  </a:lnTo>
                  <a:lnTo>
                    <a:pt x="38" y="359"/>
                  </a:lnTo>
                  <a:close/>
                  <a:moveTo>
                    <a:pt x="67" y="359"/>
                  </a:moveTo>
                  <a:lnTo>
                    <a:pt x="67" y="356"/>
                  </a:lnTo>
                  <a:lnTo>
                    <a:pt x="67" y="359"/>
                  </a:lnTo>
                  <a:lnTo>
                    <a:pt x="67" y="356"/>
                  </a:lnTo>
                  <a:lnTo>
                    <a:pt x="67" y="359"/>
                  </a:lnTo>
                  <a:close/>
                  <a:moveTo>
                    <a:pt x="67" y="356"/>
                  </a:moveTo>
                  <a:lnTo>
                    <a:pt x="69" y="356"/>
                  </a:lnTo>
                  <a:lnTo>
                    <a:pt x="67" y="356"/>
                  </a:lnTo>
                  <a:lnTo>
                    <a:pt x="69" y="356"/>
                  </a:lnTo>
                  <a:lnTo>
                    <a:pt x="69" y="359"/>
                  </a:lnTo>
                  <a:lnTo>
                    <a:pt x="67" y="359"/>
                  </a:lnTo>
                  <a:lnTo>
                    <a:pt x="67" y="356"/>
                  </a:lnTo>
                  <a:close/>
                  <a:moveTo>
                    <a:pt x="64" y="356"/>
                  </a:moveTo>
                  <a:lnTo>
                    <a:pt x="64" y="359"/>
                  </a:lnTo>
                  <a:lnTo>
                    <a:pt x="64" y="356"/>
                  </a:lnTo>
                  <a:close/>
                  <a:moveTo>
                    <a:pt x="33" y="356"/>
                  </a:moveTo>
                  <a:lnTo>
                    <a:pt x="33" y="359"/>
                  </a:lnTo>
                  <a:lnTo>
                    <a:pt x="33" y="356"/>
                  </a:lnTo>
                  <a:close/>
                  <a:moveTo>
                    <a:pt x="19" y="356"/>
                  </a:moveTo>
                  <a:lnTo>
                    <a:pt x="19" y="359"/>
                  </a:lnTo>
                  <a:lnTo>
                    <a:pt x="19" y="356"/>
                  </a:lnTo>
                  <a:close/>
                  <a:moveTo>
                    <a:pt x="90" y="356"/>
                  </a:moveTo>
                  <a:lnTo>
                    <a:pt x="93" y="356"/>
                  </a:lnTo>
                  <a:lnTo>
                    <a:pt x="90" y="356"/>
                  </a:lnTo>
                  <a:close/>
                  <a:moveTo>
                    <a:pt x="78" y="356"/>
                  </a:moveTo>
                  <a:lnTo>
                    <a:pt x="76" y="356"/>
                  </a:lnTo>
                  <a:lnTo>
                    <a:pt x="78" y="356"/>
                  </a:lnTo>
                  <a:close/>
                  <a:moveTo>
                    <a:pt x="48" y="356"/>
                  </a:moveTo>
                  <a:lnTo>
                    <a:pt x="45" y="356"/>
                  </a:lnTo>
                  <a:lnTo>
                    <a:pt x="48" y="356"/>
                  </a:lnTo>
                  <a:lnTo>
                    <a:pt x="45" y="356"/>
                  </a:lnTo>
                  <a:lnTo>
                    <a:pt x="48" y="356"/>
                  </a:lnTo>
                  <a:lnTo>
                    <a:pt x="45" y="356"/>
                  </a:lnTo>
                  <a:lnTo>
                    <a:pt x="48" y="356"/>
                  </a:lnTo>
                  <a:close/>
                  <a:moveTo>
                    <a:pt x="33" y="356"/>
                  </a:moveTo>
                  <a:lnTo>
                    <a:pt x="31" y="356"/>
                  </a:lnTo>
                  <a:lnTo>
                    <a:pt x="33" y="356"/>
                  </a:lnTo>
                  <a:close/>
                  <a:moveTo>
                    <a:pt x="38" y="356"/>
                  </a:moveTo>
                  <a:lnTo>
                    <a:pt x="40" y="356"/>
                  </a:lnTo>
                  <a:lnTo>
                    <a:pt x="38" y="356"/>
                  </a:lnTo>
                  <a:close/>
                  <a:moveTo>
                    <a:pt x="86" y="356"/>
                  </a:moveTo>
                  <a:lnTo>
                    <a:pt x="83" y="356"/>
                  </a:lnTo>
                  <a:lnTo>
                    <a:pt x="86" y="356"/>
                  </a:lnTo>
                  <a:close/>
                  <a:moveTo>
                    <a:pt x="81" y="356"/>
                  </a:moveTo>
                  <a:lnTo>
                    <a:pt x="83" y="356"/>
                  </a:lnTo>
                  <a:lnTo>
                    <a:pt x="81" y="356"/>
                  </a:lnTo>
                  <a:close/>
                  <a:moveTo>
                    <a:pt x="43" y="356"/>
                  </a:moveTo>
                  <a:lnTo>
                    <a:pt x="40" y="356"/>
                  </a:lnTo>
                  <a:lnTo>
                    <a:pt x="43" y="356"/>
                  </a:lnTo>
                  <a:close/>
                  <a:moveTo>
                    <a:pt x="81" y="356"/>
                  </a:moveTo>
                  <a:lnTo>
                    <a:pt x="78" y="356"/>
                  </a:lnTo>
                  <a:lnTo>
                    <a:pt x="81" y="356"/>
                  </a:lnTo>
                  <a:close/>
                  <a:moveTo>
                    <a:pt x="180" y="356"/>
                  </a:moveTo>
                  <a:lnTo>
                    <a:pt x="178" y="356"/>
                  </a:lnTo>
                  <a:lnTo>
                    <a:pt x="180" y="356"/>
                  </a:lnTo>
                  <a:close/>
                  <a:moveTo>
                    <a:pt x="76" y="356"/>
                  </a:moveTo>
                  <a:lnTo>
                    <a:pt x="78" y="356"/>
                  </a:lnTo>
                  <a:lnTo>
                    <a:pt x="76" y="356"/>
                  </a:lnTo>
                  <a:close/>
                  <a:moveTo>
                    <a:pt x="83" y="356"/>
                  </a:moveTo>
                  <a:lnTo>
                    <a:pt x="81" y="356"/>
                  </a:lnTo>
                  <a:lnTo>
                    <a:pt x="83" y="356"/>
                  </a:lnTo>
                  <a:close/>
                  <a:moveTo>
                    <a:pt x="33" y="356"/>
                  </a:moveTo>
                  <a:lnTo>
                    <a:pt x="36" y="356"/>
                  </a:lnTo>
                  <a:lnTo>
                    <a:pt x="33" y="356"/>
                  </a:lnTo>
                  <a:close/>
                  <a:moveTo>
                    <a:pt x="40" y="356"/>
                  </a:moveTo>
                  <a:lnTo>
                    <a:pt x="43" y="356"/>
                  </a:lnTo>
                  <a:lnTo>
                    <a:pt x="40" y="356"/>
                  </a:lnTo>
                  <a:lnTo>
                    <a:pt x="38" y="356"/>
                  </a:lnTo>
                  <a:lnTo>
                    <a:pt x="40" y="356"/>
                  </a:lnTo>
                  <a:lnTo>
                    <a:pt x="38" y="356"/>
                  </a:lnTo>
                  <a:lnTo>
                    <a:pt x="40" y="356"/>
                  </a:lnTo>
                  <a:close/>
                  <a:moveTo>
                    <a:pt x="71" y="356"/>
                  </a:moveTo>
                  <a:lnTo>
                    <a:pt x="74" y="356"/>
                  </a:lnTo>
                  <a:lnTo>
                    <a:pt x="71" y="356"/>
                  </a:lnTo>
                  <a:lnTo>
                    <a:pt x="71" y="354"/>
                  </a:lnTo>
                  <a:lnTo>
                    <a:pt x="71" y="356"/>
                  </a:lnTo>
                  <a:close/>
                  <a:moveTo>
                    <a:pt x="81" y="354"/>
                  </a:moveTo>
                  <a:lnTo>
                    <a:pt x="81" y="356"/>
                  </a:lnTo>
                  <a:lnTo>
                    <a:pt x="81" y="354"/>
                  </a:lnTo>
                  <a:lnTo>
                    <a:pt x="81" y="356"/>
                  </a:lnTo>
                  <a:lnTo>
                    <a:pt x="78" y="356"/>
                  </a:lnTo>
                  <a:lnTo>
                    <a:pt x="81" y="356"/>
                  </a:lnTo>
                  <a:lnTo>
                    <a:pt x="81" y="354"/>
                  </a:lnTo>
                  <a:close/>
                  <a:moveTo>
                    <a:pt x="119" y="354"/>
                  </a:moveTo>
                  <a:lnTo>
                    <a:pt x="121" y="354"/>
                  </a:lnTo>
                  <a:lnTo>
                    <a:pt x="121" y="356"/>
                  </a:lnTo>
                  <a:lnTo>
                    <a:pt x="119" y="356"/>
                  </a:lnTo>
                  <a:lnTo>
                    <a:pt x="116" y="356"/>
                  </a:lnTo>
                  <a:lnTo>
                    <a:pt x="119" y="356"/>
                  </a:lnTo>
                  <a:lnTo>
                    <a:pt x="119" y="354"/>
                  </a:lnTo>
                  <a:close/>
                  <a:moveTo>
                    <a:pt x="83" y="354"/>
                  </a:moveTo>
                  <a:lnTo>
                    <a:pt x="81" y="354"/>
                  </a:lnTo>
                  <a:lnTo>
                    <a:pt x="83" y="354"/>
                  </a:lnTo>
                  <a:close/>
                  <a:moveTo>
                    <a:pt x="102" y="354"/>
                  </a:moveTo>
                  <a:lnTo>
                    <a:pt x="102" y="356"/>
                  </a:lnTo>
                  <a:lnTo>
                    <a:pt x="100" y="354"/>
                  </a:lnTo>
                  <a:lnTo>
                    <a:pt x="102" y="354"/>
                  </a:lnTo>
                  <a:close/>
                  <a:moveTo>
                    <a:pt x="78" y="354"/>
                  </a:moveTo>
                  <a:lnTo>
                    <a:pt x="78" y="356"/>
                  </a:lnTo>
                  <a:lnTo>
                    <a:pt x="78" y="354"/>
                  </a:lnTo>
                  <a:close/>
                  <a:moveTo>
                    <a:pt x="83" y="354"/>
                  </a:moveTo>
                  <a:lnTo>
                    <a:pt x="86" y="354"/>
                  </a:lnTo>
                  <a:lnTo>
                    <a:pt x="83" y="354"/>
                  </a:lnTo>
                  <a:lnTo>
                    <a:pt x="86" y="354"/>
                  </a:lnTo>
                  <a:lnTo>
                    <a:pt x="86" y="356"/>
                  </a:lnTo>
                  <a:lnTo>
                    <a:pt x="86" y="354"/>
                  </a:lnTo>
                  <a:lnTo>
                    <a:pt x="86" y="356"/>
                  </a:lnTo>
                  <a:lnTo>
                    <a:pt x="86" y="354"/>
                  </a:lnTo>
                  <a:lnTo>
                    <a:pt x="83" y="354"/>
                  </a:lnTo>
                  <a:lnTo>
                    <a:pt x="83" y="356"/>
                  </a:lnTo>
                  <a:lnTo>
                    <a:pt x="83" y="354"/>
                  </a:lnTo>
                  <a:lnTo>
                    <a:pt x="83" y="356"/>
                  </a:lnTo>
                  <a:lnTo>
                    <a:pt x="83" y="354"/>
                  </a:lnTo>
                  <a:close/>
                  <a:moveTo>
                    <a:pt x="93" y="354"/>
                  </a:moveTo>
                  <a:lnTo>
                    <a:pt x="90" y="354"/>
                  </a:lnTo>
                  <a:lnTo>
                    <a:pt x="93" y="354"/>
                  </a:lnTo>
                  <a:lnTo>
                    <a:pt x="90" y="354"/>
                  </a:lnTo>
                  <a:lnTo>
                    <a:pt x="93" y="354"/>
                  </a:lnTo>
                  <a:close/>
                  <a:moveTo>
                    <a:pt x="88" y="354"/>
                  </a:moveTo>
                  <a:lnTo>
                    <a:pt x="90" y="354"/>
                  </a:lnTo>
                  <a:lnTo>
                    <a:pt x="88" y="356"/>
                  </a:lnTo>
                  <a:lnTo>
                    <a:pt x="86" y="356"/>
                  </a:lnTo>
                  <a:lnTo>
                    <a:pt x="86" y="354"/>
                  </a:lnTo>
                  <a:lnTo>
                    <a:pt x="86" y="356"/>
                  </a:lnTo>
                  <a:lnTo>
                    <a:pt x="86" y="354"/>
                  </a:lnTo>
                  <a:lnTo>
                    <a:pt x="88" y="354"/>
                  </a:lnTo>
                  <a:close/>
                  <a:moveTo>
                    <a:pt x="180" y="354"/>
                  </a:moveTo>
                  <a:lnTo>
                    <a:pt x="178" y="354"/>
                  </a:lnTo>
                  <a:lnTo>
                    <a:pt x="180" y="354"/>
                  </a:lnTo>
                  <a:close/>
                  <a:moveTo>
                    <a:pt x="97" y="354"/>
                  </a:moveTo>
                  <a:lnTo>
                    <a:pt x="95" y="354"/>
                  </a:lnTo>
                  <a:lnTo>
                    <a:pt x="97" y="354"/>
                  </a:lnTo>
                  <a:lnTo>
                    <a:pt x="95" y="354"/>
                  </a:lnTo>
                  <a:lnTo>
                    <a:pt x="97" y="354"/>
                  </a:lnTo>
                  <a:close/>
                  <a:moveTo>
                    <a:pt x="100" y="354"/>
                  </a:moveTo>
                  <a:lnTo>
                    <a:pt x="97" y="354"/>
                  </a:lnTo>
                  <a:lnTo>
                    <a:pt x="100" y="354"/>
                  </a:lnTo>
                  <a:close/>
                  <a:moveTo>
                    <a:pt x="90" y="354"/>
                  </a:moveTo>
                  <a:lnTo>
                    <a:pt x="93" y="354"/>
                  </a:lnTo>
                  <a:lnTo>
                    <a:pt x="90" y="354"/>
                  </a:lnTo>
                  <a:close/>
                  <a:moveTo>
                    <a:pt x="90" y="354"/>
                  </a:moveTo>
                  <a:lnTo>
                    <a:pt x="88" y="354"/>
                  </a:lnTo>
                  <a:lnTo>
                    <a:pt x="90" y="354"/>
                  </a:lnTo>
                  <a:lnTo>
                    <a:pt x="88" y="354"/>
                  </a:lnTo>
                  <a:lnTo>
                    <a:pt x="90" y="354"/>
                  </a:lnTo>
                  <a:close/>
                  <a:moveTo>
                    <a:pt x="57" y="354"/>
                  </a:moveTo>
                  <a:lnTo>
                    <a:pt x="59" y="354"/>
                  </a:lnTo>
                  <a:lnTo>
                    <a:pt x="57" y="354"/>
                  </a:lnTo>
                  <a:lnTo>
                    <a:pt x="59" y="354"/>
                  </a:lnTo>
                  <a:lnTo>
                    <a:pt x="57" y="354"/>
                  </a:lnTo>
                  <a:close/>
                  <a:moveTo>
                    <a:pt x="88" y="354"/>
                  </a:moveTo>
                  <a:lnTo>
                    <a:pt x="86" y="354"/>
                  </a:lnTo>
                  <a:lnTo>
                    <a:pt x="88" y="354"/>
                  </a:lnTo>
                  <a:close/>
                  <a:moveTo>
                    <a:pt x="45" y="354"/>
                  </a:moveTo>
                  <a:lnTo>
                    <a:pt x="45" y="356"/>
                  </a:lnTo>
                  <a:lnTo>
                    <a:pt x="45" y="354"/>
                  </a:lnTo>
                  <a:lnTo>
                    <a:pt x="43" y="354"/>
                  </a:lnTo>
                  <a:lnTo>
                    <a:pt x="45" y="354"/>
                  </a:lnTo>
                  <a:close/>
                  <a:moveTo>
                    <a:pt x="95" y="354"/>
                  </a:moveTo>
                  <a:lnTo>
                    <a:pt x="93" y="354"/>
                  </a:lnTo>
                  <a:lnTo>
                    <a:pt x="95" y="354"/>
                  </a:lnTo>
                  <a:close/>
                  <a:moveTo>
                    <a:pt x="40" y="354"/>
                  </a:moveTo>
                  <a:lnTo>
                    <a:pt x="38" y="354"/>
                  </a:lnTo>
                  <a:lnTo>
                    <a:pt x="40" y="354"/>
                  </a:lnTo>
                  <a:lnTo>
                    <a:pt x="38" y="354"/>
                  </a:lnTo>
                  <a:lnTo>
                    <a:pt x="40" y="354"/>
                  </a:lnTo>
                  <a:close/>
                  <a:moveTo>
                    <a:pt x="93" y="354"/>
                  </a:moveTo>
                  <a:lnTo>
                    <a:pt x="90" y="354"/>
                  </a:lnTo>
                  <a:lnTo>
                    <a:pt x="93" y="354"/>
                  </a:lnTo>
                  <a:close/>
                  <a:moveTo>
                    <a:pt x="83" y="354"/>
                  </a:moveTo>
                  <a:lnTo>
                    <a:pt x="86" y="354"/>
                  </a:lnTo>
                  <a:lnTo>
                    <a:pt x="83" y="354"/>
                  </a:lnTo>
                  <a:lnTo>
                    <a:pt x="86" y="354"/>
                  </a:lnTo>
                  <a:lnTo>
                    <a:pt x="83" y="354"/>
                  </a:lnTo>
                  <a:close/>
                  <a:moveTo>
                    <a:pt x="192" y="354"/>
                  </a:moveTo>
                  <a:lnTo>
                    <a:pt x="190" y="354"/>
                  </a:lnTo>
                  <a:lnTo>
                    <a:pt x="192" y="354"/>
                  </a:lnTo>
                  <a:close/>
                  <a:moveTo>
                    <a:pt x="38" y="354"/>
                  </a:moveTo>
                  <a:lnTo>
                    <a:pt x="38" y="352"/>
                  </a:lnTo>
                  <a:lnTo>
                    <a:pt x="38" y="354"/>
                  </a:lnTo>
                  <a:close/>
                  <a:moveTo>
                    <a:pt x="33" y="352"/>
                  </a:moveTo>
                  <a:lnTo>
                    <a:pt x="33" y="354"/>
                  </a:lnTo>
                  <a:lnTo>
                    <a:pt x="31" y="354"/>
                  </a:lnTo>
                  <a:lnTo>
                    <a:pt x="31" y="352"/>
                  </a:lnTo>
                  <a:lnTo>
                    <a:pt x="31" y="354"/>
                  </a:lnTo>
                  <a:lnTo>
                    <a:pt x="31" y="352"/>
                  </a:lnTo>
                  <a:lnTo>
                    <a:pt x="33" y="352"/>
                  </a:lnTo>
                  <a:close/>
                  <a:moveTo>
                    <a:pt x="86" y="352"/>
                  </a:moveTo>
                  <a:lnTo>
                    <a:pt x="86" y="354"/>
                  </a:lnTo>
                  <a:lnTo>
                    <a:pt x="86" y="352"/>
                  </a:lnTo>
                  <a:close/>
                  <a:moveTo>
                    <a:pt x="67" y="352"/>
                  </a:moveTo>
                  <a:lnTo>
                    <a:pt x="67" y="354"/>
                  </a:lnTo>
                  <a:lnTo>
                    <a:pt x="64" y="354"/>
                  </a:lnTo>
                  <a:lnTo>
                    <a:pt x="67" y="354"/>
                  </a:lnTo>
                  <a:lnTo>
                    <a:pt x="64" y="352"/>
                  </a:lnTo>
                  <a:lnTo>
                    <a:pt x="67" y="352"/>
                  </a:lnTo>
                  <a:close/>
                  <a:moveTo>
                    <a:pt x="64" y="352"/>
                  </a:moveTo>
                  <a:lnTo>
                    <a:pt x="64" y="354"/>
                  </a:lnTo>
                  <a:lnTo>
                    <a:pt x="64" y="352"/>
                  </a:lnTo>
                  <a:lnTo>
                    <a:pt x="62" y="352"/>
                  </a:lnTo>
                  <a:lnTo>
                    <a:pt x="64" y="352"/>
                  </a:lnTo>
                  <a:close/>
                  <a:moveTo>
                    <a:pt x="97" y="354"/>
                  </a:moveTo>
                  <a:lnTo>
                    <a:pt x="97" y="352"/>
                  </a:lnTo>
                  <a:lnTo>
                    <a:pt x="97" y="354"/>
                  </a:lnTo>
                  <a:close/>
                  <a:moveTo>
                    <a:pt x="183" y="352"/>
                  </a:moveTo>
                  <a:lnTo>
                    <a:pt x="183" y="354"/>
                  </a:lnTo>
                  <a:lnTo>
                    <a:pt x="183" y="352"/>
                  </a:lnTo>
                  <a:lnTo>
                    <a:pt x="183" y="354"/>
                  </a:lnTo>
                  <a:lnTo>
                    <a:pt x="183" y="352"/>
                  </a:lnTo>
                  <a:lnTo>
                    <a:pt x="183" y="354"/>
                  </a:lnTo>
                  <a:lnTo>
                    <a:pt x="183" y="352"/>
                  </a:lnTo>
                  <a:close/>
                  <a:moveTo>
                    <a:pt x="10" y="354"/>
                  </a:moveTo>
                  <a:lnTo>
                    <a:pt x="10" y="352"/>
                  </a:lnTo>
                  <a:lnTo>
                    <a:pt x="10" y="354"/>
                  </a:lnTo>
                  <a:close/>
                  <a:moveTo>
                    <a:pt x="43" y="352"/>
                  </a:moveTo>
                  <a:lnTo>
                    <a:pt x="43" y="354"/>
                  </a:lnTo>
                  <a:lnTo>
                    <a:pt x="40" y="354"/>
                  </a:lnTo>
                  <a:lnTo>
                    <a:pt x="40" y="352"/>
                  </a:lnTo>
                  <a:lnTo>
                    <a:pt x="43" y="352"/>
                  </a:lnTo>
                  <a:close/>
                  <a:moveTo>
                    <a:pt x="202" y="352"/>
                  </a:moveTo>
                  <a:lnTo>
                    <a:pt x="202" y="354"/>
                  </a:lnTo>
                  <a:lnTo>
                    <a:pt x="202" y="352"/>
                  </a:lnTo>
                  <a:lnTo>
                    <a:pt x="202" y="354"/>
                  </a:lnTo>
                  <a:lnTo>
                    <a:pt x="202" y="352"/>
                  </a:lnTo>
                  <a:close/>
                  <a:moveTo>
                    <a:pt x="197" y="352"/>
                  </a:moveTo>
                  <a:lnTo>
                    <a:pt x="199" y="352"/>
                  </a:lnTo>
                  <a:lnTo>
                    <a:pt x="197" y="352"/>
                  </a:lnTo>
                  <a:close/>
                  <a:moveTo>
                    <a:pt x="48" y="352"/>
                  </a:moveTo>
                  <a:lnTo>
                    <a:pt x="48" y="354"/>
                  </a:lnTo>
                  <a:lnTo>
                    <a:pt x="48" y="352"/>
                  </a:lnTo>
                  <a:lnTo>
                    <a:pt x="45" y="352"/>
                  </a:lnTo>
                  <a:lnTo>
                    <a:pt x="48" y="352"/>
                  </a:lnTo>
                  <a:close/>
                  <a:moveTo>
                    <a:pt x="33" y="352"/>
                  </a:moveTo>
                  <a:lnTo>
                    <a:pt x="33" y="354"/>
                  </a:lnTo>
                  <a:lnTo>
                    <a:pt x="33" y="352"/>
                  </a:lnTo>
                  <a:lnTo>
                    <a:pt x="33" y="354"/>
                  </a:lnTo>
                  <a:lnTo>
                    <a:pt x="33" y="352"/>
                  </a:lnTo>
                  <a:close/>
                  <a:moveTo>
                    <a:pt x="38" y="352"/>
                  </a:moveTo>
                  <a:lnTo>
                    <a:pt x="38" y="354"/>
                  </a:lnTo>
                  <a:lnTo>
                    <a:pt x="38" y="352"/>
                  </a:lnTo>
                  <a:close/>
                  <a:moveTo>
                    <a:pt x="97" y="352"/>
                  </a:moveTo>
                  <a:lnTo>
                    <a:pt x="95" y="354"/>
                  </a:lnTo>
                  <a:lnTo>
                    <a:pt x="95" y="352"/>
                  </a:lnTo>
                  <a:lnTo>
                    <a:pt x="95" y="354"/>
                  </a:lnTo>
                  <a:lnTo>
                    <a:pt x="95" y="352"/>
                  </a:lnTo>
                  <a:lnTo>
                    <a:pt x="95" y="354"/>
                  </a:lnTo>
                  <a:lnTo>
                    <a:pt x="95" y="352"/>
                  </a:lnTo>
                  <a:lnTo>
                    <a:pt x="97" y="352"/>
                  </a:lnTo>
                  <a:close/>
                  <a:moveTo>
                    <a:pt x="86" y="352"/>
                  </a:moveTo>
                  <a:lnTo>
                    <a:pt x="86" y="354"/>
                  </a:lnTo>
                  <a:lnTo>
                    <a:pt x="86" y="352"/>
                  </a:lnTo>
                  <a:close/>
                  <a:moveTo>
                    <a:pt x="36" y="352"/>
                  </a:moveTo>
                  <a:lnTo>
                    <a:pt x="38" y="352"/>
                  </a:lnTo>
                  <a:lnTo>
                    <a:pt x="36" y="354"/>
                  </a:lnTo>
                  <a:lnTo>
                    <a:pt x="36" y="352"/>
                  </a:lnTo>
                  <a:close/>
                  <a:moveTo>
                    <a:pt x="12" y="352"/>
                  </a:moveTo>
                  <a:lnTo>
                    <a:pt x="12" y="354"/>
                  </a:lnTo>
                  <a:lnTo>
                    <a:pt x="12" y="352"/>
                  </a:lnTo>
                  <a:close/>
                  <a:moveTo>
                    <a:pt x="202" y="352"/>
                  </a:moveTo>
                  <a:lnTo>
                    <a:pt x="204" y="352"/>
                  </a:lnTo>
                  <a:lnTo>
                    <a:pt x="202" y="352"/>
                  </a:lnTo>
                  <a:close/>
                  <a:moveTo>
                    <a:pt x="90" y="352"/>
                  </a:moveTo>
                  <a:lnTo>
                    <a:pt x="93" y="352"/>
                  </a:lnTo>
                  <a:lnTo>
                    <a:pt x="90" y="352"/>
                  </a:lnTo>
                  <a:close/>
                  <a:moveTo>
                    <a:pt x="71" y="352"/>
                  </a:moveTo>
                  <a:lnTo>
                    <a:pt x="71" y="354"/>
                  </a:lnTo>
                  <a:lnTo>
                    <a:pt x="71" y="352"/>
                  </a:lnTo>
                  <a:lnTo>
                    <a:pt x="71" y="354"/>
                  </a:lnTo>
                  <a:lnTo>
                    <a:pt x="71" y="352"/>
                  </a:lnTo>
                  <a:lnTo>
                    <a:pt x="71" y="354"/>
                  </a:lnTo>
                  <a:lnTo>
                    <a:pt x="71" y="352"/>
                  </a:lnTo>
                  <a:close/>
                  <a:moveTo>
                    <a:pt x="33" y="352"/>
                  </a:moveTo>
                  <a:lnTo>
                    <a:pt x="31" y="352"/>
                  </a:lnTo>
                  <a:lnTo>
                    <a:pt x="33" y="352"/>
                  </a:lnTo>
                  <a:close/>
                  <a:moveTo>
                    <a:pt x="74" y="352"/>
                  </a:moveTo>
                  <a:lnTo>
                    <a:pt x="76" y="352"/>
                  </a:lnTo>
                  <a:lnTo>
                    <a:pt x="78" y="352"/>
                  </a:lnTo>
                  <a:lnTo>
                    <a:pt x="78" y="354"/>
                  </a:lnTo>
                  <a:lnTo>
                    <a:pt x="76" y="354"/>
                  </a:lnTo>
                  <a:lnTo>
                    <a:pt x="78" y="354"/>
                  </a:lnTo>
                  <a:lnTo>
                    <a:pt x="78" y="356"/>
                  </a:lnTo>
                  <a:lnTo>
                    <a:pt x="76" y="356"/>
                  </a:lnTo>
                  <a:lnTo>
                    <a:pt x="74" y="356"/>
                  </a:lnTo>
                  <a:lnTo>
                    <a:pt x="71" y="356"/>
                  </a:lnTo>
                  <a:lnTo>
                    <a:pt x="74" y="356"/>
                  </a:lnTo>
                  <a:lnTo>
                    <a:pt x="74" y="354"/>
                  </a:lnTo>
                  <a:lnTo>
                    <a:pt x="71" y="356"/>
                  </a:lnTo>
                  <a:lnTo>
                    <a:pt x="74" y="354"/>
                  </a:lnTo>
                  <a:lnTo>
                    <a:pt x="71" y="354"/>
                  </a:lnTo>
                  <a:lnTo>
                    <a:pt x="74" y="354"/>
                  </a:lnTo>
                  <a:lnTo>
                    <a:pt x="71" y="354"/>
                  </a:lnTo>
                  <a:lnTo>
                    <a:pt x="74" y="354"/>
                  </a:lnTo>
                  <a:lnTo>
                    <a:pt x="76" y="354"/>
                  </a:lnTo>
                  <a:lnTo>
                    <a:pt x="74" y="354"/>
                  </a:lnTo>
                  <a:lnTo>
                    <a:pt x="71" y="354"/>
                  </a:lnTo>
                  <a:lnTo>
                    <a:pt x="74" y="354"/>
                  </a:lnTo>
                  <a:lnTo>
                    <a:pt x="74" y="352"/>
                  </a:lnTo>
                  <a:close/>
                  <a:moveTo>
                    <a:pt x="33" y="352"/>
                  </a:moveTo>
                  <a:lnTo>
                    <a:pt x="36" y="352"/>
                  </a:lnTo>
                  <a:lnTo>
                    <a:pt x="33" y="352"/>
                  </a:lnTo>
                  <a:close/>
                  <a:moveTo>
                    <a:pt x="45" y="352"/>
                  </a:moveTo>
                  <a:lnTo>
                    <a:pt x="48" y="352"/>
                  </a:lnTo>
                  <a:lnTo>
                    <a:pt x="45" y="352"/>
                  </a:lnTo>
                  <a:close/>
                  <a:moveTo>
                    <a:pt x="64" y="352"/>
                  </a:moveTo>
                  <a:lnTo>
                    <a:pt x="67" y="352"/>
                  </a:lnTo>
                  <a:lnTo>
                    <a:pt x="64" y="352"/>
                  </a:lnTo>
                  <a:close/>
                  <a:moveTo>
                    <a:pt x="64" y="352"/>
                  </a:moveTo>
                  <a:lnTo>
                    <a:pt x="62" y="352"/>
                  </a:lnTo>
                  <a:lnTo>
                    <a:pt x="64" y="352"/>
                  </a:lnTo>
                  <a:close/>
                  <a:moveTo>
                    <a:pt x="76" y="352"/>
                  </a:moveTo>
                  <a:lnTo>
                    <a:pt x="78" y="352"/>
                  </a:lnTo>
                  <a:lnTo>
                    <a:pt x="76" y="352"/>
                  </a:lnTo>
                  <a:lnTo>
                    <a:pt x="78" y="352"/>
                  </a:lnTo>
                  <a:lnTo>
                    <a:pt x="76" y="352"/>
                  </a:lnTo>
                  <a:close/>
                  <a:moveTo>
                    <a:pt x="218" y="352"/>
                  </a:moveTo>
                  <a:lnTo>
                    <a:pt x="216" y="352"/>
                  </a:lnTo>
                  <a:lnTo>
                    <a:pt x="218" y="352"/>
                  </a:lnTo>
                  <a:close/>
                  <a:moveTo>
                    <a:pt x="102" y="352"/>
                  </a:moveTo>
                  <a:lnTo>
                    <a:pt x="100" y="352"/>
                  </a:lnTo>
                  <a:lnTo>
                    <a:pt x="102" y="352"/>
                  </a:lnTo>
                  <a:lnTo>
                    <a:pt x="100" y="352"/>
                  </a:lnTo>
                  <a:lnTo>
                    <a:pt x="97" y="354"/>
                  </a:lnTo>
                  <a:lnTo>
                    <a:pt x="100" y="354"/>
                  </a:lnTo>
                  <a:lnTo>
                    <a:pt x="100" y="352"/>
                  </a:lnTo>
                  <a:lnTo>
                    <a:pt x="100" y="354"/>
                  </a:lnTo>
                  <a:lnTo>
                    <a:pt x="97" y="354"/>
                  </a:lnTo>
                  <a:lnTo>
                    <a:pt x="97" y="352"/>
                  </a:lnTo>
                  <a:lnTo>
                    <a:pt x="100" y="352"/>
                  </a:lnTo>
                  <a:lnTo>
                    <a:pt x="97" y="352"/>
                  </a:lnTo>
                  <a:lnTo>
                    <a:pt x="100" y="352"/>
                  </a:lnTo>
                  <a:lnTo>
                    <a:pt x="100" y="349"/>
                  </a:lnTo>
                  <a:lnTo>
                    <a:pt x="102" y="349"/>
                  </a:lnTo>
                  <a:lnTo>
                    <a:pt x="102" y="352"/>
                  </a:lnTo>
                  <a:close/>
                  <a:moveTo>
                    <a:pt x="204" y="349"/>
                  </a:moveTo>
                  <a:lnTo>
                    <a:pt x="204" y="352"/>
                  </a:lnTo>
                  <a:lnTo>
                    <a:pt x="204" y="349"/>
                  </a:lnTo>
                  <a:lnTo>
                    <a:pt x="204" y="352"/>
                  </a:lnTo>
                  <a:lnTo>
                    <a:pt x="204" y="349"/>
                  </a:lnTo>
                  <a:close/>
                  <a:moveTo>
                    <a:pt x="88" y="349"/>
                  </a:moveTo>
                  <a:lnTo>
                    <a:pt x="88" y="352"/>
                  </a:lnTo>
                  <a:lnTo>
                    <a:pt x="86" y="352"/>
                  </a:lnTo>
                  <a:lnTo>
                    <a:pt x="86" y="349"/>
                  </a:lnTo>
                  <a:lnTo>
                    <a:pt x="88" y="349"/>
                  </a:lnTo>
                  <a:close/>
                  <a:moveTo>
                    <a:pt x="207" y="349"/>
                  </a:moveTo>
                  <a:lnTo>
                    <a:pt x="207" y="352"/>
                  </a:lnTo>
                  <a:lnTo>
                    <a:pt x="204" y="352"/>
                  </a:lnTo>
                  <a:lnTo>
                    <a:pt x="207" y="352"/>
                  </a:lnTo>
                  <a:lnTo>
                    <a:pt x="204" y="352"/>
                  </a:lnTo>
                  <a:lnTo>
                    <a:pt x="204" y="349"/>
                  </a:lnTo>
                  <a:lnTo>
                    <a:pt x="207" y="349"/>
                  </a:lnTo>
                  <a:close/>
                  <a:moveTo>
                    <a:pt x="88" y="349"/>
                  </a:moveTo>
                  <a:lnTo>
                    <a:pt x="88" y="352"/>
                  </a:lnTo>
                  <a:lnTo>
                    <a:pt x="88" y="349"/>
                  </a:lnTo>
                  <a:lnTo>
                    <a:pt x="88" y="352"/>
                  </a:lnTo>
                  <a:lnTo>
                    <a:pt x="88" y="349"/>
                  </a:lnTo>
                  <a:close/>
                  <a:moveTo>
                    <a:pt x="78" y="349"/>
                  </a:moveTo>
                  <a:lnTo>
                    <a:pt x="81" y="349"/>
                  </a:lnTo>
                  <a:lnTo>
                    <a:pt x="81" y="352"/>
                  </a:lnTo>
                  <a:lnTo>
                    <a:pt x="78" y="352"/>
                  </a:lnTo>
                  <a:lnTo>
                    <a:pt x="78" y="349"/>
                  </a:lnTo>
                  <a:close/>
                  <a:moveTo>
                    <a:pt x="100" y="349"/>
                  </a:moveTo>
                  <a:lnTo>
                    <a:pt x="102" y="349"/>
                  </a:lnTo>
                  <a:lnTo>
                    <a:pt x="100" y="349"/>
                  </a:lnTo>
                  <a:close/>
                  <a:moveTo>
                    <a:pt x="0" y="349"/>
                  </a:moveTo>
                  <a:lnTo>
                    <a:pt x="0" y="352"/>
                  </a:lnTo>
                  <a:lnTo>
                    <a:pt x="0" y="349"/>
                  </a:lnTo>
                  <a:lnTo>
                    <a:pt x="0" y="352"/>
                  </a:lnTo>
                  <a:lnTo>
                    <a:pt x="0" y="349"/>
                  </a:lnTo>
                  <a:close/>
                  <a:moveTo>
                    <a:pt x="83" y="349"/>
                  </a:moveTo>
                  <a:lnTo>
                    <a:pt x="86" y="349"/>
                  </a:lnTo>
                  <a:lnTo>
                    <a:pt x="86" y="352"/>
                  </a:lnTo>
                  <a:lnTo>
                    <a:pt x="88" y="352"/>
                  </a:lnTo>
                  <a:lnTo>
                    <a:pt x="86" y="352"/>
                  </a:lnTo>
                  <a:lnTo>
                    <a:pt x="83" y="352"/>
                  </a:lnTo>
                  <a:lnTo>
                    <a:pt x="86" y="352"/>
                  </a:lnTo>
                  <a:lnTo>
                    <a:pt x="83" y="352"/>
                  </a:lnTo>
                  <a:lnTo>
                    <a:pt x="83" y="354"/>
                  </a:lnTo>
                  <a:lnTo>
                    <a:pt x="81" y="354"/>
                  </a:lnTo>
                  <a:lnTo>
                    <a:pt x="83" y="354"/>
                  </a:lnTo>
                  <a:lnTo>
                    <a:pt x="81" y="354"/>
                  </a:lnTo>
                  <a:lnTo>
                    <a:pt x="83" y="354"/>
                  </a:lnTo>
                  <a:lnTo>
                    <a:pt x="81" y="354"/>
                  </a:lnTo>
                  <a:lnTo>
                    <a:pt x="78" y="354"/>
                  </a:lnTo>
                  <a:lnTo>
                    <a:pt x="78" y="352"/>
                  </a:lnTo>
                  <a:lnTo>
                    <a:pt x="78" y="354"/>
                  </a:lnTo>
                  <a:lnTo>
                    <a:pt x="78" y="352"/>
                  </a:lnTo>
                  <a:lnTo>
                    <a:pt x="81" y="352"/>
                  </a:lnTo>
                  <a:lnTo>
                    <a:pt x="78" y="352"/>
                  </a:lnTo>
                  <a:lnTo>
                    <a:pt x="81" y="352"/>
                  </a:lnTo>
                  <a:lnTo>
                    <a:pt x="81" y="349"/>
                  </a:lnTo>
                  <a:lnTo>
                    <a:pt x="81" y="352"/>
                  </a:lnTo>
                  <a:lnTo>
                    <a:pt x="81" y="349"/>
                  </a:lnTo>
                  <a:lnTo>
                    <a:pt x="83" y="349"/>
                  </a:lnTo>
                  <a:close/>
                  <a:moveTo>
                    <a:pt x="93" y="349"/>
                  </a:moveTo>
                  <a:lnTo>
                    <a:pt x="90" y="349"/>
                  </a:lnTo>
                  <a:lnTo>
                    <a:pt x="90" y="352"/>
                  </a:lnTo>
                  <a:lnTo>
                    <a:pt x="93" y="349"/>
                  </a:lnTo>
                  <a:lnTo>
                    <a:pt x="93" y="352"/>
                  </a:lnTo>
                  <a:lnTo>
                    <a:pt x="90" y="352"/>
                  </a:lnTo>
                  <a:lnTo>
                    <a:pt x="90" y="354"/>
                  </a:lnTo>
                  <a:lnTo>
                    <a:pt x="90" y="352"/>
                  </a:lnTo>
                  <a:lnTo>
                    <a:pt x="90" y="354"/>
                  </a:lnTo>
                  <a:lnTo>
                    <a:pt x="90" y="352"/>
                  </a:lnTo>
                  <a:lnTo>
                    <a:pt x="90" y="354"/>
                  </a:lnTo>
                  <a:lnTo>
                    <a:pt x="88" y="354"/>
                  </a:lnTo>
                  <a:lnTo>
                    <a:pt x="88" y="352"/>
                  </a:lnTo>
                  <a:lnTo>
                    <a:pt x="88" y="354"/>
                  </a:lnTo>
                  <a:lnTo>
                    <a:pt x="86" y="352"/>
                  </a:lnTo>
                  <a:lnTo>
                    <a:pt x="88" y="352"/>
                  </a:lnTo>
                  <a:lnTo>
                    <a:pt x="90" y="352"/>
                  </a:lnTo>
                  <a:lnTo>
                    <a:pt x="90" y="349"/>
                  </a:lnTo>
                  <a:lnTo>
                    <a:pt x="90" y="352"/>
                  </a:lnTo>
                  <a:lnTo>
                    <a:pt x="90" y="349"/>
                  </a:lnTo>
                  <a:lnTo>
                    <a:pt x="93" y="349"/>
                  </a:lnTo>
                  <a:close/>
                  <a:moveTo>
                    <a:pt x="195" y="349"/>
                  </a:moveTo>
                  <a:lnTo>
                    <a:pt x="197" y="349"/>
                  </a:lnTo>
                  <a:lnTo>
                    <a:pt x="195" y="349"/>
                  </a:lnTo>
                  <a:lnTo>
                    <a:pt x="195" y="352"/>
                  </a:lnTo>
                  <a:lnTo>
                    <a:pt x="195" y="349"/>
                  </a:lnTo>
                  <a:close/>
                  <a:moveTo>
                    <a:pt x="88" y="349"/>
                  </a:moveTo>
                  <a:lnTo>
                    <a:pt x="86" y="349"/>
                  </a:lnTo>
                  <a:lnTo>
                    <a:pt x="88" y="349"/>
                  </a:lnTo>
                  <a:close/>
                  <a:moveTo>
                    <a:pt x="31" y="349"/>
                  </a:moveTo>
                  <a:lnTo>
                    <a:pt x="31" y="352"/>
                  </a:lnTo>
                  <a:lnTo>
                    <a:pt x="31" y="349"/>
                  </a:lnTo>
                  <a:close/>
                  <a:moveTo>
                    <a:pt x="74" y="349"/>
                  </a:moveTo>
                  <a:lnTo>
                    <a:pt x="71" y="349"/>
                  </a:lnTo>
                  <a:lnTo>
                    <a:pt x="74" y="349"/>
                  </a:lnTo>
                  <a:lnTo>
                    <a:pt x="71" y="349"/>
                  </a:lnTo>
                  <a:lnTo>
                    <a:pt x="74" y="349"/>
                  </a:lnTo>
                  <a:close/>
                  <a:moveTo>
                    <a:pt x="33" y="349"/>
                  </a:moveTo>
                  <a:lnTo>
                    <a:pt x="33" y="352"/>
                  </a:lnTo>
                  <a:lnTo>
                    <a:pt x="31" y="352"/>
                  </a:lnTo>
                  <a:lnTo>
                    <a:pt x="31" y="349"/>
                  </a:lnTo>
                  <a:lnTo>
                    <a:pt x="33" y="349"/>
                  </a:lnTo>
                  <a:close/>
                  <a:moveTo>
                    <a:pt x="197" y="349"/>
                  </a:moveTo>
                  <a:lnTo>
                    <a:pt x="199" y="349"/>
                  </a:lnTo>
                  <a:lnTo>
                    <a:pt x="197" y="349"/>
                  </a:lnTo>
                  <a:close/>
                  <a:moveTo>
                    <a:pt x="218" y="349"/>
                  </a:moveTo>
                  <a:lnTo>
                    <a:pt x="221" y="349"/>
                  </a:lnTo>
                  <a:lnTo>
                    <a:pt x="218" y="349"/>
                  </a:lnTo>
                  <a:lnTo>
                    <a:pt x="221" y="349"/>
                  </a:lnTo>
                  <a:lnTo>
                    <a:pt x="218" y="349"/>
                  </a:lnTo>
                  <a:close/>
                  <a:moveTo>
                    <a:pt x="102" y="349"/>
                  </a:moveTo>
                  <a:lnTo>
                    <a:pt x="100" y="349"/>
                  </a:lnTo>
                  <a:lnTo>
                    <a:pt x="102" y="349"/>
                  </a:lnTo>
                  <a:close/>
                  <a:moveTo>
                    <a:pt x="100" y="349"/>
                  </a:moveTo>
                  <a:lnTo>
                    <a:pt x="100" y="352"/>
                  </a:lnTo>
                  <a:lnTo>
                    <a:pt x="97" y="352"/>
                  </a:lnTo>
                  <a:lnTo>
                    <a:pt x="97" y="349"/>
                  </a:lnTo>
                  <a:lnTo>
                    <a:pt x="100" y="349"/>
                  </a:lnTo>
                  <a:close/>
                  <a:moveTo>
                    <a:pt x="209" y="349"/>
                  </a:moveTo>
                  <a:lnTo>
                    <a:pt x="211" y="349"/>
                  </a:lnTo>
                  <a:lnTo>
                    <a:pt x="209" y="352"/>
                  </a:lnTo>
                  <a:lnTo>
                    <a:pt x="209" y="349"/>
                  </a:lnTo>
                  <a:close/>
                  <a:moveTo>
                    <a:pt x="55" y="349"/>
                  </a:moveTo>
                  <a:lnTo>
                    <a:pt x="57" y="349"/>
                  </a:lnTo>
                  <a:lnTo>
                    <a:pt x="55" y="349"/>
                  </a:lnTo>
                  <a:lnTo>
                    <a:pt x="57" y="349"/>
                  </a:lnTo>
                  <a:lnTo>
                    <a:pt x="55" y="349"/>
                  </a:lnTo>
                  <a:close/>
                  <a:moveTo>
                    <a:pt x="69" y="349"/>
                  </a:moveTo>
                  <a:lnTo>
                    <a:pt x="67" y="349"/>
                  </a:lnTo>
                  <a:lnTo>
                    <a:pt x="69" y="349"/>
                  </a:lnTo>
                  <a:lnTo>
                    <a:pt x="67" y="349"/>
                  </a:lnTo>
                  <a:lnTo>
                    <a:pt x="69" y="349"/>
                  </a:lnTo>
                  <a:lnTo>
                    <a:pt x="67" y="349"/>
                  </a:lnTo>
                  <a:lnTo>
                    <a:pt x="69" y="352"/>
                  </a:lnTo>
                  <a:lnTo>
                    <a:pt x="67" y="352"/>
                  </a:lnTo>
                  <a:lnTo>
                    <a:pt x="69" y="352"/>
                  </a:lnTo>
                  <a:lnTo>
                    <a:pt x="71" y="349"/>
                  </a:lnTo>
                  <a:lnTo>
                    <a:pt x="71" y="352"/>
                  </a:lnTo>
                  <a:lnTo>
                    <a:pt x="69" y="352"/>
                  </a:lnTo>
                  <a:lnTo>
                    <a:pt x="67" y="352"/>
                  </a:lnTo>
                  <a:lnTo>
                    <a:pt x="64" y="352"/>
                  </a:lnTo>
                  <a:lnTo>
                    <a:pt x="64" y="349"/>
                  </a:lnTo>
                  <a:lnTo>
                    <a:pt x="64" y="352"/>
                  </a:lnTo>
                  <a:lnTo>
                    <a:pt x="64" y="349"/>
                  </a:lnTo>
                  <a:lnTo>
                    <a:pt x="67" y="349"/>
                  </a:lnTo>
                  <a:lnTo>
                    <a:pt x="64" y="349"/>
                  </a:lnTo>
                  <a:lnTo>
                    <a:pt x="67" y="349"/>
                  </a:lnTo>
                  <a:lnTo>
                    <a:pt x="69" y="349"/>
                  </a:lnTo>
                  <a:close/>
                  <a:moveTo>
                    <a:pt x="216" y="349"/>
                  </a:moveTo>
                  <a:lnTo>
                    <a:pt x="218" y="349"/>
                  </a:lnTo>
                  <a:lnTo>
                    <a:pt x="218" y="352"/>
                  </a:lnTo>
                  <a:lnTo>
                    <a:pt x="216" y="352"/>
                  </a:lnTo>
                  <a:lnTo>
                    <a:pt x="216" y="349"/>
                  </a:lnTo>
                  <a:lnTo>
                    <a:pt x="216" y="352"/>
                  </a:lnTo>
                  <a:lnTo>
                    <a:pt x="214" y="352"/>
                  </a:lnTo>
                  <a:lnTo>
                    <a:pt x="216" y="352"/>
                  </a:lnTo>
                  <a:lnTo>
                    <a:pt x="214" y="352"/>
                  </a:lnTo>
                  <a:lnTo>
                    <a:pt x="214" y="349"/>
                  </a:lnTo>
                  <a:lnTo>
                    <a:pt x="216" y="349"/>
                  </a:lnTo>
                  <a:close/>
                  <a:moveTo>
                    <a:pt x="218" y="349"/>
                  </a:moveTo>
                  <a:lnTo>
                    <a:pt x="216" y="349"/>
                  </a:lnTo>
                  <a:lnTo>
                    <a:pt x="218" y="349"/>
                  </a:lnTo>
                  <a:close/>
                  <a:moveTo>
                    <a:pt x="45" y="349"/>
                  </a:moveTo>
                  <a:lnTo>
                    <a:pt x="45" y="352"/>
                  </a:lnTo>
                  <a:lnTo>
                    <a:pt x="45" y="349"/>
                  </a:lnTo>
                  <a:lnTo>
                    <a:pt x="45" y="352"/>
                  </a:lnTo>
                  <a:lnTo>
                    <a:pt x="45" y="349"/>
                  </a:lnTo>
                  <a:lnTo>
                    <a:pt x="45" y="352"/>
                  </a:lnTo>
                  <a:lnTo>
                    <a:pt x="45" y="349"/>
                  </a:lnTo>
                  <a:close/>
                  <a:moveTo>
                    <a:pt x="102" y="349"/>
                  </a:moveTo>
                  <a:lnTo>
                    <a:pt x="100" y="349"/>
                  </a:lnTo>
                  <a:lnTo>
                    <a:pt x="102" y="349"/>
                  </a:lnTo>
                  <a:close/>
                  <a:moveTo>
                    <a:pt x="71" y="349"/>
                  </a:moveTo>
                  <a:lnTo>
                    <a:pt x="69" y="349"/>
                  </a:lnTo>
                  <a:lnTo>
                    <a:pt x="71" y="349"/>
                  </a:lnTo>
                  <a:lnTo>
                    <a:pt x="69" y="349"/>
                  </a:lnTo>
                  <a:lnTo>
                    <a:pt x="69" y="352"/>
                  </a:lnTo>
                  <a:lnTo>
                    <a:pt x="69" y="349"/>
                  </a:lnTo>
                  <a:lnTo>
                    <a:pt x="71" y="349"/>
                  </a:lnTo>
                  <a:close/>
                  <a:moveTo>
                    <a:pt x="33" y="349"/>
                  </a:moveTo>
                  <a:lnTo>
                    <a:pt x="31" y="349"/>
                  </a:lnTo>
                  <a:lnTo>
                    <a:pt x="33" y="349"/>
                  </a:lnTo>
                  <a:close/>
                  <a:moveTo>
                    <a:pt x="218" y="349"/>
                  </a:moveTo>
                  <a:lnTo>
                    <a:pt x="216" y="349"/>
                  </a:lnTo>
                  <a:lnTo>
                    <a:pt x="218" y="349"/>
                  </a:lnTo>
                  <a:close/>
                  <a:moveTo>
                    <a:pt x="90" y="349"/>
                  </a:moveTo>
                  <a:lnTo>
                    <a:pt x="88" y="349"/>
                  </a:lnTo>
                  <a:lnTo>
                    <a:pt x="90" y="349"/>
                  </a:lnTo>
                  <a:close/>
                  <a:moveTo>
                    <a:pt x="197" y="349"/>
                  </a:moveTo>
                  <a:lnTo>
                    <a:pt x="199" y="349"/>
                  </a:lnTo>
                  <a:lnTo>
                    <a:pt x="197" y="349"/>
                  </a:lnTo>
                  <a:close/>
                  <a:moveTo>
                    <a:pt x="64" y="349"/>
                  </a:moveTo>
                  <a:lnTo>
                    <a:pt x="62" y="349"/>
                  </a:lnTo>
                  <a:lnTo>
                    <a:pt x="64" y="349"/>
                  </a:lnTo>
                  <a:close/>
                  <a:moveTo>
                    <a:pt x="107" y="349"/>
                  </a:moveTo>
                  <a:lnTo>
                    <a:pt x="104" y="349"/>
                  </a:lnTo>
                  <a:lnTo>
                    <a:pt x="107" y="349"/>
                  </a:lnTo>
                  <a:close/>
                  <a:moveTo>
                    <a:pt x="81" y="349"/>
                  </a:moveTo>
                  <a:lnTo>
                    <a:pt x="78" y="349"/>
                  </a:lnTo>
                  <a:lnTo>
                    <a:pt x="81" y="349"/>
                  </a:lnTo>
                  <a:close/>
                  <a:moveTo>
                    <a:pt x="90" y="349"/>
                  </a:moveTo>
                  <a:lnTo>
                    <a:pt x="93" y="349"/>
                  </a:lnTo>
                  <a:lnTo>
                    <a:pt x="90" y="349"/>
                  </a:lnTo>
                  <a:close/>
                  <a:moveTo>
                    <a:pt x="2" y="349"/>
                  </a:moveTo>
                  <a:lnTo>
                    <a:pt x="2" y="347"/>
                  </a:lnTo>
                  <a:lnTo>
                    <a:pt x="2" y="349"/>
                  </a:lnTo>
                  <a:close/>
                  <a:moveTo>
                    <a:pt x="48" y="349"/>
                  </a:moveTo>
                  <a:lnTo>
                    <a:pt x="45" y="349"/>
                  </a:lnTo>
                  <a:lnTo>
                    <a:pt x="48" y="349"/>
                  </a:lnTo>
                  <a:lnTo>
                    <a:pt x="48" y="347"/>
                  </a:lnTo>
                  <a:lnTo>
                    <a:pt x="48" y="349"/>
                  </a:lnTo>
                  <a:close/>
                  <a:moveTo>
                    <a:pt x="104" y="347"/>
                  </a:moveTo>
                  <a:lnTo>
                    <a:pt x="104" y="349"/>
                  </a:lnTo>
                  <a:lnTo>
                    <a:pt x="104" y="347"/>
                  </a:lnTo>
                  <a:lnTo>
                    <a:pt x="104" y="349"/>
                  </a:lnTo>
                  <a:lnTo>
                    <a:pt x="104" y="347"/>
                  </a:lnTo>
                  <a:close/>
                  <a:moveTo>
                    <a:pt x="74" y="349"/>
                  </a:moveTo>
                  <a:lnTo>
                    <a:pt x="74" y="347"/>
                  </a:lnTo>
                  <a:lnTo>
                    <a:pt x="74" y="349"/>
                  </a:lnTo>
                  <a:close/>
                  <a:moveTo>
                    <a:pt x="74" y="349"/>
                  </a:moveTo>
                  <a:lnTo>
                    <a:pt x="71" y="349"/>
                  </a:lnTo>
                  <a:lnTo>
                    <a:pt x="74" y="349"/>
                  </a:lnTo>
                  <a:lnTo>
                    <a:pt x="71" y="349"/>
                  </a:lnTo>
                  <a:lnTo>
                    <a:pt x="74" y="347"/>
                  </a:lnTo>
                  <a:lnTo>
                    <a:pt x="74" y="349"/>
                  </a:lnTo>
                  <a:close/>
                  <a:moveTo>
                    <a:pt x="204" y="347"/>
                  </a:moveTo>
                  <a:lnTo>
                    <a:pt x="204" y="349"/>
                  </a:lnTo>
                  <a:lnTo>
                    <a:pt x="204" y="347"/>
                  </a:lnTo>
                  <a:close/>
                  <a:moveTo>
                    <a:pt x="102" y="347"/>
                  </a:moveTo>
                  <a:lnTo>
                    <a:pt x="104" y="347"/>
                  </a:lnTo>
                  <a:lnTo>
                    <a:pt x="104" y="349"/>
                  </a:lnTo>
                  <a:lnTo>
                    <a:pt x="102" y="349"/>
                  </a:lnTo>
                  <a:lnTo>
                    <a:pt x="102" y="347"/>
                  </a:lnTo>
                  <a:close/>
                  <a:moveTo>
                    <a:pt x="55" y="349"/>
                  </a:moveTo>
                  <a:lnTo>
                    <a:pt x="55" y="347"/>
                  </a:lnTo>
                  <a:lnTo>
                    <a:pt x="55" y="349"/>
                  </a:lnTo>
                  <a:close/>
                  <a:moveTo>
                    <a:pt x="45" y="349"/>
                  </a:moveTo>
                  <a:lnTo>
                    <a:pt x="45" y="347"/>
                  </a:lnTo>
                  <a:lnTo>
                    <a:pt x="45" y="349"/>
                  </a:lnTo>
                  <a:close/>
                  <a:moveTo>
                    <a:pt x="116" y="347"/>
                  </a:moveTo>
                  <a:lnTo>
                    <a:pt x="116" y="349"/>
                  </a:lnTo>
                  <a:lnTo>
                    <a:pt x="116" y="347"/>
                  </a:lnTo>
                  <a:close/>
                  <a:moveTo>
                    <a:pt x="78" y="349"/>
                  </a:moveTo>
                  <a:lnTo>
                    <a:pt x="76" y="349"/>
                  </a:lnTo>
                  <a:lnTo>
                    <a:pt x="76" y="347"/>
                  </a:lnTo>
                  <a:lnTo>
                    <a:pt x="78" y="347"/>
                  </a:lnTo>
                  <a:lnTo>
                    <a:pt x="78" y="349"/>
                  </a:lnTo>
                  <a:close/>
                  <a:moveTo>
                    <a:pt x="71" y="347"/>
                  </a:moveTo>
                  <a:lnTo>
                    <a:pt x="71" y="349"/>
                  </a:lnTo>
                  <a:lnTo>
                    <a:pt x="71" y="347"/>
                  </a:lnTo>
                  <a:close/>
                  <a:moveTo>
                    <a:pt x="218" y="349"/>
                  </a:moveTo>
                  <a:lnTo>
                    <a:pt x="218" y="347"/>
                  </a:lnTo>
                  <a:lnTo>
                    <a:pt x="218" y="349"/>
                  </a:lnTo>
                  <a:close/>
                  <a:moveTo>
                    <a:pt x="81" y="347"/>
                  </a:moveTo>
                  <a:lnTo>
                    <a:pt x="81" y="349"/>
                  </a:lnTo>
                  <a:lnTo>
                    <a:pt x="81" y="347"/>
                  </a:lnTo>
                  <a:close/>
                  <a:moveTo>
                    <a:pt x="71" y="347"/>
                  </a:moveTo>
                  <a:lnTo>
                    <a:pt x="71" y="349"/>
                  </a:lnTo>
                  <a:lnTo>
                    <a:pt x="71" y="347"/>
                  </a:lnTo>
                  <a:lnTo>
                    <a:pt x="71" y="349"/>
                  </a:lnTo>
                  <a:lnTo>
                    <a:pt x="69" y="347"/>
                  </a:lnTo>
                  <a:lnTo>
                    <a:pt x="69" y="349"/>
                  </a:lnTo>
                  <a:lnTo>
                    <a:pt x="69" y="347"/>
                  </a:lnTo>
                  <a:lnTo>
                    <a:pt x="71" y="347"/>
                  </a:lnTo>
                  <a:close/>
                  <a:moveTo>
                    <a:pt x="116" y="347"/>
                  </a:moveTo>
                  <a:lnTo>
                    <a:pt x="116" y="349"/>
                  </a:lnTo>
                  <a:lnTo>
                    <a:pt x="116" y="347"/>
                  </a:lnTo>
                  <a:close/>
                  <a:moveTo>
                    <a:pt x="55" y="347"/>
                  </a:moveTo>
                  <a:lnTo>
                    <a:pt x="55" y="349"/>
                  </a:lnTo>
                  <a:lnTo>
                    <a:pt x="55" y="347"/>
                  </a:lnTo>
                  <a:close/>
                  <a:moveTo>
                    <a:pt x="216" y="349"/>
                  </a:moveTo>
                  <a:lnTo>
                    <a:pt x="216" y="347"/>
                  </a:lnTo>
                  <a:lnTo>
                    <a:pt x="216" y="349"/>
                  </a:lnTo>
                  <a:close/>
                  <a:moveTo>
                    <a:pt x="33" y="347"/>
                  </a:moveTo>
                  <a:lnTo>
                    <a:pt x="33" y="349"/>
                  </a:lnTo>
                  <a:lnTo>
                    <a:pt x="31" y="349"/>
                  </a:lnTo>
                  <a:lnTo>
                    <a:pt x="31" y="347"/>
                  </a:lnTo>
                  <a:lnTo>
                    <a:pt x="33" y="347"/>
                  </a:lnTo>
                  <a:close/>
                  <a:moveTo>
                    <a:pt x="50" y="347"/>
                  </a:moveTo>
                  <a:lnTo>
                    <a:pt x="50" y="349"/>
                  </a:lnTo>
                  <a:lnTo>
                    <a:pt x="50" y="347"/>
                  </a:lnTo>
                  <a:close/>
                  <a:moveTo>
                    <a:pt x="69" y="347"/>
                  </a:moveTo>
                  <a:lnTo>
                    <a:pt x="69" y="349"/>
                  </a:lnTo>
                  <a:lnTo>
                    <a:pt x="67" y="349"/>
                  </a:lnTo>
                  <a:lnTo>
                    <a:pt x="69" y="349"/>
                  </a:lnTo>
                  <a:lnTo>
                    <a:pt x="67" y="349"/>
                  </a:lnTo>
                  <a:lnTo>
                    <a:pt x="67" y="347"/>
                  </a:lnTo>
                  <a:lnTo>
                    <a:pt x="69" y="347"/>
                  </a:lnTo>
                  <a:lnTo>
                    <a:pt x="67" y="347"/>
                  </a:lnTo>
                  <a:lnTo>
                    <a:pt x="69" y="347"/>
                  </a:lnTo>
                  <a:close/>
                  <a:moveTo>
                    <a:pt x="221" y="347"/>
                  </a:moveTo>
                  <a:lnTo>
                    <a:pt x="218" y="347"/>
                  </a:lnTo>
                  <a:lnTo>
                    <a:pt x="221" y="347"/>
                  </a:lnTo>
                  <a:close/>
                  <a:moveTo>
                    <a:pt x="76" y="347"/>
                  </a:moveTo>
                  <a:lnTo>
                    <a:pt x="74" y="349"/>
                  </a:lnTo>
                  <a:lnTo>
                    <a:pt x="76" y="349"/>
                  </a:lnTo>
                  <a:lnTo>
                    <a:pt x="76" y="347"/>
                  </a:lnTo>
                  <a:lnTo>
                    <a:pt x="76" y="349"/>
                  </a:lnTo>
                  <a:lnTo>
                    <a:pt x="74" y="349"/>
                  </a:lnTo>
                  <a:lnTo>
                    <a:pt x="74" y="347"/>
                  </a:lnTo>
                  <a:lnTo>
                    <a:pt x="76" y="347"/>
                  </a:lnTo>
                  <a:close/>
                  <a:moveTo>
                    <a:pt x="40" y="347"/>
                  </a:moveTo>
                  <a:lnTo>
                    <a:pt x="38" y="347"/>
                  </a:lnTo>
                  <a:lnTo>
                    <a:pt x="40" y="347"/>
                  </a:lnTo>
                  <a:lnTo>
                    <a:pt x="38" y="347"/>
                  </a:lnTo>
                  <a:lnTo>
                    <a:pt x="40" y="347"/>
                  </a:lnTo>
                  <a:close/>
                  <a:moveTo>
                    <a:pt x="261" y="347"/>
                  </a:moveTo>
                  <a:lnTo>
                    <a:pt x="259" y="347"/>
                  </a:lnTo>
                  <a:lnTo>
                    <a:pt x="261" y="347"/>
                  </a:lnTo>
                  <a:close/>
                  <a:moveTo>
                    <a:pt x="69" y="347"/>
                  </a:moveTo>
                  <a:lnTo>
                    <a:pt x="71" y="347"/>
                  </a:lnTo>
                  <a:lnTo>
                    <a:pt x="69" y="347"/>
                  </a:lnTo>
                  <a:lnTo>
                    <a:pt x="71" y="347"/>
                  </a:lnTo>
                  <a:lnTo>
                    <a:pt x="69" y="347"/>
                  </a:lnTo>
                  <a:close/>
                  <a:moveTo>
                    <a:pt x="33" y="347"/>
                  </a:moveTo>
                  <a:lnTo>
                    <a:pt x="36" y="347"/>
                  </a:lnTo>
                  <a:lnTo>
                    <a:pt x="36" y="349"/>
                  </a:lnTo>
                  <a:lnTo>
                    <a:pt x="36" y="347"/>
                  </a:lnTo>
                  <a:lnTo>
                    <a:pt x="36" y="349"/>
                  </a:lnTo>
                  <a:lnTo>
                    <a:pt x="36" y="352"/>
                  </a:lnTo>
                  <a:lnTo>
                    <a:pt x="36" y="349"/>
                  </a:lnTo>
                  <a:lnTo>
                    <a:pt x="33" y="349"/>
                  </a:lnTo>
                  <a:lnTo>
                    <a:pt x="36" y="349"/>
                  </a:lnTo>
                  <a:lnTo>
                    <a:pt x="33" y="349"/>
                  </a:lnTo>
                  <a:lnTo>
                    <a:pt x="33" y="347"/>
                  </a:lnTo>
                  <a:close/>
                  <a:moveTo>
                    <a:pt x="48" y="347"/>
                  </a:moveTo>
                  <a:lnTo>
                    <a:pt x="50" y="347"/>
                  </a:lnTo>
                  <a:lnTo>
                    <a:pt x="50" y="349"/>
                  </a:lnTo>
                  <a:lnTo>
                    <a:pt x="48" y="349"/>
                  </a:lnTo>
                  <a:lnTo>
                    <a:pt x="50" y="349"/>
                  </a:lnTo>
                  <a:lnTo>
                    <a:pt x="48" y="349"/>
                  </a:lnTo>
                  <a:lnTo>
                    <a:pt x="48" y="347"/>
                  </a:lnTo>
                  <a:close/>
                  <a:moveTo>
                    <a:pt x="67" y="347"/>
                  </a:moveTo>
                  <a:lnTo>
                    <a:pt x="64" y="347"/>
                  </a:lnTo>
                  <a:lnTo>
                    <a:pt x="67" y="347"/>
                  </a:lnTo>
                  <a:lnTo>
                    <a:pt x="64" y="347"/>
                  </a:lnTo>
                  <a:lnTo>
                    <a:pt x="67" y="347"/>
                  </a:lnTo>
                  <a:close/>
                  <a:moveTo>
                    <a:pt x="71" y="344"/>
                  </a:moveTo>
                  <a:lnTo>
                    <a:pt x="71" y="347"/>
                  </a:lnTo>
                  <a:lnTo>
                    <a:pt x="71" y="344"/>
                  </a:lnTo>
                  <a:lnTo>
                    <a:pt x="71" y="347"/>
                  </a:lnTo>
                  <a:lnTo>
                    <a:pt x="71" y="344"/>
                  </a:lnTo>
                  <a:close/>
                  <a:moveTo>
                    <a:pt x="76" y="344"/>
                  </a:moveTo>
                  <a:lnTo>
                    <a:pt x="76" y="347"/>
                  </a:lnTo>
                  <a:lnTo>
                    <a:pt x="78" y="347"/>
                  </a:lnTo>
                  <a:lnTo>
                    <a:pt x="76" y="347"/>
                  </a:lnTo>
                  <a:lnTo>
                    <a:pt x="76" y="344"/>
                  </a:lnTo>
                  <a:close/>
                  <a:moveTo>
                    <a:pt x="83" y="344"/>
                  </a:moveTo>
                  <a:lnTo>
                    <a:pt x="83" y="347"/>
                  </a:lnTo>
                  <a:lnTo>
                    <a:pt x="83" y="344"/>
                  </a:lnTo>
                  <a:lnTo>
                    <a:pt x="83" y="347"/>
                  </a:lnTo>
                  <a:lnTo>
                    <a:pt x="83" y="344"/>
                  </a:lnTo>
                  <a:close/>
                  <a:moveTo>
                    <a:pt x="88" y="347"/>
                  </a:moveTo>
                  <a:lnTo>
                    <a:pt x="88" y="344"/>
                  </a:lnTo>
                  <a:lnTo>
                    <a:pt x="88" y="347"/>
                  </a:lnTo>
                  <a:close/>
                  <a:moveTo>
                    <a:pt x="33" y="347"/>
                  </a:moveTo>
                  <a:lnTo>
                    <a:pt x="33" y="344"/>
                  </a:lnTo>
                  <a:lnTo>
                    <a:pt x="33" y="347"/>
                  </a:lnTo>
                  <a:close/>
                  <a:moveTo>
                    <a:pt x="81" y="344"/>
                  </a:moveTo>
                  <a:lnTo>
                    <a:pt x="81" y="347"/>
                  </a:lnTo>
                  <a:lnTo>
                    <a:pt x="81" y="344"/>
                  </a:lnTo>
                  <a:close/>
                  <a:moveTo>
                    <a:pt x="40" y="347"/>
                  </a:moveTo>
                  <a:lnTo>
                    <a:pt x="38" y="347"/>
                  </a:lnTo>
                  <a:lnTo>
                    <a:pt x="38" y="344"/>
                  </a:lnTo>
                  <a:lnTo>
                    <a:pt x="40" y="347"/>
                  </a:lnTo>
                  <a:close/>
                  <a:moveTo>
                    <a:pt x="78" y="344"/>
                  </a:moveTo>
                  <a:lnTo>
                    <a:pt x="78" y="347"/>
                  </a:lnTo>
                  <a:lnTo>
                    <a:pt x="81" y="347"/>
                  </a:lnTo>
                  <a:lnTo>
                    <a:pt x="78" y="347"/>
                  </a:lnTo>
                  <a:lnTo>
                    <a:pt x="78" y="344"/>
                  </a:lnTo>
                  <a:close/>
                  <a:moveTo>
                    <a:pt x="242" y="347"/>
                  </a:moveTo>
                  <a:lnTo>
                    <a:pt x="242" y="344"/>
                  </a:lnTo>
                  <a:lnTo>
                    <a:pt x="242" y="347"/>
                  </a:lnTo>
                  <a:close/>
                  <a:moveTo>
                    <a:pt x="12" y="344"/>
                  </a:moveTo>
                  <a:lnTo>
                    <a:pt x="12" y="347"/>
                  </a:lnTo>
                  <a:lnTo>
                    <a:pt x="12" y="344"/>
                  </a:lnTo>
                  <a:close/>
                  <a:moveTo>
                    <a:pt x="74" y="347"/>
                  </a:moveTo>
                  <a:lnTo>
                    <a:pt x="74" y="344"/>
                  </a:lnTo>
                  <a:lnTo>
                    <a:pt x="74" y="347"/>
                  </a:lnTo>
                  <a:lnTo>
                    <a:pt x="74" y="344"/>
                  </a:lnTo>
                  <a:lnTo>
                    <a:pt x="74" y="347"/>
                  </a:lnTo>
                  <a:close/>
                  <a:moveTo>
                    <a:pt x="48" y="344"/>
                  </a:moveTo>
                  <a:lnTo>
                    <a:pt x="48" y="347"/>
                  </a:lnTo>
                  <a:lnTo>
                    <a:pt x="48" y="344"/>
                  </a:lnTo>
                  <a:close/>
                  <a:moveTo>
                    <a:pt x="59" y="344"/>
                  </a:moveTo>
                  <a:lnTo>
                    <a:pt x="59" y="347"/>
                  </a:lnTo>
                  <a:lnTo>
                    <a:pt x="59" y="344"/>
                  </a:lnTo>
                  <a:close/>
                  <a:moveTo>
                    <a:pt x="57" y="347"/>
                  </a:moveTo>
                  <a:lnTo>
                    <a:pt x="55" y="347"/>
                  </a:lnTo>
                  <a:lnTo>
                    <a:pt x="55" y="344"/>
                  </a:lnTo>
                  <a:lnTo>
                    <a:pt x="57" y="344"/>
                  </a:lnTo>
                  <a:lnTo>
                    <a:pt x="57" y="347"/>
                  </a:lnTo>
                  <a:close/>
                  <a:moveTo>
                    <a:pt x="12" y="344"/>
                  </a:moveTo>
                  <a:lnTo>
                    <a:pt x="12" y="347"/>
                  </a:lnTo>
                  <a:lnTo>
                    <a:pt x="12" y="344"/>
                  </a:lnTo>
                  <a:close/>
                  <a:moveTo>
                    <a:pt x="57" y="344"/>
                  </a:moveTo>
                  <a:lnTo>
                    <a:pt x="57" y="347"/>
                  </a:lnTo>
                  <a:lnTo>
                    <a:pt x="57" y="344"/>
                  </a:lnTo>
                  <a:close/>
                  <a:moveTo>
                    <a:pt x="67" y="344"/>
                  </a:moveTo>
                  <a:lnTo>
                    <a:pt x="64" y="344"/>
                  </a:lnTo>
                  <a:lnTo>
                    <a:pt x="67" y="344"/>
                  </a:lnTo>
                  <a:close/>
                  <a:moveTo>
                    <a:pt x="36" y="344"/>
                  </a:moveTo>
                  <a:lnTo>
                    <a:pt x="36" y="347"/>
                  </a:lnTo>
                  <a:lnTo>
                    <a:pt x="36" y="344"/>
                  </a:lnTo>
                  <a:close/>
                  <a:moveTo>
                    <a:pt x="223" y="344"/>
                  </a:moveTo>
                  <a:lnTo>
                    <a:pt x="225" y="344"/>
                  </a:lnTo>
                  <a:lnTo>
                    <a:pt x="225" y="347"/>
                  </a:lnTo>
                  <a:lnTo>
                    <a:pt x="223" y="347"/>
                  </a:lnTo>
                  <a:lnTo>
                    <a:pt x="225" y="347"/>
                  </a:lnTo>
                  <a:lnTo>
                    <a:pt x="223" y="347"/>
                  </a:lnTo>
                  <a:lnTo>
                    <a:pt x="225" y="347"/>
                  </a:lnTo>
                  <a:lnTo>
                    <a:pt x="223" y="347"/>
                  </a:lnTo>
                  <a:lnTo>
                    <a:pt x="221" y="347"/>
                  </a:lnTo>
                  <a:lnTo>
                    <a:pt x="221" y="344"/>
                  </a:lnTo>
                  <a:lnTo>
                    <a:pt x="223" y="347"/>
                  </a:lnTo>
                  <a:lnTo>
                    <a:pt x="223" y="344"/>
                  </a:lnTo>
                  <a:lnTo>
                    <a:pt x="223" y="347"/>
                  </a:lnTo>
                  <a:lnTo>
                    <a:pt x="223" y="344"/>
                  </a:lnTo>
                  <a:close/>
                  <a:moveTo>
                    <a:pt x="10" y="344"/>
                  </a:moveTo>
                  <a:lnTo>
                    <a:pt x="10" y="347"/>
                  </a:lnTo>
                  <a:lnTo>
                    <a:pt x="12" y="347"/>
                  </a:lnTo>
                  <a:lnTo>
                    <a:pt x="12" y="349"/>
                  </a:lnTo>
                  <a:lnTo>
                    <a:pt x="12" y="347"/>
                  </a:lnTo>
                  <a:lnTo>
                    <a:pt x="10" y="349"/>
                  </a:lnTo>
                  <a:lnTo>
                    <a:pt x="12" y="349"/>
                  </a:lnTo>
                  <a:lnTo>
                    <a:pt x="10" y="349"/>
                  </a:lnTo>
                  <a:lnTo>
                    <a:pt x="12" y="349"/>
                  </a:lnTo>
                  <a:lnTo>
                    <a:pt x="12" y="352"/>
                  </a:lnTo>
                  <a:lnTo>
                    <a:pt x="10" y="352"/>
                  </a:lnTo>
                  <a:lnTo>
                    <a:pt x="10" y="349"/>
                  </a:lnTo>
                  <a:lnTo>
                    <a:pt x="10" y="352"/>
                  </a:lnTo>
                  <a:lnTo>
                    <a:pt x="10" y="354"/>
                  </a:lnTo>
                  <a:lnTo>
                    <a:pt x="7" y="354"/>
                  </a:lnTo>
                  <a:lnTo>
                    <a:pt x="7" y="352"/>
                  </a:lnTo>
                  <a:lnTo>
                    <a:pt x="7" y="349"/>
                  </a:lnTo>
                  <a:lnTo>
                    <a:pt x="5" y="349"/>
                  </a:lnTo>
                  <a:lnTo>
                    <a:pt x="5" y="347"/>
                  </a:lnTo>
                  <a:lnTo>
                    <a:pt x="5" y="349"/>
                  </a:lnTo>
                  <a:lnTo>
                    <a:pt x="5" y="347"/>
                  </a:lnTo>
                  <a:lnTo>
                    <a:pt x="7" y="347"/>
                  </a:lnTo>
                  <a:lnTo>
                    <a:pt x="7" y="349"/>
                  </a:lnTo>
                  <a:lnTo>
                    <a:pt x="7" y="347"/>
                  </a:lnTo>
                  <a:lnTo>
                    <a:pt x="10" y="347"/>
                  </a:lnTo>
                  <a:lnTo>
                    <a:pt x="10" y="344"/>
                  </a:lnTo>
                  <a:close/>
                  <a:moveTo>
                    <a:pt x="12" y="344"/>
                  </a:moveTo>
                  <a:lnTo>
                    <a:pt x="10" y="344"/>
                  </a:lnTo>
                  <a:lnTo>
                    <a:pt x="12" y="344"/>
                  </a:lnTo>
                  <a:lnTo>
                    <a:pt x="10" y="344"/>
                  </a:lnTo>
                  <a:lnTo>
                    <a:pt x="12" y="344"/>
                  </a:lnTo>
                  <a:close/>
                  <a:moveTo>
                    <a:pt x="86" y="344"/>
                  </a:moveTo>
                  <a:lnTo>
                    <a:pt x="88" y="344"/>
                  </a:lnTo>
                  <a:lnTo>
                    <a:pt x="88" y="347"/>
                  </a:lnTo>
                  <a:lnTo>
                    <a:pt x="86" y="347"/>
                  </a:lnTo>
                  <a:lnTo>
                    <a:pt x="88" y="347"/>
                  </a:lnTo>
                  <a:lnTo>
                    <a:pt x="86" y="347"/>
                  </a:lnTo>
                  <a:lnTo>
                    <a:pt x="86" y="344"/>
                  </a:lnTo>
                  <a:lnTo>
                    <a:pt x="83" y="344"/>
                  </a:lnTo>
                  <a:lnTo>
                    <a:pt x="86" y="344"/>
                  </a:lnTo>
                  <a:close/>
                  <a:moveTo>
                    <a:pt x="81" y="344"/>
                  </a:moveTo>
                  <a:lnTo>
                    <a:pt x="78" y="344"/>
                  </a:lnTo>
                  <a:lnTo>
                    <a:pt x="81" y="344"/>
                  </a:lnTo>
                  <a:close/>
                  <a:moveTo>
                    <a:pt x="62" y="344"/>
                  </a:moveTo>
                  <a:lnTo>
                    <a:pt x="64" y="344"/>
                  </a:lnTo>
                  <a:lnTo>
                    <a:pt x="62" y="344"/>
                  </a:lnTo>
                  <a:close/>
                  <a:moveTo>
                    <a:pt x="207" y="344"/>
                  </a:moveTo>
                  <a:lnTo>
                    <a:pt x="209" y="344"/>
                  </a:lnTo>
                  <a:lnTo>
                    <a:pt x="207" y="344"/>
                  </a:lnTo>
                  <a:lnTo>
                    <a:pt x="207" y="347"/>
                  </a:lnTo>
                  <a:lnTo>
                    <a:pt x="209" y="347"/>
                  </a:lnTo>
                  <a:lnTo>
                    <a:pt x="209" y="349"/>
                  </a:lnTo>
                  <a:lnTo>
                    <a:pt x="209" y="352"/>
                  </a:lnTo>
                  <a:lnTo>
                    <a:pt x="209" y="349"/>
                  </a:lnTo>
                  <a:lnTo>
                    <a:pt x="207" y="349"/>
                  </a:lnTo>
                  <a:lnTo>
                    <a:pt x="209" y="349"/>
                  </a:lnTo>
                  <a:lnTo>
                    <a:pt x="207" y="349"/>
                  </a:lnTo>
                  <a:lnTo>
                    <a:pt x="209" y="349"/>
                  </a:lnTo>
                  <a:lnTo>
                    <a:pt x="207" y="349"/>
                  </a:lnTo>
                  <a:lnTo>
                    <a:pt x="207" y="347"/>
                  </a:lnTo>
                  <a:lnTo>
                    <a:pt x="207" y="344"/>
                  </a:lnTo>
                  <a:close/>
                  <a:moveTo>
                    <a:pt x="50" y="344"/>
                  </a:moveTo>
                  <a:lnTo>
                    <a:pt x="48" y="344"/>
                  </a:lnTo>
                  <a:lnTo>
                    <a:pt x="50" y="344"/>
                  </a:lnTo>
                  <a:close/>
                  <a:moveTo>
                    <a:pt x="38" y="344"/>
                  </a:moveTo>
                  <a:lnTo>
                    <a:pt x="36" y="344"/>
                  </a:lnTo>
                  <a:lnTo>
                    <a:pt x="38" y="344"/>
                  </a:lnTo>
                  <a:close/>
                  <a:moveTo>
                    <a:pt x="83" y="344"/>
                  </a:moveTo>
                  <a:lnTo>
                    <a:pt x="86" y="344"/>
                  </a:lnTo>
                  <a:lnTo>
                    <a:pt x="83" y="344"/>
                  </a:lnTo>
                  <a:close/>
                  <a:moveTo>
                    <a:pt x="230" y="344"/>
                  </a:moveTo>
                  <a:lnTo>
                    <a:pt x="228" y="344"/>
                  </a:lnTo>
                  <a:lnTo>
                    <a:pt x="230" y="344"/>
                  </a:lnTo>
                  <a:close/>
                  <a:moveTo>
                    <a:pt x="86" y="344"/>
                  </a:moveTo>
                  <a:lnTo>
                    <a:pt x="83" y="344"/>
                  </a:lnTo>
                  <a:lnTo>
                    <a:pt x="86" y="344"/>
                  </a:lnTo>
                  <a:lnTo>
                    <a:pt x="83" y="344"/>
                  </a:lnTo>
                  <a:lnTo>
                    <a:pt x="86" y="344"/>
                  </a:lnTo>
                  <a:close/>
                  <a:moveTo>
                    <a:pt x="81" y="344"/>
                  </a:moveTo>
                  <a:lnTo>
                    <a:pt x="83" y="344"/>
                  </a:lnTo>
                  <a:lnTo>
                    <a:pt x="81" y="344"/>
                  </a:lnTo>
                  <a:close/>
                  <a:moveTo>
                    <a:pt x="123" y="344"/>
                  </a:moveTo>
                  <a:lnTo>
                    <a:pt x="121" y="344"/>
                  </a:lnTo>
                  <a:lnTo>
                    <a:pt x="121" y="347"/>
                  </a:lnTo>
                  <a:lnTo>
                    <a:pt x="121" y="344"/>
                  </a:lnTo>
                  <a:lnTo>
                    <a:pt x="123" y="344"/>
                  </a:lnTo>
                  <a:close/>
                  <a:moveTo>
                    <a:pt x="10" y="344"/>
                  </a:moveTo>
                  <a:lnTo>
                    <a:pt x="7" y="344"/>
                  </a:lnTo>
                  <a:lnTo>
                    <a:pt x="10" y="344"/>
                  </a:lnTo>
                  <a:close/>
                  <a:moveTo>
                    <a:pt x="14" y="344"/>
                  </a:moveTo>
                  <a:lnTo>
                    <a:pt x="12" y="344"/>
                  </a:lnTo>
                  <a:lnTo>
                    <a:pt x="14" y="344"/>
                  </a:lnTo>
                  <a:close/>
                  <a:moveTo>
                    <a:pt x="62" y="344"/>
                  </a:moveTo>
                  <a:lnTo>
                    <a:pt x="59" y="344"/>
                  </a:lnTo>
                  <a:lnTo>
                    <a:pt x="62" y="344"/>
                  </a:lnTo>
                  <a:lnTo>
                    <a:pt x="59" y="344"/>
                  </a:lnTo>
                  <a:lnTo>
                    <a:pt x="62" y="344"/>
                  </a:lnTo>
                  <a:lnTo>
                    <a:pt x="59" y="344"/>
                  </a:lnTo>
                  <a:lnTo>
                    <a:pt x="62" y="344"/>
                  </a:lnTo>
                  <a:close/>
                  <a:moveTo>
                    <a:pt x="64" y="344"/>
                  </a:moveTo>
                  <a:lnTo>
                    <a:pt x="67" y="344"/>
                  </a:lnTo>
                  <a:lnTo>
                    <a:pt x="64" y="344"/>
                  </a:lnTo>
                  <a:close/>
                  <a:moveTo>
                    <a:pt x="86" y="344"/>
                  </a:moveTo>
                  <a:lnTo>
                    <a:pt x="83" y="344"/>
                  </a:lnTo>
                  <a:lnTo>
                    <a:pt x="86" y="344"/>
                  </a:lnTo>
                  <a:close/>
                  <a:moveTo>
                    <a:pt x="78" y="344"/>
                  </a:moveTo>
                  <a:lnTo>
                    <a:pt x="81" y="344"/>
                  </a:lnTo>
                  <a:lnTo>
                    <a:pt x="78" y="344"/>
                  </a:lnTo>
                  <a:close/>
                  <a:moveTo>
                    <a:pt x="88" y="344"/>
                  </a:moveTo>
                  <a:lnTo>
                    <a:pt x="90" y="344"/>
                  </a:lnTo>
                  <a:lnTo>
                    <a:pt x="88" y="344"/>
                  </a:lnTo>
                  <a:lnTo>
                    <a:pt x="86" y="344"/>
                  </a:lnTo>
                  <a:lnTo>
                    <a:pt x="88" y="344"/>
                  </a:lnTo>
                  <a:close/>
                  <a:moveTo>
                    <a:pt x="97" y="344"/>
                  </a:moveTo>
                  <a:lnTo>
                    <a:pt x="100" y="344"/>
                  </a:lnTo>
                  <a:lnTo>
                    <a:pt x="100" y="347"/>
                  </a:lnTo>
                  <a:lnTo>
                    <a:pt x="97" y="347"/>
                  </a:lnTo>
                  <a:lnTo>
                    <a:pt x="95" y="347"/>
                  </a:lnTo>
                  <a:lnTo>
                    <a:pt x="97" y="347"/>
                  </a:lnTo>
                  <a:lnTo>
                    <a:pt x="95" y="347"/>
                  </a:lnTo>
                  <a:lnTo>
                    <a:pt x="97" y="347"/>
                  </a:lnTo>
                  <a:lnTo>
                    <a:pt x="97" y="349"/>
                  </a:lnTo>
                  <a:lnTo>
                    <a:pt x="95" y="349"/>
                  </a:lnTo>
                  <a:lnTo>
                    <a:pt x="95" y="347"/>
                  </a:lnTo>
                  <a:lnTo>
                    <a:pt x="95" y="349"/>
                  </a:lnTo>
                  <a:lnTo>
                    <a:pt x="93" y="349"/>
                  </a:lnTo>
                  <a:lnTo>
                    <a:pt x="93" y="347"/>
                  </a:lnTo>
                  <a:lnTo>
                    <a:pt x="95" y="347"/>
                  </a:lnTo>
                  <a:lnTo>
                    <a:pt x="95" y="344"/>
                  </a:lnTo>
                  <a:lnTo>
                    <a:pt x="93" y="344"/>
                  </a:lnTo>
                  <a:lnTo>
                    <a:pt x="95" y="347"/>
                  </a:lnTo>
                  <a:lnTo>
                    <a:pt x="93" y="347"/>
                  </a:lnTo>
                  <a:lnTo>
                    <a:pt x="90" y="347"/>
                  </a:lnTo>
                  <a:lnTo>
                    <a:pt x="93" y="347"/>
                  </a:lnTo>
                  <a:lnTo>
                    <a:pt x="90" y="347"/>
                  </a:lnTo>
                  <a:lnTo>
                    <a:pt x="90" y="344"/>
                  </a:lnTo>
                  <a:lnTo>
                    <a:pt x="93" y="344"/>
                  </a:lnTo>
                  <a:lnTo>
                    <a:pt x="95" y="344"/>
                  </a:lnTo>
                  <a:lnTo>
                    <a:pt x="97" y="344"/>
                  </a:lnTo>
                  <a:close/>
                  <a:moveTo>
                    <a:pt x="76" y="344"/>
                  </a:moveTo>
                  <a:lnTo>
                    <a:pt x="74" y="344"/>
                  </a:lnTo>
                  <a:lnTo>
                    <a:pt x="76" y="344"/>
                  </a:lnTo>
                  <a:close/>
                  <a:moveTo>
                    <a:pt x="64" y="344"/>
                  </a:moveTo>
                  <a:lnTo>
                    <a:pt x="67" y="344"/>
                  </a:lnTo>
                  <a:lnTo>
                    <a:pt x="64" y="344"/>
                  </a:lnTo>
                  <a:close/>
                  <a:moveTo>
                    <a:pt x="78" y="344"/>
                  </a:moveTo>
                  <a:lnTo>
                    <a:pt x="76" y="344"/>
                  </a:lnTo>
                  <a:lnTo>
                    <a:pt x="78" y="344"/>
                  </a:lnTo>
                  <a:lnTo>
                    <a:pt x="76" y="344"/>
                  </a:lnTo>
                  <a:lnTo>
                    <a:pt x="78" y="344"/>
                  </a:lnTo>
                  <a:close/>
                  <a:moveTo>
                    <a:pt x="86" y="342"/>
                  </a:moveTo>
                  <a:lnTo>
                    <a:pt x="86" y="344"/>
                  </a:lnTo>
                  <a:lnTo>
                    <a:pt x="88" y="344"/>
                  </a:lnTo>
                  <a:lnTo>
                    <a:pt x="86" y="344"/>
                  </a:lnTo>
                  <a:lnTo>
                    <a:pt x="86" y="342"/>
                  </a:lnTo>
                  <a:close/>
                  <a:moveTo>
                    <a:pt x="69" y="344"/>
                  </a:moveTo>
                  <a:lnTo>
                    <a:pt x="69" y="342"/>
                  </a:lnTo>
                  <a:lnTo>
                    <a:pt x="69" y="344"/>
                  </a:lnTo>
                  <a:close/>
                  <a:moveTo>
                    <a:pt x="67" y="342"/>
                  </a:moveTo>
                  <a:lnTo>
                    <a:pt x="67" y="344"/>
                  </a:lnTo>
                  <a:lnTo>
                    <a:pt x="64" y="344"/>
                  </a:lnTo>
                  <a:lnTo>
                    <a:pt x="64" y="342"/>
                  </a:lnTo>
                  <a:lnTo>
                    <a:pt x="67" y="342"/>
                  </a:lnTo>
                  <a:close/>
                  <a:moveTo>
                    <a:pt x="14" y="344"/>
                  </a:moveTo>
                  <a:lnTo>
                    <a:pt x="14" y="342"/>
                  </a:lnTo>
                  <a:lnTo>
                    <a:pt x="14" y="344"/>
                  </a:lnTo>
                  <a:close/>
                  <a:moveTo>
                    <a:pt x="81" y="342"/>
                  </a:moveTo>
                  <a:lnTo>
                    <a:pt x="83" y="344"/>
                  </a:lnTo>
                  <a:lnTo>
                    <a:pt x="81" y="344"/>
                  </a:lnTo>
                  <a:lnTo>
                    <a:pt x="81" y="342"/>
                  </a:lnTo>
                  <a:close/>
                  <a:moveTo>
                    <a:pt x="83" y="342"/>
                  </a:moveTo>
                  <a:lnTo>
                    <a:pt x="86" y="342"/>
                  </a:lnTo>
                  <a:lnTo>
                    <a:pt x="83" y="342"/>
                  </a:lnTo>
                  <a:close/>
                  <a:moveTo>
                    <a:pt x="90" y="342"/>
                  </a:moveTo>
                  <a:lnTo>
                    <a:pt x="90" y="344"/>
                  </a:lnTo>
                  <a:lnTo>
                    <a:pt x="90" y="342"/>
                  </a:lnTo>
                  <a:lnTo>
                    <a:pt x="93" y="342"/>
                  </a:lnTo>
                  <a:lnTo>
                    <a:pt x="90" y="342"/>
                  </a:lnTo>
                  <a:close/>
                  <a:moveTo>
                    <a:pt x="36" y="342"/>
                  </a:moveTo>
                  <a:lnTo>
                    <a:pt x="36" y="344"/>
                  </a:lnTo>
                  <a:lnTo>
                    <a:pt x="36" y="342"/>
                  </a:lnTo>
                  <a:lnTo>
                    <a:pt x="36" y="344"/>
                  </a:lnTo>
                  <a:lnTo>
                    <a:pt x="36" y="342"/>
                  </a:lnTo>
                  <a:close/>
                  <a:moveTo>
                    <a:pt x="225" y="342"/>
                  </a:moveTo>
                  <a:lnTo>
                    <a:pt x="228" y="342"/>
                  </a:lnTo>
                  <a:lnTo>
                    <a:pt x="228" y="344"/>
                  </a:lnTo>
                  <a:lnTo>
                    <a:pt x="225" y="344"/>
                  </a:lnTo>
                  <a:lnTo>
                    <a:pt x="225" y="342"/>
                  </a:lnTo>
                  <a:close/>
                  <a:moveTo>
                    <a:pt x="268" y="342"/>
                  </a:moveTo>
                  <a:lnTo>
                    <a:pt x="268" y="344"/>
                  </a:lnTo>
                  <a:lnTo>
                    <a:pt x="268" y="342"/>
                  </a:lnTo>
                  <a:close/>
                  <a:moveTo>
                    <a:pt x="12" y="344"/>
                  </a:moveTo>
                  <a:lnTo>
                    <a:pt x="12" y="342"/>
                  </a:lnTo>
                  <a:lnTo>
                    <a:pt x="12" y="344"/>
                  </a:lnTo>
                  <a:lnTo>
                    <a:pt x="12" y="342"/>
                  </a:lnTo>
                  <a:lnTo>
                    <a:pt x="12" y="344"/>
                  </a:lnTo>
                  <a:lnTo>
                    <a:pt x="12" y="342"/>
                  </a:lnTo>
                  <a:lnTo>
                    <a:pt x="12" y="344"/>
                  </a:lnTo>
                  <a:close/>
                  <a:moveTo>
                    <a:pt x="52" y="342"/>
                  </a:moveTo>
                  <a:lnTo>
                    <a:pt x="52" y="344"/>
                  </a:lnTo>
                  <a:lnTo>
                    <a:pt x="52" y="342"/>
                  </a:lnTo>
                  <a:lnTo>
                    <a:pt x="52" y="344"/>
                  </a:lnTo>
                  <a:lnTo>
                    <a:pt x="55" y="344"/>
                  </a:lnTo>
                  <a:lnTo>
                    <a:pt x="52" y="344"/>
                  </a:lnTo>
                  <a:lnTo>
                    <a:pt x="55" y="344"/>
                  </a:lnTo>
                  <a:lnTo>
                    <a:pt x="52" y="344"/>
                  </a:lnTo>
                  <a:lnTo>
                    <a:pt x="55" y="344"/>
                  </a:lnTo>
                  <a:lnTo>
                    <a:pt x="52" y="344"/>
                  </a:lnTo>
                  <a:lnTo>
                    <a:pt x="52" y="342"/>
                  </a:lnTo>
                  <a:close/>
                  <a:moveTo>
                    <a:pt x="218" y="342"/>
                  </a:moveTo>
                  <a:lnTo>
                    <a:pt x="218" y="344"/>
                  </a:lnTo>
                  <a:lnTo>
                    <a:pt x="218" y="342"/>
                  </a:lnTo>
                  <a:lnTo>
                    <a:pt x="221" y="342"/>
                  </a:lnTo>
                  <a:lnTo>
                    <a:pt x="221" y="344"/>
                  </a:lnTo>
                  <a:lnTo>
                    <a:pt x="221" y="347"/>
                  </a:lnTo>
                  <a:lnTo>
                    <a:pt x="218" y="347"/>
                  </a:lnTo>
                  <a:lnTo>
                    <a:pt x="218" y="344"/>
                  </a:lnTo>
                  <a:lnTo>
                    <a:pt x="218" y="342"/>
                  </a:lnTo>
                  <a:lnTo>
                    <a:pt x="218" y="344"/>
                  </a:lnTo>
                  <a:lnTo>
                    <a:pt x="218" y="342"/>
                  </a:lnTo>
                  <a:close/>
                  <a:moveTo>
                    <a:pt x="230" y="342"/>
                  </a:moveTo>
                  <a:lnTo>
                    <a:pt x="230" y="344"/>
                  </a:lnTo>
                  <a:lnTo>
                    <a:pt x="230" y="342"/>
                  </a:lnTo>
                  <a:lnTo>
                    <a:pt x="228" y="342"/>
                  </a:lnTo>
                  <a:lnTo>
                    <a:pt x="230" y="342"/>
                  </a:lnTo>
                  <a:close/>
                  <a:moveTo>
                    <a:pt x="62" y="342"/>
                  </a:moveTo>
                  <a:lnTo>
                    <a:pt x="62" y="344"/>
                  </a:lnTo>
                  <a:lnTo>
                    <a:pt x="59" y="344"/>
                  </a:lnTo>
                  <a:lnTo>
                    <a:pt x="59" y="342"/>
                  </a:lnTo>
                  <a:lnTo>
                    <a:pt x="62" y="342"/>
                  </a:lnTo>
                  <a:close/>
                  <a:moveTo>
                    <a:pt x="225" y="342"/>
                  </a:moveTo>
                  <a:lnTo>
                    <a:pt x="223" y="342"/>
                  </a:lnTo>
                  <a:lnTo>
                    <a:pt x="225" y="342"/>
                  </a:lnTo>
                  <a:lnTo>
                    <a:pt x="223" y="342"/>
                  </a:lnTo>
                  <a:lnTo>
                    <a:pt x="225" y="344"/>
                  </a:lnTo>
                  <a:lnTo>
                    <a:pt x="223" y="344"/>
                  </a:lnTo>
                  <a:lnTo>
                    <a:pt x="223" y="342"/>
                  </a:lnTo>
                  <a:lnTo>
                    <a:pt x="225" y="342"/>
                  </a:lnTo>
                  <a:close/>
                  <a:moveTo>
                    <a:pt x="52" y="342"/>
                  </a:moveTo>
                  <a:lnTo>
                    <a:pt x="55" y="342"/>
                  </a:lnTo>
                  <a:lnTo>
                    <a:pt x="52" y="342"/>
                  </a:lnTo>
                  <a:lnTo>
                    <a:pt x="55" y="342"/>
                  </a:lnTo>
                  <a:lnTo>
                    <a:pt x="52" y="342"/>
                  </a:lnTo>
                  <a:lnTo>
                    <a:pt x="55" y="342"/>
                  </a:lnTo>
                  <a:lnTo>
                    <a:pt x="55" y="344"/>
                  </a:lnTo>
                  <a:lnTo>
                    <a:pt x="52" y="342"/>
                  </a:lnTo>
                  <a:close/>
                  <a:moveTo>
                    <a:pt x="235" y="342"/>
                  </a:moveTo>
                  <a:lnTo>
                    <a:pt x="235" y="344"/>
                  </a:lnTo>
                  <a:lnTo>
                    <a:pt x="235" y="342"/>
                  </a:lnTo>
                  <a:close/>
                  <a:moveTo>
                    <a:pt x="78" y="342"/>
                  </a:moveTo>
                  <a:lnTo>
                    <a:pt x="78" y="344"/>
                  </a:lnTo>
                  <a:lnTo>
                    <a:pt x="78" y="342"/>
                  </a:lnTo>
                  <a:lnTo>
                    <a:pt x="78" y="344"/>
                  </a:lnTo>
                  <a:lnTo>
                    <a:pt x="76" y="342"/>
                  </a:lnTo>
                  <a:lnTo>
                    <a:pt x="78" y="342"/>
                  </a:lnTo>
                  <a:close/>
                  <a:moveTo>
                    <a:pt x="33" y="342"/>
                  </a:moveTo>
                  <a:lnTo>
                    <a:pt x="36" y="342"/>
                  </a:lnTo>
                  <a:lnTo>
                    <a:pt x="36" y="344"/>
                  </a:lnTo>
                  <a:lnTo>
                    <a:pt x="33" y="344"/>
                  </a:lnTo>
                  <a:lnTo>
                    <a:pt x="33" y="342"/>
                  </a:lnTo>
                  <a:lnTo>
                    <a:pt x="33" y="344"/>
                  </a:lnTo>
                  <a:lnTo>
                    <a:pt x="31" y="344"/>
                  </a:lnTo>
                  <a:lnTo>
                    <a:pt x="33" y="342"/>
                  </a:lnTo>
                  <a:lnTo>
                    <a:pt x="31" y="342"/>
                  </a:lnTo>
                  <a:lnTo>
                    <a:pt x="33" y="342"/>
                  </a:lnTo>
                  <a:close/>
                  <a:moveTo>
                    <a:pt x="57" y="342"/>
                  </a:moveTo>
                  <a:lnTo>
                    <a:pt x="59" y="342"/>
                  </a:lnTo>
                  <a:lnTo>
                    <a:pt x="57" y="342"/>
                  </a:lnTo>
                  <a:lnTo>
                    <a:pt x="59" y="342"/>
                  </a:lnTo>
                  <a:lnTo>
                    <a:pt x="59" y="344"/>
                  </a:lnTo>
                  <a:lnTo>
                    <a:pt x="59" y="342"/>
                  </a:lnTo>
                  <a:lnTo>
                    <a:pt x="59" y="344"/>
                  </a:lnTo>
                  <a:lnTo>
                    <a:pt x="57" y="344"/>
                  </a:lnTo>
                  <a:lnTo>
                    <a:pt x="57" y="342"/>
                  </a:lnTo>
                  <a:close/>
                  <a:moveTo>
                    <a:pt x="48" y="342"/>
                  </a:moveTo>
                  <a:lnTo>
                    <a:pt x="48" y="344"/>
                  </a:lnTo>
                  <a:lnTo>
                    <a:pt x="48" y="342"/>
                  </a:lnTo>
                  <a:lnTo>
                    <a:pt x="48" y="344"/>
                  </a:lnTo>
                  <a:lnTo>
                    <a:pt x="48" y="342"/>
                  </a:lnTo>
                  <a:close/>
                  <a:moveTo>
                    <a:pt x="78" y="342"/>
                  </a:moveTo>
                  <a:lnTo>
                    <a:pt x="76" y="342"/>
                  </a:lnTo>
                  <a:lnTo>
                    <a:pt x="78" y="342"/>
                  </a:lnTo>
                  <a:close/>
                  <a:moveTo>
                    <a:pt x="10" y="342"/>
                  </a:moveTo>
                  <a:lnTo>
                    <a:pt x="10" y="344"/>
                  </a:lnTo>
                  <a:lnTo>
                    <a:pt x="7" y="344"/>
                  </a:lnTo>
                  <a:lnTo>
                    <a:pt x="7" y="342"/>
                  </a:lnTo>
                  <a:lnTo>
                    <a:pt x="7" y="344"/>
                  </a:lnTo>
                  <a:lnTo>
                    <a:pt x="7" y="342"/>
                  </a:lnTo>
                  <a:lnTo>
                    <a:pt x="10" y="342"/>
                  </a:lnTo>
                  <a:close/>
                  <a:moveTo>
                    <a:pt x="247" y="342"/>
                  </a:moveTo>
                  <a:lnTo>
                    <a:pt x="244" y="342"/>
                  </a:lnTo>
                  <a:lnTo>
                    <a:pt x="247" y="342"/>
                  </a:lnTo>
                  <a:close/>
                  <a:moveTo>
                    <a:pt x="64" y="342"/>
                  </a:moveTo>
                  <a:lnTo>
                    <a:pt x="62" y="342"/>
                  </a:lnTo>
                  <a:lnTo>
                    <a:pt x="64" y="342"/>
                  </a:lnTo>
                  <a:close/>
                  <a:moveTo>
                    <a:pt x="102" y="342"/>
                  </a:moveTo>
                  <a:lnTo>
                    <a:pt x="104" y="342"/>
                  </a:lnTo>
                  <a:lnTo>
                    <a:pt x="104" y="344"/>
                  </a:lnTo>
                  <a:lnTo>
                    <a:pt x="102" y="344"/>
                  </a:lnTo>
                  <a:lnTo>
                    <a:pt x="104" y="344"/>
                  </a:lnTo>
                  <a:lnTo>
                    <a:pt x="104" y="347"/>
                  </a:lnTo>
                  <a:lnTo>
                    <a:pt x="102" y="347"/>
                  </a:lnTo>
                  <a:lnTo>
                    <a:pt x="102" y="349"/>
                  </a:lnTo>
                  <a:lnTo>
                    <a:pt x="100" y="349"/>
                  </a:lnTo>
                  <a:lnTo>
                    <a:pt x="97" y="349"/>
                  </a:lnTo>
                  <a:lnTo>
                    <a:pt x="97" y="352"/>
                  </a:lnTo>
                  <a:lnTo>
                    <a:pt x="95" y="352"/>
                  </a:lnTo>
                  <a:lnTo>
                    <a:pt x="95" y="349"/>
                  </a:lnTo>
                  <a:lnTo>
                    <a:pt x="93" y="349"/>
                  </a:lnTo>
                  <a:lnTo>
                    <a:pt x="95" y="349"/>
                  </a:lnTo>
                  <a:lnTo>
                    <a:pt x="97" y="349"/>
                  </a:lnTo>
                  <a:lnTo>
                    <a:pt x="95" y="349"/>
                  </a:lnTo>
                  <a:lnTo>
                    <a:pt x="97" y="349"/>
                  </a:lnTo>
                  <a:lnTo>
                    <a:pt x="97" y="347"/>
                  </a:lnTo>
                  <a:lnTo>
                    <a:pt x="100" y="347"/>
                  </a:lnTo>
                  <a:lnTo>
                    <a:pt x="97" y="347"/>
                  </a:lnTo>
                  <a:lnTo>
                    <a:pt x="100" y="347"/>
                  </a:lnTo>
                  <a:lnTo>
                    <a:pt x="100" y="349"/>
                  </a:lnTo>
                  <a:lnTo>
                    <a:pt x="100" y="347"/>
                  </a:lnTo>
                  <a:lnTo>
                    <a:pt x="102" y="344"/>
                  </a:lnTo>
                  <a:lnTo>
                    <a:pt x="100" y="347"/>
                  </a:lnTo>
                  <a:lnTo>
                    <a:pt x="100" y="344"/>
                  </a:lnTo>
                  <a:lnTo>
                    <a:pt x="100" y="347"/>
                  </a:lnTo>
                  <a:lnTo>
                    <a:pt x="100" y="344"/>
                  </a:lnTo>
                  <a:lnTo>
                    <a:pt x="102" y="344"/>
                  </a:lnTo>
                  <a:lnTo>
                    <a:pt x="100" y="344"/>
                  </a:lnTo>
                  <a:lnTo>
                    <a:pt x="97" y="344"/>
                  </a:lnTo>
                  <a:lnTo>
                    <a:pt x="100" y="344"/>
                  </a:lnTo>
                  <a:lnTo>
                    <a:pt x="100" y="342"/>
                  </a:lnTo>
                  <a:lnTo>
                    <a:pt x="102" y="342"/>
                  </a:lnTo>
                  <a:close/>
                  <a:moveTo>
                    <a:pt x="14" y="342"/>
                  </a:moveTo>
                  <a:lnTo>
                    <a:pt x="14" y="344"/>
                  </a:lnTo>
                  <a:lnTo>
                    <a:pt x="14" y="342"/>
                  </a:lnTo>
                  <a:close/>
                  <a:moveTo>
                    <a:pt x="242" y="342"/>
                  </a:moveTo>
                  <a:lnTo>
                    <a:pt x="240" y="342"/>
                  </a:lnTo>
                  <a:lnTo>
                    <a:pt x="242" y="342"/>
                  </a:lnTo>
                  <a:close/>
                  <a:moveTo>
                    <a:pt x="52" y="342"/>
                  </a:moveTo>
                  <a:lnTo>
                    <a:pt x="50" y="342"/>
                  </a:lnTo>
                  <a:lnTo>
                    <a:pt x="52" y="342"/>
                  </a:lnTo>
                  <a:close/>
                  <a:moveTo>
                    <a:pt x="107" y="342"/>
                  </a:moveTo>
                  <a:lnTo>
                    <a:pt x="104" y="342"/>
                  </a:lnTo>
                  <a:lnTo>
                    <a:pt x="102" y="342"/>
                  </a:lnTo>
                  <a:lnTo>
                    <a:pt x="104" y="342"/>
                  </a:lnTo>
                  <a:lnTo>
                    <a:pt x="102" y="342"/>
                  </a:lnTo>
                  <a:lnTo>
                    <a:pt x="104" y="342"/>
                  </a:lnTo>
                  <a:lnTo>
                    <a:pt x="107" y="342"/>
                  </a:lnTo>
                  <a:close/>
                  <a:moveTo>
                    <a:pt x="81" y="342"/>
                  </a:moveTo>
                  <a:lnTo>
                    <a:pt x="78" y="342"/>
                  </a:lnTo>
                  <a:lnTo>
                    <a:pt x="81" y="342"/>
                  </a:lnTo>
                  <a:close/>
                  <a:moveTo>
                    <a:pt x="78" y="342"/>
                  </a:moveTo>
                  <a:lnTo>
                    <a:pt x="76" y="342"/>
                  </a:lnTo>
                  <a:lnTo>
                    <a:pt x="78" y="342"/>
                  </a:lnTo>
                  <a:close/>
                  <a:moveTo>
                    <a:pt x="97" y="342"/>
                  </a:moveTo>
                  <a:lnTo>
                    <a:pt x="95" y="342"/>
                  </a:lnTo>
                  <a:lnTo>
                    <a:pt x="95" y="344"/>
                  </a:lnTo>
                  <a:lnTo>
                    <a:pt x="95" y="342"/>
                  </a:lnTo>
                  <a:lnTo>
                    <a:pt x="93" y="342"/>
                  </a:lnTo>
                  <a:lnTo>
                    <a:pt x="95" y="342"/>
                  </a:lnTo>
                  <a:lnTo>
                    <a:pt x="93" y="342"/>
                  </a:lnTo>
                  <a:lnTo>
                    <a:pt x="95" y="342"/>
                  </a:lnTo>
                  <a:lnTo>
                    <a:pt x="93" y="342"/>
                  </a:lnTo>
                  <a:lnTo>
                    <a:pt x="95" y="342"/>
                  </a:lnTo>
                  <a:lnTo>
                    <a:pt x="97" y="342"/>
                  </a:lnTo>
                  <a:lnTo>
                    <a:pt x="97" y="340"/>
                  </a:lnTo>
                  <a:lnTo>
                    <a:pt x="97" y="342"/>
                  </a:lnTo>
                  <a:close/>
                  <a:moveTo>
                    <a:pt x="62" y="340"/>
                  </a:moveTo>
                  <a:lnTo>
                    <a:pt x="62" y="342"/>
                  </a:lnTo>
                  <a:lnTo>
                    <a:pt x="62" y="340"/>
                  </a:lnTo>
                  <a:lnTo>
                    <a:pt x="62" y="342"/>
                  </a:lnTo>
                  <a:lnTo>
                    <a:pt x="62" y="340"/>
                  </a:lnTo>
                  <a:close/>
                  <a:moveTo>
                    <a:pt x="71" y="342"/>
                  </a:moveTo>
                  <a:lnTo>
                    <a:pt x="71" y="340"/>
                  </a:lnTo>
                  <a:lnTo>
                    <a:pt x="71" y="342"/>
                  </a:lnTo>
                  <a:close/>
                  <a:moveTo>
                    <a:pt x="62" y="342"/>
                  </a:moveTo>
                  <a:lnTo>
                    <a:pt x="59" y="342"/>
                  </a:lnTo>
                  <a:lnTo>
                    <a:pt x="59" y="340"/>
                  </a:lnTo>
                  <a:lnTo>
                    <a:pt x="59" y="342"/>
                  </a:lnTo>
                  <a:lnTo>
                    <a:pt x="62" y="342"/>
                  </a:lnTo>
                  <a:close/>
                  <a:moveTo>
                    <a:pt x="93" y="340"/>
                  </a:moveTo>
                  <a:lnTo>
                    <a:pt x="93" y="342"/>
                  </a:lnTo>
                  <a:lnTo>
                    <a:pt x="93" y="340"/>
                  </a:lnTo>
                  <a:lnTo>
                    <a:pt x="93" y="342"/>
                  </a:lnTo>
                  <a:lnTo>
                    <a:pt x="93" y="340"/>
                  </a:lnTo>
                  <a:close/>
                  <a:moveTo>
                    <a:pt x="57" y="340"/>
                  </a:moveTo>
                  <a:lnTo>
                    <a:pt x="57" y="342"/>
                  </a:lnTo>
                  <a:lnTo>
                    <a:pt x="59" y="342"/>
                  </a:lnTo>
                  <a:lnTo>
                    <a:pt x="57" y="342"/>
                  </a:lnTo>
                  <a:lnTo>
                    <a:pt x="57" y="340"/>
                  </a:lnTo>
                  <a:lnTo>
                    <a:pt x="57" y="342"/>
                  </a:lnTo>
                  <a:lnTo>
                    <a:pt x="57" y="340"/>
                  </a:lnTo>
                  <a:close/>
                  <a:moveTo>
                    <a:pt x="26" y="340"/>
                  </a:moveTo>
                  <a:lnTo>
                    <a:pt x="26" y="342"/>
                  </a:lnTo>
                  <a:lnTo>
                    <a:pt x="26" y="340"/>
                  </a:lnTo>
                  <a:close/>
                  <a:moveTo>
                    <a:pt x="24" y="340"/>
                  </a:moveTo>
                  <a:lnTo>
                    <a:pt x="24" y="342"/>
                  </a:lnTo>
                  <a:lnTo>
                    <a:pt x="24" y="340"/>
                  </a:lnTo>
                  <a:lnTo>
                    <a:pt x="24" y="342"/>
                  </a:lnTo>
                  <a:lnTo>
                    <a:pt x="24" y="340"/>
                  </a:lnTo>
                  <a:close/>
                  <a:moveTo>
                    <a:pt x="268" y="342"/>
                  </a:moveTo>
                  <a:lnTo>
                    <a:pt x="268" y="340"/>
                  </a:lnTo>
                  <a:lnTo>
                    <a:pt x="268" y="342"/>
                  </a:lnTo>
                  <a:lnTo>
                    <a:pt x="268" y="340"/>
                  </a:lnTo>
                  <a:lnTo>
                    <a:pt x="268" y="342"/>
                  </a:lnTo>
                  <a:close/>
                  <a:moveTo>
                    <a:pt x="67" y="340"/>
                  </a:moveTo>
                  <a:lnTo>
                    <a:pt x="67" y="342"/>
                  </a:lnTo>
                  <a:lnTo>
                    <a:pt x="64" y="342"/>
                  </a:lnTo>
                  <a:lnTo>
                    <a:pt x="67" y="342"/>
                  </a:lnTo>
                  <a:lnTo>
                    <a:pt x="67" y="340"/>
                  </a:lnTo>
                  <a:lnTo>
                    <a:pt x="67" y="342"/>
                  </a:lnTo>
                  <a:lnTo>
                    <a:pt x="64" y="340"/>
                  </a:lnTo>
                  <a:lnTo>
                    <a:pt x="67" y="340"/>
                  </a:lnTo>
                  <a:lnTo>
                    <a:pt x="64" y="340"/>
                  </a:lnTo>
                  <a:lnTo>
                    <a:pt x="67" y="340"/>
                  </a:lnTo>
                  <a:close/>
                  <a:moveTo>
                    <a:pt x="57" y="340"/>
                  </a:moveTo>
                  <a:lnTo>
                    <a:pt x="57" y="342"/>
                  </a:lnTo>
                  <a:lnTo>
                    <a:pt x="57" y="340"/>
                  </a:lnTo>
                  <a:close/>
                  <a:moveTo>
                    <a:pt x="223" y="340"/>
                  </a:moveTo>
                  <a:lnTo>
                    <a:pt x="223" y="342"/>
                  </a:lnTo>
                  <a:lnTo>
                    <a:pt x="225" y="340"/>
                  </a:lnTo>
                  <a:lnTo>
                    <a:pt x="223" y="342"/>
                  </a:lnTo>
                  <a:lnTo>
                    <a:pt x="225" y="342"/>
                  </a:lnTo>
                  <a:lnTo>
                    <a:pt x="223" y="342"/>
                  </a:lnTo>
                  <a:lnTo>
                    <a:pt x="223" y="340"/>
                  </a:lnTo>
                  <a:lnTo>
                    <a:pt x="223" y="342"/>
                  </a:lnTo>
                  <a:lnTo>
                    <a:pt x="223" y="340"/>
                  </a:lnTo>
                  <a:close/>
                  <a:moveTo>
                    <a:pt x="12" y="340"/>
                  </a:moveTo>
                  <a:lnTo>
                    <a:pt x="14" y="340"/>
                  </a:lnTo>
                  <a:lnTo>
                    <a:pt x="14" y="342"/>
                  </a:lnTo>
                  <a:lnTo>
                    <a:pt x="12" y="342"/>
                  </a:lnTo>
                  <a:lnTo>
                    <a:pt x="12" y="340"/>
                  </a:lnTo>
                  <a:close/>
                  <a:moveTo>
                    <a:pt x="242" y="340"/>
                  </a:moveTo>
                  <a:lnTo>
                    <a:pt x="244" y="340"/>
                  </a:lnTo>
                  <a:lnTo>
                    <a:pt x="242" y="340"/>
                  </a:lnTo>
                  <a:close/>
                  <a:moveTo>
                    <a:pt x="21" y="340"/>
                  </a:moveTo>
                  <a:lnTo>
                    <a:pt x="21" y="342"/>
                  </a:lnTo>
                  <a:lnTo>
                    <a:pt x="21" y="340"/>
                  </a:lnTo>
                  <a:close/>
                  <a:moveTo>
                    <a:pt x="26" y="340"/>
                  </a:moveTo>
                  <a:lnTo>
                    <a:pt x="26" y="342"/>
                  </a:lnTo>
                  <a:lnTo>
                    <a:pt x="24" y="340"/>
                  </a:lnTo>
                  <a:lnTo>
                    <a:pt x="26" y="340"/>
                  </a:lnTo>
                  <a:close/>
                  <a:moveTo>
                    <a:pt x="69" y="340"/>
                  </a:moveTo>
                  <a:lnTo>
                    <a:pt x="69" y="342"/>
                  </a:lnTo>
                  <a:lnTo>
                    <a:pt x="67" y="342"/>
                  </a:lnTo>
                  <a:lnTo>
                    <a:pt x="67" y="340"/>
                  </a:lnTo>
                  <a:lnTo>
                    <a:pt x="69" y="340"/>
                  </a:lnTo>
                  <a:close/>
                  <a:moveTo>
                    <a:pt x="104" y="340"/>
                  </a:moveTo>
                  <a:lnTo>
                    <a:pt x="104" y="342"/>
                  </a:lnTo>
                  <a:lnTo>
                    <a:pt x="102" y="342"/>
                  </a:lnTo>
                  <a:lnTo>
                    <a:pt x="100" y="342"/>
                  </a:lnTo>
                  <a:lnTo>
                    <a:pt x="100" y="340"/>
                  </a:lnTo>
                  <a:lnTo>
                    <a:pt x="102" y="340"/>
                  </a:lnTo>
                  <a:lnTo>
                    <a:pt x="104" y="340"/>
                  </a:lnTo>
                  <a:close/>
                  <a:moveTo>
                    <a:pt x="57" y="340"/>
                  </a:moveTo>
                  <a:lnTo>
                    <a:pt x="57" y="342"/>
                  </a:lnTo>
                  <a:lnTo>
                    <a:pt x="55" y="342"/>
                  </a:lnTo>
                  <a:lnTo>
                    <a:pt x="55" y="340"/>
                  </a:lnTo>
                  <a:lnTo>
                    <a:pt x="57" y="340"/>
                  </a:lnTo>
                  <a:lnTo>
                    <a:pt x="55" y="340"/>
                  </a:lnTo>
                  <a:lnTo>
                    <a:pt x="57" y="340"/>
                  </a:lnTo>
                  <a:close/>
                  <a:moveTo>
                    <a:pt x="254" y="340"/>
                  </a:moveTo>
                  <a:lnTo>
                    <a:pt x="256" y="340"/>
                  </a:lnTo>
                  <a:lnTo>
                    <a:pt x="256" y="342"/>
                  </a:lnTo>
                  <a:lnTo>
                    <a:pt x="254" y="342"/>
                  </a:lnTo>
                  <a:lnTo>
                    <a:pt x="254" y="340"/>
                  </a:lnTo>
                  <a:close/>
                  <a:moveTo>
                    <a:pt x="48" y="340"/>
                  </a:moveTo>
                  <a:lnTo>
                    <a:pt x="48" y="342"/>
                  </a:lnTo>
                  <a:lnTo>
                    <a:pt x="48" y="340"/>
                  </a:lnTo>
                  <a:close/>
                  <a:moveTo>
                    <a:pt x="78" y="340"/>
                  </a:moveTo>
                  <a:lnTo>
                    <a:pt x="78" y="342"/>
                  </a:lnTo>
                  <a:lnTo>
                    <a:pt x="78" y="340"/>
                  </a:lnTo>
                  <a:close/>
                  <a:moveTo>
                    <a:pt x="59" y="340"/>
                  </a:moveTo>
                  <a:lnTo>
                    <a:pt x="57" y="340"/>
                  </a:lnTo>
                  <a:lnTo>
                    <a:pt x="59" y="340"/>
                  </a:lnTo>
                  <a:close/>
                  <a:moveTo>
                    <a:pt x="268" y="340"/>
                  </a:moveTo>
                  <a:lnTo>
                    <a:pt x="266" y="340"/>
                  </a:lnTo>
                  <a:lnTo>
                    <a:pt x="268" y="340"/>
                  </a:lnTo>
                  <a:close/>
                  <a:moveTo>
                    <a:pt x="31" y="340"/>
                  </a:moveTo>
                  <a:lnTo>
                    <a:pt x="33" y="340"/>
                  </a:lnTo>
                  <a:lnTo>
                    <a:pt x="31" y="340"/>
                  </a:lnTo>
                  <a:lnTo>
                    <a:pt x="33" y="340"/>
                  </a:lnTo>
                  <a:lnTo>
                    <a:pt x="31" y="340"/>
                  </a:lnTo>
                  <a:close/>
                  <a:moveTo>
                    <a:pt x="74" y="340"/>
                  </a:moveTo>
                  <a:lnTo>
                    <a:pt x="76" y="340"/>
                  </a:lnTo>
                  <a:lnTo>
                    <a:pt x="74" y="340"/>
                  </a:lnTo>
                  <a:lnTo>
                    <a:pt x="76" y="340"/>
                  </a:lnTo>
                  <a:lnTo>
                    <a:pt x="74" y="340"/>
                  </a:lnTo>
                  <a:close/>
                  <a:moveTo>
                    <a:pt x="254" y="340"/>
                  </a:moveTo>
                  <a:lnTo>
                    <a:pt x="252" y="340"/>
                  </a:lnTo>
                  <a:lnTo>
                    <a:pt x="254" y="340"/>
                  </a:lnTo>
                  <a:close/>
                  <a:moveTo>
                    <a:pt x="14" y="340"/>
                  </a:moveTo>
                  <a:lnTo>
                    <a:pt x="17" y="340"/>
                  </a:lnTo>
                  <a:lnTo>
                    <a:pt x="14" y="340"/>
                  </a:lnTo>
                  <a:lnTo>
                    <a:pt x="14" y="342"/>
                  </a:lnTo>
                  <a:lnTo>
                    <a:pt x="14" y="340"/>
                  </a:lnTo>
                  <a:close/>
                  <a:moveTo>
                    <a:pt x="64" y="340"/>
                  </a:moveTo>
                  <a:lnTo>
                    <a:pt x="64" y="337"/>
                  </a:lnTo>
                  <a:lnTo>
                    <a:pt x="64" y="340"/>
                  </a:lnTo>
                  <a:close/>
                  <a:moveTo>
                    <a:pt x="55" y="340"/>
                  </a:moveTo>
                  <a:lnTo>
                    <a:pt x="55" y="337"/>
                  </a:lnTo>
                  <a:lnTo>
                    <a:pt x="55" y="340"/>
                  </a:lnTo>
                  <a:close/>
                  <a:moveTo>
                    <a:pt x="57" y="340"/>
                  </a:moveTo>
                  <a:lnTo>
                    <a:pt x="55" y="340"/>
                  </a:lnTo>
                  <a:lnTo>
                    <a:pt x="55" y="337"/>
                  </a:lnTo>
                  <a:lnTo>
                    <a:pt x="55" y="340"/>
                  </a:lnTo>
                  <a:lnTo>
                    <a:pt x="57" y="340"/>
                  </a:lnTo>
                  <a:close/>
                  <a:moveTo>
                    <a:pt x="24" y="337"/>
                  </a:moveTo>
                  <a:lnTo>
                    <a:pt x="24" y="340"/>
                  </a:lnTo>
                  <a:lnTo>
                    <a:pt x="26" y="340"/>
                  </a:lnTo>
                  <a:lnTo>
                    <a:pt x="24" y="340"/>
                  </a:lnTo>
                  <a:lnTo>
                    <a:pt x="24" y="337"/>
                  </a:lnTo>
                  <a:close/>
                  <a:moveTo>
                    <a:pt x="95" y="340"/>
                  </a:moveTo>
                  <a:lnTo>
                    <a:pt x="97" y="340"/>
                  </a:lnTo>
                  <a:lnTo>
                    <a:pt x="95" y="340"/>
                  </a:lnTo>
                  <a:lnTo>
                    <a:pt x="95" y="342"/>
                  </a:lnTo>
                  <a:lnTo>
                    <a:pt x="95" y="340"/>
                  </a:lnTo>
                  <a:lnTo>
                    <a:pt x="95" y="342"/>
                  </a:lnTo>
                  <a:lnTo>
                    <a:pt x="95" y="340"/>
                  </a:lnTo>
                  <a:lnTo>
                    <a:pt x="93" y="340"/>
                  </a:lnTo>
                  <a:lnTo>
                    <a:pt x="95" y="340"/>
                  </a:lnTo>
                  <a:lnTo>
                    <a:pt x="93" y="340"/>
                  </a:lnTo>
                  <a:lnTo>
                    <a:pt x="95" y="340"/>
                  </a:lnTo>
                  <a:lnTo>
                    <a:pt x="95" y="337"/>
                  </a:lnTo>
                  <a:lnTo>
                    <a:pt x="95" y="340"/>
                  </a:lnTo>
                  <a:close/>
                  <a:moveTo>
                    <a:pt x="31" y="340"/>
                  </a:moveTo>
                  <a:lnTo>
                    <a:pt x="31" y="337"/>
                  </a:lnTo>
                  <a:lnTo>
                    <a:pt x="31" y="340"/>
                  </a:lnTo>
                  <a:close/>
                  <a:moveTo>
                    <a:pt x="67" y="340"/>
                  </a:moveTo>
                  <a:lnTo>
                    <a:pt x="67" y="337"/>
                  </a:lnTo>
                  <a:lnTo>
                    <a:pt x="67" y="340"/>
                  </a:lnTo>
                  <a:close/>
                  <a:moveTo>
                    <a:pt x="52" y="340"/>
                  </a:moveTo>
                  <a:lnTo>
                    <a:pt x="52" y="337"/>
                  </a:lnTo>
                  <a:lnTo>
                    <a:pt x="52" y="340"/>
                  </a:lnTo>
                  <a:close/>
                  <a:moveTo>
                    <a:pt x="263" y="340"/>
                  </a:moveTo>
                  <a:lnTo>
                    <a:pt x="263" y="337"/>
                  </a:lnTo>
                  <a:lnTo>
                    <a:pt x="263" y="340"/>
                  </a:lnTo>
                  <a:close/>
                  <a:moveTo>
                    <a:pt x="268" y="340"/>
                  </a:moveTo>
                  <a:lnTo>
                    <a:pt x="268" y="337"/>
                  </a:lnTo>
                  <a:lnTo>
                    <a:pt x="268" y="340"/>
                  </a:lnTo>
                  <a:lnTo>
                    <a:pt x="268" y="337"/>
                  </a:lnTo>
                  <a:lnTo>
                    <a:pt x="268" y="340"/>
                  </a:lnTo>
                  <a:close/>
                  <a:moveTo>
                    <a:pt x="256" y="340"/>
                  </a:moveTo>
                  <a:lnTo>
                    <a:pt x="256" y="337"/>
                  </a:lnTo>
                  <a:lnTo>
                    <a:pt x="256" y="340"/>
                  </a:lnTo>
                  <a:close/>
                  <a:moveTo>
                    <a:pt x="244" y="340"/>
                  </a:moveTo>
                  <a:lnTo>
                    <a:pt x="244" y="337"/>
                  </a:lnTo>
                  <a:lnTo>
                    <a:pt x="244" y="340"/>
                  </a:lnTo>
                  <a:close/>
                  <a:moveTo>
                    <a:pt x="14" y="337"/>
                  </a:moveTo>
                  <a:lnTo>
                    <a:pt x="14" y="340"/>
                  </a:lnTo>
                  <a:lnTo>
                    <a:pt x="14" y="337"/>
                  </a:lnTo>
                  <a:close/>
                  <a:moveTo>
                    <a:pt x="221" y="340"/>
                  </a:moveTo>
                  <a:lnTo>
                    <a:pt x="221" y="337"/>
                  </a:lnTo>
                  <a:lnTo>
                    <a:pt x="221" y="340"/>
                  </a:lnTo>
                  <a:close/>
                  <a:moveTo>
                    <a:pt x="55" y="337"/>
                  </a:moveTo>
                  <a:lnTo>
                    <a:pt x="55" y="340"/>
                  </a:lnTo>
                  <a:lnTo>
                    <a:pt x="55" y="337"/>
                  </a:lnTo>
                  <a:lnTo>
                    <a:pt x="55" y="340"/>
                  </a:lnTo>
                  <a:lnTo>
                    <a:pt x="55" y="337"/>
                  </a:lnTo>
                  <a:close/>
                  <a:moveTo>
                    <a:pt x="81" y="337"/>
                  </a:moveTo>
                  <a:lnTo>
                    <a:pt x="81" y="340"/>
                  </a:lnTo>
                  <a:lnTo>
                    <a:pt x="81" y="337"/>
                  </a:lnTo>
                  <a:lnTo>
                    <a:pt x="81" y="340"/>
                  </a:lnTo>
                  <a:lnTo>
                    <a:pt x="81" y="337"/>
                  </a:lnTo>
                  <a:close/>
                  <a:moveTo>
                    <a:pt x="14" y="337"/>
                  </a:moveTo>
                  <a:lnTo>
                    <a:pt x="14" y="340"/>
                  </a:lnTo>
                  <a:lnTo>
                    <a:pt x="12" y="340"/>
                  </a:lnTo>
                  <a:lnTo>
                    <a:pt x="14" y="340"/>
                  </a:lnTo>
                  <a:lnTo>
                    <a:pt x="12" y="340"/>
                  </a:lnTo>
                  <a:lnTo>
                    <a:pt x="14" y="340"/>
                  </a:lnTo>
                  <a:lnTo>
                    <a:pt x="12" y="340"/>
                  </a:lnTo>
                  <a:lnTo>
                    <a:pt x="14" y="340"/>
                  </a:lnTo>
                  <a:lnTo>
                    <a:pt x="14" y="337"/>
                  </a:lnTo>
                  <a:close/>
                  <a:moveTo>
                    <a:pt x="69" y="337"/>
                  </a:moveTo>
                  <a:lnTo>
                    <a:pt x="69" y="340"/>
                  </a:lnTo>
                  <a:lnTo>
                    <a:pt x="67" y="340"/>
                  </a:lnTo>
                  <a:lnTo>
                    <a:pt x="69" y="340"/>
                  </a:lnTo>
                  <a:lnTo>
                    <a:pt x="69" y="337"/>
                  </a:lnTo>
                  <a:lnTo>
                    <a:pt x="69" y="340"/>
                  </a:lnTo>
                  <a:lnTo>
                    <a:pt x="69" y="337"/>
                  </a:lnTo>
                  <a:close/>
                  <a:moveTo>
                    <a:pt x="52" y="337"/>
                  </a:moveTo>
                  <a:lnTo>
                    <a:pt x="55" y="337"/>
                  </a:lnTo>
                  <a:lnTo>
                    <a:pt x="52" y="337"/>
                  </a:lnTo>
                  <a:close/>
                  <a:moveTo>
                    <a:pt x="271" y="337"/>
                  </a:moveTo>
                  <a:lnTo>
                    <a:pt x="271" y="340"/>
                  </a:lnTo>
                  <a:lnTo>
                    <a:pt x="271" y="337"/>
                  </a:lnTo>
                  <a:close/>
                  <a:moveTo>
                    <a:pt x="62" y="337"/>
                  </a:moveTo>
                  <a:lnTo>
                    <a:pt x="62" y="340"/>
                  </a:lnTo>
                  <a:lnTo>
                    <a:pt x="64" y="340"/>
                  </a:lnTo>
                  <a:lnTo>
                    <a:pt x="62" y="340"/>
                  </a:lnTo>
                  <a:lnTo>
                    <a:pt x="62" y="337"/>
                  </a:lnTo>
                  <a:close/>
                  <a:moveTo>
                    <a:pt x="24" y="337"/>
                  </a:moveTo>
                  <a:lnTo>
                    <a:pt x="24" y="340"/>
                  </a:lnTo>
                  <a:lnTo>
                    <a:pt x="24" y="337"/>
                  </a:lnTo>
                  <a:lnTo>
                    <a:pt x="24" y="340"/>
                  </a:lnTo>
                  <a:lnTo>
                    <a:pt x="24" y="337"/>
                  </a:lnTo>
                  <a:close/>
                  <a:moveTo>
                    <a:pt x="24" y="337"/>
                  </a:moveTo>
                  <a:lnTo>
                    <a:pt x="24" y="340"/>
                  </a:lnTo>
                  <a:lnTo>
                    <a:pt x="24" y="337"/>
                  </a:lnTo>
                  <a:lnTo>
                    <a:pt x="21" y="337"/>
                  </a:lnTo>
                  <a:lnTo>
                    <a:pt x="24" y="337"/>
                  </a:lnTo>
                  <a:close/>
                  <a:moveTo>
                    <a:pt x="36" y="337"/>
                  </a:moveTo>
                  <a:lnTo>
                    <a:pt x="36" y="340"/>
                  </a:lnTo>
                  <a:lnTo>
                    <a:pt x="36" y="337"/>
                  </a:lnTo>
                  <a:close/>
                  <a:moveTo>
                    <a:pt x="57" y="337"/>
                  </a:moveTo>
                  <a:lnTo>
                    <a:pt x="57" y="340"/>
                  </a:lnTo>
                  <a:lnTo>
                    <a:pt x="55" y="340"/>
                  </a:lnTo>
                  <a:lnTo>
                    <a:pt x="55" y="337"/>
                  </a:lnTo>
                  <a:lnTo>
                    <a:pt x="57" y="337"/>
                  </a:lnTo>
                  <a:lnTo>
                    <a:pt x="55" y="337"/>
                  </a:lnTo>
                  <a:lnTo>
                    <a:pt x="57" y="337"/>
                  </a:lnTo>
                  <a:lnTo>
                    <a:pt x="55" y="337"/>
                  </a:lnTo>
                  <a:lnTo>
                    <a:pt x="57" y="337"/>
                  </a:lnTo>
                  <a:close/>
                  <a:moveTo>
                    <a:pt x="74" y="337"/>
                  </a:moveTo>
                  <a:lnTo>
                    <a:pt x="74" y="340"/>
                  </a:lnTo>
                  <a:lnTo>
                    <a:pt x="74" y="337"/>
                  </a:lnTo>
                  <a:close/>
                  <a:moveTo>
                    <a:pt x="95" y="337"/>
                  </a:moveTo>
                  <a:lnTo>
                    <a:pt x="95" y="340"/>
                  </a:lnTo>
                  <a:lnTo>
                    <a:pt x="93" y="340"/>
                  </a:lnTo>
                  <a:lnTo>
                    <a:pt x="90" y="340"/>
                  </a:lnTo>
                  <a:lnTo>
                    <a:pt x="93" y="340"/>
                  </a:lnTo>
                  <a:lnTo>
                    <a:pt x="93" y="337"/>
                  </a:lnTo>
                  <a:lnTo>
                    <a:pt x="93" y="340"/>
                  </a:lnTo>
                  <a:lnTo>
                    <a:pt x="93" y="337"/>
                  </a:lnTo>
                  <a:lnTo>
                    <a:pt x="95" y="337"/>
                  </a:lnTo>
                  <a:close/>
                  <a:moveTo>
                    <a:pt x="256" y="337"/>
                  </a:moveTo>
                  <a:lnTo>
                    <a:pt x="254" y="337"/>
                  </a:lnTo>
                  <a:lnTo>
                    <a:pt x="256" y="340"/>
                  </a:lnTo>
                  <a:lnTo>
                    <a:pt x="256" y="337"/>
                  </a:lnTo>
                  <a:lnTo>
                    <a:pt x="256" y="340"/>
                  </a:lnTo>
                  <a:lnTo>
                    <a:pt x="256" y="337"/>
                  </a:lnTo>
                  <a:lnTo>
                    <a:pt x="256" y="340"/>
                  </a:lnTo>
                  <a:lnTo>
                    <a:pt x="254" y="340"/>
                  </a:lnTo>
                  <a:lnTo>
                    <a:pt x="254" y="337"/>
                  </a:lnTo>
                  <a:lnTo>
                    <a:pt x="256" y="337"/>
                  </a:lnTo>
                  <a:lnTo>
                    <a:pt x="254" y="337"/>
                  </a:lnTo>
                  <a:lnTo>
                    <a:pt x="256" y="337"/>
                  </a:lnTo>
                  <a:close/>
                  <a:moveTo>
                    <a:pt x="69" y="337"/>
                  </a:moveTo>
                  <a:lnTo>
                    <a:pt x="67" y="337"/>
                  </a:lnTo>
                  <a:lnTo>
                    <a:pt x="69" y="337"/>
                  </a:lnTo>
                  <a:close/>
                  <a:moveTo>
                    <a:pt x="78" y="337"/>
                  </a:moveTo>
                  <a:lnTo>
                    <a:pt x="78" y="340"/>
                  </a:lnTo>
                  <a:lnTo>
                    <a:pt x="78" y="337"/>
                  </a:lnTo>
                  <a:close/>
                  <a:moveTo>
                    <a:pt x="240" y="337"/>
                  </a:moveTo>
                  <a:lnTo>
                    <a:pt x="242" y="337"/>
                  </a:lnTo>
                  <a:lnTo>
                    <a:pt x="242" y="340"/>
                  </a:lnTo>
                  <a:lnTo>
                    <a:pt x="240" y="340"/>
                  </a:lnTo>
                  <a:lnTo>
                    <a:pt x="242" y="340"/>
                  </a:lnTo>
                  <a:lnTo>
                    <a:pt x="240" y="340"/>
                  </a:lnTo>
                  <a:lnTo>
                    <a:pt x="242" y="340"/>
                  </a:lnTo>
                  <a:lnTo>
                    <a:pt x="240" y="340"/>
                  </a:lnTo>
                  <a:lnTo>
                    <a:pt x="237" y="340"/>
                  </a:lnTo>
                  <a:lnTo>
                    <a:pt x="240" y="340"/>
                  </a:lnTo>
                  <a:lnTo>
                    <a:pt x="237" y="342"/>
                  </a:lnTo>
                  <a:lnTo>
                    <a:pt x="237" y="340"/>
                  </a:lnTo>
                  <a:lnTo>
                    <a:pt x="240" y="342"/>
                  </a:lnTo>
                  <a:lnTo>
                    <a:pt x="237" y="342"/>
                  </a:lnTo>
                  <a:lnTo>
                    <a:pt x="240" y="342"/>
                  </a:lnTo>
                  <a:lnTo>
                    <a:pt x="237" y="342"/>
                  </a:lnTo>
                  <a:lnTo>
                    <a:pt x="237" y="340"/>
                  </a:lnTo>
                  <a:lnTo>
                    <a:pt x="237" y="342"/>
                  </a:lnTo>
                  <a:lnTo>
                    <a:pt x="237" y="340"/>
                  </a:lnTo>
                  <a:lnTo>
                    <a:pt x="240" y="340"/>
                  </a:lnTo>
                  <a:lnTo>
                    <a:pt x="237" y="340"/>
                  </a:lnTo>
                  <a:lnTo>
                    <a:pt x="240" y="340"/>
                  </a:lnTo>
                  <a:lnTo>
                    <a:pt x="240" y="337"/>
                  </a:lnTo>
                  <a:close/>
                  <a:moveTo>
                    <a:pt x="266" y="337"/>
                  </a:moveTo>
                  <a:lnTo>
                    <a:pt x="263" y="337"/>
                  </a:lnTo>
                  <a:lnTo>
                    <a:pt x="266" y="337"/>
                  </a:lnTo>
                  <a:close/>
                  <a:moveTo>
                    <a:pt x="249" y="337"/>
                  </a:moveTo>
                  <a:lnTo>
                    <a:pt x="247" y="337"/>
                  </a:lnTo>
                  <a:lnTo>
                    <a:pt x="249" y="337"/>
                  </a:lnTo>
                  <a:close/>
                  <a:moveTo>
                    <a:pt x="78" y="337"/>
                  </a:moveTo>
                  <a:lnTo>
                    <a:pt x="76" y="337"/>
                  </a:lnTo>
                  <a:lnTo>
                    <a:pt x="78" y="337"/>
                  </a:lnTo>
                  <a:close/>
                  <a:moveTo>
                    <a:pt x="69" y="337"/>
                  </a:moveTo>
                  <a:lnTo>
                    <a:pt x="67" y="337"/>
                  </a:lnTo>
                  <a:lnTo>
                    <a:pt x="69" y="337"/>
                  </a:lnTo>
                  <a:close/>
                  <a:moveTo>
                    <a:pt x="76" y="337"/>
                  </a:moveTo>
                  <a:lnTo>
                    <a:pt x="76" y="340"/>
                  </a:lnTo>
                  <a:lnTo>
                    <a:pt x="76" y="337"/>
                  </a:lnTo>
                  <a:close/>
                  <a:moveTo>
                    <a:pt x="254" y="337"/>
                  </a:moveTo>
                  <a:lnTo>
                    <a:pt x="254" y="340"/>
                  </a:lnTo>
                  <a:lnTo>
                    <a:pt x="254" y="337"/>
                  </a:lnTo>
                  <a:close/>
                  <a:moveTo>
                    <a:pt x="31" y="337"/>
                  </a:moveTo>
                  <a:lnTo>
                    <a:pt x="29" y="337"/>
                  </a:lnTo>
                  <a:lnTo>
                    <a:pt x="31" y="337"/>
                  </a:lnTo>
                  <a:close/>
                  <a:moveTo>
                    <a:pt x="266" y="337"/>
                  </a:moveTo>
                  <a:lnTo>
                    <a:pt x="263" y="337"/>
                  </a:lnTo>
                  <a:lnTo>
                    <a:pt x="266" y="337"/>
                  </a:lnTo>
                  <a:close/>
                  <a:moveTo>
                    <a:pt x="266" y="337"/>
                  </a:moveTo>
                  <a:lnTo>
                    <a:pt x="268" y="337"/>
                  </a:lnTo>
                  <a:lnTo>
                    <a:pt x="266" y="337"/>
                  </a:lnTo>
                  <a:close/>
                  <a:moveTo>
                    <a:pt x="244" y="337"/>
                  </a:moveTo>
                  <a:lnTo>
                    <a:pt x="247" y="337"/>
                  </a:lnTo>
                  <a:lnTo>
                    <a:pt x="244" y="337"/>
                  </a:lnTo>
                  <a:lnTo>
                    <a:pt x="247" y="337"/>
                  </a:lnTo>
                  <a:lnTo>
                    <a:pt x="244" y="337"/>
                  </a:lnTo>
                  <a:close/>
                  <a:moveTo>
                    <a:pt x="221" y="337"/>
                  </a:moveTo>
                  <a:lnTo>
                    <a:pt x="218" y="337"/>
                  </a:lnTo>
                  <a:lnTo>
                    <a:pt x="221" y="337"/>
                  </a:lnTo>
                  <a:close/>
                  <a:moveTo>
                    <a:pt x="83" y="335"/>
                  </a:moveTo>
                  <a:lnTo>
                    <a:pt x="83" y="337"/>
                  </a:lnTo>
                  <a:lnTo>
                    <a:pt x="83" y="335"/>
                  </a:lnTo>
                  <a:lnTo>
                    <a:pt x="83" y="337"/>
                  </a:lnTo>
                  <a:lnTo>
                    <a:pt x="81" y="337"/>
                  </a:lnTo>
                  <a:lnTo>
                    <a:pt x="83" y="337"/>
                  </a:lnTo>
                  <a:lnTo>
                    <a:pt x="83" y="335"/>
                  </a:lnTo>
                  <a:close/>
                  <a:moveTo>
                    <a:pt x="52" y="337"/>
                  </a:moveTo>
                  <a:lnTo>
                    <a:pt x="52" y="335"/>
                  </a:lnTo>
                  <a:lnTo>
                    <a:pt x="52" y="337"/>
                  </a:lnTo>
                  <a:close/>
                  <a:moveTo>
                    <a:pt x="76" y="335"/>
                  </a:moveTo>
                  <a:lnTo>
                    <a:pt x="78" y="335"/>
                  </a:lnTo>
                  <a:lnTo>
                    <a:pt x="78" y="337"/>
                  </a:lnTo>
                  <a:lnTo>
                    <a:pt x="76" y="337"/>
                  </a:lnTo>
                  <a:lnTo>
                    <a:pt x="76" y="335"/>
                  </a:lnTo>
                  <a:close/>
                  <a:moveTo>
                    <a:pt x="67" y="335"/>
                  </a:moveTo>
                  <a:lnTo>
                    <a:pt x="67" y="337"/>
                  </a:lnTo>
                  <a:lnTo>
                    <a:pt x="67" y="335"/>
                  </a:lnTo>
                  <a:close/>
                  <a:moveTo>
                    <a:pt x="86" y="337"/>
                  </a:moveTo>
                  <a:lnTo>
                    <a:pt x="86" y="335"/>
                  </a:lnTo>
                  <a:lnTo>
                    <a:pt x="86" y="337"/>
                  </a:lnTo>
                  <a:close/>
                  <a:moveTo>
                    <a:pt x="88" y="335"/>
                  </a:moveTo>
                  <a:lnTo>
                    <a:pt x="88" y="337"/>
                  </a:lnTo>
                  <a:lnTo>
                    <a:pt x="90" y="337"/>
                  </a:lnTo>
                  <a:lnTo>
                    <a:pt x="90" y="340"/>
                  </a:lnTo>
                  <a:lnTo>
                    <a:pt x="88" y="340"/>
                  </a:lnTo>
                  <a:lnTo>
                    <a:pt x="88" y="337"/>
                  </a:lnTo>
                  <a:lnTo>
                    <a:pt x="86" y="337"/>
                  </a:lnTo>
                  <a:lnTo>
                    <a:pt x="86" y="335"/>
                  </a:lnTo>
                  <a:lnTo>
                    <a:pt x="88" y="335"/>
                  </a:lnTo>
                  <a:close/>
                  <a:moveTo>
                    <a:pt x="271" y="337"/>
                  </a:moveTo>
                  <a:lnTo>
                    <a:pt x="271" y="335"/>
                  </a:lnTo>
                  <a:lnTo>
                    <a:pt x="271" y="337"/>
                  </a:lnTo>
                  <a:close/>
                  <a:moveTo>
                    <a:pt x="78" y="335"/>
                  </a:moveTo>
                  <a:lnTo>
                    <a:pt x="76" y="335"/>
                  </a:lnTo>
                  <a:lnTo>
                    <a:pt x="78" y="335"/>
                  </a:lnTo>
                  <a:lnTo>
                    <a:pt x="76" y="335"/>
                  </a:lnTo>
                  <a:lnTo>
                    <a:pt x="78" y="335"/>
                  </a:lnTo>
                  <a:close/>
                  <a:moveTo>
                    <a:pt x="55" y="335"/>
                  </a:moveTo>
                  <a:lnTo>
                    <a:pt x="55" y="337"/>
                  </a:lnTo>
                  <a:lnTo>
                    <a:pt x="52" y="337"/>
                  </a:lnTo>
                  <a:lnTo>
                    <a:pt x="55" y="337"/>
                  </a:lnTo>
                  <a:lnTo>
                    <a:pt x="52" y="337"/>
                  </a:lnTo>
                  <a:lnTo>
                    <a:pt x="55" y="337"/>
                  </a:lnTo>
                  <a:lnTo>
                    <a:pt x="52" y="337"/>
                  </a:lnTo>
                  <a:lnTo>
                    <a:pt x="52" y="335"/>
                  </a:lnTo>
                  <a:lnTo>
                    <a:pt x="52" y="337"/>
                  </a:lnTo>
                  <a:lnTo>
                    <a:pt x="55" y="337"/>
                  </a:lnTo>
                  <a:lnTo>
                    <a:pt x="52" y="337"/>
                  </a:lnTo>
                  <a:lnTo>
                    <a:pt x="55" y="337"/>
                  </a:lnTo>
                  <a:lnTo>
                    <a:pt x="52" y="337"/>
                  </a:lnTo>
                  <a:lnTo>
                    <a:pt x="55" y="337"/>
                  </a:lnTo>
                  <a:lnTo>
                    <a:pt x="55" y="335"/>
                  </a:lnTo>
                  <a:lnTo>
                    <a:pt x="52" y="335"/>
                  </a:lnTo>
                  <a:lnTo>
                    <a:pt x="55" y="335"/>
                  </a:lnTo>
                  <a:close/>
                  <a:moveTo>
                    <a:pt x="83" y="335"/>
                  </a:moveTo>
                  <a:lnTo>
                    <a:pt x="86" y="335"/>
                  </a:lnTo>
                  <a:lnTo>
                    <a:pt x="86" y="337"/>
                  </a:lnTo>
                  <a:lnTo>
                    <a:pt x="86" y="335"/>
                  </a:lnTo>
                  <a:lnTo>
                    <a:pt x="86" y="337"/>
                  </a:lnTo>
                  <a:lnTo>
                    <a:pt x="88" y="340"/>
                  </a:lnTo>
                  <a:lnTo>
                    <a:pt x="86" y="340"/>
                  </a:lnTo>
                  <a:lnTo>
                    <a:pt x="88" y="340"/>
                  </a:lnTo>
                  <a:lnTo>
                    <a:pt x="88" y="342"/>
                  </a:lnTo>
                  <a:lnTo>
                    <a:pt x="88" y="340"/>
                  </a:lnTo>
                  <a:lnTo>
                    <a:pt x="88" y="342"/>
                  </a:lnTo>
                  <a:lnTo>
                    <a:pt x="86" y="342"/>
                  </a:lnTo>
                  <a:lnTo>
                    <a:pt x="88" y="342"/>
                  </a:lnTo>
                  <a:lnTo>
                    <a:pt x="90" y="342"/>
                  </a:lnTo>
                  <a:lnTo>
                    <a:pt x="88" y="342"/>
                  </a:lnTo>
                  <a:lnTo>
                    <a:pt x="90" y="342"/>
                  </a:lnTo>
                  <a:lnTo>
                    <a:pt x="88" y="344"/>
                  </a:lnTo>
                  <a:lnTo>
                    <a:pt x="88" y="342"/>
                  </a:lnTo>
                  <a:lnTo>
                    <a:pt x="90" y="342"/>
                  </a:lnTo>
                  <a:lnTo>
                    <a:pt x="88" y="342"/>
                  </a:lnTo>
                  <a:lnTo>
                    <a:pt x="88" y="344"/>
                  </a:lnTo>
                  <a:lnTo>
                    <a:pt x="88" y="342"/>
                  </a:lnTo>
                  <a:lnTo>
                    <a:pt x="86" y="342"/>
                  </a:lnTo>
                  <a:lnTo>
                    <a:pt x="83" y="342"/>
                  </a:lnTo>
                  <a:lnTo>
                    <a:pt x="86" y="342"/>
                  </a:lnTo>
                  <a:lnTo>
                    <a:pt x="83" y="342"/>
                  </a:lnTo>
                  <a:lnTo>
                    <a:pt x="83" y="340"/>
                  </a:lnTo>
                  <a:lnTo>
                    <a:pt x="83" y="342"/>
                  </a:lnTo>
                  <a:lnTo>
                    <a:pt x="83" y="340"/>
                  </a:lnTo>
                  <a:lnTo>
                    <a:pt x="81" y="340"/>
                  </a:lnTo>
                  <a:lnTo>
                    <a:pt x="83" y="340"/>
                  </a:lnTo>
                  <a:lnTo>
                    <a:pt x="81" y="340"/>
                  </a:lnTo>
                  <a:lnTo>
                    <a:pt x="83" y="340"/>
                  </a:lnTo>
                  <a:lnTo>
                    <a:pt x="81" y="340"/>
                  </a:lnTo>
                  <a:lnTo>
                    <a:pt x="83" y="340"/>
                  </a:lnTo>
                  <a:lnTo>
                    <a:pt x="83" y="337"/>
                  </a:lnTo>
                  <a:lnTo>
                    <a:pt x="83" y="340"/>
                  </a:lnTo>
                  <a:lnTo>
                    <a:pt x="81" y="340"/>
                  </a:lnTo>
                  <a:lnTo>
                    <a:pt x="81" y="337"/>
                  </a:lnTo>
                  <a:lnTo>
                    <a:pt x="83" y="340"/>
                  </a:lnTo>
                  <a:lnTo>
                    <a:pt x="83" y="337"/>
                  </a:lnTo>
                  <a:lnTo>
                    <a:pt x="81" y="337"/>
                  </a:lnTo>
                  <a:lnTo>
                    <a:pt x="83" y="337"/>
                  </a:lnTo>
                  <a:lnTo>
                    <a:pt x="83" y="335"/>
                  </a:lnTo>
                  <a:close/>
                  <a:moveTo>
                    <a:pt x="74" y="335"/>
                  </a:moveTo>
                  <a:lnTo>
                    <a:pt x="71" y="335"/>
                  </a:lnTo>
                  <a:lnTo>
                    <a:pt x="74" y="335"/>
                  </a:lnTo>
                  <a:close/>
                  <a:moveTo>
                    <a:pt x="57" y="335"/>
                  </a:moveTo>
                  <a:lnTo>
                    <a:pt x="59" y="335"/>
                  </a:lnTo>
                  <a:lnTo>
                    <a:pt x="57" y="335"/>
                  </a:lnTo>
                  <a:lnTo>
                    <a:pt x="59" y="335"/>
                  </a:lnTo>
                  <a:lnTo>
                    <a:pt x="59" y="337"/>
                  </a:lnTo>
                  <a:lnTo>
                    <a:pt x="57" y="337"/>
                  </a:lnTo>
                  <a:lnTo>
                    <a:pt x="57" y="335"/>
                  </a:lnTo>
                  <a:lnTo>
                    <a:pt x="57" y="337"/>
                  </a:lnTo>
                  <a:lnTo>
                    <a:pt x="57" y="335"/>
                  </a:lnTo>
                  <a:close/>
                  <a:moveTo>
                    <a:pt x="57" y="335"/>
                  </a:moveTo>
                  <a:lnTo>
                    <a:pt x="59" y="335"/>
                  </a:lnTo>
                  <a:lnTo>
                    <a:pt x="57" y="335"/>
                  </a:lnTo>
                  <a:close/>
                  <a:moveTo>
                    <a:pt x="62" y="335"/>
                  </a:moveTo>
                  <a:lnTo>
                    <a:pt x="64" y="335"/>
                  </a:lnTo>
                  <a:lnTo>
                    <a:pt x="62" y="335"/>
                  </a:lnTo>
                  <a:close/>
                  <a:moveTo>
                    <a:pt x="78" y="335"/>
                  </a:moveTo>
                  <a:lnTo>
                    <a:pt x="76" y="335"/>
                  </a:lnTo>
                  <a:lnTo>
                    <a:pt x="78" y="335"/>
                  </a:lnTo>
                  <a:lnTo>
                    <a:pt x="76" y="335"/>
                  </a:lnTo>
                  <a:lnTo>
                    <a:pt x="78" y="335"/>
                  </a:lnTo>
                  <a:close/>
                  <a:moveTo>
                    <a:pt x="69" y="335"/>
                  </a:moveTo>
                  <a:lnTo>
                    <a:pt x="67" y="335"/>
                  </a:lnTo>
                  <a:lnTo>
                    <a:pt x="67" y="333"/>
                  </a:lnTo>
                  <a:lnTo>
                    <a:pt x="69" y="335"/>
                  </a:lnTo>
                  <a:close/>
                  <a:moveTo>
                    <a:pt x="86" y="333"/>
                  </a:moveTo>
                  <a:lnTo>
                    <a:pt x="86" y="335"/>
                  </a:lnTo>
                  <a:lnTo>
                    <a:pt x="86" y="333"/>
                  </a:lnTo>
                  <a:close/>
                  <a:moveTo>
                    <a:pt x="86" y="335"/>
                  </a:moveTo>
                  <a:lnTo>
                    <a:pt x="86" y="333"/>
                  </a:lnTo>
                  <a:lnTo>
                    <a:pt x="86" y="335"/>
                  </a:lnTo>
                  <a:close/>
                  <a:moveTo>
                    <a:pt x="62" y="333"/>
                  </a:moveTo>
                  <a:lnTo>
                    <a:pt x="62" y="335"/>
                  </a:lnTo>
                  <a:lnTo>
                    <a:pt x="62" y="333"/>
                  </a:lnTo>
                  <a:close/>
                  <a:moveTo>
                    <a:pt x="74" y="335"/>
                  </a:moveTo>
                  <a:lnTo>
                    <a:pt x="71" y="335"/>
                  </a:lnTo>
                  <a:lnTo>
                    <a:pt x="74" y="335"/>
                  </a:lnTo>
                  <a:lnTo>
                    <a:pt x="74" y="333"/>
                  </a:lnTo>
                  <a:lnTo>
                    <a:pt x="74" y="335"/>
                  </a:lnTo>
                  <a:close/>
                  <a:moveTo>
                    <a:pt x="52" y="333"/>
                  </a:moveTo>
                  <a:lnTo>
                    <a:pt x="52" y="335"/>
                  </a:lnTo>
                  <a:lnTo>
                    <a:pt x="52" y="333"/>
                  </a:lnTo>
                  <a:lnTo>
                    <a:pt x="52" y="335"/>
                  </a:lnTo>
                  <a:lnTo>
                    <a:pt x="52" y="333"/>
                  </a:lnTo>
                  <a:lnTo>
                    <a:pt x="50" y="333"/>
                  </a:lnTo>
                  <a:lnTo>
                    <a:pt x="52" y="333"/>
                  </a:lnTo>
                  <a:close/>
                  <a:moveTo>
                    <a:pt x="57" y="333"/>
                  </a:moveTo>
                  <a:lnTo>
                    <a:pt x="59" y="333"/>
                  </a:lnTo>
                  <a:lnTo>
                    <a:pt x="59" y="335"/>
                  </a:lnTo>
                  <a:lnTo>
                    <a:pt x="57" y="335"/>
                  </a:lnTo>
                  <a:lnTo>
                    <a:pt x="57" y="333"/>
                  </a:lnTo>
                  <a:close/>
                  <a:moveTo>
                    <a:pt x="57" y="333"/>
                  </a:moveTo>
                  <a:lnTo>
                    <a:pt x="55" y="333"/>
                  </a:lnTo>
                  <a:lnTo>
                    <a:pt x="57" y="333"/>
                  </a:lnTo>
                  <a:close/>
                  <a:moveTo>
                    <a:pt x="81" y="333"/>
                  </a:moveTo>
                  <a:lnTo>
                    <a:pt x="81" y="335"/>
                  </a:lnTo>
                  <a:lnTo>
                    <a:pt x="78" y="335"/>
                  </a:lnTo>
                  <a:lnTo>
                    <a:pt x="81" y="335"/>
                  </a:lnTo>
                  <a:lnTo>
                    <a:pt x="78" y="335"/>
                  </a:lnTo>
                  <a:lnTo>
                    <a:pt x="81" y="335"/>
                  </a:lnTo>
                  <a:lnTo>
                    <a:pt x="81" y="337"/>
                  </a:lnTo>
                  <a:lnTo>
                    <a:pt x="78" y="337"/>
                  </a:lnTo>
                  <a:lnTo>
                    <a:pt x="78" y="335"/>
                  </a:lnTo>
                  <a:lnTo>
                    <a:pt x="78" y="333"/>
                  </a:lnTo>
                  <a:lnTo>
                    <a:pt x="81" y="333"/>
                  </a:lnTo>
                  <a:close/>
                  <a:moveTo>
                    <a:pt x="74" y="333"/>
                  </a:moveTo>
                  <a:lnTo>
                    <a:pt x="71" y="333"/>
                  </a:lnTo>
                  <a:lnTo>
                    <a:pt x="74" y="333"/>
                  </a:lnTo>
                  <a:lnTo>
                    <a:pt x="74" y="330"/>
                  </a:lnTo>
                  <a:lnTo>
                    <a:pt x="74" y="333"/>
                  </a:lnTo>
                  <a:close/>
                  <a:moveTo>
                    <a:pt x="74" y="330"/>
                  </a:moveTo>
                  <a:lnTo>
                    <a:pt x="74" y="333"/>
                  </a:lnTo>
                  <a:lnTo>
                    <a:pt x="74" y="330"/>
                  </a:lnTo>
                  <a:lnTo>
                    <a:pt x="74" y="333"/>
                  </a:lnTo>
                  <a:lnTo>
                    <a:pt x="74" y="330"/>
                  </a:lnTo>
                  <a:close/>
                  <a:moveTo>
                    <a:pt x="71" y="330"/>
                  </a:moveTo>
                  <a:lnTo>
                    <a:pt x="71" y="333"/>
                  </a:lnTo>
                  <a:lnTo>
                    <a:pt x="71" y="330"/>
                  </a:lnTo>
                  <a:close/>
                  <a:moveTo>
                    <a:pt x="74" y="330"/>
                  </a:moveTo>
                  <a:lnTo>
                    <a:pt x="71" y="330"/>
                  </a:lnTo>
                  <a:lnTo>
                    <a:pt x="74" y="330"/>
                  </a:lnTo>
                  <a:close/>
                  <a:moveTo>
                    <a:pt x="78" y="330"/>
                  </a:moveTo>
                  <a:lnTo>
                    <a:pt x="78" y="333"/>
                  </a:lnTo>
                  <a:lnTo>
                    <a:pt x="78" y="330"/>
                  </a:lnTo>
                  <a:close/>
                  <a:moveTo>
                    <a:pt x="81" y="330"/>
                  </a:moveTo>
                  <a:lnTo>
                    <a:pt x="81" y="333"/>
                  </a:lnTo>
                  <a:lnTo>
                    <a:pt x="78" y="333"/>
                  </a:lnTo>
                  <a:lnTo>
                    <a:pt x="78" y="330"/>
                  </a:lnTo>
                  <a:lnTo>
                    <a:pt x="81" y="330"/>
                  </a:lnTo>
                  <a:close/>
                  <a:moveTo>
                    <a:pt x="62" y="330"/>
                  </a:moveTo>
                  <a:lnTo>
                    <a:pt x="62" y="333"/>
                  </a:lnTo>
                  <a:lnTo>
                    <a:pt x="62" y="330"/>
                  </a:lnTo>
                  <a:lnTo>
                    <a:pt x="62" y="333"/>
                  </a:lnTo>
                  <a:lnTo>
                    <a:pt x="62" y="330"/>
                  </a:lnTo>
                  <a:lnTo>
                    <a:pt x="62" y="333"/>
                  </a:lnTo>
                  <a:lnTo>
                    <a:pt x="62" y="330"/>
                  </a:lnTo>
                  <a:close/>
                  <a:moveTo>
                    <a:pt x="64" y="330"/>
                  </a:moveTo>
                  <a:lnTo>
                    <a:pt x="64" y="333"/>
                  </a:lnTo>
                  <a:lnTo>
                    <a:pt x="67" y="333"/>
                  </a:lnTo>
                  <a:lnTo>
                    <a:pt x="67" y="335"/>
                  </a:lnTo>
                  <a:lnTo>
                    <a:pt x="64" y="335"/>
                  </a:lnTo>
                  <a:lnTo>
                    <a:pt x="64" y="333"/>
                  </a:lnTo>
                  <a:lnTo>
                    <a:pt x="64" y="330"/>
                  </a:lnTo>
                  <a:close/>
                  <a:moveTo>
                    <a:pt x="81" y="330"/>
                  </a:moveTo>
                  <a:lnTo>
                    <a:pt x="78" y="330"/>
                  </a:lnTo>
                  <a:lnTo>
                    <a:pt x="81" y="330"/>
                  </a:lnTo>
                  <a:close/>
                  <a:moveTo>
                    <a:pt x="62" y="328"/>
                  </a:moveTo>
                  <a:lnTo>
                    <a:pt x="62" y="330"/>
                  </a:lnTo>
                  <a:lnTo>
                    <a:pt x="64" y="330"/>
                  </a:lnTo>
                  <a:lnTo>
                    <a:pt x="62" y="330"/>
                  </a:lnTo>
                  <a:lnTo>
                    <a:pt x="64" y="330"/>
                  </a:lnTo>
                  <a:lnTo>
                    <a:pt x="62" y="330"/>
                  </a:lnTo>
                  <a:lnTo>
                    <a:pt x="62" y="328"/>
                  </a:lnTo>
                  <a:lnTo>
                    <a:pt x="62" y="330"/>
                  </a:lnTo>
                  <a:lnTo>
                    <a:pt x="62" y="328"/>
                  </a:lnTo>
                  <a:lnTo>
                    <a:pt x="62" y="330"/>
                  </a:lnTo>
                  <a:lnTo>
                    <a:pt x="62" y="328"/>
                  </a:lnTo>
                  <a:close/>
                  <a:moveTo>
                    <a:pt x="62" y="328"/>
                  </a:moveTo>
                  <a:lnTo>
                    <a:pt x="64" y="328"/>
                  </a:lnTo>
                  <a:lnTo>
                    <a:pt x="64" y="330"/>
                  </a:lnTo>
                  <a:lnTo>
                    <a:pt x="62" y="328"/>
                  </a:lnTo>
                  <a:close/>
                  <a:moveTo>
                    <a:pt x="69" y="328"/>
                  </a:moveTo>
                  <a:lnTo>
                    <a:pt x="67" y="328"/>
                  </a:lnTo>
                  <a:lnTo>
                    <a:pt x="69" y="328"/>
                  </a:lnTo>
                  <a:close/>
                  <a:moveTo>
                    <a:pt x="55" y="328"/>
                  </a:moveTo>
                  <a:lnTo>
                    <a:pt x="55" y="325"/>
                  </a:lnTo>
                  <a:lnTo>
                    <a:pt x="55" y="328"/>
                  </a:lnTo>
                  <a:close/>
                  <a:moveTo>
                    <a:pt x="67" y="325"/>
                  </a:moveTo>
                  <a:lnTo>
                    <a:pt x="67" y="328"/>
                  </a:lnTo>
                  <a:lnTo>
                    <a:pt x="69" y="328"/>
                  </a:lnTo>
                  <a:lnTo>
                    <a:pt x="67" y="328"/>
                  </a:lnTo>
                  <a:lnTo>
                    <a:pt x="67" y="325"/>
                  </a:lnTo>
                  <a:close/>
                  <a:moveTo>
                    <a:pt x="64" y="325"/>
                  </a:moveTo>
                  <a:lnTo>
                    <a:pt x="67" y="325"/>
                  </a:lnTo>
                  <a:lnTo>
                    <a:pt x="67" y="328"/>
                  </a:lnTo>
                  <a:lnTo>
                    <a:pt x="67" y="325"/>
                  </a:lnTo>
                  <a:lnTo>
                    <a:pt x="67" y="328"/>
                  </a:lnTo>
                  <a:lnTo>
                    <a:pt x="67" y="330"/>
                  </a:lnTo>
                  <a:lnTo>
                    <a:pt x="69" y="330"/>
                  </a:lnTo>
                  <a:lnTo>
                    <a:pt x="67" y="330"/>
                  </a:lnTo>
                  <a:lnTo>
                    <a:pt x="69" y="330"/>
                  </a:lnTo>
                  <a:lnTo>
                    <a:pt x="71" y="330"/>
                  </a:lnTo>
                  <a:lnTo>
                    <a:pt x="69" y="330"/>
                  </a:lnTo>
                  <a:lnTo>
                    <a:pt x="71" y="330"/>
                  </a:lnTo>
                  <a:lnTo>
                    <a:pt x="69" y="333"/>
                  </a:lnTo>
                  <a:lnTo>
                    <a:pt x="69" y="330"/>
                  </a:lnTo>
                  <a:lnTo>
                    <a:pt x="69" y="333"/>
                  </a:lnTo>
                  <a:lnTo>
                    <a:pt x="69" y="330"/>
                  </a:lnTo>
                  <a:lnTo>
                    <a:pt x="69" y="333"/>
                  </a:lnTo>
                  <a:lnTo>
                    <a:pt x="71" y="333"/>
                  </a:lnTo>
                  <a:lnTo>
                    <a:pt x="74" y="333"/>
                  </a:lnTo>
                  <a:lnTo>
                    <a:pt x="71" y="333"/>
                  </a:lnTo>
                  <a:lnTo>
                    <a:pt x="71" y="335"/>
                  </a:lnTo>
                  <a:lnTo>
                    <a:pt x="71" y="333"/>
                  </a:lnTo>
                  <a:lnTo>
                    <a:pt x="71" y="335"/>
                  </a:lnTo>
                  <a:lnTo>
                    <a:pt x="69" y="335"/>
                  </a:lnTo>
                  <a:lnTo>
                    <a:pt x="69" y="333"/>
                  </a:lnTo>
                  <a:lnTo>
                    <a:pt x="67" y="333"/>
                  </a:lnTo>
                  <a:lnTo>
                    <a:pt x="69" y="333"/>
                  </a:lnTo>
                  <a:lnTo>
                    <a:pt x="67" y="333"/>
                  </a:lnTo>
                  <a:lnTo>
                    <a:pt x="64" y="330"/>
                  </a:lnTo>
                  <a:lnTo>
                    <a:pt x="67" y="330"/>
                  </a:lnTo>
                  <a:lnTo>
                    <a:pt x="67" y="333"/>
                  </a:lnTo>
                  <a:lnTo>
                    <a:pt x="67" y="330"/>
                  </a:lnTo>
                  <a:lnTo>
                    <a:pt x="67" y="333"/>
                  </a:lnTo>
                  <a:lnTo>
                    <a:pt x="67" y="330"/>
                  </a:lnTo>
                  <a:lnTo>
                    <a:pt x="69" y="330"/>
                  </a:lnTo>
                  <a:lnTo>
                    <a:pt x="67" y="330"/>
                  </a:lnTo>
                  <a:lnTo>
                    <a:pt x="67" y="328"/>
                  </a:lnTo>
                  <a:lnTo>
                    <a:pt x="67" y="330"/>
                  </a:lnTo>
                  <a:lnTo>
                    <a:pt x="67" y="328"/>
                  </a:lnTo>
                  <a:lnTo>
                    <a:pt x="67" y="330"/>
                  </a:lnTo>
                  <a:lnTo>
                    <a:pt x="64" y="330"/>
                  </a:lnTo>
                  <a:lnTo>
                    <a:pt x="64" y="328"/>
                  </a:lnTo>
                  <a:lnTo>
                    <a:pt x="64" y="330"/>
                  </a:lnTo>
                  <a:lnTo>
                    <a:pt x="64" y="328"/>
                  </a:lnTo>
                  <a:lnTo>
                    <a:pt x="64" y="330"/>
                  </a:lnTo>
                  <a:lnTo>
                    <a:pt x="64" y="328"/>
                  </a:lnTo>
                  <a:lnTo>
                    <a:pt x="64" y="330"/>
                  </a:lnTo>
                  <a:lnTo>
                    <a:pt x="64" y="328"/>
                  </a:lnTo>
                  <a:lnTo>
                    <a:pt x="62" y="328"/>
                  </a:lnTo>
                  <a:lnTo>
                    <a:pt x="64" y="328"/>
                  </a:lnTo>
                  <a:lnTo>
                    <a:pt x="62" y="328"/>
                  </a:lnTo>
                  <a:lnTo>
                    <a:pt x="64" y="328"/>
                  </a:lnTo>
                  <a:lnTo>
                    <a:pt x="64" y="325"/>
                  </a:lnTo>
                  <a:lnTo>
                    <a:pt x="64" y="328"/>
                  </a:lnTo>
                  <a:lnTo>
                    <a:pt x="64" y="325"/>
                  </a:lnTo>
                  <a:close/>
                  <a:moveTo>
                    <a:pt x="67" y="323"/>
                  </a:moveTo>
                  <a:lnTo>
                    <a:pt x="64" y="323"/>
                  </a:lnTo>
                  <a:lnTo>
                    <a:pt x="67" y="323"/>
                  </a:lnTo>
                  <a:close/>
                  <a:moveTo>
                    <a:pt x="67" y="323"/>
                  </a:moveTo>
                  <a:lnTo>
                    <a:pt x="64" y="323"/>
                  </a:lnTo>
                  <a:lnTo>
                    <a:pt x="67" y="323"/>
                  </a:lnTo>
                  <a:close/>
                  <a:moveTo>
                    <a:pt x="57" y="323"/>
                  </a:moveTo>
                  <a:lnTo>
                    <a:pt x="55" y="323"/>
                  </a:lnTo>
                  <a:lnTo>
                    <a:pt x="57" y="323"/>
                  </a:lnTo>
                  <a:close/>
                  <a:moveTo>
                    <a:pt x="67" y="321"/>
                  </a:moveTo>
                  <a:lnTo>
                    <a:pt x="69" y="321"/>
                  </a:lnTo>
                  <a:lnTo>
                    <a:pt x="67" y="321"/>
                  </a:lnTo>
                  <a:lnTo>
                    <a:pt x="67" y="323"/>
                  </a:lnTo>
                  <a:lnTo>
                    <a:pt x="67" y="321"/>
                  </a:lnTo>
                  <a:close/>
                  <a:moveTo>
                    <a:pt x="69" y="321"/>
                  </a:moveTo>
                  <a:lnTo>
                    <a:pt x="67" y="321"/>
                  </a:lnTo>
                  <a:lnTo>
                    <a:pt x="69" y="321"/>
                  </a:lnTo>
                  <a:close/>
                  <a:moveTo>
                    <a:pt x="64" y="321"/>
                  </a:moveTo>
                  <a:lnTo>
                    <a:pt x="67" y="321"/>
                  </a:lnTo>
                  <a:lnTo>
                    <a:pt x="64" y="321"/>
                  </a:lnTo>
                  <a:close/>
                  <a:moveTo>
                    <a:pt x="64" y="321"/>
                  </a:moveTo>
                  <a:lnTo>
                    <a:pt x="64" y="318"/>
                  </a:lnTo>
                  <a:lnTo>
                    <a:pt x="64" y="321"/>
                  </a:lnTo>
                  <a:close/>
                  <a:moveTo>
                    <a:pt x="67" y="318"/>
                  </a:moveTo>
                  <a:lnTo>
                    <a:pt x="64" y="318"/>
                  </a:lnTo>
                  <a:lnTo>
                    <a:pt x="67" y="318"/>
                  </a:lnTo>
                  <a:lnTo>
                    <a:pt x="64" y="318"/>
                  </a:lnTo>
                  <a:lnTo>
                    <a:pt x="67" y="318"/>
                  </a:lnTo>
                  <a:lnTo>
                    <a:pt x="64" y="318"/>
                  </a:lnTo>
                  <a:lnTo>
                    <a:pt x="67" y="318"/>
                  </a:lnTo>
                  <a:close/>
                  <a:moveTo>
                    <a:pt x="59" y="318"/>
                  </a:moveTo>
                  <a:lnTo>
                    <a:pt x="62" y="318"/>
                  </a:lnTo>
                  <a:lnTo>
                    <a:pt x="62" y="321"/>
                  </a:lnTo>
                  <a:lnTo>
                    <a:pt x="59" y="321"/>
                  </a:lnTo>
                  <a:lnTo>
                    <a:pt x="59" y="318"/>
                  </a:lnTo>
                  <a:lnTo>
                    <a:pt x="59" y="321"/>
                  </a:lnTo>
                  <a:lnTo>
                    <a:pt x="59" y="318"/>
                  </a:lnTo>
                  <a:close/>
                  <a:moveTo>
                    <a:pt x="64" y="318"/>
                  </a:moveTo>
                  <a:lnTo>
                    <a:pt x="67" y="318"/>
                  </a:lnTo>
                  <a:lnTo>
                    <a:pt x="64" y="318"/>
                  </a:lnTo>
                  <a:close/>
                  <a:moveTo>
                    <a:pt x="67" y="318"/>
                  </a:moveTo>
                  <a:lnTo>
                    <a:pt x="64" y="318"/>
                  </a:lnTo>
                  <a:lnTo>
                    <a:pt x="67" y="318"/>
                  </a:lnTo>
                  <a:close/>
                  <a:moveTo>
                    <a:pt x="62" y="316"/>
                  </a:moveTo>
                  <a:lnTo>
                    <a:pt x="62" y="318"/>
                  </a:lnTo>
                  <a:lnTo>
                    <a:pt x="62" y="316"/>
                  </a:lnTo>
                  <a:close/>
                  <a:moveTo>
                    <a:pt x="55" y="316"/>
                  </a:moveTo>
                  <a:lnTo>
                    <a:pt x="57" y="316"/>
                  </a:lnTo>
                  <a:lnTo>
                    <a:pt x="55" y="316"/>
                  </a:lnTo>
                  <a:close/>
                  <a:moveTo>
                    <a:pt x="62" y="316"/>
                  </a:moveTo>
                  <a:lnTo>
                    <a:pt x="59" y="316"/>
                  </a:lnTo>
                  <a:lnTo>
                    <a:pt x="62" y="316"/>
                  </a:lnTo>
                  <a:lnTo>
                    <a:pt x="59" y="316"/>
                  </a:lnTo>
                  <a:lnTo>
                    <a:pt x="62" y="316"/>
                  </a:lnTo>
                  <a:close/>
                  <a:moveTo>
                    <a:pt x="62" y="316"/>
                  </a:moveTo>
                  <a:lnTo>
                    <a:pt x="59" y="316"/>
                  </a:lnTo>
                  <a:lnTo>
                    <a:pt x="62" y="316"/>
                  </a:lnTo>
                  <a:close/>
                  <a:moveTo>
                    <a:pt x="62" y="314"/>
                  </a:moveTo>
                  <a:lnTo>
                    <a:pt x="64" y="314"/>
                  </a:lnTo>
                  <a:lnTo>
                    <a:pt x="62" y="314"/>
                  </a:lnTo>
                  <a:lnTo>
                    <a:pt x="64" y="314"/>
                  </a:lnTo>
                  <a:lnTo>
                    <a:pt x="64" y="316"/>
                  </a:lnTo>
                  <a:lnTo>
                    <a:pt x="64" y="314"/>
                  </a:lnTo>
                  <a:lnTo>
                    <a:pt x="64" y="316"/>
                  </a:lnTo>
                  <a:lnTo>
                    <a:pt x="64" y="314"/>
                  </a:lnTo>
                  <a:lnTo>
                    <a:pt x="64" y="316"/>
                  </a:lnTo>
                  <a:lnTo>
                    <a:pt x="62" y="316"/>
                  </a:lnTo>
                  <a:lnTo>
                    <a:pt x="64" y="316"/>
                  </a:lnTo>
                  <a:lnTo>
                    <a:pt x="62" y="316"/>
                  </a:lnTo>
                  <a:lnTo>
                    <a:pt x="64" y="316"/>
                  </a:lnTo>
                  <a:lnTo>
                    <a:pt x="62" y="316"/>
                  </a:lnTo>
                  <a:lnTo>
                    <a:pt x="64" y="316"/>
                  </a:lnTo>
                  <a:lnTo>
                    <a:pt x="64" y="318"/>
                  </a:lnTo>
                  <a:lnTo>
                    <a:pt x="67" y="318"/>
                  </a:lnTo>
                  <a:lnTo>
                    <a:pt x="64" y="318"/>
                  </a:lnTo>
                  <a:lnTo>
                    <a:pt x="64" y="316"/>
                  </a:lnTo>
                  <a:lnTo>
                    <a:pt x="67" y="316"/>
                  </a:lnTo>
                  <a:lnTo>
                    <a:pt x="67" y="318"/>
                  </a:lnTo>
                  <a:lnTo>
                    <a:pt x="64" y="318"/>
                  </a:lnTo>
                  <a:lnTo>
                    <a:pt x="64" y="316"/>
                  </a:lnTo>
                  <a:lnTo>
                    <a:pt x="64" y="318"/>
                  </a:lnTo>
                  <a:lnTo>
                    <a:pt x="64" y="316"/>
                  </a:lnTo>
                  <a:lnTo>
                    <a:pt x="62" y="316"/>
                  </a:lnTo>
                  <a:lnTo>
                    <a:pt x="64" y="316"/>
                  </a:lnTo>
                  <a:lnTo>
                    <a:pt x="62" y="316"/>
                  </a:lnTo>
                  <a:lnTo>
                    <a:pt x="62" y="314"/>
                  </a:lnTo>
                  <a:lnTo>
                    <a:pt x="62" y="316"/>
                  </a:lnTo>
                  <a:lnTo>
                    <a:pt x="62" y="314"/>
                  </a:lnTo>
                  <a:close/>
                  <a:moveTo>
                    <a:pt x="62" y="311"/>
                  </a:moveTo>
                  <a:lnTo>
                    <a:pt x="59" y="311"/>
                  </a:lnTo>
                  <a:lnTo>
                    <a:pt x="62" y="311"/>
                  </a:lnTo>
                  <a:close/>
                  <a:moveTo>
                    <a:pt x="67" y="306"/>
                  </a:moveTo>
                  <a:lnTo>
                    <a:pt x="67" y="309"/>
                  </a:lnTo>
                  <a:lnTo>
                    <a:pt x="67" y="306"/>
                  </a:lnTo>
                  <a:close/>
                  <a:moveTo>
                    <a:pt x="71" y="297"/>
                  </a:moveTo>
                  <a:lnTo>
                    <a:pt x="69" y="297"/>
                  </a:lnTo>
                  <a:lnTo>
                    <a:pt x="71" y="297"/>
                  </a:lnTo>
                  <a:close/>
                  <a:moveTo>
                    <a:pt x="69" y="297"/>
                  </a:moveTo>
                  <a:lnTo>
                    <a:pt x="67" y="297"/>
                  </a:lnTo>
                  <a:lnTo>
                    <a:pt x="69" y="297"/>
                  </a:lnTo>
                  <a:lnTo>
                    <a:pt x="67" y="297"/>
                  </a:lnTo>
                  <a:lnTo>
                    <a:pt x="69" y="297"/>
                  </a:lnTo>
                  <a:lnTo>
                    <a:pt x="69" y="299"/>
                  </a:lnTo>
                  <a:lnTo>
                    <a:pt x="69" y="297"/>
                  </a:lnTo>
                  <a:lnTo>
                    <a:pt x="69" y="299"/>
                  </a:lnTo>
                  <a:lnTo>
                    <a:pt x="71" y="299"/>
                  </a:lnTo>
                  <a:lnTo>
                    <a:pt x="69" y="299"/>
                  </a:lnTo>
                  <a:lnTo>
                    <a:pt x="67" y="299"/>
                  </a:lnTo>
                  <a:lnTo>
                    <a:pt x="67" y="297"/>
                  </a:lnTo>
                  <a:lnTo>
                    <a:pt x="69" y="297"/>
                  </a:lnTo>
                  <a:close/>
                  <a:moveTo>
                    <a:pt x="71" y="297"/>
                  </a:moveTo>
                  <a:lnTo>
                    <a:pt x="69" y="297"/>
                  </a:lnTo>
                  <a:lnTo>
                    <a:pt x="71" y="297"/>
                  </a:lnTo>
                  <a:lnTo>
                    <a:pt x="69" y="297"/>
                  </a:lnTo>
                  <a:lnTo>
                    <a:pt x="71" y="297"/>
                  </a:lnTo>
                  <a:lnTo>
                    <a:pt x="69" y="297"/>
                  </a:lnTo>
                  <a:lnTo>
                    <a:pt x="71" y="297"/>
                  </a:lnTo>
                  <a:close/>
                  <a:moveTo>
                    <a:pt x="71" y="290"/>
                  </a:moveTo>
                  <a:lnTo>
                    <a:pt x="74" y="290"/>
                  </a:lnTo>
                  <a:lnTo>
                    <a:pt x="71" y="290"/>
                  </a:lnTo>
                  <a:close/>
                  <a:moveTo>
                    <a:pt x="69" y="287"/>
                  </a:moveTo>
                  <a:lnTo>
                    <a:pt x="69" y="290"/>
                  </a:lnTo>
                  <a:lnTo>
                    <a:pt x="69" y="287"/>
                  </a:lnTo>
                  <a:close/>
                  <a:moveTo>
                    <a:pt x="71" y="287"/>
                  </a:moveTo>
                  <a:lnTo>
                    <a:pt x="74" y="287"/>
                  </a:lnTo>
                  <a:lnTo>
                    <a:pt x="71" y="287"/>
                  </a:lnTo>
                  <a:close/>
                  <a:moveTo>
                    <a:pt x="71" y="287"/>
                  </a:moveTo>
                  <a:lnTo>
                    <a:pt x="71" y="285"/>
                  </a:lnTo>
                  <a:lnTo>
                    <a:pt x="71" y="287"/>
                  </a:lnTo>
                  <a:lnTo>
                    <a:pt x="71" y="285"/>
                  </a:lnTo>
                  <a:lnTo>
                    <a:pt x="71" y="287"/>
                  </a:lnTo>
                  <a:close/>
                  <a:moveTo>
                    <a:pt x="71" y="287"/>
                  </a:moveTo>
                  <a:lnTo>
                    <a:pt x="69" y="285"/>
                  </a:lnTo>
                  <a:lnTo>
                    <a:pt x="71" y="285"/>
                  </a:lnTo>
                  <a:lnTo>
                    <a:pt x="71" y="287"/>
                  </a:lnTo>
                  <a:close/>
                  <a:moveTo>
                    <a:pt x="67" y="285"/>
                  </a:moveTo>
                  <a:lnTo>
                    <a:pt x="69" y="285"/>
                  </a:lnTo>
                  <a:lnTo>
                    <a:pt x="69" y="287"/>
                  </a:lnTo>
                  <a:lnTo>
                    <a:pt x="67" y="287"/>
                  </a:lnTo>
                  <a:lnTo>
                    <a:pt x="67" y="285"/>
                  </a:lnTo>
                  <a:close/>
                  <a:moveTo>
                    <a:pt x="71" y="278"/>
                  </a:moveTo>
                  <a:lnTo>
                    <a:pt x="71" y="280"/>
                  </a:lnTo>
                  <a:lnTo>
                    <a:pt x="69" y="280"/>
                  </a:lnTo>
                  <a:lnTo>
                    <a:pt x="69" y="278"/>
                  </a:lnTo>
                  <a:lnTo>
                    <a:pt x="69" y="280"/>
                  </a:lnTo>
                  <a:lnTo>
                    <a:pt x="69" y="278"/>
                  </a:lnTo>
                  <a:lnTo>
                    <a:pt x="71" y="278"/>
                  </a:lnTo>
                  <a:close/>
                  <a:moveTo>
                    <a:pt x="74" y="273"/>
                  </a:moveTo>
                  <a:lnTo>
                    <a:pt x="74" y="276"/>
                  </a:lnTo>
                  <a:lnTo>
                    <a:pt x="76" y="276"/>
                  </a:lnTo>
                  <a:lnTo>
                    <a:pt x="74" y="276"/>
                  </a:lnTo>
                  <a:lnTo>
                    <a:pt x="76" y="276"/>
                  </a:lnTo>
                  <a:lnTo>
                    <a:pt x="74" y="276"/>
                  </a:lnTo>
                  <a:lnTo>
                    <a:pt x="74" y="273"/>
                  </a:lnTo>
                  <a:lnTo>
                    <a:pt x="74" y="276"/>
                  </a:lnTo>
                  <a:lnTo>
                    <a:pt x="74" y="273"/>
                  </a:lnTo>
                  <a:close/>
                  <a:moveTo>
                    <a:pt x="69" y="273"/>
                  </a:moveTo>
                  <a:lnTo>
                    <a:pt x="71" y="273"/>
                  </a:lnTo>
                  <a:lnTo>
                    <a:pt x="69" y="273"/>
                  </a:lnTo>
                  <a:lnTo>
                    <a:pt x="69" y="276"/>
                  </a:lnTo>
                  <a:lnTo>
                    <a:pt x="71" y="276"/>
                  </a:lnTo>
                  <a:lnTo>
                    <a:pt x="69" y="276"/>
                  </a:lnTo>
                  <a:lnTo>
                    <a:pt x="69" y="273"/>
                  </a:lnTo>
                  <a:close/>
                  <a:moveTo>
                    <a:pt x="71" y="273"/>
                  </a:moveTo>
                  <a:lnTo>
                    <a:pt x="69" y="273"/>
                  </a:lnTo>
                  <a:lnTo>
                    <a:pt x="71" y="273"/>
                  </a:lnTo>
                  <a:close/>
                  <a:moveTo>
                    <a:pt x="74" y="273"/>
                  </a:moveTo>
                  <a:lnTo>
                    <a:pt x="71" y="273"/>
                  </a:lnTo>
                  <a:lnTo>
                    <a:pt x="74" y="273"/>
                  </a:lnTo>
                  <a:close/>
                  <a:moveTo>
                    <a:pt x="71" y="273"/>
                  </a:moveTo>
                  <a:lnTo>
                    <a:pt x="71" y="271"/>
                  </a:lnTo>
                  <a:lnTo>
                    <a:pt x="71" y="273"/>
                  </a:lnTo>
                  <a:lnTo>
                    <a:pt x="71" y="271"/>
                  </a:lnTo>
                  <a:lnTo>
                    <a:pt x="71" y="273"/>
                  </a:lnTo>
                  <a:close/>
                  <a:moveTo>
                    <a:pt x="69" y="271"/>
                  </a:moveTo>
                  <a:lnTo>
                    <a:pt x="71" y="271"/>
                  </a:lnTo>
                  <a:lnTo>
                    <a:pt x="71" y="273"/>
                  </a:lnTo>
                  <a:lnTo>
                    <a:pt x="74" y="273"/>
                  </a:lnTo>
                  <a:lnTo>
                    <a:pt x="74" y="276"/>
                  </a:lnTo>
                  <a:lnTo>
                    <a:pt x="74" y="273"/>
                  </a:lnTo>
                  <a:lnTo>
                    <a:pt x="71" y="273"/>
                  </a:lnTo>
                  <a:lnTo>
                    <a:pt x="71" y="276"/>
                  </a:lnTo>
                  <a:lnTo>
                    <a:pt x="74" y="276"/>
                  </a:lnTo>
                  <a:lnTo>
                    <a:pt x="71" y="276"/>
                  </a:lnTo>
                  <a:lnTo>
                    <a:pt x="71" y="273"/>
                  </a:lnTo>
                  <a:lnTo>
                    <a:pt x="71" y="276"/>
                  </a:lnTo>
                  <a:lnTo>
                    <a:pt x="71" y="273"/>
                  </a:lnTo>
                  <a:lnTo>
                    <a:pt x="71" y="276"/>
                  </a:lnTo>
                  <a:lnTo>
                    <a:pt x="71" y="273"/>
                  </a:lnTo>
                  <a:lnTo>
                    <a:pt x="69" y="273"/>
                  </a:lnTo>
                  <a:lnTo>
                    <a:pt x="69" y="271"/>
                  </a:lnTo>
                  <a:close/>
                  <a:moveTo>
                    <a:pt x="67" y="271"/>
                  </a:moveTo>
                  <a:lnTo>
                    <a:pt x="69" y="271"/>
                  </a:lnTo>
                  <a:lnTo>
                    <a:pt x="67" y="271"/>
                  </a:lnTo>
                  <a:close/>
                  <a:moveTo>
                    <a:pt x="71" y="264"/>
                  </a:moveTo>
                  <a:lnTo>
                    <a:pt x="71" y="261"/>
                  </a:lnTo>
                  <a:lnTo>
                    <a:pt x="71" y="264"/>
                  </a:lnTo>
                  <a:lnTo>
                    <a:pt x="69" y="264"/>
                  </a:lnTo>
                  <a:lnTo>
                    <a:pt x="69" y="261"/>
                  </a:lnTo>
                  <a:lnTo>
                    <a:pt x="71" y="261"/>
                  </a:lnTo>
                  <a:lnTo>
                    <a:pt x="71" y="264"/>
                  </a:lnTo>
                  <a:close/>
                  <a:moveTo>
                    <a:pt x="67" y="261"/>
                  </a:moveTo>
                  <a:lnTo>
                    <a:pt x="67" y="264"/>
                  </a:lnTo>
                  <a:lnTo>
                    <a:pt x="67" y="261"/>
                  </a:lnTo>
                  <a:lnTo>
                    <a:pt x="67" y="264"/>
                  </a:lnTo>
                  <a:lnTo>
                    <a:pt x="67" y="261"/>
                  </a:lnTo>
                  <a:close/>
                  <a:moveTo>
                    <a:pt x="64" y="254"/>
                  </a:moveTo>
                  <a:lnTo>
                    <a:pt x="67" y="257"/>
                  </a:lnTo>
                  <a:lnTo>
                    <a:pt x="64" y="254"/>
                  </a:lnTo>
                  <a:lnTo>
                    <a:pt x="64" y="257"/>
                  </a:lnTo>
                  <a:lnTo>
                    <a:pt x="67" y="257"/>
                  </a:lnTo>
                  <a:lnTo>
                    <a:pt x="64" y="257"/>
                  </a:lnTo>
                  <a:lnTo>
                    <a:pt x="64" y="254"/>
                  </a:lnTo>
                  <a:lnTo>
                    <a:pt x="67" y="254"/>
                  </a:lnTo>
                  <a:lnTo>
                    <a:pt x="64" y="254"/>
                  </a:lnTo>
                  <a:close/>
                  <a:moveTo>
                    <a:pt x="64" y="247"/>
                  </a:moveTo>
                  <a:lnTo>
                    <a:pt x="67" y="247"/>
                  </a:lnTo>
                  <a:lnTo>
                    <a:pt x="67" y="249"/>
                  </a:lnTo>
                  <a:lnTo>
                    <a:pt x="67" y="247"/>
                  </a:lnTo>
                  <a:lnTo>
                    <a:pt x="64" y="247"/>
                  </a:lnTo>
                  <a:lnTo>
                    <a:pt x="64" y="245"/>
                  </a:lnTo>
                  <a:lnTo>
                    <a:pt x="64" y="247"/>
                  </a:lnTo>
                  <a:close/>
                  <a:moveTo>
                    <a:pt x="67" y="245"/>
                  </a:moveTo>
                  <a:lnTo>
                    <a:pt x="64" y="245"/>
                  </a:lnTo>
                  <a:lnTo>
                    <a:pt x="67" y="245"/>
                  </a:lnTo>
                  <a:close/>
                  <a:moveTo>
                    <a:pt x="69" y="242"/>
                  </a:moveTo>
                  <a:lnTo>
                    <a:pt x="67" y="242"/>
                  </a:lnTo>
                  <a:lnTo>
                    <a:pt x="69" y="242"/>
                  </a:lnTo>
                  <a:close/>
                  <a:moveTo>
                    <a:pt x="62" y="230"/>
                  </a:moveTo>
                  <a:lnTo>
                    <a:pt x="62" y="233"/>
                  </a:lnTo>
                  <a:lnTo>
                    <a:pt x="62" y="235"/>
                  </a:lnTo>
                  <a:lnTo>
                    <a:pt x="62" y="233"/>
                  </a:lnTo>
                  <a:lnTo>
                    <a:pt x="62" y="235"/>
                  </a:lnTo>
                  <a:lnTo>
                    <a:pt x="62" y="233"/>
                  </a:lnTo>
                  <a:lnTo>
                    <a:pt x="62" y="235"/>
                  </a:lnTo>
                  <a:lnTo>
                    <a:pt x="62" y="233"/>
                  </a:lnTo>
                  <a:lnTo>
                    <a:pt x="62" y="230"/>
                  </a:lnTo>
                  <a:lnTo>
                    <a:pt x="62" y="233"/>
                  </a:lnTo>
                  <a:lnTo>
                    <a:pt x="62" y="230"/>
                  </a:lnTo>
                  <a:lnTo>
                    <a:pt x="62" y="233"/>
                  </a:lnTo>
                  <a:lnTo>
                    <a:pt x="62" y="230"/>
                  </a:lnTo>
                  <a:close/>
                  <a:moveTo>
                    <a:pt x="59" y="226"/>
                  </a:moveTo>
                  <a:lnTo>
                    <a:pt x="59" y="223"/>
                  </a:lnTo>
                  <a:lnTo>
                    <a:pt x="59" y="226"/>
                  </a:lnTo>
                  <a:close/>
                  <a:moveTo>
                    <a:pt x="62" y="226"/>
                  </a:moveTo>
                  <a:lnTo>
                    <a:pt x="59" y="223"/>
                  </a:lnTo>
                  <a:lnTo>
                    <a:pt x="62" y="223"/>
                  </a:lnTo>
                  <a:lnTo>
                    <a:pt x="62" y="226"/>
                  </a:lnTo>
                  <a:close/>
                  <a:moveTo>
                    <a:pt x="57" y="223"/>
                  </a:moveTo>
                  <a:lnTo>
                    <a:pt x="59" y="223"/>
                  </a:lnTo>
                  <a:lnTo>
                    <a:pt x="57" y="226"/>
                  </a:lnTo>
                  <a:lnTo>
                    <a:pt x="59" y="226"/>
                  </a:lnTo>
                  <a:lnTo>
                    <a:pt x="57" y="226"/>
                  </a:lnTo>
                  <a:lnTo>
                    <a:pt x="57" y="223"/>
                  </a:lnTo>
                  <a:close/>
                  <a:moveTo>
                    <a:pt x="59" y="221"/>
                  </a:moveTo>
                  <a:lnTo>
                    <a:pt x="62" y="221"/>
                  </a:lnTo>
                  <a:lnTo>
                    <a:pt x="59" y="221"/>
                  </a:lnTo>
                  <a:close/>
                  <a:moveTo>
                    <a:pt x="57" y="219"/>
                  </a:moveTo>
                  <a:lnTo>
                    <a:pt x="59" y="219"/>
                  </a:lnTo>
                  <a:lnTo>
                    <a:pt x="57" y="219"/>
                  </a:lnTo>
                  <a:close/>
                  <a:moveTo>
                    <a:pt x="57" y="214"/>
                  </a:moveTo>
                  <a:lnTo>
                    <a:pt x="59" y="214"/>
                  </a:lnTo>
                  <a:lnTo>
                    <a:pt x="59" y="216"/>
                  </a:lnTo>
                  <a:lnTo>
                    <a:pt x="57" y="216"/>
                  </a:lnTo>
                  <a:lnTo>
                    <a:pt x="57" y="214"/>
                  </a:lnTo>
                  <a:close/>
                  <a:moveTo>
                    <a:pt x="62" y="207"/>
                  </a:moveTo>
                  <a:lnTo>
                    <a:pt x="64" y="207"/>
                  </a:lnTo>
                  <a:lnTo>
                    <a:pt x="64" y="209"/>
                  </a:lnTo>
                  <a:lnTo>
                    <a:pt x="64" y="207"/>
                  </a:lnTo>
                  <a:lnTo>
                    <a:pt x="64" y="209"/>
                  </a:lnTo>
                  <a:lnTo>
                    <a:pt x="62" y="209"/>
                  </a:lnTo>
                  <a:lnTo>
                    <a:pt x="59" y="209"/>
                  </a:lnTo>
                  <a:lnTo>
                    <a:pt x="59" y="207"/>
                  </a:lnTo>
                  <a:lnTo>
                    <a:pt x="59" y="209"/>
                  </a:lnTo>
                  <a:lnTo>
                    <a:pt x="59" y="207"/>
                  </a:lnTo>
                  <a:lnTo>
                    <a:pt x="59" y="209"/>
                  </a:lnTo>
                  <a:lnTo>
                    <a:pt x="59" y="207"/>
                  </a:lnTo>
                  <a:lnTo>
                    <a:pt x="62" y="207"/>
                  </a:lnTo>
                  <a:close/>
                  <a:moveTo>
                    <a:pt x="62" y="204"/>
                  </a:moveTo>
                  <a:lnTo>
                    <a:pt x="59" y="204"/>
                  </a:lnTo>
                  <a:lnTo>
                    <a:pt x="62" y="204"/>
                  </a:lnTo>
                  <a:close/>
                  <a:moveTo>
                    <a:pt x="59" y="207"/>
                  </a:moveTo>
                  <a:lnTo>
                    <a:pt x="57" y="204"/>
                  </a:lnTo>
                  <a:lnTo>
                    <a:pt x="59" y="204"/>
                  </a:lnTo>
                  <a:lnTo>
                    <a:pt x="59" y="207"/>
                  </a:lnTo>
                  <a:close/>
                  <a:moveTo>
                    <a:pt x="59" y="204"/>
                  </a:moveTo>
                  <a:lnTo>
                    <a:pt x="57" y="204"/>
                  </a:lnTo>
                  <a:lnTo>
                    <a:pt x="59" y="204"/>
                  </a:lnTo>
                  <a:close/>
                  <a:moveTo>
                    <a:pt x="62" y="204"/>
                  </a:moveTo>
                  <a:lnTo>
                    <a:pt x="64" y="204"/>
                  </a:lnTo>
                  <a:lnTo>
                    <a:pt x="62" y="204"/>
                  </a:lnTo>
                  <a:lnTo>
                    <a:pt x="64" y="204"/>
                  </a:lnTo>
                  <a:lnTo>
                    <a:pt x="64" y="207"/>
                  </a:lnTo>
                  <a:lnTo>
                    <a:pt x="62" y="207"/>
                  </a:lnTo>
                  <a:lnTo>
                    <a:pt x="62" y="204"/>
                  </a:lnTo>
                  <a:close/>
                  <a:moveTo>
                    <a:pt x="69" y="202"/>
                  </a:moveTo>
                  <a:lnTo>
                    <a:pt x="67" y="202"/>
                  </a:lnTo>
                  <a:lnTo>
                    <a:pt x="69" y="202"/>
                  </a:lnTo>
                  <a:close/>
                  <a:moveTo>
                    <a:pt x="69" y="202"/>
                  </a:moveTo>
                  <a:lnTo>
                    <a:pt x="69" y="204"/>
                  </a:lnTo>
                  <a:lnTo>
                    <a:pt x="67" y="204"/>
                  </a:lnTo>
                  <a:lnTo>
                    <a:pt x="69" y="204"/>
                  </a:lnTo>
                  <a:lnTo>
                    <a:pt x="67" y="204"/>
                  </a:lnTo>
                  <a:lnTo>
                    <a:pt x="67" y="202"/>
                  </a:lnTo>
                  <a:lnTo>
                    <a:pt x="69" y="202"/>
                  </a:lnTo>
                  <a:close/>
                  <a:moveTo>
                    <a:pt x="67" y="202"/>
                  </a:moveTo>
                  <a:lnTo>
                    <a:pt x="69" y="202"/>
                  </a:lnTo>
                  <a:lnTo>
                    <a:pt x="67" y="202"/>
                  </a:lnTo>
                  <a:lnTo>
                    <a:pt x="69" y="202"/>
                  </a:lnTo>
                  <a:lnTo>
                    <a:pt x="67" y="202"/>
                  </a:lnTo>
                  <a:close/>
                  <a:moveTo>
                    <a:pt x="57" y="202"/>
                  </a:moveTo>
                  <a:lnTo>
                    <a:pt x="57" y="200"/>
                  </a:lnTo>
                  <a:lnTo>
                    <a:pt x="57" y="202"/>
                  </a:lnTo>
                  <a:close/>
                  <a:moveTo>
                    <a:pt x="59" y="202"/>
                  </a:moveTo>
                  <a:lnTo>
                    <a:pt x="59" y="200"/>
                  </a:lnTo>
                  <a:lnTo>
                    <a:pt x="59" y="202"/>
                  </a:lnTo>
                  <a:close/>
                  <a:moveTo>
                    <a:pt x="69" y="200"/>
                  </a:moveTo>
                  <a:lnTo>
                    <a:pt x="69" y="202"/>
                  </a:lnTo>
                  <a:lnTo>
                    <a:pt x="69" y="200"/>
                  </a:lnTo>
                  <a:close/>
                  <a:moveTo>
                    <a:pt x="69" y="200"/>
                  </a:moveTo>
                  <a:lnTo>
                    <a:pt x="67" y="200"/>
                  </a:lnTo>
                  <a:lnTo>
                    <a:pt x="69" y="200"/>
                  </a:lnTo>
                  <a:close/>
                  <a:moveTo>
                    <a:pt x="50" y="200"/>
                  </a:moveTo>
                  <a:lnTo>
                    <a:pt x="50" y="202"/>
                  </a:lnTo>
                  <a:lnTo>
                    <a:pt x="50" y="200"/>
                  </a:lnTo>
                  <a:lnTo>
                    <a:pt x="50" y="202"/>
                  </a:lnTo>
                  <a:lnTo>
                    <a:pt x="50" y="200"/>
                  </a:lnTo>
                  <a:lnTo>
                    <a:pt x="52" y="202"/>
                  </a:lnTo>
                  <a:lnTo>
                    <a:pt x="50" y="202"/>
                  </a:lnTo>
                  <a:lnTo>
                    <a:pt x="50" y="200"/>
                  </a:lnTo>
                  <a:close/>
                  <a:moveTo>
                    <a:pt x="69" y="200"/>
                  </a:moveTo>
                  <a:lnTo>
                    <a:pt x="71" y="200"/>
                  </a:lnTo>
                  <a:lnTo>
                    <a:pt x="69" y="200"/>
                  </a:lnTo>
                  <a:lnTo>
                    <a:pt x="71" y="200"/>
                  </a:lnTo>
                  <a:lnTo>
                    <a:pt x="69" y="200"/>
                  </a:lnTo>
                  <a:close/>
                  <a:moveTo>
                    <a:pt x="67" y="200"/>
                  </a:moveTo>
                  <a:lnTo>
                    <a:pt x="64" y="200"/>
                  </a:lnTo>
                  <a:lnTo>
                    <a:pt x="67" y="200"/>
                  </a:lnTo>
                  <a:close/>
                  <a:moveTo>
                    <a:pt x="59" y="202"/>
                  </a:moveTo>
                  <a:lnTo>
                    <a:pt x="62" y="202"/>
                  </a:lnTo>
                  <a:lnTo>
                    <a:pt x="59" y="202"/>
                  </a:lnTo>
                  <a:lnTo>
                    <a:pt x="62" y="202"/>
                  </a:lnTo>
                  <a:lnTo>
                    <a:pt x="59" y="202"/>
                  </a:lnTo>
                  <a:lnTo>
                    <a:pt x="59" y="200"/>
                  </a:lnTo>
                  <a:lnTo>
                    <a:pt x="62" y="200"/>
                  </a:lnTo>
                  <a:lnTo>
                    <a:pt x="62" y="202"/>
                  </a:lnTo>
                  <a:lnTo>
                    <a:pt x="59" y="202"/>
                  </a:lnTo>
                  <a:close/>
                  <a:moveTo>
                    <a:pt x="69" y="200"/>
                  </a:moveTo>
                  <a:lnTo>
                    <a:pt x="67" y="200"/>
                  </a:lnTo>
                  <a:lnTo>
                    <a:pt x="69" y="200"/>
                  </a:lnTo>
                  <a:lnTo>
                    <a:pt x="67" y="200"/>
                  </a:lnTo>
                  <a:lnTo>
                    <a:pt x="69" y="200"/>
                  </a:lnTo>
                  <a:lnTo>
                    <a:pt x="67" y="200"/>
                  </a:lnTo>
                  <a:lnTo>
                    <a:pt x="69" y="200"/>
                  </a:lnTo>
                  <a:close/>
                  <a:moveTo>
                    <a:pt x="62" y="197"/>
                  </a:moveTo>
                  <a:lnTo>
                    <a:pt x="62" y="200"/>
                  </a:lnTo>
                  <a:lnTo>
                    <a:pt x="64" y="200"/>
                  </a:lnTo>
                  <a:lnTo>
                    <a:pt x="62" y="200"/>
                  </a:lnTo>
                  <a:lnTo>
                    <a:pt x="64" y="200"/>
                  </a:lnTo>
                  <a:lnTo>
                    <a:pt x="62" y="200"/>
                  </a:lnTo>
                  <a:lnTo>
                    <a:pt x="64" y="200"/>
                  </a:lnTo>
                  <a:lnTo>
                    <a:pt x="62" y="200"/>
                  </a:lnTo>
                  <a:lnTo>
                    <a:pt x="62" y="197"/>
                  </a:lnTo>
                  <a:lnTo>
                    <a:pt x="62" y="200"/>
                  </a:lnTo>
                  <a:lnTo>
                    <a:pt x="62" y="197"/>
                  </a:lnTo>
                  <a:close/>
                  <a:moveTo>
                    <a:pt x="59" y="197"/>
                  </a:moveTo>
                  <a:lnTo>
                    <a:pt x="59" y="200"/>
                  </a:lnTo>
                  <a:lnTo>
                    <a:pt x="59" y="197"/>
                  </a:lnTo>
                  <a:close/>
                  <a:moveTo>
                    <a:pt x="69" y="197"/>
                  </a:moveTo>
                  <a:lnTo>
                    <a:pt x="67" y="197"/>
                  </a:lnTo>
                  <a:lnTo>
                    <a:pt x="69" y="197"/>
                  </a:lnTo>
                  <a:lnTo>
                    <a:pt x="67" y="197"/>
                  </a:lnTo>
                  <a:lnTo>
                    <a:pt x="69" y="195"/>
                  </a:lnTo>
                  <a:lnTo>
                    <a:pt x="69" y="197"/>
                  </a:lnTo>
                  <a:close/>
                  <a:moveTo>
                    <a:pt x="50" y="197"/>
                  </a:moveTo>
                  <a:lnTo>
                    <a:pt x="50" y="195"/>
                  </a:lnTo>
                  <a:lnTo>
                    <a:pt x="50" y="197"/>
                  </a:lnTo>
                  <a:close/>
                  <a:moveTo>
                    <a:pt x="67" y="195"/>
                  </a:moveTo>
                  <a:lnTo>
                    <a:pt x="67" y="197"/>
                  </a:lnTo>
                  <a:lnTo>
                    <a:pt x="67" y="195"/>
                  </a:lnTo>
                  <a:close/>
                  <a:moveTo>
                    <a:pt x="71" y="195"/>
                  </a:moveTo>
                  <a:lnTo>
                    <a:pt x="74" y="195"/>
                  </a:lnTo>
                  <a:lnTo>
                    <a:pt x="71" y="195"/>
                  </a:lnTo>
                  <a:close/>
                  <a:moveTo>
                    <a:pt x="69" y="195"/>
                  </a:moveTo>
                  <a:lnTo>
                    <a:pt x="67" y="195"/>
                  </a:lnTo>
                  <a:lnTo>
                    <a:pt x="69" y="195"/>
                  </a:lnTo>
                  <a:close/>
                  <a:moveTo>
                    <a:pt x="76" y="195"/>
                  </a:moveTo>
                  <a:lnTo>
                    <a:pt x="74" y="195"/>
                  </a:lnTo>
                  <a:lnTo>
                    <a:pt x="76" y="195"/>
                  </a:lnTo>
                  <a:close/>
                  <a:moveTo>
                    <a:pt x="71" y="192"/>
                  </a:moveTo>
                  <a:lnTo>
                    <a:pt x="71" y="195"/>
                  </a:lnTo>
                  <a:lnTo>
                    <a:pt x="71" y="192"/>
                  </a:lnTo>
                  <a:close/>
                  <a:moveTo>
                    <a:pt x="50" y="192"/>
                  </a:moveTo>
                  <a:lnTo>
                    <a:pt x="50" y="195"/>
                  </a:lnTo>
                  <a:lnTo>
                    <a:pt x="50" y="192"/>
                  </a:lnTo>
                  <a:lnTo>
                    <a:pt x="48" y="195"/>
                  </a:lnTo>
                  <a:lnTo>
                    <a:pt x="50" y="192"/>
                  </a:lnTo>
                  <a:close/>
                  <a:moveTo>
                    <a:pt x="74" y="192"/>
                  </a:moveTo>
                  <a:lnTo>
                    <a:pt x="71" y="192"/>
                  </a:lnTo>
                  <a:lnTo>
                    <a:pt x="74" y="192"/>
                  </a:lnTo>
                  <a:close/>
                  <a:moveTo>
                    <a:pt x="71" y="190"/>
                  </a:moveTo>
                  <a:lnTo>
                    <a:pt x="71" y="192"/>
                  </a:lnTo>
                  <a:lnTo>
                    <a:pt x="71" y="190"/>
                  </a:lnTo>
                  <a:lnTo>
                    <a:pt x="74" y="192"/>
                  </a:lnTo>
                  <a:lnTo>
                    <a:pt x="74" y="190"/>
                  </a:lnTo>
                  <a:lnTo>
                    <a:pt x="74" y="192"/>
                  </a:lnTo>
                  <a:lnTo>
                    <a:pt x="71" y="192"/>
                  </a:lnTo>
                  <a:lnTo>
                    <a:pt x="71" y="190"/>
                  </a:lnTo>
                  <a:close/>
                  <a:moveTo>
                    <a:pt x="69" y="190"/>
                  </a:moveTo>
                  <a:lnTo>
                    <a:pt x="67" y="190"/>
                  </a:lnTo>
                  <a:lnTo>
                    <a:pt x="69" y="190"/>
                  </a:lnTo>
                  <a:close/>
                  <a:moveTo>
                    <a:pt x="59" y="190"/>
                  </a:moveTo>
                  <a:lnTo>
                    <a:pt x="59" y="188"/>
                  </a:lnTo>
                  <a:lnTo>
                    <a:pt x="59" y="190"/>
                  </a:lnTo>
                  <a:close/>
                  <a:moveTo>
                    <a:pt x="71" y="188"/>
                  </a:moveTo>
                  <a:lnTo>
                    <a:pt x="69" y="188"/>
                  </a:lnTo>
                  <a:lnTo>
                    <a:pt x="71" y="188"/>
                  </a:lnTo>
                  <a:lnTo>
                    <a:pt x="71" y="190"/>
                  </a:lnTo>
                  <a:lnTo>
                    <a:pt x="69" y="188"/>
                  </a:lnTo>
                  <a:lnTo>
                    <a:pt x="71" y="188"/>
                  </a:lnTo>
                  <a:close/>
                  <a:moveTo>
                    <a:pt x="43" y="188"/>
                  </a:moveTo>
                  <a:lnTo>
                    <a:pt x="43" y="185"/>
                  </a:lnTo>
                  <a:lnTo>
                    <a:pt x="43" y="188"/>
                  </a:lnTo>
                  <a:close/>
                  <a:moveTo>
                    <a:pt x="78" y="185"/>
                  </a:moveTo>
                  <a:lnTo>
                    <a:pt x="81" y="185"/>
                  </a:lnTo>
                  <a:lnTo>
                    <a:pt x="78" y="185"/>
                  </a:lnTo>
                  <a:lnTo>
                    <a:pt x="78" y="188"/>
                  </a:lnTo>
                  <a:lnTo>
                    <a:pt x="78" y="185"/>
                  </a:lnTo>
                  <a:close/>
                  <a:moveTo>
                    <a:pt x="78" y="185"/>
                  </a:moveTo>
                  <a:lnTo>
                    <a:pt x="76" y="185"/>
                  </a:lnTo>
                  <a:lnTo>
                    <a:pt x="78" y="185"/>
                  </a:lnTo>
                  <a:close/>
                  <a:moveTo>
                    <a:pt x="90" y="185"/>
                  </a:moveTo>
                  <a:lnTo>
                    <a:pt x="88" y="185"/>
                  </a:lnTo>
                  <a:lnTo>
                    <a:pt x="90" y="185"/>
                  </a:lnTo>
                  <a:close/>
                  <a:moveTo>
                    <a:pt x="59" y="185"/>
                  </a:moveTo>
                  <a:lnTo>
                    <a:pt x="57" y="185"/>
                  </a:lnTo>
                  <a:lnTo>
                    <a:pt x="59" y="185"/>
                  </a:lnTo>
                  <a:close/>
                  <a:moveTo>
                    <a:pt x="88" y="185"/>
                  </a:moveTo>
                  <a:lnTo>
                    <a:pt x="90" y="185"/>
                  </a:lnTo>
                  <a:lnTo>
                    <a:pt x="88" y="185"/>
                  </a:lnTo>
                  <a:lnTo>
                    <a:pt x="90" y="185"/>
                  </a:lnTo>
                  <a:lnTo>
                    <a:pt x="88" y="185"/>
                  </a:lnTo>
                  <a:close/>
                  <a:moveTo>
                    <a:pt x="69" y="183"/>
                  </a:moveTo>
                  <a:lnTo>
                    <a:pt x="69" y="185"/>
                  </a:lnTo>
                  <a:lnTo>
                    <a:pt x="69" y="183"/>
                  </a:lnTo>
                  <a:lnTo>
                    <a:pt x="69" y="185"/>
                  </a:lnTo>
                  <a:lnTo>
                    <a:pt x="69" y="183"/>
                  </a:lnTo>
                  <a:close/>
                  <a:moveTo>
                    <a:pt x="86" y="183"/>
                  </a:moveTo>
                  <a:lnTo>
                    <a:pt x="83" y="183"/>
                  </a:lnTo>
                  <a:lnTo>
                    <a:pt x="86" y="183"/>
                  </a:lnTo>
                  <a:close/>
                  <a:moveTo>
                    <a:pt x="88" y="183"/>
                  </a:moveTo>
                  <a:lnTo>
                    <a:pt x="88" y="185"/>
                  </a:lnTo>
                  <a:lnTo>
                    <a:pt x="86" y="185"/>
                  </a:lnTo>
                  <a:lnTo>
                    <a:pt x="86" y="183"/>
                  </a:lnTo>
                  <a:lnTo>
                    <a:pt x="88" y="183"/>
                  </a:lnTo>
                  <a:close/>
                  <a:moveTo>
                    <a:pt x="83" y="183"/>
                  </a:moveTo>
                  <a:lnTo>
                    <a:pt x="81" y="183"/>
                  </a:lnTo>
                  <a:lnTo>
                    <a:pt x="83" y="183"/>
                  </a:lnTo>
                  <a:close/>
                  <a:moveTo>
                    <a:pt x="97" y="181"/>
                  </a:moveTo>
                  <a:lnTo>
                    <a:pt x="97" y="183"/>
                  </a:lnTo>
                  <a:lnTo>
                    <a:pt x="97" y="181"/>
                  </a:lnTo>
                  <a:close/>
                  <a:moveTo>
                    <a:pt x="78" y="181"/>
                  </a:moveTo>
                  <a:lnTo>
                    <a:pt x="78" y="183"/>
                  </a:lnTo>
                  <a:lnTo>
                    <a:pt x="81" y="183"/>
                  </a:lnTo>
                  <a:lnTo>
                    <a:pt x="81" y="185"/>
                  </a:lnTo>
                  <a:lnTo>
                    <a:pt x="78" y="183"/>
                  </a:lnTo>
                  <a:lnTo>
                    <a:pt x="78" y="185"/>
                  </a:lnTo>
                  <a:lnTo>
                    <a:pt x="78" y="183"/>
                  </a:lnTo>
                  <a:lnTo>
                    <a:pt x="78" y="185"/>
                  </a:lnTo>
                  <a:lnTo>
                    <a:pt x="76" y="185"/>
                  </a:lnTo>
                  <a:lnTo>
                    <a:pt x="76" y="183"/>
                  </a:lnTo>
                  <a:lnTo>
                    <a:pt x="78" y="183"/>
                  </a:lnTo>
                  <a:lnTo>
                    <a:pt x="76" y="183"/>
                  </a:lnTo>
                  <a:lnTo>
                    <a:pt x="78" y="183"/>
                  </a:lnTo>
                  <a:lnTo>
                    <a:pt x="78" y="181"/>
                  </a:lnTo>
                  <a:lnTo>
                    <a:pt x="78" y="183"/>
                  </a:lnTo>
                  <a:lnTo>
                    <a:pt x="78" y="181"/>
                  </a:lnTo>
                  <a:close/>
                  <a:moveTo>
                    <a:pt x="59" y="181"/>
                  </a:moveTo>
                  <a:lnTo>
                    <a:pt x="57" y="181"/>
                  </a:lnTo>
                  <a:lnTo>
                    <a:pt x="59" y="181"/>
                  </a:lnTo>
                  <a:lnTo>
                    <a:pt x="57" y="181"/>
                  </a:lnTo>
                  <a:lnTo>
                    <a:pt x="59" y="181"/>
                  </a:lnTo>
                  <a:lnTo>
                    <a:pt x="57" y="181"/>
                  </a:lnTo>
                  <a:lnTo>
                    <a:pt x="59" y="181"/>
                  </a:lnTo>
                  <a:close/>
                  <a:moveTo>
                    <a:pt x="81" y="181"/>
                  </a:moveTo>
                  <a:lnTo>
                    <a:pt x="81" y="178"/>
                  </a:lnTo>
                  <a:lnTo>
                    <a:pt x="81" y="181"/>
                  </a:lnTo>
                  <a:close/>
                  <a:moveTo>
                    <a:pt x="67" y="178"/>
                  </a:moveTo>
                  <a:lnTo>
                    <a:pt x="69" y="178"/>
                  </a:lnTo>
                  <a:lnTo>
                    <a:pt x="67" y="178"/>
                  </a:lnTo>
                  <a:lnTo>
                    <a:pt x="69" y="178"/>
                  </a:lnTo>
                  <a:lnTo>
                    <a:pt x="69" y="181"/>
                  </a:lnTo>
                  <a:lnTo>
                    <a:pt x="69" y="178"/>
                  </a:lnTo>
                  <a:lnTo>
                    <a:pt x="69" y="181"/>
                  </a:lnTo>
                  <a:lnTo>
                    <a:pt x="69" y="183"/>
                  </a:lnTo>
                  <a:lnTo>
                    <a:pt x="67" y="183"/>
                  </a:lnTo>
                  <a:lnTo>
                    <a:pt x="64" y="183"/>
                  </a:lnTo>
                  <a:lnTo>
                    <a:pt x="64" y="181"/>
                  </a:lnTo>
                  <a:lnTo>
                    <a:pt x="67" y="181"/>
                  </a:lnTo>
                  <a:lnTo>
                    <a:pt x="67" y="178"/>
                  </a:lnTo>
                  <a:close/>
                  <a:moveTo>
                    <a:pt x="59" y="178"/>
                  </a:moveTo>
                  <a:lnTo>
                    <a:pt x="59" y="181"/>
                  </a:lnTo>
                  <a:lnTo>
                    <a:pt x="59" y="178"/>
                  </a:lnTo>
                  <a:close/>
                  <a:moveTo>
                    <a:pt x="95" y="178"/>
                  </a:moveTo>
                  <a:lnTo>
                    <a:pt x="93" y="178"/>
                  </a:lnTo>
                  <a:lnTo>
                    <a:pt x="95" y="178"/>
                  </a:lnTo>
                  <a:close/>
                  <a:moveTo>
                    <a:pt x="81" y="178"/>
                  </a:moveTo>
                  <a:lnTo>
                    <a:pt x="78" y="178"/>
                  </a:lnTo>
                  <a:lnTo>
                    <a:pt x="81" y="178"/>
                  </a:lnTo>
                  <a:close/>
                  <a:moveTo>
                    <a:pt x="88" y="178"/>
                  </a:moveTo>
                  <a:lnTo>
                    <a:pt x="90" y="178"/>
                  </a:lnTo>
                  <a:lnTo>
                    <a:pt x="93" y="178"/>
                  </a:lnTo>
                  <a:lnTo>
                    <a:pt x="90" y="178"/>
                  </a:lnTo>
                  <a:lnTo>
                    <a:pt x="93" y="178"/>
                  </a:lnTo>
                  <a:lnTo>
                    <a:pt x="90" y="178"/>
                  </a:lnTo>
                  <a:lnTo>
                    <a:pt x="93" y="178"/>
                  </a:lnTo>
                  <a:lnTo>
                    <a:pt x="90" y="178"/>
                  </a:lnTo>
                  <a:lnTo>
                    <a:pt x="93" y="178"/>
                  </a:lnTo>
                  <a:lnTo>
                    <a:pt x="93" y="181"/>
                  </a:lnTo>
                  <a:lnTo>
                    <a:pt x="90" y="181"/>
                  </a:lnTo>
                  <a:lnTo>
                    <a:pt x="88" y="181"/>
                  </a:lnTo>
                  <a:lnTo>
                    <a:pt x="86" y="181"/>
                  </a:lnTo>
                  <a:lnTo>
                    <a:pt x="88" y="181"/>
                  </a:lnTo>
                  <a:lnTo>
                    <a:pt x="86" y="181"/>
                  </a:lnTo>
                  <a:lnTo>
                    <a:pt x="88" y="181"/>
                  </a:lnTo>
                  <a:lnTo>
                    <a:pt x="86" y="181"/>
                  </a:lnTo>
                  <a:lnTo>
                    <a:pt x="88" y="181"/>
                  </a:lnTo>
                  <a:lnTo>
                    <a:pt x="88" y="178"/>
                  </a:lnTo>
                  <a:close/>
                  <a:moveTo>
                    <a:pt x="64" y="178"/>
                  </a:moveTo>
                  <a:lnTo>
                    <a:pt x="64" y="181"/>
                  </a:lnTo>
                  <a:lnTo>
                    <a:pt x="62" y="181"/>
                  </a:lnTo>
                  <a:lnTo>
                    <a:pt x="62" y="178"/>
                  </a:lnTo>
                  <a:lnTo>
                    <a:pt x="64" y="178"/>
                  </a:lnTo>
                  <a:close/>
                  <a:moveTo>
                    <a:pt x="78" y="178"/>
                  </a:moveTo>
                  <a:lnTo>
                    <a:pt x="76" y="178"/>
                  </a:lnTo>
                  <a:lnTo>
                    <a:pt x="78" y="178"/>
                  </a:lnTo>
                  <a:lnTo>
                    <a:pt x="76" y="178"/>
                  </a:lnTo>
                  <a:lnTo>
                    <a:pt x="78" y="178"/>
                  </a:lnTo>
                  <a:close/>
                  <a:moveTo>
                    <a:pt x="81" y="176"/>
                  </a:moveTo>
                  <a:lnTo>
                    <a:pt x="81" y="178"/>
                  </a:lnTo>
                  <a:lnTo>
                    <a:pt x="78" y="176"/>
                  </a:lnTo>
                  <a:lnTo>
                    <a:pt x="78" y="178"/>
                  </a:lnTo>
                  <a:lnTo>
                    <a:pt x="78" y="176"/>
                  </a:lnTo>
                  <a:lnTo>
                    <a:pt x="81" y="176"/>
                  </a:lnTo>
                  <a:close/>
                  <a:moveTo>
                    <a:pt x="78" y="176"/>
                  </a:moveTo>
                  <a:lnTo>
                    <a:pt x="78" y="178"/>
                  </a:lnTo>
                  <a:lnTo>
                    <a:pt x="78" y="176"/>
                  </a:lnTo>
                  <a:close/>
                  <a:moveTo>
                    <a:pt x="97" y="178"/>
                  </a:moveTo>
                  <a:lnTo>
                    <a:pt x="97" y="176"/>
                  </a:lnTo>
                  <a:lnTo>
                    <a:pt x="97" y="178"/>
                  </a:lnTo>
                  <a:close/>
                  <a:moveTo>
                    <a:pt x="83" y="176"/>
                  </a:moveTo>
                  <a:lnTo>
                    <a:pt x="81" y="176"/>
                  </a:lnTo>
                  <a:lnTo>
                    <a:pt x="81" y="178"/>
                  </a:lnTo>
                  <a:lnTo>
                    <a:pt x="81" y="176"/>
                  </a:lnTo>
                  <a:lnTo>
                    <a:pt x="83" y="176"/>
                  </a:lnTo>
                  <a:close/>
                  <a:moveTo>
                    <a:pt x="57" y="176"/>
                  </a:moveTo>
                  <a:lnTo>
                    <a:pt x="59" y="176"/>
                  </a:lnTo>
                  <a:lnTo>
                    <a:pt x="57" y="176"/>
                  </a:lnTo>
                  <a:lnTo>
                    <a:pt x="59" y="176"/>
                  </a:lnTo>
                  <a:lnTo>
                    <a:pt x="57" y="176"/>
                  </a:lnTo>
                  <a:close/>
                  <a:moveTo>
                    <a:pt x="93" y="176"/>
                  </a:moveTo>
                  <a:lnTo>
                    <a:pt x="90" y="176"/>
                  </a:lnTo>
                  <a:lnTo>
                    <a:pt x="93" y="176"/>
                  </a:lnTo>
                  <a:close/>
                  <a:moveTo>
                    <a:pt x="78" y="173"/>
                  </a:moveTo>
                  <a:lnTo>
                    <a:pt x="78" y="176"/>
                  </a:lnTo>
                  <a:lnTo>
                    <a:pt x="81" y="176"/>
                  </a:lnTo>
                  <a:lnTo>
                    <a:pt x="81" y="173"/>
                  </a:lnTo>
                  <a:lnTo>
                    <a:pt x="81" y="176"/>
                  </a:lnTo>
                  <a:lnTo>
                    <a:pt x="78" y="176"/>
                  </a:lnTo>
                  <a:lnTo>
                    <a:pt x="81" y="176"/>
                  </a:lnTo>
                  <a:lnTo>
                    <a:pt x="78" y="176"/>
                  </a:lnTo>
                  <a:lnTo>
                    <a:pt x="78" y="173"/>
                  </a:lnTo>
                  <a:close/>
                  <a:moveTo>
                    <a:pt x="81" y="173"/>
                  </a:moveTo>
                  <a:lnTo>
                    <a:pt x="83" y="173"/>
                  </a:lnTo>
                  <a:lnTo>
                    <a:pt x="81" y="176"/>
                  </a:lnTo>
                  <a:lnTo>
                    <a:pt x="83" y="176"/>
                  </a:lnTo>
                  <a:lnTo>
                    <a:pt x="81" y="176"/>
                  </a:lnTo>
                  <a:lnTo>
                    <a:pt x="81" y="173"/>
                  </a:lnTo>
                  <a:close/>
                  <a:moveTo>
                    <a:pt x="93" y="173"/>
                  </a:moveTo>
                  <a:lnTo>
                    <a:pt x="93" y="176"/>
                  </a:lnTo>
                  <a:lnTo>
                    <a:pt x="93" y="173"/>
                  </a:lnTo>
                  <a:close/>
                  <a:moveTo>
                    <a:pt x="100" y="169"/>
                  </a:moveTo>
                  <a:lnTo>
                    <a:pt x="102" y="169"/>
                  </a:lnTo>
                  <a:lnTo>
                    <a:pt x="102" y="171"/>
                  </a:lnTo>
                  <a:lnTo>
                    <a:pt x="100" y="171"/>
                  </a:lnTo>
                  <a:lnTo>
                    <a:pt x="100" y="169"/>
                  </a:lnTo>
                  <a:close/>
                  <a:moveTo>
                    <a:pt x="102" y="171"/>
                  </a:moveTo>
                  <a:lnTo>
                    <a:pt x="102" y="169"/>
                  </a:lnTo>
                  <a:lnTo>
                    <a:pt x="102" y="171"/>
                  </a:lnTo>
                  <a:close/>
                  <a:moveTo>
                    <a:pt x="102" y="166"/>
                  </a:moveTo>
                  <a:lnTo>
                    <a:pt x="102" y="169"/>
                  </a:lnTo>
                  <a:lnTo>
                    <a:pt x="104" y="169"/>
                  </a:lnTo>
                  <a:lnTo>
                    <a:pt x="102" y="169"/>
                  </a:lnTo>
                  <a:lnTo>
                    <a:pt x="104" y="169"/>
                  </a:lnTo>
                  <a:lnTo>
                    <a:pt x="102" y="169"/>
                  </a:lnTo>
                  <a:lnTo>
                    <a:pt x="104" y="169"/>
                  </a:lnTo>
                  <a:lnTo>
                    <a:pt x="104" y="171"/>
                  </a:lnTo>
                  <a:lnTo>
                    <a:pt x="104" y="169"/>
                  </a:lnTo>
                  <a:lnTo>
                    <a:pt x="104" y="171"/>
                  </a:lnTo>
                  <a:lnTo>
                    <a:pt x="102" y="169"/>
                  </a:lnTo>
                  <a:lnTo>
                    <a:pt x="102" y="166"/>
                  </a:lnTo>
                  <a:close/>
                  <a:moveTo>
                    <a:pt x="100" y="169"/>
                  </a:moveTo>
                  <a:lnTo>
                    <a:pt x="100" y="166"/>
                  </a:lnTo>
                  <a:lnTo>
                    <a:pt x="100" y="169"/>
                  </a:lnTo>
                  <a:close/>
                  <a:moveTo>
                    <a:pt x="100" y="166"/>
                  </a:moveTo>
                  <a:lnTo>
                    <a:pt x="102" y="166"/>
                  </a:lnTo>
                  <a:lnTo>
                    <a:pt x="100" y="166"/>
                  </a:lnTo>
                  <a:close/>
                  <a:moveTo>
                    <a:pt x="100" y="164"/>
                  </a:moveTo>
                  <a:lnTo>
                    <a:pt x="102" y="164"/>
                  </a:lnTo>
                  <a:lnTo>
                    <a:pt x="102" y="166"/>
                  </a:lnTo>
                  <a:lnTo>
                    <a:pt x="100" y="166"/>
                  </a:lnTo>
                  <a:lnTo>
                    <a:pt x="100" y="164"/>
                  </a:lnTo>
                  <a:close/>
                  <a:moveTo>
                    <a:pt x="116" y="162"/>
                  </a:moveTo>
                  <a:lnTo>
                    <a:pt x="116" y="164"/>
                  </a:lnTo>
                  <a:lnTo>
                    <a:pt x="116" y="162"/>
                  </a:lnTo>
                  <a:lnTo>
                    <a:pt x="116" y="164"/>
                  </a:lnTo>
                  <a:lnTo>
                    <a:pt x="116" y="162"/>
                  </a:lnTo>
                  <a:close/>
                  <a:moveTo>
                    <a:pt x="114" y="162"/>
                  </a:moveTo>
                  <a:lnTo>
                    <a:pt x="116" y="162"/>
                  </a:lnTo>
                  <a:lnTo>
                    <a:pt x="114" y="162"/>
                  </a:lnTo>
                  <a:close/>
                  <a:moveTo>
                    <a:pt x="116" y="162"/>
                  </a:moveTo>
                  <a:lnTo>
                    <a:pt x="114" y="162"/>
                  </a:lnTo>
                  <a:lnTo>
                    <a:pt x="116" y="162"/>
                  </a:lnTo>
                  <a:close/>
                  <a:moveTo>
                    <a:pt x="116" y="159"/>
                  </a:moveTo>
                  <a:lnTo>
                    <a:pt x="114" y="159"/>
                  </a:lnTo>
                  <a:lnTo>
                    <a:pt x="116" y="159"/>
                  </a:lnTo>
                  <a:close/>
                  <a:moveTo>
                    <a:pt x="112" y="159"/>
                  </a:moveTo>
                  <a:lnTo>
                    <a:pt x="109" y="159"/>
                  </a:lnTo>
                  <a:lnTo>
                    <a:pt x="112" y="159"/>
                  </a:lnTo>
                  <a:close/>
                  <a:moveTo>
                    <a:pt x="109" y="159"/>
                  </a:moveTo>
                  <a:lnTo>
                    <a:pt x="107" y="159"/>
                  </a:lnTo>
                  <a:lnTo>
                    <a:pt x="109" y="159"/>
                  </a:lnTo>
                  <a:close/>
                  <a:moveTo>
                    <a:pt x="109" y="157"/>
                  </a:moveTo>
                  <a:lnTo>
                    <a:pt x="109" y="159"/>
                  </a:lnTo>
                  <a:lnTo>
                    <a:pt x="109" y="157"/>
                  </a:lnTo>
                  <a:lnTo>
                    <a:pt x="109" y="159"/>
                  </a:lnTo>
                  <a:lnTo>
                    <a:pt x="109" y="157"/>
                  </a:lnTo>
                  <a:close/>
                  <a:moveTo>
                    <a:pt x="109" y="159"/>
                  </a:moveTo>
                  <a:lnTo>
                    <a:pt x="109" y="157"/>
                  </a:lnTo>
                  <a:lnTo>
                    <a:pt x="109" y="159"/>
                  </a:lnTo>
                  <a:close/>
                  <a:moveTo>
                    <a:pt x="109" y="157"/>
                  </a:moveTo>
                  <a:lnTo>
                    <a:pt x="109" y="159"/>
                  </a:lnTo>
                  <a:lnTo>
                    <a:pt x="109" y="157"/>
                  </a:lnTo>
                  <a:lnTo>
                    <a:pt x="107" y="157"/>
                  </a:lnTo>
                  <a:lnTo>
                    <a:pt x="109" y="157"/>
                  </a:lnTo>
                  <a:close/>
                  <a:moveTo>
                    <a:pt x="107" y="157"/>
                  </a:moveTo>
                  <a:lnTo>
                    <a:pt x="107" y="159"/>
                  </a:lnTo>
                  <a:lnTo>
                    <a:pt x="107" y="157"/>
                  </a:lnTo>
                  <a:close/>
                  <a:moveTo>
                    <a:pt x="109" y="157"/>
                  </a:moveTo>
                  <a:lnTo>
                    <a:pt x="107" y="157"/>
                  </a:lnTo>
                  <a:lnTo>
                    <a:pt x="109" y="157"/>
                  </a:lnTo>
                  <a:close/>
                  <a:moveTo>
                    <a:pt x="116" y="157"/>
                  </a:moveTo>
                  <a:lnTo>
                    <a:pt x="119" y="157"/>
                  </a:lnTo>
                  <a:lnTo>
                    <a:pt x="116" y="157"/>
                  </a:lnTo>
                  <a:lnTo>
                    <a:pt x="119" y="157"/>
                  </a:lnTo>
                  <a:lnTo>
                    <a:pt x="116" y="157"/>
                  </a:lnTo>
                  <a:close/>
                  <a:moveTo>
                    <a:pt x="109" y="154"/>
                  </a:moveTo>
                  <a:lnTo>
                    <a:pt x="109" y="157"/>
                  </a:lnTo>
                  <a:lnTo>
                    <a:pt x="112" y="157"/>
                  </a:lnTo>
                  <a:lnTo>
                    <a:pt x="109" y="157"/>
                  </a:lnTo>
                  <a:lnTo>
                    <a:pt x="109" y="154"/>
                  </a:lnTo>
                  <a:lnTo>
                    <a:pt x="112" y="154"/>
                  </a:lnTo>
                  <a:lnTo>
                    <a:pt x="112" y="157"/>
                  </a:lnTo>
                  <a:lnTo>
                    <a:pt x="109" y="157"/>
                  </a:lnTo>
                  <a:lnTo>
                    <a:pt x="112" y="157"/>
                  </a:lnTo>
                  <a:lnTo>
                    <a:pt x="109" y="157"/>
                  </a:lnTo>
                  <a:lnTo>
                    <a:pt x="109" y="154"/>
                  </a:lnTo>
                  <a:lnTo>
                    <a:pt x="109" y="157"/>
                  </a:lnTo>
                  <a:lnTo>
                    <a:pt x="109" y="154"/>
                  </a:lnTo>
                  <a:lnTo>
                    <a:pt x="109" y="157"/>
                  </a:lnTo>
                  <a:lnTo>
                    <a:pt x="107" y="154"/>
                  </a:lnTo>
                  <a:lnTo>
                    <a:pt x="109" y="154"/>
                  </a:lnTo>
                  <a:lnTo>
                    <a:pt x="107" y="154"/>
                  </a:lnTo>
                  <a:lnTo>
                    <a:pt x="109" y="154"/>
                  </a:lnTo>
                  <a:close/>
                  <a:moveTo>
                    <a:pt x="112" y="152"/>
                  </a:moveTo>
                  <a:lnTo>
                    <a:pt x="112" y="154"/>
                  </a:lnTo>
                  <a:lnTo>
                    <a:pt x="112" y="152"/>
                  </a:lnTo>
                  <a:close/>
                  <a:moveTo>
                    <a:pt x="109" y="152"/>
                  </a:moveTo>
                  <a:lnTo>
                    <a:pt x="109" y="154"/>
                  </a:lnTo>
                  <a:lnTo>
                    <a:pt x="109" y="152"/>
                  </a:lnTo>
                  <a:close/>
                  <a:moveTo>
                    <a:pt x="112" y="152"/>
                  </a:moveTo>
                  <a:lnTo>
                    <a:pt x="114" y="152"/>
                  </a:lnTo>
                  <a:lnTo>
                    <a:pt x="112" y="152"/>
                  </a:lnTo>
                  <a:close/>
                  <a:moveTo>
                    <a:pt x="114" y="152"/>
                  </a:moveTo>
                  <a:lnTo>
                    <a:pt x="112" y="152"/>
                  </a:lnTo>
                  <a:lnTo>
                    <a:pt x="114" y="152"/>
                  </a:lnTo>
                  <a:close/>
                  <a:moveTo>
                    <a:pt x="116" y="152"/>
                  </a:moveTo>
                  <a:lnTo>
                    <a:pt x="114" y="152"/>
                  </a:lnTo>
                  <a:lnTo>
                    <a:pt x="116" y="152"/>
                  </a:lnTo>
                  <a:lnTo>
                    <a:pt x="114" y="152"/>
                  </a:lnTo>
                  <a:lnTo>
                    <a:pt x="116" y="152"/>
                  </a:lnTo>
                  <a:close/>
                  <a:moveTo>
                    <a:pt x="114" y="150"/>
                  </a:moveTo>
                  <a:lnTo>
                    <a:pt x="112" y="150"/>
                  </a:lnTo>
                  <a:lnTo>
                    <a:pt x="114" y="150"/>
                  </a:lnTo>
                  <a:close/>
                  <a:moveTo>
                    <a:pt x="114" y="150"/>
                  </a:moveTo>
                  <a:lnTo>
                    <a:pt x="114" y="152"/>
                  </a:lnTo>
                  <a:lnTo>
                    <a:pt x="114" y="150"/>
                  </a:lnTo>
                  <a:lnTo>
                    <a:pt x="114" y="152"/>
                  </a:lnTo>
                  <a:lnTo>
                    <a:pt x="114" y="150"/>
                  </a:lnTo>
                  <a:close/>
                  <a:moveTo>
                    <a:pt x="116" y="150"/>
                  </a:moveTo>
                  <a:lnTo>
                    <a:pt x="114" y="150"/>
                  </a:lnTo>
                  <a:lnTo>
                    <a:pt x="116" y="150"/>
                  </a:lnTo>
                  <a:close/>
                  <a:moveTo>
                    <a:pt x="128" y="150"/>
                  </a:moveTo>
                  <a:lnTo>
                    <a:pt x="126" y="150"/>
                  </a:lnTo>
                  <a:lnTo>
                    <a:pt x="128" y="150"/>
                  </a:lnTo>
                  <a:close/>
                  <a:moveTo>
                    <a:pt x="116" y="150"/>
                  </a:moveTo>
                  <a:lnTo>
                    <a:pt x="114" y="150"/>
                  </a:lnTo>
                  <a:lnTo>
                    <a:pt x="116" y="147"/>
                  </a:lnTo>
                  <a:lnTo>
                    <a:pt x="116" y="150"/>
                  </a:lnTo>
                  <a:close/>
                  <a:moveTo>
                    <a:pt x="114" y="147"/>
                  </a:moveTo>
                  <a:lnTo>
                    <a:pt x="114" y="150"/>
                  </a:lnTo>
                  <a:lnTo>
                    <a:pt x="114" y="147"/>
                  </a:lnTo>
                  <a:close/>
                  <a:moveTo>
                    <a:pt x="140" y="140"/>
                  </a:moveTo>
                  <a:lnTo>
                    <a:pt x="138" y="140"/>
                  </a:lnTo>
                  <a:lnTo>
                    <a:pt x="140" y="140"/>
                  </a:lnTo>
                  <a:close/>
                  <a:moveTo>
                    <a:pt x="140" y="140"/>
                  </a:moveTo>
                  <a:lnTo>
                    <a:pt x="138" y="140"/>
                  </a:lnTo>
                  <a:lnTo>
                    <a:pt x="140" y="140"/>
                  </a:lnTo>
                  <a:lnTo>
                    <a:pt x="138" y="140"/>
                  </a:lnTo>
                  <a:lnTo>
                    <a:pt x="140" y="140"/>
                  </a:lnTo>
                  <a:close/>
                  <a:moveTo>
                    <a:pt x="145" y="135"/>
                  </a:moveTo>
                  <a:lnTo>
                    <a:pt x="142" y="133"/>
                  </a:lnTo>
                  <a:lnTo>
                    <a:pt x="145" y="133"/>
                  </a:lnTo>
                  <a:lnTo>
                    <a:pt x="145" y="135"/>
                  </a:lnTo>
                  <a:close/>
                  <a:moveTo>
                    <a:pt x="169" y="105"/>
                  </a:moveTo>
                  <a:lnTo>
                    <a:pt x="169" y="107"/>
                  </a:lnTo>
                  <a:lnTo>
                    <a:pt x="169" y="105"/>
                  </a:lnTo>
                  <a:close/>
                  <a:moveTo>
                    <a:pt x="197" y="88"/>
                  </a:moveTo>
                  <a:lnTo>
                    <a:pt x="197" y="90"/>
                  </a:lnTo>
                  <a:lnTo>
                    <a:pt x="197" y="88"/>
                  </a:lnTo>
                  <a:close/>
                  <a:moveTo>
                    <a:pt x="202" y="88"/>
                  </a:moveTo>
                  <a:lnTo>
                    <a:pt x="199" y="88"/>
                  </a:lnTo>
                  <a:lnTo>
                    <a:pt x="202" y="88"/>
                  </a:lnTo>
                  <a:lnTo>
                    <a:pt x="199" y="88"/>
                  </a:lnTo>
                  <a:lnTo>
                    <a:pt x="202" y="88"/>
                  </a:lnTo>
                  <a:lnTo>
                    <a:pt x="202" y="86"/>
                  </a:lnTo>
                  <a:lnTo>
                    <a:pt x="202" y="88"/>
                  </a:lnTo>
                  <a:close/>
                  <a:moveTo>
                    <a:pt x="183" y="83"/>
                  </a:moveTo>
                  <a:lnTo>
                    <a:pt x="183" y="86"/>
                  </a:lnTo>
                  <a:lnTo>
                    <a:pt x="185" y="86"/>
                  </a:lnTo>
                  <a:lnTo>
                    <a:pt x="183" y="86"/>
                  </a:lnTo>
                  <a:lnTo>
                    <a:pt x="185" y="86"/>
                  </a:lnTo>
                  <a:lnTo>
                    <a:pt x="188" y="86"/>
                  </a:lnTo>
                  <a:lnTo>
                    <a:pt x="190" y="86"/>
                  </a:lnTo>
                  <a:lnTo>
                    <a:pt x="188" y="88"/>
                  </a:lnTo>
                  <a:lnTo>
                    <a:pt x="185" y="88"/>
                  </a:lnTo>
                  <a:lnTo>
                    <a:pt x="185" y="86"/>
                  </a:lnTo>
                  <a:lnTo>
                    <a:pt x="183" y="86"/>
                  </a:lnTo>
                  <a:lnTo>
                    <a:pt x="180" y="86"/>
                  </a:lnTo>
                  <a:lnTo>
                    <a:pt x="183" y="86"/>
                  </a:lnTo>
                  <a:lnTo>
                    <a:pt x="180" y="86"/>
                  </a:lnTo>
                  <a:lnTo>
                    <a:pt x="180" y="88"/>
                  </a:lnTo>
                  <a:lnTo>
                    <a:pt x="183" y="88"/>
                  </a:lnTo>
                  <a:lnTo>
                    <a:pt x="183" y="90"/>
                  </a:lnTo>
                  <a:lnTo>
                    <a:pt x="180" y="93"/>
                  </a:lnTo>
                  <a:lnTo>
                    <a:pt x="178" y="93"/>
                  </a:lnTo>
                  <a:lnTo>
                    <a:pt x="180" y="93"/>
                  </a:lnTo>
                  <a:lnTo>
                    <a:pt x="180" y="90"/>
                  </a:lnTo>
                  <a:lnTo>
                    <a:pt x="178" y="90"/>
                  </a:lnTo>
                  <a:lnTo>
                    <a:pt x="176" y="90"/>
                  </a:lnTo>
                  <a:lnTo>
                    <a:pt x="173" y="88"/>
                  </a:lnTo>
                  <a:lnTo>
                    <a:pt x="173" y="86"/>
                  </a:lnTo>
                  <a:lnTo>
                    <a:pt x="176" y="86"/>
                  </a:lnTo>
                  <a:lnTo>
                    <a:pt x="176" y="83"/>
                  </a:lnTo>
                  <a:lnTo>
                    <a:pt x="178" y="83"/>
                  </a:lnTo>
                  <a:lnTo>
                    <a:pt x="180" y="83"/>
                  </a:lnTo>
                  <a:lnTo>
                    <a:pt x="183" y="83"/>
                  </a:lnTo>
                  <a:close/>
                  <a:moveTo>
                    <a:pt x="199" y="83"/>
                  </a:moveTo>
                  <a:lnTo>
                    <a:pt x="199" y="86"/>
                  </a:lnTo>
                  <a:lnTo>
                    <a:pt x="197" y="86"/>
                  </a:lnTo>
                  <a:lnTo>
                    <a:pt x="197" y="83"/>
                  </a:lnTo>
                  <a:lnTo>
                    <a:pt x="199" y="83"/>
                  </a:lnTo>
                  <a:close/>
                  <a:moveTo>
                    <a:pt x="192" y="83"/>
                  </a:moveTo>
                  <a:lnTo>
                    <a:pt x="195" y="83"/>
                  </a:lnTo>
                  <a:lnTo>
                    <a:pt x="192" y="83"/>
                  </a:lnTo>
                  <a:close/>
                  <a:moveTo>
                    <a:pt x="192" y="81"/>
                  </a:moveTo>
                  <a:lnTo>
                    <a:pt x="190" y="81"/>
                  </a:lnTo>
                  <a:lnTo>
                    <a:pt x="192" y="81"/>
                  </a:lnTo>
                  <a:close/>
                  <a:moveTo>
                    <a:pt x="197" y="69"/>
                  </a:moveTo>
                  <a:lnTo>
                    <a:pt x="195" y="69"/>
                  </a:lnTo>
                  <a:lnTo>
                    <a:pt x="197" y="69"/>
                  </a:lnTo>
                  <a:close/>
                  <a:moveTo>
                    <a:pt x="183" y="67"/>
                  </a:moveTo>
                  <a:lnTo>
                    <a:pt x="183" y="69"/>
                  </a:lnTo>
                  <a:lnTo>
                    <a:pt x="183" y="67"/>
                  </a:lnTo>
                  <a:lnTo>
                    <a:pt x="180" y="69"/>
                  </a:lnTo>
                  <a:lnTo>
                    <a:pt x="183" y="69"/>
                  </a:lnTo>
                  <a:lnTo>
                    <a:pt x="180" y="67"/>
                  </a:lnTo>
                  <a:lnTo>
                    <a:pt x="183" y="67"/>
                  </a:lnTo>
                  <a:close/>
                  <a:moveTo>
                    <a:pt x="188" y="64"/>
                  </a:moveTo>
                  <a:lnTo>
                    <a:pt x="188" y="67"/>
                  </a:lnTo>
                  <a:lnTo>
                    <a:pt x="188" y="64"/>
                  </a:lnTo>
                  <a:close/>
                  <a:moveTo>
                    <a:pt x="199" y="62"/>
                  </a:moveTo>
                  <a:lnTo>
                    <a:pt x="197" y="62"/>
                  </a:lnTo>
                  <a:lnTo>
                    <a:pt x="199" y="62"/>
                  </a:lnTo>
                  <a:close/>
                  <a:moveTo>
                    <a:pt x="188" y="57"/>
                  </a:moveTo>
                  <a:lnTo>
                    <a:pt x="188" y="55"/>
                  </a:lnTo>
                  <a:lnTo>
                    <a:pt x="188" y="57"/>
                  </a:lnTo>
                  <a:close/>
                  <a:moveTo>
                    <a:pt x="188" y="55"/>
                  </a:moveTo>
                  <a:lnTo>
                    <a:pt x="185" y="55"/>
                  </a:lnTo>
                  <a:lnTo>
                    <a:pt x="188" y="55"/>
                  </a:lnTo>
                  <a:lnTo>
                    <a:pt x="185" y="55"/>
                  </a:lnTo>
                  <a:lnTo>
                    <a:pt x="188" y="55"/>
                  </a:lnTo>
                  <a:close/>
                  <a:moveTo>
                    <a:pt x="188" y="55"/>
                  </a:moveTo>
                  <a:lnTo>
                    <a:pt x="190" y="55"/>
                  </a:lnTo>
                  <a:lnTo>
                    <a:pt x="188" y="55"/>
                  </a:lnTo>
                  <a:close/>
                  <a:moveTo>
                    <a:pt x="178" y="55"/>
                  </a:moveTo>
                  <a:lnTo>
                    <a:pt x="178" y="52"/>
                  </a:lnTo>
                  <a:lnTo>
                    <a:pt x="178" y="55"/>
                  </a:lnTo>
                  <a:close/>
                  <a:moveTo>
                    <a:pt x="173" y="52"/>
                  </a:moveTo>
                  <a:lnTo>
                    <a:pt x="173" y="55"/>
                  </a:lnTo>
                  <a:lnTo>
                    <a:pt x="173" y="52"/>
                  </a:lnTo>
                  <a:close/>
                  <a:moveTo>
                    <a:pt x="183" y="55"/>
                  </a:moveTo>
                  <a:lnTo>
                    <a:pt x="183" y="52"/>
                  </a:lnTo>
                  <a:lnTo>
                    <a:pt x="185" y="52"/>
                  </a:lnTo>
                  <a:lnTo>
                    <a:pt x="185" y="55"/>
                  </a:lnTo>
                  <a:lnTo>
                    <a:pt x="183" y="55"/>
                  </a:lnTo>
                  <a:close/>
                  <a:moveTo>
                    <a:pt x="183" y="52"/>
                  </a:moveTo>
                  <a:lnTo>
                    <a:pt x="180" y="52"/>
                  </a:lnTo>
                  <a:lnTo>
                    <a:pt x="183" y="52"/>
                  </a:lnTo>
                  <a:close/>
                  <a:moveTo>
                    <a:pt x="173" y="50"/>
                  </a:moveTo>
                  <a:lnTo>
                    <a:pt x="176" y="50"/>
                  </a:lnTo>
                  <a:lnTo>
                    <a:pt x="173" y="50"/>
                  </a:lnTo>
                  <a:lnTo>
                    <a:pt x="173" y="52"/>
                  </a:lnTo>
                  <a:lnTo>
                    <a:pt x="173" y="50"/>
                  </a:lnTo>
                  <a:lnTo>
                    <a:pt x="173" y="52"/>
                  </a:lnTo>
                  <a:lnTo>
                    <a:pt x="171" y="52"/>
                  </a:lnTo>
                  <a:lnTo>
                    <a:pt x="173" y="52"/>
                  </a:lnTo>
                  <a:lnTo>
                    <a:pt x="171" y="52"/>
                  </a:lnTo>
                  <a:lnTo>
                    <a:pt x="171" y="50"/>
                  </a:lnTo>
                  <a:lnTo>
                    <a:pt x="173" y="50"/>
                  </a:lnTo>
                  <a:close/>
                  <a:moveTo>
                    <a:pt x="171" y="50"/>
                  </a:moveTo>
                  <a:lnTo>
                    <a:pt x="171" y="48"/>
                  </a:lnTo>
                  <a:lnTo>
                    <a:pt x="173" y="48"/>
                  </a:lnTo>
                  <a:lnTo>
                    <a:pt x="171" y="50"/>
                  </a:lnTo>
                  <a:close/>
                  <a:moveTo>
                    <a:pt x="161" y="48"/>
                  </a:moveTo>
                  <a:lnTo>
                    <a:pt x="164" y="48"/>
                  </a:lnTo>
                  <a:lnTo>
                    <a:pt x="161" y="48"/>
                  </a:lnTo>
                  <a:close/>
                  <a:moveTo>
                    <a:pt x="169" y="48"/>
                  </a:moveTo>
                  <a:lnTo>
                    <a:pt x="169" y="45"/>
                  </a:lnTo>
                  <a:lnTo>
                    <a:pt x="169" y="48"/>
                  </a:lnTo>
                  <a:close/>
                  <a:moveTo>
                    <a:pt x="169" y="45"/>
                  </a:moveTo>
                  <a:lnTo>
                    <a:pt x="169" y="48"/>
                  </a:lnTo>
                  <a:lnTo>
                    <a:pt x="169" y="45"/>
                  </a:lnTo>
                  <a:close/>
                  <a:moveTo>
                    <a:pt x="169" y="45"/>
                  </a:moveTo>
                  <a:lnTo>
                    <a:pt x="171" y="45"/>
                  </a:lnTo>
                  <a:lnTo>
                    <a:pt x="169" y="45"/>
                  </a:lnTo>
                  <a:close/>
                  <a:moveTo>
                    <a:pt x="171" y="45"/>
                  </a:moveTo>
                  <a:lnTo>
                    <a:pt x="169" y="45"/>
                  </a:lnTo>
                  <a:lnTo>
                    <a:pt x="171" y="45"/>
                  </a:lnTo>
                  <a:close/>
                  <a:moveTo>
                    <a:pt x="169" y="45"/>
                  </a:moveTo>
                  <a:lnTo>
                    <a:pt x="166" y="45"/>
                  </a:lnTo>
                  <a:lnTo>
                    <a:pt x="169" y="45"/>
                  </a:lnTo>
                  <a:close/>
                  <a:moveTo>
                    <a:pt x="159" y="43"/>
                  </a:moveTo>
                  <a:lnTo>
                    <a:pt x="159" y="45"/>
                  </a:lnTo>
                  <a:lnTo>
                    <a:pt x="159" y="43"/>
                  </a:lnTo>
                  <a:lnTo>
                    <a:pt x="159" y="45"/>
                  </a:lnTo>
                  <a:lnTo>
                    <a:pt x="159" y="43"/>
                  </a:lnTo>
                  <a:close/>
                  <a:moveTo>
                    <a:pt x="164" y="45"/>
                  </a:moveTo>
                  <a:lnTo>
                    <a:pt x="164" y="43"/>
                  </a:lnTo>
                  <a:lnTo>
                    <a:pt x="164" y="45"/>
                  </a:lnTo>
                  <a:close/>
                  <a:moveTo>
                    <a:pt x="154" y="28"/>
                  </a:moveTo>
                  <a:lnTo>
                    <a:pt x="154" y="31"/>
                  </a:lnTo>
                  <a:lnTo>
                    <a:pt x="154" y="28"/>
                  </a:lnTo>
                  <a:close/>
                  <a:moveTo>
                    <a:pt x="152" y="28"/>
                  </a:moveTo>
                  <a:lnTo>
                    <a:pt x="154" y="28"/>
                  </a:lnTo>
                  <a:lnTo>
                    <a:pt x="152" y="28"/>
                  </a:lnTo>
                  <a:close/>
                  <a:moveTo>
                    <a:pt x="145" y="17"/>
                  </a:moveTo>
                  <a:lnTo>
                    <a:pt x="145" y="19"/>
                  </a:lnTo>
                  <a:lnTo>
                    <a:pt x="142" y="17"/>
                  </a:lnTo>
                  <a:lnTo>
                    <a:pt x="145" y="17"/>
                  </a:lnTo>
                  <a:lnTo>
                    <a:pt x="142" y="17"/>
                  </a:lnTo>
                  <a:lnTo>
                    <a:pt x="145" y="17"/>
                  </a:lnTo>
                  <a:close/>
                  <a:moveTo>
                    <a:pt x="142" y="14"/>
                  </a:moveTo>
                  <a:lnTo>
                    <a:pt x="142" y="12"/>
                  </a:lnTo>
                  <a:lnTo>
                    <a:pt x="145" y="12"/>
                  </a:lnTo>
                  <a:lnTo>
                    <a:pt x="142" y="12"/>
                  </a:lnTo>
                  <a:lnTo>
                    <a:pt x="142" y="14"/>
                  </a:lnTo>
                  <a:close/>
                  <a:moveTo>
                    <a:pt x="150" y="0"/>
                  </a:moveTo>
                  <a:lnTo>
                    <a:pt x="150" y="2"/>
                  </a:lnTo>
                  <a:lnTo>
                    <a:pt x="15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8" name="Freeform 50964"/>
            <p:cNvSpPr>
              <a:spLocks noEditPoints="1"/>
            </p:cNvSpPr>
            <p:nvPr/>
          </p:nvSpPr>
          <p:spPr bwMode="auto">
            <a:xfrm>
              <a:off x="3038473" y="3324237"/>
              <a:ext cx="441325" cy="592140"/>
            </a:xfrm>
            <a:custGeom>
              <a:avLst/>
              <a:gdLst>
                <a:gd name="T0" fmla="*/ 123 w 278"/>
                <a:gd name="T1" fmla="*/ 371 h 373"/>
                <a:gd name="T2" fmla="*/ 114 w 278"/>
                <a:gd name="T3" fmla="*/ 369 h 373"/>
                <a:gd name="T4" fmla="*/ 57 w 278"/>
                <a:gd name="T5" fmla="*/ 369 h 373"/>
                <a:gd name="T6" fmla="*/ 95 w 278"/>
                <a:gd name="T7" fmla="*/ 369 h 373"/>
                <a:gd name="T8" fmla="*/ 142 w 278"/>
                <a:gd name="T9" fmla="*/ 366 h 373"/>
                <a:gd name="T10" fmla="*/ 90 w 278"/>
                <a:gd name="T11" fmla="*/ 366 h 373"/>
                <a:gd name="T12" fmla="*/ 55 w 278"/>
                <a:gd name="T13" fmla="*/ 366 h 373"/>
                <a:gd name="T14" fmla="*/ 133 w 278"/>
                <a:gd name="T15" fmla="*/ 366 h 373"/>
                <a:gd name="T16" fmla="*/ 83 w 278"/>
                <a:gd name="T17" fmla="*/ 364 h 373"/>
                <a:gd name="T18" fmla="*/ 57 w 278"/>
                <a:gd name="T19" fmla="*/ 364 h 373"/>
                <a:gd name="T20" fmla="*/ 154 w 278"/>
                <a:gd name="T21" fmla="*/ 361 h 373"/>
                <a:gd name="T22" fmla="*/ 55 w 278"/>
                <a:gd name="T23" fmla="*/ 361 h 373"/>
                <a:gd name="T24" fmla="*/ 159 w 278"/>
                <a:gd name="T25" fmla="*/ 361 h 373"/>
                <a:gd name="T26" fmla="*/ 64 w 278"/>
                <a:gd name="T27" fmla="*/ 359 h 373"/>
                <a:gd name="T28" fmla="*/ 78 w 278"/>
                <a:gd name="T29" fmla="*/ 359 h 373"/>
                <a:gd name="T30" fmla="*/ 21 w 278"/>
                <a:gd name="T31" fmla="*/ 359 h 373"/>
                <a:gd name="T32" fmla="*/ 29 w 278"/>
                <a:gd name="T33" fmla="*/ 359 h 373"/>
                <a:gd name="T34" fmla="*/ 33 w 278"/>
                <a:gd name="T35" fmla="*/ 357 h 373"/>
                <a:gd name="T36" fmla="*/ 90 w 278"/>
                <a:gd name="T37" fmla="*/ 354 h 373"/>
                <a:gd name="T38" fmla="*/ 17 w 278"/>
                <a:gd name="T39" fmla="*/ 354 h 373"/>
                <a:gd name="T40" fmla="*/ 62 w 278"/>
                <a:gd name="T41" fmla="*/ 354 h 373"/>
                <a:gd name="T42" fmla="*/ 62 w 278"/>
                <a:gd name="T43" fmla="*/ 352 h 373"/>
                <a:gd name="T44" fmla="*/ 31 w 278"/>
                <a:gd name="T45" fmla="*/ 352 h 373"/>
                <a:gd name="T46" fmla="*/ 36 w 278"/>
                <a:gd name="T47" fmla="*/ 352 h 373"/>
                <a:gd name="T48" fmla="*/ 48 w 278"/>
                <a:gd name="T49" fmla="*/ 350 h 373"/>
                <a:gd name="T50" fmla="*/ 221 w 278"/>
                <a:gd name="T51" fmla="*/ 350 h 373"/>
                <a:gd name="T52" fmla="*/ 216 w 278"/>
                <a:gd name="T53" fmla="*/ 347 h 373"/>
                <a:gd name="T54" fmla="*/ 62 w 278"/>
                <a:gd name="T55" fmla="*/ 347 h 373"/>
                <a:gd name="T56" fmla="*/ 48 w 278"/>
                <a:gd name="T57" fmla="*/ 347 h 373"/>
                <a:gd name="T58" fmla="*/ 55 w 278"/>
                <a:gd name="T59" fmla="*/ 345 h 373"/>
                <a:gd name="T60" fmla="*/ 71 w 278"/>
                <a:gd name="T61" fmla="*/ 345 h 373"/>
                <a:gd name="T62" fmla="*/ 36 w 278"/>
                <a:gd name="T63" fmla="*/ 342 h 373"/>
                <a:gd name="T64" fmla="*/ 64 w 278"/>
                <a:gd name="T65" fmla="*/ 342 h 373"/>
                <a:gd name="T66" fmla="*/ 235 w 278"/>
                <a:gd name="T67" fmla="*/ 340 h 373"/>
                <a:gd name="T68" fmla="*/ 52 w 278"/>
                <a:gd name="T69" fmla="*/ 342 h 373"/>
                <a:gd name="T70" fmla="*/ 59 w 278"/>
                <a:gd name="T71" fmla="*/ 340 h 373"/>
                <a:gd name="T72" fmla="*/ 50 w 278"/>
                <a:gd name="T73" fmla="*/ 338 h 373"/>
                <a:gd name="T74" fmla="*/ 21 w 278"/>
                <a:gd name="T75" fmla="*/ 340 h 373"/>
                <a:gd name="T76" fmla="*/ 59 w 278"/>
                <a:gd name="T77" fmla="*/ 338 h 373"/>
                <a:gd name="T78" fmla="*/ 52 w 278"/>
                <a:gd name="T79" fmla="*/ 338 h 373"/>
                <a:gd name="T80" fmla="*/ 88 w 278"/>
                <a:gd name="T81" fmla="*/ 338 h 373"/>
                <a:gd name="T82" fmla="*/ 50 w 278"/>
                <a:gd name="T83" fmla="*/ 335 h 373"/>
                <a:gd name="T84" fmla="*/ 275 w 278"/>
                <a:gd name="T85" fmla="*/ 333 h 373"/>
                <a:gd name="T86" fmla="*/ 31 w 278"/>
                <a:gd name="T87" fmla="*/ 333 h 373"/>
                <a:gd name="T88" fmla="*/ 86 w 278"/>
                <a:gd name="T89" fmla="*/ 331 h 373"/>
                <a:gd name="T90" fmla="*/ 64 w 278"/>
                <a:gd name="T91" fmla="*/ 328 h 373"/>
                <a:gd name="T92" fmla="*/ 64 w 278"/>
                <a:gd name="T93" fmla="*/ 321 h 373"/>
                <a:gd name="T94" fmla="*/ 59 w 278"/>
                <a:gd name="T95" fmla="*/ 314 h 373"/>
                <a:gd name="T96" fmla="*/ 69 w 278"/>
                <a:gd name="T97" fmla="*/ 297 h 373"/>
                <a:gd name="T98" fmla="*/ 67 w 278"/>
                <a:gd name="T99" fmla="*/ 285 h 373"/>
                <a:gd name="T100" fmla="*/ 69 w 278"/>
                <a:gd name="T101" fmla="*/ 262 h 373"/>
                <a:gd name="T102" fmla="*/ 67 w 278"/>
                <a:gd name="T103" fmla="*/ 238 h 373"/>
                <a:gd name="T104" fmla="*/ 67 w 278"/>
                <a:gd name="T105" fmla="*/ 202 h 373"/>
                <a:gd name="T106" fmla="*/ 62 w 278"/>
                <a:gd name="T107" fmla="*/ 193 h 373"/>
                <a:gd name="T108" fmla="*/ 71 w 278"/>
                <a:gd name="T109" fmla="*/ 186 h 373"/>
                <a:gd name="T110" fmla="*/ 86 w 278"/>
                <a:gd name="T111" fmla="*/ 181 h 373"/>
                <a:gd name="T112" fmla="*/ 59 w 278"/>
                <a:gd name="T113" fmla="*/ 179 h 373"/>
                <a:gd name="T114" fmla="*/ 83 w 278"/>
                <a:gd name="T115" fmla="*/ 176 h 373"/>
                <a:gd name="T116" fmla="*/ 107 w 278"/>
                <a:gd name="T117" fmla="*/ 157 h 373"/>
                <a:gd name="T118" fmla="*/ 114 w 278"/>
                <a:gd name="T119" fmla="*/ 148 h 373"/>
                <a:gd name="T120" fmla="*/ 199 w 278"/>
                <a:gd name="T121" fmla="*/ 84 h 373"/>
                <a:gd name="T122" fmla="*/ 159 w 278"/>
                <a:gd name="T123" fmla="*/ 53 h 373"/>
                <a:gd name="T124" fmla="*/ 154 w 278"/>
                <a:gd name="T125" fmla="*/ 2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8" h="373">
                  <a:moveTo>
                    <a:pt x="76" y="373"/>
                  </a:moveTo>
                  <a:lnTo>
                    <a:pt x="74" y="373"/>
                  </a:lnTo>
                  <a:lnTo>
                    <a:pt x="76" y="373"/>
                  </a:lnTo>
                  <a:close/>
                  <a:moveTo>
                    <a:pt x="121" y="373"/>
                  </a:moveTo>
                  <a:lnTo>
                    <a:pt x="119" y="371"/>
                  </a:lnTo>
                  <a:lnTo>
                    <a:pt x="121" y="371"/>
                  </a:lnTo>
                  <a:lnTo>
                    <a:pt x="121" y="373"/>
                  </a:lnTo>
                  <a:close/>
                  <a:moveTo>
                    <a:pt x="62" y="373"/>
                  </a:moveTo>
                  <a:lnTo>
                    <a:pt x="62" y="371"/>
                  </a:lnTo>
                  <a:lnTo>
                    <a:pt x="62" y="373"/>
                  </a:lnTo>
                  <a:close/>
                  <a:moveTo>
                    <a:pt x="74" y="373"/>
                  </a:moveTo>
                  <a:lnTo>
                    <a:pt x="74" y="371"/>
                  </a:lnTo>
                  <a:lnTo>
                    <a:pt x="74" y="373"/>
                  </a:lnTo>
                  <a:close/>
                  <a:moveTo>
                    <a:pt x="112" y="373"/>
                  </a:moveTo>
                  <a:lnTo>
                    <a:pt x="112" y="371"/>
                  </a:lnTo>
                  <a:lnTo>
                    <a:pt x="112" y="373"/>
                  </a:lnTo>
                  <a:close/>
                  <a:moveTo>
                    <a:pt x="74" y="371"/>
                  </a:moveTo>
                  <a:lnTo>
                    <a:pt x="74" y="373"/>
                  </a:lnTo>
                  <a:lnTo>
                    <a:pt x="74" y="371"/>
                  </a:lnTo>
                  <a:close/>
                  <a:moveTo>
                    <a:pt x="76" y="371"/>
                  </a:moveTo>
                  <a:lnTo>
                    <a:pt x="74" y="371"/>
                  </a:lnTo>
                  <a:lnTo>
                    <a:pt x="76" y="371"/>
                  </a:lnTo>
                  <a:close/>
                  <a:moveTo>
                    <a:pt x="116" y="371"/>
                  </a:moveTo>
                  <a:lnTo>
                    <a:pt x="114" y="371"/>
                  </a:lnTo>
                  <a:lnTo>
                    <a:pt x="116" y="371"/>
                  </a:lnTo>
                  <a:close/>
                  <a:moveTo>
                    <a:pt x="71" y="371"/>
                  </a:moveTo>
                  <a:lnTo>
                    <a:pt x="69" y="371"/>
                  </a:lnTo>
                  <a:lnTo>
                    <a:pt x="71" y="371"/>
                  </a:lnTo>
                  <a:close/>
                  <a:moveTo>
                    <a:pt x="59" y="371"/>
                  </a:moveTo>
                  <a:lnTo>
                    <a:pt x="57" y="371"/>
                  </a:lnTo>
                  <a:lnTo>
                    <a:pt x="59" y="371"/>
                  </a:lnTo>
                  <a:close/>
                  <a:moveTo>
                    <a:pt x="90" y="371"/>
                  </a:moveTo>
                  <a:lnTo>
                    <a:pt x="93" y="371"/>
                  </a:lnTo>
                  <a:lnTo>
                    <a:pt x="90" y="371"/>
                  </a:lnTo>
                  <a:lnTo>
                    <a:pt x="93" y="371"/>
                  </a:lnTo>
                  <a:lnTo>
                    <a:pt x="90" y="371"/>
                  </a:lnTo>
                  <a:close/>
                  <a:moveTo>
                    <a:pt x="102" y="371"/>
                  </a:moveTo>
                  <a:lnTo>
                    <a:pt x="100" y="371"/>
                  </a:lnTo>
                  <a:lnTo>
                    <a:pt x="102" y="371"/>
                  </a:lnTo>
                  <a:close/>
                  <a:moveTo>
                    <a:pt x="62" y="371"/>
                  </a:moveTo>
                  <a:lnTo>
                    <a:pt x="59" y="371"/>
                  </a:lnTo>
                  <a:lnTo>
                    <a:pt x="62" y="371"/>
                  </a:lnTo>
                  <a:close/>
                  <a:moveTo>
                    <a:pt x="119" y="371"/>
                  </a:moveTo>
                  <a:lnTo>
                    <a:pt x="116" y="371"/>
                  </a:lnTo>
                  <a:lnTo>
                    <a:pt x="119" y="371"/>
                  </a:lnTo>
                  <a:close/>
                  <a:moveTo>
                    <a:pt x="59" y="371"/>
                  </a:moveTo>
                  <a:lnTo>
                    <a:pt x="57" y="371"/>
                  </a:lnTo>
                  <a:lnTo>
                    <a:pt x="59" y="371"/>
                  </a:lnTo>
                  <a:close/>
                  <a:moveTo>
                    <a:pt x="104" y="371"/>
                  </a:moveTo>
                  <a:lnTo>
                    <a:pt x="102" y="371"/>
                  </a:lnTo>
                  <a:lnTo>
                    <a:pt x="104" y="371"/>
                  </a:lnTo>
                  <a:close/>
                  <a:moveTo>
                    <a:pt x="119" y="371"/>
                  </a:moveTo>
                  <a:lnTo>
                    <a:pt x="116" y="371"/>
                  </a:lnTo>
                  <a:lnTo>
                    <a:pt x="119" y="371"/>
                  </a:lnTo>
                  <a:close/>
                  <a:moveTo>
                    <a:pt x="57" y="371"/>
                  </a:moveTo>
                  <a:lnTo>
                    <a:pt x="55" y="371"/>
                  </a:lnTo>
                  <a:lnTo>
                    <a:pt x="57" y="371"/>
                  </a:lnTo>
                  <a:close/>
                  <a:moveTo>
                    <a:pt x="74" y="371"/>
                  </a:moveTo>
                  <a:lnTo>
                    <a:pt x="71" y="371"/>
                  </a:lnTo>
                  <a:lnTo>
                    <a:pt x="74" y="371"/>
                  </a:lnTo>
                  <a:close/>
                  <a:moveTo>
                    <a:pt x="123" y="371"/>
                  </a:moveTo>
                  <a:lnTo>
                    <a:pt x="123" y="369"/>
                  </a:lnTo>
                  <a:lnTo>
                    <a:pt x="123" y="371"/>
                  </a:lnTo>
                  <a:close/>
                  <a:moveTo>
                    <a:pt x="116" y="371"/>
                  </a:moveTo>
                  <a:lnTo>
                    <a:pt x="116" y="369"/>
                  </a:lnTo>
                  <a:lnTo>
                    <a:pt x="116" y="371"/>
                  </a:lnTo>
                  <a:close/>
                  <a:moveTo>
                    <a:pt x="114" y="371"/>
                  </a:moveTo>
                  <a:lnTo>
                    <a:pt x="114" y="369"/>
                  </a:lnTo>
                  <a:lnTo>
                    <a:pt x="114" y="371"/>
                  </a:lnTo>
                  <a:close/>
                  <a:moveTo>
                    <a:pt x="119" y="371"/>
                  </a:moveTo>
                  <a:lnTo>
                    <a:pt x="119" y="369"/>
                  </a:lnTo>
                  <a:lnTo>
                    <a:pt x="119" y="371"/>
                  </a:lnTo>
                  <a:close/>
                  <a:moveTo>
                    <a:pt x="93" y="371"/>
                  </a:moveTo>
                  <a:lnTo>
                    <a:pt x="93" y="369"/>
                  </a:lnTo>
                  <a:lnTo>
                    <a:pt x="93" y="371"/>
                  </a:lnTo>
                  <a:close/>
                  <a:moveTo>
                    <a:pt x="83" y="371"/>
                  </a:moveTo>
                  <a:lnTo>
                    <a:pt x="83" y="369"/>
                  </a:lnTo>
                  <a:lnTo>
                    <a:pt x="83" y="371"/>
                  </a:lnTo>
                  <a:close/>
                  <a:moveTo>
                    <a:pt x="104" y="371"/>
                  </a:moveTo>
                  <a:lnTo>
                    <a:pt x="104" y="369"/>
                  </a:lnTo>
                  <a:lnTo>
                    <a:pt x="104" y="371"/>
                  </a:lnTo>
                  <a:close/>
                  <a:moveTo>
                    <a:pt x="59" y="371"/>
                  </a:moveTo>
                  <a:lnTo>
                    <a:pt x="59" y="369"/>
                  </a:lnTo>
                  <a:lnTo>
                    <a:pt x="59" y="371"/>
                  </a:lnTo>
                  <a:close/>
                  <a:moveTo>
                    <a:pt x="97" y="369"/>
                  </a:moveTo>
                  <a:lnTo>
                    <a:pt x="97" y="371"/>
                  </a:lnTo>
                  <a:lnTo>
                    <a:pt x="97" y="369"/>
                  </a:lnTo>
                  <a:close/>
                  <a:moveTo>
                    <a:pt x="90" y="369"/>
                  </a:moveTo>
                  <a:lnTo>
                    <a:pt x="90" y="371"/>
                  </a:lnTo>
                  <a:lnTo>
                    <a:pt x="90" y="369"/>
                  </a:lnTo>
                  <a:close/>
                  <a:moveTo>
                    <a:pt x="102" y="371"/>
                  </a:moveTo>
                  <a:lnTo>
                    <a:pt x="102" y="369"/>
                  </a:lnTo>
                  <a:lnTo>
                    <a:pt x="102" y="371"/>
                  </a:lnTo>
                  <a:close/>
                  <a:moveTo>
                    <a:pt x="62" y="369"/>
                  </a:moveTo>
                  <a:lnTo>
                    <a:pt x="62" y="371"/>
                  </a:lnTo>
                  <a:lnTo>
                    <a:pt x="62" y="369"/>
                  </a:lnTo>
                  <a:close/>
                  <a:moveTo>
                    <a:pt x="55" y="369"/>
                  </a:moveTo>
                  <a:lnTo>
                    <a:pt x="55" y="371"/>
                  </a:lnTo>
                  <a:lnTo>
                    <a:pt x="52" y="369"/>
                  </a:lnTo>
                  <a:lnTo>
                    <a:pt x="55" y="369"/>
                  </a:lnTo>
                  <a:close/>
                  <a:moveTo>
                    <a:pt x="67" y="369"/>
                  </a:moveTo>
                  <a:lnTo>
                    <a:pt x="67" y="371"/>
                  </a:lnTo>
                  <a:lnTo>
                    <a:pt x="67" y="369"/>
                  </a:lnTo>
                  <a:close/>
                  <a:moveTo>
                    <a:pt x="83" y="369"/>
                  </a:moveTo>
                  <a:lnTo>
                    <a:pt x="83" y="371"/>
                  </a:lnTo>
                  <a:lnTo>
                    <a:pt x="83" y="369"/>
                  </a:lnTo>
                  <a:close/>
                  <a:moveTo>
                    <a:pt x="93" y="371"/>
                  </a:moveTo>
                  <a:lnTo>
                    <a:pt x="90" y="371"/>
                  </a:lnTo>
                  <a:lnTo>
                    <a:pt x="93" y="371"/>
                  </a:lnTo>
                  <a:lnTo>
                    <a:pt x="93" y="369"/>
                  </a:lnTo>
                  <a:lnTo>
                    <a:pt x="93" y="371"/>
                  </a:lnTo>
                  <a:close/>
                  <a:moveTo>
                    <a:pt x="104" y="369"/>
                  </a:moveTo>
                  <a:lnTo>
                    <a:pt x="102" y="369"/>
                  </a:lnTo>
                  <a:lnTo>
                    <a:pt x="104" y="369"/>
                  </a:lnTo>
                  <a:close/>
                  <a:moveTo>
                    <a:pt x="55" y="369"/>
                  </a:moveTo>
                  <a:lnTo>
                    <a:pt x="52" y="369"/>
                  </a:lnTo>
                  <a:lnTo>
                    <a:pt x="55" y="369"/>
                  </a:lnTo>
                  <a:close/>
                  <a:moveTo>
                    <a:pt x="59" y="369"/>
                  </a:moveTo>
                  <a:lnTo>
                    <a:pt x="57" y="369"/>
                  </a:lnTo>
                  <a:lnTo>
                    <a:pt x="59" y="369"/>
                  </a:lnTo>
                  <a:close/>
                  <a:moveTo>
                    <a:pt x="123" y="369"/>
                  </a:moveTo>
                  <a:lnTo>
                    <a:pt x="121" y="369"/>
                  </a:lnTo>
                  <a:lnTo>
                    <a:pt x="123" y="369"/>
                  </a:lnTo>
                  <a:close/>
                  <a:moveTo>
                    <a:pt x="114" y="369"/>
                  </a:moveTo>
                  <a:lnTo>
                    <a:pt x="112" y="369"/>
                  </a:lnTo>
                  <a:lnTo>
                    <a:pt x="114" y="369"/>
                  </a:lnTo>
                  <a:close/>
                  <a:moveTo>
                    <a:pt x="52" y="369"/>
                  </a:moveTo>
                  <a:lnTo>
                    <a:pt x="55" y="369"/>
                  </a:lnTo>
                  <a:lnTo>
                    <a:pt x="52" y="369"/>
                  </a:lnTo>
                  <a:close/>
                  <a:moveTo>
                    <a:pt x="93" y="369"/>
                  </a:moveTo>
                  <a:lnTo>
                    <a:pt x="90" y="369"/>
                  </a:lnTo>
                  <a:lnTo>
                    <a:pt x="93" y="369"/>
                  </a:lnTo>
                  <a:close/>
                  <a:moveTo>
                    <a:pt x="83" y="369"/>
                  </a:moveTo>
                  <a:lnTo>
                    <a:pt x="81" y="369"/>
                  </a:lnTo>
                  <a:lnTo>
                    <a:pt x="83" y="369"/>
                  </a:lnTo>
                  <a:lnTo>
                    <a:pt x="81" y="369"/>
                  </a:lnTo>
                  <a:lnTo>
                    <a:pt x="83" y="369"/>
                  </a:lnTo>
                  <a:close/>
                  <a:moveTo>
                    <a:pt x="135" y="369"/>
                  </a:moveTo>
                  <a:lnTo>
                    <a:pt x="138" y="369"/>
                  </a:lnTo>
                  <a:lnTo>
                    <a:pt x="135" y="369"/>
                  </a:lnTo>
                  <a:close/>
                  <a:moveTo>
                    <a:pt x="83" y="369"/>
                  </a:moveTo>
                  <a:lnTo>
                    <a:pt x="81" y="369"/>
                  </a:lnTo>
                  <a:lnTo>
                    <a:pt x="83" y="369"/>
                  </a:lnTo>
                  <a:close/>
                  <a:moveTo>
                    <a:pt x="107" y="369"/>
                  </a:moveTo>
                  <a:lnTo>
                    <a:pt x="104" y="369"/>
                  </a:lnTo>
                  <a:lnTo>
                    <a:pt x="107" y="369"/>
                  </a:lnTo>
                  <a:close/>
                  <a:moveTo>
                    <a:pt x="64" y="369"/>
                  </a:moveTo>
                  <a:lnTo>
                    <a:pt x="62" y="369"/>
                  </a:lnTo>
                  <a:lnTo>
                    <a:pt x="64" y="369"/>
                  </a:lnTo>
                  <a:close/>
                  <a:moveTo>
                    <a:pt x="81" y="369"/>
                  </a:moveTo>
                  <a:lnTo>
                    <a:pt x="83" y="369"/>
                  </a:lnTo>
                  <a:lnTo>
                    <a:pt x="81" y="369"/>
                  </a:lnTo>
                  <a:close/>
                  <a:moveTo>
                    <a:pt x="138" y="369"/>
                  </a:moveTo>
                  <a:lnTo>
                    <a:pt x="135" y="369"/>
                  </a:lnTo>
                  <a:lnTo>
                    <a:pt x="138" y="369"/>
                  </a:lnTo>
                  <a:close/>
                  <a:moveTo>
                    <a:pt x="95" y="369"/>
                  </a:moveTo>
                  <a:lnTo>
                    <a:pt x="93" y="369"/>
                  </a:lnTo>
                  <a:lnTo>
                    <a:pt x="95" y="369"/>
                  </a:lnTo>
                  <a:lnTo>
                    <a:pt x="93" y="369"/>
                  </a:lnTo>
                  <a:lnTo>
                    <a:pt x="95" y="369"/>
                  </a:lnTo>
                  <a:close/>
                  <a:moveTo>
                    <a:pt x="43" y="369"/>
                  </a:moveTo>
                  <a:lnTo>
                    <a:pt x="40" y="369"/>
                  </a:lnTo>
                  <a:lnTo>
                    <a:pt x="43" y="369"/>
                  </a:lnTo>
                  <a:close/>
                  <a:moveTo>
                    <a:pt x="116" y="369"/>
                  </a:moveTo>
                  <a:lnTo>
                    <a:pt x="114" y="369"/>
                  </a:lnTo>
                  <a:lnTo>
                    <a:pt x="116" y="369"/>
                  </a:lnTo>
                  <a:close/>
                  <a:moveTo>
                    <a:pt x="104" y="369"/>
                  </a:moveTo>
                  <a:lnTo>
                    <a:pt x="102" y="369"/>
                  </a:lnTo>
                  <a:lnTo>
                    <a:pt x="104" y="369"/>
                  </a:lnTo>
                  <a:close/>
                  <a:moveTo>
                    <a:pt x="119" y="369"/>
                  </a:moveTo>
                  <a:lnTo>
                    <a:pt x="116" y="369"/>
                  </a:lnTo>
                  <a:lnTo>
                    <a:pt x="119" y="369"/>
                  </a:lnTo>
                  <a:close/>
                  <a:moveTo>
                    <a:pt x="131" y="369"/>
                  </a:moveTo>
                  <a:lnTo>
                    <a:pt x="128" y="369"/>
                  </a:lnTo>
                  <a:lnTo>
                    <a:pt x="131" y="369"/>
                  </a:lnTo>
                  <a:close/>
                  <a:moveTo>
                    <a:pt x="71" y="369"/>
                  </a:moveTo>
                  <a:lnTo>
                    <a:pt x="69" y="369"/>
                  </a:lnTo>
                  <a:lnTo>
                    <a:pt x="71" y="369"/>
                  </a:lnTo>
                  <a:close/>
                  <a:moveTo>
                    <a:pt x="90" y="369"/>
                  </a:moveTo>
                  <a:lnTo>
                    <a:pt x="88" y="369"/>
                  </a:lnTo>
                  <a:lnTo>
                    <a:pt x="90" y="369"/>
                  </a:lnTo>
                  <a:close/>
                  <a:moveTo>
                    <a:pt x="40" y="369"/>
                  </a:moveTo>
                  <a:lnTo>
                    <a:pt x="38" y="369"/>
                  </a:lnTo>
                  <a:lnTo>
                    <a:pt x="40" y="369"/>
                  </a:lnTo>
                  <a:close/>
                  <a:moveTo>
                    <a:pt x="138" y="369"/>
                  </a:moveTo>
                  <a:lnTo>
                    <a:pt x="135" y="369"/>
                  </a:lnTo>
                  <a:lnTo>
                    <a:pt x="138" y="369"/>
                  </a:lnTo>
                  <a:close/>
                  <a:moveTo>
                    <a:pt x="59" y="369"/>
                  </a:moveTo>
                  <a:lnTo>
                    <a:pt x="57" y="369"/>
                  </a:lnTo>
                  <a:lnTo>
                    <a:pt x="59" y="369"/>
                  </a:lnTo>
                  <a:close/>
                  <a:moveTo>
                    <a:pt x="104" y="369"/>
                  </a:moveTo>
                  <a:lnTo>
                    <a:pt x="102" y="369"/>
                  </a:lnTo>
                  <a:lnTo>
                    <a:pt x="104" y="369"/>
                  </a:lnTo>
                  <a:close/>
                  <a:moveTo>
                    <a:pt x="116" y="369"/>
                  </a:moveTo>
                  <a:lnTo>
                    <a:pt x="114" y="369"/>
                  </a:lnTo>
                  <a:lnTo>
                    <a:pt x="116" y="369"/>
                  </a:lnTo>
                  <a:close/>
                  <a:moveTo>
                    <a:pt x="76" y="369"/>
                  </a:moveTo>
                  <a:lnTo>
                    <a:pt x="78" y="369"/>
                  </a:lnTo>
                  <a:lnTo>
                    <a:pt x="76" y="369"/>
                  </a:lnTo>
                  <a:close/>
                  <a:moveTo>
                    <a:pt x="69" y="369"/>
                  </a:moveTo>
                  <a:lnTo>
                    <a:pt x="67" y="369"/>
                  </a:lnTo>
                  <a:lnTo>
                    <a:pt x="69" y="369"/>
                  </a:lnTo>
                  <a:close/>
                  <a:moveTo>
                    <a:pt x="38" y="369"/>
                  </a:moveTo>
                  <a:lnTo>
                    <a:pt x="40" y="369"/>
                  </a:lnTo>
                  <a:lnTo>
                    <a:pt x="38" y="369"/>
                  </a:lnTo>
                  <a:close/>
                  <a:moveTo>
                    <a:pt x="109" y="369"/>
                  </a:moveTo>
                  <a:lnTo>
                    <a:pt x="107" y="369"/>
                  </a:lnTo>
                  <a:lnTo>
                    <a:pt x="109" y="369"/>
                  </a:lnTo>
                  <a:close/>
                  <a:moveTo>
                    <a:pt x="138" y="369"/>
                  </a:moveTo>
                  <a:lnTo>
                    <a:pt x="140" y="369"/>
                  </a:lnTo>
                  <a:lnTo>
                    <a:pt x="138" y="369"/>
                  </a:lnTo>
                  <a:close/>
                  <a:moveTo>
                    <a:pt x="40" y="369"/>
                  </a:moveTo>
                  <a:lnTo>
                    <a:pt x="43" y="369"/>
                  </a:lnTo>
                  <a:lnTo>
                    <a:pt x="40" y="369"/>
                  </a:lnTo>
                  <a:close/>
                  <a:moveTo>
                    <a:pt x="93" y="369"/>
                  </a:moveTo>
                  <a:lnTo>
                    <a:pt x="95" y="369"/>
                  </a:lnTo>
                  <a:lnTo>
                    <a:pt x="93" y="369"/>
                  </a:lnTo>
                  <a:close/>
                  <a:moveTo>
                    <a:pt x="55" y="369"/>
                  </a:moveTo>
                  <a:lnTo>
                    <a:pt x="52" y="369"/>
                  </a:lnTo>
                  <a:lnTo>
                    <a:pt x="55" y="369"/>
                  </a:lnTo>
                  <a:close/>
                  <a:moveTo>
                    <a:pt x="90" y="369"/>
                  </a:moveTo>
                  <a:lnTo>
                    <a:pt x="90" y="366"/>
                  </a:lnTo>
                  <a:lnTo>
                    <a:pt x="90" y="369"/>
                  </a:lnTo>
                  <a:close/>
                  <a:moveTo>
                    <a:pt x="43" y="369"/>
                  </a:moveTo>
                  <a:lnTo>
                    <a:pt x="40" y="369"/>
                  </a:lnTo>
                  <a:lnTo>
                    <a:pt x="40" y="366"/>
                  </a:lnTo>
                  <a:lnTo>
                    <a:pt x="43" y="369"/>
                  </a:lnTo>
                  <a:close/>
                  <a:moveTo>
                    <a:pt x="55" y="369"/>
                  </a:moveTo>
                  <a:lnTo>
                    <a:pt x="55" y="366"/>
                  </a:lnTo>
                  <a:lnTo>
                    <a:pt x="55" y="369"/>
                  </a:lnTo>
                  <a:close/>
                  <a:moveTo>
                    <a:pt x="135" y="369"/>
                  </a:moveTo>
                  <a:lnTo>
                    <a:pt x="133" y="369"/>
                  </a:lnTo>
                  <a:lnTo>
                    <a:pt x="135" y="366"/>
                  </a:lnTo>
                  <a:lnTo>
                    <a:pt x="135" y="369"/>
                  </a:lnTo>
                  <a:close/>
                  <a:moveTo>
                    <a:pt x="138" y="369"/>
                  </a:moveTo>
                  <a:lnTo>
                    <a:pt x="135" y="369"/>
                  </a:lnTo>
                  <a:lnTo>
                    <a:pt x="138" y="366"/>
                  </a:lnTo>
                  <a:lnTo>
                    <a:pt x="138" y="369"/>
                  </a:lnTo>
                  <a:close/>
                  <a:moveTo>
                    <a:pt x="88" y="369"/>
                  </a:moveTo>
                  <a:lnTo>
                    <a:pt x="88" y="366"/>
                  </a:lnTo>
                  <a:lnTo>
                    <a:pt x="88" y="369"/>
                  </a:lnTo>
                  <a:close/>
                  <a:moveTo>
                    <a:pt x="138" y="369"/>
                  </a:moveTo>
                  <a:lnTo>
                    <a:pt x="138" y="366"/>
                  </a:lnTo>
                  <a:lnTo>
                    <a:pt x="138" y="369"/>
                  </a:lnTo>
                  <a:close/>
                  <a:moveTo>
                    <a:pt x="140" y="369"/>
                  </a:moveTo>
                  <a:lnTo>
                    <a:pt x="138" y="369"/>
                  </a:lnTo>
                  <a:lnTo>
                    <a:pt x="140" y="366"/>
                  </a:lnTo>
                  <a:lnTo>
                    <a:pt x="140" y="369"/>
                  </a:lnTo>
                  <a:close/>
                  <a:moveTo>
                    <a:pt x="36" y="369"/>
                  </a:moveTo>
                  <a:lnTo>
                    <a:pt x="36" y="366"/>
                  </a:lnTo>
                  <a:lnTo>
                    <a:pt x="36" y="369"/>
                  </a:lnTo>
                  <a:close/>
                  <a:moveTo>
                    <a:pt x="95" y="369"/>
                  </a:moveTo>
                  <a:lnTo>
                    <a:pt x="95" y="366"/>
                  </a:lnTo>
                  <a:lnTo>
                    <a:pt x="95" y="369"/>
                  </a:lnTo>
                  <a:close/>
                  <a:moveTo>
                    <a:pt x="95" y="366"/>
                  </a:moveTo>
                  <a:lnTo>
                    <a:pt x="95" y="369"/>
                  </a:lnTo>
                  <a:lnTo>
                    <a:pt x="95" y="366"/>
                  </a:lnTo>
                  <a:close/>
                  <a:moveTo>
                    <a:pt x="97" y="366"/>
                  </a:moveTo>
                  <a:lnTo>
                    <a:pt x="97" y="369"/>
                  </a:lnTo>
                  <a:lnTo>
                    <a:pt x="97" y="366"/>
                  </a:lnTo>
                  <a:close/>
                  <a:moveTo>
                    <a:pt x="52" y="369"/>
                  </a:moveTo>
                  <a:lnTo>
                    <a:pt x="52" y="366"/>
                  </a:lnTo>
                  <a:lnTo>
                    <a:pt x="52" y="369"/>
                  </a:lnTo>
                  <a:close/>
                  <a:moveTo>
                    <a:pt x="133" y="369"/>
                  </a:moveTo>
                  <a:lnTo>
                    <a:pt x="133" y="366"/>
                  </a:lnTo>
                  <a:lnTo>
                    <a:pt x="133" y="369"/>
                  </a:lnTo>
                  <a:close/>
                  <a:moveTo>
                    <a:pt x="88" y="366"/>
                  </a:moveTo>
                  <a:lnTo>
                    <a:pt x="88" y="369"/>
                  </a:lnTo>
                  <a:lnTo>
                    <a:pt x="88" y="366"/>
                  </a:lnTo>
                  <a:close/>
                  <a:moveTo>
                    <a:pt x="55" y="366"/>
                  </a:moveTo>
                  <a:lnTo>
                    <a:pt x="52" y="366"/>
                  </a:lnTo>
                  <a:lnTo>
                    <a:pt x="55" y="366"/>
                  </a:lnTo>
                  <a:close/>
                  <a:moveTo>
                    <a:pt x="93" y="366"/>
                  </a:moveTo>
                  <a:lnTo>
                    <a:pt x="93" y="369"/>
                  </a:lnTo>
                  <a:lnTo>
                    <a:pt x="93" y="366"/>
                  </a:lnTo>
                  <a:lnTo>
                    <a:pt x="93" y="369"/>
                  </a:lnTo>
                  <a:lnTo>
                    <a:pt x="93" y="366"/>
                  </a:lnTo>
                  <a:close/>
                  <a:moveTo>
                    <a:pt x="90" y="369"/>
                  </a:moveTo>
                  <a:lnTo>
                    <a:pt x="90" y="366"/>
                  </a:lnTo>
                  <a:lnTo>
                    <a:pt x="90" y="369"/>
                  </a:lnTo>
                  <a:close/>
                  <a:moveTo>
                    <a:pt x="135" y="366"/>
                  </a:moveTo>
                  <a:lnTo>
                    <a:pt x="135" y="369"/>
                  </a:lnTo>
                  <a:lnTo>
                    <a:pt x="135" y="366"/>
                  </a:lnTo>
                  <a:close/>
                  <a:moveTo>
                    <a:pt x="57" y="366"/>
                  </a:moveTo>
                  <a:lnTo>
                    <a:pt x="57" y="369"/>
                  </a:lnTo>
                  <a:lnTo>
                    <a:pt x="57" y="366"/>
                  </a:lnTo>
                  <a:close/>
                  <a:moveTo>
                    <a:pt x="100" y="369"/>
                  </a:moveTo>
                  <a:lnTo>
                    <a:pt x="100" y="366"/>
                  </a:lnTo>
                  <a:lnTo>
                    <a:pt x="100" y="369"/>
                  </a:lnTo>
                  <a:close/>
                  <a:moveTo>
                    <a:pt x="135" y="366"/>
                  </a:moveTo>
                  <a:lnTo>
                    <a:pt x="133" y="366"/>
                  </a:lnTo>
                  <a:lnTo>
                    <a:pt x="135" y="366"/>
                  </a:lnTo>
                  <a:close/>
                  <a:moveTo>
                    <a:pt x="140" y="369"/>
                  </a:moveTo>
                  <a:lnTo>
                    <a:pt x="140" y="366"/>
                  </a:lnTo>
                  <a:lnTo>
                    <a:pt x="140" y="369"/>
                  </a:lnTo>
                  <a:close/>
                  <a:moveTo>
                    <a:pt x="90" y="366"/>
                  </a:moveTo>
                  <a:lnTo>
                    <a:pt x="90" y="369"/>
                  </a:lnTo>
                  <a:lnTo>
                    <a:pt x="90" y="366"/>
                  </a:lnTo>
                  <a:close/>
                  <a:moveTo>
                    <a:pt x="107" y="366"/>
                  </a:moveTo>
                  <a:lnTo>
                    <a:pt x="104" y="366"/>
                  </a:lnTo>
                  <a:lnTo>
                    <a:pt x="107" y="366"/>
                  </a:lnTo>
                  <a:close/>
                  <a:moveTo>
                    <a:pt x="40" y="366"/>
                  </a:moveTo>
                  <a:lnTo>
                    <a:pt x="43" y="366"/>
                  </a:lnTo>
                  <a:lnTo>
                    <a:pt x="40" y="366"/>
                  </a:lnTo>
                  <a:close/>
                  <a:moveTo>
                    <a:pt x="57" y="366"/>
                  </a:moveTo>
                  <a:lnTo>
                    <a:pt x="55" y="366"/>
                  </a:lnTo>
                  <a:lnTo>
                    <a:pt x="57" y="366"/>
                  </a:lnTo>
                  <a:close/>
                  <a:moveTo>
                    <a:pt x="97" y="366"/>
                  </a:moveTo>
                  <a:lnTo>
                    <a:pt x="95" y="366"/>
                  </a:lnTo>
                  <a:lnTo>
                    <a:pt x="97" y="366"/>
                  </a:lnTo>
                  <a:close/>
                  <a:moveTo>
                    <a:pt x="86" y="366"/>
                  </a:moveTo>
                  <a:lnTo>
                    <a:pt x="83" y="366"/>
                  </a:lnTo>
                  <a:lnTo>
                    <a:pt x="86" y="366"/>
                  </a:lnTo>
                  <a:close/>
                  <a:moveTo>
                    <a:pt x="145" y="366"/>
                  </a:moveTo>
                  <a:lnTo>
                    <a:pt x="142" y="366"/>
                  </a:lnTo>
                  <a:lnTo>
                    <a:pt x="145" y="366"/>
                  </a:lnTo>
                  <a:close/>
                  <a:moveTo>
                    <a:pt x="59" y="366"/>
                  </a:moveTo>
                  <a:lnTo>
                    <a:pt x="57" y="366"/>
                  </a:lnTo>
                  <a:lnTo>
                    <a:pt x="59" y="366"/>
                  </a:lnTo>
                  <a:close/>
                  <a:moveTo>
                    <a:pt x="107" y="366"/>
                  </a:moveTo>
                  <a:lnTo>
                    <a:pt x="104" y="366"/>
                  </a:lnTo>
                  <a:lnTo>
                    <a:pt x="107" y="366"/>
                  </a:lnTo>
                  <a:close/>
                  <a:moveTo>
                    <a:pt x="57" y="366"/>
                  </a:moveTo>
                  <a:lnTo>
                    <a:pt x="55" y="366"/>
                  </a:lnTo>
                  <a:lnTo>
                    <a:pt x="57" y="366"/>
                  </a:lnTo>
                  <a:close/>
                  <a:moveTo>
                    <a:pt x="140" y="366"/>
                  </a:moveTo>
                  <a:lnTo>
                    <a:pt x="138" y="366"/>
                  </a:lnTo>
                  <a:lnTo>
                    <a:pt x="140" y="366"/>
                  </a:lnTo>
                  <a:close/>
                  <a:moveTo>
                    <a:pt x="102" y="366"/>
                  </a:moveTo>
                  <a:lnTo>
                    <a:pt x="100" y="366"/>
                  </a:lnTo>
                  <a:lnTo>
                    <a:pt x="102" y="366"/>
                  </a:lnTo>
                  <a:close/>
                  <a:moveTo>
                    <a:pt x="138" y="366"/>
                  </a:moveTo>
                  <a:lnTo>
                    <a:pt x="135" y="366"/>
                  </a:lnTo>
                  <a:lnTo>
                    <a:pt x="138" y="366"/>
                  </a:lnTo>
                  <a:close/>
                  <a:moveTo>
                    <a:pt x="133" y="366"/>
                  </a:moveTo>
                  <a:lnTo>
                    <a:pt x="131" y="366"/>
                  </a:lnTo>
                  <a:lnTo>
                    <a:pt x="133" y="366"/>
                  </a:lnTo>
                  <a:close/>
                  <a:moveTo>
                    <a:pt x="83" y="366"/>
                  </a:moveTo>
                  <a:lnTo>
                    <a:pt x="81" y="366"/>
                  </a:lnTo>
                  <a:lnTo>
                    <a:pt x="83" y="366"/>
                  </a:lnTo>
                  <a:close/>
                  <a:moveTo>
                    <a:pt x="145" y="366"/>
                  </a:moveTo>
                  <a:lnTo>
                    <a:pt x="142" y="366"/>
                  </a:lnTo>
                  <a:lnTo>
                    <a:pt x="145" y="366"/>
                  </a:lnTo>
                  <a:close/>
                  <a:moveTo>
                    <a:pt x="57" y="366"/>
                  </a:moveTo>
                  <a:lnTo>
                    <a:pt x="59" y="366"/>
                  </a:lnTo>
                  <a:lnTo>
                    <a:pt x="57" y="366"/>
                  </a:lnTo>
                  <a:close/>
                  <a:moveTo>
                    <a:pt x="131" y="366"/>
                  </a:moveTo>
                  <a:lnTo>
                    <a:pt x="128" y="366"/>
                  </a:lnTo>
                  <a:lnTo>
                    <a:pt x="131" y="366"/>
                  </a:lnTo>
                  <a:close/>
                  <a:moveTo>
                    <a:pt x="90" y="366"/>
                  </a:moveTo>
                  <a:lnTo>
                    <a:pt x="88" y="366"/>
                  </a:lnTo>
                  <a:lnTo>
                    <a:pt x="90" y="366"/>
                  </a:lnTo>
                  <a:close/>
                  <a:moveTo>
                    <a:pt x="138" y="366"/>
                  </a:moveTo>
                  <a:lnTo>
                    <a:pt x="135" y="366"/>
                  </a:lnTo>
                  <a:lnTo>
                    <a:pt x="138" y="366"/>
                  </a:lnTo>
                  <a:close/>
                  <a:moveTo>
                    <a:pt x="97" y="366"/>
                  </a:moveTo>
                  <a:lnTo>
                    <a:pt x="95" y="366"/>
                  </a:lnTo>
                  <a:lnTo>
                    <a:pt x="97" y="366"/>
                  </a:lnTo>
                  <a:close/>
                  <a:moveTo>
                    <a:pt x="142" y="366"/>
                  </a:moveTo>
                  <a:lnTo>
                    <a:pt x="145" y="366"/>
                  </a:lnTo>
                  <a:lnTo>
                    <a:pt x="142" y="366"/>
                  </a:lnTo>
                  <a:close/>
                  <a:moveTo>
                    <a:pt x="59" y="366"/>
                  </a:moveTo>
                  <a:lnTo>
                    <a:pt x="57" y="366"/>
                  </a:lnTo>
                  <a:lnTo>
                    <a:pt x="59" y="366"/>
                  </a:lnTo>
                  <a:close/>
                  <a:moveTo>
                    <a:pt x="121" y="366"/>
                  </a:moveTo>
                  <a:lnTo>
                    <a:pt x="119" y="366"/>
                  </a:lnTo>
                  <a:lnTo>
                    <a:pt x="121" y="366"/>
                  </a:lnTo>
                  <a:close/>
                  <a:moveTo>
                    <a:pt x="95" y="366"/>
                  </a:moveTo>
                  <a:lnTo>
                    <a:pt x="93" y="366"/>
                  </a:lnTo>
                  <a:lnTo>
                    <a:pt x="95" y="366"/>
                  </a:lnTo>
                  <a:close/>
                  <a:moveTo>
                    <a:pt x="107" y="366"/>
                  </a:moveTo>
                  <a:lnTo>
                    <a:pt x="104" y="366"/>
                  </a:lnTo>
                  <a:lnTo>
                    <a:pt x="107" y="366"/>
                  </a:lnTo>
                  <a:close/>
                  <a:moveTo>
                    <a:pt x="133" y="366"/>
                  </a:moveTo>
                  <a:lnTo>
                    <a:pt x="131" y="366"/>
                  </a:lnTo>
                  <a:lnTo>
                    <a:pt x="133" y="366"/>
                  </a:lnTo>
                  <a:close/>
                  <a:moveTo>
                    <a:pt x="93" y="366"/>
                  </a:moveTo>
                  <a:lnTo>
                    <a:pt x="90" y="366"/>
                  </a:lnTo>
                  <a:lnTo>
                    <a:pt x="93" y="366"/>
                  </a:lnTo>
                  <a:close/>
                  <a:moveTo>
                    <a:pt x="43" y="366"/>
                  </a:moveTo>
                  <a:lnTo>
                    <a:pt x="40" y="366"/>
                  </a:lnTo>
                  <a:lnTo>
                    <a:pt x="43" y="366"/>
                  </a:lnTo>
                  <a:close/>
                  <a:moveTo>
                    <a:pt x="57" y="366"/>
                  </a:moveTo>
                  <a:lnTo>
                    <a:pt x="55" y="366"/>
                  </a:lnTo>
                  <a:lnTo>
                    <a:pt x="57" y="366"/>
                  </a:lnTo>
                  <a:lnTo>
                    <a:pt x="55" y="366"/>
                  </a:lnTo>
                  <a:lnTo>
                    <a:pt x="57" y="366"/>
                  </a:lnTo>
                  <a:close/>
                  <a:moveTo>
                    <a:pt x="147" y="366"/>
                  </a:moveTo>
                  <a:lnTo>
                    <a:pt x="145" y="366"/>
                  </a:lnTo>
                  <a:lnTo>
                    <a:pt x="147" y="366"/>
                  </a:lnTo>
                  <a:close/>
                  <a:moveTo>
                    <a:pt x="86" y="366"/>
                  </a:moveTo>
                  <a:lnTo>
                    <a:pt x="88" y="366"/>
                  </a:lnTo>
                  <a:lnTo>
                    <a:pt x="86" y="366"/>
                  </a:lnTo>
                  <a:close/>
                  <a:moveTo>
                    <a:pt x="78" y="366"/>
                  </a:moveTo>
                  <a:lnTo>
                    <a:pt x="76" y="366"/>
                  </a:lnTo>
                  <a:lnTo>
                    <a:pt x="78" y="366"/>
                  </a:lnTo>
                  <a:close/>
                  <a:moveTo>
                    <a:pt x="83" y="366"/>
                  </a:moveTo>
                  <a:lnTo>
                    <a:pt x="81" y="366"/>
                  </a:lnTo>
                  <a:lnTo>
                    <a:pt x="83" y="366"/>
                  </a:lnTo>
                  <a:close/>
                  <a:moveTo>
                    <a:pt x="62" y="366"/>
                  </a:moveTo>
                  <a:lnTo>
                    <a:pt x="59" y="366"/>
                  </a:lnTo>
                  <a:lnTo>
                    <a:pt x="62" y="366"/>
                  </a:lnTo>
                  <a:close/>
                  <a:moveTo>
                    <a:pt x="142" y="366"/>
                  </a:moveTo>
                  <a:lnTo>
                    <a:pt x="140" y="366"/>
                  </a:lnTo>
                  <a:lnTo>
                    <a:pt x="142" y="366"/>
                  </a:lnTo>
                  <a:close/>
                  <a:moveTo>
                    <a:pt x="64" y="366"/>
                  </a:moveTo>
                  <a:lnTo>
                    <a:pt x="62" y="366"/>
                  </a:lnTo>
                  <a:lnTo>
                    <a:pt x="64" y="366"/>
                  </a:lnTo>
                  <a:close/>
                  <a:moveTo>
                    <a:pt x="123" y="366"/>
                  </a:moveTo>
                  <a:lnTo>
                    <a:pt x="121" y="366"/>
                  </a:lnTo>
                  <a:lnTo>
                    <a:pt x="123" y="366"/>
                  </a:lnTo>
                  <a:close/>
                  <a:moveTo>
                    <a:pt x="147" y="366"/>
                  </a:moveTo>
                  <a:lnTo>
                    <a:pt x="145" y="366"/>
                  </a:lnTo>
                  <a:lnTo>
                    <a:pt x="147" y="366"/>
                  </a:lnTo>
                  <a:close/>
                  <a:moveTo>
                    <a:pt x="88" y="366"/>
                  </a:moveTo>
                  <a:lnTo>
                    <a:pt x="86" y="366"/>
                  </a:lnTo>
                  <a:lnTo>
                    <a:pt x="88" y="366"/>
                  </a:lnTo>
                  <a:lnTo>
                    <a:pt x="86" y="366"/>
                  </a:lnTo>
                  <a:lnTo>
                    <a:pt x="88" y="366"/>
                  </a:lnTo>
                  <a:close/>
                  <a:moveTo>
                    <a:pt x="138" y="366"/>
                  </a:moveTo>
                  <a:lnTo>
                    <a:pt x="135" y="366"/>
                  </a:lnTo>
                  <a:lnTo>
                    <a:pt x="138" y="366"/>
                  </a:lnTo>
                  <a:close/>
                  <a:moveTo>
                    <a:pt x="76" y="366"/>
                  </a:moveTo>
                  <a:lnTo>
                    <a:pt x="74" y="366"/>
                  </a:lnTo>
                  <a:lnTo>
                    <a:pt x="76" y="366"/>
                  </a:lnTo>
                  <a:close/>
                  <a:moveTo>
                    <a:pt x="76" y="366"/>
                  </a:moveTo>
                  <a:lnTo>
                    <a:pt x="76" y="364"/>
                  </a:lnTo>
                  <a:lnTo>
                    <a:pt x="76" y="366"/>
                  </a:lnTo>
                  <a:close/>
                  <a:moveTo>
                    <a:pt x="43" y="366"/>
                  </a:moveTo>
                  <a:lnTo>
                    <a:pt x="43" y="364"/>
                  </a:lnTo>
                  <a:lnTo>
                    <a:pt x="43" y="366"/>
                  </a:lnTo>
                  <a:close/>
                  <a:moveTo>
                    <a:pt x="81" y="366"/>
                  </a:moveTo>
                  <a:lnTo>
                    <a:pt x="81" y="364"/>
                  </a:lnTo>
                  <a:lnTo>
                    <a:pt x="81" y="366"/>
                  </a:lnTo>
                  <a:close/>
                  <a:moveTo>
                    <a:pt x="59" y="364"/>
                  </a:moveTo>
                  <a:lnTo>
                    <a:pt x="59" y="366"/>
                  </a:lnTo>
                  <a:lnTo>
                    <a:pt x="59" y="364"/>
                  </a:lnTo>
                  <a:close/>
                  <a:moveTo>
                    <a:pt x="121" y="366"/>
                  </a:moveTo>
                  <a:lnTo>
                    <a:pt x="121" y="364"/>
                  </a:lnTo>
                  <a:lnTo>
                    <a:pt x="121" y="366"/>
                  </a:lnTo>
                  <a:close/>
                  <a:moveTo>
                    <a:pt x="55" y="366"/>
                  </a:moveTo>
                  <a:lnTo>
                    <a:pt x="55" y="364"/>
                  </a:lnTo>
                  <a:lnTo>
                    <a:pt x="55" y="366"/>
                  </a:lnTo>
                  <a:close/>
                  <a:moveTo>
                    <a:pt x="31" y="364"/>
                  </a:moveTo>
                  <a:lnTo>
                    <a:pt x="31" y="366"/>
                  </a:lnTo>
                  <a:lnTo>
                    <a:pt x="31" y="364"/>
                  </a:lnTo>
                  <a:close/>
                  <a:moveTo>
                    <a:pt x="126" y="364"/>
                  </a:moveTo>
                  <a:lnTo>
                    <a:pt x="126" y="366"/>
                  </a:lnTo>
                  <a:lnTo>
                    <a:pt x="126" y="364"/>
                  </a:lnTo>
                  <a:close/>
                  <a:moveTo>
                    <a:pt x="133" y="366"/>
                  </a:moveTo>
                  <a:lnTo>
                    <a:pt x="133" y="364"/>
                  </a:lnTo>
                  <a:lnTo>
                    <a:pt x="133" y="366"/>
                  </a:lnTo>
                  <a:close/>
                  <a:moveTo>
                    <a:pt x="57" y="366"/>
                  </a:moveTo>
                  <a:lnTo>
                    <a:pt x="55" y="366"/>
                  </a:lnTo>
                  <a:lnTo>
                    <a:pt x="55" y="364"/>
                  </a:lnTo>
                  <a:lnTo>
                    <a:pt x="57" y="366"/>
                  </a:lnTo>
                  <a:close/>
                  <a:moveTo>
                    <a:pt x="133" y="364"/>
                  </a:moveTo>
                  <a:lnTo>
                    <a:pt x="133" y="366"/>
                  </a:lnTo>
                  <a:lnTo>
                    <a:pt x="133" y="364"/>
                  </a:lnTo>
                  <a:close/>
                  <a:moveTo>
                    <a:pt x="145" y="364"/>
                  </a:moveTo>
                  <a:lnTo>
                    <a:pt x="145" y="366"/>
                  </a:lnTo>
                  <a:lnTo>
                    <a:pt x="145" y="364"/>
                  </a:lnTo>
                  <a:close/>
                  <a:moveTo>
                    <a:pt x="43" y="366"/>
                  </a:moveTo>
                  <a:lnTo>
                    <a:pt x="43" y="364"/>
                  </a:lnTo>
                  <a:lnTo>
                    <a:pt x="43" y="366"/>
                  </a:lnTo>
                  <a:close/>
                  <a:moveTo>
                    <a:pt x="62" y="366"/>
                  </a:moveTo>
                  <a:lnTo>
                    <a:pt x="62" y="364"/>
                  </a:lnTo>
                  <a:lnTo>
                    <a:pt x="62" y="366"/>
                  </a:lnTo>
                  <a:close/>
                  <a:moveTo>
                    <a:pt x="55" y="366"/>
                  </a:moveTo>
                  <a:lnTo>
                    <a:pt x="55" y="364"/>
                  </a:lnTo>
                  <a:lnTo>
                    <a:pt x="55" y="366"/>
                  </a:lnTo>
                  <a:close/>
                  <a:moveTo>
                    <a:pt x="95" y="364"/>
                  </a:moveTo>
                  <a:lnTo>
                    <a:pt x="95" y="366"/>
                  </a:lnTo>
                  <a:lnTo>
                    <a:pt x="93" y="366"/>
                  </a:lnTo>
                  <a:lnTo>
                    <a:pt x="95" y="364"/>
                  </a:lnTo>
                  <a:close/>
                  <a:moveTo>
                    <a:pt x="76" y="366"/>
                  </a:moveTo>
                  <a:lnTo>
                    <a:pt x="74" y="366"/>
                  </a:lnTo>
                  <a:lnTo>
                    <a:pt x="76" y="364"/>
                  </a:lnTo>
                  <a:lnTo>
                    <a:pt x="76" y="366"/>
                  </a:lnTo>
                  <a:close/>
                  <a:moveTo>
                    <a:pt x="95" y="364"/>
                  </a:moveTo>
                  <a:lnTo>
                    <a:pt x="95" y="366"/>
                  </a:lnTo>
                  <a:lnTo>
                    <a:pt x="95" y="364"/>
                  </a:lnTo>
                  <a:close/>
                  <a:moveTo>
                    <a:pt x="145" y="366"/>
                  </a:moveTo>
                  <a:lnTo>
                    <a:pt x="145" y="364"/>
                  </a:lnTo>
                  <a:lnTo>
                    <a:pt x="145" y="366"/>
                  </a:lnTo>
                  <a:close/>
                  <a:moveTo>
                    <a:pt x="150" y="366"/>
                  </a:moveTo>
                  <a:lnTo>
                    <a:pt x="150" y="364"/>
                  </a:lnTo>
                  <a:lnTo>
                    <a:pt x="150" y="366"/>
                  </a:lnTo>
                  <a:close/>
                  <a:moveTo>
                    <a:pt x="52" y="364"/>
                  </a:moveTo>
                  <a:lnTo>
                    <a:pt x="52" y="366"/>
                  </a:lnTo>
                  <a:lnTo>
                    <a:pt x="52" y="364"/>
                  </a:lnTo>
                  <a:lnTo>
                    <a:pt x="52" y="366"/>
                  </a:lnTo>
                  <a:lnTo>
                    <a:pt x="52" y="364"/>
                  </a:lnTo>
                  <a:close/>
                  <a:moveTo>
                    <a:pt x="100" y="364"/>
                  </a:moveTo>
                  <a:lnTo>
                    <a:pt x="100" y="366"/>
                  </a:lnTo>
                  <a:lnTo>
                    <a:pt x="100" y="364"/>
                  </a:lnTo>
                  <a:close/>
                  <a:moveTo>
                    <a:pt x="150" y="366"/>
                  </a:moveTo>
                  <a:lnTo>
                    <a:pt x="150" y="364"/>
                  </a:lnTo>
                  <a:lnTo>
                    <a:pt x="150" y="366"/>
                  </a:lnTo>
                  <a:close/>
                  <a:moveTo>
                    <a:pt x="109" y="366"/>
                  </a:moveTo>
                  <a:lnTo>
                    <a:pt x="109" y="364"/>
                  </a:lnTo>
                  <a:lnTo>
                    <a:pt x="109" y="366"/>
                  </a:lnTo>
                  <a:close/>
                  <a:moveTo>
                    <a:pt x="133" y="364"/>
                  </a:moveTo>
                  <a:lnTo>
                    <a:pt x="133" y="366"/>
                  </a:lnTo>
                  <a:lnTo>
                    <a:pt x="133" y="364"/>
                  </a:lnTo>
                  <a:close/>
                  <a:moveTo>
                    <a:pt x="107" y="364"/>
                  </a:moveTo>
                  <a:lnTo>
                    <a:pt x="107" y="366"/>
                  </a:lnTo>
                  <a:lnTo>
                    <a:pt x="107" y="364"/>
                  </a:lnTo>
                  <a:close/>
                  <a:moveTo>
                    <a:pt x="97" y="364"/>
                  </a:moveTo>
                  <a:lnTo>
                    <a:pt x="95" y="364"/>
                  </a:lnTo>
                  <a:lnTo>
                    <a:pt x="97" y="364"/>
                  </a:lnTo>
                  <a:close/>
                  <a:moveTo>
                    <a:pt x="62" y="366"/>
                  </a:moveTo>
                  <a:lnTo>
                    <a:pt x="62" y="364"/>
                  </a:lnTo>
                  <a:lnTo>
                    <a:pt x="62" y="366"/>
                  </a:lnTo>
                  <a:close/>
                  <a:moveTo>
                    <a:pt x="95" y="364"/>
                  </a:moveTo>
                  <a:lnTo>
                    <a:pt x="93" y="364"/>
                  </a:lnTo>
                  <a:lnTo>
                    <a:pt x="95" y="364"/>
                  </a:lnTo>
                  <a:close/>
                  <a:moveTo>
                    <a:pt x="147" y="364"/>
                  </a:moveTo>
                  <a:lnTo>
                    <a:pt x="145" y="364"/>
                  </a:lnTo>
                  <a:lnTo>
                    <a:pt x="147" y="364"/>
                  </a:lnTo>
                  <a:close/>
                  <a:moveTo>
                    <a:pt x="97" y="364"/>
                  </a:moveTo>
                  <a:lnTo>
                    <a:pt x="95" y="364"/>
                  </a:lnTo>
                  <a:lnTo>
                    <a:pt x="97" y="364"/>
                  </a:lnTo>
                  <a:close/>
                  <a:moveTo>
                    <a:pt x="107" y="364"/>
                  </a:moveTo>
                  <a:lnTo>
                    <a:pt x="104" y="364"/>
                  </a:lnTo>
                  <a:lnTo>
                    <a:pt x="107" y="364"/>
                  </a:lnTo>
                  <a:close/>
                  <a:moveTo>
                    <a:pt x="102" y="364"/>
                  </a:moveTo>
                  <a:lnTo>
                    <a:pt x="100" y="364"/>
                  </a:lnTo>
                  <a:lnTo>
                    <a:pt x="102" y="364"/>
                  </a:lnTo>
                  <a:close/>
                  <a:moveTo>
                    <a:pt x="88" y="364"/>
                  </a:moveTo>
                  <a:lnTo>
                    <a:pt x="86" y="364"/>
                  </a:lnTo>
                  <a:lnTo>
                    <a:pt x="88" y="364"/>
                  </a:lnTo>
                  <a:lnTo>
                    <a:pt x="86" y="364"/>
                  </a:lnTo>
                  <a:lnTo>
                    <a:pt x="88" y="364"/>
                  </a:lnTo>
                  <a:close/>
                  <a:moveTo>
                    <a:pt x="26" y="364"/>
                  </a:moveTo>
                  <a:lnTo>
                    <a:pt x="24" y="364"/>
                  </a:lnTo>
                  <a:lnTo>
                    <a:pt x="26" y="364"/>
                  </a:lnTo>
                  <a:close/>
                  <a:moveTo>
                    <a:pt x="150" y="364"/>
                  </a:moveTo>
                  <a:lnTo>
                    <a:pt x="147" y="364"/>
                  </a:lnTo>
                  <a:lnTo>
                    <a:pt x="150" y="364"/>
                  </a:lnTo>
                  <a:close/>
                  <a:moveTo>
                    <a:pt x="29" y="364"/>
                  </a:moveTo>
                  <a:lnTo>
                    <a:pt x="26" y="364"/>
                  </a:lnTo>
                  <a:lnTo>
                    <a:pt x="29" y="364"/>
                  </a:lnTo>
                  <a:close/>
                  <a:moveTo>
                    <a:pt x="67" y="364"/>
                  </a:moveTo>
                  <a:lnTo>
                    <a:pt x="64" y="364"/>
                  </a:lnTo>
                  <a:lnTo>
                    <a:pt x="67" y="364"/>
                  </a:lnTo>
                  <a:close/>
                  <a:moveTo>
                    <a:pt x="102" y="364"/>
                  </a:moveTo>
                  <a:lnTo>
                    <a:pt x="100" y="364"/>
                  </a:lnTo>
                  <a:lnTo>
                    <a:pt x="102" y="364"/>
                  </a:lnTo>
                  <a:close/>
                  <a:moveTo>
                    <a:pt x="83" y="364"/>
                  </a:moveTo>
                  <a:lnTo>
                    <a:pt x="81" y="364"/>
                  </a:lnTo>
                  <a:lnTo>
                    <a:pt x="83" y="364"/>
                  </a:lnTo>
                  <a:close/>
                  <a:moveTo>
                    <a:pt x="55" y="364"/>
                  </a:moveTo>
                  <a:lnTo>
                    <a:pt x="52" y="364"/>
                  </a:lnTo>
                  <a:lnTo>
                    <a:pt x="55" y="364"/>
                  </a:lnTo>
                  <a:close/>
                  <a:moveTo>
                    <a:pt x="64" y="364"/>
                  </a:moveTo>
                  <a:lnTo>
                    <a:pt x="62" y="364"/>
                  </a:lnTo>
                  <a:lnTo>
                    <a:pt x="64" y="364"/>
                  </a:lnTo>
                  <a:close/>
                  <a:moveTo>
                    <a:pt x="104" y="364"/>
                  </a:moveTo>
                  <a:lnTo>
                    <a:pt x="102" y="364"/>
                  </a:lnTo>
                  <a:lnTo>
                    <a:pt x="104" y="364"/>
                  </a:lnTo>
                  <a:close/>
                  <a:moveTo>
                    <a:pt x="78" y="364"/>
                  </a:moveTo>
                  <a:lnTo>
                    <a:pt x="76" y="364"/>
                  </a:lnTo>
                  <a:lnTo>
                    <a:pt x="78" y="364"/>
                  </a:lnTo>
                  <a:close/>
                  <a:moveTo>
                    <a:pt x="83" y="364"/>
                  </a:moveTo>
                  <a:lnTo>
                    <a:pt x="81" y="364"/>
                  </a:lnTo>
                  <a:lnTo>
                    <a:pt x="83" y="364"/>
                  </a:lnTo>
                  <a:close/>
                  <a:moveTo>
                    <a:pt x="76" y="364"/>
                  </a:moveTo>
                  <a:lnTo>
                    <a:pt x="78" y="364"/>
                  </a:lnTo>
                  <a:lnTo>
                    <a:pt x="76" y="364"/>
                  </a:lnTo>
                  <a:close/>
                  <a:moveTo>
                    <a:pt x="133" y="364"/>
                  </a:moveTo>
                  <a:lnTo>
                    <a:pt x="131" y="364"/>
                  </a:lnTo>
                  <a:lnTo>
                    <a:pt x="133" y="364"/>
                  </a:lnTo>
                  <a:close/>
                  <a:moveTo>
                    <a:pt x="145" y="364"/>
                  </a:moveTo>
                  <a:lnTo>
                    <a:pt x="142" y="364"/>
                  </a:lnTo>
                  <a:lnTo>
                    <a:pt x="145" y="364"/>
                  </a:lnTo>
                  <a:close/>
                  <a:moveTo>
                    <a:pt x="150" y="364"/>
                  </a:moveTo>
                  <a:lnTo>
                    <a:pt x="147" y="364"/>
                  </a:lnTo>
                  <a:lnTo>
                    <a:pt x="150" y="364"/>
                  </a:lnTo>
                  <a:close/>
                  <a:moveTo>
                    <a:pt x="78" y="364"/>
                  </a:moveTo>
                  <a:lnTo>
                    <a:pt x="76" y="364"/>
                  </a:lnTo>
                  <a:lnTo>
                    <a:pt x="78" y="364"/>
                  </a:lnTo>
                  <a:close/>
                  <a:moveTo>
                    <a:pt x="57" y="364"/>
                  </a:moveTo>
                  <a:lnTo>
                    <a:pt x="55" y="364"/>
                  </a:lnTo>
                  <a:lnTo>
                    <a:pt x="57" y="364"/>
                  </a:lnTo>
                  <a:close/>
                  <a:moveTo>
                    <a:pt x="107" y="364"/>
                  </a:moveTo>
                  <a:lnTo>
                    <a:pt x="104" y="364"/>
                  </a:lnTo>
                  <a:lnTo>
                    <a:pt x="107" y="364"/>
                  </a:lnTo>
                  <a:close/>
                  <a:moveTo>
                    <a:pt x="29" y="364"/>
                  </a:moveTo>
                  <a:lnTo>
                    <a:pt x="26" y="364"/>
                  </a:lnTo>
                  <a:lnTo>
                    <a:pt x="29" y="364"/>
                  </a:lnTo>
                  <a:close/>
                  <a:moveTo>
                    <a:pt x="126" y="364"/>
                  </a:moveTo>
                  <a:lnTo>
                    <a:pt x="123" y="364"/>
                  </a:lnTo>
                  <a:lnTo>
                    <a:pt x="126" y="364"/>
                  </a:lnTo>
                  <a:close/>
                  <a:moveTo>
                    <a:pt x="78" y="364"/>
                  </a:moveTo>
                  <a:lnTo>
                    <a:pt x="76" y="364"/>
                  </a:lnTo>
                  <a:lnTo>
                    <a:pt x="78" y="364"/>
                  </a:lnTo>
                  <a:close/>
                  <a:moveTo>
                    <a:pt x="59" y="364"/>
                  </a:moveTo>
                  <a:lnTo>
                    <a:pt x="57" y="364"/>
                  </a:lnTo>
                  <a:lnTo>
                    <a:pt x="59" y="364"/>
                  </a:lnTo>
                  <a:close/>
                  <a:moveTo>
                    <a:pt x="154" y="364"/>
                  </a:moveTo>
                  <a:lnTo>
                    <a:pt x="152" y="364"/>
                  </a:lnTo>
                  <a:lnTo>
                    <a:pt x="154" y="364"/>
                  </a:lnTo>
                  <a:close/>
                  <a:moveTo>
                    <a:pt x="43" y="364"/>
                  </a:moveTo>
                  <a:lnTo>
                    <a:pt x="40" y="364"/>
                  </a:lnTo>
                  <a:lnTo>
                    <a:pt x="43" y="364"/>
                  </a:lnTo>
                  <a:close/>
                  <a:moveTo>
                    <a:pt x="38" y="364"/>
                  </a:moveTo>
                  <a:lnTo>
                    <a:pt x="36" y="364"/>
                  </a:lnTo>
                  <a:lnTo>
                    <a:pt x="38" y="364"/>
                  </a:lnTo>
                  <a:close/>
                  <a:moveTo>
                    <a:pt x="154" y="364"/>
                  </a:moveTo>
                  <a:lnTo>
                    <a:pt x="152" y="364"/>
                  </a:lnTo>
                  <a:lnTo>
                    <a:pt x="154" y="364"/>
                  </a:lnTo>
                  <a:close/>
                  <a:moveTo>
                    <a:pt x="57" y="364"/>
                  </a:moveTo>
                  <a:lnTo>
                    <a:pt x="55" y="364"/>
                  </a:lnTo>
                  <a:lnTo>
                    <a:pt x="57" y="364"/>
                  </a:lnTo>
                  <a:close/>
                  <a:moveTo>
                    <a:pt x="114" y="364"/>
                  </a:moveTo>
                  <a:lnTo>
                    <a:pt x="112" y="364"/>
                  </a:lnTo>
                  <a:lnTo>
                    <a:pt x="114" y="364"/>
                  </a:lnTo>
                  <a:close/>
                  <a:moveTo>
                    <a:pt x="154" y="364"/>
                  </a:moveTo>
                  <a:lnTo>
                    <a:pt x="152" y="364"/>
                  </a:lnTo>
                  <a:lnTo>
                    <a:pt x="154" y="364"/>
                  </a:lnTo>
                  <a:close/>
                  <a:moveTo>
                    <a:pt x="59" y="364"/>
                  </a:moveTo>
                  <a:lnTo>
                    <a:pt x="57" y="364"/>
                  </a:lnTo>
                  <a:lnTo>
                    <a:pt x="59" y="364"/>
                  </a:lnTo>
                  <a:close/>
                  <a:moveTo>
                    <a:pt x="43" y="364"/>
                  </a:moveTo>
                  <a:lnTo>
                    <a:pt x="40" y="364"/>
                  </a:lnTo>
                  <a:lnTo>
                    <a:pt x="43" y="364"/>
                  </a:lnTo>
                  <a:close/>
                  <a:moveTo>
                    <a:pt x="57" y="364"/>
                  </a:moveTo>
                  <a:lnTo>
                    <a:pt x="55" y="364"/>
                  </a:lnTo>
                  <a:lnTo>
                    <a:pt x="57" y="364"/>
                  </a:lnTo>
                  <a:close/>
                  <a:moveTo>
                    <a:pt x="33" y="364"/>
                  </a:moveTo>
                  <a:lnTo>
                    <a:pt x="36" y="364"/>
                  </a:lnTo>
                  <a:lnTo>
                    <a:pt x="33" y="364"/>
                  </a:lnTo>
                  <a:close/>
                  <a:moveTo>
                    <a:pt x="62" y="364"/>
                  </a:moveTo>
                  <a:lnTo>
                    <a:pt x="59" y="364"/>
                  </a:lnTo>
                  <a:lnTo>
                    <a:pt x="62" y="364"/>
                  </a:lnTo>
                  <a:close/>
                  <a:moveTo>
                    <a:pt x="95" y="364"/>
                  </a:moveTo>
                  <a:lnTo>
                    <a:pt x="95" y="361"/>
                  </a:lnTo>
                  <a:lnTo>
                    <a:pt x="95" y="364"/>
                  </a:lnTo>
                  <a:close/>
                  <a:moveTo>
                    <a:pt x="81" y="364"/>
                  </a:moveTo>
                  <a:lnTo>
                    <a:pt x="81" y="361"/>
                  </a:lnTo>
                  <a:lnTo>
                    <a:pt x="81" y="364"/>
                  </a:lnTo>
                  <a:close/>
                  <a:moveTo>
                    <a:pt x="112" y="364"/>
                  </a:moveTo>
                  <a:lnTo>
                    <a:pt x="112" y="361"/>
                  </a:lnTo>
                  <a:lnTo>
                    <a:pt x="112" y="364"/>
                  </a:lnTo>
                  <a:close/>
                  <a:moveTo>
                    <a:pt x="64" y="364"/>
                  </a:moveTo>
                  <a:lnTo>
                    <a:pt x="64" y="361"/>
                  </a:lnTo>
                  <a:lnTo>
                    <a:pt x="64" y="364"/>
                  </a:lnTo>
                  <a:close/>
                  <a:moveTo>
                    <a:pt x="95" y="364"/>
                  </a:moveTo>
                  <a:lnTo>
                    <a:pt x="95" y="361"/>
                  </a:lnTo>
                  <a:lnTo>
                    <a:pt x="95" y="364"/>
                  </a:lnTo>
                  <a:close/>
                  <a:moveTo>
                    <a:pt x="114" y="361"/>
                  </a:moveTo>
                  <a:lnTo>
                    <a:pt x="114" y="364"/>
                  </a:lnTo>
                  <a:lnTo>
                    <a:pt x="112" y="364"/>
                  </a:lnTo>
                  <a:lnTo>
                    <a:pt x="114" y="361"/>
                  </a:lnTo>
                  <a:close/>
                  <a:moveTo>
                    <a:pt x="150" y="364"/>
                  </a:moveTo>
                  <a:lnTo>
                    <a:pt x="150" y="361"/>
                  </a:lnTo>
                  <a:lnTo>
                    <a:pt x="150" y="364"/>
                  </a:lnTo>
                  <a:close/>
                  <a:moveTo>
                    <a:pt x="152" y="364"/>
                  </a:moveTo>
                  <a:lnTo>
                    <a:pt x="152" y="361"/>
                  </a:lnTo>
                  <a:lnTo>
                    <a:pt x="152" y="364"/>
                  </a:lnTo>
                  <a:close/>
                  <a:moveTo>
                    <a:pt x="152" y="361"/>
                  </a:moveTo>
                  <a:lnTo>
                    <a:pt x="152" y="364"/>
                  </a:lnTo>
                  <a:lnTo>
                    <a:pt x="152" y="361"/>
                  </a:lnTo>
                  <a:close/>
                  <a:moveTo>
                    <a:pt x="57" y="364"/>
                  </a:moveTo>
                  <a:lnTo>
                    <a:pt x="57" y="361"/>
                  </a:lnTo>
                  <a:lnTo>
                    <a:pt x="57" y="364"/>
                  </a:lnTo>
                  <a:close/>
                  <a:moveTo>
                    <a:pt x="59" y="361"/>
                  </a:moveTo>
                  <a:lnTo>
                    <a:pt x="59" y="364"/>
                  </a:lnTo>
                  <a:lnTo>
                    <a:pt x="59" y="361"/>
                  </a:lnTo>
                  <a:close/>
                  <a:moveTo>
                    <a:pt x="169" y="361"/>
                  </a:moveTo>
                  <a:lnTo>
                    <a:pt x="169" y="364"/>
                  </a:lnTo>
                  <a:lnTo>
                    <a:pt x="169" y="361"/>
                  </a:lnTo>
                  <a:close/>
                  <a:moveTo>
                    <a:pt x="59" y="361"/>
                  </a:moveTo>
                  <a:lnTo>
                    <a:pt x="59" y="364"/>
                  </a:lnTo>
                  <a:lnTo>
                    <a:pt x="59" y="361"/>
                  </a:lnTo>
                  <a:close/>
                  <a:moveTo>
                    <a:pt x="102" y="361"/>
                  </a:moveTo>
                  <a:lnTo>
                    <a:pt x="102" y="364"/>
                  </a:lnTo>
                  <a:lnTo>
                    <a:pt x="102" y="361"/>
                  </a:lnTo>
                  <a:close/>
                  <a:moveTo>
                    <a:pt x="55" y="364"/>
                  </a:moveTo>
                  <a:lnTo>
                    <a:pt x="55" y="361"/>
                  </a:lnTo>
                  <a:lnTo>
                    <a:pt x="57" y="361"/>
                  </a:lnTo>
                  <a:lnTo>
                    <a:pt x="55" y="364"/>
                  </a:lnTo>
                  <a:close/>
                  <a:moveTo>
                    <a:pt x="57" y="361"/>
                  </a:moveTo>
                  <a:lnTo>
                    <a:pt x="57" y="364"/>
                  </a:lnTo>
                  <a:lnTo>
                    <a:pt x="57" y="361"/>
                  </a:lnTo>
                  <a:close/>
                  <a:moveTo>
                    <a:pt x="169" y="361"/>
                  </a:moveTo>
                  <a:lnTo>
                    <a:pt x="169" y="364"/>
                  </a:lnTo>
                  <a:lnTo>
                    <a:pt x="169" y="361"/>
                  </a:lnTo>
                  <a:close/>
                  <a:moveTo>
                    <a:pt x="76" y="361"/>
                  </a:moveTo>
                  <a:lnTo>
                    <a:pt x="76" y="364"/>
                  </a:lnTo>
                  <a:lnTo>
                    <a:pt x="76" y="361"/>
                  </a:lnTo>
                  <a:close/>
                  <a:moveTo>
                    <a:pt x="154" y="361"/>
                  </a:moveTo>
                  <a:lnTo>
                    <a:pt x="154" y="364"/>
                  </a:lnTo>
                  <a:lnTo>
                    <a:pt x="154" y="361"/>
                  </a:lnTo>
                  <a:close/>
                  <a:moveTo>
                    <a:pt x="67" y="361"/>
                  </a:moveTo>
                  <a:lnTo>
                    <a:pt x="67" y="364"/>
                  </a:lnTo>
                  <a:lnTo>
                    <a:pt x="67" y="361"/>
                  </a:lnTo>
                  <a:close/>
                  <a:moveTo>
                    <a:pt x="83" y="361"/>
                  </a:moveTo>
                  <a:lnTo>
                    <a:pt x="83" y="364"/>
                  </a:lnTo>
                  <a:lnTo>
                    <a:pt x="83" y="361"/>
                  </a:lnTo>
                  <a:close/>
                  <a:moveTo>
                    <a:pt x="43" y="361"/>
                  </a:moveTo>
                  <a:lnTo>
                    <a:pt x="40" y="361"/>
                  </a:lnTo>
                  <a:lnTo>
                    <a:pt x="43" y="361"/>
                  </a:lnTo>
                  <a:close/>
                  <a:moveTo>
                    <a:pt x="114" y="361"/>
                  </a:moveTo>
                  <a:lnTo>
                    <a:pt x="114" y="364"/>
                  </a:lnTo>
                  <a:lnTo>
                    <a:pt x="114" y="361"/>
                  </a:lnTo>
                  <a:close/>
                  <a:moveTo>
                    <a:pt x="43" y="361"/>
                  </a:moveTo>
                  <a:lnTo>
                    <a:pt x="45" y="361"/>
                  </a:lnTo>
                  <a:lnTo>
                    <a:pt x="43" y="361"/>
                  </a:lnTo>
                  <a:close/>
                  <a:moveTo>
                    <a:pt x="76" y="361"/>
                  </a:moveTo>
                  <a:lnTo>
                    <a:pt x="76" y="364"/>
                  </a:lnTo>
                  <a:lnTo>
                    <a:pt x="76" y="361"/>
                  </a:lnTo>
                  <a:close/>
                  <a:moveTo>
                    <a:pt x="154" y="361"/>
                  </a:moveTo>
                  <a:lnTo>
                    <a:pt x="152" y="361"/>
                  </a:lnTo>
                  <a:lnTo>
                    <a:pt x="154" y="361"/>
                  </a:lnTo>
                  <a:close/>
                  <a:moveTo>
                    <a:pt x="57" y="361"/>
                  </a:moveTo>
                  <a:lnTo>
                    <a:pt x="55" y="361"/>
                  </a:lnTo>
                  <a:lnTo>
                    <a:pt x="57" y="361"/>
                  </a:lnTo>
                  <a:close/>
                  <a:moveTo>
                    <a:pt x="59" y="361"/>
                  </a:moveTo>
                  <a:lnTo>
                    <a:pt x="57" y="361"/>
                  </a:lnTo>
                  <a:lnTo>
                    <a:pt x="59" y="361"/>
                  </a:lnTo>
                  <a:close/>
                  <a:moveTo>
                    <a:pt x="83" y="361"/>
                  </a:moveTo>
                  <a:lnTo>
                    <a:pt x="81" y="361"/>
                  </a:lnTo>
                  <a:lnTo>
                    <a:pt x="83" y="361"/>
                  </a:lnTo>
                  <a:close/>
                  <a:moveTo>
                    <a:pt x="33" y="361"/>
                  </a:moveTo>
                  <a:lnTo>
                    <a:pt x="31" y="361"/>
                  </a:lnTo>
                  <a:lnTo>
                    <a:pt x="33" y="361"/>
                  </a:lnTo>
                  <a:close/>
                  <a:moveTo>
                    <a:pt x="67" y="361"/>
                  </a:moveTo>
                  <a:lnTo>
                    <a:pt x="64" y="361"/>
                  </a:lnTo>
                  <a:lnTo>
                    <a:pt x="67" y="361"/>
                  </a:lnTo>
                  <a:close/>
                  <a:moveTo>
                    <a:pt x="43" y="361"/>
                  </a:moveTo>
                  <a:lnTo>
                    <a:pt x="40" y="361"/>
                  </a:lnTo>
                  <a:lnTo>
                    <a:pt x="43" y="361"/>
                  </a:lnTo>
                  <a:close/>
                  <a:moveTo>
                    <a:pt x="171" y="361"/>
                  </a:moveTo>
                  <a:lnTo>
                    <a:pt x="169" y="361"/>
                  </a:lnTo>
                  <a:lnTo>
                    <a:pt x="171" y="361"/>
                  </a:lnTo>
                  <a:close/>
                  <a:moveTo>
                    <a:pt x="57" y="361"/>
                  </a:moveTo>
                  <a:lnTo>
                    <a:pt x="55" y="361"/>
                  </a:lnTo>
                  <a:lnTo>
                    <a:pt x="57" y="361"/>
                  </a:lnTo>
                  <a:close/>
                  <a:moveTo>
                    <a:pt x="74" y="361"/>
                  </a:moveTo>
                  <a:lnTo>
                    <a:pt x="71" y="361"/>
                  </a:lnTo>
                  <a:lnTo>
                    <a:pt x="74" y="361"/>
                  </a:lnTo>
                  <a:close/>
                  <a:moveTo>
                    <a:pt x="83" y="361"/>
                  </a:moveTo>
                  <a:lnTo>
                    <a:pt x="81" y="361"/>
                  </a:lnTo>
                  <a:lnTo>
                    <a:pt x="83" y="361"/>
                  </a:lnTo>
                  <a:close/>
                  <a:moveTo>
                    <a:pt x="86" y="361"/>
                  </a:moveTo>
                  <a:lnTo>
                    <a:pt x="83" y="361"/>
                  </a:lnTo>
                  <a:lnTo>
                    <a:pt x="86" y="361"/>
                  </a:lnTo>
                  <a:close/>
                  <a:moveTo>
                    <a:pt x="86" y="361"/>
                  </a:moveTo>
                  <a:lnTo>
                    <a:pt x="83" y="361"/>
                  </a:lnTo>
                  <a:lnTo>
                    <a:pt x="86" y="361"/>
                  </a:lnTo>
                  <a:close/>
                  <a:moveTo>
                    <a:pt x="114" y="361"/>
                  </a:moveTo>
                  <a:lnTo>
                    <a:pt x="112" y="361"/>
                  </a:lnTo>
                  <a:lnTo>
                    <a:pt x="114" y="361"/>
                  </a:lnTo>
                  <a:close/>
                  <a:moveTo>
                    <a:pt x="55" y="361"/>
                  </a:moveTo>
                  <a:lnTo>
                    <a:pt x="57" y="361"/>
                  </a:lnTo>
                  <a:lnTo>
                    <a:pt x="55" y="361"/>
                  </a:lnTo>
                  <a:close/>
                  <a:moveTo>
                    <a:pt x="67" y="361"/>
                  </a:moveTo>
                  <a:lnTo>
                    <a:pt x="64" y="361"/>
                  </a:lnTo>
                  <a:lnTo>
                    <a:pt x="67" y="361"/>
                  </a:lnTo>
                  <a:close/>
                  <a:moveTo>
                    <a:pt x="97" y="361"/>
                  </a:moveTo>
                  <a:lnTo>
                    <a:pt x="100" y="361"/>
                  </a:lnTo>
                  <a:lnTo>
                    <a:pt x="97" y="361"/>
                  </a:lnTo>
                  <a:close/>
                  <a:moveTo>
                    <a:pt x="102" y="361"/>
                  </a:moveTo>
                  <a:lnTo>
                    <a:pt x="100" y="361"/>
                  </a:lnTo>
                  <a:lnTo>
                    <a:pt x="102" y="361"/>
                  </a:lnTo>
                  <a:close/>
                  <a:moveTo>
                    <a:pt x="64" y="361"/>
                  </a:moveTo>
                  <a:lnTo>
                    <a:pt x="62" y="361"/>
                  </a:lnTo>
                  <a:lnTo>
                    <a:pt x="64" y="361"/>
                  </a:lnTo>
                  <a:close/>
                  <a:moveTo>
                    <a:pt x="114" y="361"/>
                  </a:moveTo>
                  <a:lnTo>
                    <a:pt x="112" y="361"/>
                  </a:lnTo>
                  <a:lnTo>
                    <a:pt x="114" y="361"/>
                  </a:lnTo>
                  <a:close/>
                  <a:moveTo>
                    <a:pt x="64" y="361"/>
                  </a:moveTo>
                  <a:lnTo>
                    <a:pt x="62" y="361"/>
                  </a:lnTo>
                  <a:lnTo>
                    <a:pt x="64" y="361"/>
                  </a:lnTo>
                  <a:close/>
                  <a:moveTo>
                    <a:pt x="78" y="361"/>
                  </a:moveTo>
                  <a:lnTo>
                    <a:pt x="76" y="361"/>
                  </a:lnTo>
                  <a:lnTo>
                    <a:pt x="78" y="361"/>
                  </a:lnTo>
                  <a:close/>
                  <a:moveTo>
                    <a:pt x="93" y="361"/>
                  </a:moveTo>
                  <a:lnTo>
                    <a:pt x="90" y="361"/>
                  </a:lnTo>
                  <a:lnTo>
                    <a:pt x="93" y="361"/>
                  </a:lnTo>
                  <a:close/>
                  <a:moveTo>
                    <a:pt x="40" y="361"/>
                  </a:moveTo>
                  <a:lnTo>
                    <a:pt x="38" y="361"/>
                  </a:lnTo>
                  <a:lnTo>
                    <a:pt x="40" y="361"/>
                  </a:lnTo>
                  <a:close/>
                  <a:moveTo>
                    <a:pt x="64" y="361"/>
                  </a:moveTo>
                  <a:lnTo>
                    <a:pt x="62" y="361"/>
                  </a:lnTo>
                  <a:lnTo>
                    <a:pt x="64" y="361"/>
                  </a:lnTo>
                  <a:close/>
                  <a:moveTo>
                    <a:pt x="67" y="361"/>
                  </a:moveTo>
                  <a:lnTo>
                    <a:pt x="64" y="361"/>
                  </a:lnTo>
                  <a:lnTo>
                    <a:pt x="67" y="361"/>
                  </a:lnTo>
                  <a:close/>
                  <a:moveTo>
                    <a:pt x="169" y="361"/>
                  </a:moveTo>
                  <a:lnTo>
                    <a:pt x="171" y="361"/>
                  </a:lnTo>
                  <a:lnTo>
                    <a:pt x="169" y="361"/>
                  </a:lnTo>
                  <a:close/>
                  <a:moveTo>
                    <a:pt x="26" y="361"/>
                  </a:moveTo>
                  <a:lnTo>
                    <a:pt x="24" y="361"/>
                  </a:lnTo>
                  <a:lnTo>
                    <a:pt x="26" y="361"/>
                  </a:lnTo>
                  <a:close/>
                  <a:moveTo>
                    <a:pt x="100" y="361"/>
                  </a:moveTo>
                  <a:lnTo>
                    <a:pt x="97" y="361"/>
                  </a:lnTo>
                  <a:lnTo>
                    <a:pt x="100" y="361"/>
                  </a:lnTo>
                  <a:close/>
                  <a:moveTo>
                    <a:pt x="171" y="361"/>
                  </a:moveTo>
                  <a:lnTo>
                    <a:pt x="173" y="361"/>
                  </a:lnTo>
                  <a:lnTo>
                    <a:pt x="171" y="361"/>
                  </a:lnTo>
                  <a:close/>
                  <a:moveTo>
                    <a:pt x="123" y="361"/>
                  </a:moveTo>
                  <a:lnTo>
                    <a:pt x="123" y="359"/>
                  </a:lnTo>
                  <a:lnTo>
                    <a:pt x="123" y="361"/>
                  </a:lnTo>
                  <a:close/>
                  <a:moveTo>
                    <a:pt x="62" y="361"/>
                  </a:moveTo>
                  <a:lnTo>
                    <a:pt x="62" y="359"/>
                  </a:lnTo>
                  <a:lnTo>
                    <a:pt x="62" y="361"/>
                  </a:lnTo>
                  <a:close/>
                  <a:moveTo>
                    <a:pt x="71" y="361"/>
                  </a:moveTo>
                  <a:lnTo>
                    <a:pt x="71" y="359"/>
                  </a:lnTo>
                  <a:lnTo>
                    <a:pt x="71" y="361"/>
                  </a:lnTo>
                  <a:close/>
                  <a:moveTo>
                    <a:pt x="78" y="361"/>
                  </a:moveTo>
                  <a:lnTo>
                    <a:pt x="78" y="359"/>
                  </a:lnTo>
                  <a:lnTo>
                    <a:pt x="78" y="361"/>
                  </a:lnTo>
                  <a:close/>
                  <a:moveTo>
                    <a:pt x="24" y="361"/>
                  </a:moveTo>
                  <a:lnTo>
                    <a:pt x="24" y="359"/>
                  </a:lnTo>
                  <a:lnTo>
                    <a:pt x="24" y="361"/>
                  </a:lnTo>
                  <a:close/>
                  <a:moveTo>
                    <a:pt x="159" y="361"/>
                  </a:moveTo>
                  <a:lnTo>
                    <a:pt x="159" y="359"/>
                  </a:lnTo>
                  <a:lnTo>
                    <a:pt x="159" y="361"/>
                  </a:lnTo>
                  <a:close/>
                  <a:moveTo>
                    <a:pt x="50" y="361"/>
                  </a:moveTo>
                  <a:lnTo>
                    <a:pt x="50" y="359"/>
                  </a:lnTo>
                  <a:lnTo>
                    <a:pt x="50" y="361"/>
                  </a:lnTo>
                  <a:close/>
                  <a:moveTo>
                    <a:pt x="48" y="361"/>
                  </a:moveTo>
                  <a:lnTo>
                    <a:pt x="48" y="359"/>
                  </a:lnTo>
                  <a:lnTo>
                    <a:pt x="48" y="361"/>
                  </a:lnTo>
                  <a:close/>
                  <a:moveTo>
                    <a:pt x="52" y="361"/>
                  </a:moveTo>
                  <a:lnTo>
                    <a:pt x="52" y="359"/>
                  </a:lnTo>
                  <a:lnTo>
                    <a:pt x="52" y="361"/>
                  </a:lnTo>
                  <a:close/>
                  <a:moveTo>
                    <a:pt x="93" y="361"/>
                  </a:moveTo>
                  <a:lnTo>
                    <a:pt x="93" y="359"/>
                  </a:lnTo>
                  <a:lnTo>
                    <a:pt x="93" y="361"/>
                  </a:lnTo>
                  <a:close/>
                  <a:moveTo>
                    <a:pt x="50" y="361"/>
                  </a:moveTo>
                  <a:lnTo>
                    <a:pt x="50" y="359"/>
                  </a:lnTo>
                  <a:lnTo>
                    <a:pt x="50" y="361"/>
                  </a:lnTo>
                  <a:close/>
                  <a:moveTo>
                    <a:pt x="86" y="359"/>
                  </a:moveTo>
                  <a:lnTo>
                    <a:pt x="86" y="361"/>
                  </a:lnTo>
                  <a:lnTo>
                    <a:pt x="86" y="359"/>
                  </a:lnTo>
                  <a:close/>
                  <a:moveTo>
                    <a:pt x="81" y="359"/>
                  </a:moveTo>
                  <a:lnTo>
                    <a:pt x="81" y="361"/>
                  </a:lnTo>
                  <a:lnTo>
                    <a:pt x="81" y="359"/>
                  </a:lnTo>
                  <a:close/>
                  <a:moveTo>
                    <a:pt x="102" y="359"/>
                  </a:moveTo>
                  <a:lnTo>
                    <a:pt x="102" y="361"/>
                  </a:lnTo>
                  <a:lnTo>
                    <a:pt x="102" y="359"/>
                  </a:lnTo>
                  <a:close/>
                  <a:moveTo>
                    <a:pt x="57" y="359"/>
                  </a:moveTo>
                  <a:lnTo>
                    <a:pt x="55" y="361"/>
                  </a:lnTo>
                  <a:lnTo>
                    <a:pt x="55" y="359"/>
                  </a:lnTo>
                  <a:lnTo>
                    <a:pt x="57" y="359"/>
                  </a:lnTo>
                  <a:close/>
                  <a:moveTo>
                    <a:pt x="55" y="361"/>
                  </a:moveTo>
                  <a:lnTo>
                    <a:pt x="55" y="359"/>
                  </a:lnTo>
                  <a:lnTo>
                    <a:pt x="55" y="361"/>
                  </a:lnTo>
                  <a:close/>
                  <a:moveTo>
                    <a:pt x="57" y="359"/>
                  </a:moveTo>
                  <a:lnTo>
                    <a:pt x="57" y="361"/>
                  </a:lnTo>
                  <a:lnTo>
                    <a:pt x="57" y="359"/>
                  </a:lnTo>
                  <a:close/>
                  <a:moveTo>
                    <a:pt x="121" y="361"/>
                  </a:moveTo>
                  <a:lnTo>
                    <a:pt x="121" y="359"/>
                  </a:lnTo>
                  <a:lnTo>
                    <a:pt x="121" y="361"/>
                  </a:lnTo>
                  <a:close/>
                  <a:moveTo>
                    <a:pt x="171" y="359"/>
                  </a:moveTo>
                  <a:lnTo>
                    <a:pt x="171" y="361"/>
                  </a:lnTo>
                  <a:lnTo>
                    <a:pt x="171" y="359"/>
                  </a:lnTo>
                  <a:close/>
                  <a:moveTo>
                    <a:pt x="40" y="359"/>
                  </a:moveTo>
                  <a:lnTo>
                    <a:pt x="40" y="361"/>
                  </a:lnTo>
                  <a:lnTo>
                    <a:pt x="40" y="359"/>
                  </a:lnTo>
                  <a:close/>
                  <a:moveTo>
                    <a:pt x="64" y="361"/>
                  </a:moveTo>
                  <a:lnTo>
                    <a:pt x="64" y="359"/>
                  </a:lnTo>
                  <a:lnTo>
                    <a:pt x="64" y="361"/>
                  </a:lnTo>
                  <a:close/>
                  <a:moveTo>
                    <a:pt x="78" y="361"/>
                  </a:moveTo>
                  <a:lnTo>
                    <a:pt x="78" y="359"/>
                  </a:lnTo>
                  <a:lnTo>
                    <a:pt x="78" y="361"/>
                  </a:lnTo>
                  <a:close/>
                  <a:moveTo>
                    <a:pt x="76" y="359"/>
                  </a:moveTo>
                  <a:lnTo>
                    <a:pt x="76" y="361"/>
                  </a:lnTo>
                  <a:lnTo>
                    <a:pt x="76" y="359"/>
                  </a:lnTo>
                  <a:close/>
                  <a:moveTo>
                    <a:pt x="38" y="359"/>
                  </a:moveTo>
                  <a:lnTo>
                    <a:pt x="38" y="361"/>
                  </a:lnTo>
                  <a:lnTo>
                    <a:pt x="38" y="359"/>
                  </a:lnTo>
                  <a:close/>
                  <a:moveTo>
                    <a:pt x="43" y="359"/>
                  </a:moveTo>
                  <a:lnTo>
                    <a:pt x="43" y="361"/>
                  </a:lnTo>
                  <a:lnTo>
                    <a:pt x="43" y="359"/>
                  </a:lnTo>
                  <a:close/>
                  <a:moveTo>
                    <a:pt x="67" y="359"/>
                  </a:moveTo>
                  <a:lnTo>
                    <a:pt x="64" y="361"/>
                  </a:lnTo>
                  <a:lnTo>
                    <a:pt x="64" y="359"/>
                  </a:lnTo>
                  <a:lnTo>
                    <a:pt x="67" y="359"/>
                  </a:lnTo>
                  <a:close/>
                  <a:moveTo>
                    <a:pt x="104" y="361"/>
                  </a:moveTo>
                  <a:lnTo>
                    <a:pt x="104" y="359"/>
                  </a:lnTo>
                  <a:lnTo>
                    <a:pt x="104" y="361"/>
                  </a:lnTo>
                  <a:close/>
                  <a:moveTo>
                    <a:pt x="102" y="359"/>
                  </a:moveTo>
                  <a:lnTo>
                    <a:pt x="102" y="361"/>
                  </a:lnTo>
                  <a:lnTo>
                    <a:pt x="102" y="359"/>
                  </a:lnTo>
                  <a:close/>
                  <a:moveTo>
                    <a:pt x="78" y="359"/>
                  </a:moveTo>
                  <a:lnTo>
                    <a:pt x="78" y="361"/>
                  </a:lnTo>
                  <a:lnTo>
                    <a:pt x="78" y="359"/>
                  </a:lnTo>
                  <a:lnTo>
                    <a:pt x="76" y="361"/>
                  </a:lnTo>
                  <a:lnTo>
                    <a:pt x="76" y="359"/>
                  </a:lnTo>
                  <a:lnTo>
                    <a:pt x="78" y="359"/>
                  </a:lnTo>
                  <a:close/>
                  <a:moveTo>
                    <a:pt x="114" y="359"/>
                  </a:moveTo>
                  <a:lnTo>
                    <a:pt x="112" y="359"/>
                  </a:lnTo>
                  <a:lnTo>
                    <a:pt x="114" y="359"/>
                  </a:lnTo>
                  <a:close/>
                  <a:moveTo>
                    <a:pt x="157" y="359"/>
                  </a:moveTo>
                  <a:lnTo>
                    <a:pt x="154" y="359"/>
                  </a:lnTo>
                  <a:lnTo>
                    <a:pt x="157" y="359"/>
                  </a:lnTo>
                  <a:close/>
                  <a:moveTo>
                    <a:pt x="62" y="359"/>
                  </a:moveTo>
                  <a:lnTo>
                    <a:pt x="59" y="359"/>
                  </a:lnTo>
                  <a:lnTo>
                    <a:pt x="62" y="359"/>
                  </a:lnTo>
                  <a:close/>
                  <a:moveTo>
                    <a:pt x="50" y="359"/>
                  </a:moveTo>
                  <a:lnTo>
                    <a:pt x="52" y="359"/>
                  </a:lnTo>
                  <a:lnTo>
                    <a:pt x="50" y="359"/>
                  </a:lnTo>
                  <a:close/>
                  <a:moveTo>
                    <a:pt x="55" y="359"/>
                  </a:moveTo>
                  <a:lnTo>
                    <a:pt x="57" y="359"/>
                  </a:lnTo>
                  <a:lnTo>
                    <a:pt x="55" y="359"/>
                  </a:lnTo>
                  <a:close/>
                  <a:moveTo>
                    <a:pt x="55" y="359"/>
                  </a:moveTo>
                  <a:lnTo>
                    <a:pt x="52" y="359"/>
                  </a:lnTo>
                  <a:lnTo>
                    <a:pt x="55" y="359"/>
                  </a:lnTo>
                  <a:close/>
                  <a:moveTo>
                    <a:pt x="159" y="359"/>
                  </a:moveTo>
                  <a:lnTo>
                    <a:pt x="157" y="359"/>
                  </a:lnTo>
                  <a:lnTo>
                    <a:pt x="159" y="359"/>
                  </a:lnTo>
                  <a:close/>
                  <a:moveTo>
                    <a:pt x="55" y="359"/>
                  </a:moveTo>
                  <a:lnTo>
                    <a:pt x="52" y="359"/>
                  </a:lnTo>
                  <a:lnTo>
                    <a:pt x="55" y="359"/>
                  </a:lnTo>
                  <a:close/>
                  <a:moveTo>
                    <a:pt x="81" y="359"/>
                  </a:moveTo>
                  <a:lnTo>
                    <a:pt x="78" y="359"/>
                  </a:lnTo>
                  <a:lnTo>
                    <a:pt x="81" y="359"/>
                  </a:lnTo>
                  <a:close/>
                  <a:moveTo>
                    <a:pt x="43" y="359"/>
                  </a:moveTo>
                  <a:lnTo>
                    <a:pt x="40" y="359"/>
                  </a:lnTo>
                  <a:lnTo>
                    <a:pt x="43" y="359"/>
                  </a:lnTo>
                  <a:close/>
                  <a:moveTo>
                    <a:pt x="173" y="359"/>
                  </a:moveTo>
                  <a:lnTo>
                    <a:pt x="171" y="359"/>
                  </a:lnTo>
                  <a:lnTo>
                    <a:pt x="173" y="359"/>
                  </a:lnTo>
                  <a:close/>
                  <a:moveTo>
                    <a:pt x="161" y="359"/>
                  </a:moveTo>
                  <a:lnTo>
                    <a:pt x="159" y="359"/>
                  </a:lnTo>
                  <a:lnTo>
                    <a:pt x="161" y="359"/>
                  </a:lnTo>
                  <a:close/>
                  <a:moveTo>
                    <a:pt x="112" y="359"/>
                  </a:moveTo>
                  <a:lnTo>
                    <a:pt x="114" y="359"/>
                  </a:lnTo>
                  <a:lnTo>
                    <a:pt x="112" y="359"/>
                  </a:lnTo>
                  <a:close/>
                  <a:moveTo>
                    <a:pt x="157" y="359"/>
                  </a:moveTo>
                  <a:lnTo>
                    <a:pt x="154" y="359"/>
                  </a:lnTo>
                  <a:lnTo>
                    <a:pt x="157" y="359"/>
                  </a:lnTo>
                  <a:close/>
                  <a:moveTo>
                    <a:pt x="173" y="359"/>
                  </a:moveTo>
                  <a:lnTo>
                    <a:pt x="171" y="359"/>
                  </a:lnTo>
                  <a:lnTo>
                    <a:pt x="173" y="359"/>
                  </a:lnTo>
                  <a:close/>
                  <a:moveTo>
                    <a:pt x="38" y="359"/>
                  </a:moveTo>
                  <a:lnTo>
                    <a:pt x="36" y="359"/>
                  </a:lnTo>
                  <a:lnTo>
                    <a:pt x="38" y="359"/>
                  </a:lnTo>
                  <a:close/>
                  <a:moveTo>
                    <a:pt x="81" y="359"/>
                  </a:moveTo>
                  <a:lnTo>
                    <a:pt x="78" y="359"/>
                  </a:lnTo>
                  <a:lnTo>
                    <a:pt x="81" y="359"/>
                  </a:lnTo>
                  <a:close/>
                  <a:moveTo>
                    <a:pt x="109" y="359"/>
                  </a:moveTo>
                  <a:lnTo>
                    <a:pt x="107" y="359"/>
                  </a:lnTo>
                  <a:lnTo>
                    <a:pt x="109" y="359"/>
                  </a:lnTo>
                  <a:close/>
                  <a:moveTo>
                    <a:pt x="161" y="359"/>
                  </a:moveTo>
                  <a:lnTo>
                    <a:pt x="159" y="359"/>
                  </a:lnTo>
                  <a:lnTo>
                    <a:pt x="161" y="359"/>
                  </a:lnTo>
                  <a:close/>
                  <a:moveTo>
                    <a:pt x="78" y="359"/>
                  </a:moveTo>
                  <a:lnTo>
                    <a:pt x="76" y="359"/>
                  </a:lnTo>
                  <a:lnTo>
                    <a:pt x="78" y="359"/>
                  </a:lnTo>
                  <a:close/>
                  <a:moveTo>
                    <a:pt x="55" y="359"/>
                  </a:moveTo>
                  <a:lnTo>
                    <a:pt x="52" y="359"/>
                  </a:lnTo>
                  <a:lnTo>
                    <a:pt x="55" y="359"/>
                  </a:lnTo>
                  <a:close/>
                  <a:moveTo>
                    <a:pt x="88" y="359"/>
                  </a:moveTo>
                  <a:lnTo>
                    <a:pt x="86" y="359"/>
                  </a:lnTo>
                  <a:lnTo>
                    <a:pt x="88" y="359"/>
                  </a:lnTo>
                  <a:close/>
                  <a:moveTo>
                    <a:pt x="36" y="359"/>
                  </a:moveTo>
                  <a:lnTo>
                    <a:pt x="33" y="359"/>
                  </a:lnTo>
                  <a:lnTo>
                    <a:pt x="36" y="359"/>
                  </a:lnTo>
                  <a:close/>
                  <a:moveTo>
                    <a:pt x="38" y="359"/>
                  </a:moveTo>
                  <a:lnTo>
                    <a:pt x="38" y="357"/>
                  </a:lnTo>
                  <a:lnTo>
                    <a:pt x="38" y="359"/>
                  </a:lnTo>
                  <a:close/>
                  <a:moveTo>
                    <a:pt x="52" y="359"/>
                  </a:moveTo>
                  <a:lnTo>
                    <a:pt x="52" y="357"/>
                  </a:lnTo>
                  <a:lnTo>
                    <a:pt x="52" y="359"/>
                  </a:lnTo>
                  <a:close/>
                  <a:moveTo>
                    <a:pt x="107" y="357"/>
                  </a:moveTo>
                  <a:lnTo>
                    <a:pt x="107" y="359"/>
                  </a:lnTo>
                  <a:lnTo>
                    <a:pt x="107" y="357"/>
                  </a:lnTo>
                  <a:close/>
                  <a:moveTo>
                    <a:pt x="159" y="359"/>
                  </a:moveTo>
                  <a:lnTo>
                    <a:pt x="159" y="357"/>
                  </a:lnTo>
                  <a:lnTo>
                    <a:pt x="159" y="359"/>
                  </a:lnTo>
                  <a:close/>
                  <a:moveTo>
                    <a:pt x="19" y="357"/>
                  </a:moveTo>
                  <a:lnTo>
                    <a:pt x="19" y="359"/>
                  </a:lnTo>
                  <a:lnTo>
                    <a:pt x="19" y="357"/>
                  </a:lnTo>
                  <a:close/>
                  <a:moveTo>
                    <a:pt x="71" y="359"/>
                  </a:moveTo>
                  <a:lnTo>
                    <a:pt x="71" y="357"/>
                  </a:lnTo>
                  <a:lnTo>
                    <a:pt x="71" y="359"/>
                  </a:lnTo>
                  <a:close/>
                  <a:moveTo>
                    <a:pt x="48" y="359"/>
                  </a:moveTo>
                  <a:lnTo>
                    <a:pt x="48" y="357"/>
                  </a:lnTo>
                  <a:lnTo>
                    <a:pt x="48" y="359"/>
                  </a:lnTo>
                  <a:close/>
                  <a:moveTo>
                    <a:pt x="157" y="357"/>
                  </a:moveTo>
                  <a:lnTo>
                    <a:pt x="157" y="359"/>
                  </a:lnTo>
                  <a:lnTo>
                    <a:pt x="157" y="357"/>
                  </a:lnTo>
                  <a:close/>
                  <a:moveTo>
                    <a:pt x="93" y="359"/>
                  </a:moveTo>
                  <a:lnTo>
                    <a:pt x="93" y="357"/>
                  </a:lnTo>
                  <a:lnTo>
                    <a:pt x="93" y="359"/>
                  </a:lnTo>
                  <a:close/>
                  <a:moveTo>
                    <a:pt x="50" y="359"/>
                  </a:moveTo>
                  <a:lnTo>
                    <a:pt x="50" y="357"/>
                  </a:lnTo>
                  <a:lnTo>
                    <a:pt x="50" y="359"/>
                  </a:lnTo>
                  <a:close/>
                  <a:moveTo>
                    <a:pt x="24" y="359"/>
                  </a:moveTo>
                  <a:lnTo>
                    <a:pt x="21" y="359"/>
                  </a:lnTo>
                  <a:lnTo>
                    <a:pt x="21" y="357"/>
                  </a:lnTo>
                  <a:lnTo>
                    <a:pt x="24" y="359"/>
                  </a:lnTo>
                  <a:close/>
                  <a:moveTo>
                    <a:pt x="50" y="357"/>
                  </a:moveTo>
                  <a:lnTo>
                    <a:pt x="50" y="359"/>
                  </a:lnTo>
                  <a:lnTo>
                    <a:pt x="50" y="357"/>
                  </a:lnTo>
                  <a:close/>
                  <a:moveTo>
                    <a:pt x="81" y="359"/>
                  </a:moveTo>
                  <a:lnTo>
                    <a:pt x="81" y="357"/>
                  </a:lnTo>
                  <a:lnTo>
                    <a:pt x="81" y="359"/>
                  </a:lnTo>
                  <a:close/>
                  <a:moveTo>
                    <a:pt x="88" y="359"/>
                  </a:moveTo>
                  <a:lnTo>
                    <a:pt x="88" y="357"/>
                  </a:lnTo>
                  <a:lnTo>
                    <a:pt x="88" y="359"/>
                  </a:lnTo>
                  <a:close/>
                  <a:moveTo>
                    <a:pt x="21" y="359"/>
                  </a:moveTo>
                  <a:lnTo>
                    <a:pt x="21" y="357"/>
                  </a:lnTo>
                  <a:lnTo>
                    <a:pt x="21" y="359"/>
                  </a:lnTo>
                  <a:close/>
                  <a:moveTo>
                    <a:pt x="38" y="357"/>
                  </a:moveTo>
                  <a:lnTo>
                    <a:pt x="38" y="359"/>
                  </a:lnTo>
                  <a:lnTo>
                    <a:pt x="38" y="357"/>
                  </a:lnTo>
                  <a:close/>
                  <a:moveTo>
                    <a:pt x="93" y="357"/>
                  </a:moveTo>
                  <a:lnTo>
                    <a:pt x="93" y="359"/>
                  </a:lnTo>
                  <a:lnTo>
                    <a:pt x="93" y="357"/>
                  </a:lnTo>
                  <a:close/>
                  <a:moveTo>
                    <a:pt x="43" y="357"/>
                  </a:moveTo>
                  <a:lnTo>
                    <a:pt x="43" y="359"/>
                  </a:lnTo>
                  <a:lnTo>
                    <a:pt x="43" y="357"/>
                  </a:lnTo>
                  <a:close/>
                  <a:moveTo>
                    <a:pt x="97" y="357"/>
                  </a:moveTo>
                  <a:lnTo>
                    <a:pt x="97" y="359"/>
                  </a:lnTo>
                  <a:lnTo>
                    <a:pt x="97" y="357"/>
                  </a:lnTo>
                  <a:close/>
                  <a:moveTo>
                    <a:pt x="33" y="359"/>
                  </a:moveTo>
                  <a:lnTo>
                    <a:pt x="33" y="357"/>
                  </a:lnTo>
                  <a:lnTo>
                    <a:pt x="33" y="359"/>
                  </a:lnTo>
                  <a:close/>
                  <a:moveTo>
                    <a:pt x="88" y="359"/>
                  </a:moveTo>
                  <a:lnTo>
                    <a:pt x="88" y="357"/>
                  </a:lnTo>
                  <a:lnTo>
                    <a:pt x="88" y="359"/>
                  </a:lnTo>
                  <a:close/>
                  <a:moveTo>
                    <a:pt x="50" y="357"/>
                  </a:moveTo>
                  <a:lnTo>
                    <a:pt x="50" y="359"/>
                  </a:lnTo>
                  <a:lnTo>
                    <a:pt x="50" y="357"/>
                  </a:lnTo>
                  <a:close/>
                  <a:moveTo>
                    <a:pt x="36" y="357"/>
                  </a:moveTo>
                  <a:lnTo>
                    <a:pt x="33" y="357"/>
                  </a:lnTo>
                  <a:lnTo>
                    <a:pt x="36" y="357"/>
                  </a:lnTo>
                  <a:close/>
                  <a:moveTo>
                    <a:pt x="24" y="359"/>
                  </a:moveTo>
                  <a:lnTo>
                    <a:pt x="24" y="357"/>
                  </a:lnTo>
                  <a:lnTo>
                    <a:pt x="24" y="359"/>
                  </a:lnTo>
                  <a:close/>
                  <a:moveTo>
                    <a:pt x="19" y="359"/>
                  </a:moveTo>
                  <a:lnTo>
                    <a:pt x="19" y="357"/>
                  </a:lnTo>
                  <a:lnTo>
                    <a:pt x="19" y="359"/>
                  </a:lnTo>
                  <a:close/>
                  <a:moveTo>
                    <a:pt x="90" y="359"/>
                  </a:moveTo>
                  <a:lnTo>
                    <a:pt x="90" y="357"/>
                  </a:lnTo>
                  <a:lnTo>
                    <a:pt x="90" y="359"/>
                  </a:lnTo>
                  <a:close/>
                  <a:moveTo>
                    <a:pt x="97" y="357"/>
                  </a:moveTo>
                  <a:lnTo>
                    <a:pt x="97" y="359"/>
                  </a:lnTo>
                  <a:lnTo>
                    <a:pt x="97" y="357"/>
                  </a:lnTo>
                  <a:close/>
                  <a:moveTo>
                    <a:pt x="57" y="359"/>
                  </a:moveTo>
                  <a:lnTo>
                    <a:pt x="57" y="357"/>
                  </a:lnTo>
                  <a:lnTo>
                    <a:pt x="57" y="359"/>
                  </a:lnTo>
                  <a:close/>
                  <a:moveTo>
                    <a:pt x="52" y="357"/>
                  </a:moveTo>
                  <a:lnTo>
                    <a:pt x="52" y="359"/>
                  </a:lnTo>
                  <a:lnTo>
                    <a:pt x="52" y="357"/>
                  </a:lnTo>
                  <a:close/>
                  <a:moveTo>
                    <a:pt x="159" y="357"/>
                  </a:moveTo>
                  <a:lnTo>
                    <a:pt x="159" y="359"/>
                  </a:lnTo>
                  <a:lnTo>
                    <a:pt x="159" y="357"/>
                  </a:lnTo>
                  <a:close/>
                  <a:moveTo>
                    <a:pt x="19" y="359"/>
                  </a:moveTo>
                  <a:lnTo>
                    <a:pt x="19" y="357"/>
                  </a:lnTo>
                  <a:lnTo>
                    <a:pt x="19" y="359"/>
                  </a:lnTo>
                  <a:close/>
                  <a:moveTo>
                    <a:pt x="71" y="357"/>
                  </a:moveTo>
                  <a:lnTo>
                    <a:pt x="71" y="359"/>
                  </a:lnTo>
                  <a:lnTo>
                    <a:pt x="71" y="357"/>
                  </a:lnTo>
                  <a:close/>
                  <a:moveTo>
                    <a:pt x="52" y="357"/>
                  </a:moveTo>
                  <a:lnTo>
                    <a:pt x="52" y="359"/>
                  </a:lnTo>
                  <a:lnTo>
                    <a:pt x="52" y="357"/>
                  </a:lnTo>
                  <a:close/>
                  <a:moveTo>
                    <a:pt x="45" y="359"/>
                  </a:moveTo>
                  <a:lnTo>
                    <a:pt x="45" y="357"/>
                  </a:lnTo>
                  <a:lnTo>
                    <a:pt x="45" y="359"/>
                  </a:lnTo>
                  <a:close/>
                  <a:moveTo>
                    <a:pt x="19" y="357"/>
                  </a:moveTo>
                  <a:lnTo>
                    <a:pt x="19" y="359"/>
                  </a:lnTo>
                  <a:lnTo>
                    <a:pt x="19" y="357"/>
                  </a:lnTo>
                  <a:close/>
                  <a:moveTo>
                    <a:pt x="29" y="359"/>
                  </a:moveTo>
                  <a:lnTo>
                    <a:pt x="29" y="357"/>
                  </a:lnTo>
                  <a:lnTo>
                    <a:pt x="29" y="359"/>
                  </a:lnTo>
                  <a:close/>
                  <a:moveTo>
                    <a:pt x="24" y="357"/>
                  </a:moveTo>
                  <a:lnTo>
                    <a:pt x="24" y="359"/>
                  </a:lnTo>
                  <a:lnTo>
                    <a:pt x="24" y="357"/>
                  </a:lnTo>
                  <a:close/>
                  <a:moveTo>
                    <a:pt x="178" y="357"/>
                  </a:moveTo>
                  <a:lnTo>
                    <a:pt x="176" y="357"/>
                  </a:lnTo>
                  <a:lnTo>
                    <a:pt x="178" y="357"/>
                  </a:lnTo>
                  <a:close/>
                  <a:moveTo>
                    <a:pt x="78" y="357"/>
                  </a:moveTo>
                  <a:lnTo>
                    <a:pt x="78" y="359"/>
                  </a:lnTo>
                  <a:lnTo>
                    <a:pt x="78" y="357"/>
                  </a:lnTo>
                  <a:close/>
                  <a:moveTo>
                    <a:pt x="164" y="357"/>
                  </a:moveTo>
                  <a:lnTo>
                    <a:pt x="164" y="359"/>
                  </a:lnTo>
                  <a:lnTo>
                    <a:pt x="164" y="357"/>
                  </a:lnTo>
                  <a:close/>
                  <a:moveTo>
                    <a:pt x="48" y="357"/>
                  </a:moveTo>
                  <a:lnTo>
                    <a:pt x="48" y="359"/>
                  </a:lnTo>
                  <a:lnTo>
                    <a:pt x="48" y="357"/>
                  </a:lnTo>
                  <a:close/>
                  <a:moveTo>
                    <a:pt x="62" y="357"/>
                  </a:moveTo>
                  <a:lnTo>
                    <a:pt x="59" y="357"/>
                  </a:lnTo>
                  <a:lnTo>
                    <a:pt x="62" y="357"/>
                  </a:lnTo>
                  <a:close/>
                  <a:moveTo>
                    <a:pt x="71" y="357"/>
                  </a:moveTo>
                  <a:lnTo>
                    <a:pt x="74" y="357"/>
                  </a:lnTo>
                  <a:lnTo>
                    <a:pt x="74" y="359"/>
                  </a:lnTo>
                  <a:lnTo>
                    <a:pt x="74" y="357"/>
                  </a:lnTo>
                  <a:lnTo>
                    <a:pt x="71" y="357"/>
                  </a:lnTo>
                  <a:close/>
                  <a:moveTo>
                    <a:pt x="48" y="357"/>
                  </a:moveTo>
                  <a:lnTo>
                    <a:pt x="48" y="359"/>
                  </a:lnTo>
                  <a:lnTo>
                    <a:pt x="48" y="357"/>
                  </a:lnTo>
                  <a:lnTo>
                    <a:pt x="48" y="359"/>
                  </a:lnTo>
                  <a:lnTo>
                    <a:pt x="48" y="357"/>
                  </a:lnTo>
                  <a:close/>
                  <a:moveTo>
                    <a:pt x="90" y="357"/>
                  </a:moveTo>
                  <a:lnTo>
                    <a:pt x="90" y="359"/>
                  </a:lnTo>
                  <a:lnTo>
                    <a:pt x="90" y="357"/>
                  </a:lnTo>
                  <a:close/>
                  <a:moveTo>
                    <a:pt x="71" y="357"/>
                  </a:moveTo>
                  <a:lnTo>
                    <a:pt x="74" y="357"/>
                  </a:lnTo>
                  <a:lnTo>
                    <a:pt x="71" y="357"/>
                  </a:lnTo>
                  <a:close/>
                  <a:moveTo>
                    <a:pt x="21" y="357"/>
                  </a:moveTo>
                  <a:lnTo>
                    <a:pt x="19" y="357"/>
                  </a:lnTo>
                  <a:lnTo>
                    <a:pt x="21" y="357"/>
                  </a:lnTo>
                  <a:close/>
                  <a:moveTo>
                    <a:pt x="71" y="357"/>
                  </a:moveTo>
                  <a:lnTo>
                    <a:pt x="74" y="357"/>
                  </a:lnTo>
                  <a:lnTo>
                    <a:pt x="71" y="357"/>
                  </a:lnTo>
                  <a:close/>
                  <a:moveTo>
                    <a:pt x="52" y="357"/>
                  </a:moveTo>
                  <a:lnTo>
                    <a:pt x="50" y="357"/>
                  </a:lnTo>
                  <a:lnTo>
                    <a:pt x="52" y="357"/>
                  </a:lnTo>
                  <a:close/>
                  <a:moveTo>
                    <a:pt x="78" y="357"/>
                  </a:moveTo>
                  <a:lnTo>
                    <a:pt x="76" y="357"/>
                  </a:lnTo>
                  <a:lnTo>
                    <a:pt x="78" y="357"/>
                  </a:lnTo>
                  <a:close/>
                  <a:moveTo>
                    <a:pt x="55" y="357"/>
                  </a:moveTo>
                  <a:lnTo>
                    <a:pt x="52" y="357"/>
                  </a:lnTo>
                  <a:lnTo>
                    <a:pt x="55" y="357"/>
                  </a:lnTo>
                  <a:close/>
                  <a:moveTo>
                    <a:pt x="81" y="357"/>
                  </a:moveTo>
                  <a:lnTo>
                    <a:pt x="78" y="357"/>
                  </a:lnTo>
                  <a:lnTo>
                    <a:pt x="81" y="357"/>
                  </a:lnTo>
                  <a:close/>
                  <a:moveTo>
                    <a:pt x="176" y="357"/>
                  </a:moveTo>
                  <a:lnTo>
                    <a:pt x="173" y="357"/>
                  </a:lnTo>
                  <a:lnTo>
                    <a:pt x="176" y="357"/>
                  </a:lnTo>
                  <a:close/>
                  <a:moveTo>
                    <a:pt x="83" y="357"/>
                  </a:moveTo>
                  <a:lnTo>
                    <a:pt x="81" y="357"/>
                  </a:lnTo>
                  <a:lnTo>
                    <a:pt x="83" y="357"/>
                  </a:lnTo>
                  <a:close/>
                  <a:moveTo>
                    <a:pt x="33" y="357"/>
                  </a:moveTo>
                  <a:lnTo>
                    <a:pt x="31" y="357"/>
                  </a:lnTo>
                  <a:lnTo>
                    <a:pt x="33" y="357"/>
                  </a:lnTo>
                  <a:close/>
                  <a:moveTo>
                    <a:pt x="176" y="357"/>
                  </a:moveTo>
                  <a:lnTo>
                    <a:pt x="173" y="357"/>
                  </a:lnTo>
                  <a:lnTo>
                    <a:pt x="176" y="357"/>
                  </a:lnTo>
                  <a:close/>
                  <a:moveTo>
                    <a:pt x="116" y="357"/>
                  </a:moveTo>
                  <a:lnTo>
                    <a:pt x="114" y="357"/>
                  </a:lnTo>
                  <a:lnTo>
                    <a:pt x="116" y="357"/>
                  </a:lnTo>
                  <a:close/>
                  <a:moveTo>
                    <a:pt x="93" y="357"/>
                  </a:moveTo>
                  <a:lnTo>
                    <a:pt x="90" y="357"/>
                  </a:lnTo>
                  <a:lnTo>
                    <a:pt x="93" y="357"/>
                  </a:lnTo>
                  <a:close/>
                  <a:moveTo>
                    <a:pt x="76" y="357"/>
                  </a:moveTo>
                  <a:lnTo>
                    <a:pt x="74" y="357"/>
                  </a:lnTo>
                  <a:lnTo>
                    <a:pt x="76" y="357"/>
                  </a:lnTo>
                  <a:close/>
                  <a:moveTo>
                    <a:pt x="93" y="357"/>
                  </a:moveTo>
                  <a:lnTo>
                    <a:pt x="90" y="357"/>
                  </a:lnTo>
                  <a:lnTo>
                    <a:pt x="93" y="357"/>
                  </a:lnTo>
                  <a:close/>
                  <a:moveTo>
                    <a:pt x="43" y="357"/>
                  </a:moveTo>
                  <a:lnTo>
                    <a:pt x="40" y="357"/>
                  </a:lnTo>
                  <a:lnTo>
                    <a:pt x="43" y="357"/>
                  </a:lnTo>
                  <a:close/>
                  <a:moveTo>
                    <a:pt x="45" y="357"/>
                  </a:moveTo>
                  <a:lnTo>
                    <a:pt x="48" y="357"/>
                  </a:lnTo>
                  <a:lnTo>
                    <a:pt x="45" y="357"/>
                  </a:lnTo>
                  <a:close/>
                  <a:moveTo>
                    <a:pt x="76" y="357"/>
                  </a:moveTo>
                  <a:lnTo>
                    <a:pt x="74" y="357"/>
                  </a:lnTo>
                  <a:lnTo>
                    <a:pt x="76" y="357"/>
                  </a:lnTo>
                  <a:close/>
                  <a:moveTo>
                    <a:pt x="93" y="357"/>
                  </a:moveTo>
                  <a:lnTo>
                    <a:pt x="95" y="357"/>
                  </a:lnTo>
                  <a:lnTo>
                    <a:pt x="93" y="357"/>
                  </a:lnTo>
                  <a:close/>
                  <a:moveTo>
                    <a:pt x="43" y="357"/>
                  </a:moveTo>
                  <a:lnTo>
                    <a:pt x="40" y="357"/>
                  </a:lnTo>
                  <a:lnTo>
                    <a:pt x="43" y="357"/>
                  </a:lnTo>
                  <a:close/>
                  <a:moveTo>
                    <a:pt x="43" y="357"/>
                  </a:moveTo>
                  <a:lnTo>
                    <a:pt x="40" y="357"/>
                  </a:lnTo>
                  <a:lnTo>
                    <a:pt x="43" y="357"/>
                  </a:lnTo>
                  <a:close/>
                  <a:moveTo>
                    <a:pt x="176" y="357"/>
                  </a:moveTo>
                  <a:lnTo>
                    <a:pt x="173" y="357"/>
                  </a:lnTo>
                  <a:lnTo>
                    <a:pt x="176" y="357"/>
                  </a:lnTo>
                  <a:close/>
                  <a:moveTo>
                    <a:pt x="40" y="357"/>
                  </a:moveTo>
                  <a:lnTo>
                    <a:pt x="38" y="357"/>
                  </a:lnTo>
                  <a:lnTo>
                    <a:pt x="40" y="357"/>
                  </a:lnTo>
                  <a:close/>
                  <a:moveTo>
                    <a:pt x="176" y="354"/>
                  </a:moveTo>
                  <a:lnTo>
                    <a:pt x="176" y="357"/>
                  </a:lnTo>
                  <a:lnTo>
                    <a:pt x="176" y="354"/>
                  </a:lnTo>
                  <a:close/>
                  <a:moveTo>
                    <a:pt x="81" y="354"/>
                  </a:moveTo>
                  <a:lnTo>
                    <a:pt x="81" y="357"/>
                  </a:lnTo>
                  <a:lnTo>
                    <a:pt x="81" y="354"/>
                  </a:lnTo>
                  <a:close/>
                  <a:moveTo>
                    <a:pt x="176" y="357"/>
                  </a:moveTo>
                  <a:lnTo>
                    <a:pt x="176" y="354"/>
                  </a:lnTo>
                  <a:lnTo>
                    <a:pt x="176" y="357"/>
                  </a:lnTo>
                  <a:close/>
                  <a:moveTo>
                    <a:pt x="86" y="357"/>
                  </a:moveTo>
                  <a:lnTo>
                    <a:pt x="83" y="357"/>
                  </a:lnTo>
                  <a:lnTo>
                    <a:pt x="83" y="354"/>
                  </a:lnTo>
                  <a:lnTo>
                    <a:pt x="86" y="357"/>
                  </a:lnTo>
                  <a:close/>
                  <a:moveTo>
                    <a:pt x="43" y="354"/>
                  </a:moveTo>
                  <a:lnTo>
                    <a:pt x="43" y="357"/>
                  </a:lnTo>
                  <a:lnTo>
                    <a:pt x="43" y="354"/>
                  </a:lnTo>
                  <a:close/>
                  <a:moveTo>
                    <a:pt x="31" y="354"/>
                  </a:moveTo>
                  <a:lnTo>
                    <a:pt x="31" y="357"/>
                  </a:lnTo>
                  <a:lnTo>
                    <a:pt x="31" y="354"/>
                  </a:lnTo>
                  <a:close/>
                  <a:moveTo>
                    <a:pt x="48" y="357"/>
                  </a:moveTo>
                  <a:lnTo>
                    <a:pt x="48" y="354"/>
                  </a:lnTo>
                  <a:lnTo>
                    <a:pt x="48" y="357"/>
                  </a:lnTo>
                  <a:close/>
                  <a:moveTo>
                    <a:pt x="90" y="357"/>
                  </a:moveTo>
                  <a:lnTo>
                    <a:pt x="90" y="354"/>
                  </a:lnTo>
                  <a:lnTo>
                    <a:pt x="90" y="357"/>
                  </a:lnTo>
                  <a:close/>
                  <a:moveTo>
                    <a:pt x="166" y="354"/>
                  </a:moveTo>
                  <a:lnTo>
                    <a:pt x="166" y="357"/>
                  </a:lnTo>
                  <a:lnTo>
                    <a:pt x="166" y="354"/>
                  </a:lnTo>
                  <a:close/>
                  <a:moveTo>
                    <a:pt x="176" y="357"/>
                  </a:moveTo>
                  <a:lnTo>
                    <a:pt x="176" y="354"/>
                  </a:lnTo>
                  <a:lnTo>
                    <a:pt x="176" y="357"/>
                  </a:lnTo>
                  <a:close/>
                  <a:moveTo>
                    <a:pt x="40" y="354"/>
                  </a:moveTo>
                  <a:lnTo>
                    <a:pt x="40" y="357"/>
                  </a:lnTo>
                  <a:lnTo>
                    <a:pt x="40" y="354"/>
                  </a:lnTo>
                  <a:close/>
                  <a:moveTo>
                    <a:pt x="48" y="357"/>
                  </a:moveTo>
                  <a:lnTo>
                    <a:pt x="48" y="354"/>
                  </a:lnTo>
                  <a:lnTo>
                    <a:pt x="48" y="357"/>
                  </a:lnTo>
                  <a:close/>
                  <a:moveTo>
                    <a:pt x="40" y="354"/>
                  </a:moveTo>
                  <a:lnTo>
                    <a:pt x="40" y="357"/>
                  </a:lnTo>
                  <a:lnTo>
                    <a:pt x="40" y="354"/>
                  </a:lnTo>
                  <a:close/>
                  <a:moveTo>
                    <a:pt x="52" y="354"/>
                  </a:moveTo>
                  <a:lnTo>
                    <a:pt x="52" y="357"/>
                  </a:lnTo>
                  <a:lnTo>
                    <a:pt x="52" y="354"/>
                  </a:lnTo>
                  <a:close/>
                  <a:moveTo>
                    <a:pt x="45" y="357"/>
                  </a:moveTo>
                  <a:lnTo>
                    <a:pt x="45" y="354"/>
                  </a:lnTo>
                  <a:lnTo>
                    <a:pt x="45" y="357"/>
                  </a:lnTo>
                  <a:close/>
                  <a:moveTo>
                    <a:pt x="116" y="357"/>
                  </a:moveTo>
                  <a:lnTo>
                    <a:pt x="116" y="354"/>
                  </a:lnTo>
                  <a:lnTo>
                    <a:pt x="116" y="357"/>
                  </a:lnTo>
                  <a:close/>
                  <a:moveTo>
                    <a:pt x="45" y="357"/>
                  </a:moveTo>
                  <a:lnTo>
                    <a:pt x="45" y="354"/>
                  </a:lnTo>
                  <a:lnTo>
                    <a:pt x="45" y="357"/>
                  </a:lnTo>
                  <a:close/>
                  <a:moveTo>
                    <a:pt x="90" y="354"/>
                  </a:moveTo>
                  <a:lnTo>
                    <a:pt x="90" y="357"/>
                  </a:lnTo>
                  <a:lnTo>
                    <a:pt x="90" y="354"/>
                  </a:lnTo>
                  <a:close/>
                  <a:moveTo>
                    <a:pt x="45" y="357"/>
                  </a:moveTo>
                  <a:lnTo>
                    <a:pt x="45" y="354"/>
                  </a:lnTo>
                  <a:lnTo>
                    <a:pt x="45" y="357"/>
                  </a:lnTo>
                  <a:close/>
                  <a:moveTo>
                    <a:pt x="90" y="354"/>
                  </a:moveTo>
                  <a:lnTo>
                    <a:pt x="88" y="354"/>
                  </a:lnTo>
                  <a:lnTo>
                    <a:pt x="90" y="354"/>
                  </a:lnTo>
                  <a:close/>
                  <a:moveTo>
                    <a:pt x="88" y="354"/>
                  </a:moveTo>
                  <a:lnTo>
                    <a:pt x="86" y="354"/>
                  </a:lnTo>
                  <a:lnTo>
                    <a:pt x="88" y="354"/>
                  </a:lnTo>
                  <a:close/>
                  <a:moveTo>
                    <a:pt x="95" y="354"/>
                  </a:moveTo>
                  <a:lnTo>
                    <a:pt x="93" y="354"/>
                  </a:lnTo>
                  <a:lnTo>
                    <a:pt x="95" y="354"/>
                  </a:lnTo>
                  <a:close/>
                  <a:moveTo>
                    <a:pt x="178" y="354"/>
                  </a:moveTo>
                  <a:lnTo>
                    <a:pt x="176" y="354"/>
                  </a:lnTo>
                  <a:lnTo>
                    <a:pt x="178" y="354"/>
                  </a:lnTo>
                  <a:close/>
                  <a:moveTo>
                    <a:pt x="14" y="354"/>
                  </a:moveTo>
                  <a:lnTo>
                    <a:pt x="17" y="354"/>
                  </a:lnTo>
                  <a:lnTo>
                    <a:pt x="14" y="354"/>
                  </a:lnTo>
                  <a:close/>
                  <a:moveTo>
                    <a:pt x="33" y="354"/>
                  </a:moveTo>
                  <a:lnTo>
                    <a:pt x="31" y="354"/>
                  </a:lnTo>
                  <a:lnTo>
                    <a:pt x="33" y="354"/>
                  </a:lnTo>
                  <a:close/>
                  <a:moveTo>
                    <a:pt x="67" y="354"/>
                  </a:moveTo>
                  <a:lnTo>
                    <a:pt x="64" y="354"/>
                  </a:lnTo>
                  <a:lnTo>
                    <a:pt x="67" y="354"/>
                  </a:lnTo>
                  <a:close/>
                  <a:moveTo>
                    <a:pt x="83" y="354"/>
                  </a:moveTo>
                  <a:lnTo>
                    <a:pt x="81" y="354"/>
                  </a:lnTo>
                  <a:lnTo>
                    <a:pt x="83" y="354"/>
                  </a:lnTo>
                  <a:close/>
                  <a:moveTo>
                    <a:pt x="17" y="354"/>
                  </a:moveTo>
                  <a:lnTo>
                    <a:pt x="14" y="354"/>
                  </a:lnTo>
                  <a:lnTo>
                    <a:pt x="17" y="354"/>
                  </a:lnTo>
                  <a:lnTo>
                    <a:pt x="14" y="354"/>
                  </a:lnTo>
                  <a:lnTo>
                    <a:pt x="17" y="354"/>
                  </a:lnTo>
                  <a:close/>
                  <a:moveTo>
                    <a:pt x="67" y="354"/>
                  </a:moveTo>
                  <a:lnTo>
                    <a:pt x="69" y="354"/>
                  </a:lnTo>
                  <a:lnTo>
                    <a:pt x="67" y="354"/>
                  </a:lnTo>
                  <a:close/>
                  <a:moveTo>
                    <a:pt x="90" y="354"/>
                  </a:moveTo>
                  <a:lnTo>
                    <a:pt x="88" y="354"/>
                  </a:lnTo>
                  <a:lnTo>
                    <a:pt x="90" y="354"/>
                  </a:lnTo>
                  <a:close/>
                  <a:moveTo>
                    <a:pt x="86" y="354"/>
                  </a:moveTo>
                  <a:lnTo>
                    <a:pt x="83" y="354"/>
                  </a:lnTo>
                  <a:lnTo>
                    <a:pt x="86" y="354"/>
                  </a:lnTo>
                  <a:close/>
                  <a:moveTo>
                    <a:pt x="180" y="354"/>
                  </a:moveTo>
                  <a:lnTo>
                    <a:pt x="178" y="354"/>
                  </a:lnTo>
                  <a:lnTo>
                    <a:pt x="180" y="354"/>
                  </a:lnTo>
                  <a:close/>
                  <a:moveTo>
                    <a:pt x="29" y="354"/>
                  </a:moveTo>
                  <a:lnTo>
                    <a:pt x="26" y="354"/>
                  </a:lnTo>
                  <a:lnTo>
                    <a:pt x="29" y="354"/>
                  </a:lnTo>
                  <a:close/>
                  <a:moveTo>
                    <a:pt x="74" y="354"/>
                  </a:moveTo>
                  <a:lnTo>
                    <a:pt x="71" y="354"/>
                  </a:lnTo>
                  <a:lnTo>
                    <a:pt x="74" y="354"/>
                  </a:lnTo>
                  <a:close/>
                  <a:moveTo>
                    <a:pt x="24" y="354"/>
                  </a:moveTo>
                  <a:lnTo>
                    <a:pt x="21" y="354"/>
                  </a:lnTo>
                  <a:lnTo>
                    <a:pt x="24" y="354"/>
                  </a:lnTo>
                  <a:close/>
                  <a:moveTo>
                    <a:pt x="17" y="354"/>
                  </a:moveTo>
                  <a:lnTo>
                    <a:pt x="14" y="354"/>
                  </a:lnTo>
                  <a:lnTo>
                    <a:pt x="17" y="354"/>
                  </a:lnTo>
                  <a:close/>
                  <a:moveTo>
                    <a:pt x="95" y="354"/>
                  </a:moveTo>
                  <a:lnTo>
                    <a:pt x="93" y="354"/>
                  </a:lnTo>
                  <a:lnTo>
                    <a:pt x="95" y="354"/>
                  </a:lnTo>
                  <a:close/>
                  <a:moveTo>
                    <a:pt x="104" y="354"/>
                  </a:moveTo>
                  <a:lnTo>
                    <a:pt x="102" y="354"/>
                  </a:lnTo>
                  <a:lnTo>
                    <a:pt x="104" y="354"/>
                  </a:lnTo>
                  <a:close/>
                  <a:moveTo>
                    <a:pt x="43" y="354"/>
                  </a:moveTo>
                  <a:lnTo>
                    <a:pt x="40" y="354"/>
                  </a:lnTo>
                  <a:lnTo>
                    <a:pt x="43" y="354"/>
                  </a:lnTo>
                  <a:close/>
                  <a:moveTo>
                    <a:pt x="83" y="354"/>
                  </a:moveTo>
                  <a:lnTo>
                    <a:pt x="81" y="354"/>
                  </a:lnTo>
                  <a:lnTo>
                    <a:pt x="83" y="354"/>
                  </a:lnTo>
                  <a:close/>
                  <a:moveTo>
                    <a:pt x="43" y="354"/>
                  </a:moveTo>
                  <a:lnTo>
                    <a:pt x="40" y="354"/>
                  </a:lnTo>
                  <a:lnTo>
                    <a:pt x="43" y="354"/>
                  </a:lnTo>
                  <a:close/>
                  <a:moveTo>
                    <a:pt x="86" y="354"/>
                  </a:moveTo>
                  <a:lnTo>
                    <a:pt x="83" y="354"/>
                  </a:lnTo>
                  <a:lnTo>
                    <a:pt x="86" y="354"/>
                  </a:lnTo>
                  <a:close/>
                  <a:moveTo>
                    <a:pt x="81" y="354"/>
                  </a:moveTo>
                  <a:lnTo>
                    <a:pt x="78" y="354"/>
                  </a:lnTo>
                  <a:lnTo>
                    <a:pt x="81" y="354"/>
                  </a:lnTo>
                  <a:close/>
                  <a:moveTo>
                    <a:pt x="102" y="354"/>
                  </a:moveTo>
                  <a:lnTo>
                    <a:pt x="100" y="354"/>
                  </a:lnTo>
                  <a:lnTo>
                    <a:pt x="102" y="354"/>
                  </a:lnTo>
                  <a:lnTo>
                    <a:pt x="100" y="354"/>
                  </a:lnTo>
                  <a:lnTo>
                    <a:pt x="102" y="354"/>
                  </a:lnTo>
                  <a:close/>
                  <a:moveTo>
                    <a:pt x="48" y="354"/>
                  </a:moveTo>
                  <a:lnTo>
                    <a:pt x="45" y="354"/>
                  </a:lnTo>
                  <a:lnTo>
                    <a:pt x="48" y="354"/>
                  </a:lnTo>
                  <a:close/>
                  <a:moveTo>
                    <a:pt x="185" y="352"/>
                  </a:moveTo>
                  <a:lnTo>
                    <a:pt x="185" y="354"/>
                  </a:lnTo>
                  <a:lnTo>
                    <a:pt x="185" y="352"/>
                  </a:lnTo>
                  <a:close/>
                  <a:moveTo>
                    <a:pt x="78" y="352"/>
                  </a:moveTo>
                  <a:lnTo>
                    <a:pt x="78" y="354"/>
                  </a:lnTo>
                  <a:lnTo>
                    <a:pt x="78" y="352"/>
                  </a:lnTo>
                  <a:close/>
                  <a:moveTo>
                    <a:pt x="62" y="354"/>
                  </a:moveTo>
                  <a:lnTo>
                    <a:pt x="59" y="354"/>
                  </a:lnTo>
                  <a:lnTo>
                    <a:pt x="59" y="352"/>
                  </a:lnTo>
                  <a:lnTo>
                    <a:pt x="62" y="354"/>
                  </a:lnTo>
                  <a:close/>
                  <a:moveTo>
                    <a:pt x="195" y="354"/>
                  </a:moveTo>
                  <a:lnTo>
                    <a:pt x="195" y="352"/>
                  </a:lnTo>
                  <a:lnTo>
                    <a:pt x="195" y="354"/>
                  </a:lnTo>
                  <a:close/>
                  <a:moveTo>
                    <a:pt x="90" y="354"/>
                  </a:moveTo>
                  <a:lnTo>
                    <a:pt x="90" y="352"/>
                  </a:lnTo>
                  <a:lnTo>
                    <a:pt x="90" y="354"/>
                  </a:lnTo>
                  <a:close/>
                  <a:moveTo>
                    <a:pt x="12" y="354"/>
                  </a:moveTo>
                  <a:lnTo>
                    <a:pt x="12" y="352"/>
                  </a:lnTo>
                  <a:lnTo>
                    <a:pt x="12" y="354"/>
                  </a:lnTo>
                  <a:close/>
                  <a:moveTo>
                    <a:pt x="71" y="354"/>
                  </a:moveTo>
                  <a:lnTo>
                    <a:pt x="71" y="352"/>
                  </a:lnTo>
                  <a:lnTo>
                    <a:pt x="71" y="354"/>
                  </a:lnTo>
                  <a:close/>
                  <a:moveTo>
                    <a:pt x="180" y="354"/>
                  </a:moveTo>
                  <a:lnTo>
                    <a:pt x="180" y="352"/>
                  </a:lnTo>
                  <a:lnTo>
                    <a:pt x="180" y="354"/>
                  </a:lnTo>
                  <a:close/>
                  <a:moveTo>
                    <a:pt x="59" y="354"/>
                  </a:moveTo>
                  <a:lnTo>
                    <a:pt x="59" y="352"/>
                  </a:lnTo>
                  <a:lnTo>
                    <a:pt x="59" y="354"/>
                  </a:lnTo>
                  <a:close/>
                  <a:moveTo>
                    <a:pt x="83" y="354"/>
                  </a:moveTo>
                  <a:lnTo>
                    <a:pt x="83" y="352"/>
                  </a:lnTo>
                  <a:lnTo>
                    <a:pt x="83" y="354"/>
                  </a:lnTo>
                  <a:close/>
                  <a:moveTo>
                    <a:pt x="69" y="354"/>
                  </a:moveTo>
                  <a:lnTo>
                    <a:pt x="69" y="352"/>
                  </a:lnTo>
                  <a:lnTo>
                    <a:pt x="69" y="354"/>
                  </a:lnTo>
                  <a:close/>
                  <a:moveTo>
                    <a:pt x="202" y="354"/>
                  </a:moveTo>
                  <a:lnTo>
                    <a:pt x="202" y="352"/>
                  </a:lnTo>
                  <a:lnTo>
                    <a:pt x="202" y="354"/>
                  </a:lnTo>
                  <a:close/>
                  <a:moveTo>
                    <a:pt x="78" y="354"/>
                  </a:moveTo>
                  <a:lnTo>
                    <a:pt x="78" y="352"/>
                  </a:lnTo>
                  <a:lnTo>
                    <a:pt x="81" y="352"/>
                  </a:lnTo>
                  <a:lnTo>
                    <a:pt x="78" y="354"/>
                  </a:lnTo>
                  <a:close/>
                  <a:moveTo>
                    <a:pt x="43" y="354"/>
                  </a:moveTo>
                  <a:lnTo>
                    <a:pt x="40" y="354"/>
                  </a:lnTo>
                  <a:lnTo>
                    <a:pt x="43" y="352"/>
                  </a:lnTo>
                  <a:lnTo>
                    <a:pt x="43" y="354"/>
                  </a:lnTo>
                  <a:close/>
                  <a:moveTo>
                    <a:pt x="38" y="352"/>
                  </a:moveTo>
                  <a:lnTo>
                    <a:pt x="38" y="354"/>
                  </a:lnTo>
                  <a:lnTo>
                    <a:pt x="38" y="352"/>
                  </a:lnTo>
                  <a:close/>
                  <a:moveTo>
                    <a:pt x="81" y="352"/>
                  </a:moveTo>
                  <a:lnTo>
                    <a:pt x="81" y="354"/>
                  </a:lnTo>
                  <a:lnTo>
                    <a:pt x="81" y="352"/>
                  </a:lnTo>
                  <a:close/>
                  <a:moveTo>
                    <a:pt x="33" y="354"/>
                  </a:moveTo>
                  <a:lnTo>
                    <a:pt x="33" y="352"/>
                  </a:lnTo>
                  <a:lnTo>
                    <a:pt x="33" y="354"/>
                  </a:lnTo>
                  <a:close/>
                  <a:moveTo>
                    <a:pt x="29" y="352"/>
                  </a:moveTo>
                  <a:lnTo>
                    <a:pt x="29" y="354"/>
                  </a:lnTo>
                  <a:lnTo>
                    <a:pt x="29" y="352"/>
                  </a:lnTo>
                  <a:close/>
                  <a:moveTo>
                    <a:pt x="64" y="352"/>
                  </a:moveTo>
                  <a:lnTo>
                    <a:pt x="62" y="352"/>
                  </a:lnTo>
                  <a:lnTo>
                    <a:pt x="64" y="352"/>
                  </a:lnTo>
                  <a:close/>
                  <a:moveTo>
                    <a:pt x="59" y="352"/>
                  </a:moveTo>
                  <a:lnTo>
                    <a:pt x="59" y="354"/>
                  </a:lnTo>
                  <a:lnTo>
                    <a:pt x="59" y="352"/>
                  </a:lnTo>
                  <a:close/>
                  <a:moveTo>
                    <a:pt x="43" y="352"/>
                  </a:moveTo>
                  <a:lnTo>
                    <a:pt x="40" y="352"/>
                  </a:lnTo>
                  <a:lnTo>
                    <a:pt x="43" y="352"/>
                  </a:lnTo>
                  <a:close/>
                  <a:moveTo>
                    <a:pt x="102" y="352"/>
                  </a:moveTo>
                  <a:lnTo>
                    <a:pt x="102" y="354"/>
                  </a:lnTo>
                  <a:lnTo>
                    <a:pt x="102" y="352"/>
                  </a:lnTo>
                  <a:close/>
                  <a:moveTo>
                    <a:pt x="12" y="352"/>
                  </a:moveTo>
                  <a:lnTo>
                    <a:pt x="10" y="352"/>
                  </a:lnTo>
                  <a:lnTo>
                    <a:pt x="12" y="352"/>
                  </a:lnTo>
                  <a:close/>
                  <a:moveTo>
                    <a:pt x="62" y="352"/>
                  </a:moveTo>
                  <a:lnTo>
                    <a:pt x="59" y="352"/>
                  </a:lnTo>
                  <a:lnTo>
                    <a:pt x="62" y="352"/>
                  </a:lnTo>
                  <a:close/>
                  <a:moveTo>
                    <a:pt x="38" y="352"/>
                  </a:moveTo>
                  <a:lnTo>
                    <a:pt x="36" y="352"/>
                  </a:lnTo>
                  <a:lnTo>
                    <a:pt x="38" y="352"/>
                  </a:lnTo>
                  <a:close/>
                  <a:moveTo>
                    <a:pt x="95" y="352"/>
                  </a:moveTo>
                  <a:lnTo>
                    <a:pt x="93" y="352"/>
                  </a:lnTo>
                  <a:lnTo>
                    <a:pt x="95" y="352"/>
                  </a:lnTo>
                  <a:close/>
                  <a:moveTo>
                    <a:pt x="50" y="352"/>
                  </a:moveTo>
                  <a:lnTo>
                    <a:pt x="48" y="352"/>
                  </a:lnTo>
                  <a:lnTo>
                    <a:pt x="50" y="352"/>
                  </a:lnTo>
                  <a:close/>
                  <a:moveTo>
                    <a:pt x="52" y="352"/>
                  </a:moveTo>
                  <a:lnTo>
                    <a:pt x="50" y="352"/>
                  </a:lnTo>
                  <a:lnTo>
                    <a:pt x="52" y="352"/>
                  </a:lnTo>
                  <a:close/>
                  <a:moveTo>
                    <a:pt x="102" y="352"/>
                  </a:moveTo>
                  <a:lnTo>
                    <a:pt x="100" y="352"/>
                  </a:lnTo>
                  <a:lnTo>
                    <a:pt x="102" y="352"/>
                  </a:lnTo>
                  <a:close/>
                  <a:moveTo>
                    <a:pt x="104" y="352"/>
                  </a:moveTo>
                  <a:lnTo>
                    <a:pt x="102" y="352"/>
                  </a:lnTo>
                  <a:lnTo>
                    <a:pt x="104" y="352"/>
                  </a:lnTo>
                  <a:close/>
                  <a:moveTo>
                    <a:pt x="192" y="352"/>
                  </a:moveTo>
                  <a:lnTo>
                    <a:pt x="190" y="352"/>
                  </a:lnTo>
                  <a:lnTo>
                    <a:pt x="192" y="352"/>
                  </a:lnTo>
                  <a:close/>
                  <a:moveTo>
                    <a:pt x="183" y="352"/>
                  </a:moveTo>
                  <a:lnTo>
                    <a:pt x="180" y="352"/>
                  </a:lnTo>
                  <a:lnTo>
                    <a:pt x="183" y="352"/>
                  </a:lnTo>
                  <a:close/>
                  <a:moveTo>
                    <a:pt x="104" y="352"/>
                  </a:moveTo>
                  <a:lnTo>
                    <a:pt x="102" y="352"/>
                  </a:lnTo>
                  <a:lnTo>
                    <a:pt x="104" y="352"/>
                  </a:lnTo>
                  <a:close/>
                  <a:moveTo>
                    <a:pt x="48" y="352"/>
                  </a:moveTo>
                  <a:lnTo>
                    <a:pt x="50" y="352"/>
                  </a:lnTo>
                  <a:lnTo>
                    <a:pt x="48" y="352"/>
                  </a:lnTo>
                  <a:close/>
                  <a:moveTo>
                    <a:pt x="71" y="352"/>
                  </a:moveTo>
                  <a:lnTo>
                    <a:pt x="69" y="352"/>
                  </a:lnTo>
                  <a:lnTo>
                    <a:pt x="71" y="352"/>
                  </a:lnTo>
                  <a:close/>
                  <a:moveTo>
                    <a:pt x="43" y="352"/>
                  </a:moveTo>
                  <a:lnTo>
                    <a:pt x="40" y="352"/>
                  </a:lnTo>
                  <a:lnTo>
                    <a:pt x="43" y="352"/>
                  </a:lnTo>
                  <a:close/>
                  <a:moveTo>
                    <a:pt x="95" y="352"/>
                  </a:moveTo>
                  <a:lnTo>
                    <a:pt x="97" y="352"/>
                  </a:lnTo>
                  <a:lnTo>
                    <a:pt x="95" y="352"/>
                  </a:lnTo>
                  <a:close/>
                  <a:moveTo>
                    <a:pt x="183" y="352"/>
                  </a:moveTo>
                  <a:lnTo>
                    <a:pt x="180" y="352"/>
                  </a:lnTo>
                  <a:lnTo>
                    <a:pt x="183" y="352"/>
                  </a:lnTo>
                  <a:close/>
                  <a:moveTo>
                    <a:pt x="107" y="352"/>
                  </a:moveTo>
                  <a:lnTo>
                    <a:pt x="104" y="352"/>
                  </a:lnTo>
                  <a:lnTo>
                    <a:pt x="107" y="352"/>
                  </a:lnTo>
                  <a:close/>
                  <a:moveTo>
                    <a:pt x="88" y="352"/>
                  </a:moveTo>
                  <a:lnTo>
                    <a:pt x="86" y="352"/>
                  </a:lnTo>
                  <a:lnTo>
                    <a:pt x="88" y="352"/>
                  </a:lnTo>
                  <a:close/>
                  <a:moveTo>
                    <a:pt x="59" y="352"/>
                  </a:moveTo>
                  <a:lnTo>
                    <a:pt x="57" y="352"/>
                  </a:lnTo>
                  <a:lnTo>
                    <a:pt x="59" y="352"/>
                  </a:lnTo>
                  <a:close/>
                  <a:moveTo>
                    <a:pt x="48" y="352"/>
                  </a:moveTo>
                  <a:lnTo>
                    <a:pt x="45" y="352"/>
                  </a:lnTo>
                  <a:lnTo>
                    <a:pt x="48" y="352"/>
                  </a:lnTo>
                  <a:close/>
                  <a:moveTo>
                    <a:pt x="102" y="352"/>
                  </a:moveTo>
                  <a:lnTo>
                    <a:pt x="100" y="352"/>
                  </a:lnTo>
                  <a:lnTo>
                    <a:pt x="102" y="352"/>
                  </a:lnTo>
                  <a:close/>
                  <a:moveTo>
                    <a:pt x="48" y="352"/>
                  </a:moveTo>
                  <a:lnTo>
                    <a:pt x="45" y="352"/>
                  </a:lnTo>
                  <a:lnTo>
                    <a:pt x="48" y="352"/>
                  </a:lnTo>
                  <a:close/>
                  <a:moveTo>
                    <a:pt x="31" y="352"/>
                  </a:moveTo>
                  <a:lnTo>
                    <a:pt x="29" y="352"/>
                  </a:lnTo>
                  <a:lnTo>
                    <a:pt x="31" y="352"/>
                  </a:lnTo>
                  <a:close/>
                  <a:moveTo>
                    <a:pt x="43" y="352"/>
                  </a:moveTo>
                  <a:lnTo>
                    <a:pt x="43" y="350"/>
                  </a:lnTo>
                  <a:lnTo>
                    <a:pt x="43" y="352"/>
                  </a:lnTo>
                  <a:close/>
                  <a:moveTo>
                    <a:pt x="197" y="352"/>
                  </a:moveTo>
                  <a:lnTo>
                    <a:pt x="197" y="350"/>
                  </a:lnTo>
                  <a:lnTo>
                    <a:pt x="197" y="352"/>
                  </a:lnTo>
                  <a:close/>
                  <a:moveTo>
                    <a:pt x="86" y="352"/>
                  </a:moveTo>
                  <a:lnTo>
                    <a:pt x="86" y="350"/>
                  </a:lnTo>
                  <a:lnTo>
                    <a:pt x="86" y="352"/>
                  </a:lnTo>
                  <a:close/>
                  <a:moveTo>
                    <a:pt x="100" y="352"/>
                  </a:moveTo>
                  <a:lnTo>
                    <a:pt x="100" y="350"/>
                  </a:lnTo>
                  <a:lnTo>
                    <a:pt x="100" y="352"/>
                  </a:lnTo>
                  <a:close/>
                  <a:moveTo>
                    <a:pt x="102" y="352"/>
                  </a:moveTo>
                  <a:lnTo>
                    <a:pt x="102" y="350"/>
                  </a:lnTo>
                  <a:lnTo>
                    <a:pt x="102" y="352"/>
                  </a:lnTo>
                  <a:close/>
                  <a:moveTo>
                    <a:pt x="100" y="352"/>
                  </a:moveTo>
                  <a:lnTo>
                    <a:pt x="100" y="350"/>
                  </a:lnTo>
                  <a:lnTo>
                    <a:pt x="100" y="352"/>
                  </a:lnTo>
                  <a:close/>
                  <a:moveTo>
                    <a:pt x="97" y="352"/>
                  </a:moveTo>
                  <a:lnTo>
                    <a:pt x="97" y="350"/>
                  </a:lnTo>
                  <a:lnTo>
                    <a:pt x="97" y="352"/>
                  </a:lnTo>
                  <a:close/>
                  <a:moveTo>
                    <a:pt x="95" y="352"/>
                  </a:moveTo>
                  <a:lnTo>
                    <a:pt x="95" y="350"/>
                  </a:lnTo>
                  <a:lnTo>
                    <a:pt x="95" y="352"/>
                  </a:lnTo>
                  <a:close/>
                  <a:moveTo>
                    <a:pt x="64" y="352"/>
                  </a:moveTo>
                  <a:lnTo>
                    <a:pt x="64" y="350"/>
                  </a:lnTo>
                  <a:lnTo>
                    <a:pt x="64" y="352"/>
                  </a:lnTo>
                  <a:close/>
                  <a:moveTo>
                    <a:pt x="192" y="352"/>
                  </a:moveTo>
                  <a:lnTo>
                    <a:pt x="192" y="350"/>
                  </a:lnTo>
                  <a:lnTo>
                    <a:pt x="192" y="352"/>
                  </a:lnTo>
                  <a:close/>
                  <a:moveTo>
                    <a:pt x="59" y="350"/>
                  </a:moveTo>
                  <a:lnTo>
                    <a:pt x="59" y="352"/>
                  </a:lnTo>
                  <a:lnTo>
                    <a:pt x="59" y="350"/>
                  </a:lnTo>
                  <a:close/>
                  <a:moveTo>
                    <a:pt x="197" y="350"/>
                  </a:moveTo>
                  <a:lnTo>
                    <a:pt x="197" y="352"/>
                  </a:lnTo>
                  <a:lnTo>
                    <a:pt x="197" y="350"/>
                  </a:lnTo>
                  <a:close/>
                  <a:moveTo>
                    <a:pt x="52" y="350"/>
                  </a:moveTo>
                  <a:lnTo>
                    <a:pt x="52" y="352"/>
                  </a:lnTo>
                  <a:lnTo>
                    <a:pt x="52" y="350"/>
                  </a:lnTo>
                  <a:close/>
                  <a:moveTo>
                    <a:pt x="59" y="350"/>
                  </a:moveTo>
                  <a:lnTo>
                    <a:pt x="59" y="352"/>
                  </a:lnTo>
                  <a:lnTo>
                    <a:pt x="59" y="350"/>
                  </a:lnTo>
                  <a:close/>
                  <a:moveTo>
                    <a:pt x="50" y="352"/>
                  </a:moveTo>
                  <a:lnTo>
                    <a:pt x="50" y="350"/>
                  </a:lnTo>
                  <a:lnTo>
                    <a:pt x="50" y="352"/>
                  </a:lnTo>
                  <a:close/>
                  <a:moveTo>
                    <a:pt x="59" y="350"/>
                  </a:moveTo>
                  <a:lnTo>
                    <a:pt x="59" y="352"/>
                  </a:lnTo>
                  <a:lnTo>
                    <a:pt x="59" y="350"/>
                  </a:lnTo>
                  <a:close/>
                  <a:moveTo>
                    <a:pt x="38" y="352"/>
                  </a:moveTo>
                  <a:lnTo>
                    <a:pt x="38" y="350"/>
                  </a:lnTo>
                  <a:lnTo>
                    <a:pt x="38" y="352"/>
                  </a:lnTo>
                  <a:close/>
                  <a:moveTo>
                    <a:pt x="48" y="352"/>
                  </a:moveTo>
                  <a:lnTo>
                    <a:pt x="48" y="350"/>
                  </a:lnTo>
                  <a:lnTo>
                    <a:pt x="48" y="352"/>
                  </a:lnTo>
                  <a:close/>
                  <a:moveTo>
                    <a:pt x="90" y="350"/>
                  </a:moveTo>
                  <a:lnTo>
                    <a:pt x="90" y="352"/>
                  </a:lnTo>
                  <a:lnTo>
                    <a:pt x="93" y="350"/>
                  </a:lnTo>
                  <a:lnTo>
                    <a:pt x="93" y="352"/>
                  </a:lnTo>
                  <a:lnTo>
                    <a:pt x="90" y="352"/>
                  </a:lnTo>
                  <a:lnTo>
                    <a:pt x="90" y="350"/>
                  </a:lnTo>
                  <a:close/>
                  <a:moveTo>
                    <a:pt x="36" y="352"/>
                  </a:moveTo>
                  <a:lnTo>
                    <a:pt x="36" y="350"/>
                  </a:lnTo>
                  <a:lnTo>
                    <a:pt x="36" y="352"/>
                  </a:lnTo>
                  <a:close/>
                  <a:moveTo>
                    <a:pt x="93" y="350"/>
                  </a:moveTo>
                  <a:lnTo>
                    <a:pt x="93" y="352"/>
                  </a:lnTo>
                  <a:lnTo>
                    <a:pt x="93" y="350"/>
                  </a:lnTo>
                  <a:close/>
                  <a:moveTo>
                    <a:pt x="86" y="352"/>
                  </a:moveTo>
                  <a:lnTo>
                    <a:pt x="86" y="350"/>
                  </a:lnTo>
                  <a:lnTo>
                    <a:pt x="86" y="352"/>
                  </a:lnTo>
                  <a:close/>
                  <a:moveTo>
                    <a:pt x="93" y="352"/>
                  </a:moveTo>
                  <a:lnTo>
                    <a:pt x="93" y="350"/>
                  </a:lnTo>
                  <a:lnTo>
                    <a:pt x="93" y="352"/>
                  </a:lnTo>
                  <a:close/>
                  <a:moveTo>
                    <a:pt x="197" y="352"/>
                  </a:moveTo>
                  <a:lnTo>
                    <a:pt x="195" y="352"/>
                  </a:lnTo>
                  <a:lnTo>
                    <a:pt x="195" y="350"/>
                  </a:lnTo>
                  <a:lnTo>
                    <a:pt x="197" y="350"/>
                  </a:lnTo>
                  <a:lnTo>
                    <a:pt x="197" y="352"/>
                  </a:lnTo>
                  <a:close/>
                  <a:moveTo>
                    <a:pt x="209" y="350"/>
                  </a:moveTo>
                  <a:lnTo>
                    <a:pt x="207" y="350"/>
                  </a:lnTo>
                  <a:lnTo>
                    <a:pt x="209" y="350"/>
                  </a:lnTo>
                  <a:close/>
                  <a:moveTo>
                    <a:pt x="45" y="350"/>
                  </a:moveTo>
                  <a:lnTo>
                    <a:pt x="45" y="352"/>
                  </a:lnTo>
                  <a:lnTo>
                    <a:pt x="45" y="350"/>
                  </a:lnTo>
                  <a:close/>
                  <a:moveTo>
                    <a:pt x="86" y="350"/>
                  </a:moveTo>
                  <a:lnTo>
                    <a:pt x="83" y="350"/>
                  </a:lnTo>
                  <a:lnTo>
                    <a:pt x="86" y="350"/>
                  </a:lnTo>
                  <a:close/>
                  <a:moveTo>
                    <a:pt x="71" y="350"/>
                  </a:moveTo>
                  <a:lnTo>
                    <a:pt x="69" y="350"/>
                  </a:lnTo>
                  <a:lnTo>
                    <a:pt x="71" y="350"/>
                  </a:lnTo>
                  <a:close/>
                  <a:moveTo>
                    <a:pt x="40" y="350"/>
                  </a:moveTo>
                  <a:lnTo>
                    <a:pt x="40" y="352"/>
                  </a:lnTo>
                  <a:lnTo>
                    <a:pt x="40" y="350"/>
                  </a:lnTo>
                  <a:close/>
                  <a:moveTo>
                    <a:pt x="50" y="350"/>
                  </a:moveTo>
                  <a:lnTo>
                    <a:pt x="50" y="352"/>
                  </a:lnTo>
                  <a:lnTo>
                    <a:pt x="50" y="350"/>
                  </a:lnTo>
                  <a:close/>
                  <a:moveTo>
                    <a:pt x="204" y="350"/>
                  </a:moveTo>
                  <a:lnTo>
                    <a:pt x="202" y="350"/>
                  </a:lnTo>
                  <a:lnTo>
                    <a:pt x="204" y="350"/>
                  </a:lnTo>
                  <a:close/>
                  <a:moveTo>
                    <a:pt x="74" y="350"/>
                  </a:moveTo>
                  <a:lnTo>
                    <a:pt x="71" y="350"/>
                  </a:lnTo>
                  <a:lnTo>
                    <a:pt x="74" y="350"/>
                  </a:lnTo>
                  <a:close/>
                  <a:moveTo>
                    <a:pt x="64" y="350"/>
                  </a:moveTo>
                  <a:lnTo>
                    <a:pt x="62" y="350"/>
                  </a:lnTo>
                  <a:lnTo>
                    <a:pt x="64" y="350"/>
                  </a:lnTo>
                  <a:close/>
                  <a:moveTo>
                    <a:pt x="188" y="350"/>
                  </a:moveTo>
                  <a:lnTo>
                    <a:pt x="185" y="350"/>
                  </a:lnTo>
                  <a:lnTo>
                    <a:pt x="188" y="350"/>
                  </a:lnTo>
                  <a:close/>
                  <a:moveTo>
                    <a:pt x="64" y="350"/>
                  </a:moveTo>
                  <a:lnTo>
                    <a:pt x="62" y="350"/>
                  </a:lnTo>
                  <a:lnTo>
                    <a:pt x="64" y="350"/>
                  </a:lnTo>
                  <a:close/>
                  <a:moveTo>
                    <a:pt x="69" y="350"/>
                  </a:moveTo>
                  <a:lnTo>
                    <a:pt x="67" y="350"/>
                  </a:lnTo>
                  <a:lnTo>
                    <a:pt x="69" y="350"/>
                  </a:lnTo>
                  <a:close/>
                  <a:moveTo>
                    <a:pt x="74" y="350"/>
                  </a:moveTo>
                  <a:lnTo>
                    <a:pt x="71" y="350"/>
                  </a:lnTo>
                  <a:lnTo>
                    <a:pt x="74" y="350"/>
                  </a:lnTo>
                  <a:close/>
                  <a:moveTo>
                    <a:pt x="48" y="350"/>
                  </a:moveTo>
                  <a:lnTo>
                    <a:pt x="45" y="350"/>
                  </a:lnTo>
                  <a:lnTo>
                    <a:pt x="48" y="350"/>
                  </a:lnTo>
                  <a:close/>
                  <a:moveTo>
                    <a:pt x="74" y="350"/>
                  </a:moveTo>
                  <a:lnTo>
                    <a:pt x="71" y="350"/>
                  </a:lnTo>
                  <a:lnTo>
                    <a:pt x="74" y="350"/>
                  </a:lnTo>
                  <a:close/>
                  <a:moveTo>
                    <a:pt x="50" y="350"/>
                  </a:moveTo>
                  <a:lnTo>
                    <a:pt x="48" y="350"/>
                  </a:lnTo>
                  <a:lnTo>
                    <a:pt x="50" y="350"/>
                  </a:lnTo>
                  <a:close/>
                  <a:moveTo>
                    <a:pt x="43" y="350"/>
                  </a:moveTo>
                  <a:lnTo>
                    <a:pt x="40" y="350"/>
                  </a:lnTo>
                  <a:lnTo>
                    <a:pt x="43" y="350"/>
                  </a:lnTo>
                  <a:close/>
                  <a:moveTo>
                    <a:pt x="64" y="350"/>
                  </a:moveTo>
                  <a:lnTo>
                    <a:pt x="62" y="350"/>
                  </a:lnTo>
                  <a:lnTo>
                    <a:pt x="64" y="350"/>
                  </a:lnTo>
                  <a:close/>
                  <a:moveTo>
                    <a:pt x="5" y="350"/>
                  </a:moveTo>
                  <a:lnTo>
                    <a:pt x="2" y="350"/>
                  </a:lnTo>
                  <a:lnTo>
                    <a:pt x="5" y="350"/>
                  </a:lnTo>
                  <a:close/>
                  <a:moveTo>
                    <a:pt x="38" y="350"/>
                  </a:moveTo>
                  <a:lnTo>
                    <a:pt x="36" y="350"/>
                  </a:lnTo>
                  <a:lnTo>
                    <a:pt x="38" y="350"/>
                  </a:lnTo>
                  <a:close/>
                  <a:moveTo>
                    <a:pt x="93" y="350"/>
                  </a:moveTo>
                  <a:lnTo>
                    <a:pt x="90" y="350"/>
                  </a:lnTo>
                  <a:lnTo>
                    <a:pt x="93" y="350"/>
                  </a:lnTo>
                  <a:close/>
                  <a:moveTo>
                    <a:pt x="216" y="350"/>
                  </a:moveTo>
                  <a:lnTo>
                    <a:pt x="214" y="350"/>
                  </a:lnTo>
                  <a:lnTo>
                    <a:pt x="216" y="350"/>
                  </a:lnTo>
                  <a:close/>
                  <a:moveTo>
                    <a:pt x="76" y="350"/>
                  </a:moveTo>
                  <a:lnTo>
                    <a:pt x="74" y="350"/>
                  </a:lnTo>
                  <a:lnTo>
                    <a:pt x="76" y="350"/>
                  </a:lnTo>
                  <a:close/>
                  <a:moveTo>
                    <a:pt x="50" y="350"/>
                  </a:moveTo>
                  <a:lnTo>
                    <a:pt x="48" y="350"/>
                  </a:lnTo>
                  <a:lnTo>
                    <a:pt x="50" y="350"/>
                  </a:lnTo>
                  <a:close/>
                  <a:moveTo>
                    <a:pt x="202" y="350"/>
                  </a:moveTo>
                  <a:lnTo>
                    <a:pt x="199" y="350"/>
                  </a:lnTo>
                  <a:lnTo>
                    <a:pt x="202" y="350"/>
                  </a:lnTo>
                  <a:close/>
                  <a:moveTo>
                    <a:pt x="88" y="350"/>
                  </a:moveTo>
                  <a:lnTo>
                    <a:pt x="86" y="350"/>
                  </a:lnTo>
                  <a:lnTo>
                    <a:pt x="88" y="350"/>
                  </a:lnTo>
                  <a:close/>
                  <a:moveTo>
                    <a:pt x="52" y="350"/>
                  </a:moveTo>
                  <a:lnTo>
                    <a:pt x="50" y="350"/>
                  </a:lnTo>
                  <a:lnTo>
                    <a:pt x="52" y="350"/>
                  </a:lnTo>
                  <a:close/>
                  <a:moveTo>
                    <a:pt x="100" y="350"/>
                  </a:moveTo>
                  <a:lnTo>
                    <a:pt x="97" y="350"/>
                  </a:lnTo>
                  <a:lnTo>
                    <a:pt x="100" y="350"/>
                  </a:lnTo>
                  <a:close/>
                  <a:moveTo>
                    <a:pt x="223" y="350"/>
                  </a:moveTo>
                  <a:lnTo>
                    <a:pt x="223" y="347"/>
                  </a:lnTo>
                  <a:lnTo>
                    <a:pt x="223" y="350"/>
                  </a:lnTo>
                  <a:close/>
                  <a:moveTo>
                    <a:pt x="76" y="350"/>
                  </a:moveTo>
                  <a:lnTo>
                    <a:pt x="76" y="347"/>
                  </a:lnTo>
                  <a:lnTo>
                    <a:pt x="76" y="350"/>
                  </a:lnTo>
                  <a:close/>
                  <a:moveTo>
                    <a:pt x="93" y="350"/>
                  </a:moveTo>
                  <a:lnTo>
                    <a:pt x="93" y="347"/>
                  </a:lnTo>
                  <a:lnTo>
                    <a:pt x="93" y="350"/>
                  </a:lnTo>
                  <a:close/>
                  <a:moveTo>
                    <a:pt x="57" y="350"/>
                  </a:moveTo>
                  <a:lnTo>
                    <a:pt x="57" y="347"/>
                  </a:lnTo>
                  <a:lnTo>
                    <a:pt x="57" y="350"/>
                  </a:lnTo>
                  <a:close/>
                  <a:moveTo>
                    <a:pt x="199" y="350"/>
                  </a:moveTo>
                  <a:lnTo>
                    <a:pt x="199" y="347"/>
                  </a:lnTo>
                  <a:lnTo>
                    <a:pt x="199" y="350"/>
                  </a:lnTo>
                  <a:close/>
                  <a:moveTo>
                    <a:pt x="43" y="350"/>
                  </a:moveTo>
                  <a:lnTo>
                    <a:pt x="43" y="347"/>
                  </a:lnTo>
                  <a:lnTo>
                    <a:pt x="43" y="350"/>
                  </a:lnTo>
                  <a:close/>
                  <a:moveTo>
                    <a:pt x="36" y="347"/>
                  </a:moveTo>
                  <a:lnTo>
                    <a:pt x="36" y="350"/>
                  </a:lnTo>
                  <a:lnTo>
                    <a:pt x="36" y="347"/>
                  </a:lnTo>
                  <a:close/>
                  <a:moveTo>
                    <a:pt x="62" y="350"/>
                  </a:moveTo>
                  <a:lnTo>
                    <a:pt x="62" y="347"/>
                  </a:lnTo>
                  <a:lnTo>
                    <a:pt x="62" y="350"/>
                  </a:lnTo>
                  <a:close/>
                  <a:moveTo>
                    <a:pt x="221" y="347"/>
                  </a:moveTo>
                  <a:lnTo>
                    <a:pt x="221" y="350"/>
                  </a:lnTo>
                  <a:lnTo>
                    <a:pt x="221" y="347"/>
                  </a:lnTo>
                  <a:close/>
                  <a:moveTo>
                    <a:pt x="50" y="347"/>
                  </a:moveTo>
                  <a:lnTo>
                    <a:pt x="50" y="350"/>
                  </a:lnTo>
                  <a:lnTo>
                    <a:pt x="50" y="347"/>
                  </a:lnTo>
                  <a:close/>
                  <a:moveTo>
                    <a:pt x="90" y="347"/>
                  </a:moveTo>
                  <a:lnTo>
                    <a:pt x="90" y="350"/>
                  </a:lnTo>
                  <a:lnTo>
                    <a:pt x="90" y="347"/>
                  </a:lnTo>
                  <a:close/>
                  <a:moveTo>
                    <a:pt x="0" y="347"/>
                  </a:moveTo>
                  <a:lnTo>
                    <a:pt x="0" y="350"/>
                  </a:lnTo>
                  <a:lnTo>
                    <a:pt x="0" y="347"/>
                  </a:lnTo>
                  <a:close/>
                  <a:moveTo>
                    <a:pt x="38" y="347"/>
                  </a:moveTo>
                  <a:lnTo>
                    <a:pt x="38" y="350"/>
                  </a:lnTo>
                  <a:lnTo>
                    <a:pt x="38" y="347"/>
                  </a:lnTo>
                  <a:close/>
                  <a:moveTo>
                    <a:pt x="199" y="347"/>
                  </a:moveTo>
                  <a:lnTo>
                    <a:pt x="199" y="350"/>
                  </a:lnTo>
                  <a:lnTo>
                    <a:pt x="199" y="347"/>
                  </a:lnTo>
                  <a:close/>
                  <a:moveTo>
                    <a:pt x="48" y="347"/>
                  </a:moveTo>
                  <a:lnTo>
                    <a:pt x="48" y="350"/>
                  </a:lnTo>
                  <a:lnTo>
                    <a:pt x="48" y="347"/>
                  </a:lnTo>
                  <a:close/>
                  <a:moveTo>
                    <a:pt x="211" y="350"/>
                  </a:moveTo>
                  <a:lnTo>
                    <a:pt x="211" y="347"/>
                  </a:lnTo>
                  <a:lnTo>
                    <a:pt x="211" y="350"/>
                  </a:lnTo>
                  <a:close/>
                  <a:moveTo>
                    <a:pt x="204" y="347"/>
                  </a:moveTo>
                  <a:lnTo>
                    <a:pt x="204" y="350"/>
                  </a:lnTo>
                  <a:lnTo>
                    <a:pt x="204" y="347"/>
                  </a:lnTo>
                  <a:close/>
                  <a:moveTo>
                    <a:pt x="69" y="350"/>
                  </a:moveTo>
                  <a:lnTo>
                    <a:pt x="69" y="347"/>
                  </a:lnTo>
                  <a:lnTo>
                    <a:pt x="69" y="350"/>
                  </a:lnTo>
                  <a:close/>
                  <a:moveTo>
                    <a:pt x="211" y="347"/>
                  </a:moveTo>
                  <a:lnTo>
                    <a:pt x="211" y="350"/>
                  </a:lnTo>
                  <a:lnTo>
                    <a:pt x="211" y="347"/>
                  </a:lnTo>
                  <a:close/>
                  <a:moveTo>
                    <a:pt x="50" y="347"/>
                  </a:moveTo>
                  <a:lnTo>
                    <a:pt x="52" y="347"/>
                  </a:lnTo>
                  <a:lnTo>
                    <a:pt x="50" y="347"/>
                  </a:lnTo>
                  <a:close/>
                  <a:moveTo>
                    <a:pt x="50" y="347"/>
                  </a:moveTo>
                  <a:lnTo>
                    <a:pt x="48" y="347"/>
                  </a:lnTo>
                  <a:lnTo>
                    <a:pt x="50" y="347"/>
                  </a:lnTo>
                  <a:close/>
                  <a:moveTo>
                    <a:pt x="64" y="347"/>
                  </a:moveTo>
                  <a:lnTo>
                    <a:pt x="64" y="350"/>
                  </a:lnTo>
                  <a:lnTo>
                    <a:pt x="64" y="347"/>
                  </a:lnTo>
                  <a:close/>
                  <a:moveTo>
                    <a:pt x="218" y="347"/>
                  </a:moveTo>
                  <a:lnTo>
                    <a:pt x="218" y="350"/>
                  </a:lnTo>
                  <a:lnTo>
                    <a:pt x="218" y="347"/>
                  </a:lnTo>
                  <a:close/>
                  <a:moveTo>
                    <a:pt x="214" y="347"/>
                  </a:moveTo>
                  <a:lnTo>
                    <a:pt x="214" y="350"/>
                  </a:lnTo>
                  <a:lnTo>
                    <a:pt x="214" y="347"/>
                  </a:lnTo>
                  <a:close/>
                  <a:moveTo>
                    <a:pt x="199" y="347"/>
                  </a:moveTo>
                  <a:lnTo>
                    <a:pt x="197" y="347"/>
                  </a:lnTo>
                  <a:lnTo>
                    <a:pt x="199" y="347"/>
                  </a:lnTo>
                  <a:close/>
                  <a:moveTo>
                    <a:pt x="207" y="347"/>
                  </a:moveTo>
                  <a:lnTo>
                    <a:pt x="204" y="347"/>
                  </a:lnTo>
                  <a:lnTo>
                    <a:pt x="207" y="347"/>
                  </a:lnTo>
                  <a:close/>
                  <a:moveTo>
                    <a:pt x="90" y="347"/>
                  </a:moveTo>
                  <a:lnTo>
                    <a:pt x="88" y="347"/>
                  </a:lnTo>
                  <a:lnTo>
                    <a:pt x="90" y="347"/>
                  </a:lnTo>
                  <a:close/>
                  <a:moveTo>
                    <a:pt x="221" y="347"/>
                  </a:moveTo>
                  <a:lnTo>
                    <a:pt x="218" y="347"/>
                  </a:lnTo>
                  <a:lnTo>
                    <a:pt x="221" y="347"/>
                  </a:lnTo>
                  <a:close/>
                  <a:moveTo>
                    <a:pt x="221" y="347"/>
                  </a:moveTo>
                  <a:lnTo>
                    <a:pt x="221" y="350"/>
                  </a:lnTo>
                  <a:lnTo>
                    <a:pt x="221" y="347"/>
                  </a:lnTo>
                  <a:close/>
                  <a:moveTo>
                    <a:pt x="218" y="347"/>
                  </a:moveTo>
                  <a:lnTo>
                    <a:pt x="216" y="347"/>
                  </a:lnTo>
                  <a:lnTo>
                    <a:pt x="218" y="347"/>
                  </a:lnTo>
                  <a:close/>
                  <a:moveTo>
                    <a:pt x="55" y="347"/>
                  </a:moveTo>
                  <a:lnTo>
                    <a:pt x="52" y="347"/>
                  </a:lnTo>
                  <a:lnTo>
                    <a:pt x="55" y="347"/>
                  </a:lnTo>
                  <a:close/>
                  <a:moveTo>
                    <a:pt x="204" y="347"/>
                  </a:moveTo>
                  <a:lnTo>
                    <a:pt x="207" y="347"/>
                  </a:lnTo>
                  <a:lnTo>
                    <a:pt x="204" y="347"/>
                  </a:lnTo>
                  <a:close/>
                  <a:moveTo>
                    <a:pt x="197" y="347"/>
                  </a:moveTo>
                  <a:lnTo>
                    <a:pt x="195" y="347"/>
                  </a:lnTo>
                  <a:lnTo>
                    <a:pt x="197" y="347"/>
                  </a:lnTo>
                  <a:close/>
                  <a:moveTo>
                    <a:pt x="199" y="347"/>
                  </a:moveTo>
                  <a:lnTo>
                    <a:pt x="197" y="347"/>
                  </a:lnTo>
                  <a:lnTo>
                    <a:pt x="199" y="347"/>
                  </a:lnTo>
                  <a:close/>
                  <a:moveTo>
                    <a:pt x="93" y="347"/>
                  </a:moveTo>
                  <a:lnTo>
                    <a:pt x="90" y="347"/>
                  </a:lnTo>
                  <a:lnTo>
                    <a:pt x="93" y="347"/>
                  </a:lnTo>
                  <a:close/>
                  <a:moveTo>
                    <a:pt x="90" y="347"/>
                  </a:moveTo>
                  <a:lnTo>
                    <a:pt x="88" y="347"/>
                  </a:lnTo>
                  <a:lnTo>
                    <a:pt x="90" y="347"/>
                  </a:lnTo>
                  <a:close/>
                  <a:moveTo>
                    <a:pt x="88" y="347"/>
                  </a:moveTo>
                  <a:lnTo>
                    <a:pt x="86" y="347"/>
                  </a:lnTo>
                  <a:lnTo>
                    <a:pt x="88" y="347"/>
                  </a:lnTo>
                  <a:close/>
                  <a:moveTo>
                    <a:pt x="223" y="347"/>
                  </a:moveTo>
                  <a:lnTo>
                    <a:pt x="221" y="347"/>
                  </a:lnTo>
                  <a:lnTo>
                    <a:pt x="223" y="347"/>
                  </a:lnTo>
                  <a:close/>
                  <a:moveTo>
                    <a:pt x="86" y="347"/>
                  </a:moveTo>
                  <a:lnTo>
                    <a:pt x="83" y="347"/>
                  </a:lnTo>
                  <a:lnTo>
                    <a:pt x="86" y="347"/>
                  </a:lnTo>
                  <a:close/>
                  <a:moveTo>
                    <a:pt x="38" y="347"/>
                  </a:moveTo>
                  <a:lnTo>
                    <a:pt x="36" y="347"/>
                  </a:lnTo>
                  <a:lnTo>
                    <a:pt x="38" y="347"/>
                  </a:lnTo>
                  <a:close/>
                  <a:moveTo>
                    <a:pt x="81" y="347"/>
                  </a:moveTo>
                  <a:lnTo>
                    <a:pt x="83" y="347"/>
                  </a:lnTo>
                  <a:lnTo>
                    <a:pt x="81" y="347"/>
                  </a:lnTo>
                  <a:close/>
                  <a:moveTo>
                    <a:pt x="197" y="347"/>
                  </a:moveTo>
                  <a:lnTo>
                    <a:pt x="195" y="347"/>
                  </a:lnTo>
                  <a:lnTo>
                    <a:pt x="197" y="347"/>
                  </a:lnTo>
                  <a:close/>
                  <a:moveTo>
                    <a:pt x="31" y="347"/>
                  </a:moveTo>
                  <a:lnTo>
                    <a:pt x="29" y="347"/>
                  </a:lnTo>
                  <a:lnTo>
                    <a:pt x="31" y="347"/>
                  </a:lnTo>
                  <a:close/>
                  <a:moveTo>
                    <a:pt x="197" y="347"/>
                  </a:moveTo>
                  <a:lnTo>
                    <a:pt x="195" y="347"/>
                  </a:lnTo>
                  <a:lnTo>
                    <a:pt x="197" y="347"/>
                  </a:lnTo>
                  <a:close/>
                  <a:moveTo>
                    <a:pt x="254" y="347"/>
                  </a:moveTo>
                  <a:lnTo>
                    <a:pt x="256" y="347"/>
                  </a:lnTo>
                  <a:lnTo>
                    <a:pt x="254" y="347"/>
                  </a:lnTo>
                  <a:close/>
                  <a:moveTo>
                    <a:pt x="223" y="347"/>
                  </a:moveTo>
                  <a:lnTo>
                    <a:pt x="221" y="347"/>
                  </a:lnTo>
                  <a:lnTo>
                    <a:pt x="223" y="347"/>
                  </a:lnTo>
                  <a:close/>
                  <a:moveTo>
                    <a:pt x="199" y="347"/>
                  </a:moveTo>
                  <a:lnTo>
                    <a:pt x="197" y="347"/>
                  </a:lnTo>
                  <a:lnTo>
                    <a:pt x="199" y="347"/>
                  </a:lnTo>
                  <a:close/>
                  <a:moveTo>
                    <a:pt x="116" y="347"/>
                  </a:moveTo>
                  <a:lnTo>
                    <a:pt x="114" y="347"/>
                  </a:lnTo>
                  <a:lnTo>
                    <a:pt x="116" y="347"/>
                  </a:lnTo>
                  <a:close/>
                  <a:moveTo>
                    <a:pt x="86" y="347"/>
                  </a:moveTo>
                  <a:lnTo>
                    <a:pt x="83" y="347"/>
                  </a:lnTo>
                  <a:lnTo>
                    <a:pt x="86" y="347"/>
                  </a:lnTo>
                  <a:close/>
                  <a:moveTo>
                    <a:pt x="64" y="347"/>
                  </a:moveTo>
                  <a:lnTo>
                    <a:pt x="64" y="345"/>
                  </a:lnTo>
                  <a:lnTo>
                    <a:pt x="64" y="347"/>
                  </a:lnTo>
                  <a:close/>
                  <a:moveTo>
                    <a:pt x="64" y="347"/>
                  </a:moveTo>
                  <a:lnTo>
                    <a:pt x="62" y="347"/>
                  </a:lnTo>
                  <a:lnTo>
                    <a:pt x="62" y="345"/>
                  </a:lnTo>
                  <a:lnTo>
                    <a:pt x="64" y="347"/>
                  </a:lnTo>
                  <a:close/>
                  <a:moveTo>
                    <a:pt x="86" y="347"/>
                  </a:moveTo>
                  <a:lnTo>
                    <a:pt x="86" y="345"/>
                  </a:lnTo>
                  <a:lnTo>
                    <a:pt x="86" y="347"/>
                  </a:lnTo>
                  <a:close/>
                  <a:moveTo>
                    <a:pt x="223" y="347"/>
                  </a:moveTo>
                  <a:lnTo>
                    <a:pt x="223" y="345"/>
                  </a:lnTo>
                  <a:lnTo>
                    <a:pt x="223" y="347"/>
                  </a:lnTo>
                  <a:close/>
                  <a:moveTo>
                    <a:pt x="40" y="347"/>
                  </a:moveTo>
                  <a:lnTo>
                    <a:pt x="40" y="345"/>
                  </a:lnTo>
                  <a:lnTo>
                    <a:pt x="40" y="347"/>
                  </a:lnTo>
                  <a:close/>
                  <a:moveTo>
                    <a:pt x="17" y="347"/>
                  </a:moveTo>
                  <a:lnTo>
                    <a:pt x="17" y="345"/>
                  </a:lnTo>
                  <a:lnTo>
                    <a:pt x="17" y="347"/>
                  </a:lnTo>
                  <a:close/>
                  <a:moveTo>
                    <a:pt x="107" y="347"/>
                  </a:moveTo>
                  <a:lnTo>
                    <a:pt x="107" y="345"/>
                  </a:lnTo>
                  <a:lnTo>
                    <a:pt x="107" y="347"/>
                  </a:lnTo>
                  <a:close/>
                  <a:moveTo>
                    <a:pt x="221" y="347"/>
                  </a:moveTo>
                  <a:lnTo>
                    <a:pt x="221" y="345"/>
                  </a:lnTo>
                  <a:lnTo>
                    <a:pt x="221" y="347"/>
                  </a:lnTo>
                  <a:close/>
                  <a:moveTo>
                    <a:pt x="256" y="347"/>
                  </a:moveTo>
                  <a:lnTo>
                    <a:pt x="256" y="345"/>
                  </a:lnTo>
                  <a:lnTo>
                    <a:pt x="256" y="347"/>
                  </a:lnTo>
                  <a:close/>
                  <a:moveTo>
                    <a:pt x="33" y="345"/>
                  </a:moveTo>
                  <a:lnTo>
                    <a:pt x="33" y="347"/>
                  </a:lnTo>
                  <a:lnTo>
                    <a:pt x="33" y="345"/>
                  </a:lnTo>
                  <a:close/>
                  <a:moveTo>
                    <a:pt x="114" y="347"/>
                  </a:moveTo>
                  <a:lnTo>
                    <a:pt x="114" y="345"/>
                  </a:lnTo>
                  <a:lnTo>
                    <a:pt x="114" y="347"/>
                  </a:lnTo>
                  <a:close/>
                  <a:moveTo>
                    <a:pt x="67" y="347"/>
                  </a:moveTo>
                  <a:lnTo>
                    <a:pt x="67" y="345"/>
                  </a:lnTo>
                  <a:lnTo>
                    <a:pt x="67" y="347"/>
                  </a:lnTo>
                  <a:close/>
                  <a:moveTo>
                    <a:pt x="5" y="345"/>
                  </a:moveTo>
                  <a:lnTo>
                    <a:pt x="5" y="347"/>
                  </a:lnTo>
                  <a:lnTo>
                    <a:pt x="5" y="345"/>
                  </a:lnTo>
                  <a:close/>
                  <a:moveTo>
                    <a:pt x="218" y="347"/>
                  </a:moveTo>
                  <a:lnTo>
                    <a:pt x="218" y="345"/>
                  </a:lnTo>
                  <a:lnTo>
                    <a:pt x="218" y="347"/>
                  </a:lnTo>
                  <a:close/>
                  <a:moveTo>
                    <a:pt x="223" y="345"/>
                  </a:moveTo>
                  <a:lnTo>
                    <a:pt x="223" y="347"/>
                  </a:lnTo>
                  <a:lnTo>
                    <a:pt x="223" y="345"/>
                  </a:lnTo>
                  <a:close/>
                  <a:moveTo>
                    <a:pt x="221" y="345"/>
                  </a:moveTo>
                  <a:lnTo>
                    <a:pt x="221" y="347"/>
                  </a:lnTo>
                  <a:lnTo>
                    <a:pt x="218" y="347"/>
                  </a:lnTo>
                  <a:lnTo>
                    <a:pt x="221" y="345"/>
                  </a:lnTo>
                  <a:close/>
                  <a:moveTo>
                    <a:pt x="81" y="345"/>
                  </a:moveTo>
                  <a:lnTo>
                    <a:pt x="81" y="347"/>
                  </a:lnTo>
                  <a:lnTo>
                    <a:pt x="81" y="345"/>
                  </a:lnTo>
                  <a:close/>
                  <a:moveTo>
                    <a:pt x="207" y="347"/>
                  </a:moveTo>
                  <a:lnTo>
                    <a:pt x="207" y="345"/>
                  </a:lnTo>
                  <a:lnTo>
                    <a:pt x="207" y="347"/>
                  </a:lnTo>
                  <a:close/>
                  <a:moveTo>
                    <a:pt x="88" y="345"/>
                  </a:moveTo>
                  <a:lnTo>
                    <a:pt x="88" y="347"/>
                  </a:lnTo>
                  <a:lnTo>
                    <a:pt x="88" y="345"/>
                  </a:lnTo>
                  <a:close/>
                  <a:moveTo>
                    <a:pt x="67" y="345"/>
                  </a:moveTo>
                  <a:lnTo>
                    <a:pt x="67" y="347"/>
                  </a:lnTo>
                  <a:lnTo>
                    <a:pt x="67" y="345"/>
                  </a:lnTo>
                  <a:close/>
                  <a:moveTo>
                    <a:pt x="2" y="345"/>
                  </a:moveTo>
                  <a:lnTo>
                    <a:pt x="2" y="347"/>
                  </a:lnTo>
                  <a:lnTo>
                    <a:pt x="2" y="345"/>
                  </a:lnTo>
                  <a:close/>
                  <a:moveTo>
                    <a:pt x="48" y="347"/>
                  </a:moveTo>
                  <a:lnTo>
                    <a:pt x="48" y="345"/>
                  </a:lnTo>
                  <a:lnTo>
                    <a:pt x="48" y="347"/>
                  </a:lnTo>
                  <a:close/>
                  <a:moveTo>
                    <a:pt x="17" y="347"/>
                  </a:moveTo>
                  <a:lnTo>
                    <a:pt x="17" y="345"/>
                  </a:lnTo>
                  <a:lnTo>
                    <a:pt x="17" y="347"/>
                  </a:lnTo>
                  <a:close/>
                  <a:moveTo>
                    <a:pt x="81" y="345"/>
                  </a:moveTo>
                  <a:lnTo>
                    <a:pt x="78" y="345"/>
                  </a:lnTo>
                  <a:lnTo>
                    <a:pt x="81" y="345"/>
                  </a:lnTo>
                  <a:close/>
                  <a:moveTo>
                    <a:pt x="64" y="345"/>
                  </a:moveTo>
                  <a:lnTo>
                    <a:pt x="64" y="347"/>
                  </a:lnTo>
                  <a:lnTo>
                    <a:pt x="64" y="345"/>
                  </a:lnTo>
                  <a:close/>
                  <a:moveTo>
                    <a:pt x="78" y="347"/>
                  </a:moveTo>
                  <a:lnTo>
                    <a:pt x="78" y="345"/>
                  </a:lnTo>
                  <a:lnTo>
                    <a:pt x="78" y="347"/>
                  </a:lnTo>
                  <a:close/>
                  <a:moveTo>
                    <a:pt x="204" y="347"/>
                  </a:moveTo>
                  <a:lnTo>
                    <a:pt x="204" y="345"/>
                  </a:lnTo>
                  <a:lnTo>
                    <a:pt x="204" y="347"/>
                  </a:lnTo>
                  <a:close/>
                  <a:moveTo>
                    <a:pt x="5" y="347"/>
                  </a:moveTo>
                  <a:lnTo>
                    <a:pt x="5" y="345"/>
                  </a:lnTo>
                  <a:lnTo>
                    <a:pt x="5" y="347"/>
                  </a:lnTo>
                  <a:close/>
                  <a:moveTo>
                    <a:pt x="38" y="345"/>
                  </a:moveTo>
                  <a:lnTo>
                    <a:pt x="36" y="345"/>
                  </a:lnTo>
                  <a:lnTo>
                    <a:pt x="38" y="345"/>
                  </a:lnTo>
                  <a:close/>
                  <a:moveTo>
                    <a:pt x="199" y="347"/>
                  </a:moveTo>
                  <a:lnTo>
                    <a:pt x="199" y="345"/>
                  </a:lnTo>
                  <a:lnTo>
                    <a:pt x="199" y="347"/>
                  </a:lnTo>
                  <a:close/>
                  <a:moveTo>
                    <a:pt x="64" y="345"/>
                  </a:moveTo>
                  <a:lnTo>
                    <a:pt x="64" y="347"/>
                  </a:lnTo>
                  <a:lnTo>
                    <a:pt x="64" y="345"/>
                  </a:lnTo>
                  <a:close/>
                  <a:moveTo>
                    <a:pt x="52" y="345"/>
                  </a:moveTo>
                  <a:lnTo>
                    <a:pt x="50" y="345"/>
                  </a:lnTo>
                  <a:lnTo>
                    <a:pt x="52" y="345"/>
                  </a:lnTo>
                  <a:close/>
                  <a:moveTo>
                    <a:pt x="240" y="345"/>
                  </a:moveTo>
                  <a:lnTo>
                    <a:pt x="237" y="345"/>
                  </a:lnTo>
                  <a:lnTo>
                    <a:pt x="240" y="345"/>
                  </a:lnTo>
                  <a:close/>
                  <a:moveTo>
                    <a:pt x="235" y="345"/>
                  </a:moveTo>
                  <a:lnTo>
                    <a:pt x="233" y="345"/>
                  </a:lnTo>
                  <a:lnTo>
                    <a:pt x="235" y="345"/>
                  </a:lnTo>
                  <a:close/>
                  <a:moveTo>
                    <a:pt x="43" y="345"/>
                  </a:moveTo>
                  <a:lnTo>
                    <a:pt x="40" y="345"/>
                  </a:lnTo>
                  <a:lnTo>
                    <a:pt x="43" y="345"/>
                  </a:lnTo>
                  <a:close/>
                  <a:moveTo>
                    <a:pt x="64" y="345"/>
                  </a:moveTo>
                  <a:lnTo>
                    <a:pt x="62" y="345"/>
                  </a:lnTo>
                  <a:lnTo>
                    <a:pt x="64" y="345"/>
                  </a:lnTo>
                  <a:close/>
                  <a:moveTo>
                    <a:pt x="52" y="345"/>
                  </a:moveTo>
                  <a:lnTo>
                    <a:pt x="50" y="345"/>
                  </a:lnTo>
                  <a:lnTo>
                    <a:pt x="52" y="345"/>
                  </a:lnTo>
                  <a:close/>
                  <a:moveTo>
                    <a:pt x="78" y="345"/>
                  </a:moveTo>
                  <a:lnTo>
                    <a:pt x="76" y="345"/>
                  </a:lnTo>
                  <a:lnTo>
                    <a:pt x="78" y="345"/>
                  </a:lnTo>
                  <a:close/>
                  <a:moveTo>
                    <a:pt x="263" y="345"/>
                  </a:moveTo>
                  <a:lnTo>
                    <a:pt x="261" y="345"/>
                  </a:lnTo>
                  <a:lnTo>
                    <a:pt x="263" y="345"/>
                  </a:lnTo>
                  <a:close/>
                  <a:moveTo>
                    <a:pt x="83" y="345"/>
                  </a:moveTo>
                  <a:lnTo>
                    <a:pt x="81" y="345"/>
                  </a:lnTo>
                  <a:lnTo>
                    <a:pt x="83" y="345"/>
                  </a:lnTo>
                  <a:close/>
                  <a:moveTo>
                    <a:pt x="223" y="345"/>
                  </a:moveTo>
                  <a:lnTo>
                    <a:pt x="221" y="345"/>
                  </a:lnTo>
                  <a:lnTo>
                    <a:pt x="223" y="345"/>
                  </a:lnTo>
                  <a:close/>
                  <a:moveTo>
                    <a:pt x="64" y="345"/>
                  </a:moveTo>
                  <a:lnTo>
                    <a:pt x="62" y="345"/>
                  </a:lnTo>
                  <a:lnTo>
                    <a:pt x="64" y="345"/>
                  </a:lnTo>
                  <a:close/>
                  <a:moveTo>
                    <a:pt x="55" y="345"/>
                  </a:moveTo>
                  <a:lnTo>
                    <a:pt x="57" y="345"/>
                  </a:lnTo>
                  <a:lnTo>
                    <a:pt x="55" y="345"/>
                  </a:lnTo>
                  <a:close/>
                  <a:moveTo>
                    <a:pt x="261" y="345"/>
                  </a:moveTo>
                  <a:lnTo>
                    <a:pt x="259" y="345"/>
                  </a:lnTo>
                  <a:lnTo>
                    <a:pt x="261" y="345"/>
                  </a:lnTo>
                  <a:close/>
                  <a:moveTo>
                    <a:pt x="38" y="345"/>
                  </a:moveTo>
                  <a:lnTo>
                    <a:pt x="36" y="345"/>
                  </a:lnTo>
                  <a:lnTo>
                    <a:pt x="38" y="345"/>
                  </a:lnTo>
                  <a:close/>
                  <a:moveTo>
                    <a:pt x="40" y="345"/>
                  </a:moveTo>
                  <a:lnTo>
                    <a:pt x="38" y="345"/>
                  </a:lnTo>
                  <a:lnTo>
                    <a:pt x="40" y="345"/>
                  </a:lnTo>
                  <a:close/>
                  <a:moveTo>
                    <a:pt x="93" y="345"/>
                  </a:moveTo>
                  <a:lnTo>
                    <a:pt x="90" y="345"/>
                  </a:lnTo>
                  <a:lnTo>
                    <a:pt x="93" y="345"/>
                  </a:lnTo>
                  <a:close/>
                  <a:moveTo>
                    <a:pt x="67" y="345"/>
                  </a:moveTo>
                  <a:lnTo>
                    <a:pt x="64" y="345"/>
                  </a:lnTo>
                  <a:lnTo>
                    <a:pt x="67" y="345"/>
                  </a:lnTo>
                  <a:close/>
                  <a:moveTo>
                    <a:pt x="261" y="345"/>
                  </a:moveTo>
                  <a:lnTo>
                    <a:pt x="259" y="345"/>
                  </a:lnTo>
                  <a:lnTo>
                    <a:pt x="261" y="345"/>
                  </a:lnTo>
                  <a:close/>
                  <a:moveTo>
                    <a:pt x="52" y="345"/>
                  </a:moveTo>
                  <a:lnTo>
                    <a:pt x="50" y="345"/>
                  </a:lnTo>
                  <a:lnTo>
                    <a:pt x="52" y="345"/>
                  </a:lnTo>
                  <a:close/>
                  <a:moveTo>
                    <a:pt x="266" y="345"/>
                  </a:moveTo>
                  <a:lnTo>
                    <a:pt x="263" y="345"/>
                  </a:lnTo>
                  <a:lnTo>
                    <a:pt x="266" y="345"/>
                  </a:lnTo>
                  <a:close/>
                  <a:moveTo>
                    <a:pt x="7" y="345"/>
                  </a:moveTo>
                  <a:lnTo>
                    <a:pt x="5" y="345"/>
                  </a:lnTo>
                  <a:lnTo>
                    <a:pt x="7" y="345"/>
                  </a:lnTo>
                  <a:close/>
                  <a:moveTo>
                    <a:pt x="83" y="345"/>
                  </a:moveTo>
                  <a:lnTo>
                    <a:pt x="81" y="345"/>
                  </a:lnTo>
                  <a:lnTo>
                    <a:pt x="83" y="345"/>
                  </a:lnTo>
                  <a:close/>
                  <a:moveTo>
                    <a:pt x="62" y="345"/>
                  </a:moveTo>
                  <a:lnTo>
                    <a:pt x="59" y="345"/>
                  </a:lnTo>
                  <a:lnTo>
                    <a:pt x="62" y="345"/>
                  </a:lnTo>
                  <a:close/>
                  <a:moveTo>
                    <a:pt x="266" y="345"/>
                  </a:moveTo>
                  <a:lnTo>
                    <a:pt x="263" y="345"/>
                  </a:lnTo>
                  <a:lnTo>
                    <a:pt x="266" y="345"/>
                  </a:lnTo>
                  <a:close/>
                  <a:moveTo>
                    <a:pt x="52" y="345"/>
                  </a:moveTo>
                  <a:lnTo>
                    <a:pt x="50" y="345"/>
                  </a:lnTo>
                  <a:lnTo>
                    <a:pt x="52" y="345"/>
                  </a:lnTo>
                  <a:close/>
                  <a:moveTo>
                    <a:pt x="74" y="345"/>
                  </a:moveTo>
                  <a:lnTo>
                    <a:pt x="71" y="345"/>
                  </a:lnTo>
                  <a:lnTo>
                    <a:pt x="74" y="345"/>
                  </a:lnTo>
                  <a:close/>
                  <a:moveTo>
                    <a:pt x="116" y="345"/>
                  </a:moveTo>
                  <a:lnTo>
                    <a:pt x="119" y="345"/>
                  </a:lnTo>
                  <a:lnTo>
                    <a:pt x="116" y="345"/>
                  </a:lnTo>
                  <a:close/>
                  <a:moveTo>
                    <a:pt x="55" y="345"/>
                  </a:moveTo>
                  <a:lnTo>
                    <a:pt x="52" y="345"/>
                  </a:lnTo>
                  <a:lnTo>
                    <a:pt x="55" y="345"/>
                  </a:lnTo>
                  <a:close/>
                  <a:moveTo>
                    <a:pt x="266" y="345"/>
                  </a:moveTo>
                  <a:lnTo>
                    <a:pt x="263" y="345"/>
                  </a:lnTo>
                  <a:lnTo>
                    <a:pt x="266" y="345"/>
                  </a:lnTo>
                  <a:close/>
                  <a:moveTo>
                    <a:pt x="225" y="345"/>
                  </a:moveTo>
                  <a:lnTo>
                    <a:pt x="223" y="345"/>
                  </a:lnTo>
                  <a:lnTo>
                    <a:pt x="225" y="345"/>
                  </a:lnTo>
                  <a:close/>
                  <a:moveTo>
                    <a:pt x="64" y="345"/>
                  </a:moveTo>
                  <a:lnTo>
                    <a:pt x="62" y="345"/>
                  </a:lnTo>
                  <a:lnTo>
                    <a:pt x="64" y="345"/>
                  </a:lnTo>
                  <a:close/>
                  <a:moveTo>
                    <a:pt x="230" y="345"/>
                  </a:moveTo>
                  <a:lnTo>
                    <a:pt x="228" y="345"/>
                  </a:lnTo>
                  <a:lnTo>
                    <a:pt x="230" y="345"/>
                  </a:lnTo>
                  <a:close/>
                  <a:moveTo>
                    <a:pt x="71" y="345"/>
                  </a:moveTo>
                  <a:lnTo>
                    <a:pt x="69" y="345"/>
                  </a:lnTo>
                  <a:lnTo>
                    <a:pt x="71" y="345"/>
                  </a:lnTo>
                  <a:close/>
                  <a:moveTo>
                    <a:pt x="31" y="342"/>
                  </a:moveTo>
                  <a:lnTo>
                    <a:pt x="31" y="345"/>
                  </a:lnTo>
                  <a:lnTo>
                    <a:pt x="31" y="342"/>
                  </a:lnTo>
                  <a:close/>
                  <a:moveTo>
                    <a:pt x="67" y="342"/>
                  </a:moveTo>
                  <a:lnTo>
                    <a:pt x="67" y="345"/>
                  </a:lnTo>
                  <a:lnTo>
                    <a:pt x="67" y="342"/>
                  </a:lnTo>
                  <a:close/>
                  <a:moveTo>
                    <a:pt x="48" y="342"/>
                  </a:moveTo>
                  <a:lnTo>
                    <a:pt x="48" y="345"/>
                  </a:lnTo>
                  <a:lnTo>
                    <a:pt x="48" y="342"/>
                  </a:lnTo>
                  <a:close/>
                  <a:moveTo>
                    <a:pt x="48" y="345"/>
                  </a:moveTo>
                  <a:lnTo>
                    <a:pt x="48" y="342"/>
                  </a:lnTo>
                  <a:lnTo>
                    <a:pt x="48" y="345"/>
                  </a:lnTo>
                  <a:close/>
                  <a:moveTo>
                    <a:pt x="88" y="345"/>
                  </a:moveTo>
                  <a:lnTo>
                    <a:pt x="88" y="342"/>
                  </a:lnTo>
                  <a:lnTo>
                    <a:pt x="88" y="345"/>
                  </a:lnTo>
                  <a:close/>
                  <a:moveTo>
                    <a:pt x="78" y="345"/>
                  </a:moveTo>
                  <a:lnTo>
                    <a:pt x="78" y="342"/>
                  </a:lnTo>
                  <a:lnTo>
                    <a:pt x="78" y="345"/>
                  </a:lnTo>
                  <a:close/>
                  <a:moveTo>
                    <a:pt x="17" y="342"/>
                  </a:moveTo>
                  <a:lnTo>
                    <a:pt x="17" y="345"/>
                  </a:lnTo>
                  <a:lnTo>
                    <a:pt x="17" y="342"/>
                  </a:lnTo>
                  <a:close/>
                  <a:moveTo>
                    <a:pt x="50" y="342"/>
                  </a:moveTo>
                  <a:lnTo>
                    <a:pt x="50" y="345"/>
                  </a:lnTo>
                  <a:lnTo>
                    <a:pt x="50" y="342"/>
                  </a:lnTo>
                  <a:close/>
                  <a:moveTo>
                    <a:pt x="50" y="345"/>
                  </a:moveTo>
                  <a:lnTo>
                    <a:pt x="50" y="342"/>
                  </a:lnTo>
                  <a:lnTo>
                    <a:pt x="50" y="345"/>
                  </a:lnTo>
                  <a:close/>
                  <a:moveTo>
                    <a:pt x="62" y="345"/>
                  </a:moveTo>
                  <a:lnTo>
                    <a:pt x="62" y="342"/>
                  </a:lnTo>
                  <a:lnTo>
                    <a:pt x="62" y="345"/>
                  </a:lnTo>
                  <a:close/>
                  <a:moveTo>
                    <a:pt x="256" y="342"/>
                  </a:moveTo>
                  <a:lnTo>
                    <a:pt x="256" y="345"/>
                  </a:lnTo>
                  <a:lnTo>
                    <a:pt x="256" y="342"/>
                  </a:lnTo>
                  <a:close/>
                  <a:moveTo>
                    <a:pt x="221" y="345"/>
                  </a:moveTo>
                  <a:lnTo>
                    <a:pt x="221" y="342"/>
                  </a:lnTo>
                  <a:lnTo>
                    <a:pt x="221" y="345"/>
                  </a:lnTo>
                  <a:close/>
                  <a:moveTo>
                    <a:pt x="71" y="342"/>
                  </a:moveTo>
                  <a:lnTo>
                    <a:pt x="71" y="345"/>
                  </a:lnTo>
                  <a:lnTo>
                    <a:pt x="71" y="342"/>
                  </a:lnTo>
                  <a:close/>
                  <a:moveTo>
                    <a:pt x="256" y="345"/>
                  </a:moveTo>
                  <a:lnTo>
                    <a:pt x="256" y="342"/>
                  </a:lnTo>
                  <a:lnTo>
                    <a:pt x="256" y="345"/>
                  </a:lnTo>
                  <a:close/>
                  <a:moveTo>
                    <a:pt x="7" y="345"/>
                  </a:moveTo>
                  <a:lnTo>
                    <a:pt x="7" y="342"/>
                  </a:lnTo>
                  <a:lnTo>
                    <a:pt x="7" y="345"/>
                  </a:lnTo>
                  <a:close/>
                  <a:moveTo>
                    <a:pt x="55" y="342"/>
                  </a:moveTo>
                  <a:lnTo>
                    <a:pt x="55" y="345"/>
                  </a:lnTo>
                  <a:lnTo>
                    <a:pt x="55" y="342"/>
                  </a:lnTo>
                  <a:close/>
                  <a:moveTo>
                    <a:pt x="38" y="345"/>
                  </a:moveTo>
                  <a:lnTo>
                    <a:pt x="36" y="345"/>
                  </a:lnTo>
                  <a:lnTo>
                    <a:pt x="36" y="342"/>
                  </a:lnTo>
                  <a:lnTo>
                    <a:pt x="38" y="342"/>
                  </a:lnTo>
                  <a:lnTo>
                    <a:pt x="38" y="345"/>
                  </a:lnTo>
                  <a:close/>
                  <a:moveTo>
                    <a:pt x="86" y="345"/>
                  </a:moveTo>
                  <a:lnTo>
                    <a:pt x="83" y="342"/>
                  </a:lnTo>
                  <a:lnTo>
                    <a:pt x="86" y="342"/>
                  </a:lnTo>
                  <a:lnTo>
                    <a:pt x="86" y="345"/>
                  </a:lnTo>
                  <a:close/>
                  <a:moveTo>
                    <a:pt x="50" y="342"/>
                  </a:moveTo>
                  <a:lnTo>
                    <a:pt x="50" y="345"/>
                  </a:lnTo>
                  <a:lnTo>
                    <a:pt x="50" y="342"/>
                  </a:lnTo>
                  <a:close/>
                  <a:moveTo>
                    <a:pt x="36" y="345"/>
                  </a:moveTo>
                  <a:lnTo>
                    <a:pt x="33" y="342"/>
                  </a:lnTo>
                  <a:lnTo>
                    <a:pt x="36" y="342"/>
                  </a:lnTo>
                  <a:lnTo>
                    <a:pt x="36" y="345"/>
                  </a:lnTo>
                  <a:close/>
                  <a:moveTo>
                    <a:pt x="230" y="345"/>
                  </a:moveTo>
                  <a:lnTo>
                    <a:pt x="228" y="345"/>
                  </a:lnTo>
                  <a:lnTo>
                    <a:pt x="228" y="342"/>
                  </a:lnTo>
                  <a:lnTo>
                    <a:pt x="230" y="342"/>
                  </a:lnTo>
                  <a:lnTo>
                    <a:pt x="230" y="345"/>
                  </a:lnTo>
                  <a:close/>
                  <a:moveTo>
                    <a:pt x="57" y="342"/>
                  </a:moveTo>
                  <a:lnTo>
                    <a:pt x="57" y="345"/>
                  </a:lnTo>
                  <a:lnTo>
                    <a:pt x="57" y="342"/>
                  </a:lnTo>
                  <a:close/>
                  <a:moveTo>
                    <a:pt x="62" y="342"/>
                  </a:moveTo>
                  <a:lnTo>
                    <a:pt x="62" y="345"/>
                  </a:lnTo>
                  <a:lnTo>
                    <a:pt x="62" y="342"/>
                  </a:lnTo>
                  <a:close/>
                  <a:moveTo>
                    <a:pt x="230" y="342"/>
                  </a:moveTo>
                  <a:lnTo>
                    <a:pt x="228" y="342"/>
                  </a:lnTo>
                  <a:lnTo>
                    <a:pt x="230" y="342"/>
                  </a:lnTo>
                  <a:close/>
                  <a:moveTo>
                    <a:pt x="31" y="342"/>
                  </a:moveTo>
                  <a:lnTo>
                    <a:pt x="33" y="342"/>
                  </a:lnTo>
                  <a:lnTo>
                    <a:pt x="31" y="342"/>
                  </a:lnTo>
                  <a:close/>
                  <a:moveTo>
                    <a:pt x="10" y="342"/>
                  </a:moveTo>
                  <a:lnTo>
                    <a:pt x="7" y="342"/>
                  </a:lnTo>
                  <a:lnTo>
                    <a:pt x="10" y="342"/>
                  </a:lnTo>
                  <a:close/>
                  <a:moveTo>
                    <a:pt x="45" y="342"/>
                  </a:moveTo>
                  <a:lnTo>
                    <a:pt x="43" y="342"/>
                  </a:lnTo>
                  <a:lnTo>
                    <a:pt x="45" y="342"/>
                  </a:lnTo>
                  <a:close/>
                  <a:moveTo>
                    <a:pt x="76" y="342"/>
                  </a:moveTo>
                  <a:lnTo>
                    <a:pt x="74" y="342"/>
                  </a:lnTo>
                  <a:lnTo>
                    <a:pt x="76" y="342"/>
                  </a:lnTo>
                  <a:close/>
                  <a:moveTo>
                    <a:pt x="209" y="342"/>
                  </a:moveTo>
                  <a:lnTo>
                    <a:pt x="207" y="342"/>
                  </a:lnTo>
                  <a:lnTo>
                    <a:pt x="209" y="342"/>
                  </a:lnTo>
                  <a:close/>
                  <a:moveTo>
                    <a:pt x="74" y="342"/>
                  </a:moveTo>
                  <a:lnTo>
                    <a:pt x="71" y="342"/>
                  </a:lnTo>
                  <a:lnTo>
                    <a:pt x="74" y="342"/>
                  </a:lnTo>
                  <a:close/>
                  <a:moveTo>
                    <a:pt x="76" y="342"/>
                  </a:moveTo>
                  <a:lnTo>
                    <a:pt x="74" y="342"/>
                  </a:lnTo>
                  <a:lnTo>
                    <a:pt x="76" y="342"/>
                  </a:lnTo>
                  <a:close/>
                  <a:moveTo>
                    <a:pt x="36" y="342"/>
                  </a:moveTo>
                  <a:lnTo>
                    <a:pt x="33" y="342"/>
                  </a:lnTo>
                  <a:lnTo>
                    <a:pt x="36" y="342"/>
                  </a:lnTo>
                  <a:close/>
                  <a:moveTo>
                    <a:pt x="216" y="342"/>
                  </a:moveTo>
                  <a:lnTo>
                    <a:pt x="218" y="342"/>
                  </a:lnTo>
                  <a:lnTo>
                    <a:pt x="216" y="342"/>
                  </a:lnTo>
                  <a:close/>
                  <a:moveTo>
                    <a:pt x="223" y="342"/>
                  </a:moveTo>
                  <a:lnTo>
                    <a:pt x="225" y="342"/>
                  </a:lnTo>
                  <a:lnTo>
                    <a:pt x="223" y="342"/>
                  </a:lnTo>
                  <a:close/>
                  <a:moveTo>
                    <a:pt x="207" y="342"/>
                  </a:moveTo>
                  <a:lnTo>
                    <a:pt x="209" y="342"/>
                  </a:lnTo>
                  <a:lnTo>
                    <a:pt x="207" y="342"/>
                  </a:lnTo>
                  <a:close/>
                  <a:moveTo>
                    <a:pt x="74" y="342"/>
                  </a:moveTo>
                  <a:lnTo>
                    <a:pt x="76" y="342"/>
                  </a:lnTo>
                  <a:lnTo>
                    <a:pt x="74" y="342"/>
                  </a:lnTo>
                  <a:close/>
                  <a:moveTo>
                    <a:pt x="33" y="342"/>
                  </a:moveTo>
                  <a:lnTo>
                    <a:pt x="31" y="342"/>
                  </a:lnTo>
                  <a:lnTo>
                    <a:pt x="33" y="342"/>
                  </a:lnTo>
                  <a:close/>
                  <a:moveTo>
                    <a:pt x="78" y="342"/>
                  </a:moveTo>
                  <a:lnTo>
                    <a:pt x="81" y="342"/>
                  </a:lnTo>
                  <a:lnTo>
                    <a:pt x="78" y="342"/>
                  </a:lnTo>
                  <a:close/>
                  <a:moveTo>
                    <a:pt x="100" y="342"/>
                  </a:moveTo>
                  <a:lnTo>
                    <a:pt x="97" y="342"/>
                  </a:lnTo>
                  <a:lnTo>
                    <a:pt x="100" y="342"/>
                  </a:lnTo>
                  <a:close/>
                  <a:moveTo>
                    <a:pt x="64" y="342"/>
                  </a:moveTo>
                  <a:lnTo>
                    <a:pt x="62" y="342"/>
                  </a:lnTo>
                  <a:lnTo>
                    <a:pt x="64" y="342"/>
                  </a:lnTo>
                  <a:close/>
                  <a:moveTo>
                    <a:pt x="216" y="342"/>
                  </a:moveTo>
                  <a:lnTo>
                    <a:pt x="218" y="342"/>
                  </a:lnTo>
                  <a:lnTo>
                    <a:pt x="216" y="342"/>
                  </a:lnTo>
                  <a:close/>
                  <a:moveTo>
                    <a:pt x="266" y="342"/>
                  </a:moveTo>
                  <a:lnTo>
                    <a:pt x="263" y="342"/>
                  </a:lnTo>
                  <a:lnTo>
                    <a:pt x="266" y="342"/>
                  </a:lnTo>
                  <a:close/>
                  <a:moveTo>
                    <a:pt x="12" y="342"/>
                  </a:moveTo>
                  <a:lnTo>
                    <a:pt x="10" y="342"/>
                  </a:lnTo>
                  <a:lnTo>
                    <a:pt x="12" y="342"/>
                  </a:lnTo>
                  <a:close/>
                  <a:moveTo>
                    <a:pt x="52" y="342"/>
                  </a:moveTo>
                  <a:lnTo>
                    <a:pt x="50" y="342"/>
                  </a:lnTo>
                  <a:lnTo>
                    <a:pt x="52" y="342"/>
                  </a:lnTo>
                  <a:close/>
                  <a:moveTo>
                    <a:pt x="69" y="342"/>
                  </a:moveTo>
                  <a:lnTo>
                    <a:pt x="67" y="342"/>
                  </a:lnTo>
                  <a:lnTo>
                    <a:pt x="69" y="342"/>
                  </a:lnTo>
                  <a:close/>
                  <a:moveTo>
                    <a:pt x="33" y="342"/>
                  </a:moveTo>
                  <a:lnTo>
                    <a:pt x="31" y="342"/>
                  </a:lnTo>
                  <a:lnTo>
                    <a:pt x="33" y="342"/>
                  </a:lnTo>
                  <a:close/>
                  <a:moveTo>
                    <a:pt x="88" y="342"/>
                  </a:moveTo>
                  <a:lnTo>
                    <a:pt x="86" y="342"/>
                  </a:lnTo>
                  <a:lnTo>
                    <a:pt x="88" y="342"/>
                  </a:lnTo>
                  <a:close/>
                  <a:moveTo>
                    <a:pt x="52" y="342"/>
                  </a:moveTo>
                  <a:lnTo>
                    <a:pt x="50" y="342"/>
                  </a:lnTo>
                  <a:lnTo>
                    <a:pt x="52" y="342"/>
                  </a:lnTo>
                  <a:close/>
                  <a:moveTo>
                    <a:pt x="50" y="342"/>
                  </a:moveTo>
                  <a:lnTo>
                    <a:pt x="48" y="342"/>
                  </a:lnTo>
                  <a:lnTo>
                    <a:pt x="50" y="342"/>
                  </a:lnTo>
                  <a:close/>
                  <a:moveTo>
                    <a:pt x="36" y="342"/>
                  </a:moveTo>
                  <a:lnTo>
                    <a:pt x="33" y="342"/>
                  </a:lnTo>
                  <a:lnTo>
                    <a:pt x="36" y="342"/>
                  </a:lnTo>
                  <a:close/>
                  <a:moveTo>
                    <a:pt x="43" y="342"/>
                  </a:moveTo>
                  <a:lnTo>
                    <a:pt x="40" y="342"/>
                  </a:lnTo>
                  <a:lnTo>
                    <a:pt x="43" y="342"/>
                  </a:lnTo>
                  <a:close/>
                  <a:moveTo>
                    <a:pt x="62" y="342"/>
                  </a:moveTo>
                  <a:lnTo>
                    <a:pt x="64" y="342"/>
                  </a:lnTo>
                  <a:lnTo>
                    <a:pt x="62" y="342"/>
                  </a:lnTo>
                  <a:close/>
                  <a:moveTo>
                    <a:pt x="95" y="342"/>
                  </a:moveTo>
                  <a:lnTo>
                    <a:pt x="93" y="342"/>
                  </a:lnTo>
                  <a:lnTo>
                    <a:pt x="95" y="342"/>
                  </a:lnTo>
                  <a:close/>
                  <a:moveTo>
                    <a:pt x="90" y="342"/>
                  </a:moveTo>
                  <a:lnTo>
                    <a:pt x="88" y="342"/>
                  </a:lnTo>
                  <a:lnTo>
                    <a:pt x="90" y="342"/>
                  </a:lnTo>
                  <a:close/>
                  <a:moveTo>
                    <a:pt x="71" y="342"/>
                  </a:moveTo>
                  <a:lnTo>
                    <a:pt x="69" y="342"/>
                  </a:lnTo>
                  <a:lnTo>
                    <a:pt x="71" y="342"/>
                  </a:lnTo>
                  <a:close/>
                  <a:moveTo>
                    <a:pt x="55" y="342"/>
                  </a:moveTo>
                  <a:lnTo>
                    <a:pt x="52" y="342"/>
                  </a:lnTo>
                  <a:lnTo>
                    <a:pt x="55" y="342"/>
                  </a:lnTo>
                  <a:close/>
                  <a:moveTo>
                    <a:pt x="43" y="342"/>
                  </a:moveTo>
                  <a:lnTo>
                    <a:pt x="43" y="340"/>
                  </a:lnTo>
                  <a:lnTo>
                    <a:pt x="43" y="342"/>
                  </a:lnTo>
                  <a:close/>
                  <a:moveTo>
                    <a:pt x="233" y="340"/>
                  </a:moveTo>
                  <a:lnTo>
                    <a:pt x="233" y="342"/>
                  </a:lnTo>
                  <a:lnTo>
                    <a:pt x="233" y="340"/>
                  </a:lnTo>
                  <a:close/>
                  <a:moveTo>
                    <a:pt x="31" y="342"/>
                  </a:moveTo>
                  <a:lnTo>
                    <a:pt x="31" y="340"/>
                  </a:lnTo>
                  <a:lnTo>
                    <a:pt x="31" y="342"/>
                  </a:lnTo>
                  <a:close/>
                  <a:moveTo>
                    <a:pt x="235" y="342"/>
                  </a:moveTo>
                  <a:lnTo>
                    <a:pt x="233" y="342"/>
                  </a:lnTo>
                  <a:lnTo>
                    <a:pt x="235" y="340"/>
                  </a:lnTo>
                  <a:lnTo>
                    <a:pt x="235" y="342"/>
                  </a:lnTo>
                  <a:close/>
                  <a:moveTo>
                    <a:pt x="235" y="342"/>
                  </a:moveTo>
                  <a:lnTo>
                    <a:pt x="235" y="340"/>
                  </a:lnTo>
                  <a:lnTo>
                    <a:pt x="235" y="342"/>
                  </a:lnTo>
                  <a:close/>
                  <a:moveTo>
                    <a:pt x="57" y="340"/>
                  </a:moveTo>
                  <a:lnTo>
                    <a:pt x="57" y="342"/>
                  </a:lnTo>
                  <a:lnTo>
                    <a:pt x="57" y="340"/>
                  </a:lnTo>
                  <a:close/>
                  <a:moveTo>
                    <a:pt x="83" y="342"/>
                  </a:moveTo>
                  <a:lnTo>
                    <a:pt x="83" y="340"/>
                  </a:lnTo>
                  <a:lnTo>
                    <a:pt x="83" y="342"/>
                  </a:lnTo>
                  <a:close/>
                  <a:moveTo>
                    <a:pt x="64" y="340"/>
                  </a:moveTo>
                  <a:lnTo>
                    <a:pt x="64" y="342"/>
                  </a:lnTo>
                  <a:lnTo>
                    <a:pt x="64" y="340"/>
                  </a:lnTo>
                  <a:close/>
                  <a:moveTo>
                    <a:pt x="40" y="342"/>
                  </a:moveTo>
                  <a:lnTo>
                    <a:pt x="40" y="340"/>
                  </a:lnTo>
                  <a:lnTo>
                    <a:pt x="40" y="342"/>
                  </a:lnTo>
                  <a:close/>
                  <a:moveTo>
                    <a:pt x="62" y="342"/>
                  </a:moveTo>
                  <a:lnTo>
                    <a:pt x="62" y="340"/>
                  </a:lnTo>
                  <a:lnTo>
                    <a:pt x="62" y="342"/>
                  </a:lnTo>
                  <a:close/>
                  <a:moveTo>
                    <a:pt x="52" y="342"/>
                  </a:moveTo>
                  <a:lnTo>
                    <a:pt x="52" y="340"/>
                  </a:lnTo>
                  <a:lnTo>
                    <a:pt x="52" y="342"/>
                  </a:lnTo>
                  <a:close/>
                  <a:moveTo>
                    <a:pt x="10" y="340"/>
                  </a:moveTo>
                  <a:lnTo>
                    <a:pt x="10" y="342"/>
                  </a:lnTo>
                  <a:lnTo>
                    <a:pt x="10" y="340"/>
                  </a:lnTo>
                  <a:close/>
                  <a:moveTo>
                    <a:pt x="83" y="342"/>
                  </a:moveTo>
                  <a:lnTo>
                    <a:pt x="83" y="340"/>
                  </a:lnTo>
                  <a:lnTo>
                    <a:pt x="83" y="342"/>
                  </a:lnTo>
                  <a:close/>
                  <a:moveTo>
                    <a:pt x="45" y="340"/>
                  </a:moveTo>
                  <a:lnTo>
                    <a:pt x="45" y="342"/>
                  </a:lnTo>
                  <a:lnTo>
                    <a:pt x="45" y="340"/>
                  </a:lnTo>
                  <a:close/>
                  <a:moveTo>
                    <a:pt x="43" y="340"/>
                  </a:moveTo>
                  <a:lnTo>
                    <a:pt x="43" y="342"/>
                  </a:lnTo>
                  <a:lnTo>
                    <a:pt x="43" y="340"/>
                  </a:lnTo>
                  <a:lnTo>
                    <a:pt x="43" y="342"/>
                  </a:lnTo>
                  <a:lnTo>
                    <a:pt x="43" y="340"/>
                  </a:lnTo>
                  <a:close/>
                  <a:moveTo>
                    <a:pt x="64" y="340"/>
                  </a:moveTo>
                  <a:lnTo>
                    <a:pt x="64" y="342"/>
                  </a:lnTo>
                  <a:lnTo>
                    <a:pt x="64" y="340"/>
                  </a:lnTo>
                  <a:close/>
                  <a:moveTo>
                    <a:pt x="64" y="342"/>
                  </a:moveTo>
                  <a:lnTo>
                    <a:pt x="64" y="340"/>
                  </a:lnTo>
                  <a:lnTo>
                    <a:pt x="64" y="342"/>
                  </a:lnTo>
                  <a:close/>
                  <a:moveTo>
                    <a:pt x="43" y="340"/>
                  </a:moveTo>
                  <a:lnTo>
                    <a:pt x="43" y="342"/>
                  </a:lnTo>
                  <a:lnTo>
                    <a:pt x="43" y="340"/>
                  </a:lnTo>
                  <a:close/>
                  <a:moveTo>
                    <a:pt x="93" y="340"/>
                  </a:moveTo>
                  <a:lnTo>
                    <a:pt x="93" y="342"/>
                  </a:lnTo>
                  <a:lnTo>
                    <a:pt x="93" y="340"/>
                  </a:lnTo>
                  <a:close/>
                  <a:moveTo>
                    <a:pt x="237" y="340"/>
                  </a:moveTo>
                  <a:lnTo>
                    <a:pt x="237" y="342"/>
                  </a:lnTo>
                  <a:lnTo>
                    <a:pt x="237" y="340"/>
                  </a:lnTo>
                  <a:close/>
                  <a:moveTo>
                    <a:pt x="235" y="340"/>
                  </a:moveTo>
                  <a:lnTo>
                    <a:pt x="235" y="342"/>
                  </a:lnTo>
                  <a:lnTo>
                    <a:pt x="235" y="340"/>
                  </a:lnTo>
                  <a:close/>
                  <a:moveTo>
                    <a:pt x="31" y="342"/>
                  </a:moveTo>
                  <a:lnTo>
                    <a:pt x="31" y="340"/>
                  </a:lnTo>
                  <a:lnTo>
                    <a:pt x="31" y="342"/>
                  </a:lnTo>
                  <a:close/>
                  <a:moveTo>
                    <a:pt x="55" y="342"/>
                  </a:moveTo>
                  <a:lnTo>
                    <a:pt x="55" y="340"/>
                  </a:lnTo>
                  <a:lnTo>
                    <a:pt x="55" y="342"/>
                  </a:lnTo>
                  <a:close/>
                  <a:moveTo>
                    <a:pt x="225" y="342"/>
                  </a:moveTo>
                  <a:lnTo>
                    <a:pt x="225" y="340"/>
                  </a:lnTo>
                  <a:lnTo>
                    <a:pt x="225" y="342"/>
                  </a:lnTo>
                  <a:close/>
                  <a:moveTo>
                    <a:pt x="52" y="342"/>
                  </a:moveTo>
                  <a:lnTo>
                    <a:pt x="52" y="340"/>
                  </a:lnTo>
                  <a:lnTo>
                    <a:pt x="52" y="342"/>
                  </a:lnTo>
                  <a:close/>
                  <a:moveTo>
                    <a:pt x="62" y="342"/>
                  </a:moveTo>
                  <a:lnTo>
                    <a:pt x="62" y="340"/>
                  </a:lnTo>
                  <a:lnTo>
                    <a:pt x="62" y="342"/>
                  </a:lnTo>
                  <a:close/>
                  <a:moveTo>
                    <a:pt x="12" y="340"/>
                  </a:moveTo>
                  <a:lnTo>
                    <a:pt x="12" y="342"/>
                  </a:lnTo>
                  <a:lnTo>
                    <a:pt x="12" y="340"/>
                  </a:lnTo>
                  <a:close/>
                  <a:moveTo>
                    <a:pt x="263" y="340"/>
                  </a:moveTo>
                  <a:lnTo>
                    <a:pt x="261" y="340"/>
                  </a:lnTo>
                  <a:lnTo>
                    <a:pt x="263" y="340"/>
                  </a:lnTo>
                  <a:close/>
                  <a:moveTo>
                    <a:pt x="235" y="340"/>
                  </a:moveTo>
                  <a:lnTo>
                    <a:pt x="233" y="340"/>
                  </a:lnTo>
                  <a:lnTo>
                    <a:pt x="235" y="340"/>
                  </a:lnTo>
                  <a:close/>
                  <a:moveTo>
                    <a:pt x="57" y="340"/>
                  </a:moveTo>
                  <a:lnTo>
                    <a:pt x="55" y="340"/>
                  </a:lnTo>
                  <a:lnTo>
                    <a:pt x="57" y="340"/>
                  </a:lnTo>
                  <a:close/>
                  <a:moveTo>
                    <a:pt x="59" y="340"/>
                  </a:moveTo>
                  <a:lnTo>
                    <a:pt x="57" y="340"/>
                  </a:lnTo>
                  <a:lnTo>
                    <a:pt x="59" y="340"/>
                  </a:lnTo>
                  <a:close/>
                  <a:moveTo>
                    <a:pt x="230" y="340"/>
                  </a:moveTo>
                  <a:lnTo>
                    <a:pt x="228" y="340"/>
                  </a:lnTo>
                  <a:lnTo>
                    <a:pt x="230" y="340"/>
                  </a:lnTo>
                  <a:lnTo>
                    <a:pt x="228" y="340"/>
                  </a:lnTo>
                  <a:lnTo>
                    <a:pt x="230" y="340"/>
                  </a:lnTo>
                  <a:close/>
                  <a:moveTo>
                    <a:pt x="71" y="340"/>
                  </a:moveTo>
                  <a:lnTo>
                    <a:pt x="74" y="340"/>
                  </a:lnTo>
                  <a:lnTo>
                    <a:pt x="71" y="340"/>
                  </a:lnTo>
                  <a:close/>
                  <a:moveTo>
                    <a:pt x="67" y="340"/>
                  </a:moveTo>
                  <a:lnTo>
                    <a:pt x="64" y="340"/>
                  </a:lnTo>
                  <a:lnTo>
                    <a:pt x="67" y="340"/>
                  </a:lnTo>
                  <a:close/>
                  <a:moveTo>
                    <a:pt x="74" y="340"/>
                  </a:moveTo>
                  <a:lnTo>
                    <a:pt x="71" y="340"/>
                  </a:lnTo>
                  <a:lnTo>
                    <a:pt x="74" y="340"/>
                  </a:lnTo>
                  <a:close/>
                  <a:moveTo>
                    <a:pt x="43" y="340"/>
                  </a:moveTo>
                  <a:lnTo>
                    <a:pt x="40" y="340"/>
                  </a:lnTo>
                  <a:lnTo>
                    <a:pt x="43" y="340"/>
                  </a:lnTo>
                  <a:close/>
                  <a:moveTo>
                    <a:pt x="69" y="340"/>
                  </a:moveTo>
                  <a:lnTo>
                    <a:pt x="67" y="340"/>
                  </a:lnTo>
                  <a:lnTo>
                    <a:pt x="69" y="340"/>
                  </a:lnTo>
                  <a:close/>
                  <a:moveTo>
                    <a:pt x="64" y="340"/>
                  </a:moveTo>
                  <a:lnTo>
                    <a:pt x="62" y="340"/>
                  </a:lnTo>
                  <a:lnTo>
                    <a:pt x="64" y="340"/>
                  </a:lnTo>
                  <a:close/>
                  <a:moveTo>
                    <a:pt x="74" y="340"/>
                  </a:moveTo>
                  <a:lnTo>
                    <a:pt x="71" y="340"/>
                  </a:lnTo>
                  <a:lnTo>
                    <a:pt x="74" y="340"/>
                  </a:lnTo>
                  <a:close/>
                  <a:moveTo>
                    <a:pt x="109" y="340"/>
                  </a:moveTo>
                  <a:lnTo>
                    <a:pt x="107" y="340"/>
                  </a:lnTo>
                  <a:lnTo>
                    <a:pt x="109" y="340"/>
                  </a:lnTo>
                  <a:close/>
                  <a:moveTo>
                    <a:pt x="55" y="340"/>
                  </a:moveTo>
                  <a:lnTo>
                    <a:pt x="52" y="340"/>
                  </a:lnTo>
                  <a:lnTo>
                    <a:pt x="55" y="340"/>
                  </a:lnTo>
                  <a:close/>
                  <a:moveTo>
                    <a:pt x="29" y="340"/>
                  </a:moveTo>
                  <a:lnTo>
                    <a:pt x="31" y="340"/>
                  </a:lnTo>
                  <a:lnTo>
                    <a:pt x="29" y="340"/>
                  </a:lnTo>
                  <a:close/>
                  <a:moveTo>
                    <a:pt x="31" y="340"/>
                  </a:moveTo>
                  <a:lnTo>
                    <a:pt x="33" y="340"/>
                  </a:lnTo>
                  <a:lnTo>
                    <a:pt x="31" y="340"/>
                  </a:lnTo>
                  <a:close/>
                  <a:moveTo>
                    <a:pt x="14" y="340"/>
                  </a:moveTo>
                  <a:lnTo>
                    <a:pt x="12" y="340"/>
                  </a:lnTo>
                  <a:lnTo>
                    <a:pt x="14" y="340"/>
                  </a:lnTo>
                  <a:close/>
                  <a:moveTo>
                    <a:pt x="50" y="340"/>
                  </a:moveTo>
                  <a:lnTo>
                    <a:pt x="48" y="340"/>
                  </a:lnTo>
                  <a:lnTo>
                    <a:pt x="50" y="340"/>
                  </a:lnTo>
                  <a:close/>
                  <a:moveTo>
                    <a:pt x="59" y="340"/>
                  </a:moveTo>
                  <a:lnTo>
                    <a:pt x="62" y="340"/>
                  </a:lnTo>
                  <a:lnTo>
                    <a:pt x="59" y="340"/>
                  </a:lnTo>
                  <a:close/>
                  <a:moveTo>
                    <a:pt x="33" y="340"/>
                  </a:moveTo>
                  <a:lnTo>
                    <a:pt x="31" y="340"/>
                  </a:lnTo>
                  <a:lnTo>
                    <a:pt x="33" y="340"/>
                  </a:lnTo>
                  <a:close/>
                  <a:moveTo>
                    <a:pt x="55" y="340"/>
                  </a:moveTo>
                  <a:lnTo>
                    <a:pt x="52" y="340"/>
                  </a:lnTo>
                  <a:lnTo>
                    <a:pt x="55" y="340"/>
                  </a:lnTo>
                  <a:close/>
                  <a:moveTo>
                    <a:pt x="230" y="340"/>
                  </a:moveTo>
                  <a:lnTo>
                    <a:pt x="228" y="340"/>
                  </a:lnTo>
                  <a:lnTo>
                    <a:pt x="230" y="340"/>
                  </a:lnTo>
                  <a:close/>
                  <a:moveTo>
                    <a:pt x="97" y="340"/>
                  </a:moveTo>
                  <a:lnTo>
                    <a:pt x="95" y="340"/>
                  </a:lnTo>
                  <a:lnTo>
                    <a:pt x="97" y="340"/>
                  </a:lnTo>
                  <a:close/>
                  <a:moveTo>
                    <a:pt x="48" y="340"/>
                  </a:moveTo>
                  <a:lnTo>
                    <a:pt x="45" y="340"/>
                  </a:lnTo>
                  <a:lnTo>
                    <a:pt x="48" y="340"/>
                  </a:lnTo>
                  <a:close/>
                  <a:moveTo>
                    <a:pt x="40" y="340"/>
                  </a:moveTo>
                  <a:lnTo>
                    <a:pt x="38" y="340"/>
                  </a:lnTo>
                  <a:lnTo>
                    <a:pt x="40" y="340"/>
                  </a:lnTo>
                  <a:close/>
                  <a:moveTo>
                    <a:pt x="55" y="340"/>
                  </a:moveTo>
                  <a:lnTo>
                    <a:pt x="52" y="340"/>
                  </a:lnTo>
                  <a:lnTo>
                    <a:pt x="55" y="340"/>
                  </a:lnTo>
                  <a:close/>
                  <a:moveTo>
                    <a:pt x="57" y="340"/>
                  </a:moveTo>
                  <a:lnTo>
                    <a:pt x="55" y="340"/>
                  </a:lnTo>
                  <a:lnTo>
                    <a:pt x="57" y="340"/>
                  </a:lnTo>
                  <a:close/>
                  <a:moveTo>
                    <a:pt x="228" y="340"/>
                  </a:moveTo>
                  <a:lnTo>
                    <a:pt x="230" y="340"/>
                  </a:lnTo>
                  <a:lnTo>
                    <a:pt x="228" y="340"/>
                  </a:lnTo>
                  <a:close/>
                  <a:moveTo>
                    <a:pt x="52" y="340"/>
                  </a:moveTo>
                  <a:lnTo>
                    <a:pt x="50" y="340"/>
                  </a:lnTo>
                  <a:lnTo>
                    <a:pt x="52" y="340"/>
                  </a:lnTo>
                  <a:close/>
                  <a:moveTo>
                    <a:pt x="50" y="340"/>
                  </a:moveTo>
                  <a:lnTo>
                    <a:pt x="48" y="340"/>
                  </a:lnTo>
                  <a:lnTo>
                    <a:pt x="50" y="340"/>
                  </a:lnTo>
                  <a:close/>
                  <a:moveTo>
                    <a:pt x="78" y="340"/>
                  </a:moveTo>
                  <a:lnTo>
                    <a:pt x="76" y="340"/>
                  </a:lnTo>
                  <a:lnTo>
                    <a:pt x="78" y="340"/>
                  </a:lnTo>
                  <a:close/>
                  <a:moveTo>
                    <a:pt x="59" y="338"/>
                  </a:moveTo>
                  <a:lnTo>
                    <a:pt x="59" y="340"/>
                  </a:lnTo>
                  <a:lnTo>
                    <a:pt x="59" y="338"/>
                  </a:lnTo>
                  <a:close/>
                  <a:moveTo>
                    <a:pt x="88" y="338"/>
                  </a:moveTo>
                  <a:lnTo>
                    <a:pt x="88" y="340"/>
                  </a:lnTo>
                  <a:lnTo>
                    <a:pt x="88" y="338"/>
                  </a:lnTo>
                  <a:close/>
                  <a:moveTo>
                    <a:pt x="271" y="340"/>
                  </a:moveTo>
                  <a:lnTo>
                    <a:pt x="271" y="338"/>
                  </a:lnTo>
                  <a:lnTo>
                    <a:pt x="271" y="340"/>
                  </a:lnTo>
                  <a:close/>
                  <a:moveTo>
                    <a:pt x="59" y="340"/>
                  </a:moveTo>
                  <a:lnTo>
                    <a:pt x="59" y="338"/>
                  </a:lnTo>
                  <a:lnTo>
                    <a:pt x="59" y="340"/>
                  </a:lnTo>
                  <a:close/>
                  <a:moveTo>
                    <a:pt x="225" y="340"/>
                  </a:moveTo>
                  <a:lnTo>
                    <a:pt x="225" y="338"/>
                  </a:lnTo>
                  <a:lnTo>
                    <a:pt x="225" y="340"/>
                  </a:lnTo>
                  <a:close/>
                  <a:moveTo>
                    <a:pt x="36" y="340"/>
                  </a:moveTo>
                  <a:lnTo>
                    <a:pt x="33" y="340"/>
                  </a:lnTo>
                  <a:lnTo>
                    <a:pt x="33" y="338"/>
                  </a:lnTo>
                  <a:lnTo>
                    <a:pt x="36" y="340"/>
                  </a:lnTo>
                  <a:close/>
                  <a:moveTo>
                    <a:pt x="95" y="340"/>
                  </a:moveTo>
                  <a:lnTo>
                    <a:pt x="93" y="340"/>
                  </a:lnTo>
                  <a:lnTo>
                    <a:pt x="93" y="338"/>
                  </a:lnTo>
                  <a:lnTo>
                    <a:pt x="95" y="340"/>
                  </a:lnTo>
                  <a:close/>
                  <a:moveTo>
                    <a:pt x="50" y="340"/>
                  </a:moveTo>
                  <a:lnTo>
                    <a:pt x="50" y="338"/>
                  </a:lnTo>
                  <a:lnTo>
                    <a:pt x="50" y="340"/>
                  </a:lnTo>
                  <a:close/>
                  <a:moveTo>
                    <a:pt x="225" y="340"/>
                  </a:moveTo>
                  <a:lnTo>
                    <a:pt x="225" y="338"/>
                  </a:lnTo>
                  <a:lnTo>
                    <a:pt x="225" y="340"/>
                  </a:lnTo>
                  <a:close/>
                  <a:moveTo>
                    <a:pt x="221" y="340"/>
                  </a:moveTo>
                  <a:lnTo>
                    <a:pt x="221" y="338"/>
                  </a:lnTo>
                  <a:lnTo>
                    <a:pt x="221" y="340"/>
                  </a:lnTo>
                  <a:close/>
                  <a:moveTo>
                    <a:pt x="45" y="340"/>
                  </a:moveTo>
                  <a:lnTo>
                    <a:pt x="45" y="338"/>
                  </a:lnTo>
                  <a:lnTo>
                    <a:pt x="45" y="340"/>
                  </a:lnTo>
                  <a:close/>
                  <a:moveTo>
                    <a:pt x="38" y="340"/>
                  </a:moveTo>
                  <a:lnTo>
                    <a:pt x="38" y="338"/>
                  </a:lnTo>
                  <a:lnTo>
                    <a:pt x="38" y="340"/>
                  </a:lnTo>
                  <a:close/>
                  <a:moveTo>
                    <a:pt x="55" y="338"/>
                  </a:moveTo>
                  <a:lnTo>
                    <a:pt x="55" y="340"/>
                  </a:lnTo>
                  <a:lnTo>
                    <a:pt x="55" y="338"/>
                  </a:lnTo>
                  <a:close/>
                  <a:moveTo>
                    <a:pt x="228" y="340"/>
                  </a:moveTo>
                  <a:lnTo>
                    <a:pt x="228" y="338"/>
                  </a:lnTo>
                  <a:lnTo>
                    <a:pt x="228" y="340"/>
                  </a:lnTo>
                  <a:close/>
                  <a:moveTo>
                    <a:pt x="55" y="338"/>
                  </a:moveTo>
                  <a:lnTo>
                    <a:pt x="55" y="340"/>
                  </a:lnTo>
                  <a:lnTo>
                    <a:pt x="55" y="338"/>
                  </a:lnTo>
                  <a:close/>
                  <a:moveTo>
                    <a:pt x="76" y="340"/>
                  </a:moveTo>
                  <a:lnTo>
                    <a:pt x="76" y="338"/>
                  </a:lnTo>
                  <a:lnTo>
                    <a:pt x="76" y="340"/>
                  </a:lnTo>
                  <a:close/>
                  <a:moveTo>
                    <a:pt x="240" y="338"/>
                  </a:moveTo>
                  <a:lnTo>
                    <a:pt x="240" y="340"/>
                  </a:lnTo>
                  <a:lnTo>
                    <a:pt x="240" y="338"/>
                  </a:lnTo>
                  <a:close/>
                  <a:moveTo>
                    <a:pt x="12" y="340"/>
                  </a:moveTo>
                  <a:lnTo>
                    <a:pt x="12" y="338"/>
                  </a:lnTo>
                  <a:lnTo>
                    <a:pt x="12" y="340"/>
                  </a:lnTo>
                  <a:close/>
                  <a:moveTo>
                    <a:pt x="52" y="340"/>
                  </a:moveTo>
                  <a:lnTo>
                    <a:pt x="52" y="338"/>
                  </a:lnTo>
                  <a:lnTo>
                    <a:pt x="52" y="340"/>
                  </a:lnTo>
                  <a:close/>
                  <a:moveTo>
                    <a:pt x="240" y="338"/>
                  </a:moveTo>
                  <a:lnTo>
                    <a:pt x="240" y="340"/>
                  </a:lnTo>
                  <a:lnTo>
                    <a:pt x="240" y="338"/>
                  </a:lnTo>
                  <a:close/>
                  <a:moveTo>
                    <a:pt x="221" y="338"/>
                  </a:moveTo>
                  <a:lnTo>
                    <a:pt x="221" y="340"/>
                  </a:lnTo>
                  <a:lnTo>
                    <a:pt x="221" y="338"/>
                  </a:lnTo>
                  <a:close/>
                  <a:moveTo>
                    <a:pt x="29" y="338"/>
                  </a:moveTo>
                  <a:lnTo>
                    <a:pt x="29" y="340"/>
                  </a:lnTo>
                  <a:lnTo>
                    <a:pt x="29" y="338"/>
                  </a:lnTo>
                  <a:close/>
                  <a:moveTo>
                    <a:pt x="38" y="340"/>
                  </a:moveTo>
                  <a:lnTo>
                    <a:pt x="38" y="338"/>
                  </a:lnTo>
                  <a:lnTo>
                    <a:pt x="38" y="340"/>
                  </a:lnTo>
                  <a:close/>
                  <a:moveTo>
                    <a:pt x="242" y="338"/>
                  </a:moveTo>
                  <a:lnTo>
                    <a:pt x="242" y="340"/>
                  </a:lnTo>
                  <a:lnTo>
                    <a:pt x="242" y="338"/>
                  </a:lnTo>
                  <a:close/>
                  <a:moveTo>
                    <a:pt x="55" y="340"/>
                  </a:moveTo>
                  <a:lnTo>
                    <a:pt x="55" y="338"/>
                  </a:lnTo>
                  <a:lnTo>
                    <a:pt x="55" y="340"/>
                  </a:lnTo>
                  <a:close/>
                  <a:moveTo>
                    <a:pt x="81" y="340"/>
                  </a:moveTo>
                  <a:lnTo>
                    <a:pt x="81" y="338"/>
                  </a:lnTo>
                  <a:lnTo>
                    <a:pt x="81" y="340"/>
                  </a:lnTo>
                  <a:close/>
                  <a:moveTo>
                    <a:pt x="64" y="338"/>
                  </a:moveTo>
                  <a:lnTo>
                    <a:pt x="64" y="340"/>
                  </a:lnTo>
                  <a:lnTo>
                    <a:pt x="64" y="338"/>
                  </a:lnTo>
                  <a:close/>
                  <a:moveTo>
                    <a:pt x="64" y="340"/>
                  </a:moveTo>
                  <a:lnTo>
                    <a:pt x="64" y="338"/>
                  </a:lnTo>
                  <a:lnTo>
                    <a:pt x="64" y="340"/>
                  </a:lnTo>
                  <a:close/>
                  <a:moveTo>
                    <a:pt x="21" y="338"/>
                  </a:moveTo>
                  <a:lnTo>
                    <a:pt x="21" y="340"/>
                  </a:lnTo>
                  <a:lnTo>
                    <a:pt x="21" y="338"/>
                  </a:lnTo>
                  <a:close/>
                  <a:moveTo>
                    <a:pt x="40" y="338"/>
                  </a:moveTo>
                  <a:lnTo>
                    <a:pt x="40" y="340"/>
                  </a:lnTo>
                  <a:lnTo>
                    <a:pt x="40" y="338"/>
                  </a:lnTo>
                  <a:close/>
                  <a:moveTo>
                    <a:pt x="55" y="338"/>
                  </a:moveTo>
                  <a:lnTo>
                    <a:pt x="55" y="340"/>
                  </a:lnTo>
                  <a:lnTo>
                    <a:pt x="55" y="338"/>
                  </a:lnTo>
                  <a:close/>
                  <a:moveTo>
                    <a:pt x="225" y="338"/>
                  </a:moveTo>
                  <a:lnTo>
                    <a:pt x="225" y="340"/>
                  </a:lnTo>
                  <a:lnTo>
                    <a:pt x="225" y="338"/>
                  </a:lnTo>
                  <a:close/>
                  <a:moveTo>
                    <a:pt x="59" y="338"/>
                  </a:moveTo>
                  <a:lnTo>
                    <a:pt x="59" y="340"/>
                  </a:lnTo>
                  <a:lnTo>
                    <a:pt x="59" y="338"/>
                  </a:lnTo>
                  <a:close/>
                  <a:moveTo>
                    <a:pt x="55" y="338"/>
                  </a:moveTo>
                  <a:lnTo>
                    <a:pt x="55" y="340"/>
                  </a:lnTo>
                  <a:lnTo>
                    <a:pt x="55" y="338"/>
                  </a:lnTo>
                  <a:close/>
                  <a:moveTo>
                    <a:pt x="71" y="338"/>
                  </a:moveTo>
                  <a:lnTo>
                    <a:pt x="71" y="340"/>
                  </a:lnTo>
                  <a:lnTo>
                    <a:pt x="71" y="338"/>
                  </a:lnTo>
                  <a:close/>
                  <a:moveTo>
                    <a:pt x="59" y="340"/>
                  </a:moveTo>
                  <a:lnTo>
                    <a:pt x="57" y="338"/>
                  </a:lnTo>
                  <a:lnTo>
                    <a:pt x="59" y="338"/>
                  </a:lnTo>
                  <a:lnTo>
                    <a:pt x="59" y="340"/>
                  </a:lnTo>
                  <a:close/>
                  <a:moveTo>
                    <a:pt x="50" y="338"/>
                  </a:moveTo>
                  <a:lnTo>
                    <a:pt x="48" y="338"/>
                  </a:lnTo>
                  <a:lnTo>
                    <a:pt x="50" y="338"/>
                  </a:lnTo>
                  <a:close/>
                  <a:moveTo>
                    <a:pt x="55" y="338"/>
                  </a:moveTo>
                  <a:lnTo>
                    <a:pt x="52" y="338"/>
                  </a:lnTo>
                  <a:lnTo>
                    <a:pt x="55" y="338"/>
                  </a:lnTo>
                  <a:close/>
                  <a:moveTo>
                    <a:pt x="55" y="338"/>
                  </a:moveTo>
                  <a:lnTo>
                    <a:pt x="55" y="340"/>
                  </a:lnTo>
                  <a:lnTo>
                    <a:pt x="55" y="338"/>
                  </a:lnTo>
                  <a:close/>
                  <a:moveTo>
                    <a:pt x="33" y="338"/>
                  </a:moveTo>
                  <a:lnTo>
                    <a:pt x="36" y="338"/>
                  </a:lnTo>
                  <a:lnTo>
                    <a:pt x="33" y="338"/>
                  </a:lnTo>
                  <a:close/>
                  <a:moveTo>
                    <a:pt x="52" y="338"/>
                  </a:moveTo>
                  <a:lnTo>
                    <a:pt x="52" y="340"/>
                  </a:lnTo>
                  <a:lnTo>
                    <a:pt x="52" y="338"/>
                  </a:lnTo>
                  <a:close/>
                  <a:moveTo>
                    <a:pt x="278" y="338"/>
                  </a:moveTo>
                  <a:lnTo>
                    <a:pt x="275" y="338"/>
                  </a:lnTo>
                  <a:lnTo>
                    <a:pt x="278" y="338"/>
                  </a:lnTo>
                  <a:close/>
                  <a:moveTo>
                    <a:pt x="59" y="338"/>
                  </a:moveTo>
                  <a:lnTo>
                    <a:pt x="57" y="338"/>
                  </a:lnTo>
                  <a:lnTo>
                    <a:pt x="59" y="338"/>
                  </a:lnTo>
                  <a:close/>
                  <a:moveTo>
                    <a:pt x="33" y="338"/>
                  </a:moveTo>
                  <a:lnTo>
                    <a:pt x="31" y="338"/>
                  </a:lnTo>
                  <a:lnTo>
                    <a:pt x="33" y="338"/>
                  </a:lnTo>
                  <a:close/>
                  <a:moveTo>
                    <a:pt x="38" y="338"/>
                  </a:moveTo>
                  <a:lnTo>
                    <a:pt x="36" y="338"/>
                  </a:lnTo>
                  <a:lnTo>
                    <a:pt x="38" y="338"/>
                  </a:lnTo>
                  <a:close/>
                  <a:moveTo>
                    <a:pt x="278" y="338"/>
                  </a:moveTo>
                  <a:lnTo>
                    <a:pt x="275" y="338"/>
                  </a:lnTo>
                  <a:lnTo>
                    <a:pt x="278" y="338"/>
                  </a:lnTo>
                  <a:close/>
                  <a:moveTo>
                    <a:pt x="81" y="338"/>
                  </a:moveTo>
                  <a:lnTo>
                    <a:pt x="78" y="338"/>
                  </a:lnTo>
                  <a:lnTo>
                    <a:pt x="81" y="338"/>
                  </a:lnTo>
                  <a:close/>
                  <a:moveTo>
                    <a:pt x="74" y="338"/>
                  </a:moveTo>
                  <a:lnTo>
                    <a:pt x="71" y="338"/>
                  </a:lnTo>
                  <a:lnTo>
                    <a:pt x="74" y="338"/>
                  </a:lnTo>
                  <a:close/>
                  <a:moveTo>
                    <a:pt x="26" y="338"/>
                  </a:moveTo>
                  <a:lnTo>
                    <a:pt x="24" y="338"/>
                  </a:lnTo>
                  <a:lnTo>
                    <a:pt x="26" y="338"/>
                  </a:lnTo>
                  <a:close/>
                  <a:moveTo>
                    <a:pt x="59" y="338"/>
                  </a:moveTo>
                  <a:lnTo>
                    <a:pt x="57" y="338"/>
                  </a:lnTo>
                  <a:lnTo>
                    <a:pt x="59" y="338"/>
                  </a:lnTo>
                  <a:close/>
                  <a:moveTo>
                    <a:pt x="76" y="338"/>
                  </a:moveTo>
                  <a:lnTo>
                    <a:pt x="74" y="338"/>
                  </a:lnTo>
                  <a:lnTo>
                    <a:pt x="76" y="338"/>
                  </a:lnTo>
                  <a:close/>
                  <a:moveTo>
                    <a:pt x="33" y="338"/>
                  </a:moveTo>
                  <a:lnTo>
                    <a:pt x="31" y="338"/>
                  </a:lnTo>
                  <a:lnTo>
                    <a:pt x="33" y="338"/>
                  </a:lnTo>
                  <a:close/>
                  <a:moveTo>
                    <a:pt x="55" y="338"/>
                  </a:moveTo>
                  <a:lnTo>
                    <a:pt x="52" y="338"/>
                  </a:lnTo>
                  <a:lnTo>
                    <a:pt x="55" y="338"/>
                  </a:lnTo>
                  <a:close/>
                  <a:moveTo>
                    <a:pt x="36" y="338"/>
                  </a:moveTo>
                  <a:lnTo>
                    <a:pt x="33" y="338"/>
                  </a:lnTo>
                  <a:lnTo>
                    <a:pt x="36" y="338"/>
                  </a:lnTo>
                  <a:close/>
                  <a:moveTo>
                    <a:pt x="57" y="338"/>
                  </a:moveTo>
                  <a:lnTo>
                    <a:pt x="55" y="338"/>
                  </a:lnTo>
                  <a:lnTo>
                    <a:pt x="57" y="338"/>
                  </a:lnTo>
                  <a:close/>
                  <a:moveTo>
                    <a:pt x="55" y="338"/>
                  </a:moveTo>
                  <a:lnTo>
                    <a:pt x="52" y="338"/>
                  </a:lnTo>
                  <a:lnTo>
                    <a:pt x="55" y="338"/>
                  </a:lnTo>
                  <a:close/>
                  <a:moveTo>
                    <a:pt x="271" y="338"/>
                  </a:moveTo>
                  <a:lnTo>
                    <a:pt x="268" y="338"/>
                  </a:lnTo>
                  <a:lnTo>
                    <a:pt x="271" y="338"/>
                  </a:lnTo>
                  <a:close/>
                  <a:moveTo>
                    <a:pt x="55" y="338"/>
                  </a:moveTo>
                  <a:lnTo>
                    <a:pt x="57" y="338"/>
                  </a:lnTo>
                  <a:lnTo>
                    <a:pt x="55" y="338"/>
                  </a:lnTo>
                  <a:close/>
                  <a:moveTo>
                    <a:pt x="62" y="338"/>
                  </a:moveTo>
                  <a:lnTo>
                    <a:pt x="59" y="338"/>
                  </a:lnTo>
                  <a:lnTo>
                    <a:pt x="62" y="338"/>
                  </a:lnTo>
                  <a:close/>
                  <a:moveTo>
                    <a:pt x="90" y="338"/>
                  </a:moveTo>
                  <a:lnTo>
                    <a:pt x="88" y="338"/>
                  </a:lnTo>
                  <a:lnTo>
                    <a:pt x="90" y="338"/>
                  </a:lnTo>
                  <a:close/>
                  <a:moveTo>
                    <a:pt x="67" y="338"/>
                  </a:moveTo>
                  <a:lnTo>
                    <a:pt x="64" y="338"/>
                  </a:lnTo>
                  <a:lnTo>
                    <a:pt x="67" y="338"/>
                  </a:lnTo>
                  <a:close/>
                  <a:moveTo>
                    <a:pt x="247" y="338"/>
                  </a:moveTo>
                  <a:lnTo>
                    <a:pt x="244" y="338"/>
                  </a:lnTo>
                  <a:lnTo>
                    <a:pt x="247" y="338"/>
                  </a:lnTo>
                  <a:close/>
                  <a:moveTo>
                    <a:pt x="254" y="338"/>
                  </a:moveTo>
                  <a:lnTo>
                    <a:pt x="256" y="338"/>
                  </a:lnTo>
                  <a:lnTo>
                    <a:pt x="254" y="338"/>
                  </a:lnTo>
                  <a:close/>
                  <a:moveTo>
                    <a:pt x="95" y="338"/>
                  </a:moveTo>
                  <a:lnTo>
                    <a:pt x="93" y="338"/>
                  </a:lnTo>
                  <a:lnTo>
                    <a:pt x="95" y="338"/>
                  </a:lnTo>
                  <a:close/>
                  <a:moveTo>
                    <a:pt x="223" y="338"/>
                  </a:moveTo>
                  <a:lnTo>
                    <a:pt x="221" y="338"/>
                  </a:lnTo>
                  <a:lnTo>
                    <a:pt x="223" y="338"/>
                  </a:lnTo>
                  <a:close/>
                  <a:moveTo>
                    <a:pt x="55" y="338"/>
                  </a:moveTo>
                  <a:lnTo>
                    <a:pt x="52" y="338"/>
                  </a:lnTo>
                  <a:lnTo>
                    <a:pt x="55" y="338"/>
                  </a:lnTo>
                  <a:close/>
                  <a:moveTo>
                    <a:pt x="57" y="338"/>
                  </a:moveTo>
                  <a:lnTo>
                    <a:pt x="55" y="338"/>
                  </a:lnTo>
                  <a:lnTo>
                    <a:pt x="57" y="338"/>
                  </a:lnTo>
                  <a:close/>
                  <a:moveTo>
                    <a:pt x="62" y="338"/>
                  </a:moveTo>
                  <a:lnTo>
                    <a:pt x="59" y="338"/>
                  </a:lnTo>
                  <a:lnTo>
                    <a:pt x="62" y="338"/>
                  </a:lnTo>
                  <a:close/>
                  <a:moveTo>
                    <a:pt x="256" y="338"/>
                  </a:moveTo>
                  <a:lnTo>
                    <a:pt x="254" y="338"/>
                  </a:lnTo>
                  <a:lnTo>
                    <a:pt x="256" y="338"/>
                  </a:lnTo>
                  <a:close/>
                  <a:moveTo>
                    <a:pt x="240" y="338"/>
                  </a:moveTo>
                  <a:lnTo>
                    <a:pt x="237" y="338"/>
                  </a:lnTo>
                  <a:lnTo>
                    <a:pt x="240" y="338"/>
                  </a:lnTo>
                  <a:close/>
                  <a:moveTo>
                    <a:pt x="52" y="338"/>
                  </a:moveTo>
                  <a:lnTo>
                    <a:pt x="50" y="338"/>
                  </a:lnTo>
                  <a:lnTo>
                    <a:pt x="52" y="338"/>
                  </a:lnTo>
                  <a:close/>
                  <a:moveTo>
                    <a:pt x="263" y="338"/>
                  </a:moveTo>
                  <a:lnTo>
                    <a:pt x="266" y="338"/>
                  </a:lnTo>
                  <a:lnTo>
                    <a:pt x="263" y="338"/>
                  </a:lnTo>
                  <a:close/>
                  <a:moveTo>
                    <a:pt x="69" y="338"/>
                  </a:moveTo>
                  <a:lnTo>
                    <a:pt x="67" y="338"/>
                  </a:lnTo>
                  <a:lnTo>
                    <a:pt x="69" y="338"/>
                  </a:lnTo>
                  <a:close/>
                  <a:moveTo>
                    <a:pt x="17" y="338"/>
                  </a:moveTo>
                  <a:lnTo>
                    <a:pt x="14" y="338"/>
                  </a:lnTo>
                  <a:lnTo>
                    <a:pt x="17" y="338"/>
                  </a:lnTo>
                  <a:close/>
                  <a:moveTo>
                    <a:pt x="244" y="338"/>
                  </a:moveTo>
                  <a:lnTo>
                    <a:pt x="242" y="338"/>
                  </a:lnTo>
                  <a:lnTo>
                    <a:pt x="244" y="338"/>
                  </a:lnTo>
                  <a:close/>
                  <a:moveTo>
                    <a:pt x="26" y="338"/>
                  </a:moveTo>
                  <a:lnTo>
                    <a:pt x="26" y="335"/>
                  </a:lnTo>
                  <a:lnTo>
                    <a:pt x="26" y="338"/>
                  </a:lnTo>
                  <a:close/>
                  <a:moveTo>
                    <a:pt x="36" y="338"/>
                  </a:moveTo>
                  <a:lnTo>
                    <a:pt x="36" y="335"/>
                  </a:lnTo>
                  <a:lnTo>
                    <a:pt x="36" y="338"/>
                  </a:lnTo>
                  <a:close/>
                  <a:moveTo>
                    <a:pt x="228" y="338"/>
                  </a:moveTo>
                  <a:lnTo>
                    <a:pt x="228" y="335"/>
                  </a:lnTo>
                  <a:lnTo>
                    <a:pt x="228" y="338"/>
                  </a:lnTo>
                  <a:close/>
                  <a:moveTo>
                    <a:pt x="52" y="335"/>
                  </a:moveTo>
                  <a:lnTo>
                    <a:pt x="52" y="338"/>
                  </a:lnTo>
                  <a:lnTo>
                    <a:pt x="52" y="335"/>
                  </a:lnTo>
                  <a:close/>
                  <a:moveTo>
                    <a:pt x="81" y="338"/>
                  </a:moveTo>
                  <a:lnTo>
                    <a:pt x="81" y="335"/>
                  </a:lnTo>
                  <a:lnTo>
                    <a:pt x="81" y="338"/>
                  </a:lnTo>
                  <a:close/>
                  <a:moveTo>
                    <a:pt x="275" y="335"/>
                  </a:moveTo>
                  <a:lnTo>
                    <a:pt x="275" y="338"/>
                  </a:lnTo>
                  <a:lnTo>
                    <a:pt x="275" y="335"/>
                  </a:lnTo>
                  <a:close/>
                  <a:moveTo>
                    <a:pt x="261" y="335"/>
                  </a:moveTo>
                  <a:lnTo>
                    <a:pt x="261" y="338"/>
                  </a:lnTo>
                  <a:lnTo>
                    <a:pt x="261" y="335"/>
                  </a:lnTo>
                  <a:close/>
                  <a:moveTo>
                    <a:pt x="67" y="335"/>
                  </a:moveTo>
                  <a:lnTo>
                    <a:pt x="67" y="338"/>
                  </a:lnTo>
                  <a:lnTo>
                    <a:pt x="67" y="335"/>
                  </a:lnTo>
                  <a:close/>
                  <a:moveTo>
                    <a:pt x="256" y="335"/>
                  </a:moveTo>
                  <a:lnTo>
                    <a:pt x="256" y="338"/>
                  </a:lnTo>
                  <a:lnTo>
                    <a:pt x="256" y="335"/>
                  </a:lnTo>
                  <a:close/>
                  <a:moveTo>
                    <a:pt x="69" y="335"/>
                  </a:moveTo>
                  <a:lnTo>
                    <a:pt x="69" y="338"/>
                  </a:lnTo>
                  <a:lnTo>
                    <a:pt x="69" y="335"/>
                  </a:lnTo>
                  <a:close/>
                  <a:moveTo>
                    <a:pt x="78" y="335"/>
                  </a:moveTo>
                  <a:lnTo>
                    <a:pt x="78" y="338"/>
                  </a:lnTo>
                  <a:lnTo>
                    <a:pt x="78" y="335"/>
                  </a:lnTo>
                  <a:close/>
                  <a:moveTo>
                    <a:pt x="74" y="335"/>
                  </a:moveTo>
                  <a:lnTo>
                    <a:pt x="74" y="338"/>
                  </a:lnTo>
                  <a:lnTo>
                    <a:pt x="74" y="335"/>
                  </a:lnTo>
                  <a:close/>
                  <a:moveTo>
                    <a:pt x="71" y="335"/>
                  </a:moveTo>
                  <a:lnTo>
                    <a:pt x="71" y="338"/>
                  </a:lnTo>
                  <a:lnTo>
                    <a:pt x="71" y="335"/>
                  </a:lnTo>
                  <a:close/>
                  <a:moveTo>
                    <a:pt x="36" y="338"/>
                  </a:moveTo>
                  <a:lnTo>
                    <a:pt x="36" y="335"/>
                  </a:lnTo>
                  <a:lnTo>
                    <a:pt x="36" y="338"/>
                  </a:lnTo>
                  <a:close/>
                  <a:moveTo>
                    <a:pt x="78" y="338"/>
                  </a:moveTo>
                  <a:lnTo>
                    <a:pt x="78" y="335"/>
                  </a:lnTo>
                  <a:lnTo>
                    <a:pt x="78" y="338"/>
                  </a:lnTo>
                  <a:close/>
                  <a:moveTo>
                    <a:pt x="57" y="335"/>
                  </a:moveTo>
                  <a:lnTo>
                    <a:pt x="57" y="338"/>
                  </a:lnTo>
                  <a:lnTo>
                    <a:pt x="57" y="335"/>
                  </a:lnTo>
                  <a:close/>
                  <a:moveTo>
                    <a:pt x="88" y="338"/>
                  </a:moveTo>
                  <a:lnTo>
                    <a:pt x="88" y="335"/>
                  </a:lnTo>
                  <a:lnTo>
                    <a:pt x="88" y="338"/>
                  </a:lnTo>
                  <a:close/>
                  <a:moveTo>
                    <a:pt x="67" y="335"/>
                  </a:moveTo>
                  <a:lnTo>
                    <a:pt x="67" y="338"/>
                  </a:lnTo>
                  <a:lnTo>
                    <a:pt x="67" y="335"/>
                  </a:lnTo>
                  <a:close/>
                  <a:moveTo>
                    <a:pt x="62" y="338"/>
                  </a:moveTo>
                  <a:lnTo>
                    <a:pt x="62" y="335"/>
                  </a:lnTo>
                  <a:lnTo>
                    <a:pt x="62" y="338"/>
                  </a:lnTo>
                  <a:close/>
                  <a:moveTo>
                    <a:pt x="71" y="338"/>
                  </a:moveTo>
                  <a:lnTo>
                    <a:pt x="71" y="335"/>
                  </a:lnTo>
                  <a:lnTo>
                    <a:pt x="71" y="338"/>
                  </a:lnTo>
                  <a:close/>
                  <a:moveTo>
                    <a:pt x="14" y="338"/>
                  </a:moveTo>
                  <a:lnTo>
                    <a:pt x="14" y="335"/>
                  </a:lnTo>
                  <a:lnTo>
                    <a:pt x="14" y="338"/>
                  </a:lnTo>
                  <a:close/>
                  <a:moveTo>
                    <a:pt x="45" y="335"/>
                  </a:moveTo>
                  <a:lnTo>
                    <a:pt x="45" y="338"/>
                  </a:lnTo>
                  <a:lnTo>
                    <a:pt x="45" y="335"/>
                  </a:lnTo>
                  <a:close/>
                  <a:moveTo>
                    <a:pt x="52" y="335"/>
                  </a:moveTo>
                  <a:lnTo>
                    <a:pt x="52" y="338"/>
                  </a:lnTo>
                  <a:lnTo>
                    <a:pt x="52" y="335"/>
                  </a:lnTo>
                  <a:close/>
                  <a:moveTo>
                    <a:pt x="64" y="335"/>
                  </a:moveTo>
                  <a:lnTo>
                    <a:pt x="64" y="338"/>
                  </a:lnTo>
                  <a:lnTo>
                    <a:pt x="64" y="335"/>
                  </a:lnTo>
                  <a:lnTo>
                    <a:pt x="64" y="338"/>
                  </a:lnTo>
                  <a:lnTo>
                    <a:pt x="64" y="335"/>
                  </a:lnTo>
                  <a:close/>
                  <a:moveTo>
                    <a:pt x="36" y="335"/>
                  </a:moveTo>
                  <a:lnTo>
                    <a:pt x="33" y="335"/>
                  </a:lnTo>
                  <a:lnTo>
                    <a:pt x="36" y="335"/>
                  </a:lnTo>
                  <a:close/>
                  <a:moveTo>
                    <a:pt x="31" y="338"/>
                  </a:moveTo>
                  <a:lnTo>
                    <a:pt x="31" y="335"/>
                  </a:lnTo>
                  <a:lnTo>
                    <a:pt x="31" y="338"/>
                  </a:lnTo>
                  <a:close/>
                  <a:moveTo>
                    <a:pt x="67" y="338"/>
                  </a:moveTo>
                  <a:lnTo>
                    <a:pt x="67" y="335"/>
                  </a:lnTo>
                  <a:lnTo>
                    <a:pt x="67" y="338"/>
                  </a:lnTo>
                  <a:close/>
                  <a:moveTo>
                    <a:pt x="78" y="335"/>
                  </a:moveTo>
                  <a:lnTo>
                    <a:pt x="78" y="338"/>
                  </a:lnTo>
                  <a:lnTo>
                    <a:pt x="78" y="335"/>
                  </a:lnTo>
                  <a:close/>
                  <a:moveTo>
                    <a:pt x="52" y="335"/>
                  </a:moveTo>
                  <a:lnTo>
                    <a:pt x="52" y="338"/>
                  </a:lnTo>
                  <a:lnTo>
                    <a:pt x="52" y="335"/>
                  </a:lnTo>
                  <a:close/>
                  <a:moveTo>
                    <a:pt x="69" y="335"/>
                  </a:moveTo>
                  <a:lnTo>
                    <a:pt x="67" y="335"/>
                  </a:lnTo>
                  <a:lnTo>
                    <a:pt x="69" y="335"/>
                  </a:lnTo>
                  <a:close/>
                  <a:moveTo>
                    <a:pt x="26" y="335"/>
                  </a:moveTo>
                  <a:lnTo>
                    <a:pt x="24" y="335"/>
                  </a:lnTo>
                  <a:lnTo>
                    <a:pt x="26" y="335"/>
                  </a:lnTo>
                  <a:close/>
                  <a:moveTo>
                    <a:pt x="31" y="335"/>
                  </a:moveTo>
                  <a:lnTo>
                    <a:pt x="29" y="335"/>
                  </a:lnTo>
                  <a:lnTo>
                    <a:pt x="31" y="335"/>
                  </a:lnTo>
                  <a:close/>
                  <a:moveTo>
                    <a:pt x="21" y="335"/>
                  </a:moveTo>
                  <a:lnTo>
                    <a:pt x="24" y="335"/>
                  </a:lnTo>
                  <a:lnTo>
                    <a:pt x="21" y="335"/>
                  </a:lnTo>
                  <a:close/>
                  <a:moveTo>
                    <a:pt x="275" y="335"/>
                  </a:moveTo>
                  <a:lnTo>
                    <a:pt x="273" y="335"/>
                  </a:lnTo>
                  <a:lnTo>
                    <a:pt x="275" y="335"/>
                  </a:lnTo>
                  <a:close/>
                  <a:moveTo>
                    <a:pt x="57" y="335"/>
                  </a:moveTo>
                  <a:lnTo>
                    <a:pt x="55" y="335"/>
                  </a:lnTo>
                  <a:lnTo>
                    <a:pt x="57" y="335"/>
                  </a:lnTo>
                  <a:close/>
                  <a:moveTo>
                    <a:pt x="74" y="335"/>
                  </a:moveTo>
                  <a:lnTo>
                    <a:pt x="71" y="335"/>
                  </a:lnTo>
                  <a:lnTo>
                    <a:pt x="74" y="335"/>
                  </a:lnTo>
                  <a:close/>
                  <a:moveTo>
                    <a:pt x="52" y="335"/>
                  </a:moveTo>
                  <a:lnTo>
                    <a:pt x="50" y="335"/>
                  </a:lnTo>
                  <a:lnTo>
                    <a:pt x="52" y="335"/>
                  </a:lnTo>
                  <a:close/>
                  <a:moveTo>
                    <a:pt x="266" y="335"/>
                  </a:moveTo>
                  <a:lnTo>
                    <a:pt x="263" y="335"/>
                  </a:lnTo>
                  <a:lnTo>
                    <a:pt x="266" y="335"/>
                  </a:lnTo>
                  <a:close/>
                  <a:moveTo>
                    <a:pt x="59" y="335"/>
                  </a:moveTo>
                  <a:lnTo>
                    <a:pt x="62" y="335"/>
                  </a:lnTo>
                  <a:lnTo>
                    <a:pt x="59" y="335"/>
                  </a:lnTo>
                  <a:close/>
                  <a:moveTo>
                    <a:pt x="81" y="335"/>
                  </a:moveTo>
                  <a:lnTo>
                    <a:pt x="78" y="335"/>
                  </a:lnTo>
                  <a:lnTo>
                    <a:pt x="81" y="335"/>
                  </a:lnTo>
                  <a:close/>
                  <a:moveTo>
                    <a:pt x="62" y="335"/>
                  </a:moveTo>
                  <a:lnTo>
                    <a:pt x="59" y="335"/>
                  </a:lnTo>
                  <a:lnTo>
                    <a:pt x="62" y="335"/>
                  </a:lnTo>
                  <a:close/>
                  <a:moveTo>
                    <a:pt x="52" y="335"/>
                  </a:moveTo>
                  <a:lnTo>
                    <a:pt x="50" y="335"/>
                  </a:lnTo>
                  <a:lnTo>
                    <a:pt x="52" y="335"/>
                  </a:lnTo>
                  <a:close/>
                  <a:moveTo>
                    <a:pt x="90" y="335"/>
                  </a:moveTo>
                  <a:lnTo>
                    <a:pt x="88" y="335"/>
                  </a:lnTo>
                  <a:lnTo>
                    <a:pt x="90" y="335"/>
                  </a:lnTo>
                  <a:close/>
                  <a:moveTo>
                    <a:pt x="278" y="335"/>
                  </a:moveTo>
                  <a:lnTo>
                    <a:pt x="275" y="335"/>
                  </a:lnTo>
                  <a:lnTo>
                    <a:pt x="278" y="335"/>
                  </a:lnTo>
                  <a:close/>
                  <a:moveTo>
                    <a:pt x="52" y="335"/>
                  </a:moveTo>
                  <a:lnTo>
                    <a:pt x="50" y="335"/>
                  </a:lnTo>
                  <a:lnTo>
                    <a:pt x="52" y="335"/>
                  </a:lnTo>
                  <a:close/>
                  <a:moveTo>
                    <a:pt x="67" y="335"/>
                  </a:moveTo>
                  <a:lnTo>
                    <a:pt x="64" y="335"/>
                  </a:lnTo>
                  <a:lnTo>
                    <a:pt x="67" y="335"/>
                  </a:lnTo>
                  <a:close/>
                  <a:moveTo>
                    <a:pt x="52" y="335"/>
                  </a:moveTo>
                  <a:lnTo>
                    <a:pt x="50" y="335"/>
                  </a:lnTo>
                  <a:lnTo>
                    <a:pt x="52" y="335"/>
                  </a:lnTo>
                  <a:close/>
                  <a:moveTo>
                    <a:pt x="261" y="335"/>
                  </a:moveTo>
                  <a:lnTo>
                    <a:pt x="259" y="335"/>
                  </a:lnTo>
                  <a:lnTo>
                    <a:pt x="261" y="335"/>
                  </a:lnTo>
                  <a:close/>
                  <a:moveTo>
                    <a:pt x="40" y="335"/>
                  </a:moveTo>
                  <a:lnTo>
                    <a:pt x="38" y="335"/>
                  </a:lnTo>
                  <a:lnTo>
                    <a:pt x="40" y="335"/>
                  </a:lnTo>
                  <a:close/>
                  <a:moveTo>
                    <a:pt x="31" y="333"/>
                  </a:moveTo>
                  <a:lnTo>
                    <a:pt x="31" y="335"/>
                  </a:lnTo>
                  <a:lnTo>
                    <a:pt x="31" y="333"/>
                  </a:lnTo>
                  <a:close/>
                  <a:moveTo>
                    <a:pt x="244" y="335"/>
                  </a:moveTo>
                  <a:lnTo>
                    <a:pt x="244" y="333"/>
                  </a:lnTo>
                  <a:lnTo>
                    <a:pt x="244" y="335"/>
                  </a:lnTo>
                  <a:close/>
                  <a:moveTo>
                    <a:pt x="33" y="335"/>
                  </a:moveTo>
                  <a:lnTo>
                    <a:pt x="33" y="333"/>
                  </a:lnTo>
                  <a:lnTo>
                    <a:pt x="33" y="335"/>
                  </a:lnTo>
                  <a:close/>
                  <a:moveTo>
                    <a:pt x="81" y="335"/>
                  </a:moveTo>
                  <a:lnTo>
                    <a:pt x="81" y="333"/>
                  </a:lnTo>
                  <a:lnTo>
                    <a:pt x="81" y="335"/>
                  </a:lnTo>
                  <a:close/>
                  <a:moveTo>
                    <a:pt x="55" y="335"/>
                  </a:moveTo>
                  <a:lnTo>
                    <a:pt x="55" y="333"/>
                  </a:lnTo>
                  <a:lnTo>
                    <a:pt x="55" y="335"/>
                  </a:lnTo>
                  <a:close/>
                  <a:moveTo>
                    <a:pt x="50" y="335"/>
                  </a:moveTo>
                  <a:lnTo>
                    <a:pt x="50" y="333"/>
                  </a:lnTo>
                  <a:lnTo>
                    <a:pt x="50" y="335"/>
                  </a:lnTo>
                  <a:close/>
                  <a:moveTo>
                    <a:pt x="69" y="333"/>
                  </a:moveTo>
                  <a:lnTo>
                    <a:pt x="69" y="335"/>
                  </a:lnTo>
                  <a:lnTo>
                    <a:pt x="69" y="333"/>
                  </a:lnTo>
                  <a:close/>
                  <a:moveTo>
                    <a:pt x="259" y="335"/>
                  </a:moveTo>
                  <a:lnTo>
                    <a:pt x="259" y="333"/>
                  </a:lnTo>
                  <a:lnTo>
                    <a:pt x="259" y="335"/>
                  </a:lnTo>
                  <a:close/>
                  <a:moveTo>
                    <a:pt x="275" y="335"/>
                  </a:moveTo>
                  <a:lnTo>
                    <a:pt x="275" y="333"/>
                  </a:lnTo>
                  <a:lnTo>
                    <a:pt x="275" y="335"/>
                  </a:lnTo>
                  <a:close/>
                  <a:moveTo>
                    <a:pt x="50" y="335"/>
                  </a:moveTo>
                  <a:lnTo>
                    <a:pt x="50" y="333"/>
                  </a:lnTo>
                  <a:lnTo>
                    <a:pt x="50" y="335"/>
                  </a:lnTo>
                  <a:close/>
                  <a:moveTo>
                    <a:pt x="275" y="335"/>
                  </a:moveTo>
                  <a:lnTo>
                    <a:pt x="273" y="335"/>
                  </a:lnTo>
                  <a:lnTo>
                    <a:pt x="273" y="333"/>
                  </a:lnTo>
                  <a:lnTo>
                    <a:pt x="275" y="335"/>
                  </a:lnTo>
                  <a:close/>
                  <a:moveTo>
                    <a:pt x="261" y="333"/>
                  </a:moveTo>
                  <a:lnTo>
                    <a:pt x="261" y="335"/>
                  </a:lnTo>
                  <a:lnTo>
                    <a:pt x="261" y="333"/>
                  </a:lnTo>
                  <a:close/>
                  <a:moveTo>
                    <a:pt x="81" y="335"/>
                  </a:moveTo>
                  <a:lnTo>
                    <a:pt x="81" y="333"/>
                  </a:lnTo>
                  <a:lnTo>
                    <a:pt x="81" y="335"/>
                  </a:lnTo>
                  <a:close/>
                  <a:moveTo>
                    <a:pt x="275" y="335"/>
                  </a:moveTo>
                  <a:lnTo>
                    <a:pt x="275" y="333"/>
                  </a:lnTo>
                  <a:lnTo>
                    <a:pt x="275" y="335"/>
                  </a:lnTo>
                  <a:close/>
                  <a:moveTo>
                    <a:pt x="74" y="335"/>
                  </a:moveTo>
                  <a:lnTo>
                    <a:pt x="74" y="333"/>
                  </a:lnTo>
                  <a:lnTo>
                    <a:pt x="74" y="335"/>
                  </a:lnTo>
                  <a:close/>
                  <a:moveTo>
                    <a:pt x="261" y="333"/>
                  </a:moveTo>
                  <a:lnTo>
                    <a:pt x="259" y="333"/>
                  </a:lnTo>
                  <a:lnTo>
                    <a:pt x="261" y="333"/>
                  </a:lnTo>
                  <a:close/>
                  <a:moveTo>
                    <a:pt x="88" y="333"/>
                  </a:moveTo>
                  <a:lnTo>
                    <a:pt x="88" y="335"/>
                  </a:lnTo>
                  <a:lnTo>
                    <a:pt x="88" y="333"/>
                  </a:lnTo>
                  <a:close/>
                  <a:moveTo>
                    <a:pt x="275" y="335"/>
                  </a:moveTo>
                  <a:lnTo>
                    <a:pt x="275" y="333"/>
                  </a:lnTo>
                  <a:lnTo>
                    <a:pt x="275" y="335"/>
                  </a:lnTo>
                  <a:close/>
                  <a:moveTo>
                    <a:pt x="57" y="333"/>
                  </a:moveTo>
                  <a:lnTo>
                    <a:pt x="57" y="335"/>
                  </a:lnTo>
                  <a:lnTo>
                    <a:pt x="57" y="333"/>
                  </a:lnTo>
                  <a:close/>
                  <a:moveTo>
                    <a:pt x="261" y="333"/>
                  </a:moveTo>
                  <a:lnTo>
                    <a:pt x="261" y="335"/>
                  </a:lnTo>
                  <a:lnTo>
                    <a:pt x="261" y="333"/>
                  </a:lnTo>
                  <a:close/>
                  <a:moveTo>
                    <a:pt x="55" y="333"/>
                  </a:moveTo>
                  <a:lnTo>
                    <a:pt x="57" y="333"/>
                  </a:lnTo>
                  <a:lnTo>
                    <a:pt x="55" y="333"/>
                  </a:lnTo>
                  <a:lnTo>
                    <a:pt x="55" y="335"/>
                  </a:lnTo>
                  <a:lnTo>
                    <a:pt x="55" y="333"/>
                  </a:lnTo>
                  <a:close/>
                  <a:moveTo>
                    <a:pt x="263" y="333"/>
                  </a:moveTo>
                  <a:lnTo>
                    <a:pt x="263" y="335"/>
                  </a:lnTo>
                  <a:lnTo>
                    <a:pt x="263" y="333"/>
                  </a:lnTo>
                  <a:close/>
                  <a:moveTo>
                    <a:pt x="67" y="333"/>
                  </a:moveTo>
                  <a:lnTo>
                    <a:pt x="67" y="335"/>
                  </a:lnTo>
                  <a:lnTo>
                    <a:pt x="67" y="333"/>
                  </a:lnTo>
                  <a:close/>
                  <a:moveTo>
                    <a:pt x="67" y="333"/>
                  </a:moveTo>
                  <a:lnTo>
                    <a:pt x="64" y="333"/>
                  </a:lnTo>
                  <a:lnTo>
                    <a:pt x="67" y="333"/>
                  </a:lnTo>
                  <a:close/>
                  <a:moveTo>
                    <a:pt x="83" y="333"/>
                  </a:moveTo>
                  <a:lnTo>
                    <a:pt x="81" y="333"/>
                  </a:lnTo>
                  <a:lnTo>
                    <a:pt x="83" y="333"/>
                  </a:lnTo>
                  <a:close/>
                  <a:moveTo>
                    <a:pt x="52" y="333"/>
                  </a:moveTo>
                  <a:lnTo>
                    <a:pt x="50" y="333"/>
                  </a:lnTo>
                  <a:lnTo>
                    <a:pt x="52" y="333"/>
                  </a:lnTo>
                  <a:close/>
                  <a:moveTo>
                    <a:pt x="57" y="333"/>
                  </a:moveTo>
                  <a:lnTo>
                    <a:pt x="55" y="333"/>
                  </a:lnTo>
                  <a:lnTo>
                    <a:pt x="57" y="333"/>
                  </a:lnTo>
                  <a:close/>
                  <a:moveTo>
                    <a:pt x="252" y="333"/>
                  </a:moveTo>
                  <a:lnTo>
                    <a:pt x="254" y="333"/>
                  </a:lnTo>
                  <a:lnTo>
                    <a:pt x="252" y="333"/>
                  </a:lnTo>
                  <a:close/>
                  <a:moveTo>
                    <a:pt x="33" y="333"/>
                  </a:moveTo>
                  <a:lnTo>
                    <a:pt x="31" y="333"/>
                  </a:lnTo>
                  <a:lnTo>
                    <a:pt x="33" y="333"/>
                  </a:lnTo>
                  <a:close/>
                  <a:moveTo>
                    <a:pt x="57" y="333"/>
                  </a:moveTo>
                  <a:lnTo>
                    <a:pt x="55" y="333"/>
                  </a:lnTo>
                  <a:lnTo>
                    <a:pt x="57" y="333"/>
                  </a:lnTo>
                  <a:close/>
                  <a:moveTo>
                    <a:pt x="52" y="333"/>
                  </a:moveTo>
                  <a:lnTo>
                    <a:pt x="50" y="333"/>
                  </a:lnTo>
                  <a:lnTo>
                    <a:pt x="52" y="333"/>
                  </a:lnTo>
                  <a:close/>
                  <a:moveTo>
                    <a:pt x="40" y="333"/>
                  </a:moveTo>
                  <a:lnTo>
                    <a:pt x="38" y="333"/>
                  </a:lnTo>
                  <a:lnTo>
                    <a:pt x="40" y="333"/>
                  </a:lnTo>
                  <a:close/>
                  <a:moveTo>
                    <a:pt x="88" y="333"/>
                  </a:moveTo>
                  <a:lnTo>
                    <a:pt x="86" y="333"/>
                  </a:lnTo>
                  <a:lnTo>
                    <a:pt x="88" y="333"/>
                  </a:lnTo>
                  <a:close/>
                  <a:moveTo>
                    <a:pt x="50" y="333"/>
                  </a:moveTo>
                  <a:lnTo>
                    <a:pt x="48" y="333"/>
                  </a:lnTo>
                  <a:lnTo>
                    <a:pt x="50" y="333"/>
                  </a:lnTo>
                  <a:close/>
                  <a:moveTo>
                    <a:pt x="271" y="333"/>
                  </a:moveTo>
                  <a:lnTo>
                    <a:pt x="268" y="333"/>
                  </a:lnTo>
                  <a:lnTo>
                    <a:pt x="271" y="333"/>
                  </a:lnTo>
                  <a:close/>
                  <a:moveTo>
                    <a:pt x="59" y="333"/>
                  </a:moveTo>
                  <a:lnTo>
                    <a:pt x="57" y="333"/>
                  </a:lnTo>
                  <a:lnTo>
                    <a:pt x="59" y="333"/>
                  </a:lnTo>
                  <a:close/>
                  <a:moveTo>
                    <a:pt x="263" y="333"/>
                  </a:moveTo>
                  <a:lnTo>
                    <a:pt x="261" y="333"/>
                  </a:lnTo>
                  <a:lnTo>
                    <a:pt x="263" y="333"/>
                  </a:lnTo>
                  <a:close/>
                  <a:moveTo>
                    <a:pt x="52" y="333"/>
                  </a:moveTo>
                  <a:lnTo>
                    <a:pt x="50" y="333"/>
                  </a:lnTo>
                  <a:lnTo>
                    <a:pt x="52" y="333"/>
                  </a:lnTo>
                  <a:close/>
                  <a:moveTo>
                    <a:pt x="52" y="333"/>
                  </a:moveTo>
                  <a:lnTo>
                    <a:pt x="50" y="333"/>
                  </a:lnTo>
                  <a:lnTo>
                    <a:pt x="52" y="333"/>
                  </a:lnTo>
                  <a:close/>
                  <a:moveTo>
                    <a:pt x="62" y="333"/>
                  </a:moveTo>
                  <a:lnTo>
                    <a:pt x="59" y="333"/>
                  </a:lnTo>
                  <a:lnTo>
                    <a:pt x="62" y="333"/>
                  </a:lnTo>
                  <a:close/>
                  <a:moveTo>
                    <a:pt x="64" y="333"/>
                  </a:moveTo>
                  <a:lnTo>
                    <a:pt x="62" y="333"/>
                  </a:lnTo>
                  <a:lnTo>
                    <a:pt x="64" y="333"/>
                  </a:lnTo>
                  <a:close/>
                  <a:moveTo>
                    <a:pt x="256" y="333"/>
                  </a:moveTo>
                  <a:lnTo>
                    <a:pt x="254" y="333"/>
                  </a:lnTo>
                  <a:lnTo>
                    <a:pt x="256" y="333"/>
                  </a:lnTo>
                  <a:close/>
                  <a:moveTo>
                    <a:pt x="74" y="333"/>
                  </a:moveTo>
                  <a:lnTo>
                    <a:pt x="71" y="333"/>
                  </a:lnTo>
                  <a:lnTo>
                    <a:pt x="74" y="333"/>
                  </a:lnTo>
                  <a:close/>
                  <a:moveTo>
                    <a:pt x="52" y="333"/>
                  </a:moveTo>
                  <a:lnTo>
                    <a:pt x="50" y="333"/>
                  </a:lnTo>
                  <a:lnTo>
                    <a:pt x="52" y="333"/>
                  </a:lnTo>
                  <a:close/>
                  <a:moveTo>
                    <a:pt x="78" y="333"/>
                  </a:moveTo>
                  <a:lnTo>
                    <a:pt x="78" y="331"/>
                  </a:lnTo>
                  <a:lnTo>
                    <a:pt x="78" y="333"/>
                  </a:lnTo>
                  <a:close/>
                  <a:moveTo>
                    <a:pt x="254" y="333"/>
                  </a:moveTo>
                  <a:lnTo>
                    <a:pt x="254" y="331"/>
                  </a:lnTo>
                  <a:lnTo>
                    <a:pt x="254" y="333"/>
                  </a:lnTo>
                  <a:close/>
                  <a:moveTo>
                    <a:pt x="76" y="333"/>
                  </a:moveTo>
                  <a:lnTo>
                    <a:pt x="76" y="331"/>
                  </a:lnTo>
                  <a:lnTo>
                    <a:pt x="76" y="333"/>
                  </a:lnTo>
                  <a:close/>
                  <a:moveTo>
                    <a:pt x="40" y="331"/>
                  </a:moveTo>
                  <a:lnTo>
                    <a:pt x="40" y="333"/>
                  </a:lnTo>
                  <a:lnTo>
                    <a:pt x="40" y="331"/>
                  </a:lnTo>
                  <a:close/>
                  <a:moveTo>
                    <a:pt x="52" y="331"/>
                  </a:moveTo>
                  <a:lnTo>
                    <a:pt x="50" y="331"/>
                  </a:lnTo>
                  <a:lnTo>
                    <a:pt x="52" y="331"/>
                  </a:lnTo>
                  <a:close/>
                  <a:moveTo>
                    <a:pt x="88" y="333"/>
                  </a:moveTo>
                  <a:lnTo>
                    <a:pt x="86" y="331"/>
                  </a:lnTo>
                  <a:lnTo>
                    <a:pt x="88" y="333"/>
                  </a:lnTo>
                  <a:close/>
                  <a:moveTo>
                    <a:pt x="55" y="331"/>
                  </a:moveTo>
                  <a:lnTo>
                    <a:pt x="52" y="331"/>
                  </a:lnTo>
                  <a:lnTo>
                    <a:pt x="55" y="331"/>
                  </a:lnTo>
                  <a:close/>
                  <a:moveTo>
                    <a:pt x="52" y="331"/>
                  </a:moveTo>
                  <a:lnTo>
                    <a:pt x="50" y="331"/>
                  </a:lnTo>
                  <a:lnTo>
                    <a:pt x="52" y="331"/>
                  </a:lnTo>
                  <a:close/>
                  <a:moveTo>
                    <a:pt x="57" y="331"/>
                  </a:moveTo>
                  <a:lnTo>
                    <a:pt x="55" y="331"/>
                  </a:lnTo>
                  <a:lnTo>
                    <a:pt x="57" y="331"/>
                  </a:lnTo>
                  <a:close/>
                  <a:moveTo>
                    <a:pt x="52" y="331"/>
                  </a:moveTo>
                  <a:lnTo>
                    <a:pt x="50" y="331"/>
                  </a:lnTo>
                  <a:lnTo>
                    <a:pt x="52" y="331"/>
                  </a:lnTo>
                  <a:close/>
                  <a:moveTo>
                    <a:pt x="62" y="331"/>
                  </a:moveTo>
                  <a:lnTo>
                    <a:pt x="59" y="331"/>
                  </a:lnTo>
                  <a:lnTo>
                    <a:pt x="62" y="331"/>
                  </a:lnTo>
                  <a:close/>
                  <a:moveTo>
                    <a:pt x="74" y="331"/>
                  </a:moveTo>
                  <a:lnTo>
                    <a:pt x="71" y="331"/>
                  </a:lnTo>
                  <a:lnTo>
                    <a:pt x="74" y="331"/>
                  </a:lnTo>
                  <a:close/>
                  <a:moveTo>
                    <a:pt x="59" y="331"/>
                  </a:moveTo>
                  <a:lnTo>
                    <a:pt x="57" y="331"/>
                  </a:lnTo>
                  <a:lnTo>
                    <a:pt x="59" y="331"/>
                  </a:lnTo>
                  <a:close/>
                  <a:moveTo>
                    <a:pt x="64" y="331"/>
                  </a:moveTo>
                  <a:lnTo>
                    <a:pt x="62" y="331"/>
                  </a:lnTo>
                  <a:lnTo>
                    <a:pt x="64" y="331"/>
                  </a:lnTo>
                  <a:close/>
                  <a:moveTo>
                    <a:pt x="59" y="331"/>
                  </a:moveTo>
                  <a:lnTo>
                    <a:pt x="57" y="331"/>
                  </a:lnTo>
                  <a:lnTo>
                    <a:pt x="59" y="331"/>
                  </a:lnTo>
                  <a:close/>
                  <a:moveTo>
                    <a:pt x="59" y="328"/>
                  </a:moveTo>
                  <a:lnTo>
                    <a:pt x="59" y="331"/>
                  </a:lnTo>
                  <a:lnTo>
                    <a:pt x="59" y="328"/>
                  </a:lnTo>
                  <a:close/>
                  <a:moveTo>
                    <a:pt x="52" y="331"/>
                  </a:moveTo>
                  <a:lnTo>
                    <a:pt x="52" y="328"/>
                  </a:lnTo>
                  <a:lnTo>
                    <a:pt x="52" y="331"/>
                  </a:lnTo>
                  <a:close/>
                  <a:moveTo>
                    <a:pt x="74" y="328"/>
                  </a:moveTo>
                  <a:lnTo>
                    <a:pt x="74" y="331"/>
                  </a:lnTo>
                  <a:lnTo>
                    <a:pt x="74" y="328"/>
                  </a:lnTo>
                  <a:close/>
                  <a:moveTo>
                    <a:pt x="74" y="328"/>
                  </a:moveTo>
                  <a:lnTo>
                    <a:pt x="74" y="331"/>
                  </a:lnTo>
                  <a:lnTo>
                    <a:pt x="74" y="328"/>
                  </a:lnTo>
                  <a:close/>
                  <a:moveTo>
                    <a:pt x="62" y="328"/>
                  </a:moveTo>
                  <a:lnTo>
                    <a:pt x="62" y="331"/>
                  </a:lnTo>
                  <a:lnTo>
                    <a:pt x="62" y="328"/>
                  </a:lnTo>
                  <a:close/>
                  <a:moveTo>
                    <a:pt x="278" y="331"/>
                  </a:moveTo>
                  <a:lnTo>
                    <a:pt x="278" y="328"/>
                  </a:lnTo>
                  <a:lnTo>
                    <a:pt x="278" y="331"/>
                  </a:lnTo>
                  <a:close/>
                  <a:moveTo>
                    <a:pt x="81" y="331"/>
                  </a:moveTo>
                  <a:lnTo>
                    <a:pt x="81" y="328"/>
                  </a:lnTo>
                  <a:lnTo>
                    <a:pt x="81" y="331"/>
                  </a:lnTo>
                  <a:close/>
                  <a:moveTo>
                    <a:pt x="55" y="328"/>
                  </a:moveTo>
                  <a:lnTo>
                    <a:pt x="55" y="331"/>
                  </a:lnTo>
                  <a:lnTo>
                    <a:pt x="55" y="328"/>
                  </a:lnTo>
                  <a:close/>
                  <a:moveTo>
                    <a:pt x="62" y="331"/>
                  </a:moveTo>
                  <a:lnTo>
                    <a:pt x="62" y="328"/>
                  </a:lnTo>
                  <a:lnTo>
                    <a:pt x="62" y="331"/>
                  </a:lnTo>
                  <a:close/>
                  <a:moveTo>
                    <a:pt x="57" y="331"/>
                  </a:moveTo>
                  <a:lnTo>
                    <a:pt x="57" y="328"/>
                  </a:lnTo>
                  <a:lnTo>
                    <a:pt x="57" y="331"/>
                  </a:lnTo>
                  <a:close/>
                  <a:moveTo>
                    <a:pt x="50" y="328"/>
                  </a:moveTo>
                  <a:lnTo>
                    <a:pt x="50" y="331"/>
                  </a:lnTo>
                  <a:lnTo>
                    <a:pt x="50" y="328"/>
                  </a:lnTo>
                  <a:close/>
                  <a:moveTo>
                    <a:pt x="64" y="331"/>
                  </a:moveTo>
                  <a:lnTo>
                    <a:pt x="64" y="328"/>
                  </a:lnTo>
                  <a:lnTo>
                    <a:pt x="64" y="331"/>
                  </a:lnTo>
                  <a:close/>
                  <a:moveTo>
                    <a:pt x="62" y="328"/>
                  </a:moveTo>
                  <a:lnTo>
                    <a:pt x="62" y="331"/>
                  </a:lnTo>
                  <a:lnTo>
                    <a:pt x="62" y="328"/>
                  </a:lnTo>
                  <a:close/>
                  <a:moveTo>
                    <a:pt x="78" y="331"/>
                  </a:moveTo>
                  <a:lnTo>
                    <a:pt x="78" y="328"/>
                  </a:lnTo>
                  <a:lnTo>
                    <a:pt x="78" y="331"/>
                  </a:lnTo>
                  <a:close/>
                  <a:moveTo>
                    <a:pt x="71" y="328"/>
                  </a:moveTo>
                  <a:lnTo>
                    <a:pt x="69" y="328"/>
                  </a:lnTo>
                  <a:lnTo>
                    <a:pt x="71" y="328"/>
                  </a:lnTo>
                  <a:close/>
                  <a:moveTo>
                    <a:pt x="59" y="328"/>
                  </a:moveTo>
                  <a:lnTo>
                    <a:pt x="57" y="328"/>
                  </a:lnTo>
                  <a:lnTo>
                    <a:pt x="59" y="328"/>
                  </a:lnTo>
                  <a:close/>
                  <a:moveTo>
                    <a:pt x="64" y="328"/>
                  </a:moveTo>
                  <a:lnTo>
                    <a:pt x="62" y="328"/>
                  </a:lnTo>
                  <a:lnTo>
                    <a:pt x="64" y="328"/>
                  </a:lnTo>
                  <a:close/>
                  <a:moveTo>
                    <a:pt x="62" y="326"/>
                  </a:moveTo>
                  <a:lnTo>
                    <a:pt x="62" y="328"/>
                  </a:lnTo>
                  <a:lnTo>
                    <a:pt x="62" y="326"/>
                  </a:lnTo>
                  <a:close/>
                  <a:moveTo>
                    <a:pt x="52" y="328"/>
                  </a:moveTo>
                  <a:lnTo>
                    <a:pt x="52" y="326"/>
                  </a:lnTo>
                  <a:lnTo>
                    <a:pt x="52" y="328"/>
                  </a:lnTo>
                  <a:close/>
                  <a:moveTo>
                    <a:pt x="62" y="328"/>
                  </a:moveTo>
                  <a:lnTo>
                    <a:pt x="62" y="326"/>
                  </a:lnTo>
                  <a:lnTo>
                    <a:pt x="62" y="328"/>
                  </a:lnTo>
                  <a:close/>
                  <a:moveTo>
                    <a:pt x="81" y="326"/>
                  </a:moveTo>
                  <a:lnTo>
                    <a:pt x="81" y="328"/>
                  </a:lnTo>
                  <a:lnTo>
                    <a:pt x="81" y="326"/>
                  </a:lnTo>
                  <a:close/>
                  <a:moveTo>
                    <a:pt x="52" y="326"/>
                  </a:moveTo>
                  <a:lnTo>
                    <a:pt x="50" y="326"/>
                  </a:lnTo>
                  <a:lnTo>
                    <a:pt x="52" y="326"/>
                  </a:lnTo>
                  <a:close/>
                  <a:moveTo>
                    <a:pt x="69" y="326"/>
                  </a:moveTo>
                  <a:lnTo>
                    <a:pt x="67" y="326"/>
                  </a:lnTo>
                  <a:lnTo>
                    <a:pt x="69" y="326"/>
                  </a:lnTo>
                  <a:close/>
                  <a:moveTo>
                    <a:pt x="62" y="326"/>
                  </a:moveTo>
                  <a:lnTo>
                    <a:pt x="64" y="326"/>
                  </a:lnTo>
                  <a:lnTo>
                    <a:pt x="62" y="326"/>
                  </a:lnTo>
                  <a:close/>
                  <a:moveTo>
                    <a:pt x="64" y="326"/>
                  </a:moveTo>
                  <a:lnTo>
                    <a:pt x="64" y="323"/>
                  </a:lnTo>
                  <a:lnTo>
                    <a:pt x="64" y="326"/>
                  </a:lnTo>
                  <a:close/>
                  <a:moveTo>
                    <a:pt x="64" y="323"/>
                  </a:moveTo>
                  <a:lnTo>
                    <a:pt x="64" y="326"/>
                  </a:lnTo>
                  <a:lnTo>
                    <a:pt x="64" y="323"/>
                  </a:lnTo>
                  <a:close/>
                  <a:moveTo>
                    <a:pt x="55" y="323"/>
                  </a:moveTo>
                  <a:lnTo>
                    <a:pt x="55" y="326"/>
                  </a:lnTo>
                  <a:lnTo>
                    <a:pt x="55" y="323"/>
                  </a:lnTo>
                  <a:close/>
                  <a:moveTo>
                    <a:pt x="69" y="323"/>
                  </a:moveTo>
                  <a:lnTo>
                    <a:pt x="69" y="326"/>
                  </a:lnTo>
                  <a:lnTo>
                    <a:pt x="69" y="323"/>
                  </a:lnTo>
                  <a:close/>
                  <a:moveTo>
                    <a:pt x="64" y="323"/>
                  </a:moveTo>
                  <a:lnTo>
                    <a:pt x="62" y="323"/>
                  </a:lnTo>
                  <a:lnTo>
                    <a:pt x="64" y="323"/>
                  </a:lnTo>
                  <a:close/>
                  <a:moveTo>
                    <a:pt x="62" y="323"/>
                  </a:moveTo>
                  <a:lnTo>
                    <a:pt x="59" y="323"/>
                  </a:lnTo>
                  <a:lnTo>
                    <a:pt x="62" y="323"/>
                  </a:lnTo>
                  <a:close/>
                  <a:moveTo>
                    <a:pt x="62" y="323"/>
                  </a:moveTo>
                  <a:lnTo>
                    <a:pt x="62" y="321"/>
                  </a:lnTo>
                  <a:lnTo>
                    <a:pt x="62" y="323"/>
                  </a:lnTo>
                  <a:close/>
                  <a:moveTo>
                    <a:pt x="62" y="321"/>
                  </a:moveTo>
                  <a:lnTo>
                    <a:pt x="59" y="321"/>
                  </a:lnTo>
                  <a:lnTo>
                    <a:pt x="62" y="321"/>
                  </a:lnTo>
                  <a:close/>
                  <a:moveTo>
                    <a:pt x="67" y="321"/>
                  </a:moveTo>
                  <a:lnTo>
                    <a:pt x="64" y="321"/>
                  </a:lnTo>
                  <a:lnTo>
                    <a:pt x="67" y="321"/>
                  </a:lnTo>
                  <a:close/>
                  <a:moveTo>
                    <a:pt x="69" y="321"/>
                  </a:moveTo>
                  <a:lnTo>
                    <a:pt x="71" y="321"/>
                  </a:lnTo>
                  <a:lnTo>
                    <a:pt x="69" y="321"/>
                  </a:lnTo>
                  <a:close/>
                  <a:moveTo>
                    <a:pt x="64" y="321"/>
                  </a:moveTo>
                  <a:lnTo>
                    <a:pt x="64" y="319"/>
                  </a:lnTo>
                  <a:lnTo>
                    <a:pt x="64" y="321"/>
                  </a:lnTo>
                  <a:close/>
                  <a:moveTo>
                    <a:pt x="64" y="321"/>
                  </a:moveTo>
                  <a:lnTo>
                    <a:pt x="64" y="319"/>
                  </a:lnTo>
                  <a:lnTo>
                    <a:pt x="64" y="321"/>
                  </a:lnTo>
                  <a:close/>
                  <a:moveTo>
                    <a:pt x="64" y="321"/>
                  </a:moveTo>
                  <a:lnTo>
                    <a:pt x="64" y="319"/>
                  </a:lnTo>
                  <a:lnTo>
                    <a:pt x="64" y="321"/>
                  </a:lnTo>
                  <a:close/>
                  <a:moveTo>
                    <a:pt x="64" y="321"/>
                  </a:moveTo>
                  <a:lnTo>
                    <a:pt x="64" y="319"/>
                  </a:lnTo>
                  <a:lnTo>
                    <a:pt x="64" y="321"/>
                  </a:lnTo>
                  <a:close/>
                  <a:moveTo>
                    <a:pt x="64" y="321"/>
                  </a:moveTo>
                  <a:lnTo>
                    <a:pt x="64" y="319"/>
                  </a:lnTo>
                  <a:lnTo>
                    <a:pt x="64" y="321"/>
                  </a:lnTo>
                  <a:close/>
                  <a:moveTo>
                    <a:pt x="67" y="321"/>
                  </a:moveTo>
                  <a:lnTo>
                    <a:pt x="67" y="319"/>
                  </a:lnTo>
                  <a:lnTo>
                    <a:pt x="67" y="321"/>
                  </a:lnTo>
                  <a:close/>
                  <a:moveTo>
                    <a:pt x="69" y="319"/>
                  </a:moveTo>
                  <a:lnTo>
                    <a:pt x="67" y="319"/>
                  </a:lnTo>
                  <a:lnTo>
                    <a:pt x="69" y="319"/>
                  </a:lnTo>
                  <a:close/>
                  <a:moveTo>
                    <a:pt x="64" y="319"/>
                  </a:moveTo>
                  <a:lnTo>
                    <a:pt x="62" y="319"/>
                  </a:lnTo>
                  <a:lnTo>
                    <a:pt x="64" y="319"/>
                  </a:lnTo>
                  <a:close/>
                  <a:moveTo>
                    <a:pt x="67" y="319"/>
                  </a:moveTo>
                  <a:lnTo>
                    <a:pt x="64" y="319"/>
                  </a:lnTo>
                  <a:lnTo>
                    <a:pt x="67" y="319"/>
                  </a:lnTo>
                  <a:close/>
                  <a:moveTo>
                    <a:pt x="62" y="319"/>
                  </a:moveTo>
                  <a:lnTo>
                    <a:pt x="59" y="319"/>
                  </a:lnTo>
                  <a:lnTo>
                    <a:pt x="62" y="319"/>
                  </a:lnTo>
                  <a:close/>
                  <a:moveTo>
                    <a:pt x="69" y="319"/>
                  </a:moveTo>
                  <a:lnTo>
                    <a:pt x="67" y="319"/>
                  </a:lnTo>
                  <a:lnTo>
                    <a:pt x="67" y="316"/>
                  </a:lnTo>
                  <a:lnTo>
                    <a:pt x="69" y="319"/>
                  </a:lnTo>
                  <a:close/>
                  <a:moveTo>
                    <a:pt x="64" y="319"/>
                  </a:moveTo>
                  <a:lnTo>
                    <a:pt x="64" y="316"/>
                  </a:lnTo>
                  <a:lnTo>
                    <a:pt x="64" y="319"/>
                  </a:lnTo>
                  <a:close/>
                  <a:moveTo>
                    <a:pt x="67" y="319"/>
                  </a:moveTo>
                  <a:lnTo>
                    <a:pt x="67" y="316"/>
                  </a:lnTo>
                  <a:lnTo>
                    <a:pt x="67" y="319"/>
                  </a:lnTo>
                  <a:close/>
                  <a:moveTo>
                    <a:pt x="69" y="319"/>
                  </a:moveTo>
                  <a:lnTo>
                    <a:pt x="69" y="316"/>
                  </a:lnTo>
                  <a:lnTo>
                    <a:pt x="69" y="319"/>
                  </a:lnTo>
                  <a:close/>
                  <a:moveTo>
                    <a:pt x="62" y="316"/>
                  </a:moveTo>
                  <a:lnTo>
                    <a:pt x="59" y="316"/>
                  </a:lnTo>
                  <a:lnTo>
                    <a:pt x="62" y="316"/>
                  </a:lnTo>
                  <a:close/>
                  <a:moveTo>
                    <a:pt x="62" y="316"/>
                  </a:moveTo>
                  <a:lnTo>
                    <a:pt x="59" y="316"/>
                  </a:lnTo>
                  <a:lnTo>
                    <a:pt x="62" y="316"/>
                  </a:lnTo>
                  <a:close/>
                  <a:moveTo>
                    <a:pt x="64" y="316"/>
                  </a:moveTo>
                  <a:lnTo>
                    <a:pt x="62" y="316"/>
                  </a:lnTo>
                  <a:lnTo>
                    <a:pt x="64" y="316"/>
                  </a:lnTo>
                  <a:close/>
                  <a:moveTo>
                    <a:pt x="69" y="316"/>
                  </a:moveTo>
                  <a:lnTo>
                    <a:pt x="67" y="316"/>
                  </a:lnTo>
                  <a:lnTo>
                    <a:pt x="69" y="316"/>
                  </a:lnTo>
                  <a:close/>
                  <a:moveTo>
                    <a:pt x="59" y="314"/>
                  </a:moveTo>
                  <a:lnTo>
                    <a:pt x="59" y="316"/>
                  </a:lnTo>
                  <a:lnTo>
                    <a:pt x="59" y="314"/>
                  </a:lnTo>
                  <a:close/>
                  <a:moveTo>
                    <a:pt x="59" y="314"/>
                  </a:moveTo>
                  <a:lnTo>
                    <a:pt x="59" y="316"/>
                  </a:lnTo>
                  <a:lnTo>
                    <a:pt x="59" y="314"/>
                  </a:lnTo>
                  <a:close/>
                  <a:moveTo>
                    <a:pt x="67" y="314"/>
                  </a:moveTo>
                  <a:lnTo>
                    <a:pt x="67" y="316"/>
                  </a:lnTo>
                  <a:lnTo>
                    <a:pt x="67" y="314"/>
                  </a:lnTo>
                  <a:lnTo>
                    <a:pt x="67" y="316"/>
                  </a:lnTo>
                  <a:lnTo>
                    <a:pt x="67" y="314"/>
                  </a:lnTo>
                  <a:close/>
                  <a:moveTo>
                    <a:pt x="62" y="314"/>
                  </a:moveTo>
                  <a:lnTo>
                    <a:pt x="59" y="314"/>
                  </a:lnTo>
                  <a:lnTo>
                    <a:pt x="62" y="314"/>
                  </a:lnTo>
                  <a:close/>
                  <a:moveTo>
                    <a:pt x="67" y="314"/>
                  </a:moveTo>
                  <a:lnTo>
                    <a:pt x="64" y="314"/>
                  </a:lnTo>
                  <a:lnTo>
                    <a:pt x="67" y="314"/>
                  </a:lnTo>
                  <a:close/>
                  <a:moveTo>
                    <a:pt x="64" y="314"/>
                  </a:moveTo>
                  <a:lnTo>
                    <a:pt x="64" y="312"/>
                  </a:lnTo>
                  <a:lnTo>
                    <a:pt x="64" y="314"/>
                  </a:lnTo>
                  <a:close/>
                  <a:moveTo>
                    <a:pt x="64" y="312"/>
                  </a:moveTo>
                  <a:lnTo>
                    <a:pt x="64" y="314"/>
                  </a:lnTo>
                  <a:lnTo>
                    <a:pt x="64" y="312"/>
                  </a:lnTo>
                  <a:close/>
                  <a:moveTo>
                    <a:pt x="69" y="312"/>
                  </a:moveTo>
                  <a:lnTo>
                    <a:pt x="69" y="309"/>
                  </a:lnTo>
                  <a:lnTo>
                    <a:pt x="69" y="312"/>
                  </a:lnTo>
                  <a:close/>
                  <a:moveTo>
                    <a:pt x="62" y="309"/>
                  </a:moveTo>
                  <a:lnTo>
                    <a:pt x="64" y="309"/>
                  </a:lnTo>
                  <a:lnTo>
                    <a:pt x="62" y="309"/>
                  </a:lnTo>
                  <a:close/>
                  <a:moveTo>
                    <a:pt x="62" y="312"/>
                  </a:moveTo>
                  <a:lnTo>
                    <a:pt x="62" y="309"/>
                  </a:lnTo>
                  <a:lnTo>
                    <a:pt x="62" y="312"/>
                  </a:lnTo>
                  <a:close/>
                  <a:moveTo>
                    <a:pt x="67" y="309"/>
                  </a:moveTo>
                  <a:lnTo>
                    <a:pt x="64" y="309"/>
                  </a:lnTo>
                  <a:lnTo>
                    <a:pt x="67" y="309"/>
                  </a:lnTo>
                  <a:close/>
                  <a:moveTo>
                    <a:pt x="67" y="309"/>
                  </a:moveTo>
                  <a:lnTo>
                    <a:pt x="64" y="309"/>
                  </a:lnTo>
                  <a:lnTo>
                    <a:pt x="67" y="309"/>
                  </a:lnTo>
                  <a:close/>
                  <a:moveTo>
                    <a:pt x="62" y="309"/>
                  </a:moveTo>
                  <a:lnTo>
                    <a:pt x="59" y="307"/>
                  </a:lnTo>
                  <a:lnTo>
                    <a:pt x="62" y="309"/>
                  </a:lnTo>
                  <a:close/>
                  <a:moveTo>
                    <a:pt x="67" y="307"/>
                  </a:moveTo>
                  <a:lnTo>
                    <a:pt x="67" y="309"/>
                  </a:lnTo>
                  <a:lnTo>
                    <a:pt x="67" y="307"/>
                  </a:lnTo>
                  <a:close/>
                  <a:moveTo>
                    <a:pt x="64" y="307"/>
                  </a:moveTo>
                  <a:lnTo>
                    <a:pt x="62" y="307"/>
                  </a:lnTo>
                  <a:lnTo>
                    <a:pt x="64" y="307"/>
                  </a:lnTo>
                  <a:close/>
                  <a:moveTo>
                    <a:pt x="62" y="304"/>
                  </a:moveTo>
                  <a:lnTo>
                    <a:pt x="62" y="307"/>
                  </a:lnTo>
                  <a:lnTo>
                    <a:pt x="62" y="304"/>
                  </a:lnTo>
                  <a:close/>
                  <a:moveTo>
                    <a:pt x="64" y="304"/>
                  </a:moveTo>
                  <a:lnTo>
                    <a:pt x="62" y="304"/>
                  </a:lnTo>
                  <a:lnTo>
                    <a:pt x="64" y="304"/>
                  </a:lnTo>
                  <a:close/>
                  <a:moveTo>
                    <a:pt x="67" y="300"/>
                  </a:moveTo>
                  <a:lnTo>
                    <a:pt x="64" y="300"/>
                  </a:lnTo>
                  <a:lnTo>
                    <a:pt x="67" y="300"/>
                  </a:lnTo>
                  <a:close/>
                  <a:moveTo>
                    <a:pt x="69" y="300"/>
                  </a:moveTo>
                  <a:lnTo>
                    <a:pt x="67" y="300"/>
                  </a:lnTo>
                  <a:lnTo>
                    <a:pt x="69" y="300"/>
                  </a:lnTo>
                  <a:close/>
                  <a:moveTo>
                    <a:pt x="71" y="300"/>
                  </a:moveTo>
                  <a:lnTo>
                    <a:pt x="69" y="300"/>
                  </a:lnTo>
                  <a:lnTo>
                    <a:pt x="71" y="300"/>
                  </a:lnTo>
                  <a:close/>
                  <a:moveTo>
                    <a:pt x="67" y="300"/>
                  </a:moveTo>
                  <a:lnTo>
                    <a:pt x="67" y="297"/>
                  </a:lnTo>
                  <a:lnTo>
                    <a:pt x="67" y="300"/>
                  </a:lnTo>
                  <a:close/>
                  <a:moveTo>
                    <a:pt x="69" y="300"/>
                  </a:moveTo>
                  <a:lnTo>
                    <a:pt x="69" y="297"/>
                  </a:lnTo>
                  <a:lnTo>
                    <a:pt x="69" y="300"/>
                  </a:lnTo>
                  <a:close/>
                  <a:moveTo>
                    <a:pt x="69" y="300"/>
                  </a:moveTo>
                  <a:lnTo>
                    <a:pt x="69" y="297"/>
                  </a:lnTo>
                  <a:lnTo>
                    <a:pt x="69" y="300"/>
                  </a:lnTo>
                  <a:close/>
                  <a:moveTo>
                    <a:pt x="71" y="297"/>
                  </a:moveTo>
                  <a:lnTo>
                    <a:pt x="71" y="300"/>
                  </a:lnTo>
                  <a:lnTo>
                    <a:pt x="71" y="297"/>
                  </a:lnTo>
                  <a:close/>
                  <a:moveTo>
                    <a:pt x="69" y="297"/>
                  </a:moveTo>
                  <a:lnTo>
                    <a:pt x="67" y="297"/>
                  </a:lnTo>
                  <a:lnTo>
                    <a:pt x="69" y="297"/>
                  </a:lnTo>
                  <a:close/>
                  <a:moveTo>
                    <a:pt x="69" y="297"/>
                  </a:moveTo>
                  <a:lnTo>
                    <a:pt x="67" y="297"/>
                  </a:lnTo>
                  <a:lnTo>
                    <a:pt x="69" y="297"/>
                  </a:lnTo>
                  <a:close/>
                  <a:moveTo>
                    <a:pt x="71" y="297"/>
                  </a:moveTo>
                  <a:lnTo>
                    <a:pt x="69" y="297"/>
                  </a:lnTo>
                  <a:lnTo>
                    <a:pt x="71" y="297"/>
                  </a:lnTo>
                  <a:close/>
                  <a:moveTo>
                    <a:pt x="71" y="297"/>
                  </a:moveTo>
                  <a:lnTo>
                    <a:pt x="69" y="297"/>
                  </a:lnTo>
                  <a:lnTo>
                    <a:pt x="71" y="297"/>
                  </a:lnTo>
                  <a:close/>
                  <a:moveTo>
                    <a:pt x="69" y="297"/>
                  </a:moveTo>
                  <a:lnTo>
                    <a:pt x="71" y="297"/>
                  </a:lnTo>
                  <a:lnTo>
                    <a:pt x="69" y="297"/>
                  </a:lnTo>
                  <a:close/>
                  <a:moveTo>
                    <a:pt x="71" y="297"/>
                  </a:moveTo>
                  <a:lnTo>
                    <a:pt x="69" y="297"/>
                  </a:lnTo>
                  <a:lnTo>
                    <a:pt x="71" y="297"/>
                  </a:lnTo>
                  <a:close/>
                  <a:moveTo>
                    <a:pt x="69" y="295"/>
                  </a:moveTo>
                  <a:lnTo>
                    <a:pt x="69" y="293"/>
                  </a:lnTo>
                  <a:lnTo>
                    <a:pt x="69" y="295"/>
                  </a:lnTo>
                  <a:close/>
                  <a:moveTo>
                    <a:pt x="74" y="295"/>
                  </a:moveTo>
                  <a:lnTo>
                    <a:pt x="74" y="293"/>
                  </a:lnTo>
                  <a:lnTo>
                    <a:pt x="74" y="295"/>
                  </a:lnTo>
                  <a:close/>
                  <a:moveTo>
                    <a:pt x="69" y="290"/>
                  </a:moveTo>
                  <a:lnTo>
                    <a:pt x="69" y="293"/>
                  </a:lnTo>
                  <a:lnTo>
                    <a:pt x="69" y="290"/>
                  </a:lnTo>
                  <a:close/>
                  <a:moveTo>
                    <a:pt x="71" y="288"/>
                  </a:moveTo>
                  <a:lnTo>
                    <a:pt x="69" y="288"/>
                  </a:lnTo>
                  <a:lnTo>
                    <a:pt x="71" y="288"/>
                  </a:lnTo>
                  <a:close/>
                  <a:moveTo>
                    <a:pt x="69" y="285"/>
                  </a:moveTo>
                  <a:lnTo>
                    <a:pt x="69" y="288"/>
                  </a:lnTo>
                  <a:lnTo>
                    <a:pt x="69" y="285"/>
                  </a:lnTo>
                  <a:close/>
                  <a:moveTo>
                    <a:pt x="74" y="285"/>
                  </a:moveTo>
                  <a:lnTo>
                    <a:pt x="71" y="285"/>
                  </a:lnTo>
                  <a:lnTo>
                    <a:pt x="74" y="285"/>
                  </a:lnTo>
                  <a:close/>
                  <a:moveTo>
                    <a:pt x="71" y="285"/>
                  </a:moveTo>
                  <a:lnTo>
                    <a:pt x="69" y="285"/>
                  </a:lnTo>
                  <a:lnTo>
                    <a:pt x="71" y="285"/>
                  </a:lnTo>
                  <a:close/>
                  <a:moveTo>
                    <a:pt x="69" y="285"/>
                  </a:moveTo>
                  <a:lnTo>
                    <a:pt x="67" y="285"/>
                  </a:lnTo>
                  <a:lnTo>
                    <a:pt x="69" y="285"/>
                  </a:lnTo>
                  <a:close/>
                  <a:moveTo>
                    <a:pt x="74" y="285"/>
                  </a:moveTo>
                  <a:lnTo>
                    <a:pt x="71" y="285"/>
                  </a:lnTo>
                  <a:lnTo>
                    <a:pt x="74" y="285"/>
                  </a:lnTo>
                  <a:close/>
                  <a:moveTo>
                    <a:pt x="71" y="285"/>
                  </a:moveTo>
                  <a:lnTo>
                    <a:pt x="69" y="285"/>
                  </a:lnTo>
                  <a:lnTo>
                    <a:pt x="71" y="285"/>
                  </a:lnTo>
                  <a:close/>
                  <a:moveTo>
                    <a:pt x="71" y="285"/>
                  </a:moveTo>
                  <a:lnTo>
                    <a:pt x="71" y="283"/>
                  </a:lnTo>
                  <a:lnTo>
                    <a:pt x="71" y="285"/>
                  </a:lnTo>
                  <a:close/>
                  <a:moveTo>
                    <a:pt x="71" y="285"/>
                  </a:moveTo>
                  <a:lnTo>
                    <a:pt x="69" y="285"/>
                  </a:lnTo>
                  <a:lnTo>
                    <a:pt x="69" y="283"/>
                  </a:lnTo>
                  <a:lnTo>
                    <a:pt x="71" y="285"/>
                  </a:lnTo>
                  <a:close/>
                  <a:moveTo>
                    <a:pt x="67" y="285"/>
                  </a:moveTo>
                  <a:lnTo>
                    <a:pt x="67" y="283"/>
                  </a:lnTo>
                  <a:lnTo>
                    <a:pt x="67" y="285"/>
                  </a:lnTo>
                  <a:close/>
                  <a:moveTo>
                    <a:pt x="71" y="283"/>
                  </a:moveTo>
                  <a:lnTo>
                    <a:pt x="74" y="283"/>
                  </a:lnTo>
                  <a:lnTo>
                    <a:pt x="71" y="283"/>
                  </a:lnTo>
                  <a:close/>
                  <a:moveTo>
                    <a:pt x="67" y="283"/>
                  </a:moveTo>
                  <a:lnTo>
                    <a:pt x="64" y="283"/>
                  </a:lnTo>
                  <a:lnTo>
                    <a:pt x="67" y="283"/>
                  </a:lnTo>
                  <a:close/>
                  <a:moveTo>
                    <a:pt x="67" y="283"/>
                  </a:moveTo>
                  <a:lnTo>
                    <a:pt x="69" y="283"/>
                  </a:lnTo>
                  <a:lnTo>
                    <a:pt x="67" y="283"/>
                  </a:lnTo>
                  <a:close/>
                  <a:moveTo>
                    <a:pt x="71" y="278"/>
                  </a:moveTo>
                  <a:lnTo>
                    <a:pt x="69" y="278"/>
                  </a:lnTo>
                  <a:lnTo>
                    <a:pt x="71" y="278"/>
                  </a:lnTo>
                  <a:close/>
                  <a:moveTo>
                    <a:pt x="71" y="276"/>
                  </a:moveTo>
                  <a:lnTo>
                    <a:pt x="71" y="278"/>
                  </a:lnTo>
                  <a:lnTo>
                    <a:pt x="71" y="276"/>
                  </a:lnTo>
                  <a:close/>
                  <a:moveTo>
                    <a:pt x="67" y="274"/>
                  </a:moveTo>
                  <a:lnTo>
                    <a:pt x="69" y="274"/>
                  </a:lnTo>
                  <a:lnTo>
                    <a:pt x="67" y="274"/>
                  </a:lnTo>
                  <a:close/>
                  <a:moveTo>
                    <a:pt x="76" y="274"/>
                  </a:moveTo>
                  <a:lnTo>
                    <a:pt x="76" y="271"/>
                  </a:lnTo>
                  <a:lnTo>
                    <a:pt x="76" y="274"/>
                  </a:lnTo>
                  <a:close/>
                  <a:moveTo>
                    <a:pt x="69" y="271"/>
                  </a:moveTo>
                  <a:lnTo>
                    <a:pt x="67" y="271"/>
                  </a:lnTo>
                  <a:lnTo>
                    <a:pt x="69" y="271"/>
                  </a:lnTo>
                  <a:close/>
                  <a:moveTo>
                    <a:pt x="69" y="269"/>
                  </a:moveTo>
                  <a:lnTo>
                    <a:pt x="69" y="271"/>
                  </a:lnTo>
                  <a:lnTo>
                    <a:pt x="69" y="269"/>
                  </a:lnTo>
                  <a:close/>
                  <a:moveTo>
                    <a:pt x="67" y="269"/>
                  </a:moveTo>
                  <a:lnTo>
                    <a:pt x="67" y="271"/>
                  </a:lnTo>
                  <a:lnTo>
                    <a:pt x="67" y="269"/>
                  </a:lnTo>
                  <a:close/>
                  <a:moveTo>
                    <a:pt x="71" y="269"/>
                  </a:moveTo>
                  <a:lnTo>
                    <a:pt x="74" y="269"/>
                  </a:lnTo>
                  <a:lnTo>
                    <a:pt x="71" y="269"/>
                  </a:lnTo>
                  <a:close/>
                  <a:moveTo>
                    <a:pt x="74" y="269"/>
                  </a:moveTo>
                  <a:lnTo>
                    <a:pt x="71" y="269"/>
                  </a:lnTo>
                  <a:lnTo>
                    <a:pt x="74" y="269"/>
                  </a:lnTo>
                  <a:close/>
                  <a:moveTo>
                    <a:pt x="74" y="269"/>
                  </a:moveTo>
                  <a:lnTo>
                    <a:pt x="71" y="269"/>
                  </a:lnTo>
                  <a:lnTo>
                    <a:pt x="74" y="269"/>
                  </a:lnTo>
                  <a:close/>
                  <a:moveTo>
                    <a:pt x="71" y="269"/>
                  </a:moveTo>
                  <a:lnTo>
                    <a:pt x="69" y="269"/>
                  </a:lnTo>
                  <a:lnTo>
                    <a:pt x="71" y="269"/>
                  </a:lnTo>
                  <a:close/>
                  <a:moveTo>
                    <a:pt x="71" y="269"/>
                  </a:moveTo>
                  <a:lnTo>
                    <a:pt x="71" y="266"/>
                  </a:lnTo>
                  <a:lnTo>
                    <a:pt x="71" y="269"/>
                  </a:lnTo>
                  <a:close/>
                  <a:moveTo>
                    <a:pt x="74" y="266"/>
                  </a:moveTo>
                  <a:lnTo>
                    <a:pt x="71" y="266"/>
                  </a:lnTo>
                  <a:lnTo>
                    <a:pt x="74" y="266"/>
                  </a:lnTo>
                  <a:close/>
                  <a:moveTo>
                    <a:pt x="71" y="264"/>
                  </a:moveTo>
                  <a:lnTo>
                    <a:pt x="71" y="266"/>
                  </a:lnTo>
                  <a:lnTo>
                    <a:pt x="71" y="264"/>
                  </a:lnTo>
                  <a:close/>
                  <a:moveTo>
                    <a:pt x="71" y="264"/>
                  </a:moveTo>
                  <a:lnTo>
                    <a:pt x="69" y="264"/>
                  </a:lnTo>
                  <a:lnTo>
                    <a:pt x="71" y="264"/>
                  </a:lnTo>
                  <a:close/>
                  <a:moveTo>
                    <a:pt x="71" y="264"/>
                  </a:moveTo>
                  <a:lnTo>
                    <a:pt x="69" y="264"/>
                  </a:lnTo>
                  <a:lnTo>
                    <a:pt x="71" y="264"/>
                  </a:lnTo>
                  <a:close/>
                  <a:moveTo>
                    <a:pt x="69" y="264"/>
                  </a:moveTo>
                  <a:lnTo>
                    <a:pt x="69" y="262"/>
                  </a:lnTo>
                  <a:lnTo>
                    <a:pt x="69" y="264"/>
                  </a:lnTo>
                  <a:close/>
                  <a:moveTo>
                    <a:pt x="69" y="262"/>
                  </a:moveTo>
                  <a:lnTo>
                    <a:pt x="69" y="264"/>
                  </a:lnTo>
                  <a:lnTo>
                    <a:pt x="69" y="262"/>
                  </a:lnTo>
                  <a:close/>
                  <a:moveTo>
                    <a:pt x="71" y="264"/>
                  </a:moveTo>
                  <a:lnTo>
                    <a:pt x="71" y="262"/>
                  </a:lnTo>
                  <a:lnTo>
                    <a:pt x="71" y="264"/>
                  </a:lnTo>
                  <a:close/>
                  <a:moveTo>
                    <a:pt x="71" y="262"/>
                  </a:moveTo>
                  <a:lnTo>
                    <a:pt x="69" y="262"/>
                  </a:lnTo>
                  <a:lnTo>
                    <a:pt x="71" y="262"/>
                  </a:lnTo>
                  <a:close/>
                  <a:moveTo>
                    <a:pt x="71" y="262"/>
                  </a:moveTo>
                  <a:lnTo>
                    <a:pt x="69" y="262"/>
                  </a:lnTo>
                  <a:lnTo>
                    <a:pt x="71" y="262"/>
                  </a:lnTo>
                  <a:close/>
                  <a:moveTo>
                    <a:pt x="69" y="262"/>
                  </a:moveTo>
                  <a:lnTo>
                    <a:pt x="69" y="259"/>
                  </a:lnTo>
                  <a:lnTo>
                    <a:pt x="69" y="262"/>
                  </a:lnTo>
                  <a:close/>
                  <a:moveTo>
                    <a:pt x="67" y="259"/>
                  </a:moveTo>
                  <a:lnTo>
                    <a:pt x="67" y="262"/>
                  </a:lnTo>
                  <a:lnTo>
                    <a:pt x="67" y="259"/>
                  </a:lnTo>
                  <a:close/>
                  <a:moveTo>
                    <a:pt x="69" y="259"/>
                  </a:moveTo>
                  <a:lnTo>
                    <a:pt x="69" y="262"/>
                  </a:lnTo>
                  <a:lnTo>
                    <a:pt x="69" y="259"/>
                  </a:lnTo>
                  <a:close/>
                  <a:moveTo>
                    <a:pt x="69" y="257"/>
                  </a:moveTo>
                  <a:lnTo>
                    <a:pt x="67" y="257"/>
                  </a:lnTo>
                  <a:lnTo>
                    <a:pt x="69" y="257"/>
                  </a:lnTo>
                  <a:close/>
                  <a:moveTo>
                    <a:pt x="69" y="257"/>
                  </a:moveTo>
                  <a:lnTo>
                    <a:pt x="67" y="257"/>
                  </a:lnTo>
                  <a:lnTo>
                    <a:pt x="69" y="257"/>
                  </a:lnTo>
                  <a:close/>
                  <a:moveTo>
                    <a:pt x="69" y="257"/>
                  </a:moveTo>
                  <a:lnTo>
                    <a:pt x="69" y="255"/>
                  </a:lnTo>
                  <a:lnTo>
                    <a:pt x="69" y="257"/>
                  </a:lnTo>
                  <a:close/>
                  <a:moveTo>
                    <a:pt x="67" y="252"/>
                  </a:moveTo>
                  <a:lnTo>
                    <a:pt x="67" y="255"/>
                  </a:lnTo>
                  <a:lnTo>
                    <a:pt x="67" y="252"/>
                  </a:lnTo>
                  <a:close/>
                  <a:moveTo>
                    <a:pt x="67" y="252"/>
                  </a:moveTo>
                  <a:lnTo>
                    <a:pt x="64" y="252"/>
                  </a:lnTo>
                  <a:lnTo>
                    <a:pt x="67" y="252"/>
                  </a:lnTo>
                  <a:close/>
                  <a:moveTo>
                    <a:pt x="67" y="252"/>
                  </a:moveTo>
                  <a:lnTo>
                    <a:pt x="64" y="252"/>
                  </a:lnTo>
                  <a:lnTo>
                    <a:pt x="67" y="252"/>
                  </a:lnTo>
                  <a:close/>
                  <a:moveTo>
                    <a:pt x="67" y="250"/>
                  </a:moveTo>
                  <a:lnTo>
                    <a:pt x="64" y="250"/>
                  </a:lnTo>
                  <a:lnTo>
                    <a:pt x="67" y="250"/>
                  </a:lnTo>
                  <a:close/>
                  <a:moveTo>
                    <a:pt x="64" y="247"/>
                  </a:moveTo>
                  <a:lnTo>
                    <a:pt x="64" y="250"/>
                  </a:lnTo>
                  <a:lnTo>
                    <a:pt x="64" y="247"/>
                  </a:lnTo>
                  <a:close/>
                  <a:moveTo>
                    <a:pt x="67" y="247"/>
                  </a:moveTo>
                  <a:lnTo>
                    <a:pt x="64" y="247"/>
                  </a:lnTo>
                  <a:lnTo>
                    <a:pt x="67" y="247"/>
                  </a:lnTo>
                  <a:close/>
                  <a:moveTo>
                    <a:pt x="64" y="245"/>
                  </a:moveTo>
                  <a:lnTo>
                    <a:pt x="64" y="247"/>
                  </a:lnTo>
                  <a:lnTo>
                    <a:pt x="64" y="245"/>
                  </a:lnTo>
                  <a:close/>
                  <a:moveTo>
                    <a:pt x="64" y="247"/>
                  </a:moveTo>
                  <a:lnTo>
                    <a:pt x="64" y="245"/>
                  </a:lnTo>
                  <a:lnTo>
                    <a:pt x="64" y="247"/>
                  </a:lnTo>
                  <a:close/>
                  <a:moveTo>
                    <a:pt x="64" y="245"/>
                  </a:moveTo>
                  <a:lnTo>
                    <a:pt x="64" y="243"/>
                  </a:lnTo>
                  <a:lnTo>
                    <a:pt x="64" y="245"/>
                  </a:lnTo>
                  <a:close/>
                  <a:moveTo>
                    <a:pt x="67" y="240"/>
                  </a:moveTo>
                  <a:lnTo>
                    <a:pt x="64" y="240"/>
                  </a:lnTo>
                  <a:lnTo>
                    <a:pt x="67" y="240"/>
                  </a:lnTo>
                  <a:close/>
                  <a:moveTo>
                    <a:pt x="69" y="240"/>
                  </a:moveTo>
                  <a:lnTo>
                    <a:pt x="69" y="238"/>
                  </a:lnTo>
                  <a:lnTo>
                    <a:pt x="69" y="240"/>
                  </a:lnTo>
                  <a:close/>
                  <a:moveTo>
                    <a:pt x="67" y="238"/>
                  </a:moveTo>
                  <a:lnTo>
                    <a:pt x="67" y="236"/>
                  </a:lnTo>
                  <a:lnTo>
                    <a:pt x="67" y="238"/>
                  </a:lnTo>
                  <a:close/>
                  <a:moveTo>
                    <a:pt x="67" y="238"/>
                  </a:moveTo>
                  <a:lnTo>
                    <a:pt x="67" y="236"/>
                  </a:lnTo>
                  <a:lnTo>
                    <a:pt x="67" y="238"/>
                  </a:lnTo>
                  <a:close/>
                  <a:moveTo>
                    <a:pt x="64" y="233"/>
                  </a:moveTo>
                  <a:lnTo>
                    <a:pt x="64" y="236"/>
                  </a:lnTo>
                  <a:lnTo>
                    <a:pt x="64" y="233"/>
                  </a:lnTo>
                  <a:close/>
                  <a:moveTo>
                    <a:pt x="64" y="233"/>
                  </a:moveTo>
                  <a:lnTo>
                    <a:pt x="62" y="233"/>
                  </a:lnTo>
                  <a:lnTo>
                    <a:pt x="64" y="233"/>
                  </a:lnTo>
                  <a:close/>
                  <a:moveTo>
                    <a:pt x="67" y="233"/>
                  </a:moveTo>
                  <a:lnTo>
                    <a:pt x="64" y="233"/>
                  </a:lnTo>
                  <a:lnTo>
                    <a:pt x="64" y="231"/>
                  </a:lnTo>
                  <a:lnTo>
                    <a:pt x="67" y="233"/>
                  </a:lnTo>
                  <a:close/>
                  <a:moveTo>
                    <a:pt x="62" y="233"/>
                  </a:moveTo>
                  <a:lnTo>
                    <a:pt x="62" y="231"/>
                  </a:lnTo>
                  <a:lnTo>
                    <a:pt x="62" y="233"/>
                  </a:lnTo>
                  <a:close/>
                  <a:moveTo>
                    <a:pt x="62" y="231"/>
                  </a:moveTo>
                  <a:lnTo>
                    <a:pt x="59" y="231"/>
                  </a:lnTo>
                  <a:lnTo>
                    <a:pt x="62" y="231"/>
                  </a:lnTo>
                  <a:close/>
                  <a:moveTo>
                    <a:pt x="62" y="228"/>
                  </a:moveTo>
                  <a:lnTo>
                    <a:pt x="62" y="226"/>
                  </a:lnTo>
                  <a:lnTo>
                    <a:pt x="62" y="228"/>
                  </a:lnTo>
                  <a:close/>
                  <a:moveTo>
                    <a:pt x="59" y="228"/>
                  </a:moveTo>
                  <a:lnTo>
                    <a:pt x="59" y="226"/>
                  </a:lnTo>
                  <a:lnTo>
                    <a:pt x="59" y="228"/>
                  </a:lnTo>
                  <a:close/>
                  <a:moveTo>
                    <a:pt x="62" y="226"/>
                  </a:moveTo>
                  <a:lnTo>
                    <a:pt x="59" y="226"/>
                  </a:lnTo>
                  <a:lnTo>
                    <a:pt x="62" y="226"/>
                  </a:lnTo>
                  <a:close/>
                  <a:moveTo>
                    <a:pt x="59" y="226"/>
                  </a:moveTo>
                  <a:lnTo>
                    <a:pt x="59" y="224"/>
                  </a:lnTo>
                  <a:lnTo>
                    <a:pt x="59" y="226"/>
                  </a:lnTo>
                  <a:close/>
                  <a:moveTo>
                    <a:pt x="62" y="219"/>
                  </a:moveTo>
                  <a:lnTo>
                    <a:pt x="59" y="219"/>
                  </a:lnTo>
                  <a:lnTo>
                    <a:pt x="62" y="219"/>
                  </a:lnTo>
                  <a:lnTo>
                    <a:pt x="59" y="219"/>
                  </a:lnTo>
                  <a:lnTo>
                    <a:pt x="62" y="219"/>
                  </a:lnTo>
                  <a:close/>
                  <a:moveTo>
                    <a:pt x="59" y="214"/>
                  </a:moveTo>
                  <a:lnTo>
                    <a:pt x="57" y="214"/>
                  </a:lnTo>
                  <a:lnTo>
                    <a:pt x="59" y="214"/>
                  </a:lnTo>
                  <a:close/>
                  <a:moveTo>
                    <a:pt x="59" y="214"/>
                  </a:moveTo>
                  <a:lnTo>
                    <a:pt x="59" y="212"/>
                  </a:lnTo>
                  <a:lnTo>
                    <a:pt x="59" y="214"/>
                  </a:lnTo>
                  <a:close/>
                  <a:moveTo>
                    <a:pt x="59" y="207"/>
                  </a:moveTo>
                  <a:lnTo>
                    <a:pt x="59" y="209"/>
                  </a:lnTo>
                  <a:lnTo>
                    <a:pt x="59" y="207"/>
                  </a:lnTo>
                  <a:lnTo>
                    <a:pt x="59" y="209"/>
                  </a:lnTo>
                  <a:lnTo>
                    <a:pt x="59" y="207"/>
                  </a:lnTo>
                  <a:close/>
                  <a:moveTo>
                    <a:pt x="64" y="205"/>
                  </a:moveTo>
                  <a:lnTo>
                    <a:pt x="64" y="202"/>
                  </a:lnTo>
                  <a:lnTo>
                    <a:pt x="64" y="205"/>
                  </a:lnTo>
                  <a:close/>
                  <a:moveTo>
                    <a:pt x="57" y="202"/>
                  </a:moveTo>
                  <a:lnTo>
                    <a:pt x="55" y="202"/>
                  </a:lnTo>
                  <a:lnTo>
                    <a:pt x="57" y="202"/>
                  </a:lnTo>
                  <a:close/>
                  <a:moveTo>
                    <a:pt x="55" y="202"/>
                  </a:moveTo>
                  <a:lnTo>
                    <a:pt x="57" y="202"/>
                  </a:lnTo>
                  <a:lnTo>
                    <a:pt x="55" y="202"/>
                  </a:lnTo>
                  <a:close/>
                  <a:moveTo>
                    <a:pt x="55" y="202"/>
                  </a:moveTo>
                  <a:lnTo>
                    <a:pt x="57" y="202"/>
                  </a:lnTo>
                  <a:lnTo>
                    <a:pt x="55" y="202"/>
                  </a:lnTo>
                  <a:close/>
                  <a:moveTo>
                    <a:pt x="69" y="202"/>
                  </a:moveTo>
                  <a:lnTo>
                    <a:pt x="67" y="202"/>
                  </a:lnTo>
                  <a:lnTo>
                    <a:pt x="69" y="202"/>
                  </a:lnTo>
                  <a:close/>
                  <a:moveTo>
                    <a:pt x="57" y="202"/>
                  </a:moveTo>
                  <a:lnTo>
                    <a:pt x="55" y="202"/>
                  </a:lnTo>
                  <a:lnTo>
                    <a:pt x="57" y="202"/>
                  </a:lnTo>
                  <a:close/>
                  <a:moveTo>
                    <a:pt x="67" y="200"/>
                  </a:moveTo>
                  <a:lnTo>
                    <a:pt x="67" y="202"/>
                  </a:lnTo>
                  <a:lnTo>
                    <a:pt x="67" y="200"/>
                  </a:lnTo>
                  <a:close/>
                  <a:moveTo>
                    <a:pt x="52" y="200"/>
                  </a:moveTo>
                  <a:lnTo>
                    <a:pt x="50" y="200"/>
                  </a:lnTo>
                  <a:lnTo>
                    <a:pt x="52" y="200"/>
                  </a:lnTo>
                  <a:close/>
                  <a:moveTo>
                    <a:pt x="55" y="200"/>
                  </a:moveTo>
                  <a:lnTo>
                    <a:pt x="52" y="200"/>
                  </a:lnTo>
                  <a:lnTo>
                    <a:pt x="55" y="200"/>
                  </a:lnTo>
                  <a:close/>
                  <a:moveTo>
                    <a:pt x="62" y="200"/>
                  </a:moveTo>
                  <a:lnTo>
                    <a:pt x="64" y="200"/>
                  </a:lnTo>
                  <a:lnTo>
                    <a:pt x="62" y="200"/>
                  </a:lnTo>
                  <a:close/>
                  <a:moveTo>
                    <a:pt x="69" y="200"/>
                  </a:moveTo>
                  <a:lnTo>
                    <a:pt x="69" y="198"/>
                  </a:lnTo>
                  <a:lnTo>
                    <a:pt x="69" y="200"/>
                  </a:lnTo>
                  <a:close/>
                  <a:moveTo>
                    <a:pt x="50" y="200"/>
                  </a:moveTo>
                  <a:lnTo>
                    <a:pt x="50" y="198"/>
                  </a:lnTo>
                  <a:lnTo>
                    <a:pt x="50" y="200"/>
                  </a:lnTo>
                  <a:close/>
                  <a:moveTo>
                    <a:pt x="55" y="200"/>
                  </a:moveTo>
                  <a:lnTo>
                    <a:pt x="55" y="198"/>
                  </a:lnTo>
                  <a:lnTo>
                    <a:pt x="55" y="200"/>
                  </a:lnTo>
                  <a:close/>
                  <a:moveTo>
                    <a:pt x="64" y="198"/>
                  </a:moveTo>
                  <a:lnTo>
                    <a:pt x="64" y="200"/>
                  </a:lnTo>
                  <a:lnTo>
                    <a:pt x="64" y="198"/>
                  </a:lnTo>
                  <a:close/>
                  <a:moveTo>
                    <a:pt x="57" y="198"/>
                  </a:moveTo>
                  <a:lnTo>
                    <a:pt x="55" y="198"/>
                  </a:lnTo>
                  <a:lnTo>
                    <a:pt x="57" y="198"/>
                  </a:lnTo>
                  <a:close/>
                  <a:moveTo>
                    <a:pt x="57" y="198"/>
                  </a:moveTo>
                  <a:lnTo>
                    <a:pt x="55" y="198"/>
                  </a:lnTo>
                  <a:lnTo>
                    <a:pt x="57" y="198"/>
                  </a:lnTo>
                  <a:close/>
                  <a:moveTo>
                    <a:pt x="52" y="198"/>
                  </a:moveTo>
                  <a:lnTo>
                    <a:pt x="50" y="198"/>
                  </a:lnTo>
                  <a:lnTo>
                    <a:pt x="52" y="198"/>
                  </a:lnTo>
                  <a:close/>
                  <a:moveTo>
                    <a:pt x="67" y="198"/>
                  </a:moveTo>
                  <a:lnTo>
                    <a:pt x="64" y="198"/>
                  </a:lnTo>
                  <a:lnTo>
                    <a:pt x="67" y="198"/>
                  </a:lnTo>
                  <a:close/>
                  <a:moveTo>
                    <a:pt x="67" y="198"/>
                  </a:moveTo>
                  <a:lnTo>
                    <a:pt x="69" y="198"/>
                  </a:lnTo>
                  <a:lnTo>
                    <a:pt x="67" y="198"/>
                  </a:lnTo>
                  <a:close/>
                  <a:moveTo>
                    <a:pt x="67" y="195"/>
                  </a:moveTo>
                  <a:lnTo>
                    <a:pt x="67" y="198"/>
                  </a:lnTo>
                  <a:lnTo>
                    <a:pt x="67" y="195"/>
                  </a:lnTo>
                  <a:close/>
                  <a:moveTo>
                    <a:pt x="64" y="195"/>
                  </a:moveTo>
                  <a:lnTo>
                    <a:pt x="64" y="198"/>
                  </a:lnTo>
                  <a:lnTo>
                    <a:pt x="64" y="195"/>
                  </a:lnTo>
                  <a:close/>
                  <a:moveTo>
                    <a:pt x="52" y="195"/>
                  </a:moveTo>
                  <a:lnTo>
                    <a:pt x="50" y="195"/>
                  </a:lnTo>
                  <a:lnTo>
                    <a:pt x="52" y="195"/>
                  </a:lnTo>
                  <a:close/>
                  <a:moveTo>
                    <a:pt x="67" y="195"/>
                  </a:moveTo>
                  <a:lnTo>
                    <a:pt x="64" y="195"/>
                  </a:lnTo>
                  <a:lnTo>
                    <a:pt x="67" y="195"/>
                  </a:lnTo>
                  <a:close/>
                  <a:moveTo>
                    <a:pt x="59" y="195"/>
                  </a:moveTo>
                  <a:lnTo>
                    <a:pt x="57" y="195"/>
                  </a:lnTo>
                  <a:lnTo>
                    <a:pt x="59" y="195"/>
                  </a:lnTo>
                  <a:close/>
                  <a:moveTo>
                    <a:pt x="50" y="193"/>
                  </a:moveTo>
                  <a:lnTo>
                    <a:pt x="50" y="195"/>
                  </a:lnTo>
                  <a:lnTo>
                    <a:pt x="50" y="193"/>
                  </a:lnTo>
                  <a:close/>
                  <a:moveTo>
                    <a:pt x="64" y="193"/>
                  </a:moveTo>
                  <a:lnTo>
                    <a:pt x="62" y="193"/>
                  </a:lnTo>
                  <a:lnTo>
                    <a:pt x="64" y="193"/>
                  </a:lnTo>
                  <a:close/>
                  <a:moveTo>
                    <a:pt x="69" y="193"/>
                  </a:moveTo>
                  <a:lnTo>
                    <a:pt x="67" y="193"/>
                  </a:lnTo>
                  <a:lnTo>
                    <a:pt x="69" y="193"/>
                  </a:lnTo>
                  <a:close/>
                  <a:moveTo>
                    <a:pt x="67" y="193"/>
                  </a:moveTo>
                  <a:lnTo>
                    <a:pt x="64" y="193"/>
                  </a:lnTo>
                  <a:lnTo>
                    <a:pt x="67" y="193"/>
                  </a:lnTo>
                  <a:close/>
                  <a:moveTo>
                    <a:pt x="71" y="193"/>
                  </a:moveTo>
                  <a:lnTo>
                    <a:pt x="71" y="190"/>
                  </a:lnTo>
                  <a:lnTo>
                    <a:pt x="71" y="193"/>
                  </a:lnTo>
                  <a:close/>
                  <a:moveTo>
                    <a:pt x="69" y="193"/>
                  </a:moveTo>
                  <a:lnTo>
                    <a:pt x="67" y="193"/>
                  </a:lnTo>
                  <a:lnTo>
                    <a:pt x="67" y="190"/>
                  </a:lnTo>
                  <a:lnTo>
                    <a:pt x="69" y="193"/>
                  </a:lnTo>
                  <a:close/>
                  <a:moveTo>
                    <a:pt x="69" y="193"/>
                  </a:moveTo>
                  <a:lnTo>
                    <a:pt x="69" y="190"/>
                  </a:lnTo>
                  <a:lnTo>
                    <a:pt x="69" y="193"/>
                  </a:lnTo>
                  <a:close/>
                  <a:moveTo>
                    <a:pt x="67" y="190"/>
                  </a:moveTo>
                  <a:lnTo>
                    <a:pt x="67" y="193"/>
                  </a:lnTo>
                  <a:lnTo>
                    <a:pt x="67" y="190"/>
                  </a:lnTo>
                  <a:close/>
                  <a:moveTo>
                    <a:pt x="71" y="193"/>
                  </a:moveTo>
                  <a:lnTo>
                    <a:pt x="71" y="190"/>
                  </a:lnTo>
                  <a:lnTo>
                    <a:pt x="71" y="193"/>
                  </a:lnTo>
                  <a:close/>
                  <a:moveTo>
                    <a:pt x="71" y="190"/>
                  </a:moveTo>
                  <a:lnTo>
                    <a:pt x="71" y="193"/>
                  </a:lnTo>
                  <a:lnTo>
                    <a:pt x="71" y="190"/>
                  </a:lnTo>
                  <a:close/>
                  <a:moveTo>
                    <a:pt x="64" y="190"/>
                  </a:moveTo>
                  <a:lnTo>
                    <a:pt x="67" y="190"/>
                  </a:lnTo>
                  <a:lnTo>
                    <a:pt x="67" y="193"/>
                  </a:lnTo>
                  <a:lnTo>
                    <a:pt x="64" y="193"/>
                  </a:lnTo>
                  <a:lnTo>
                    <a:pt x="64" y="190"/>
                  </a:lnTo>
                  <a:close/>
                  <a:moveTo>
                    <a:pt x="74" y="190"/>
                  </a:moveTo>
                  <a:lnTo>
                    <a:pt x="71" y="190"/>
                  </a:lnTo>
                  <a:lnTo>
                    <a:pt x="74" y="190"/>
                  </a:lnTo>
                  <a:close/>
                  <a:moveTo>
                    <a:pt x="67" y="190"/>
                  </a:moveTo>
                  <a:lnTo>
                    <a:pt x="69" y="190"/>
                  </a:lnTo>
                  <a:lnTo>
                    <a:pt x="67" y="190"/>
                  </a:lnTo>
                  <a:close/>
                  <a:moveTo>
                    <a:pt x="69" y="190"/>
                  </a:moveTo>
                  <a:lnTo>
                    <a:pt x="67" y="190"/>
                  </a:lnTo>
                  <a:lnTo>
                    <a:pt x="69" y="190"/>
                  </a:lnTo>
                  <a:close/>
                  <a:moveTo>
                    <a:pt x="71" y="190"/>
                  </a:moveTo>
                  <a:lnTo>
                    <a:pt x="69" y="190"/>
                  </a:lnTo>
                  <a:lnTo>
                    <a:pt x="71" y="190"/>
                  </a:lnTo>
                  <a:close/>
                  <a:moveTo>
                    <a:pt x="71" y="190"/>
                  </a:moveTo>
                  <a:lnTo>
                    <a:pt x="71" y="188"/>
                  </a:lnTo>
                  <a:lnTo>
                    <a:pt x="71" y="190"/>
                  </a:lnTo>
                  <a:close/>
                  <a:moveTo>
                    <a:pt x="71" y="190"/>
                  </a:moveTo>
                  <a:lnTo>
                    <a:pt x="71" y="188"/>
                  </a:lnTo>
                  <a:lnTo>
                    <a:pt x="71" y="190"/>
                  </a:lnTo>
                  <a:close/>
                  <a:moveTo>
                    <a:pt x="69" y="188"/>
                  </a:moveTo>
                  <a:lnTo>
                    <a:pt x="69" y="190"/>
                  </a:lnTo>
                  <a:lnTo>
                    <a:pt x="69" y="188"/>
                  </a:lnTo>
                  <a:close/>
                  <a:moveTo>
                    <a:pt x="64" y="188"/>
                  </a:moveTo>
                  <a:lnTo>
                    <a:pt x="62" y="188"/>
                  </a:lnTo>
                  <a:lnTo>
                    <a:pt x="64" y="188"/>
                  </a:lnTo>
                  <a:close/>
                  <a:moveTo>
                    <a:pt x="71" y="188"/>
                  </a:moveTo>
                  <a:lnTo>
                    <a:pt x="69" y="188"/>
                  </a:lnTo>
                  <a:lnTo>
                    <a:pt x="71" y="188"/>
                  </a:lnTo>
                  <a:close/>
                  <a:moveTo>
                    <a:pt x="62" y="188"/>
                  </a:moveTo>
                  <a:lnTo>
                    <a:pt x="59" y="188"/>
                  </a:lnTo>
                  <a:lnTo>
                    <a:pt x="62" y="188"/>
                  </a:lnTo>
                  <a:close/>
                  <a:moveTo>
                    <a:pt x="71" y="188"/>
                  </a:moveTo>
                  <a:lnTo>
                    <a:pt x="71" y="186"/>
                  </a:lnTo>
                  <a:lnTo>
                    <a:pt x="71" y="188"/>
                  </a:lnTo>
                  <a:close/>
                  <a:moveTo>
                    <a:pt x="71" y="188"/>
                  </a:moveTo>
                  <a:lnTo>
                    <a:pt x="71" y="186"/>
                  </a:lnTo>
                  <a:lnTo>
                    <a:pt x="71" y="188"/>
                  </a:lnTo>
                  <a:close/>
                  <a:moveTo>
                    <a:pt x="71" y="188"/>
                  </a:moveTo>
                  <a:lnTo>
                    <a:pt x="71" y="186"/>
                  </a:lnTo>
                  <a:lnTo>
                    <a:pt x="71" y="188"/>
                  </a:lnTo>
                  <a:close/>
                  <a:moveTo>
                    <a:pt x="88" y="186"/>
                  </a:moveTo>
                  <a:lnTo>
                    <a:pt x="88" y="188"/>
                  </a:lnTo>
                  <a:lnTo>
                    <a:pt x="88" y="186"/>
                  </a:lnTo>
                  <a:close/>
                  <a:moveTo>
                    <a:pt x="74" y="188"/>
                  </a:moveTo>
                  <a:lnTo>
                    <a:pt x="74" y="186"/>
                  </a:lnTo>
                  <a:lnTo>
                    <a:pt x="74" y="188"/>
                  </a:lnTo>
                  <a:close/>
                  <a:moveTo>
                    <a:pt x="71" y="186"/>
                  </a:moveTo>
                  <a:lnTo>
                    <a:pt x="69" y="186"/>
                  </a:lnTo>
                  <a:lnTo>
                    <a:pt x="71" y="186"/>
                  </a:lnTo>
                  <a:close/>
                  <a:moveTo>
                    <a:pt x="90" y="186"/>
                  </a:moveTo>
                  <a:lnTo>
                    <a:pt x="88" y="186"/>
                  </a:lnTo>
                  <a:lnTo>
                    <a:pt x="90" y="186"/>
                  </a:lnTo>
                  <a:close/>
                  <a:moveTo>
                    <a:pt x="90" y="186"/>
                  </a:moveTo>
                  <a:lnTo>
                    <a:pt x="88" y="186"/>
                  </a:lnTo>
                  <a:lnTo>
                    <a:pt x="88" y="183"/>
                  </a:lnTo>
                  <a:lnTo>
                    <a:pt x="90" y="183"/>
                  </a:lnTo>
                  <a:lnTo>
                    <a:pt x="90" y="186"/>
                  </a:lnTo>
                  <a:close/>
                  <a:moveTo>
                    <a:pt x="59" y="183"/>
                  </a:moveTo>
                  <a:lnTo>
                    <a:pt x="59" y="186"/>
                  </a:lnTo>
                  <a:lnTo>
                    <a:pt x="59" y="183"/>
                  </a:lnTo>
                  <a:close/>
                  <a:moveTo>
                    <a:pt x="95" y="183"/>
                  </a:moveTo>
                  <a:lnTo>
                    <a:pt x="93" y="183"/>
                  </a:lnTo>
                  <a:lnTo>
                    <a:pt x="95" y="183"/>
                  </a:lnTo>
                  <a:close/>
                  <a:moveTo>
                    <a:pt x="76" y="183"/>
                  </a:moveTo>
                  <a:lnTo>
                    <a:pt x="74" y="183"/>
                  </a:lnTo>
                  <a:lnTo>
                    <a:pt x="76" y="183"/>
                  </a:lnTo>
                  <a:close/>
                  <a:moveTo>
                    <a:pt x="83" y="183"/>
                  </a:moveTo>
                  <a:lnTo>
                    <a:pt x="86" y="183"/>
                  </a:lnTo>
                  <a:lnTo>
                    <a:pt x="83" y="183"/>
                  </a:lnTo>
                  <a:close/>
                  <a:moveTo>
                    <a:pt x="86" y="183"/>
                  </a:moveTo>
                  <a:lnTo>
                    <a:pt x="83" y="183"/>
                  </a:lnTo>
                  <a:lnTo>
                    <a:pt x="86" y="183"/>
                  </a:lnTo>
                  <a:close/>
                  <a:moveTo>
                    <a:pt x="67" y="183"/>
                  </a:moveTo>
                  <a:lnTo>
                    <a:pt x="67" y="181"/>
                  </a:lnTo>
                  <a:lnTo>
                    <a:pt x="67" y="183"/>
                  </a:lnTo>
                  <a:close/>
                  <a:moveTo>
                    <a:pt x="95" y="181"/>
                  </a:moveTo>
                  <a:lnTo>
                    <a:pt x="95" y="183"/>
                  </a:lnTo>
                  <a:lnTo>
                    <a:pt x="95" y="181"/>
                  </a:lnTo>
                  <a:close/>
                  <a:moveTo>
                    <a:pt x="83" y="181"/>
                  </a:moveTo>
                  <a:lnTo>
                    <a:pt x="83" y="183"/>
                  </a:lnTo>
                  <a:lnTo>
                    <a:pt x="83" y="181"/>
                  </a:lnTo>
                  <a:close/>
                  <a:moveTo>
                    <a:pt x="97" y="183"/>
                  </a:moveTo>
                  <a:lnTo>
                    <a:pt x="97" y="181"/>
                  </a:lnTo>
                  <a:lnTo>
                    <a:pt x="95" y="181"/>
                  </a:lnTo>
                  <a:lnTo>
                    <a:pt x="97" y="181"/>
                  </a:lnTo>
                  <a:lnTo>
                    <a:pt x="97" y="183"/>
                  </a:lnTo>
                  <a:close/>
                  <a:moveTo>
                    <a:pt x="69" y="181"/>
                  </a:moveTo>
                  <a:lnTo>
                    <a:pt x="67" y="181"/>
                  </a:lnTo>
                  <a:lnTo>
                    <a:pt x="69" y="181"/>
                  </a:lnTo>
                  <a:close/>
                  <a:moveTo>
                    <a:pt x="69" y="181"/>
                  </a:moveTo>
                  <a:lnTo>
                    <a:pt x="67" y="181"/>
                  </a:lnTo>
                  <a:lnTo>
                    <a:pt x="69" y="181"/>
                  </a:lnTo>
                  <a:close/>
                  <a:moveTo>
                    <a:pt x="95" y="181"/>
                  </a:moveTo>
                  <a:lnTo>
                    <a:pt x="97" y="181"/>
                  </a:lnTo>
                  <a:lnTo>
                    <a:pt x="95" y="181"/>
                  </a:lnTo>
                  <a:close/>
                  <a:moveTo>
                    <a:pt x="86" y="181"/>
                  </a:moveTo>
                  <a:lnTo>
                    <a:pt x="83" y="181"/>
                  </a:lnTo>
                  <a:lnTo>
                    <a:pt x="86" y="181"/>
                  </a:lnTo>
                  <a:close/>
                  <a:moveTo>
                    <a:pt x="88" y="181"/>
                  </a:moveTo>
                  <a:lnTo>
                    <a:pt x="86" y="181"/>
                  </a:lnTo>
                  <a:lnTo>
                    <a:pt x="88" y="181"/>
                  </a:lnTo>
                  <a:close/>
                  <a:moveTo>
                    <a:pt x="93" y="181"/>
                  </a:moveTo>
                  <a:lnTo>
                    <a:pt x="93" y="179"/>
                  </a:lnTo>
                  <a:lnTo>
                    <a:pt x="93" y="181"/>
                  </a:lnTo>
                  <a:close/>
                  <a:moveTo>
                    <a:pt x="78" y="181"/>
                  </a:moveTo>
                  <a:lnTo>
                    <a:pt x="78" y="179"/>
                  </a:lnTo>
                  <a:lnTo>
                    <a:pt x="78" y="181"/>
                  </a:lnTo>
                  <a:close/>
                  <a:moveTo>
                    <a:pt x="88" y="179"/>
                  </a:moveTo>
                  <a:lnTo>
                    <a:pt x="88" y="181"/>
                  </a:lnTo>
                  <a:lnTo>
                    <a:pt x="88" y="179"/>
                  </a:lnTo>
                  <a:close/>
                  <a:moveTo>
                    <a:pt x="76" y="181"/>
                  </a:moveTo>
                  <a:lnTo>
                    <a:pt x="76" y="179"/>
                  </a:lnTo>
                  <a:lnTo>
                    <a:pt x="76" y="181"/>
                  </a:lnTo>
                  <a:close/>
                  <a:moveTo>
                    <a:pt x="76" y="181"/>
                  </a:moveTo>
                  <a:lnTo>
                    <a:pt x="76" y="179"/>
                  </a:lnTo>
                  <a:lnTo>
                    <a:pt x="76" y="181"/>
                  </a:lnTo>
                  <a:close/>
                  <a:moveTo>
                    <a:pt x="88" y="179"/>
                  </a:moveTo>
                  <a:lnTo>
                    <a:pt x="88" y="181"/>
                  </a:lnTo>
                  <a:lnTo>
                    <a:pt x="88" y="179"/>
                  </a:lnTo>
                  <a:close/>
                  <a:moveTo>
                    <a:pt x="95" y="179"/>
                  </a:moveTo>
                  <a:lnTo>
                    <a:pt x="95" y="181"/>
                  </a:lnTo>
                  <a:lnTo>
                    <a:pt x="95" y="179"/>
                  </a:lnTo>
                  <a:close/>
                  <a:moveTo>
                    <a:pt x="76" y="179"/>
                  </a:moveTo>
                  <a:lnTo>
                    <a:pt x="76" y="181"/>
                  </a:lnTo>
                  <a:lnTo>
                    <a:pt x="76" y="179"/>
                  </a:lnTo>
                  <a:close/>
                  <a:moveTo>
                    <a:pt x="78" y="181"/>
                  </a:moveTo>
                  <a:lnTo>
                    <a:pt x="78" y="179"/>
                  </a:lnTo>
                  <a:lnTo>
                    <a:pt x="78" y="181"/>
                  </a:lnTo>
                  <a:close/>
                  <a:moveTo>
                    <a:pt x="83" y="181"/>
                  </a:moveTo>
                  <a:lnTo>
                    <a:pt x="81" y="181"/>
                  </a:lnTo>
                  <a:lnTo>
                    <a:pt x="81" y="179"/>
                  </a:lnTo>
                  <a:lnTo>
                    <a:pt x="83" y="179"/>
                  </a:lnTo>
                  <a:lnTo>
                    <a:pt x="83" y="181"/>
                  </a:lnTo>
                  <a:close/>
                  <a:moveTo>
                    <a:pt x="95" y="179"/>
                  </a:moveTo>
                  <a:lnTo>
                    <a:pt x="93" y="179"/>
                  </a:lnTo>
                  <a:lnTo>
                    <a:pt x="95" y="179"/>
                  </a:lnTo>
                  <a:close/>
                  <a:moveTo>
                    <a:pt x="78" y="179"/>
                  </a:moveTo>
                  <a:lnTo>
                    <a:pt x="76" y="179"/>
                  </a:lnTo>
                  <a:lnTo>
                    <a:pt x="78" y="179"/>
                  </a:lnTo>
                  <a:lnTo>
                    <a:pt x="76" y="179"/>
                  </a:lnTo>
                  <a:lnTo>
                    <a:pt x="78" y="179"/>
                  </a:lnTo>
                  <a:close/>
                  <a:moveTo>
                    <a:pt x="76" y="179"/>
                  </a:moveTo>
                  <a:lnTo>
                    <a:pt x="74" y="179"/>
                  </a:lnTo>
                  <a:lnTo>
                    <a:pt x="76" y="179"/>
                  </a:lnTo>
                  <a:close/>
                  <a:moveTo>
                    <a:pt x="62" y="179"/>
                  </a:moveTo>
                  <a:lnTo>
                    <a:pt x="59" y="179"/>
                  </a:lnTo>
                  <a:lnTo>
                    <a:pt x="62" y="179"/>
                  </a:lnTo>
                  <a:lnTo>
                    <a:pt x="59" y="179"/>
                  </a:lnTo>
                  <a:lnTo>
                    <a:pt x="62" y="179"/>
                  </a:lnTo>
                  <a:close/>
                  <a:moveTo>
                    <a:pt x="95" y="179"/>
                  </a:moveTo>
                  <a:lnTo>
                    <a:pt x="93" y="179"/>
                  </a:lnTo>
                  <a:lnTo>
                    <a:pt x="95" y="179"/>
                  </a:lnTo>
                  <a:close/>
                  <a:moveTo>
                    <a:pt x="59" y="179"/>
                  </a:moveTo>
                  <a:lnTo>
                    <a:pt x="62" y="179"/>
                  </a:lnTo>
                  <a:lnTo>
                    <a:pt x="59" y="179"/>
                  </a:lnTo>
                  <a:close/>
                  <a:moveTo>
                    <a:pt x="57" y="176"/>
                  </a:moveTo>
                  <a:lnTo>
                    <a:pt x="57" y="179"/>
                  </a:lnTo>
                  <a:lnTo>
                    <a:pt x="57" y="176"/>
                  </a:lnTo>
                  <a:close/>
                  <a:moveTo>
                    <a:pt x="59" y="179"/>
                  </a:moveTo>
                  <a:lnTo>
                    <a:pt x="59" y="176"/>
                  </a:lnTo>
                  <a:lnTo>
                    <a:pt x="59" y="179"/>
                  </a:lnTo>
                  <a:close/>
                  <a:moveTo>
                    <a:pt x="78" y="176"/>
                  </a:moveTo>
                  <a:lnTo>
                    <a:pt x="78" y="179"/>
                  </a:lnTo>
                  <a:lnTo>
                    <a:pt x="78" y="176"/>
                  </a:lnTo>
                  <a:close/>
                  <a:moveTo>
                    <a:pt x="59" y="179"/>
                  </a:moveTo>
                  <a:lnTo>
                    <a:pt x="59" y="176"/>
                  </a:lnTo>
                  <a:lnTo>
                    <a:pt x="59" y="179"/>
                  </a:lnTo>
                  <a:close/>
                  <a:moveTo>
                    <a:pt x="57" y="179"/>
                  </a:moveTo>
                  <a:lnTo>
                    <a:pt x="57" y="176"/>
                  </a:lnTo>
                  <a:lnTo>
                    <a:pt x="57" y="179"/>
                  </a:lnTo>
                  <a:close/>
                  <a:moveTo>
                    <a:pt x="74" y="179"/>
                  </a:moveTo>
                  <a:lnTo>
                    <a:pt x="74" y="176"/>
                  </a:lnTo>
                  <a:lnTo>
                    <a:pt x="74" y="179"/>
                  </a:lnTo>
                  <a:close/>
                  <a:moveTo>
                    <a:pt x="95" y="176"/>
                  </a:moveTo>
                  <a:lnTo>
                    <a:pt x="95" y="179"/>
                  </a:lnTo>
                  <a:lnTo>
                    <a:pt x="95" y="176"/>
                  </a:lnTo>
                  <a:close/>
                  <a:moveTo>
                    <a:pt x="78" y="176"/>
                  </a:moveTo>
                  <a:lnTo>
                    <a:pt x="78" y="179"/>
                  </a:lnTo>
                  <a:lnTo>
                    <a:pt x="78" y="176"/>
                  </a:lnTo>
                  <a:close/>
                  <a:moveTo>
                    <a:pt x="81" y="176"/>
                  </a:moveTo>
                  <a:lnTo>
                    <a:pt x="81" y="179"/>
                  </a:lnTo>
                  <a:lnTo>
                    <a:pt x="81" y="176"/>
                  </a:lnTo>
                  <a:close/>
                  <a:moveTo>
                    <a:pt x="59" y="176"/>
                  </a:moveTo>
                  <a:lnTo>
                    <a:pt x="62" y="176"/>
                  </a:lnTo>
                  <a:lnTo>
                    <a:pt x="59" y="176"/>
                  </a:lnTo>
                  <a:close/>
                  <a:moveTo>
                    <a:pt x="74" y="176"/>
                  </a:moveTo>
                  <a:lnTo>
                    <a:pt x="74" y="179"/>
                  </a:lnTo>
                  <a:lnTo>
                    <a:pt x="74" y="176"/>
                  </a:lnTo>
                  <a:close/>
                  <a:moveTo>
                    <a:pt x="64" y="179"/>
                  </a:moveTo>
                  <a:lnTo>
                    <a:pt x="64" y="176"/>
                  </a:lnTo>
                  <a:lnTo>
                    <a:pt x="64" y="179"/>
                  </a:lnTo>
                  <a:close/>
                  <a:moveTo>
                    <a:pt x="95" y="176"/>
                  </a:moveTo>
                  <a:lnTo>
                    <a:pt x="93" y="176"/>
                  </a:lnTo>
                  <a:lnTo>
                    <a:pt x="95" y="176"/>
                  </a:lnTo>
                  <a:close/>
                  <a:moveTo>
                    <a:pt x="95" y="176"/>
                  </a:moveTo>
                  <a:lnTo>
                    <a:pt x="93" y="176"/>
                  </a:lnTo>
                  <a:lnTo>
                    <a:pt x="95" y="176"/>
                  </a:lnTo>
                  <a:close/>
                  <a:moveTo>
                    <a:pt x="95" y="176"/>
                  </a:moveTo>
                  <a:lnTo>
                    <a:pt x="93" y="176"/>
                  </a:lnTo>
                  <a:lnTo>
                    <a:pt x="95" y="176"/>
                  </a:lnTo>
                  <a:close/>
                  <a:moveTo>
                    <a:pt x="78" y="176"/>
                  </a:moveTo>
                  <a:lnTo>
                    <a:pt x="76" y="176"/>
                  </a:lnTo>
                  <a:lnTo>
                    <a:pt x="78" y="176"/>
                  </a:lnTo>
                  <a:close/>
                  <a:moveTo>
                    <a:pt x="81" y="176"/>
                  </a:moveTo>
                  <a:lnTo>
                    <a:pt x="83" y="176"/>
                  </a:lnTo>
                  <a:lnTo>
                    <a:pt x="81" y="176"/>
                  </a:lnTo>
                  <a:close/>
                  <a:moveTo>
                    <a:pt x="83" y="176"/>
                  </a:moveTo>
                  <a:lnTo>
                    <a:pt x="81" y="176"/>
                  </a:lnTo>
                  <a:lnTo>
                    <a:pt x="83" y="176"/>
                  </a:lnTo>
                  <a:close/>
                  <a:moveTo>
                    <a:pt x="59" y="176"/>
                  </a:moveTo>
                  <a:lnTo>
                    <a:pt x="59" y="174"/>
                  </a:lnTo>
                  <a:lnTo>
                    <a:pt x="59" y="176"/>
                  </a:lnTo>
                  <a:close/>
                  <a:moveTo>
                    <a:pt x="83" y="176"/>
                  </a:moveTo>
                  <a:lnTo>
                    <a:pt x="81" y="176"/>
                  </a:lnTo>
                  <a:lnTo>
                    <a:pt x="81" y="174"/>
                  </a:lnTo>
                  <a:lnTo>
                    <a:pt x="81" y="176"/>
                  </a:lnTo>
                  <a:lnTo>
                    <a:pt x="83" y="176"/>
                  </a:lnTo>
                  <a:close/>
                  <a:moveTo>
                    <a:pt x="81" y="174"/>
                  </a:moveTo>
                  <a:lnTo>
                    <a:pt x="81" y="176"/>
                  </a:lnTo>
                  <a:lnTo>
                    <a:pt x="81" y="174"/>
                  </a:lnTo>
                  <a:close/>
                  <a:moveTo>
                    <a:pt x="83" y="174"/>
                  </a:moveTo>
                  <a:lnTo>
                    <a:pt x="83" y="176"/>
                  </a:lnTo>
                  <a:lnTo>
                    <a:pt x="83" y="174"/>
                  </a:lnTo>
                  <a:close/>
                  <a:moveTo>
                    <a:pt x="57" y="174"/>
                  </a:moveTo>
                  <a:lnTo>
                    <a:pt x="59" y="174"/>
                  </a:lnTo>
                  <a:lnTo>
                    <a:pt x="57" y="174"/>
                  </a:lnTo>
                  <a:close/>
                  <a:moveTo>
                    <a:pt x="81" y="174"/>
                  </a:moveTo>
                  <a:lnTo>
                    <a:pt x="78" y="174"/>
                  </a:lnTo>
                  <a:lnTo>
                    <a:pt x="81" y="174"/>
                  </a:lnTo>
                  <a:close/>
                  <a:moveTo>
                    <a:pt x="62" y="174"/>
                  </a:moveTo>
                  <a:lnTo>
                    <a:pt x="59" y="174"/>
                  </a:lnTo>
                  <a:lnTo>
                    <a:pt x="62" y="174"/>
                  </a:lnTo>
                  <a:close/>
                  <a:moveTo>
                    <a:pt x="62" y="174"/>
                  </a:moveTo>
                  <a:lnTo>
                    <a:pt x="59" y="174"/>
                  </a:lnTo>
                  <a:lnTo>
                    <a:pt x="62" y="174"/>
                  </a:lnTo>
                  <a:close/>
                  <a:moveTo>
                    <a:pt x="95" y="174"/>
                  </a:moveTo>
                  <a:lnTo>
                    <a:pt x="93" y="174"/>
                  </a:lnTo>
                  <a:lnTo>
                    <a:pt x="95" y="174"/>
                  </a:lnTo>
                  <a:close/>
                  <a:moveTo>
                    <a:pt x="90" y="174"/>
                  </a:moveTo>
                  <a:lnTo>
                    <a:pt x="88" y="174"/>
                  </a:lnTo>
                  <a:lnTo>
                    <a:pt x="90" y="174"/>
                  </a:lnTo>
                  <a:close/>
                  <a:moveTo>
                    <a:pt x="81" y="174"/>
                  </a:moveTo>
                  <a:lnTo>
                    <a:pt x="81" y="171"/>
                  </a:lnTo>
                  <a:lnTo>
                    <a:pt x="81" y="174"/>
                  </a:lnTo>
                  <a:close/>
                  <a:moveTo>
                    <a:pt x="83" y="171"/>
                  </a:moveTo>
                  <a:lnTo>
                    <a:pt x="83" y="174"/>
                  </a:lnTo>
                  <a:lnTo>
                    <a:pt x="83" y="171"/>
                  </a:lnTo>
                  <a:close/>
                  <a:moveTo>
                    <a:pt x="102" y="171"/>
                  </a:moveTo>
                  <a:lnTo>
                    <a:pt x="102" y="169"/>
                  </a:lnTo>
                  <a:lnTo>
                    <a:pt x="102" y="171"/>
                  </a:lnTo>
                  <a:close/>
                  <a:moveTo>
                    <a:pt x="95" y="169"/>
                  </a:moveTo>
                  <a:lnTo>
                    <a:pt x="93" y="169"/>
                  </a:lnTo>
                  <a:lnTo>
                    <a:pt x="95" y="169"/>
                  </a:lnTo>
                  <a:close/>
                  <a:moveTo>
                    <a:pt x="104" y="169"/>
                  </a:moveTo>
                  <a:lnTo>
                    <a:pt x="102" y="169"/>
                  </a:lnTo>
                  <a:lnTo>
                    <a:pt x="104" y="169"/>
                  </a:lnTo>
                  <a:close/>
                  <a:moveTo>
                    <a:pt x="102" y="169"/>
                  </a:moveTo>
                  <a:lnTo>
                    <a:pt x="102" y="167"/>
                  </a:lnTo>
                  <a:lnTo>
                    <a:pt x="102" y="169"/>
                  </a:lnTo>
                  <a:close/>
                  <a:moveTo>
                    <a:pt x="102" y="167"/>
                  </a:moveTo>
                  <a:lnTo>
                    <a:pt x="100" y="167"/>
                  </a:lnTo>
                  <a:lnTo>
                    <a:pt x="102" y="167"/>
                  </a:lnTo>
                  <a:close/>
                  <a:moveTo>
                    <a:pt x="100" y="167"/>
                  </a:moveTo>
                  <a:lnTo>
                    <a:pt x="100" y="164"/>
                  </a:lnTo>
                  <a:lnTo>
                    <a:pt x="100" y="167"/>
                  </a:lnTo>
                  <a:close/>
                  <a:moveTo>
                    <a:pt x="102" y="162"/>
                  </a:moveTo>
                  <a:lnTo>
                    <a:pt x="100" y="162"/>
                  </a:lnTo>
                  <a:lnTo>
                    <a:pt x="102" y="162"/>
                  </a:lnTo>
                  <a:close/>
                  <a:moveTo>
                    <a:pt x="116" y="160"/>
                  </a:moveTo>
                  <a:lnTo>
                    <a:pt x="114" y="160"/>
                  </a:lnTo>
                  <a:lnTo>
                    <a:pt x="116" y="160"/>
                  </a:lnTo>
                  <a:close/>
                  <a:moveTo>
                    <a:pt x="119" y="160"/>
                  </a:moveTo>
                  <a:lnTo>
                    <a:pt x="116" y="160"/>
                  </a:lnTo>
                  <a:lnTo>
                    <a:pt x="119" y="160"/>
                  </a:lnTo>
                  <a:close/>
                  <a:moveTo>
                    <a:pt x="114" y="160"/>
                  </a:moveTo>
                  <a:lnTo>
                    <a:pt x="112" y="160"/>
                  </a:lnTo>
                  <a:lnTo>
                    <a:pt x="114" y="160"/>
                  </a:lnTo>
                  <a:close/>
                  <a:moveTo>
                    <a:pt x="116" y="160"/>
                  </a:moveTo>
                  <a:lnTo>
                    <a:pt x="116" y="157"/>
                  </a:lnTo>
                  <a:lnTo>
                    <a:pt x="116" y="160"/>
                  </a:lnTo>
                  <a:close/>
                  <a:moveTo>
                    <a:pt x="116" y="160"/>
                  </a:moveTo>
                  <a:lnTo>
                    <a:pt x="116" y="157"/>
                  </a:lnTo>
                  <a:lnTo>
                    <a:pt x="116" y="160"/>
                  </a:lnTo>
                  <a:close/>
                  <a:moveTo>
                    <a:pt x="107" y="160"/>
                  </a:moveTo>
                  <a:lnTo>
                    <a:pt x="107" y="157"/>
                  </a:lnTo>
                  <a:lnTo>
                    <a:pt x="107" y="160"/>
                  </a:lnTo>
                  <a:close/>
                  <a:moveTo>
                    <a:pt x="107" y="157"/>
                  </a:moveTo>
                  <a:lnTo>
                    <a:pt x="107" y="160"/>
                  </a:lnTo>
                  <a:lnTo>
                    <a:pt x="107" y="157"/>
                  </a:lnTo>
                  <a:close/>
                  <a:moveTo>
                    <a:pt x="112" y="157"/>
                  </a:moveTo>
                  <a:lnTo>
                    <a:pt x="112" y="160"/>
                  </a:lnTo>
                  <a:lnTo>
                    <a:pt x="112" y="157"/>
                  </a:lnTo>
                  <a:close/>
                  <a:moveTo>
                    <a:pt x="114" y="157"/>
                  </a:moveTo>
                  <a:lnTo>
                    <a:pt x="112" y="157"/>
                  </a:lnTo>
                  <a:lnTo>
                    <a:pt x="114" y="157"/>
                  </a:lnTo>
                  <a:close/>
                  <a:moveTo>
                    <a:pt x="116" y="155"/>
                  </a:moveTo>
                  <a:lnTo>
                    <a:pt x="116" y="157"/>
                  </a:lnTo>
                  <a:lnTo>
                    <a:pt x="116" y="155"/>
                  </a:lnTo>
                  <a:close/>
                  <a:moveTo>
                    <a:pt x="116" y="155"/>
                  </a:moveTo>
                  <a:lnTo>
                    <a:pt x="116" y="157"/>
                  </a:lnTo>
                  <a:lnTo>
                    <a:pt x="116" y="155"/>
                  </a:lnTo>
                  <a:close/>
                  <a:moveTo>
                    <a:pt x="109" y="152"/>
                  </a:moveTo>
                  <a:lnTo>
                    <a:pt x="107" y="152"/>
                  </a:lnTo>
                  <a:lnTo>
                    <a:pt x="109" y="152"/>
                  </a:lnTo>
                  <a:close/>
                  <a:moveTo>
                    <a:pt x="121" y="152"/>
                  </a:moveTo>
                  <a:lnTo>
                    <a:pt x="121" y="150"/>
                  </a:lnTo>
                  <a:lnTo>
                    <a:pt x="121" y="152"/>
                  </a:lnTo>
                  <a:close/>
                  <a:moveTo>
                    <a:pt x="112" y="150"/>
                  </a:moveTo>
                  <a:lnTo>
                    <a:pt x="109" y="150"/>
                  </a:lnTo>
                  <a:lnTo>
                    <a:pt x="112" y="150"/>
                  </a:lnTo>
                  <a:close/>
                  <a:moveTo>
                    <a:pt x="114" y="150"/>
                  </a:moveTo>
                  <a:lnTo>
                    <a:pt x="114" y="152"/>
                  </a:lnTo>
                  <a:lnTo>
                    <a:pt x="114" y="150"/>
                  </a:lnTo>
                  <a:close/>
                  <a:moveTo>
                    <a:pt x="112" y="150"/>
                  </a:moveTo>
                  <a:lnTo>
                    <a:pt x="109" y="150"/>
                  </a:lnTo>
                  <a:lnTo>
                    <a:pt x="112" y="150"/>
                  </a:lnTo>
                  <a:close/>
                  <a:moveTo>
                    <a:pt x="119" y="150"/>
                  </a:moveTo>
                  <a:lnTo>
                    <a:pt x="121" y="150"/>
                  </a:lnTo>
                  <a:lnTo>
                    <a:pt x="119" y="150"/>
                  </a:lnTo>
                  <a:close/>
                  <a:moveTo>
                    <a:pt x="116" y="150"/>
                  </a:moveTo>
                  <a:lnTo>
                    <a:pt x="116" y="148"/>
                  </a:lnTo>
                  <a:lnTo>
                    <a:pt x="116" y="150"/>
                  </a:lnTo>
                  <a:close/>
                  <a:moveTo>
                    <a:pt x="119" y="148"/>
                  </a:moveTo>
                  <a:lnTo>
                    <a:pt x="119" y="150"/>
                  </a:lnTo>
                  <a:lnTo>
                    <a:pt x="121" y="150"/>
                  </a:lnTo>
                  <a:lnTo>
                    <a:pt x="119" y="150"/>
                  </a:lnTo>
                  <a:lnTo>
                    <a:pt x="119" y="148"/>
                  </a:lnTo>
                  <a:close/>
                  <a:moveTo>
                    <a:pt x="112" y="150"/>
                  </a:moveTo>
                  <a:lnTo>
                    <a:pt x="112" y="148"/>
                  </a:lnTo>
                  <a:lnTo>
                    <a:pt x="112" y="150"/>
                  </a:lnTo>
                  <a:close/>
                  <a:moveTo>
                    <a:pt x="109" y="150"/>
                  </a:moveTo>
                  <a:lnTo>
                    <a:pt x="109" y="148"/>
                  </a:lnTo>
                  <a:lnTo>
                    <a:pt x="109" y="150"/>
                  </a:lnTo>
                  <a:close/>
                  <a:moveTo>
                    <a:pt x="112" y="148"/>
                  </a:moveTo>
                  <a:lnTo>
                    <a:pt x="112" y="150"/>
                  </a:lnTo>
                  <a:lnTo>
                    <a:pt x="112" y="148"/>
                  </a:lnTo>
                  <a:close/>
                  <a:moveTo>
                    <a:pt x="114" y="148"/>
                  </a:moveTo>
                  <a:lnTo>
                    <a:pt x="112" y="148"/>
                  </a:lnTo>
                  <a:lnTo>
                    <a:pt x="114" y="148"/>
                  </a:lnTo>
                  <a:close/>
                  <a:moveTo>
                    <a:pt x="123" y="148"/>
                  </a:moveTo>
                  <a:lnTo>
                    <a:pt x="121" y="148"/>
                  </a:lnTo>
                  <a:lnTo>
                    <a:pt x="123" y="148"/>
                  </a:lnTo>
                  <a:close/>
                  <a:moveTo>
                    <a:pt x="119" y="148"/>
                  </a:moveTo>
                  <a:lnTo>
                    <a:pt x="116" y="148"/>
                  </a:lnTo>
                  <a:lnTo>
                    <a:pt x="119" y="148"/>
                  </a:lnTo>
                  <a:close/>
                  <a:moveTo>
                    <a:pt x="114" y="148"/>
                  </a:moveTo>
                  <a:lnTo>
                    <a:pt x="112" y="148"/>
                  </a:lnTo>
                  <a:lnTo>
                    <a:pt x="114" y="148"/>
                  </a:lnTo>
                  <a:close/>
                  <a:moveTo>
                    <a:pt x="131" y="148"/>
                  </a:moveTo>
                  <a:lnTo>
                    <a:pt x="131" y="145"/>
                  </a:lnTo>
                  <a:lnTo>
                    <a:pt x="131" y="148"/>
                  </a:lnTo>
                  <a:close/>
                  <a:moveTo>
                    <a:pt x="133" y="148"/>
                  </a:moveTo>
                  <a:lnTo>
                    <a:pt x="133" y="145"/>
                  </a:lnTo>
                  <a:lnTo>
                    <a:pt x="133" y="148"/>
                  </a:lnTo>
                  <a:close/>
                  <a:moveTo>
                    <a:pt x="112" y="145"/>
                  </a:moveTo>
                  <a:lnTo>
                    <a:pt x="112" y="148"/>
                  </a:lnTo>
                  <a:lnTo>
                    <a:pt x="112" y="145"/>
                  </a:lnTo>
                  <a:close/>
                  <a:moveTo>
                    <a:pt x="112" y="145"/>
                  </a:moveTo>
                  <a:lnTo>
                    <a:pt x="114" y="145"/>
                  </a:lnTo>
                  <a:lnTo>
                    <a:pt x="112" y="145"/>
                  </a:lnTo>
                  <a:close/>
                  <a:moveTo>
                    <a:pt x="114" y="145"/>
                  </a:moveTo>
                  <a:lnTo>
                    <a:pt x="112" y="145"/>
                  </a:lnTo>
                  <a:lnTo>
                    <a:pt x="114" y="145"/>
                  </a:lnTo>
                  <a:close/>
                  <a:moveTo>
                    <a:pt x="140" y="141"/>
                  </a:moveTo>
                  <a:lnTo>
                    <a:pt x="140" y="138"/>
                  </a:lnTo>
                  <a:lnTo>
                    <a:pt x="140" y="141"/>
                  </a:lnTo>
                  <a:close/>
                  <a:moveTo>
                    <a:pt x="140" y="138"/>
                  </a:moveTo>
                  <a:lnTo>
                    <a:pt x="140" y="141"/>
                  </a:lnTo>
                  <a:lnTo>
                    <a:pt x="140" y="138"/>
                  </a:lnTo>
                  <a:close/>
                  <a:moveTo>
                    <a:pt x="145" y="131"/>
                  </a:moveTo>
                  <a:lnTo>
                    <a:pt x="145" y="133"/>
                  </a:lnTo>
                  <a:lnTo>
                    <a:pt x="145" y="131"/>
                  </a:lnTo>
                  <a:close/>
                  <a:moveTo>
                    <a:pt x="145" y="129"/>
                  </a:moveTo>
                  <a:lnTo>
                    <a:pt x="145" y="131"/>
                  </a:lnTo>
                  <a:lnTo>
                    <a:pt x="145" y="129"/>
                  </a:lnTo>
                  <a:close/>
                  <a:moveTo>
                    <a:pt x="142" y="131"/>
                  </a:moveTo>
                  <a:lnTo>
                    <a:pt x="142" y="129"/>
                  </a:lnTo>
                  <a:lnTo>
                    <a:pt x="142" y="131"/>
                  </a:lnTo>
                  <a:close/>
                  <a:moveTo>
                    <a:pt x="138" y="126"/>
                  </a:moveTo>
                  <a:lnTo>
                    <a:pt x="138" y="124"/>
                  </a:lnTo>
                  <a:lnTo>
                    <a:pt x="138" y="126"/>
                  </a:lnTo>
                  <a:close/>
                  <a:moveTo>
                    <a:pt x="169" y="107"/>
                  </a:moveTo>
                  <a:lnTo>
                    <a:pt x="169" y="105"/>
                  </a:lnTo>
                  <a:lnTo>
                    <a:pt x="169" y="107"/>
                  </a:lnTo>
                  <a:close/>
                  <a:moveTo>
                    <a:pt x="169" y="105"/>
                  </a:moveTo>
                  <a:lnTo>
                    <a:pt x="166" y="105"/>
                  </a:lnTo>
                  <a:lnTo>
                    <a:pt x="169" y="105"/>
                  </a:lnTo>
                  <a:close/>
                  <a:moveTo>
                    <a:pt x="169" y="105"/>
                  </a:moveTo>
                  <a:lnTo>
                    <a:pt x="166" y="105"/>
                  </a:lnTo>
                  <a:lnTo>
                    <a:pt x="169" y="105"/>
                  </a:lnTo>
                  <a:close/>
                  <a:moveTo>
                    <a:pt x="169" y="103"/>
                  </a:moveTo>
                  <a:lnTo>
                    <a:pt x="166" y="103"/>
                  </a:lnTo>
                  <a:lnTo>
                    <a:pt x="169" y="103"/>
                  </a:lnTo>
                  <a:close/>
                  <a:moveTo>
                    <a:pt x="218" y="98"/>
                  </a:moveTo>
                  <a:lnTo>
                    <a:pt x="221" y="98"/>
                  </a:lnTo>
                  <a:lnTo>
                    <a:pt x="218" y="98"/>
                  </a:lnTo>
                  <a:close/>
                  <a:moveTo>
                    <a:pt x="216" y="95"/>
                  </a:moveTo>
                  <a:lnTo>
                    <a:pt x="218" y="95"/>
                  </a:lnTo>
                  <a:lnTo>
                    <a:pt x="216" y="95"/>
                  </a:lnTo>
                  <a:close/>
                  <a:moveTo>
                    <a:pt x="214" y="91"/>
                  </a:moveTo>
                  <a:lnTo>
                    <a:pt x="211" y="91"/>
                  </a:lnTo>
                  <a:lnTo>
                    <a:pt x="214" y="91"/>
                  </a:lnTo>
                  <a:close/>
                  <a:moveTo>
                    <a:pt x="211" y="91"/>
                  </a:moveTo>
                  <a:lnTo>
                    <a:pt x="211" y="88"/>
                  </a:lnTo>
                  <a:lnTo>
                    <a:pt x="211" y="91"/>
                  </a:lnTo>
                  <a:close/>
                  <a:moveTo>
                    <a:pt x="197" y="86"/>
                  </a:moveTo>
                  <a:lnTo>
                    <a:pt x="195" y="86"/>
                  </a:lnTo>
                  <a:lnTo>
                    <a:pt x="197" y="86"/>
                  </a:lnTo>
                  <a:close/>
                  <a:moveTo>
                    <a:pt x="199" y="84"/>
                  </a:moveTo>
                  <a:lnTo>
                    <a:pt x="197" y="84"/>
                  </a:lnTo>
                  <a:lnTo>
                    <a:pt x="199" y="84"/>
                  </a:lnTo>
                  <a:close/>
                  <a:moveTo>
                    <a:pt x="197" y="84"/>
                  </a:moveTo>
                  <a:lnTo>
                    <a:pt x="195" y="84"/>
                  </a:lnTo>
                  <a:lnTo>
                    <a:pt x="197" y="84"/>
                  </a:lnTo>
                  <a:close/>
                  <a:moveTo>
                    <a:pt x="190" y="79"/>
                  </a:moveTo>
                  <a:lnTo>
                    <a:pt x="188" y="79"/>
                  </a:lnTo>
                  <a:lnTo>
                    <a:pt x="190" y="79"/>
                  </a:lnTo>
                  <a:close/>
                  <a:moveTo>
                    <a:pt x="188" y="76"/>
                  </a:moveTo>
                  <a:lnTo>
                    <a:pt x="185" y="76"/>
                  </a:lnTo>
                  <a:lnTo>
                    <a:pt x="188" y="76"/>
                  </a:lnTo>
                  <a:close/>
                  <a:moveTo>
                    <a:pt x="188" y="76"/>
                  </a:moveTo>
                  <a:lnTo>
                    <a:pt x="188" y="74"/>
                  </a:lnTo>
                  <a:lnTo>
                    <a:pt x="188" y="76"/>
                  </a:lnTo>
                  <a:close/>
                  <a:moveTo>
                    <a:pt x="199" y="74"/>
                  </a:moveTo>
                  <a:lnTo>
                    <a:pt x="197" y="74"/>
                  </a:lnTo>
                  <a:lnTo>
                    <a:pt x="199" y="74"/>
                  </a:lnTo>
                  <a:close/>
                  <a:moveTo>
                    <a:pt x="195" y="74"/>
                  </a:moveTo>
                  <a:lnTo>
                    <a:pt x="195" y="72"/>
                  </a:lnTo>
                  <a:lnTo>
                    <a:pt x="195" y="74"/>
                  </a:lnTo>
                  <a:close/>
                  <a:moveTo>
                    <a:pt x="197" y="72"/>
                  </a:moveTo>
                  <a:lnTo>
                    <a:pt x="197" y="69"/>
                  </a:lnTo>
                  <a:lnTo>
                    <a:pt x="197" y="72"/>
                  </a:lnTo>
                  <a:close/>
                  <a:moveTo>
                    <a:pt x="197" y="69"/>
                  </a:moveTo>
                  <a:lnTo>
                    <a:pt x="199" y="69"/>
                  </a:lnTo>
                  <a:lnTo>
                    <a:pt x="197" y="69"/>
                  </a:lnTo>
                  <a:close/>
                  <a:moveTo>
                    <a:pt x="188" y="67"/>
                  </a:moveTo>
                  <a:lnTo>
                    <a:pt x="185" y="67"/>
                  </a:lnTo>
                  <a:lnTo>
                    <a:pt x="188" y="67"/>
                  </a:lnTo>
                  <a:close/>
                  <a:moveTo>
                    <a:pt x="197" y="67"/>
                  </a:moveTo>
                  <a:lnTo>
                    <a:pt x="195" y="67"/>
                  </a:lnTo>
                  <a:lnTo>
                    <a:pt x="197" y="67"/>
                  </a:lnTo>
                  <a:close/>
                  <a:moveTo>
                    <a:pt x="197" y="67"/>
                  </a:moveTo>
                  <a:lnTo>
                    <a:pt x="195" y="67"/>
                  </a:lnTo>
                  <a:lnTo>
                    <a:pt x="197" y="67"/>
                  </a:lnTo>
                  <a:close/>
                  <a:moveTo>
                    <a:pt x="197" y="65"/>
                  </a:moveTo>
                  <a:lnTo>
                    <a:pt x="197" y="67"/>
                  </a:lnTo>
                  <a:lnTo>
                    <a:pt x="195" y="65"/>
                  </a:lnTo>
                  <a:lnTo>
                    <a:pt x="197" y="65"/>
                  </a:lnTo>
                  <a:close/>
                  <a:moveTo>
                    <a:pt x="188" y="65"/>
                  </a:moveTo>
                  <a:lnTo>
                    <a:pt x="188" y="62"/>
                  </a:lnTo>
                  <a:lnTo>
                    <a:pt x="188" y="65"/>
                  </a:lnTo>
                  <a:close/>
                  <a:moveTo>
                    <a:pt x="197" y="65"/>
                  </a:moveTo>
                  <a:lnTo>
                    <a:pt x="197" y="62"/>
                  </a:lnTo>
                  <a:lnTo>
                    <a:pt x="197" y="65"/>
                  </a:lnTo>
                  <a:close/>
                  <a:moveTo>
                    <a:pt x="195" y="62"/>
                  </a:moveTo>
                  <a:lnTo>
                    <a:pt x="192" y="62"/>
                  </a:lnTo>
                  <a:lnTo>
                    <a:pt x="195" y="62"/>
                  </a:lnTo>
                  <a:close/>
                  <a:moveTo>
                    <a:pt x="199" y="62"/>
                  </a:moveTo>
                  <a:lnTo>
                    <a:pt x="197" y="62"/>
                  </a:lnTo>
                  <a:lnTo>
                    <a:pt x="199" y="62"/>
                  </a:lnTo>
                  <a:close/>
                  <a:moveTo>
                    <a:pt x="183" y="60"/>
                  </a:moveTo>
                  <a:lnTo>
                    <a:pt x="183" y="57"/>
                  </a:lnTo>
                  <a:lnTo>
                    <a:pt x="183" y="60"/>
                  </a:lnTo>
                  <a:close/>
                  <a:moveTo>
                    <a:pt x="197" y="57"/>
                  </a:moveTo>
                  <a:lnTo>
                    <a:pt x="197" y="60"/>
                  </a:lnTo>
                  <a:lnTo>
                    <a:pt x="197" y="57"/>
                  </a:lnTo>
                  <a:close/>
                  <a:moveTo>
                    <a:pt x="183" y="55"/>
                  </a:moveTo>
                  <a:lnTo>
                    <a:pt x="183" y="57"/>
                  </a:lnTo>
                  <a:lnTo>
                    <a:pt x="183" y="55"/>
                  </a:lnTo>
                  <a:close/>
                  <a:moveTo>
                    <a:pt x="188" y="53"/>
                  </a:moveTo>
                  <a:lnTo>
                    <a:pt x="185" y="53"/>
                  </a:lnTo>
                  <a:lnTo>
                    <a:pt x="188" y="53"/>
                  </a:lnTo>
                  <a:close/>
                  <a:moveTo>
                    <a:pt x="161" y="53"/>
                  </a:moveTo>
                  <a:lnTo>
                    <a:pt x="159" y="53"/>
                  </a:lnTo>
                  <a:lnTo>
                    <a:pt x="161" y="53"/>
                  </a:lnTo>
                  <a:close/>
                  <a:moveTo>
                    <a:pt x="161" y="53"/>
                  </a:moveTo>
                  <a:lnTo>
                    <a:pt x="159" y="53"/>
                  </a:lnTo>
                  <a:lnTo>
                    <a:pt x="161" y="53"/>
                  </a:lnTo>
                  <a:close/>
                  <a:moveTo>
                    <a:pt x="173" y="50"/>
                  </a:moveTo>
                  <a:lnTo>
                    <a:pt x="171" y="50"/>
                  </a:lnTo>
                  <a:lnTo>
                    <a:pt x="173" y="50"/>
                  </a:lnTo>
                  <a:close/>
                  <a:moveTo>
                    <a:pt x="180" y="50"/>
                  </a:moveTo>
                  <a:lnTo>
                    <a:pt x="178" y="50"/>
                  </a:lnTo>
                  <a:lnTo>
                    <a:pt x="180" y="50"/>
                  </a:lnTo>
                  <a:close/>
                  <a:moveTo>
                    <a:pt x="176" y="50"/>
                  </a:moveTo>
                  <a:lnTo>
                    <a:pt x="176" y="48"/>
                  </a:lnTo>
                  <a:lnTo>
                    <a:pt x="176" y="50"/>
                  </a:lnTo>
                  <a:close/>
                  <a:moveTo>
                    <a:pt x="164" y="48"/>
                  </a:moveTo>
                  <a:lnTo>
                    <a:pt x="161" y="48"/>
                  </a:lnTo>
                  <a:lnTo>
                    <a:pt x="164" y="48"/>
                  </a:lnTo>
                  <a:close/>
                  <a:moveTo>
                    <a:pt x="166" y="48"/>
                  </a:moveTo>
                  <a:lnTo>
                    <a:pt x="164" y="48"/>
                  </a:lnTo>
                  <a:lnTo>
                    <a:pt x="166" y="48"/>
                  </a:lnTo>
                  <a:close/>
                  <a:moveTo>
                    <a:pt x="161" y="48"/>
                  </a:moveTo>
                  <a:lnTo>
                    <a:pt x="159" y="48"/>
                  </a:lnTo>
                  <a:lnTo>
                    <a:pt x="161" y="48"/>
                  </a:lnTo>
                  <a:close/>
                  <a:moveTo>
                    <a:pt x="164" y="48"/>
                  </a:moveTo>
                  <a:lnTo>
                    <a:pt x="164" y="46"/>
                  </a:lnTo>
                  <a:lnTo>
                    <a:pt x="164" y="48"/>
                  </a:lnTo>
                  <a:close/>
                  <a:moveTo>
                    <a:pt x="173" y="48"/>
                  </a:moveTo>
                  <a:lnTo>
                    <a:pt x="173" y="46"/>
                  </a:lnTo>
                  <a:lnTo>
                    <a:pt x="173" y="48"/>
                  </a:lnTo>
                  <a:close/>
                  <a:moveTo>
                    <a:pt x="171" y="46"/>
                  </a:moveTo>
                  <a:lnTo>
                    <a:pt x="169" y="46"/>
                  </a:lnTo>
                  <a:lnTo>
                    <a:pt x="171" y="46"/>
                  </a:lnTo>
                  <a:close/>
                  <a:moveTo>
                    <a:pt x="159" y="46"/>
                  </a:moveTo>
                  <a:lnTo>
                    <a:pt x="161" y="46"/>
                  </a:lnTo>
                  <a:lnTo>
                    <a:pt x="159" y="46"/>
                  </a:lnTo>
                  <a:close/>
                  <a:moveTo>
                    <a:pt x="166" y="43"/>
                  </a:moveTo>
                  <a:lnTo>
                    <a:pt x="166" y="46"/>
                  </a:lnTo>
                  <a:lnTo>
                    <a:pt x="166" y="43"/>
                  </a:lnTo>
                  <a:close/>
                  <a:moveTo>
                    <a:pt x="169" y="43"/>
                  </a:moveTo>
                  <a:lnTo>
                    <a:pt x="169" y="46"/>
                  </a:lnTo>
                  <a:lnTo>
                    <a:pt x="169" y="43"/>
                  </a:lnTo>
                  <a:close/>
                  <a:moveTo>
                    <a:pt x="164" y="43"/>
                  </a:moveTo>
                  <a:lnTo>
                    <a:pt x="161" y="43"/>
                  </a:lnTo>
                  <a:lnTo>
                    <a:pt x="164" y="43"/>
                  </a:lnTo>
                  <a:close/>
                  <a:moveTo>
                    <a:pt x="166" y="43"/>
                  </a:moveTo>
                  <a:lnTo>
                    <a:pt x="169" y="43"/>
                  </a:lnTo>
                  <a:lnTo>
                    <a:pt x="166" y="43"/>
                  </a:lnTo>
                  <a:lnTo>
                    <a:pt x="169" y="43"/>
                  </a:lnTo>
                  <a:lnTo>
                    <a:pt x="166" y="43"/>
                  </a:lnTo>
                  <a:close/>
                  <a:moveTo>
                    <a:pt x="164" y="43"/>
                  </a:moveTo>
                  <a:lnTo>
                    <a:pt x="161" y="43"/>
                  </a:lnTo>
                  <a:lnTo>
                    <a:pt x="164" y="43"/>
                  </a:lnTo>
                  <a:close/>
                  <a:moveTo>
                    <a:pt x="164" y="43"/>
                  </a:moveTo>
                  <a:lnTo>
                    <a:pt x="161" y="43"/>
                  </a:lnTo>
                  <a:lnTo>
                    <a:pt x="164" y="43"/>
                  </a:lnTo>
                  <a:close/>
                  <a:moveTo>
                    <a:pt x="164" y="41"/>
                  </a:moveTo>
                  <a:lnTo>
                    <a:pt x="161" y="41"/>
                  </a:lnTo>
                  <a:lnTo>
                    <a:pt x="164" y="41"/>
                  </a:lnTo>
                  <a:close/>
                  <a:moveTo>
                    <a:pt x="159" y="36"/>
                  </a:moveTo>
                  <a:lnTo>
                    <a:pt x="159" y="34"/>
                  </a:lnTo>
                  <a:lnTo>
                    <a:pt x="159" y="36"/>
                  </a:lnTo>
                  <a:close/>
                  <a:moveTo>
                    <a:pt x="154" y="26"/>
                  </a:moveTo>
                  <a:lnTo>
                    <a:pt x="154" y="29"/>
                  </a:lnTo>
                  <a:lnTo>
                    <a:pt x="154" y="26"/>
                  </a:lnTo>
                  <a:close/>
                  <a:moveTo>
                    <a:pt x="145" y="17"/>
                  </a:moveTo>
                  <a:lnTo>
                    <a:pt x="145" y="15"/>
                  </a:lnTo>
                  <a:lnTo>
                    <a:pt x="145" y="17"/>
                  </a:lnTo>
                  <a:close/>
                  <a:moveTo>
                    <a:pt x="145" y="10"/>
                  </a:moveTo>
                  <a:lnTo>
                    <a:pt x="145" y="12"/>
                  </a:lnTo>
                  <a:lnTo>
                    <a:pt x="145" y="10"/>
                  </a:lnTo>
                  <a:close/>
                  <a:moveTo>
                    <a:pt x="145" y="3"/>
                  </a:moveTo>
                  <a:lnTo>
                    <a:pt x="145" y="0"/>
                  </a:lnTo>
                  <a:lnTo>
                    <a:pt x="145"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9" name="Freeform 52263"/>
            <p:cNvSpPr>
              <a:spLocks/>
            </p:cNvSpPr>
            <p:nvPr/>
          </p:nvSpPr>
          <p:spPr bwMode="auto">
            <a:xfrm>
              <a:off x="2714622" y="4332301"/>
              <a:ext cx="33338" cy="36513"/>
            </a:xfrm>
            <a:custGeom>
              <a:avLst/>
              <a:gdLst>
                <a:gd name="T0" fmla="*/ 10 w 21"/>
                <a:gd name="T1" fmla="*/ 2 h 23"/>
                <a:gd name="T2" fmla="*/ 7 w 21"/>
                <a:gd name="T3" fmla="*/ 4 h 23"/>
                <a:gd name="T4" fmla="*/ 10 w 21"/>
                <a:gd name="T5" fmla="*/ 7 h 23"/>
                <a:gd name="T6" fmla="*/ 12 w 21"/>
                <a:gd name="T7" fmla="*/ 4 h 23"/>
                <a:gd name="T8" fmla="*/ 17 w 21"/>
                <a:gd name="T9" fmla="*/ 4 h 23"/>
                <a:gd name="T10" fmla="*/ 17 w 21"/>
                <a:gd name="T11" fmla="*/ 7 h 23"/>
                <a:gd name="T12" fmla="*/ 14 w 21"/>
                <a:gd name="T13" fmla="*/ 9 h 23"/>
                <a:gd name="T14" fmla="*/ 14 w 21"/>
                <a:gd name="T15" fmla="*/ 14 h 23"/>
                <a:gd name="T16" fmla="*/ 19 w 21"/>
                <a:gd name="T17" fmla="*/ 14 h 23"/>
                <a:gd name="T18" fmla="*/ 21 w 21"/>
                <a:gd name="T19" fmla="*/ 16 h 23"/>
                <a:gd name="T20" fmla="*/ 19 w 21"/>
                <a:gd name="T21" fmla="*/ 19 h 23"/>
                <a:gd name="T22" fmla="*/ 19 w 21"/>
                <a:gd name="T23" fmla="*/ 19 h 23"/>
                <a:gd name="T24" fmla="*/ 19 w 21"/>
                <a:gd name="T25" fmla="*/ 19 h 23"/>
                <a:gd name="T26" fmla="*/ 19 w 21"/>
                <a:gd name="T27" fmla="*/ 16 h 23"/>
                <a:gd name="T28" fmla="*/ 17 w 21"/>
                <a:gd name="T29" fmla="*/ 19 h 23"/>
                <a:gd name="T30" fmla="*/ 14 w 21"/>
                <a:gd name="T31" fmla="*/ 16 h 23"/>
                <a:gd name="T32" fmla="*/ 12 w 21"/>
                <a:gd name="T33" fmla="*/ 19 h 23"/>
                <a:gd name="T34" fmla="*/ 10 w 21"/>
                <a:gd name="T35" fmla="*/ 19 h 23"/>
                <a:gd name="T36" fmla="*/ 10 w 21"/>
                <a:gd name="T37" fmla="*/ 19 h 23"/>
                <a:gd name="T38" fmla="*/ 7 w 21"/>
                <a:gd name="T39" fmla="*/ 21 h 23"/>
                <a:gd name="T40" fmla="*/ 7 w 21"/>
                <a:gd name="T41" fmla="*/ 21 h 23"/>
                <a:gd name="T42" fmla="*/ 10 w 21"/>
                <a:gd name="T43" fmla="*/ 23 h 23"/>
                <a:gd name="T44" fmla="*/ 5 w 21"/>
                <a:gd name="T45" fmla="*/ 23 h 23"/>
                <a:gd name="T46" fmla="*/ 7 w 21"/>
                <a:gd name="T47" fmla="*/ 21 h 23"/>
                <a:gd name="T48" fmla="*/ 7 w 21"/>
                <a:gd name="T49" fmla="*/ 21 h 23"/>
                <a:gd name="T50" fmla="*/ 2 w 21"/>
                <a:gd name="T51" fmla="*/ 21 h 23"/>
                <a:gd name="T52" fmla="*/ 0 w 21"/>
                <a:gd name="T53" fmla="*/ 19 h 23"/>
                <a:gd name="T54" fmla="*/ 0 w 21"/>
                <a:gd name="T55" fmla="*/ 19 h 23"/>
                <a:gd name="T56" fmla="*/ 0 w 21"/>
                <a:gd name="T57" fmla="*/ 19 h 23"/>
                <a:gd name="T58" fmla="*/ 2 w 21"/>
                <a:gd name="T59" fmla="*/ 16 h 23"/>
                <a:gd name="T60" fmla="*/ 5 w 21"/>
                <a:gd name="T61" fmla="*/ 14 h 23"/>
                <a:gd name="T62" fmla="*/ 2 w 21"/>
                <a:gd name="T63" fmla="*/ 12 h 23"/>
                <a:gd name="T64" fmla="*/ 0 w 21"/>
                <a:gd name="T65" fmla="*/ 14 h 23"/>
                <a:gd name="T66" fmla="*/ 2 w 21"/>
                <a:gd name="T67" fmla="*/ 12 h 23"/>
                <a:gd name="T68" fmla="*/ 5 w 21"/>
                <a:gd name="T69" fmla="*/ 9 h 23"/>
                <a:gd name="T70" fmla="*/ 0 w 21"/>
                <a:gd name="T71" fmla="*/ 9 h 23"/>
                <a:gd name="T72" fmla="*/ 2 w 21"/>
                <a:gd name="T73" fmla="*/ 7 h 23"/>
                <a:gd name="T74" fmla="*/ 5 w 21"/>
                <a:gd name="T75" fmla="*/ 9 h 23"/>
                <a:gd name="T76" fmla="*/ 7 w 21"/>
                <a:gd name="T77" fmla="*/ 7 h 23"/>
                <a:gd name="T78" fmla="*/ 7 w 21"/>
                <a:gd name="T79" fmla="*/ 7 h 23"/>
                <a:gd name="T80" fmla="*/ 10 w 21"/>
                <a:gd name="T81" fmla="*/ 9 h 23"/>
                <a:gd name="T82" fmla="*/ 10 w 21"/>
                <a:gd name="T83" fmla="*/ 9 h 23"/>
                <a:gd name="T84" fmla="*/ 12 w 21"/>
                <a:gd name="T85" fmla="*/ 7 h 23"/>
                <a:gd name="T86" fmla="*/ 10 w 21"/>
                <a:gd name="T87" fmla="*/ 4 h 23"/>
                <a:gd name="T88" fmla="*/ 5 w 21"/>
                <a:gd name="T89" fmla="*/ 4 h 23"/>
                <a:gd name="T90" fmla="*/ 2 w 21"/>
                <a:gd name="T91" fmla="*/ 7 h 23"/>
                <a:gd name="T92" fmla="*/ 5 w 21"/>
                <a:gd name="T93" fmla="*/ 4 h 23"/>
                <a:gd name="T94" fmla="*/ 2 w 21"/>
                <a:gd name="T95" fmla="*/ 2 h 23"/>
                <a:gd name="T96" fmla="*/ 2 w 21"/>
                <a:gd name="T97" fmla="*/ 7 h 23"/>
                <a:gd name="T98" fmla="*/ 0 w 21"/>
                <a:gd name="T99" fmla="*/ 4 h 23"/>
                <a:gd name="T100" fmla="*/ 2 w 21"/>
                <a:gd name="T101" fmla="*/ 2 h 23"/>
                <a:gd name="T102" fmla="*/ 5 w 21"/>
                <a:gd name="T103" fmla="*/ 0 h 23"/>
                <a:gd name="T104" fmla="*/ 10 w 21"/>
                <a:gd name="T10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 h="23">
                  <a:moveTo>
                    <a:pt x="10" y="0"/>
                  </a:moveTo>
                  <a:lnTo>
                    <a:pt x="10" y="2"/>
                  </a:lnTo>
                  <a:lnTo>
                    <a:pt x="7" y="2"/>
                  </a:lnTo>
                  <a:lnTo>
                    <a:pt x="7" y="4"/>
                  </a:lnTo>
                  <a:lnTo>
                    <a:pt x="10" y="4"/>
                  </a:lnTo>
                  <a:lnTo>
                    <a:pt x="10" y="7"/>
                  </a:lnTo>
                  <a:lnTo>
                    <a:pt x="12" y="7"/>
                  </a:lnTo>
                  <a:lnTo>
                    <a:pt x="12" y="4"/>
                  </a:lnTo>
                  <a:lnTo>
                    <a:pt x="14" y="4"/>
                  </a:lnTo>
                  <a:lnTo>
                    <a:pt x="17" y="4"/>
                  </a:lnTo>
                  <a:lnTo>
                    <a:pt x="19" y="7"/>
                  </a:lnTo>
                  <a:lnTo>
                    <a:pt x="17" y="7"/>
                  </a:lnTo>
                  <a:lnTo>
                    <a:pt x="17" y="9"/>
                  </a:lnTo>
                  <a:lnTo>
                    <a:pt x="14" y="9"/>
                  </a:lnTo>
                  <a:lnTo>
                    <a:pt x="14" y="12"/>
                  </a:lnTo>
                  <a:lnTo>
                    <a:pt x="14" y="14"/>
                  </a:lnTo>
                  <a:lnTo>
                    <a:pt x="17" y="14"/>
                  </a:lnTo>
                  <a:lnTo>
                    <a:pt x="19" y="14"/>
                  </a:lnTo>
                  <a:lnTo>
                    <a:pt x="19" y="16"/>
                  </a:lnTo>
                  <a:lnTo>
                    <a:pt x="21" y="16"/>
                  </a:lnTo>
                  <a:lnTo>
                    <a:pt x="19" y="16"/>
                  </a:lnTo>
                  <a:lnTo>
                    <a:pt x="19" y="19"/>
                  </a:lnTo>
                  <a:lnTo>
                    <a:pt x="19" y="21"/>
                  </a:lnTo>
                  <a:lnTo>
                    <a:pt x="19" y="19"/>
                  </a:lnTo>
                  <a:lnTo>
                    <a:pt x="17" y="19"/>
                  </a:lnTo>
                  <a:lnTo>
                    <a:pt x="19" y="19"/>
                  </a:lnTo>
                  <a:lnTo>
                    <a:pt x="17" y="19"/>
                  </a:lnTo>
                  <a:lnTo>
                    <a:pt x="19" y="16"/>
                  </a:lnTo>
                  <a:lnTo>
                    <a:pt x="17" y="16"/>
                  </a:lnTo>
                  <a:lnTo>
                    <a:pt x="17" y="19"/>
                  </a:lnTo>
                  <a:lnTo>
                    <a:pt x="17" y="16"/>
                  </a:lnTo>
                  <a:lnTo>
                    <a:pt x="14" y="16"/>
                  </a:lnTo>
                  <a:lnTo>
                    <a:pt x="12" y="16"/>
                  </a:lnTo>
                  <a:lnTo>
                    <a:pt x="12" y="19"/>
                  </a:lnTo>
                  <a:lnTo>
                    <a:pt x="10" y="16"/>
                  </a:lnTo>
                  <a:lnTo>
                    <a:pt x="10" y="19"/>
                  </a:lnTo>
                  <a:lnTo>
                    <a:pt x="12" y="19"/>
                  </a:lnTo>
                  <a:lnTo>
                    <a:pt x="10" y="19"/>
                  </a:lnTo>
                  <a:lnTo>
                    <a:pt x="10" y="21"/>
                  </a:lnTo>
                  <a:lnTo>
                    <a:pt x="7" y="21"/>
                  </a:lnTo>
                  <a:lnTo>
                    <a:pt x="10" y="21"/>
                  </a:lnTo>
                  <a:lnTo>
                    <a:pt x="7" y="21"/>
                  </a:lnTo>
                  <a:lnTo>
                    <a:pt x="10" y="21"/>
                  </a:lnTo>
                  <a:lnTo>
                    <a:pt x="10" y="23"/>
                  </a:lnTo>
                  <a:lnTo>
                    <a:pt x="7" y="23"/>
                  </a:lnTo>
                  <a:lnTo>
                    <a:pt x="5" y="23"/>
                  </a:lnTo>
                  <a:lnTo>
                    <a:pt x="5" y="21"/>
                  </a:lnTo>
                  <a:lnTo>
                    <a:pt x="7" y="21"/>
                  </a:lnTo>
                  <a:lnTo>
                    <a:pt x="5" y="21"/>
                  </a:lnTo>
                  <a:lnTo>
                    <a:pt x="7" y="21"/>
                  </a:lnTo>
                  <a:lnTo>
                    <a:pt x="5" y="21"/>
                  </a:lnTo>
                  <a:lnTo>
                    <a:pt x="2" y="21"/>
                  </a:lnTo>
                  <a:lnTo>
                    <a:pt x="2" y="19"/>
                  </a:lnTo>
                  <a:lnTo>
                    <a:pt x="0" y="19"/>
                  </a:lnTo>
                  <a:lnTo>
                    <a:pt x="0" y="21"/>
                  </a:lnTo>
                  <a:lnTo>
                    <a:pt x="0" y="19"/>
                  </a:lnTo>
                  <a:lnTo>
                    <a:pt x="2" y="19"/>
                  </a:lnTo>
                  <a:lnTo>
                    <a:pt x="0" y="19"/>
                  </a:lnTo>
                  <a:lnTo>
                    <a:pt x="0" y="16"/>
                  </a:lnTo>
                  <a:lnTo>
                    <a:pt x="2" y="16"/>
                  </a:lnTo>
                  <a:lnTo>
                    <a:pt x="5" y="16"/>
                  </a:lnTo>
                  <a:lnTo>
                    <a:pt x="5" y="14"/>
                  </a:lnTo>
                  <a:lnTo>
                    <a:pt x="2" y="14"/>
                  </a:lnTo>
                  <a:lnTo>
                    <a:pt x="2" y="12"/>
                  </a:lnTo>
                  <a:lnTo>
                    <a:pt x="2" y="14"/>
                  </a:lnTo>
                  <a:lnTo>
                    <a:pt x="0" y="14"/>
                  </a:lnTo>
                  <a:lnTo>
                    <a:pt x="0" y="12"/>
                  </a:lnTo>
                  <a:lnTo>
                    <a:pt x="2" y="12"/>
                  </a:lnTo>
                  <a:lnTo>
                    <a:pt x="5" y="12"/>
                  </a:lnTo>
                  <a:lnTo>
                    <a:pt x="5" y="9"/>
                  </a:lnTo>
                  <a:lnTo>
                    <a:pt x="2" y="9"/>
                  </a:lnTo>
                  <a:lnTo>
                    <a:pt x="0" y="9"/>
                  </a:lnTo>
                  <a:lnTo>
                    <a:pt x="0" y="7"/>
                  </a:lnTo>
                  <a:lnTo>
                    <a:pt x="2" y="7"/>
                  </a:lnTo>
                  <a:lnTo>
                    <a:pt x="5" y="7"/>
                  </a:lnTo>
                  <a:lnTo>
                    <a:pt x="5" y="9"/>
                  </a:lnTo>
                  <a:lnTo>
                    <a:pt x="5" y="7"/>
                  </a:lnTo>
                  <a:lnTo>
                    <a:pt x="7" y="7"/>
                  </a:lnTo>
                  <a:lnTo>
                    <a:pt x="7" y="4"/>
                  </a:lnTo>
                  <a:lnTo>
                    <a:pt x="7" y="7"/>
                  </a:lnTo>
                  <a:lnTo>
                    <a:pt x="10" y="7"/>
                  </a:lnTo>
                  <a:lnTo>
                    <a:pt x="10" y="9"/>
                  </a:lnTo>
                  <a:lnTo>
                    <a:pt x="10" y="12"/>
                  </a:lnTo>
                  <a:lnTo>
                    <a:pt x="10" y="9"/>
                  </a:lnTo>
                  <a:lnTo>
                    <a:pt x="12" y="9"/>
                  </a:lnTo>
                  <a:lnTo>
                    <a:pt x="12" y="7"/>
                  </a:lnTo>
                  <a:lnTo>
                    <a:pt x="10" y="7"/>
                  </a:lnTo>
                  <a:lnTo>
                    <a:pt x="10" y="4"/>
                  </a:lnTo>
                  <a:lnTo>
                    <a:pt x="7" y="4"/>
                  </a:lnTo>
                  <a:lnTo>
                    <a:pt x="5" y="4"/>
                  </a:lnTo>
                  <a:lnTo>
                    <a:pt x="5" y="7"/>
                  </a:lnTo>
                  <a:lnTo>
                    <a:pt x="2" y="7"/>
                  </a:lnTo>
                  <a:lnTo>
                    <a:pt x="5" y="7"/>
                  </a:lnTo>
                  <a:lnTo>
                    <a:pt x="5" y="4"/>
                  </a:lnTo>
                  <a:lnTo>
                    <a:pt x="5" y="2"/>
                  </a:lnTo>
                  <a:lnTo>
                    <a:pt x="2" y="2"/>
                  </a:lnTo>
                  <a:lnTo>
                    <a:pt x="2" y="4"/>
                  </a:lnTo>
                  <a:lnTo>
                    <a:pt x="2" y="7"/>
                  </a:lnTo>
                  <a:lnTo>
                    <a:pt x="0" y="7"/>
                  </a:lnTo>
                  <a:lnTo>
                    <a:pt x="0" y="4"/>
                  </a:lnTo>
                  <a:lnTo>
                    <a:pt x="2" y="4"/>
                  </a:lnTo>
                  <a:lnTo>
                    <a:pt x="2" y="2"/>
                  </a:lnTo>
                  <a:lnTo>
                    <a:pt x="5" y="2"/>
                  </a:lnTo>
                  <a:lnTo>
                    <a:pt x="5" y="0"/>
                  </a:lnTo>
                  <a:lnTo>
                    <a:pt x="7" y="0"/>
                  </a:lnTo>
                  <a:lnTo>
                    <a:pt x="1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0" name="Freeform 52264"/>
            <p:cNvSpPr>
              <a:spLocks noEditPoints="1"/>
            </p:cNvSpPr>
            <p:nvPr/>
          </p:nvSpPr>
          <p:spPr bwMode="auto">
            <a:xfrm>
              <a:off x="2333623" y="4302140"/>
              <a:ext cx="482600" cy="606428"/>
            </a:xfrm>
            <a:custGeom>
              <a:avLst/>
              <a:gdLst>
                <a:gd name="T0" fmla="*/ 221 w 304"/>
                <a:gd name="T1" fmla="*/ 33 h 382"/>
                <a:gd name="T2" fmla="*/ 226 w 304"/>
                <a:gd name="T3" fmla="*/ 33 h 382"/>
                <a:gd name="T4" fmla="*/ 240 w 304"/>
                <a:gd name="T5" fmla="*/ 38 h 382"/>
                <a:gd name="T6" fmla="*/ 261 w 304"/>
                <a:gd name="T7" fmla="*/ 50 h 382"/>
                <a:gd name="T8" fmla="*/ 264 w 304"/>
                <a:gd name="T9" fmla="*/ 54 h 382"/>
                <a:gd name="T10" fmla="*/ 264 w 304"/>
                <a:gd name="T11" fmla="*/ 64 h 382"/>
                <a:gd name="T12" fmla="*/ 280 w 304"/>
                <a:gd name="T13" fmla="*/ 97 h 382"/>
                <a:gd name="T14" fmla="*/ 287 w 304"/>
                <a:gd name="T15" fmla="*/ 133 h 382"/>
                <a:gd name="T16" fmla="*/ 287 w 304"/>
                <a:gd name="T17" fmla="*/ 164 h 382"/>
                <a:gd name="T18" fmla="*/ 302 w 304"/>
                <a:gd name="T19" fmla="*/ 185 h 382"/>
                <a:gd name="T20" fmla="*/ 287 w 304"/>
                <a:gd name="T21" fmla="*/ 204 h 382"/>
                <a:gd name="T22" fmla="*/ 271 w 304"/>
                <a:gd name="T23" fmla="*/ 211 h 382"/>
                <a:gd name="T24" fmla="*/ 238 w 304"/>
                <a:gd name="T25" fmla="*/ 228 h 382"/>
                <a:gd name="T26" fmla="*/ 209 w 304"/>
                <a:gd name="T27" fmla="*/ 235 h 382"/>
                <a:gd name="T28" fmla="*/ 221 w 304"/>
                <a:gd name="T29" fmla="*/ 266 h 382"/>
                <a:gd name="T30" fmla="*/ 242 w 304"/>
                <a:gd name="T31" fmla="*/ 292 h 382"/>
                <a:gd name="T32" fmla="*/ 264 w 304"/>
                <a:gd name="T33" fmla="*/ 316 h 382"/>
                <a:gd name="T34" fmla="*/ 233 w 304"/>
                <a:gd name="T35" fmla="*/ 337 h 382"/>
                <a:gd name="T36" fmla="*/ 231 w 304"/>
                <a:gd name="T37" fmla="*/ 370 h 382"/>
                <a:gd name="T38" fmla="*/ 202 w 304"/>
                <a:gd name="T39" fmla="*/ 366 h 382"/>
                <a:gd name="T40" fmla="*/ 164 w 304"/>
                <a:gd name="T41" fmla="*/ 373 h 382"/>
                <a:gd name="T42" fmla="*/ 145 w 304"/>
                <a:gd name="T43" fmla="*/ 382 h 382"/>
                <a:gd name="T44" fmla="*/ 131 w 304"/>
                <a:gd name="T45" fmla="*/ 366 h 382"/>
                <a:gd name="T46" fmla="*/ 91 w 304"/>
                <a:gd name="T47" fmla="*/ 358 h 382"/>
                <a:gd name="T48" fmla="*/ 76 w 304"/>
                <a:gd name="T49" fmla="*/ 368 h 382"/>
                <a:gd name="T50" fmla="*/ 57 w 304"/>
                <a:gd name="T51" fmla="*/ 347 h 382"/>
                <a:gd name="T52" fmla="*/ 76 w 304"/>
                <a:gd name="T53" fmla="*/ 301 h 382"/>
                <a:gd name="T54" fmla="*/ 41 w 304"/>
                <a:gd name="T55" fmla="*/ 294 h 382"/>
                <a:gd name="T56" fmla="*/ 19 w 304"/>
                <a:gd name="T57" fmla="*/ 278 h 382"/>
                <a:gd name="T58" fmla="*/ 10 w 304"/>
                <a:gd name="T59" fmla="*/ 249 h 382"/>
                <a:gd name="T60" fmla="*/ 12 w 304"/>
                <a:gd name="T61" fmla="*/ 228 h 382"/>
                <a:gd name="T62" fmla="*/ 0 w 304"/>
                <a:gd name="T63" fmla="*/ 199 h 382"/>
                <a:gd name="T64" fmla="*/ 3 w 304"/>
                <a:gd name="T65" fmla="*/ 166 h 382"/>
                <a:gd name="T66" fmla="*/ 31 w 304"/>
                <a:gd name="T67" fmla="*/ 156 h 382"/>
                <a:gd name="T68" fmla="*/ 29 w 304"/>
                <a:gd name="T69" fmla="*/ 126 h 382"/>
                <a:gd name="T70" fmla="*/ 50 w 304"/>
                <a:gd name="T71" fmla="*/ 92 h 382"/>
                <a:gd name="T72" fmla="*/ 48 w 304"/>
                <a:gd name="T73" fmla="*/ 69 h 382"/>
                <a:gd name="T74" fmla="*/ 79 w 304"/>
                <a:gd name="T75" fmla="*/ 83 h 382"/>
                <a:gd name="T76" fmla="*/ 95 w 304"/>
                <a:gd name="T77" fmla="*/ 99 h 382"/>
                <a:gd name="T78" fmla="*/ 88 w 304"/>
                <a:gd name="T79" fmla="*/ 71 h 382"/>
                <a:gd name="T80" fmla="*/ 117 w 304"/>
                <a:gd name="T81" fmla="*/ 64 h 382"/>
                <a:gd name="T82" fmla="*/ 143 w 304"/>
                <a:gd name="T83" fmla="*/ 83 h 382"/>
                <a:gd name="T84" fmla="*/ 183 w 304"/>
                <a:gd name="T85" fmla="*/ 99 h 382"/>
                <a:gd name="T86" fmla="*/ 202 w 304"/>
                <a:gd name="T87" fmla="*/ 123 h 382"/>
                <a:gd name="T88" fmla="*/ 181 w 304"/>
                <a:gd name="T89" fmla="*/ 99 h 382"/>
                <a:gd name="T90" fmla="*/ 140 w 304"/>
                <a:gd name="T91" fmla="*/ 83 h 382"/>
                <a:gd name="T92" fmla="*/ 112 w 304"/>
                <a:gd name="T93" fmla="*/ 57 h 382"/>
                <a:gd name="T94" fmla="*/ 143 w 304"/>
                <a:gd name="T95" fmla="*/ 35 h 382"/>
                <a:gd name="T96" fmla="*/ 174 w 304"/>
                <a:gd name="T97" fmla="*/ 33 h 382"/>
                <a:gd name="T98" fmla="*/ 166 w 304"/>
                <a:gd name="T99" fmla="*/ 57 h 382"/>
                <a:gd name="T100" fmla="*/ 183 w 304"/>
                <a:gd name="T101" fmla="*/ 59 h 382"/>
                <a:gd name="T102" fmla="*/ 195 w 304"/>
                <a:gd name="T103" fmla="*/ 45 h 382"/>
                <a:gd name="T104" fmla="*/ 219 w 304"/>
                <a:gd name="T105" fmla="*/ 31 h 382"/>
                <a:gd name="T106" fmla="*/ 100 w 304"/>
                <a:gd name="T107" fmla="*/ 9 h 382"/>
                <a:gd name="T108" fmla="*/ 133 w 304"/>
                <a:gd name="T109" fmla="*/ 16 h 382"/>
                <a:gd name="T110" fmla="*/ 124 w 304"/>
                <a:gd name="T111" fmla="*/ 28 h 382"/>
                <a:gd name="T112" fmla="*/ 131 w 304"/>
                <a:gd name="T113" fmla="*/ 28 h 382"/>
                <a:gd name="T114" fmla="*/ 114 w 304"/>
                <a:gd name="T115" fmla="*/ 50 h 382"/>
                <a:gd name="T116" fmla="*/ 102 w 304"/>
                <a:gd name="T117" fmla="*/ 35 h 382"/>
                <a:gd name="T118" fmla="*/ 95 w 304"/>
                <a:gd name="T119" fmla="*/ 38 h 382"/>
                <a:gd name="T120" fmla="*/ 100 w 304"/>
                <a:gd name="T121" fmla="*/ 26 h 382"/>
                <a:gd name="T122" fmla="*/ 86 w 304"/>
                <a:gd name="T12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2">
                  <a:moveTo>
                    <a:pt x="93" y="361"/>
                  </a:moveTo>
                  <a:lnTo>
                    <a:pt x="95" y="361"/>
                  </a:lnTo>
                  <a:lnTo>
                    <a:pt x="93" y="361"/>
                  </a:lnTo>
                  <a:lnTo>
                    <a:pt x="93" y="363"/>
                  </a:lnTo>
                  <a:lnTo>
                    <a:pt x="93" y="361"/>
                  </a:lnTo>
                  <a:close/>
                  <a:moveTo>
                    <a:pt x="223" y="31"/>
                  </a:moveTo>
                  <a:lnTo>
                    <a:pt x="226" y="31"/>
                  </a:lnTo>
                  <a:lnTo>
                    <a:pt x="228" y="31"/>
                  </a:lnTo>
                  <a:lnTo>
                    <a:pt x="231" y="31"/>
                  </a:lnTo>
                  <a:lnTo>
                    <a:pt x="233" y="31"/>
                  </a:lnTo>
                  <a:lnTo>
                    <a:pt x="235" y="31"/>
                  </a:lnTo>
                  <a:lnTo>
                    <a:pt x="233" y="31"/>
                  </a:lnTo>
                  <a:lnTo>
                    <a:pt x="233" y="33"/>
                  </a:lnTo>
                  <a:lnTo>
                    <a:pt x="231" y="33"/>
                  </a:lnTo>
                  <a:lnTo>
                    <a:pt x="228" y="33"/>
                  </a:lnTo>
                  <a:lnTo>
                    <a:pt x="226" y="33"/>
                  </a:lnTo>
                  <a:lnTo>
                    <a:pt x="226" y="31"/>
                  </a:lnTo>
                  <a:lnTo>
                    <a:pt x="226" y="33"/>
                  </a:lnTo>
                  <a:lnTo>
                    <a:pt x="226" y="31"/>
                  </a:lnTo>
                  <a:lnTo>
                    <a:pt x="226" y="33"/>
                  </a:lnTo>
                  <a:lnTo>
                    <a:pt x="226" y="31"/>
                  </a:lnTo>
                  <a:lnTo>
                    <a:pt x="226" y="33"/>
                  </a:lnTo>
                  <a:lnTo>
                    <a:pt x="223" y="33"/>
                  </a:lnTo>
                  <a:lnTo>
                    <a:pt x="226" y="33"/>
                  </a:lnTo>
                  <a:lnTo>
                    <a:pt x="223" y="33"/>
                  </a:lnTo>
                  <a:lnTo>
                    <a:pt x="221" y="33"/>
                  </a:lnTo>
                  <a:lnTo>
                    <a:pt x="223" y="33"/>
                  </a:lnTo>
                  <a:lnTo>
                    <a:pt x="221" y="33"/>
                  </a:lnTo>
                  <a:lnTo>
                    <a:pt x="221" y="35"/>
                  </a:lnTo>
                  <a:lnTo>
                    <a:pt x="219" y="35"/>
                  </a:lnTo>
                  <a:lnTo>
                    <a:pt x="221" y="35"/>
                  </a:lnTo>
                  <a:lnTo>
                    <a:pt x="219" y="35"/>
                  </a:lnTo>
                  <a:lnTo>
                    <a:pt x="216" y="35"/>
                  </a:lnTo>
                  <a:lnTo>
                    <a:pt x="216" y="38"/>
                  </a:lnTo>
                  <a:lnTo>
                    <a:pt x="216" y="35"/>
                  </a:lnTo>
                  <a:lnTo>
                    <a:pt x="216" y="38"/>
                  </a:lnTo>
                  <a:lnTo>
                    <a:pt x="214" y="38"/>
                  </a:lnTo>
                  <a:lnTo>
                    <a:pt x="214" y="40"/>
                  </a:lnTo>
                  <a:lnTo>
                    <a:pt x="216" y="40"/>
                  </a:lnTo>
                  <a:lnTo>
                    <a:pt x="214" y="40"/>
                  </a:lnTo>
                  <a:lnTo>
                    <a:pt x="216" y="40"/>
                  </a:lnTo>
                  <a:lnTo>
                    <a:pt x="219" y="40"/>
                  </a:lnTo>
                  <a:lnTo>
                    <a:pt x="216" y="40"/>
                  </a:lnTo>
                  <a:lnTo>
                    <a:pt x="216" y="38"/>
                  </a:lnTo>
                  <a:lnTo>
                    <a:pt x="219" y="38"/>
                  </a:lnTo>
                  <a:lnTo>
                    <a:pt x="219" y="35"/>
                  </a:lnTo>
                  <a:lnTo>
                    <a:pt x="219" y="38"/>
                  </a:lnTo>
                  <a:lnTo>
                    <a:pt x="221" y="38"/>
                  </a:lnTo>
                  <a:lnTo>
                    <a:pt x="221" y="35"/>
                  </a:lnTo>
                  <a:lnTo>
                    <a:pt x="223" y="35"/>
                  </a:lnTo>
                  <a:lnTo>
                    <a:pt x="223" y="33"/>
                  </a:lnTo>
                  <a:lnTo>
                    <a:pt x="226" y="33"/>
                  </a:lnTo>
                  <a:lnTo>
                    <a:pt x="223" y="33"/>
                  </a:lnTo>
                  <a:lnTo>
                    <a:pt x="226" y="33"/>
                  </a:lnTo>
                  <a:lnTo>
                    <a:pt x="226" y="35"/>
                  </a:lnTo>
                  <a:lnTo>
                    <a:pt x="226" y="33"/>
                  </a:lnTo>
                  <a:lnTo>
                    <a:pt x="226" y="35"/>
                  </a:lnTo>
                  <a:lnTo>
                    <a:pt x="228" y="35"/>
                  </a:lnTo>
                  <a:lnTo>
                    <a:pt x="228" y="33"/>
                  </a:lnTo>
                  <a:lnTo>
                    <a:pt x="228" y="35"/>
                  </a:lnTo>
                  <a:lnTo>
                    <a:pt x="228" y="33"/>
                  </a:lnTo>
                  <a:lnTo>
                    <a:pt x="228" y="35"/>
                  </a:lnTo>
                  <a:lnTo>
                    <a:pt x="231" y="35"/>
                  </a:lnTo>
                  <a:lnTo>
                    <a:pt x="233" y="35"/>
                  </a:lnTo>
                  <a:lnTo>
                    <a:pt x="233" y="33"/>
                  </a:lnTo>
                  <a:lnTo>
                    <a:pt x="235" y="33"/>
                  </a:lnTo>
                  <a:lnTo>
                    <a:pt x="235" y="31"/>
                  </a:lnTo>
                  <a:lnTo>
                    <a:pt x="238" y="31"/>
                  </a:lnTo>
                  <a:lnTo>
                    <a:pt x="238" y="33"/>
                  </a:lnTo>
                  <a:lnTo>
                    <a:pt x="235" y="33"/>
                  </a:lnTo>
                  <a:lnTo>
                    <a:pt x="238" y="33"/>
                  </a:lnTo>
                  <a:lnTo>
                    <a:pt x="238" y="35"/>
                  </a:lnTo>
                  <a:lnTo>
                    <a:pt x="238" y="33"/>
                  </a:lnTo>
                  <a:lnTo>
                    <a:pt x="238" y="35"/>
                  </a:lnTo>
                  <a:lnTo>
                    <a:pt x="238" y="38"/>
                  </a:lnTo>
                  <a:lnTo>
                    <a:pt x="240" y="38"/>
                  </a:lnTo>
                  <a:lnTo>
                    <a:pt x="238" y="38"/>
                  </a:lnTo>
                  <a:lnTo>
                    <a:pt x="240" y="38"/>
                  </a:lnTo>
                  <a:lnTo>
                    <a:pt x="240" y="40"/>
                  </a:lnTo>
                  <a:lnTo>
                    <a:pt x="242" y="40"/>
                  </a:lnTo>
                  <a:lnTo>
                    <a:pt x="240" y="40"/>
                  </a:lnTo>
                  <a:lnTo>
                    <a:pt x="242" y="40"/>
                  </a:lnTo>
                  <a:lnTo>
                    <a:pt x="242" y="42"/>
                  </a:lnTo>
                  <a:lnTo>
                    <a:pt x="245" y="42"/>
                  </a:lnTo>
                  <a:lnTo>
                    <a:pt x="245" y="40"/>
                  </a:lnTo>
                  <a:lnTo>
                    <a:pt x="245" y="42"/>
                  </a:lnTo>
                  <a:lnTo>
                    <a:pt x="247" y="42"/>
                  </a:lnTo>
                  <a:lnTo>
                    <a:pt x="247" y="45"/>
                  </a:lnTo>
                  <a:lnTo>
                    <a:pt x="250" y="45"/>
                  </a:lnTo>
                  <a:lnTo>
                    <a:pt x="247" y="45"/>
                  </a:lnTo>
                  <a:lnTo>
                    <a:pt x="247" y="47"/>
                  </a:lnTo>
                  <a:lnTo>
                    <a:pt x="250" y="47"/>
                  </a:lnTo>
                  <a:lnTo>
                    <a:pt x="250" y="45"/>
                  </a:lnTo>
                  <a:lnTo>
                    <a:pt x="250" y="47"/>
                  </a:lnTo>
                  <a:lnTo>
                    <a:pt x="250" y="50"/>
                  </a:lnTo>
                  <a:lnTo>
                    <a:pt x="252" y="50"/>
                  </a:lnTo>
                  <a:lnTo>
                    <a:pt x="252" y="47"/>
                  </a:lnTo>
                  <a:lnTo>
                    <a:pt x="254" y="47"/>
                  </a:lnTo>
                  <a:lnTo>
                    <a:pt x="257" y="47"/>
                  </a:lnTo>
                  <a:lnTo>
                    <a:pt x="257" y="45"/>
                  </a:lnTo>
                  <a:lnTo>
                    <a:pt x="259" y="45"/>
                  </a:lnTo>
                  <a:lnTo>
                    <a:pt x="259" y="47"/>
                  </a:lnTo>
                  <a:lnTo>
                    <a:pt x="261" y="47"/>
                  </a:lnTo>
                  <a:lnTo>
                    <a:pt x="261" y="50"/>
                  </a:lnTo>
                  <a:lnTo>
                    <a:pt x="261" y="52"/>
                  </a:lnTo>
                  <a:lnTo>
                    <a:pt x="259" y="52"/>
                  </a:lnTo>
                  <a:lnTo>
                    <a:pt x="261" y="52"/>
                  </a:lnTo>
                  <a:lnTo>
                    <a:pt x="261" y="54"/>
                  </a:lnTo>
                  <a:lnTo>
                    <a:pt x="264" y="54"/>
                  </a:lnTo>
                  <a:lnTo>
                    <a:pt x="264" y="57"/>
                  </a:lnTo>
                  <a:lnTo>
                    <a:pt x="266" y="57"/>
                  </a:lnTo>
                  <a:lnTo>
                    <a:pt x="264" y="59"/>
                  </a:lnTo>
                  <a:lnTo>
                    <a:pt x="266" y="59"/>
                  </a:lnTo>
                  <a:lnTo>
                    <a:pt x="266" y="57"/>
                  </a:lnTo>
                  <a:lnTo>
                    <a:pt x="266" y="54"/>
                  </a:lnTo>
                  <a:lnTo>
                    <a:pt x="269" y="54"/>
                  </a:lnTo>
                  <a:lnTo>
                    <a:pt x="266" y="54"/>
                  </a:lnTo>
                  <a:lnTo>
                    <a:pt x="266" y="57"/>
                  </a:lnTo>
                  <a:lnTo>
                    <a:pt x="269" y="57"/>
                  </a:lnTo>
                  <a:lnTo>
                    <a:pt x="269" y="54"/>
                  </a:lnTo>
                  <a:lnTo>
                    <a:pt x="269" y="57"/>
                  </a:lnTo>
                  <a:lnTo>
                    <a:pt x="271" y="57"/>
                  </a:lnTo>
                  <a:lnTo>
                    <a:pt x="271" y="54"/>
                  </a:lnTo>
                  <a:lnTo>
                    <a:pt x="271" y="52"/>
                  </a:lnTo>
                  <a:lnTo>
                    <a:pt x="269" y="52"/>
                  </a:lnTo>
                  <a:lnTo>
                    <a:pt x="269" y="50"/>
                  </a:lnTo>
                  <a:lnTo>
                    <a:pt x="266" y="50"/>
                  </a:lnTo>
                  <a:lnTo>
                    <a:pt x="266" y="52"/>
                  </a:lnTo>
                  <a:lnTo>
                    <a:pt x="264" y="52"/>
                  </a:lnTo>
                  <a:lnTo>
                    <a:pt x="264" y="54"/>
                  </a:lnTo>
                  <a:lnTo>
                    <a:pt x="264" y="52"/>
                  </a:lnTo>
                  <a:lnTo>
                    <a:pt x="261" y="52"/>
                  </a:lnTo>
                  <a:lnTo>
                    <a:pt x="261" y="50"/>
                  </a:lnTo>
                  <a:lnTo>
                    <a:pt x="261" y="47"/>
                  </a:lnTo>
                  <a:lnTo>
                    <a:pt x="261" y="45"/>
                  </a:lnTo>
                  <a:lnTo>
                    <a:pt x="264" y="47"/>
                  </a:lnTo>
                  <a:lnTo>
                    <a:pt x="264" y="50"/>
                  </a:lnTo>
                  <a:lnTo>
                    <a:pt x="266" y="50"/>
                  </a:lnTo>
                  <a:lnTo>
                    <a:pt x="269" y="50"/>
                  </a:lnTo>
                  <a:lnTo>
                    <a:pt x="271" y="52"/>
                  </a:lnTo>
                  <a:lnTo>
                    <a:pt x="273" y="54"/>
                  </a:lnTo>
                  <a:lnTo>
                    <a:pt x="276" y="57"/>
                  </a:lnTo>
                  <a:lnTo>
                    <a:pt x="276" y="59"/>
                  </a:lnTo>
                  <a:lnTo>
                    <a:pt x="273" y="59"/>
                  </a:lnTo>
                  <a:lnTo>
                    <a:pt x="271" y="59"/>
                  </a:lnTo>
                  <a:lnTo>
                    <a:pt x="269" y="59"/>
                  </a:lnTo>
                  <a:lnTo>
                    <a:pt x="269" y="61"/>
                  </a:lnTo>
                  <a:lnTo>
                    <a:pt x="266" y="61"/>
                  </a:lnTo>
                  <a:lnTo>
                    <a:pt x="264" y="61"/>
                  </a:lnTo>
                  <a:lnTo>
                    <a:pt x="264" y="59"/>
                  </a:lnTo>
                  <a:lnTo>
                    <a:pt x="261" y="59"/>
                  </a:lnTo>
                  <a:lnTo>
                    <a:pt x="261" y="61"/>
                  </a:lnTo>
                  <a:lnTo>
                    <a:pt x="264" y="61"/>
                  </a:lnTo>
                  <a:lnTo>
                    <a:pt x="261" y="61"/>
                  </a:lnTo>
                  <a:lnTo>
                    <a:pt x="264" y="61"/>
                  </a:lnTo>
                  <a:lnTo>
                    <a:pt x="264" y="64"/>
                  </a:lnTo>
                  <a:lnTo>
                    <a:pt x="266" y="64"/>
                  </a:lnTo>
                  <a:lnTo>
                    <a:pt x="269" y="64"/>
                  </a:lnTo>
                  <a:lnTo>
                    <a:pt x="269" y="66"/>
                  </a:lnTo>
                  <a:lnTo>
                    <a:pt x="271" y="66"/>
                  </a:lnTo>
                  <a:lnTo>
                    <a:pt x="273" y="66"/>
                  </a:lnTo>
                  <a:lnTo>
                    <a:pt x="276" y="66"/>
                  </a:lnTo>
                  <a:lnTo>
                    <a:pt x="278" y="66"/>
                  </a:lnTo>
                  <a:lnTo>
                    <a:pt x="278" y="69"/>
                  </a:lnTo>
                  <a:lnTo>
                    <a:pt x="276" y="69"/>
                  </a:lnTo>
                  <a:lnTo>
                    <a:pt x="278" y="69"/>
                  </a:lnTo>
                  <a:lnTo>
                    <a:pt x="278" y="71"/>
                  </a:lnTo>
                  <a:lnTo>
                    <a:pt x="278" y="73"/>
                  </a:lnTo>
                  <a:lnTo>
                    <a:pt x="278" y="76"/>
                  </a:lnTo>
                  <a:lnTo>
                    <a:pt x="278" y="78"/>
                  </a:lnTo>
                  <a:lnTo>
                    <a:pt x="280" y="78"/>
                  </a:lnTo>
                  <a:lnTo>
                    <a:pt x="280" y="80"/>
                  </a:lnTo>
                  <a:lnTo>
                    <a:pt x="280" y="83"/>
                  </a:lnTo>
                  <a:lnTo>
                    <a:pt x="280" y="85"/>
                  </a:lnTo>
                  <a:lnTo>
                    <a:pt x="283" y="85"/>
                  </a:lnTo>
                  <a:lnTo>
                    <a:pt x="280" y="85"/>
                  </a:lnTo>
                  <a:lnTo>
                    <a:pt x="283" y="88"/>
                  </a:lnTo>
                  <a:lnTo>
                    <a:pt x="283" y="90"/>
                  </a:lnTo>
                  <a:lnTo>
                    <a:pt x="283" y="92"/>
                  </a:lnTo>
                  <a:lnTo>
                    <a:pt x="280" y="92"/>
                  </a:lnTo>
                  <a:lnTo>
                    <a:pt x="280" y="95"/>
                  </a:lnTo>
                  <a:lnTo>
                    <a:pt x="280" y="97"/>
                  </a:lnTo>
                  <a:lnTo>
                    <a:pt x="280" y="99"/>
                  </a:lnTo>
                  <a:lnTo>
                    <a:pt x="280" y="102"/>
                  </a:lnTo>
                  <a:lnTo>
                    <a:pt x="278" y="102"/>
                  </a:lnTo>
                  <a:lnTo>
                    <a:pt x="278" y="104"/>
                  </a:lnTo>
                  <a:lnTo>
                    <a:pt x="276" y="104"/>
                  </a:lnTo>
                  <a:lnTo>
                    <a:pt x="273" y="104"/>
                  </a:lnTo>
                  <a:lnTo>
                    <a:pt x="273" y="107"/>
                  </a:lnTo>
                  <a:lnTo>
                    <a:pt x="273" y="109"/>
                  </a:lnTo>
                  <a:lnTo>
                    <a:pt x="273" y="111"/>
                  </a:lnTo>
                  <a:lnTo>
                    <a:pt x="276" y="111"/>
                  </a:lnTo>
                  <a:lnTo>
                    <a:pt x="276" y="114"/>
                  </a:lnTo>
                  <a:lnTo>
                    <a:pt x="278" y="114"/>
                  </a:lnTo>
                  <a:lnTo>
                    <a:pt x="278" y="116"/>
                  </a:lnTo>
                  <a:lnTo>
                    <a:pt x="280" y="116"/>
                  </a:lnTo>
                  <a:lnTo>
                    <a:pt x="283" y="118"/>
                  </a:lnTo>
                  <a:lnTo>
                    <a:pt x="283" y="121"/>
                  </a:lnTo>
                  <a:lnTo>
                    <a:pt x="285" y="121"/>
                  </a:lnTo>
                  <a:lnTo>
                    <a:pt x="287" y="121"/>
                  </a:lnTo>
                  <a:lnTo>
                    <a:pt x="287" y="123"/>
                  </a:lnTo>
                  <a:lnTo>
                    <a:pt x="290" y="123"/>
                  </a:lnTo>
                  <a:lnTo>
                    <a:pt x="290" y="126"/>
                  </a:lnTo>
                  <a:lnTo>
                    <a:pt x="287" y="126"/>
                  </a:lnTo>
                  <a:lnTo>
                    <a:pt x="290" y="128"/>
                  </a:lnTo>
                  <a:lnTo>
                    <a:pt x="290" y="130"/>
                  </a:lnTo>
                  <a:lnTo>
                    <a:pt x="287" y="130"/>
                  </a:lnTo>
                  <a:lnTo>
                    <a:pt x="287" y="133"/>
                  </a:lnTo>
                  <a:lnTo>
                    <a:pt x="285" y="133"/>
                  </a:lnTo>
                  <a:lnTo>
                    <a:pt x="287" y="135"/>
                  </a:lnTo>
                  <a:lnTo>
                    <a:pt x="287" y="137"/>
                  </a:lnTo>
                  <a:lnTo>
                    <a:pt x="287" y="140"/>
                  </a:lnTo>
                  <a:lnTo>
                    <a:pt x="290" y="140"/>
                  </a:lnTo>
                  <a:lnTo>
                    <a:pt x="292" y="140"/>
                  </a:lnTo>
                  <a:lnTo>
                    <a:pt x="292" y="142"/>
                  </a:lnTo>
                  <a:lnTo>
                    <a:pt x="292" y="145"/>
                  </a:lnTo>
                  <a:lnTo>
                    <a:pt x="290" y="145"/>
                  </a:lnTo>
                  <a:lnTo>
                    <a:pt x="290" y="147"/>
                  </a:lnTo>
                  <a:lnTo>
                    <a:pt x="292" y="147"/>
                  </a:lnTo>
                  <a:lnTo>
                    <a:pt x="290" y="147"/>
                  </a:lnTo>
                  <a:lnTo>
                    <a:pt x="292" y="147"/>
                  </a:lnTo>
                  <a:lnTo>
                    <a:pt x="292" y="149"/>
                  </a:lnTo>
                  <a:lnTo>
                    <a:pt x="295" y="149"/>
                  </a:lnTo>
                  <a:lnTo>
                    <a:pt x="292" y="149"/>
                  </a:lnTo>
                  <a:lnTo>
                    <a:pt x="292" y="152"/>
                  </a:lnTo>
                  <a:lnTo>
                    <a:pt x="292" y="154"/>
                  </a:lnTo>
                  <a:lnTo>
                    <a:pt x="292" y="156"/>
                  </a:lnTo>
                  <a:lnTo>
                    <a:pt x="292" y="159"/>
                  </a:lnTo>
                  <a:lnTo>
                    <a:pt x="290" y="159"/>
                  </a:lnTo>
                  <a:lnTo>
                    <a:pt x="290" y="161"/>
                  </a:lnTo>
                  <a:lnTo>
                    <a:pt x="287" y="161"/>
                  </a:lnTo>
                  <a:lnTo>
                    <a:pt x="290" y="161"/>
                  </a:lnTo>
                  <a:lnTo>
                    <a:pt x="287" y="161"/>
                  </a:lnTo>
                  <a:lnTo>
                    <a:pt x="287" y="164"/>
                  </a:lnTo>
                  <a:lnTo>
                    <a:pt x="290" y="164"/>
                  </a:lnTo>
                  <a:lnTo>
                    <a:pt x="290" y="166"/>
                  </a:lnTo>
                  <a:lnTo>
                    <a:pt x="292" y="166"/>
                  </a:lnTo>
                  <a:lnTo>
                    <a:pt x="292" y="168"/>
                  </a:lnTo>
                  <a:lnTo>
                    <a:pt x="295" y="171"/>
                  </a:lnTo>
                  <a:lnTo>
                    <a:pt x="292" y="171"/>
                  </a:lnTo>
                  <a:lnTo>
                    <a:pt x="295" y="171"/>
                  </a:lnTo>
                  <a:lnTo>
                    <a:pt x="292" y="171"/>
                  </a:lnTo>
                  <a:lnTo>
                    <a:pt x="295" y="171"/>
                  </a:lnTo>
                  <a:lnTo>
                    <a:pt x="295" y="173"/>
                  </a:lnTo>
                  <a:lnTo>
                    <a:pt x="292" y="173"/>
                  </a:lnTo>
                  <a:lnTo>
                    <a:pt x="292" y="175"/>
                  </a:lnTo>
                  <a:lnTo>
                    <a:pt x="295" y="175"/>
                  </a:lnTo>
                  <a:lnTo>
                    <a:pt x="295" y="178"/>
                  </a:lnTo>
                  <a:lnTo>
                    <a:pt x="295" y="175"/>
                  </a:lnTo>
                  <a:lnTo>
                    <a:pt x="295" y="178"/>
                  </a:lnTo>
                  <a:lnTo>
                    <a:pt x="295" y="175"/>
                  </a:lnTo>
                  <a:lnTo>
                    <a:pt x="295" y="178"/>
                  </a:lnTo>
                  <a:lnTo>
                    <a:pt x="297" y="178"/>
                  </a:lnTo>
                  <a:lnTo>
                    <a:pt x="299" y="178"/>
                  </a:lnTo>
                  <a:lnTo>
                    <a:pt x="299" y="180"/>
                  </a:lnTo>
                  <a:lnTo>
                    <a:pt x="302" y="180"/>
                  </a:lnTo>
                  <a:lnTo>
                    <a:pt x="299" y="180"/>
                  </a:lnTo>
                  <a:lnTo>
                    <a:pt x="299" y="183"/>
                  </a:lnTo>
                  <a:lnTo>
                    <a:pt x="302" y="183"/>
                  </a:lnTo>
                  <a:lnTo>
                    <a:pt x="302" y="185"/>
                  </a:lnTo>
                  <a:lnTo>
                    <a:pt x="299" y="185"/>
                  </a:lnTo>
                  <a:lnTo>
                    <a:pt x="302" y="185"/>
                  </a:lnTo>
                  <a:lnTo>
                    <a:pt x="302" y="187"/>
                  </a:lnTo>
                  <a:lnTo>
                    <a:pt x="302" y="190"/>
                  </a:lnTo>
                  <a:lnTo>
                    <a:pt x="304" y="190"/>
                  </a:lnTo>
                  <a:lnTo>
                    <a:pt x="302" y="190"/>
                  </a:lnTo>
                  <a:lnTo>
                    <a:pt x="302" y="192"/>
                  </a:lnTo>
                  <a:lnTo>
                    <a:pt x="302" y="194"/>
                  </a:lnTo>
                  <a:lnTo>
                    <a:pt x="302" y="197"/>
                  </a:lnTo>
                  <a:lnTo>
                    <a:pt x="302" y="199"/>
                  </a:lnTo>
                  <a:lnTo>
                    <a:pt x="299" y="199"/>
                  </a:lnTo>
                  <a:lnTo>
                    <a:pt x="302" y="199"/>
                  </a:lnTo>
                  <a:lnTo>
                    <a:pt x="299" y="199"/>
                  </a:lnTo>
                  <a:lnTo>
                    <a:pt x="299" y="202"/>
                  </a:lnTo>
                  <a:lnTo>
                    <a:pt x="299" y="204"/>
                  </a:lnTo>
                  <a:lnTo>
                    <a:pt x="297" y="204"/>
                  </a:lnTo>
                  <a:lnTo>
                    <a:pt x="297" y="206"/>
                  </a:lnTo>
                  <a:lnTo>
                    <a:pt x="295" y="206"/>
                  </a:lnTo>
                  <a:lnTo>
                    <a:pt x="295" y="209"/>
                  </a:lnTo>
                  <a:lnTo>
                    <a:pt x="295" y="211"/>
                  </a:lnTo>
                  <a:lnTo>
                    <a:pt x="292" y="211"/>
                  </a:lnTo>
                  <a:lnTo>
                    <a:pt x="292" y="209"/>
                  </a:lnTo>
                  <a:lnTo>
                    <a:pt x="290" y="209"/>
                  </a:lnTo>
                  <a:lnTo>
                    <a:pt x="290" y="206"/>
                  </a:lnTo>
                  <a:lnTo>
                    <a:pt x="287" y="206"/>
                  </a:lnTo>
                  <a:lnTo>
                    <a:pt x="287" y="204"/>
                  </a:lnTo>
                  <a:lnTo>
                    <a:pt x="287" y="202"/>
                  </a:lnTo>
                  <a:lnTo>
                    <a:pt x="285" y="202"/>
                  </a:lnTo>
                  <a:lnTo>
                    <a:pt x="285" y="199"/>
                  </a:lnTo>
                  <a:lnTo>
                    <a:pt x="283" y="199"/>
                  </a:lnTo>
                  <a:lnTo>
                    <a:pt x="283" y="202"/>
                  </a:lnTo>
                  <a:lnTo>
                    <a:pt x="280" y="202"/>
                  </a:lnTo>
                  <a:lnTo>
                    <a:pt x="280" y="199"/>
                  </a:lnTo>
                  <a:lnTo>
                    <a:pt x="278" y="199"/>
                  </a:lnTo>
                  <a:lnTo>
                    <a:pt x="278" y="202"/>
                  </a:lnTo>
                  <a:lnTo>
                    <a:pt x="278" y="204"/>
                  </a:lnTo>
                  <a:lnTo>
                    <a:pt x="280" y="202"/>
                  </a:lnTo>
                  <a:lnTo>
                    <a:pt x="280" y="204"/>
                  </a:lnTo>
                  <a:lnTo>
                    <a:pt x="278" y="204"/>
                  </a:lnTo>
                  <a:lnTo>
                    <a:pt x="280" y="204"/>
                  </a:lnTo>
                  <a:lnTo>
                    <a:pt x="283" y="204"/>
                  </a:lnTo>
                  <a:lnTo>
                    <a:pt x="283" y="206"/>
                  </a:lnTo>
                  <a:lnTo>
                    <a:pt x="280" y="206"/>
                  </a:lnTo>
                  <a:lnTo>
                    <a:pt x="283" y="206"/>
                  </a:lnTo>
                  <a:lnTo>
                    <a:pt x="280" y="206"/>
                  </a:lnTo>
                  <a:lnTo>
                    <a:pt x="278" y="209"/>
                  </a:lnTo>
                  <a:lnTo>
                    <a:pt x="278" y="206"/>
                  </a:lnTo>
                  <a:lnTo>
                    <a:pt x="276" y="206"/>
                  </a:lnTo>
                  <a:lnTo>
                    <a:pt x="276" y="209"/>
                  </a:lnTo>
                  <a:lnTo>
                    <a:pt x="273" y="209"/>
                  </a:lnTo>
                  <a:lnTo>
                    <a:pt x="273" y="211"/>
                  </a:lnTo>
                  <a:lnTo>
                    <a:pt x="271" y="211"/>
                  </a:lnTo>
                  <a:lnTo>
                    <a:pt x="269" y="211"/>
                  </a:lnTo>
                  <a:lnTo>
                    <a:pt x="266" y="211"/>
                  </a:lnTo>
                  <a:lnTo>
                    <a:pt x="266" y="213"/>
                  </a:lnTo>
                  <a:lnTo>
                    <a:pt x="266" y="216"/>
                  </a:lnTo>
                  <a:lnTo>
                    <a:pt x="264" y="216"/>
                  </a:lnTo>
                  <a:lnTo>
                    <a:pt x="264" y="213"/>
                  </a:lnTo>
                  <a:lnTo>
                    <a:pt x="264" y="216"/>
                  </a:lnTo>
                  <a:lnTo>
                    <a:pt x="261" y="216"/>
                  </a:lnTo>
                  <a:lnTo>
                    <a:pt x="259" y="216"/>
                  </a:lnTo>
                  <a:lnTo>
                    <a:pt x="257" y="216"/>
                  </a:lnTo>
                  <a:lnTo>
                    <a:pt x="254" y="216"/>
                  </a:lnTo>
                  <a:lnTo>
                    <a:pt x="252" y="216"/>
                  </a:lnTo>
                  <a:lnTo>
                    <a:pt x="254" y="218"/>
                  </a:lnTo>
                  <a:lnTo>
                    <a:pt x="252" y="218"/>
                  </a:lnTo>
                  <a:lnTo>
                    <a:pt x="252" y="221"/>
                  </a:lnTo>
                  <a:lnTo>
                    <a:pt x="250" y="221"/>
                  </a:lnTo>
                  <a:lnTo>
                    <a:pt x="247" y="221"/>
                  </a:lnTo>
                  <a:lnTo>
                    <a:pt x="247" y="223"/>
                  </a:lnTo>
                  <a:lnTo>
                    <a:pt x="245" y="223"/>
                  </a:lnTo>
                  <a:lnTo>
                    <a:pt x="245" y="221"/>
                  </a:lnTo>
                  <a:lnTo>
                    <a:pt x="245" y="223"/>
                  </a:lnTo>
                  <a:lnTo>
                    <a:pt x="242" y="223"/>
                  </a:lnTo>
                  <a:lnTo>
                    <a:pt x="242" y="225"/>
                  </a:lnTo>
                  <a:lnTo>
                    <a:pt x="240" y="225"/>
                  </a:lnTo>
                  <a:lnTo>
                    <a:pt x="238" y="225"/>
                  </a:lnTo>
                  <a:lnTo>
                    <a:pt x="238" y="228"/>
                  </a:lnTo>
                  <a:lnTo>
                    <a:pt x="235" y="228"/>
                  </a:lnTo>
                  <a:lnTo>
                    <a:pt x="235" y="230"/>
                  </a:lnTo>
                  <a:lnTo>
                    <a:pt x="233" y="230"/>
                  </a:lnTo>
                  <a:lnTo>
                    <a:pt x="231" y="230"/>
                  </a:lnTo>
                  <a:lnTo>
                    <a:pt x="231" y="228"/>
                  </a:lnTo>
                  <a:lnTo>
                    <a:pt x="231" y="230"/>
                  </a:lnTo>
                  <a:lnTo>
                    <a:pt x="228" y="230"/>
                  </a:lnTo>
                  <a:lnTo>
                    <a:pt x="226" y="230"/>
                  </a:lnTo>
                  <a:lnTo>
                    <a:pt x="226" y="232"/>
                  </a:lnTo>
                  <a:lnTo>
                    <a:pt x="226" y="230"/>
                  </a:lnTo>
                  <a:lnTo>
                    <a:pt x="223" y="230"/>
                  </a:lnTo>
                  <a:lnTo>
                    <a:pt x="221" y="232"/>
                  </a:lnTo>
                  <a:lnTo>
                    <a:pt x="219" y="232"/>
                  </a:lnTo>
                  <a:lnTo>
                    <a:pt x="219" y="235"/>
                  </a:lnTo>
                  <a:lnTo>
                    <a:pt x="216" y="235"/>
                  </a:lnTo>
                  <a:lnTo>
                    <a:pt x="216" y="237"/>
                  </a:lnTo>
                  <a:lnTo>
                    <a:pt x="214" y="237"/>
                  </a:lnTo>
                  <a:lnTo>
                    <a:pt x="214" y="240"/>
                  </a:lnTo>
                  <a:lnTo>
                    <a:pt x="214" y="242"/>
                  </a:lnTo>
                  <a:lnTo>
                    <a:pt x="212" y="242"/>
                  </a:lnTo>
                  <a:lnTo>
                    <a:pt x="212" y="240"/>
                  </a:lnTo>
                  <a:lnTo>
                    <a:pt x="212" y="237"/>
                  </a:lnTo>
                  <a:lnTo>
                    <a:pt x="212" y="240"/>
                  </a:lnTo>
                  <a:lnTo>
                    <a:pt x="212" y="237"/>
                  </a:lnTo>
                  <a:lnTo>
                    <a:pt x="209" y="237"/>
                  </a:lnTo>
                  <a:lnTo>
                    <a:pt x="209" y="235"/>
                  </a:lnTo>
                  <a:lnTo>
                    <a:pt x="207" y="235"/>
                  </a:lnTo>
                  <a:lnTo>
                    <a:pt x="207" y="237"/>
                  </a:lnTo>
                  <a:lnTo>
                    <a:pt x="207" y="240"/>
                  </a:lnTo>
                  <a:lnTo>
                    <a:pt x="209" y="240"/>
                  </a:lnTo>
                  <a:lnTo>
                    <a:pt x="207" y="240"/>
                  </a:lnTo>
                  <a:lnTo>
                    <a:pt x="209" y="240"/>
                  </a:lnTo>
                  <a:lnTo>
                    <a:pt x="209" y="242"/>
                  </a:lnTo>
                  <a:lnTo>
                    <a:pt x="209" y="244"/>
                  </a:lnTo>
                  <a:lnTo>
                    <a:pt x="209" y="247"/>
                  </a:lnTo>
                  <a:lnTo>
                    <a:pt x="212" y="247"/>
                  </a:lnTo>
                  <a:lnTo>
                    <a:pt x="212" y="249"/>
                  </a:lnTo>
                  <a:lnTo>
                    <a:pt x="212" y="247"/>
                  </a:lnTo>
                  <a:lnTo>
                    <a:pt x="214" y="249"/>
                  </a:lnTo>
                  <a:lnTo>
                    <a:pt x="216" y="249"/>
                  </a:lnTo>
                  <a:lnTo>
                    <a:pt x="216" y="251"/>
                  </a:lnTo>
                  <a:lnTo>
                    <a:pt x="219" y="251"/>
                  </a:lnTo>
                  <a:lnTo>
                    <a:pt x="219" y="254"/>
                  </a:lnTo>
                  <a:lnTo>
                    <a:pt x="221" y="254"/>
                  </a:lnTo>
                  <a:lnTo>
                    <a:pt x="221" y="256"/>
                  </a:lnTo>
                  <a:lnTo>
                    <a:pt x="219" y="256"/>
                  </a:lnTo>
                  <a:lnTo>
                    <a:pt x="219" y="259"/>
                  </a:lnTo>
                  <a:lnTo>
                    <a:pt x="219" y="261"/>
                  </a:lnTo>
                  <a:lnTo>
                    <a:pt x="216" y="263"/>
                  </a:lnTo>
                  <a:lnTo>
                    <a:pt x="216" y="266"/>
                  </a:lnTo>
                  <a:lnTo>
                    <a:pt x="219" y="266"/>
                  </a:lnTo>
                  <a:lnTo>
                    <a:pt x="221" y="266"/>
                  </a:lnTo>
                  <a:lnTo>
                    <a:pt x="219" y="268"/>
                  </a:lnTo>
                  <a:lnTo>
                    <a:pt x="221" y="268"/>
                  </a:lnTo>
                  <a:lnTo>
                    <a:pt x="219" y="268"/>
                  </a:lnTo>
                  <a:lnTo>
                    <a:pt x="221" y="268"/>
                  </a:lnTo>
                  <a:lnTo>
                    <a:pt x="221" y="270"/>
                  </a:lnTo>
                  <a:lnTo>
                    <a:pt x="221" y="273"/>
                  </a:lnTo>
                  <a:lnTo>
                    <a:pt x="223" y="273"/>
                  </a:lnTo>
                  <a:lnTo>
                    <a:pt x="223" y="275"/>
                  </a:lnTo>
                  <a:lnTo>
                    <a:pt x="223" y="278"/>
                  </a:lnTo>
                  <a:lnTo>
                    <a:pt x="226" y="278"/>
                  </a:lnTo>
                  <a:lnTo>
                    <a:pt x="226" y="280"/>
                  </a:lnTo>
                  <a:lnTo>
                    <a:pt x="228" y="280"/>
                  </a:lnTo>
                  <a:lnTo>
                    <a:pt x="228" y="282"/>
                  </a:lnTo>
                  <a:lnTo>
                    <a:pt x="231" y="282"/>
                  </a:lnTo>
                  <a:lnTo>
                    <a:pt x="233" y="282"/>
                  </a:lnTo>
                  <a:lnTo>
                    <a:pt x="231" y="282"/>
                  </a:lnTo>
                  <a:lnTo>
                    <a:pt x="233" y="282"/>
                  </a:lnTo>
                  <a:lnTo>
                    <a:pt x="235" y="282"/>
                  </a:lnTo>
                  <a:lnTo>
                    <a:pt x="235" y="285"/>
                  </a:lnTo>
                  <a:lnTo>
                    <a:pt x="238" y="285"/>
                  </a:lnTo>
                  <a:lnTo>
                    <a:pt x="235" y="285"/>
                  </a:lnTo>
                  <a:lnTo>
                    <a:pt x="238" y="287"/>
                  </a:lnTo>
                  <a:lnTo>
                    <a:pt x="240" y="290"/>
                  </a:lnTo>
                  <a:lnTo>
                    <a:pt x="242" y="292"/>
                  </a:lnTo>
                  <a:lnTo>
                    <a:pt x="240" y="292"/>
                  </a:lnTo>
                  <a:lnTo>
                    <a:pt x="242" y="292"/>
                  </a:lnTo>
                  <a:lnTo>
                    <a:pt x="242" y="294"/>
                  </a:lnTo>
                  <a:lnTo>
                    <a:pt x="245" y="294"/>
                  </a:lnTo>
                  <a:lnTo>
                    <a:pt x="247" y="294"/>
                  </a:lnTo>
                  <a:lnTo>
                    <a:pt x="247" y="297"/>
                  </a:lnTo>
                  <a:lnTo>
                    <a:pt x="250" y="297"/>
                  </a:lnTo>
                  <a:lnTo>
                    <a:pt x="250" y="299"/>
                  </a:lnTo>
                  <a:lnTo>
                    <a:pt x="250" y="301"/>
                  </a:lnTo>
                  <a:lnTo>
                    <a:pt x="252" y="301"/>
                  </a:lnTo>
                  <a:lnTo>
                    <a:pt x="254" y="301"/>
                  </a:lnTo>
                  <a:lnTo>
                    <a:pt x="257" y="301"/>
                  </a:lnTo>
                  <a:lnTo>
                    <a:pt x="257" y="304"/>
                  </a:lnTo>
                  <a:lnTo>
                    <a:pt x="259" y="304"/>
                  </a:lnTo>
                  <a:lnTo>
                    <a:pt x="259" y="306"/>
                  </a:lnTo>
                  <a:lnTo>
                    <a:pt x="259" y="304"/>
                  </a:lnTo>
                  <a:lnTo>
                    <a:pt x="259" y="306"/>
                  </a:lnTo>
                  <a:lnTo>
                    <a:pt x="261" y="306"/>
                  </a:lnTo>
                  <a:lnTo>
                    <a:pt x="261" y="309"/>
                  </a:lnTo>
                  <a:lnTo>
                    <a:pt x="261" y="311"/>
                  </a:lnTo>
                  <a:lnTo>
                    <a:pt x="264" y="311"/>
                  </a:lnTo>
                  <a:lnTo>
                    <a:pt x="261" y="311"/>
                  </a:lnTo>
                  <a:lnTo>
                    <a:pt x="261" y="313"/>
                  </a:lnTo>
                  <a:lnTo>
                    <a:pt x="264" y="313"/>
                  </a:lnTo>
                  <a:lnTo>
                    <a:pt x="261" y="313"/>
                  </a:lnTo>
                  <a:lnTo>
                    <a:pt x="264" y="316"/>
                  </a:lnTo>
                  <a:lnTo>
                    <a:pt x="261" y="316"/>
                  </a:lnTo>
                  <a:lnTo>
                    <a:pt x="264" y="316"/>
                  </a:lnTo>
                  <a:lnTo>
                    <a:pt x="264" y="318"/>
                  </a:lnTo>
                  <a:lnTo>
                    <a:pt x="261" y="318"/>
                  </a:lnTo>
                  <a:lnTo>
                    <a:pt x="261" y="320"/>
                  </a:lnTo>
                  <a:lnTo>
                    <a:pt x="259" y="320"/>
                  </a:lnTo>
                  <a:lnTo>
                    <a:pt x="261" y="320"/>
                  </a:lnTo>
                  <a:lnTo>
                    <a:pt x="259" y="320"/>
                  </a:lnTo>
                  <a:lnTo>
                    <a:pt x="259" y="323"/>
                  </a:lnTo>
                  <a:lnTo>
                    <a:pt x="257" y="320"/>
                  </a:lnTo>
                  <a:lnTo>
                    <a:pt x="254" y="320"/>
                  </a:lnTo>
                  <a:lnTo>
                    <a:pt x="252" y="318"/>
                  </a:lnTo>
                  <a:lnTo>
                    <a:pt x="252" y="320"/>
                  </a:lnTo>
                  <a:lnTo>
                    <a:pt x="250" y="320"/>
                  </a:lnTo>
                  <a:lnTo>
                    <a:pt x="250" y="323"/>
                  </a:lnTo>
                  <a:lnTo>
                    <a:pt x="250" y="325"/>
                  </a:lnTo>
                  <a:lnTo>
                    <a:pt x="250" y="328"/>
                  </a:lnTo>
                  <a:lnTo>
                    <a:pt x="250" y="330"/>
                  </a:lnTo>
                  <a:lnTo>
                    <a:pt x="247" y="330"/>
                  </a:lnTo>
                  <a:lnTo>
                    <a:pt x="247" y="332"/>
                  </a:lnTo>
                  <a:lnTo>
                    <a:pt x="245" y="332"/>
                  </a:lnTo>
                  <a:lnTo>
                    <a:pt x="242" y="332"/>
                  </a:lnTo>
                  <a:lnTo>
                    <a:pt x="240" y="332"/>
                  </a:lnTo>
                  <a:lnTo>
                    <a:pt x="240" y="335"/>
                  </a:lnTo>
                  <a:lnTo>
                    <a:pt x="238" y="335"/>
                  </a:lnTo>
                  <a:lnTo>
                    <a:pt x="235" y="335"/>
                  </a:lnTo>
                  <a:lnTo>
                    <a:pt x="235" y="337"/>
                  </a:lnTo>
                  <a:lnTo>
                    <a:pt x="233" y="337"/>
                  </a:lnTo>
                  <a:lnTo>
                    <a:pt x="231" y="337"/>
                  </a:lnTo>
                  <a:lnTo>
                    <a:pt x="231" y="339"/>
                  </a:lnTo>
                  <a:lnTo>
                    <a:pt x="228" y="339"/>
                  </a:lnTo>
                  <a:lnTo>
                    <a:pt x="228" y="342"/>
                  </a:lnTo>
                  <a:lnTo>
                    <a:pt x="228" y="344"/>
                  </a:lnTo>
                  <a:lnTo>
                    <a:pt x="231" y="347"/>
                  </a:lnTo>
                  <a:lnTo>
                    <a:pt x="231" y="349"/>
                  </a:lnTo>
                  <a:lnTo>
                    <a:pt x="233" y="349"/>
                  </a:lnTo>
                  <a:lnTo>
                    <a:pt x="233" y="351"/>
                  </a:lnTo>
                  <a:lnTo>
                    <a:pt x="235" y="351"/>
                  </a:lnTo>
                  <a:lnTo>
                    <a:pt x="235" y="354"/>
                  </a:lnTo>
                  <a:lnTo>
                    <a:pt x="235" y="356"/>
                  </a:lnTo>
                  <a:lnTo>
                    <a:pt x="233" y="356"/>
                  </a:lnTo>
                  <a:lnTo>
                    <a:pt x="233" y="358"/>
                  </a:lnTo>
                  <a:lnTo>
                    <a:pt x="233" y="361"/>
                  </a:lnTo>
                  <a:lnTo>
                    <a:pt x="235" y="361"/>
                  </a:lnTo>
                  <a:lnTo>
                    <a:pt x="238" y="361"/>
                  </a:lnTo>
                  <a:lnTo>
                    <a:pt x="238" y="363"/>
                  </a:lnTo>
                  <a:lnTo>
                    <a:pt x="238" y="366"/>
                  </a:lnTo>
                  <a:lnTo>
                    <a:pt x="238" y="368"/>
                  </a:lnTo>
                  <a:lnTo>
                    <a:pt x="238" y="370"/>
                  </a:lnTo>
                  <a:lnTo>
                    <a:pt x="238" y="373"/>
                  </a:lnTo>
                  <a:lnTo>
                    <a:pt x="235" y="373"/>
                  </a:lnTo>
                  <a:lnTo>
                    <a:pt x="233" y="373"/>
                  </a:lnTo>
                  <a:lnTo>
                    <a:pt x="233" y="370"/>
                  </a:lnTo>
                  <a:lnTo>
                    <a:pt x="231" y="370"/>
                  </a:lnTo>
                  <a:lnTo>
                    <a:pt x="231" y="368"/>
                  </a:lnTo>
                  <a:lnTo>
                    <a:pt x="228" y="368"/>
                  </a:lnTo>
                  <a:lnTo>
                    <a:pt x="228" y="366"/>
                  </a:lnTo>
                  <a:lnTo>
                    <a:pt x="231" y="366"/>
                  </a:lnTo>
                  <a:lnTo>
                    <a:pt x="228" y="366"/>
                  </a:lnTo>
                  <a:lnTo>
                    <a:pt x="228" y="363"/>
                  </a:lnTo>
                  <a:lnTo>
                    <a:pt x="226" y="363"/>
                  </a:lnTo>
                  <a:lnTo>
                    <a:pt x="223" y="363"/>
                  </a:lnTo>
                  <a:lnTo>
                    <a:pt x="221" y="363"/>
                  </a:lnTo>
                  <a:lnTo>
                    <a:pt x="221" y="366"/>
                  </a:lnTo>
                  <a:lnTo>
                    <a:pt x="219" y="366"/>
                  </a:lnTo>
                  <a:lnTo>
                    <a:pt x="219" y="363"/>
                  </a:lnTo>
                  <a:lnTo>
                    <a:pt x="216" y="363"/>
                  </a:lnTo>
                  <a:lnTo>
                    <a:pt x="216" y="361"/>
                  </a:lnTo>
                  <a:lnTo>
                    <a:pt x="214" y="363"/>
                  </a:lnTo>
                  <a:lnTo>
                    <a:pt x="214" y="361"/>
                  </a:lnTo>
                  <a:lnTo>
                    <a:pt x="212" y="361"/>
                  </a:lnTo>
                  <a:lnTo>
                    <a:pt x="212" y="363"/>
                  </a:lnTo>
                  <a:lnTo>
                    <a:pt x="212" y="361"/>
                  </a:lnTo>
                  <a:lnTo>
                    <a:pt x="212" y="358"/>
                  </a:lnTo>
                  <a:lnTo>
                    <a:pt x="209" y="361"/>
                  </a:lnTo>
                  <a:lnTo>
                    <a:pt x="209" y="363"/>
                  </a:lnTo>
                  <a:lnTo>
                    <a:pt x="209" y="366"/>
                  </a:lnTo>
                  <a:lnTo>
                    <a:pt x="207" y="366"/>
                  </a:lnTo>
                  <a:lnTo>
                    <a:pt x="204" y="366"/>
                  </a:lnTo>
                  <a:lnTo>
                    <a:pt x="202" y="366"/>
                  </a:lnTo>
                  <a:lnTo>
                    <a:pt x="200" y="366"/>
                  </a:lnTo>
                  <a:lnTo>
                    <a:pt x="197" y="366"/>
                  </a:lnTo>
                  <a:lnTo>
                    <a:pt x="197" y="368"/>
                  </a:lnTo>
                  <a:lnTo>
                    <a:pt x="195" y="366"/>
                  </a:lnTo>
                  <a:lnTo>
                    <a:pt x="193" y="366"/>
                  </a:lnTo>
                  <a:lnTo>
                    <a:pt x="193" y="368"/>
                  </a:lnTo>
                  <a:lnTo>
                    <a:pt x="190" y="368"/>
                  </a:lnTo>
                  <a:lnTo>
                    <a:pt x="190" y="366"/>
                  </a:lnTo>
                  <a:lnTo>
                    <a:pt x="190" y="368"/>
                  </a:lnTo>
                  <a:lnTo>
                    <a:pt x="188" y="368"/>
                  </a:lnTo>
                  <a:lnTo>
                    <a:pt x="188" y="370"/>
                  </a:lnTo>
                  <a:lnTo>
                    <a:pt x="185" y="370"/>
                  </a:lnTo>
                  <a:lnTo>
                    <a:pt x="183" y="370"/>
                  </a:lnTo>
                  <a:lnTo>
                    <a:pt x="183" y="373"/>
                  </a:lnTo>
                  <a:lnTo>
                    <a:pt x="181" y="373"/>
                  </a:lnTo>
                  <a:lnTo>
                    <a:pt x="181" y="375"/>
                  </a:lnTo>
                  <a:lnTo>
                    <a:pt x="178" y="375"/>
                  </a:lnTo>
                  <a:lnTo>
                    <a:pt x="176" y="375"/>
                  </a:lnTo>
                  <a:lnTo>
                    <a:pt x="178" y="375"/>
                  </a:lnTo>
                  <a:lnTo>
                    <a:pt x="176" y="375"/>
                  </a:lnTo>
                  <a:lnTo>
                    <a:pt x="174" y="375"/>
                  </a:lnTo>
                  <a:lnTo>
                    <a:pt x="171" y="375"/>
                  </a:lnTo>
                  <a:lnTo>
                    <a:pt x="169" y="375"/>
                  </a:lnTo>
                  <a:lnTo>
                    <a:pt x="169" y="373"/>
                  </a:lnTo>
                  <a:lnTo>
                    <a:pt x="166" y="373"/>
                  </a:lnTo>
                  <a:lnTo>
                    <a:pt x="164" y="373"/>
                  </a:lnTo>
                  <a:lnTo>
                    <a:pt x="166" y="370"/>
                  </a:lnTo>
                  <a:lnTo>
                    <a:pt x="166" y="368"/>
                  </a:lnTo>
                  <a:lnTo>
                    <a:pt x="164" y="370"/>
                  </a:lnTo>
                  <a:lnTo>
                    <a:pt x="162" y="370"/>
                  </a:lnTo>
                  <a:lnTo>
                    <a:pt x="162" y="368"/>
                  </a:lnTo>
                  <a:lnTo>
                    <a:pt x="159" y="370"/>
                  </a:lnTo>
                  <a:lnTo>
                    <a:pt x="159" y="368"/>
                  </a:lnTo>
                  <a:lnTo>
                    <a:pt x="157" y="368"/>
                  </a:lnTo>
                  <a:lnTo>
                    <a:pt x="155" y="368"/>
                  </a:lnTo>
                  <a:lnTo>
                    <a:pt x="155" y="370"/>
                  </a:lnTo>
                  <a:lnTo>
                    <a:pt x="155" y="368"/>
                  </a:lnTo>
                  <a:lnTo>
                    <a:pt x="155" y="370"/>
                  </a:lnTo>
                  <a:lnTo>
                    <a:pt x="152" y="368"/>
                  </a:lnTo>
                  <a:lnTo>
                    <a:pt x="150" y="368"/>
                  </a:lnTo>
                  <a:lnTo>
                    <a:pt x="152" y="368"/>
                  </a:lnTo>
                  <a:lnTo>
                    <a:pt x="152" y="370"/>
                  </a:lnTo>
                  <a:lnTo>
                    <a:pt x="150" y="370"/>
                  </a:lnTo>
                  <a:lnTo>
                    <a:pt x="152" y="370"/>
                  </a:lnTo>
                  <a:lnTo>
                    <a:pt x="152" y="373"/>
                  </a:lnTo>
                  <a:lnTo>
                    <a:pt x="152" y="375"/>
                  </a:lnTo>
                  <a:lnTo>
                    <a:pt x="150" y="375"/>
                  </a:lnTo>
                  <a:lnTo>
                    <a:pt x="152" y="377"/>
                  </a:lnTo>
                  <a:lnTo>
                    <a:pt x="150" y="377"/>
                  </a:lnTo>
                  <a:lnTo>
                    <a:pt x="147" y="377"/>
                  </a:lnTo>
                  <a:lnTo>
                    <a:pt x="147" y="380"/>
                  </a:lnTo>
                  <a:lnTo>
                    <a:pt x="145" y="382"/>
                  </a:lnTo>
                  <a:lnTo>
                    <a:pt x="143" y="382"/>
                  </a:lnTo>
                  <a:lnTo>
                    <a:pt x="143" y="380"/>
                  </a:lnTo>
                  <a:lnTo>
                    <a:pt x="143" y="377"/>
                  </a:lnTo>
                  <a:lnTo>
                    <a:pt x="145" y="377"/>
                  </a:lnTo>
                  <a:lnTo>
                    <a:pt x="145" y="375"/>
                  </a:lnTo>
                  <a:lnTo>
                    <a:pt x="143" y="377"/>
                  </a:lnTo>
                  <a:lnTo>
                    <a:pt x="143" y="375"/>
                  </a:lnTo>
                  <a:lnTo>
                    <a:pt x="143" y="377"/>
                  </a:lnTo>
                  <a:lnTo>
                    <a:pt x="140" y="377"/>
                  </a:lnTo>
                  <a:lnTo>
                    <a:pt x="140" y="375"/>
                  </a:lnTo>
                  <a:lnTo>
                    <a:pt x="138" y="375"/>
                  </a:lnTo>
                  <a:lnTo>
                    <a:pt x="140" y="375"/>
                  </a:lnTo>
                  <a:lnTo>
                    <a:pt x="140" y="373"/>
                  </a:lnTo>
                  <a:lnTo>
                    <a:pt x="138" y="373"/>
                  </a:lnTo>
                  <a:lnTo>
                    <a:pt x="138" y="370"/>
                  </a:lnTo>
                  <a:lnTo>
                    <a:pt x="138" y="373"/>
                  </a:lnTo>
                  <a:lnTo>
                    <a:pt x="136" y="373"/>
                  </a:lnTo>
                  <a:lnTo>
                    <a:pt x="136" y="370"/>
                  </a:lnTo>
                  <a:lnTo>
                    <a:pt x="136" y="368"/>
                  </a:lnTo>
                  <a:lnTo>
                    <a:pt x="136" y="370"/>
                  </a:lnTo>
                  <a:lnTo>
                    <a:pt x="133" y="370"/>
                  </a:lnTo>
                  <a:lnTo>
                    <a:pt x="133" y="368"/>
                  </a:lnTo>
                  <a:lnTo>
                    <a:pt x="133" y="370"/>
                  </a:lnTo>
                  <a:lnTo>
                    <a:pt x="131" y="370"/>
                  </a:lnTo>
                  <a:lnTo>
                    <a:pt x="131" y="368"/>
                  </a:lnTo>
                  <a:lnTo>
                    <a:pt x="131" y="366"/>
                  </a:lnTo>
                  <a:lnTo>
                    <a:pt x="129" y="366"/>
                  </a:lnTo>
                  <a:lnTo>
                    <a:pt x="129" y="368"/>
                  </a:lnTo>
                  <a:lnTo>
                    <a:pt x="129" y="370"/>
                  </a:lnTo>
                  <a:lnTo>
                    <a:pt x="126" y="370"/>
                  </a:lnTo>
                  <a:lnTo>
                    <a:pt x="121" y="368"/>
                  </a:lnTo>
                  <a:lnTo>
                    <a:pt x="119" y="368"/>
                  </a:lnTo>
                  <a:lnTo>
                    <a:pt x="117" y="366"/>
                  </a:lnTo>
                  <a:lnTo>
                    <a:pt x="110" y="363"/>
                  </a:lnTo>
                  <a:lnTo>
                    <a:pt x="107" y="363"/>
                  </a:lnTo>
                  <a:lnTo>
                    <a:pt x="102" y="363"/>
                  </a:lnTo>
                  <a:lnTo>
                    <a:pt x="100" y="363"/>
                  </a:lnTo>
                  <a:lnTo>
                    <a:pt x="98" y="363"/>
                  </a:lnTo>
                  <a:lnTo>
                    <a:pt x="100" y="361"/>
                  </a:lnTo>
                  <a:lnTo>
                    <a:pt x="98" y="361"/>
                  </a:lnTo>
                  <a:lnTo>
                    <a:pt x="100" y="361"/>
                  </a:lnTo>
                  <a:lnTo>
                    <a:pt x="98" y="361"/>
                  </a:lnTo>
                  <a:lnTo>
                    <a:pt x="95" y="361"/>
                  </a:lnTo>
                  <a:lnTo>
                    <a:pt x="98" y="361"/>
                  </a:lnTo>
                  <a:lnTo>
                    <a:pt x="98" y="363"/>
                  </a:lnTo>
                  <a:lnTo>
                    <a:pt x="95" y="363"/>
                  </a:lnTo>
                  <a:lnTo>
                    <a:pt x="95" y="361"/>
                  </a:lnTo>
                  <a:lnTo>
                    <a:pt x="95" y="358"/>
                  </a:lnTo>
                  <a:lnTo>
                    <a:pt x="93" y="358"/>
                  </a:lnTo>
                  <a:lnTo>
                    <a:pt x="93" y="356"/>
                  </a:lnTo>
                  <a:lnTo>
                    <a:pt x="93" y="358"/>
                  </a:lnTo>
                  <a:lnTo>
                    <a:pt x="91" y="358"/>
                  </a:lnTo>
                  <a:lnTo>
                    <a:pt x="91" y="356"/>
                  </a:lnTo>
                  <a:lnTo>
                    <a:pt x="88" y="356"/>
                  </a:lnTo>
                  <a:lnTo>
                    <a:pt x="91" y="358"/>
                  </a:lnTo>
                  <a:lnTo>
                    <a:pt x="88" y="358"/>
                  </a:lnTo>
                  <a:lnTo>
                    <a:pt x="86" y="358"/>
                  </a:lnTo>
                  <a:lnTo>
                    <a:pt x="86" y="361"/>
                  </a:lnTo>
                  <a:lnTo>
                    <a:pt x="83" y="361"/>
                  </a:lnTo>
                  <a:lnTo>
                    <a:pt x="86" y="363"/>
                  </a:lnTo>
                  <a:lnTo>
                    <a:pt x="83" y="363"/>
                  </a:lnTo>
                  <a:lnTo>
                    <a:pt x="86" y="363"/>
                  </a:lnTo>
                  <a:lnTo>
                    <a:pt x="88" y="363"/>
                  </a:lnTo>
                  <a:lnTo>
                    <a:pt x="91" y="363"/>
                  </a:lnTo>
                  <a:lnTo>
                    <a:pt x="91" y="366"/>
                  </a:lnTo>
                  <a:lnTo>
                    <a:pt x="91" y="363"/>
                  </a:lnTo>
                  <a:lnTo>
                    <a:pt x="91" y="366"/>
                  </a:lnTo>
                  <a:lnTo>
                    <a:pt x="88" y="366"/>
                  </a:lnTo>
                  <a:lnTo>
                    <a:pt x="91" y="366"/>
                  </a:lnTo>
                  <a:lnTo>
                    <a:pt x="88" y="366"/>
                  </a:lnTo>
                  <a:lnTo>
                    <a:pt x="86" y="366"/>
                  </a:lnTo>
                  <a:lnTo>
                    <a:pt x="86" y="368"/>
                  </a:lnTo>
                  <a:lnTo>
                    <a:pt x="83" y="368"/>
                  </a:lnTo>
                  <a:lnTo>
                    <a:pt x="81" y="368"/>
                  </a:lnTo>
                  <a:lnTo>
                    <a:pt x="81" y="366"/>
                  </a:lnTo>
                  <a:lnTo>
                    <a:pt x="79" y="366"/>
                  </a:lnTo>
                  <a:lnTo>
                    <a:pt x="76" y="366"/>
                  </a:lnTo>
                  <a:lnTo>
                    <a:pt x="76" y="368"/>
                  </a:lnTo>
                  <a:lnTo>
                    <a:pt x="74" y="368"/>
                  </a:lnTo>
                  <a:lnTo>
                    <a:pt x="72" y="368"/>
                  </a:lnTo>
                  <a:lnTo>
                    <a:pt x="69" y="368"/>
                  </a:lnTo>
                  <a:lnTo>
                    <a:pt x="67" y="368"/>
                  </a:lnTo>
                  <a:lnTo>
                    <a:pt x="67" y="366"/>
                  </a:lnTo>
                  <a:lnTo>
                    <a:pt x="64" y="368"/>
                  </a:lnTo>
                  <a:lnTo>
                    <a:pt x="64" y="366"/>
                  </a:lnTo>
                  <a:lnTo>
                    <a:pt x="64" y="368"/>
                  </a:lnTo>
                  <a:lnTo>
                    <a:pt x="62" y="368"/>
                  </a:lnTo>
                  <a:lnTo>
                    <a:pt x="60" y="370"/>
                  </a:lnTo>
                  <a:lnTo>
                    <a:pt x="60" y="368"/>
                  </a:lnTo>
                  <a:lnTo>
                    <a:pt x="57" y="368"/>
                  </a:lnTo>
                  <a:lnTo>
                    <a:pt x="60" y="368"/>
                  </a:lnTo>
                  <a:lnTo>
                    <a:pt x="60" y="366"/>
                  </a:lnTo>
                  <a:lnTo>
                    <a:pt x="57" y="368"/>
                  </a:lnTo>
                  <a:lnTo>
                    <a:pt x="57" y="366"/>
                  </a:lnTo>
                  <a:lnTo>
                    <a:pt x="55" y="363"/>
                  </a:lnTo>
                  <a:lnTo>
                    <a:pt x="55" y="361"/>
                  </a:lnTo>
                  <a:lnTo>
                    <a:pt x="55" y="358"/>
                  </a:lnTo>
                  <a:lnTo>
                    <a:pt x="55" y="356"/>
                  </a:lnTo>
                  <a:lnTo>
                    <a:pt x="57" y="354"/>
                  </a:lnTo>
                  <a:lnTo>
                    <a:pt x="55" y="354"/>
                  </a:lnTo>
                  <a:lnTo>
                    <a:pt x="57" y="354"/>
                  </a:lnTo>
                  <a:lnTo>
                    <a:pt x="57" y="351"/>
                  </a:lnTo>
                  <a:lnTo>
                    <a:pt x="57" y="349"/>
                  </a:lnTo>
                  <a:lnTo>
                    <a:pt x="57" y="347"/>
                  </a:lnTo>
                  <a:lnTo>
                    <a:pt x="57" y="344"/>
                  </a:lnTo>
                  <a:lnTo>
                    <a:pt x="57" y="342"/>
                  </a:lnTo>
                  <a:lnTo>
                    <a:pt x="57" y="339"/>
                  </a:lnTo>
                  <a:lnTo>
                    <a:pt x="57" y="337"/>
                  </a:lnTo>
                  <a:lnTo>
                    <a:pt x="60" y="337"/>
                  </a:lnTo>
                  <a:lnTo>
                    <a:pt x="60" y="335"/>
                  </a:lnTo>
                  <a:lnTo>
                    <a:pt x="60" y="332"/>
                  </a:lnTo>
                  <a:lnTo>
                    <a:pt x="62" y="332"/>
                  </a:lnTo>
                  <a:lnTo>
                    <a:pt x="62" y="330"/>
                  </a:lnTo>
                  <a:lnTo>
                    <a:pt x="62" y="328"/>
                  </a:lnTo>
                  <a:lnTo>
                    <a:pt x="62" y="325"/>
                  </a:lnTo>
                  <a:lnTo>
                    <a:pt x="62" y="323"/>
                  </a:lnTo>
                  <a:lnTo>
                    <a:pt x="64" y="323"/>
                  </a:lnTo>
                  <a:lnTo>
                    <a:pt x="64" y="320"/>
                  </a:lnTo>
                  <a:lnTo>
                    <a:pt x="64" y="318"/>
                  </a:lnTo>
                  <a:lnTo>
                    <a:pt x="64" y="316"/>
                  </a:lnTo>
                  <a:lnTo>
                    <a:pt x="67" y="316"/>
                  </a:lnTo>
                  <a:lnTo>
                    <a:pt x="67" y="313"/>
                  </a:lnTo>
                  <a:lnTo>
                    <a:pt x="69" y="313"/>
                  </a:lnTo>
                  <a:lnTo>
                    <a:pt x="69" y="311"/>
                  </a:lnTo>
                  <a:lnTo>
                    <a:pt x="72" y="311"/>
                  </a:lnTo>
                  <a:lnTo>
                    <a:pt x="72" y="309"/>
                  </a:lnTo>
                  <a:lnTo>
                    <a:pt x="74" y="309"/>
                  </a:lnTo>
                  <a:lnTo>
                    <a:pt x="74" y="306"/>
                  </a:lnTo>
                  <a:lnTo>
                    <a:pt x="76" y="304"/>
                  </a:lnTo>
                  <a:lnTo>
                    <a:pt x="76" y="301"/>
                  </a:lnTo>
                  <a:lnTo>
                    <a:pt x="79" y="301"/>
                  </a:lnTo>
                  <a:lnTo>
                    <a:pt x="76" y="301"/>
                  </a:lnTo>
                  <a:lnTo>
                    <a:pt x="76" y="299"/>
                  </a:lnTo>
                  <a:lnTo>
                    <a:pt x="74" y="299"/>
                  </a:lnTo>
                  <a:lnTo>
                    <a:pt x="72" y="299"/>
                  </a:lnTo>
                  <a:lnTo>
                    <a:pt x="72" y="297"/>
                  </a:lnTo>
                  <a:lnTo>
                    <a:pt x="69" y="299"/>
                  </a:lnTo>
                  <a:lnTo>
                    <a:pt x="69" y="297"/>
                  </a:lnTo>
                  <a:lnTo>
                    <a:pt x="67" y="297"/>
                  </a:lnTo>
                  <a:lnTo>
                    <a:pt x="64" y="297"/>
                  </a:lnTo>
                  <a:lnTo>
                    <a:pt x="62" y="297"/>
                  </a:lnTo>
                  <a:lnTo>
                    <a:pt x="60" y="297"/>
                  </a:lnTo>
                  <a:lnTo>
                    <a:pt x="57" y="294"/>
                  </a:lnTo>
                  <a:lnTo>
                    <a:pt x="55" y="294"/>
                  </a:lnTo>
                  <a:lnTo>
                    <a:pt x="55" y="292"/>
                  </a:lnTo>
                  <a:lnTo>
                    <a:pt x="53" y="292"/>
                  </a:lnTo>
                  <a:lnTo>
                    <a:pt x="53" y="290"/>
                  </a:lnTo>
                  <a:lnTo>
                    <a:pt x="50" y="290"/>
                  </a:lnTo>
                  <a:lnTo>
                    <a:pt x="50" y="292"/>
                  </a:lnTo>
                  <a:lnTo>
                    <a:pt x="48" y="292"/>
                  </a:lnTo>
                  <a:lnTo>
                    <a:pt x="48" y="294"/>
                  </a:lnTo>
                  <a:lnTo>
                    <a:pt x="45" y="292"/>
                  </a:lnTo>
                  <a:lnTo>
                    <a:pt x="43" y="294"/>
                  </a:lnTo>
                  <a:lnTo>
                    <a:pt x="43" y="292"/>
                  </a:lnTo>
                  <a:lnTo>
                    <a:pt x="41" y="292"/>
                  </a:lnTo>
                  <a:lnTo>
                    <a:pt x="41" y="294"/>
                  </a:lnTo>
                  <a:lnTo>
                    <a:pt x="38" y="294"/>
                  </a:lnTo>
                  <a:lnTo>
                    <a:pt x="38" y="292"/>
                  </a:lnTo>
                  <a:lnTo>
                    <a:pt x="38" y="290"/>
                  </a:lnTo>
                  <a:lnTo>
                    <a:pt x="38" y="287"/>
                  </a:lnTo>
                  <a:lnTo>
                    <a:pt x="36" y="287"/>
                  </a:lnTo>
                  <a:lnTo>
                    <a:pt x="36" y="290"/>
                  </a:lnTo>
                  <a:lnTo>
                    <a:pt x="34" y="290"/>
                  </a:lnTo>
                  <a:lnTo>
                    <a:pt x="31" y="290"/>
                  </a:lnTo>
                  <a:lnTo>
                    <a:pt x="34" y="290"/>
                  </a:lnTo>
                  <a:lnTo>
                    <a:pt x="34" y="292"/>
                  </a:lnTo>
                  <a:lnTo>
                    <a:pt x="31" y="292"/>
                  </a:lnTo>
                  <a:lnTo>
                    <a:pt x="29" y="292"/>
                  </a:lnTo>
                  <a:lnTo>
                    <a:pt x="29" y="290"/>
                  </a:lnTo>
                  <a:lnTo>
                    <a:pt x="26" y="290"/>
                  </a:lnTo>
                  <a:lnTo>
                    <a:pt x="26" y="287"/>
                  </a:lnTo>
                  <a:lnTo>
                    <a:pt x="26" y="285"/>
                  </a:lnTo>
                  <a:lnTo>
                    <a:pt x="24" y="285"/>
                  </a:lnTo>
                  <a:lnTo>
                    <a:pt x="24" y="282"/>
                  </a:lnTo>
                  <a:lnTo>
                    <a:pt x="22" y="282"/>
                  </a:lnTo>
                  <a:lnTo>
                    <a:pt x="24" y="282"/>
                  </a:lnTo>
                  <a:lnTo>
                    <a:pt x="24" y="280"/>
                  </a:lnTo>
                  <a:lnTo>
                    <a:pt x="22" y="280"/>
                  </a:lnTo>
                  <a:lnTo>
                    <a:pt x="22" y="278"/>
                  </a:lnTo>
                  <a:lnTo>
                    <a:pt x="19" y="278"/>
                  </a:lnTo>
                  <a:lnTo>
                    <a:pt x="19" y="275"/>
                  </a:lnTo>
                  <a:lnTo>
                    <a:pt x="19" y="278"/>
                  </a:lnTo>
                  <a:lnTo>
                    <a:pt x="17" y="278"/>
                  </a:lnTo>
                  <a:lnTo>
                    <a:pt x="17" y="275"/>
                  </a:lnTo>
                  <a:lnTo>
                    <a:pt x="17" y="273"/>
                  </a:lnTo>
                  <a:lnTo>
                    <a:pt x="17" y="270"/>
                  </a:lnTo>
                  <a:lnTo>
                    <a:pt x="19" y="270"/>
                  </a:lnTo>
                  <a:lnTo>
                    <a:pt x="19" y="268"/>
                  </a:lnTo>
                  <a:lnTo>
                    <a:pt x="19" y="266"/>
                  </a:lnTo>
                  <a:lnTo>
                    <a:pt x="22" y="266"/>
                  </a:lnTo>
                  <a:lnTo>
                    <a:pt x="22" y="263"/>
                  </a:lnTo>
                  <a:lnTo>
                    <a:pt x="22" y="261"/>
                  </a:lnTo>
                  <a:lnTo>
                    <a:pt x="22" y="259"/>
                  </a:lnTo>
                  <a:lnTo>
                    <a:pt x="19" y="259"/>
                  </a:lnTo>
                  <a:lnTo>
                    <a:pt x="19" y="261"/>
                  </a:lnTo>
                  <a:lnTo>
                    <a:pt x="19" y="259"/>
                  </a:lnTo>
                  <a:lnTo>
                    <a:pt x="19" y="261"/>
                  </a:lnTo>
                  <a:lnTo>
                    <a:pt x="19" y="259"/>
                  </a:lnTo>
                  <a:lnTo>
                    <a:pt x="17" y="259"/>
                  </a:lnTo>
                  <a:lnTo>
                    <a:pt x="15" y="259"/>
                  </a:lnTo>
                  <a:lnTo>
                    <a:pt x="15" y="256"/>
                  </a:lnTo>
                  <a:lnTo>
                    <a:pt x="12" y="256"/>
                  </a:lnTo>
                  <a:lnTo>
                    <a:pt x="12" y="254"/>
                  </a:lnTo>
                  <a:lnTo>
                    <a:pt x="12" y="251"/>
                  </a:lnTo>
                  <a:lnTo>
                    <a:pt x="10" y="251"/>
                  </a:lnTo>
                  <a:lnTo>
                    <a:pt x="10" y="254"/>
                  </a:lnTo>
                  <a:lnTo>
                    <a:pt x="10" y="251"/>
                  </a:lnTo>
                  <a:lnTo>
                    <a:pt x="10" y="249"/>
                  </a:lnTo>
                  <a:lnTo>
                    <a:pt x="10" y="247"/>
                  </a:lnTo>
                  <a:lnTo>
                    <a:pt x="8" y="247"/>
                  </a:lnTo>
                  <a:lnTo>
                    <a:pt x="8" y="249"/>
                  </a:lnTo>
                  <a:lnTo>
                    <a:pt x="8" y="247"/>
                  </a:lnTo>
                  <a:lnTo>
                    <a:pt x="10" y="247"/>
                  </a:lnTo>
                  <a:lnTo>
                    <a:pt x="8" y="247"/>
                  </a:lnTo>
                  <a:lnTo>
                    <a:pt x="10" y="247"/>
                  </a:lnTo>
                  <a:lnTo>
                    <a:pt x="8" y="247"/>
                  </a:lnTo>
                  <a:lnTo>
                    <a:pt x="10" y="247"/>
                  </a:lnTo>
                  <a:lnTo>
                    <a:pt x="10" y="244"/>
                  </a:lnTo>
                  <a:lnTo>
                    <a:pt x="10" y="242"/>
                  </a:lnTo>
                  <a:lnTo>
                    <a:pt x="10" y="240"/>
                  </a:lnTo>
                  <a:lnTo>
                    <a:pt x="12" y="240"/>
                  </a:lnTo>
                  <a:lnTo>
                    <a:pt x="12" y="237"/>
                  </a:lnTo>
                  <a:lnTo>
                    <a:pt x="15" y="237"/>
                  </a:lnTo>
                  <a:lnTo>
                    <a:pt x="15" y="235"/>
                  </a:lnTo>
                  <a:lnTo>
                    <a:pt x="17" y="235"/>
                  </a:lnTo>
                  <a:lnTo>
                    <a:pt x="17" y="232"/>
                  </a:lnTo>
                  <a:lnTo>
                    <a:pt x="15" y="232"/>
                  </a:lnTo>
                  <a:lnTo>
                    <a:pt x="17" y="232"/>
                  </a:lnTo>
                  <a:lnTo>
                    <a:pt x="17" y="230"/>
                  </a:lnTo>
                  <a:lnTo>
                    <a:pt x="17" y="228"/>
                  </a:lnTo>
                  <a:lnTo>
                    <a:pt x="15" y="228"/>
                  </a:lnTo>
                  <a:lnTo>
                    <a:pt x="15" y="225"/>
                  </a:lnTo>
                  <a:lnTo>
                    <a:pt x="12" y="225"/>
                  </a:lnTo>
                  <a:lnTo>
                    <a:pt x="12" y="228"/>
                  </a:lnTo>
                  <a:lnTo>
                    <a:pt x="12" y="225"/>
                  </a:lnTo>
                  <a:lnTo>
                    <a:pt x="10" y="225"/>
                  </a:lnTo>
                  <a:lnTo>
                    <a:pt x="10" y="223"/>
                  </a:lnTo>
                  <a:lnTo>
                    <a:pt x="12" y="223"/>
                  </a:lnTo>
                  <a:lnTo>
                    <a:pt x="12" y="221"/>
                  </a:lnTo>
                  <a:lnTo>
                    <a:pt x="15" y="221"/>
                  </a:lnTo>
                  <a:lnTo>
                    <a:pt x="12" y="221"/>
                  </a:lnTo>
                  <a:lnTo>
                    <a:pt x="10" y="221"/>
                  </a:lnTo>
                  <a:lnTo>
                    <a:pt x="10" y="218"/>
                  </a:lnTo>
                  <a:lnTo>
                    <a:pt x="10" y="216"/>
                  </a:lnTo>
                  <a:lnTo>
                    <a:pt x="8" y="216"/>
                  </a:lnTo>
                  <a:lnTo>
                    <a:pt x="5" y="216"/>
                  </a:lnTo>
                  <a:lnTo>
                    <a:pt x="5" y="213"/>
                  </a:lnTo>
                  <a:lnTo>
                    <a:pt x="5" y="211"/>
                  </a:lnTo>
                  <a:lnTo>
                    <a:pt x="5" y="209"/>
                  </a:lnTo>
                  <a:lnTo>
                    <a:pt x="8" y="209"/>
                  </a:lnTo>
                  <a:lnTo>
                    <a:pt x="8" y="206"/>
                  </a:lnTo>
                  <a:lnTo>
                    <a:pt x="5" y="206"/>
                  </a:lnTo>
                  <a:lnTo>
                    <a:pt x="5" y="204"/>
                  </a:lnTo>
                  <a:lnTo>
                    <a:pt x="3" y="202"/>
                  </a:lnTo>
                  <a:lnTo>
                    <a:pt x="3" y="204"/>
                  </a:lnTo>
                  <a:lnTo>
                    <a:pt x="0" y="204"/>
                  </a:lnTo>
                  <a:lnTo>
                    <a:pt x="0" y="202"/>
                  </a:lnTo>
                  <a:lnTo>
                    <a:pt x="3" y="202"/>
                  </a:lnTo>
                  <a:lnTo>
                    <a:pt x="0" y="202"/>
                  </a:lnTo>
                  <a:lnTo>
                    <a:pt x="0" y="199"/>
                  </a:lnTo>
                  <a:lnTo>
                    <a:pt x="3" y="199"/>
                  </a:lnTo>
                  <a:lnTo>
                    <a:pt x="5" y="199"/>
                  </a:lnTo>
                  <a:lnTo>
                    <a:pt x="5" y="197"/>
                  </a:lnTo>
                  <a:lnTo>
                    <a:pt x="8" y="197"/>
                  </a:lnTo>
                  <a:lnTo>
                    <a:pt x="8" y="194"/>
                  </a:lnTo>
                  <a:lnTo>
                    <a:pt x="10" y="194"/>
                  </a:lnTo>
                  <a:lnTo>
                    <a:pt x="10" y="192"/>
                  </a:lnTo>
                  <a:lnTo>
                    <a:pt x="8" y="194"/>
                  </a:lnTo>
                  <a:lnTo>
                    <a:pt x="8" y="192"/>
                  </a:lnTo>
                  <a:lnTo>
                    <a:pt x="8" y="190"/>
                  </a:lnTo>
                  <a:lnTo>
                    <a:pt x="10" y="190"/>
                  </a:lnTo>
                  <a:lnTo>
                    <a:pt x="10" y="187"/>
                  </a:lnTo>
                  <a:lnTo>
                    <a:pt x="10" y="185"/>
                  </a:lnTo>
                  <a:lnTo>
                    <a:pt x="12" y="185"/>
                  </a:lnTo>
                  <a:lnTo>
                    <a:pt x="12" y="183"/>
                  </a:lnTo>
                  <a:lnTo>
                    <a:pt x="12" y="180"/>
                  </a:lnTo>
                  <a:lnTo>
                    <a:pt x="12" y="178"/>
                  </a:lnTo>
                  <a:lnTo>
                    <a:pt x="12" y="175"/>
                  </a:lnTo>
                  <a:lnTo>
                    <a:pt x="10" y="175"/>
                  </a:lnTo>
                  <a:lnTo>
                    <a:pt x="10" y="173"/>
                  </a:lnTo>
                  <a:lnTo>
                    <a:pt x="8" y="173"/>
                  </a:lnTo>
                  <a:lnTo>
                    <a:pt x="8" y="171"/>
                  </a:lnTo>
                  <a:lnTo>
                    <a:pt x="8" y="168"/>
                  </a:lnTo>
                  <a:lnTo>
                    <a:pt x="5" y="168"/>
                  </a:lnTo>
                  <a:lnTo>
                    <a:pt x="5" y="166"/>
                  </a:lnTo>
                  <a:lnTo>
                    <a:pt x="3" y="166"/>
                  </a:lnTo>
                  <a:lnTo>
                    <a:pt x="5" y="164"/>
                  </a:lnTo>
                  <a:lnTo>
                    <a:pt x="3" y="164"/>
                  </a:lnTo>
                  <a:lnTo>
                    <a:pt x="3" y="161"/>
                  </a:lnTo>
                  <a:lnTo>
                    <a:pt x="5" y="161"/>
                  </a:lnTo>
                  <a:lnTo>
                    <a:pt x="8" y="159"/>
                  </a:lnTo>
                  <a:lnTo>
                    <a:pt x="8" y="161"/>
                  </a:lnTo>
                  <a:lnTo>
                    <a:pt x="10" y="161"/>
                  </a:lnTo>
                  <a:lnTo>
                    <a:pt x="10" y="159"/>
                  </a:lnTo>
                  <a:lnTo>
                    <a:pt x="8" y="159"/>
                  </a:lnTo>
                  <a:lnTo>
                    <a:pt x="10" y="159"/>
                  </a:lnTo>
                  <a:lnTo>
                    <a:pt x="12" y="159"/>
                  </a:lnTo>
                  <a:lnTo>
                    <a:pt x="15" y="159"/>
                  </a:lnTo>
                  <a:lnTo>
                    <a:pt x="15" y="161"/>
                  </a:lnTo>
                  <a:lnTo>
                    <a:pt x="17" y="161"/>
                  </a:lnTo>
                  <a:lnTo>
                    <a:pt x="19" y="161"/>
                  </a:lnTo>
                  <a:lnTo>
                    <a:pt x="17" y="161"/>
                  </a:lnTo>
                  <a:lnTo>
                    <a:pt x="17" y="159"/>
                  </a:lnTo>
                  <a:lnTo>
                    <a:pt x="19" y="159"/>
                  </a:lnTo>
                  <a:lnTo>
                    <a:pt x="22" y="159"/>
                  </a:lnTo>
                  <a:lnTo>
                    <a:pt x="24" y="159"/>
                  </a:lnTo>
                  <a:lnTo>
                    <a:pt x="26" y="159"/>
                  </a:lnTo>
                  <a:lnTo>
                    <a:pt x="26" y="156"/>
                  </a:lnTo>
                  <a:lnTo>
                    <a:pt x="29" y="156"/>
                  </a:lnTo>
                  <a:lnTo>
                    <a:pt x="29" y="159"/>
                  </a:lnTo>
                  <a:lnTo>
                    <a:pt x="29" y="156"/>
                  </a:lnTo>
                  <a:lnTo>
                    <a:pt x="31" y="156"/>
                  </a:lnTo>
                  <a:lnTo>
                    <a:pt x="31" y="154"/>
                  </a:lnTo>
                  <a:lnTo>
                    <a:pt x="29" y="152"/>
                  </a:lnTo>
                  <a:lnTo>
                    <a:pt x="26" y="152"/>
                  </a:lnTo>
                  <a:lnTo>
                    <a:pt x="26" y="149"/>
                  </a:lnTo>
                  <a:lnTo>
                    <a:pt x="29" y="149"/>
                  </a:lnTo>
                  <a:lnTo>
                    <a:pt x="29" y="147"/>
                  </a:lnTo>
                  <a:lnTo>
                    <a:pt x="31" y="147"/>
                  </a:lnTo>
                  <a:lnTo>
                    <a:pt x="34" y="147"/>
                  </a:lnTo>
                  <a:lnTo>
                    <a:pt x="34" y="145"/>
                  </a:lnTo>
                  <a:lnTo>
                    <a:pt x="36" y="145"/>
                  </a:lnTo>
                  <a:lnTo>
                    <a:pt x="36" y="142"/>
                  </a:lnTo>
                  <a:lnTo>
                    <a:pt x="38" y="142"/>
                  </a:lnTo>
                  <a:lnTo>
                    <a:pt x="41" y="142"/>
                  </a:lnTo>
                  <a:lnTo>
                    <a:pt x="38" y="140"/>
                  </a:lnTo>
                  <a:lnTo>
                    <a:pt x="38" y="137"/>
                  </a:lnTo>
                  <a:lnTo>
                    <a:pt x="41" y="135"/>
                  </a:lnTo>
                  <a:lnTo>
                    <a:pt x="41" y="133"/>
                  </a:lnTo>
                  <a:lnTo>
                    <a:pt x="38" y="133"/>
                  </a:lnTo>
                  <a:lnTo>
                    <a:pt x="38" y="130"/>
                  </a:lnTo>
                  <a:lnTo>
                    <a:pt x="36" y="130"/>
                  </a:lnTo>
                  <a:lnTo>
                    <a:pt x="34" y="130"/>
                  </a:lnTo>
                  <a:lnTo>
                    <a:pt x="31" y="130"/>
                  </a:lnTo>
                  <a:lnTo>
                    <a:pt x="29" y="130"/>
                  </a:lnTo>
                  <a:lnTo>
                    <a:pt x="29" y="128"/>
                  </a:lnTo>
                  <a:lnTo>
                    <a:pt x="26" y="126"/>
                  </a:lnTo>
                  <a:lnTo>
                    <a:pt x="29" y="126"/>
                  </a:lnTo>
                  <a:lnTo>
                    <a:pt x="31" y="126"/>
                  </a:lnTo>
                  <a:lnTo>
                    <a:pt x="29" y="123"/>
                  </a:lnTo>
                  <a:lnTo>
                    <a:pt x="29" y="121"/>
                  </a:lnTo>
                  <a:lnTo>
                    <a:pt x="31" y="121"/>
                  </a:lnTo>
                  <a:lnTo>
                    <a:pt x="34" y="121"/>
                  </a:lnTo>
                  <a:lnTo>
                    <a:pt x="36" y="121"/>
                  </a:lnTo>
                  <a:lnTo>
                    <a:pt x="38" y="121"/>
                  </a:lnTo>
                  <a:lnTo>
                    <a:pt x="41" y="118"/>
                  </a:lnTo>
                  <a:lnTo>
                    <a:pt x="41" y="114"/>
                  </a:lnTo>
                  <a:lnTo>
                    <a:pt x="41" y="111"/>
                  </a:lnTo>
                  <a:lnTo>
                    <a:pt x="41" y="109"/>
                  </a:lnTo>
                  <a:lnTo>
                    <a:pt x="43" y="107"/>
                  </a:lnTo>
                  <a:lnTo>
                    <a:pt x="45" y="104"/>
                  </a:lnTo>
                  <a:lnTo>
                    <a:pt x="45" y="102"/>
                  </a:lnTo>
                  <a:lnTo>
                    <a:pt x="43" y="99"/>
                  </a:lnTo>
                  <a:lnTo>
                    <a:pt x="45" y="97"/>
                  </a:lnTo>
                  <a:lnTo>
                    <a:pt x="43" y="97"/>
                  </a:lnTo>
                  <a:lnTo>
                    <a:pt x="43" y="95"/>
                  </a:lnTo>
                  <a:lnTo>
                    <a:pt x="45" y="95"/>
                  </a:lnTo>
                  <a:lnTo>
                    <a:pt x="45" y="92"/>
                  </a:lnTo>
                  <a:lnTo>
                    <a:pt x="45" y="90"/>
                  </a:lnTo>
                  <a:lnTo>
                    <a:pt x="45" y="88"/>
                  </a:lnTo>
                  <a:lnTo>
                    <a:pt x="48" y="88"/>
                  </a:lnTo>
                  <a:lnTo>
                    <a:pt x="50" y="88"/>
                  </a:lnTo>
                  <a:lnTo>
                    <a:pt x="50" y="90"/>
                  </a:lnTo>
                  <a:lnTo>
                    <a:pt x="50" y="92"/>
                  </a:lnTo>
                  <a:lnTo>
                    <a:pt x="53" y="92"/>
                  </a:lnTo>
                  <a:lnTo>
                    <a:pt x="50" y="92"/>
                  </a:lnTo>
                  <a:lnTo>
                    <a:pt x="53" y="92"/>
                  </a:lnTo>
                  <a:lnTo>
                    <a:pt x="50" y="92"/>
                  </a:lnTo>
                  <a:lnTo>
                    <a:pt x="50" y="90"/>
                  </a:lnTo>
                  <a:lnTo>
                    <a:pt x="50" y="88"/>
                  </a:lnTo>
                  <a:lnTo>
                    <a:pt x="48" y="88"/>
                  </a:lnTo>
                  <a:lnTo>
                    <a:pt x="45" y="88"/>
                  </a:lnTo>
                  <a:lnTo>
                    <a:pt x="43" y="88"/>
                  </a:lnTo>
                  <a:lnTo>
                    <a:pt x="41" y="88"/>
                  </a:lnTo>
                  <a:lnTo>
                    <a:pt x="38" y="88"/>
                  </a:lnTo>
                  <a:lnTo>
                    <a:pt x="38" y="85"/>
                  </a:lnTo>
                  <a:lnTo>
                    <a:pt x="38" y="83"/>
                  </a:lnTo>
                  <a:lnTo>
                    <a:pt x="38" y="80"/>
                  </a:lnTo>
                  <a:lnTo>
                    <a:pt x="38" y="78"/>
                  </a:lnTo>
                  <a:lnTo>
                    <a:pt x="38" y="76"/>
                  </a:lnTo>
                  <a:lnTo>
                    <a:pt x="41" y="78"/>
                  </a:lnTo>
                  <a:lnTo>
                    <a:pt x="41" y="76"/>
                  </a:lnTo>
                  <a:lnTo>
                    <a:pt x="41" y="78"/>
                  </a:lnTo>
                  <a:lnTo>
                    <a:pt x="43" y="76"/>
                  </a:lnTo>
                  <a:lnTo>
                    <a:pt x="41" y="76"/>
                  </a:lnTo>
                  <a:lnTo>
                    <a:pt x="41" y="73"/>
                  </a:lnTo>
                  <a:lnTo>
                    <a:pt x="43" y="73"/>
                  </a:lnTo>
                  <a:lnTo>
                    <a:pt x="43" y="71"/>
                  </a:lnTo>
                  <a:lnTo>
                    <a:pt x="45" y="71"/>
                  </a:lnTo>
                  <a:lnTo>
                    <a:pt x="48" y="69"/>
                  </a:lnTo>
                  <a:lnTo>
                    <a:pt x="50" y="69"/>
                  </a:lnTo>
                  <a:lnTo>
                    <a:pt x="53" y="69"/>
                  </a:lnTo>
                  <a:lnTo>
                    <a:pt x="55" y="69"/>
                  </a:lnTo>
                  <a:lnTo>
                    <a:pt x="55" y="71"/>
                  </a:lnTo>
                  <a:lnTo>
                    <a:pt x="55" y="69"/>
                  </a:lnTo>
                  <a:lnTo>
                    <a:pt x="57" y="69"/>
                  </a:lnTo>
                  <a:lnTo>
                    <a:pt x="60" y="69"/>
                  </a:lnTo>
                  <a:lnTo>
                    <a:pt x="62" y="69"/>
                  </a:lnTo>
                  <a:lnTo>
                    <a:pt x="64" y="69"/>
                  </a:lnTo>
                  <a:lnTo>
                    <a:pt x="67" y="69"/>
                  </a:lnTo>
                  <a:lnTo>
                    <a:pt x="69" y="69"/>
                  </a:lnTo>
                  <a:lnTo>
                    <a:pt x="72" y="69"/>
                  </a:lnTo>
                  <a:lnTo>
                    <a:pt x="72" y="71"/>
                  </a:lnTo>
                  <a:lnTo>
                    <a:pt x="74" y="71"/>
                  </a:lnTo>
                  <a:lnTo>
                    <a:pt x="74" y="73"/>
                  </a:lnTo>
                  <a:lnTo>
                    <a:pt x="76" y="73"/>
                  </a:lnTo>
                  <a:lnTo>
                    <a:pt x="76" y="76"/>
                  </a:lnTo>
                  <a:lnTo>
                    <a:pt x="76" y="78"/>
                  </a:lnTo>
                  <a:lnTo>
                    <a:pt x="76" y="76"/>
                  </a:lnTo>
                  <a:lnTo>
                    <a:pt x="76" y="78"/>
                  </a:lnTo>
                  <a:lnTo>
                    <a:pt x="74" y="78"/>
                  </a:lnTo>
                  <a:lnTo>
                    <a:pt x="72" y="78"/>
                  </a:lnTo>
                  <a:lnTo>
                    <a:pt x="74" y="80"/>
                  </a:lnTo>
                  <a:lnTo>
                    <a:pt x="76" y="80"/>
                  </a:lnTo>
                  <a:lnTo>
                    <a:pt x="76" y="83"/>
                  </a:lnTo>
                  <a:lnTo>
                    <a:pt x="79" y="83"/>
                  </a:lnTo>
                  <a:lnTo>
                    <a:pt x="81" y="83"/>
                  </a:lnTo>
                  <a:lnTo>
                    <a:pt x="81" y="80"/>
                  </a:lnTo>
                  <a:lnTo>
                    <a:pt x="81" y="78"/>
                  </a:lnTo>
                  <a:lnTo>
                    <a:pt x="79" y="78"/>
                  </a:lnTo>
                  <a:lnTo>
                    <a:pt x="79" y="76"/>
                  </a:lnTo>
                  <a:lnTo>
                    <a:pt x="79" y="73"/>
                  </a:lnTo>
                  <a:lnTo>
                    <a:pt x="81" y="73"/>
                  </a:lnTo>
                  <a:lnTo>
                    <a:pt x="83" y="73"/>
                  </a:lnTo>
                  <a:lnTo>
                    <a:pt x="83" y="76"/>
                  </a:lnTo>
                  <a:lnTo>
                    <a:pt x="86" y="76"/>
                  </a:lnTo>
                  <a:lnTo>
                    <a:pt x="88" y="76"/>
                  </a:lnTo>
                  <a:lnTo>
                    <a:pt x="88" y="78"/>
                  </a:lnTo>
                  <a:lnTo>
                    <a:pt x="86" y="80"/>
                  </a:lnTo>
                  <a:lnTo>
                    <a:pt x="86" y="83"/>
                  </a:lnTo>
                  <a:lnTo>
                    <a:pt x="86" y="85"/>
                  </a:lnTo>
                  <a:lnTo>
                    <a:pt x="88" y="85"/>
                  </a:lnTo>
                  <a:lnTo>
                    <a:pt x="86" y="88"/>
                  </a:lnTo>
                  <a:lnTo>
                    <a:pt x="86" y="90"/>
                  </a:lnTo>
                  <a:lnTo>
                    <a:pt x="86" y="92"/>
                  </a:lnTo>
                  <a:lnTo>
                    <a:pt x="88" y="92"/>
                  </a:lnTo>
                  <a:lnTo>
                    <a:pt x="88" y="95"/>
                  </a:lnTo>
                  <a:lnTo>
                    <a:pt x="91" y="95"/>
                  </a:lnTo>
                  <a:lnTo>
                    <a:pt x="91" y="97"/>
                  </a:lnTo>
                  <a:lnTo>
                    <a:pt x="93" y="97"/>
                  </a:lnTo>
                  <a:lnTo>
                    <a:pt x="95" y="97"/>
                  </a:lnTo>
                  <a:lnTo>
                    <a:pt x="95" y="99"/>
                  </a:lnTo>
                  <a:lnTo>
                    <a:pt x="95" y="97"/>
                  </a:lnTo>
                  <a:lnTo>
                    <a:pt x="95" y="99"/>
                  </a:lnTo>
                  <a:lnTo>
                    <a:pt x="98" y="99"/>
                  </a:lnTo>
                  <a:lnTo>
                    <a:pt x="95" y="99"/>
                  </a:lnTo>
                  <a:lnTo>
                    <a:pt x="95" y="97"/>
                  </a:lnTo>
                  <a:lnTo>
                    <a:pt x="93" y="97"/>
                  </a:lnTo>
                  <a:lnTo>
                    <a:pt x="91" y="97"/>
                  </a:lnTo>
                  <a:lnTo>
                    <a:pt x="91" y="95"/>
                  </a:lnTo>
                  <a:lnTo>
                    <a:pt x="88" y="95"/>
                  </a:lnTo>
                  <a:lnTo>
                    <a:pt x="88" y="92"/>
                  </a:lnTo>
                  <a:lnTo>
                    <a:pt x="86" y="92"/>
                  </a:lnTo>
                  <a:lnTo>
                    <a:pt x="86" y="90"/>
                  </a:lnTo>
                  <a:lnTo>
                    <a:pt x="88" y="88"/>
                  </a:lnTo>
                  <a:lnTo>
                    <a:pt x="86" y="88"/>
                  </a:lnTo>
                  <a:lnTo>
                    <a:pt x="88" y="88"/>
                  </a:lnTo>
                  <a:lnTo>
                    <a:pt x="88" y="85"/>
                  </a:lnTo>
                  <a:lnTo>
                    <a:pt x="88" y="88"/>
                  </a:lnTo>
                  <a:lnTo>
                    <a:pt x="88" y="85"/>
                  </a:lnTo>
                  <a:lnTo>
                    <a:pt x="88" y="83"/>
                  </a:lnTo>
                  <a:lnTo>
                    <a:pt x="88" y="80"/>
                  </a:lnTo>
                  <a:lnTo>
                    <a:pt x="88" y="78"/>
                  </a:lnTo>
                  <a:lnTo>
                    <a:pt x="91" y="78"/>
                  </a:lnTo>
                  <a:lnTo>
                    <a:pt x="91" y="76"/>
                  </a:lnTo>
                  <a:lnTo>
                    <a:pt x="88" y="76"/>
                  </a:lnTo>
                  <a:lnTo>
                    <a:pt x="88" y="73"/>
                  </a:lnTo>
                  <a:lnTo>
                    <a:pt x="88" y="71"/>
                  </a:lnTo>
                  <a:lnTo>
                    <a:pt x="86" y="71"/>
                  </a:lnTo>
                  <a:lnTo>
                    <a:pt x="86" y="69"/>
                  </a:lnTo>
                  <a:lnTo>
                    <a:pt x="88" y="69"/>
                  </a:lnTo>
                  <a:lnTo>
                    <a:pt x="86" y="69"/>
                  </a:lnTo>
                  <a:lnTo>
                    <a:pt x="88" y="66"/>
                  </a:lnTo>
                  <a:lnTo>
                    <a:pt x="88" y="64"/>
                  </a:lnTo>
                  <a:lnTo>
                    <a:pt x="88" y="61"/>
                  </a:lnTo>
                  <a:lnTo>
                    <a:pt x="91" y="61"/>
                  </a:lnTo>
                  <a:lnTo>
                    <a:pt x="91" y="59"/>
                  </a:lnTo>
                  <a:lnTo>
                    <a:pt x="93" y="59"/>
                  </a:lnTo>
                  <a:lnTo>
                    <a:pt x="95" y="59"/>
                  </a:lnTo>
                  <a:lnTo>
                    <a:pt x="95" y="61"/>
                  </a:lnTo>
                  <a:lnTo>
                    <a:pt x="98" y="61"/>
                  </a:lnTo>
                  <a:lnTo>
                    <a:pt x="100" y="61"/>
                  </a:lnTo>
                  <a:lnTo>
                    <a:pt x="102" y="61"/>
                  </a:lnTo>
                  <a:lnTo>
                    <a:pt x="105" y="61"/>
                  </a:lnTo>
                  <a:lnTo>
                    <a:pt x="105" y="64"/>
                  </a:lnTo>
                  <a:lnTo>
                    <a:pt x="105" y="61"/>
                  </a:lnTo>
                  <a:lnTo>
                    <a:pt x="107" y="61"/>
                  </a:lnTo>
                  <a:lnTo>
                    <a:pt x="107" y="59"/>
                  </a:lnTo>
                  <a:lnTo>
                    <a:pt x="110" y="59"/>
                  </a:lnTo>
                  <a:lnTo>
                    <a:pt x="112" y="59"/>
                  </a:lnTo>
                  <a:lnTo>
                    <a:pt x="112" y="61"/>
                  </a:lnTo>
                  <a:lnTo>
                    <a:pt x="114" y="61"/>
                  </a:lnTo>
                  <a:lnTo>
                    <a:pt x="114" y="64"/>
                  </a:lnTo>
                  <a:lnTo>
                    <a:pt x="117" y="64"/>
                  </a:lnTo>
                  <a:lnTo>
                    <a:pt x="117" y="66"/>
                  </a:lnTo>
                  <a:lnTo>
                    <a:pt x="119" y="69"/>
                  </a:lnTo>
                  <a:lnTo>
                    <a:pt x="119" y="71"/>
                  </a:lnTo>
                  <a:lnTo>
                    <a:pt x="121" y="71"/>
                  </a:lnTo>
                  <a:lnTo>
                    <a:pt x="119" y="71"/>
                  </a:lnTo>
                  <a:lnTo>
                    <a:pt x="121" y="71"/>
                  </a:lnTo>
                  <a:lnTo>
                    <a:pt x="121" y="73"/>
                  </a:lnTo>
                  <a:lnTo>
                    <a:pt x="124" y="73"/>
                  </a:lnTo>
                  <a:lnTo>
                    <a:pt x="124" y="76"/>
                  </a:lnTo>
                  <a:lnTo>
                    <a:pt x="126" y="76"/>
                  </a:lnTo>
                  <a:lnTo>
                    <a:pt x="129" y="76"/>
                  </a:lnTo>
                  <a:lnTo>
                    <a:pt x="131" y="76"/>
                  </a:lnTo>
                  <a:lnTo>
                    <a:pt x="131" y="78"/>
                  </a:lnTo>
                  <a:lnTo>
                    <a:pt x="131" y="76"/>
                  </a:lnTo>
                  <a:lnTo>
                    <a:pt x="133" y="76"/>
                  </a:lnTo>
                  <a:lnTo>
                    <a:pt x="133" y="78"/>
                  </a:lnTo>
                  <a:lnTo>
                    <a:pt x="133" y="76"/>
                  </a:lnTo>
                  <a:lnTo>
                    <a:pt x="133" y="78"/>
                  </a:lnTo>
                  <a:lnTo>
                    <a:pt x="133" y="76"/>
                  </a:lnTo>
                  <a:lnTo>
                    <a:pt x="136" y="76"/>
                  </a:lnTo>
                  <a:lnTo>
                    <a:pt x="136" y="78"/>
                  </a:lnTo>
                  <a:lnTo>
                    <a:pt x="136" y="80"/>
                  </a:lnTo>
                  <a:lnTo>
                    <a:pt x="138" y="80"/>
                  </a:lnTo>
                  <a:lnTo>
                    <a:pt x="140" y="80"/>
                  </a:lnTo>
                  <a:lnTo>
                    <a:pt x="140" y="83"/>
                  </a:lnTo>
                  <a:lnTo>
                    <a:pt x="143" y="83"/>
                  </a:lnTo>
                  <a:lnTo>
                    <a:pt x="145" y="83"/>
                  </a:lnTo>
                  <a:lnTo>
                    <a:pt x="147" y="83"/>
                  </a:lnTo>
                  <a:lnTo>
                    <a:pt x="150" y="83"/>
                  </a:lnTo>
                  <a:lnTo>
                    <a:pt x="152" y="83"/>
                  </a:lnTo>
                  <a:lnTo>
                    <a:pt x="152" y="85"/>
                  </a:lnTo>
                  <a:lnTo>
                    <a:pt x="155" y="85"/>
                  </a:lnTo>
                  <a:lnTo>
                    <a:pt x="157" y="85"/>
                  </a:lnTo>
                  <a:lnTo>
                    <a:pt x="159" y="85"/>
                  </a:lnTo>
                  <a:lnTo>
                    <a:pt x="162" y="85"/>
                  </a:lnTo>
                  <a:lnTo>
                    <a:pt x="162" y="88"/>
                  </a:lnTo>
                  <a:lnTo>
                    <a:pt x="162" y="90"/>
                  </a:lnTo>
                  <a:lnTo>
                    <a:pt x="164" y="90"/>
                  </a:lnTo>
                  <a:lnTo>
                    <a:pt x="166" y="92"/>
                  </a:lnTo>
                  <a:lnTo>
                    <a:pt x="169" y="95"/>
                  </a:lnTo>
                  <a:lnTo>
                    <a:pt x="171" y="95"/>
                  </a:lnTo>
                  <a:lnTo>
                    <a:pt x="171" y="97"/>
                  </a:lnTo>
                  <a:lnTo>
                    <a:pt x="174" y="97"/>
                  </a:lnTo>
                  <a:lnTo>
                    <a:pt x="174" y="95"/>
                  </a:lnTo>
                  <a:lnTo>
                    <a:pt x="176" y="95"/>
                  </a:lnTo>
                  <a:lnTo>
                    <a:pt x="176" y="97"/>
                  </a:lnTo>
                  <a:lnTo>
                    <a:pt x="178" y="97"/>
                  </a:lnTo>
                  <a:lnTo>
                    <a:pt x="178" y="99"/>
                  </a:lnTo>
                  <a:lnTo>
                    <a:pt x="181" y="99"/>
                  </a:lnTo>
                  <a:lnTo>
                    <a:pt x="181" y="102"/>
                  </a:lnTo>
                  <a:lnTo>
                    <a:pt x="181" y="99"/>
                  </a:lnTo>
                  <a:lnTo>
                    <a:pt x="183" y="99"/>
                  </a:lnTo>
                  <a:lnTo>
                    <a:pt x="185" y="99"/>
                  </a:lnTo>
                  <a:lnTo>
                    <a:pt x="185" y="102"/>
                  </a:lnTo>
                  <a:lnTo>
                    <a:pt x="188" y="102"/>
                  </a:lnTo>
                  <a:lnTo>
                    <a:pt x="190" y="102"/>
                  </a:lnTo>
                  <a:lnTo>
                    <a:pt x="190" y="104"/>
                  </a:lnTo>
                  <a:lnTo>
                    <a:pt x="190" y="102"/>
                  </a:lnTo>
                  <a:lnTo>
                    <a:pt x="193" y="102"/>
                  </a:lnTo>
                  <a:lnTo>
                    <a:pt x="193" y="104"/>
                  </a:lnTo>
                  <a:lnTo>
                    <a:pt x="195" y="104"/>
                  </a:lnTo>
                  <a:lnTo>
                    <a:pt x="195" y="107"/>
                  </a:lnTo>
                  <a:lnTo>
                    <a:pt x="197" y="107"/>
                  </a:lnTo>
                  <a:lnTo>
                    <a:pt x="197" y="109"/>
                  </a:lnTo>
                  <a:lnTo>
                    <a:pt x="200" y="109"/>
                  </a:lnTo>
                  <a:lnTo>
                    <a:pt x="202" y="109"/>
                  </a:lnTo>
                  <a:lnTo>
                    <a:pt x="204" y="109"/>
                  </a:lnTo>
                  <a:lnTo>
                    <a:pt x="204" y="111"/>
                  </a:lnTo>
                  <a:lnTo>
                    <a:pt x="202" y="111"/>
                  </a:lnTo>
                  <a:lnTo>
                    <a:pt x="204" y="111"/>
                  </a:lnTo>
                  <a:lnTo>
                    <a:pt x="204" y="114"/>
                  </a:lnTo>
                  <a:lnTo>
                    <a:pt x="204" y="116"/>
                  </a:lnTo>
                  <a:lnTo>
                    <a:pt x="204" y="118"/>
                  </a:lnTo>
                  <a:lnTo>
                    <a:pt x="202" y="118"/>
                  </a:lnTo>
                  <a:lnTo>
                    <a:pt x="202" y="121"/>
                  </a:lnTo>
                  <a:lnTo>
                    <a:pt x="202" y="123"/>
                  </a:lnTo>
                  <a:lnTo>
                    <a:pt x="202" y="126"/>
                  </a:lnTo>
                  <a:lnTo>
                    <a:pt x="202" y="123"/>
                  </a:lnTo>
                  <a:lnTo>
                    <a:pt x="202" y="121"/>
                  </a:lnTo>
                  <a:lnTo>
                    <a:pt x="204" y="121"/>
                  </a:lnTo>
                  <a:lnTo>
                    <a:pt x="202" y="121"/>
                  </a:lnTo>
                  <a:lnTo>
                    <a:pt x="202" y="118"/>
                  </a:lnTo>
                  <a:lnTo>
                    <a:pt x="204" y="118"/>
                  </a:lnTo>
                  <a:lnTo>
                    <a:pt x="204" y="116"/>
                  </a:lnTo>
                  <a:lnTo>
                    <a:pt x="204" y="114"/>
                  </a:lnTo>
                  <a:lnTo>
                    <a:pt x="204" y="111"/>
                  </a:lnTo>
                  <a:lnTo>
                    <a:pt x="204" y="109"/>
                  </a:lnTo>
                  <a:lnTo>
                    <a:pt x="202" y="109"/>
                  </a:lnTo>
                  <a:lnTo>
                    <a:pt x="200" y="109"/>
                  </a:lnTo>
                  <a:lnTo>
                    <a:pt x="197" y="109"/>
                  </a:lnTo>
                  <a:lnTo>
                    <a:pt x="197" y="107"/>
                  </a:lnTo>
                  <a:lnTo>
                    <a:pt x="197" y="104"/>
                  </a:lnTo>
                  <a:lnTo>
                    <a:pt x="197" y="107"/>
                  </a:lnTo>
                  <a:lnTo>
                    <a:pt x="195" y="104"/>
                  </a:lnTo>
                  <a:lnTo>
                    <a:pt x="193" y="104"/>
                  </a:lnTo>
                  <a:lnTo>
                    <a:pt x="193" y="102"/>
                  </a:lnTo>
                  <a:lnTo>
                    <a:pt x="190" y="102"/>
                  </a:lnTo>
                  <a:lnTo>
                    <a:pt x="188" y="102"/>
                  </a:lnTo>
                  <a:lnTo>
                    <a:pt x="188" y="99"/>
                  </a:lnTo>
                  <a:lnTo>
                    <a:pt x="188" y="102"/>
                  </a:lnTo>
                  <a:lnTo>
                    <a:pt x="185" y="102"/>
                  </a:lnTo>
                  <a:lnTo>
                    <a:pt x="185" y="99"/>
                  </a:lnTo>
                  <a:lnTo>
                    <a:pt x="183" y="99"/>
                  </a:lnTo>
                  <a:lnTo>
                    <a:pt x="181" y="99"/>
                  </a:lnTo>
                  <a:lnTo>
                    <a:pt x="178" y="99"/>
                  </a:lnTo>
                  <a:lnTo>
                    <a:pt x="178" y="97"/>
                  </a:lnTo>
                  <a:lnTo>
                    <a:pt x="176" y="97"/>
                  </a:lnTo>
                  <a:lnTo>
                    <a:pt x="176" y="95"/>
                  </a:lnTo>
                  <a:lnTo>
                    <a:pt x="174" y="95"/>
                  </a:lnTo>
                  <a:lnTo>
                    <a:pt x="174" y="97"/>
                  </a:lnTo>
                  <a:lnTo>
                    <a:pt x="171" y="97"/>
                  </a:lnTo>
                  <a:lnTo>
                    <a:pt x="171" y="95"/>
                  </a:lnTo>
                  <a:lnTo>
                    <a:pt x="169" y="95"/>
                  </a:lnTo>
                  <a:lnTo>
                    <a:pt x="169" y="92"/>
                  </a:lnTo>
                  <a:lnTo>
                    <a:pt x="166" y="92"/>
                  </a:lnTo>
                  <a:lnTo>
                    <a:pt x="166" y="90"/>
                  </a:lnTo>
                  <a:lnTo>
                    <a:pt x="164" y="90"/>
                  </a:lnTo>
                  <a:lnTo>
                    <a:pt x="162" y="90"/>
                  </a:lnTo>
                  <a:lnTo>
                    <a:pt x="162" y="88"/>
                  </a:lnTo>
                  <a:lnTo>
                    <a:pt x="162" y="85"/>
                  </a:lnTo>
                  <a:lnTo>
                    <a:pt x="159" y="85"/>
                  </a:lnTo>
                  <a:lnTo>
                    <a:pt x="157" y="85"/>
                  </a:lnTo>
                  <a:lnTo>
                    <a:pt x="155" y="85"/>
                  </a:lnTo>
                  <a:lnTo>
                    <a:pt x="152" y="85"/>
                  </a:lnTo>
                  <a:lnTo>
                    <a:pt x="152" y="83"/>
                  </a:lnTo>
                  <a:lnTo>
                    <a:pt x="150" y="83"/>
                  </a:lnTo>
                  <a:lnTo>
                    <a:pt x="147" y="83"/>
                  </a:lnTo>
                  <a:lnTo>
                    <a:pt x="145" y="83"/>
                  </a:lnTo>
                  <a:lnTo>
                    <a:pt x="143" y="83"/>
                  </a:lnTo>
                  <a:lnTo>
                    <a:pt x="140" y="83"/>
                  </a:lnTo>
                  <a:lnTo>
                    <a:pt x="140" y="80"/>
                  </a:lnTo>
                  <a:lnTo>
                    <a:pt x="138" y="80"/>
                  </a:lnTo>
                  <a:lnTo>
                    <a:pt x="138" y="78"/>
                  </a:lnTo>
                  <a:lnTo>
                    <a:pt x="138" y="76"/>
                  </a:lnTo>
                  <a:lnTo>
                    <a:pt x="136" y="76"/>
                  </a:lnTo>
                  <a:lnTo>
                    <a:pt x="133" y="76"/>
                  </a:lnTo>
                  <a:lnTo>
                    <a:pt x="131" y="76"/>
                  </a:lnTo>
                  <a:lnTo>
                    <a:pt x="129" y="76"/>
                  </a:lnTo>
                  <a:lnTo>
                    <a:pt x="126" y="76"/>
                  </a:lnTo>
                  <a:lnTo>
                    <a:pt x="126" y="73"/>
                  </a:lnTo>
                  <a:lnTo>
                    <a:pt x="124" y="73"/>
                  </a:lnTo>
                  <a:lnTo>
                    <a:pt x="121" y="73"/>
                  </a:lnTo>
                  <a:lnTo>
                    <a:pt x="121" y="71"/>
                  </a:lnTo>
                  <a:lnTo>
                    <a:pt x="121" y="69"/>
                  </a:lnTo>
                  <a:lnTo>
                    <a:pt x="119" y="66"/>
                  </a:lnTo>
                  <a:lnTo>
                    <a:pt x="117" y="66"/>
                  </a:lnTo>
                  <a:lnTo>
                    <a:pt x="117" y="64"/>
                  </a:lnTo>
                  <a:lnTo>
                    <a:pt x="117" y="61"/>
                  </a:lnTo>
                  <a:lnTo>
                    <a:pt x="114" y="61"/>
                  </a:lnTo>
                  <a:lnTo>
                    <a:pt x="114" y="59"/>
                  </a:lnTo>
                  <a:lnTo>
                    <a:pt x="112" y="59"/>
                  </a:lnTo>
                  <a:lnTo>
                    <a:pt x="110" y="59"/>
                  </a:lnTo>
                  <a:lnTo>
                    <a:pt x="107" y="59"/>
                  </a:lnTo>
                  <a:lnTo>
                    <a:pt x="110" y="59"/>
                  </a:lnTo>
                  <a:lnTo>
                    <a:pt x="110" y="57"/>
                  </a:lnTo>
                  <a:lnTo>
                    <a:pt x="112" y="57"/>
                  </a:lnTo>
                  <a:lnTo>
                    <a:pt x="112" y="54"/>
                  </a:lnTo>
                  <a:lnTo>
                    <a:pt x="114" y="54"/>
                  </a:lnTo>
                  <a:lnTo>
                    <a:pt x="114" y="50"/>
                  </a:lnTo>
                  <a:lnTo>
                    <a:pt x="114" y="47"/>
                  </a:lnTo>
                  <a:lnTo>
                    <a:pt x="114" y="45"/>
                  </a:lnTo>
                  <a:lnTo>
                    <a:pt x="117" y="45"/>
                  </a:lnTo>
                  <a:lnTo>
                    <a:pt x="119" y="45"/>
                  </a:lnTo>
                  <a:lnTo>
                    <a:pt x="121" y="42"/>
                  </a:lnTo>
                  <a:lnTo>
                    <a:pt x="124" y="42"/>
                  </a:lnTo>
                  <a:lnTo>
                    <a:pt x="124" y="40"/>
                  </a:lnTo>
                  <a:lnTo>
                    <a:pt x="126" y="40"/>
                  </a:lnTo>
                  <a:lnTo>
                    <a:pt x="126" y="38"/>
                  </a:lnTo>
                  <a:lnTo>
                    <a:pt x="129" y="38"/>
                  </a:lnTo>
                  <a:lnTo>
                    <a:pt x="129" y="35"/>
                  </a:lnTo>
                  <a:lnTo>
                    <a:pt x="131" y="35"/>
                  </a:lnTo>
                  <a:lnTo>
                    <a:pt x="133" y="35"/>
                  </a:lnTo>
                  <a:lnTo>
                    <a:pt x="136" y="35"/>
                  </a:lnTo>
                  <a:lnTo>
                    <a:pt x="136" y="38"/>
                  </a:lnTo>
                  <a:lnTo>
                    <a:pt x="136" y="35"/>
                  </a:lnTo>
                  <a:lnTo>
                    <a:pt x="138" y="35"/>
                  </a:lnTo>
                  <a:lnTo>
                    <a:pt x="140" y="35"/>
                  </a:lnTo>
                  <a:lnTo>
                    <a:pt x="143" y="35"/>
                  </a:lnTo>
                  <a:lnTo>
                    <a:pt x="140" y="35"/>
                  </a:lnTo>
                  <a:lnTo>
                    <a:pt x="143" y="35"/>
                  </a:lnTo>
                  <a:lnTo>
                    <a:pt x="140" y="35"/>
                  </a:lnTo>
                  <a:lnTo>
                    <a:pt x="143" y="35"/>
                  </a:lnTo>
                  <a:lnTo>
                    <a:pt x="140" y="38"/>
                  </a:lnTo>
                  <a:lnTo>
                    <a:pt x="143" y="38"/>
                  </a:lnTo>
                  <a:lnTo>
                    <a:pt x="143" y="35"/>
                  </a:lnTo>
                  <a:lnTo>
                    <a:pt x="143" y="33"/>
                  </a:lnTo>
                  <a:lnTo>
                    <a:pt x="145" y="33"/>
                  </a:lnTo>
                  <a:lnTo>
                    <a:pt x="147" y="33"/>
                  </a:lnTo>
                  <a:lnTo>
                    <a:pt x="145" y="33"/>
                  </a:lnTo>
                  <a:lnTo>
                    <a:pt x="147" y="31"/>
                  </a:lnTo>
                  <a:lnTo>
                    <a:pt x="150" y="33"/>
                  </a:lnTo>
                  <a:lnTo>
                    <a:pt x="152" y="33"/>
                  </a:lnTo>
                  <a:lnTo>
                    <a:pt x="155" y="33"/>
                  </a:lnTo>
                  <a:lnTo>
                    <a:pt x="155" y="35"/>
                  </a:lnTo>
                  <a:lnTo>
                    <a:pt x="157" y="35"/>
                  </a:lnTo>
                  <a:lnTo>
                    <a:pt x="157" y="38"/>
                  </a:lnTo>
                  <a:lnTo>
                    <a:pt x="159" y="38"/>
                  </a:lnTo>
                  <a:lnTo>
                    <a:pt x="162" y="38"/>
                  </a:lnTo>
                  <a:lnTo>
                    <a:pt x="164" y="38"/>
                  </a:lnTo>
                  <a:lnTo>
                    <a:pt x="164" y="35"/>
                  </a:lnTo>
                  <a:lnTo>
                    <a:pt x="166" y="35"/>
                  </a:lnTo>
                  <a:lnTo>
                    <a:pt x="169" y="33"/>
                  </a:lnTo>
                  <a:lnTo>
                    <a:pt x="169" y="35"/>
                  </a:lnTo>
                  <a:lnTo>
                    <a:pt x="171" y="35"/>
                  </a:lnTo>
                  <a:lnTo>
                    <a:pt x="169" y="35"/>
                  </a:lnTo>
                  <a:lnTo>
                    <a:pt x="171" y="35"/>
                  </a:lnTo>
                  <a:lnTo>
                    <a:pt x="171" y="33"/>
                  </a:lnTo>
                  <a:lnTo>
                    <a:pt x="174" y="33"/>
                  </a:lnTo>
                  <a:lnTo>
                    <a:pt x="174" y="35"/>
                  </a:lnTo>
                  <a:lnTo>
                    <a:pt x="171" y="35"/>
                  </a:lnTo>
                  <a:lnTo>
                    <a:pt x="171" y="38"/>
                  </a:lnTo>
                  <a:lnTo>
                    <a:pt x="171" y="40"/>
                  </a:lnTo>
                  <a:lnTo>
                    <a:pt x="174" y="42"/>
                  </a:lnTo>
                  <a:lnTo>
                    <a:pt x="171" y="42"/>
                  </a:lnTo>
                  <a:lnTo>
                    <a:pt x="171" y="45"/>
                  </a:lnTo>
                  <a:lnTo>
                    <a:pt x="169" y="45"/>
                  </a:lnTo>
                  <a:lnTo>
                    <a:pt x="169" y="47"/>
                  </a:lnTo>
                  <a:lnTo>
                    <a:pt x="166" y="47"/>
                  </a:lnTo>
                  <a:lnTo>
                    <a:pt x="166" y="50"/>
                  </a:lnTo>
                  <a:lnTo>
                    <a:pt x="164" y="50"/>
                  </a:lnTo>
                  <a:lnTo>
                    <a:pt x="162" y="50"/>
                  </a:lnTo>
                  <a:lnTo>
                    <a:pt x="162" y="52"/>
                  </a:lnTo>
                  <a:lnTo>
                    <a:pt x="162" y="54"/>
                  </a:lnTo>
                  <a:lnTo>
                    <a:pt x="164" y="54"/>
                  </a:lnTo>
                  <a:lnTo>
                    <a:pt x="166" y="54"/>
                  </a:lnTo>
                  <a:lnTo>
                    <a:pt x="164" y="57"/>
                  </a:lnTo>
                  <a:lnTo>
                    <a:pt x="164" y="59"/>
                  </a:lnTo>
                  <a:lnTo>
                    <a:pt x="162" y="59"/>
                  </a:lnTo>
                  <a:lnTo>
                    <a:pt x="162" y="57"/>
                  </a:lnTo>
                  <a:lnTo>
                    <a:pt x="162" y="59"/>
                  </a:lnTo>
                  <a:lnTo>
                    <a:pt x="159" y="59"/>
                  </a:lnTo>
                  <a:lnTo>
                    <a:pt x="162" y="59"/>
                  </a:lnTo>
                  <a:lnTo>
                    <a:pt x="164" y="59"/>
                  </a:lnTo>
                  <a:lnTo>
                    <a:pt x="166" y="57"/>
                  </a:lnTo>
                  <a:lnTo>
                    <a:pt x="166" y="59"/>
                  </a:lnTo>
                  <a:lnTo>
                    <a:pt x="169" y="59"/>
                  </a:lnTo>
                  <a:lnTo>
                    <a:pt x="169" y="57"/>
                  </a:lnTo>
                  <a:lnTo>
                    <a:pt x="169" y="59"/>
                  </a:lnTo>
                  <a:lnTo>
                    <a:pt x="169" y="57"/>
                  </a:lnTo>
                  <a:lnTo>
                    <a:pt x="166" y="57"/>
                  </a:lnTo>
                  <a:lnTo>
                    <a:pt x="164" y="57"/>
                  </a:lnTo>
                  <a:lnTo>
                    <a:pt x="166" y="57"/>
                  </a:lnTo>
                  <a:lnTo>
                    <a:pt x="166" y="54"/>
                  </a:lnTo>
                  <a:lnTo>
                    <a:pt x="166" y="57"/>
                  </a:lnTo>
                  <a:lnTo>
                    <a:pt x="166" y="54"/>
                  </a:lnTo>
                  <a:lnTo>
                    <a:pt x="169" y="54"/>
                  </a:lnTo>
                  <a:lnTo>
                    <a:pt x="171" y="54"/>
                  </a:lnTo>
                  <a:lnTo>
                    <a:pt x="171" y="52"/>
                  </a:lnTo>
                  <a:lnTo>
                    <a:pt x="174" y="52"/>
                  </a:lnTo>
                  <a:lnTo>
                    <a:pt x="176" y="52"/>
                  </a:lnTo>
                  <a:lnTo>
                    <a:pt x="176" y="54"/>
                  </a:lnTo>
                  <a:lnTo>
                    <a:pt x="178" y="54"/>
                  </a:lnTo>
                  <a:lnTo>
                    <a:pt x="178" y="57"/>
                  </a:lnTo>
                  <a:lnTo>
                    <a:pt x="181" y="57"/>
                  </a:lnTo>
                  <a:lnTo>
                    <a:pt x="181" y="54"/>
                  </a:lnTo>
                  <a:lnTo>
                    <a:pt x="181" y="57"/>
                  </a:lnTo>
                  <a:lnTo>
                    <a:pt x="183" y="57"/>
                  </a:lnTo>
                  <a:lnTo>
                    <a:pt x="183" y="59"/>
                  </a:lnTo>
                  <a:lnTo>
                    <a:pt x="185" y="59"/>
                  </a:lnTo>
                  <a:lnTo>
                    <a:pt x="183" y="59"/>
                  </a:lnTo>
                  <a:lnTo>
                    <a:pt x="185" y="59"/>
                  </a:lnTo>
                  <a:lnTo>
                    <a:pt x="183" y="57"/>
                  </a:lnTo>
                  <a:lnTo>
                    <a:pt x="185" y="57"/>
                  </a:lnTo>
                  <a:lnTo>
                    <a:pt x="185" y="54"/>
                  </a:lnTo>
                  <a:lnTo>
                    <a:pt x="183" y="54"/>
                  </a:lnTo>
                  <a:lnTo>
                    <a:pt x="185" y="54"/>
                  </a:lnTo>
                  <a:lnTo>
                    <a:pt x="183" y="54"/>
                  </a:lnTo>
                  <a:lnTo>
                    <a:pt x="183" y="52"/>
                  </a:lnTo>
                  <a:lnTo>
                    <a:pt x="185" y="52"/>
                  </a:lnTo>
                  <a:lnTo>
                    <a:pt x="185" y="54"/>
                  </a:lnTo>
                  <a:lnTo>
                    <a:pt x="185" y="52"/>
                  </a:lnTo>
                  <a:lnTo>
                    <a:pt x="188" y="52"/>
                  </a:lnTo>
                  <a:lnTo>
                    <a:pt x="185" y="52"/>
                  </a:lnTo>
                  <a:lnTo>
                    <a:pt x="188" y="52"/>
                  </a:lnTo>
                  <a:lnTo>
                    <a:pt x="188" y="50"/>
                  </a:lnTo>
                  <a:lnTo>
                    <a:pt x="190" y="50"/>
                  </a:lnTo>
                  <a:lnTo>
                    <a:pt x="190" y="47"/>
                  </a:lnTo>
                  <a:lnTo>
                    <a:pt x="190" y="50"/>
                  </a:lnTo>
                  <a:lnTo>
                    <a:pt x="188" y="50"/>
                  </a:lnTo>
                  <a:lnTo>
                    <a:pt x="188" y="52"/>
                  </a:lnTo>
                  <a:lnTo>
                    <a:pt x="188" y="50"/>
                  </a:lnTo>
                  <a:lnTo>
                    <a:pt x="188" y="47"/>
                  </a:lnTo>
                  <a:lnTo>
                    <a:pt x="190" y="47"/>
                  </a:lnTo>
                  <a:lnTo>
                    <a:pt x="193" y="47"/>
                  </a:lnTo>
                  <a:lnTo>
                    <a:pt x="193" y="45"/>
                  </a:lnTo>
                  <a:lnTo>
                    <a:pt x="195" y="45"/>
                  </a:lnTo>
                  <a:lnTo>
                    <a:pt x="197" y="47"/>
                  </a:lnTo>
                  <a:lnTo>
                    <a:pt x="200" y="45"/>
                  </a:lnTo>
                  <a:lnTo>
                    <a:pt x="202" y="45"/>
                  </a:lnTo>
                  <a:lnTo>
                    <a:pt x="204" y="45"/>
                  </a:lnTo>
                  <a:lnTo>
                    <a:pt x="207" y="45"/>
                  </a:lnTo>
                  <a:lnTo>
                    <a:pt x="204" y="45"/>
                  </a:lnTo>
                  <a:lnTo>
                    <a:pt x="204" y="47"/>
                  </a:lnTo>
                  <a:lnTo>
                    <a:pt x="207" y="47"/>
                  </a:lnTo>
                  <a:lnTo>
                    <a:pt x="204" y="47"/>
                  </a:lnTo>
                  <a:lnTo>
                    <a:pt x="207" y="47"/>
                  </a:lnTo>
                  <a:lnTo>
                    <a:pt x="207" y="50"/>
                  </a:lnTo>
                  <a:lnTo>
                    <a:pt x="207" y="47"/>
                  </a:lnTo>
                  <a:lnTo>
                    <a:pt x="207" y="50"/>
                  </a:lnTo>
                  <a:lnTo>
                    <a:pt x="207" y="47"/>
                  </a:lnTo>
                  <a:lnTo>
                    <a:pt x="207" y="45"/>
                  </a:lnTo>
                  <a:lnTo>
                    <a:pt x="207" y="42"/>
                  </a:lnTo>
                  <a:lnTo>
                    <a:pt x="209" y="42"/>
                  </a:lnTo>
                  <a:lnTo>
                    <a:pt x="209" y="40"/>
                  </a:lnTo>
                  <a:lnTo>
                    <a:pt x="212" y="40"/>
                  </a:lnTo>
                  <a:lnTo>
                    <a:pt x="214" y="40"/>
                  </a:lnTo>
                  <a:lnTo>
                    <a:pt x="214" y="38"/>
                  </a:lnTo>
                  <a:lnTo>
                    <a:pt x="214" y="35"/>
                  </a:lnTo>
                  <a:lnTo>
                    <a:pt x="216" y="35"/>
                  </a:lnTo>
                  <a:lnTo>
                    <a:pt x="216" y="33"/>
                  </a:lnTo>
                  <a:lnTo>
                    <a:pt x="219" y="33"/>
                  </a:lnTo>
                  <a:lnTo>
                    <a:pt x="219" y="31"/>
                  </a:lnTo>
                  <a:lnTo>
                    <a:pt x="219" y="28"/>
                  </a:lnTo>
                  <a:lnTo>
                    <a:pt x="221" y="28"/>
                  </a:lnTo>
                  <a:lnTo>
                    <a:pt x="221" y="31"/>
                  </a:lnTo>
                  <a:lnTo>
                    <a:pt x="223" y="31"/>
                  </a:lnTo>
                  <a:close/>
                  <a:moveTo>
                    <a:pt x="98" y="99"/>
                  </a:moveTo>
                  <a:lnTo>
                    <a:pt x="100" y="99"/>
                  </a:lnTo>
                  <a:lnTo>
                    <a:pt x="100" y="102"/>
                  </a:lnTo>
                  <a:lnTo>
                    <a:pt x="100" y="99"/>
                  </a:lnTo>
                  <a:lnTo>
                    <a:pt x="98" y="99"/>
                  </a:lnTo>
                  <a:close/>
                  <a:moveTo>
                    <a:pt x="86" y="0"/>
                  </a:moveTo>
                  <a:lnTo>
                    <a:pt x="83" y="0"/>
                  </a:lnTo>
                  <a:lnTo>
                    <a:pt x="83" y="2"/>
                  </a:lnTo>
                  <a:lnTo>
                    <a:pt x="86" y="2"/>
                  </a:lnTo>
                  <a:lnTo>
                    <a:pt x="83" y="2"/>
                  </a:lnTo>
                  <a:lnTo>
                    <a:pt x="83" y="4"/>
                  </a:lnTo>
                  <a:lnTo>
                    <a:pt x="83" y="7"/>
                  </a:lnTo>
                  <a:lnTo>
                    <a:pt x="83" y="9"/>
                  </a:lnTo>
                  <a:lnTo>
                    <a:pt x="86" y="9"/>
                  </a:lnTo>
                  <a:lnTo>
                    <a:pt x="88" y="9"/>
                  </a:lnTo>
                  <a:lnTo>
                    <a:pt x="91" y="9"/>
                  </a:lnTo>
                  <a:lnTo>
                    <a:pt x="91" y="7"/>
                  </a:lnTo>
                  <a:lnTo>
                    <a:pt x="93" y="7"/>
                  </a:lnTo>
                  <a:lnTo>
                    <a:pt x="95" y="9"/>
                  </a:lnTo>
                  <a:lnTo>
                    <a:pt x="98" y="7"/>
                  </a:lnTo>
                  <a:lnTo>
                    <a:pt x="98" y="9"/>
                  </a:lnTo>
                  <a:lnTo>
                    <a:pt x="100" y="9"/>
                  </a:lnTo>
                  <a:lnTo>
                    <a:pt x="100" y="7"/>
                  </a:lnTo>
                  <a:lnTo>
                    <a:pt x="102" y="7"/>
                  </a:lnTo>
                  <a:lnTo>
                    <a:pt x="102" y="9"/>
                  </a:lnTo>
                  <a:lnTo>
                    <a:pt x="105" y="9"/>
                  </a:lnTo>
                  <a:lnTo>
                    <a:pt x="107" y="9"/>
                  </a:lnTo>
                  <a:lnTo>
                    <a:pt x="110" y="9"/>
                  </a:lnTo>
                  <a:lnTo>
                    <a:pt x="112" y="12"/>
                  </a:lnTo>
                  <a:lnTo>
                    <a:pt x="114" y="14"/>
                  </a:lnTo>
                  <a:lnTo>
                    <a:pt x="114" y="12"/>
                  </a:lnTo>
                  <a:lnTo>
                    <a:pt x="114" y="14"/>
                  </a:lnTo>
                  <a:lnTo>
                    <a:pt x="114" y="12"/>
                  </a:lnTo>
                  <a:lnTo>
                    <a:pt x="117" y="12"/>
                  </a:lnTo>
                  <a:lnTo>
                    <a:pt x="119" y="12"/>
                  </a:lnTo>
                  <a:lnTo>
                    <a:pt x="119" y="14"/>
                  </a:lnTo>
                  <a:lnTo>
                    <a:pt x="117" y="14"/>
                  </a:lnTo>
                  <a:lnTo>
                    <a:pt x="119" y="14"/>
                  </a:lnTo>
                  <a:lnTo>
                    <a:pt x="119" y="12"/>
                  </a:lnTo>
                  <a:lnTo>
                    <a:pt x="121" y="12"/>
                  </a:lnTo>
                  <a:lnTo>
                    <a:pt x="121" y="9"/>
                  </a:lnTo>
                  <a:lnTo>
                    <a:pt x="124" y="9"/>
                  </a:lnTo>
                  <a:lnTo>
                    <a:pt x="124" y="12"/>
                  </a:lnTo>
                  <a:lnTo>
                    <a:pt x="126" y="12"/>
                  </a:lnTo>
                  <a:lnTo>
                    <a:pt x="129" y="14"/>
                  </a:lnTo>
                  <a:lnTo>
                    <a:pt x="131" y="14"/>
                  </a:lnTo>
                  <a:lnTo>
                    <a:pt x="131" y="16"/>
                  </a:lnTo>
                  <a:lnTo>
                    <a:pt x="133" y="16"/>
                  </a:lnTo>
                  <a:lnTo>
                    <a:pt x="133" y="14"/>
                  </a:lnTo>
                  <a:lnTo>
                    <a:pt x="136" y="14"/>
                  </a:lnTo>
                  <a:lnTo>
                    <a:pt x="136" y="16"/>
                  </a:lnTo>
                  <a:lnTo>
                    <a:pt x="136" y="19"/>
                  </a:lnTo>
                  <a:lnTo>
                    <a:pt x="138" y="19"/>
                  </a:lnTo>
                  <a:lnTo>
                    <a:pt x="136" y="19"/>
                  </a:lnTo>
                  <a:lnTo>
                    <a:pt x="136" y="21"/>
                  </a:lnTo>
                  <a:lnTo>
                    <a:pt x="133" y="21"/>
                  </a:lnTo>
                  <a:lnTo>
                    <a:pt x="136" y="21"/>
                  </a:lnTo>
                  <a:lnTo>
                    <a:pt x="133" y="21"/>
                  </a:lnTo>
                  <a:lnTo>
                    <a:pt x="133" y="23"/>
                  </a:lnTo>
                  <a:lnTo>
                    <a:pt x="131" y="23"/>
                  </a:lnTo>
                  <a:lnTo>
                    <a:pt x="129" y="23"/>
                  </a:lnTo>
                  <a:lnTo>
                    <a:pt x="129" y="26"/>
                  </a:lnTo>
                  <a:lnTo>
                    <a:pt x="126" y="26"/>
                  </a:lnTo>
                  <a:lnTo>
                    <a:pt x="129" y="26"/>
                  </a:lnTo>
                  <a:lnTo>
                    <a:pt x="126" y="28"/>
                  </a:lnTo>
                  <a:lnTo>
                    <a:pt x="126" y="26"/>
                  </a:lnTo>
                  <a:lnTo>
                    <a:pt x="126" y="28"/>
                  </a:lnTo>
                  <a:lnTo>
                    <a:pt x="126" y="26"/>
                  </a:lnTo>
                  <a:lnTo>
                    <a:pt x="126" y="28"/>
                  </a:lnTo>
                  <a:lnTo>
                    <a:pt x="124" y="28"/>
                  </a:lnTo>
                  <a:lnTo>
                    <a:pt x="124" y="26"/>
                  </a:lnTo>
                  <a:lnTo>
                    <a:pt x="124" y="28"/>
                  </a:lnTo>
                  <a:lnTo>
                    <a:pt x="121" y="28"/>
                  </a:lnTo>
                  <a:lnTo>
                    <a:pt x="124" y="28"/>
                  </a:lnTo>
                  <a:lnTo>
                    <a:pt x="121" y="28"/>
                  </a:lnTo>
                  <a:lnTo>
                    <a:pt x="124" y="28"/>
                  </a:lnTo>
                  <a:lnTo>
                    <a:pt x="121" y="28"/>
                  </a:lnTo>
                  <a:lnTo>
                    <a:pt x="121" y="31"/>
                  </a:lnTo>
                  <a:lnTo>
                    <a:pt x="124" y="31"/>
                  </a:lnTo>
                  <a:lnTo>
                    <a:pt x="124" y="28"/>
                  </a:lnTo>
                  <a:lnTo>
                    <a:pt x="126" y="28"/>
                  </a:lnTo>
                  <a:lnTo>
                    <a:pt x="129" y="26"/>
                  </a:lnTo>
                  <a:lnTo>
                    <a:pt x="129" y="28"/>
                  </a:lnTo>
                  <a:lnTo>
                    <a:pt x="129" y="26"/>
                  </a:lnTo>
                  <a:lnTo>
                    <a:pt x="131" y="26"/>
                  </a:lnTo>
                  <a:lnTo>
                    <a:pt x="131" y="23"/>
                  </a:lnTo>
                  <a:lnTo>
                    <a:pt x="133" y="23"/>
                  </a:lnTo>
                  <a:lnTo>
                    <a:pt x="133" y="21"/>
                  </a:lnTo>
                  <a:lnTo>
                    <a:pt x="136" y="21"/>
                  </a:lnTo>
                  <a:lnTo>
                    <a:pt x="136" y="19"/>
                  </a:lnTo>
                  <a:lnTo>
                    <a:pt x="138" y="21"/>
                  </a:lnTo>
                  <a:lnTo>
                    <a:pt x="138" y="19"/>
                  </a:lnTo>
                  <a:lnTo>
                    <a:pt x="138" y="21"/>
                  </a:lnTo>
                  <a:lnTo>
                    <a:pt x="138" y="23"/>
                  </a:lnTo>
                  <a:lnTo>
                    <a:pt x="138" y="26"/>
                  </a:lnTo>
                  <a:lnTo>
                    <a:pt x="136" y="28"/>
                  </a:lnTo>
                  <a:lnTo>
                    <a:pt x="133" y="28"/>
                  </a:lnTo>
                  <a:lnTo>
                    <a:pt x="133" y="31"/>
                  </a:lnTo>
                  <a:lnTo>
                    <a:pt x="131" y="31"/>
                  </a:lnTo>
                  <a:lnTo>
                    <a:pt x="131" y="28"/>
                  </a:lnTo>
                  <a:lnTo>
                    <a:pt x="131" y="31"/>
                  </a:lnTo>
                  <a:lnTo>
                    <a:pt x="133" y="31"/>
                  </a:lnTo>
                  <a:lnTo>
                    <a:pt x="136" y="31"/>
                  </a:lnTo>
                  <a:lnTo>
                    <a:pt x="133" y="31"/>
                  </a:lnTo>
                  <a:lnTo>
                    <a:pt x="136" y="31"/>
                  </a:lnTo>
                  <a:lnTo>
                    <a:pt x="138" y="31"/>
                  </a:lnTo>
                  <a:lnTo>
                    <a:pt x="138" y="28"/>
                  </a:lnTo>
                  <a:lnTo>
                    <a:pt x="140" y="28"/>
                  </a:lnTo>
                  <a:lnTo>
                    <a:pt x="143" y="31"/>
                  </a:lnTo>
                  <a:lnTo>
                    <a:pt x="143" y="33"/>
                  </a:lnTo>
                  <a:lnTo>
                    <a:pt x="143" y="35"/>
                  </a:lnTo>
                  <a:lnTo>
                    <a:pt x="140" y="35"/>
                  </a:lnTo>
                  <a:lnTo>
                    <a:pt x="138" y="35"/>
                  </a:lnTo>
                  <a:lnTo>
                    <a:pt x="136" y="35"/>
                  </a:lnTo>
                  <a:lnTo>
                    <a:pt x="133" y="35"/>
                  </a:lnTo>
                  <a:lnTo>
                    <a:pt x="131" y="35"/>
                  </a:lnTo>
                  <a:lnTo>
                    <a:pt x="129" y="35"/>
                  </a:lnTo>
                  <a:lnTo>
                    <a:pt x="126" y="35"/>
                  </a:lnTo>
                  <a:lnTo>
                    <a:pt x="126" y="38"/>
                  </a:lnTo>
                  <a:lnTo>
                    <a:pt x="124" y="40"/>
                  </a:lnTo>
                  <a:lnTo>
                    <a:pt x="124" y="42"/>
                  </a:lnTo>
                  <a:lnTo>
                    <a:pt x="121" y="42"/>
                  </a:lnTo>
                  <a:lnTo>
                    <a:pt x="119" y="45"/>
                  </a:lnTo>
                  <a:lnTo>
                    <a:pt x="117" y="45"/>
                  </a:lnTo>
                  <a:lnTo>
                    <a:pt x="114" y="47"/>
                  </a:lnTo>
                  <a:lnTo>
                    <a:pt x="114" y="50"/>
                  </a:lnTo>
                  <a:lnTo>
                    <a:pt x="114" y="52"/>
                  </a:lnTo>
                  <a:lnTo>
                    <a:pt x="114" y="54"/>
                  </a:lnTo>
                  <a:lnTo>
                    <a:pt x="112" y="54"/>
                  </a:lnTo>
                  <a:lnTo>
                    <a:pt x="112" y="57"/>
                  </a:lnTo>
                  <a:lnTo>
                    <a:pt x="110" y="57"/>
                  </a:lnTo>
                  <a:lnTo>
                    <a:pt x="110" y="59"/>
                  </a:lnTo>
                  <a:lnTo>
                    <a:pt x="107" y="59"/>
                  </a:lnTo>
                  <a:lnTo>
                    <a:pt x="105" y="59"/>
                  </a:lnTo>
                  <a:lnTo>
                    <a:pt x="102" y="59"/>
                  </a:lnTo>
                  <a:lnTo>
                    <a:pt x="100" y="57"/>
                  </a:lnTo>
                  <a:lnTo>
                    <a:pt x="100" y="54"/>
                  </a:lnTo>
                  <a:lnTo>
                    <a:pt x="98" y="54"/>
                  </a:lnTo>
                  <a:lnTo>
                    <a:pt x="98" y="52"/>
                  </a:lnTo>
                  <a:lnTo>
                    <a:pt x="100" y="52"/>
                  </a:lnTo>
                  <a:lnTo>
                    <a:pt x="102" y="52"/>
                  </a:lnTo>
                  <a:lnTo>
                    <a:pt x="102" y="50"/>
                  </a:lnTo>
                  <a:lnTo>
                    <a:pt x="102" y="47"/>
                  </a:lnTo>
                  <a:lnTo>
                    <a:pt x="100" y="47"/>
                  </a:lnTo>
                  <a:lnTo>
                    <a:pt x="98" y="47"/>
                  </a:lnTo>
                  <a:lnTo>
                    <a:pt x="98" y="45"/>
                  </a:lnTo>
                  <a:lnTo>
                    <a:pt x="98" y="42"/>
                  </a:lnTo>
                  <a:lnTo>
                    <a:pt x="98" y="40"/>
                  </a:lnTo>
                  <a:lnTo>
                    <a:pt x="100" y="40"/>
                  </a:lnTo>
                  <a:lnTo>
                    <a:pt x="102" y="40"/>
                  </a:lnTo>
                  <a:lnTo>
                    <a:pt x="102" y="38"/>
                  </a:lnTo>
                  <a:lnTo>
                    <a:pt x="102" y="35"/>
                  </a:lnTo>
                  <a:lnTo>
                    <a:pt x="105" y="35"/>
                  </a:lnTo>
                  <a:lnTo>
                    <a:pt x="107" y="35"/>
                  </a:lnTo>
                  <a:lnTo>
                    <a:pt x="110" y="35"/>
                  </a:lnTo>
                  <a:lnTo>
                    <a:pt x="110" y="38"/>
                  </a:lnTo>
                  <a:lnTo>
                    <a:pt x="112" y="38"/>
                  </a:lnTo>
                  <a:lnTo>
                    <a:pt x="112" y="35"/>
                  </a:lnTo>
                  <a:lnTo>
                    <a:pt x="112" y="38"/>
                  </a:lnTo>
                  <a:lnTo>
                    <a:pt x="110" y="38"/>
                  </a:lnTo>
                  <a:lnTo>
                    <a:pt x="110" y="35"/>
                  </a:lnTo>
                  <a:lnTo>
                    <a:pt x="110" y="38"/>
                  </a:lnTo>
                  <a:lnTo>
                    <a:pt x="110" y="35"/>
                  </a:lnTo>
                  <a:lnTo>
                    <a:pt x="107" y="35"/>
                  </a:lnTo>
                  <a:lnTo>
                    <a:pt x="105" y="35"/>
                  </a:lnTo>
                  <a:lnTo>
                    <a:pt x="102" y="35"/>
                  </a:lnTo>
                  <a:lnTo>
                    <a:pt x="102" y="38"/>
                  </a:lnTo>
                  <a:lnTo>
                    <a:pt x="100" y="38"/>
                  </a:lnTo>
                  <a:lnTo>
                    <a:pt x="100" y="40"/>
                  </a:lnTo>
                  <a:lnTo>
                    <a:pt x="98" y="40"/>
                  </a:lnTo>
                  <a:lnTo>
                    <a:pt x="98" y="38"/>
                  </a:lnTo>
                  <a:lnTo>
                    <a:pt x="98" y="40"/>
                  </a:lnTo>
                  <a:lnTo>
                    <a:pt x="100" y="40"/>
                  </a:lnTo>
                  <a:lnTo>
                    <a:pt x="98" y="40"/>
                  </a:lnTo>
                  <a:lnTo>
                    <a:pt x="98" y="38"/>
                  </a:lnTo>
                  <a:lnTo>
                    <a:pt x="98" y="40"/>
                  </a:lnTo>
                  <a:lnTo>
                    <a:pt x="95" y="40"/>
                  </a:lnTo>
                  <a:lnTo>
                    <a:pt x="95" y="38"/>
                  </a:lnTo>
                  <a:lnTo>
                    <a:pt x="95" y="40"/>
                  </a:lnTo>
                  <a:lnTo>
                    <a:pt x="93" y="40"/>
                  </a:lnTo>
                  <a:lnTo>
                    <a:pt x="91" y="40"/>
                  </a:lnTo>
                  <a:lnTo>
                    <a:pt x="91" y="38"/>
                  </a:lnTo>
                  <a:lnTo>
                    <a:pt x="91" y="40"/>
                  </a:lnTo>
                  <a:lnTo>
                    <a:pt x="91" y="38"/>
                  </a:lnTo>
                  <a:lnTo>
                    <a:pt x="91" y="35"/>
                  </a:lnTo>
                  <a:lnTo>
                    <a:pt x="93" y="35"/>
                  </a:lnTo>
                  <a:lnTo>
                    <a:pt x="91" y="35"/>
                  </a:lnTo>
                  <a:lnTo>
                    <a:pt x="93" y="35"/>
                  </a:lnTo>
                  <a:lnTo>
                    <a:pt x="91" y="35"/>
                  </a:lnTo>
                  <a:lnTo>
                    <a:pt x="91" y="33"/>
                  </a:lnTo>
                  <a:lnTo>
                    <a:pt x="93" y="33"/>
                  </a:lnTo>
                  <a:lnTo>
                    <a:pt x="95" y="33"/>
                  </a:lnTo>
                  <a:lnTo>
                    <a:pt x="98" y="33"/>
                  </a:lnTo>
                  <a:lnTo>
                    <a:pt x="100" y="33"/>
                  </a:lnTo>
                  <a:lnTo>
                    <a:pt x="100" y="31"/>
                  </a:lnTo>
                  <a:lnTo>
                    <a:pt x="102" y="31"/>
                  </a:lnTo>
                  <a:lnTo>
                    <a:pt x="105" y="31"/>
                  </a:lnTo>
                  <a:lnTo>
                    <a:pt x="105" y="28"/>
                  </a:lnTo>
                  <a:lnTo>
                    <a:pt x="102" y="28"/>
                  </a:lnTo>
                  <a:lnTo>
                    <a:pt x="102" y="31"/>
                  </a:lnTo>
                  <a:lnTo>
                    <a:pt x="100" y="31"/>
                  </a:lnTo>
                  <a:lnTo>
                    <a:pt x="98" y="31"/>
                  </a:lnTo>
                  <a:lnTo>
                    <a:pt x="98" y="28"/>
                  </a:lnTo>
                  <a:lnTo>
                    <a:pt x="100" y="26"/>
                  </a:lnTo>
                  <a:lnTo>
                    <a:pt x="100" y="23"/>
                  </a:lnTo>
                  <a:lnTo>
                    <a:pt x="98" y="23"/>
                  </a:lnTo>
                  <a:lnTo>
                    <a:pt x="98" y="21"/>
                  </a:lnTo>
                  <a:lnTo>
                    <a:pt x="95" y="19"/>
                  </a:lnTo>
                  <a:lnTo>
                    <a:pt x="95" y="16"/>
                  </a:lnTo>
                  <a:lnTo>
                    <a:pt x="93" y="16"/>
                  </a:lnTo>
                  <a:lnTo>
                    <a:pt x="93" y="14"/>
                  </a:lnTo>
                  <a:lnTo>
                    <a:pt x="93" y="12"/>
                  </a:lnTo>
                  <a:lnTo>
                    <a:pt x="91" y="12"/>
                  </a:lnTo>
                  <a:lnTo>
                    <a:pt x="91" y="9"/>
                  </a:lnTo>
                  <a:lnTo>
                    <a:pt x="88" y="9"/>
                  </a:lnTo>
                  <a:lnTo>
                    <a:pt x="86" y="9"/>
                  </a:lnTo>
                  <a:lnTo>
                    <a:pt x="86" y="12"/>
                  </a:lnTo>
                  <a:lnTo>
                    <a:pt x="83" y="12"/>
                  </a:lnTo>
                  <a:lnTo>
                    <a:pt x="83" y="9"/>
                  </a:lnTo>
                  <a:lnTo>
                    <a:pt x="81" y="9"/>
                  </a:lnTo>
                  <a:lnTo>
                    <a:pt x="81" y="12"/>
                  </a:lnTo>
                  <a:lnTo>
                    <a:pt x="81" y="14"/>
                  </a:lnTo>
                  <a:lnTo>
                    <a:pt x="81" y="16"/>
                  </a:lnTo>
                  <a:lnTo>
                    <a:pt x="81" y="12"/>
                  </a:lnTo>
                  <a:lnTo>
                    <a:pt x="81" y="9"/>
                  </a:lnTo>
                  <a:lnTo>
                    <a:pt x="81" y="7"/>
                  </a:lnTo>
                  <a:lnTo>
                    <a:pt x="81" y="4"/>
                  </a:lnTo>
                  <a:lnTo>
                    <a:pt x="83" y="2"/>
                  </a:lnTo>
                  <a:lnTo>
                    <a:pt x="83" y="0"/>
                  </a:lnTo>
                  <a:lnTo>
                    <a:pt x="8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1" name="Freeform 52270"/>
            <p:cNvSpPr>
              <a:spLocks noEditPoints="1"/>
            </p:cNvSpPr>
            <p:nvPr/>
          </p:nvSpPr>
          <p:spPr bwMode="auto">
            <a:xfrm>
              <a:off x="2374898" y="4327539"/>
              <a:ext cx="400050" cy="101600"/>
            </a:xfrm>
            <a:custGeom>
              <a:avLst/>
              <a:gdLst>
                <a:gd name="T0" fmla="*/ 112 w 252"/>
                <a:gd name="T1" fmla="*/ 64 h 64"/>
                <a:gd name="T2" fmla="*/ 110 w 252"/>
                <a:gd name="T3" fmla="*/ 62 h 64"/>
                <a:gd name="T4" fmla="*/ 100 w 252"/>
                <a:gd name="T5" fmla="*/ 60 h 64"/>
                <a:gd name="T6" fmla="*/ 5 w 252"/>
                <a:gd name="T7" fmla="*/ 57 h 64"/>
                <a:gd name="T8" fmla="*/ 0 w 252"/>
                <a:gd name="T9" fmla="*/ 57 h 64"/>
                <a:gd name="T10" fmla="*/ 8 w 252"/>
                <a:gd name="T11" fmla="*/ 55 h 64"/>
                <a:gd name="T12" fmla="*/ 15 w 252"/>
                <a:gd name="T13" fmla="*/ 53 h 64"/>
                <a:gd name="T14" fmla="*/ 10 w 252"/>
                <a:gd name="T15" fmla="*/ 55 h 64"/>
                <a:gd name="T16" fmla="*/ 15 w 252"/>
                <a:gd name="T17" fmla="*/ 53 h 64"/>
                <a:gd name="T18" fmla="*/ 95 w 252"/>
                <a:gd name="T19" fmla="*/ 55 h 64"/>
                <a:gd name="T20" fmla="*/ 95 w 252"/>
                <a:gd name="T21" fmla="*/ 55 h 64"/>
                <a:gd name="T22" fmla="*/ 22 w 252"/>
                <a:gd name="T23" fmla="*/ 50 h 64"/>
                <a:gd name="T24" fmla="*/ 17 w 252"/>
                <a:gd name="T25" fmla="*/ 50 h 64"/>
                <a:gd name="T26" fmla="*/ 22 w 252"/>
                <a:gd name="T27" fmla="*/ 50 h 64"/>
                <a:gd name="T28" fmla="*/ 48 w 252"/>
                <a:gd name="T29" fmla="*/ 50 h 64"/>
                <a:gd name="T30" fmla="*/ 27 w 252"/>
                <a:gd name="T31" fmla="*/ 50 h 64"/>
                <a:gd name="T32" fmla="*/ 29 w 252"/>
                <a:gd name="T33" fmla="*/ 50 h 64"/>
                <a:gd name="T34" fmla="*/ 38 w 252"/>
                <a:gd name="T35" fmla="*/ 50 h 64"/>
                <a:gd name="T36" fmla="*/ 36 w 252"/>
                <a:gd name="T37" fmla="*/ 48 h 64"/>
                <a:gd name="T38" fmla="*/ 46 w 252"/>
                <a:gd name="T39" fmla="*/ 50 h 64"/>
                <a:gd name="T40" fmla="*/ 41 w 252"/>
                <a:gd name="T41" fmla="*/ 48 h 64"/>
                <a:gd name="T42" fmla="*/ 91 w 252"/>
                <a:gd name="T43" fmla="*/ 48 h 64"/>
                <a:gd name="T44" fmla="*/ 67 w 252"/>
                <a:gd name="T45" fmla="*/ 36 h 64"/>
                <a:gd name="T46" fmla="*/ 159 w 252"/>
                <a:gd name="T47" fmla="*/ 34 h 64"/>
                <a:gd name="T48" fmla="*/ 159 w 252"/>
                <a:gd name="T49" fmla="*/ 36 h 64"/>
                <a:gd name="T50" fmla="*/ 41 w 252"/>
                <a:gd name="T51" fmla="*/ 29 h 64"/>
                <a:gd name="T52" fmla="*/ 228 w 252"/>
                <a:gd name="T53" fmla="*/ 22 h 64"/>
                <a:gd name="T54" fmla="*/ 103 w 252"/>
                <a:gd name="T55" fmla="*/ 22 h 64"/>
                <a:gd name="T56" fmla="*/ 212 w 252"/>
                <a:gd name="T57" fmla="*/ 15 h 64"/>
                <a:gd name="T58" fmla="*/ 62 w 252"/>
                <a:gd name="T59" fmla="*/ 17 h 64"/>
                <a:gd name="T60" fmla="*/ 60 w 252"/>
                <a:gd name="T61" fmla="*/ 15 h 64"/>
                <a:gd name="T62" fmla="*/ 214 w 252"/>
                <a:gd name="T63" fmla="*/ 15 h 64"/>
                <a:gd name="T64" fmla="*/ 152 w 252"/>
                <a:gd name="T65" fmla="*/ 12 h 64"/>
                <a:gd name="T66" fmla="*/ 150 w 252"/>
                <a:gd name="T67" fmla="*/ 17 h 64"/>
                <a:gd name="T68" fmla="*/ 145 w 252"/>
                <a:gd name="T69" fmla="*/ 17 h 64"/>
                <a:gd name="T70" fmla="*/ 145 w 252"/>
                <a:gd name="T71" fmla="*/ 10 h 64"/>
                <a:gd name="T72" fmla="*/ 60 w 252"/>
                <a:gd name="T73" fmla="*/ 10 h 64"/>
                <a:gd name="T74" fmla="*/ 62 w 252"/>
                <a:gd name="T75" fmla="*/ 12 h 64"/>
                <a:gd name="T76" fmla="*/ 65 w 252"/>
                <a:gd name="T77" fmla="*/ 12 h 64"/>
                <a:gd name="T78" fmla="*/ 62 w 252"/>
                <a:gd name="T79" fmla="*/ 10 h 64"/>
                <a:gd name="T80" fmla="*/ 60 w 252"/>
                <a:gd name="T81" fmla="*/ 7 h 64"/>
                <a:gd name="T82" fmla="*/ 214 w 252"/>
                <a:gd name="T83" fmla="*/ 7 h 64"/>
                <a:gd name="T84" fmla="*/ 212 w 252"/>
                <a:gd name="T85" fmla="*/ 15 h 64"/>
                <a:gd name="T86" fmla="*/ 212 w 252"/>
                <a:gd name="T87" fmla="*/ 7 h 64"/>
                <a:gd name="T88" fmla="*/ 69 w 252"/>
                <a:gd name="T89" fmla="*/ 5 h 64"/>
                <a:gd name="T90" fmla="*/ 62 w 252"/>
                <a:gd name="T91" fmla="*/ 7 h 64"/>
                <a:gd name="T92" fmla="*/ 69 w 252"/>
                <a:gd name="T93" fmla="*/ 3 h 64"/>
                <a:gd name="T94" fmla="*/ 57 w 252"/>
                <a:gd name="T95" fmla="*/ 7 h 64"/>
                <a:gd name="T96" fmla="*/ 55 w 252"/>
                <a:gd name="T97" fmla="*/ 3 h 64"/>
                <a:gd name="T98" fmla="*/ 57 w 252"/>
                <a:gd name="T99" fmla="*/ 5 h 64"/>
                <a:gd name="T100" fmla="*/ 60 w 252"/>
                <a:gd name="T101" fmla="*/ 3 h 64"/>
                <a:gd name="T102" fmla="*/ 62 w 252"/>
                <a:gd name="T10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 h="64">
                  <a:moveTo>
                    <a:pt x="110" y="60"/>
                  </a:moveTo>
                  <a:lnTo>
                    <a:pt x="112" y="60"/>
                  </a:lnTo>
                  <a:lnTo>
                    <a:pt x="112" y="62"/>
                  </a:lnTo>
                  <a:lnTo>
                    <a:pt x="112" y="64"/>
                  </a:lnTo>
                  <a:lnTo>
                    <a:pt x="110" y="64"/>
                  </a:lnTo>
                  <a:lnTo>
                    <a:pt x="110" y="62"/>
                  </a:lnTo>
                  <a:lnTo>
                    <a:pt x="110" y="60"/>
                  </a:lnTo>
                  <a:lnTo>
                    <a:pt x="110" y="62"/>
                  </a:lnTo>
                  <a:lnTo>
                    <a:pt x="110" y="60"/>
                  </a:lnTo>
                  <a:close/>
                  <a:moveTo>
                    <a:pt x="100" y="60"/>
                  </a:moveTo>
                  <a:lnTo>
                    <a:pt x="103" y="60"/>
                  </a:lnTo>
                  <a:lnTo>
                    <a:pt x="100" y="60"/>
                  </a:lnTo>
                  <a:close/>
                  <a:moveTo>
                    <a:pt x="98" y="57"/>
                  </a:moveTo>
                  <a:lnTo>
                    <a:pt x="95" y="57"/>
                  </a:lnTo>
                  <a:lnTo>
                    <a:pt x="98" y="57"/>
                  </a:lnTo>
                  <a:close/>
                  <a:moveTo>
                    <a:pt x="5" y="57"/>
                  </a:moveTo>
                  <a:lnTo>
                    <a:pt x="3" y="57"/>
                  </a:lnTo>
                  <a:lnTo>
                    <a:pt x="3" y="60"/>
                  </a:lnTo>
                  <a:lnTo>
                    <a:pt x="0" y="60"/>
                  </a:lnTo>
                  <a:lnTo>
                    <a:pt x="0" y="57"/>
                  </a:lnTo>
                  <a:lnTo>
                    <a:pt x="3" y="57"/>
                  </a:lnTo>
                  <a:lnTo>
                    <a:pt x="5" y="57"/>
                  </a:lnTo>
                  <a:close/>
                  <a:moveTo>
                    <a:pt x="5" y="55"/>
                  </a:moveTo>
                  <a:lnTo>
                    <a:pt x="8" y="55"/>
                  </a:lnTo>
                  <a:lnTo>
                    <a:pt x="5" y="55"/>
                  </a:lnTo>
                  <a:lnTo>
                    <a:pt x="8" y="55"/>
                  </a:lnTo>
                  <a:lnTo>
                    <a:pt x="5" y="55"/>
                  </a:lnTo>
                  <a:close/>
                  <a:moveTo>
                    <a:pt x="15" y="53"/>
                  </a:moveTo>
                  <a:lnTo>
                    <a:pt x="12" y="53"/>
                  </a:lnTo>
                  <a:lnTo>
                    <a:pt x="12" y="55"/>
                  </a:lnTo>
                  <a:lnTo>
                    <a:pt x="12" y="53"/>
                  </a:lnTo>
                  <a:lnTo>
                    <a:pt x="10" y="55"/>
                  </a:lnTo>
                  <a:lnTo>
                    <a:pt x="8" y="55"/>
                  </a:lnTo>
                  <a:lnTo>
                    <a:pt x="10" y="53"/>
                  </a:lnTo>
                  <a:lnTo>
                    <a:pt x="12" y="53"/>
                  </a:lnTo>
                  <a:lnTo>
                    <a:pt x="15" y="53"/>
                  </a:lnTo>
                  <a:close/>
                  <a:moveTo>
                    <a:pt x="252" y="53"/>
                  </a:moveTo>
                  <a:lnTo>
                    <a:pt x="250" y="53"/>
                  </a:lnTo>
                  <a:lnTo>
                    <a:pt x="252" y="53"/>
                  </a:lnTo>
                  <a:close/>
                  <a:moveTo>
                    <a:pt x="95" y="55"/>
                  </a:moveTo>
                  <a:lnTo>
                    <a:pt x="95" y="53"/>
                  </a:lnTo>
                  <a:lnTo>
                    <a:pt x="93" y="53"/>
                  </a:lnTo>
                  <a:lnTo>
                    <a:pt x="95" y="53"/>
                  </a:lnTo>
                  <a:lnTo>
                    <a:pt x="95" y="55"/>
                  </a:lnTo>
                  <a:close/>
                  <a:moveTo>
                    <a:pt x="93" y="53"/>
                  </a:moveTo>
                  <a:lnTo>
                    <a:pt x="93" y="50"/>
                  </a:lnTo>
                  <a:lnTo>
                    <a:pt x="93" y="53"/>
                  </a:lnTo>
                  <a:close/>
                  <a:moveTo>
                    <a:pt x="22" y="50"/>
                  </a:moveTo>
                  <a:lnTo>
                    <a:pt x="22" y="53"/>
                  </a:lnTo>
                  <a:lnTo>
                    <a:pt x="19" y="53"/>
                  </a:lnTo>
                  <a:lnTo>
                    <a:pt x="17" y="53"/>
                  </a:lnTo>
                  <a:lnTo>
                    <a:pt x="17" y="50"/>
                  </a:lnTo>
                  <a:lnTo>
                    <a:pt x="19" y="50"/>
                  </a:lnTo>
                  <a:lnTo>
                    <a:pt x="19" y="53"/>
                  </a:lnTo>
                  <a:lnTo>
                    <a:pt x="22" y="53"/>
                  </a:lnTo>
                  <a:lnTo>
                    <a:pt x="22" y="50"/>
                  </a:lnTo>
                  <a:close/>
                  <a:moveTo>
                    <a:pt x="50" y="50"/>
                  </a:moveTo>
                  <a:lnTo>
                    <a:pt x="50" y="53"/>
                  </a:lnTo>
                  <a:lnTo>
                    <a:pt x="48" y="53"/>
                  </a:lnTo>
                  <a:lnTo>
                    <a:pt x="48" y="50"/>
                  </a:lnTo>
                  <a:lnTo>
                    <a:pt x="50" y="50"/>
                  </a:lnTo>
                  <a:close/>
                  <a:moveTo>
                    <a:pt x="27" y="50"/>
                  </a:moveTo>
                  <a:lnTo>
                    <a:pt x="24" y="50"/>
                  </a:lnTo>
                  <a:lnTo>
                    <a:pt x="27" y="50"/>
                  </a:lnTo>
                  <a:close/>
                  <a:moveTo>
                    <a:pt x="31" y="50"/>
                  </a:moveTo>
                  <a:lnTo>
                    <a:pt x="29" y="50"/>
                  </a:lnTo>
                  <a:lnTo>
                    <a:pt x="27" y="50"/>
                  </a:lnTo>
                  <a:lnTo>
                    <a:pt x="29" y="50"/>
                  </a:lnTo>
                  <a:lnTo>
                    <a:pt x="31" y="50"/>
                  </a:lnTo>
                  <a:close/>
                  <a:moveTo>
                    <a:pt x="36" y="48"/>
                  </a:moveTo>
                  <a:lnTo>
                    <a:pt x="38" y="48"/>
                  </a:lnTo>
                  <a:lnTo>
                    <a:pt x="38" y="50"/>
                  </a:lnTo>
                  <a:lnTo>
                    <a:pt x="36" y="50"/>
                  </a:lnTo>
                  <a:lnTo>
                    <a:pt x="34" y="50"/>
                  </a:lnTo>
                  <a:lnTo>
                    <a:pt x="34" y="48"/>
                  </a:lnTo>
                  <a:lnTo>
                    <a:pt x="36" y="48"/>
                  </a:lnTo>
                  <a:close/>
                  <a:moveTo>
                    <a:pt x="46" y="50"/>
                  </a:moveTo>
                  <a:lnTo>
                    <a:pt x="43" y="48"/>
                  </a:lnTo>
                  <a:lnTo>
                    <a:pt x="46" y="48"/>
                  </a:lnTo>
                  <a:lnTo>
                    <a:pt x="46" y="50"/>
                  </a:lnTo>
                  <a:close/>
                  <a:moveTo>
                    <a:pt x="43" y="48"/>
                  </a:moveTo>
                  <a:lnTo>
                    <a:pt x="41" y="48"/>
                  </a:lnTo>
                  <a:lnTo>
                    <a:pt x="38" y="48"/>
                  </a:lnTo>
                  <a:lnTo>
                    <a:pt x="41" y="48"/>
                  </a:lnTo>
                  <a:lnTo>
                    <a:pt x="43" y="48"/>
                  </a:lnTo>
                  <a:close/>
                  <a:moveTo>
                    <a:pt x="91" y="48"/>
                  </a:moveTo>
                  <a:lnTo>
                    <a:pt x="91" y="50"/>
                  </a:lnTo>
                  <a:lnTo>
                    <a:pt x="91" y="48"/>
                  </a:lnTo>
                  <a:close/>
                  <a:moveTo>
                    <a:pt x="62" y="41"/>
                  </a:moveTo>
                  <a:lnTo>
                    <a:pt x="60" y="41"/>
                  </a:lnTo>
                  <a:lnTo>
                    <a:pt x="62" y="41"/>
                  </a:lnTo>
                  <a:close/>
                  <a:moveTo>
                    <a:pt x="67" y="36"/>
                  </a:moveTo>
                  <a:lnTo>
                    <a:pt x="67" y="34"/>
                  </a:lnTo>
                  <a:lnTo>
                    <a:pt x="67" y="36"/>
                  </a:lnTo>
                  <a:close/>
                  <a:moveTo>
                    <a:pt x="159" y="36"/>
                  </a:moveTo>
                  <a:lnTo>
                    <a:pt x="159" y="34"/>
                  </a:lnTo>
                  <a:lnTo>
                    <a:pt x="162" y="34"/>
                  </a:lnTo>
                  <a:lnTo>
                    <a:pt x="159" y="34"/>
                  </a:lnTo>
                  <a:lnTo>
                    <a:pt x="162" y="36"/>
                  </a:lnTo>
                  <a:lnTo>
                    <a:pt x="159" y="36"/>
                  </a:lnTo>
                  <a:close/>
                  <a:moveTo>
                    <a:pt x="41" y="29"/>
                  </a:moveTo>
                  <a:lnTo>
                    <a:pt x="43" y="29"/>
                  </a:lnTo>
                  <a:lnTo>
                    <a:pt x="41" y="29"/>
                  </a:lnTo>
                  <a:close/>
                  <a:moveTo>
                    <a:pt x="41" y="29"/>
                  </a:moveTo>
                  <a:lnTo>
                    <a:pt x="41" y="26"/>
                  </a:lnTo>
                  <a:lnTo>
                    <a:pt x="41" y="29"/>
                  </a:lnTo>
                  <a:close/>
                  <a:moveTo>
                    <a:pt x="226" y="22"/>
                  </a:moveTo>
                  <a:lnTo>
                    <a:pt x="228" y="22"/>
                  </a:lnTo>
                  <a:lnTo>
                    <a:pt x="226" y="22"/>
                  </a:lnTo>
                  <a:lnTo>
                    <a:pt x="228" y="22"/>
                  </a:lnTo>
                  <a:lnTo>
                    <a:pt x="226" y="22"/>
                  </a:lnTo>
                  <a:close/>
                  <a:moveTo>
                    <a:pt x="103" y="22"/>
                  </a:moveTo>
                  <a:lnTo>
                    <a:pt x="100" y="22"/>
                  </a:lnTo>
                  <a:lnTo>
                    <a:pt x="103" y="19"/>
                  </a:lnTo>
                  <a:lnTo>
                    <a:pt x="103" y="22"/>
                  </a:lnTo>
                  <a:close/>
                  <a:moveTo>
                    <a:pt x="212" y="15"/>
                  </a:moveTo>
                  <a:lnTo>
                    <a:pt x="209" y="15"/>
                  </a:lnTo>
                  <a:lnTo>
                    <a:pt x="212" y="15"/>
                  </a:lnTo>
                  <a:close/>
                  <a:moveTo>
                    <a:pt x="62" y="15"/>
                  </a:moveTo>
                  <a:lnTo>
                    <a:pt x="62" y="17"/>
                  </a:lnTo>
                  <a:lnTo>
                    <a:pt x="60" y="17"/>
                  </a:lnTo>
                  <a:lnTo>
                    <a:pt x="60" y="15"/>
                  </a:lnTo>
                  <a:lnTo>
                    <a:pt x="60" y="12"/>
                  </a:lnTo>
                  <a:lnTo>
                    <a:pt x="60" y="15"/>
                  </a:lnTo>
                  <a:lnTo>
                    <a:pt x="62" y="15"/>
                  </a:lnTo>
                  <a:close/>
                  <a:moveTo>
                    <a:pt x="216" y="12"/>
                  </a:moveTo>
                  <a:lnTo>
                    <a:pt x="216" y="15"/>
                  </a:lnTo>
                  <a:lnTo>
                    <a:pt x="214" y="15"/>
                  </a:lnTo>
                  <a:lnTo>
                    <a:pt x="214" y="12"/>
                  </a:lnTo>
                  <a:lnTo>
                    <a:pt x="216" y="12"/>
                  </a:lnTo>
                  <a:close/>
                  <a:moveTo>
                    <a:pt x="150" y="12"/>
                  </a:moveTo>
                  <a:lnTo>
                    <a:pt x="152" y="12"/>
                  </a:lnTo>
                  <a:lnTo>
                    <a:pt x="152" y="15"/>
                  </a:lnTo>
                  <a:lnTo>
                    <a:pt x="155" y="17"/>
                  </a:lnTo>
                  <a:lnTo>
                    <a:pt x="152" y="17"/>
                  </a:lnTo>
                  <a:lnTo>
                    <a:pt x="150" y="17"/>
                  </a:lnTo>
                  <a:lnTo>
                    <a:pt x="148" y="17"/>
                  </a:lnTo>
                  <a:lnTo>
                    <a:pt x="148" y="15"/>
                  </a:lnTo>
                  <a:lnTo>
                    <a:pt x="145" y="15"/>
                  </a:lnTo>
                  <a:lnTo>
                    <a:pt x="145" y="17"/>
                  </a:lnTo>
                  <a:lnTo>
                    <a:pt x="143" y="15"/>
                  </a:lnTo>
                  <a:lnTo>
                    <a:pt x="143" y="12"/>
                  </a:lnTo>
                  <a:lnTo>
                    <a:pt x="145" y="12"/>
                  </a:lnTo>
                  <a:lnTo>
                    <a:pt x="145" y="10"/>
                  </a:lnTo>
                  <a:lnTo>
                    <a:pt x="148" y="10"/>
                  </a:lnTo>
                  <a:lnTo>
                    <a:pt x="150" y="12"/>
                  </a:lnTo>
                  <a:close/>
                  <a:moveTo>
                    <a:pt x="60" y="12"/>
                  </a:moveTo>
                  <a:lnTo>
                    <a:pt x="60" y="10"/>
                  </a:lnTo>
                  <a:lnTo>
                    <a:pt x="62" y="10"/>
                  </a:lnTo>
                  <a:lnTo>
                    <a:pt x="60" y="10"/>
                  </a:lnTo>
                  <a:lnTo>
                    <a:pt x="60" y="12"/>
                  </a:lnTo>
                  <a:lnTo>
                    <a:pt x="62" y="12"/>
                  </a:lnTo>
                  <a:lnTo>
                    <a:pt x="60" y="12"/>
                  </a:lnTo>
                  <a:close/>
                  <a:moveTo>
                    <a:pt x="67" y="10"/>
                  </a:moveTo>
                  <a:lnTo>
                    <a:pt x="67" y="12"/>
                  </a:lnTo>
                  <a:lnTo>
                    <a:pt x="65" y="12"/>
                  </a:lnTo>
                  <a:lnTo>
                    <a:pt x="65" y="10"/>
                  </a:lnTo>
                  <a:lnTo>
                    <a:pt x="67" y="10"/>
                  </a:lnTo>
                  <a:close/>
                  <a:moveTo>
                    <a:pt x="62" y="7"/>
                  </a:moveTo>
                  <a:lnTo>
                    <a:pt x="62" y="10"/>
                  </a:lnTo>
                  <a:lnTo>
                    <a:pt x="65" y="10"/>
                  </a:lnTo>
                  <a:lnTo>
                    <a:pt x="62" y="10"/>
                  </a:lnTo>
                  <a:lnTo>
                    <a:pt x="62" y="7"/>
                  </a:lnTo>
                  <a:close/>
                  <a:moveTo>
                    <a:pt x="60" y="7"/>
                  </a:moveTo>
                  <a:lnTo>
                    <a:pt x="62" y="10"/>
                  </a:lnTo>
                  <a:lnTo>
                    <a:pt x="60" y="10"/>
                  </a:lnTo>
                  <a:lnTo>
                    <a:pt x="60" y="7"/>
                  </a:lnTo>
                  <a:close/>
                  <a:moveTo>
                    <a:pt x="214" y="7"/>
                  </a:moveTo>
                  <a:lnTo>
                    <a:pt x="214" y="10"/>
                  </a:lnTo>
                  <a:lnTo>
                    <a:pt x="212" y="10"/>
                  </a:lnTo>
                  <a:lnTo>
                    <a:pt x="212" y="12"/>
                  </a:lnTo>
                  <a:lnTo>
                    <a:pt x="212" y="15"/>
                  </a:lnTo>
                  <a:lnTo>
                    <a:pt x="212" y="12"/>
                  </a:lnTo>
                  <a:lnTo>
                    <a:pt x="212" y="10"/>
                  </a:lnTo>
                  <a:lnTo>
                    <a:pt x="214" y="7"/>
                  </a:lnTo>
                  <a:lnTo>
                    <a:pt x="212" y="7"/>
                  </a:lnTo>
                  <a:lnTo>
                    <a:pt x="214" y="7"/>
                  </a:lnTo>
                  <a:close/>
                  <a:moveTo>
                    <a:pt x="69" y="5"/>
                  </a:moveTo>
                  <a:lnTo>
                    <a:pt x="67" y="5"/>
                  </a:lnTo>
                  <a:lnTo>
                    <a:pt x="69" y="5"/>
                  </a:lnTo>
                  <a:close/>
                  <a:moveTo>
                    <a:pt x="67" y="5"/>
                  </a:moveTo>
                  <a:lnTo>
                    <a:pt x="65" y="5"/>
                  </a:lnTo>
                  <a:lnTo>
                    <a:pt x="62" y="5"/>
                  </a:lnTo>
                  <a:lnTo>
                    <a:pt x="62" y="7"/>
                  </a:lnTo>
                  <a:lnTo>
                    <a:pt x="62" y="5"/>
                  </a:lnTo>
                  <a:lnTo>
                    <a:pt x="65" y="5"/>
                  </a:lnTo>
                  <a:lnTo>
                    <a:pt x="67" y="5"/>
                  </a:lnTo>
                  <a:close/>
                  <a:moveTo>
                    <a:pt x="69" y="3"/>
                  </a:moveTo>
                  <a:lnTo>
                    <a:pt x="67" y="3"/>
                  </a:lnTo>
                  <a:lnTo>
                    <a:pt x="69" y="3"/>
                  </a:lnTo>
                  <a:close/>
                  <a:moveTo>
                    <a:pt x="57" y="5"/>
                  </a:moveTo>
                  <a:lnTo>
                    <a:pt x="57" y="7"/>
                  </a:lnTo>
                  <a:lnTo>
                    <a:pt x="57" y="5"/>
                  </a:lnTo>
                  <a:lnTo>
                    <a:pt x="57" y="7"/>
                  </a:lnTo>
                  <a:lnTo>
                    <a:pt x="55" y="5"/>
                  </a:lnTo>
                  <a:lnTo>
                    <a:pt x="55" y="3"/>
                  </a:lnTo>
                  <a:lnTo>
                    <a:pt x="57" y="3"/>
                  </a:lnTo>
                  <a:lnTo>
                    <a:pt x="55" y="3"/>
                  </a:lnTo>
                  <a:lnTo>
                    <a:pt x="57" y="3"/>
                  </a:lnTo>
                  <a:lnTo>
                    <a:pt x="57" y="5"/>
                  </a:lnTo>
                  <a:close/>
                  <a:moveTo>
                    <a:pt x="65" y="0"/>
                  </a:moveTo>
                  <a:lnTo>
                    <a:pt x="65" y="3"/>
                  </a:lnTo>
                  <a:lnTo>
                    <a:pt x="62" y="3"/>
                  </a:lnTo>
                  <a:lnTo>
                    <a:pt x="60" y="3"/>
                  </a:lnTo>
                  <a:lnTo>
                    <a:pt x="57" y="3"/>
                  </a:lnTo>
                  <a:lnTo>
                    <a:pt x="57" y="0"/>
                  </a:lnTo>
                  <a:lnTo>
                    <a:pt x="60" y="0"/>
                  </a:lnTo>
                  <a:lnTo>
                    <a:pt x="62" y="0"/>
                  </a:lnTo>
                  <a:lnTo>
                    <a:pt x="6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2" name="Freeform 52271"/>
            <p:cNvSpPr>
              <a:spLocks noEditPoints="1"/>
            </p:cNvSpPr>
            <p:nvPr/>
          </p:nvSpPr>
          <p:spPr bwMode="auto">
            <a:xfrm>
              <a:off x="2387598" y="4305313"/>
              <a:ext cx="376238" cy="150814"/>
            </a:xfrm>
            <a:custGeom>
              <a:avLst/>
              <a:gdLst>
                <a:gd name="T0" fmla="*/ 61 w 237"/>
                <a:gd name="T1" fmla="*/ 95 h 95"/>
                <a:gd name="T2" fmla="*/ 16 w 237"/>
                <a:gd name="T3" fmla="*/ 86 h 95"/>
                <a:gd name="T4" fmla="*/ 16 w 237"/>
                <a:gd name="T5" fmla="*/ 86 h 95"/>
                <a:gd name="T6" fmla="*/ 102 w 237"/>
                <a:gd name="T7" fmla="*/ 74 h 95"/>
                <a:gd name="T8" fmla="*/ 102 w 237"/>
                <a:gd name="T9" fmla="*/ 74 h 95"/>
                <a:gd name="T10" fmla="*/ 95 w 237"/>
                <a:gd name="T11" fmla="*/ 74 h 95"/>
                <a:gd name="T12" fmla="*/ 95 w 237"/>
                <a:gd name="T13" fmla="*/ 74 h 95"/>
                <a:gd name="T14" fmla="*/ 95 w 237"/>
                <a:gd name="T15" fmla="*/ 74 h 95"/>
                <a:gd name="T16" fmla="*/ 90 w 237"/>
                <a:gd name="T17" fmla="*/ 71 h 95"/>
                <a:gd name="T18" fmla="*/ 0 w 237"/>
                <a:gd name="T19" fmla="*/ 71 h 95"/>
                <a:gd name="T20" fmla="*/ 87 w 237"/>
                <a:gd name="T21" fmla="*/ 69 h 95"/>
                <a:gd name="T22" fmla="*/ 87 w 237"/>
                <a:gd name="T23" fmla="*/ 69 h 95"/>
                <a:gd name="T24" fmla="*/ 132 w 237"/>
                <a:gd name="T25" fmla="*/ 57 h 95"/>
                <a:gd name="T26" fmla="*/ 149 w 237"/>
                <a:gd name="T27" fmla="*/ 55 h 95"/>
                <a:gd name="T28" fmla="*/ 232 w 237"/>
                <a:gd name="T29" fmla="*/ 55 h 95"/>
                <a:gd name="T30" fmla="*/ 232 w 237"/>
                <a:gd name="T31" fmla="*/ 55 h 95"/>
                <a:gd name="T32" fmla="*/ 237 w 237"/>
                <a:gd name="T33" fmla="*/ 55 h 95"/>
                <a:gd name="T34" fmla="*/ 52 w 237"/>
                <a:gd name="T35" fmla="*/ 55 h 95"/>
                <a:gd name="T36" fmla="*/ 235 w 237"/>
                <a:gd name="T37" fmla="*/ 55 h 95"/>
                <a:gd name="T38" fmla="*/ 52 w 237"/>
                <a:gd name="T39" fmla="*/ 52 h 95"/>
                <a:gd name="T40" fmla="*/ 52 w 237"/>
                <a:gd name="T41" fmla="*/ 52 h 95"/>
                <a:gd name="T42" fmla="*/ 52 w 237"/>
                <a:gd name="T43" fmla="*/ 52 h 95"/>
                <a:gd name="T44" fmla="*/ 151 w 237"/>
                <a:gd name="T45" fmla="*/ 52 h 95"/>
                <a:gd name="T46" fmla="*/ 151 w 237"/>
                <a:gd name="T47" fmla="*/ 52 h 95"/>
                <a:gd name="T48" fmla="*/ 227 w 237"/>
                <a:gd name="T49" fmla="*/ 45 h 95"/>
                <a:gd name="T50" fmla="*/ 213 w 237"/>
                <a:gd name="T51" fmla="*/ 43 h 95"/>
                <a:gd name="T52" fmla="*/ 227 w 237"/>
                <a:gd name="T53" fmla="*/ 40 h 95"/>
                <a:gd name="T54" fmla="*/ 227 w 237"/>
                <a:gd name="T55" fmla="*/ 40 h 95"/>
                <a:gd name="T56" fmla="*/ 213 w 237"/>
                <a:gd name="T57" fmla="*/ 38 h 95"/>
                <a:gd name="T58" fmla="*/ 213 w 237"/>
                <a:gd name="T59" fmla="*/ 38 h 95"/>
                <a:gd name="T60" fmla="*/ 106 w 237"/>
                <a:gd name="T61" fmla="*/ 33 h 95"/>
                <a:gd name="T62" fmla="*/ 187 w 237"/>
                <a:gd name="T63" fmla="*/ 33 h 95"/>
                <a:gd name="T64" fmla="*/ 185 w 237"/>
                <a:gd name="T65" fmla="*/ 33 h 95"/>
                <a:gd name="T66" fmla="*/ 187 w 237"/>
                <a:gd name="T67" fmla="*/ 33 h 95"/>
                <a:gd name="T68" fmla="*/ 187 w 237"/>
                <a:gd name="T69" fmla="*/ 33 h 95"/>
                <a:gd name="T70" fmla="*/ 187 w 237"/>
                <a:gd name="T71" fmla="*/ 33 h 95"/>
                <a:gd name="T72" fmla="*/ 57 w 237"/>
                <a:gd name="T73" fmla="*/ 31 h 95"/>
                <a:gd name="T74" fmla="*/ 57 w 237"/>
                <a:gd name="T75" fmla="*/ 31 h 95"/>
                <a:gd name="T76" fmla="*/ 206 w 237"/>
                <a:gd name="T77" fmla="*/ 29 h 95"/>
                <a:gd name="T78" fmla="*/ 140 w 237"/>
                <a:gd name="T79" fmla="*/ 29 h 95"/>
                <a:gd name="T80" fmla="*/ 204 w 237"/>
                <a:gd name="T81" fmla="*/ 29 h 95"/>
                <a:gd name="T82" fmla="*/ 204 w 237"/>
                <a:gd name="T83" fmla="*/ 26 h 95"/>
                <a:gd name="T84" fmla="*/ 92 w 237"/>
                <a:gd name="T85" fmla="*/ 26 h 95"/>
                <a:gd name="T86" fmla="*/ 92 w 237"/>
                <a:gd name="T87" fmla="*/ 26 h 95"/>
                <a:gd name="T88" fmla="*/ 54 w 237"/>
                <a:gd name="T89" fmla="*/ 24 h 95"/>
                <a:gd name="T90" fmla="*/ 211 w 237"/>
                <a:gd name="T91" fmla="*/ 24 h 95"/>
                <a:gd name="T92" fmla="*/ 211 w 237"/>
                <a:gd name="T93" fmla="*/ 24 h 95"/>
                <a:gd name="T94" fmla="*/ 61 w 237"/>
                <a:gd name="T95" fmla="*/ 19 h 95"/>
                <a:gd name="T96" fmla="*/ 61 w 237"/>
                <a:gd name="T97" fmla="*/ 19 h 95"/>
                <a:gd name="T98" fmla="*/ 52 w 237"/>
                <a:gd name="T9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7" h="95">
                  <a:moveTo>
                    <a:pt x="61" y="95"/>
                  </a:moveTo>
                  <a:lnTo>
                    <a:pt x="61" y="95"/>
                  </a:lnTo>
                  <a:lnTo>
                    <a:pt x="61" y="95"/>
                  </a:lnTo>
                  <a:lnTo>
                    <a:pt x="61" y="95"/>
                  </a:lnTo>
                  <a:lnTo>
                    <a:pt x="61" y="95"/>
                  </a:lnTo>
                  <a:lnTo>
                    <a:pt x="61" y="95"/>
                  </a:lnTo>
                  <a:close/>
                  <a:moveTo>
                    <a:pt x="16" y="86"/>
                  </a:moveTo>
                  <a:lnTo>
                    <a:pt x="16" y="86"/>
                  </a:lnTo>
                  <a:lnTo>
                    <a:pt x="16" y="86"/>
                  </a:lnTo>
                  <a:lnTo>
                    <a:pt x="16" y="86"/>
                  </a:lnTo>
                  <a:lnTo>
                    <a:pt x="16" y="86"/>
                  </a:lnTo>
                  <a:lnTo>
                    <a:pt x="16" y="86"/>
                  </a:lnTo>
                  <a:lnTo>
                    <a:pt x="16" y="86"/>
                  </a:lnTo>
                  <a:lnTo>
                    <a:pt x="16" y="86"/>
                  </a:lnTo>
                  <a:lnTo>
                    <a:pt x="16" y="86"/>
                  </a:lnTo>
                  <a:close/>
                  <a:moveTo>
                    <a:pt x="102" y="74"/>
                  </a:moveTo>
                  <a:lnTo>
                    <a:pt x="102" y="74"/>
                  </a:lnTo>
                  <a:lnTo>
                    <a:pt x="102" y="74"/>
                  </a:lnTo>
                  <a:lnTo>
                    <a:pt x="102" y="74"/>
                  </a:lnTo>
                  <a:lnTo>
                    <a:pt x="102" y="74"/>
                  </a:lnTo>
                  <a:lnTo>
                    <a:pt x="102" y="74"/>
                  </a:lnTo>
                  <a:lnTo>
                    <a:pt x="102" y="74"/>
                  </a:lnTo>
                  <a:lnTo>
                    <a:pt x="102" y="74"/>
                  </a:lnTo>
                  <a:close/>
                  <a:moveTo>
                    <a:pt x="95" y="74"/>
                  </a:moveTo>
                  <a:lnTo>
                    <a:pt x="95" y="74"/>
                  </a:lnTo>
                  <a:lnTo>
                    <a:pt x="95" y="74"/>
                  </a:lnTo>
                  <a:lnTo>
                    <a:pt x="95" y="74"/>
                  </a:lnTo>
                  <a:lnTo>
                    <a:pt x="95" y="74"/>
                  </a:lnTo>
                  <a:lnTo>
                    <a:pt x="95" y="74"/>
                  </a:lnTo>
                  <a:lnTo>
                    <a:pt x="95" y="74"/>
                  </a:lnTo>
                  <a:lnTo>
                    <a:pt x="95" y="74"/>
                  </a:lnTo>
                  <a:lnTo>
                    <a:pt x="95" y="74"/>
                  </a:lnTo>
                  <a:close/>
                  <a:moveTo>
                    <a:pt x="90" y="71"/>
                  </a:moveTo>
                  <a:lnTo>
                    <a:pt x="90" y="71"/>
                  </a:lnTo>
                  <a:lnTo>
                    <a:pt x="90" y="71"/>
                  </a:lnTo>
                  <a:lnTo>
                    <a:pt x="90" y="71"/>
                  </a:lnTo>
                  <a:lnTo>
                    <a:pt x="90" y="71"/>
                  </a:lnTo>
                  <a:close/>
                  <a:moveTo>
                    <a:pt x="0" y="71"/>
                  </a:moveTo>
                  <a:lnTo>
                    <a:pt x="0" y="71"/>
                  </a:lnTo>
                  <a:lnTo>
                    <a:pt x="0" y="71"/>
                  </a:lnTo>
                  <a:lnTo>
                    <a:pt x="0" y="71"/>
                  </a:lnTo>
                  <a:lnTo>
                    <a:pt x="0" y="71"/>
                  </a:lnTo>
                  <a:lnTo>
                    <a:pt x="0" y="71"/>
                  </a:lnTo>
                  <a:close/>
                  <a:moveTo>
                    <a:pt x="87" y="69"/>
                  </a:moveTo>
                  <a:lnTo>
                    <a:pt x="87" y="69"/>
                  </a:lnTo>
                  <a:lnTo>
                    <a:pt x="87" y="69"/>
                  </a:lnTo>
                  <a:lnTo>
                    <a:pt x="87" y="69"/>
                  </a:lnTo>
                  <a:lnTo>
                    <a:pt x="87" y="69"/>
                  </a:lnTo>
                  <a:close/>
                  <a:moveTo>
                    <a:pt x="132" y="57"/>
                  </a:moveTo>
                  <a:lnTo>
                    <a:pt x="132" y="57"/>
                  </a:lnTo>
                  <a:lnTo>
                    <a:pt x="132" y="57"/>
                  </a:lnTo>
                  <a:lnTo>
                    <a:pt x="132" y="57"/>
                  </a:lnTo>
                  <a:lnTo>
                    <a:pt x="132" y="57"/>
                  </a:lnTo>
                  <a:lnTo>
                    <a:pt x="132" y="57"/>
                  </a:lnTo>
                  <a:close/>
                  <a:moveTo>
                    <a:pt x="149" y="55"/>
                  </a:moveTo>
                  <a:lnTo>
                    <a:pt x="149" y="55"/>
                  </a:lnTo>
                  <a:lnTo>
                    <a:pt x="149" y="55"/>
                  </a:lnTo>
                  <a:lnTo>
                    <a:pt x="149" y="55"/>
                  </a:lnTo>
                  <a:lnTo>
                    <a:pt x="149" y="55"/>
                  </a:lnTo>
                  <a:close/>
                  <a:moveTo>
                    <a:pt x="232" y="55"/>
                  </a:moveTo>
                  <a:lnTo>
                    <a:pt x="232" y="55"/>
                  </a:lnTo>
                  <a:lnTo>
                    <a:pt x="232" y="55"/>
                  </a:lnTo>
                  <a:lnTo>
                    <a:pt x="232" y="55"/>
                  </a:lnTo>
                  <a:lnTo>
                    <a:pt x="232" y="55"/>
                  </a:lnTo>
                  <a:close/>
                  <a:moveTo>
                    <a:pt x="237" y="55"/>
                  </a:moveTo>
                  <a:lnTo>
                    <a:pt x="235" y="55"/>
                  </a:lnTo>
                  <a:lnTo>
                    <a:pt x="235" y="55"/>
                  </a:lnTo>
                  <a:lnTo>
                    <a:pt x="237" y="55"/>
                  </a:lnTo>
                  <a:close/>
                  <a:moveTo>
                    <a:pt x="52" y="55"/>
                  </a:moveTo>
                  <a:lnTo>
                    <a:pt x="52" y="55"/>
                  </a:lnTo>
                  <a:lnTo>
                    <a:pt x="52" y="55"/>
                  </a:lnTo>
                  <a:lnTo>
                    <a:pt x="52" y="55"/>
                  </a:lnTo>
                  <a:lnTo>
                    <a:pt x="52" y="55"/>
                  </a:lnTo>
                  <a:lnTo>
                    <a:pt x="52" y="55"/>
                  </a:lnTo>
                  <a:close/>
                  <a:moveTo>
                    <a:pt x="235" y="55"/>
                  </a:moveTo>
                  <a:lnTo>
                    <a:pt x="235" y="55"/>
                  </a:lnTo>
                  <a:lnTo>
                    <a:pt x="235" y="55"/>
                  </a:lnTo>
                  <a:lnTo>
                    <a:pt x="235" y="55"/>
                  </a:lnTo>
                  <a:lnTo>
                    <a:pt x="235" y="55"/>
                  </a:lnTo>
                  <a:close/>
                  <a:moveTo>
                    <a:pt x="52" y="52"/>
                  </a:moveTo>
                  <a:lnTo>
                    <a:pt x="52" y="52"/>
                  </a:lnTo>
                  <a:lnTo>
                    <a:pt x="52" y="52"/>
                  </a:lnTo>
                  <a:lnTo>
                    <a:pt x="52" y="52"/>
                  </a:lnTo>
                  <a:lnTo>
                    <a:pt x="52" y="52"/>
                  </a:lnTo>
                  <a:lnTo>
                    <a:pt x="52" y="52"/>
                  </a:lnTo>
                  <a:lnTo>
                    <a:pt x="52" y="52"/>
                  </a:lnTo>
                  <a:lnTo>
                    <a:pt x="52" y="52"/>
                  </a:lnTo>
                  <a:lnTo>
                    <a:pt x="52" y="52"/>
                  </a:lnTo>
                  <a:close/>
                  <a:moveTo>
                    <a:pt x="151" y="52"/>
                  </a:moveTo>
                  <a:lnTo>
                    <a:pt x="151" y="52"/>
                  </a:lnTo>
                  <a:lnTo>
                    <a:pt x="151" y="52"/>
                  </a:lnTo>
                  <a:lnTo>
                    <a:pt x="151" y="52"/>
                  </a:lnTo>
                  <a:lnTo>
                    <a:pt x="151" y="52"/>
                  </a:lnTo>
                  <a:lnTo>
                    <a:pt x="151" y="52"/>
                  </a:lnTo>
                  <a:lnTo>
                    <a:pt x="151" y="52"/>
                  </a:lnTo>
                  <a:lnTo>
                    <a:pt x="151" y="52"/>
                  </a:lnTo>
                  <a:close/>
                  <a:moveTo>
                    <a:pt x="227" y="45"/>
                  </a:moveTo>
                  <a:lnTo>
                    <a:pt x="227" y="45"/>
                  </a:lnTo>
                  <a:lnTo>
                    <a:pt x="227" y="45"/>
                  </a:lnTo>
                  <a:lnTo>
                    <a:pt x="227" y="45"/>
                  </a:lnTo>
                  <a:lnTo>
                    <a:pt x="227" y="45"/>
                  </a:lnTo>
                  <a:close/>
                  <a:moveTo>
                    <a:pt x="213" y="43"/>
                  </a:moveTo>
                  <a:lnTo>
                    <a:pt x="213" y="43"/>
                  </a:lnTo>
                  <a:lnTo>
                    <a:pt x="213" y="43"/>
                  </a:lnTo>
                  <a:lnTo>
                    <a:pt x="213" y="43"/>
                  </a:lnTo>
                  <a:lnTo>
                    <a:pt x="213" y="43"/>
                  </a:lnTo>
                  <a:lnTo>
                    <a:pt x="213" y="43"/>
                  </a:lnTo>
                  <a:close/>
                  <a:moveTo>
                    <a:pt x="227" y="40"/>
                  </a:moveTo>
                  <a:lnTo>
                    <a:pt x="227" y="40"/>
                  </a:lnTo>
                  <a:lnTo>
                    <a:pt x="227" y="40"/>
                  </a:lnTo>
                  <a:lnTo>
                    <a:pt x="227" y="40"/>
                  </a:lnTo>
                  <a:lnTo>
                    <a:pt x="227" y="40"/>
                  </a:lnTo>
                  <a:lnTo>
                    <a:pt x="227" y="40"/>
                  </a:lnTo>
                  <a:lnTo>
                    <a:pt x="227" y="40"/>
                  </a:lnTo>
                  <a:lnTo>
                    <a:pt x="227" y="40"/>
                  </a:lnTo>
                  <a:close/>
                  <a:moveTo>
                    <a:pt x="213" y="38"/>
                  </a:moveTo>
                  <a:lnTo>
                    <a:pt x="213" y="38"/>
                  </a:lnTo>
                  <a:lnTo>
                    <a:pt x="213" y="38"/>
                  </a:lnTo>
                  <a:lnTo>
                    <a:pt x="213" y="38"/>
                  </a:lnTo>
                  <a:lnTo>
                    <a:pt x="213" y="38"/>
                  </a:lnTo>
                  <a:close/>
                  <a:moveTo>
                    <a:pt x="106" y="33"/>
                  </a:moveTo>
                  <a:lnTo>
                    <a:pt x="106" y="33"/>
                  </a:lnTo>
                  <a:lnTo>
                    <a:pt x="106" y="33"/>
                  </a:lnTo>
                  <a:lnTo>
                    <a:pt x="106" y="33"/>
                  </a:lnTo>
                  <a:lnTo>
                    <a:pt x="106" y="33"/>
                  </a:lnTo>
                  <a:lnTo>
                    <a:pt x="106" y="33"/>
                  </a:lnTo>
                  <a:lnTo>
                    <a:pt x="106" y="33"/>
                  </a:lnTo>
                  <a:close/>
                  <a:moveTo>
                    <a:pt x="187" y="33"/>
                  </a:moveTo>
                  <a:lnTo>
                    <a:pt x="187" y="33"/>
                  </a:lnTo>
                  <a:lnTo>
                    <a:pt x="187" y="33"/>
                  </a:lnTo>
                  <a:lnTo>
                    <a:pt x="187" y="33"/>
                  </a:lnTo>
                  <a:lnTo>
                    <a:pt x="185" y="33"/>
                  </a:lnTo>
                  <a:lnTo>
                    <a:pt x="185" y="33"/>
                  </a:lnTo>
                  <a:lnTo>
                    <a:pt x="187" y="33"/>
                  </a:lnTo>
                  <a:lnTo>
                    <a:pt x="187" y="33"/>
                  </a:lnTo>
                  <a:lnTo>
                    <a:pt x="187" y="33"/>
                  </a:lnTo>
                  <a:lnTo>
                    <a:pt x="187" y="33"/>
                  </a:lnTo>
                  <a:close/>
                  <a:moveTo>
                    <a:pt x="187" y="33"/>
                  </a:moveTo>
                  <a:lnTo>
                    <a:pt x="187" y="33"/>
                  </a:lnTo>
                  <a:lnTo>
                    <a:pt x="187" y="33"/>
                  </a:lnTo>
                  <a:lnTo>
                    <a:pt x="187" y="33"/>
                  </a:lnTo>
                  <a:lnTo>
                    <a:pt x="187" y="33"/>
                  </a:lnTo>
                  <a:lnTo>
                    <a:pt x="187" y="33"/>
                  </a:lnTo>
                  <a:lnTo>
                    <a:pt x="187" y="33"/>
                  </a:lnTo>
                  <a:lnTo>
                    <a:pt x="187" y="33"/>
                  </a:lnTo>
                  <a:close/>
                  <a:moveTo>
                    <a:pt x="57" y="31"/>
                  </a:moveTo>
                  <a:lnTo>
                    <a:pt x="57" y="31"/>
                  </a:lnTo>
                  <a:lnTo>
                    <a:pt x="57" y="31"/>
                  </a:lnTo>
                  <a:lnTo>
                    <a:pt x="57" y="31"/>
                  </a:lnTo>
                  <a:lnTo>
                    <a:pt x="57" y="31"/>
                  </a:lnTo>
                  <a:lnTo>
                    <a:pt x="57" y="31"/>
                  </a:lnTo>
                  <a:lnTo>
                    <a:pt x="57" y="31"/>
                  </a:lnTo>
                  <a:close/>
                  <a:moveTo>
                    <a:pt x="206" y="31"/>
                  </a:moveTo>
                  <a:lnTo>
                    <a:pt x="206" y="31"/>
                  </a:lnTo>
                  <a:lnTo>
                    <a:pt x="206" y="31"/>
                  </a:lnTo>
                  <a:lnTo>
                    <a:pt x="206" y="29"/>
                  </a:lnTo>
                  <a:lnTo>
                    <a:pt x="206" y="29"/>
                  </a:lnTo>
                  <a:lnTo>
                    <a:pt x="206" y="31"/>
                  </a:lnTo>
                  <a:close/>
                  <a:moveTo>
                    <a:pt x="140" y="29"/>
                  </a:moveTo>
                  <a:lnTo>
                    <a:pt x="140" y="29"/>
                  </a:lnTo>
                  <a:lnTo>
                    <a:pt x="137" y="29"/>
                  </a:lnTo>
                  <a:lnTo>
                    <a:pt x="140" y="29"/>
                  </a:lnTo>
                  <a:lnTo>
                    <a:pt x="140" y="29"/>
                  </a:lnTo>
                  <a:close/>
                  <a:moveTo>
                    <a:pt x="204" y="29"/>
                  </a:moveTo>
                  <a:lnTo>
                    <a:pt x="204" y="29"/>
                  </a:lnTo>
                  <a:lnTo>
                    <a:pt x="204" y="26"/>
                  </a:lnTo>
                  <a:lnTo>
                    <a:pt x="204" y="26"/>
                  </a:lnTo>
                  <a:lnTo>
                    <a:pt x="204" y="26"/>
                  </a:lnTo>
                  <a:lnTo>
                    <a:pt x="204" y="29"/>
                  </a:lnTo>
                  <a:lnTo>
                    <a:pt x="204" y="29"/>
                  </a:lnTo>
                  <a:close/>
                  <a:moveTo>
                    <a:pt x="92" y="26"/>
                  </a:moveTo>
                  <a:lnTo>
                    <a:pt x="92" y="26"/>
                  </a:lnTo>
                  <a:lnTo>
                    <a:pt x="92" y="26"/>
                  </a:lnTo>
                  <a:lnTo>
                    <a:pt x="92" y="26"/>
                  </a:lnTo>
                  <a:lnTo>
                    <a:pt x="92" y="26"/>
                  </a:lnTo>
                  <a:lnTo>
                    <a:pt x="92" y="26"/>
                  </a:lnTo>
                  <a:close/>
                  <a:moveTo>
                    <a:pt x="54" y="24"/>
                  </a:moveTo>
                  <a:lnTo>
                    <a:pt x="54" y="24"/>
                  </a:lnTo>
                  <a:lnTo>
                    <a:pt x="54" y="24"/>
                  </a:lnTo>
                  <a:lnTo>
                    <a:pt x="54" y="24"/>
                  </a:lnTo>
                  <a:lnTo>
                    <a:pt x="54" y="24"/>
                  </a:lnTo>
                  <a:lnTo>
                    <a:pt x="54" y="24"/>
                  </a:lnTo>
                  <a:lnTo>
                    <a:pt x="54" y="24"/>
                  </a:lnTo>
                  <a:close/>
                  <a:moveTo>
                    <a:pt x="211" y="24"/>
                  </a:moveTo>
                  <a:lnTo>
                    <a:pt x="211" y="24"/>
                  </a:lnTo>
                  <a:lnTo>
                    <a:pt x="211" y="24"/>
                  </a:lnTo>
                  <a:lnTo>
                    <a:pt x="211" y="24"/>
                  </a:lnTo>
                  <a:lnTo>
                    <a:pt x="211" y="24"/>
                  </a:lnTo>
                  <a:lnTo>
                    <a:pt x="211" y="24"/>
                  </a:lnTo>
                  <a:close/>
                  <a:moveTo>
                    <a:pt x="61" y="19"/>
                  </a:moveTo>
                  <a:lnTo>
                    <a:pt x="61" y="19"/>
                  </a:lnTo>
                  <a:lnTo>
                    <a:pt x="61" y="19"/>
                  </a:lnTo>
                  <a:lnTo>
                    <a:pt x="61" y="19"/>
                  </a:lnTo>
                  <a:lnTo>
                    <a:pt x="61" y="19"/>
                  </a:lnTo>
                  <a:lnTo>
                    <a:pt x="61" y="19"/>
                  </a:lnTo>
                  <a:lnTo>
                    <a:pt x="61" y="19"/>
                  </a:lnTo>
                  <a:close/>
                  <a:moveTo>
                    <a:pt x="52" y="0"/>
                  </a:moveTo>
                  <a:lnTo>
                    <a:pt x="52" y="0"/>
                  </a:lnTo>
                  <a:lnTo>
                    <a:pt x="52" y="0"/>
                  </a:lnTo>
                  <a:lnTo>
                    <a:pt x="5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3" name="Freeform 52272"/>
            <p:cNvSpPr>
              <a:spLocks/>
            </p:cNvSpPr>
            <p:nvPr/>
          </p:nvSpPr>
          <p:spPr bwMode="auto">
            <a:xfrm>
              <a:off x="1746248" y="5716607"/>
              <a:ext cx="0" cy="3175"/>
            </a:xfrm>
            <a:custGeom>
              <a:avLst/>
              <a:gdLst>
                <a:gd name="T0" fmla="*/ 0 h 2"/>
                <a:gd name="T1" fmla="*/ 0 h 2"/>
                <a:gd name="T2" fmla="*/ 0 h 2"/>
                <a:gd name="T3" fmla="*/ 0 h 2"/>
                <a:gd name="T4" fmla="*/ 0 h 2"/>
                <a:gd name="T5" fmla="*/ 0 h 2"/>
                <a:gd name="T6" fmla="*/ 0 h 2"/>
                <a:gd name="T7" fmla="*/ 0 h 2"/>
                <a:gd name="T8" fmla="*/ 0 h 2"/>
                <a:gd name="T9" fmla="*/ 0 h 2"/>
                <a:gd name="T10" fmla="*/ 2 h 2"/>
                <a:gd name="T11" fmla="*/ 2 h 2"/>
                <a:gd name="T12" fmla="*/ 0 h 2"/>
                <a:gd name="T13" fmla="*/ 0 h 2"/>
                <a:gd name="T14" fmla="*/ 0 h 2"/>
                <a:gd name="T15" fmla="*/ 0 h 2"/>
                <a:gd name="T16" fmla="*/ 0 h 2"/>
                <a:gd name="T17" fmla="*/ 0 h 2"/>
                <a:gd name="T18" fmla="*/ 0 h 2"/>
                <a:gd name="T19" fmla="*/ 0 h 2"/>
                <a:gd name="T20" fmla="*/ 0 h 2"/>
                <a:gd name="T21" fmla="*/ 0 h 2"/>
                <a:gd name="T22" fmla="*/ 0 h 2"/>
                <a:gd name="T23" fmla="*/ 0 h 2"/>
                <a:gd name="T24" fmla="*/ 0 h 2"/>
                <a:gd name="T25" fmla="*/ 0 h 2"/>
                <a:gd name="T26" fmla="*/ 0 h 2"/>
                <a:gd name="T27" fmla="*/ 0 h 2"/>
                <a:gd name="T28" fmla="*/ 0 h 2"/>
                <a:gd name="T29" fmla="*/ 0 h 2"/>
                <a:gd name="T30" fmla="*/ 0 h 2"/>
                <a:gd name="T31" fmla="*/ 0 h 2"/>
                <a:gd name="T32" fmla="*/ 0 h 2"/>
                <a:gd name="T33" fmla="*/ 0 h 2"/>
                <a:gd name="T34" fmla="*/ 0 h 2"/>
                <a:gd name="T35" fmla="*/ 0 h 2"/>
                <a:gd name="T36" fmla="*/ 0 h 2"/>
                <a:gd name="T37" fmla="*/ 0 h 2"/>
                <a:gd name="T3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Lst>
              <a:rect l="0" t="0" r="r" b="b"/>
              <a:pathLst>
                <a:path h="2">
                  <a:moveTo>
                    <a:pt x="0" y="0"/>
                  </a:moveTo>
                  <a:lnTo>
                    <a:pt x="0" y="0"/>
                  </a:lnTo>
                  <a:lnTo>
                    <a:pt x="0" y="0"/>
                  </a:lnTo>
                  <a:lnTo>
                    <a:pt x="0" y="0"/>
                  </a:lnTo>
                  <a:lnTo>
                    <a:pt x="0" y="0"/>
                  </a:lnTo>
                  <a:lnTo>
                    <a:pt x="0" y="0"/>
                  </a:lnTo>
                  <a:lnTo>
                    <a:pt x="0" y="0"/>
                  </a:lnTo>
                  <a:lnTo>
                    <a:pt x="0" y="0"/>
                  </a:lnTo>
                  <a:lnTo>
                    <a:pt x="0" y="0"/>
                  </a:lnTo>
                  <a:lnTo>
                    <a:pt x="0" y="0"/>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4" name="Freeform 52273"/>
            <p:cNvSpPr>
              <a:spLocks noEditPoints="1"/>
            </p:cNvSpPr>
            <p:nvPr/>
          </p:nvSpPr>
          <p:spPr bwMode="auto">
            <a:xfrm>
              <a:off x="1746248" y="5716607"/>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moveTo>
                    <a:pt x="0" y="0"/>
                  </a:moveTo>
                  <a:lnTo>
                    <a:pt x="0" y="0"/>
                  </a:lnTo>
                  <a:lnTo>
                    <a:pt x="0" y="0"/>
                  </a:lnTo>
                  <a:lnTo>
                    <a:pt x="0" y="0"/>
                  </a:lnTo>
                  <a:lnTo>
                    <a:pt x="0" y="0"/>
                  </a:lnTo>
                  <a:close/>
                  <a:moveTo>
                    <a:pt x="0" y="0"/>
                  </a:moveTo>
                  <a:lnTo>
                    <a:pt x="0" y="0"/>
                  </a:lnTo>
                  <a:lnTo>
                    <a:pt x="0" y="0"/>
                  </a:lnTo>
                  <a:lnTo>
                    <a:pt x="0" y="0"/>
                  </a:lnTo>
                  <a:close/>
                  <a:moveTo>
                    <a:pt x="0" y="0"/>
                  </a:move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5" name="Freeform 52274"/>
            <p:cNvSpPr>
              <a:spLocks/>
            </p:cNvSpPr>
            <p:nvPr/>
          </p:nvSpPr>
          <p:spPr bwMode="auto">
            <a:xfrm>
              <a:off x="3257547" y="5746768"/>
              <a:ext cx="146050" cy="55563"/>
            </a:xfrm>
            <a:custGeom>
              <a:avLst/>
              <a:gdLst>
                <a:gd name="T0" fmla="*/ 9 w 92"/>
                <a:gd name="T1" fmla="*/ 2 h 35"/>
                <a:gd name="T2" fmla="*/ 14 w 92"/>
                <a:gd name="T3" fmla="*/ 7 h 35"/>
                <a:gd name="T4" fmla="*/ 16 w 92"/>
                <a:gd name="T5" fmla="*/ 9 h 35"/>
                <a:gd name="T6" fmla="*/ 16 w 92"/>
                <a:gd name="T7" fmla="*/ 9 h 35"/>
                <a:gd name="T8" fmla="*/ 23 w 92"/>
                <a:gd name="T9" fmla="*/ 4 h 35"/>
                <a:gd name="T10" fmla="*/ 19 w 92"/>
                <a:gd name="T11" fmla="*/ 9 h 35"/>
                <a:gd name="T12" fmla="*/ 23 w 92"/>
                <a:gd name="T13" fmla="*/ 9 h 35"/>
                <a:gd name="T14" fmla="*/ 26 w 92"/>
                <a:gd name="T15" fmla="*/ 11 h 35"/>
                <a:gd name="T16" fmla="*/ 28 w 92"/>
                <a:gd name="T17" fmla="*/ 14 h 35"/>
                <a:gd name="T18" fmla="*/ 38 w 92"/>
                <a:gd name="T19" fmla="*/ 14 h 35"/>
                <a:gd name="T20" fmla="*/ 42 w 92"/>
                <a:gd name="T21" fmla="*/ 14 h 35"/>
                <a:gd name="T22" fmla="*/ 45 w 92"/>
                <a:gd name="T23" fmla="*/ 11 h 35"/>
                <a:gd name="T24" fmla="*/ 45 w 92"/>
                <a:gd name="T25" fmla="*/ 11 h 35"/>
                <a:gd name="T26" fmla="*/ 47 w 92"/>
                <a:gd name="T27" fmla="*/ 14 h 35"/>
                <a:gd name="T28" fmla="*/ 50 w 92"/>
                <a:gd name="T29" fmla="*/ 11 h 35"/>
                <a:gd name="T30" fmla="*/ 52 w 92"/>
                <a:gd name="T31" fmla="*/ 14 h 35"/>
                <a:gd name="T32" fmla="*/ 59 w 92"/>
                <a:gd name="T33" fmla="*/ 16 h 35"/>
                <a:gd name="T34" fmla="*/ 66 w 92"/>
                <a:gd name="T35" fmla="*/ 19 h 35"/>
                <a:gd name="T36" fmla="*/ 73 w 92"/>
                <a:gd name="T37" fmla="*/ 16 h 35"/>
                <a:gd name="T38" fmla="*/ 73 w 92"/>
                <a:gd name="T39" fmla="*/ 21 h 35"/>
                <a:gd name="T40" fmla="*/ 78 w 92"/>
                <a:gd name="T41" fmla="*/ 26 h 35"/>
                <a:gd name="T42" fmla="*/ 83 w 92"/>
                <a:gd name="T43" fmla="*/ 21 h 35"/>
                <a:gd name="T44" fmla="*/ 90 w 92"/>
                <a:gd name="T45" fmla="*/ 19 h 35"/>
                <a:gd name="T46" fmla="*/ 90 w 92"/>
                <a:gd name="T47" fmla="*/ 19 h 35"/>
                <a:gd name="T48" fmla="*/ 92 w 92"/>
                <a:gd name="T49" fmla="*/ 21 h 35"/>
                <a:gd name="T50" fmla="*/ 92 w 92"/>
                <a:gd name="T51" fmla="*/ 26 h 35"/>
                <a:gd name="T52" fmla="*/ 90 w 92"/>
                <a:gd name="T53" fmla="*/ 30 h 35"/>
                <a:gd name="T54" fmla="*/ 83 w 92"/>
                <a:gd name="T55" fmla="*/ 28 h 35"/>
                <a:gd name="T56" fmla="*/ 76 w 92"/>
                <a:gd name="T57" fmla="*/ 30 h 35"/>
                <a:gd name="T58" fmla="*/ 66 w 92"/>
                <a:gd name="T59" fmla="*/ 30 h 35"/>
                <a:gd name="T60" fmla="*/ 59 w 92"/>
                <a:gd name="T61" fmla="*/ 33 h 35"/>
                <a:gd name="T62" fmla="*/ 50 w 92"/>
                <a:gd name="T63" fmla="*/ 33 h 35"/>
                <a:gd name="T64" fmla="*/ 42 w 92"/>
                <a:gd name="T65" fmla="*/ 35 h 35"/>
                <a:gd name="T66" fmla="*/ 40 w 92"/>
                <a:gd name="T67" fmla="*/ 33 h 35"/>
                <a:gd name="T68" fmla="*/ 40 w 92"/>
                <a:gd name="T69" fmla="*/ 28 h 35"/>
                <a:gd name="T70" fmla="*/ 33 w 92"/>
                <a:gd name="T71" fmla="*/ 26 h 35"/>
                <a:gd name="T72" fmla="*/ 31 w 92"/>
                <a:gd name="T73" fmla="*/ 23 h 35"/>
                <a:gd name="T74" fmla="*/ 23 w 92"/>
                <a:gd name="T75" fmla="*/ 23 h 35"/>
                <a:gd name="T76" fmla="*/ 21 w 92"/>
                <a:gd name="T77" fmla="*/ 21 h 35"/>
                <a:gd name="T78" fmla="*/ 19 w 92"/>
                <a:gd name="T79" fmla="*/ 23 h 35"/>
                <a:gd name="T80" fmla="*/ 12 w 92"/>
                <a:gd name="T81" fmla="*/ 21 h 35"/>
                <a:gd name="T82" fmla="*/ 7 w 92"/>
                <a:gd name="T83" fmla="*/ 21 h 35"/>
                <a:gd name="T84" fmla="*/ 2 w 92"/>
                <a:gd name="T85" fmla="*/ 21 h 35"/>
                <a:gd name="T86" fmla="*/ 2 w 92"/>
                <a:gd name="T87" fmla="*/ 16 h 35"/>
                <a:gd name="T88" fmla="*/ 2 w 92"/>
                <a:gd name="T89" fmla="*/ 16 h 35"/>
                <a:gd name="T90" fmla="*/ 2 w 92"/>
                <a:gd name="T91" fmla="*/ 14 h 35"/>
                <a:gd name="T92" fmla="*/ 2 w 92"/>
                <a:gd name="T93" fmla="*/ 9 h 35"/>
                <a:gd name="T94" fmla="*/ 4 w 92"/>
                <a:gd name="T95" fmla="*/ 4 h 35"/>
                <a:gd name="T96" fmla="*/ 4 w 92"/>
                <a:gd name="T97" fmla="*/ 9 h 35"/>
                <a:gd name="T98" fmla="*/ 7 w 92"/>
                <a:gd name="T99"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35">
                  <a:moveTo>
                    <a:pt x="7" y="2"/>
                  </a:moveTo>
                  <a:lnTo>
                    <a:pt x="7" y="0"/>
                  </a:lnTo>
                  <a:lnTo>
                    <a:pt x="9" y="0"/>
                  </a:lnTo>
                  <a:lnTo>
                    <a:pt x="9" y="2"/>
                  </a:lnTo>
                  <a:lnTo>
                    <a:pt x="9" y="4"/>
                  </a:lnTo>
                  <a:lnTo>
                    <a:pt x="9" y="7"/>
                  </a:lnTo>
                  <a:lnTo>
                    <a:pt x="12" y="7"/>
                  </a:lnTo>
                  <a:lnTo>
                    <a:pt x="14" y="7"/>
                  </a:lnTo>
                  <a:lnTo>
                    <a:pt x="14" y="9"/>
                  </a:lnTo>
                  <a:lnTo>
                    <a:pt x="16" y="9"/>
                  </a:lnTo>
                  <a:lnTo>
                    <a:pt x="16" y="7"/>
                  </a:lnTo>
                  <a:lnTo>
                    <a:pt x="16" y="9"/>
                  </a:lnTo>
                  <a:lnTo>
                    <a:pt x="16" y="7"/>
                  </a:lnTo>
                  <a:lnTo>
                    <a:pt x="16" y="9"/>
                  </a:lnTo>
                  <a:lnTo>
                    <a:pt x="16" y="7"/>
                  </a:lnTo>
                  <a:lnTo>
                    <a:pt x="16" y="9"/>
                  </a:lnTo>
                  <a:lnTo>
                    <a:pt x="19" y="7"/>
                  </a:lnTo>
                  <a:lnTo>
                    <a:pt x="19" y="4"/>
                  </a:lnTo>
                  <a:lnTo>
                    <a:pt x="21" y="4"/>
                  </a:lnTo>
                  <a:lnTo>
                    <a:pt x="23" y="4"/>
                  </a:lnTo>
                  <a:lnTo>
                    <a:pt x="23" y="7"/>
                  </a:lnTo>
                  <a:lnTo>
                    <a:pt x="23" y="9"/>
                  </a:lnTo>
                  <a:lnTo>
                    <a:pt x="21" y="9"/>
                  </a:lnTo>
                  <a:lnTo>
                    <a:pt x="19" y="9"/>
                  </a:lnTo>
                  <a:lnTo>
                    <a:pt x="21" y="9"/>
                  </a:lnTo>
                  <a:lnTo>
                    <a:pt x="21" y="11"/>
                  </a:lnTo>
                  <a:lnTo>
                    <a:pt x="23" y="11"/>
                  </a:lnTo>
                  <a:lnTo>
                    <a:pt x="23" y="9"/>
                  </a:lnTo>
                  <a:lnTo>
                    <a:pt x="23" y="11"/>
                  </a:lnTo>
                  <a:lnTo>
                    <a:pt x="23" y="9"/>
                  </a:lnTo>
                  <a:lnTo>
                    <a:pt x="23" y="11"/>
                  </a:lnTo>
                  <a:lnTo>
                    <a:pt x="26" y="11"/>
                  </a:lnTo>
                  <a:lnTo>
                    <a:pt x="26" y="14"/>
                  </a:lnTo>
                  <a:lnTo>
                    <a:pt x="26" y="16"/>
                  </a:lnTo>
                  <a:lnTo>
                    <a:pt x="28" y="16"/>
                  </a:lnTo>
                  <a:lnTo>
                    <a:pt x="28" y="14"/>
                  </a:lnTo>
                  <a:lnTo>
                    <a:pt x="31" y="14"/>
                  </a:lnTo>
                  <a:lnTo>
                    <a:pt x="33" y="14"/>
                  </a:lnTo>
                  <a:lnTo>
                    <a:pt x="35" y="14"/>
                  </a:lnTo>
                  <a:lnTo>
                    <a:pt x="38" y="14"/>
                  </a:lnTo>
                  <a:lnTo>
                    <a:pt x="38" y="11"/>
                  </a:lnTo>
                  <a:lnTo>
                    <a:pt x="40" y="11"/>
                  </a:lnTo>
                  <a:lnTo>
                    <a:pt x="42" y="11"/>
                  </a:lnTo>
                  <a:lnTo>
                    <a:pt x="42" y="14"/>
                  </a:lnTo>
                  <a:lnTo>
                    <a:pt x="42" y="11"/>
                  </a:lnTo>
                  <a:lnTo>
                    <a:pt x="42" y="14"/>
                  </a:lnTo>
                  <a:lnTo>
                    <a:pt x="42" y="11"/>
                  </a:lnTo>
                  <a:lnTo>
                    <a:pt x="45" y="11"/>
                  </a:lnTo>
                  <a:lnTo>
                    <a:pt x="42" y="11"/>
                  </a:lnTo>
                  <a:lnTo>
                    <a:pt x="45" y="11"/>
                  </a:lnTo>
                  <a:lnTo>
                    <a:pt x="45" y="14"/>
                  </a:lnTo>
                  <a:lnTo>
                    <a:pt x="45" y="11"/>
                  </a:lnTo>
                  <a:lnTo>
                    <a:pt x="45" y="14"/>
                  </a:lnTo>
                  <a:lnTo>
                    <a:pt x="45" y="11"/>
                  </a:lnTo>
                  <a:lnTo>
                    <a:pt x="47" y="11"/>
                  </a:lnTo>
                  <a:lnTo>
                    <a:pt x="47" y="14"/>
                  </a:lnTo>
                  <a:lnTo>
                    <a:pt x="47" y="11"/>
                  </a:lnTo>
                  <a:lnTo>
                    <a:pt x="47" y="14"/>
                  </a:lnTo>
                  <a:lnTo>
                    <a:pt x="47" y="11"/>
                  </a:lnTo>
                  <a:lnTo>
                    <a:pt x="50" y="11"/>
                  </a:lnTo>
                  <a:lnTo>
                    <a:pt x="50" y="14"/>
                  </a:lnTo>
                  <a:lnTo>
                    <a:pt x="52" y="14"/>
                  </a:lnTo>
                  <a:lnTo>
                    <a:pt x="50" y="14"/>
                  </a:lnTo>
                  <a:lnTo>
                    <a:pt x="52" y="14"/>
                  </a:lnTo>
                  <a:lnTo>
                    <a:pt x="52" y="16"/>
                  </a:lnTo>
                  <a:lnTo>
                    <a:pt x="54" y="16"/>
                  </a:lnTo>
                  <a:lnTo>
                    <a:pt x="57" y="16"/>
                  </a:lnTo>
                  <a:lnTo>
                    <a:pt x="59" y="16"/>
                  </a:lnTo>
                  <a:lnTo>
                    <a:pt x="61" y="16"/>
                  </a:lnTo>
                  <a:lnTo>
                    <a:pt x="64" y="16"/>
                  </a:lnTo>
                  <a:lnTo>
                    <a:pt x="64" y="19"/>
                  </a:lnTo>
                  <a:lnTo>
                    <a:pt x="66" y="19"/>
                  </a:lnTo>
                  <a:lnTo>
                    <a:pt x="66" y="16"/>
                  </a:lnTo>
                  <a:lnTo>
                    <a:pt x="69" y="16"/>
                  </a:lnTo>
                  <a:lnTo>
                    <a:pt x="71" y="16"/>
                  </a:lnTo>
                  <a:lnTo>
                    <a:pt x="73" y="16"/>
                  </a:lnTo>
                  <a:lnTo>
                    <a:pt x="76" y="16"/>
                  </a:lnTo>
                  <a:lnTo>
                    <a:pt x="73" y="16"/>
                  </a:lnTo>
                  <a:lnTo>
                    <a:pt x="73" y="19"/>
                  </a:lnTo>
                  <a:lnTo>
                    <a:pt x="73" y="21"/>
                  </a:lnTo>
                  <a:lnTo>
                    <a:pt x="73" y="23"/>
                  </a:lnTo>
                  <a:lnTo>
                    <a:pt x="73" y="26"/>
                  </a:lnTo>
                  <a:lnTo>
                    <a:pt x="76" y="26"/>
                  </a:lnTo>
                  <a:lnTo>
                    <a:pt x="78" y="26"/>
                  </a:lnTo>
                  <a:lnTo>
                    <a:pt x="78" y="23"/>
                  </a:lnTo>
                  <a:lnTo>
                    <a:pt x="80" y="23"/>
                  </a:lnTo>
                  <a:lnTo>
                    <a:pt x="80" y="21"/>
                  </a:lnTo>
                  <a:lnTo>
                    <a:pt x="83" y="21"/>
                  </a:lnTo>
                  <a:lnTo>
                    <a:pt x="85" y="21"/>
                  </a:lnTo>
                  <a:lnTo>
                    <a:pt x="87" y="21"/>
                  </a:lnTo>
                  <a:lnTo>
                    <a:pt x="90" y="21"/>
                  </a:lnTo>
                  <a:lnTo>
                    <a:pt x="90" y="19"/>
                  </a:lnTo>
                  <a:lnTo>
                    <a:pt x="92" y="19"/>
                  </a:lnTo>
                  <a:lnTo>
                    <a:pt x="92" y="16"/>
                  </a:lnTo>
                  <a:lnTo>
                    <a:pt x="92" y="19"/>
                  </a:lnTo>
                  <a:lnTo>
                    <a:pt x="90" y="19"/>
                  </a:lnTo>
                  <a:lnTo>
                    <a:pt x="92" y="19"/>
                  </a:lnTo>
                  <a:lnTo>
                    <a:pt x="90" y="19"/>
                  </a:lnTo>
                  <a:lnTo>
                    <a:pt x="92" y="19"/>
                  </a:lnTo>
                  <a:lnTo>
                    <a:pt x="92" y="21"/>
                  </a:lnTo>
                  <a:lnTo>
                    <a:pt x="92" y="23"/>
                  </a:lnTo>
                  <a:lnTo>
                    <a:pt x="92" y="21"/>
                  </a:lnTo>
                  <a:lnTo>
                    <a:pt x="92" y="23"/>
                  </a:lnTo>
                  <a:lnTo>
                    <a:pt x="92" y="26"/>
                  </a:lnTo>
                  <a:lnTo>
                    <a:pt x="90" y="26"/>
                  </a:lnTo>
                  <a:lnTo>
                    <a:pt x="92" y="26"/>
                  </a:lnTo>
                  <a:lnTo>
                    <a:pt x="90" y="28"/>
                  </a:lnTo>
                  <a:lnTo>
                    <a:pt x="90" y="30"/>
                  </a:lnTo>
                  <a:lnTo>
                    <a:pt x="87" y="30"/>
                  </a:lnTo>
                  <a:lnTo>
                    <a:pt x="85" y="30"/>
                  </a:lnTo>
                  <a:lnTo>
                    <a:pt x="83" y="30"/>
                  </a:lnTo>
                  <a:lnTo>
                    <a:pt x="83" y="28"/>
                  </a:lnTo>
                  <a:lnTo>
                    <a:pt x="80" y="28"/>
                  </a:lnTo>
                  <a:lnTo>
                    <a:pt x="80" y="30"/>
                  </a:lnTo>
                  <a:lnTo>
                    <a:pt x="78" y="30"/>
                  </a:lnTo>
                  <a:lnTo>
                    <a:pt x="76" y="30"/>
                  </a:lnTo>
                  <a:lnTo>
                    <a:pt x="73" y="30"/>
                  </a:lnTo>
                  <a:lnTo>
                    <a:pt x="71" y="30"/>
                  </a:lnTo>
                  <a:lnTo>
                    <a:pt x="69" y="30"/>
                  </a:lnTo>
                  <a:lnTo>
                    <a:pt x="66" y="30"/>
                  </a:lnTo>
                  <a:lnTo>
                    <a:pt x="64" y="30"/>
                  </a:lnTo>
                  <a:lnTo>
                    <a:pt x="61" y="30"/>
                  </a:lnTo>
                  <a:lnTo>
                    <a:pt x="59" y="30"/>
                  </a:lnTo>
                  <a:lnTo>
                    <a:pt x="59" y="33"/>
                  </a:lnTo>
                  <a:lnTo>
                    <a:pt x="57" y="33"/>
                  </a:lnTo>
                  <a:lnTo>
                    <a:pt x="54" y="33"/>
                  </a:lnTo>
                  <a:lnTo>
                    <a:pt x="52" y="33"/>
                  </a:lnTo>
                  <a:lnTo>
                    <a:pt x="50" y="33"/>
                  </a:lnTo>
                  <a:lnTo>
                    <a:pt x="47" y="33"/>
                  </a:lnTo>
                  <a:lnTo>
                    <a:pt x="45" y="33"/>
                  </a:lnTo>
                  <a:lnTo>
                    <a:pt x="42" y="33"/>
                  </a:lnTo>
                  <a:lnTo>
                    <a:pt x="42" y="35"/>
                  </a:lnTo>
                  <a:lnTo>
                    <a:pt x="42" y="33"/>
                  </a:lnTo>
                  <a:lnTo>
                    <a:pt x="40" y="33"/>
                  </a:lnTo>
                  <a:lnTo>
                    <a:pt x="42" y="33"/>
                  </a:lnTo>
                  <a:lnTo>
                    <a:pt x="40" y="33"/>
                  </a:lnTo>
                  <a:lnTo>
                    <a:pt x="40" y="30"/>
                  </a:lnTo>
                  <a:lnTo>
                    <a:pt x="42" y="30"/>
                  </a:lnTo>
                  <a:lnTo>
                    <a:pt x="42" y="28"/>
                  </a:lnTo>
                  <a:lnTo>
                    <a:pt x="40" y="28"/>
                  </a:lnTo>
                  <a:lnTo>
                    <a:pt x="40" y="26"/>
                  </a:lnTo>
                  <a:lnTo>
                    <a:pt x="38" y="26"/>
                  </a:lnTo>
                  <a:lnTo>
                    <a:pt x="35" y="26"/>
                  </a:lnTo>
                  <a:lnTo>
                    <a:pt x="33" y="26"/>
                  </a:lnTo>
                  <a:lnTo>
                    <a:pt x="33" y="23"/>
                  </a:lnTo>
                  <a:lnTo>
                    <a:pt x="31" y="23"/>
                  </a:lnTo>
                  <a:lnTo>
                    <a:pt x="28" y="23"/>
                  </a:lnTo>
                  <a:lnTo>
                    <a:pt x="31" y="23"/>
                  </a:lnTo>
                  <a:lnTo>
                    <a:pt x="28" y="21"/>
                  </a:lnTo>
                  <a:lnTo>
                    <a:pt x="28" y="23"/>
                  </a:lnTo>
                  <a:lnTo>
                    <a:pt x="26" y="23"/>
                  </a:lnTo>
                  <a:lnTo>
                    <a:pt x="23" y="23"/>
                  </a:lnTo>
                  <a:lnTo>
                    <a:pt x="23" y="21"/>
                  </a:lnTo>
                  <a:lnTo>
                    <a:pt x="23" y="23"/>
                  </a:lnTo>
                  <a:lnTo>
                    <a:pt x="23" y="21"/>
                  </a:lnTo>
                  <a:lnTo>
                    <a:pt x="21" y="21"/>
                  </a:lnTo>
                  <a:lnTo>
                    <a:pt x="21" y="23"/>
                  </a:lnTo>
                  <a:lnTo>
                    <a:pt x="21" y="21"/>
                  </a:lnTo>
                  <a:lnTo>
                    <a:pt x="19" y="21"/>
                  </a:lnTo>
                  <a:lnTo>
                    <a:pt x="19" y="23"/>
                  </a:lnTo>
                  <a:lnTo>
                    <a:pt x="19" y="21"/>
                  </a:lnTo>
                  <a:lnTo>
                    <a:pt x="16" y="21"/>
                  </a:lnTo>
                  <a:lnTo>
                    <a:pt x="14" y="21"/>
                  </a:lnTo>
                  <a:lnTo>
                    <a:pt x="12" y="21"/>
                  </a:lnTo>
                  <a:lnTo>
                    <a:pt x="12" y="19"/>
                  </a:lnTo>
                  <a:lnTo>
                    <a:pt x="9" y="19"/>
                  </a:lnTo>
                  <a:lnTo>
                    <a:pt x="9" y="21"/>
                  </a:lnTo>
                  <a:lnTo>
                    <a:pt x="7" y="21"/>
                  </a:lnTo>
                  <a:lnTo>
                    <a:pt x="4" y="21"/>
                  </a:lnTo>
                  <a:lnTo>
                    <a:pt x="7" y="21"/>
                  </a:lnTo>
                  <a:lnTo>
                    <a:pt x="4" y="21"/>
                  </a:lnTo>
                  <a:lnTo>
                    <a:pt x="2" y="21"/>
                  </a:lnTo>
                  <a:lnTo>
                    <a:pt x="2" y="19"/>
                  </a:lnTo>
                  <a:lnTo>
                    <a:pt x="0" y="19"/>
                  </a:lnTo>
                  <a:lnTo>
                    <a:pt x="0" y="16"/>
                  </a:lnTo>
                  <a:lnTo>
                    <a:pt x="2" y="16"/>
                  </a:lnTo>
                  <a:lnTo>
                    <a:pt x="0" y="16"/>
                  </a:lnTo>
                  <a:lnTo>
                    <a:pt x="2" y="16"/>
                  </a:lnTo>
                  <a:lnTo>
                    <a:pt x="0" y="16"/>
                  </a:lnTo>
                  <a:lnTo>
                    <a:pt x="2" y="16"/>
                  </a:lnTo>
                  <a:lnTo>
                    <a:pt x="0" y="14"/>
                  </a:lnTo>
                  <a:lnTo>
                    <a:pt x="2" y="14"/>
                  </a:lnTo>
                  <a:lnTo>
                    <a:pt x="0" y="14"/>
                  </a:lnTo>
                  <a:lnTo>
                    <a:pt x="2" y="14"/>
                  </a:lnTo>
                  <a:lnTo>
                    <a:pt x="0" y="14"/>
                  </a:lnTo>
                  <a:lnTo>
                    <a:pt x="2" y="14"/>
                  </a:lnTo>
                  <a:lnTo>
                    <a:pt x="2" y="11"/>
                  </a:lnTo>
                  <a:lnTo>
                    <a:pt x="2" y="9"/>
                  </a:lnTo>
                  <a:lnTo>
                    <a:pt x="2" y="7"/>
                  </a:lnTo>
                  <a:lnTo>
                    <a:pt x="2" y="4"/>
                  </a:lnTo>
                  <a:lnTo>
                    <a:pt x="2" y="2"/>
                  </a:lnTo>
                  <a:lnTo>
                    <a:pt x="4" y="4"/>
                  </a:lnTo>
                  <a:lnTo>
                    <a:pt x="4" y="7"/>
                  </a:lnTo>
                  <a:lnTo>
                    <a:pt x="4" y="9"/>
                  </a:lnTo>
                  <a:lnTo>
                    <a:pt x="4" y="7"/>
                  </a:lnTo>
                  <a:lnTo>
                    <a:pt x="4" y="9"/>
                  </a:lnTo>
                  <a:lnTo>
                    <a:pt x="7" y="9"/>
                  </a:lnTo>
                  <a:lnTo>
                    <a:pt x="7" y="7"/>
                  </a:lnTo>
                  <a:lnTo>
                    <a:pt x="7" y="4"/>
                  </a:lnTo>
                  <a:lnTo>
                    <a:pt x="7"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6" name="Freeform 52275"/>
            <p:cNvSpPr>
              <a:spLocks noEditPoints="1"/>
            </p:cNvSpPr>
            <p:nvPr/>
          </p:nvSpPr>
          <p:spPr bwMode="auto">
            <a:xfrm>
              <a:off x="3054348" y="5440381"/>
              <a:ext cx="450850" cy="293690"/>
            </a:xfrm>
            <a:custGeom>
              <a:avLst/>
              <a:gdLst>
                <a:gd name="T0" fmla="*/ 282 w 284"/>
                <a:gd name="T1" fmla="*/ 166 h 185"/>
                <a:gd name="T2" fmla="*/ 280 w 284"/>
                <a:gd name="T3" fmla="*/ 176 h 185"/>
                <a:gd name="T4" fmla="*/ 270 w 284"/>
                <a:gd name="T5" fmla="*/ 183 h 185"/>
                <a:gd name="T6" fmla="*/ 268 w 284"/>
                <a:gd name="T7" fmla="*/ 174 h 185"/>
                <a:gd name="T8" fmla="*/ 270 w 284"/>
                <a:gd name="T9" fmla="*/ 166 h 185"/>
                <a:gd name="T10" fmla="*/ 282 w 284"/>
                <a:gd name="T11" fmla="*/ 162 h 185"/>
                <a:gd name="T12" fmla="*/ 33 w 284"/>
                <a:gd name="T13" fmla="*/ 71 h 185"/>
                <a:gd name="T14" fmla="*/ 35 w 284"/>
                <a:gd name="T15" fmla="*/ 81 h 185"/>
                <a:gd name="T16" fmla="*/ 35 w 284"/>
                <a:gd name="T17" fmla="*/ 88 h 185"/>
                <a:gd name="T18" fmla="*/ 28 w 284"/>
                <a:gd name="T19" fmla="*/ 83 h 185"/>
                <a:gd name="T20" fmla="*/ 28 w 284"/>
                <a:gd name="T21" fmla="*/ 81 h 185"/>
                <a:gd name="T22" fmla="*/ 26 w 284"/>
                <a:gd name="T23" fmla="*/ 76 h 185"/>
                <a:gd name="T24" fmla="*/ 213 w 284"/>
                <a:gd name="T25" fmla="*/ 64 h 185"/>
                <a:gd name="T26" fmla="*/ 215 w 284"/>
                <a:gd name="T27" fmla="*/ 69 h 185"/>
                <a:gd name="T28" fmla="*/ 211 w 284"/>
                <a:gd name="T29" fmla="*/ 81 h 185"/>
                <a:gd name="T30" fmla="*/ 208 w 284"/>
                <a:gd name="T31" fmla="*/ 76 h 185"/>
                <a:gd name="T32" fmla="*/ 206 w 284"/>
                <a:gd name="T33" fmla="*/ 67 h 185"/>
                <a:gd name="T34" fmla="*/ 123 w 284"/>
                <a:gd name="T35" fmla="*/ 45 h 185"/>
                <a:gd name="T36" fmla="*/ 130 w 284"/>
                <a:gd name="T37" fmla="*/ 55 h 185"/>
                <a:gd name="T38" fmla="*/ 137 w 284"/>
                <a:gd name="T39" fmla="*/ 60 h 185"/>
                <a:gd name="T40" fmla="*/ 144 w 284"/>
                <a:gd name="T41" fmla="*/ 60 h 185"/>
                <a:gd name="T42" fmla="*/ 149 w 284"/>
                <a:gd name="T43" fmla="*/ 62 h 185"/>
                <a:gd name="T44" fmla="*/ 151 w 284"/>
                <a:gd name="T45" fmla="*/ 76 h 185"/>
                <a:gd name="T46" fmla="*/ 154 w 284"/>
                <a:gd name="T47" fmla="*/ 81 h 185"/>
                <a:gd name="T48" fmla="*/ 161 w 284"/>
                <a:gd name="T49" fmla="*/ 86 h 185"/>
                <a:gd name="T50" fmla="*/ 163 w 284"/>
                <a:gd name="T51" fmla="*/ 90 h 185"/>
                <a:gd name="T52" fmla="*/ 156 w 284"/>
                <a:gd name="T53" fmla="*/ 90 h 185"/>
                <a:gd name="T54" fmla="*/ 154 w 284"/>
                <a:gd name="T55" fmla="*/ 90 h 185"/>
                <a:gd name="T56" fmla="*/ 151 w 284"/>
                <a:gd name="T57" fmla="*/ 83 h 185"/>
                <a:gd name="T58" fmla="*/ 149 w 284"/>
                <a:gd name="T59" fmla="*/ 79 h 185"/>
                <a:gd name="T60" fmla="*/ 144 w 284"/>
                <a:gd name="T61" fmla="*/ 76 h 185"/>
                <a:gd name="T62" fmla="*/ 135 w 284"/>
                <a:gd name="T63" fmla="*/ 74 h 185"/>
                <a:gd name="T64" fmla="*/ 130 w 284"/>
                <a:gd name="T65" fmla="*/ 71 h 185"/>
                <a:gd name="T66" fmla="*/ 125 w 284"/>
                <a:gd name="T67" fmla="*/ 62 h 185"/>
                <a:gd name="T68" fmla="*/ 118 w 284"/>
                <a:gd name="T69" fmla="*/ 52 h 185"/>
                <a:gd name="T70" fmla="*/ 111 w 284"/>
                <a:gd name="T71" fmla="*/ 52 h 185"/>
                <a:gd name="T72" fmla="*/ 106 w 284"/>
                <a:gd name="T73" fmla="*/ 55 h 185"/>
                <a:gd name="T74" fmla="*/ 113 w 284"/>
                <a:gd name="T75" fmla="*/ 50 h 185"/>
                <a:gd name="T76" fmla="*/ 225 w 284"/>
                <a:gd name="T77" fmla="*/ 31 h 185"/>
                <a:gd name="T78" fmla="*/ 227 w 284"/>
                <a:gd name="T79" fmla="*/ 41 h 185"/>
                <a:gd name="T80" fmla="*/ 225 w 284"/>
                <a:gd name="T81" fmla="*/ 41 h 185"/>
                <a:gd name="T82" fmla="*/ 220 w 284"/>
                <a:gd name="T83" fmla="*/ 48 h 185"/>
                <a:gd name="T84" fmla="*/ 215 w 284"/>
                <a:gd name="T85" fmla="*/ 41 h 185"/>
                <a:gd name="T86" fmla="*/ 218 w 284"/>
                <a:gd name="T87" fmla="*/ 36 h 185"/>
                <a:gd name="T88" fmla="*/ 211 w 284"/>
                <a:gd name="T89" fmla="*/ 41 h 185"/>
                <a:gd name="T90" fmla="*/ 206 w 284"/>
                <a:gd name="T91" fmla="*/ 33 h 185"/>
                <a:gd name="T92" fmla="*/ 208 w 284"/>
                <a:gd name="T93" fmla="*/ 33 h 185"/>
                <a:gd name="T94" fmla="*/ 215 w 284"/>
                <a:gd name="T95" fmla="*/ 33 h 185"/>
                <a:gd name="T96" fmla="*/ 9 w 284"/>
                <a:gd name="T97" fmla="*/ 10 h 185"/>
                <a:gd name="T98" fmla="*/ 7 w 284"/>
                <a:gd name="T99" fmla="*/ 14 h 185"/>
                <a:gd name="T100" fmla="*/ 9 w 284"/>
                <a:gd name="T101" fmla="*/ 19 h 185"/>
                <a:gd name="T102" fmla="*/ 14 w 284"/>
                <a:gd name="T103" fmla="*/ 26 h 185"/>
                <a:gd name="T104" fmla="*/ 14 w 284"/>
                <a:gd name="T105" fmla="*/ 29 h 185"/>
                <a:gd name="T106" fmla="*/ 7 w 284"/>
                <a:gd name="T107" fmla="*/ 19 h 185"/>
                <a:gd name="T108" fmla="*/ 2 w 284"/>
                <a:gd name="T109" fmla="*/ 10 h 185"/>
                <a:gd name="T110" fmla="*/ 189 w 284"/>
                <a:gd name="T111" fmla="*/ 7 h 185"/>
                <a:gd name="T112" fmla="*/ 187 w 284"/>
                <a:gd name="T113" fmla="*/ 5 h 185"/>
                <a:gd name="T114" fmla="*/ 185 w 284"/>
                <a:gd name="T115" fmla="*/ 10 h 185"/>
                <a:gd name="T116" fmla="*/ 180 w 284"/>
                <a:gd name="T117" fmla="*/ 7 h 185"/>
                <a:gd name="T118" fmla="*/ 180 w 284"/>
                <a:gd name="T119" fmla="*/ 5 h 185"/>
                <a:gd name="T120" fmla="*/ 185 w 284"/>
                <a:gd name="T121" fmla="*/ 0 h 185"/>
                <a:gd name="T122" fmla="*/ 187 w 284"/>
                <a:gd name="T123" fmla="*/ 5 h 185"/>
                <a:gd name="T124" fmla="*/ 189 w 284"/>
                <a:gd name="T12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185">
                  <a:moveTo>
                    <a:pt x="284" y="159"/>
                  </a:moveTo>
                  <a:lnTo>
                    <a:pt x="284" y="162"/>
                  </a:lnTo>
                  <a:lnTo>
                    <a:pt x="284" y="164"/>
                  </a:lnTo>
                  <a:lnTo>
                    <a:pt x="282" y="164"/>
                  </a:lnTo>
                  <a:lnTo>
                    <a:pt x="284" y="164"/>
                  </a:lnTo>
                  <a:lnTo>
                    <a:pt x="284" y="166"/>
                  </a:lnTo>
                  <a:lnTo>
                    <a:pt x="282" y="166"/>
                  </a:lnTo>
                  <a:lnTo>
                    <a:pt x="282" y="169"/>
                  </a:lnTo>
                  <a:lnTo>
                    <a:pt x="282" y="171"/>
                  </a:lnTo>
                  <a:lnTo>
                    <a:pt x="280" y="171"/>
                  </a:lnTo>
                  <a:lnTo>
                    <a:pt x="280" y="174"/>
                  </a:lnTo>
                  <a:lnTo>
                    <a:pt x="280" y="176"/>
                  </a:lnTo>
                  <a:lnTo>
                    <a:pt x="280" y="178"/>
                  </a:lnTo>
                  <a:lnTo>
                    <a:pt x="280" y="176"/>
                  </a:lnTo>
                  <a:lnTo>
                    <a:pt x="277" y="176"/>
                  </a:lnTo>
                  <a:lnTo>
                    <a:pt x="275" y="176"/>
                  </a:lnTo>
                  <a:lnTo>
                    <a:pt x="275" y="178"/>
                  </a:lnTo>
                  <a:lnTo>
                    <a:pt x="272" y="178"/>
                  </a:lnTo>
                  <a:lnTo>
                    <a:pt x="272" y="181"/>
                  </a:lnTo>
                  <a:lnTo>
                    <a:pt x="272" y="183"/>
                  </a:lnTo>
                  <a:lnTo>
                    <a:pt x="270" y="183"/>
                  </a:lnTo>
                  <a:lnTo>
                    <a:pt x="270" y="185"/>
                  </a:lnTo>
                  <a:lnTo>
                    <a:pt x="268" y="185"/>
                  </a:lnTo>
                  <a:lnTo>
                    <a:pt x="268" y="183"/>
                  </a:lnTo>
                  <a:lnTo>
                    <a:pt x="268" y="181"/>
                  </a:lnTo>
                  <a:lnTo>
                    <a:pt x="268" y="178"/>
                  </a:lnTo>
                  <a:lnTo>
                    <a:pt x="268" y="176"/>
                  </a:lnTo>
                  <a:lnTo>
                    <a:pt x="268" y="174"/>
                  </a:lnTo>
                  <a:lnTo>
                    <a:pt x="265" y="174"/>
                  </a:lnTo>
                  <a:lnTo>
                    <a:pt x="268" y="171"/>
                  </a:lnTo>
                  <a:lnTo>
                    <a:pt x="268" y="174"/>
                  </a:lnTo>
                  <a:lnTo>
                    <a:pt x="268" y="171"/>
                  </a:lnTo>
                  <a:lnTo>
                    <a:pt x="270" y="171"/>
                  </a:lnTo>
                  <a:lnTo>
                    <a:pt x="270" y="169"/>
                  </a:lnTo>
                  <a:lnTo>
                    <a:pt x="270" y="166"/>
                  </a:lnTo>
                  <a:lnTo>
                    <a:pt x="272" y="166"/>
                  </a:lnTo>
                  <a:lnTo>
                    <a:pt x="272" y="164"/>
                  </a:lnTo>
                  <a:lnTo>
                    <a:pt x="275" y="164"/>
                  </a:lnTo>
                  <a:lnTo>
                    <a:pt x="277" y="164"/>
                  </a:lnTo>
                  <a:lnTo>
                    <a:pt x="277" y="162"/>
                  </a:lnTo>
                  <a:lnTo>
                    <a:pt x="280" y="162"/>
                  </a:lnTo>
                  <a:lnTo>
                    <a:pt x="282" y="162"/>
                  </a:lnTo>
                  <a:lnTo>
                    <a:pt x="284" y="159"/>
                  </a:lnTo>
                  <a:close/>
                  <a:moveTo>
                    <a:pt x="30" y="69"/>
                  </a:moveTo>
                  <a:lnTo>
                    <a:pt x="33" y="71"/>
                  </a:lnTo>
                  <a:lnTo>
                    <a:pt x="30" y="71"/>
                  </a:lnTo>
                  <a:lnTo>
                    <a:pt x="33" y="71"/>
                  </a:lnTo>
                  <a:lnTo>
                    <a:pt x="30" y="71"/>
                  </a:lnTo>
                  <a:lnTo>
                    <a:pt x="33" y="71"/>
                  </a:lnTo>
                  <a:lnTo>
                    <a:pt x="33" y="74"/>
                  </a:lnTo>
                  <a:lnTo>
                    <a:pt x="33" y="76"/>
                  </a:lnTo>
                  <a:lnTo>
                    <a:pt x="33" y="79"/>
                  </a:lnTo>
                  <a:lnTo>
                    <a:pt x="33" y="81"/>
                  </a:lnTo>
                  <a:lnTo>
                    <a:pt x="33" y="79"/>
                  </a:lnTo>
                  <a:lnTo>
                    <a:pt x="35" y="79"/>
                  </a:lnTo>
                  <a:lnTo>
                    <a:pt x="35" y="81"/>
                  </a:lnTo>
                  <a:lnTo>
                    <a:pt x="38" y="81"/>
                  </a:lnTo>
                  <a:lnTo>
                    <a:pt x="38" y="83"/>
                  </a:lnTo>
                  <a:lnTo>
                    <a:pt x="38" y="86"/>
                  </a:lnTo>
                  <a:lnTo>
                    <a:pt x="40" y="86"/>
                  </a:lnTo>
                  <a:lnTo>
                    <a:pt x="40" y="88"/>
                  </a:lnTo>
                  <a:lnTo>
                    <a:pt x="38" y="88"/>
                  </a:lnTo>
                  <a:lnTo>
                    <a:pt x="35" y="88"/>
                  </a:lnTo>
                  <a:lnTo>
                    <a:pt x="35" y="86"/>
                  </a:lnTo>
                  <a:lnTo>
                    <a:pt x="33" y="86"/>
                  </a:lnTo>
                  <a:lnTo>
                    <a:pt x="30" y="86"/>
                  </a:lnTo>
                  <a:lnTo>
                    <a:pt x="30" y="88"/>
                  </a:lnTo>
                  <a:lnTo>
                    <a:pt x="30" y="86"/>
                  </a:lnTo>
                  <a:lnTo>
                    <a:pt x="28" y="86"/>
                  </a:lnTo>
                  <a:lnTo>
                    <a:pt x="28" y="83"/>
                  </a:lnTo>
                  <a:lnTo>
                    <a:pt x="30" y="83"/>
                  </a:lnTo>
                  <a:lnTo>
                    <a:pt x="28" y="83"/>
                  </a:lnTo>
                  <a:lnTo>
                    <a:pt x="28" y="81"/>
                  </a:lnTo>
                  <a:lnTo>
                    <a:pt x="28" y="79"/>
                  </a:lnTo>
                  <a:lnTo>
                    <a:pt x="26" y="79"/>
                  </a:lnTo>
                  <a:lnTo>
                    <a:pt x="26" y="81"/>
                  </a:lnTo>
                  <a:lnTo>
                    <a:pt x="28" y="81"/>
                  </a:lnTo>
                  <a:lnTo>
                    <a:pt x="28" y="83"/>
                  </a:lnTo>
                  <a:lnTo>
                    <a:pt x="26" y="83"/>
                  </a:lnTo>
                  <a:lnTo>
                    <a:pt x="23" y="83"/>
                  </a:lnTo>
                  <a:lnTo>
                    <a:pt x="23" y="81"/>
                  </a:lnTo>
                  <a:lnTo>
                    <a:pt x="23" y="79"/>
                  </a:lnTo>
                  <a:lnTo>
                    <a:pt x="26" y="79"/>
                  </a:lnTo>
                  <a:lnTo>
                    <a:pt x="26" y="76"/>
                  </a:lnTo>
                  <a:lnTo>
                    <a:pt x="28" y="76"/>
                  </a:lnTo>
                  <a:lnTo>
                    <a:pt x="30" y="76"/>
                  </a:lnTo>
                  <a:lnTo>
                    <a:pt x="30" y="74"/>
                  </a:lnTo>
                  <a:lnTo>
                    <a:pt x="30" y="71"/>
                  </a:lnTo>
                  <a:lnTo>
                    <a:pt x="30" y="69"/>
                  </a:lnTo>
                  <a:close/>
                  <a:moveTo>
                    <a:pt x="211" y="64"/>
                  </a:moveTo>
                  <a:lnTo>
                    <a:pt x="213" y="64"/>
                  </a:lnTo>
                  <a:lnTo>
                    <a:pt x="213" y="67"/>
                  </a:lnTo>
                  <a:lnTo>
                    <a:pt x="215" y="67"/>
                  </a:lnTo>
                  <a:lnTo>
                    <a:pt x="215" y="69"/>
                  </a:lnTo>
                  <a:lnTo>
                    <a:pt x="215" y="71"/>
                  </a:lnTo>
                  <a:lnTo>
                    <a:pt x="215" y="69"/>
                  </a:lnTo>
                  <a:lnTo>
                    <a:pt x="215" y="71"/>
                  </a:lnTo>
                  <a:lnTo>
                    <a:pt x="215" y="69"/>
                  </a:lnTo>
                  <a:lnTo>
                    <a:pt x="215" y="71"/>
                  </a:lnTo>
                  <a:lnTo>
                    <a:pt x="215" y="74"/>
                  </a:lnTo>
                  <a:lnTo>
                    <a:pt x="215" y="76"/>
                  </a:lnTo>
                  <a:lnTo>
                    <a:pt x="215" y="79"/>
                  </a:lnTo>
                  <a:lnTo>
                    <a:pt x="213" y="79"/>
                  </a:lnTo>
                  <a:lnTo>
                    <a:pt x="213" y="81"/>
                  </a:lnTo>
                  <a:lnTo>
                    <a:pt x="211" y="81"/>
                  </a:lnTo>
                  <a:lnTo>
                    <a:pt x="211" y="83"/>
                  </a:lnTo>
                  <a:lnTo>
                    <a:pt x="208" y="83"/>
                  </a:lnTo>
                  <a:lnTo>
                    <a:pt x="208" y="81"/>
                  </a:lnTo>
                  <a:lnTo>
                    <a:pt x="206" y="81"/>
                  </a:lnTo>
                  <a:lnTo>
                    <a:pt x="206" y="79"/>
                  </a:lnTo>
                  <a:lnTo>
                    <a:pt x="208" y="79"/>
                  </a:lnTo>
                  <a:lnTo>
                    <a:pt x="208" y="76"/>
                  </a:lnTo>
                  <a:lnTo>
                    <a:pt x="211" y="76"/>
                  </a:lnTo>
                  <a:lnTo>
                    <a:pt x="211" y="74"/>
                  </a:lnTo>
                  <a:lnTo>
                    <a:pt x="208" y="74"/>
                  </a:lnTo>
                  <a:lnTo>
                    <a:pt x="208" y="71"/>
                  </a:lnTo>
                  <a:lnTo>
                    <a:pt x="208" y="69"/>
                  </a:lnTo>
                  <a:lnTo>
                    <a:pt x="206" y="69"/>
                  </a:lnTo>
                  <a:lnTo>
                    <a:pt x="206" y="67"/>
                  </a:lnTo>
                  <a:lnTo>
                    <a:pt x="204" y="67"/>
                  </a:lnTo>
                  <a:lnTo>
                    <a:pt x="206" y="67"/>
                  </a:lnTo>
                  <a:lnTo>
                    <a:pt x="206" y="64"/>
                  </a:lnTo>
                  <a:lnTo>
                    <a:pt x="208" y="64"/>
                  </a:lnTo>
                  <a:lnTo>
                    <a:pt x="211" y="64"/>
                  </a:lnTo>
                  <a:close/>
                  <a:moveTo>
                    <a:pt x="121" y="45"/>
                  </a:moveTo>
                  <a:lnTo>
                    <a:pt x="123" y="45"/>
                  </a:lnTo>
                  <a:lnTo>
                    <a:pt x="123" y="48"/>
                  </a:lnTo>
                  <a:lnTo>
                    <a:pt x="125" y="48"/>
                  </a:lnTo>
                  <a:lnTo>
                    <a:pt x="125" y="50"/>
                  </a:lnTo>
                  <a:lnTo>
                    <a:pt x="125" y="52"/>
                  </a:lnTo>
                  <a:lnTo>
                    <a:pt x="128" y="52"/>
                  </a:lnTo>
                  <a:lnTo>
                    <a:pt x="128" y="55"/>
                  </a:lnTo>
                  <a:lnTo>
                    <a:pt x="130" y="55"/>
                  </a:lnTo>
                  <a:lnTo>
                    <a:pt x="130" y="57"/>
                  </a:lnTo>
                  <a:lnTo>
                    <a:pt x="130" y="55"/>
                  </a:lnTo>
                  <a:lnTo>
                    <a:pt x="130" y="57"/>
                  </a:lnTo>
                  <a:lnTo>
                    <a:pt x="132" y="57"/>
                  </a:lnTo>
                  <a:lnTo>
                    <a:pt x="135" y="57"/>
                  </a:lnTo>
                  <a:lnTo>
                    <a:pt x="135" y="60"/>
                  </a:lnTo>
                  <a:lnTo>
                    <a:pt x="137" y="60"/>
                  </a:lnTo>
                  <a:lnTo>
                    <a:pt x="140" y="60"/>
                  </a:lnTo>
                  <a:lnTo>
                    <a:pt x="140" y="62"/>
                  </a:lnTo>
                  <a:lnTo>
                    <a:pt x="140" y="60"/>
                  </a:lnTo>
                  <a:lnTo>
                    <a:pt x="142" y="60"/>
                  </a:lnTo>
                  <a:lnTo>
                    <a:pt x="142" y="62"/>
                  </a:lnTo>
                  <a:lnTo>
                    <a:pt x="144" y="62"/>
                  </a:lnTo>
                  <a:lnTo>
                    <a:pt x="144" y="60"/>
                  </a:lnTo>
                  <a:lnTo>
                    <a:pt x="144" y="62"/>
                  </a:lnTo>
                  <a:lnTo>
                    <a:pt x="144" y="60"/>
                  </a:lnTo>
                  <a:lnTo>
                    <a:pt x="147" y="60"/>
                  </a:lnTo>
                  <a:lnTo>
                    <a:pt x="147" y="62"/>
                  </a:lnTo>
                  <a:lnTo>
                    <a:pt x="149" y="62"/>
                  </a:lnTo>
                  <a:lnTo>
                    <a:pt x="149" y="64"/>
                  </a:lnTo>
                  <a:lnTo>
                    <a:pt x="149" y="62"/>
                  </a:lnTo>
                  <a:lnTo>
                    <a:pt x="149" y="64"/>
                  </a:lnTo>
                  <a:lnTo>
                    <a:pt x="149" y="67"/>
                  </a:lnTo>
                  <a:lnTo>
                    <a:pt x="151" y="67"/>
                  </a:lnTo>
                  <a:lnTo>
                    <a:pt x="151" y="69"/>
                  </a:lnTo>
                  <a:lnTo>
                    <a:pt x="151" y="71"/>
                  </a:lnTo>
                  <a:lnTo>
                    <a:pt x="151" y="74"/>
                  </a:lnTo>
                  <a:lnTo>
                    <a:pt x="151" y="76"/>
                  </a:lnTo>
                  <a:lnTo>
                    <a:pt x="151" y="79"/>
                  </a:lnTo>
                  <a:lnTo>
                    <a:pt x="154" y="79"/>
                  </a:lnTo>
                  <a:lnTo>
                    <a:pt x="154" y="81"/>
                  </a:lnTo>
                  <a:lnTo>
                    <a:pt x="151" y="81"/>
                  </a:lnTo>
                  <a:lnTo>
                    <a:pt x="154" y="81"/>
                  </a:lnTo>
                  <a:lnTo>
                    <a:pt x="154" y="83"/>
                  </a:lnTo>
                  <a:lnTo>
                    <a:pt x="154" y="81"/>
                  </a:lnTo>
                  <a:lnTo>
                    <a:pt x="154" y="83"/>
                  </a:lnTo>
                  <a:lnTo>
                    <a:pt x="156" y="83"/>
                  </a:lnTo>
                  <a:lnTo>
                    <a:pt x="159" y="83"/>
                  </a:lnTo>
                  <a:lnTo>
                    <a:pt x="159" y="86"/>
                  </a:lnTo>
                  <a:lnTo>
                    <a:pt x="159" y="83"/>
                  </a:lnTo>
                  <a:lnTo>
                    <a:pt x="159" y="86"/>
                  </a:lnTo>
                  <a:lnTo>
                    <a:pt x="161" y="86"/>
                  </a:lnTo>
                  <a:lnTo>
                    <a:pt x="161" y="83"/>
                  </a:lnTo>
                  <a:lnTo>
                    <a:pt x="161" y="86"/>
                  </a:lnTo>
                  <a:lnTo>
                    <a:pt x="163" y="86"/>
                  </a:lnTo>
                  <a:lnTo>
                    <a:pt x="163" y="83"/>
                  </a:lnTo>
                  <a:lnTo>
                    <a:pt x="163" y="86"/>
                  </a:lnTo>
                  <a:lnTo>
                    <a:pt x="163" y="88"/>
                  </a:lnTo>
                  <a:lnTo>
                    <a:pt x="163" y="90"/>
                  </a:lnTo>
                  <a:lnTo>
                    <a:pt x="163" y="93"/>
                  </a:lnTo>
                  <a:lnTo>
                    <a:pt x="161" y="93"/>
                  </a:lnTo>
                  <a:lnTo>
                    <a:pt x="163" y="93"/>
                  </a:lnTo>
                  <a:lnTo>
                    <a:pt x="161" y="93"/>
                  </a:lnTo>
                  <a:lnTo>
                    <a:pt x="161" y="90"/>
                  </a:lnTo>
                  <a:lnTo>
                    <a:pt x="159" y="90"/>
                  </a:lnTo>
                  <a:lnTo>
                    <a:pt x="156" y="90"/>
                  </a:lnTo>
                  <a:lnTo>
                    <a:pt x="159" y="90"/>
                  </a:lnTo>
                  <a:lnTo>
                    <a:pt x="156" y="90"/>
                  </a:lnTo>
                  <a:lnTo>
                    <a:pt x="156" y="93"/>
                  </a:lnTo>
                  <a:lnTo>
                    <a:pt x="159" y="93"/>
                  </a:lnTo>
                  <a:lnTo>
                    <a:pt x="156" y="93"/>
                  </a:lnTo>
                  <a:lnTo>
                    <a:pt x="156" y="90"/>
                  </a:lnTo>
                  <a:lnTo>
                    <a:pt x="154" y="90"/>
                  </a:lnTo>
                  <a:lnTo>
                    <a:pt x="154" y="88"/>
                  </a:lnTo>
                  <a:lnTo>
                    <a:pt x="154" y="86"/>
                  </a:lnTo>
                  <a:lnTo>
                    <a:pt x="154" y="88"/>
                  </a:lnTo>
                  <a:lnTo>
                    <a:pt x="151" y="86"/>
                  </a:lnTo>
                  <a:lnTo>
                    <a:pt x="151" y="88"/>
                  </a:lnTo>
                  <a:lnTo>
                    <a:pt x="151" y="86"/>
                  </a:lnTo>
                  <a:lnTo>
                    <a:pt x="151" y="83"/>
                  </a:lnTo>
                  <a:lnTo>
                    <a:pt x="151" y="81"/>
                  </a:lnTo>
                  <a:lnTo>
                    <a:pt x="149" y="81"/>
                  </a:lnTo>
                  <a:lnTo>
                    <a:pt x="149" y="79"/>
                  </a:lnTo>
                  <a:lnTo>
                    <a:pt x="149" y="81"/>
                  </a:lnTo>
                  <a:lnTo>
                    <a:pt x="149" y="79"/>
                  </a:lnTo>
                  <a:lnTo>
                    <a:pt x="147" y="79"/>
                  </a:lnTo>
                  <a:lnTo>
                    <a:pt x="149" y="79"/>
                  </a:lnTo>
                  <a:lnTo>
                    <a:pt x="147" y="79"/>
                  </a:lnTo>
                  <a:lnTo>
                    <a:pt x="149" y="79"/>
                  </a:lnTo>
                  <a:lnTo>
                    <a:pt x="147" y="79"/>
                  </a:lnTo>
                  <a:lnTo>
                    <a:pt x="149" y="79"/>
                  </a:lnTo>
                  <a:lnTo>
                    <a:pt x="149" y="76"/>
                  </a:lnTo>
                  <a:lnTo>
                    <a:pt x="147" y="76"/>
                  </a:lnTo>
                  <a:lnTo>
                    <a:pt x="144" y="76"/>
                  </a:lnTo>
                  <a:lnTo>
                    <a:pt x="147" y="76"/>
                  </a:lnTo>
                  <a:lnTo>
                    <a:pt x="147" y="74"/>
                  </a:lnTo>
                  <a:lnTo>
                    <a:pt x="144" y="74"/>
                  </a:lnTo>
                  <a:lnTo>
                    <a:pt x="142" y="74"/>
                  </a:lnTo>
                  <a:lnTo>
                    <a:pt x="140" y="74"/>
                  </a:lnTo>
                  <a:lnTo>
                    <a:pt x="137" y="74"/>
                  </a:lnTo>
                  <a:lnTo>
                    <a:pt x="135" y="74"/>
                  </a:lnTo>
                  <a:lnTo>
                    <a:pt x="135" y="71"/>
                  </a:lnTo>
                  <a:lnTo>
                    <a:pt x="135" y="74"/>
                  </a:lnTo>
                  <a:lnTo>
                    <a:pt x="135" y="71"/>
                  </a:lnTo>
                  <a:lnTo>
                    <a:pt x="135" y="74"/>
                  </a:lnTo>
                  <a:lnTo>
                    <a:pt x="132" y="74"/>
                  </a:lnTo>
                  <a:lnTo>
                    <a:pt x="132" y="71"/>
                  </a:lnTo>
                  <a:lnTo>
                    <a:pt x="130" y="71"/>
                  </a:lnTo>
                  <a:lnTo>
                    <a:pt x="130" y="69"/>
                  </a:lnTo>
                  <a:lnTo>
                    <a:pt x="132" y="69"/>
                  </a:lnTo>
                  <a:lnTo>
                    <a:pt x="132" y="67"/>
                  </a:lnTo>
                  <a:lnTo>
                    <a:pt x="130" y="64"/>
                  </a:lnTo>
                  <a:lnTo>
                    <a:pt x="128" y="64"/>
                  </a:lnTo>
                  <a:lnTo>
                    <a:pt x="128" y="62"/>
                  </a:lnTo>
                  <a:lnTo>
                    <a:pt x="125" y="62"/>
                  </a:lnTo>
                  <a:lnTo>
                    <a:pt x="125" y="60"/>
                  </a:lnTo>
                  <a:lnTo>
                    <a:pt x="123" y="60"/>
                  </a:lnTo>
                  <a:lnTo>
                    <a:pt x="123" y="57"/>
                  </a:lnTo>
                  <a:lnTo>
                    <a:pt x="121" y="57"/>
                  </a:lnTo>
                  <a:lnTo>
                    <a:pt x="121" y="55"/>
                  </a:lnTo>
                  <a:lnTo>
                    <a:pt x="118" y="55"/>
                  </a:lnTo>
                  <a:lnTo>
                    <a:pt x="118" y="52"/>
                  </a:lnTo>
                  <a:lnTo>
                    <a:pt x="116" y="52"/>
                  </a:lnTo>
                  <a:lnTo>
                    <a:pt x="113" y="52"/>
                  </a:lnTo>
                  <a:lnTo>
                    <a:pt x="111" y="52"/>
                  </a:lnTo>
                  <a:lnTo>
                    <a:pt x="111" y="50"/>
                  </a:lnTo>
                  <a:lnTo>
                    <a:pt x="111" y="52"/>
                  </a:lnTo>
                  <a:lnTo>
                    <a:pt x="109" y="52"/>
                  </a:lnTo>
                  <a:lnTo>
                    <a:pt x="111" y="52"/>
                  </a:lnTo>
                  <a:lnTo>
                    <a:pt x="111" y="55"/>
                  </a:lnTo>
                  <a:lnTo>
                    <a:pt x="109" y="55"/>
                  </a:lnTo>
                  <a:lnTo>
                    <a:pt x="109" y="52"/>
                  </a:lnTo>
                  <a:lnTo>
                    <a:pt x="109" y="55"/>
                  </a:lnTo>
                  <a:lnTo>
                    <a:pt x="109" y="52"/>
                  </a:lnTo>
                  <a:lnTo>
                    <a:pt x="106" y="52"/>
                  </a:lnTo>
                  <a:lnTo>
                    <a:pt x="106" y="55"/>
                  </a:lnTo>
                  <a:lnTo>
                    <a:pt x="106" y="52"/>
                  </a:lnTo>
                  <a:lnTo>
                    <a:pt x="109" y="52"/>
                  </a:lnTo>
                  <a:lnTo>
                    <a:pt x="109" y="50"/>
                  </a:lnTo>
                  <a:lnTo>
                    <a:pt x="111" y="50"/>
                  </a:lnTo>
                  <a:lnTo>
                    <a:pt x="113" y="50"/>
                  </a:lnTo>
                  <a:lnTo>
                    <a:pt x="113" y="48"/>
                  </a:lnTo>
                  <a:lnTo>
                    <a:pt x="113" y="50"/>
                  </a:lnTo>
                  <a:lnTo>
                    <a:pt x="113" y="48"/>
                  </a:lnTo>
                  <a:lnTo>
                    <a:pt x="116" y="45"/>
                  </a:lnTo>
                  <a:lnTo>
                    <a:pt x="118" y="45"/>
                  </a:lnTo>
                  <a:lnTo>
                    <a:pt x="121" y="45"/>
                  </a:lnTo>
                  <a:close/>
                  <a:moveTo>
                    <a:pt x="223" y="29"/>
                  </a:moveTo>
                  <a:lnTo>
                    <a:pt x="223" y="31"/>
                  </a:lnTo>
                  <a:lnTo>
                    <a:pt x="225" y="31"/>
                  </a:lnTo>
                  <a:lnTo>
                    <a:pt x="223" y="33"/>
                  </a:lnTo>
                  <a:lnTo>
                    <a:pt x="225" y="36"/>
                  </a:lnTo>
                  <a:lnTo>
                    <a:pt x="227" y="36"/>
                  </a:lnTo>
                  <a:lnTo>
                    <a:pt x="225" y="36"/>
                  </a:lnTo>
                  <a:lnTo>
                    <a:pt x="227" y="36"/>
                  </a:lnTo>
                  <a:lnTo>
                    <a:pt x="227" y="38"/>
                  </a:lnTo>
                  <a:lnTo>
                    <a:pt x="227" y="41"/>
                  </a:lnTo>
                  <a:lnTo>
                    <a:pt x="230" y="41"/>
                  </a:lnTo>
                  <a:lnTo>
                    <a:pt x="230" y="43"/>
                  </a:lnTo>
                  <a:lnTo>
                    <a:pt x="230" y="45"/>
                  </a:lnTo>
                  <a:lnTo>
                    <a:pt x="227" y="45"/>
                  </a:lnTo>
                  <a:lnTo>
                    <a:pt x="227" y="43"/>
                  </a:lnTo>
                  <a:lnTo>
                    <a:pt x="227" y="41"/>
                  </a:lnTo>
                  <a:lnTo>
                    <a:pt x="225" y="41"/>
                  </a:lnTo>
                  <a:lnTo>
                    <a:pt x="225" y="43"/>
                  </a:lnTo>
                  <a:lnTo>
                    <a:pt x="227" y="43"/>
                  </a:lnTo>
                  <a:lnTo>
                    <a:pt x="227" y="45"/>
                  </a:lnTo>
                  <a:lnTo>
                    <a:pt x="227" y="48"/>
                  </a:lnTo>
                  <a:lnTo>
                    <a:pt x="225" y="48"/>
                  </a:lnTo>
                  <a:lnTo>
                    <a:pt x="223" y="48"/>
                  </a:lnTo>
                  <a:lnTo>
                    <a:pt x="220" y="48"/>
                  </a:lnTo>
                  <a:lnTo>
                    <a:pt x="220" y="45"/>
                  </a:lnTo>
                  <a:lnTo>
                    <a:pt x="218" y="45"/>
                  </a:lnTo>
                  <a:lnTo>
                    <a:pt x="215" y="45"/>
                  </a:lnTo>
                  <a:lnTo>
                    <a:pt x="215" y="43"/>
                  </a:lnTo>
                  <a:lnTo>
                    <a:pt x="213" y="43"/>
                  </a:lnTo>
                  <a:lnTo>
                    <a:pt x="215" y="43"/>
                  </a:lnTo>
                  <a:lnTo>
                    <a:pt x="215" y="41"/>
                  </a:lnTo>
                  <a:lnTo>
                    <a:pt x="218" y="41"/>
                  </a:lnTo>
                  <a:lnTo>
                    <a:pt x="220" y="41"/>
                  </a:lnTo>
                  <a:lnTo>
                    <a:pt x="220" y="38"/>
                  </a:lnTo>
                  <a:lnTo>
                    <a:pt x="218" y="38"/>
                  </a:lnTo>
                  <a:lnTo>
                    <a:pt x="218" y="36"/>
                  </a:lnTo>
                  <a:lnTo>
                    <a:pt x="218" y="38"/>
                  </a:lnTo>
                  <a:lnTo>
                    <a:pt x="218" y="36"/>
                  </a:lnTo>
                  <a:lnTo>
                    <a:pt x="218" y="38"/>
                  </a:lnTo>
                  <a:lnTo>
                    <a:pt x="215" y="38"/>
                  </a:lnTo>
                  <a:lnTo>
                    <a:pt x="215" y="41"/>
                  </a:lnTo>
                  <a:lnTo>
                    <a:pt x="213" y="41"/>
                  </a:lnTo>
                  <a:lnTo>
                    <a:pt x="213" y="43"/>
                  </a:lnTo>
                  <a:lnTo>
                    <a:pt x="211" y="43"/>
                  </a:lnTo>
                  <a:lnTo>
                    <a:pt x="211" y="41"/>
                  </a:lnTo>
                  <a:lnTo>
                    <a:pt x="208" y="41"/>
                  </a:lnTo>
                  <a:lnTo>
                    <a:pt x="206" y="41"/>
                  </a:lnTo>
                  <a:lnTo>
                    <a:pt x="206" y="38"/>
                  </a:lnTo>
                  <a:lnTo>
                    <a:pt x="204" y="38"/>
                  </a:lnTo>
                  <a:lnTo>
                    <a:pt x="206" y="38"/>
                  </a:lnTo>
                  <a:lnTo>
                    <a:pt x="206" y="36"/>
                  </a:lnTo>
                  <a:lnTo>
                    <a:pt x="206" y="33"/>
                  </a:lnTo>
                  <a:lnTo>
                    <a:pt x="208" y="33"/>
                  </a:lnTo>
                  <a:lnTo>
                    <a:pt x="206" y="33"/>
                  </a:lnTo>
                  <a:lnTo>
                    <a:pt x="208" y="33"/>
                  </a:lnTo>
                  <a:lnTo>
                    <a:pt x="206" y="33"/>
                  </a:lnTo>
                  <a:lnTo>
                    <a:pt x="208" y="33"/>
                  </a:lnTo>
                  <a:lnTo>
                    <a:pt x="211" y="33"/>
                  </a:lnTo>
                  <a:lnTo>
                    <a:pt x="208" y="33"/>
                  </a:lnTo>
                  <a:lnTo>
                    <a:pt x="211" y="33"/>
                  </a:lnTo>
                  <a:lnTo>
                    <a:pt x="213" y="33"/>
                  </a:lnTo>
                  <a:lnTo>
                    <a:pt x="211" y="33"/>
                  </a:lnTo>
                  <a:lnTo>
                    <a:pt x="213" y="33"/>
                  </a:lnTo>
                  <a:lnTo>
                    <a:pt x="213" y="31"/>
                  </a:lnTo>
                  <a:lnTo>
                    <a:pt x="213" y="33"/>
                  </a:lnTo>
                  <a:lnTo>
                    <a:pt x="215" y="33"/>
                  </a:lnTo>
                  <a:lnTo>
                    <a:pt x="215" y="31"/>
                  </a:lnTo>
                  <a:lnTo>
                    <a:pt x="215" y="29"/>
                  </a:lnTo>
                  <a:lnTo>
                    <a:pt x="218" y="29"/>
                  </a:lnTo>
                  <a:lnTo>
                    <a:pt x="220" y="29"/>
                  </a:lnTo>
                  <a:lnTo>
                    <a:pt x="223" y="29"/>
                  </a:lnTo>
                  <a:close/>
                  <a:moveTo>
                    <a:pt x="7" y="10"/>
                  </a:moveTo>
                  <a:lnTo>
                    <a:pt x="9" y="10"/>
                  </a:lnTo>
                  <a:lnTo>
                    <a:pt x="9" y="12"/>
                  </a:lnTo>
                  <a:lnTo>
                    <a:pt x="11" y="12"/>
                  </a:lnTo>
                  <a:lnTo>
                    <a:pt x="11" y="10"/>
                  </a:lnTo>
                  <a:lnTo>
                    <a:pt x="11" y="12"/>
                  </a:lnTo>
                  <a:lnTo>
                    <a:pt x="9" y="12"/>
                  </a:lnTo>
                  <a:lnTo>
                    <a:pt x="9" y="14"/>
                  </a:lnTo>
                  <a:lnTo>
                    <a:pt x="7" y="14"/>
                  </a:lnTo>
                  <a:lnTo>
                    <a:pt x="7" y="17"/>
                  </a:lnTo>
                  <a:lnTo>
                    <a:pt x="9" y="17"/>
                  </a:lnTo>
                  <a:lnTo>
                    <a:pt x="7" y="17"/>
                  </a:lnTo>
                  <a:lnTo>
                    <a:pt x="9" y="17"/>
                  </a:lnTo>
                  <a:lnTo>
                    <a:pt x="7" y="17"/>
                  </a:lnTo>
                  <a:lnTo>
                    <a:pt x="9" y="17"/>
                  </a:lnTo>
                  <a:lnTo>
                    <a:pt x="9" y="19"/>
                  </a:lnTo>
                  <a:lnTo>
                    <a:pt x="9" y="17"/>
                  </a:lnTo>
                  <a:lnTo>
                    <a:pt x="9" y="19"/>
                  </a:lnTo>
                  <a:lnTo>
                    <a:pt x="9" y="22"/>
                  </a:lnTo>
                  <a:lnTo>
                    <a:pt x="9" y="24"/>
                  </a:lnTo>
                  <a:lnTo>
                    <a:pt x="11" y="24"/>
                  </a:lnTo>
                  <a:lnTo>
                    <a:pt x="11" y="26"/>
                  </a:lnTo>
                  <a:lnTo>
                    <a:pt x="14" y="26"/>
                  </a:lnTo>
                  <a:lnTo>
                    <a:pt x="16" y="26"/>
                  </a:lnTo>
                  <a:lnTo>
                    <a:pt x="16" y="29"/>
                  </a:lnTo>
                  <a:lnTo>
                    <a:pt x="16" y="31"/>
                  </a:lnTo>
                  <a:lnTo>
                    <a:pt x="16" y="29"/>
                  </a:lnTo>
                  <a:lnTo>
                    <a:pt x="16" y="31"/>
                  </a:lnTo>
                  <a:lnTo>
                    <a:pt x="16" y="29"/>
                  </a:lnTo>
                  <a:lnTo>
                    <a:pt x="14" y="29"/>
                  </a:lnTo>
                  <a:lnTo>
                    <a:pt x="11" y="29"/>
                  </a:lnTo>
                  <a:lnTo>
                    <a:pt x="11" y="26"/>
                  </a:lnTo>
                  <a:lnTo>
                    <a:pt x="9" y="26"/>
                  </a:lnTo>
                  <a:lnTo>
                    <a:pt x="9" y="24"/>
                  </a:lnTo>
                  <a:lnTo>
                    <a:pt x="7" y="24"/>
                  </a:lnTo>
                  <a:lnTo>
                    <a:pt x="7" y="22"/>
                  </a:lnTo>
                  <a:lnTo>
                    <a:pt x="7" y="19"/>
                  </a:lnTo>
                  <a:lnTo>
                    <a:pt x="4" y="19"/>
                  </a:lnTo>
                  <a:lnTo>
                    <a:pt x="4" y="17"/>
                  </a:lnTo>
                  <a:lnTo>
                    <a:pt x="2" y="17"/>
                  </a:lnTo>
                  <a:lnTo>
                    <a:pt x="2" y="14"/>
                  </a:lnTo>
                  <a:lnTo>
                    <a:pt x="0" y="12"/>
                  </a:lnTo>
                  <a:lnTo>
                    <a:pt x="2" y="12"/>
                  </a:lnTo>
                  <a:lnTo>
                    <a:pt x="2" y="10"/>
                  </a:lnTo>
                  <a:lnTo>
                    <a:pt x="4" y="10"/>
                  </a:lnTo>
                  <a:lnTo>
                    <a:pt x="7" y="10"/>
                  </a:lnTo>
                  <a:close/>
                  <a:moveTo>
                    <a:pt x="192" y="0"/>
                  </a:moveTo>
                  <a:lnTo>
                    <a:pt x="192" y="3"/>
                  </a:lnTo>
                  <a:lnTo>
                    <a:pt x="189" y="3"/>
                  </a:lnTo>
                  <a:lnTo>
                    <a:pt x="189" y="5"/>
                  </a:lnTo>
                  <a:lnTo>
                    <a:pt x="189" y="7"/>
                  </a:lnTo>
                  <a:lnTo>
                    <a:pt x="189" y="10"/>
                  </a:lnTo>
                  <a:lnTo>
                    <a:pt x="189" y="12"/>
                  </a:lnTo>
                  <a:lnTo>
                    <a:pt x="187" y="10"/>
                  </a:lnTo>
                  <a:lnTo>
                    <a:pt x="187" y="7"/>
                  </a:lnTo>
                  <a:lnTo>
                    <a:pt x="185" y="7"/>
                  </a:lnTo>
                  <a:lnTo>
                    <a:pt x="187" y="7"/>
                  </a:lnTo>
                  <a:lnTo>
                    <a:pt x="187" y="5"/>
                  </a:lnTo>
                  <a:lnTo>
                    <a:pt x="185" y="5"/>
                  </a:lnTo>
                  <a:lnTo>
                    <a:pt x="185" y="7"/>
                  </a:lnTo>
                  <a:lnTo>
                    <a:pt x="182" y="7"/>
                  </a:lnTo>
                  <a:lnTo>
                    <a:pt x="185" y="7"/>
                  </a:lnTo>
                  <a:lnTo>
                    <a:pt x="185" y="10"/>
                  </a:lnTo>
                  <a:lnTo>
                    <a:pt x="185" y="7"/>
                  </a:lnTo>
                  <a:lnTo>
                    <a:pt x="185" y="10"/>
                  </a:lnTo>
                  <a:lnTo>
                    <a:pt x="182" y="10"/>
                  </a:lnTo>
                  <a:lnTo>
                    <a:pt x="182" y="7"/>
                  </a:lnTo>
                  <a:lnTo>
                    <a:pt x="182" y="10"/>
                  </a:lnTo>
                  <a:lnTo>
                    <a:pt x="182" y="7"/>
                  </a:lnTo>
                  <a:lnTo>
                    <a:pt x="182" y="10"/>
                  </a:lnTo>
                  <a:lnTo>
                    <a:pt x="182" y="7"/>
                  </a:lnTo>
                  <a:lnTo>
                    <a:pt x="180" y="7"/>
                  </a:lnTo>
                  <a:lnTo>
                    <a:pt x="180" y="10"/>
                  </a:lnTo>
                  <a:lnTo>
                    <a:pt x="180" y="7"/>
                  </a:lnTo>
                  <a:lnTo>
                    <a:pt x="180" y="10"/>
                  </a:lnTo>
                  <a:lnTo>
                    <a:pt x="180" y="7"/>
                  </a:lnTo>
                  <a:lnTo>
                    <a:pt x="180" y="10"/>
                  </a:lnTo>
                  <a:lnTo>
                    <a:pt x="180" y="7"/>
                  </a:lnTo>
                  <a:lnTo>
                    <a:pt x="180" y="5"/>
                  </a:lnTo>
                  <a:lnTo>
                    <a:pt x="180" y="3"/>
                  </a:lnTo>
                  <a:lnTo>
                    <a:pt x="178" y="3"/>
                  </a:lnTo>
                  <a:lnTo>
                    <a:pt x="180" y="3"/>
                  </a:lnTo>
                  <a:lnTo>
                    <a:pt x="182" y="3"/>
                  </a:lnTo>
                  <a:lnTo>
                    <a:pt x="182" y="0"/>
                  </a:lnTo>
                  <a:lnTo>
                    <a:pt x="182" y="3"/>
                  </a:lnTo>
                  <a:lnTo>
                    <a:pt x="185" y="0"/>
                  </a:lnTo>
                  <a:lnTo>
                    <a:pt x="185" y="3"/>
                  </a:lnTo>
                  <a:lnTo>
                    <a:pt x="185" y="0"/>
                  </a:lnTo>
                  <a:lnTo>
                    <a:pt x="185" y="3"/>
                  </a:lnTo>
                  <a:lnTo>
                    <a:pt x="185" y="0"/>
                  </a:lnTo>
                  <a:lnTo>
                    <a:pt x="185" y="3"/>
                  </a:lnTo>
                  <a:lnTo>
                    <a:pt x="187" y="3"/>
                  </a:lnTo>
                  <a:lnTo>
                    <a:pt x="187" y="5"/>
                  </a:lnTo>
                  <a:lnTo>
                    <a:pt x="187" y="3"/>
                  </a:lnTo>
                  <a:lnTo>
                    <a:pt x="189" y="3"/>
                  </a:lnTo>
                  <a:lnTo>
                    <a:pt x="187" y="3"/>
                  </a:lnTo>
                  <a:lnTo>
                    <a:pt x="189" y="3"/>
                  </a:lnTo>
                  <a:lnTo>
                    <a:pt x="187" y="3"/>
                  </a:lnTo>
                  <a:lnTo>
                    <a:pt x="189" y="3"/>
                  </a:lnTo>
                  <a:lnTo>
                    <a:pt x="189" y="0"/>
                  </a:lnTo>
                  <a:lnTo>
                    <a:pt x="19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7" name="Freeform 52276"/>
            <p:cNvSpPr>
              <a:spLocks noEditPoints="1"/>
            </p:cNvSpPr>
            <p:nvPr/>
          </p:nvSpPr>
          <p:spPr bwMode="auto">
            <a:xfrm>
              <a:off x="3076573" y="5316556"/>
              <a:ext cx="346075" cy="381001"/>
            </a:xfrm>
            <a:custGeom>
              <a:avLst/>
              <a:gdLst>
                <a:gd name="T0" fmla="*/ 69 w 218"/>
                <a:gd name="T1" fmla="*/ 159 h 240"/>
                <a:gd name="T2" fmla="*/ 97 w 218"/>
                <a:gd name="T3" fmla="*/ 173 h 240"/>
                <a:gd name="T4" fmla="*/ 109 w 218"/>
                <a:gd name="T5" fmla="*/ 187 h 240"/>
                <a:gd name="T6" fmla="*/ 104 w 218"/>
                <a:gd name="T7" fmla="*/ 197 h 240"/>
                <a:gd name="T8" fmla="*/ 102 w 218"/>
                <a:gd name="T9" fmla="*/ 197 h 240"/>
                <a:gd name="T10" fmla="*/ 90 w 218"/>
                <a:gd name="T11" fmla="*/ 197 h 240"/>
                <a:gd name="T12" fmla="*/ 102 w 218"/>
                <a:gd name="T13" fmla="*/ 223 h 240"/>
                <a:gd name="T14" fmla="*/ 99 w 218"/>
                <a:gd name="T15" fmla="*/ 237 h 240"/>
                <a:gd name="T16" fmla="*/ 83 w 218"/>
                <a:gd name="T17" fmla="*/ 225 h 240"/>
                <a:gd name="T18" fmla="*/ 76 w 218"/>
                <a:gd name="T19" fmla="*/ 233 h 240"/>
                <a:gd name="T20" fmla="*/ 71 w 218"/>
                <a:gd name="T21" fmla="*/ 218 h 240"/>
                <a:gd name="T22" fmla="*/ 59 w 218"/>
                <a:gd name="T23" fmla="*/ 225 h 240"/>
                <a:gd name="T24" fmla="*/ 54 w 218"/>
                <a:gd name="T25" fmla="*/ 202 h 240"/>
                <a:gd name="T26" fmla="*/ 35 w 218"/>
                <a:gd name="T27" fmla="*/ 173 h 240"/>
                <a:gd name="T28" fmla="*/ 121 w 218"/>
                <a:gd name="T29" fmla="*/ 173 h 240"/>
                <a:gd name="T30" fmla="*/ 111 w 218"/>
                <a:gd name="T31" fmla="*/ 168 h 240"/>
                <a:gd name="T32" fmla="*/ 104 w 218"/>
                <a:gd name="T33" fmla="*/ 166 h 240"/>
                <a:gd name="T34" fmla="*/ 90 w 218"/>
                <a:gd name="T35" fmla="*/ 159 h 240"/>
                <a:gd name="T36" fmla="*/ 78 w 218"/>
                <a:gd name="T37" fmla="*/ 149 h 240"/>
                <a:gd name="T38" fmla="*/ 52 w 218"/>
                <a:gd name="T39" fmla="*/ 154 h 240"/>
                <a:gd name="T40" fmla="*/ 43 w 218"/>
                <a:gd name="T41" fmla="*/ 152 h 240"/>
                <a:gd name="T42" fmla="*/ 35 w 218"/>
                <a:gd name="T43" fmla="*/ 149 h 240"/>
                <a:gd name="T44" fmla="*/ 31 w 218"/>
                <a:gd name="T45" fmla="*/ 140 h 240"/>
                <a:gd name="T46" fmla="*/ 21 w 218"/>
                <a:gd name="T47" fmla="*/ 135 h 240"/>
                <a:gd name="T48" fmla="*/ 16 w 218"/>
                <a:gd name="T49" fmla="*/ 142 h 240"/>
                <a:gd name="T50" fmla="*/ 26 w 218"/>
                <a:gd name="T51" fmla="*/ 128 h 240"/>
                <a:gd name="T52" fmla="*/ 33 w 218"/>
                <a:gd name="T53" fmla="*/ 123 h 240"/>
                <a:gd name="T54" fmla="*/ 16 w 218"/>
                <a:gd name="T55" fmla="*/ 116 h 240"/>
                <a:gd name="T56" fmla="*/ 5 w 218"/>
                <a:gd name="T57" fmla="*/ 100 h 240"/>
                <a:gd name="T58" fmla="*/ 5 w 218"/>
                <a:gd name="T59" fmla="*/ 95 h 240"/>
                <a:gd name="T60" fmla="*/ 12 w 218"/>
                <a:gd name="T61" fmla="*/ 76 h 240"/>
                <a:gd name="T62" fmla="*/ 33 w 218"/>
                <a:gd name="T63" fmla="*/ 54 h 240"/>
                <a:gd name="T64" fmla="*/ 54 w 218"/>
                <a:gd name="T65" fmla="*/ 38 h 240"/>
                <a:gd name="T66" fmla="*/ 78 w 218"/>
                <a:gd name="T67" fmla="*/ 28 h 240"/>
                <a:gd name="T68" fmla="*/ 114 w 218"/>
                <a:gd name="T69" fmla="*/ 16 h 240"/>
                <a:gd name="T70" fmla="*/ 140 w 218"/>
                <a:gd name="T71" fmla="*/ 9 h 240"/>
                <a:gd name="T72" fmla="*/ 168 w 218"/>
                <a:gd name="T73" fmla="*/ 21 h 240"/>
                <a:gd name="T74" fmla="*/ 194 w 218"/>
                <a:gd name="T75" fmla="*/ 19 h 240"/>
                <a:gd name="T76" fmla="*/ 209 w 218"/>
                <a:gd name="T77" fmla="*/ 2 h 240"/>
                <a:gd name="T78" fmla="*/ 206 w 218"/>
                <a:gd name="T79" fmla="*/ 23 h 240"/>
                <a:gd name="T80" fmla="*/ 199 w 218"/>
                <a:gd name="T81" fmla="*/ 45 h 240"/>
                <a:gd name="T82" fmla="*/ 173 w 218"/>
                <a:gd name="T83" fmla="*/ 35 h 240"/>
                <a:gd name="T84" fmla="*/ 161 w 218"/>
                <a:gd name="T85" fmla="*/ 38 h 240"/>
                <a:gd name="T86" fmla="*/ 142 w 218"/>
                <a:gd name="T87" fmla="*/ 38 h 240"/>
                <a:gd name="T88" fmla="*/ 121 w 218"/>
                <a:gd name="T89" fmla="*/ 45 h 240"/>
                <a:gd name="T90" fmla="*/ 133 w 218"/>
                <a:gd name="T91" fmla="*/ 61 h 240"/>
                <a:gd name="T92" fmla="*/ 133 w 218"/>
                <a:gd name="T93" fmla="*/ 66 h 240"/>
                <a:gd name="T94" fmla="*/ 130 w 218"/>
                <a:gd name="T95" fmla="*/ 73 h 240"/>
                <a:gd name="T96" fmla="*/ 118 w 218"/>
                <a:gd name="T97" fmla="*/ 69 h 240"/>
                <a:gd name="T98" fmla="*/ 123 w 218"/>
                <a:gd name="T99" fmla="*/ 83 h 240"/>
                <a:gd name="T100" fmla="*/ 97 w 218"/>
                <a:gd name="T101" fmla="*/ 64 h 240"/>
                <a:gd name="T102" fmla="*/ 88 w 218"/>
                <a:gd name="T103" fmla="*/ 54 h 240"/>
                <a:gd name="T104" fmla="*/ 85 w 218"/>
                <a:gd name="T105" fmla="*/ 66 h 240"/>
                <a:gd name="T106" fmla="*/ 95 w 218"/>
                <a:gd name="T107" fmla="*/ 100 h 240"/>
                <a:gd name="T108" fmla="*/ 104 w 218"/>
                <a:gd name="T109" fmla="*/ 119 h 240"/>
                <a:gd name="T110" fmla="*/ 99 w 218"/>
                <a:gd name="T111" fmla="*/ 111 h 240"/>
                <a:gd name="T112" fmla="*/ 95 w 218"/>
                <a:gd name="T113" fmla="*/ 128 h 240"/>
                <a:gd name="T114" fmla="*/ 85 w 218"/>
                <a:gd name="T115" fmla="*/ 130 h 240"/>
                <a:gd name="T116" fmla="*/ 107 w 218"/>
                <a:gd name="T117" fmla="*/ 140 h 240"/>
                <a:gd name="T118" fmla="*/ 126 w 218"/>
                <a:gd name="T119" fmla="*/ 154 h 240"/>
                <a:gd name="T120" fmla="*/ 133 w 218"/>
                <a:gd name="T121" fmla="*/ 1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240">
                  <a:moveTo>
                    <a:pt x="43" y="161"/>
                  </a:moveTo>
                  <a:lnTo>
                    <a:pt x="45" y="161"/>
                  </a:lnTo>
                  <a:lnTo>
                    <a:pt x="43" y="159"/>
                  </a:lnTo>
                  <a:lnTo>
                    <a:pt x="45" y="159"/>
                  </a:lnTo>
                  <a:lnTo>
                    <a:pt x="45" y="161"/>
                  </a:lnTo>
                  <a:lnTo>
                    <a:pt x="47" y="161"/>
                  </a:lnTo>
                  <a:lnTo>
                    <a:pt x="50" y="161"/>
                  </a:lnTo>
                  <a:lnTo>
                    <a:pt x="52" y="164"/>
                  </a:lnTo>
                  <a:lnTo>
                    <a:pt x="52" y="161"/>
                  </a:lnTo>
                  <a:lnTo>
                    <a:pt x="54" y="161"/>
                  </a:lnTo>
                  <a:lnTo>
                    <a:pt x="54" y="159"/>
                  </a:lnTo>
                  <a:lnTo>
                    <a:pt x="57" y="159"/>
                  </a:lnTo>
                  <a:lnTo>
                    <a:pt x="57" y="157"/>
                  </a:lnTo>
                  <a:lnTo>
                    <a:pt x="57" y="154"/>
                  </a:lnTo>
                  <a:lnTo>
                    <a:pt x="59" y="154"/>
                  </a:lnTo>
                  <a:lnTo>
                    <a:pt x="62" y="154"/>
                  </a:lnTo>
                  <a:lnTo>
                    <a:pt x="64" y="154"/>
                  </a:lnTo>
                  <a:lnTo>
                    <a:pt x="66" y="157"/>
                  </a:lnTo>
                  <a:lnTo>
                    <a:pt x="69" y="157"/>
                  </a:lnTo>
                  <a:lnTo>
                    <a:pt x="69" y="159"/>
                  </a:lnTo>
                  <a:lnTo>
                    <a:pt x="71" y="159"/>
                  </a:lnTo>
                  <a:lnTo>
                    <a:pt x="71" y="161"/>
                  </a:lnTo>
                  <a:lnTo>
                    <a:pt x="73" y="161"/>
                  </a:lnTo>
                  <a:lnTo>
                    <a:pt x="76" y="161"/>
                  </a:lnTo>
                  <a:lnTo>
                    <a:pt x="76" y="164"/>
                  </a:lnTo>
                  <a:lnTo>
                    <a:pt x="78" y="164"/>
                  </a:lnTo>
                  <a:lnTo>
                    <a:pt x="80" y="164"/>
                  </a:lnTo>
                  <a:lnTo>
                    <a:pt x="83" y="164"/>
                  </a:lnTo>
                  <a:lnTo>
                    <a:pt x="83" y="166"/>
                  </a:lnTo>
                  <a:lnTo>
                    <a:pt x="85" y="166"/>
                  </a:lnTo>
                  <a:lnTo>
                    <a:pt x="88" y="166"/>
                  </a:lnTo>
                  <a:lnTo>
                    <a:pt x="88" y="168"/>
                  </a:lnTo>
                  <a:lnTo>
                    <a:pt x="90" y="168"/>
                  </a:lnTo>
                  <a:lnTo>
                    <a:pt x="90" y="171"/>
                  </a:lnTo>
                  <a:lnTo>
                    <a:pt x="92" y="171"/>
                  </a:lnTo>
                  <a:lnTo>
                    <a:pt x="95" y="171"/>
                  </a:lnTo>
                  <a:lnTo>
                    <a:pt x="95" y="173"/>
                  </a:lnTo>
                  <a:lnTo>
                    <a:pt x="95" y="171"/>
                  </a:lnTo>
                  <a:lnTo>
                    <a:pt x="97" y="171"/>
                  </a:lnTo>
                  <a:lnTo>
                    <a:pt x="97" y="173"/>
                  </a:lnTo>
                  <a:lnTo>
                    <a:pt x="97" y="176"/>
                  </a:lnTo>
                  <a:lnTo>
                    <a:pt x="99" y="176"/>
                  </a:lnTo>
                  <a:lnTo>
                    <a:pt x="102" y="176"/>
                  </a:lnTo>
                  <a:lnTo>
                    <a:pt x="102" y="178"/>
                  </a:lnTo>
                  <a:lnTo>
                    <a:pt x="104" y="178"/>
                  </a:lnTo>
                  <a:lnTo>
                    <a:pt x="102" y="180"/>
                  </a:lnTo>
                  <a:lnTo>
                    <a:pt x="102" y="183"/>
                  </a:lnTo>
                  <a:lnTo>
                    <a:pt x="104" y="183"/>
                  </a:lnTo>
                  <a:lnTo>
                    <a:pt x="102" y="183"/>
                  </a:lnTo>
                  <a:lnTo>
                    <a:pt x="104" y="183"/>
                  </a:lnTo>
                  <a:lnTo>
                    <a:pt x="102" y="183"/>
                  </a:lnTo>
                  <a:lnTo>
                    <a:pt x="102" y="185"/>
                  </a:lnTo>
                  <a:lnTo>
                    <a:pt x="104" y="185"/>
                  </a:lnTo>
                  <a:lnTo>
                    <a:pt x="102" y="185"/>
                  </a:lnTo>
                  <a:lnTo>
                    <a:pt x="104" y="185"/>
                  </a:lnTo>
                  <a:lnTo>
                    <a:pt x="104" y="187"/>
                  </a:lnTo>
                  <a:lnTo>
                    <a:pt x="107" y="187"/>
                  </a:lnTo>
                  <a:lnTo>
                    <a:pt x="107" y="190"/>
                  </a:lnTo>
                  <a:lnTo>
                    <a:pt x="109" y="190"/>
                  </a:lnTo>
                  <a:lnTo>
                    <a:pt x="109" y="187"/>
                  </a:lnTo>
                  <a:lnTo>
                    <a:pt x="107" y="187"/>
                  </a:lnTo>
                  <a:lnTo>
                    <a:pt x="107" y="185"/>
                  </a:lnTo>
                  <a:lnTo>
                    <a:pt x="109" y="185"/>
                  </a:lnTo>
                  <a:lnTo>
                    <a:pt x="111" y="185"/>
                  </a:lnTo>
                  <a:lnTo>
                    <a:pt x="111" y="187"/>
                  </a:lnTo>
                  <a:lnTo>
                    <a:pt x="109" y="187"/>
                  </a:lnTo>
                  <a:lnTo>
                    <a:pt x="109" y="190"/>
                  </a:lnTo>
                  <a:lnTo>
                    <a:pt x="109" y="187"/>
                  </a:lnTo>
                  <a:lnTo>
                    <a:pt x="109" y="190"/>
                  </a:lnTo>
                  <a:lnTo>
                    <a:pt x="111" y="190"/>
                  </a:lnTo>
                  <a:lnTo>
                    <a:pt x="111" y="192"/>
                  </a:lnTo>
                  <a:lnTo>
                    <a:pt x="114" y="192"/>
                  </a:lnTo>
                  <a:lnTo>
                    <a:pt x="114" y="195"/>
                  </a:lnTo>
                  <a:lnTo>
                    <a:pt x="111" y="195"/>
                  </a:lnTo>
                  <a:lnTo>
                    <a:pt x="109" y="195"/>
                  </a:lnTo>
                  <a:lnTo>
                    <a:pt x="107" y="195"/>
                  </a:lnTo>
                  <a:lnTo>
                    <a:pt x="107" y="197"/>
                  </a:lnTo>
                  <a:lnTo>
                    <a:pt x="107" y="195"/>
                  </a:lnTo>
                  <a:lnTo>
                    <a:pt x="107" y="197"/>
                  </a:lnTo>
                  <a:lnTo>
                    <a:pt x="104" y="197"/>
                  </a:lnTo>
                  <a:lnTo>
                    <a:pt x="107" y="197"/>
                  </a:lnTo>
                  <a:lnTo>
                    <a:pt x="107" y="199"/>
                  </a:lnTo>
                  <a:lnTo>
                    <a:pt x="107" y="197"/>
                  </a:lnTo>
                  <a:lnTo>
                    <a:pt x="104" y="199"/>
                  </a:lnTo>
                  <a:lnTo>
                    <a:pt x="104" y="197"/>
                  </a:lnTo>
                  <a:lnTo>
                    <a:pt x="104" y="199"/>
                  </a:lnTo>
                  <a:lnTo>
                    <a:pt x="104" y="197"/>
                  </a:lnTo>
                  <a:lnTo>
                    <a:pt x="104" y="199"/>
                  </a:lnTo>
                  <a:lnTo>
                    <a:pt x="104" y="197"/>
                  </a:lnTo>
                  <a:lnTo>
                    <a:pt x="104" y="199"/>
                  </a:lnTo>
                  <a:lnTo>
                    <a:pt x="104" y="202"/>
                  </a:lnTo>
                  <a:lnTo>
                    <a:pt x="104" y="199"/>
                  </a:lnTo>
                  <a:lnTo>
                    <a:pt x="104" y="202"/>
                  </a:lnTo>
                  <a:lnTo>
                    <a:pt x="102" y="202"/>
                  </a:lnTo>
                  <a:lnTo>
                    <a:pt x="102" y="199"/>
                  </a:lnTo>
                  <a:lnTo>
                    <a:pt x="102" y="197"/>
                  </a:lnTo>
                  <a:lnTo>
                    <a:pt x="99" y="197"/>
                  </a:lnTo>
                  <a:lnTo>
                    <a:pt x="102" y="197"/>
                  </a:lnTo>
                  <a:lnTo>
                    <a:pt x="102" y="195"/>
                  </a:lnTo>
                  <a:lnTo>
                    <a:pt x="102" y="197"/>
                  </a:lnTo>
                  <a:lnTo>
                    <a:pt x="102" y="195"/>
                  </a:lnTo>
                  <a:lnTo>
                    <a:pt x="102" y="192"/>
                  </a:lnTo>
                  <a:lnTo>
                    <a:pt x="99" y="192"/>
                  </a:lnTo>
                  <a:lnTo>
                    <a:pt x="99" y="195"/>
                  </a:lnTo>
                  <a:lnTo>
                    <a:pt x="99" y="192"/>
                  </a:lnTo>
                  <a:lnTo>
                    <a:pt x="99" y="195"/>
                  </a:lnTo>
                  <a:lnTo>
                    <a:pt x="99" y="192"/>
                  </a:lnTo>
                  <a:lnTo>
                    <a:pt x="97" y="192"/>
                  </a:lnTo>
                  <a:lnTo>
                    <a:pt x="97" y="190"/>
                  </a:lnTo>
                  <a:lnTo>
                    <a:pt x="95" y="190"/>
                  </a:lnTo>
                  <a:lnTo>
                    <a:pt x="92" y="190"/>
                  </a:lnTo>
                  <a:lnTo>
                    <a:pt x="90" y="187"/>
                  </a:lnTo>
                  <a:lnTo>
                    <a:pt x="88" y="187"/>
                  </a:lnTo>
                  <a:lnTo>
                    <a:pt x="88" y="190"/>
                  </a:lnTo>
                  <a:lnTo>
                    <a:pt x="90" y="190"/>
                  </a:lnTo>
                  <a:lnTo>
                    <a:pt x="88" y="190"/>
                  </a:lnTo>
                  <a:lnTo>
                    <a:pt x="88" y="192"/>
                  </a:lnTo>
                  <a:lnTo>
                    <a:pt x="90" y="192"/>
                  </a:lnTo>
                  <a:lnTo>
                    <a:pt x="90" y="195"/>
                  </a:lnTo>
                  <a:lnTo>
                    <a:pt x="90" y="197"/>
                  </a:lnTo>
                  <a:lnTo>
                    <a:pt x="90" y="199"/>
                  </a:lnTo>
                  <a:lnTo>
                    <a:pt x="92" y="199"/>
                  </a:lnTo>
                  <a:lnTo>
                    <a:pt x="90" y="199"/>
                  </a:lnTo>
                  <a:lnTo>
                    <a:pt x="92" y="199"/>
                  </a:lnTo>
                  <a:lnTo>
                    <a:pt x="92" y="202"/>
                  </a:lnTo>
                  <a:lnTo>
                    <a:pt x="95" y="204"/>
                  </a:lnTo>
                  <a:lnTo>
                    <a:pt x="95" y="206"/>
                  </a:lnTo>
                  <a:lnTo>
                    <a:pt x="95" y="209"/>
                  </a:lnTo>
                  <a:lnTo>
                    <a:pt x="97" y="209"/>
                  </a:lnTo>
                  <a:lnTo>
                    <a:pt x="95" y="209"/>
                  </a:lnTo>
                  <a:lnTo>
                    <a:pt x="97" y="209"/>
                  </a:lnTo>
                  <a:lnTo>
                    <a:pt x="97" y="211"/>
                  </a:lnTo>
                  <a:lnTo>
                    <a:pt x="97" y="214"/>
                  </a:lnTo>
                  <a:lnTo>
                    <a:pt x="97" y="216"/>
                  </a:lnTo>
                  <a:lnTo>
                    <a:pt x="97" y="214"/>
                  </a:lnTo>
                  <a:lnTo>
                    <a:pt x="97" y="216"/>
                  </a:lnTo>
                  <a:lnTo>
                    <a:pt x="99" y="218"/>
                  </a:lnTo>
                  <a:lnTo>
                    <a:pt x="99" y="221"/>
                  </a:lnTo>
                  <a:lnTo>
                    <a:pt x="99" y="223"/>
                  </a:lnTo>
                  <a:lnTo>
                    <a:pt x="102" y="223"/>
                  </a:lnTo>
                  <a:lnTo>
                    <a:pt x="99" y="223"/>
                  </a:lnTo>
                  <a:lnTo>
                    <a:pt x="99" y="225"/>
                  </a:lnTo>
                  <a:lnTo>
                    <a:pt x="97" y="225"/>
                  </a:lnTo>
                  <a:lnTo>
                    <a:pt x="99" y="225"/>
                  </a:lnTo>
                  <a:lnTo>
                    <a:pt x="99" y="228"/>
                  </a:lnTo>
                  <a:lnTo>
                    <a:pt x="97" y="228"/>
                  </a:lnTo>
                  <a:lnTo>
                    <a:pt x="99" y="228"/>
                  </a:lnTo>
                  <a:lnTo>
                    <a:pt x="97" y="228"/>
                  </a:lnTo>
                  <a:lnTo>
                    <a:pt x="99" y="230"/>
                  </a:lnTo>
                  <a:lnTo>
                    <a:pt x="99" y="233"/>
                  </a:lnTo>
                  <a:lnTo>
                    <a:pt x="102" y="233"/>
                  </a:lnTo>
                  <a:lnTo>
                    <a:pt x="102" y="235"/>
                  </a:lnTo>
                  <a:lnTo>
                    <a:pt x="102" y="237"/>
                  </a:lnTo>
                  <a:lnTo>
                    <a:pt x="102" y="235"/>
                  </a:lnTo>
                  <a:lnTo>
                    <a:pt x="102" y="237"/>
                  </a:lnTo>
                  <a:lnTo>
                    <a:pt x="104" y="237"/>
                  </a:lnTo>
                  <a:lnTo>
                    <a:pt x="102" y="237"/>
                  </a:lnTo>
                  <a:lnTo>
                    <a:pt x="102" y="240"/>
                  </a:lnTo>
                  <a:lnTo>
                    <a:pt x="102" y="237"/>
                  </a:lnTo>
                  <a:lnTo>
                    <a:pt x="99" y="237"/>
                  </a:lnTo>
                  <a:lnTo>
                    <a:pt x="99" y="235"/>
                  </a:lnTo>
                  <a:lnTo>
                    <a:pt x="97" y="235"/>
                  </a:lnTo>
                  <a:lnTo>
                    <a:pt x="97" y="233"/>
                  </a:lnTo>
                  <a:lnTo>
                    <a:pt x="95" y="233"/>
                  </a:lnTo>
                  <a:lnTo>
                    <a:pt x="95" y="230"/>
                  </a:lnTo>
                  <a:lnTo>
                    <a:pt x="92" y="230"/>
                  </a:lnTo>
                  <a:lnTo>
                    <a:pt x="95" y="230"/>
                  </a:lnTo>
                  <a:lnTo>
                    <a:pt x="92" y="230"/>
                  </a:lnTo>
                  <a:lnTo>
                    <a:pt x="92" y="228"/>
                  </a:lnTo>
                  <a:lnTo>
                    <a:pt x="90" y="228"/>
                  </a:lnTo>
                  <a:lnTo>
                    <a:pt x="92" y="228"/>
                  </a:lnTo>
                  <a:lnTo>
                    <a:pt x="90" y="228"/>
                  </a:lnTo>
                  <a:lnTo>
                    <a:pt x="92" y="228"/>
                  </a:lnTo>
                  <a:lnTo>
                    <a:pt x="92" y="225"/>
                  </a:lnTo>
                  <a:lnTo>
                    <a:pt x="90" y="225"/>
                  </a:lnTo>
                  <a:lnTo>
                    <a:pt x="90" y="223"/>
                  </a:lnTo>
                  <a:lnTo>
                    <a:pt x="88" y="223"/>
                  </a:lnTo>
                  <a:lnTo>
                    <a:pt x="85" y="223"/>
                  </a:lnTo>
                  <a:lnTo>
                    <a:pt x="83" y="223"/>
                  </a:lnTo>
                  <a:lnTo>
                    <a:pt x="83" y="225"/>
                  </a:lnTo>
                  <a:lnTo>
                    <a:pt x="80" y="225"/>
                  </a:lnTo>
                  <a:lnTo>
                    <a:pt x="80" y="228"/>
                  </a:lnTo>
                  <a:lnTo>
                    <a:pt x="83" y="228"/>
                  </a:lnTo>
                  <a:lnTo>
                    <a:pt x="80" y="228"/>
                  </a:lnTo>
                  <a:lnTo>
                    <a:pt x="83" y="228"/>
                  </a:lnTo>
                  <a:lnTo>
                    <a:pt x="83" y="230"/>
                  </a:lnTo>
                  <a:lnTo>
                    <a:pt x="83" y="228"/>
                  </a:lnTo>
                  <a:lnTo>
                    <a:pt x="80" y="228"/>
                  </a:lnTo>
                  <a:lnTo>
                    <a:pt x="80" y="230"/>
                  </a:lnTo>
                  <a:lnTo>
                    <a:pt x="83" y="230"/>
                  </a:lnTo>
                  <a:lnTo>
                    <a:pt x="80" y="230"/>
                  </a:lnTo>
                  <a:lnTo>
                    <a:pt x="80" y="233"/>
                  </a:lnTo>
                  <a:lnTo>
                    <a:pt x="80" y="235"/>
                  </a:lnTo>
                  <a:lnTo>
                    <a:pt x="80" y="237"/>
                  </a:lnTo>
                  <a:lnTo>
                    <a:pt x="80" y="240"/>
                  </a:lnTo>
                  <a:lnTo>
                    <a:pt x="80" y="237"/>
                  </a:lnTo>
                  <a:lnTo>
                    <a:pt x="78" y="237"/>
                  </a:lnTo>
                  <a:lnTo>
                    <a:pt x="76" y="237"/>
                  </a:lnTo>
                  <a:lnTo>
                    <a:pt x="76" y="235"/>
                  </a:lnTo>
                  <a:lnTo>
                    <a:pt x="76" y="233"/>
                  </a:lnTo>
                  <a:lnTo>
                    <a:pt x="76" y="235"/>
                  </a:lnTo>
                  <a:lnTo>
                    <a:pt x="78" y="235"/>
                  </a:lnTo>
                  <a:lnTo>
                    <a:pt x="78" y="233"/>
                  </a:lnTo>
                  <a:lnTo>
                    <a:pt x="76" y="233"/>
                  </a:lnTo>
                  <a:lnTo>
                    <a:pt x="78" y="233"/>
                  </a:lnTo>
                  <a:lnTo>
                    <a:pt x="78" y="230"/>
                  </a:lnTo>
                  <a:lnTo>
                    <a:pt x="76" y="230"/>
                  </a:lnTo>
                  <a:lnTo>
                    <a:pt x="78" y="230"/>
                  </a:lnTo>
                  <a:lnTo>
                    <a:pt x="76" y="230"/>
                  </a:lnTo>
                  <a:lnTo>
                    <a:pt x="76" y="228"/>
                  </a:lnTo>
                  <a:lnTo>
                    <a:pt x="78" y="228"/>
                  </a:lnTo>
                  <a:lnTo>
                    <a:pt x="76" y="228"/>
                  </a:lnTo>
                  <a:lnTo>
                    <a:pt x="76" y="225"/>
                  </a:lnTo>
                  <a:lnTo>
                    <a:pt x="76" y="223"/>
                  </a:lnTo>
                  <a:lnTo>
                    <a:pt x="73" y="223"/>
                  </a:lnTo>
                  <a:lnTo>
                    <a:pt x="76" y="223"/>
                  </a:lnTo>
                  <a:lnTo>
                    <a:pt x="73" y="223"/>
                  </a:lnTo>
                  <a:lnTo>
                    <a:pt x="73" y="221"/>
                  </a:lnTo>
                  <a:lnTo>
                    <a:pt x="73" y="218"/>
                  </a:lnTo>
                  <a:lnTo>
                    <a:pt x="71" y="218"/>
                  </a:lnTo>
                  <a:lnTo>
                    <a:pt x="69" y="218"/>
                  </a:lnTo>
                  <a:lnTo>
                    <a:pt x="69" y="216"/>
                  </a:lnTo>
                  <a:lnTo>
                    <a:pt x="69" y="214"/>
                  </a:lnTo>
                  <a:lnTo>
                    <a:pt x="69" y="211"/>
                  </a:lnTo>
                  <a:lnTo>
                    <a:pt x="69" y="214"/>
                  </a:lnTo>
                  <a:lnTo>
                    <a:pt x="69" y="211"/>
                  </a:lnTo>
                  <a:lnTo>
                    <a:pt x="69" y="214"/>
                  </a:lnTo>
                  <a:lnTo>
                    <a:pt x="69" y="211"/>
                  </a:lnTo>
                  <a:lnTo>
                    <a:pt x="66" y="211"/>
                  </a:lnTo>
                  <a:lnTo>
                    <a:pt x="66" y="214"/>
                  </a:lnTo>
                  <a:lnTo>
                    <a:pt x="64" y="214"/>
                  </a:lnTo>
                  <a:lnTo>
                    <a:pt x="62" y="214"/>
                  </a:lnTo>
                  <a:lnTo>
                    <a:pt x="62" y="216"/>
                  </a:lnTo>
                  <a:lnTo>
                    <a:pt x="62" y="218"/>
                  </a:lnTo>
                  <a:lnTo>
                    <a:pt x="62" y="221"/>
                  </a:lnTo>
                  <a:lnTo>
                    <a:pt x="62" y="223"/>
                  </a:lnTo>
                  <a:lnTo>
                    <a:pt x="64" y="223"/>
                  </a:lnTo>
                  <a:lnTo>
                    <a:pt x="62" y="223"/>
                  </a:lnTo>
                  <a:lnTo>
                    <a:pt x="62" y="225"/>
                  </a:lnTo>
                  <a:lnTo>
                    <a:pt x="59" y="225"/>
                  </a:lnTo>
                  <a:lnTo>
                    <a:pt x="59" y="223"/>
                  </a:lnTo>
                  <a:lnTo>
                    <a:pt x="57" y="223"/>
                  </a:lnTo>
                  <a:lnTo>
                    <a:pt x="54" y="223"/>
                  </a:lnTo>
                  <a:lnTo>
                    <a:pt x="54" y="221"/>
                  </a:lnTo>
                  <a:lnTo>
                    <a:pt x="54" y="218"/>
                  </a:lnTo>
                  <a:lnTo>
                    <a:pt x="54" y="216"/>
                  </a:lnTo>
                  <a:lnTo>
                    <a:pt x="54" y="218"/>
                  </a:lnTo>
                  <a:lnTo>
                    <a:pt x="54" y="216"/>
                  </a:lnTo>
                  <a:lnTo>
                    <a:pt x="52" y="216"/>
                  </a:lnTo>
                  <a:lnTo>
                    <a:pt x="54" y="216"/>
                  </a:lnTo>
                  <a:lnTo>
                    <a:pt x="52" y="216"/>
                  </a:lnTo>
                  <a:lnTo>
                    <a:pt x="52" y="214"/>
                  </a:lnTo>
                  <a:lnTo>
                    <a:pt x="52" y="211"/>
                  </a:lnTo>
                  <a:lnTo>
                    <a:pt x="50" y="211"/>
                  </a:lnTo>
                  <a:lnTo>
                    <a:pt x="50" y="209"/>
                  </a:lnTo>
                  <a:lnTo>
                    <a:pt x="50" y="206"/>
                  </a:lnTo>
                  <a:lnTo>
                    <a:pt x="50" y="204"/>
                  </a:lnTo>
                  <a:lnTo>
                    <a:pt x="52" y="204"/>
                  </a:lnTo>
                  <a:lnTo>
                    <a:pt x="52" y="202"/>
                  </a:lnTo>
                  <a:lnTo>
                    <a:pt x="54" y="202"/>
                  </a:lnTo>
                  <a:lnTo>
                    <a:pt x="54" y="199"/>
                  </a:lnTo>
                  <a:lnTo>
                    <a:pt x="54" y="202"/>
                  </a:lnTo>
                  <a:lnTo>
                    <a:pt x="54" y="199"/>
                  </a:lnTo>
                  <a:lnTo>
                    <a:pt x="54" y="197"/>
                  </a:lnTo>
                  <a:lnTo>
                    <a:pt x="54" y="195"/>
                  </a:lnTo>
                  <a:lnTo>
                    <a:pt x="52" y="195"/>
                  </a:lnTo>
                  <a:lnTo>
                    <a:pt x="52" y="192"/>
                  </a:lnTo>
                  <a:lnTo>
                    <a:pt x="50" y="190"/>
                  </a:lnTo>
                  <a:lnTo>
                    <a:pt x="50" y="187"/>
                  </a:lnTo>
                  <a:lnTo>
                    <a:pt x="47" y="187"/>
                  </a:lnTo>
                  <a:lnTo>
                    <a:pt x="47" y="185"/>
                  </a:lnTo>
                  <a:lnTo>
                    <a:pt x="45" y="185"/>
                  </a:lnTo>
                  <a:lnTo>
                    <a:pt x="43" y="185"/>
                  </a:lnTo>
                  <a:lnTo>
                    <a:pt x="43" y="183"/>
                  </a:lnTo>
                  <a:lnTo>
                    <a:pt x="43" y="180"/>
                  </a:lnTo>
                  <a:lnTo>
                    <a:pt x="40" y="178"/>
                  </a:lnTo>
                  <a:lnTo>
                    <a:pt x="38" y="178"/>
                  </a:lnTo>
                  <a:lnTo>
                    <a:pt x="38" y="176"/>
                  </a:lnTo>
                  <a:lnTo>
                    <a:pt x="35" y="176"/>
                  </a:lnTo>
                  <a:lnTo>
                    <a:pt x="35" y="173"/>
                  </a:lnTo>
                  <a:lnTo>
                    <a:pt x="35" y="171"/>
                  </a:lnTo>
                  <a:lnTo>
                    <a:pt x="35" y="173"/>
                  </a:lnTo>
                  <a:lnTo>
                    <a:pt x="38" y="173"/>
                  </a:lnTo>
                  <a:lnTo>
                    <a:pt x="38" y="171"/>
                  </a:lnTo>
                  <a:lnTo>
                    <a:pt x="40" y="171"/>
                  </a:lnTo>
                  <a:lnTo>
                    <a:pt x="40" y="168"/>
                  </a:lnTo>
                  <a:lnTo>
                    <a:pt x="43" y="168"/>
                  </a:lnTo>
                  <a:lnTo>
                    <a:pt x="40" y="168"/>
                  </a:lnTo>
                  <a:lnTo>
                    <a:pt x="43" y="168"/>
                  </a:lnTo>
                  <a:lnTo>
                    <a:pt x="43" y="166"/>
                  </a:lnTo>
                  <a:lnTo>
                    <a:pt x="43" y="164"/>
                  </a:lnTo>
                  <a:lnTo>
                    <a:pt x="43" y="161"/>
                  </a:lnTo>
                  <a:close/>
                  <a:moveTo>
                    <a:pt x="123" y="178"/>
                  </a:moveTo>
                  <a:lnTo>
                    <a:pt x="123" y="176"/>
                  </a:lnTo>
                  <a:lnTo>
                    <a:pt x="121" y="176"/>
                  </a:lnTo>
                  <a:lnTo>
                    <a:pt x="123" y="176"/>
                  </a:lnTo>
                  <a:lnTo>
                    <a:pt x="121" y="176"/>
                  </a:lnTo>
                  <a:lnTo>
                    <a:pt x="121" y="173"/>
                  </a:lnTo>
                  <a:lnTo>
                    <a:pt x="121" y="176"/>
                  </a:lnTo>
                  <a:lnTo>
                    <a:pt x="121" y="173"/>
                  </a:lnTo>
                  <a:lnTo>
                    <a:pt x="121" y="171"/>
                  </a:lnTo>
                  <a:lnTo>
                    <a:pt x="118" y="171"/>
                  </a:lnTo>
                  <a:lnTo>
                    <a:pt x="118" y="173"/>
                  </a:lnTo>
                  <a:lnTo>
                    <a:pt x="118" y="171"/>
                  </a:lnTo>
                  <a:lnTo>
                    <a:pt x="116" y="171"/>
                  </a:lnTo>
                  <a:lnTo>
                    <a:pt x="118" y="171"/>
                  </a:lnTo>
                  <a:lnTo>
                    <a:pt x="116" y="171"/>
                  </a:lnTo>
                  <a:lnTo>
                    <a:pt x="118" y="171"/>
                  </a:lnTo>
                  <a:lnTo>
                    <a:pt x="116" y="171"/>
                  </a:lnTo>
                  <a:lnTo>
                    <a:pt x="116" y="168"/>
                  </a:lnTo>
                  <a:lnTo>
                    <a:pt x="118" y="168"/>
                  </a:lnTo>
                  <a:lnTo>
                    <a:pt x="116" y="168"/>
                  </a:lnTo>
                  <a:lnTo>
                    <a:pt x="116" y="166"/>
                  </a:lnTo>
                  <a:lnTo>
                    <a:pt x="116" y="168"/>
                  </a:lnTo>
                  <a:lnTo>
                    <a:pt x="116" y="166"/>
                  </a:lnTo>
                  <a:lnTo>
                    <a:pt x="116" y="168"/>
                  </a:lnTo>
                  <a:lnTo>
                    <a:pt x="116" y="166"/>
                  </a:lnTo>
                  <a:lnTo>
                    <a:pt x="114" y="166"/>
                  </a:lnTo>
                  <a:lnTo>
                    <a:pt x="114" y="168"/>
                  </a:lnTo>
                  <a:lnTo>
                    <a:pt x="111" y="168"/>
                  </a:lnTo>
                  <a:lnTo>
                    <a:pt x="111" y="171"/>
                  </a:lnTo>
                  <a:lnTo>
                    <a:pt x="111" y="168"/>
                  </a:lnTo>
                  <a:lnTo>
                    <a:pt x="111" y="171"/>
                  </a:lnTo>
                  <a:lnTo>
                    <a:pt x="109" y="171"/>
                  </a:lnTo>
                  <a:lnTo>
                    <a:pt x="107" y="171"/>
                  </a:lnTo>
                  <a:lnTo>
                    <a:pt x="104" y="171"/>
                  </a:lnTo>
                  <a:lnTo>
                    <a:pt x="102" y="171"/>
                  </a:lnTo>
                  <a:lnTo>
                    <a:pt x="102" y="173"/>
                  </a:lnTo>
                  <a:lnTo>
                    <a:pt x="99" y="173"/>
                  </a:lnTo>
                  <a:lnTo>
                    <a:pt x="97" y="173"/>
                  </a:lnTo>
                  <a:lnTo>
                    <a:pt x="97" y="171"/>
                  </a:lnTo>
                  <a:lnTo>
                    <a:pt x="97" y="168"/>
                  </a:lnTo>
                  <a:lnTo>
                    <a:pt x="95" y="168"/>
                  </a:lnTo>
                  <a:lnTo>
                    <a:pt x="92" y="168"/>
                  </a:lnTo>
                  <a:lnTo>
                    <a:pt x="92" y="166"/>
                  </a:lnTo>
                  <a:lnTo>
                    <a:pt x="95" y="166"/>
                  </a:lnTo>
                  <a:lnTo>
                    <a:pt x="97" y="166"/>
                  </a:lnTo>
                  <a:lnTo>
                    <a:pt x="99" y="166"/>
                  </a:lnTo>
                  <a:lnTo>
                    <a:pt x="102" y="166"/>
                  </a:lnTo>
                  <a:lnTo>
                    <a:pt x="104" y="166"/>
                  </a:lnTo>
                  <a:lnTo>
                    <a:pt x="104" y="164"/>
                  </a:lnTo>
                  <a:lnTo>
                    <a:pt x="104" y="161"/>
                  </a:lnTo>
                  <a:lnTo>
                    <a:pt x="104" y="164"/>
                  </a:lnTo>
                  <a:lnTo>
                    <a:pt x="104" y="161"/>
                  </a:lnTo>
                  <a:lnTo>
                    <a:pt x="102" y="161"/>
                  </a:lnTo>
                  <a:lnTo>
                    <a:pt x="102" y="159"/>
                  </a:lnTo>
                  <a:lnTo>
                    <a:pt x="99" y="161"/>
                  </a:lnTo>
                  <a:lnTo>
                    <a:pt x="99" y="159"/>
                  </a:lnTo>
                  <a:lnTo>
                    <a:pt x="99" y="161"/>
                  </a:lnTo>
                  <a:lnTo>
                    <a:pt x="99" y="159"/>
                  </a:lnTo>
                  <a:lnTo>
                    <a:pt x="97" y="159"/>
                  </a:lnTo>
                  <a:lnTo>
                    <a:pt x="95" y="159"/>
                  </a:lnTo>
                  <a:lnTo>
                    <a:pt x="97" y="159"/>
                  </a:lnTo>
                  <a:lnTo>
                    <a:pt x="97" y="161"/>
                  </a:lnTo>
                  <a:lnTo>
                    <a:pt x="95" y="161"/>
                  </a:lnTo>
                  <a:lnTo>
                    <a:pt x="95" y="159"/>
                  </a:lnTo>
                  <a:lnTo>
                    <a:pt x="92" y="159"/>
                  </a:lnTo>
                  <a:lnTo>
                    <a:pt x="95" y="159"/>
                  </a:lnTo>
                  <a:lnTo>
                    <a:pt x="92" y="159"/>
                  </a:lnTo>
                  <a:lnTo>
                    <a:pt x="90" y="159"/>
                  </a:lnTo>
                  <a:lnTo>
                    <a:pt x="90" y="157"/>
                  </a:lnTo>
                  <a:lnTo>
                    <a:pt x="88" y="157"/>
                  </a:lnTo>
                  <a:lnTo>
                    <a:pt x="88" y="154"/>
                  </a:lnTo>
                  <a:lnTo>
                    <a:pt x="88" y="152"/>
                  </a:lnTo>
                  <a:lnTo>
                    <a:pt x="85" y="152"/>
                  </a:lnTo>
                  <a:lnTo>
                    <a:pt x="85" y="154"/>
                  </a:lnTo>
                  <a:lnTo>
                    <a:pt x="85" y="152"/>
                  </a:lnTo>
                  <a:lnTo>
                    <a:pt x="85" y="154"/>
                  </a:lnTo>
                  <a:lnTo>
                    <a:pt x="85" y="152"/>
                  </a:lnTo>
                  <a:lnTo>
                    <a:pt x="85" y="154"/>
                  </a:lnTo>
                  <a:lnTo>
                    <a:pt x="83" y="154"/>
                  </a:lnTo>
                  <a:lnTo>
                    <a:pt x="85" y="154"/>
                  </a:lnTo>
                  <a:lnTo>
                    <a:pt x="83" y="157"/>
                  </a:lnTo>
                  <a:lnTo>
                    <a:pt x="83" y="154"/>
                  </a:lnTo>
                  <a:lnTo>
                    <a:pt x="80" y="154"/>
                  </a:lnTo>
                  <a:lnTo>
                    <a:pt x="83" y="154"/>
                  </a:lnTo>
                  <a:lnTo>
                    <a:pt x="80" y="154"/>
                  </a:lnTo>
                  <a:lnTo>
                    <a:pt x="80" y="152"/>
                  </a:lnTo>
                  <a:lnTo>
                    <a:pt x="80" y="149"/>
                  </a:lnTo>
                  <a:lnTo>
                    <a:pt x="78" y="149"/>
                  </a:lnTo>
                  <a:lnTo>
                    <a:pt x="78" y="152"/>
                  </a:lnTo>
                  <a:lnTo>
                    <a:pt x="76" y="152"/>
                  </a:lnTo>
                  <a:lnTo>
                    <a:pt x="78" y="152"/>
                  </a:lnTo>
                  <a:lnTo>
                    <a:pt x="78" y="154"/>
                  </a:lnTo>
                  <a:lnTo>
                    <a:pt x="76" y="154"/>
                  </a:lnTo>
                  <a:lnTo>
                    <a:pt x="73" y="154"/>
                  </a:lnTo>
                  <a:lnTo>
                    <a:pt x="73" y="152"/>
                  </a:lnTo>
                  <a:lnTo>
                    <a:pt x="73" y="154"/>
                  </a:lnTo>
                  <a:lnTo>
                    <a:pt x="71" y="152"/>
                  </a:lnTo>
                  <a:lnTo>
                    <a:pt x="71" y="154"/>
                  </a:lnTo>
                  <a:lnTo>
                    <a:pt x="69" y="154"/>
                  </a:lnTo>
                  <a:lnTo>
                    <a:pt x="69" y="152"/>
                  </a:lnTo>
                  <a:lnTo>
                    <a:pt x="66" y="152"/>
                  </a:lnTo>
                  <a:lnTo>
                    <a:pt x="64" y="152"/>
                  </a:lnTo>
                  <a:lnTo>
                    <a:pt x="62" y="152"/>
                  </a:lnTo>
                  <a:lnTo>
                    <a:pt x="59" y="152"/>
                  </a:lnTo>
                  <a:lnTo>
                    <a:pt x="57" y="152"/>
                  </a:lnTo>
                  <a:lnTo>
                    <a:pt x="57" y="154"/>
                  </a:lnTo>
                  <a:lnTo>
                    <a:pt x="54" y="154"/>
                  </a:lnTo>
                  <a:lnTo>
                    <a:pt x="52" y="154"/>
                  </a:lnTo>
                  <a:lnTo>
                    <a:pt x="50" y="154"/>
                  </a:lnTo>
                  <a:lnTo>
                    <a:pt x="50" y="157"/>
                  </a:lnTo>
                  <a:lnTo>
                    <a:pt x="50" y="154"/>
                  </a:lnTo>
                  <a:lnTo>
                    <a:pt x="50" y="157"/>
                  </a:lnTo>
                  <a:lnTo>
                    <a:pt x="47" y="157"/>
                  </a:lnTo>
                  <a:lnTo>
                    <a:pt x="47" y="154"/>
                  </a:lnTo>
                  <a:lnTo>
                    <a:pt x="45" y="154"/>
                  </a:lnTo>
                  <a:lnTo>
                    <a:pt x="47" y="154"/>
                  </a:lnTo>
                  <a:lnTo>
                    <a:pt x="47" y="157"/>
                  </a:lnTo>
                  <a:lnTo>
                    <a:pt x="47" y="154"/>
                  </a:lnTo>
                  <a:lnTo>
                    <a:pt x="47" y="152"/>
                  </a:lnTo>
                  <a:lnTo>
                    <a:pt x="45" y="152"/>
                  </a:lnTo>
                  <a:lnTo>
                    <a:pt x="45" y="154"/>
                  </a:lnTo>
                  <a:lnTo>
                    <a:pt x="45" y="152"/>
                  </a:lnTo>
                  <a:lnTo>
                    <a:pt x="45" y="149"/>
                  </a:lnTo>
                  <a:lnTo>
                    <a:pt x="43" y="152"/>
                  </a:lnTo>
                  <a:lnTo>
                    <a:pt x="43" y="149"/>
                  </a:lnTo>
                  <a:lnTo>
                    <a:pt x="43" y="147"/>
                  </a:lnTo>
                  <a:lnTo>
                    <a:pt x="43" y="149"/>
                  </a:lnTo>
                  <a:lnTo>
                    <a:pt x="43" y="152"/>
                  </a:lnTo>
                  <a:lnTo>
                    <a:pt x="40" y="152"/>
                  </a:lnTo>
                  <a:lnTo>
                    <a:pt x="40" y="154"/>
                  </a:lnTo>
                  <a:lnTo>
                    <a:pt x="38" y="154"/>
                  </a:lnTo>
                  <a:lnTo>
                    <a:pt x="40" y="157"/>
                  </a:lnTo>
                  <a:lnTo>
                    <a:pt x="40" y="154"/>
                  </a:lnTo>
                  <a:lnTo>
                    <a:pt x="43" y="154"/>
                  </a:lnTo>
                  <a:lnTo>
                    <a:pt x="43" y="157"/>
                  </a:lnTo>
                  <a:lnTo>
                    <a:pt x="40" y="154"/>
                  </a:lnTo>
                  <a:lnTo>
                    <a:pt x="40" y="157"/>
                  </a:lnTo>
                  <a:lnTo>
                    <a:pt x="38" y="157"/>
                  </a:lnTo>
                  <a:lnTo>
                    <a:pt x="38" y="154"/>
                  </a:lnTo>
                  <a:lnTo>
                    <a:pt x="38" y="157"/>
                  </a:lnTo>
                  <a:lnTo>
                    <a:pt x="35" y="157"/>
                  </a:lnTo>
                  <a:lnTo>
                    <a:pt x="35" y="154"/>
                  </a:lnTo>
                  <a:lnTo>
                    <a:pt x="35" y="152"/>
                  </a:lnTo>
                  <a:lnTo>
                    <a:pt x="35" y="149"/>
                  </a:lnTo>
                  <a:lnTo>
                    <a:pt x="35" y="152"/>
                  </a:lnTo>
                  <a:lnTo>
                    <a:pt x="35" y="149"/>
                  </a:lnTo>
                  <a:lnTo>
                    <a:pt x="35" y="152"/>
                  </a:lnTo>
                  <a:lnTo>
                    <a:pt x="35" y="149"/>
                  </a:lnTo>
                  <a:lnTo>
                    <a:pt x="35" y="147"/>
                  </a:lnTo>
                  <a:lnTo>
                    <a:pt x="35" y="149"/>
                  </a:lnTo>
                  <a:lnTo>
                    <a:pt x="35" y="147"/>
                  </a:lnTo>
                  <a:lnTo>
                    <a:pt x="33" y="147"/>
                  </a:lnTo>
                  <a:lnTo>
                    <a:pt x="35" y="147"/>
                  </a:lnTo>
                  <a:lnTo>
                    <a:pt x="33" y="147"/>
                  </a:lnTo>
                  <a:lnTo>
                    <a:pt x="35" y="147"/>
                  </a:lnTo>
                  <a:lnTo>
                    <a:pt x="33" y="147"/>
                  </a:lnTo>
                  <a:lnTo>
                    <a:pt x="35" y="147"/>
                  </a:lnTo>
                  <a:lnTo>
                    <a:pt x="35" y="145"/>
                  </a:lnTo>
                  <a:lnTo>
                    <a:pt x="33" y="145"/>
                  </a:lnTo>
                  <a:lnTo>
                    <a:pt x="33" y="147"/>
                  </a:lnTo>
                  <a:lnTo>
                    <a:pt x="33" y="145"/>
                  </a:lnTo>
                  <a:lnTo>
                    <a:pt x="31" y="145"/>
                  </a:lnTo>
                  <a:lnTo>
                    <a:pt x="33" y="145"/>
                  </a:lnTo>
                  <a:lnTo>
                    <a:pt x="31" y="145"/>
                  </a:lnTo>
                  <a:lnTo>
                    <a:pt x="33" y="145"/>
                  </a:lnTo>
                  <a:lnTo>
                    <a:pt x="33" y="142"/>
                  </a:lnTo>
                  <a:lnTo>
                    <a:pt x="31" y="142"/>
                  </a:lnTo>
                  <a:lnTo>
                    <a:pt x="31" y="140"/>
                  </a:lnTo>
                  <a:lnTo>
                    <a:pt x="28" y="140"/>
                  </a:lnTo>
                  <a:lnTo>
                    <a:pt x="28" y="138"/>
                  </a:lnTo>
                  <a:lnTo>
                    <a:pt x="28" y="140"/>
                  </a:lnTo>
                  <a:lnTo>
                    <a:pt x="28" y="138"/>
                  </a:lnTo>
                  <a:lnTo>
                    <a:pt x="28" y="135"/>
                  </a:lnTo>
                  <a:lnTo>
                    <a:pt x="28" y="133"/>
                  </a:lnTo>
                  <a:lnTo>
                    <a:pt x="26" y="133"/>
                  </a:lnTo>
                  <a:lnTo>
                    <a:pt x="26" y="135"/>
                  </a:lnTo>
                  <a:lnTo>
                    <a:pt x="24" y="135"/>
                  </a:lnTo>
                  <a:lnTo>
                    <a:pt x="24" y="133"/>
                  </a:lnTo>
                  <a:lnTo>
                    <a:pt x="24" y="130"/>
                  </a:lnTo>
                  <a:lnTo>
                    <a:pt x="21" y="130"/>
                  </a:lnTo>
                  <a:lnTo>
                    <a:pt x="21" y="133"/>
                  </a:lnTo>
                  <a:lnTo>
                    <a:pt x="21" y="130"/>
                  </a:lnTo>
                  <a:lnTo>
                    <a:pt x="21" y="133"/>
                  </a:lnTo>
                  <a:lnTo>
                    <a:pt x="21" y="130"/>
                  </a:lnTo>
                  <a:lnTo>
                    <a:pt x="21" y="133"/>
                  </a:lnTo>
                  <a:lnTo>
                    <a:pt x="24" y="133"/>
                  </a:lnTo>
                  <a:lnTo>
                    <a:pt x="21" y="133"/>
                  </a:lnTo>
                  <a:lnTo>
                    <a:pt x="21" y="135"/>
                  </a:lnTo>
                  <a:lnTo>
                    <a:pt x="24" y="135"/>
                  </a:lnTo>
                  <a:lnTo>
                    <a:pt x="24" y="138"/>
                  </a:lnTo>
                  <a:lnTo>
                    <a:pt x="21" y="138"/>
                  </a:lnTo>
                  <a:lnTo>
                    <a:pt x="24" y="138"/>
                  </a:lnTo>
                  <a:lnTo>
                    <a:pt x="21" y="138"/>
                  </a:lnTo>
                  <a:lnTo>
                    <a:pt x="24" y="138"/>
                  </a:lnTo>
                  <a:lnTo>
                    <a:pt x="21" y="140"/>
                  </a:lnTo>
                  <a:lnTo>
                    <a:pt x="24" y="140"/>
                  </a:lnTo>
                  <a:lnTo>
                    <a:pt x="21" y="140"/>
                  </a:lnTo>
                  <a:lnTo>
                    <a:pt x="21" y="142"/>
                  </a:lnTo>
                  <a:lnTo>
                    <a:pt x="21" y="140"/>
                  </a:lnTo>
                  <a:lnTo>
                    <a:pt x="21" y="142"/>
                  </a:lnTo>
                  <a:lnTo>
                    <a:pt x="21" y="140"/>
                  </a:lnTo>
                  <a:lnTo>
                    <a:pt x="21" y="142"/>
                  </a:lnTo>
                  <a:lnTo>
                    <a:pt x="19" y="142"/>
                  </a:lnTo>
                  <a:lnTo>
                    <a:pt x="19" y="140"/>
                  </a:lnTo>
                  <a:lnTo>
                    <a:pt x="19" y="142"/>
                  </a:lnTo>
                  <a:lnTo>
                    <a:pt x="16" y="142"/>
                  </a:lnTo>
                  <a:lnTo>
                    <a:pt x="16" y="145"/>
                  </a:lnTo>
                  <a:lnTo>
                    <a:pt x="16" y="142"/>
                  </a:lnTo>
                  <a:lnTo>
                    <a:pt x="16" y="140"/>
                  </a:lnTo>
                  <a:lnTo>
                    <a:pt x="16" y="138"/>
                  </a:lnTo>
                  <a:lnTo>
                    <a:pt x="16" y="135"/>
                  </a:lnTo>
                  <a:lnTo>
                    <a:pt x="19" y="135"/>
                  </a:lnTo>
                  <a:lnTo>
                    <a:pt x="19" y="133"/>
                  </a:lnTo>
                  <a:lnTo>
                    <a:pt x="21" y="133"/>
                  </a:lnTo>
                  <a:lnTo>
                    <a:pt x="21" y="130"/>
                  </a:lnTo>
                  <a:lnTo>
                    <a:pt x="24" y="130"/>
                  </a:lnTo>
                  <a:lnTo>
                    <a:pt x="26" y="130"/>
                  </a:lnTo>
                  <a:lnTo>
                    <a:pt x="24" y="130"/>
                  </a:lnTo>
                  <a:lnTo>
                    <a:pt x="24" y="128"/>
                  </a:lnTo>
                  <a:lnTo>
                    <a:pt x="24" y="126"/>
                  </a:lnTo>
                  <a:lnTo>
                    <a:pt x="24" y="128"/>
                  </a:lnTo>
                  <a:lnTo>
                    <a:pt x="26" y="128"/>
                  </a:lnTo>
                  <a:lnTo>
                    <a:pt x="26" y="126"/>
                  </a:lnTo>
                  <a:lnTo>
                    <a:pt x="28" y="126"/>
                  </a:lnTo>
                  <a:lnTo>
                    <a:pt x="26" y="126"/>
                  </a:lnTo>
                  <a:lnTo>
                    <a:pt x="26" y="128"/>
                  </a:lnTo>
                  <a:lnTo>
                    <a:pt x="28" y="128"/>
                  </a:lnTo>
                  <a:lnTo>
                    <a:pt x="26" y="128"/>
                  </a:lnTo>
                  <a:lnTo>
                    <a:pt x="28" y="128"/>
                  </a:lnTo>
                  <a:lnTo>
                    <a:pt x="28" y="126"/>
                  </a:lnTo>
                  <a:lnTo>
                    <a:pt x="28" y="128"/>
                  </a:lnTo>
                  <a:lnTo>
                    <a:pt x="31" y="128"/>
                  </a:lnTo>
                  <a:lnTo>
                    <a:pt x="31" y="126"/>
                  </a:lnTo>
                  <a:lnTo>
                    <a:pt x="31" y="128"/>
                  </a:lnTo>
                  <a:lnTo>
                    <a:pt x="33" y="128"/>
                  </a:lnTo>
                  <a:lnTo>
                    <a:pt x="33" y="130"/>
                  </a:lnTo>
                  <a:lnTo>
                    <a:pt x="35" y="130"/>
                  </a:lnTo>
                  <a:lnTo>
                    <a:pt x="35" y="128"/>
                  </a:lnTo>
                  <a:lnTo>
                    <a:pt x="38" y="130"/>
                  </a:lnTo>
                  <a:lnTo>
                    <a:pt x="38" y="128"/>
                  </a:lnTo>
                  <a:lnTo>
                    <a:pt x="35" y="128"/>
                  </a:lnTo>
                  <a:lnTo>
                    <a:pt x="35" y="126"/>
                  </a:lnTo>
                  <a:lnTo>
                    <a:pt x="35" y="123"/>
                  </a:lnTo>
                  <a:lnTo>
                    <a:pt x="35" y="121"/>
                  </a:lnTo>
                  <a:lnTo>
                    <a:pt x="33" y="121"/>
                  </a:lnTo>
                  <a:lnTo>
                    <a:pt x="33" y="123"/>
                  </a:lnTo>
                  <a:lnTo>
                    <a:pt x="33" y="121"/>
                  </a:lnTo>
                  <a:lnTo>
                    <a:pt x="33" y="123"/>
                  </a:lnTo>
                  <a:lnTo>
                    <a:pt x="33" y="121"/>
                  </a:lnTo>
                  <a:lnTo>
                    <a:pt x="33" y="123"/>
                  </a:lnTo>
                  <a:lnTo>
                    <a:pt x="31" y="123"/>
                  </a:lnTo>
                  <a:lnTo>
                    <a:pt x="33" y="123"/>
                  </a:lnTo>
                  <a:lnTo>
                    <a:pt x="31" y="123"/>
                  </a:lnTo>
                  <a:lnTo>
                    <a:pt x="28" y="123"/>
                  </a:lnTo>
                  <a:lnTo>
                    <a:pt x="26" y="123"/>
                  </a:lnTo>
                  <a:lnTo>
                    <a:pt x="26" y="121"/>
                  </a:lnTo>
                  <a:lnTo>
                    <a:pt x="24" y="121"/>
                  </a:lnTo>
                  <a:lnTo>
                    <a:pt x="24" y="123"/>
                  </a:lnTo>
                  <a:lnTo>
                    <a:pt x="24" y="126"/>
                  </a:lnTo>
                  <a:lnTo>
                    <a:pt x="26" y="126"/>
                  </a:lnTo>
                  <a:lnTo>
                    <a:pt x="24" y="126"/>
                  </a:lnTo>
                  <a:lnTo>
                    <a:pt x="21" y="126"/>
                  </a:lnTo>
                  <a:lnTo>
                    <a:pt x="21" y="123"/>
                  </a:lnTo>
                  <a:lnTo>
                    <a:pt x="21" y="121"/>
                  </a:lnTo>
                  <a:lnTo>
                    <a:pt x="19" y="121"/>
                  </a:lnTo>
                  <a:lnTo>
                    <a:pt x="19" y="119"/>
                  </a:lnTo>
                  <a:lnTo>
                    <a:pt x="16" y="119"/>
                  </a:lnTo>
                  <a:lnTo>
                    <a:pt x="16" y="116"/>
                  </a:lnTo>
                  <a:lnTo>
                    <a:pt x="14" y="116"/>
                  </a:lnTo>
                  <a:lnTo>
                    <a:pt x="14" y="114"/>
                  </a:lnTo>
                  <a:lnTo>
                    <a:pt x="14" y="111"/>
                  </a:lnTo>
                  <a:lnTo>
                    <a:pt x="12" y="111"/>
                  </a:lnTo>
                  <a:lnTo>
                    <a:pt x="9" y="111"/>
                  </a:lnTo>
                  <a:lnTo>
                    <a:pt x="9" y="109"/>
                  </a:lnTo>
                  <a:lnTo>
                    <a:pt x="7" y="109"/>
                  </a:lnTo>
                  <a:lnTo>
                    <a:pt x="7" y="107"/>
                  </a:lnTo>
                  <a:lnTo>
                    <a:pt x="7" y="104"/>
                  </a:lnTo>
                  <a:lnTo>
                    <a:pt x="5" y="104"/>
                  </a:lnTo>
                  <a:lnTo>
                    <a:pt x="7" y="104"/>
                  </a:lnTo>
                  <a:lnTo>
                    <a:pt x="7" y="102"/>
                  </a:lnTo>
                  <a:lnTo>
                    <a:pt x="7" y="104"/>
                  </a:lnTo>
                  <a:lnTo>
                    <a:pt x="7" y="102"/>
                  </a:lnTo>
                  <a:lnTo>
                    <a:pt x="5" y="102"/>
                  </a:lnTo>
                  <a:lnTo>
                    <a:pt x="7" y="102"/>
                  </a:lnTo>
                  <a:lnTo>
                    <a:pt x="5" y="102"/>
                  </a:lnTo>
                  <a:lnTo>
                    <a:pt x="5" y="100"/>
                  </a:lnTo>
                  <a:lnTo>
                    <a:pt x="5" y="102"/>
                  </a:lnTo>
                  <a:lnTo>
                    <a:pt x="5" y="100"/>
                  </a:lnTo>
                  <a:lnTo>
                    <a:pt x="2" y="100"/>
                  </a:lnTo>
                  <a:lnTo>
                    <a:pt x="5" y="100"/>
                  </a:lnTo>
                  <a:lnTo>
                    <a:pt x="5" y="97"/>
                  </a:lnTo>
                  <a:lnTo>
                    <a:pt x="2" y="97"/>
                  </a:lnTo>
                  <a:lnTo>
                    <a:pt x="5" y="97"/>
                  </a:lnTo>
                  <a:lnTo>
                    <a:pt x="2" y="97"/>
                  </a:lnTo>
                  <a:lnTo>
                    <a:pt x="5" y="97"/>
                  </a:lnTo>
                  <a:lnTo>
                    <a:pt x="5" y="95"/>
                  </a:lnTo>
                  <a:lnTo>
                    <a:pt x="2" y="95"/>
                  </a:lnTo>
                  <a:lnTo>
                    <a:pt x="0" y="95"/>
                  </a:lnTo>
                  <a:lnTo>
                    <a:pt x="0" y="92"/>
                  </a:lnTo>
                  <a:lnTo>
                    <a:pt x="0" y="95"/>
                  </a:lnTo>
                  <a:lnTo>
                    <a:pt x="0" y="92"/>
                  </a:lnTo>
                  <a:lnTo>
                    <a:pt x="0" y="95"/>
                  </a:lnTo>
                  <a:lnTo>
                    <a:pt x="0" y="92"/>
                  </a:lnTo>
                  <a:lnTo>
                    <a:pt x="2" y="92"/>
                  </a:lnTo>
                  <a:lnTo>
                    <a:pt x="2" y="95"/>
                  </a:lnTo>
                  <a:lnTo>
                    <a:pt x="5" y="95"/>
                  </a:lnTo>
                  <a:lnTo>
                    <a:pt x="7" y="95"/>
                  </a:lnTo>
                  <a:lnTo>
                    <a:pt x="5" y="95"/>
                  </a:lnTo>
                  <a:lnTo>
                    <a:pt x="7" y="95"/>
                  </a:lnTo>
                  <a:lnTo>
                    <a:pt x="7" y="92"/>
                  </a:lnTo>
                  <a:lnTo>
                    <a:pt x="7" y="95"/>
                  </a:lnTo>
                  <a:lnTo>
                    <a:pt x="7" y="92"/>
                  </a:lnTo>
                  <a:lnTo>
                    <a:pt x="9" y="92"/>
                  </a:lnTo>
                  <a:lnTo>
                    <a:pt x="9" y="90"/>
                  </a:lnTo>
                  <a:lnTo>
                    <a:pt x="7" y="90"/>
                  </a:lnTo>
                  <a:lnTo>
                    <a:pt x="9" y="90"/>
                  </a:lnTo>
                  <a:lnTo>
                    <a:pt x="7" y="88"/>
                  </a:lnTo>
                  <a:lnTo>
                    <a:pt x="9" y="88"/>
                  </a:lnTo>
                  <a:lnTo>
                    <a:pt x="12" y="90"/>
                  </a:lnTo>
                  <a:lnTo>
                    <a:pt x="12" y="88"/>
                  </a:lnTo>
                  <a:lnTo>
                    <a:pt x="12" y="85"/>
                  </a:lnTo>
                  <a:lnTo>
                    <a:pt x="9" y="83"/>
                  </a:lnTo>
                  <a:lnTo>
                    <a:pt x="9" y="81"/>
                  </a:lnTo>
                  <a:lnTo>
                    <a:pt x="9" y="78"/>
                  </a:lnTo>
                  <a:lnTo>
                    <a:pt x="9" y="81"/>
                  </a:lnTo>
                  <a:lnTo>
                    <a:pt x="12" y="81"/>
                  </a:lnTo>
                  <a:lnTo>
                    <a:pt x="12" y="78"/>
                  </a:lnTo>
                  <a:lnTo>
                    <a:pt x="12" y="76"/>
                  </a:lnTo>
                  <a:lnTo>
                    <a:pt x="14" y="76"/>
                  </a:lnTo>
                  <a:lnTo>
                    <a:pt x="16" y="76"/>
                  </a:lnTo>
                  <a:lnTo>
                    <a:pt x="19" y="76"/>
                  </a:lnTo>
                  <a:lnTo>
                    <a:pt x="21" y="76"/>
                  </a:lnTo>
                  <a:lnTo>
                    <a:pt x="21" y="73"/>
                  </a:lnTo>
                  <a:lnTo>
                    <a:pt x="21" y="71"/>
                  </a:lnTo>
                  <a:lnTo>
                    <a:pt x="21" y="69"/>
                  </a:lnTo>
                  <a:lnTo>
                    <a:pt x="21" y="66"/>
                  </a:lnTo>
                  <a:lnTo>
                    <a:pt x="24" y="66"/>
                  </a:lnTo>
                  <a:lnTo>
                    <a:pt x="24" y="64"/>
                  </a:lnTo>
                  <a:lnTo>
                    <a:pt x="24" y="61"/>
                  </a:lnTo>
                  <a:lnTo>
                    <a:pt x="24" y="59"/>
                  </a:lnTo>
                  <a:lnTo>
                    <a:pt x="26" y="59"/>
                  </a:lnTo>
                  <a:lnTo>
                    <a:pt x="26" y="57"/>
                  </a:lnTo>
                  <a:lnTo>
                    <a:pt x="28" y="57"/>
                  </a:lnTo>
                  <a:lnTo>
                    <a:pt x="28" y="59"/>
                  </a:lnTo>
                  <a:lnTo>
                    <a:pt x="31" y="59"/>
                  </a:lnTo>
                  <a:lnTo>
                    <a:pt x="31" y="57"/>
                  </a:lnTo>
                  <a:lnTo>
                    <a:pt x="31" y="54"/>
                  </a:lnTo>
                  <a:lnTo>
                    <a:pt x="33" y="54"/>
                  </a:lnTo>
                  <a:lnTo>
                    <a:pt x="33" y="52"/>
                  </a:lnTo>
                  <a:lnTo>
                    <a:pt x="33" y="50"/>
                  </a:lnTo>
                  <a:lnTo>
                    <a:pt x="33" y="47"/>
                  </a:lnTo>
                  <a:lnTo>
                    <a:pt x="31" y="47"/>
                  </a:lnTo>
                  <a:lnTo>
                    <a:pt x="31" y="45"/>
                  </a:lnTo>
                  <a:lnTo>
                    <a:pt x="31" y="42"/>
                  </a:lnTo>
                  <a:lnTo>
                    <a:pt x="31" y="40"/>
                  </a:lnTo>
                  <a:lnTo>
                    <a:pt x="35" y="40"/>
                  </a:lnTo>
                  <a:lnTo>
                    <a:pt x="38" y="40"/>
                  </a:lnTo>
                  <a:lnTo>
                    <a:pt x="40" y="40"/>
                  </a:lnTo>
                  <a:lnTo>
                    <a:pt x="43" y="40"/>
                  </a:lnTo>
                  <a:lnTo>
                    <a:pt x="45" y="38"/>
                  </a:lnTo>
                  <a:lnTo>
                    <a:pt x="47" y="38"/>
                  </a:lnTo>
                  <a:lnTo>
                    <a:pt x="50" y="38"/>
                  </a:lnTo>
                  <a:lnTo>
                    <a:pt x="50" y="40"/>
                  </a:lnTo>
                  <a:lnTo>
                    <a:pt x="52" y="40"/>
                  </a:lnTo>
                  <a:lnTo>
                    <a:pt x="52" y="38"/>
                  </a:lnTo>
                  <a:lnTo>
                    <a:pt x="54" y="38"/>
                  </a:lnTo>
                  <a:lnTo>
                    <a:pt x="54" y="35"/>
                  </a:lnTo>
                  <a:lnTo>
                    <a:pt x="54" y="38"/>
                  </a:lnTo>
                  <a:lnTo>
                    <a:pt x="57" y="38"/>
                  </a:lnTo>
                  <a:lnTo>
                    <a:pt x="57" y="35"/>
                  </a:lnTo>
                  <a:lnTo>
                    <a:pt x="59" y="35"/>
                  </a:lnTo>
                  <a:lnTo>
                    <a:pt x="57" y="35"/>
                  </a:lnTo>
                  <a:lnTo>
                    <a:pt x="59" y="35"/>
                  </a:lnTo>
                  <a:lnTo>
                    <a:pt x="59" y="33"/>
                  </a:lnTo>
                  <a:lnTo>
                    <a:pt x="62" y="33"/>
                  </a:lnTo>
                  <a:lnTo>
                    <a:pt x="62" y="31"/>
                  </a:lnTo>
                  <a:lnTo>
                    <a:pt x="62" y="28"/>
                  </a:lnTo>
                  <a:lnTo>
                    <a:pt x="64" y="28"/>
                  </a:lnTo>
                  <a:lnTo>
                    <a:pt x="66" y="28"/>
                  </a:lnTo>
                  <a:lnTo>
                    <a:pt x="66" y="26"/>
                  </a:lnTo>
                  <a:lnTo>
                    <a:pt x="66" y="28"/>
                  </a:lnTo>
                  <a:lnTo>
                    <a:pt x="69" y="28"/>
                  </a:lnTo>
                  <a:lnTo>
                    <a:pt x="71" y="28"/>
                  </a:lnTo>
                  <a:lnTo>
                    <a:pt x="71" y="26"/>
                  </a:lnTo>
                  <a:lnTo>
                    <a:pt x="73" y="26"/>
                  </a:lnTo>
                  <a:lnTo>
                    <a:pt x="73" y="28"/>
                  </a:lnTo>
                  <a:lnTo>
                    <a:pt x="76" y="28"/>
                  </a:lnTo>
                  <a:lnTo>
                    <a:pt x="78" y="28"/>
                  </a:lnTo>
                  <a:lnTo>
                    <a:pt x="80" y="28"/>
                  </a:lnTo>
                  <a:lnTo>
                    <a:pt x="83" y="28"/>
                  </a:lnTo>
                  <a:lnTo>
                    <a:pt x="85" y="28"/>
                  </a:lnTo>
                  <a:lnTo>
                    <a:pt x="85" y="26"/>
                  </a:lnTo>
                  <a:lnTo>
                    <a:pt x="88" y="26"/>
                  </a:lnTo>
                  <a:lnTo>
                    <a:pt x="88" y="28"/>
                  </a:lnTo>
                  <a:lnTo>
                    <a:pt x="90" y="26"/>
                  </a:lnTo>
                  <a:lnTo>
                    <a:pt x="90" y="21"/>
                  </a:lnTo>
                  <a:lnTo>
                    <a:pt x="90" y="19"/>
                  </a:lnTo>
                  <a:lnTo>
                    <a:pt x="92" y="19"/>
                  </a:lnTo>
                  <a:lnTo>
                    <a:pt x="95" y="19"/>
                  </a:lnTo>
                  <a:lnTo>
                    <a:pt x="97" y="19"/>
                  </a:lnTo>
                  <a:lnTo>
                    <a:pt x="99" y="19"/>
                  </a:lnTo>
                  <a:lnTo>
                    <a:pt x="102" y="19"/>
                  </a:lnTo>
                  <a:lnTo>
                    <a:pt x="104" y="19"/>
                  </a:lnTo>
                  <a:lnTo>
                    <a:pt x="104" y="16"/>
                  </a:lnTo>
                  <a:lnTo>
                    <a:pt x="107" y="16"/>
                  </a:lnTo>
                  <a:lnTo>
                    <a:pt x="109" y="16"/>
                  </a:lnTo>
                  <a:lnTo>
                    <a:pt x="111" y="16"/>
                  </a:lnTo>
                  <a:lnTo>
                    <a:pt x="114" y="16"/>
                  </a:lnTo>
                  <a:lnTo>
                    <a:pt x="116" y="16"/>
                  </a:lnTo>
                  <a:lnTo>
                    <a:pt x="118" y="16"/>
                  </a:lnTo>
                  <a:lnTo>
                    <a:pt x="121" y="16"/>
                  </a:lnTo>
                  <a:lnTo>
                    <a:pt x="123" y="16"/>
                  </a:lnTo>
                  <a:lnTo>
                    <a:pt x="123" y="14"/>
                  </a:lnTo>
                  <a:lnTo>
                    <a:pt x="126" y="14"/>
                  </a:lnTo>
                  <a:lnTo>
                    <a:pt x="128" y="14"/>
                  </a:lnTo>
                  <a:lnTo>
                    <a:pt x="128" y="12"/>
                  </a:lnTo>
                  <a:lnTo>
                    <a:pt x="128" y="14"/>
                  </a:lnTo>
                  <a:lnTo>
                    <a:pt x="130" y="14"/>
                  </a:lnTo>
                  <a:lnTo>
                    <a:pt x="130" y="12"/>
                  </a:lnTo>
                  <a:lnTo>
                    <a:pt x="130" y="14"/>
                  </a:lnTo>
                  <a:lnTo>
                    <a:pt x="133" y="14"/>
                  </a:lnTo>
                  <a:lnTo>
                    <a:pt x="133" y="12"/>
                  </a:lnTo>
                  <a:lnTo>
                    <a:pt x="133" y="9"/>
                  </a:lnTo>
                  <a:lnTo>
                    <a:pt x="135" y="9"/>
                  </a:lnTo>
                  <a:lnTo>
                    <a:pt x="135" y="12"/>
                  </a:lnTo>
                  <a:lnTo>
                    <a:pt x="137" y="9"/>
                  </a:lnTo>
                  <a:lnTo>
                    <a:pt x="140" y="7"/>
                  </a:lnTo>
                  <a:lnTo>
                    <a:pt x="140" y="9"/>
                  </a:lnTo>
                  <a:lnTo>
                    <a:pt x="140" y="12"/>
                  </a:lnTo>
                  <a:lnTo>
                    <a:pt x="142" y="9"/>
                  </a:lnTo>
                  <a:lnTo>
                    <a:pt x="145" y="9"/>
                  </a:lnTo>
                  <a:lnTo>
                    <a:pt x="147" y="9"/>
                  </a:lnTo>
                  <a:lnTo>
                    <a:pt x="149" y="9"/>
                  </a:lnTo>
                  <a:lnTo>
                    <a:pt x="149" y="12"/>
                  </a:lnTo>
                  <a:lnTo>
                    <a:pt x="149" y="14"/>
                  </a:lnTo>
                  <a:lnTo>
                    <a:pt x="152" y="14"/>
                  </a:lnTo>
                  <a:lnTo>
                    <a:pt x="154" y="14"/>
                  </a:lnTo>
                  <a:lnTo>
                    <a:pt x="154" y="16"/>
                  </a:lnTo>
                  <a:lnTo>
                    <a:pt x="156" y="16"/>
                  </a:lnTo>
                  <a:lnTo>
                    <a:pt x="156" y="19"/>
                  </a:lnTo>
                  <a:lnTo>
                    <a:pt x="156" y="16"/>
                  </a:lnTo>
                  <a:lnTo>
                    <a:pt x="159" y="16"/>
                  </a:lnTo>
                  <a:lnTo>
                    <a:pt x="161" y="16"/>
                  </a:lnTo>
                  <a:lnTo>
                    <a:pt x="164" y="16"/>
                  </a:lnTo>
                  <a:lnTo>
                    <a:pt x="166" y="16"/>
                  </a:lnTo>
                  <a:lnTo>
                    <a:pt x="166" y="19"/>
                  </a:lnTo>
                  <a:lnTo>
                    <a:pt x="168" y="19"/>
                  </a:lnTo>
                  <a:lnTo>
                    <a:pt x="168" y="21"/>
                  </a:lnTo>
                  <a:lnTo>
                    <a:pt x="171" y="21"/>
                  </a:lnTo>
                  <a:lnTo>
                    <a:pt x="171" y="23"/>
                  </a:lnTo>
                  <a:lnTo>
                    <a:pt x="173" y="23"/>
                  </a:lnTo>
                  <a:lnTo>
                    <a:pt x="175" y="23"/>
                  </a:lnTo>
                  <a:lnTo>
                    <a:pt x="175" y="21"/>
                  </a:lnTo>
                  <a:lnTo>
                    <a:pt x="178" y="21"/>
                  </a:lnTo>
                  <a:lnTo>
                    <a:pt x="180" y="21"/>
                  </a:lnTo>
                  <a:lnTo>
                    <a:pt x="183" y="21"/>
                  </a:lnTo>
                  <a:lnTo>
                    <a:pt x="183" y="19"/>
                  </a:lnTo>
                  <a:lnTo>
                    <a:pt x="183" y="21"/>
                  </a:lnTo>
                  <a:lnTo>
                    <a:pt x="185" y="21"/>
                  </a:lnTo>
                  <a:lnTo>
                    <a:pt x="185" y="19"/>
                  </a:lnTo>
                  <a:lnTo>
                    <a:pt x="185" y="21"/>
                  </a:lnTo>
                  <a:lnTo>
                    <a:pt x="187" y="21"/>
                  </a:lnTo>
                  <a:lnTo>
                    <a:pt x="187" y="19"/>
                  </a:lnTo>
                  <a:lnTo>
                    <a:pt x="190" y="19"/>
                  </a:lnTo>
                  <a:lnTo>
                    <a:pt x="192" y="19"/>
                  </a:lnTo>
                  <a:lnTo>
                    <a:pt x="192" y="21"/>
                  </a:lnTo>
                  <a:lnTo>
                    <a:pt x="194" y="21"/>
                  </a:lnTo>
                  <a:lnTo>
                    <a:pt x="194" y="19"/>
                  </a:lnTo>
                  <a:lnTo>
                    <a:pt x="197" y="19"/>
                  </a:lnTo>
                  <a:lnTo>
                    <a:pt x="199" y="19"/>
                  </a:lnTo>
                  <a:lnTo>
                    <a:pt x="201" y="19"/>
                  </a:lnTo>
                  <a:lnTo>
                    <a:pt x="201" y="16"/>
                  </a:lnTo>
                  <a:lnTo>
                    <a:pt x="201" y="19"/>
                  </a:lnTo>
                  <a:lnTo>
                    <a:pt x="201" y="16"/>
                  </a:lnTo>
                  <a:lnTo>
                    <a:pt x="201" y="14"/>
                  </a:lnTo>
                  <a:lnTo>
                    <a:pt x="204" y="14"/>
                  </a:lnTo>
                  <a:lnTo>
                    <a:pt x="201" y="12"/>
                  </a:lnTo>
                  <a:lnTo>
                    <a:pt x="201" y="9"/>
                  </a:lnTo>
                  <a:lnTo>
                    <a:pt x="201" y="7"/>
                  </a:lnTo>
                  <a:lnTo>
                    <a:pt x="201" y="4"/>
                  </a:lnTo>
                  <a:lnTo>
                    <a:pt x="199" y="4"/>
                  </a:lnTo>
                  <a:lnTo>
                    <a:pt x="199" y="2"/>
                  </a:lnTo>
                  <a:lnTo>
                    <a:pt x="199" y="0"/>
                  </a:lnTo>
                  <a:lnTo>
                    <a:pt x="201" y="0"/>
                  </a:lnTo>
                  <a:lnTo>
                    <a:pt x="204" y="0"/>
                  </a:lnTo>
                  <a:lnTo>
                    <a:pt x="204" y="2"/>
                  </a:lnTo>
                  <a:lnTo>
                    <a:pt x="206" y="2"/>
                  </a:lnTo>
                  <a:lnTo>
                    <a:pt x="209" y="2"/>
                  </a:lnTo>
                  <a:lnTo>
                    <a:pt x="211" y="2"/>
                  </a:lnTo>
                  <a:lnTo>
                    <a:pt x="211" y="4"/>
                  </a:lnTo>
                  <a:lnTo>
                    <a:pt x="213" y="2"/>
                  </a:lnTo>
                  <a:lnTo>
                    <a:pt x="213" y="4"/>
                  </a:lnTo>
                  <a:lnTo>
                    <a:pt x="213" y="7"/>
                  </a:lnTo>
                  <a:lnTo>
                    <a:pt x="216" y="7"/>
                  </a:lnTo>
                  <a:lnTo>
                    <a:pt x="216" y="9"/>
                  </a:lnTo>
                  <a:lnTo>
                    <a:pt x="216" y="12"/>
                  </a:lnTo>
                  <a:lnTo>
                    <a:pt x="216" y="14"/>
                  </a:lnTo>
                  <a:lnTo>
                    <a:pt x="218" y="14"/>
                  </a:lnTo>
                  <a:lnTo>
                    <a:pt x="218" y="16"/>
                  </a:lnTo>
                  <a:lnTo>
                    <a:pt x="218" y="19"/>
                  </a:lnTo>
                  <a:lnTo>
                    <a:pt x="216" y="19"/>
                  </a:lnTo>
                  <a:lnTo>
                    <a:pt x="213" y="19"/>
                  </a:lnTo>
                  <a:lnTo>
                    <a:pt x="213" y="21"/>
                  </a:lnTo>
                  <a:lnTo>
                    <a:pt x="211" y="21"/>
                  </a:lnTo>
                  <a:lnTo>
                    <a:pt x="211" y="23"/>
                  </a:lnTo>
                  <a:lnTo>
                    <a:pt x="209" y="23"/>
                  </a:lnTo>
                  <a:lnTo>
                    <a:pt x="209" y="21"/>
                  </a:lnTo>
                  <a:lnTo>
                    <a:pt x="206" y="23"/>
                  </a:lnTo>
                  <a:lnTo>
                    <a:pt x="206" y="26"/>
                  </a:lnTo>
                  <a:lnTo>
                    <a:pt x="209" y="28"/>
                  </a:lnTo>
                  <a:lnTo>
                    <a:pt x="206" y="28"/>
                  </a:lnTo>
                  <a:lnTo>
                    <a:pt x="206" y="31"/>
                  </a:lnTo>
                  <a:lnTo>
                    <a:pt x="206" y="33"/>
                  </a:lnTo>
                  <a:lnTo>
                    <a:pt x="209" y="33"/>
                  </a:lnTo>
                  <a:lnTo>
                    <a:pt x="209" y="35"/>
                  </a:lnTo>
                  <a:lnTo>
                    <a:pt x="206" y="35"/>
                  </a:lnTo>
                  <a:lnTo>
                    <a:pt x="209" y="35"/>
                  </a:lnTo>
                  <a:lnTo>
                    <a:pt x="209" y="38"/>
                  </a:lnTo>
                  <a:lnTo>
                    <a:pt x="206" y="35"/>
                  </a:lnTo>
                  <a:lnTo>
                    <a:pt x="206" y="38"/>
                  </a:lnTo>
                  <a:lnTo>
                    <a:pt x="204" y="38"/>
                  </a:lnTo>
                  <a:lnTo>
                    <a:pt x="204" y="40"/>
                  </a:lnTo>
                  <a:lnTo>
                    <a:pt x="204" y="38"/>
                  </a:lnTo>
                  <a:lnTo>
                    <a:pt x="204" y="40"/>
                  </a:lnTo>
                  <a:lnTo>
                    <a:pt x="204" y="42"/>
                  </a:lnTo>
                  <a:lnTo>
                    <a:pt x="201" y="42"/>
                  </a:lnTo>
                  <a:lnTo>
                    <a:pt x="201" y="45"/>
                  </a:lnTo>
                  <a:lnTo>
                    <a:pt x="199" y="45"/>
                  </a:lnTo>
                  <a:lnTo>
                    <a:pt x="199" y="47"/>
                  </a:lnTo>
                  <a:lnTo>
                    <a:pt x="197" y="47"/>
                  </a:lnTo>
                  <a:lnTo>
                    <a:pt x="197" y="45"/>
                  </a:lnTo>
                  <a:lnTo>
                    <a:pt x="199" y="45"/>
                  </a:lnTo>
                  <a:lnTo>
                    <a:pt x="197" y="45"/>
                  </a:lnTo>
                  <a:lnTo>
                    <a:pt x="197" y="42"/>
                  </a:lnTo>
                  <a:lnTo>
                    <a:pt x="194" y="40"/>
                  </a:lnTo>
                  <a:lnTo>
                    <a:pt x="192" y="40"/>
                  </a:lnTo>
                  <a:lnTo>
                    <a:pt x="190" y="40"/>
                  </a:lnTo>
                  <a:lnTo>
                    <a:pt x="187" y="40"/>
                  </a:lnTo>
                  <a:lnTo>
                    <a:pt x="185" y="40"/>
                  </a:lnTo>
                  <a:lnTo>
                    <a:pt x="183" y="40"/>
                  </a:lnTo>
                  <a:lnTo>
                    <a:pt x="180" y="40"/>
                  </a:lnTo>
                  <a:lnTo>
                    <a:pt x="178" y="38"/>
                  </a:lnTo>
                  <a:lnTo>
                    <a:pt x="175" y="38"/>
                  </a:lnTo>
                  <a:lnTo>
                    <a:pt x="175" y="35"/>
                  </a:lnTo>
                  <a:lnTo>
                    <a:pt x="175" y="38"/>
                  </a:lnTo>
                  <a:lnTo>
                    <a:pt x="173" y="35"/>
                  </a:lnTo>
                  <a:lnTo>
                    <a:pt x="173" y="38"/>
                  </a:lnTo>
                  <a:lnTo>
                    <a:pt x="173" y="35"/>
                  </a:lnTo>
                  <a:lnTo>
                    <a:pt x="173" y="38"/>
                  </a:lnTo>
                  <a:lnTo>
                    <a:pt x="171" y="38"/>
                  </a:lnTo>
                  <a:lnTo>
                    <a:pt x="173" y="38"/>
                  </a:lnTo>
                  <a:lnTo>
                    <a:pt x="171" y="38"/>
                  </a:lnTo>
                  <a:lnTo>
                    <a:pt x="173" y="38"/>
                  </a:lnTo>
                  <a:lnTo>
                    <a:pt x="171" y="38"/>
                  </a:lnTo>
                  <a:lnTo>
                    <a:pt x="168" y="38"/>
                  </a:lnTo>
                  <a:lnTo>
                    <a:pt x="168" y="35"/>
                  </a:lnTo>
                  <a:lnTo>
                    <a:pt x="168" y="33"/>
                  </a:lnTo>
                  <a:lnTo>
                    <a:pt x="168" y="35"/>
                  </a:lnTo>
                  <a:lnTo>
                    <a:pt x="168" y="33"/>
                  </a:lnTo>
                  <a:lnTo>
                    <a:pt x="168" y="31"/>
                  </a:lnTo>
                  <a:lnTo>
                    <a:pt x="166" y="31"/>
                  </a:lnTo>
                  <a:lnTo>
                    <a:pt x="166" y="33"/>
                  </a:lnTo>
                  <a:lnTo>
                    <a:pt x="168" y="33"/>
                  </a:lnTo>
                  <a:lnTo>
                    <a:pt x="166" y="33"/>
                  </a:lnTo>
                  <a:lnTo>
                    <a:pt x="166" y="35"/>
                  </a:lnTo>
                  <a:lnTo>
                    <a:pt x="164" y="35"/>
                  </a:lnTo>
                  <a:lnTo>
                    <a:pt x="164" y="38"/>
                  </a:lnTo>
                  <a:lnTo>
                    <a:pt x="161" y="38"/>
                  </a:lnTo>
                  <a:lnTo>
                    <a:pt x="164" y="38"/>
                  </a:lnTo>
                  <a:lnTo>
                    <a:pt x="161" y="38"/>
                  </a:lnTo>
                  <a:lnTo>
                    <a:pt x="159" y="38"/>
                  </a:lnTo>
                  <a:lnTo>
                    <a:pt x="159" y="40"/>
                  </a:lnTo>
                  <a:lnTo>
                    <a:pt x="156" y="40"/>
                  </a:lnTo>
                  <a:lnTo>
                    <a:pt x="154" y="40"/>
                  </a:lnTo>
                  <a:lnTo>
                    <a:pt x="152" y="40"/>
                  </a:lnTo>
                  <a:lnTo>
                    <a:pt x="149" y="40"/>
                  </a:lnTo>
                  <a:lnTo>
                    <a:pt x="149" y="38"/>
                  </a:lnTo>
                  <a:lnTo>
                    <a:pt x="149" y="35"/>
                  </a:lnTo>
                  <a:lnTo>
                    <a:pt x="147" y="35"/>
                  </a:lnTo>
                  <a:lnTo>
                    <a:pt x="147" y="38"/>
                  </a:lnTo>
                  <a:lnTo>
                    <a:pt x="147" y="35"/>
                  </a:lnTo>
                  <a:lnTo>
                    <a:pt x="145" y="35"/>
                  </a:lnTo>
                  <a:lnTo>
                    <a:pt x="145" y="38"/>
                  </a:lnTo>
                  <a:lnTo>
                    <a:pt x="145" y="35"/>
                  </a:lnTo>
                  <a:lnTo>
                    <a:pt x="145" y="38"/>
                  </a:lnTo>
                  <a:lnTo>
                    <a:pt x="142" y="38"/>
                  </a:lnTo>
                  <a:lnTo>
                    <a:pt x="145" y="38"/>
                  </a:lnTo>
                  <a:lnTo>
                    <a:pt x="142" y="38"/>
                  </a:lnTo>
                  <a:lnTo>
                    <a:pt x="142" y="40"/>
                  </a:lnTo>
                  <a:lnTo>
                    <a:pt x="140" y="40"/>
                  </a:lnTo>
                  <a:lnTo>
                    <a:pt x="142" y="40"/>
                  </a:lnTo>
                  <a:lnTo>
                    <a:pt x="140" y="40"/>
                  </a:lnTo>
                  <a:lnTo>
                    <a:pt x="140" y="42"/>
                  </a:lnTo>
                  <a:lnTo>
                    <a:pt x="142" y="42"/>
                  </a:lnTo>
                  <a:lnTo>
                    <a:pt x="140" y="42"/>
                  </a:lnTo>
                  <a:lnTo>
                    <a:pt x="137" y="42"/>
                  </a:lnTo>
                  <a:lnTo>
                    <a:pt x="137" y="45"/>
                  </a:lnTo>
                  <a:lnTo>
                    <a:pt x="135" y="45"/>
                  </a:lnTo>
                  <a:lnTo>
                    <a:pt x="135" y="47"/>
                  </a:lnTo>
                  <a:lnTo>
                    <a:pt x="133" y="47"/>
                  </a:lnTo>
                  <a:lnTo>
                    <a:pt x="130" y="47"/>
                  </a:lnTo>
                  <a:lnTo>
                    <a:pt x="130" y="45"/>
                  </a:lnTo>
                  <a:lnTo>
                    <a:pt x="128" y="45"/>
                  </a:lnTo>
                  <a:lnTo>
                    <a:pt x="126" y="45"/>
                  </a:lnTo>
                  <a:lnTo>
                    <a:pt x="126" y="42"/>
                  </a:lnTo>
                  <a:lnTo>
                    <a:pt x="126" y="45"/>
                  </a:lnTo>
                  <a:lnTo>
                    <a:pt x="123" y="45"/>
                  </a:lnTo>
                  <a:lnTo>
                    <a:pt x="121" y="45"/>
                  </a:lnTo>
                  <a:lnTo>
                    <a:pt x="121" y="47"/>
                  </a:lnTo>
                  <a:lnTo>
                    <a:pt x="121" y="50"/>
                  </a:lnTo>
                  <a:lnTo>
                    <a:pt x="123" y="50"/>
                  </a:lnTo>
                  <a:lnTo>
                    <a:pt x="123" y="52"/>
                  </a:lnTo>
                  <a:lnTo>
                    <a:pt x="126" y="52"/>
                  </a:lnTo>
                  <a:lnTo>
                    <a:pt x="126" y="54"/>
                  </a:lnTo>
                  <a:lnTo>
                    <a:pt x="128" y="54"/>
                  </a:lnTo>
                  <a:lnTo>
                    <a:pt x="128" y="57"/>
                  </a:lnTo>
                  <a:lnTo>
                    <a:pt x="128" y="54"/>
                  </a:lnTo>
                  <a:lnTo>
                    <a:pt x="128" y="57"/>
                  </a:lnTo>
                  <a:lnTo>
                    <a:pt x="126" y="57"/>
                  </a:lnTo>
                  <a:lnTo>
                    <a:pt x="126" y="59"/>
                  </a:lnTo>
                  <a:lnTo>
                    <a:pt x="126" y="61"/>
                  </a:lnTo>
                  <a:lnTo>
                    <a:pt x="128" y="61"/>
                  </a:lnTo>
                  <a:lnTo>
                    <a:pt x="130" y="61"/>
                  </a:lnTo>
                  <a:lnTo>
                    <a:pt x="130" y="59"/>
                  </a:lnTo>
                  <a:lnTo>
                    <a:pt x="130" y="61"/>
                  </a:lnTo>
                  <a:lnTo>
                    <a:pt x="133" y="61"/>
                  </a:lnTo>
                  <a:lnTo>
                    <a:pt x="133" y="64"/>
                  </a:lnTo>
                  <a:lnTo>
                    <a:pt x="133" y="61"/>
                  </a:lnTo>
                  <a:lnTo>
                    <a:pt x="133" y="64"/>
                  </a:lnTo>
                  <a:lnTo>
                    <a:pt x="133" y="61"/>
                  </a:lnTo>
                  <a:lnTo>
                    <a:pt x="133" y="64"/>
                  </a:lnTo>
                  <a:lnTo>
                    <a:pt x="135" y="64"/>
                  </a:lnTo>
                  <a:lnTo>
                    <a:pt x="137" y="64"/>
                  </a:lnTo>
                  <a:lnTo>
                    <a:pt x="137" y="66"/>
                  </a:lnTo>
                  <a:lnTo>
                    <a:pt x="140" y="66"/>
                  </a:lnTo>
                  <a:lnTo>
                    <a:pt x="140" y="69"/>
                  </a:lnTo>
                  <a:lnTo>
                    <a:pt x="142" y="69"/>
                  </a:lnTo>
                  <a:lnTo>
                    <a:pt x="142" y="71"/>
                  </a:lnTo>
                  <a:lnTo>
                    <a:pt x="145" y="71"/>
                  </a:lnTo>
                  <a:lnTo>
                    <a:pt x="145" y="73"/>
                  </a:lnTo>
                  <a:lnTo>
                    <a:pt x="142" y="73"/>
                  </a:lnTo>
                  <a:lnTo>
                    <a:pt x="140" y="73"/>
                  </a:lnTo>
                  <a:lnTo>
                    <a:pt x="140" y="71"/>
                  </a:lnTo>
                  <a:lnTo>
                    <a:pt x="137" y="71"/>
                  </a:lnTo>
                  <a:lnTo>
                    <a:pt x="137" y="69"/>
                  </a:lnTo>
                  <a:lnTo>
                    <a:pt x="135" y="69"/>
                  </a:lnTo>
                  <a:lnTo>
                    <a:pt x="135" y="66"/>
                  </a:lnTo>
                  <a:lnTo>
                    <a:pt x="133" y="66"/>
                  </a:lnTo>
                  <a:lnTo>
                    <a:pt x="130" y="66"/>
                  </a:lnTo>
                  <a:lnTo>
                    <a:pt x="130" y="64"/>
                  </a:lnTo>
                  <a:lnTo>
                    <a:pt x="128" y="64"/>
                  </a:lnTo>
                  <a:lnTo>
                    <a:pt x="126" y="64"/>
                  </a:lnTo>
                  <a:lnTo>
                    <a:pt x="126" y="61"/>
                  </a:lnTo>
                  <a:lnTo>
                    <a:pt x="126" y="64"/>
                  </a:lnTo>
                  <a:lnTo>
                    <a:pt x="123" y="64"/>
                  </a:lnTo>
                  <a:lnTo>
                    <a:pt x="121" y="64"/>
                  </a:lnTo>
                  <a:lnTo>
                    <a:pt x="121" y="66"/>
                  </a:lnTo>
                  <a:lnTo>
                    <a:pt x="121" y="69"/>
                  </a:lnTo>
                  <a:lnTo>
                    <a:pt x="123" y="69"/>
                  </a:lnTo>
                  <a:lnTo>
                    <a:pt x="121" y="69"/>
                  </a:lnTo>
                  <a:lnTo>
                    <a:pt x="123" y="69"/>
                  </a:lnTo>
                  <a:lnTo>
                    <a:pt x="123" y="71"/>
                  </a:lnTo>
                  <a:lnTo>
                    <a:pt x="126" y="71"/>
                  </a:lnTo>
                  <a:lnTo>
                    <a:pt x="128" y="71"/>
                  </a:lnTo>
                  <a:lnTo>
                    <a:pt x="128" y="73"/>
                  </a:lnTo>
                  <a:lnTo>
                    <a:pt x="130" y="73"/>
                  </a:lnTo>
                  <a:lnTo>
                    <a:pt x="130" y="76"/>
                  </a:lnTo>
                  <a:lnTo>
                    <a:pt x="130" y="73"/>
                  </a:lnTo>
                  <a:lnTo>
                    <a:pt x="130" y="76"/>
                  </a:lnTo>
                  <a:lnTo>
                    <a:pt x="130" y="78"/>
                  </a:lnTo>
                  <a:lnTo>
                    <a:pt x="130" y="76"/>
                  </a:lnTo>
                  <a:lnTo>
                    <a:pt x="130" y="78"/>
                  </a:lnTo>
                  <a:lnTo>
                    <a:pt x="130" y="81"/>
                  </a:lnTo>
                  <a:lnTo>
                    <a:pt x="130" y="78"/>
                  </a:lnTo>
                  <a:lnTo>
                    <a:pt x="130" y="81"/>
                  </a:lnTo>
                  <a:lnTo>
                    <a:pt x="130" y="83"/>
                  </a:lnTo>
                  <a:lnTo>
                    <a:pt x="130" y="81"/>
                  </a:lnTo>
                  <a:lnTo>
                    <a:pt x="128" y="81"/>
                  </a:lnTo>
                  <a:lnTo>
                    <a:pt x="128" y="83"/>
                  </a:lnTo>
                  <a:lnTo>
                    <a:pt x="128" y="81"/>
                  </a:lnTo>
                  <a:lnTo>
                    <a:pt x="126" y="81"/>
                  </a:lnTo>
                  <a:lnTo>
                    <a:pt x="126" y="78"/>
                  </a:lnTo>
                  <a:lnTo>
                    <a:pt x="123" y="78"/>
                  </a:lnTo>
                  <a:lnTo>
                    <a:pt x="123" y="76"/>
                  </a:lnTo>
                  <a:lnTo>
                    <a:pt x="123" y="73"/>
                  </a:lnTo>
                  <a:lnTo>
                    <a:pt x="121" y="73"/>
                  </a:lnTo>
                  <a:lnTo>
                    <a:pt x="121" y="71"/>
                  </a:lnTo>
                  <a:lnTo>
                    <a:pt x="118" y="69"/>
                  </a:lnTo>
                  <a:lnTo>
                    <a:pt x="116" y="69"/>
                  </a:lnTo>
                  <a:lnTo>
                    <a:pt x="114" y="69"/>
                  </a:lnTo>
                  <a:lnTo>
                    <a:pt x="114" y="66"/>
                  </a:lnTo>
                  <a:lnTo>
                    <a:pt x="111" y="66"/>
                  </a:lnTo>
                  <a:lnTo>
                    <a:pt x="109" y="66"/>
                  </a:lnTo>
                  <a:lnTo>
                    <a:pt x="109" y="69"/>
                  </a:lnTo>
                  <a:lnTo>
                    <a:pt x="109" y="71"/>
                  </a:lnTo>
                  <a:lnTo>
                    <a:pt x="109" y="73"/>
                  </a:lnTo>
                  <a:lnTo>
                    <a:pt x="111" y="73"/>
                  </a:lnTo>
                  <a:lnTo>
                    <a:pt x="111" y="76"/>
                  </a:lnTo>
                  <a:lnTo>
                    <a:pt x="114" y="76"/>
                  </a:lnTo>
                  <a:lnTo>
                    <a:pt x="114" y="78"/>
                  </a:lnTo>
                  <a:lnTo>
                    <a:pt x="116" y="78"/>
                  </a:lnTo>
                  <a:lnTo>
                    <a:pt x="116" y="81"/>
                  </a:lnTo>
                  <a:lnTo>
                    <a:pt x="118" y="81"/>
                  </a:lnTo>
                  <a:lnTo>
                    <a:pt x="121" y="81"/>
                  </a:lnTo>
                  <a:lnTo>
                    <a:pt x="121" y="83"/>
                  </a:lnTo>
                  <a:lnTo>
                    <a:pt x="123" y="83"/>
                  </a:lnTo>
                  <a:lnTo>
                    <a:pt x="121" y="83"/>
                  </a:lnTo>
                  <a:lnTo>
                    <a:pt x="123" y="83"/>
                  </a:lnTo>
                  <a:lnTo>
                    <a:pt x="121" y="83"/>
                  </a:lnTo>
                  <a:lnTo>
                    <a:pt x="118" y="83"/>
                  </a:lnTo>
                  <a:lnTo>
                    <a:pt x="116" y="83"/>
                  </a:lnTo>
                  <a:lnTo>
                    <a:pt x="114" y="81"/>
                  </a:lnTo>
                  <a:lnTo>
                    <a:pt x="111" y="81"/>
                  </a:lnTo>
                  <a:lnTo>
                    <a:pt x="109" y="81"/>
                  </a:lnTo>
                  <a:lnTo>
                    <a:pt x="109" y="78"/>
                  </a:lnTo>
                  <a:lnTo>
                    <a:pt x="109" y="76"/>
                  </a:lnTo>
                  <a:lnTo>
                    <a:pt x="107" y="76"/>
                  </a:lnTo>
                  <a:lnTo>
                    <a:pt x="107" y="73"/>
                  </a:lnTo>
                  <a:lnTo>
                    <a:pt x="109" y="73"/>
                  </a:lnTo>
                  <a:lnTo>
                    <a:pt x="109" y="71"/>
                  </a:lnTo>
                  <a:lnTo>
                    <a:pt x="109" y="69"/>
                  </a:lnTo>
                  <a:lnTo>
                    <a:pt x="107" y="69"/>
                  </a:lnTo>
                  <a:lnTo>
                    <a:pt x="104" y="69"/>
                  </a:lnTo>
                  <a:lnTo>
                    <a:pt x="104" y="66"/>
                  </a:lnTo>
                  <a:lnTo>
                    <a:pt x="102" y="66"/>
                  </a:lnTo>
                  <a:lnTo>
                    <a:pt x="99" y="66"/>
                  </a:lnTo>
                  <a:lnTo>
                    <a:pt x="99" y="64"/>
                  </a:lnTo>
                  <a:lnTo>
                    <a:pt x="97" y="64"/>
                  </a:lnTo>
                  <a:lnTo>
                    <a:pt x="97" y="61"/>
                  </a:lnTo>
                  <a:lnTo>
                    <a:pt x="95" y="61"/>
                  </a:lnTo>
                  <a:lnTo>
                    <a:pt x="95" y="59"/>
                  </a:lnTo>
                  <a:lnTo>
                    <a:pt x="92" y="59"/>
                  </a:lnTo>
                  <a:lnTo>
                    <a:pt x="92" y="57"/>
                  </a:lnTo>
                  <a:lnTo>
                    <a:pt x="95" y="57"/>
                  </a:lnTo>
                  <a:lnTo>
                    <a:pt x="97" y="54"/>
                  </a:lnTo>
                  <a:lnTo>
                    <a:pt x="95" y="54"/>
                  </a:lnTo>
                  <a:lnTo>
                    <a:pt x="95" y="52"/>
                  </a:lnTo>
                  <a:lnTo>
                    <a:pt x="95" y="50"/>
                  </a:lnTo>
                  <a:lnTo>
                    <a:pt x="92" y="50"/>
                  </a:lnTo>
                  <a:lnTo>
                    <a:pt x="92" y="52"/>
                  </a:lnTo>
                  <a:lnTo>
                    <a:pt x="92" y="50"/>
                  </a:lnTo>
                  <a:lnTo>
                    <a:pt x="92" y="52"/>
                  </a:lnTo>
                  <a:lnTo>
                    <a:pt x="90" y="54"/>
                  </a:lnTo>
                  <a:lnTo>
                    <a:pt x="92" y="54"/>
                  </a:lnTo>
                  <a:lnTo>
                    <a:pt x="90" y="54"/>
                  </a:lnTo>
                  <a:lnTo>
                    <a:pt x="88" y="54"/>
                  </a:lnTo>
                  <a:lnTo>
                    <a:pt x="90" y="54"/>
                  </a:lnTo>
                  <a:lnTo>
                    <a:pt x="88" y="54"/>
                  </a:lnTo>
                  <a:lnTo>
                    <a:pt x="90" y="54"/>
                  </a:lnTo>
                  <a:lnTo>
                    <a:pt x="90" y="57"/>
                  </a:lnTo>
                  <a:lnTo>
                    <a:pt x="88" y="57"/>
                  </a:lnTo>
                  <a:lnTo>
                    <a:pt x="90" y="57"/>
                  </a:lnTo>
                  <a:lnTo>
                    <a:pt x="88" y="57"/>
                  </a:lnTo>
                  <a:lnTo>
                    <a:pt x="88" y="54"/>
                  </a:lnTo>
                  <a:lnTo>
                    <a:pt x="85" y="54"/>
                  </a:lnTo>
                  <a:lnTo>
                    <a:pt x="85" y="57"/>
                  </a:lnTo>
                  <a:lnTo>
                    <a:pt x="88" y="57"/>
                  </a:lnTo>
                  <a:lnTo>
                    <a:pt x="85" y="57"/>
                  </a:lnTo>
                  <a:lnTo>
                    <a:pt x="85" y="59"/>
                  </a:lnTo>
                  <a:lnTo>
                    <a:pt x="85" y="57"/>
                  </a:lnTo>
                  <a:lnTo>
                    <a:pt x="85" y="59"/>
                  </a:lnTo>
                  <a:lnTo>
                    <a:pt x="85" y="57"/>
                  </a:lnTo>
                  <a:lnTo>
                    <a:pt x="83" y="57"/>
                  </a:lnTo>
                  <a:lnTo>
                    <a:pt x="83" y="59"/>
                  </a:lnTo>
                  <a:lnTo>
                    <a:pt x="85" y="59"/>
                  </a:lnTo>
                  <a:lnTo>
                    <a:pt x="85" y="61"/>
                  </a:lnTo>
                  <a:lnTo>
                    <a:pt x="85" y="64"/>
                  </a:lnTo>
                  <a:lnTo>
                    <a:pt x="85" y="66"/>
                  </a:lnTo>
                  <a:lnTo>
                    <a:pt x="85" y="69"/>
                  </a:lnTo>
                  <a:lnTo>
                    <a:pt x="83" y="69"/>
                  </a:lnTo>
                  <a:lnTo>
                    <a:pt x="83" y="71"/>
                  </a:lnTo>
                  <a:lnTo>
                    <a:pt x="83" y="73"/>
                  </a:lnTo>
                  <a:lnTo>
                    <a:pt x="83" y="76"/>
                  </a:lnTo>
                  <a:lnTo>
                    <a:pt x="83" y="78"/>
                  </a:lnTo>
                  <a:lnTo>
                    <a:pt x="85" y="78"/>
                  </a:lnTo>
                  <a:lnTo>
                    <a:pt x="85" y="81"/>
                  </a:lnTo>
                  <a:lnTo>
                    <a:pt x="88" y="81"/>
                  </a:lnTo>
                  <a:lnTo>
                    <a:pt x="88" y="83"/>
                  </a:lnTo>
                  <a:lnTo>
                    <a:pt x="88" y="85"/>
                  </a:lnTo>
                  <a:lnTo>
                    <a:pt x="90" y="85"/>
                  </a:lnTo>
                  <a:lnTo>
                    <a:pt x="90" y="88"/>
                  </a:lnTo>
                  <a:lnTo>
                    <a:pt x="92" y="88"/>
                  </a:lnTo>
                  <a:lnTo>
                    <a:pt x="92" y="90"/>
                  </a:lnTo>
                  <a:lnTo>
                    <a:pt x="92" y="92"/>
                  </a:lnTo>
                  <a:lnTo>
                    <a:pt x="95" y="92"/>
                  </a:lnTo>
                  <a:lnTo>
                    <a:pt x="95" y="95"/>
                  </a:lnTo>
                  <a:lnTo>
                    <a:pt x="95" y="97"/>
                  </a:lnTo>
                  <a:lnTo>
                    <a:pt x="95" y="100"/>
                  </a:lnTo>
                  <a:lnTo>
                    <a:pt x="97" y="100"/>
                  </a:lnTo>
                  <a:lnTo>
                    <a:pt x="99" y="100"/>
                  </a:lnTo>
                  <a:lnTo>
                    <a:pt x="99" y="102"/>
                  </a:lnTo>
                  <a:lnTo>
                    <a:pt x="102" y="102"/>
                  </a:lnTo>
                  <a:lnTo>
                    <a:pt x="102" y="104"/>
                  </a:lnTo>
                  <a:lnTo>
                    <a:pt x="102" y="107"/>
                  </a:lnTo>
                  <a:lnTo>
                    <a:pt x="104" y="107"/>
                  </a:lnTo>
                  <a:lnTo>
                    <a:pt x="104" y="109"/>
                  </a:lnTo>
                  <a:lnTo>
                    <a:pt x="104" y="107"/>
                  </a:lnTo>
                  <a:lnTo>
                    <a:pt x="104" y="109"/>
                  </a:lnTo>
                  <a:lnTo>
                    <a:pt x="107" y="109"/>
                  </a:lnTo>
                  <a:lnTo>
                    <a:pt x="107" y="111"/>
                  </a:lnTo>
                  <a:lnTo>
                    <a:pt x="107" y="114"/>
                  </a:lnTo>
                  <a:lnTo>
                    <a:pt x="109" y="114"/>
                  </a:lnTo>
                  <a:lnTo>
                    <a:pt x="109" y="116"/>
                  </a:lnTo>
                  <a:lnTo>
                    <a:pt x="109" y="119"/>
                  </a:lnTo>
                  <a:lnTo>
                    <a:pt x="107" y="119"/>
                  </a:lnTo>
                  <a:lnTo>
                    <a:pt x="104" y="119"/>
                  </a:lnTo>
                  <a:lnTo>
                    <a:pt x="104" y="121"/>
                  </a:lnTo>
                  <a:lnTo>
                    <a:pt x="104" y="119"/>
                  </a:lnTo>
                  <a:lnTo>
                    <a:pt x="102" y="121"/>
                  </a:lnTo>
                  <a:lnTo>
                    <a:pt x="99" y="121"/>
                  </a:lnTo>
                  <a:lnTo>
                    <a:pt x="99" y="119"/>
                  </a:lnTo>
                  <a:lnTo>
                    <a:pt x="102" y="119"/>
                  </a:lnTo>
                  <a:lnTo>
                    <a:pt x="102" y="116"/>
                  </a:lnTo>
                  <a:lnTo>
                    <a:pt x="102" y="119"/>
                  </a:lnTo>
                  <a:lnTo>
                    <a:pt x="99" y="119"/>
                  </a:lnTo>
                  <a:lnTo>
                    <a:pt x="99" y="121"/>
                  </a:lnTo>
                  <a:lnTo>
                    <a:pt x="102" y="121"/>
                  </a:lnTo>
                  <a:lnTo>
                    <a:pt x="102" y="119"/>
                  </a:lnTo>
                  <a:lnTo>
                    <a:pt x="104" y="119"/>
                  </a:lnTo>
                  <a:lnTo>
                    <a:pt x="104" y="116"/>
                  </a:lnTo>
                  <a:lnTo>
                    <a:pt x="104" y="119"/>
                  </a:lnTo>
                  <a:lnTo>
                    <a:pt x="104" y="116"/>
                  </a:lnTo>
                  <a:lnTo>
                    <a:pt x="104" y="119"/>
                  </a:lnTo>
                  <a:lnTo>
                    <a:pt x="104" y="116"/>
                  </a:lnTo>
                  <a:lnTo>
                    <a:pt x="104" y="114"/>
                  </a:lnTo>
                  <a:lnTo>
                    <a:pt x="104" y="111"/>
                  </a:lnTo>
                  <a:lnTo>
                    <a:pt x="102" y="111"/>
                  </a:lnTo>
                  <a:lnTo>
                    <a:pt x="99" y="111"/>
                  </a:lnTo>
                  <a:lnTo>
                    <a:pt x="99" y="109"/>
                  </a:lnTo>
                  <a:lnTo>
                    <a:pt x="99" y="111"/>
                  </a:lnTo>
                  <a:lnTo>
                    <a:pt x="99" y="109"/>
                  </a:lnTo>
                  <a:lnTo>
                    <a:pt x="97" y="109"/>
                  </a:lnTo>
                  <a:lnTo>
                    <a:pt x="95" y="109"/>
                  </a:lnTo>
                  <a:lnTo>
                    <a:pt x="95" y="111"/>
                  </a:lnTo>
                  <a:lnTo>
                    <a:pt x="92" y="111"/>
                  </a:lnTo>
                  <a:lnTo>
                    <a:pt x="92" y="114"/>
                  </a:lnTo>
                  <a:lnTo>
                    <a:pt x="92" y="116"/>
                  </a:lnTo>
                  <a:lnTo>
                    <a:pt x="92" y="119"/>
                  </a:lnTo>
                  <a:lnTo>
                    <a:pt x="92" y="116"/>
                  </a:lnTo>
                  <a:lnTo>
                    <a:pt x="95" y="116"/>
                  </a:lnTo>
                  <a:lnTo>
                    <a:pt x="95" y="119"/>
                  </a:lnTo>
                  <a:lnTo>
                    <a:pt x="97" y="119"/>
                  </a:lnTo>
                  <a:lnTo>
                    <a:pt x="97" y="121"/>
                  </a:lnTo>
                  <a:lnTo>
                    <a:pt x="97" y="123"/>
                  </a:lnTo>
                  <a:lnTo>
                    <a:pt x="99" y="123"/>
                  </a:lnTo>
                  <a:lnTo>
                    <a:pt x="97" y="123"/>
                  </a:lnTo>
                  <a:lnTo>
                    <a:pt x="97" y="126"/>
                  </a:lnTo>
                  <a:lnTo>
                    <a:pt x="95" y="128"/>
                  </a:lnTo>
                  <a:lnTo>
                    <a:pt x="95" y="126"/>
                  </a:lnTo>
                  <a:lnTo>
                    <a:pt x="95" y="128"/>
                  </a:lnTo>
                  <a:lnTo>
                    <a:pt x="92" y="128"/>
                  </a:lnTo>
                  <a:lnTo>
                    <a:pt x="92" y="130"/>
                  </a:lnTo>
                  <a:lnTo>
                    <a:pt x="90" y="130"/>
                  </a:lnTo>
                  <a:lnTo>
                    <a:pt x="88" y="130"/>
                  </a:lnTo>
                  <a:lnTo>
                    <a:pt x="85" y="130"/>
                  </a:lnTo>
                  <a:lnTo>
                    <a:pt x="85" y="128"/>
                  </a:lnTo>
                  <a:lnTo>
                    <a:pt x="83" y="128"/>
                  </a:lnTo>
                  <a:lnTo>
                    <a:pt x="83" y="130"/>
                  </a:lnTo>
                  <a:lnTo>
                    <a:pt x="83" y="133"/>
                  </a:lnTo>
                  <a:lnTo>
                    <a:pt x="83" y="130"/>
                  </a:lnTo>
                  <a:lnTo>
                    <a:pt x="83" y="133"/>
                  </a:lnTo>
                  <a:lnTo>
                    <a:pt x="83" y="130"/>
                  </a:lnTo>
                  <a:lnTo>
                    <a:pt x="83" y="133"/>
                  </a:lnTo>
                  <a:lnTo>
                    <a:pt x="85" y="130"/>
                  </a:lnTo>
                  <a:lnTo>
                    <a:pt x="83" y="130"/>
                  </a:lnTo>
                  <a:lnTo>
                    <a:pt x="85" y="130"/>
                  </a:lnTo>
                  <a:lnTo>
                    <a:pt x="85" y="133"/>
                  </a:lnTo>
                  <a:lnTo>
                    <a:pt x="85" y="130"/>
                  </a:lnTo>
                  <a:lnTo>
                    <a:pt x="85" y="133"/>
                  </a:lnTo>
                  <a:lnTo>
                    <a:pt x="88" y="130"/>
                  </a:lnTo>
                  <a:lnTo>
                    <a:pt x="88" y="133"/>
                  </a:lnTo>
                  <a:lnTo>
                    <a:pt x="90" y="133"/>
                  </a:lnTo>
                  <a:lnTo>
                    <a:pt x="90" y="135"/>
                  </a:lnTo>
                  <a:lnTo>
                    <a:pt x="90" y="133"/>
                  </a:lnTo>
                  <a:lnTo>
                    <a:pt x="90" y="135"/>
                  </a:lnTo>
                  <a:lnTo>
                    <a:pt x="92" y="133"/>
                  </a:lnTo>
                  <a:lnTo>
                    <a:pt x="92" y="135"/>
                  </a:lnTo>
                  <a:lnTo>
                    <a:pt x="95" y="135"/>
                  </a:lnTo>
                  <a:lnTo>
                    <a:pt x="97" y="135"/>
                  </a:lnTo>
                  <a:lnTo>
                    <a:pt x="99" y="135"/>
                  </a:lnTo>
                  <a:lnTo>
                    <a:pt x="99" y="138"/>
                  </a:lnTo>
                  <a:lnTo>
                    <a:pt x="99" y="140"/>
                  </a:lnTo>
                  <a:lnTo>
                    <a:pt x="102" y="140"/>
                  </a:lnTo>
                  <a:lnTo>
                    <a:pt x="104" y="140"/>
                  </a:lnTo>
                  <a:lnTo>
                    <a:pt x="102" y="140"/>
                  </a:lnTo>
                  <a:lnTo>
                    <a:pt x="104" y="138"/>
                  </a:lnTo>
                  <a:lnTo>
                    <a:pt x="104" y="140"/>
                  </a:lnTo>
                  <a:lnTo>
                    <a:pt x="107" y="140"/>
                  </a:lnTo>
                  <a:lnTo>
                    <a:pt x="109" y="140"/>
                  </a:lnTo>
                  <a:lnTo>
                    <a:pt x="109" y="142"/>
                  </a:lnTo>
                  <a:lnTo>
                    <a:pt x="107" y="142"/>
                  </a:lnTo>
                  <a:lnTo>
                    <a:pt x="107" y="145"/>
                  </a:lnTo>
                  <a:lnTo>
                    <a:pt x="109" y="145"/>
                  </a:lnTo>
                  <a:lnTo>
                    <a:pt x="109" y="147"/>
                  </a:lnTo>
                  <a:lnTo>
                    <a:pt x="109" y="145"/>
                  </a:lnTo>
                  <a:lnTo>
                    <a:pt x="109" y="147"/>
                  </a:lnTo>
                  <a:lnTo>
                    <a:pt x="111" y="147"/>
                  </a:lnTo>
                  <a:lnTo>
                    <a:pt x="114" y="147"/>
                  </a:lnTo>
                  <a:lnTo>
                    <a:pt x="116" y="147"/>
                  </a:lnTo>
                  <a:lnTo>
                    <a:pt x="116" y="149"/>
                  </a:lnTo>
                  <a:lnTo>
                    <a:pt x="118" y="149"/>
                  </a:lnTo>
                  <a:lnTo>
                    <a:pt x="116" y="149"/>
                  </a:lnTo>
                  <a:lnTo>
                    <a:pt x="118" y="149"/>
                  </a:lnTo>
                  <a:lnTo>
                    <a:pt x="118" y="152"/>
                  </a:lnTo>
                  <a:lnTo>
                    <a:pt x="118" y="154"/>
                  </a:lnTo>
                  <a:lnTo>
                    <a:pt x="121" y="154"/>
                  </a:lnTo>
                  <a:lnTo>
                    <a:pt x="123" y="154"/>
                  </a:lnTo>
                  <a:lnTo>
                    <a:pt x="126" y="154"/>
                  </a:lnTo>
                  <a:lnTo>
                    <a:pt x="126" y="157"/>
                  </a:lnTo>
                  <a:lnTo>
                    <a:pt x="128" y="157"/>
                  </a:lnTo>
                  <a:lnTo>
                    <a:pt x="130" y="157"/>
                  </a:lnTo>
                  <a:lnTo>
                    <a:pt x="130" y="159"/>
                  </a:lnTo>
                  <a:lnTo>
                    <a:pt x="133" y="159"/>
                  </a:lnTo>
                  <a:lnTo>
                    <a:pt x="133" y="161"/>
                  </a:lnTo>
                  <a:lnTo>
                    <a:pt x="133" y="164"/>
                  </a:lnTo>
                  <a:lnTo>
                    <a:pt x="130" y="164"/>
                  </a:lnTo>
                  <a:lnTo>
                    <a:pt x="130" y="166"/>
                  </a:lnTo>
                  <a:lnTo>
                    <a:pt x="130" y="168"/>
                  </a:lnTo>
                  <a:lnTo>
                    <a:pt x="130" y="171"/>
                  </a:lnTo>
                  <a:lnTo>
                    <a:pt x="130" y="173"/>
                  </a:lnTo>
                  <a:lnTo>
                    <a:pt x="133" y="173"/>
                  </a:lnTo>
                  <a:lnTo>
                    <a:pt x="130" y="173"/>
                  </a:lnTo>
                  <a:lnTo>
                    <a:pt x="130" y="176"/>
                  </a:lnTo>
                  <a:lnTo>
                    <a:pt x="133" y="176"/>
                  </a:lnTo>
                  <a:lnTo>
                    <a:pt x="133" y="178"/>
                  </a:lnTo>
                  <a:lnTo>
                    <a:pt x="133" y="180"/>
                  </a:lnTo>
                  <a:lnTo>
                    <a:pt x="133" y="183"/>
                  </a:lnTo>
                  <a:lnTo>
                    <a:pt x="133" y="185"/>
                  </a:lnTo>
                  <a:lnTo>
                    <a:pt x="130" y="185"/>
                  </a:lnTo>
                  <a:lnTo>
                    <a:pt x="133" y="185"/>
                  </a:lnTo>
                  <a:lnTo>
                    <a:pt x="130" y="185"/>
                  </a:lnTo>
                  <a:lnTo>
                    <a:pt x="130" y="183"/>
                  </a:lnTo>
                  <a:lnTo>
                    <a:pt x="130" y="185"/>
                  </a:lnTo>
                  <a:lnTo>
                    <a:pt x="128" y="183"/>
                  </a:lnTo>
                  <a:lnTo>
                    <a:pt x="128" y="180"/>
                  </a:lnTo>
                  <a:lnTo>
                    <a:pt x="128" y="183"/>
                  </a:lnTo>
                  <a:lnTo>
                    <a:pt x="128" y="180"/>
                  </a:lnTo>
                  <a:lnTo>
                    <a:pt x="128" y="178"/>
                  </a:lnTo>
                  <a:lnTo>
                    <a:pt x="126" y="178"/>
                  </a:lnTo>
                  <a:lnTo>
                    <a:pt x="123" y="17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8" name="Freeform 52279"/>
            <p:cNvSpPr>
              <a:spLocks noEditPoints="1"/>
            </p:cNvSpPr>
            <p:nvPr/>
          </p:nvSpPr>
          <p:spPr bwMode="auto">
            <a:xfrm>
              <a:off x="3041648" y="5383231"/>
              <a:ext cx="539750" cy="427038"/>
            </a:xfrm>
            <a:custGeom>
              <a:avLst/>
              <a:gdLst>
                <a:gd name="T0" fmla="*/ 136 w 340"/>
                <a:gd name="T1" fmla="*/ 248 h 269"/>
                <a:gd name="T2" fmla="*/ 193 w 340"/>
                <a:gd name="T3" fmla="*/ 238 h 269"/>
                <a:gd name="T4" fmla="*/ 254 w 340"/>
                <a:gd name="T5" fmla="*/ 233 h 269"/>
                <a:gd name="T6" fmla="*/ 259 w 340"/>
                <a:gd name="T7" fmla="*/ 221 h 269"/>
                <a:gd name="T8" fmla="*/ 271 w 340"/>
                <a:gd name="T9" fmla="*/ 205 h 269"/>
                <a:gd name="T10" fmla="*/ 276 w 340"/>
                <a:gd name="T11" fmla="*/ 205 h 269"/>
                <a:gd name="T12" fmla="*/ 117 w 340"/>
                <a:gd name="T13" fmla="*/ 207 h 269"/>
                <a:gd name="T14" fmla="*/ 202 w 340"/>
                <a:gd name="T15" fmla="*/ 198 h 269"/>
                <a:gd name="T16" fmla="*/ 264 w 340"/>
                <a:gd name="T17" fmla="*/ 195 h 269"/>
                <a:gd name="T18" fmla="*/ 254 w 340"/>
                <a:gd name="T19" fmla="*/ 191 h 269"/>
                <a:gd name="T20" fmla="*/ 276 w 340"/>
                <a:gd name="T21" fmla="*/ 188 h 269"/>
                <a:gd name="T22" fmla="*/ 228 w 340"/>
                <a:gd name="T23" fmla="*/ 188 h 269"/>
                <a:gd name="T24" fmla="*/ 254 w 340"/>
                <a:gd name="T25" fmla="*/ 186 h 269"/>
                <a:gd name="T26" fmla="*/ 167 w 340"/>
                <a:gd name="T27" fmla="*/ 183 h 269"/>
                <a:gd name="T28" fmla="*/ 167 w 340"/>
                <a:gd name="T29" fmla="*/ 183 h 269"/>
                <a:gd name="T30" fmla="*/ 197 w 340"/>
                <a:gd name="T31" fmla="*/ 188 h 269"/>
                <a:gd name="T32" fmla="*/ 148 w 340"/>
                <a:gd name="T33" fmla="*/ 179 h 269"/>
                <a:gd name="T34" fmla="*/ 205 w 340"/>
                <a:gd name="T35" fmla="*/ 176 h 269"/>
                <a:gd name="T36" fmla="*/ 250 w 340"/>
                <a:gd name="T37" fmla="*/ 181 h 269"/>
                <a:gd name="T38" fmla="*/ 219 w 340"/>
                <a:gd name="T39" fmla="*/ 176 h 269"/>
                <a:gd name="T40" fmla="*/ 219 w 340"/>
                <a:gd name="T41" fmla="*/ 174 h 269"/>
                <a:gd name="T42" fmla="*/ 188 w 340"/>
                <a:gd name="T43" fmla="*/ 172 h 269"/>
                <a:gd name="T44" fmla="*/ 176 w 340"/>
                <a:gd name="T45" fmla="*/ 174 h 269"/>
                <a:gd name="T46" fmla="*/ 250 w 340"/>
                <a:gd name="T47" fmla="*/ 174 h 269"/>
                <a:gd name="T48" fmla="*/ 193 w 340"/>
                <a:gd name="T49" fmla="*/ 167 h 269"/>
                <a:gd name="T50" fmla="*/ 247 w 340"/>
                <a:gd name="T51" fmla="*/ 164 h 269"/>
                <a:gd name="T52" fmla="*/ 200 w 340"/>
                <a:gd name="T53" fmla="*/ 176 h 269"/>
                <a:gd name="T54" fmla="*/ 167 w 340"/>
                <a:gd name="T55" fmla="*/ 164 h 269"/>
                <a:gd name="T56" fmla="*/ 124 w 340"/>
                <a:gd name="T57" fmla="*/ 162 h 269"/>
                <a:gd name="T58" fmla="*/ 131 w 340"/>
                <a:gd name="T59" fmla="*/ 157 h 269"/>
                <a:gd name="T60" fmla="*/ 238 w 340"/>
                <a:gd name="T61" fmla="*/ 160 h 269"/>
                <a:gd name="T62" fmla="*/ 195 w 340"/>
                <a:gd name="T63" fmla="*/ 155 h 269"/>
                <a:gd name="T64" fmla="*/ 169 w 340"/>
                <a:gd name="T65" fmla="*/ 155 h 269"/>
                <a:gd name="T66" fmla="*/ 197 w 340"/>
                <a:gd name="T67" fmla="*/ 150 h 269"/>
                <a:gd name="T68" fmla="*/ 183 w 340"/>
                <a:gd name="T69" fmla="*/ 150 h 269"/>
                <a:gd name="T70" fmla="*/ 233 w 340"/>
                <a:gd name="T71" fmla="*/ 145 h 269"/>
                <a:gd name="T72" fmla="*/ 235 w 340"/>
                <a:gd name="T73" fmla="*/ 145 h 269"/>
                <a:gd name="T74" fmla="*/ 164 w 340"/>
                <a:gd name="T75" fmla="*/ 141 h 269"/>
                <a:gd name="T76" fmla="*/ 231 w 340"/>
                <a:gd name="T77" fmla="*/ 143 h 269"/>
                <a:gd name="T78" fmla="*/ 157 w 340"/>
                <a:gd name="T79" fmla="*/ 141 h 269"/>
                <a:gd name="T80" fmla="*/ 133 w 340"/>
                <a:gd name="T81" fmla="*/ 138 h 269"/>
                <a:gd name="T82" fmla="*/ 252 w 340"/>
                <a:gd name="T83" fmla="*/ 141 h 269"/>
                <a:gd name="T84" fmla="*/ 129 w 340"/>
                <a:gd name="T85" fmla="*/ 136 h 269"/>
                <a:gd name="T86" fmla="*/ 41 w 340"/>
                <a:gd name="T87" fmla="*/ 136 h 269"/>
                <a:gd name="T88" fmla="*/ 186 w 340"/>
                <a:gd name="T89" fmla="*/ 138 h 269"/>
                <a:gd name="T90" fmla="*/ 176 w 340"/>
                <a:gd name="T91" fmla="*/ 129 h 269"/>
                <a:gd name="T92" fmla="*/ 159 w 340"/>
                <a:gd name="T93" fmla="*/ 126 h 269"/>
                <a:gd name="T94" fmla="*/ 55 w 340"/>
                <a:gd name="T95" fmla="*/ 110 h 269"/>
                <a:gd name="T96" fmla="*/ 46 w 340"/>
                <a:gd name="T97" fmla="*/ 115 h 269"/>
                <a:gd name="T98" fmla="*/ 226 w 340"/>
                <a:gd name="T99" fmla="*/ 105 h 269"/>
                <a:gd name="T100" fmla="*/ 50 w 340"/>
                <a:gd name="T101" fmla="*/ 98 h 269"/>
                <a:gd name="T102" fmla="*/ 169 w 340"/>
                <a:gd name="T103" fmla="*/ 91 h 269"/>
                <a:gd name="T104" fmla="*/ 169 w 340"/>
                <a:gd name="T105" fmla="*/ 93 h 269"/>
                <a:gd name="T106" fmla="*/ 157 w 340"/>
                <a:gd name="T107" fmla="*/ 77 h 269"/>
                <a:gd name="T108" fmla="*/ 145 w 340"/>
                <a:gd name="T109" fmla="*/ 79 h 269"/>
                <a:gd name="T110" fmla="*/ 152 w 340"/>
                <a:gd name="T111" fmla="*/ 72 h 269"/>
                <a:gd name="T112" fmla="*/ 150 w 340"/>
                <a:gd name="T113" fmla="*/ 69 h 269"/>
                <a:gd name="T114" fmla="*/ 157 w 340"/>
                <a:gd name="T115" fmla="*/ 67 h 269"/>
                <a:gd name="T116" fmla="*/ 0 w 340"/>
                <a:gd name="T117" fmla="*/ 43 h 269"/>
                <a:gd name="T118" fmla="*/ 207 w 340"/>
                <a:gd name="T119" fmla="*/ 17 h 269"/>
                <a:gd name="T120" fmla="*/ 174 w 340"/>
                <a:gd name="T121" fmla="*/ 1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0" h="269">
                  <a:moveTo>
                    <a:pt x="155" y="264"/>
                  </a:moveTo>
                  <a:lnTo>
                    <a:pt x="155" y="267"/>
                  </a:lnTo>
                  <a:lnTo>
                    <a:pt x="157" y="267"/>
                  </a:lnTo>
                  <a:lnTo>
                    <a:pt x="157" y="269"/>
                  </a:lnTo>
                  <a:lnTo>
                    <a:pt x="155" y="267"/>
                  </a:lnTo>
                  <a:lnTo>
                    <a:pt x="155" y="264"/>
                  </a:lnTo>
                  <a:close/>
                  <a:moveTo>
                    <a:pt x="209" y="264"/>
                  </a:moveTo>
                  <a:lnTo>
                    <a:pt x="209" y="267"/>
                  </a:lnTo>
                  <a:lnTo>
                    <a:pt x="209" y="264"/>
                  </a:lnTo>
                  <a:lnTo>
                    <a:pt x="207" y="264"/>
                  </a:lnTo>
                  <a:lnTo>
                    <a:pt x="209" y="264"/>
                  </a:lnTo>
                  <a:close/>
                  <a:moveTo>
                    <a:pt x="152" y="264"/>
                  </a:moveTo>
                  <a:lnTo>
                    <a:pt x="152" y="262"/>
                  </a:lnTo>
                  <a:lnTo>
                    <a:pt x="152" y="264"/>
                  </a:lnTo>
                  <a:close/>
                  <a:moveTo>
                    <a:pt x="223" y="262"/>
                  </a:moveTo>
                  <a:lnTo>
                    <a:pt x="223" y="264"/>
                  </a:lnTo>
                  <a:lnTo>
                    <a:pt x="223" y="262"/>
                  </a:lnTo>
                  <a:close/>
                  <a:moveTo>
                    <a:pt x="214" y="250"/>
                  </a:moveTo>
                  <a:lnTo>
                    <a:pt x="214" y="252"/>
                  </a:lnTo>
                  <a:lnTo>
                    <a:pt x="214" y="250"/>
                  </a:lnTo>
                  <a:close/>
                  <a:moveTo>
                    <a:pt x="138" y="248"/>
                  </a:moveTo>
                  <a:lnTo>
                    <a:pt x="136" y="248"/>
                  </a:lnTo>
                  <a:lnTo>
                    <a:pt x="138" y="248"/>
                  </a:lnTo>
                  <a:close/>
                  <a:moveTo>
                    <a:pt x="231" y="248"/>
                  </a:moveTo>
                  <a:lnTo>
                    <a:pt x="228" y="248"/>
                  </a:lnTo>
                  <a:lnTo>
                    <a:pt x="231" y="248"/>
                  </a:lnTo>
                  <a:close/>
                  <a:moveTo>
                    <a:pt x="223" y="243"/>
                  </a:moveTo>
                  <a:lnTo>
                    <a:pt x="223" y="245"/>
                  </a:lnTo>
                  <a:lnTo>
                    <a:pt x="223" y="243"/>
                  </a:lnTo>
                  <a:lnTo>
                    <a:pt x="223" y="245"/>
                  </a:lnTo>
                  <a:lnTo>
                    <a:pt x="223" y="243"/>
                  </a:lnTo>
                  <a:close/>
                  <a:moveTo>
                    <a:pt x="252" y="240"/>
                  </a:moveTo>
                  <a:lnTo>
                    <a:pt x="252" y="243"/>
                  </a:lnTo>
                  <a:lnTo>
                    <a:pt x="250" y="243"/>
                  </a:lnTo>
                  <a:lnTo>
                    <a:pt x="247" y="243"/>
                  </a:lnTo>
                  <a:lnTo>
                    <a:pt x="247" y="245"/>
                  </a:lnTo>
                  <a:lnTo>
                    <a:pt x="247" y="243"/>
                  </a:lnTo>
                  <a:lnTo>
                    <a:pt x="247" y="240"/>
                  </a:lnTo>
                  <a:lnTo>
                    <a:pt x="250" y="240"/>
                  </a:lnTo>
                  <a:lnTo>
                    <a:pt x="252" y="240"/>
                  </a:lnTo>
                  <a:close/>
                  <a:moveTo>
                    <a:pt x="193" y="240"/>
                  </a:moveTo>
                  <a:lnTo>
                    <a:pt x="190" y="240"/>
                  </a:lnTo>
                  <a:lnTo>
                    <a:pt x="193" y="240"/>
                  </a:lnTo>
                  <a:lnTo>
                    <a:pt x="193" y="238"/>
                  </a:lnTo>
                  <a:lnTo>
                    <a:pt x="193" y="240"/>
                  </a:lnTo>
                  <a:close/>
                  <a:moveTo>
                    <a:pt x="259" y="224"/>
                  </a:moveTo>
                  <a:lnTo>
                    <a:pt x="259" y="226"/>
                  </a:lnTo>
                  <a:lnTo>
                    <a:pt x="259" y="229"/>
                  </a:lnTo>
                  <a:lnTo>
                    <a:pt x="257" y="229"/>
                  </a:lnTo>
                  <a:lnTo>
                    <a:pt x="257" y="231"/>
                  </a:lnTo>
                  <a:lnTo>
                    <a:pt x="257" y="233"/>
                  </a:lnTo>
                  <a:lnTo>
                    <a:pt x="259" y="233"/>
                  </a:lnTo>
                  <a:lnTo>
                    <a:pt x="259" y="236"/>
                  </a:lnTo>
                  <a:lnTo>
                    <a:pt x="259" y="238"/>
                  </a:lnTo>
                  <a:lnTo>
                    <a:pt x="257" y="238"/>
                  </a:lnTo>
                  <a:lnTo>
                    <a:pt x="257" y="240"/>
                  </a:lnTo>
                  <a:lnTo>
                    <a:pt x="257" y="238"/>
                  </a:lnTo>
                  <a:lnTo>
                    <a:pt x="257" y="240"/>
                  </a:lnTo>
                  <a:lnTo>
                    <a:pt x="257" y="243"/>
                  </a:lnTo>
                  <a:lnTo>
                    <a:pt x="257" y="240"/>
                  </a:lnTo>
                  <a:lnTo>
                    <a:pt x="257" y="243"/>
                  </a:lnTo>
                  <a:lnTo>
                    <a:pt x="257" y="240"/>
                  </a:lnTo>
                  <a:lnTo>
                    <a:pt x="254" y="240"/>
                  </a:lnTo>
                  <a:lnTo>
                    <a:pt x="254" y="238"/>
                  </a:lnTo>
                  <a:lnTo>
                    <a:pt x="254" y="236"/>
                  </a:lnTo>
                  <a:lnTo>
                    <a:pt x="254" y="233"/>
                  </a:lnTo>
                  <a:lnTo>
                    <a:pt x="254" y="231"/>
                  </a:lnTo>
                  <a:lnTo>
                    <a:pt x="254" y="229"/>
                  </a:lnTo>
                  <a:lnTo>
                    <a:pt x="257" y="229"/>
                  </a:lnTo>
                  <a:lnTo>
                    <a:pt x="257" y="226"/>
                  </a:lnTo>
                  <a:lnTo>
                    <a:pt x="257" y="224"/>
                  </a:lnTo>
                  <a:lnTo>
                    <a:pt x="259" y="224"/>
                  </a:lnTo>
                  <a:close/>
                  <a:moveTo>
                    <a:pt x="245" y="221"/>
                  </a:moveTo>
                  <a:lnTo>
                    <a:pt x="245" y="219"/>
                  </a:lnTo>
                  <a:lnTo>
                    <a:pt x="245" y="221"/>
                  </a:lnTo>
                  <a:close/>
                  <a:moveTo>
                    <a:pt x="129" y="219"/>
                  </a:moveTo>
                  <a:lnTo>
                    <a:pt x="129" y="221"/>
                  </a:lnTo>
                  <a:lnTo>
                    <a:pt x="129" y="219"/>
                  </a:lnTo>
                  <a:lnTo>
                    <a:pt x="129" y="221"/>
                  </a:lnTo>
                  <a:lnTo>
                    <a:pt x="131" y="221"/>
                  </a:lnTo>
                  <a:lnTo>
                    <a:pt x="131" y="224"/>
                  </a:lnTo>
                  <a:lnTo>
                    <a:pt x="129" y="224"/>
                  </a:lnTo>
                  <a:lnTo>
                    <a:pt x="129" y="221"/>
                  </a:lnTo>
                  <a:lnTo>
                    <a:pt x="129" y="219"/>
                  </a:lnTo>
                  <a:close/>
                  <a:moveTo>
                    <a:pt x="259" y="219"/>
                  </a:moveTo>
                  <a:lnTo>
                    <a:pt x="259" y="221"/>
                  </a:lnTo>
                  <a:lnTo>
                    <a:pt x="259" y="219"/>
                  </a:lnTo>
                  <a:lnTo>
                    <a:pt x="259" y="221"/>
                  </a:lnTo>
                  <a:lnTo>
                    <a:pt x="259" y="224"/>
                  </a:lnTo>
                  <a:lnTo>
                    <a:pt x="259" y="221"/>
                  </a:lnTo>
                  <a:lnTo>
                    <a:pt x="257" y="221"/>
                  </a:lnTo>
                  <a:lnTo>
                    <a:pt x="259" y="221"/>
                  </a:lnTo>
                  <a:lnTo>
                    <a:pt x="259" y="219"/>
                  </a:lnTo>
                  <a:close/>
                  <a:moveTo>
                    <a:pt x="231" y="212"/>
                  </a:moveTo>
                  <a:lnTo>
                    <a:pt x="233" y="212"/>
                  </a:lnTo>
                  <a:lnTo>
                    <a:pt x="231" y="212"/>
                  </a:lnTo>
                  <a:close/>
                  <a:moveTo>
                    <a:pt x="337" y="212"/>
                  </a:moveTo>
                  <a:lnTo>
                    <a:pt x="337" y="210"/>
                  </a:lnTo>
                  <a:lnTo>
                    <a:pt x="340" y="210"/>
                  </a:lnTo>
                  <a:lnTo>
                    <a:pt x="337" y="210"/>
                  </a:lnTo>
                  <a:lnTo>
                    <a:pt x="337" y="212"/>
                  </a:lnTo>
                  <a:close/>
                  <a:moveTo>
                    <a:pt x="333" y="210"/>
                  </a:moveTo>
                  <a:lnTo>
                    <a:pt x="335" y="210"/>
                  </a:lnTo>
                  <a:lnTo>
                    <a:pt x="333" y="210"/>
                  </a:lnTo>
                  <a:close/>
                  <a:moveTo>
                    <a:pt x="337" y="210"/>
                  </a:moveTo>
                  <a:lnTo>
                    <a:pt x="335" y="210"/>
                  </a:lnTo>
                  <a:lnTo>
                    <a:pt x="337" y="210"/>
                  </a:lnTo>
                  <a:lnTo>
                    <a:pt x="337" y="207"/>
                  </a:lnTo>
                  <a:lnTo>
                    <a:pt x="337" y="210"/>
                  </a:lnTo>
                  <a:close/>
                  <a:moveTo>
                    <a:pt x="271" y="205"/>
                  </a:moveTo>
                  <a:lnTo>
                    <a:pt x="271" y="207"/>
                  </a:lnTo>
                  <a:lnTo>
                    <a:pt x="271" y="205"/>
                  </a:lnTo>
                  <a:lnTo>
                    <a:pt x="271" y="207"/>
                  </a:lnTo>
                  <a:lnTo>
                    <a:pt x="271" y="205"/>
                  </a:lnTo>
                  <a:lnTo>
                    <a:pt x="269" y="207"/>
                  </a:lnTo>
                  <a:lnTo>
                    <a:pt x="269" y="205"/>
                  </a:lnTo>
                  <a:lnTo>
                    <a:pt x="269" y="207"/>
                  </a:lnTo>
                  <a:lnTo>
                    <a:pt x="269" y="205"/>
                  </a:lnTo>
                  <a:lnTo>
                    <a:pt x="271" y="205"/>
                  </a:lnTo>
                  <a:close/>
                  <a:moveTo>
                    <a:pt x="121" y="202"/>
                  </a:moveTo>
                  <a:lnTo>
                    <a:pt x="121" y="205"/>
                  </a:lnTo>
                  <a:lnTo>
                    <a:pt x="121" y="202"/>
                  </a:lnTo>
                  <a:close/>
                  <a:moveTo>
                    <a:pt x="214" y="202"/>
                  </a:moveTo>
                  <a:lnTo>
                    <a:pt x="214" y="205"/>
                  </a:lnTo>
                  <a:lnTo>
                    <a:pt x="214" y="202"/>
                  </a:lnTo>
                  <a:close/>
                  <a:moveTo>
                    <a:pt x="212" y="202"/>
                  </a:moveTo>
                  <a:lnTo>
                    <a:pt x="214" y="202"/>
                  </a:lnTo>
                  <a:lnTo>
                    <a:pt x="214" y="205"/>
                  </a:lnTo>
                  <a:lnTo>
                    <a:pt x="212" y="205"/>
                  </a:lnTo>
                  <a:lnTo>
                    <a:pt x="212" y="202"/>
                  </a:lnTo>
                  <a:close/>
                  <a:moveTo>
                    <a:pt x="276" y="202"/>
                  </a:moveTo>
                  <a:lnTo>
                    <a:pt x="276" y="205"/>
                  </a:lnTo>
                  <a:lnTo>
                    <a:pt x="273" y="205"/>
                  </a:lnTo>
                  <a:lnTo>
                    <a:pt x="276" y="205"/>
                  </a:lnTo>
                  <a:lnTo>
                    <a:pt x="273" y="205"/>
                  </a:lnTo>
                  <a:lnTo>
                    <a:pt x="273" y="202"/>
                  </a:lnTo>
                  <a:lnTo>
                    <a:pt x="276" y="202"/>
                  </a:lnTo>
                  <a:close/>
                  <a:moveTo>
                    <a:pt x="240" y="200"/>
                  </a:moveTo>
                  <a:lnTo>
                    <a:pt x="242" y="200"/>
                  </a:lnTo>
                  <a:lnTo>
                    <a:pt x="240" y="200"/>
                  </a:lnTo>
                  <a:lnTo>
                    <a:pt x="240" y="202"/>
                  </a:lnTo>
                  <a:lnTo>
                    <a:pt x="240" y="200"/>
                  </a:lnTo>
                  <a:close/>
                  <a:moveTo>
                    <a:pt x="119" y="198"/>
                  </a:moveTo>
                  <a:lnTo>
                    <a:pt x="119" y="200"/>
                  </a:lnTo>
                  <a:lnTo>
                    <a:pt x="119" y="202"/>
                  </a:lnTo>
                  <a:lnTo>
                    <a:pt x="121" y="202"/>
                  </a:lnTo>
                  <a:lnTo>
                    <a:pt x="121" y="205"/>
                  </a:lnTo>
                  <a:lnTo>
                    <a:pt x="124" y="205"/>
                  </a:lnTo>
                  <a:lnTo>
                    <a:pt x="121" y="205"/>
                  </a:lnTo>
                  <a:lnTo>
                    <a:pt x="121" y="207"/>
                  </a:lnTo>
                  <a:lnTo>
                    <a:pt x="121" y="210"/>
                  </a:lnTo>
                  <a:lnTo>
                    <a:pt x="119" y="210"/>
                  </a:lnTo>
                  <a:lnTo>
                    <a:pt x="117" y="210"/>
                  </a:lnTo>
                  <a:lnTo>
                    <a:pt x="117" y="207"/>
                  </a:lnTo>
                  <a:lnTo>
                    <a:pt x="117" y="205"/>
                  </a:lnTo>
                  <a:lnTo>
                    <a:pt x="117" y="202"/>
                  </a:lnTo>
                  <a:lnTo>
                    <a:pt x="117" y="200"/>
                  </a:lnTo>
                  <a:lnTo>
                    <a:pt x="117" y="198"/>
                  </a:lnTo>
                  <a:lnTo>
                    <a:pt x="119" y="198"/>
                  </a:lnTo>
                  <a:close/>
                  <a:moveTo>
                    <a:pt x="212" y="200"/>
                  </a:moveTo>
                  <a:lnTo>
                    <a:pt x="214" y="200"/>
                  </a:lnTo>
                  <a:lnTo>
                    <a:pt x="212" y="200"/>
                  </a:lnTo>
                  <a:lnTo>
                    <a:pt x="209" y="200"/>
                  </a:lnTo>
                  <a:lnTo>
                    <a:pt x="209" y="198"/>
                  </a:lnTo>
                  <a:lnTo>
                    <a:pt x="212" y="198"/>
                  </a:lnTo>
                  <a:lnTo>
                    <a:pt x="212" y="200"/>
                  </a:lnTo>
                  <a:close/>
                  <a:moveTo>
                    <a:pt x="197" y="198"/>
                  </a:moveTo>
                  <a:lnTo>
                    <a:pt x="200" y="198"/>
                  </a:lnTo>
                  <a:lnTo>
                    <a:pt x="197" y="198"/>
                  </a:lnTo>
                  <a:close/>
                  <a:moveTo>
                    <a:pt x="197" y="195"/>
                  </a:moveTo>
                  <a:lnTo>
                    <a:pt x="197" y="198"/>
                  </a:lnTo>
                  <a:lnTo>
                    <a:pt x="195" y="198"/>
                  </a:lnTo>
                  <a:lnTo>
                    <a:pt x="197" y="195"/>
                  </a:lnTo>
                  <a:close/>
                  <a:moveTo>
                    <a:pt x="200" y="195"/>
                  </a:moveTo>
                  <a:lnTo>
                    <a:pt x="200" y="198"/>
                  </a:lnTo>
                  <a:lnTo>
                    <a:pt x="202" y="198"/>
                  </a:lnTo>
                  <a:lnTo>
                    <a:pt x="202" y="200"/>
                  </a:lnTo>
                  <a:lnTo>
                    <a:pt x="200" y="200"/>
                  </a:lnTo>
                  <a:lnTo>
                    <a:pt x="197" y="200"/>
                  </a:lnTo>
                  <a:lnTo>
                    <a:pt x="200" y="200"/>
                  </a:lnTo>
                  <a:lnTo>
                    <a:pt x="200" y="198"/>
                  </a:lnTo>
                  <a:lnTo>
                    <a:pt x="200" y="195"/>
                  </a:lnTo>
                  <a:lnTo>
                    <a:pt x="197" y="195"/>
                  </a:lnTo>
                  <a:lnTo>
                    <a:pt x="200" y="195"/>
                  </a:lnTo>
                  <a:close/>
                  <a:moveTo>
                    <a:pt x="264" y="195"/>
                  </a:moveTo>
                  <a:lnTo>
                    <a:pt x="264" y="198"/>
                  </a:lnTo>
                  <a:lnTo>
                    <a:pt x="266" y="198"/>
                  </a:lnTo>
                  <a:lnTo>
                    <a:pt x="264" y="198"/>
                  </a:lnTo>
                  <a:lnTo>
                    <a:pt x="264" y="200"/>
                  </a:lnTo>
                  <a:lnTo>
                    <a:pt x="264" y="198"/>
                  </a:lnTo>
                  <a:lnTo>
                    <a:pt x="264" y="200"/>
                  </a:lnTo>
                  <a:lnTo>
                    <a:pt x="264" y="198"/>
                  </a:lnTo>
                  <a:lnTo>
                    <a:pt x="264" y="200"/>
                  </a:lnTo>
                  <a:lnTo>
                    <a:pt x="264" y="198"/>
                  </a:lnTo>
                  <a:lnTo>
                    <a:pt x="264" y="195"/>
                  </a:lnTo>
                  <a:lnTo>
                    <a:pt x="261" y="198"/>
                  </a:lnTo>
                  <a:lnTo>
                    <a:pt x="261" y="195"/>
                  </a:lnTo>
                  <a:lnTo>
                    <a:pt x="264" y="195"/>
                  </a:lnTo>
                  <a:close/>
                  <a:moveTo>
                    <a:pt x="119" y="193"/>
                  </a:moveTo>
                  <a:lnTo>
                    <a:pt x="119" y="195"/>
                  </a:lnTo>
                  <a:lnTo>
                    <a:pt x="117" y="195"/>
                  </a:lnTo>
                  <a:lnTo>
                    <a:pt x="117" y="193"/>
                  </a:lnTo>
                  <a:lnTo>
                    <a:pt x="119" y="193"/>
                  </a:lnTo>
                  <a:close/>
                  <a:moveTo>
                    <a:pt x="233" y="193"/>
                  </a:moveTo>
                  <a:lnTo>
                    <a:pt x="233" y="191"/>
                  </a:lnTo>
                  <a:lnTo>
                    <a:pt x="233" y="193"/>
                  </a:lnTo>
                  <a:close/>
                  <a:moveTo>
                    <a:pt x="223" y="191"/>
                  </a:moveTo>
                  <a:lnTo>
                    <a:pt x="223" y="193"/>
                  </a:lnTo>
                  <a:lnTo>
                    <a:pt x="223" y="191"/>
                  </a:lnTo>
                  <a:close/>
                  <a:moveTo>
                    <a:pt x="252" y="191"/>
                  </a:moveTo>
                  <a:lnTo>
                    <a:pt x="252" y="188"/>
                  </a:lnTo>
                  <a:lnTo>
                    <a:pt x="252" y="191"/>
                  </a:lnTo>
                  <a:close/>
                  <a:moveTo>
                    <a:pt x="231" y="188"/>
                  </a:moveTo>
                  <a:lnTo>
                    <a:pt x="231" y="191"/>
                  </a:lnTo>
                  <a:lnTo>
                    <a:pt x="231" y="188"/>
                  </a:lnTo>
                  <a:close/>
                  <a:moveTo>
                    <a:pt x="257" y="188"/>
                  </a:moveTo>
                  <a:lnTo>
                    <a:pt x="259" y="188"/>
                  </a:lnTo>
                  <a:lnTo>
                    <a:pt x="259" y="191"/>
                  </a:lnTo>
                  <a:lnTo>
                    <a:pt x="257" y="191"/>
                  </a:lnTo>
                  <a:lnTo>
                    <a:pt x="254" y="191"/>
                  </a:lnTo>
                  <a:lnTo>
                    <a:pt x="257" y="191"/>
                  </a:lnTo>
                  <a:lnTo>
                    <a:pt x="254" y="191"/>
                  </a:lnTo>
                  <a:lnTo>
                    <a:pt x="257" y="191"/>
                  </a:lnTo>
                  <a:lnTo>
                    <a:pt x="254" y="188"/>
                  </a:lnTo>
                  <a:lnTo>
                    <a:pt x="257" y="188"/>
                  </a:lnTo>
                  <a:close/>
                  <a:moveTo>
                    <a:pt x="207" y="188"/>
                  </a:moveTo>
                  <a:lnTo>
                    <a:pt x="209" y="188"/>
                  </a:lnTo>
                  <a:lnTo>
                    <a:pt x="207" y="188"/>
                  </a:lnTo>
                  <a:close/>
                  <a:moveTo>
                    <a:pt x="278" y="188"/>
                  </a:moveTo>
                  <a:lnTo>
                    <a:pt x="280" y="188"/>
                  </a:lnTo>
                  <a:lnTo>
                    <a:pt x="280" y="191"/>
                  </a:lnTo>
                  <a:lnTo>
                    <a:pt x="280" y="193"/>
                  </a:lnTo>
                  <a:lnTo>
                    <a:pt x="278" y="193"/>
                  </a:lnTo>
                  <a:lnTo>
                    <a:pt x="278" y="191"/>
                  </a:lnTo>
                  <a:lnTo>
                    <a:pt x="278" y="193"/>
                  </a:lnTo>
                  <a:lnTo>
                    <a:pt x="278" y="191"/>
                  </a:lnTo>
                  <a:lnTo>
                    <a:pt x="280" y="191"/>
                  </a:lnTo>
                  <a:lnTo>
                    <a:pt x="278" y="191"/>
                  </a:lnTo>
                  <a:lnTo>
                    <a:pt x="280" y="191"/>
                  </a:lnTo>
                  <a:lnTo>
                    <a:pt x="278" y="191"/>
                  </a:lnTo>
                  <a:lnTo>
                    <a:pt x="276" y="191"/>
                  </a:lnTo>
                  <a:lnTo>
                    <a:pt x="276" y="188"/>
                  </a:lnTo>
                  <a:lnTo>
                    <a:pt x="278" y="188"/>
                  </a:lnTo>
                  <a:lnTo>
                    <a:pt x="276" y="188"/>
                  </a:lnTo>
                  <a:lnTo>
                    <a:pt x="278" y="188"/>
                  </a:lnTo>
                  <a:close/>
                  <a:moveTo>
                    <a:pt x="231" y="188"/>
                  </a:moveTo>
                  <a:lnTo>
                    <a:pt x="233" y="188"/>
                  </a:lnTo>
                  <a:lnTo>
                    <a:pt x="233" y="191"/>
                  </a:lnTo>
                  <a:lnTo>
                    <a:pt x="231" y="191"/>
                  </a:lnTo>
                  <a:lnTo>
                    <a:pt x="231" y="193"/>
                  </a:lnTo>
                  <a:lnTo>
                    <a:pt x="231" y="191"/>
                  </a:lnTo>
                  <a:lnTo>
                    <a:pt x="231" y="193"/>
                  </a:lnTo>
                  <a:lnTo>
                    <a:pt x="228" y="193"/>
                  </a:lnTo>
                  <a:lnTo>
                    <a:pt x="228" y="191"/>
                  </a:lnTo>
                  <a:lnTo>
                    <a:pt x="226" y="191"/>
                  </a:lnTo>
                  <a:lnTo>
                    <a:pt x="228" y="191"/>
                  </a:lnTo>
                  <a:lnTo>
                    <a:pt x="226" y="191"/>
                  </a:lnTo>
                  <a:lnTo>
                    <a:pt x="228" y="188"/>
                  </a:lnTo>
                  <a:lnTo>
                    <a:pt x="228" y="191"/>
                  </a:lnTo>
                  <a:lnTo>
                    <a:pt x="228" y="188"/>
                  </a:lnTo>
                  <a:lnTo>
                    <a:pt x="228" y="191"/>
                  </a:lnTo>
                  <a:lnTo>
                    <a:pt x="228" y="188"/>
                  </a:lnTo>
                  <a:lnTo>
                    <a:pt x="228" y="191"/>
                  </a:lnTo>
                  <a:lnTo>
                    <a:pt x="228" y="188"/>
                  </a:lnTo>
                  <a:lnTo>
                    <a:pt x="228" y="191"/>
                  </a:lnTo>
                  <a:lnTo>
                    <a:pt x="231" y="191"/>
                  </a:lnTo>
                  <a:lnTo>
                    <a:pt x="231" y="188"/>
                  </a:lnTo>
                  <a:lnTo>
                    <a:pt x="231" y="191"/>
                  </a:lnTo>
                  <a:lnTo>
                    <a:pt x="231" y="188"/>
                  </a:lnTo>
                  <a:lnTo>
                    <a:pt x="233" y="188"/>
                  </a:lnTo>
                  <a:lnTo>
                    <a:pt x="231" y="188"/>
                  </a:lnTo>
                  <a:close/>
                  <a:moveTo>
                    <a:pt x="181" y="186"/>
                  </a:moveTo>
                  <a:lnTo>
                    <a:pt x="183" y="188"/>
                  </a:lnTo>
                  <a:lnTo>
                    <a:pt x="183" y="191"/>
                  </a:lnTo>
                  <a:lnTo>
                    <a:pt x="183" y="188"/>
                  </a:lnTo>
                  <a:lnTo>
                    <a:pt x="181" y="188"/>
                  </a:lnTo>
                  <a:lnTo>
                    <a:pt x="181" y="186"/>
                  </a:lnTo>
                  <a:close/>
                  <a:moveTo>
                    <a:pt x="280" y="186"/>
                  </a:moveTo>
                  <a:lnTo>
                    <a:pt x="280" y="188"/>
                  </a:lnTo>
                  <a:lnTo>
                    <a:pt x="278" y="188"/>
                  </a:lnTo>
                  <a:lnTo>
                    <a:pt x="278" y="186"/>
                  </a:lnTo>
                  <a:lnTo>
                    <a:pt x="280" y="186"/>
                  </a:lnTo>
                  <a:close/>
                  <a:moveTo>
                    <a:pt x="257" y="186"/>
                  </a:moveTo>
                  <a:lnTo>
                    <a:pt x="254" y="186"/>
                  </a:lnTo>
                  <a:lnTo>
                    <a:pt x="254" y="188"/>
                  </a:lnTo>
                  <a:lnTo>
                    <a:pt x="254" y="186"/>
                  </a:lnTo>
                  <a:lnTo>
                    <a:pt x="257" y="186"/>
                  </a:lnTo>
                  <a:close/>
                  <a:moveTo>
                    <a:pt x="84" y="186"/>
                  </a:moveTo>
                  <a:lnTo>
                    <a:pt x="84" y="183"/>
                  </a:lnTo>
                  <a:lnTo>
                    <a:pt x="84" y="186"/>
                  </a:lnTo>
                  <a:close/>
                  <a:moveTo>
                    <a:pt x="190" y="183"/>
                  </a:moveTo>
                  <a:lnTo>
                    <a:pt x="190" y="186"/>
                  </a:lnTo>
                  <a:lnTo>
                    <a:pt x="188" y="186"/>
                  </a:lnTo>
                  <a:lnTo>
                    <a:pt x="188" y="188"/>
                  </a:lnTo>
                  <a:lnTo>
                    <a:pt x="188" y="186"/>
                  </a:lnTo>
                  <a:lnTo>
                    <a:pt x="190" y="183"/>
                  </a:lnTo>
                  <a:close/>
                  <a:moveTo>
                    <a:pt x="79" y="183"/>
                  </a:moveTo>
                  <a:lnTo>
                    <a:pt x="79" y="186"/>
                  </a:lnTo>
                  <a:lnTo>
                    <a:pt x="79" y="183"/>
                  </a:lnTo>
                  <a:lnTo>
                    <a:pt x="79" y="186"/>
                  </a:lnTo>
                  <a:lnTo>
                    <a:pt x="79" y="183"/>
                  </a:lnTo>
                  <a:lnTo>
                    <a:pt x="79" y="181"/>
                  </a:lnTo>
                  <a:lnTo>
                    <a:pt x="79" y="183"/>
                  </a:lnTo>
                  <a:close/>
                  <a:moveTo>
                    <a:pt x="79" y="183"/>
                  </a:moveTo>
                  <a:lnTo>
                    <a:pt x="79" y="181"/>
                  </a:lnTo>
                  <a:lnTo>
                    <a:pt x="79" y="183"/>
                  </a:lnTo>
                  <a:close/>
                  <a:moveTo>
                    <a:pt x="167" y="181"/>
                  </a:moveTo>
                  <a:lnTo>
                    <a:pt x="167" y="183"/>
                  </a:lnTo>
                  <a:lnTo>
                    <a:pt x="169" y="183"/>
                  </a:lnTo>
                  <a:lnTo>
                    <a:pt x="169" y="181"/>
                  </a:lnTo>
                  <a:lnTo>
                    <a:pt x="171" y="181"/>
                  </a:lnTo>
                  <a:lnTo>
                    <a:pt x="171" y="183"/>
                  </a:lnTo>
                  <a:lnTo>
                    <a:pt x="171" y="181"/>
                  </a:lnTo>
                  <a:lnTo>
                    <a:pt x="171" y="183"/>
                  </a:lnTo>
                  <a:lnTo>
                    <a:pt x="169" y="183"/>
                  </a:lnTo>
                  <a:lnTo>
                    <a:pt x="171" y="183"/>
                  </a:lnTo>
                  <a:lnTo>
                    <a:pt x="169" y="183"/>
                  </a:lnTo>
                  <a:lnTo>
                    <a:pt x="171" y="183"/>
                  </a:lnTo>
                  <a:lnTo>
                    <a:pt x="171" y="186"/>
                  </a:lnTo>
                  <a:lnTo>
                    <a:pt x="169" y="186"/>
                  </a:lnTo>
                  <a:lnTo>
                    <a:pt x="167" y="186"/>
                  </a:lnTo>
                  <a:lnTo>
                    <a:pt x="164" y="186"/>
                  </a:lnTo>
                  <a:lnTo>
                    <a:pt x="164" y="188"/>
                  </a:lnTo>
                  <a:lnTo>
                    <a:pt x="162" y="188"/>
                  </a:lnTo>
                  <a:lnTo>
                    <a:pt x="162" y="186"/>
                  </a:lnTo>
                  <a:lnTo>
                    <a:pt x="164" y="186"/>
                  </a:lnTo>
                  <a:lnTo>
                    <a:pt x="164" y="183"/>
                  </a:lnTo>
                  <a:lnTo>
                    <a:pt x="167" y="183"/>
                  </a:lnTo>
                  <a:lnTo>
                    <a:pt x="164" y="183"/>
                  </a:lnTo>
                  <a:lnTo>
                    <a:pt x="167" y="183"/>
                  </a:lnTo>
                  <a:lnTo>
                    <a:pt x="164" y="183"/>
                  </a:lnTo>
                  <a:lnTo>
                    <a:pt x="167" y="183"/>
                  </a:lnTo>
                  <a:lnTo>
                    <a:pt x="167" y="186"/>
                  </a:lnTo>
                  <a:lnTo>
                    <a:pt x="167" y="183"/>
                  </a:lnTo>
                  <a:lnTo>
                    <a:pt x="167" y="186"/>
                  </a:lnTo>
                  <a:lnTo>
                    <a:pt x="169" y="186"/>
                  </a:lnTo>
                  <a:lnTo>
                    <a:pt x="169" y="183"/>
                  </a:lnTo>
                  <a:lnTo>
                    <a:pt x="167" y="183"/>
                  </a:lnTo>
                  <a:lnTo>
                    <a:pt x="167" y="181"/>
                  </a:lnTo>
                  <a:close/>
                  <a:moveTo>
                    <a:pt x="174" y="181"/>
                  </a:moveTo>
                  <a:lnTo>
                    <a:pt x="174" y="183"/>
                  </a:lnTo>
                  <a:lnTo>
                    <a:pt x="174" y="181"/>
                  </a:lnTo>
                  <a:lnTo>
                    <a:pt x="171" y="181"/>
                  </a:lnTo>
                  <a:lnTo>
                    <a:pt x="174" y="181"/>
                  </a:lnTo>
                  <a:close/>
                  <a:moveTo>
                    <a:pt x="195" y="181"/>
                  </a:moveTo>
                  <a:lnTo>
                    <a:pt x="197" y="181"/>
                  </a:lnTo>
                  <a:lnTo>
                    <a:pt x="195" y="183"/>
                  </a:lnTo>
                  <a:lnTo>
                    <a:pt x="197" y="183"/>
                  </a:lnTo>
                  <a:lnTo>
                    <a:pt x="200" y="183"/>
                  </a:lnTo>
                  <a:lnTo>
                    <a:pt x="197" y="183"/>
                  </a:lnTo>
                  <a:lnTo>
                    <a:pt x="197" y="186"/>
                  </a:lnTo>
                  <a:lnTo>
                    <a:pt x="197" y="188"/>
                  </a:lnTo>
                  <a:lnTo>
                    <a:pt x="197" y="186"/>
                  </a:lnTo>
                  <a:lnTo>
                    <a:pt x="197" y="188"/>
                  </a:lnTo>
                  <a:lnTo>
                    <a:pt x="197" y="186"/>
                  </a:lnTo>
                  <a:lnTo>
                    <a:pt x="195" y="186"/>
                  </a:lnTo>
                  <a:lnTo>
                    <a:pt x="195" y="183"/>
                  </a:lnTo>
                  <a:lnTo>
                    <a:pt x="193" y="183"/>
                  </a:lnTo>
                  <a:lnTo>
                    <a:pt x="195" y="183"/>
                  </a:lnTo>
                  <a:lnTo>
                    <a:pt x="193" y="183"/>
                  </a:lnTo>
                  <a:lnTo>
                    <a:pt x="195" y="183"/>
                  </a:lnTo>
                  <a:lnTo>
                    <a:pt x="193" y="183"/>
                  </a:lnTo>
                  <a:lnTo>
                    <a:pt x="195" y="183"/>
                  </a:lnTo>
                  <a:lnTo>
                    <a:pt x="195" y="181"/>
                  </a:lnTo>
                  <a:close/>
                  <a:moveTo>
                    <a:pt x="76" y="181"/>
                  </a:moveTo>
                  <a:lnTo>
                    <a:pt x="76" y="183"/>
                  </a:lnTo>
                  <a:lnTo>
                    <a:pt x="76" y="181"/>
                  </a:lnTo>
                  <a:close/>
                  <a:moveTo>
                    <a:pt x="159" y="181"/>
                  </a:moveTo>
                  <a:lnTo>
                    <a:pt x="162" y="181"/>
                  </a:lnTo>
                  <a:lnTo>
                    <a:pt x="159" y="181"/>
                  </a:lnTo>
                  <a:close/>
                  <a:moveTo>
                    <a:pt x="209" y="181"/>
                  </a:moveTo>
                  <a:lnTo>
                    <a:pt x="209" y="179"/>
                  </a:lnTo>
                  <a:lnTo>
                    <a:pt x="209" y="181"/>
                  </a:lnTo>
                  <a:close/>
                  <a:moveTo>
                    <a:pt x="148" y="179"/>
                  </a:moveTo>
                  <a:lnTo>
                    <a:pt x="150" y="179"/>
                  </a:lnTo>
                  <a:lnTo>
                    <a:pt x="148" y="179"/>
                  </a:lnTo>
                  <a:close/>
                  <a:moveTo>
                    <a:pt x="171" y="179"/>
                  </a:moveTo>
                  <a:lnTo>
                    <a:pt x="171" y="181"/>
                  </a:lnTo>
                  <a:lnTo>
                    <a:pt x="169" y="181"/>
                  </a:lnTo>
                  <a:lnTo>
                    <a:pt x="169" y="179"/>
                  </a:lnTo>
                  <a:lnTo>
                    <a:pt x="171" y="179"/>
                  </a:lnTo>
                  <a:close/>
                  <a:moveTo>
                    <a:pt x="207" y="179"/>
                  </a:moveTo>
                  <a:lnTo>
                    <a:pt x="209" y="179"/>
                  </a:lnTo>
                  <a:lnTo>
                    <a:pt x="207" y="179"/>
                  </a:lnTo>
                  <a:close/>
                  <a:moveTo>
                    <a:pt x="200" y="176"/>
                  </a:moveTo>
                  <a:lnTo>
                    <a:pt x="202" y="176"/>
                  </a:lnTo>
                  <a:lnTo>
                    <a:pt x="202" y="179"/>
                  </a:lnTo>
                  <a:lnTo>
                    <a:pt x="200" y="179"/>
                  </a:lnTo>
                  <a:lnTo>
                    <a:pt x="200" y="176"/>
                  </a:lnTo>
                  <a:lnTo>
                    <a:pt x="202" y="176"/>
                  </a:lnTo>
                  <a:lnTo>
                    <a:pt x="200" y="176"/>
                  </a:lnTo>
                  <a:close/>
                  <a:moveTo>
                    <a:pt x="216" y="176"/>
                  </a:moveTo>
                  <a:lnTo>
                    <a:pt x="214" y="176"/>
                  </a:lnTo>
                  <a:lnTo>
                    <a:pt x="216" y="176"/>
                  </a:lnTo>
                  <a:close/>
                  <a:moveTo>
                    <a:pt x="202" y="176"/>
                  </a:moveTo>
                  <a:lnTo>
                    <a:pt x="205" y="176"/>
                  </a:lnTo>
                  <a:lnTo>
                    <a:pt x="202" y="176"/>
                  </a:lnTo>
                  <a:lnTo>
                    <a:pt x="202" y="179"/>
                  </a:lnTo>
                  <a:lnTo>
                    <a:pt x="202" y="176"/>
                  </a:lnTo>
                  <a:close/>
                  <a:moveTo>
                    <a:pt x="207" y="176"/>
                  </a:moveTo>
                  <a:lnTo>
                    <a:pt x="205" y="176"/>
                  </a:lnTo>
                  <a:lnTo>
                    <a:pt x="207" y="176"/>
                  </a:lnTo>
                  <a:close/>
                  <a:moveTo>
                    <a:pt x="261" y="176"/>
                  </a:moveTo>
                  <a:lnTo>
                    <a:pt x="264" y="176"/>
                  </a:lnTo>
                  <a:lnTo>
                    <a:pt x="264" y="179"/>
                  </a:lnTo>
                  <a:lnTo>
                    <a:pt x="261" y="179"/>
                  </a:lnTo>
                  <a:lnTo>
                    <a:pt x="259" y="179"/>
                  </a:lnTo>
                  <a:lnTo>
                    <a:pt x="257" y="179"/>
                  </a:lnTo>
                  <a:lnTo>
                    <a:pt x="257" y="181"/>
                  </a:lnTo>
                  <a:lnTo>
                    <a:pt x="254" y="181"/>
                  </a:lnTo>
                  <a:lnTo>
                    <a:pt x="252" y="181"/>
                  </a:lnTo>
                  <a:lnTo>
                    <a:pt x="252" y="183"/>
                  </a:lnTo>
                  <a:lnTo>
                    <a:pt x="250" y="183"/>
                  </a:lnTo>
                  <a:lnTo>
                    <a:pt x="252" y="183"/>
                  </a:lnTo>
                  <a:lnTo>
                    <a:pt x="250" y="183"/>
                  </a:lnTo>
                  <a:lnTo>
                    <a:pt x="250" y="186"/>
                  </a:lnTo>
                  <a:lnTo>
                    <a:pt x="250" y="183"/>
                  </a:lnTo>
                  <a:lnTo>
                    <a:pt x="250" y="181"/>
                  </a:lnTo>
                  <a:lnTo>
                    <a:pt x="252" y="181"/>
                  </a:lnTo>
                  <a:lnTo>
                    <a:pt x="252" y="179"/>
                  </a:lnTo>
                  <a:lnTo>
                    <a:pt x="254" y="179"/>
                  </a:lnTo>
                  <a:lnTo>
                    <a:pt x="254" y="176"/>
                  </a:lnTo>
                  <a:lnTo>
                    <a:pt x="257" y="176"/>
                  </a:lnTo>
                  <a:lnTo>
                    <a:pt x="259" y="176"/>
                  </a:lnTo>
                  <a:lnTo>
                    <a:pt x="261" y="176"/>
                  </a:lnTo>
                  <a:close/>
                  <a:moveTo>
                    <a:pt x="250" y="176"/>
                  </a:moveTo>
                  <a:lnTo>
                    <a:pt x="250" y="174"/>
                  </a:lnTo>
                  <a:lnTo>
                    <a:pt x="250" y="176"/>
                  </a:lnTo>
                  <a:close/>
                  <a:moveTo>
                    <a:pt x="205" y="176"/>
                  </a:moveTo>
                  <a:lnTo>
                    <a:pt x="205" y="174"/>
                  </a:lnTo>
                  <a:lnTo>
                    <a:pt x="205" y="176"/>
                  </a:lnTo>
                  <a:close/>
                  <a:moveTo>
                    <a:pt x="136" y="174"/>
                  </a:moveTo>
                  <a:lnTo>
                    <a:pt x="136" y="176"/>
                  </a:lnTo>
                  <a:lnTo>
                    <a:pt x="133" y="176"/>
                  </a:lnTo>
                  <a:lnTo>
                    <a:pt x="133" y="174"/>
                  </a:lnTo>
                  <a:lnTo>
                    <a:pt x="136" y="174"/>
                  </a:lnTo>
                  <a:close/>
                  <a:moveTo>
                    <a:pt x="219" y="174"/>
                  </a:moveTo>
                  <a:lnTo>
                    <a:pt x="219" y="176"/>
                  </a:lnTo>
                  <a:lnTo>
                    <a:pt x="221" y="176"/>
                  </a:lnTo>
                  <a:lnTo>
                    <a:pt x="219" y="176"/>
                  </a:lnTo>
                  <a:lnTo>
                    <a:pt x="216" y="176"/>
                  </a:lnTo>
                  <a:lnTo>
                    <a:pt x="216" y="179"/>
                  </a:lnTo>
                  <a:lnTo>
                    <a:pt x="214" y="179"/>
                  </a:lnTo>
                  <a:lnTo>
                    <a:pt x="214" y="181"/>
                  </a:lnTo>
                  <a:lnTo>
                    <a:pt x="212" y="181"/>
                  </a:lnTo>
                  <a:lnTo>
                    <a:pt x="209" y="181"/>
                  </a:lnTo>
                  <a:lnTo>
                    <a:pt x="212" y="181"/>
                  </a:lnTo>
                  <a:lnTo>
                    <a:pt x="212" y="179"/>
                  </a:lnTo>
                  <a:lnTo>
                    <a:pt x="212" y="181"/>
                  </a:lnTo>
                  <a:lnTo>
                    <a:pt x="212" y="179"/>
                  </a:lnTo>
                  <a:lnTo>
                    <a:pt x="212" y="181"/>
                  </a:lnTo>
                  <a:lnTo>
                    <a:pt x="212" y="179"/>
                  </a:lnTo>
                  <a:lnTo>
                    <a:pt x="212" y="181"/>
                  </a:lnTo>
                  <a:lnTo>
                    <a:pt x="212" y="179"/>
                  </a:lnTo>
                  <a:lnTo>
                    <a:pt x="212" y="181"/>
                  </a:lnTo>
                  <a:lnTo>
                    <a:pt x="214" y="179"/>
                  </a:lnTo>
                  <a:lnTo>
                    <a:pt x="214" y="176"/>
                  </a:lnTo>
                  <a:lnTo>
                    <a:pt x="216" y="176"/>
                  </a:lnTo>
                  <a:lnTo>
                    <a:pt x="219" y="176"/>
                  </a:lnTo>
                  <a:lnTo>
                    <a:pt x="216" y="176"/>
                  </a:lnTo>
                  <a:lnTo>
                    <a:pt x="216" y="174"/>
                  </a:lnTo>
                  <a:lnTo>
                    <a:pt x="219" y="174"/>
                  </a:lnTo>
                  <a:close/>
                  <a:moveTo>
                    <a:pt x="76" y="176"/>
                  </a:moveTo>
                  <a:lnTo>
                    <a:pt x="76" y="174"/>
                  </a:lnTo>
                  <a:lnTo>
                    <a:pt x="74" y="174"/>
                  </a:lnTo>
                  <a:lnTo>
                    <a:pt x="76" y="174"/>
                  </a:lnTo>
                  <a:lnTo>
                    <a:pt x="76" y="176"/>
                  </a:lnTo>
                  <a:close/>
                  <a:moveTo>
                    <a:pt x="205" y="174"/>
                  </a:moveTo>
                  <a:lnTo>
                    <a:pt x="207" y="174"/>
                  </a:lnTo>
                  <a:lnTo>
                    <a:pt x="205" y="174"/>
                  </a:lnTo>
                  <a:close/>
                  <a:moveTo>
                    <a:pt x="183" y="174"/>
                  </a:moveTo>
                  <a:lnTo>
                    <a:pt x="186" y="174"/>
                  </a:lnTo>
                  <a:lnTo>
                    <a:pt x="183" y="174"/>
                  </a:lnTo>
                  <a:close/>
                  <a:moveTo>
                    <a:pt x="257" y="174"/>
                  </a:moveTo>
                  <a:lnTo>
                    <a:pt x="254" y="174"/>
                  </a:lnTo>
                  <a:lnTo>
                    <a:pt x="257" y="174"/>
                  </a:lnTo>
                  <a:close/>
                  <a:moveTo>
                    <a:pt x="186" y="172"/>
                  </a:moveTo>
                  <a:lnTo>
                    <a:pt x="186" y="174"/>
                  </a:lnTo>
                  <a:lnTo>
                    <a:pt x="186" y="172"/>
                  </a:lnTo>
                  <a:lnTo>
                    <a:pt x="186" y="174"/>
                  </a:lnTo>
                  <a:lnTo>
                    <a:pt x="186" y="172"/>
                  </a:lnTo>
                  <a:close/>
                  <a:moveTo>
                    <a:pt x="190" y="172"/>
                  </a:moveTo>
                  <a:lnTo>
                    <a:pt x="190" y="174"/>
                  </a:lnTo>
                  <a:lnTo>
                    <a:pt x="188" y="172"/>
                  </a:lnTo>
                  <a:lnTo>
                    <a:pt x="190" y="172"/>
                  </a:lnTo>
                  <a:close/>
                  <a:moveTo>
                    <a:pt x="228" y="172"/>
                  </a:moveTo>
                  <a:lnTo>
                    <a:pt x="228" y="174"/>
                  </a:lnTo>
                  <a:lnTo>
                    <a:pt x="228" y="172"/>
                  </a:lnTo>
                  <a:close/>
                  <a:moveTo>
                    <a:pt x="247" y="172"/>
                  </a:moveTo>
                  <a:lnTo>
                    <a:pt x="250" y="172"/>
                  </a:lnTo>
                  <a:lnTo>
                    <a:pt x="247" y="172"/>
                  </a:lnTo>
                  <a:close/>
                  <a:moveTo>
                    <a:pt x="233" y="172"/>
                  </a:moveTo>
                  <a:lnTo>
                    <a:pt x="235" y="172"/>
                  </a:lnTo>
                  <a:lnTo>
                    <a:pt x="233" y="172"/>
                  </a:lnTo>
                  <a:lnTo>
                    <a:pt x="233" y="169"/>
                  </a:lnTo>
                  <a:lnTo>
                    <a:pt x="233" y="172"/>
                  </a:lnTo>
                  <a:close/>
                  <a:moveTo>
                    <a:pt x="174" y="169"/>
                  </a:moveTo>
                  <a:lnTo>
                    <a:pt x="176" y="169"/>
                  </a:lnTo>
                  <a:lnTo>
                    <a:pt x="176" y="172"/>
                  </a:lnTo>
                  <a:lnTo>
                    <a:pt x="176" y="169"/>
                  </a:lnTo>
                  <a:lnTo>
                    <a:pt x="176" y="172"/>
                  </a:lnTo>
                  <a:lnTo>
                    <a:pt x="176" y="174"/>
                  </a:lnTo>
                  <a:lnTo>
                    <a:pt x="178" y="174"/>
                  </a:lnTo>
                  <a:lnTo>
                    <a:pt x="176" y="174"/>
                  </a:lnTo>
                  <a:lnTo>
                    <a:pt x="176" y="176"/>
                  </a:lnTo>
                  <a:lnTo>
                    <a:pt x="176" y="174"/>
                  </a:lnTo>
                  <a:lnTo>
                    <a:pt x="174" y="174"/>
                  </a:lnTo>
                  <a:lnTo>
                    <a:pt x="174" y="172"/>
                  </a:lnTo>
                  <a:lnTo>
                    <a:pt x="174" y="169"/>
                  </a:lnTo>
                  <a:close/>
                  <a:moveTo>
                    <a:pt x="188" y="169"/>
                  </a:moveTo>
                  <a:lnTo>
                    <a:pt x="188" y="172"/>
                  </a:lnTo>
                  <a:lnTo>
                    <a:pt x="188" y="174"/>
                  </a:lnTo>
                  <a:lnTo>
                    <a:pt x="186" y="174"/>
                  </a:lnTo>
                  <a:lnTo>
                    <a:pt x="188" y="174"/>
                  </a:lnTo>
                  <a:lnTo>
                    <a:pt x="186" y="172"/>
                  </a:lnTo>
                  <a:lnTo>
                    <a:pt x="188" y="172"/>
                  </a:lnTo>
                  <a:lnTo>
                    <a:pt x="188" y="169"/>
                  </a:lnTo>
                  <a:close/>
                  <a:moveTo>
                    <a:pt x="247" y="169"/>
                  </a:moveTo>
                  <a:lnTo>
                    <a:pt x="250" y="169"/>
                  </a:lnTo>
                  <a:lnTo>
                    <a:pt x="252" y="169"/>
                  </a:lnTo>
                  <a:lnTo>
                    <a:pt x="250" y="169"/>
                  </a:lnTo>
                  <a:lnTo>
                    <a:pt x="252" y="172"/>
                  </a:lnTo>
                  <a:lnTo>
                    <a:pt x="252" y="174"/>
                  </a:lnTo>
                  <a:lnTo>
                    <a:pt x="254" y="174"/>
                  </a:lnTo>
                  <a:lnTo>
                    <a:pt x="252" y="174"/>
                  </a:lnTo>
                  <a:lnTo>
                    <a:pt x="250" y="174"/>
                  </a:lnTo>
                  <a:lnTo>
                    <a:pt x="252" y="174"/>
                  </a:lnTo>
                  <a:lnTo>
                    <a:pt x="250" y="174"/>
                  </a:lnTo>
                  <a:lnTo>
                    <a:pt x="247" y="174"/>
                  </a:lnTo>
                  <a:lnTo>
                    <a:pt x="250" y="174"/>
                  </a:lnTo>
                  <a:lnTo>
                    <a:pt x="250" y="172"/>
                  </a:lnTo>
                  <a:lnTo>
                    <a:pt x="250" y="169"/>
                  </a:lnTo>
                  <a:lnTo>
                    <a:pt x="247" y="169"/>
                  </a:lnTo>
                  <a:lnTo>
                    <a:pt x="250" y="169"/>
                  </a:lnTo>
                  <a:lnTo>
                    <a:pt x="247" y="169"/>
                  </a:lnTo>
                  <a:lnTo>
                    <a:pt x="247" y="167"/>
                  </a:lnTo>
                  <a:lnTo>
                    <a:pt x="247" y="169"/>
                  </a:lnTo>
                  <a:close/>
                  <a:moveTo>
                    <a:pt x="209" y="167"/>
                  </a:moveTo>
                  <a:lnTo>
                    <a:pt x="207" y="167"/>
                  </a:lnTo>
                  <a:lnTo>
                    <a:pt x="209" y="167"/>
                  </a:lnTo>
                  <a:close/>
                  <a:moveTo>
                    <a:pt x="214" y="164"/>
                  </a:moveTo>
                  <a:lnTo>
                    <a:pt x="212" y="167"/>
                  </a:lnTo>
                  <a:lnTo>
                    <a:pt x="214" y="167"/>
                  </a:lnTo>
                  <a:lnTo>
                    <a:pt x="212" y="167"/>
                  </a:lnTo>
                  <a:lnTo>
                    <a:pt x="212" y="164"/>
                  </a:lnTo>
                  <a:lnTo>
                    <a:pt x="212" y="167"/>
                  </a:lnTo>
                  <a:lnTo>
                    <a:pt x="212" y="164"/>
                  </a:lnTo>
                  <a:lnTo>
                    <a:pt x="214" y="164"/>
                  </a:lnTo>
                  <a:close/>
                  <a:moveTo>
                    <a:pt x="193" y="164"/>
                  </a:moveTo>
                  <a:lnTo>
                    <a:pt x="193" y="167"/>
                  </a:lnTo>
                  <a:lnTo>
                    <a:pt x="195" y="167"/>
                  </a:lnTo>
                  <a:lnTo>
                    <a:pt x="195" y="164"/>
                  </a:lnTo>
                  <a:lnTo>
                    <a:pt x="195" y="167"/>
                  </a:lnTo>
                  <a:lnTo>
                    <a:pt x="195" y="164"/>
                  </a:lnTo>
                  <a:lnTo>
                    <a:pt x="193" y="164"/>
                  </a:lnTo>
                  <a:lnTo>
                    <a:pt x="195" y="164"/>
                  </a:lnTo>
                  <a:lnTo>
                    <a:pt x="195" y="167"/>
                  </a:lnTo>
                  <a:lnTo>
                    <a:pt x="193" y="167"/>
                  </a:lnTo>
                  <a:lnTo>
                    <a:pt x="195" y="169"/>
                  </a:lnTo>
                  <a:lnTo>
                    <a:pt x="193" y="169"/>
                  </a:lnTo>
                  <a:lnTo>
                    <a:pt x="193" y="172"/>
                  </a:lnTo>
                  <a:lnTo>
                    <a:pt x="190" y="172"/>
                  </a:lnTo>
                  <a:lnTo>
                    <a:pt x="188" y="172"/>
                  </a:lnTo>
                  <a:lnTo>
                    <a:pt x="188" y="169"/>
                  </a:lnTo>
                  <a:lnTo>
                    <a:pt x="190" y="169"/>
                  </a:lnTo>
                  <a:lnTo>
                    <a:pt x="190" y="167"/>
                  </a:lnTo>
                  <a:lnTo>
                    <a:pt x="190" y="169"/>
                  </a:lnTo>
                  <a:lnTo>
                    <a:pt x="190" y="167"/>
                  </a:lnTo>
                  <a:lnTo>
                    <a:pt x="193" y="164"/>
                  </a:lnTo>
                  <a:close/>
                  <a:moveTo>
                    <a:pt x="245" y="162"/>
                  </a:moveTo>
                  <a:lnTo>
                    <a:pt x="247" y="162"/>
                  </a:lnTo>
                  <a:lnTo>
                    <a:pt x="247" y="164"/>
                  </a:lnTo>
                  <a:lnTo>
                    <a:pt x="245" y="164"/>
                  </a:lnTo>
                  <a:lnTo>
                    <a:pt x="247" y="164"/>
                  </a:lnTo>
                  <a:lnTo>
                    <a:pt x="247" y="167"/>
                  </a:lnTo>
                  <a:lnTo>
                    <a:pt x="247" y="164"/>
                  </a:lnTo>
                  <a:lnTo>
                    <a:pt x="247" y="167"/>
                  </a:lnTo>
                  <a:lnTo>
                    <a:pt x="245" y="167"/>
                  </a:lnTo>
                  <a:lnTo>
                    <a:pt x="247" y="167"/>
                  </a:lnTo>
                  <a:lnTo>
                    <a:pt x="245" y="167"/>
                  </a:lnTo>
                  <a:lnTo>
                    <a:pt x="245" y="164"/>
                  </a:lnTo>
                  <a:lnTo>
                    <a:pt x="242" y="164"/>
                  </a:lnTo>
                  <a:lnTo>
                    <a:pt x="245" y="164"/>
                  </a:lnTo>
                  <a:lnTo>
                    <a:pt x="245" y="162"/>
                  </a:lnTo>
                  <a:close/>
                  <a:moveTo>
                    <a:pt x="202" y="162"/>
                  </a:moveTo>
                  <a:lnTo>
                    <a:pt x="205" y="162"/>
                  </a:lnTo>
                  <a:lnTo>
                    <a:pt x="205" y="164"/>
                  </a:lnTo>
                  <a:lnTo>
                    <a:pt x="205" y="167"/>
                  </a:lnTo>
                  <a:lnTo>
                    <a:pt x="205" y="169"/>
                  </a:lnTo>
                  <a:lnTo>
                    <a:pt x="205" y="172"/>
                  </a:lnTo>
                  <a:lnTo>
                    <a:pt x="205" y="174"/>
                  </a:lnTo>
                  <a:lnTo>
                    <a:pt x="202" y="174"/>
                  </a:lnTo>
                  <a:lnTo>
                    <a:pt x="200" y="174"/>
                  </a:lnTo>
                  <a:lnTo>
                    <a:pt x="200" y="176"/>
                  </a:lnTo>
                  <a:lnTo>
                    <a:pt x="200" y="174"/>
                  </a:lnTo>
                  <a:lnTo>
                    <a:pt x="200" y="172"/>
                  </a:lnTo>
                  <a:lnTo>
                    <a:pt x="197" y="172"/>
                  </a:lnTo>
                  <a:lnTo>
                    <a:pt x="197" y="169"/>
                  </a:lnTo>
                  <a:lnTo>
                    <a:pt x="197" y="167"/>
                  </a:lnTo>
                  <a:lnTo>
                    <a:pt x="197" y="169"/>
                  </a:lnTo>
                  <a:lnTo>
                    <a:pt x="197" y="167"/>
                  </a:lnTo>
                  <a:lnTo>
                    <a:pt x="200" y="167"/>
                  </a:lnTo>
                  <a:lnTo>
                    <a:pt x="200" y="164"/>
                  </a:lnTo>
                  <a:lnTo>
                    <a:pt x="202" y="164"/>
                  </a:lnTo>
                  <a:lnTo>
                    <a:pt x="202" y="162"/>
                  </a:lnTo>
                  <a:close/>
                  <a:moveTo>
                    <a:pt x="169" y="162"/>
                  </a:moveTo>
                  <a:lnTo>
                    <a:pt x="169" y="164"/>
                  </a:lnTo>
                  <a:lnTo>
                    <a:pt x="169" y="162"/>
                  </a:lnTo>
                  <a:lnTo>
                    <a:pt x="169" y="164"/>
                  </a:lnTo>
                  <a:lnTo>
                    <a:pt x="171" y="164"/>
                  </a:lnTo>
                  <a:lnTo>
                    <a:pt x="169" y="164"/>
                  </a:lnTo>
                  <a:lnTo>
                    <a:pt x="169" y="167"/>
                  </a:lnTo>
                  <a:lnTo>
                    <a:pt x="169" y="164"/>
                  </a:lnTo>
                  <a:lnTo>
                    <a:pt x="169" y="167"/>
                  </a:lnTo>
                  <a:lnTo>
                    <a:pt x="167" y="167"/>
                  </a:lnTo>
                  <a:lnTo>
                    <a:pt x="167" y="164"/>
                  </a:lnTo>
                  <a:lnTo>
                    <a:pt x="167" y="167"/>
                  </a:lnTo>
                  <a:lnTo>
                    <a:pt x="167" y="164"/>
                  </a:lnTo>
                  <a:lnTo>
                    <a:pt x="167" y="167"/>
                  </a:lnTo>
                  <a:lnTo>
                    <a:pt x="167" y="164"/>
                  </a:lnTo>
                  <a:lnTo>
                    <a:pt x="167" y="162"/>
                  </a:lnTo>
                  <a:lnTo>
                    <a:pt x="167" y="164"/>
                  </a:lnTo>
                  <a:lnTo>
                    <a:pt x="167" y="162"/>
                  </a:lnTo>
                  <a:lnTo>
                    <a:pt x="169" y="162"/>
                  </a:lnTo>
                  <a:close/>
                  <a:moveTo>
                    <a:pt x="245" y="162"/>
                  </a:moveTo>
                  <a:lnTo>
                    <a:pt x="242" y="162"/>
                  </a:lnTo>
                  <a:lnTo>
                    <a:pt x="245" y="162"/>
                  </a:lnTo>
                  <a:close/>
                  <a:moveTo>
                    <a:pt x="126" y="162"/>
                  </a:moveTo>
                  <a:lnTo>
                    <a:pt x="124" y="162"/>
                  </a:lnTo>
                  <a:lnTo>
                    <a:pt x="126" y="162"/>
                  </a:lnTo>
                  <a:close/>
                  <a:moveTo>
                    <a:pt x="55" y="160"/>
                  </a:moveTo>
                  <a:lnTo>
                    <a:pt x="53" y="160"/>
                  </a:lnTo>
                  <a:lnTo>
                    <a:pt x="55" y="160"/>
                  </a:lnTo>
                  <a:close/>
                  <a:moveTo>
                    <a:pt x="174" y="160"/>
                  </a:moveTo>
                  <a:lnTo>
                    <a:pt x="171" y="160"/>
                  </a:lnTo>
                  <a:lnTo>
                    <a:pt x="174" y="160"/>
                  </a:lnTo>
                  <a:close/>
                  <a:moveTo>
                    <a:pt x="124" y="160"/>
                  </a:moveTo>
                  <a:lnTo>
                    <a:pt x="124" y="162"/>
                  </a:lnTo>
                  <a:lnTo>
                    <a:pt x="124" y="160"/>
                  </a:lnTo>
                  <a:lnTo>
                    <a:pt x="124" y="162"/>
                  </a:lnTo>
                  <a:lnTo>
                    <a:pt x="124" y="160"/>
                  </a:lnTo>
                  <a:lnTo>
                    <a:pt x="121" y="160"/>
                  </a:lnTo>
                  <a:lnTo>
                    <a:pt x="124" y="160"/>
                  </a:lnTo>
                  <a:close/>
                  <a:moveTo>
                    <a:pt x="254" y="157"/>
                  </a:moveTo>
                  <a:lnTo>
                    <a:pt x="254" y="160"/>
                  </a:lnTo>
                  <a:lnTo>
                    <a:pt x="254" y="157"/>
                  </a:lnTo>
                  <a:close/>
                  <a:moveTo>
                    <a:pt x="242" y="157"/>
                  </a:moveTo>
                  <a:lnTo>
                    <a:pt x="245" y="157"/>
                  </a:lnTo>
                  <a:lnTo>
                    <a:pt x="245" y="160"/>
                  </a:lnTo>
                  <a:lnTo>
                    <a:pt x="242" y="160"/>
                  </a:lnTo>
                  <a:lnTo>
                    <a:pt x="242" y="157"/>
                  </a:lnTo>
                  <a:lnTo>
                    <a:pt x="242" y="160"/>
                  </a:lnTo>
                  <a:lnTo>
                    <a:pt x="242" y="157"/>
                  </a:lnTo>
                  <a:lnTo>
                    <a:pt x="242" y="160"/>
                  </a:lnTo>
                  <a:lnTo>
                    <a:pt x="242" y="157"/>
                  </a:lnTo>
                  <a:close/>
                  <a:moveTo>
                    <a:pt x="131" y="157"/>
                  </a:moveTo>
                  <a:lnTo>
                    <a:pt x="129" y="157"/>
                  </a:lnTo>
                  <a:lnTo>
                    <a:pt x="131" y="157"/>
                  </a:lnTo>
                  <a:lnTo>
                    <a:pt x="131" y="155"/>
                  </a:lnTo>
                  <a:lnTo>
                    <a:pt x="131" y="157"/>
                  </a:lnTo>
                  <a:lnTo>
                    <a:pt x="131" y="155"/>
                  </a:lnTo>
                  <a:lnTo>
                    <a:pt x="131" y="157"/>
                  </a:lnTo>
                  <a:close/>
                  <a:moveTo>
                    <a:pt x="138" y="155"/>
                  </a:moveTo>
                  <a:lnTo>
                    <a:pt x="136" y="155"/>
                  </a:lnTo>
                  <a:lnTo>
                    <a:pt x="136" y="157"/>
                  </a:lnTo>
                  <a:lnTo>
                    <a:pt x="133" y="157"/>
                  </a:lnTo>
                  <a:lnTo>
                    <a:pt x="131" y="157"/>
                  </a:lnTo>
                  <a:lnTo>
                    <a:pt x="133" y="157"/>
                  </a:lnTo>
                  <a:lnTo>
                    <a:pt x="133" y="155"/>
                  </a:lnTo>
                  <a:lnTo>
                    <a:pt x="136" y="155"/>
                  </a:lnTo>
                  <a:lnTo>
                    <a:pt x="138" y="155"/>
                  </a:lnTo>
                  <a:close/>
                  <a:moveTo>
                    <a:pt x="238" y="155"/>
                  </a:moveTo>
                  <a:lnTo>
                    <a:pt x="238" y="157"/>
                  </a:lnTo>
                  <a:lnTo>
                    <a:pt x="238" y="155"/>
                  </a:lnTo>
                  <a:lnTo>
                    <a:pt x="238" y="157"/>
                  </a:lnTo>
                  <a:lnTo>
                    <a:pt x="238" y="155"/>
                  </a:lnTo>
                  <a:lnTo>
                    <a:pt x="238" y="157"/>
                  </a:lnTo>
                  <a:lnTo>
                    <a:pt x="235" y="157"/>
                  </a:lnTo>
                  <a:lnTo>
                    <a:pt x="238" y="157"/>
                  </a:lnTo>
                  <a:lnTo>
                    <a:pt x="238" y="160"/>
                  </a:lnTo>
                  <a:lnTo>
                    <a:pt x="235" y="160"/>
                  </a:lnTo>
                  <a:lnTo>
                    <a:pt x="238" y="160"/>
                  </a:lnTo>
                  <a:lnTo>
                    <a:pt x="235" y="160"/>
                  </a:lnTo>
                  <a:lnTo>
                    <a:pt x="235" y="157"/>
                  </a:lnTo>
                  <a:lnTo>
                    <a:pt x="235" y="160"/>
                  </a:lnTo>
                  <a:lnTo>
                    <a:pt x="235" y="157"/>
                  </a:lnTo>
                  <a:lnTo>
                    <a:pt x="235" y="155"/>
                  </a:lnTo>
                  <a:lnTo>
                    <a:pt x="238" y="155"/>
                  </a:lnTo>
                  <a:close/>
                  <a:moveTo>
                    <a:pt x="242" y="153"/>
                  </a:moveTo>
                  <a:lnTo>
                    <a:pt x="242" y="155"/>
                  </a:lnTo>
                  <a:lnTo>
                    <a:pt x="242" y="153"/>
                  </a:lnTo>
                  <a:lnTo>
                    <a:pt x="242" y="155"/>
                  </a:lnTo>
                  <a:lnTo>
                    <a:pt x="242" y="153"/>
                  </a:lnTo>
                  <a:close/>
                  <a:moveTo>
                    <a:pt x="195" y="153"/>
                  </a:moveTo>
                  <a:lnTo>
                    <a:pt x="195" y="155"/>
                  </a:lnTo>
                  <a:lnTo>
                    <a:pt x="195" y="153"/>
                  </a:lnTo>
                  <a:close/>
                  <a:moveTo>
                    <a:pt x="186" y="153"/>
                  </a:moveTo>
                  <a:lnTo>
                    <a:pt x="183" y="153"/>
                  </a:lnTo>
                  <a:lnTo>
                    <a:pt x="186" y="153"/>
                  </a:lnTo>
                  <a:close/>
                  <a:moveTo>
                    <a:pt x="193" y="153"/>
                  </a:moveTo>
                  <a:lnTo>
                    <a:pt x="193" y="155"/>
                  </a:lnTo>
                  <a:lnTo>
                    <a:pt x="193" y="153"/>
                  </a:lnTo>
                  <a:lnTo>
                    <a:pt x="193" y="155"/>
                  </a:lnTo>
                  <a:lnTo>
                    <a:pt x="195" y="155"/>
                  </a:lnTo>
                  <a:lnTo>
                    <a:pt x="193" y="155"/>
                  </a:lnTo>
                  <a:lnTo>
                    <a:pt x="193" y="153"/>
                  </a:lnTo>
                  <a:close/>
                  <a:moveTo>
                    <a:pt x="202" y="150"/>
                  </a:moveTo>
                  <a:lnTo>
                    <a:pt x="202" y="153"/>
                  </a:lnTo>
                  <a:lnTo>
                    <a:pt x="202" y="150"/>
                  </a:lnTo>
                  <a:lnTo>
                    <a:pt x="202" y="153"/>
                  </a:lnTo>
                  <a:lnTo>
                    <a:pt x="202" y="150"/>
                  </a:lnTo>
                  <a:close/>
                  <a:moveTo>
                    <a:pt x="252" y="150"/>
                  </a:moveTo>
                  <a:lnTo>
                    <a:pt x="250" y="150"/>
                  </a:lnTo>
                  <a:lnTo>
                    <a:pt x="250" y="153"/>
                  </a:lnTo>
                  <a:lnTo>
                    <a:pt x="250" y="150"/>
                  </a:lnTo>
                  <a:lnTo>
                    <a:pt x="250" y="153"/>
                  </a:lnTo>
                  <a:lnTo>
                    <a:pt x="250" y="150"/>
                  </a:lnTo>
                  <a:lnTo>
                    <a:pt x="250" y="153"/>
                  </a:lnTo>
                  <a:lnTo>
                    <a:pt x="250" y="150"/>
                  </a:lnTo>
                  <a:lnTo>
                    <a:pt x="250" y="153"/>
                  </a:lnTo>
                  <a:lnTo>
                    <a:pt x="250" y="150"/>
                  </a:lnTo>
                  <a:lnTo>
                    <a:pt x="252" y="150"/>
                  </a:lnTo>
                  <a:close/>
                  <a:moveTo>
                    <a:pt x="167" y="150"/>
                  </a:moveTo>
                  <a:lnTo>
                    <a:pt x="167" y="153"/>
                  </a:lnTo>
                  <a:lnTo>
                    <a:pt x="169" y="153"/>
                  </a:lnTo>
                  <a:lnTo>
                    <a:pt x="169" y="155"/>
                  </a:lnTo>
                  <a:lnTo>
                    <a:pt x="167" y="155"/>
                  </a:lnTo>
                  <a:lnTo>
                    <a:pt x="167" y="157"/>
                  </a:lnTo>
                  <a:lnTo>
                    <a:pt x="167" y="155"/>
                  </a:lnTo>
                  <a:lnTo>
                    <a:pt x="167" y="157"/>
                  </a:lnTo>
                  <a:lnTo>
                    <a:pt x="167" y="155"/>
                  </a:lnTo>
                  <a:lnTo>
                    <a:pt x="167" y="157"/>
                  </a:lnTo>
                  <a:lnTo>
                    <a:pt x="164" y="157"/>
                  </a:lnTo>
                  <a:lnTo>
                    <a:pt x="164" y="155"/>
                  </a:lnTo>
                  <a:lnTo>
                    <a:pt x="167" y="155"/>
                  </a:lnTo>
                  <a:lnTo>
                    <a:pt x="164" y="155"/>
                  </a:lnTo>
                  <a:lnTo>
                    <a:pt x="167" y="155"/>
                  </a:lnTo>
                  <a:lnTo>
                    <a:pt x="164" y="155"/>
                  </a:lnTo>
                  <a:lnTo>
                    <a:pt x="167" y="155"/>
                  </a:lnTo>
                  <a:lnTo>
                    <a:pt x="164" y="155"/>
                  </a:lnTo>
                  <a:lnTo>
                    <a:pt x="164" y="153"/>
                  </a:lnTo>
                  <a:lnTo>
                    <a:pt x="167" y="153"/>
                  </a:lnTo>
                  <a:lnTo>
                    <a:pt x="164" y="153"/>
                  </a:lnTo>
                  <a:lnTo>
                    <a:pt x="167" y="153"/>
                  </a:lnTo>
                  <a:lnTo>
                    <a:pt x="164" y="153"/>
                  </a:lnTo>
                  <a:lnTo>
                    <a:pt x="164" y="150"/>
                  </a:lnTo>
                  <a:lnTo>
                    <a:pt x="167" y="150"/>
                  </a:lnTo>
                  <a:close/>
                  <a:moveTo>
                    <a:pt x="197" y="150"/>
                  </a:moveTo>
                  <a:lnTo>
                    <a:pt x="200" y="150"/>
                  </a:lnTo>
                  <a:lnTo>
                    <a:pt x="200" y="153"/>
                  </a:lnTo>
                  <a:lnTo>
                    <a:pt x="197" y="153"/>
                  </a:lnTo>
                  <a:lnTo>
                    <a:pt x="195" y="153"/>
                  </a:lnTo>
                  <a:lnTo>
                    <a:pt x="197" y="153"/>
                  </a:lnTo>
                  <a:lnTo>
                    <a:pt x="195" y="150"/>
                  </a:lnTo>
                  <a:lnTo>
                    <a:pt x="197" y="150"/>
                  </a:lnTo>
                  <a:close/>
                  <a:moveTo>
                    <a:pt x="181" y="148"/>
                  </a:moveTo>
                  <a:lnTo>
                    <a:pt x="183" y="148"/>
                  </a:lnTo>
                  <a:lnTo>
                    <a:pt x="183" y="150"/>
                  </a:lnTo>
                  <a:lnTo>
                    <a:pt x="183" y="153"/>
                  </a:lnTo>
                  <a:lnTo>
                    <a:pt x="186" y="153"/>
                  </a:lnTo>
                  <a:lnTo>
                    <a:pt x="183" y="155"/>
                  </a:lnTo>
                  <a:lnTo>
                    <a:pt x="181" y="155"/>
                  </a:lnTo>
                  <a:lnTo>
                    <a:pt x="181" y="153"/>
                  </a:lnTo>
                  <a:lnTo>
                    <a:pt x="183" y="153"/>
                  </a:lnTo>
                  <a:lnTo>
                    <a:pt x="181" y="153"/>
                  </a:lnTo>
                  <a:lnTo>
                    <a:pt x="183" y="150"/>
                  </a:lnTo>
                  <a:lnTo>
                    <a:pt x="181" y="150"/>
                  </a:lnTo>
                  <a:lnTo>
                    <a:pt x="183" y="150"/>
                  </a:lnTo>
                  <a:lnTo>
                    <a:pt x="181" y="150"/>
                  </a:lnTo>
                  <a:lnTo>
                    <a:pt x="183" y="150"/>
                  </a:lnTo>
                  <a:lnTo>
                    <a:pt x="181" y="150"/>
                  </a:lnTo>
                  <a:lnTo>
                    <a:pt x="183" y="150"/>
                  </a:lnTo>
                  <a:lnTo>
                    <a:pt x="181" y="150"/>
                  </a:lnTo>
                  <a:lnTo>
                    <a:pt x="181" y="148"/>
                  </a:lnTo>
                  <a:close/>
                  <a:moveTo>
                    <a:pt x="114" y="148"/>
                  </a:moveTo>
                  <a:lnTo>
                    <a:pt x="114" y="150"/>
                  </a:lnTo>
                  <a:lnTo>
                    <a:pt x="114" y="148"/>
                  </a:lnTo>
                  <a:lnTo>
                    <a:pt x="114" y="150"/>
                  </a:lnTo>
                  <a:lnTo>
                    <a:pt x="114" y="148"/>
                  </a:lnTo>
                  <a:close/>
                  <a:moveTo>
                    <a:pt x="235" y="150"/>
                  </a:moveTo>
                  <a:lnTo>
                    <a:pt x="235" y="148"/>
                  </a:lnTo>
                  <a:lnTo>
                    <a:pt x="235" y="150"/>
                  </a:lnTo>
                  <a:close/>
                  <a:moveTo>
                    <a:pt x="136" y="148"/>
                  </a:moveTo>
                  <a:lnTo>
                    <a:pt x="136" y="150"/>
                  </a:lnTo>
                  <a:lnTo>
                    <a:pt x="136" y="148"/>
                  </a:lnTo>
                  <a:lnTo>
                    <a:pt x="136" y="150"/>
                  </a:lnTo>
                  <a:lnTo>
                    <a:pt x="133" y="150"/>
                  </a:lnTo>
                  <a:lnTo>
                    <a:pt x="133" y="148"/>
                  </a:lnTo>
                  <a:lnTo>
                    <a:pt x="136" y="148"/>
                  </a:lnTo>
                  <a:lnTo>
                    <a:pt x="136" y="145"/>
                  </a:lnTo>
                  <a:lnTo>
                    <a:pt x="136" y="148"/>
                  </a:lnTo>
                  <a:close/>
                  <a:moveTo>
                    <a:pt x="233" y="145"/>
                  </a:moveTo>
                  <a:lnTo>
                    <a:pt x="231" y="145"/>
                  </a:lnTo>
                  <a:lnTo>
                    <a:pt x="233" y="145"/>
                  </a:lnTo>
                  <a:close/>
                  <a:moveTo>
                    <a:pt x="238" y="145"/>
                  </a:moveTo>
                  <a:lnTo>
                    <a:pt x="235" y="145"/>
                  </a:lnTo>
                  <a:lnTo>
                    <a:pt x="238" y="145"/>
                  </a:lnTo>
                  <a:close/>
                  <a:moveTo>
                    <a:pt x="176" y="143"/>
                  </a:moveTo>
                  <a:lnTo>
                    <a:pt x="176" y="145"/>
                  </a:lnTo>
                  <a:lnTo>
                    <a:pt x="174" y="145"/>
                  </a:lnTo>
                  <a:lnTo>
                    <a:pt x="176" y="145"/>
                  </a:lnTo>
                  <a:lnTo>
                    <a:pt x="176" y="143"/>
                  </a:lnTo>
                  <a:close/>
                  <a:moveTo>
                    <a:pt x="235" y="143"/>
                  </a:moveTo>
                  <a:lnTo>
                    <a:pt x="235" y="145"/>
                  </a:lnTo>
                  <a:lnTo>
                    <a:pt x="235" y="148"/>
                  </a:lnTo>
                  <a:lnTo>
                    <a:pt x="235" y="145"/>
                  </a:lnTo>
                  <a:lnTo>
                    <a:pt x="235" y="148"/>
                  </a:lnTo>
                  <a:lnTo>
                    <a:pt x="233" y="148"/>
                  </a:lnTo>
                  <a:lnTo>
                    <a:pt x="233" y="145"/>
                  </a:lnTo>
                  <a:lnTo>
                    <a:pt x="235" y="145"/>
                  </a:lnTo>
                  <a:lnTo>
                    <a:pt x="233" y="145"/>
                  </a:lnTo>
                  <a:lnTo>
                    <a:pt x="235" y="145"/>
                  </a:lnTo>
                  <a:lnTo>
                    <a:pt x="233" y="145"/>
                  </a:lnTo>
                  <a:lnTo>
                    <a:pt x="235" y="145"/>
                  </a:lnTo>
                  <a:lnTo>
                    <a:pt x="235" y="143"/>
                  </a:lnTo>
                  <a:close/>
                  <a:moveTo>
                    <a:pt x="150" y="143"/>
                  </a:moveTo>
                  <a:lnTo>
                    <a:pt x="152" y="143"/>
                  </a:lnTo>
                  <a:lnTo>
                    <a:pt x="150" y="143"/>
                  </a:lnTo>
                  <a:close/>
                  <a:moveTo>
                    <a:pt x="186" y="141"/>
                  </a:moveTo>
                  <a:lnTo>
                    <a:pt x="186" y="143"/>
                  </a:lnTo>
                  <a:lnTo>
                    <a:pt x="186" y="141"/>
                  </a:lnTo>
                  <a:lnTo>
                    <a:pt x="188" y="141"/>
                  </a:lnTo>
                  <a:lnTo>
                    <a:pt x="188" y="143"/>
                  </a:lnTo>
                  <a:lnTo>
                    <a:pt x="190" y="143"/>
                  </a:lnTo>
                  <a:lnTo>
                    <a:pt x="193" y="143"/>
                  </a:lnTo>
                  <a:lnTo>
                    <a:pt x="193" y="145"/>
                  </a:lnTo>
                  <a:lnTo>
                    <a:pt x="193" y="143"/>
                  </a:lnTo>
                  <a:lnTo>
                    <a:pt x="193" y="145"/>
                  </a:lnTo>
                  <a:lnTo>
                    <a:pt x="193" y="148"/>
                  </a:lnTo>
                  <a:lnTo>
                    <a:pt x="190" y="148"/>
                  </a:lnTo>
                  <a:lnTo>
                    <a:pt x="188" y="148"/>
                  </a:lnTo>
                  <a:lnTo>
                    <a:pt x="188" y="145"/>
                  </a:lnTo>
                  <a:lnTo>
                    <a:pt x="188" y="143"/>
                  </a:lnTo>
                  <a:lnTo>
                    <a:pt x="186" y="143"/>
                  </a:lnTo>
                  <a:lnTo>
                    <a:pt x="186" y="141"/>
                  </a:lnTo>
                  <a:close/>
                  <a:moveTo>
                    <a:pt x="164" y="141"/>
                  </a:moveTo>
                  <a:lnTo>
                    <a:pt x="167" y="141"/>
                  </a:lnTo>
                  <a:lnTo>
                    <a:pt x="167" y="143"/>
                  </a:lnTo>
                  <a:lnTo>
                    <a:pt x="164" y="143"/>
                  </a:lnTo>
                  <a:lnTo>
                    <a:pt x="167" y="143"/>
                  </a:lnTo>
                  <a:lnTo>
                    <a:pt x="164" y="143"/>
                  </a:lnTo>
                  <a:lnTo>
                    <a:pt x="164" y="145"/>
                  </a:lnTo>
                  <a:lnTo>
                    <a:pt x="164" y="148"/>
                  </a:lnTo>
                  <a:lnTo>
                    <a:pt x="164" y="145"/>
                  </a:lnTo>
                  <a:lnTo>
                    <a:pt x="164" y="148"/>
                  </a:lnTo>
                  <a:lnTo>
                    <a:pt x="162" y="148"/>
                  </a:lnTo>
                  <a:lnTo>
                    <a:pt x="164" y="148"/>
                  </a:lnTo>
                  <a:lnTo>
                    <a:pt x="162" y="148"/>
                  </a:lnTo>
                  <a:lnTo>
                    <a:pt x="162" y="145"/>
                  </a:lnTo>
                  <a:lnTo>
                    <a:pt x="162" y="143"/>
                  </a:lnTo>
                  <a:lnTo>
                    <a:pt x="162" y="141"/>
                  </a:lnTo>
                  <a:lnTo>
                    <a:pt x="164" y="141"/>
                  </a:lnTo>
                  <a:lnTo>
                    <a:pt x="164" y="143"/>
                  </a:lnTo>
                  <a:lnTo>
                    <a:pt x="164" y="141"/>
                  </a:lnTo>
                  <a:lnTo>
                    <a:pt x="162" y="141"/>
                  </a:lnTo>
                  <a:lnTo>
                    <a:pt x="164" y="141"/>
                  </a:lnTo>
                  <a:close/>
                  <a:moveTo>
                    <a:pt x="231" y="141"/>
                  </a:moveTo>
                  <a:lnTo>
                    <a:pt x="231" y="143"/>
                  </a:lnTo>
                  <a:lnTo>
                    <a:pt x="228" y="143"/>
                  </a:lnTo>
                  <a:lnTo>
                    <a:pt x="228" y="145"/>
                  </a:lnTo>
                  <a:lnTo>
                    <a:pt x="226" y="145"/>
                  </a:lnTo>
                  <a:lnTo>
                    <a:pt x="223" y="145"/>
                  </a:lnTo>
                  <a:lnTo>
                    <a:pt x="223" y="148"/>
                  </a:lnTo>
                  <a:lnTo>
                    <a:pt x="223" y="145"/>
                  </a:lnTo>
                  <a:lnTo>
                    <a:pt x="223" y="148"/>
                  </a:lnTo>
                  <a:lnTo>
                    <a:pt x="223" y="145"/>
                  </a:lnTo>
                  <a:lnTo>
                    <a:pt x="221" y="148"/>
                  </a:lnTo>
                  <a:lnTo>
                    <a:pt x="219" y="148"/>
                  </a:lnTo>
                  <a:lnTo>
                    <a:pt x="216" y="148"/>
                  </a:lnTo>
                  <a:lnTo>
                    <a:pt x="219" y="148"/>
                  </a:lnTo>
                  <a:lnTo>
                    <a:pt x="216" y="148"/>
                  </a:lnTo>
                  <a:lnTo>
                    <a:pt x="219" y="148"/>
                  </a:lnTo>
                  <a:lnTo>
                    <a:pt x="219" y="145"/>
                  </a:lnTo>
                  <a:lnTo>
                    <a:pt x="221" y="143"/>
                  </a:lnTo>
                  <a:lnTo>
                    <a:pt x="223" y="143"/>
                  </a:lnTo>
                  <a:lnTo>
                    <a:pt x="226" y="143"/>
                  </a:lnTo>
                  <a:lnTo>
                    <a:pt x="228" y="141"/>
                  </a:lnTo>
                  <a:lnTo>
                    <a:pt x="231" y="141"/>
                  </a:lnTo>
                  <a:close/>
                  <a:moveTo>
                    <a:pt x="157" y="138"/>
                  </a:moveTo>
                  <a:lnTo>
                    <a:pt x="157" y="141"/>
                  </a:lnTo>
                  <a:lnTo>
                    <a:pt x="157" y="143"/>
                  </a:lnTo>
                  <a:lnTo>
                    <a:pt x="155" y="143"/>
                  </a:lnTo>
                  <a:lnTo>
                    <a:pt x="155" y="141"/>
                  </a:lnTo>
                  <a:lnTo>
                    <a:pt x="157" y="141"/>
                  </a:lnTo>
                  <a:lnTo>
                    <a:pt x="157" y="138"/>
                  </a:lnTo>
                  <a:close/>
                  <a:moveTo>
                    <a:pt x="136" y="136"/>
                  </a:moveTo>
                  <a:lnTo>
                    <a:pt x="136" y="138"/>
                  </a:lnTo>
                  <a:lnTo>
                    <a:pt x="136" y="136"/>
                  </a:lnTo>
                  <a:lnTo>
                    <a:pt x="136" y="138"/>
                  </a:lnTo>
                  <a:lnTo>
                    <a:pt x="136" y="136"/>
                  </a:lnTo>
                  <a:lnTo>
                    <a:pt x="136" y="138"/>
                  </a:lnTo>
                  <a:lnTo>
                    <a:pt x="136" y="136"/>
                  </a:lnTo>
                  <a:lnTo>
                    <a:pt x="138" y="136"/>
                  </a:lnTo>
                  <a:lnTo>
                    <a:pt x="138" y="138"/>
                  </a:lnTo>
                  <a:lnTo>
                    <a:pt x="138" y="136"/>
                  </a:lnTo>
                  <a:lnTo>
                    <a:pt x="138" y="138"/>
                  </a:lnTo>
                  <a:lnTo>
                    <a:pt x="136" y="138"/>
                  </a:lnTo>
                  <a:lnTo>
                    <a:pt x="136" y="141"/>
                  </a:lnTo>
                  <a:lnTo>
                    <a:pt x="133" y="141"/>
                  </a:lnTo>
                  <a:lnTo>
                    <a:pt x="136" y="141"/>
                  </a:lnTo>
                  <a:lnTo>
                    <a:pt x="136" y="138"/>
                  </a:lnTo>
                  <a:lnTo>
                    <a:pt x="133" y="138"/>
                  </a:lnTo>
                  <a:lnTo>
                    <a:pt x="133" y="136"/>
                  </a:lnTo>
                  <a:lnTo>
                    <a:pt x="136" y="138"/>
                  </a:lnTo>
                  <a:lnTo>
                    <a:pt x="136" y="136"/>
                  </a:lnTo>
                  <a:close/>
                  <a:moveTo>
                    <a:pt x="145" y="138"/>
                  </a:moveTo>
                  <a:lnTo>
                    <a:pt x="145" y="136"/>
                  </a:lnTo>
                  <a:lnTo>
                    <a:pt x="145" y="138"/>
                  </a:lnTo>
                  <a:close/>
                  <a:moveTo>
                    <a:pt x="242" y="136"/>
                  </a:moveTo>
                  <a:lnTo>
                    <a:pt x="245" y="136"/>
                  </a:lnTo>
                  <a:lnTo>
                    <a:pt x="247" y="136"/>
                  </a:lnTo>
                  <a:lnTo>
                    <a:pt x="250" y="138"/>
                  </a:lnTo>
                  <a:lnTo>
                    <a:pt x="250" y="136"/>
                  </a:lnTo>
                  <a:lnTo>
                    <a:pt x="250" y="138"/>
                  </a:lnTo>
                  <a:lnTo>
                    <a:pt x="250" y="136"/>
                  </a:lnTo>
                  <a:lnTo>
                    <a:pt x="252" y="136"/>
                  </a:lnTo>
                  <a:lnTo>
                    <a:pt x="250" y="136"/>
                  </a:lnTo>
                  <a:lnTo>
                    <a:pt x="252" y="136"/>
                  </a:lnTo>
                  <a:lnTo>
                    <a:pt x="254" y="136"/>
                  </a:lnTo>
                  <a:lnTo>
                    <a:pt x="254" y="138"/>
                  </a:lnTo>
                  <a:lnTo>
                    <a:pt x="252" y="138"/>
                  </a:lnTo>
                  <a:lnTo>
                    <a:pt x="254" y="138"/>
                  </a:lnTo>
                  <a:lnTo>
                    <a:pt x="254" y="141"/>
                  </a:lnTo>
                  <a:lnTo>
                    <a:pt x="252" y="141"/>
                  </a:lnTo>
                  <a:lnTo>
                    <a:pt x="250" y="141"/>
                  </a:lnTo>
                  <a:lnTo>
                    <a:pt x="247" y="141"/>
                  </a:lnTo>
                  <a:lnTo>
                    <a:pt x="247" y="143"/>
                  </a:lnTo>
                  <a:lnTo>
                    <a:pt x="245" y="143"/>
                  </a:lnTo>
                  <a:lnTo>
                    <a:pt x="245" y="141"/>
                  </a:lnTo>
                  <a:lnTo>
                    <a:pt x="242" y="141"/>
                  </a:lnTo>
                  <a:lnTo>
                    <a:pt x="240" y="141"/>
                  </a:lnTo>
                  <a:lnTo>
                    <a:pt x="238" y="141"/>
                  </a:lnTo>
                  <a:lnTo>
                    <a:pt x="240" y="141"/>
                  </a:lnTo>
                  <a:lnTo>
                    <a:pt x="238" y="141"/>
                  </a:lnTo>
                  <a:lnTo>
                    <a:pt x="238" y="138"/>
                  </a:lnTo>
                  <a:lnTo>
                    <a:pt x="240" y="138"/>
                  </a:lnTo>
                  <a:lnTo>
                    <a:pt x="240" y="136"/>
                  </a:lnTo>
                  <a:lnTo>
                    <a:pt x="242" y="136"/>
                  </a:lnTo>
                  <a:close/>
                  <a:moveTo>
                    <a:pt x="126" y="136"/>
                  </a:moveTo>
                  <a:lnTo>
                    <a:pt x="129" y="136"/>
                  </a:lnTo>
                  <a:lnTo>
                    <a:pt x="126" y="136"/>
                  </a:lnTo>
                  <a:lnTo>
                    <a:pt x="129" y="136"/>
                  </a:lnTo>
                  <a:lnTo>
                    <a:pt x="126" y="136"/>
                  </a:lnTo>
                  <a:close/>
                  <a:moveTo>
                    <a:pt x="129" y="136"/>
                  </a:moveTo>
                  <a:lnTo>
                    <a:pt x="129" y="134"/>
                  </a:lnTo>
                  <a:lnTo>
                    <a:pt x="129" y="136"/>
                  </a:lnTo>
                  <a:close/>
                  <a:moveTo>
                    <a:pt x="43" y="131"/>
                  </a:moveTo>
                  <a:lnTo>
                    <a:pt x="46" y="134"/>
                  </a:lnTo>
                  <a:lnTo>
                    <a:pt x="46" y="131"/>
                  </a:lnTo>
                  <a:lnTo>
                    <a:pt x="46" y="134"/>
                  </a:lnTo>
                  <a:lnTo>
                    <a:pt x="48" y="134"/>
                  </a:lnTo>
                  <a:lnTo>
                    <a:pt x="48" y="136"/>
                  </a:lnTo>
                  <a:lnTo>
                    <a:pt x="50" y="136"/>
                  </a:lnTo>
                  <a:lnTo>
                    <a:pt x="50" y="138"/>
                  </a:lnTo>
                  <a:lnTo>
                    <a:pt x="53" y="138"/>
                  </a:lnTo>
                  <a:lnTo>
                    <a:pt x="53" y="141"/>
                  </a:lnTo>
                  <a:lnTo>
                    <a:pt x="53" y="138"/>
                  </a:lnTo>
                  <a:lnTo>
                    <a:pt x="50" y="138"/>
                  </a:lnTo>
                  <a:lnTo>
                    <a:pt x="48" y="138"/>
                  </a:lnTo>
                  <a:lnTo>
                    <a:pt x="48" y="141"/>
                  </a:lnTo>
                  <a:lnTo>
                    <a:pt x="48" y="143"/>
                  </a:lnTo>
                  <a:lnTo>
                    <a:pt x="48" y="141"/>
                  </a:lnTo>
                  <a:lnTo>
                    <a:pt x="46" y="141"/>
                  </a:lnTo>
                  <a:lnTo>
                    <a:pt x="43" y="141"/>
                  </a:lnTo>
                  <a:lnTo>
                    <a:pt x="46" y="138"/>
                  </a:lnTo>
                  <a:lnTo>
                    <a:pt x="43" y="138"/>
                  </a:lnTo>
                  <a:lnTo>
                    <a:pt x="43" y="136"/>
                  </a:lnTo>
                  <a:lnTo>
                    <a:pt x="41" y="136"/>
                  </a:lnTo>
                  <a:lnTo>
                    <a:pt x="41" y="134"/>
                  </a:lnTo>
                  <a:lnTo>
                    <a:pt x="41" y="131"/>
                  </a:lnTo>
                  <a:lnTo>
                    <a:pt x="43" y="131"/>
                  </a:lnTo>
                  <a:lnTo>
                    <a:pt x="43" y="129"/>
                  </a:lnTo>
                  <a:lnTo>
                    <a:pt x="43" y="131"/>
                  </a:lnTo>
                  <a:close/>
                  <a:moveTo>
                    <a:pt x="169" y="129"/>
                  </a:moveTo>
                  <a:lnTo>
                    <a:pt x="169" y="131"/>
                  </a:lnTo>
                  <a:lnTo>
                    <a:pt x="169" y="129"/>
                  </a:lnTo>
                  <a:close/>
                  <a:moveTo>
                    <a:pt x="178" y="126"/>
                  </a:moveTo>
                  <a:lnTo>
                    <a:pt x="178" y="129"/>
                  </a:lnTo>
                  <a:lnTo>
                    <a:pt x="181" y="129"/>
                  </a:lnTo>
                  <a:lnTo>
                    <a:pt x="181" y="131"/>
                  </a:lnTo>
                  <a:lnTo>
                    <a:pt x="183" y="131"/>
                  </a:lnTo>
                  <a:lnTo>
                    <a:pt x="183" y="134"/>
                  </a:lnTo>
                  <a:lnTo>
                    <a:pt x="183" y="136"/>
                  </a:lnTo>
                  <a:lnTo>
                    <a:pt x="183" y="134"/>
                  </a:lnTo>
                  <a:lnTo>
                    <a:pt x="186" y="136"/>
                  </a:lnTo>
                  <a:lnTo>
                    <a:pt x="183" y="136"/>
                  </a:lnTo>
                  <a:lnTo>
                    <a:pt x="186" y="136"/>
                  </a:lnTo>
                  <a:lnTo>
                    <a:pt x="183" y="136"/>
                  </a:lnTo>
                  <a:lnTo>
                    <a:pt x="183" y="138"/>
                  </a:lnTo>
                  <a:lnTo>
                    <a:pt x="186" y="138"/>
                  </a:lnTo>
                  <a:lnTo>
                    <a:pt x="186" y="136"/>
                  </a:lnTo>
                  <a:lnTo>
                    <a:pt x="186" y="138"/>
                  </a:lnTo>
                  <a:lnTo>
                    <a:pt x="186" y="141"/>
                  </a:lnTo>
                  <a:lnTo>
                    <a:pt x="183" y="141"/>
                  </a:lnTo>
                  <a:lnTo>
                    <a:pt x="183" y="138"/>
                  </a:lnTo>
                  <a:lnTo>
                    <a:pt x="181" y="138"/>
                  </a:lnTo>
                  <a:lnTo>
                    <a:pt x="181" y="136"/>
                  </a:lnTo>
                  <a:lnTo>
                    <a:pt x="178" y="136"/>
                  </a:lnTo>
                  <a:lnTo>
                    <a:pt x="181" y="136"/>
                  </a:lnTo>
                  <a:lnTo>
                    <a:pt x="178" y="136"/>
                  </a:lnTo>
                  <a:lnTo>
                    <a:pt x="178" y="134"/>
                  </a:lnTo>
                  <a:lnTo>
                    <a:pt x="176" y="134"/>
                  </a:lnTo>
                  <a:lnTo>
                    <a:pt x="176" y="131"/>
                  </a:lnTo>
                  <a:lnTo>
                    <a:pt x="176" y="134"/>
                  </a:lnTo>
                  <a:lnTo>
                    <a:pt x="176" y="131"/>
                  </a:lnTo>
                  <a:lnTo>
                    <a:pt x="176" y="134"/>
                  </a:lnTo>
                  <a:lnTo>
                    <a:pt x="176" y="131"/>
                  </a:lnTo>
                  <a:lnTo>
                    <a:pt x="174" y="131"/>
                  </a:lnTo>
                  <a:lnTo>
                    <a:pt x="176" y="131"/>
                  </a:lnTo>
                  <a:lnTo>
                    <a:pt x="176" y="129"/>
                  </a:lnTo>
                  <a:lnTo>
                    <a:pt x="176" y="131"/>
                  </a:lnTo>
                  <a:lnTo>
                    <a:pt x="176" y="129"/>
                  </a:lnTo>
                  <a:lnTo>
                    <a:pt x="176" y="126"/>
                  </a:lnTo>
                  <a:lnTo>
                    <a:pt x="178" y="126"/>
                  </a:lnTo>
                  <a:close/>
                  <a:moveTo>
                    <a:pt x="136" y="126"/>
                  </a:moveTo>
                  <a:lnTo>
                    <a:pt x="138" y="126"/>
                  </a:lnTo>
                  <a:lnTo>
                    <a:pt x="138" y="129"/>
                  </a:lnTo>
                  <a:lnTo>
                    <a:pt x="136" y="129"/>
                  </a:lnTo>
                  <a:lnTo>
                    <a:pt x="138" y="129"/>
                  </a:lnTo>
                  <a:lnTo>
                    <a:pt x="136" y="129"/>
                  </a:lnTo>
                  <a:lnTo>
                    <a:pt x="138" y="129"/>
                  </a:lnTo>
                  <a:lnTo>
                    <a:pt x="138" y="131"/>
                  </a:lnTo>
                  <a:lnTo>
                    <a:pt x="136" y="131"/>
                  </a:lnTo>
                  <a:lnTo>
                    <a:pt x="133" y="134"/>
                  </a:lnTo>
                  <a:lnTo>
                    <a:pt x="133" y="131"/>
                  </a:lnTo>
                  <a:lnTo>
                    <a:pt x="136" y="131"/>
                  </a:lnTo>
                  <a:lnTo>
                    <a:pt x="136" y="129"/>
                  </a:lnTo>
                  <a:lnTo>
                    <a:pt x="133" y="129"/>
                  </a:lnTo>
                  <a:lnTo>
                    <a:pt x="136" y="129"/>
                  </a:lnTo>
                  <a:lnTo>
                    <a:pt x="136" y="126"/>
                  </a:lnTo>
                  <a:close/>
                  <a:moveTo>
                    <a:pt x="162" y="126"/>
                  </a:moveTo>
                  <a:lnTo>
                    <a:pt x="162" y="129"/>
                  </a:lnTo>
                  <a:lnTo>
                    <a:pt x="159" y="129"/>
                  </a:lnTo>
                  <a:lnTo>
                    <a:pt x="159" y="126"/>
                  </a:lnTo>
                  <a:lnTo>
                    <a:pt x="162" y="126"/>
                  </a:lnTo>
                  <a:close/>
                  <a:moveTo>
                    <a:pt x="119" y="119"/>
                  </a:moveTo>
                  <a:lnTo>
                    <a:pt x="117" y="119"/>
                  </a:lnTo>
                  <a:lnTo>
                    <a:pt x="119" y="119"/>
                  </a:lnTo>
                  <a:close/>
                  <a:moveTo>
                    <a:pt x="159" y="119"/>
                  </a:moveTo>
                  <a:lnTo>
                    <a:pt x="157" y="119"/>
                  </a:lnTo>
                  <a:lnTo>
                    <a:pt x="159" y="119"/>
                  </a:lnTo>
                  <a:close/>
                  <a:moveTo>
                    <a:pt x="155" y="117"/>
                  </a:moveTo>
                  <a:lnTo>
                    <a:pt x="157" y="117"/>
                  </a:lnTo>
                  <a:lnTo>
                    <a:pt x="155" y="117"/>
                  </a:lnTo>
                  <a:close/>
                  <a:moveTo>
                    <a:pt x="57" y="112"/>
                  </a:moveTo>
                  <a:lnTo>
                    <a:pt x="57" y="115"/>
                  </a:lnTo>
                  <a:lnTo>
                    <a:pt x="57" y="112"/>
                  </a:lnTo>
                  <a:close/>
                  <a:moveTo>
                    <a:pt x="55" y="112"/>
                  </a:moveTo>
                  <a:lnTo>
                    <a:pt x="55" y="110"/>
                  </a:lnTo>
                  <a:lnTo>
                    <a:pt x="55" y="112"/>
                  </a:lnTo>
                  <a:close/>
                  <a:moveTo>
                    <a:pt x="88" y="110"/>
                  </a:moveTo>
                  <a:lnTo>
                    <a:pt x="88" y="112"/>
                  </a:lnTo>
                  <a:lnTo>
                    <a:pt x="88" y="110"/>
                  </a:lnTo>
                  <a:close/>
                  <a:moveTo>
                    <a:pt x="57" y="107"/>
                  </a:moveTo>
                  <a:lnTo>
                    <a:pt x="57" y="110"/>
                  </a:lnTo>
                  <a:lnTo>
                    <a:pt x="55" y="110"/>
                  </a:lnTo>
                  <a:lnTo>
                    <a:pt x="55" y="107"/>
                  </a:lnTo>
                  <a:lnTo>
                    <a:pt x="57" y="107"/>
                  </a:lnTo>
                  <a:lnTo>
                    <a:pt x="55" y="107"/>
                  </a:lnTo>
                  <a:lnTo>
                    <a:pt x="57" y="107"/>
                  </a:lnTo>
                  <a:close/>
                  <a:moveTo>
                    <a:pt x="55" y="107"/>
                  </a:moveTo>
                  <a:lnTo>
                    <a:pt x="55" y="105"/>
                  </a:lnTo>
                  <a:lnTo>
                    <a:pt x="55" y="107"/>
                  </a:lnTo>
                  <a:close/>
                  <a:moveTo>
                    <a:pt x="55" y="105"/>
                  </a:moveTo>
                  <a:lnTo>
                    <a:pt x="53" y="105"/>
                  </a:lnTo>
                  <a:lnTo>
                    <a:pt x="55" y="105"/>
                  </a:lnTo>
                  <a:lnTo>
                    <a:pt x="53" y="105"/>
                  </a:lnTo>
                  <a:lnTo>
                    <a:pt x="55" y="105"/>
                  </a:lnTo>
                  <a:close/>
                  <a:moveTo>
                    <a:pt x="48" y="105"/>
                  </a:moveTo>
                  <a:lnTo>
                    <a:pt x="46" y="105"/>
                  </a:lnTo>
                  <a:lnTo>
                    <a:pt x="48" y="105"/>
                  </a:lnTo>
                  <a:close/>
                  <a:moveTo>
                    <a:pt x="41" y="105"/>
                  </a:moveTo>
                  <a:lnTo>
                    <a:pt x="43" y="105"/>
                  </a:lnTo>
                  <a:lnTo>
                    <a:pt x="43" y="107"/>
                  </a:lnTo>
                  <a:lnTo>
                    <a:pt x="43" y="110"/>
                  </a:lnTo>
                  <a:lnTo>
                    <a:pt x="46" y="110"/>
                  </a:lnTo>
                  <a:lnTo>
                    <a:pt x="46" y="112"/>
                  </a:lnTo>
                  <a:lnTo>
                    <a:pt x="46" y="115"/>
                  </a:lnTo>
                  <a:lnTo>
                    <a:pt x="46" y="112"/>
                  </a:lnTo>
                  <a:lnTo>
                    <a:pt x="43" y="112"/>
                  </a:lnTo>
                  <a:lnTo>
                    <a:pt x="43" y="115"/>
                  </a:lnTo>
                  <a:lnTo>
                    <a:pt x="43" y="112"/>
                  </a:lnTo>
                  <a:lnTo>
                    <a:pt x="43" y="110"/>
                  </a:lnTo>
                  <a:lnTo>
                    <a:pt x="41" y="110"/>
                  </a:lnTo>
                  <a:lnTo>
                    <a:pt x="41" y="107"/>
                  </a:lnTo>
                  <a:lnTo>
                    <a:pt x="41" y="105"/>
                  </a:lnTo>
                  <a:lnTo>
                    <a:pt x="43" y="105"/>
                  </a:lnTo>
                  <a:lnTo>
                    <a:pt x="41" y="105"/>
                  </a:lnTo>
                  <a:close/>
                  <a:moveTo>
                    <a:pt x="228" y="105"/>
                  </a:moveTo>
                  <a:lnTo>
                    <a:pt x="228" y="103"/>
                  </a:lnTo>
                  <a:lnTo>
                    <a:pt x="228" y="105"/>
                  </a:lnTo>
                  <a:close/>
                  <a:moveTo>
                    <a:pt x="223" y="103"/>
                  </a:moveTo>
                  <a:lnTo>
                    <a:pt x="226" y="103"/>
                  </a:lnTo>
                  <a:lnTo>
                    <a:pt x="228" y="103"/>
                  </a:lnTo>
                  <a:lnTo>
                    <a:pt x="228" y="105"/>
                  </a:lnTo>
                  <a:lnTo>
                    <a:pt x="226" y="105"/>
                  </a:lnTo>
                  <a:lnTo>
                    <a:pt x="226" y="103"/>
                  </a:lnTo>
                  <a:lnTo>
                    <a:pt x="226" y="105"/>
                  </a:lnTo>
                  <a:lnTo>
                    <a:pt x="226" y="103"/>
                  </a:lnTo>
                  <a:lnTo>
                    <a:pt x="226" y="105"/>
                  </a:lnTo>
                  <a:lnTo>
                    <a:pt x="226" y="103"/>
                  </a:lnTo>
                  <a:lnTo>
                    <a:pt x="223" y="103"/>
                  </a:lnTo>
                  <a:close/>
                  <a:moveTo>
                    <a:pt x="48" y="100"/>
                  </a:moveTo>
                  <a:lnTo>
                    <a:pt x="46" y="100"/>
                  </a:lnTo>
                  <a:lnTo>
                    <a:pt x="48" y="100"/>
                  </a:lnTo>
                  <a:close/>
                  <a:moveTo>
                    <a:pt x="50" y="100"/>
                  </a:moveTo>
                  <a:lnTo>
                    <a:pt x="50" y="103"/>
                  </a:lnTo>
                  <a:lnTo>
                    <a:pt x="50" y="100"/>
                  </a:lnTo>
                  <a:close/>
                  <a:moveTo>
                    <a:pt x="205" y="100"/>
                  </a:moveTo>
                  <a:lnTo>
                    <a:pt x="207" y="100"/>
                  </a:lnTo>
                  <a:lnTo>
                    <a:pt x="205" y="103"/>
                  </a:lnTo>
                  <a:lnTo>
                    <a:pt x="205" y="100"/>
                  </a:lnTo>
                  <a:lnTo>
                    <a:pt x="202" y="100"/>
                  </a:lnTo>
                  <a:lnTo>
                    <a:pt x="205" y="100"/>
                  </a:lnTo>
                  <a:close/>
                  <a:moveTo>
                    <a:pt x="53" y="98"/>
                  </a:moveTo>
                  <a:lnTo>
                    <a:pt x="50" y="98"/>
                  </a:lnTo>
                  <a:lnTo>
                    <a:pt x="50" y="100"/>
                  </a:lnTo>
                  <a:lnTo>
                    <a:pt x="48" y="100"/>
                  </a:lnTo>
                  <a:lnTo>
                    <a:pt x="50" y="100"/>
                  </a:lnTo>
                  <a:lnTo>
                    <a:pt x="48" y="100"/>
                  </a:lnTo>
                  <a:lnTo>
                    <a:pt x="50" y="100"/>
                  </a:lnTo>
                  <a:lnTo>
                    <a:pt x="50" y="98"/>
                  </a:lnTo>
                  <a:lnTo>
                    <a:pt x="53" y="98"/>
                  </a:lnTo>
                  <a:close/>
                  <a:moveTo>
                    <a:pt x="46" y="98"/>
                  </a:moveTo>
                  <a:lnTo>
                    <a:pt x="48" y="98"/>
                  </a:lnTo>
                  <a:lnTo>
                    <a:pt x="46" y="98"/>
                  </a:lnTo>
                  <a:lnTo>
                    <a:pt x="46" y="100"/>
                  </a:lnTo>
                  <a:lnTo>
                    <a:pt x="48" y="100"/>
                  </a:lnTo>
                  <a:lnTo>
                    <a:pt x="46" y="100"/>
                  </a:lnTo>
                  <a:lnTo>
                    <a:pt x="46" y="98"/>
                  </a:lnTo>
                  <a:lnTo>
                    <a:pt x="46" y="96"/>
                  </a:lnTo>
                  <a:lnTo>
                    <a:pt x="46" y="98"/>
                  </a:lnTo>
                  <a:close/>
                  <a:moveTo>
                    <a:pt x="121" y="98"/>
                  </a:moveTo>
                  <a:lnTo>
                    <a:pt x="121" y="96"/>
                  </a:lnTo>
                  <a:lnTo>
                    <a:pt x="124" y="96"/>
                  </a:lnTo>
                  <a:lnTo>
                    <a:pt x="124" y="98"/>
                  </a:lnTo>
                  <a:lnTo>
                    <a:pt x="121" y="98"/>
                  </a:lnTo>
                  <a:close/>
                  <a:moveTo>
                    <a:pt x="174" y="93"/>
                  </a:moveTo>
                  <a:lnTo>
                    <a:pt x="171" y="93"/>
                  </a:lnTo>
                  <a:lnTo>
                    <a:pt x="174" y="93"/>
                  </a:lnTo>
                  <a:close/>
                  <a:moveTo>
                    <a:pt x="167" y="88"/>
                  </a:moveTo>
                  <a:lnTo>
                    <a:pt x="167" y="91"/>
                  </a:lnTo>
                  <a:lnTo>
                    <a:pt x="167" y="88"/>
                  </a:lnTo>
                  <a:close/>
                  <a:moveTo>
                    <a:pt x="169" y="91"/>
                  </a:moveTo>
                  <a:lnTo>
                    <a:pt x="169" y="88"/>
                  </a:lnTo>
                  <a:lnTo>
                    <a:pt x="169" y="91"/>
                  </a:lnTo>
                  <a:close/>
                  <a:moveTo>
                    <a:pt x="164" y="88"/>
                  </a:moveTo>
                  <a:lnTo>
                    <a:pt x="164" y="91"/>
                  </a:lnTo>
                  <a:lnTo>
                    <a:pt x="164" y="88"/>
                  </a:lnTo>
                  <a:close/>
                  <a:moveTo>
                    <a:pt x="169" y="84"/>
                  </a:moveTo>
                  <a:lnTo>
                    <a:pt x="171" y="84"/>
                  </a:lnTo>
                  <a:lnTo>
                    <a:pt x="171" y="86"/>
                  </a:lnTo>
                  <a:lnTo>
                    <a:pt x="171" y="88"/>
                  </a:lnTo>
                  <a:lnTo>
                    <a:pt x="174" y="88"/>
                  </a:lnTo>
                  <a:lnTo>
                    <a:pt x="174" y="91"/>
                  </a:lnTo>
                  <a:lnTo>
                    <a:pt x="174" y="88"/>
                  </a:lnTo>
                  <a:lnTo>
                    <a:pt x="174" y="91"/>
                  </a:lnTo>
                  <a:lnTo>
                    <a:pt x="176" y="91"/>
                  </a:lnTo>
                  <a:lnTo>
                    <a:pt x="174" y="91"/>
                  </a:lnTo>
                  <a:lnTo>
                    <a:pt x="176" y="93"/>
                  </a:lnTo>
                  <a:lnTo>
                    <a:pt x="174" y="93"/>
                  </a:lnTo>
                  <a:lnTo>
                    <a:pt x="171" y="93"/>
                  </a:lnTo>
                  <a:lnTo>
                    <a:pt x="171" y="91"/>
                  </a:lnTo>
                  <a:lnTo>
                    <a:pt x="171" y="93"/>
                  </a:lnTo>
                  <a:lnTo>
                    <a:pt x="171" y="91"/>
                  </a:lnTo>
                  <a:lnTo>
                    <a:pt x="169" y="93"/>
                  </a:lnTo>
                  <a:lnTo>
                    <a:pt x="169" y="91"/>
                  </a:lnTo>
                  <a:lnTo>
                    <a:pt x="171" y="91"/>
                  </a:lnTo>
                  <a:lnTo>
                    <a:pt x="171" y="88"/>
                  </a:lnTo>
                  <a:lnTo>
                    <a:pt x="171" y="91"/>
                  </a:lnTo>
                  <a:lnTo>
                    <a:pt x="171" y="88"/>
                  </a:lnTo>
                  <a:lnTo>
                    <a:pt x="169" y="88"/>
                  </a:lnTo>
                  <a:lnTo>
                    <a:pt x="167" y="88"/>
                  </a:lnTo>
                  <a:lnTo>
                    <a:pt x="167" y="86"/>
                  </a:lnTo>
                  <a:lnTo>
                    <a:pt x="169" y="86"/>
                  </a:lnTo>
                  <a:lnTo>
                    <a:pt x="167" y="86"/>
                  </a:lnTo>
                  <a:lnTo>
                    <a:pt x="167" y="84"/>
                  </a:lnTo>
                  <a:lnTo>
                    <a:pt x="169" y="84"/>
                  </a:lnTo>
                  <a:close/>
                  <a:moveTo>
                    <a:pt x="131" y="81"/>
                  </a:moveTo>
                  <a:lnTo>
                    <a:pt x="131" y="79"/>
                  </a:lnTo>
                  <a:lnTo>
                    <a:pt x="131" y="81"/>
                  </a:lnTo>
                  <a:close/>
                  <a:moveTo>
                    <a:pt x="157" y="77"/>
                  </a:moveTo>
                  <a:lnTo>
                    <a:pt x="157" y="79"/>
                  </a:lnTo>
                  <a:lnTo>
                    <a:pt x="155" y="79"/>
                  </a:lnTo>
                  <a:lnTo>
                    <a:pt x="157" y="79"/>
                  </a:lnTo>
                  <a:lnTo>
                    <a:pt x="155" y="79"/>
                  </a:lnTo>
                  <a:lnTo>
                    <a:pt x="157" y="79"/>
                  </a:lnTo>
                  <a:lnTo>
                    <a:pt x="157" y="77"/>
                  </a:lnTo>
                  <a:lnTo>
                    <a:pt x="157" y="79"/>
                  </a:lnTo>
                  <a:lnTo>
                    <a:pt x="157" y="77"/>
                  </a:lnTo>
                  <a:close/>
                  <a:moveTo>
                    <a:pt x="136" y="77"/>
                  </a:moveTo>
                  <a:lnTo>
                    <a:pt x="136" y="74"/>
                  </a:lnTo>
                  <a:lnTo>
                    <a:pt x="136" y="77"/>
                  </a:lnTo>
                  <a:close/>
                  <a:moveTo>
                    <a:pt x="29" y="77"/>
                  </a:moveTo>
                  <a:lnTo>
                    <a:pt x="27" y="77"/>
                  </a:lnTo>
                  <a:lnTo>
                    <a:pt x="27" y="74"/>
                  </a:lnTo>
                  <a:lnTo>
                    <a:pt x="29" y="74"/>
                  </a:lnTo>
                  <a:lnTo>
                    <a:pt x="29" y="77"/>
                  </a:lnTo>
                  <a:close/>
                  <a:moveTo>
                    <a:pt x="121" y="74"/>
                  </a:moveTo>
                  <a:lnTo>
                    <a:pt x="121" y="77"/>
                  </a:lnTo>
                  <a:lnTo>
                    <a:pt x="121" y="74"/>
                  </a:lnTo>
                  <a:close/>
                  <a:moveTo>
                    <a:pt x="126" y="74"/>
                  </a:moveTo>
                  <a:lnTo>
                    <a:pt x="126" y="77"/>
                  </a:lnTo>
                  <a:lnTo>
                    <a:pt x="126" y="74"/>
                  </a:lnTo>
                  <a:close/>
                  <a:moveTo>
                    <a:pt x="140" y="72"/>
                  </a:moveTo>
                  <a:lnTo>
                    <a:pt x="140" y="74"/>
                  </a:lnTo>
                  <a:lnTo>
                    <a:pt x="143" y="74"/>
                  </a:lnTo>
                  <a:lnTo>
                    <a:pt x="143" y="77"/>
                  </a:lnTo>
                  <a:lnTo>
                    <a:pt x="145" y="77"/>
                  </a:lnTo>
                  <a:lnTo>
                    <a:pt x="145" y="79"/>
                  </a:lnTo>
                  <a:lnTo>
                    <a:pt x="143" y="79"/>
                  </a:lnTo>
                  <a:lnTo>
                    <a:pt x="140" y="79"/>
                  </a:lnTo>
                  <a:lnTo>
                    <a:pt x="140" y="77"/>
                  </a:lnTo>
                  <a:lnTo>
                    <a:pt x="140" y="74"/>
                  </a:lnTo>
                  <a:lnTo>
                    <a:pt x="138" y="74"/>
                  </a:lnTo>
                  <a:lnTo>
                    <a:pt x="138" y="72"/>
                  </a:lnTo>
                  <a:lnTo>
                    <a:pt x="140" y="72"/>
                  </a:lnTo>
                  <a:close/>
                  <a:moveTo>
                    <a:pt x="136" y="72"/>
                  </a:moveTo>
                  <a:lnTo>
                    <a:pt x="136" y="74"/>
                  </a:lnTo>
                  <a:lnTo>
                    <a:pt x="136" y="77"/>
                  </a:lnTo>
                  <a:lnTo>
                    <a:pt x="133" y="77"/>
                  </a:lnTo>
                  <a:lnTo>
                    <a:pt x="136" y="77"/>
                  </a:lnTo>
                  <a:lnTo>
                    <a:pt x="133" y="77"/>
                  </a:lnTo>
                  <a:lnTo>
                    <a:pt x="131" y="74"/>
                  </a:lnTo>
                  <a:lnTo>
                    <a:pt x="133" y="74"/>
                  </a:lnTo>
                  <a:lnTo>
                    <a:pt x="136" y="72"/>
                  </a:lnTo>
                  <a:close/>
                  <a:moveTo>
                    <a:pt x="214" y="72"/>
                  </a:moveTo>
                  <a:lnTo>
                    <a:pt x="214" y="74"/>
                  </a:lnTo>
                  <a:lnTo>
                    <a:pt x="214" y="72"/>
                  </a:lnTo>
                  <a:lnTo>
                    <a:pt x="212" y="72"/>
                  </a:lnTo>
                  <a:lnTo>
                    <a:pt x="214" y="72"/>
                  </a:lnTo>
                  <a:close/>
                  <a:moveTo>
                    <a:pt x="152" y="72"/>
                  </a:moveTo>
                  <a:lnTo>
                    <a:pt x="152" y="74"/>
                  </a:lnTo>
                  <a:lnTo>
                    <a:pt x="150" y="74"/>
                  </a:lnTo>
                  <a:lnTo>
                    <a:pt x="152" y="74"/>
                  </a:lnTo>
                  <a:lnTo>
                    <a:pt x="152" y="72"/>
                  </a:lnTo>
                  <a:lnTo>
                    <a:pt x="150" y="72"/>
                  </a:lnTo>
                  <a:lnTo>
                    <a:pt x="152" y="72"/>
                  </a:lnTo>
                  <a:close/>
                  <a:moveTo>
                    <a:pt x="24" y="72"/>
                  </a:moveTo>
                  <a:lnTo>
                    <a:pt x="27" y="72"/>
                  </a:lnTo>
                  <a:lnTo>
                    <a:pt x="27" y="74"/>
                  </a:lnTo>
                  <a:lnTo>
                    <a:pt x="24" y="74"/>
                  </a:lnTo>
                  <a:lnTo>
                    <a:pt x="24" y="72"/>
                  </a:lnTo>
                  <a:close/>
                  <a:moveTo>
                    <a:pt x="150" y="69"/>
                  </a:moveTo>
                  <a:lnTo>
                    <a:pt x="152" y="69"/>
                  </a:lnTo>
                  <a:lnTo>
                    <a:pt x="152" y="72"/>
                  </a:lnTo>
                  <a:lnTo>
                    <a:pt x="150" y="72"/>
                  </a:lnTo>
                  <a:lnTo>
                    <a:pt x="150" y="74"/>
                  </a:lnTo>
                  <a:lnTo>
                    <a:pt x="148" y="74"/>
                  </a:lnTo>
                  <a:lnTo>
                    <a:pt x="148" y="77"/>
                  </a:lnTo>
                  <a:lnTo>
                    <a:pt x="148" y="74"/>
                  </a:lnTo>
                  <a:lnTo>
                    <a:pt x="148" y="72"/>
                  </a:lnTo>
                  <a:lnTo>
                    <a:pt x="150" y="72"/>
                  </a:lnTo>
                  <a:lnTo>
                    <a:pt x="150" y="69"/>
                  </a:lnTo>
                  <a:close/>
                  <a:moveTo>
                    <a:pt x="233" y="69"/>
                  </a:moveTo>
                  <a:lnTo>
                    <a:pt x="233" y="67"/>
                  </a:lnTo>
                  <a:lnTo>
                    <a:pt x="233" y="69"/>
                  </a:lnTo>
                  <a:close/>
                  <a:moveTo>
                    <a:pt x="155" y="65"/>
                  </a:moveTo>
                  <a:lnTo>
                    <a:pt x="155" y="67"/>
                  </a:lnTo>
                  <a:lnTo>
                    <a:pt x="155" y="69"/>
                  </a:lnTo>
                  <a:lnTo>
                    <a:pt x="155" y="67"/>
                  </a:lnTo>
                  <a:lnTo>
                    <a:pt x="155" y="69"/>
                  </a:lnTo>
                  <a:lnTo>
                    <a:pt x="155" y="67"/>
                  </a:lnTo>
                  <a:lnTo>
                    <a:pt x="155" y="65"/>
                  </a:lnTo>
                  <a:close/>
                  <a:moveTo>
                    <a:pt x="164" y="65"/>
                  </a:moveTo>
                  <a:lnTo>
                    <a:pt x="164" y="67"/>
                  </a:lnTo>
                  <a:lnTo>
                    <a:pt x="162" y="67"/>
                  </a:lnTo>
                  <a:lnTo>
                    <a:pt x="162" y="65"/>
                  </a:lnTo>
                  <a:lnTo>
                    <a:pt x="164" y="65"/>
                  </a:lnTo>
                  <a:close/>
                  <a:moveTo>
                    <a:pt x="27" y="65"/>
                  </a:moveTo>
                  <a:lnTo>
                    <a:pt x="29" y="65"/>
                  </a:lnTo>
                  <a:lnTo>
                    <a:pt x="27" y="65"/>
                  </a:lnTo>
                  <a:close/>
                  <a:moveTo>
                    <a:pt x="159" y="62"/>
                  </a:moveTo>
                  <a:lnTo>
                    <a:pt x="159" y="65"/>
                  </a:lnTo>
                  <a:lnTo>
                    <a:pt x="157" y="65"/>
                  </a:lnTo>
                  <a:lnTo>
                    <a:pt x="157" y="67"/>
                  </a:lnTo>
                  <a:lnTo>
                    <a:pt x="157" y="65"/>
                  </a:lnTo>
                  <a:lnTo>
                    <a:pt x="157" y="62"/>
                  </a:lnTo>
                  <a:lnTo>
                    <a:pt x="159" y="62"/>
                  </a:lnTo>
                  <a:close/>
                  <a:moveTo>
                    <a:pt x="159" y="60"/>
                  </a:moveTo>
                  <a:lnTo>
                    <a:pt x="157" y="60"/>
                  </a:lnTo>
                  <a:lnTo>
                    <a:pt x="159" y="60"/>
                  </a:lnTo>
                  <a:close/>
                  <a:moveTo>
                    <a:pt x="186" y="58"/>
                  </a:moveTo>
                  <a:lnTo>
                    <a:pt x="188" y="58"/>
                  </a:lnTo>
                  <a:lnTo>
                    <a:pt x="188" y="60"/>
                  </a:lnTo>
                  <a:lnTo>
                    <a:pt x="186" y="60"/>
                  </a:lnTo>
                  <a:lnTo>
                    <a:pt x="188" y="60"/>
                  </a:lnTo>
                  <a:lnTo>
                    <a:pt x="186" y="60"/>
                  </a:lnTo>
                  <a:lnTo>
                    <a:pt x="186" y="62"/>
                  </a:lnTo>
                  <a:lnTo>
                    <a:pt x="186" y="60"/>
                  </a:lnTo>
                  <a:lnTo>
                    <a:pt x="186" y="58"/>
                  </a:lnTo>
                  <a:close/>
                  <a:moveTo>
                    <a:pt x="0" y="43"/>
                  </a:moveTo>
                  <a:lnTo>
                    <a:pt x="3" y="43"/>
                  </a:lnTo>
                  <a:lnTo>
                    <a:pt x="0" y="43"/>
                  </a:lnTo>
                  <a:lnTo>
                    <a:pt x="0" y="46"/>
                  </a:lnTo>
                  <a:lnTo>
                    <a:pt x="0" y="43"/>
                  </a:lnTo>
                  <a:lnTo>
                    <a:pt x="0" y="46"/>
                  </a:lnTo>
                  <a:lnTo>
                    <a:pt x="0" y="43"/>
                  </a:lnTo>
                  <a:lnTo>
                    <a:pt x="0" y="46"/>
                  </a:lnTo>
                  <a:lnTo>
                    <a:pt x="0" y="43"/>
                  </a:lnTo>
                  <a:close/>
                  <a:moveTo>
                    <a:pt x="8" y="43"/>
                  </a:moveTo>
                  <a:lnTo>
                    <a:pt x="5" y="43"/>
                  </a:lnTo>
                  <a:lnTo>
                    <a:pt x="5" y="41"/>
                  </a:lnTo>
                  <a:lnTo>
                    <a:pt x="8" y="41"/>
                  </a:lnTo>
                  <a:lnTo>
                    <a:pt x="8" y="43"/>
                  </a:lnTo>
                  <a:close/>
                  <a:moveTo>
                    <a:pt x="148" y="36"/>
                  </a:moveTo>
                  <a:lnTo>
                    <a:pt x="145" y="36"/>
                  </a:lnTo>
                  <a:lnTo>
                    <a:pt x="148" y="36"/>
                  </a:lnTo>
                  <a:close/>
                  <a:moveTo>
                    <a:pt x="145" y="27"/>
                  </a:moveTo>
                  <a:lnTo>
                    <a:pt x="145" y="29"/>
                  </a:lnTo>
                  <a:lnTo>
                    <a:pt x="145" y="27"/>
                  </a:lnTo>
                  <a:close/>
                  <a:moveTo>
                    <a:pt x="150" y="22"/>
                  </a:moveTo>
                  <a:lnTo>
                    <a:pt x="150" y="24"/>
                  </a:lnTo>
                  <a:lnTo>
                    <a:pt x="150" y="22"/>
                  </a:lnTo>
                  <a:lnTo>
                    <a:pt x="148" y="22"/>
                  </a:lnTo>
                  <a:lnTo>
                    <a:pt x="150" y="22"/>
                  </a:lnTo>
                  <a:close/>
                  <a:moveTo>
                    <a:pt x="205" y="15"/>
                  </a:moveTo>
                  <a:lnTo>
                    <a:pt x="207" y="15"/>
                  </a:lnTo>
                  <a:lnTo>
                    <a:pt x="209" y="17"/>
                  </a:lnTo>
                  <a:lnTo>
                    <a:pt x="207" y="17"/>
                  </a:lnTo>
                  <a:lnTo>
                    <a:pt x="207" y="19"/>
                  </a:lnTo>
                  <a:lnTo>
                    <a:pt x="205" y="19"/>
                  </a:lnTo>
                  <a:lnTo>
                    <a:pt x="202" y="19"/>
                  </a:lnTo>
                  <a:lnTo>
                    <a:pt x="202" y="17"/>
                  </a:lnTo>
                  <a:lnTo>
                    <a:pt x="200" y="17"/>
                  </a:lnTo>
                  <a:lnTo>
                    <a:pt x="200" y="15"/>
                  </a:lnTo>
                  <a:lnTo>
                    <a:pt x="202" y="15"/>
                  </a:lnTo>
                  <a:lnTo>
                    <a:pt x="205" y="15"/>
                  </a:lnTo>
                  <a:close/>
                  <a:moveTo>
                    <a:pt x="174" y="0"/>
                  </a:moveTo>
                  <a:lnTo>
                    <a:pt x="174" y="3"/>
                  </a:lnTo>
                  <a:lnTo>
                    <a:pt x="176" y="3"/>
                  </a:lnTo>
                  <a:lnTo>
                    <a:pt x="176" y="0"/>
                  </a:lnTo>
                  <a:lnTo>
                    <a:pt x="176" y="3"/>
                  </a:lnTo>
                  <a:lnTo>
                    <a:pt x="178" y="3"/>
                  </a:lnTo>
                  <a:lnTo>
                    <a:pt x="178" y="5"/>
                  </a:lnTo>
                  <a:lnTo>
                    <a:pt x="178" y="3"/>
                  </a:lnTo>
                  <a:lnTo>
                    <a:pt x="178" y="5"/>
                  </a:lnTo>
                  <a:lnTo>
                    <a:pt x="178" y="8"/>
                  </a:lnTo>
                  <a:lnTo>
                    <a:pt x="178" y="10"/>
                  </a:lnTo>
                  <a:lnTo>
                    <a:pt x="176" y="10"/>
                  </a:lnTo>
                  <a:lnTo>
                    <a:pt x="174" y="10"/>
                  </a:lnTo>
                  <a:lnTo>
                    <a:pt x="174" y="12"/>
                  </a:lnTo>
                  <a:lnTo>
                    <a:pt x="174" y="10"/>
                  </a:lnTo>
                  <a:lnTo>
                    <a:pt x="174" y="12"/>
                  </a:lnTo>
                  <a:lnTo>
                    <a:pt x="174" y="10"/>
                  </a:lnTo>
                  <a:lnTo>
                    <a:pt x="171" y="10"/>
                  </a:lnTo>
                  <a:lnTo>
                    <a:pt x="174" y="10"/>
                  </a:lnTo>
                  <a:lnTo>
                    <a:pt x="171" y="10"/>
                  </a:lnTo>
                  <a:lnTo>
                    <a:pt x="169" y="10"/>
                  </a:lnTo>
                  <a:lnTo>
                    <a:pt x="169" y="8"/>
                  </a:lnTo>
                  <a:lnTo>
                    <a:pt x="169" y="5"/>
                  </a:lnTo>
                  <a:lnTo>
                    <a:pt x="171" y="5"/>
                  </a:lnTo>
                  <a:lnTo>
                    <a:pt x="171" y="3"/>
                  </a:lnTo>
                  <a:lnTo>
                    <a:pt x="174" y="3"/>
                  </a:lnTo>
                  <a:lnTo>
                    <a:pt x="17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9" name="Freeform 52454"/>
            <p:cNvSpPr>
              <a:spLocks noEditPoints="1"/>
            </p:cNvSpPr>
            <p:nvPr/>
          </p:nvSpPr>
          <p:spPr bwMode="auto">
            <a:xfrm>
              <a:off x="3068634" y="5383231"/>
              <a:ext cx="414338" cy="393701"/>
            </a:xfrm>
            <a:custGeom>
              <a:avLst/>
              <a:gdLst>
                <a:gd name="T0" fmla="*/ 230 w 261"/>
                <a:gd name="T1" fmla="*/ 243 h 248"/>
                <a:gd name="T2" fmla="*/ 230 w 261"/>
                <a:gd name="T3" fmla="*/ 240 h 248"/>
                <a:gd name="T4" fmla="*/ 142 w 261"/>
                <a:gd name="T5" fmla="*/ 238 h 248"/>
                <a:gd name="T6" fmla="*/ 259 w 261"/>
                <a:gd name="T7" fmla="*/ 219 h 248"/>
                <a:gd name="T8" fmla="*/ 109 w 261"/>
                <a:gd name="T9" fmla="*/ 217 h 248"/>
                <a:gd name="T10" fmla="*/ 259 w 261"/>
                <a:gd name="T11" fmla="*/ 217 h 248"/>
                <a:gd name="T12" fmla="*/ 254 w 261"/>
                <a:gd name="T13" fmla="*/ 207 h 248"/>
                <a:gd name="T14" fmla="*/ 259 w 261"/>
                <a:gd name="T15" fmla="*/ 205 h 248"/>
                <a:gd name="T16" fmla="*/ 261 w 261"/>
                <a:gd name="T17" fmla="*/ 205 h 248"/>
                <a:gd name="T18" fmla="*/ 225 w 261"/>
                <a:gd name="T19" fmla="*/ 202 h 248"/>
                <a:gd name="T20" fmla="*/ 216 w 261"/>
                <a:gd name="T21" fmla="*/ 193 h 248"/>
                <a:gd name="T22" fmla="*/ 214 w 261"/>
                <a:gd name="T23" fmla="*/ 191 h 248"/>
                <a:gd name="T24" fmla="*/ 59 w 261"/>
                <a:gd name="T25" fmla="*/ 181 h 248"/>
                <a:gd name="T26" fmla="*/ 157 w 261"/>
                <a:gd name="T27" fmla="*/ 181 h 248"/>
                <a:gd name="T28" fmla="*/ 121 w 261"/>
                <a:gd name="T29" fmla="*/ 181 h 248"/>
                <a:gd name="T30" fmla="*/ 147 w 261"/>
                <a:gd name="T31" fmla="*/ 181 h 248"/>
                <a:gd name="T32" fmla="*/ 190 w 261"/>
                <a:gd name="T33" fmla="*/ 179 h 248"/>
                <a:gd name="T34" fmla="*/ 190 w 261"/>
                <a:gd name="T35" fmla="*/ 176 h 248"/>
                <a:gd name="T36" fmla="*/ 188 w 261"/>
                <a:gd name="T37" fmla="*/ 176 h 248"/>
                <a:gd name="T38" fmla="*/ 233 w 261"/>
                <a:gd name="T39" fmla="*/ 172 h 248"/>
                <a:gd name="T40" fmla="*/ 173 w 261"/>
                <a:gd name="T41" fmla="*/ 172 h 248"/>
                <a:gd name="T42" fmla="*/ 178 w 261"/>
                <a:gd name="T43" fmla="*/ 172 h 248"/>
                <a:gd name="T44" fmla="*/ 192 w 261"/>
                <a:gd name="T45" fmla="*/ 169 h 248"/>
                <a:gd name="T46" fmla="*/ 195 w 261"/>
                <a:gd name="T47" fmla="*/ 167 h 248"/>
                <a:gd name="T48" fmla="*/ 199 w 261"/>
                <a:gd name="T49" fmla="*/ 160 h 248"/>
                <a:gd name="T50" fmla="*/ 116 w 261"/>
                <a:gd name="T51" fmla="*/ 157 h 248"/>
                <a:gd name="T52" fmla="*/ 221 w 261"/>
                <a:gd name="T53" fmla="*/ 160 h 248"/>
                <a:gd name="T54" fmla="*/ 225 w 261"/>
                <a:gd name="T55" fmla="*/ 155 h 248"/>
                <a:gd name="T56" fmla="*/ 119 w 261"/>
                <a:gd name="T57" fmla="*/ 153 h 248"/>
                <a:gd name="T58" fmla="*/ 119 w 261"/>
                <a:gd name="T59" fmla="*/ 148 h 248"/>
                <a:gd name="T60" fmla="*/ 161 w 261"/>
                <a:gd name="T61" fmla="*/ 145 h 248"/>
                <a:gd name="T62" fmla="*/ 114 w 261"/>
                <a:gd name="T63" fmla="*/ 141 h 248"/>
                <a:gd name="T64" fmla="*/ 31 w 261"/>
                <a:gd name="T65" fmla="*/ 141 h 248"/>
                <a:gd name="T66" fmla="*/ 116 w 261"/>
                <a:gd name="T67" fmla="*/ 138 h 248"/>
                <a:gd name="T68" fmla="*/ 128 w 261"/>
                <a:gd name="T69" fmla="*/ 134 h 248"/>
                <a:gd name="T70" fmla="*/ 97 w 261"/>
                <a:gd name="T71" fmla="*/ 119 h 248"/>
                <a:gd name="T72" fmla="*/ 140 w 261"/>
                <a:gd name="T73" fmla="*/ 115 h 248"/>
                <a:gd name="T74" fmla="*/ 45 w 261"/>
                <a:gd name="T75" fmla="*/ 112 h 248"/>
                <a:gd name="T76" fmla="*/ 50 w 261"/>
                <a:gd name="T77" fmla="*/ 112 h 248"/>
                <a:gd name="T78" fmla="*/ 74 w 261"/>
                <a:gd name="T79" fmla="*/ 110 h 248"/>
                <a:gd name="T80" fmla="*/ 38 w 261"/>
                <a:gd name="T81" fmla="*/ 107 h 248"/>
                <a:gd name="T82" fmla="*/ 38 w 261"/>
                <a:gd name="T83" fmla="*/ 107 h 248"/>
                <a:gd name="T84" fmla="*/ 211 w 261"/>
                <a:gd name="T85" fmla="*/ 105 h 248"/>
                <a:gd name="T86" fmla="*/ 116 w 261"/>
                <a:gd name="T87" fmla="*/ 103 h 248"/>
                <a:gd name="T88" fmla="*/ 206 w 261"/>
                <a:gd name="T89" fmla="*/ 103 h 248"/>
                <a:gd name="T90" fmla="*/ 33 w 261"/>
                <a:gd name="T91" fmla="*/ 100 h 248"/>
                <a:gd name="T92" fmla="*/ 133 w 261"/>
                <a:gd name="T93" fmla="*/ 98 h 248"/>
                <a:gd name="T94" fmla="*/ 26 w 261"/>
                <a:gd name="T95" fmla="*/ 96 h 248"/>
                <a:gd name="T96" fmla="*/ 40 w 261"/>
                <a:gd name="T97" fmla="*/ 79 h 248"/>
                <a:gd name="T98" fmla="*/ 138 w 261"/>
                <a:gd name="T99" fmla="*/ 79 h 248"/>
                <a:gd name="T100" fmla="*/ 121 w 261"/>
                <a:gd name="T101" fmla="*/ 77 h 248"/>
                <a:gd name="T102" fmla="*/ 138 w 261"/>
                <a:gd name="T103" fmla="*/ 67 h 248"/>
                <a:gd name="T104" fmla="*/ 216 w 261"/>
                <a:gd name="T105" fmla="*/ 67 h 248"/>
                <a:gd name="T106" fmla="*/ 171 w 261"/>
                <a:gd name="T107" fmla="*/ 43 h 248"/>
                <a:gd name="T108" fmla="*/ 133 w 261"/>
                <a:gd name="T109" fmla="*/ 24 h 248"/>
                <a:gd name="T110" fmla="*/ 202 w 261"/>
                <a:gd name="T111" fmla="*/ 0 h 248"/>
                <a:gd name="T112" fmla="*/ 202 w 261"/>
                <a:gd name="T11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1" h="248">
                  <a:moveTo>
                    <a:pt x="195" y="248"/>
                  </a:moveTo>
                  <a:lnTo>
                    <a:pt x="192" y="248"/>
                  </a:lnTo>
                  <a:lnTo>
                    <a:pt x="195" y="248"/>
                  </a:lnTo>
                  <a:close/>
                  <a:moveTo>
                    <a:pt x="230" y="243"/>
                  </a:moveTo>
                  <a:lnTo>
                    <a:pt x="228" y="243"/>
                  </a:lnTo>
                  <a:lnTo>
                    <a:pt x="230" y="243"/>
                  </a:lnTo>
                  <a:close/>
                  <a:moveTo>
                    <a:pt x="233" y="240"/>
                  </a:moveTo>
                  <a:lnTo>
                    <a:pt x="230" y="240"/>
                  </a:lnTo>
                  <a:lnTo>
                    <a:pt x="233" y="240"/>
                  </a:lnTo>
                  <a:close/>
                  <a:moveTo>
                    <a:pt x="142" y="238"/>
                  </a:moveTo>
                  <a:lnTo>
                    <a:pt x="140" y="238"/>
                  </a:lnTo>
                  <a:lnTo>
                    <a:pt x="142" y="238"/>
                  </a:lnTo>
                  <a:close/>
                  <a:moveTo>
                    <a:pt x="237" y="233"/>
                  </a:moveTo>
                  <a:lnTo>
                    <a:pt x="235" y="233"/>
                  </a:lnTo>
                  <a:lnTo>
                    <a:pt x="237" y="233"/>
                  </a:lnTo>
                  <a:close/>
                  <a:moveTo>
                    <a:pt x="259" y="219"/>
                  </a:moveTo>
                  <a:lnTo>
                    <a:pt x="256" y="219"/>
                  </a:lnTo>
                  <a:lnTo>
                    <a:pt x="259" y="219"/>
                  </a:lnTo>
                  <a:close/>
                  <a:moveTo>
                    <a:pt x="112" y="217"/>
                  </a:moveTo>
                  <a:lnTo>
                    <a:pt x="109" y="217"/>
                  </a:lnTo>
                  <a:lnTo>
                    <a:pt x="112" y="217"/>
                  </a:lnTo>
                  <a:close/>
                  <a:moveTo>
                    <a:pt x="259" y="217"/>
                  </a:moveTo>
                  <a:lnTo>
                    <a:pt x="256" y="217"/>
                  </a:lnTo>
                  <a:lnTo>
                    <a:pt x="259" y="217"/>
                  </a:lnTo>
                  <a:close/>
                  <a:moveTo>
                    <a:pt x="259" y="210"/>
                  </a:moveTo>
                  <a:lnTo>
                    <a:pt x="256" y="210"/>
                  </a:lnTo>
                  <a:lnTo>
                    <a:pt x="259" y="210"/>
                  </a:lnTo>
                  <a:close/>
                  <a:moveTo>
                    <a:pt x="254" y="207"/>
                  </a:moveTo>
                  <a:lnTo>
                    <a:pt x="254" y="205"/>
                  </a:lnTo>
                  <a:lnTo>
                    <a:pt x="256" y="207"/>
                  </a:lnTo>
                  <a:lnTo>
                    <a:pt x="254" y="207"/>
                  </a:lnTo>
                  <a:close/>
                  <a:moveTo>
                    <a:pt x="259" y="205"/>
                  </a:moveTo>
                  <a:lnTo>
                    <a:pt x="256" y="205"/>
                  </a:lnTo>
                  <a:lnTo>
                    <a:pt x="259" y="205"/>
                  </a:lnTo>
                  <a:close/>
                  <a:moveTo>
                    <a:pt x="259" y="205"/>
                  </a:moveTo>
                  <a:lnTo>
                    <a:pt x="261" y="205"/>
                  </a:lnTo>
                  <a:lnTo>
                    <a:pt x="259" y="205"/>
                  </a:lnTo>
                  <a:close/>
                  <a:moveTo>
                    <a:pt x="225" y="202"/>
                  </a:moveTo>
                  <a:lnTo>
                    <a:pt x="225" y="200"/>
                  </a:lnTo>
                  <a:lnTo>
                    <a:pt x="225" y="202"/>
                  </a:lnTo>
                  <a:close/>
                  <a:moveTo>
                    <a:pt x="223" y="198"/>
                  </a:moveTo>
                  <a:lnTo>
                    <a:pt x="221" y="198"/>
                  </a:lnTo>
                  <a:lnTo>
                    <a:pt x="223" y="198"/>
                  </a:lnTo>
                  <a:close/>
                  <a:moveTo>
                    <a:pt x="216" y="193"/>
                  </a:moveTo>
                  <a:lnTo>
                    <a:pt x="216" y="191"/>
                  </a:lnTo>
                  <a:lnTo>
                    <a:pt x="216" y="193"/>
                  </a:lnTo>
                  <a:close/>
                  <a:moveTo>
                    <a:pt x="216" y="191"/>
                  </a:moveTo>
                  <a:lnTo>
                    <a:pt x="214" y="191"/>
                  </a:lnTo>
                  <a:lnTo>
                    <a:pt x="216" y="191"/>
                  </a:lnTo>
                  <a:close/>
                  <a:moveTo>
                    <a:pt x="59" y="181"/>
                  </a:moveTo>
                  <a:lnTo>
                    <a:pt x="59" y="183"/>
                  </a:lnTo>
                  <a:lnTo>
                    <a:pt x="59" y="181"/>
                  </a:lnTo>
                  <a:close/>
                  <a:moveTo>
                    <a:pt x="154" y="181"/>
                  </a:moveTo>
                  <a:lnTo>
                    <a:pt x="154" y="183"/>
                  </a:lnTo>
                  <a:lnTo>
                    <a:pt x="154" y="181"/>
                  </a:lnTo>
                  <a:close/>
                  <a:moveTo>
                    <a:pt x="157" y="181"/>
                  </a:moveTo>
                  <a:lnTo>
                    <a:pt x="154" y="181"/>
                  </a:lnTo>
                  <a:lnTo>
                    <a:pt x="157" y="181"/>
                  </a:lnTo>
                  <a:close/>
                  <a:moveTo>
                    <a:pt x="123" y="181"/>
                  </a:moveTo>
                  <a:lnTo>
                    <a:pt x="121" y="181"/>
                  </a:lnTo>
                  <a:lnTo>
                    <a:pt x="123" y="181"/>
                  </a:lnTo>
                  <a:close/>
                  <a:moveTo>
                    <a:pt x="147" y="181"/>
                  </a:moveTo>
                  <a:lnTo>
                    <a:pt x="150" y="181"/>
                  </a:lnTo>
                  <a:lnTo>
                    <a:pt x="147" y="181"/>
                  </a:lnTo>
                  <a:close/>
                  <a:moveTo>
                    <a:pt x="188" y="179"/>
                  </a:moveTo>
                  <a:lnTo>
                    <a:pt x="185" y="179"/>
                  </a:lnTo>
                  <a:lnTo>
                    <a:pt x="188" y="179"/>
                  </a:lnTo>
                  <a:close/>
                  <a:moveTo>
                    <a:pt x="190" y="179"/>
                  </a:moveTo>
                  <a:lnTo>
                    <a:pt x="190" y="176"/>
                  </a:lnTo>
                  <a:lnTo>
                    <a:pt x="190" y="179"/>
                  </a:lnTo>
                  <a:close/>
                  <a:moveTo>
                    <a:pt x="192" y="176"/>
                  </a:moveTo>
                  <a:lnTo>
                    <a:pt x="190" y="176"/>
                  </a:lnTo>
                  <a:lnTo>
                    <a:pt x="192" y="176"/>
                  </a:lnTo>
                  <a:close/>
                  <a:moveTo>
                    <a:pt x="188" y="176"/>
                  </a:moveTo>
                  <a:lnTo>
                    <a:pt x="188" y="174"/>
                  </a:lnTo>
                  <a:lnTo>
                    <a:pt x="188" y="176"/>
                  </a:lnTo>
                  <a:close/>
                  <a:moveTo>
                    <a:pt x="237" y="174"/>
                  </a:moveTo>
                  <a:lnTo>
                    <a:pt x="235" y="174"/>
                  </a:lnTo>
                  <a:lnTo>
                    <a:pt x="237" y="174"/>
                  </a:lnTo>
                  <a:close/>
                  <a:moveTo>
                    <a:pt x="233" y="172"/>
                  </a:moveTo>
                  <a:lnTo>
                    <a:pt x="230" y="172"/>
                  </a:lnTo>
                  <a:lnTo>
                    <a:pt x="233" y="172"/>
                  </a:lnTo>
                  <a:close/>
                  <a:moveTo>
                    <a:pt x="171" y="172"/>
                  </a:moveTo>
                  <a:lnTo>
                    <a:pt x="173" y="172"/>
                  </a:lnTo>
                  <a:lnTo>
                    <a:pt x="171" y="172"/>
                  </a:lnTo>
                  <a:close/>
                  <a:moveTo>
                    <a:pt x="178" y="172"/>
                  </a:moveTo>
                  <a:lnTo>
                    <a:pt x="176" y="172"/>
                  </a:lnTo>
                  <a:lnTo>
                    <a:pt x="178" y="172"/>
                  </a:lnTo>
                  <a:close/>
                  <a:moveTo>
                    <a:pt x="171" y="167"/>
                  </a:moveTo>
                  <a:lnTo>
                    <a:pt x="171" y="169"/>
                  </a:lnTo>
                  <a:lnTo>
                    <a:pt x="171" y="167"/>
                  </a:lnTo>
                  <a:close/>
                  <a:moveTo>
                    <a:pt x="192" y="169"/>
                  </a:moveTo>
                  <a:lnTo>
                    <a:pt x="192" y="167"/>
                  </a:lnTo>
                  <a:lnTo>
                    <a:pt x="192" y="169"/>
                  </a:lnTo>
                  <a:close/>
                  <a:moveTo>
                    <a:pt x="197" y="167"/>
                  </a:moveTo>
                  <a:lnTo>
                    <a:pt x="195" y="167"/>
                  </a:lnTo>
                  <a:lnTo>
                    <a:pt x="197" y="167"/>
                  </a:lnTo>
                  <a:close/>
                  <a:moveTo>
                    <a:pt x="199" y="160"/>
                  </a:moveTo>
                  <a:lnTo>
                    <a:pt x="199" y="162"/>
                  </a:lnTo>
                  <a:lnTo>
                    <a:pt x="199" y="160"/>
                  </a:lnTo>
                  <a:close/>
                  <a:moveTo>
                    <a:pt x="114" y="160"/>
                  </a:moveTo>
                  <a:lnTo>
                    <a:pt x="112" y="160"/>
                  </a:lnTo>
                  <a:lnTo>
                    <a:pt x="114" y="160"/>
                  </a:lnTo>
                  <a:close/>
                  <a:moveTo>
                    <a:pt x="116" y="157"/>
                  </a:moveTo>
                  <a:lnTo>
                    <a:pt x="114" y="157"/>
                  </a:lnTo>
                  <a:lnTo>
                    <a:pt x="116" y="157"/>
                  </a:lnTo>
                  <a:close/>
                  <a:moveTo>
                    <a:pt x="221" y="157"/>
                  </a:moveTo>
                  <a:lnTo>
                    <a:pt x="221" y="160"/>
                  </a:lnTo>
                  <a:lnTo>
                    <a:pt x="221" y="157"/>
                  </a:lnTo>
                  <a:close/>
                  <a:moveTo>
                    <a:pt x="225" y="155"/>
                  </a:moveTo>
                  <a:lnTo>
                    <a:pt x="228" y="155"/>
                  </a:lnTo>
                  <a:lnTo>
                    <a:pt x="225" y="155"/>
                  </a:lnTo>
                  <a:close/>
                  <a:moveTo>
                    <a:pt x="233" y="153"/>
                  </a:moveTo>
                  <a:lnTo>
                    <a:pt x="235" y="153"/>
                  </a:lnTo>
                  <a:lnTo>
                    <a:pt x="233" y="153"/>
                  </a:lnTo>
                  <a:close/>
                  <a:moveTo>
                    <a:pt x="119" y="153"/>
                  </a:moveTo>
                  <a:lnTo>
                    <a:pt x="121" y="153"/>
                  </a:lnTo>
                  <a:lnTo>
                    <a:pt x="119" y="153"/>
                  </a:lnTo>
                  <a:close/>
                  <a:moveTo>
                    <a:pt x="121" y="148"/>
                  </a:moveTo>
                  <a:lnTo>
                    <a:pt x="119" y="148"/>
                  </a:lnTo>
                  <a:lnTo>
                    <a:pt x="121" y="148"/>
                  </a:lnTo>
                  <a:close/>
                  <a:moveTo>
                    <a:pt x="161" y="145"/>
                  </a:moveTo>
                  <a:lnTo>
                    <a:pt x="159" y="145"/>
                  </a:lnTo>
                  <a:lnTo>
                    <a:pt x="161" y="145"/>
                  </a:lnTo>
                  <a:close/>
                  <a:moveTo>
                    <a:pt x="48" y="143"/>
                  </a:moveTo>
                  <a:lnTo>
                    <a:pt x="45" y="143"/>
                  </a:lnTo>
                  <a:lnTo>
                    <a:pt x="48" y="143"/>
                  </a:lnTo>
                  <a:close/>
                  <a:moveTo>
                    <a:pt x="114" y="141"/>
                  </a:moveTo>
                  <a:lnTo>
                    <a:pt x="112" y="141"/>
                  </a:lnTo>
                  <a:lnTo>
                    <a:pt x="114" y="141"/>
                  </a:lnTo>
                  <a:close/>
                  <a:moveTo>
                    <a:pt x="33" y="141"/>
                  </a:moveTo>
                  <a:lnTo>
                    <a:pt x="31" y="141"/>
                  </a:lnTo>
                  <a:lnTo>
                    <a:pt x="33" y="141"/>
                  </a:lnTo>
                  <a:close/>
                  <a:moveTo>
                    <a:pt x="116" y="138"/>
                  </a:moveTo>
                  <a:lnTo>
                    <a:pt x="114" y="138"/>
                  </a:lnTo>
                  <a:lnTo>
                    <a:pt x="116" y="138"/>
                  </a:lnTo>
                  <a:close/>
                  <a:moveTo>
                    <a:pt x="114" y="136"/>
                  </a:moveTo>
                  <a:lnTo>
                    <a:pt x="116" y="136"/>
                  </a:lnTo>
                  <a:lnTo>
                    <a:pt x="114" y="136"/>
                  </a:lnTo>
                  <a:close/>
                  <a:moveTo>
                    <a:pt x="128" y="134"/>
                  </a:moveTo>
                  <a:lnTo>
                    <a:pt x="126" y="134"/>
                  </a:lnTo>
                  <a:lnTo>
                    <a:pt x="128" y="134"/>
                  </a:lnTo>
                  <a:close/>
                  <a:moveTo>
                    <a:pt x="100" y="119"/>
                  </a:moveTo>
                  <a:lnTo>
                    <a:pt x="97" y="119"/>
                  </a:lnTo>
                  <a:lnTo>
                    <a:pt x="100" y="119"/>
                  </a:lnTo>
                  <a:close/>
                  <a:moveTo>
                    <a:pt x="140" y="115"/>
                  </a:moveTo>
                  <a:lnTo>
                    <a:pt x="138" y="115"/>
                  </a:lnTo>
                  <a:lnTo>
                    <a:pt x="140" y="115"/>
                  </a:lnTo>
                  <a:close/>
                  <a:moveTo>
                    <a:pt x="40" y="115"/>
                  </a:moveTo>
                  <a:lnTo>
                    <a:pt x="40" y="112"/>
                  </a:lnTo>
                  <a:lnTo>
                    <a:pt x="40" y="115"/>
                  </a:lnTo>
                  <a:close/>
                  <a:moveTo>
                    <a:pt x="45" y="112"/>
                  </a:moveTo>
                  <a:lnTo>
                    <a:pt x="43" y="112"/>
                  </a:lnTo>
                  <a:lnTo>
                    <a:pt x="45" y="112"/>
                  </a:lnTo>
                  <a:close/>
                  <a:moveTo>
                    <a:pt x="48" y="112"/>
                  </a:moveTo>
                  <a:lnTo>
                    <a:pt x="50" y="112"/>
                  </a:lnTo>
                  <a:lnTo>
                    <a:pt x="48" y="112"/>
                  </a:lnTo>
                  <a:close/>
                  <a:moveTo>
                    <a:pt x="74" y="110"/>
                  </a:moveTo>
                  <a:lnTo>
                    <a:pt x="74" y="112"/>
                  </a:lnTo>
                  <a:lnTo>
                    <a:pt x="74" y="110"/>
                  </a:lnTo>
                  <a:close/>
                  <a:moveTo>
                    <a:pt x="123" y="107"/>
                  </a:moveTo>
                  <a:lnTo>
                    <a:pt x="121" y="107"/>
                  </a:lnTo>
                  <a:lnTo>
                    <a:pt x="123" y="107"/>
                  </a:lnTo>
                  <a:close/>
                  <a:moveTo>
                    <a:pt x="38" y="107"/>
                  </a:moveTo>
                  <a:lnTo>
                    <a:pt x="38" y="105"/>
                  </a:lnTo>
                  <a:lnTo>
                    <a:pt x="38" y="107"/>
                  </a:lnTo>
                  <a:close/>
                  <a:moveTo>
                    <a:pt x="38" y="105"/>
                  </a:moveTo>
                  <a:lnTo>
                    <a:pt x="38" y="107"/>
                  </a:lnTo>
                  <a:lnTo>
                    <a:pt x="38" y="105"/>
                  </a:lnTo>
                  <a:close/>
                  <a:moveTo>
                    <a:pt x="211" y="105"/>
                  </a:moveTo>
                  <a:lnTo>
                    <a:pt x="209" y="105"/>
                  </a:lnTo>
                  <a:lnTo>
                    <a:pt x="211" y="105"/>
                  </a:lnTo>
                  <a:close/>
                  <a:moveTo>
                    <a:pt x="142" y="105"/>
                  </a:moveTo>
                  <a:lnTo>
                    <a:pt x="142" y="103"/>
                  </a:lnTo>
                  <a:lnTo>
                    <a:pt x="142" y="105"/>
                  </a:lnTo>
                  <a:close/>
                  <a:moveTo>
                    <a:pt x="116" y="103"/>
                  </a:moveTo>
                  <a:lnTo>
                    <a:pt x="114" y="103"/>
                  </a:lnTo>
                  <a:lnTo>
                    <a:pt x="116" y="103"/>
                  </a:lnTo>
                  <a:close/>
                  <a:moveTo>
                    <a:pt x="204" y="103"/>
                  </a:moveTo>
                  <a:lnTo>
                    <a:pt x="206" y="103"/>
                  </a:lnTo>
                  <a:lnTo>
                    <a:pt x="204" y="103"/>
                  </a:lnTo>
                  <a:close/>
                  <a:moveTo>
                    <a:pt x="33" y="100"/>
                  </a:moveTo>
                  <a:lnTo>
                    <a:pt x="36" y="100"/>
                  </a:lnTo>
                  <a:lnTo>
                    <a:pt x="33" y="100"/>
                  </a:lnTo>
                  <a:close/>
                  <a:moveTo>
                    <a:pt x="145" y="98"/>
                  </a:moveTo>
                  <a:lnTo>
                    <a:pt x="142" y="98"/>
                  </a:lnTo>
                  <a:lnTo>
                    <a:pt x="145" y="98"/>
                  </a:lnTo>
                  <a:close/>
                  <a:moveTo>
                    <a:pt x="133" y="98"/>
                  </a:moveTo>
                  <a:lnTo>
                    <a:pt x="133" y="96"/>
                  </a:lnTo>
                  <a:lnTo>
                    <a:pt x="133" y="98"/>
                  </a:lnTo>
                  <a:close/>
                  <a:moveTo>
                    <a:pt x="29" y="96"/>
                  </a:moveTo>
                  <a:lnTo>
                    <a:pt x="26" y="96"/>
                  </a:lnTo>
                  <a:lnTo>
                    <a:pt x="29" y="96"/>
                  </a:lnTo>
                  <a:close/>
                  <a:moveTo>
                    <a:pt x="40" y="79"/>
                  </a:moveTo>
                  <a:lnTo>
                    <a:pt x="38" y="81"/>
                  </a:lnTo>
                  <a:lnTo>
                    <a:pt x="40" y="79"/>
                  </a:lnTo>
                  <a:close/>
                  <a:moveTo>
                    <a:pt x="138" y="81"/>
                  </a:moveTo>
                  <a:lnTo>
                    <a:pt x="138" y="79"/>
                  </a:lnTo>
                  <a:lnTo>
                    <a:pt x="138" y="81"/>
                  </a:lnTo>
                  <a:close/>
                  <a:moveTo>
                    <a:pt x="138" y="79"/>
                  </a:moveTo>
                  <a:lnTo>
                    <a:pt x="138" y="77"/>
                  </a:lnTo>
                  <a:lnTo>
                    <a:pt x="138" y="79"/>
                  </a:lnTo>
                  <a:close/>
                  <a:moveTo>
                    <a:pt x="119" y="77"/>
                  </a:moveTo>
                  <a:lnTo>
                    <a:pt x="121" y="77"/>
                  </a:lnTo>
                  <a:lnTo>
                    <a:pt x="119" y="77"/>
                  </a:lnTo>
                  <a:close/>
                  <a:moveTo>
                    <a:pt x="138" y="69"/>
                  </a:moveTo>
                  <a:lnTo>
                    <a:pt x="135" y="69"/>
                  </a:lnTo>
                  <a:lnTo>
                    <a:pt x="138" y="67"/>
                  </a:lnTo>
                  <a:lnTo>
                    <a:pt x="138" y="69"/>
                  </a:lnTo>
                  <a:close/>
                  <a:moveTo>
                    <a:pt x="216" y="67"/>
                  </a:moveTo>
                  <a:lnTo>
                    <a:pt x="216" y="69"/>
                  </a:lnTo>
                  <a:lnTo>
                    <a:pt x="216" y="67"/>
                  </a:lnTo>
                  <a:close/>
                  <a:moveTo>
                    <a:pt x="0" y="65"/>
                  </a:moveTo>
                  <a:lnTo>
                    <a:pt x="0" y="62"/>
                  </a:lnTo>
                  <a:lnTo>
                    <a:pt x="0" y="65"/>
                  </a:lnTo>
                  <a:close/>
                  <a:moveTo>
                    <a:pt x="171" y="43"/>
                  </a:moveTo>
                  <a:lnTo>
                    <a:pt x="169" y="43"/>
                  </a:lnTo>
                  <a:lnTo>
                    <a:pt x="171" y="43"/>
                  </a:lnTo>
                  <a:close/>
                  <a:moveTo>
                    <a:pt x="135" y="24"/>
                  </a:moveTo>
                  <a:lnTo>
                    <a:pt x="133" y="24"/>
                  </a:lnTo>
                  <a:lnTo>
                    <a:pt x="135" y="22"/>
                  </a:lnTo>
                  <a:lnTo>
                    <a:pt x="135" y="24"/>
                  </a:lnTo>
                  <a:close/>
                  <a:moveTo>
                    <a:pt x="202" y="3"/>
                  </a:moveTo>
                  <a:lnTo>
                    <a:pt x="202" y="0"/>
                  </a:lnTo>
                  <a:lnTo>
                    <a:pt x="202" y="3"/>
                  </a:lnTo>
                  <a:close/>
                  <a:moveTo>
                    <a:pt x="202" y="0"/>
                  </a:moveTo>
                  <a:lnTo>
                    <a:pt x="202" y="3"/>
                  </a:lnTo>
                  <a:lnTo>
                    <a:pt x="20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0" name="Freeform 52455"/>
            <p:cNvSpPr>
              <a:spLocks noEditPoints="1"/>
            </p:cNvSpPr>
            <p:nvPr/>
          </p:nvSpPr>
          <p:spPr bwMode="auto">
            <a:xfrm>
              <a:off x="1885948" y="4719654"/>
              <a:ext cx="26988" cy="26988"/>
            </a:xfrm>
            <a:custGeom>
              <a:avLst/>
              <a:gdLst>
                <a:gd name="T0" fmla="*/ 10 w 17"/>
                <a:gd name="T1" fmla="*/ 15 h 17"/>
                <a:gd name="T2" fmla="*/ 10 w 17"/>
                <a:gd name="T3" fmla="*/ 15 h 17"/>
                <a:gd name="T4" fmla="*/ 12 w 17"/>
                <a:gd name="T5" fmla="*/ 15 h 17"/>
                <a:gd name="T6" fmla="*/ 12 w 17"/>
                <a:gd name="T7" fmla="*/ 15 h 17"/>
                <a:gd name="T8" fmla="*/ 12 w 17"/>
                <a:gd name="T9" fmla="*/ 17 h 17"/>
                <a:gd name="T10" fmla="*/ 10 w 17"/>
                <a:gd name="T11" fmla="*/ 17 h 17"/>
                <a:gd name="T12" fmla="*/ 10 w 17"/>
                <a:gd name="T13" fmla="*/ 15 h 17"/>
                <a:gd name="T14" fmla="*/ 10 w 17"/>
                <a:gd name="T15" fmla="*/ 15 h 17"/>
                <a:gd name="T16" fmla="*/ 10 w 17"/>
                <a:gd name="T17" fmla="*/ 15 h 17"/>
                <a:gd name="T18" fmla="*/ 10 w 17"/>
                <a:gd name="T19" fmla="*/ 15 h 17"/>
                <a:gd name="T20" fmla="*/ 7 w 17"/>
                <a:gd name="T21" fmla="*/ 12 h 17"/>
                <a:gd name="T22" fmla="*/ 7 w 17"/>
                <a:gd name="T23" fmla="*/ 12 h 17"/>
                <a:gd name="T24" fmla="*/ 5 w 17"/>
                <a:gd name="T25" fmla="*/ 12 h 17"/>
                <a:gd name="T26" fmla="*/ 5 w 17"/>
                <a:gd name="T27" fmla="*/ 12 h 17"/>
                <a:gd name="T28" fmla="*/ 7 w 17"/>
                <a:gd name="T29" fmla="*/ 12 h 17"/>
                <a:gd name="T30" fmla="*/ 7 w 17"/>
                <a:gd name="T31" fmla="*/ 12 h 17"/>
                <a:gd name="T32" fmla="*/ 5 w 17"/>
                <a:gd name="T33" fmla="*/ 12 h 17"/>
                <a:gd name="T34" fmla="*/ 5 w 17"/>
                <a:gd name="T35" fmla="*/ 12 h 17"/>
                <a:gd name="T36" fmla="*/ 5 w 17"/>
                <a:gd name="T37" fmla="*/ 15 h 17"/>
                <a:gd name="T38" fmla="*/ 5 w 17"/>
                <a:gd name="T39" fmla="*/ 15 h 17"/>
                <a:gd name="T40" fmla="*/ 5 w 17"/>
                <a:gd name="T41" fmla="*/ 15 h 17"/>
                <a:gd name="T42" fmla="*/ 5 w 17"/>
                <a:gd name="T43" fmla="*/ 15 h 17"/>
                <a:gd name="T44" fmla="*/ 5 w 17"/>
                <a:gd name="T45" fmla="*/ 17 h 17"/>
                <a:gd name="T46" fmla="*/ 5 w 17"/>
                <a:gd name="T47" fmla="*/ 15 h 17"/>
                <a:gd name="T48" fmla="*/ 5 w 17"/>
                <a:gd name="T49" fmla="*/ 15 h 17"/>
                <a:gd name="T50" fmla="*/ 2 w 17"/>
                <a:gd name="T51" fmla="*/ 17 h 17"/>
                <a:gd name="T52" fmla="*/ 2 w 17"/>
                <a:gd name="T53" fmla="*/ 17 h 17"/>
                <a:gd name="T54" fmla="*/ 2 w 17"/>
                <a:gd name="T55" fmla="*/ 15 h 17"/>
                <a:gd name="T56" fmla="*/ 0 w 17"/>
                <a:gd name="T57" fmla="*/ 15 h 17"/>
                <a:gd name="T58" fmla="*/ 0 w 17"/>
                <a:gd name="T59" fmla="*/ 15 h 17"/>
                <a:gd name="T60" fmla="*/ 0 w 17"/>
                <a:gd name="T61" fmla="*/ 15 h 17"/>
                <a:gd name="T62" fmla="*/ 2 w 17"/>
                <a:gd name="T63" fmla="*/ 15 h 17"/>
                <a:gd name="T64" fmla="*/ 2 w 17"/>
                <a:gd name="T65" fmla="*/ 15 h 17"/>
                <a:gd name="T66" fmla="*/ 2 w 17"/>
                <a:gd name="T67" fmla="*/ 15 h 17"/>
                <a:gd name="T68" fmla="*/ 2 w 17"/>
                <a:gd name="T69" fmla="*/ 15 h 17"/>
                <a:gd name="T70" fmla="*/ 2 w 17"/>
                <a:gd name="T71" fmla="*/ 15 h 17"/>
                <a:gd name="T72" fmla="*/ 2 w 17"/>
                <a:gd name="T73" fmla="*/ 12 h 17"/>
                <a:gd name="T74" fmla="*/ 2 w 17"/>
                <a:gd name="T75" fmla="*/ 12 h 17"/>
                <a:gd name="T76" fmla="*/ 2 w 17"/>
                <a:gd name="T77" fmla="*/ 12 h 17"/>
                <a:gd name="T78" fmla="*/ 5 w 17"/>
                <a:gd name="T79" fmla="*/ 12 h 17"/>
                <a:gd name="T80" fmla="*/ 5 w 17"/>
                <a:gd name="T81" fmla="*/ 12 h 17"/>
                <a:gd name="T82" fmla="*/ 5 w 17"/>
                <a:gd name="T83" fmla="*/ 12 h 17"/>
                <a:gd name="T84" fmla="*/ 5 w 17"/>
                <a:gd name="T85" fmla="*/ 12 h 17"/>
                <a:gd name="T86" fmla="*/ 5 w 17"/>
                <a:gd name="T87" fmla="*/ 12 h 17"/>
                <a:gd name="T88" fmla="*/ 17 w 17"/>
                <a:gd name="T89" fmla="*/ 0 h 17"/>
                <a:gd name="T90" fmla="*/ 17 w 17"/>
                <a:gd name="T91" fmla="*/ 0 h 17"/>
                <a:gd name="T92" fmla="*/ 17 w 17"/>
                <a:gd name="T93" fmla="*/ 3 h 17"/>
                <a:gd name="T94" fmla="*/ 17 w 17"/>
                <a:gd name="T95" fmla="*/ 3 h 17"/>
                <a:gd name="T96" fmla="*/ 14 w 17"/>
                <a:gd name="T97" fmla="*/ 3 h 17"/>
                <a:gd name="T98" fmla="*/ 14 w 17"/>
                <a:gd name="T99" fmla="*/ 3 h 17"/>
                <a:gd name="T100" fmla="*/ 14 w 17"/>
                <a:gd name="T101" fmla="*/ 3 h 17"/>
                <a:gd name="T102" fmla="*/ 17 w 17"/>
                <a:gd name="T103" fmla="*/ 0 h 17"/>
                <a:gd name="T104" fmla="*/ 17 w 17"/>
                <a:gd name="T105" fmla="*/ 0 h 17"/>
                <a:gd name="T106" fmla="*/ 17 w 17"/>
                <a:gd name="T107" fmla="*/ 0 h 17"/>
                <a:gd name="T108" fmla="*/ 17 w 17"/>
                <a:gd name="T109" fmla="*/ 0 h 17"/>
                <a:gd name="T110" fmla="*/ 14 w 17"/>
                <a:gd name="T111" fmla="*/ 0 h 17"/>
                <a:gd name="T112" fmla="*/ 14 w 17"/>
                <a:gd name="T11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 h="17">
                  <a:moveTo>
                    <a:pt x="10" y="15"/>
                  </a:moveTo>
                  <a:lnTo>
                    <a:pt x="10" y="15"/>
                  </a:lnTo>
                  <a:lnTo>
                    <a:pt x="10" y="15"/>
                  </a:lnTo>
                  <a:lnTo>
                    <a:pt x="10" y="15"/>
                  </a:lnTo>
                  <a:lnTo>
                    <a:pt x="10" y="15"/>
                  </a:lnTo>
                  <a:lnTo>
                    <a:pt x="10" y="15"/>
                  </a:lnTo>
                  <a:lnTo>
                    <a:pt x="10" y="15"/>
                  </a:lnTo>
                  <a:lnTo>
                    <a:pt x="10" y="15"/>
                  </a:lnTo>
                  <a:lnTo>
                    <a:pt x="10" y="15"/>
                  </a:lnTo>
                  <a:lnTo>
                    <a:pt x="10" y="15"/>
                  </a:lnTo>
                  <a:lnTo>
                    <a:pt x="10" y="15"/>
                  </a:lnTo>
                  <a:close/>
                  <a:moveTo>
                    <a:pt x="10" y="15"/>
                  </a:move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7"/>
                  </a:lnTo>
                  <a:lnTo>
                    <a:pt x="12" y="17"/>
                  </a:lnTo>
                  <a:lnTo>
                    <a:pt x="10" y="17"/>
                  </a:lnTo>
                  <a:lnTo>
                    <a:pt x="10" y="17"/>
                  </a:lnTo>
                  <a:lnTo>
                    <a:pt x="10" y="17"/>
                  </a:lnTo>
                  <a:lnTo>
                    <a:pt x="10" y="17"/>
                  </a:lnTo>
                  <a:lnTo>
                    <a:pt x="10" y="17"/>
                  </a:lnTo>
                  <a:lnTo>
                    <a:pt x="10" y="17"/>
                  </a:lnTo>
                  <a:lnTo>
                    <a:pt x="10" y="17"/>
                  </a:lnTo>
                  <a:lnTo>
                    <a:pt x="10" y="17"/>
                  </a:lnTo>
                  <a:lnTo>
                    <a:pt x="10" y="17"/>
                  </a:lnTo>
                  <a:lnTo>
                    <a:pt x="10" y="17"/>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2" y="15"/>
                  </a:lnTo>
                  <a:lnTo>
                    <a:pt x="12" y="15"/>
                  </a:lnTo>
                  <a:lnTo>
                    <a:pt x="10" y="15"/>
                  </a:lnTo>
                  <a:lnTo>
                    <a:pt x="12" y="15"/>
                  </a:lnTo>
                  <a:lnTo>
                    <a:pt x="10" y="15"/>
                  </a:lnTo>
                  <a:lnTo>
                    <a:pt x="10" y="15"/>
                  </a:lnTo>
                  <a:close/>
                  <a:moveTo>
                    <a:pt x="7" y="15"/>
                  </a:moveTo>
                  <a:lnTo>
                    <a:pt x="7" y="15"/>
                  </a:lnTo>
                  <a:lnTo>
                    <a:pt x="7" y="15"/>
                  </a:lnTo>
                  <a:lnTo>
                    <a:pt x="7" y="15"/>
                  </a:lnTo>
                  <a:lnTo>
                    <a:pt x="7" y="12"/>
                  </a:lnTo>
                  <a:lnTo>
                    <a:pt x="7" y="12"/>
                  </a:lnTo>
                  <a:lnTo>
                    <a:pt x="7" y="12"/>
                  </a:lnTo>
                  <a:lnTo>
                    <a:pt x="7" y="12"/>
                  </a:lnTo>
                  <a:lnTo>
                    <a:pt x="7" y="12"/>
                  </a:lnTo>
                  <a:lnTo>
                    <a:pt x="7" y="12"/>
                  </a:lnTo>
                  <a:lnTo>
                    <a:pt x="7" y="12"/>
                  </a:lnTo>
                  <a:lnTo>
                    <a:pt x="7" y="12"/>
                  </a:lnTo>
                  <a:lnTo>
                    <a:pt x="7" y="15"/>
                  </a:lnTo>
                  <a:lnTo>
                    <a:pt x="7" y="15"/>
                  </a:lnTo>
                  <a:lnTo>
                    <a:pt x="7" y="15"/>
                  </a:lnTo>
                  <a:close/>
                  <a:moveTo>
                    <a:pt x="5" y="12"/>
                  </a:moveTo>
                  <a:lnTo>
                    <a:pt x="5" y="12"/>
                  </a:lnTo>
                  <a:lnTo>
                    <a:pt x="5" y="12"/>
                  </a:lnTo>
                  <a:lnTo>
                    <a:pt x="5" y="12"/>
                  </a:lnTo>
                  <a:lnTo>
                    <a:pt x="5" y="12"/>
                  </a:lnTo>
                  <a:lnTo>
                    <a:pt x="5" y="12"/>
                  </a:lnTo>
                  <a:lnTo>
                    <a:pt x="5" y="12"/>
                  </a:lnTo>
                  <a:lnTo>
                    <a:pt x="5" y="12"/>
                  </a:lnTo>
                  <a:lnTo>
                    <a:pt x="5" y="12"/>
                  </a:lnTo>
                  <a:lnTo>
                    <a:pt x="5" y="12"/>
                  </a:lnTo>
                  <a:lnTo>
                    <a:pt x="5" y="12"/>
                  </a:lnTo>
                  <a:lnTo>
                    <a:pt x="5"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5" y="12"/>
                  </a:lnTo>
                  <a:lnTo>
                    <a:pt x="5" y="12"/>
                  </a:lnTo>
                  <a:lnTo>
                    <a:pt x="5" y="12"/>
                  </a:lnTo>
                  <a:lnTo>
                    <a:pt x="7" y="12"/>
                  </a:lnTo>
                  <a:lnTo>
                    <a:pt x="5" y="12"/>
                  </a:lnTo>
                  <a:lnTo>
                    <a:pt x="7" y="12"/>
                  </a:lnTo>
                  <a:lnTo>
                    <a:pt x="7" y="12"/>
                  </a:lnTo>
                  <a:lnTo>
                    <a:pt x="5" y="12"/>
                  </a:lnTo>
                  <a:lnTo>
                    <a:pt x="5" y="12"/>
                  </a:lnTo>
                  <a:lnTo>
                    <a:pt x="5" y="12"/>
                  </a:lnTo>
                  <a:lnTo>
                    <a:pt x="5" y="12"/>
                  </a:lnTo>
                  <a:lnTo>
                    <a:pt x="5" y="12"/>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7"/>
                  </a:lnTo>
                  <a:lnTo>
                    <a:pt x="5" y="17"/>
                  </a:lnTo>
                  <a:lnTo>
                    <a:pt x="5" y="17"/>
                  </a:lnTo>
                  <a:lnTo>
                    <a:pt x="5" y="17"/>
                  </a:lnTo>
                  <a:lnTo>
                    <a:pt x="5" y="17"/>
                  </a:lnTo>
                  <a:lnTo>
                    <a:pt x="5" y="15"/>
                  </a:lnTo>
                  <a:lnTo>
                    <a:pt x="5" y="15"/>
                  </a:lnTo>
                  <a:lnTo>
                    <a:pt x="5" y="15"/>
                  </a:lnTo>
                  <a:lnTo>
                    <a:pt x="5" y="15"/>
                  </a:lnTo>
                  <a:lnTo>
                    <a:pt x="5" y="15"/>
                  </a:lnTo>
                  <a:lnTo>
                    <a:pt x="5" y="17"/>
                  </a:lnTo>
                  <a:lnTo>
                    <a:pt x="5" y="17"/>
                  </a:lnTo>
                  <a:lnTo>
                    <a:pt x="5" y="17"/>
                  </a:lnTo>
                  <a:lnTo>
                    <a:pt x="5" y="17"/>
                  </a:lnTo>
                  <a:lnTo>
                    <a:pt x="5" y="15"/>
                  </a:lnTo>
                  <a:lnTo>
                    <a:pt x="5" y="15"/>
                  </a:lnTo>
                  <a:lnTo>
                    <a:pt x="5" y="15"/>
                  </a:lnTo>
                  <a:lnTo>
                    <a:pt x="5" y="15"/>
                  </a:lnTo>
                  <a:lnTo>
                    <a:pt x="5" y="15"/>
                  </a:lnTo>
                  <a:lnTo>
                    <a:pt x="2" y="17"/>
                  </a:lnTo>
                  <a:lnTo>
                    <a:pt x="2" y="17"/>
                  </a:lnTo>
                  <a:lnTo>
                    <a:pt x="2" y="17"/>
                  </a:lnTo>
                  <a:lnTo>
                    <a:pt x="2" y="17"/>
                  </a:lnTo>
                  <a:lnTo>
                    <a:pt x="2" y="17"/>
                  </a:lnTo>
                  <a:lnTo>
                    <a:pt x="2" y="17"/>
                  </a:lnTo>
                  <a:lnTo>
                    <a:pt x="2" y="17"/>
                  </a:lnTo>
                  <a:lnTo>
                    <a:pt x="2" y="17"/>
                  </a:lnTo>
                  <a:lnTo>
                    <a:pt x="2" y="17"/>
                  </a:lnTo>
                  <a:lnTo>
                    <a:pt x="2" y="17"/>
                  </a:lnTo>
                  <a:lnTo>
                    <a:pt x="2" y="17"/>
                  </a:lnTo>
                  <a:lnTo>
                    <a:pt x="2" y="15"/>
                  </a:lnTo>
                  <a:lnTo>
                    <a:pt x="2" y="15"/>
                  </a:lnTo>
                  <a:lnTo>
                    <a:pt x="2" y="15"/>
                  </a:lnTo>
                  <a:lnTo>
                    <a:pt x="2" y="15"/>
                  </a:lnTo>
                  <a:lnTo>
                    <a:pt x="2" y="15"/>
                  </a:lnTo>
                  <a:lnTo>
                    <a:pt x="2" y="15"/>
                  </a:lnTo>
                  <a:lnTo>
                    <a:pt x="2" y="15"/>
                  </a:lnTo>
                  <a:lnTo>
                    <a:pt x="2" y="15"/>
                  </a:lnTo>
                  <a:lnTo>
                    <a:pt x="2"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2" y="15"/>
                  </a:lnTo>
                  <a:lnTo>
                    <a:pt x="0" y="15"/>
                  </a:lnTo>
                  <a:lnTo>
                    <a:pt x="2" y="15"/>
                  </a:lnTo>
                  <a:lnTo>
                    <a:pt x="2" y="15"/>
                  </a:lnTo>
                  <a:lnTo>
                    <a:pt x="2" y="15"/>
                  </a:lnTo>
                  <a:lnTo>
                    <a:pt x="2" y="15"/>
                  </a:lnTo>
                  <a:lnTo>
                    <a:pt x="0" y="15"/>
                  </a:lnTo>
                  <a:lnTo>
                    <a:pt x="0" y="15"/>
                  </a:lnTo>
                  <a:lnTo>
                    <a:pt x="0"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close/>
                  <a:moveTo>
                    <a:pt x="17" y="0"/>
                  </a:move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4" y="3"/>
                  </a:lnTo>
                  <a:lnTo>
                    <a:pt x="14" y="3"/>
                  </a:lnTo>
                  <a:lnTo>
                    <a:pt x="14" y="3"/>
                  </a:lnTo>
                  <a:lnTo>
                    <a:pt x="14" y="3"/>
                  </a:lnTo>
                  <a:lnTo>
                    <a:pt x="14" y="3"/>
                  </a:lnTo>
                  <a:lnTo>
                    <a:pt x="14" y="3"/>
                  </a:lnTo>
                  <a:lnTo>
                    <a:pt x="14" y="3"/>
                  </a:lnTo>
                  <a:lnTo>
                    <a:pt x="14" y="3"/>
                  </a:lnTo>
                  <a:lnTo>
                    <a:pt x="14" y="3"/>
                  </a:lnTo>
                  <a:lnTo>
                    <a:pt x="14" y="3"/>
                  </a:lnTo>
                  <a:lnTo>
                    <a:pt x="14" y="3"/>
                  </a:lnTo>
                  <a:lnTo>
                    <a:pt x="14" y="3"/>
                  </a:lnTo>
                  <a:lnTo>
                    <a:pt x="14" y="3"/>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close/>
                  <a:moveTo>
                    <a:pt x="14" y="0"/>
                  </a:moveTo>
                  <a:lnTo>
                    <a:pt x="14" y="0"/>
                  </a:lnTo>
                  <a:lnTo>
                    <a:pt x="14" y="0"/>
                  </a:lnTo>
                  <a:lnTo>
                    <a:pt x="14" y="0"/>
                  </a:lnTo>
                  <a:lnTo>
                    <a:pt x="14" y="0"/>
                  </a:lnTo>
                  <a:lnTo>
                    <a:pt x="14" y="0"/>
                  </a:lnTo>
                  <a:lnTo>
                    <a:pt x="14" y="0"/>
                  </a:lnTo>
                  <a:lnTo>
                    <a:pt x="14" y="0"/>
                  </a:lnTo>
                  <a:lnTo>
                    <a:pt x="14" y="0"/>
                  </a:lnTo>
                  <a:lnTo>
                    <a:pt x="14" y="0"/>
                  </a:lnTo>
                  <a:lnTo>
                    <a:pt x="14" y="0"/>
                  </a:lnTo>
                  <a:lnTo>
                    <a:pt x="14" y="0"/>
                  </a:lnTo>
                  <a:lnTo>
                    <a:pt x="14" y="0"/>
                  </a:lnTo>
                  <a:lnTo>
                    <a:pt x="1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1" name="Freeform 52456"/>
            <p:cNvSpPr>
              <a:spLocks noEditPoints="1"/>
            </p:cNvSpPr>
            <p:nvPr/>
          </p:nvSpPr>
          <p:spPr bwMode="auto">
            <a:xfrm>
              <a:off x="1885948" y="4719654"/>
              <a:ext cx="26988" cy="26988"/>
            </a:xfrm>
            <a:custGeom>
              <a:avLst/>
              <a:gdLst>
                <a:gd name="T0" fmla="*/ 10 w 17"/>
                <a:gd name="T1" fmla="*/ 17 h 17"/>
                <a:gd name="T2" fmla="*/ 12 w 17"/>
                <a:gd name="T3" fmla="*/ 17 h 17"/>
                <a:gd name="T4" fmla="*/ 12 w 17"/>
                <a:gd name="T5" fmla="*/ 15 h 17"/>
                <a:gd name="T6" fmla="*/ 12 w 17"/>
                <a:gd name="T7" fmla="*/ 15 h 17"/>
                <a:gd name="T8" fmla="*/ 12 w 17"/>
                <a:gd name="T9" fmla="*/ 15 h 17"/>
                <a:gd name="T10" fmla="*/ 7 w 17"/>
                <a:gd name="T11" fmla="*/ 15 h 17"/>
                <a:gd name="T12" fmla="*/ 7 w 17"/>
                <a:gd name="T13" fmla="*/ 15 h 17"/>
                <a:gd name="T14" fmla="*/ 7 w 17"/>
                <a:gd name="T15" fmla="*/ 15 h 17"/>
                <a:gd name="T16" fmla="*/ 7 w 17"/>
                <a:gd name="T17" fmla="*/ 15 h 17"/>
                <a:gd name="T18" fmla="*/ 0 w 17"/>
                <a:gd name="T19" fmla="*/ 15 h 17"/>
                <a:gd name="T20" fmla="*/ 0 w 17"/>
                <a:gd name="T21" fmla="*/ 15 h 17"/>
                <a:gd name="T22" fmla="*/ 0 w 17"/>
                <a:gd name="T23" fmla="*/ 15 h 17"/>
                <a:gd name="T24" fmla="*/ 7 w 17"/>
                <a:gd name="T25" fmla="*/ 15 h 17"/>
                <a:gd name="T26" fmla="*/ 7 w 17"/>
                <a:gd name="T27" fmla="*/ 15 h 17"/>
                <a:gd name="T28" fmla="*/ 7 w 17"/>
                <a:gd name="T29" fmla="*/ 15 h 17"/>
                <a:gd name="T30" fmla="*/ 0 w 17"/>
                <a:gd name="T31" fmla="*/ 15 h 17"/>
                <a:gd name="T32" fmla="*/ 0 w 17"/>
                <a:gd name="T33" fmla="*/ 15 h 17"/>
                <a:gd name="T34" fmla="*/ 0 w 17"/>
                <a:gd name="T35" fmla="*/ 15 h 17"/>
                <a:gd name="T36" fmla="*/ 0 w 17"/>
                <a:gd name="T37" fmla="*/ 15 h 17"/>
                <a:gd name="T38" fmla="*/ 7 w 17"/>
                <a:gd name="T39" fmla="*/ 12 h 17"/>
                <a:gd name="T40" fmla="*/ 7 w 17"/>
                <a:gd name="T41" fmla="*/ 12 h 17"/>
                <a:gd name="T42" fmla="*/ 7 w 17"/>
                <a:gd name="T43" fmla="*/ 12 h 17"/>
                <a:gd name="T44" fmla="*/ 7 w 17"/>
                <a:gd name="T45" fmla="*/ 12 h 17"/>
                <a:gd name="T46" fmla="*/ 7 w 17"/>
                <a:gd name="T47" fmla="*/ 12 h 17"/>
                <a:gd name="T48" fmla="*/ 7 w 17"/>
                <a:gd name="T49" fmla="*/ 12 h 17"/>
                <a:gd name="T50" fmla="*/ 17 w 17"/>
                <a:gd name="T51" fmla="*/ 3 h 17"/>
                <a:gd name="T52" fmla="*/ 17 w 17"/>
                <a:gd name="T53" fmla="*/ 3 h 17"/>
                <a:gd name="T54" fmla="*/ 14 w 17"/>
                <a:gd name="T55" fmla="*/ 3 h 17"/>
                <a:gd name="T56" fmla="*/ 14 w 17"/>
                <a:gd name="T57" fmla="*/ 3 h 17"/>
                <a:gd name="T58" fmla="*/ 14 w 17"/>
                <a:gd name="T59" fmla="*/ 3 h 17"/>
                <a:gd name="T60" fmla="*/ 17 w 17"/>
                <a:gd name="T61" fmla="*/ 0 h 17"/>
                <a:gd name="T62" fmla="*/ 17 w 17"/>
                <a:gd name="T63" fmla="*/ 0 h 17"/>
                <a:gd name="T64" fmla="*/ 17 w 17"/>
                <a:gd name="T65" fmla="*/ 0 h 17"/>
                <a:gd name="T66" fmla="*/ 10 w 17"/>
                <a:gd name="T67" fmla="*/ 0 h 17"/>
                <a:gd name="T68" fmla="*/ 10 w 17"/>
                <a:gd name="T69" fmla="*/ 0 h 17"/>
                <a:gd name="T70" fmla="*/ 10 w 17"/>
                <a:gd name="T71" fmla="*/ 0 h 17"/>
                <a:gd name="T72" fmla="*/ 14 w 17"/>
                <a:gd name="T73" fmla="*/ 0 h 17"/>
                <a:gd name="T74" fmla="*/ 14 w 17"/>
                <a:gd name="T7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17">
                  <a:moveTo>
                    <a:pt x="12" y="17"/>
                  </a:moveTo>
                  <a:lnTo>
                    <a:pt x="10" y="17"/>
                  </a:lnTo>
                  <a:lnTo>
                    <a:pt x="10" y="17"/>
                  </a:lnTo>
                  <a:lnTo>
                    <a:pt x="12" y="17"/>
                  </a:lnTo>
                  <a:lnTo>
                    <a:pt x="12" y="17"/>
                  </a:lnTo>
                  <a:close/>
                  <a:moveTo>
                    <a:pt x="12" y="15"/>
                  </a:moveTo>
                  <a:lnTo>
                    <a:pt x="12" y="15"/>
                  </a:lnTo>
                  <a:lnTo>
                    <a:pt x="12" y="15"/>
                  </a:lnTo>
                  <a:lnTo>
                    <a:pt x="12" y="15"/>
                  </a:lnTo>
                  <a:lnTo>
                    <a:pt x="12" y="15"/>
                  </a:lnTo>
                  <a:close/>
                  <a:moveTo>
                    <a:pt x="7" y="15"/>
                  </a:moveTo>
                  <a:lnTo>
                    <a:pt x="7" y="15"/>
                  </a:lnTo>
                  <a:lnTo>
                    <a:pt x="7" y="15"/>
                  </a:lnTo>
                  <a:lnTo>
                    <a:pt x="7" y="15"/>
                  </a:lnTo>
                  <a:lnTo>
                    <a:pt x="7" y="15"/>
                  </a:lnTo>
                  <a:lnTo>
                    <a:pt x="7" y="15"/>
                  </a:lnTo>
                  <a:lnTo>
                    <a:pt x="7" y="15"/>
                  </a:lnTo>
                  <a:lnTo>
                    <a:pt x="7" y="15"/>
                  </a:lnTo>
                  <a:lnTo>
                    <a:pt x="7" y="15"/>
                  </a:lnTo>
                  <a:close/>
                  <a:moveTo>
                    <a:pt x="0" y="15"/>
                  </a:moveTo>
                  <a:lnTo>
                    <a:pt x="0" y="15"/>
                  </a:lnTo>
                  <a:lnTo>
                    <a:pt x="0" y="15"/>
                  </a:lnTo>
                  <a:lnTo>
                    <a:pt x="0" y="15"/>
                  </a:lnTo>
                  <a:lnTo>
                    <a:pt x="0" y="15"/>
                  </a:lnTo>
                  <a:close/>
                  <a:moveTo>
                    <a:pt x="7" y="15"/>
                  </a:moveTo>
                  <a:lnTo>
                    <a:pt x="7" y="15"/>
                  </a:lnTo>
                  <a:lnTo>
                    <a:pt x="7" y="15"/>
                  </a:lnTo>
                  <a:lnTo>
                    <a:pt x="7" y="15"/>
                  </a:lnTo>
                  <a:lnTo>
                    <a:pt x="7" y="15"/>
                  </a:lnTo>
                  <a:lnTo>
                    <a:pt x="7" y="15"/>
                  </a:lnTo>
                  <a:close/>
                  <a:moveTo>
                    <a:pt x="0" y="15"/>
                  </a:moveTo>
                  <a:lnTo>
                    <a:pt x="0" y="15"/>
                  </a:lnTo>
                  <a:lnTo>
                    <a:pt x="0" y="15"/>
                  </a:lnTo>
                  <a:lnTo>
                    <a:pt x="0" y="15"/>
                  </a:lnTo>
                  <a:lnTo>
                    <a:pt x="0" y="15"/>
                  </a:lnTo>
                  <a:lnTo>
                    <a:pt x="0" y="15"/>
                  </a:lnTo>
                  <a:lnTo>
                    <a:pt x="0" y="15"/>
                  </a:lnTo>
                  <a:lnTo>
                    <a:pt x="0" y="15"/>
                  </a:lnTo>
                  <a:close/>
                  <a:moveTo>
                    <a:pt x="7" y="12"/>
                  </a:moveTo>
                  <a:lnTo>
                    <a:pt x="7" y="12"/>
                  </a:lnTo>
                  <a:lnTo>
                    <a:pt x="7" y="12"/>
                  </a:lnTo>
                  <a:lnTo>
                    <a:pt x="7" y="12"/>
                  </a:lnTo>
                  <a:lnTo>
                    <a:pt x="7" y="12"/>
                  </a:lnTo>
                  <a:lnTo>
                    <a:pt x="7" y="12"/>
                  </a:lnTo>
                  <a:close/>
                  <a:moveTo>
                    <a:pt x="7" y="12"/>
                  </a:moveTo>
                  <a:lnTo>
                    <a:pt x="7" y="12"/>
                  </a:lnTo>
                  <a:lnTo>
                    <a:pt x="7" y="12"/>
                  </a:lnTo>
                  <a:lnTo>
                    <a:pt x="7" y="12"/>
                  </a:lnTo>
                  <a:lnTo>
                    <a:pt x="7" y="12"/>
                  </a:lnTo>
                  <a:lnTo>
                    <a:pt x="7" y="12"/>
                  </a:lnTo>
                  <a:close/>
                  <a:moveTo>
                    <a:pt x="17" y="3"/>
                  </a:moveTo>
                  <a:lnTo>
                    <a:pt x="17" y="3"/>
                  </a:lnTo>
                  <a:lnTo>
                    <a:pt x="17" y="3"/>
                  </a:lnTo>
                  <a:lnTo>
                    <a:pt x="17" y="3"/>
                  </a:lnTo>
                  <a:close/>
                  <a:moveTo>
                    <a:pt x="14" y="3"/>
                  </a:moveTo>
                  <a:lnTo>
                    <a:pt x="14" y="3"/>
                  </a:lnTo>
                  <a:lnTo>
                    <a:pt x="14" y="3"/>
                  </a:lnTo>
                  <a:lnTo>
                    <a:pt x="14" y="3"/>
                  </a:lnTo>
                  <a:lnTo>
                    <a:pt x="14" y="3"/>
                  </a:lnTo>
                  <a:lnTo>
                    <a:pt x="14" y="3"/>
                  </a:lnTo>
                  <a:lnTo>
                    <a:pt x="14" y="3"/>
                  </a:lnTo>
                  <a:close/>
                  <a:moveTo>
                    <a:pt x="17" y="0"/>
                  </a:moveTo>
                  <a:lnTo>
                    <a:pt x="17" y="0"/>
                  </a:lnTo>
                  <a:lnTo>
                    <a:pt x="17" y="0"/>
                  </a:lnTo>
                  <a:lnTo>
                    <a:pt x="17" y="0"/>
                  </a:lnTo>
                  <a:lnTo>
                    <a:pt x="17" y="0"/>
                  </a:lnTo>
                  <a:close/>
                  <a:moveTo>
                    <a:pt x="10" y="0"/>
                  </a:moveTo>
                  <a:lnTo>
                    <a:pt x="10" y="0"/>
                  </a:lnTo>
                  <a:lnTo>
                    <a:pt x="10" y="0"/>
                  </a:lnTo>
                  <a:lnTo>
                    <a:pt x="10" y="0"/>
                  </a:lnTo>
                  <a:lnTo>
                    <a:pt x="10" y="0"/>
                  </a:lnTo>
                  <a:lnTo>
                    <a:pt x="10" y="0"/>
                  </a:lnTo>
                  <a:close/>
                  <a:moveTo>
                    <a:pt x="14" y="0"/>
                  </a:moveTo>
                  <a:lnTo>
                    <a:pt x="14" y="0"/>
                  </a:lnTo>
                  <a:lnTo>
                    <a:pt x="14" y="0"/>
                  </a:lnTo>
                  <a:lnTo>
                    <a:pt x="14" y="0"/>
                  </a:lnTo>
                  <a:lnTo>
                    <a:pt x="1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2" name="Freeform 52457"/>
            <p:cNvSpPr>
              <a:spLocks/>
            </p:cNvSpPr>
            <p:nvPr/>
          </p:nvSpPr>
          <p:spPr bwMode="auto">
            <a:xfrm>
              <a:off x="2676523" y="5305443"/>
              <a:ext cx="4763" cy="0"/>
            </a:xfrm>
            <a:custGeom>
              <a:avLst/>
              <a:gdLst>
                <a:gd name="T0" fmla="*/ 3 w 3"/>
                <a:gd name="T1" fmla="*/ 3 w 3"/>
                <a:gd name="T2" fmla="*/ 0 w 3"/>
                <a:gd name="T3" fmla="*/ 0 w 3"/>
                <a:gd name="T4" fmla="*/ 3 w 3"/>
                <a:gd name="T5" fmla="*/ 3 w 3"/>
                <a:gd name="T6" fmla="*/ 3 w 3"/>
                <a:gd name="T7" fmla="*/ 3 w 3"/>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3">
                  <a:moveTo>
                    <a:pt x="3" y="0"/>
                  </a:moveTo>
                  <a:lnTo>
                    <a:pt x="3" y="0"/>
                  </a:lnTo>
                  <a:lnTo>
                    <a:pt x="0" y="0"/>
                  </a:lnTo>
                  <a:lnTo>
                    <a:pt x="0"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3" name="Freeform 52458"/>
            <p:cNvSpPr>
              <a:spLocks/>
            </p:cNvSpPr>
            <p:nvPr/>
          </p:nvSpPr>
          <p:spPr bwMode="auto">
            <a:xfrm>
              <a:off x="2868610" y="4806966"/>
              <a:ext cx="358775" cy="214313"/>
            </a:xfrm>
            <a:custGeom>
              <a:avLst/>
              <a:gdLst>
                <a:gd name="T0" fmla="*/ 188 w 226"/>
                <a:gd name="T1" fmla="*/ 12 h 135"/>
                <a:gd name="T2" fmla="*/ 200 w 226"/>
                <a:gd name="T3" fmla="*/ 12 h 135"/>
                <a:gd name="T4" fmla="*/ 207 w 226"/>
                <a:gd name="T5" fmla="*/ 17 h 135"/>
                <a:gd name="T6" fmla="*/ 214 w 226"/>
                <a:gd name="T7" fmla="*/ 21 h 135"/>
                <a:gd name="T8" fmla="*/ 223 w 226"/>
                <a:gd name="T9" fmla="*/ 24 h 135"/>
                <a:gd name="T10" fmla="*/ 221 w 226"/>
                <a:gd name="T11" fmla="*/ 33 h 135"/>
                <a:gd name="T12" fmla="*/ 214 w 226"/>
                <a:gd name="T13" fmla="*/ 40 h 135"/>
                <a:gd name="T14" fmla="*/ 202 w 226"/>
                <a:gd name="T15" fmla="*/ 45 h 135"/>
                <a:gd name="T16" fmla="*/ 197 w 226"/>
                <a:gd name="T17" fmla="*/ 52 h 135"/>
                <a:gd name="T18" fmla="*/ 193 w 226"/>
                <a:gd name="T19" fmla="*/ 62 h 135"/>
                <a:gd name="T20" fmla="*/ 185 w 226"/>
                <a:gd name="T21" fmla="*/ 74 h 135"/>
                <a:gd name="T22" fmla="*/ 183 w 226"/>
                <a:gd name="T23" fmla="*/ 83 h 135"/>
                <a:gd name="T24" fmla="*/ 178 w 226"/>
                <a:gd name="T25" fmla="*/ 90 h 135"/>
                <a:gd name="T26" fmla="*/ 176 w 226"/>
                <a:gd name="T27" fmla="*/ 95 h 135"/>
                <a:gd name="T28" fmla="*/ 174 w 226"/>
                <a:gd name="T29" fmla="*/ 102 h 135"/>
                <a:gd name="T30" fmla="*/ 164 w 226"/>
                <a:gd name="T31" fmla="*/ 112 h 135"/>
                <a:gd name="T32" fmla="*/ 152 w 226"/>
                <a:gd name="T33" fmla="*/ 116 h 135"/>
                <a:gd name="T34" fmla="*/ 143 w 226"/>
                <a:gd name="T35" fmla="*/ 116 h 135"/>
                <a:gd name="T36" fmla="*/ 126 w 226"/>
                <a:gd name="T37" fmla="*/ 116 h 135"/>
                <a:gd name="T38" fmla="*/ 117 w 226"/>
                <a:gd name="T39" fmla="*/ 116 h 135"/>
                <a:gd name="T40" fmla="*/ 105 w 226"/>
                <a:gd name="T41" fmla="*/ 124 h 135"/>
                <a:gd name="T42" fmla="*/ 98 w 226"/>
                <a:gd name="T43" fmla="*/ 126 h 135"/>
                <a:gd name="T44" fmla="*/ 90 w 226"/>
                <a:gd name="T45" fmla="*/ 131 h 135"/>
                <a:gd name="T46" fmla="*/ 81 w 226"/>
                <a:gd name="T47" fmla="*/ 133 h 135"/>
                <a:gd name="T48" fmla="*/ 69 w 226"/>
                <a:gd name="T49" fmla="*/ 133 h 135"/>
                <a:gd name="T50" fmla="*/ 62 w 226"/>
                <a:gd name="T51" fmla="*/ 133 h 135"/>
                <a:gd name="T52" fmla="*/ 53 w 226"/>
                <a:gd name="T53" fmla="*/ 131 h 135"/>
                <a:gd name="T54" fmla="*/ 43 w 226"/>
                <a:gd name="T55" fmla="*/ 126 h 135"/>
                <a:gd name="T56" fmla="*/ 36 w 226"/>
                <a:gd name="T57" fmla="*/ 116 h 135"/>
                <a:gd name="T58" fmla="*/ 26 w 226"/>
                <a:gd name="T59" fmla="*/ 109 h 135"/>
                <a:gd name="T60" fmla="*/ 24 w 226"/>
                <a:gd name="T61" fmla="*/ 105 h 135"/>
                <a:gd name="T62" fmla="*/ 17 w 226"/>
                <a:gd name="T63" fmla="*/ 100 h 135"/>
                <a:gd name="T64" fmla="*/ 12 w 226"/>
                <a:gd name="T65" fmla="*/ 93 h 135"/>
                <a:gd name="T66" fmla="*/ 7 w 226"/>
                <a:gd name="T67" fmla="*/ 83 h 135"/>
                <a:gd name="T68" fmla="*/ 5 w 226"/>
                <a:gd name="T69" fmla="*/ 78 h 135"/>
                <a:gd name="T70" fmla="*/ 7 w 226"/>
                <a:gd name="T71" fmla="*/ 78 h 135"/>
                <a:gd name="T72" fmla="*/ 15 w 226"/>
                <a:gd name="T73" fmla="*/ 74 h 135"/>
                <a:gd name="T74" fmla="*/ 12 w 226"/>
                <a:gd name="T75" fmla="*/ 69 h 135"/>
                <a:gd name="T76" fmla="*/ 15 w 226"/>
                <a:gd name="T77" fmla="*/ 57 h 135"/>
                <a:gd name="T78" fmla="*/ 19 w 226"/>
                <a:gd name="T79" fmla="*/ 50 h 135"/>
                <a:gd name="T80" fmla="*/ 12 w 226"/>
                <a:gd name="T81" fmla="*/ 43 h 135"/>
                <a:gd name="T82" fmla="*/ 22 w 226"/>
                <a:gd name="T83" fmla="*/ 45 h 135"/>
                <a:gd name="T84" fmla="*/ 34 w 226"/>
                <a:gd name="T85" fmla="*/ 43 h 135"/>
                <a:gd name="T86" fmla="*/ 34 w 226"/>
                <a:gd name="T87" fmla="*/ 33 h 135"/>
                <a:gd name="T88" fmla="*/ 43 w 226"/>
                <a:gd name="T89" fmla="*/ 33 h 135"/>
                <a:gd name="T90" fmla="*/ 53 w 226"/>
                <a:gd name="T91" fmla="*/ 40 h 135"/>
                <a:gd name="T92" fmla="*/ 69 w 226"/>
                <a:gd name="T93" fmla="*/ 40 h 135"/>
                <a:gd name="T94" fmla="*/ 86 w 226"/>
                <a:gd name="T95" fmla="*/ 40 h 135"/>
                <a:gd name="T96" fmla="*/ 88 w 226"/>
                <a:gd name="T97" fmla="*/ 36 h 135"/>
                <a:gd name="T98" fmla="*/ 93 w 226"/>
                <a:gd name="T99" fmla="*/ 26 h 135"/>
                <a:gd name="T100" fmla="*/ 109 w 226"/>
                <a:gd name="T101" fmla="*/ 24 h 135"/>
                <a:gd name="T102" fmla="*/ 114 w 226"/>
                <a:gd name="T103" fmla="*/ 21 h 135"/>
                <a:gd name="T104" fmla="*/ 124 w 226"/>
                <a:gd name="T105" fmla="*/ 19 h 135"/>
                <a:gd name="T106" fmla="*/ 131 w 226"/>
                <a:gd name="T107" fmla="*/ 21 h 135"/>
                <a:gd name="T108" fmla="*/ 140 w 226"/>
                <a:gd name="T109" fmla="*/ 14 h 135"/>
                <a:gd name="T110" fmla="*/ 147 w 226"/>
                <a:gd name="T111" fmla="*/ 2 h 135"/>
                <a:gd name="T112" fmla="*/ 157 w 226"/>
                <a:gd name="T113" fmla="*/ 0 h 135"/>
                <a:gd name="T114" fmla="*/ 169 w 226"/>
                <a:gd name="T115" fmla="*/ 5 h 135"/>
                <a:gd name="T116" fmla="*/ 176 w 226"/>
                <a:gd name="T1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135">
                  <a:moveTo>
                    <a:pt x="178" y="2"/>
                  </a:moveTo>
                  <a:lnTo>
                    <a:pt x="181" y="5"/>
                  </a:lnTo>
                  <a:lnTo>
                    <a:pt x="183" y="5"/>
                  </a:lnTo>
                  <a:lnTo>
                    <a:pt x="183" y="7"/>
                  </a:lnTo>
                  <a:lnTo>
                    <a:pt x="185" y="10"/>
                  </a:lnTo>
                  <a:lnTo>
                    <a:pt x="185" y="12"/>
                  </a:lnTo>
                  <a:lnTo>
                    <a:pt x="188" y="12"/>
                  </a:lnTo>
                  <a:lnTo>
                    <a:pt x="190" y="12"/>
                  </a:lnTo>
                  <a:lnTo>
                    <a:pt x="193" y="12"/>
                  </a:lnTo>
                  <a:lnTo>
                    <a:pt x="195" y="12"/>
                  </a:lnTo>
                  <a:lnTo>
                    <a:pt x="195" y="10"/>
                  </a:lnTo>
                  <a:lnTo>
                    <a:pt x="197" y="10"/>
                  </a:lnTo>
                  <a:lnTo>
                    <a:pt x="197" y="12"/>
                  </a:lnTo>
                  <a:lnTo>
                    <a:pt x="200" y="12"/>
                  </a:lnTo>
                  <a:lnTo>
                    <a:pt x="200" y="10"/>
                  </a:lnTo>
                  <a:lnTo>
                    <a:pt x="202" y="10"/>
                  </a:lnTo>
                  <a:lnTo>
                    <a:pt x="204" y="10"/>
                  </a:lnTo>
                  <a:lnTo>
                    <a:pt x="204" y="12"/>
                  </a:lnTo>
                  <a:lnTo>
                    <a:pt x="207" y="12"/>
                  </a:lnTo>
                  <a:lnTo>
                    <a:pt x="207" y="14"/>
                  </a:lnTo>
                  <a:lnTo>
                    <a:pt x="207" y="17"/>
                  </a:lnTo>
                  <a:lnTo>
                    <a:pt x="209" y="17"/>
                  </a:lnTo>
                  <a:lnTo>
                    <a:pt x="211" y="17"/>
                  </a:lnTo>
                  <a:lnTo>
                    <a:pt x="211" y="19"/>
                  </a:lnTo>
                  <a:lnTo>
                    <a:pt x="214" y="19"/>
                  </a:lnTo>
                  <a:lnTo>
                    <a:pt x="214" y="21"/>
                  </a:lnTo>
                  <a:lnTo>
                    <a:pt x="216" y="21"/>
                  </a:lnTo>
                  <a:lnTo>
                    <a:pt x="214" y="21"/>
                  </a:lnTo>
                  <a:lnTo>
                    <a:pt x="214" y="24"/>
                  </a:lnTo>
                  <a:lnTo>
                    <a:pt x="216" y="24"/>
                  </a:lnTo>
                  <a:lnTo>
                    <a:pt x="214" y="24"/>
                  </a:lnTo>
                  <a:lnTo>
                    <a:pt x="216" y="24"/>
                  </a:lnTo>
                  <a:lnTo>
                    <a:pt x="219" y="24"/>
                  </a:lnTo>
                  <a:lnTo>
                    <a:pt x="221" y="24"/>
                  </a:lnTo>
                  <a:lnTo>
                    <a:pt x="223" y="24"/>
                  </a:lnTo>
                  <a:lnTo>
                    <a:pt x="223" y="26"/>
                  </a:lnTo>
                  <a:lnTo>
                    <a:pt x="223" y="29"/>
                  </a:lnTo>
                  <a:lnTo>
                    <a:pt x="223" y="31"/>
                  </a:lnTo>
                  <a:lnTo>
                    <a:pt x="226" y="31"/>
                  </a:lnTo>
                  <a:lnTo>
                    <a:pt x="223" y="31"/>
                  </a:lnTo>
                  <a:lnTo>
                    <a:pt x="223" y="33"/>
                  </a:lnTo>
                  <a:lnTo>
                    <a:pt x="221" y="33"/>
                  </a:lnTo>
                  <a:lnTo>
                    <a:pt x="221" y="36"/>
                  </a:lnTo>
                  <a:lnTo>
                    <a:pt x="221" y="38"/>
                  </a:lnTo>
                  <a:lnTo>
                    <a:pt x="219" y="36"/>
                  </a:lnTo>
                  <a:lnTo>
                    <a:pt x="219" y="38"/>
                  </a:lnTo>
                  <a:lnTo>
                    <a:pt x="219" y="40"/>
                  </a:lnTo>
                  <a:lnTo>
                    <a:pt x="216" y="40"/>
                  </a:lnTo>
                  <a:lnTo>
                    <a:pt x="214" y="40"/>
                  </a:lnTo>
                  <a:lnTo>
                    <a:pt x="211" y="38"/>
                  </a:lnTo>
                  <a:lnTo>
                    <a:pt x="209" y="38"/>
                  </a:lnTo>
                  <a:lnTo>
                    <a:pt x="209" y="40"/>
                  </a:lnTo>
                  <a:lnTo>
                    <a:pt x="207" y="40"/>
                  </a:lnTo>
                  <a:lnTo>
                    <a:pt x="204" y="43"/>
                  </a:lnTo>
                  <a:lnTo>
                    <a:pt x="202" y="43"/>
                  </a:lnTo>
                  <a:lnTo>
                    <a:pt x="202" y="45"/>
                  </a:lnTo>
                  <a:lnTo>
                    <a:pt x="202" y="48"/>
                  </a:lnTo>
                  <a:lnTo>
                    <a:pt x="200" y="48"/>
                  </a:lnTo>
                  <a:lnTo>
                    <a:pt x="200" y="50"/>
                  </a:lnTo>
                  <a:lnTo>
                    <a:pt x="197" y="50"/>
                  </a:lnTo>
                  <a:lnTo>
                    <a:pt x="197" y="52"/>
                  </a:lnTo>
                  <a:lnTo>
                    <a:pt x="197" y="50"/>
                  </a:lnTo>
                  <a:lnTo>
                    <a:pt x="197" y="52"/>
                  </a:lnTo>
                  <a:lnTo>
                    <a:pt x="195" y="52"/>
                  </a:lnTo>
                  <a:lnTo>
                    <a:pt x="195" y="55"/>
                  </a:lnTo>
                  <a:lnTo>
                    <a:pt x="197" y="55"/>
                  </a:lnTo>
                  <a:lnTo>
                    <a:pt x="197" y="57"/>
                  </a:lnTo>
                  <a:lnTo>
                    <a:pt x="195" y="59"/>
                  </a:lnTo>
                  <a:lnTo>
                    <a:pt x="193" y="59"/>
                  </a:lnTo>
                  <a:lnTo>
                    <a:pt x="193" y="62"/>
                  </a:lnTo>
                  <a:lnTo>
                    <a:pt x="193" y="64"/>
                  </a:lnTo>
                  <a:lnTo>
                    <a:pt x="190" y="64"/>
                  </a:lnTo>
                  <a:lnTo>
                    <a:pt x="190" y="67"/>
                  </a:lnTo>
                  <a:lnTo>
                    <a:pt x="190" y="69"/>
                  </a:lnTo>
                  <a:lnTo>
                    <a:pt x="188" y="71"/>
                  </a:lnTo>
                  <a:lnTo>
                    <a:pt x="185" y="71"/>
                  </a:lnTo>
                  <a:lnTo>
                    <a:pt x="185" y="74"/>
                  </a:lnTo>
                  <a:lnTo>
                    <a:pt x="183" y="74"/>
                  </a:lnTo>
                  <a:lnTo>
                    <a:pt x="183" y="76"/>
                  </a:lnTo>
                  <a:lnTo>
                    <a:pt x="185" y="76"/>
                  </a:lnTo>
                  <a:lnTo>
                    <a:pt x="185" y="78"/>
                  </a:lnTo>
                  <a:lnTo>
                    <a:pt x="183" y="78"/>
                  </a:lnTo>
                  <a:lnTo>
                    <a:pt x="183" y="81"/>
                  </a:lnTo>
                  <a:lnTo>
                    <a:pt x="183" y="83"/>
                  </a:lnTo>
                  <a:lnTo>
                    <a:pt x="181" y="83"/>
                  </a:lnTo>
                  <a:lnTo>
                    <a:pt x="181" y="86"/>
                  </a:lnTo>
                  <a:lnTo>
                    <a:pt x="178" y="86"/>
                  </a:lnTo>
                  <a:lnTo>
                    <a:pt x="178" y="88"/>
                  </a:lnTo>
                  <a:lnTo>
                    <a:pt x="181" y="88"/>
                  </a:lnTo>
                  <a:lnTo>
                    <a:pt x="181" y="90"/>
                  </a:lnTo>
                  <a:lnTo>
                    <a:pt x="178" y="90"/>
                  </a:lnTo>
                  <a:lnTo>
                    <a:pt x="178" y="93"/>
                  </a:lnTo>
                  <a:lnTo>
                    <a:pt x="178" y="90"/>
                  </a:lnTo>
                  <a:lnTo>
                    <a:pt x="176" y="90"/>
                  </a:lnTo>
                  <a:lnTo>
                    <a:pt x="176" y="93"/>
                  </a:lnTo>
                  <a:lnTo>
                    <a:pt x="178" y="93"/>
                  </a:lnTo>
                  <a:lnTo>
                    <a:pt x="176" y="93"/>
                  </a:lnTo>
                  <a:lnTo>
                    <a:pt x="176" y="95"/>
                  </a:lnTo>
                  <a:lnTo>
                    <a:pt x="174" y="93"/>
                  </a:lnTo>
                  <a:lnTo>
                    <a:pt x="174" y="95"/>
                  </a:lnTo>
                  <a:lnTo>
                    <a:pt x="174" y="97"/>
                  </a:lnTo>
                  <a:lnTo>
                    <a:pt x="171" y="97"/>
                  </a:lnTo>
                  <a:lnTo>
                    <a:pt x="171" y="100"/>
                  </a:lnTo>
                  <a:lnTo>
                    <a:pt x="171" y="102"/>
                  </a:lnTo>
                  <a:lnTo>
                    <a:pt x="174" y="102"/>
                  </a:lnTo>
                  <a:lnTo>
                    <a:pt x="171" y="105"/>
                  </a:lnTo>
                  <a:lnTo>
                    <a:pt x="169" y="105"/>
                  </a:lnTo>
                  <a:lnTo>
                    <a:pt x="169" y="107"/>
                  </a:lnTo>
                  <a:lnTo>
                    <a:pt x="169" y="109"/>
                  </a:lnTo>
                  <a:lnTo>
                    <a:pt x="166" y="109"/>
                  </a:lnTo>
                  <a:lnTo>
                    <a:pt x="166" y="112"/>
                  </a:lnTo>
                  <a:lnTo>
                    <a:pt x="164" y="112"/>
                  </a:lnTo>
                  <a:lnTo>
                    <a:pt x="162" y="112"/>
                  </a:lnTo>
                  <a:lnTo>
                    <a:pt x="159" y="112"/>
                  </a:lnTo>
                  <a:lnTo>
                    <a:pt x="159" y="109"/>
                  </a:lnTo>
                  <a:lnTo>
                    <a:pt x="155" y="112"/>
                  </a:lnTo>
                  <a:lnTo>
                    <a:pt x="155" y="114"/>
                  </a:lnTo>
                  <a:lnTo>
                    <a:pt x="152" y="114"/>
                  </a:lnTo>
                  <a:lnTo>
                    <a:pt x="152" y="116"/>
                  </a:lnTo>
                  <a:lnTo>
                    <a:pt x="150" y="116"/>
                  </a:lnTo>
                  <a:lnTo>
                    <a:pt x="150" y="119"/>
                  </a:lnTo>
                  <a:lnTo>
                    <a:pt x="150" y="116"/>
                  </a:lnTo>
                  <a:lnTo>
                    <a:pt x="147" y="116"/>
                  </a:lnTo>
                  <a:lnTo>
                    <a:pt x="145" y="114"/>
                  </a:lnTo>
                  <a:lnTo>
                    <a:pt x="145" y="116"/>
                  </a:lnTo>
                  <a:lnTo>
                    <a:pt x="143" y="116"/>
                  </a:lnTo>
                  <a:lnTo>
                    <a:pt x="140" y="116"/>
                  </a:lnTo>
                  <a:lnTo>
                    <a:pt x="138" y="119"/>
                  </a:lnTo>
                  <a:lnTo>
                    <a:pt x="136" y="116"/>
                  </a:lnTo>
                  <a:lnTo>
                    <a:pt x="133" y="116"/>
                  </a:lnTo>
                  <a:lnTo>
                    <a:pt x="131" y="116"/>
                  </a:lnTo>
                  <a:lnTo>
                    <a:pt x="128" y="116"/>
                  </a:lnTo>
                  <a:lnTo>
                    <a:pt x="126" y="116"/>
                  </a:lnTo>
                  <a:lnTo>
                    <a:pt x="124" y="116"/>
                  </a:lnTo>
                  <a:lnTo>
                    <a:pt x="124" y="119"/>
                  </a:lnTo>
                  <a:lnTo>
                    <a:pt x="124" y="116"/>
                  </a:lnTo>
                  <a:lnTo>
                    <a:pt x="121" y="116"/>
                  </a:lnTo>
                  <a:lnTo>
                    <a:pt x="119" y="116"/>
                  </a:lnTo>
                  <a:lnTo>
                    <a:pt x="119" y="114"/>
                  </a:lnTo>
                  <a:lnTo>
                    <a:pt x="117" y="116"/>
                  </a:lnTo>
                  <a:lnTo>
                    <a:pt x="114" y="116"/>
                  </a:lnTo>
                  <a:lnTo>
                    <a:pt x="112" y="116"/>
                  </a:lnTo>
                  <a:lnTo>
                    <a:pt x="114" y="119"/>
                  </a:lnTo>
                  <a:lnTo>
                    <a:pt x="112" y="119"/>
                  </a:lnTo>
                  <a:lnTo>
                    <a:pt x="112" y="121"/>
                  </a:lnTo>
                  <a:lnTo>
                    <a:pt x="109" y="121"/>
                  </a:lnTo>
                  <a:lnTo>
                    <a:pt x="105" y="124"/>
                  </a:lnTo>
                  <a:lnTo>
                    <a:pt x="107" y="124"/>
                  </a:lnTo>
                  <a:lnTo>
                    <a:pt x="105" y="124"/>
                  </a:lnTo>
                  <a:lnTo>
                    <a:pt x="102" y="124"/>
                  </a:lnTo>
                  <a:lnTo>
                    <a:pt x="100" y="121"/>
                  </a:lnTo>
                  <a:lnTo>
                    <a:pt x="98" y="124"/>
                  </a:lnTo>
                  <a:lnTo>
                    <a:pt x="100" y="126"/>
                  </a:lnTo>
                  <a:lnTo>
                    <a:pt x="98" y="126"/>
                  </a:lnTo>
                  <a:lnTo>
                    <a:pt x="98" y="128"/>
                  </a:lnTo>
                  <a:lnTo>
                    <a:pt x="95" y="126"/>
                  </a:lnTo>
                  <a:lnTo>
                    <a:pt x="95" y="128"/>
                  </a:lnTo>
                  <a:lnTo>
                    <a:pt x="93" y="126"/>
                  </a:lnTo>
                  <a:lnTo>
                    <a:pt x="93" y="128"/>
                  </a:lnTo>
                  <a:lnTo>
                    <a:pt x="90" y="128"/>
                  </a:lnTo>
                  <a:lnTo>
                    <a:pt x="90" y="131"/>
                  </a:lnTo>
                  <a:lnTo>
                    <a:pt x="90" y="128"/>
                  </a:lnTo>
                  <a:lnTo>
                    <a:pt x="88" y="128"/>
                  </a:lnTo>
                  <a:lnTo>
                    <a:pt x="86" y="128"/>
                  </a:lnTo>
                  <a:lnTo>
                    <a:pt x="86" y="131"/>
                  </a:lnTo>
                  <a:lnTo>
                    <a:pt x="83" y="131"/>
                  </a:lnTo>
                  <a:lnTo>
                    <a:pt x="83" y="133"/>
                  </a:lnTo>
                  <a:lnTo>
                    <a:pt x="81" y="133"/>
                  </a:lnTo>
                  <a:lnTo>
                    <a:pt x="79" y="133"/>
                  </a:lnTo>
                  <a:lnTo>
                    <a:pt x="79" y="135"/>
                  </a:lnTo>
                  <a:lnTo>
                    <a:pt x="76" y="135"/>
                  </a:lnTo>
                  <a:lnTo>
                    <a:pt x="74" y="135"/>
                  </a:lnTo>
                  <a:lnTo>
                    <a:pt x="71" y="135"/>
                  </a:lnTo>
                  <a:lnTo>
                    <a:pt x="71" y="133"/>
                  </a:lnTo>
                  <a:lnTo>
                    <a:pt x="69" y="133"/>
                  </a:lnTo>
                  <a:lnTo>
                    <a:pt x="69" y="135"/>
                  </a:lnTo>
                  <a:lnTo>
                    <a:pt x="69" y="133"/>
                  </a:lnTo>
                  <a:lnTo>
                    <a:pt x="67" y="133"/>
                  </a:lnTo>
                  <a:lnTo>
                    <a:pt x="67" y="135"/>
                  </a:lnTo>
                  <a:lnTo>
                    <a:pt x="64" y="135"/>
                  </a:lnTo>
                  <a:lnTo>
                    <a:pt x="64" y="133"/>
                  </a:lnTo>
                  <a:lnTo>
                    <a:pt x="62" y="133"/>
                  </a:lnTo>
                  <a:lnTo>
                    <a:pt x="60" y="133"/>
                  </a:lnTo>
                  <a:lnTo>
                    <a:pt x="60" y="135"/>
                  </a:lnTo>
                  <a:lnTo>
                    <a:pt x="60" y="133"/>
                  </a:lnTo>
                  <a:lnTo>
                    <a:pt x="57" y="133"/>
                  </a:lnTo>
                  <a:lnTo>
                    <a:pt x="55" y="133"/>
                  </a:lnTo>
                  <a:lnTo>
                    <a:pt x="55" y="131"/>
                  </a:lnTo>
                  <a:lnTo>
                    <a:pt x="53" y="131"/>
                  </a:lnTo>
                  <a:lnTo>
                    <a:pt x="50" y="128"/>
                  </a:lnTo>
                  <a:lnTo>
                    <a:pt x="50" y="126"/>
                  </a:lnTo>
                  <a:lnTo>
                    <a:pt x="48" y="126"/>
                  </a:lnTo>
                  <a:lnTo>
                    <a:pt x="45" y="126"/>
                  </a:lnTo>
                  <a:lnTo>
                    <a:pt x="43" y="126"/>
                  </a:lnTo>
                  <a:lnTo>
                    <a:pt x="41" y="126"/>
                  </a:lnTo>
                  <a:lnTo>
                    <a:pt x="43" y="126"/>
                  </a:lnTo>
                  <a:lnTo>
                    <a:pt x="41" y="126"/>
                  </a:lnTo>
                  <a:lnTo>
                    <a:pt x="41" y="124"/>
                  </a:lnTo>
                  <a:lnTo>
                    <a:pt x="38" y="124"/>
                  </a:lnTo>
                  <a:lnTo>
                    <a:pt x="38" y="121"/>
                  </a:lnTo>
                  <a:lnTo>
                    <a:pt x="38" y="119"/>
                  </a:lnTo>
                  <a:lnTo>
                    <a:pt x="36" y="119"/>
                  </a:lnTo>
                  <a:lnTo>
                    <a:pt x="36" y="116"/>
                  </a:lnTo>
                  <a:lnTo>
                    <a:pt x="34" y="116"/>
                  </a:lnTo>
                  <a:lnTo>
                    <a:pt x="34" y="114"/>
                  </a:lnTo>
                  <a:lnTo>
                    <a:pt x="31" y="114"/>
                  </a:lnTo>
                  <a:lnTo>
                    <a:pt x="29" y="114"/>
                  </a:lnTo>
                  <a:lnTo>
                    <a:pt x="29" y="112"/>
                  </a:lnTo>
                  <a:lnTo>
                    <a:pt x="26" y="112"/>
                  </a:lnTo>
                  <a:lnTo>
                    <a:pt x="26" y="109"/>
                  </a:lnTo>
                  <a:lnTo>
                    <a:pt x="26" y="107"/>
                  </a:lnTo>
                  <a:lnTo>
                    <a:pt x="26" y="109"/>
                  </a:lnTo>
                  <a:lnTo>
                    <a:pt x="26" y="107"/>
                  </a:lnTo>
                  <a:lnTo>
                    <a:pt x="24" y="107"/>
                  </a:lnTo>
                  <a:lnTo>
                    <a:pt x="24" y="105"/>
                  </a:lnTo>
                  <a:lnTo>
                    <a:pt x="24" y="107"/>
                  </a:lnTo>
                  <a:lnTo>
                    <a:pt x="24" y="105"/>
                  </a:lnTo>
                  <a:lnTo>
                    <a:pt x="22" y="105"/>
                  </a:lnTo>
                  <a:lnTo>
                    <a:pt x="22" y="107"/>
                  </a:lnTo>
                  <a:lnTo>
                    <a:pt x="22" y="105"/>
                  </a:lnTo>
                  <a:lnTo>
                    <a:pt x="19" y="105"/>
                  </a:lnTo>
                  <a:lnTo>
                    <a:pt x="19" y="102"/>
                  </a:lnTo>
                  <a:lnTo>
                    <a:pt x="17" y="102"/>
                  </a:lnTo>
                  <a:lnTo>
                    <a:pt x="17" y="100"/>
                  </a:lnTo>
                  <a:lnTo>
                    <a:pt x="15" y="100"/>
                  </a:lnTo>
                  <a:lnTo>
                    <a:pt x="15" y="97"/>
                  </a:lnTo>
                  <a:lnTo>
                    <a:pt x="12" y="97"/>
                  </a:lnTo>
                  <a:lnTo>
                    <a:pt x="12" y="95"/>
                  </a:lnTo>
                  <a:lnTo>
                    <a:pt x="10" y="95"/>
                  </a:lnTo>
                  <a:lnTo>
                    <a:pt x="10" y="93"/>
                  </a:lnTo>
                  <a:lnTo>
                    <a:pt x="12" y="93"/>
                  </a:lnTo>
                  <a:lnTo>
                    <a:pt x="12" y="90"/>
                  </a:lnTo>
                  <a:lnTo>
                    <a:pt x="10" y="90"/>
                  </a:lnTo>
                  <a:lnTo>
                    <a:pt x="7" y="88"/>
                  </a:lnTo>
                  <a:lnTo>
                    <a:pt x="7" y="86"/>
                  </a:lnTo>
                  <a:lnTo>
                    <a:pt x="10" y="86"/>
                  </a:lnTo>
                  <a:lnTo>
                    <a:pt x="10" y="83"/>
                  </a:lnTo>
                  <a:lnTo>
                    <a:pt x="7" y="83"/>
                  </a:lnTo>
                  <a:lnTo>
                    <a:pt x="5" y="83"/>
                  </a:lnTo>
                  <a:lnTo>
                    <a:pt x="3" y="83"/>
                  </a:lnTo>
                  <a:lnTo>
                    <a:pt x="0" y="83"/>
                  </a:lnTo>
                  <a:lnTo>
                    <a:pt x="3" y="83"/>
                  </a:lnTo>
                  <a:lnTo>
                    <a:pt x="3" y="81"/>
                  </a:lnTo>
                  <a:lnTo>
                    <a:pt x="5" y="81"/>
                  </a:lnTo>
                  <a:lnTo>
                    <a:pt x="5" y="78"/>
                  </a:lnTo>
                  <a:lnTo>
                    <a:pt x="5" y="81"/>
                  </a:lnTo>
                  <a:lnTo>
                    <a:pt x="5" y="78"/>
                  </a:lnTo>
                  <a:lnTo>
                    <a:pt x="5" y="81"/>
                  </a:lnTo>
                  <a:lnTo>
                    <a:pt x="5" y="78"/>
                  </a:lnTo>
                  <a:lnTo>
                    <a:pt x="5" y="81"/>
                  </a:lnTo>
                  <a:lnTo>
                    <a:pt x="5" y="78"/>
                  </a:lnTo>
                  <a:lnTo>
                    <a:pt x="7" y="78"/>
                  </a:lnTo>
                  <a:lnTo>
                    <a:pt x="7" y="76"/>
                  </a:lnTo>
                  <a:lnTo>
                    <a:pt x="10" y="76"/>
                  </a:lnTo>
                  <a:lnTo>
                    <a:pt x="12" y="76"/>
                  </a:lnTo>
                  <a:lnTo>
                    <a:pt x="15" y="76"/>
                  </a:lnTo>
                  <a:lnTo>
                    <a:pt x="12" y="76"/>
                  </a:lnTo>
                  <a:lnTo>
                    <a:pt x="12" y="74"/>
                  </a:lnTo>
                  <a:lnTo>
                    <a:pt x="15" y="74"/>
                  </a:lnTo>
                  <a:lnTo>
                    <a:pt x="12" y="74"/>
                  </a:lnTo>
                  <a:lnTo>
                    <a:pt x="12" y="71"/>
                  </a:lnTo>
                  <a:lnTo>
                    <a:pt x="15" y="71"/>
                  </a:lnTo>
                  <a:lnTo>
                    <a:pt x="15" y="69"/>
                  </a:lnTo>
                  <a:lnTo>
                    <a:pt x="12" y="69"/>
                  </a:lnTo>
                  <a:lnTo>
                    <a:pt x="12" y="67"/>
                  </a:lnTo>
                  <a:lnTo>
                    <a:pt x="12" y="69"/>
                  </a:lnTo>
                  <a:lnTo>
                    <a:pt x="12" y="67"/>
                  </a:lnTo>
                  <a:lnTo>
                    <a:pt x="12" y="64"/>
                  </a:lnTo>
                  <a:lnTo>
                    <a:pt x="15" y="64"/>
                  </a:lnTo>
                  <a:lnTo>
                    <a:pt x="12" y="62"/>
                  </a:lnTo>
                  <a:lnTo>
                    <a:pt x="12" y="59"/>
                  </a:lnTo>
                  <a:lnTo>
                    <a:pt x="12" y="57"/>
                  </a:lnTo>
                  <a:lnTo>
                    <a:pt x="15" y="57"/>
                  </a:lnTo>
                  <a:lnTo>
                    <a:pt x="17" y="57"/>
                  </a:lnTo>
                  <a:lnTo>
                    <a:pt x="19" y="57"/>
                  </a:lnTo>
                  <a:lnTo>
                    <a:pt x="19" y="55"/>
                  </a:lnTo>
                  <a:lnTo>
                    <a:pt x="19" y="52"/>
                  </a:lnTo>
                  <a:lnTo>
                    <a:pt x="22" y="52"/>
                  </a:lnTo>
                  <a:lnTo>
                    <a:pt x="22" y="50"/>
                  </a:lnTo>
                  <a:lnTo>
                    <a:pt x="19" y="50"/>
                  </a:lnTo>
                  <a:lnTo>
                    <a:pt x="19" y="48"/>
                  </a:lnTo>
                  <a:lnTo>
                    <a:pt x="17" y="48"/>
                  </a:lnTo>
                  <a:lnTo>
                    <a:pt x="15" y="45"/>
                  </a:lnTo>
                  <a:lnTo>
                    <a:pt x="12" y="45"/>
                  </a:lnTo>
                  <a:lnTo>
                    <a:pt x="12" y="43"/>
                  </a:lnTo>
                  <a:lnTo>
                    <a:pt x="12" y="45"/>
                  </a:lnTo>
                  <a:lnTo>
                    <a:pt x="12" y="43"/>
                  </a:lnTo>
                  <a:lnTo>
                    <a:pt x="15" y="43"/>
                  </a:lnTo>
                  <a:lnTo>
                    <a:pt x="15" y="40"/>
                  </a:lnTo>
                  <a:lnTo>
                    <a:pt x="17" y="40"/>
                  </a:lnTo>
                  <a:lnTo>
                    <a:pt x="19" y="40"/>
                  </a:lnTo>
                  <a:lnTo>
                    <a:pt x="22" y="40"/>
                  </a:lnTo>
                  <a:lnTo>
                    <a:pt x="22" y="43"/>
                  </a:lnTo>
                  <a:lnTo>
                    <a:pt x="22" y="45"/>
                  </a:lnTo>
                  <a:lnTo>
                    <a:pt x="24" y="45"/>
                  </a:lnTo>
                  <a:lnTo>
                    <a:pt x="24" y="43"/>
                  </a:lnTo>
                  <a:lnTo>
                    <a:pt x="26" y="43"/>
                  </a:lnTo>
                  <a:lnTo>
                    <a:pt x="29" y="45"/>
                  </a:lnTo>
                  <a:lnTo>
                    <a:pt x="29" y="43"/>
                  </a:lnTo>
                  <a:lnTo>
                    <a:pt x="31" y="43"/>
                  </a:lnTo>
                  <a:lnTo>
                    <a:pt x="34" y="43"/>
                  </a:lnTo>
                  <a:lnTo>
                    <a:pt x="34" y="40"/>
                  </a:lnTo>
                  <a:lnTo>
                    <a:pt x="31" y="38"/>
                  </a:lnTo>
                  <a:lnTo>
                    <a:pt x="34" y="38"/>
                  </a:lnTo>
                  <a:lnTo>
                    <a:pt x="31" y="38"/>
                  </a:lnTo>
                  <a:lnTo>
                    <a:pt x="31" y="36"/>
                  </a:lnTo>
                  <a:lnTo>
                    <a:pt x="34" y="36"/>
                  </a:lnTo>
                  <a:lnTo>
                    <a:pt x="34" y="33"/>
                  </a:lnTo>
                  <a:lnTo>
                    <a:pt x="34" y="31"/>
                  </a:lnTo>
                  <a:lnTo>
                    <a:pt x="36" y="29"/>
                  </a:lnTo>
                  <a:lnTo>
                    <a:pt x="38" y="29"/>
                  </a:lnTo>
                  <a:lnTo>
                    <a:pt x="41" y="29"/>
                  </a:lnTo>
                  <a:lnTo>
                    <a:pt x="41" y="31"/>
                  </a:lnTo>
                  <a:lnTo>
                    <a:pt x="43" y="31"/>
                  </a:lnTo>
                  <a:lnTo>
                    <a:pt x="43" y="33"/>
                  </a:lnTo>
                  <a:lnTo>
                    <a:pt x="45" y="33"/>
                  </a:lnTo>
                  <a:lnTo>
                    <a:pt x="45" y="36"/>
                  </a:lnTo>
                  <a:lnTo>
                    <a:pt x="48" y="36"/>
                  </a:lnTo>
                  <a:lnTo>
                    <a:pt x="48" y="38"/>
                  </a:lnTo>
                  <a:lnTo>
                    <a:pt x="50" y="38"/>
                  </a:lnTo>
                  <a:lnTo>
                    <a:pt x="53" y="38"/>
                  </a:lnTo>
                  <a:lnTo>
                    <a:pt x="53" y="40"/>
                  </a:lnTo>
                  <a:lnTo>
                    <a:pt x="55" y="40"/>
                  </a:lnTo>
                  <a:lnTo>
                    <a:pt x="57" y="40"/>
                  </a:lnTo>
                  <a:lnTo>
                    <a:pt x="60" y="40"/>
                  </a:lnTo>
                  <a:lnTo>
                    <a:pt x="62" y="40"/>
                  </a:lnTo>
                  <a:lnTo>
                    <a:pt x="64" y="40"/>
                  </a:lnTo>
                  <a:lnTo>
                    <a:pt x="67" y="40"/>
                  </a:lnTo>
                  <a:lnTo>
                    <a:pt x="69" y="40"/>
                  </a:lnTo>
                  <a:lnTo>
                    <a:pt x="71" y="40"/>
                  </a:lnTo>
                  <a:lnTo>
                    <a:pt x="74" y="43"/>
                  </a:lnTo>
                  <a:lnTo>
                    <a:pt x="76" y="40"/>
                  </a:lnTo>
                  <a:lnTo>
                    <a:pt x="79" y="40"/>
                  </a:lnTo>
                  <a:lnTo>
                    <a:pt x="81" y="40"/>
                  </a:lnTo>
                  <a:lnTo>
                    <a:pt x="83" y="40"/>
                  </a:lnTo>
                  <a:lnTo>
                    <a:pt x="86" y="40"/>
                  </a:lnTo>
                  <a:lnTo>
                    <a:pt x="88" y="40"/>
                  </a:lnTo>
                  <a:lnTo>
                    <a:pt x="88" y="38"/>
                  </a:lnTo>
                  <a:lnTo>
                    <a:pt x="90" y="38"/>
                  </a:lnTo>
                  <a:lnTo>
                    <a:pt x="93" y="38"/>
                  </a:lnTo>
                  <a:lnTo>
                    <a:pt x="90" y="38"/>
                  </a:lnTo>
                  <a:lnTo>
                    <a:pt x="90" y="36"/>
                  </a:lnTo>
                  <a:lnTo>
                    <a:pt x="88" y="36"/>
                  </a:lnTo>
                  <a:lnTo>
                    <a:pt x="88" y="33"/>
                  </a:lnTo>
                  <a:lnTo>
                    <a:pt x="88" y="31"/>
                  </a:lnTo>
                  <a:lnTo>
                    <a:pt x="90" y="29"/>
                  </a:lnTo>
                  <a:lnTo>
                    <a:pt x="90" y="31"/>
                  </a:lnTo>
                  <a:lnTo>
                    <a:pt x="90" y="29"/>
                  </a:lnTo>
                  <a:lnTo>
                    <a:pt x="90" y="26"/>
                  </a:lnTo>
                  <a:lnTo>
                    <a:pt x="93" y="26"/>
                  </a:lnTo>
                  <a:lnTo>
                    <a:pt x="95" y="26"/>
                  </a:lnTo>
                  <a:lnTo>
                    <a:pt x="98" y="26"/>
                  </a:lnTo>
                  <a:lnTo>
                    <a:pt x="100" y="26"/>
                  </a:lnTo>
                  <a:lnTo>
                    <a:pt x="102" y="26"/>
                  </a:lnTo>
                  <a:lnTo>
                    <a:pt x="105" y="26"/>
                  </a:lnTo>
                  <a:lnTo>
                    <a:pt x="107" y="24"/>
                  </a:lnTo>
                  <a:lnTo>
                    <a:pt x="109" y="24"/>
                  </a:lnTo>
                  <a:lnTo>
                    <a:pt x="109" y="26"/>
                  </a:lnTo>
                  <a:lnTo>
                    <a:pt x="109" y="24"/>
                  </a:lnTo>
                  <a:lnTo>
                    <a:pt x="112" y="24"/>
                  </a:lnTo>
                  <a:lnTo>
                    <a:pt x="112" y="26"/>
                  </a:lnTo>
                  <a:lnTo>
                    <a:pt x="112" y="24"/>
                  </a:lnTo>
                  <a:lnTo>
                    <a:pt x="112" y="21"/>
                  </a:lnTo>
                  <a:lnTo>
                    <a:pt x="114" y="21"/>
                  </a:lnTo>
                  <a:lnTo>
                    <a:pt x="114" y="19"/>
                  </a:lnTo>
                  <a:lnTo>
                    <a:pt x="117" y="19"/>
                  </a:lnTo>
                  <a:lnTo>
                    <a:pt x="117" y="17"/>
                  </a:lnTo>
                  <a:lnTo>
                    <a:pt x="119" y="17"/>
                  </a:lnTo>
                  <a:lnTo>
                    <a:pt x="119" y="19"/>
                  </a:lnTo>
                  <a:lnTo>
                    <a:pt x="121" y="19"/>
                  </a:lnTo>
                  <a:lnTo>
                    <a:pt x="124" y="19"/>
                  </a:lnTo>
                  <a:lnTo>
                    <a:pt x="124" y="21"/>
                  </a:lnTo>
                  <a:lnTo>
                    <a:pt x="121" y="21"/>
                  </a:lnTo>
                  <a:lnTo>
                    <a:pt x="124" y="21"/>
                  </a:lnTo>
                  <a:lnTo>
                    <a:pt x="126" y="21"/>
                  </a:lnTo>
                  <a:lnTo>
                    <a:pt x="126" y="24"/>
                  </a:lnTo>
                  <a:lnTo>
                    <a:pt x="128" y="21"/>
                  </a:lnTo>
                  <a:lnTo>
                    <a:pt x="131" y="21"/>
                  </a:lnTo>
                  <a:lnTo>
                    <a:pt x="131" y="19"/>
                  </a:lnTo>
                  <a:lnTo>
                    <a:pt x="133" y="19"/>
                  </a:lnTo>
                  <a:lnTo>
                    <a:pt x="133" y="17"/>
                  </a:lnTo>
                  <a:lnTo>
                    <a:pt x="136" y="17"/>
                  </a:lnTo>
                  <a:lnTo>
                    <a:pt x="138" y="17"/>
                  </a:lnTo>
                  <a:lnTo>
                    <a:pt x="140" y="17"/>
                  </a:lnTo>
                  <a:lnTo>
                    <a:pt x="140" y="14"/>
                  </a:lnTo>
                  <a:lnTo>
                    <a:pt x="143" y="14"/>
                  </a:lnTo>
                  <a:lnTo>
                    <a:pt x="143" y="12"/>
                  </a:lnTo>
                  <a:lnTo>
                    <a:pt x="143" y="10"/>
                  </a:lnTo>
                  <a:lnTo>
                    <a:pt x="145" y="7"/>
                  </a:lnTo>
                  <a:lnTo>
                    <a:pt x="145" y="5"/>
                  </a:lnTo>
                  <a:lnTo>
                    <a:pt x="145" y="2"/>
                  </a:lnTo>
                  <a:lnTo>
                    <a:pt x="147" y="2"/>
                  </a:lnTo>
                  <a:lnTo>
                    <a:pt x="147" y="5"/>
                  </a:lnTo>
                  <a:lnTo>
                    <a:pt x="147" y="2"/>
                  </a:lnTo>
                  <a:lnTo>
                    <a:pt x="150" y="2"/>
                  </a:lnTo>
                  <a:lnTo>
                    <a:pt x="152" y="2"/>
                  </a:lnTo>
                  <a:lnTo>
                    <a:pt x="155" y="2"/>
                  </a:lnTo>
                  <a:lnTo>
                    <a:pt x="157" y="2"/>
                  </a:lnTo>
                  <a:lnTo>
                    <a:pt x="157" y="0"/>
                  </a:lnTo>
                  <a:lnTo>
                    <a:pt x="157" y="2"/>
                  </a:lnTo>
                  <a:lnTo>
                    <a:pt x="159" y="2"/>
                  </a:lnTo>
                  <a:lnTo>
                    <a:pt x="162" y="2"/>
                  </a:lnTo>
                  <a:lnTo>
                    <a:pt x="162" y="5"/>
                  </a:lnTo>
                  <a:lnTo>
                    <a:pt x="164" y="5"/>
                  </a:lnTo>
                  <a:lnTo>
                    <a:pt x="166" y="5"/>
                  </a:lnTo>
                  <a:lnTo>
                    <a:pt x="169" y="5"/>
                  </a:lnTo>
                  <a:lnTo>
                    <a:pt x="169" y="2"/>
                  </a:lnTo>
                  <a:lnTo>
                    <a:pt x="171" y="2"/>
                  </a:lnTo>
                  <a:lnTo>
                    <a:pt x="171" y="5"/>
                  </a:lnTo>
                  <a:lnTo>
                    <a:pt x="174" y="5"/>
                  </a:lnTo>
                  <a:lnTo>
                    <a:pt x="174" y="2"/>
                  </a:lnTo>
                  <a:lnTo>
                    <a:pt x="176" y="2"/>
                  </a:lnTo>
                  <a:lnTo>
                    <a:pt x="176" y="0"/>
                  </a:lnTo>
                  <a:lnTo>
                    <a:pt x="178" y="0"/>
                  </a:lnTo>
                  <a:lnTo>
                    <a:pt x="178"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4" name="Freeform 52459"/>
            <p:cNvSpPr>
              <a:spLocks/>
            </p:cNvSpPr>
            <p:nvPr/>
          </p:nvSpPr>
          <p:spPr bwMode="auto">
            <a:xfrm>
              <a:off x="741361" y="3324237"/>
              <a:ext cx="579437" cy="279401"/>
            </a:xfrm>
            <a:custGeom>
              <a:avLst/>
              <a:gdLst>
                <a:gd name="T0" fmla="*/ 204 w 365"/>
                <a:gd name="T1" fmla="*/ 164 h 176"/>
                <a:gd name="T2" fmla="*/ 171 w 365"/>
                <a:gd name="T3" fmla="*/ 171 h 176"/>
                <a:gd name="T4" fmla="*/ 137 w 365"/>
                <a:gd name="T5" fmla="*/ 152 h 176"/>
                <a:gd name="T6" fmla="*/ 140 w 365"/>
                <a:gd name="T7" fmla="*/ 143 h 176"/>
                <a:gd name="T8" fmla="*/ 121 w 365"/>
                <a:gd name="T9" fmla="*/ 155 h 176"/>
                <a:gd name="T10" fmla="*/ 130 w 365"/>
                <a:gd name="T11" fmla="*/ 138 h 176"/>
                <a:gd name="T12" fmla="*/ 107 w 365"/>
                <a:gd name="T13" fmla="*/ 150 h 176"/>
                <a:gd name="T14" fmla="*/ 61 w 365"/>
                <a:gd name="T15" fmla="*/ 152 h 176"/>
                <a:gd name="T16" fmla="*/ 85 w 365"/>
                <a:gd name="T17" fmla="*/ 141 h 176"/>
                <a:gd name="T18" fmla="*/ 90 w 365"/>
                <a:gd name="T19" fmla="*/ 129 h 176"/>
                <a:gd name="T20" fmla="*/ 83 w 365"/>
                <a:gd name="T21" fmla="*/ 124 h 176"/>
                <a:gd name="T22" fmla="*/ 90 w 365"/>
                <a:gd name="T23" fmla="*/ 114 h 176"/>
                <a:gd name="T24" fmla="*/ 95 w 365"/>
                <a:gd name="T25" fmla="*/ 110 h 176"/>
                <a:gd name="T26" fmla="*/ 76 w 365"/>
                <a:gd name="T27" fmla="*/ 114 h 176"/>
                <a:gd name="T28" fmla="*/ 73 w 365"/>
                <a:gd name="T29" fmla="*/ 107 h 176"/>
                <a:gd name="T30" fmla="*/ 61 w 365"/>
                <a:gd name="T31" fmla="*/ 100 h 176"/>
                <a:gd name="T32" fmla="*/ 16 w 365"/>
                <a:gd name="T33" fmla="*/ 95 h 176"/>
                <a:gd name="T34" fmla="*/ 50 w 365"/>
                <a:gd name="T35" fmla="*/ 86 h 176"/>
                <a:gd name="T36" fmla="*/ 59 w 365"/>
                <a:gd name="T37" fmla="*/ 81 h 176"/>
                <a:gd name="T38" fmla="*/ 83 w 365"/>
                <a:gd name="T39" fmla="*/ 86 h 176"/>
                <a:gd name="T40" fmla="*/ 69 w 365"/>
                <a:gd name="T41" fmla="*/ 79 h 176"/>
                <a:gd name="T42" fmla="*/ 80 w 365"/>
                <a:gd name="T43" fmla="*/ 67 h 176"/>
                <a:gd name="T44" fmla="*/ 73 w 365"/>
                <a:gd name="T45" fmla="*/ 60 h 176"/>
                <a:gd name="T46" fmla="*/ 64 w 365"/>
                <a:gd name="T47" fmla="*/ 57 h 176"/>
                <a:gd name="T48" fmla="*/ 57 w 365"/>
                <a:gd name="T49" fmla="*/ 55 h 176"/>
                <a:gd name="T50" fmla="*/ 21 w 365"/>
                <a:gd name="T51" fmla="*/ 62 h 176"/>
                <a:gd name="T52" fmla="*/ 23 w 365"/>
                <a:gd name="T53" fmla="*/ 57 h 176"/>
                <a:gd name="T54" fmla="*/ 26 w 365"/>
                <a:gd name="T55" fmla="*/ 46 h 176"/>
                <a:gd name="T56" fmla="*/ 33 w 365"/>
                <a:gd name="T57" fmla="*/ 43 h 176"/>
                <a:gd name="T58" fmla="*/ 28 w 365"/>
                <a:gd name="T59" fmla="*/ 34 h 176"/>
                <a:gd name="T60" fmla="*/ 38 w 365"/>
                <a:gd name="T61" fmla="*/ 24 h 176"/>
                <a:gd name="T62" fmla="*/ 52 w 365"/>
                <a:gd name="T63" fmla="*/ 31 h 176"/>
                <a:gd name="T64" fmla="*/ 66 w 365"/>
                <a:gd name="T65" fmla="*/ 31 h 176"/>
                <a:gd name="T66" fmla="*/ 73 w 365"/>
                <a:gd name="T67" fmla="*/ 36 h 176"/>
                <a:gd name="T68" fmla="*/ 69 w 365"/>
                <a:gd name="T69" fmla="*/ 15 h 176"/>
                <a:gd name="T70" fmla="*/ 50 w 365"/>
                <a:gd name="T71" fmla="*/ 12 h 176"/>
                <a:gd name="T72" fmla="*/ 69 w 365"/>
                <a:gd name="T73" fmla="*/ 7 h 176"/>
                <a:gd name="T74" fmla="*/ 90 w 365"/>
                <a:gd name="T75" fmla="*/ 19 h 176"/>
                <a:gd name="T76" fmla="*/ 104 w 365"/>
                <a:gd name="T77" fmla="*/ 31 h 176"/>
                <a:gd name="T78" fmla="*/ 97 w 365"/>
                <a:gd name="T79" fmla="*/ 50 h 176"/>
                <a:gd name="T80" fmla="*/ 114 w 365"/>
                <a:gd name="T81" fmla="*/ 79 h 176"/>
                <a:gd name="T82" fmla="*/ 130 w 365"/>
                <a:gd name="T83" fmla="*/ 53 h 176"/>
                <a:gd name="T84" fmla="*/ 142 w 365"/>
                <a:gd name="T85" fmla="*/ 48 h 176"/>
                <a:gd name="T86" fmla="*/ 149 w 365"/>
                <a:gd name="T87" fmla="*/ 29 h 176"/>
                <a:gd name="T88" fmla="*/ 171 w 365"/>
                <a:gd name="T89" fmla="*/ 29 h 176"/>
                <a:gd name="T90" fmla="*/ 192 w 365"/>
                <a:gd name="T91" fmla="*/ 29 h 176"/>
                <a:gd name="T92" fmla="*/ 209 w 365"/>
                <a:gd name="T93" fmla="*/ 34 h 176"/>
                <a:gd name="T94" fmla="*/ 237 w 365"/>
                <a:gd name="T95" fmla="*/ 26 h 176"/>
                <a:gd name="T96" fmla="*/ 268 w 365"/>
                <a:gd name="T97" fmla="*/ 12 h 176"/>
                <a:gd name="T98" fmla="*/ 280 w 365"/>
                <a:gd name="T99" fmla="*/ 3 h 176"/>
                <a:gd name="T100" fmla="*/ 301 w 365"/>
                <a:gd name="T101" fmla="*/ 22 h 176"/>
                <a:gd name="T102" fmla="*/ 315 w 365"/>
                <a:gd name="T103" fmla="*/ 17 h 176"/>
                <a:gd name="T104" fmla="*/ 318 w 365"/>
                <a:gd name="T105" fmla="*/ 43 h 176"/>
                <a:gd name="T106" fmla="*/ 330 w 365"/>
                <a:gd name="T107" fmla="*/ 57 h 176"/>
                <a:gd name="T108" fmla="*/ 325 w 365"/>
                <a:gd name="T109" fmla="*/ 76 h 176"/>
                <a:gd name="T110" fmla="*/ 337 w 365"/>
                <a:gd name="T111" fmla="*/ 55 h 176"/>
                <a:gd name="T112" fmla="*/ 356 w 365"/>
                <a:gd name="T113" fmla="*/ 67 h 176"/>
                <a:gd name="T114" fmla="*/ 356 w 365"/>
                <a:gd name="T115" fmla="*/ 79 h 176"/>
                <a:gd name="T116" fmla="*/ 344 w 365"/>
                <a:gd name="T117" fmla="*/ 86 h 176"/>
                <a:gd name="T118" fmla="*/ 351 w 365"/>
                <a:gd name="T119" fmla="*/ 98 h 176"/>
                <a:gd name="T120" fmla="*/ 330 w 365"/>
                <a:gd name="T121" fmla="*/ 110 h 176"/>
                <a:gd name="T122" fmla="*/ 308 w 365"/>
                <a:gd name="T123" fmla="*/ 129 h 176"/>
                <a:gd name="T124" fmla="*/ 287 w 365"/>
                <a:gd name="T125" fmla="*/ 13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5" h="176">
                  <a:moveTo>
                    <a:pt x="268" y="145"/>
                  </a:moveTo>
                  <a:lnTo>
                    <a:pt x="268" y="148"/>
                  </a:lnTo>
                  <a:lnTo>
                    <a:pt x="265" y="148"/>
                  </a:lnTo>
                  <a:lnTo>
                    <a:pt x="263" y="150"/>
                  </a:lnTo>
                  <a:lnTo>
                    <a:pt x="261" y="152"/>
                  </a:lnTo>
                  <a:lnTo>
                    <a:pt x="261" y="155"/>
                  </a:lnTo>
                  <a:lnTo>
                    <a:pt x="256" y="155"/>
                  </a:lnTo>
                  <a:lnTo>
                    <a:pt x="254" y="155"/>
                  </a:lnTo>
                  <a:lnTo>
                    <a:pt x="249" y="155"/>
                  </a:lnTo>
                  <a:lnTo>
                    <a:pt x="244" y="155"/>
                  </a:lnTo>
                  <a:lnTo>
                    <a:pt x="242" y="155"/>
                  </a:lnTo>
                  <a:lnTo>
                    <a:pt x="239" y="155"/>
                  </a:lnTo>
                  <a:lnTo>
                    <a:pt x="237" y="155"/>
                  </a:lnTo>
                  <a:lnTo>
                    <a:pt x="235" y="155"/>
                  </a:lnTo>
                  <a:lnTo>
                    <a:pt x="232" y="157"/>
                  </a:lnTo>
                  <a:lnTo>
                    <a:pt x="230" y="157"/>
                  </a:lnTo>
                  <a:lnTo>
                    <a:pt x="228" y="157"/>
                  </a:lnTo>
                  <a:lnTo>
                    <a:pt x="225" y="160"/>
                  </a:lnTo>
                  <a:lnTo>
                    <a:pt x="223" y="162"/>
                  </a:lnTo>
                  <a:lnTo>
                    <a:pt x="220" y="164"/>
                  </a:lnTo>
                  <a:lnTo>
                    <a:pt x="220" y="167"/>
                  </a:lnTo>
                  <a:lnTo>
                    <a:pt x="218" y="169"/>
                  </a:lnTo>
                  <a:lnTo>
                    <a:pt x="216" y="169"/>
                  </a:lnTo>
                  <a:lnTo>
                    <a:pt x="213" y="171"/>
                  </a:lnTo>
                  <a:lnTo>
                    <a:pt x="211" y="171"/>
                  </a:lnTo>
                  <a:lnTo>
                    <a:pt x="209" y="171"/>
                  </a:lnTo>
                  <a:lnTo>
                    <a:pt x="209" y="169"/>
                  </a:lnTo>
                  <a:lnTo>
                    <a:pt x="209" y="167"/>
                  </a:lnTo>
                  <a:lnTo>
                    <a:pt x="206" y="167"/>
                  </a:lnTo>
                  <a:lnTo>
                    <a:pt x="206" y="164"/>
                  </a:lnTo>
                  <a:lnTo>
                    <a:pt x="204" y="164"/>
                  </a:lnTo>
                  <a:lnTo>
                    <a:pt x="201" y="164"/>
                  </a:lnTo>
                  <a:lnTo>
                    <a:pt x="201" y="162"/>
                  </a:lnTo>
                  <a:lnTo>
                    <a:pt x="201" y="160"/>
                  </a:lnTo>
                  <a:lnTo>
                    <a:pt x="199" y="160"/>
                  </a:lnTo>
                  <a:lnTo>
                    <a:pt x="199" y="162"/>
                  </a:lnTo>
                  <a:lnTo>
                    <a:pt x="201" y="162"/>
                  </a:lnTo>
                  <a:lnTo>
                    <a:pt x="201" y="164"/>
                  </a:lnTo>
                  <a:lnTo>
                    <a:pt x="204" y="164"/>
                  </a:lnTo>
                  <a:lnTo>
                    <a:pt x="204" y="167"/>
                  </a:lnTo>
                  <a:lnTo>
                    <a:pt x="206" y="167"/>
                  </a:lnTo>
                  <a:lnTo>
                    <a:pt x="206" y="169"/>
                  </a:lnTo>
                  <a:lnTo>
                    <a:pt x="206" y="171"/>
                  </a:lnTo>
                  <a:lnTo>
                    <a:pt x="209" y="171"/>
                  </a:lnTo>
                  <a:lnTo>
                    <a:pt x="211" y="171"/>
                  </a:lnTo>
                  <a:lnTo>
                    <a:pt x="209" y="171"/>
                  </a:lnTo>
                  <a:lnTo>
                    <a:pt x="206" y="174"/>
                  </a:lnTo>
                  <a:lnTo>
                    <a:pt x="204" y="174"/>
                  </a:lnTo>
                  <a:lnTo>
                    <a:pt x="201" y="174"/>
                  </a:lnTo>
                  <a:lnTo>
                    <a:pt x="199" y="174"/>
                  </a:lnTo>
                  <a:lnTo>
                    <a:pt x="197" y="176"/>
                  </a:lnTo>
                  <a:lnTo>
                    <a:pt x="194" y="176"/>
                  </a:lnTo>
                  <a:lnTo>
                    <a:pt x="192" y="176"/>
                  </a:lnTo>
                  <a:lnTo>
                    <a:pt x="190" y="176"/>
                  </a:lnTo>
                  <a:lnTo>
                    <a:pt x="187" y="176"/>
                  </a:lnTo>
                  <a:lnTo>
                    <a:pt x="185" y="174"/>
                  </a:lnTo>
                  <a:lnTo>
                    <a:pt x="182" y="174"/>
                  </a:lnTo>
                  <a:lnTo>
                    <a:pt x="182" y="176"/>
                  </a:lnTo>
                  <a:lnTo>
                    <a:pt x="180" y="176"/>
                  </a:lnTo>
                  <a:lnTo>
                    <a:pt x="178" y="176"/>
                  </a:lnTo>
                  <a:lnTo>
                    <a:pt x="173" y="174"/>
                  </a:lnTo>
                  <a:lnTo>
                    <a:pt x="171" y="171"/>
                  </a:lnTo>
                  <a:lnTo>
                    <a:pt x="168" y="171"/>
                  </a:lnTo>
                  <a:lnTo>
                    <a:pt x="166" y="171"/>
                  </a:lnTo>
                  <a:lnTo>
                    <a:pt x="163" y="171"/>
                  </a:lnTo>
                  <a:lnTo>
                    <a:pt x="163" y="169"/>
                  </a:lnTo>
                  <a:lnTo>
                    <a:pt x="161" y="169"/>
                  </a:lnTo>
                  <a:lnTo>
                    <a:pt x="159" y="169"/>
                  </a:lnTo>
                  <a:lnTo>
                    <a:pt x="156" y="169"/>
                  </a:lnTo>
                  <a:lnTo>
                    <a:pt x="154" y="169"/>
                  </a:lnTo>
                  <a:lnTo>
                    <a:pt x="152" y="169"/>
                  </a:lnTo>
                  <a:lnTo>
                    <a:pt x="149" y="169"/>
                  </a:lnTo>
                  <a:lnTo>
                    <a:pt x="149" y="167"/>
                  </a:lnTo>
                  <a:lnTo>
                    <a:pt x="149" y="164"/>
                  </a:lnTo>
                  <a:lnTo>
                    <a:pt x="149" y="162"/>
                  </a:lnTo>
                  <a:lnTo>
                    <a:pt x="149" y="164"/>
                  </a:lnTo>
                  <a:lnTo>
                    <a:pt x="149" y="167"/>
                  </a:lnTo>
                  <a:lnTo>
                    <a:pt x="147" y="169"/>
                  </a:lnTo>
                  <a:lnTo>
                    <a:pt x="144" y="169"/>
                  </a:lnTo>
                  <a:lnTo>
                    <a:pt x="142" y="167"/>
                  </a:lnTo>
                  <a:lnTo>
                    <a:pt x="140" y="167"/>
                  </a:lnTo>
                  <a:lnTo>
                    <a:pt x="137" y="164"/>
                  </a:lnTo>
                  <a:lnTo>
                    <a:pt x="135" y="162"/>
                  </a:lnTo>
                  <a:lnTo>
                    <a:pt x="133" y="160"/>
                  </a:lnTo>
                  <a:lnTo>
                    <a:pt x="133" y="157"/>
                  </a:lnTo>
                  <a:lnTo>
                    <a:pt x="135" y="155"/>
                  </a:lnTo>
                  <a:lnTo>
                    <a:pt x="137" y="155"/>
                  </a:lnTo>
                  <a:lnTo>
                    <a:pt x="137" y="157"/>
                  </a:lnTo>
                  <a:lnTo>
                    <a:pt x="137" y="155"/>
                  </a:lnTo>
                  <a:lnTo>
                    <a:pt x="135" y="155"/>
                  </a:lnTo>
                  <a:lnTo>
                    <a:pt x="137" y="152"/>
                  </a:lnTo>
                  <a:lnTo>
                    <a:pt x="135" y="152"/>
                  </a:lnTo>
                  <a:lnTo>
                    <a:pt x="137" y="152"/>
                  </a:lnTo>
                  <a:lnTo>
                    <a:pt x="135" y="152"/>
                  </a:lnTo>
                  <a:lnTo>
                    <a:pt x="135" y="155"/>
                  </a:lnTo>
                  <a:lnTo>
                    <a:pt x="133" y="155"/>
                  </a:lnTo>
                  <a:lnTo>
                    <a:pt x="133" y="157"/>
                  </a:lnTo>
                  <a:lnTo>
                    <a:pt x="130" y="157"/>
                  </a:lnTo>
                  <a:lnTo>
                    <a:pt x="133" y="157"/>
                  </a:lnTo>
                  <a:lnTo>
                    <a:pt x="130" y="157"/>
                  </a:lnTo>
                  <a:lnTo>
                    <a:pt x="130" y="160"/>
                  </a:lnTo>
                  <a:lnTo>
                    <a:pt x="133" y="160"/>
                  </a:lnTo>
                  <a:lnTo>
                    <a:pt x="130" y="157"/>
                  </a:lnTo>
                  <a:lnTo>
                    <a:pt x="125" y="155"/>
                  </a:lnTo>
                  <a:lnTo>
                    <a:pt x="123" y="155"/>
                  </a:lnTo>
                  <a:lnTo>
                    <a:pt x="125" y="155"/>
                  </a:lnTo>
                  <a:lnTo>
                    <a:pt x="125" y="152"/>
                  </a:lnTo>
                  <a:lnTo>
                    <a:pt x="128" y="152"/>
                  </a:lnTo>
                  <a:lnTo>
                    <a:pt x="128" y="150"/>
                  </a:lnTo>
                  <a:lnTo>
                    <a:pt x="128" y="148"/>
                  </a:lnTo>
                  <a:lnTo>
                    <a:pt x="128" y="145"/>
                  </a:lnTo>
                  <a:lnTo>
                    <a:pt x="130" y="145"/>
                  </a:lnTo>
                  <a:lnTo>
                    <a:pt x="130" y="148"/>
                  </a:lnTo>
                  <a:lnTo>
                    <a:pt x="130" y="145"/>
                  </a:lnTo>
                  <a:lnTo>
                    <a:pt x="133" y="145"/>
                  </a:lnTo>
                  <a:lnTo>
                    <a:pt x="133" y="143"/>
                  </a:lnTo>
                  <a:lnTo>
                    <a:pt x="135" y="143"/>
                  </a:lnTo>
                  <a:lnTo>
                    <a:pt x="135" y="141"/>
                  </a:lnTo>
                  <a:lnTo>
                    <a:pt x="137" y="141"/>
                  </a:lnTo>
                  <a:lnTo>
                    <a:pt x="140" y="141"/>
                  </a:lnTo>
                  <a:lnTo>
                    <a:pt x="140" y="143"/>
                  </a:lnTo>
                  <a:lnTo>
                    <a:pt x="142" y="141"/>
                  </a:lnTo>
                  <a:lnTo>
                    <a:pt x="142" y="143"/>
                  </a:lnTo>
                  <a:lnTo>
                    <a:pt x="140" y="143"/>
                  </a:lnTo>
                  <a:lnTo>
                    <a:pt x="142" y="143"/>
                  </a:lnTo>
                  <a:lnTo>
                    <a:pt x="142" y="141"/>
                  </a:lnTo>
                  <a:lnTo>
                    <a:pt x="142" y="143"/>
                  </a:lnTo>
                  <a:lnTo>
                    <a:pt x="142" y="141"/>
                  </a:lnTo>
                  <a:lnTo>
                    <a:pt x="144" y="141"/>
                  </a:lnTo>
                  <a:lnTo>
                    <a:pt x="147" y="141"/>
                  </a:lnTo>
                  <a:lnTo>
                    <a:pt x="147" y="138"/>
                  </a:lnTo>
                  <a:lnTo>
                    <a:pt x="149" y="141"/>
                  </a:lnTo>
                  <a:lnTo>
                    <a:pt x="149" y="138"/>
                  </a:lnTo>
                  <a:lnTo>
                    <a:pt x="152" y="138"/>
                  </a:lnTo>
                  <a:lnTo>
                    <a:pt x="149" y="138"/>
                  </a:lnTo>
                  <a:lnTo>
                    <a:pt x="147" y="138"/>
                  </a:lnTo>
                  <a:lnTo>
                    <a:pt x="147" y="141"/>
                  </a:lnTo>
                  <a:lnTo>
                    <a:pt x="144" y="141"/>
                  </a:lnTo>
                  <a:lnTo>
                    <a:pt x="142" y="141"/>
                  </a:lnTo>
                  <a:lnTo>
                    <a:pt x="140" y="141"/>
                  </a:lnTo>
                  <a:lnTo>
                    <a:pt x="137" y="141"/>
                  </a:lnTo>
                  <a:lnTo>
                    <a:pt x="135" y="141"/>
                  </a:lnTo>
                  <a:lnTo>
                    <a:pt x="133" y="143"/>
                  </a:lnTo>
                  <a:lnTo>
                    <a:pt x="133" y="145"/>
                  </a:lnTo>
                  <a:lnTo>
                    <a:pt x="130" y="145"/>
                  </a:lnTo>
                  <a:lnTo>
                    <a:pt x="128" y="145"/>
                  </a:lnTo>
                  <a:lnTo>
                    <a:pt x="128" y="148"/>
                  </a:lnTo>
                  <a:lnTo>
                    <a:pt x="125" y="148"/>
                  </a:lnTo>
                  <a:lnTo>
                    <a:pt x="125" y="150"/>
                  </a:lnTo>
                  <a:lnTo>
                    <a:pt x="128" y="150"/>
                  </a:lnTo>
                  <a:lnTo>
                    <a:pt x="128" y="152"/>
                  </a:lnTo>
                  <a:lnTo>
                    <a:pt x="125" y="152"/>
                  </a:lnTo>
                  <a:lnTo>
                    <a:pt x="125" y="155"/>
                  </a:lnTo>
                  <a:lnTo>
                    <a:pt x="123" y="155"/>
                  </a:lnTo>
                  <a:lnTo>
                    <a:pt x="121" y="155"/>
                  </a:lnTo>
                  <a:lnTo>
                    <a:pt x="121" y="152"/>
                  </a:lnTo>
                  <a:lnTo>
                    <a:pt x="118" y="152"/>
                  </a:lnTo>
                  <a:lnTo>
                    <a:pt x="116" y="152"/>
                  </a:lnTo>
                  <a:lnTo>
                    <a:pt x="114" y="152"/>
                  </a:lnTo>
                  <a:lnTo>
                    <a:pt x="114" y="150"/>
                  </a:lnTo>
                  <a:lnTo>
                    <a:pt x="111" y="150"/>
                  </a:lnTo>
                  <a:lnTo>
                    <a:pt x="111" y="148"/>
                  </a:lnTo>
                  <a:lnTo>
                    <a:pt x="109" y="148"/>
                  </a:lnTo>
                  <a:lnTo>
                    <a:pt x="111" y="145"/>
                  </a:lnTo>
                  <a:lnTo>
                    <a:pt x="114" y="145"/>
                  </a:lnTo>
                  <a:lnTo>
                    <a:pt x="116" y="145"/>
                  </a:lnTo>
                  <a:lnTo>
                    <a:pt x="118" y="145"/>
                  </a:lnTo>
                  <a:lnTo>
                    <a:pt x="118" y="143"/>
                  </a:lnTo>
                  <a:lnTo>
                    <a:pt x="121" y="143"/>
                  </a:lnTo>
                  <a:lnTo>
                    <a:pt x="123" y="143"/>
                  </a:lnTo>
                  <a:lnTo>
                    <a:pt x="125" y="143"/>
                  </a:lnTo>
                  <a:lnTo>
                    <a:pt x="128" y="143"/>
                  </a:lnTo>
                  <a:lnTo>
                    <a:pt x="128" y="145"/>
                  </a:lnTo>
                  <a:lnTo>
                    <a:pt x="128" y="143"/>
                  </a:lnTo>
                  <a:lnTo>
                    <a:pt x="130" y="143"/>
                  </a:lnTo>
                  <a:lnTo>
                    <a:pt x="128" y="143"/>
                  </a:lnTo>
                  <a:lnTo>
                    <a:pt x="130" y="143"/>
                  </a:lnTo>
                  <a:lnTo>
                    <a:pt x="130" y="141"/>
                  </a:lnTo>
                  <a:lnTo>
                    <a:pt x="130" y="138"/>
                  </a:lnTo>
                  <a:lnTo>
                    <a:pt x="133" y="138"/>
                  </a:lnTo>
                  <a:lnTo>
                    <a:pt x="133" y="136"/>
                  </a:lnTo>
                  <a:lnTo>
                    <a:pt x="135" y="136"/>
                  </a:lnTo>
                  <a:lnTo>
                    <a:pt x="135" y="138"/>
                  </a:lnTo>
                  <a:lnTo>
                    <a:pt x="135" y="136"/>
                  </a:lnTo>
                  <a:lnTo>
                    <a:pt x="133" y="136"/>
                  </a:lnTo>
                  <a:lnTo>
                    <a:pt x="130" y="138"/>
                  </a:lnTo>
                  <a:lnTo>
                    <a:pt x="130" y="136"/>
                  </a:lnTo>
                  <a:lnTo>
                    <a:pt x="133" y="136"/>
                  </a:lnTo>
                  <a:lnTo>
                    <a:pt x="130" y="136"/>
                  </a:lnTo>
                  <a:lnTo>
                    <a:pt x="133" y="136"/>
                  </a:lnTo>
                  <a:lnTo>
                    <a:pt x="130" y="136"/>
                  </a:lnTo>
                  <a:lnTo>
                    <a:pt x="133" y="136"/>
                  </a:lnTo>
                  <a:lnTo>
                    <a:pt x="130" y="136"/>
                  </a:lnTo>
                  <a:lnTo>
                    <a:pt x="130" y="138"/>
                  </a:lnTo>
                  <a:lnTo>
                    <a:pt x="130" y="141"/>
                  </a:lnTo>
                  <a:lnTo>
                    <a:pt x="128" y="141"/>
                  </a:lnTo>
                  <a:lnTo>
                    <a:pt x="128" y="143"/>
                  </a:lnTo>
                  <a:lnTo>
                    <a:pt x="128" y="145"/>
                  </a:lnTo>
                  <a:lnTo>
                    <a:pt x="128" y="143"/>
                  </a:lnTo>
                  <a:lnTo>
                    <a:pt x="125" y="143"/>
                  </a:lnTo>
                  <a:lnTo>
                    <a:pt x="123" y="143"/>
                  </a:lnTo>
                  <a:lnTo>
                    <a:pt x="121" y="143"/>
                  </a:lnTo>
                  <a:lnTo>
                    <a:pt x="121" y="141"/>
                  </a:lnTo>
                  <a:lnTo>
                    <a:pt x="121" y="143"/>
                  </a:lnTo>
                  <a:lnTo>
                    <a:pt x="118" y="143"/>
                  </a:lnTo>
                  <a:lnTo>
                    <a:pt x="118" y="145"/>
                  </a:lnTo>
                  <a:lnTo>
                    <a:pt x="116" y="145"/>
                  </a:lnTo>
                  <a:lnTo>
                    <a:pt x="114" y="145"/>
                  </a:lnTo>
                  <a:lnTo>
                    <a:pt x="111" y="145"/>
                  </a:lnTo>
                  <a:lnTo>
                    <a:pt x="109" y="145"/>
                  </a:lnTo>
                  <a:lnTo>
                    <a:pt x="109" y="148"/>
                  </a:lnTo>
                  <a:lnTo>
                    <a:pt x="107" y="148"/>
                  </a:lnTo>
                  <a:lnTo>
                    <a:pt x="109" y="148"/>
                  </a:lnTo>
                  <a:lnTo>
                    <a:pt x="109" y="150"/>
                  </a:lnTo>
                  <a:lnTo>
                    <a:pt x="111" y="150"/>
                  </a:lnTo>
                  <a:lnTo>
                    <a:pt x="109" y="150"/>
                  </a:lnTo>
                  <a:lnTo>
                    <a:pt x="107" y="150"/>
                  </a:lnTo>
                  <a:lnTo>
                    <a:pt x="104" y="150"/>
                  </a:lnTo>
                  <a:lnTo>
                    <a:pt x="102" y="150"/>
                  </a:lnTo>
                  <a:lnTo>
                    <a:pt x="102" y="152"/>
                  </a:lnTo>
                  <a:lnTo>
                    <a:pt x="97" y="152"/>
                  </a:lnTo>
                  <a:lnTo>
                    <a:pt x="95" y="152"/>
                  </a:lnTo>
                  <a:lnTo>
                    <a:pt x="95" y="150"/>
                  </a:lnTo>
                  <a:lnTo>
                    <a:pt x="92" y="150"/>
                  </a:lnTo>
                  <a:lnTo>
                    <a:pt x="95" y="150"/>
                  </a:lnTo>
                  <a:lnTo>
                    <a:pt x="92" y="150"/>
                  </a:lnTo>
                  <a:lnTo>
                    <a:pt x="95" y="150"/>
                  </a:lnTo>
                  <a:lnTo>
                    <a:pt x="92" y="150"/>
                  </a:lnTo>
                  <a:lnTo>
                    <a:pt x="90" y="150"/>
                  </a:lnTo>
                  <a:lnTo>
                    <a:pt x="88" y="150"/>
                  </a:lnTo>
                  <a:lnTo>
                    <a:pt x="88" y="152"/>
                  </a:lnTo>
                  <a:lnTo>
                    <a:pt x="85" y="152"/>
                  </a:lnTo>
                  <a:lnTo>
                    <a:pt x="83" y="152"/>
                  </a:lnTo>
                  <a:lnTo>
                    <a:pt x="80" y="152"/>
                  </a:lnTo>
                  <a:lnTo>
                    <a:pt x="78" y="152"/>
                  </a:lnTo>
                  <a:lnTo>
                    <a:pt x="76" y="152"/>
                  </a:lnTo>
                  <a:lnTo>
                    <a:pt x="76" y="150"/>
                  </a:lnTo>
                  <a:lnTo>
                    <a:pt x="73" y="150"/>
                  </a:lnTo>
                  <a:lnTo>
                    <a:pt x="71" y="150"/>
                  </a:lnTo>
                  <a:lnTo>
                    <a:pt x="71" y="152"/>
                  </a:lnTo>
                  <a:lnTo>
                    <a:pt x="69" y="152"/>
                  </a:lnTo>
                  <a:lnTo>
                    <a:pt x="66" y="152"/>
                  </a:lnTo>
                  <a:lnTo>
                    <a:pt x="69" y="152"/>
                  </a:lnTo>
                  <a:lnTo>
                    <a:pt x="66" y="152"/>
                  </a:lnTo>
                  <a:lnTo>
                    <a:pt x="64" y="152"/>
                  </a:lnTo>
                  <a:lnTo>
                    <a:pt x="61" y="152"/>
                  </a:lnTo>
                  <a:lnTo>
                    <a:pt x="59" y="152"/>
                  </a:lnTo>
                  <a:lnTo>
                    <a:pt x="61" y="152"/>
                  </a:lnTo>
                  <a:lnTo>
                    <a:pt x="61" y="150"/>
                  </a:lnTo>
                  <a:lnTo>
                    <a:pt x="59" y="150"/>
                  </a:lnTo>
                  <a:lnTo>
                    <a:pt x="59" y="148"/>
                  </a:lnTo>
                  <a:lnTo>
                    <a:pt x="61" y="148"/>
                  </a:lnTo>
                  <a:lnTo>
                    <a:pt x="61" y="145"/>
                  </a:lnTo>
                  <a:lnTo>
                    <a:pt x="64" y="145"/>
                  </a:lnTo>
                  <a:lnTo>
                    <a:pt x="61" y="145"/>
                  </a:lnTo>
                  <a:lnTo>
                    <a:pt x="59" y="145"/>
                  </a:lnTo>
                  <a:lnTo>
                    <a:pt x="61" y="145"/>
                  </a:lnTo>
                  <a:lnTo>
                    <a:pt x="59" y="145"/>
                  </a:lnTo>
                  <a:lnTo>
                    <a:pt x="59" y="143"/>
                  </a:lnTo>
                  <a:lnTo>
                    <a:pt x="61" y="143"/>
                  </a:lnTo>
                  <a:lnTo>
                    <a:pt x="61" y="141"/>
                  </a:lnTo>
                  <a:lnTo>
                    <a:pt x="61" y="138"/>
                  </a:lnTo>
                  <a:lnTo>
                    <a:pt x="64" y="138"/>
                  </a:lnTo>
                  <a:lnTo>
                    <a:pt x="64" y="141"/>
                  </a:lnTo>
                  <a:lnTo>
                    <a:pt x="66" y="141"/>
                  </a:lnTo>
                  <a:lnTo>
                    <a:pt x="66" y="143"/>
                  </a:lnTo>
                  <a:lnTo>
                    <a:pt x="69" y="143"/>
                  </a:lnTo>
                  <a:lnTo>
                    <a:pt x="71" y="143"/>
                  </a:lnTo>
                  <a:lnTo>
                    <a:pt x="71" y="145"/>
                  </a:lnTo>
                  <a:lnTo>
                    <a:pt x="71" y="143"/>
                  </a:lnTo>
                  <a:lnTo>
                    <a:pt x="73" y="143"/>
                  </a:lnTo>
                  <a:lnTo>
                    <a:pt x="73" y="141"/>
                  </a:lnTo>
                  <a:lnTo>
                    <a:pt x="73" y="143"/>
                  </a:lnTo>
                  <a:lnTo>
                    <a:pt x="73" y="141"/>
                  </a:lnTo>
                  <a:lnTo>
                    <a:pt x="76" y="141"/>
                  </a:lnTo>
                  <a:lnTo>
                    <a:pt x="78" y="141"/>
                  </a:lnTo>
                  <a:lnTo>
                    <a:pt x="80" y="141"/>
                  </a:lnTo>
                  <a:lnTo>
                    <a:pt x="83" y="141"/>
                  </a:lnTo>
                  <a:lnTo>
                    <a:pt x="85" y="141"/>
                  </a:lnTo>
                  <a:lnTo>
                    <a:pt x="85" y="138"/>
                  </a:lnTo>
                  <a:lnTo>
                    <a:pt x="83" y="138"/>
                  </a:lnTo>
                  <a:lnTo>
                    <a:pt x="85" y="138"/>
                  </a:lnTo>
                  <a:lnTo>
                    <a:pt x="83" y="138"/>
                  </a:lnTo>
                  <a:lnTo>
                    <a:pt x="83" y="136"/>
                  </a:lnTo>
                  <a:lnTo>
                    <a:pt x="85" y="136"/>
                  </a:lnTo>
                  <a:lnTo>
                    <a:pt x="85" y="138"/>
                  </a:lnTo>
                  <a:lnTo>
                    <a:pt x="85" y="136"/>
                  </a:lnTo>
                  <a:lnTo>
                    <a:pt x="85" y="138"/>
                  </a:lnTo>
                  <a:lnTo>
                    <a:pt x="88" y="138"/>
                  </a:lnTo>
                  <a:lnTo>
                    <a:pt x="88" y="136"/>
                  </a:lnTo>
                  <a:lnTo>
                    <a:pt x="85" y="136"/>
                  </a:lnTo>
                  <a:lnTo>
                    <a:pt x="88" y="136"/>
                  </a:lnTo>
                  <a:lnTo>
                    <a:pt x="85" y="136"/>
                  </a:lnTo>
                  <a:lnTo>
                    <a:pt x="85" y="133"/>
                  </a:lnTo>
                  <a:lnTo>
                    <a:pt x="83" y="133"/>
                  </a:lnTo>
                  <a:lnTo>
                    <a:pt x="85" y="133"/>
                  </a:lnTo>
                  <a:lnTo>
                    <a:pt x="88" y="133"/>
                  </a:lnTo>
                  <a:lnTo>
                    <a:pt x="85" y="133"/>
                  </a:lnTo>
                  <a:lnTo>
                    <a:pt x="88" y="133"/>
                  </a:lnTo>
                  <a:lnTo>
                    <a:pt x="90" y="133"/>
                  </a:lnTo>
                  <a:lnTo>
                    <a:pt x="90" y="136"/>
                  </a:lnTo>
                  <a:lnTo>
                    <a:pt x="90" y="133"/>
                  </a:lnTo>
                  <a:lnTo>
                    <a:pt x="92" y="133"/>
                  </a:lnTo>
                  <a:lnTo>
                    <a:pt x="95" y="133"/>
                  </a:lnTo>
                  <a:lnTo>
                    <a:pt x="92" y="133"/>
                  </a:lnTo>
                  <a:lnTo>
                    <a:pt x="92" y="131"/>
                  </a:lnTo>
                  <a:lnTo>
                    <a:pt x="95" y="131"/>
                  </a:lnTo>
                  <a:lnTo>
                    <a:pt x="92" y="131"/>
                  </a:lnTo>
                  <a:lnTo>
                    <a:pt x="90" y="131"/>
                  </a:lnTo>
                  <a:lnTo>
                    <a:pt x="90" y="129"/>
                  </a:lnTo>
                  <a:lnTo>
                    <a:pt x="88" y="129"/>
                  </a:lnTo>
                  <a:lnTo>
                    <a:pt x="90" y="129"/>
                  </a:lnTo>
                  <a:lnTo>
                    <a:pt x="90" y="126"/>
                  </a:lnTo>
                  <a:lnTo>
                    <a:pt x="92" y="126"/>
                  </a:lnTo>
                  <a:lnTo>
                    <a:pt x="92" y="124"/>
                  </a:lnTo>
                  <a:lnTo>
                    <a:pt x="95" y="124"/>
                  </a:lnTo>
                  <a:lnTo>
                    <a:pt x="97" y="124"/>
                  </a:lnTo>
                  <a:lnTo>
                    <a:pt x="95" y="124"/>
                  </a:lnTo>
                  <a:lnTo>
                    <a:pt x="95" y="122"/>
                  </a:lnTo>
                  <a:lnTo>
                    <a:pt x="97" y="122"/>
                  </a:lnTo>
                  <a:lnTo>
                    <a:pt x="99" y="122"/>
                  </a:lnTo>
                  <a:lnTo>
                    <a:pt x="102" y="122"/>
                  </a:lnTo>
                  <a:lnTo>
                    <a:pt x="102" y="124"/>
                  </a:lnTo>
                  <a:lnTo>
                    <a:pt x="102" y="122"/>
                  </a:lnTo>
                  <a:lnTo>
                    <a:pt x="104" y="122"/>
                  </a:lnTo>
                  <a:lnTo>
                    <a:pt x="107" y="122"/>
                  </a:lnTo>
                  <a:lnTo>
                    <a:pt x="104" y="122"/>
                  </a:lnTo>
                  <a:lnTo>
                    <a:pt x="102" y="122"/>
                  </a:lnTo>
                  <a:lnTo>
                    <a:pt x="104" y="122"/>
                  </a:lnTo>
                  <a:lnTo>
                    <a:pt x="102" y="122"/>
                  </a:lnTo>
                  <a:lnTo>
                    <a:pt x="99" y="122"/>
                  </a:lnTo>
                  <a:lnTo>
                    <a:pt x="97" y="122"/>
                  </a:lnTo>
                  <a:lnTo>
                    <a:pt x="97" y="119"/>
                  </a:lnTo>
                  <a:lnTo>
                    <a:pt x="95" y="122"/>
                  </a:lnTo>
                  <a:lnTo>
                    <a:pt x="92" y="122"/>
                  </a:lnTo>
                  <a:lnTo>
                    <a:pt x="90" y="124"/>
                  </a:lnTo>
                  <a:lnTo>
                    <a:pt x="88" y="124"/>
                  </a:lnTo>
                  <a:lnTo>
                    <a:pt x="88" y="126"/>
                  </a:lnTo>
                  <a:lnTo>
                    <a:pt x="85" y="126"/>
                  </a:lnTo>
                  <a:lnTo>
                    <a:pt x="83" y="126"/>
                  </a:lnTo>
                  <a:lnTo>
                    <a:pt x="83" y="124"/>
                  </a:lnTo>
                  <a:lnTo>
                    <a:pt x="80" y="124"/>
                  </a:lnTo>
                  <a:lnTo>
                    <a:pt x="80" y="126"/>
                  </a:lnTo>
                  <a:lnTo>
                    <a:pt x="80" y="124"/>
                  </a:lnTo>
                  <a:lnTo>
                    <a:pt x="83" y="124"/>
                  </a:lnTo>
                  <a:lnTo>
                    <a:pt x="83" y="122"/>
                  </a:lnTo>
                  <a:lnTo>
                    <a:pt x="83" y="124"/>
                  </a:lnTo>
                  <a:lnTo>
                    <a:pt x="85" y="124"/>
                  </a:lnTo>
                  <a:lnTo>
                    <a:pt x="85" y="122"/>
                  </a:lnTo>
                  <a:lnTo>
                    <a:pt x="88" y="122"/>
                  </a:lnTo>
                  <a:lnTo>
                    <a:pt x="90" y="122"/>
                  </a:lnTo>
                  <a:lnTo>
                    <a:pt x="88" y="122"/>
                  </a:lnTo>
                  <a:lnTo>
                    <a:pt x="90" y="122"/>
                  </a:lnTo>
                  <a:lnTo>
                    <a:pt x="88" y="122"/>
                  </a:lnTo>
                  <a:lnTo>
                    <a:pt x="88" y="119"/>
                  </a:lnTo>
                  <a:lnTo>
                    <a:pt x="88" y="122"/>
                  </a:lnTo>
                  <a:lnTo>
                    <a:pt x="85" y="122"/>
                  </a:lnTo>
                  <a:lnTo>
                    <a:pt x="88" y="119"/>
                  </a:lnTo>
                  <a:lnTo>
                    <a:pt x="85" y="119"/>
                  </a:lnTo>
                  <a:lnTo>
                    <a:pt x="85" y="122"/>
                  </a:lnTo>
                  <a:lnTo>
                    <a:pt x="83" y="122"/>
                  </a:lnTo>
                  <a:lnTo>
                    <a:pt x="83" y="119"/>
                  </a:lnTo>
                  <a:lnTo>
                    <a:pt x="83" y="117"/>
                  </a:lnTo>
                  <a:lnTo>
                    <a:pt x="85" y="117"/>
                  </a:lnTo>
                  <a:lnTo>
                    <a:pt x="85" y="119"/>
                  </a:lnTo>
                  <a:lnTo>
                    <a:pt x="83" y="119"/>
                  </a:lnTo>
                  <a:lnTo>
                    <a:pt x="85" y="119"/>
                  </a:lnTo>
                  <a:lnTo>
                    <a:pt x="85" y="117"/>
                  </a:lnTo>
                  <a:lnTo>
                    <a:pt x="85" y="114"/>
                  </a:lnTo>
                  <a:lnTo>
                    <a:pt x="88" y="114"/>
                  </a:lnTo>
                  <a:lnTo>
                    <a:pt x="88" y="112"/>
                  </a:lnTo>
                  <a:lnTo>
                    <a:pt x="90" y="114"/>
                  </a:lnTo>
                  <a:lnTo>
                    <a:pt x="90" y="112"/>
                  </a:lnTo>
                  <a:lnTo>
                    <a:pt x="92" y="112"/>
                  </a:lnTo>
                  <a:lnTo>
                    <a:pt x="90" y="112"/>
                  </a:lnTo>
                  <a:lnTo>
                    <a:pt x="92" y="112"/>
                  </a:lnTo>
                  <a:lnTo>
                    <a:pt x="92" y="110"/>
                  </a:lnTo>
                  <a:lnTo>
                    <a:pt x="95" y="110"/>
                  </a:lnTo>
                  <a:lnTo>
                    <a:pt x="95" y="107"/>
                  </a:lnTo>
                  <a:lnTo>
                    <a:pt x="97" y="107"/>
                  </a:lnTo>
                  <a:lnTo>
                    <a:pt x="99" y="107"/>
                  </a:lnTo>
                  <a:lnTo>
                    <a:pt x="102" y="107"/>
                  </a:lnTo>
                  <a:lnTo>
                    <a:pt x="102" y="105"/>
                  </a:lnTo>
                  <a:lnTo>
                    <a:pt x="102" y="107"/>
                  </a:lnTo>
                  <a:lnTo>
                    <a:pt x="99" y="107"/>
                  </a:lnTo>
                  <a:lnTo>
                    <a:pt x="97" y="107"/>
                  </a:lnTo>
                  <a:lnTo>
                    <a:pt x="99" y="107"/>
                  </a:lnTo>
                  <a:lnTo>
                    <a:pt x="97" y="105"/>
                  </a:lnTo>
                  <a:lnTo>
                    <a:pt x="99" y="105"/>
                  </a:lnTo>
                  <a:lnTo>
                    <a:pt x="99" y="107"/>
                  </a:lnTo>
                  <a:lnTo>
                    <a:pt x="97" y="107"/>
                  </a:lnTo>
                  <a:lnTo>
                    <a:pt x="97" y="105"/>
                  </a:lnTo>
                  <a:lnTo>
                    <a:pt x="97" y="107"/>
                  </a:lnTo>
                  <a:lnTo>
                    <a:pt x="95" y="107"/>
                  </a:lnTo>
                  <a:lnTo>
                    <a:pt x="95" y="105"/>
                  </a:lnTo>
                  <a:lnTo>
                    <a:pt x="97" y="105"/>
                  </a:lnTo>
                  <a:lnTo>
                    <a:pt x="95" y="105"/>
                  </a:lnTo>
                  <a:lnTo>
                    <a:pt x="97" y="105"/>
                  </a:lnTo>
                  <a:lnTo>
                    <a:pt x="95" y="105"/>
                  </a:lnTo>
                  <a:lnTo>
                    <a:pt x="97" y="105"/>
                  </a:lnTo>
                  <a:lnTo>
                    <a:pt x="95" y="105"/>
                  </a:lnTo>
                  <a:lnTo>
                    <a:pt x="95" y="107"/>
                  </a:lnTo>
                  <a:lnTo>
                    <a:pt x="95" y="110"/>
                  </a:lnTo>
                  <a:lnTo>
                    <a:pt x="92" y="110"/>
                  </a:lnTo>
                  <a:lnTo>
                    <a:pt x="90" y="110"/>
                  </a:lnTo>
                  <a:lnTo>
                    <a:pt x="88" y="110"/>
                  </a:lnTo>
                  <a:lnTo>
                    <a:pt x="88" y="112"/>
                  </a:lnTo>
                  <a:lnTo>
                    <a:pt x="90" y="112"/>
                  </a:lnTo>
                  <a:lnTo>
                    <a:pt x="88" y="112"/>
                  </a:lnTo>
                  <a:lnTo>
                    <a:pt x="85" y="112"/>
                  </a:lnTo>
                  <a:lnTo>
                    <a:pt x="85" y="114"/>
                  </a:lnTo>
                  <a:lnTo>
                    <a:pt x="85" y="112"/>
                  </a:lnTo>
                  <a:lnTo>
                    <a:pt x="83" y="114"/>
                  </a:lnTo>
                  <a:lnTo>
                    <a:pt x="83" y="112"/>
                  </a:lnTo>
                  <a:lnTo>
                    <a:pt x="83" y="114"/>
                  </a:lnTo>
                  <a:lnTo>
                    <a:pt x="83" y="112"/>
                  </a:lnTo>
                  <a:lnTo>
                    <a:pt x="83" y="110"/>
                  </a:lnTo>
                  <a:lnTo>
                    <a:pt x="85" y="110"/>
                  </a:lnTo>
                  <a:lnTo>
                    <a:pt x="83" y="110"/>
                  </a:lnTo>
                  <a:lnTo>
                    <a:pt x="83" y="112"/>
                  </a:lnTo>
                  <a:lnTo>
                    <a:pt x="83" y="114"/>
                  </a:lnTo>
                  <a:lnTo>
                    <a:pt x="83" y="117"/>
                  </a:lnTo>
                  <a:lnTo>
                    <a:pt x="80" y="117"/>
                  </a:lnTo>
                  <a:lnTo>
                    <a:pt x="83" y="117"/>
                  </a:lnTo>
                  <a:lnTo>
                    <a:pt x="80" y="117"/>
                  </a:lnTo>
                  <a:lnTo>
                    <a:pt x="78" y="117"/>
                  </a:lnTo>
                  <a:lnTo>
                    <a:pt x="80" y="117"/>
                  </a:lnTo>
                  <a:lnTo>
                    <a:pt x="78" y="117"/>
                  </a:lnTo>
                  <a:lnTo>
                    <a:pt x="78" y="114"/>
                  </a:lnTo>
                  <a:lnTo>
                    <a:pt x="76" y="114"/>
                  </a:lnTo>
                  <a:lnTo>
                    <a:pt x="78" y="114"/>
                  </a:lnTo>
                  <a:lnTo>
                    <a:pt x="76" y="114"/>
                  </a:lnTo>
                  <a:lnTo>
                    <a:pt x="78" y="114"/>
                  </a:lnTo>
                  <a:lnTo>
                    <a:pt x="76" y="114"/>
                  </a:lnTo>
                  <a:lnTo>
                    <a:pt x="78" y="114"/>
                  </a:lnTo>
                  <a:lnTo>
                    <a:pt x="78" y="117"/>
                  </a:lnTo>
                  <a:lnTo>
                    <a:pt x="76" y="114"/>
                  </a:lnTo>
                  <a:lnTo>
                    <a:pt x="76" y="117"/>
                  </a:lnTo>
                  <a:lnTo>
                    <a:pt x="76" y="114"/>
                  </a:lnTo>
                  <a:lnTo>
                    <a:pt x="76" y="112"/>
                  </a:lnTo>
                  <a:lnTo>
                    <a:pt x="76" y="114"/>
                  </a:lnTo>
                  <a:lnTo>
                    <a:pt x="76" y="112"/>
                  </a:lnTo>
                  <a:lnTo>
                    <a:pt x="76" y="114"/>
                  </a:lnTo>
                  <a:lnTo>
                    <a:pt x="78" y="112"/>
                  </a:lnTo>
                  <a:lnTo>
                    <a:pt x="76" y="112"/>
                  </a:lnTo>
                  <a:lnTo>
                    <a:pt x="78" y="112"/>
                  </a:lnTo>
                  <a:lnTo>
                    <a:pt x="76" y="112"/>
                  </a:lnTo>
                  <a:lnTo>
                    <a:pt x="78" y="112"/>
                  </a:lnTo>
                  <a:lnTo>
                    <a:pt x="76" y="112"/>
                  </a:lnTo>
                  <a:lnTo>
                    <a:pt x="76" y="110"/>
                  </a:lnTo>
                  <a:lnTo>
                    <a:pt x="73" y="112"/>
                  </a:lnTo>
                  <a:lnTo>
                    <a:pt x="73" y="110"/>
                  </a:lnTo>
                  <a:lnTo>
                    <a:pt x="73" y="107"/>
                  </a:lnTo>
                  <a:lnTo>
                    <a:pt x="71" y="107"/>
                  </a:lnTo>
                  <a:lnTo>
                    <a:pt x="71" y="105"/>
                  </a:lnTo>
                  <a:lnTo>
                    <a:pt x="69" y="105"/>
                  </a:lnTo>
                  <a:lnTo>
                    <a:pt x="71" y="105"/>
                  </a:lnTo>
                  <a:lnTo>
                    <a:pt x="69" y="105"/>
                  </a:lnTo>
                  <a:lnTo>
                    <a:pt x="71" y="105"/>
                  </a:lnTo>
                  <a:lnTo>
                    <a:pt x="71" y="107"/>
                  </a:lnTo>
                  <a:lnTo>
                    <a:pt x="73" y="107"/>
                  </a:lnTo>
                  <a:lnTo>
                    <a:pt x="73" y="105"/>
                  </a:lnTo>
                  <a:lnTo>
                    <a:pt x="73" y="107"/>
                  </a:lnTo>
                  <a:lnTo>
                    <a:pt x="73" y="105"/>
                  </a:lnTo>
                  <a:lnTo>
                    <a:pt x="73" y="107"/>
                  </a:lnTo>
                  <a:lnTo>
                    <a:pt x="73" y="105"/>
                  </a:lnTo>
                  <a:lnTo>
                    <a:pt x="73" y="103"/>
                  </a:lnTo>
                  <a:lnTo>
                    <a:pt x="73" y="105"/>
                  </a:lnTo>
                  <a:lnTo>
                    <a:pt x="71" y="105"/>
                  </a:lnTo>
                  <a:lnTo>
                    <a:pt x="71" y="103"/>
                  </a:lnTo>
                  <a:lnTo>
                    <a:pt x="73" y="103"/>
                  </a:lnTo>
                  <a:lnTo>
                    <a:pt x="71" y="103"/>
                  </a:lnTo>
                  <a:lnTo>
                    <a:pt x="73" y="103"/>
                  </a:lnTo>
                  <a:lnTo>
                    <a:pt x="73" y="100"/>
                  </a:lnTo>
                  <a:lnTo>
                    <a:pt x="71" y="100"/>
                  </a:lnTo>
                  <a:lnTo>
                    <a:pt x="69" y="100"/>
                  </a:lnTo>
                  <a:lnTo>
                    <a:pt x="71" y="100"/>
                  </a:lnTo>
                  <a:lnTo>
                    <a:pt x="71" y="98"/>
                  </a:lnTo>
                  <a:lnTo>
                    <a:pt x="69" y="98"/>
                  </a:lnTo>
                  <a:lnTo>
                    <a:pt x="71" y="98"/>
                  </a:lnTo>
                  <a:lnTo>
                    <a:pt x="69" y="98"/>
                  </a:lnTo>
                  <a:lnTo>
                    <a:pt x="66" y="98"/>
                  </a:lnTo>
                  <a:lnTo>
                    <a:pt x="64" y="98"/>
                  </a:lnTo>
                  <a:lnTo>
                    <a:pt x="66" y="100"/>
                  </a:lnTo>
                  <a:lnTo>
                    <a:pt x="64" y="100"/>
                  </a:lnTo>
                  <a:lnTo>
                    <a:pt x="61" y="100"/>
                  </a:lnTo>
                  <a:lnTo>
                    <a:pt x="64" y="100"/>
                  </a:lnTo>
                  <a:lnTo>
                    <a:pt x="64" y="98"/>
                  </a:lnTo>
                  <a:lnTo>
                    <a:pt x="61" y="98"/>
                  </a:lnTo>
                  <a:lnTo>
                    <a:pt x="64" y="98"/>
                  </a:lnTo>
                  <a:lnTo>
                    <a:pt x="61" y="98"/>
                  </a:lnTo>
                  <a:lnTo>
                    <a:pt x="64" y="98"/>
                  </a:lnTo>
                  <a:lnTo>
                    <a:pt x="61" y="98"/>
                  </a:lnTo>
                  <a:lnTo>
                    <a:pt x="59" y="98"/>
                  </a:lnTo>
                  <a:lnTo>
                    <a:pt x="61" y="98"/>
                  </a:lnTo>
                  <a:lnTo>
                    <a:pt x="61" y="100"/>
                  </a:lnTo>
                  <a:lnTo>
                    <a:pt x="59" y="98"/>
                  </a:lnTo>
                  <a:lnTo>
                    <a:pt x="57" y="98"/>
                  </a:lnTo>
                  <a:lnTo>
                    <a:pt x="54" y="98"/>
                  </a:lnTo>
                  <a:lnTo>
                    <a:pt x="52" y="98"/>
                  </a:lnTo>
                  <a:lnTo>
                    <a:pt x="50" y="98"/>
                  </a:lnTo>
                  <a:lnTo>
                    <a:pt x="47" y="98"/>
                  </a:lnTo>
                  <a:lnTo>
                    <a:pt x="45" y="98"/>
                  </a:lnTo>
                  <a:lnTo>
                    <a:pt x="42" y="98"/>
                  </a:lnTo>
                  <a:lnTo>
                    <a:pt x="42" y="95"/>
                  </a:lnTo>
                  <a:lnTo>
                    <a:pt x="40" y="95"/>
                  </a:lnTo>
                  <a:lnTo>
                    <a:pt x="38" y="95"/>
                  </a:lnTo>
                  <a:lnTo>
                    <a:pt x="40" y="95"/>
                  </a:lnTo>
                  <a:lnTo>
                    <a:pt x="38" y="95"/>
                  </a:lnTo>
                  <a:lnTo>
                    <a:pt x="38" y="98"/>
                  </a:lnTo>
                  <a:lnTo>
                    <a:pt x="35" y="98"/>
                  </a:lnTo>
                  <a:lnTo>
                    <a:pt x="33" y="98"/>
                  </a:lnTo>
                  <a:lnTo>
                    <a:pt x="35" y="98"/>
                  </a:lnTo>
                  <a:lnTo>
                    <a:pt x="33" y="98"/>
                  </a:lnTo>
                  <a:lnTo>
                    <a:pt x="35" y="98"/>
                  </a:lnTo>
                  <a:lnTo>
                    <a:pt x="33" y="98"/>
                  </a:lnTo>
                  <a:lnTo>
                    <a:pt x="31" y="98"/>
                  </a:lnTo>
                  <a:lnTo>
                    <a:pt x="31" y="100"/>
                  </a:lnTo>
                  <a:lnTo>
                    <a:pt x="31" y="103"/>
                  </a:lnTo>
                  <a:lnTo>
                    <a:pt x="28" y="100"/>
                  </a:lnTo>
                  <a:lnTo>
                    <a:pt x="26" y="103"/>
                  </a:lnTo>
                  <a:lnTo>
                    <a:pt x="23" y="103"/>
                  </a:lnTo>
                  <a:lnTo>
                    <a:pt x="23" y="100"/>
                  </a:lnTo>
                  <a:lnTo>
                    <a:pt x="21" y="100"/>
                  </a:lnTo>
                  <a:lnTo>
                    <a:pt x="19" y="98"/>
                  </a:lnTo>
                  <a:lnTo>
                    <a:pt x="19" y="95"/>
                  </a:lnTo>
                  <a:lnTo>
                    <a:pt x="16" y="95"/>
                  </a:lnTo>
                  <a:lnTo>
                    <a:pt x="16" y="93"/>
                  </a:lnTo>
                  <a:lnTo>
                    <a:pt x="19" y="93"/>
                  </a:lnTo>
                  <a:lnTo>
                    <a:pt x="21" y="93"/>
                  </a:lnTo>
                  <a:lnTo>
                    <a:pt x="21" y="91"/>
                  </a:lnTo>
                  <a:lnTo>
                    <a:pt x="23" y="91"/>
                  </a:lnTo>
                  <a:lnTo>
                    <a:pt x="26" y="91"/>
                  </a:lnTo>
                  <a:lnTo>
                    <a:pt x="26" y="93"/>
                  </a:lnTo>
                  <a:lnTo>
                    <a:pt x="28" y="93"/>
                  </a:lnTo>
                  <a:lnTo>
                    <a:pt x="31" y="93"/>
                  </a:lnTo>
                  <a:lnTo>
                    <a:pt x="31" y="91"/>
                  </a:lnTo>
                  <a:lnTo>
                    <a:pt x="33" y="91"/>
                  </a:lnTo>
                  <a:lnTo>
                    <a:pt x="35" y="91"/>
                  </a:lnTo>
                  <a:lnTo>
                    <a:pt x="35" y="88"/>
                  </a:lnTo>
                  <a:lnTo>
                    <a:pt x="35" y="91"/>
                  </a:lnTo>
                  <a:lnTo>
                    <a:pt x="38" y="91"/>
                  </a:lnTo>
                  <a:lnTo>
                    <a:pt x="40" y="91"/>
                  </a:lnTo>
                  <a:lnTo>
                    <a:pt x="38" y="91"/>
                  </a:lnTo>
                  <a:lnTo>
                    <a:pt x="38" y="88"/>
                  </a:lnTo>
                  <a:lnTo>
                    <a:pt x="40" y="88"/>
                  </a:lnTo>
                  <a:lnTo>
                    <a:pt x="40" y="91"/>
                  </a:lnTo>
                  <a:lnTo>
                    <a:pt x="40" y="88"/>
                  </a:lnTo>
                  <a:lnTo>
                    <a:pt x="40" y="91"/>
                  </a:lnTo>
                  <a:lnTo>
                    <a:pt x="40" y="88"/>
                  </a:lnTo>
                  <a:lnTo>
                    <a:pt x="42" y="91"/>
                  </a:lnTo>
                  <a:lnTo>
                    <a:pt x="40" y="91"/>
                  </a:lnTo>
                  <a:lnTo>
                    <a:pt x="42" y="91"/>
                  </a:lnTo>
                  <a:lnTo>
                    <a:pt x="45" y="91"/>
                  </a:lnTo>
                  <a:lnTo>
                    <a:pt x="45" y="88"/>
                  </a:lnTo>
                  <a:lnTo>
                    <a:pt x="45" y="86"/>
                  </a:lnTo>
                  <a:lnTo>
                    <a:pt x="47" y="86"/>
                  </a:lnTo>
                  <a:lnTo>
                    <a:pt x="50" y="86"/>
                  </a:lnTo>
                  <a:lnTo>
                    <a:pt x="47" y="86"/>
                  </a:lnTo>
                  <a:lnTo>
                    <a:pt x="47" y="88"/>
                  </a:lnTo>
                  <a:lnTo>
                    <a:pt x="45" y="91"/>
                  </a:lnTo>
                  <a:lnTo>
                    <a:pt x="47" y="91"/>
                  </a:lnTo>
                  <a:lnTo>
                    <a:pt x="50" y="91"/>
                  </a:lnTo>
                  <a:lnTo>
                    <a:pt x="47" y="91"/>
                  </a:lnTo>
                  <a:lnTo>
                    <a:pt x="47" y="88"/>
                  </a:lnTo>
                  <a:lnTo>
                    <a:pt x="50" y="88"/>
                  </a:lnTo>
                  <a:lnTo>
                    <a:pt x="52" y="88"/>
                  </a:lnTo>
                  <a:lnTo>
                    <a:pt x="52" y="91"/>
                  </a:lnTo>
                  <a:lnTo>
                    <a:pt x="50" y="91"/>
                  </a:lnTo>
                  <a:lnTo>
                    <a:pt x="52" y="91"/>
                  </a:lnTo>
                  <a:lnTo>
                    <a:pt x="50" y="91"/>
                  </a:lnTo>
                  <a:lnTo>
                    <a:pt x="52" y="91"/>
                  </a:lnTo>
                  <a:lnTo>
                    <a:pt x="52" y="88"/>
                  </a:lnTo>
                  <a:lnTo>
                    <a:pt x="50" y="88"/>
                  </a:lnTo>
                  <a:lnTo>
                    <a:pt x="50" y="86"/>
                  </a:lnTo>
                  <a:lnTo>
                    <a:pt x="52" y="86"/>
                  </a:lnTo>
                  <a:lnTo>
                    <a:pt x="54" y="86"/>
                  </a:lnTo>
                  <a:lnTo>
                    <a:pt x="54" y="88"/>
                  </a:lnTo>
                  <a:lnTo>
                    <a:pt x="54" y="86"/>
                  </a:lnTo>
                  <a:lnTo>
                    <a:pt x="57" y="86"/>
                  </a:lnTo>
                  <a:lnTo>
                    <a:pt x="59" y="86"/>
                  </a:lnTo>
                  <a:lnTo>
                    <a:pt x="57" y="86"/>
                  </a:lnTo>
                  <a:lnTo>
                    <a:pt x="54" y="86"/>
                  </a:lnTo>
                  <a:lnTo>
                    <a:pt x="57" y="86"/>
                  </a:lnTo>
                  <a:lnTo>
                    <a:pt x="57" y="84"/>
                  </a:lnTo>
                  <a:lnTo>
                    <a:pt x="57" y="86"/>
                  </a:lnTo>
                  <a:lnTo>
                    <a:pt x="57" y="84"/>
                  </a:lnTo>
                  <a:lnTo>
                    <a:pt x="59" y="84"/>
                  </a:lnTo>
                  <a:lnTo>
                    <a:pt x="59" y="81"/>
                  </a:lnTo>
                  <a:lnTo>
                    <a:pt x="61" y="81"/>
                  </a:lnTo>
                  <a:lnTo>
                    <a:pt x="61" y="84"/>
                  </a:lnTo>
                  <a:lnTo>
                    <a:pt x="59" y="84"/>
                  </a:lnTo>
                  <a:lnTo>
                    <a:pt x="61" y="84"/>
                  </a:lnTo>
                  <a:lnTo>
                    <a:pt x="61" y="86"/>
                  </a:lnTo>
                  <a:lnTo>
                    <a:pt x="59" y="86"/>
                  </a:lnTo>
                  <a:lnTo>
                    <a:pt x="61" y="86"/>
                  </a:lnTo>
                  <a:lnTo>
                    <a:pt x="64" y="86"/>
                  </a:lnTo>
                  <a:lnTo>
                    <a:pt x="64" y="88"/>
                  </a:lnTo>
                  <a:lnTo>
                    <a:pt x="66" y="88"/>
                  </a:lnTo>
                  <a:lnTo>
                    <a:pt x="64" y="88"/>
                  </a:lnTo>
                  <a:lnTo>
                    <a:pt x="64" y="86"/>
                  </a:lnTo>
                  <a:lnTo>
                    <a:pt x="66" y="86"/>
                  </a:lnTo>
                  <a:lnTo>
                    <a:pt x="66" y="84"/>
                  </a:lnTo>
                  <a:lnTo>
                    <a:pt x="69" y="84"/>
                  </a:lnTo>
                  <a:lnTo>
                    <a:pt x="71" y="84"/>
                  </a:lnTo>
                  <a:lnTo>
                    <a:pt x="73" y="84"/>
                  </a:lnTo>
                  <a:lnTo>
                    <a:pt x="76" y="84"/>
                  </a:lnTo>
                  <a:lnTo>
                    <a:pt x="78" y="84"/>
                  </a:lnTo>
                  <a:lnTo>
                    <a:pt x="76" y="84"/>
                  </a:lnTo>
                  <a:lnTo>
                    <a:pt x="78" y="86"/>
                  </a:lnTo>
                  <a:lnTo>
                    <a:pt x="80" y="86"/>
                  </a:lnTo>
                  <a:lnTo>
                    <a:pt x="78" y="86"/>
                  </a:lnTo>
                  <a:lnTo>
                    <a:pt x="80" y="86"/>
                  </a:lnTo>
                  <a:lnTo>
                    <a:pt x="80" y="84"/>
                  </a:lnTo>
                  <a:lnTo>
                    <a:pt x="80" y="86"/>
                  </a:lnTo>
                  <a:lnTo>
                    <a:pt x="80" y="84"/>
                  </a:lnTo>
                  <a:lnTo>
                    <a:pt x="80" y="86"/>
                  </a:lnTo>
                  <a:lnTo>
                    <a:pt x="80" y="84"/>
                  </a:lnTo>
                  <a:lnTo>
                    <a:pt x="83" y="84"/>
                  </a:lnTo>
                  <a:lnTo>
                    <a:pt x="83" y="86"/>
                  </a:lnTo>
                  <a:lnTo>
                    <a:pt x="85" y="86"/>
                  </a:lnTo>
                  <a:lnTo>
                    <a:pt x="88" y="86"/>
                  </a:lnTo>
                  <a:lnTo>
                    <a:pt x="90" y="86"/>
                  </a:lnTo>
                  <a:lnTo>
                    <a:pt x="92" y="86"/>
                  </a:lnTo>
                  <a:lnTo>
                    <a:pt x="92" y="84"/>
                  </a:lnTo>
                  <a:lnTo>
                    <a:pt x="90" y="84"/>
                  </a:lnTo>
                  <a:lnTo>
                    <a:pt x="90" y="81"/>
                  </a:lnTo>
                  <a:lnTo>
                    <a:pt x="92" y="81"/>
                  </a:lnTo>
                  <a:lnTo>
                    <a:pt x="92" y="79"/>
                  </a:lnTo>
                  <a:lnTo>
                    <a:pt x="95" y="79"/>
                  </a:lnTo>
                  <a:lnTo>
                    <a:pt x="95" y="76"/>
                  </a:lnTo>
                  <a:lnTo>
                    <a:pt x="92" y="76"/>
                  </a:lnTo>
                  <a:lnTo>
                    <a:pt x="92" y="74"/>
                  </a:lnTo>
                  <a:lnTo>
                    <a:pt x="92" y="76"/>
                  </a:lnTo>
                  <a:lnTo>
                    <a:pt x="90" y="74"/>
                  </a:lnTo>
                  <a:lnTo>
                    <a:pt x="90" y="76"/>
                  </a:lnTo>
                  <a:lnTo>
                    <a:pt x="90" y="79"/>
                  </a:lnTo>
                  <a:lnTo>
                    <a:pt x="88" y="79"/>
                  </a:lnTo>
                  <a:lnTo>
                    <a:pt x="85" y="79"/>
                  </a:lnTo>
                  <a:lnTo>
                    <a:pt x="85" y="81"/>
                  </a:lnTo>
                  <a:lnTo>
                    <a:pt x="83" y="81"/>
                  </a:lnTo>
                  <a:lnTo>
                    <a:pt x="80" y="81"/>
                  </a:lnTo>
                  <a:lnTo>
                    <a:pt x="80" y="79"/>
                  </a:lnTo>
                  <a:lnTo>
                    <a:pt x="78" y="81"/>
                  </a:lnTo>
                  <a:lnTo>
                    <a:pt x="78" y="79"/>
                  </a:lnTo>
                  <a:lnTo>
                    <a:pt x="76" y="79"/>
                  </a:lnTo>
                  <a:lnTo>
                    <a:pt x="73" y="79"/>
                  </a:lnTo>
                  <a:lnTo>
                    <a:pt x="71" y="79"/>
                  </a:lnTo>
                  <a:lnTo>
                    <a:pt x="71" y="76"/>
                  </a:lnTo>
                  <a:lnTo>
                    <a:pt x="71" y="79"/>
                  </a:lnTo>
                  <a:lnTo>
                    <a:pt x="69" y="79"/>
                  </a:lnTo>
                  <a:lnTo>
                    <a:pt x="71" y="79"/>
                  </a:lnTo>
                  <a:lnTo>
                    <a:pt x="69" y="79"/>
                  </a:lnTo>
                  <a:lnTo>
                    <a:pt x="66" y="79"/>
                  </a:lnTo>
                  <a:lnTo>
                    <a:pt x="66" y="76"/>
                  </a:lnTo>
                  <a:lnTo>
                    <a:pt x="66" y="79"/>
                  </a:lnTo>
                  <a:lnTo>
                    <a:pt x="66" y="76"/>
                  </a:lnTo>
                  <a:lnTo>
                    <a:pt x="69" y="76"/>
                  </a:lnTo>
                  <a:lnTo>
                    <a:pt x="66" y="76"/>
                  </a:lnTo>
                  <a:lnTo>
                    <a:pt x="69" y="76"/>
                  </a:lnTo>
                  <a:lnTo>
                    <a:pt x="66" y="76"/>
                  </a:lnTo>
                  <a:lnTo>
                    <a:pt x="64" y="76"/>
                  </a:lnTo>
                  <a:lnTo>
                    <a:pt x="66" y="76"/>
                  </a:lnTo>
                  <a:lnTo>
                    <a:pt x="69" y="76"/>
                  </a:lnTo>
                  <a:lnTo>
                    <a:pt x="66" y="76"/>
                  </a:lnTo>
                  <a:lnTo>
                    <a:pt x="69" y="74"/>
                  </a:lnTo>
                  <a:lnTo>
                    <a:pt x="66" y="74"/>
                  </a:lnTo>
                  <a:lnTo>
                    <a:pt x="69" y="74"/>
                  </a:lnTo>
                  <a:lnTo>
                    <a:pt x="71" y="74"/>
                  </a:lnTo>
                  <a:lnTo>
                    <a:pt x="71" y="72"/>
                  </a:lnTo>
                  <a:lnTo>
                    <a:pt x="71" y="74"/>
                  </a:lnTo>
                  <a:lnTo>
                    <a:pt x="71" y="72"/>
                  </a:lnTo>
                  <a:lnTo>
                    <a:pt x="73" y="72"/>
                  </a:lnTo>
                  <a:lnTo>
                    <a:pt x="71" y="72"/>
                  </a:lnTo>
                  <a:lnTo>
                    <a:pt x="73" y="72"/>
                  </a:lnTo>
                  <a:lnTo>
                    <a:pt x="71" y="72"/>
                  </a:lnTo>
                  <a:lnTo>
                    <a:pt x="73" y="72"/>
                  </a:lnTo>
                  <a:lnTo>
                    <a:pt x="73" y="69"/>
                  </a:lnTo>
                  <a:lnTo>
                    <a:pt x="76" y="69"/>
                  </a:lnTo>
                  <a:lnTo>
                    <a:pt x="78" y="69"/>
                  </a:lnTo>
                  <a:lnTo>
                    <a:pt x="80" y="69"/>
                  </a:lnTo>
                  <a:lnTo>
                    <a:pt x="80" y="67"/>
                  </a:lnTo>
                  <a:lnTo>
                    <a:pt x="83" y="67"/>
                  </a:lnTo>
                  <a:lnTo>
                    <a:pt x="83" y="65"/>
                  </a:lnTo>
                  <a:lnTo>
                    <a:pt x="85" y="65"/>
                  </a:lnTo>
                  <a:lnTo>
                    <a:pt x="88" y="65"/>
                  </a:lnTo>
                  <a:lnTo>
                    <a:pt x="85" y="65"/>
                  </a:lnTo>
                  <a:lnTo>
                    <a:pt x="88" y="65"/>
                  </a:lnTo>
                  <a:lnTo>
                    <a:pt x="88" y="62"/>
                  </a:lnTo>
                  <a:lnTo>
                    <a:pt x="88" y="65"/>
                  </a:lnTo>
                  <a:lnTo>
                    <a:pt x="90" y="65"/>
                  </a:lnTo>
                  <a:lnTo>
                    <a:pt x="92" y="62"/>
                  </a:lnTo>
                  <a:lnTo>
                    <a:pt x="95" y="62"/>
                  </a:lnTo>
                  <a:lnTo>
                    <a:pt x="92" y="62"/>
                  </a:lnTo>
                  <a:lnTo>
                    <a:pt x="90" y="62"/>
                  </a:lnTo>
                  <a:lnTo>
                    <a:pt x="88" y="62"/>
                  </a:lnTo>
                  <a:lnTo>
                    <a:pt x="85" y="62"/>
                  </a:lnTo>
                  <a:lnTo>
                    <a:pt x="88" y="62"/>
                  </a:lnTo>
                  <a:lnTo>
                    <a:pt x="85" y="62"/>
                  </a:lnTo>
                  <a:lnTo>
                    <a:pt x="88" y="62"/>
                  </a:lnTo>
                  <a:lnTo>
                    <a:pt x="88" y="60"/>
                  </a:lnTo>
                  <a:lnTo>
                    <a:pt x="85" y="60"/>
                  </a:lnTo>
                  <a:lnTo>
                    <a:pt x="85" y="57"/>
                  </a:lnTo>
                  <a:lnTo>
                    <a:pt x="83" y="57"/>
                  </a:lnTo>
                  <a:lnTo>
                    <a:pt x="83" y="60"/>
                  </a:lnTo>
                  <a:lnTo>
                    <a:pt x="83" y="57"/>
                  </a:lnTo>
                  <a:lnTo>
                    <a:pt x="80" y="57"/>
                  </a:lnTo>
                  <a:lnTo>
                    <a:pt x="80" y="60"/>
                  </a:lnTo>
                  <a:lnTo>
                    <a:pt x="78" y="60"/>
                  </a:lnTo>
                  <a:lnTo>
                    <a:pt x="78" y="62"/>
                  </a:lnTo>
                  <a:lnTo>
                    <a:pt x="76" y="62"/>
                  </a:lnTo>
                  <a:lnTo>
                    <a:pt x="73" y="62"/>
                  </a:lnTo>
                  <a:lnTo>
                    <a:pt x="73" y="60"/>
                  </a:lnTo>
                  <a:lnTo>
                    <a:pt x="71" y="60"/>
                  </a:lnTo>
                  <a:lnTo>
                    <a:pt x="73" y="57"/>
                  </a:lnTo>
                  <a:lnTo>
                    <a:pt x="76" y="57"/>
                  </a:lnTo>
                  <a:lnTo>
                    <a:pt x="78" y="57"/>
                  </a:lnTo>
                  <a:lnTo>
                    <a:pt x="78" y="55"/>
                  </a:lnTo>
                  <a:lnTo>
                    <a:pt x="80" y="55"/>
                  </a:lnTo>
                  <a:lnTo>
                    <a:pt x="78" y="55"/>
                  </a:lnTo>
                  <a:lnTo>
                    <a:pt x="80" y="55"/>
                  </a:lnTo>
                  <a:lnTo>
                    <a:pt x="80" y="53"/>
                  </a:lnTo>
                  <a:lnTo>
                    <a:pt x="78" y="55"/>
                  </a:lnTo>
                  <a:lnTo>
                    <a:pt x="78" y="57"/>
                  </a:lnTo>
                  <a:lnTo>
                    <a:pt x="76" y="57"/>
                  </a:lnTo>
                  <a:lnTo>
                    <a:pt x="73" y="57"/>
                  </a:lnTo>
                  <a:lnTo>
                    <a:pt x="73" y="55"/>
                  </a:lnTo>
                  <a:lnTo>
                    <a:pt x="76" y="55"/>
                  </a:lnTo>
                  <a:lnTo>
                    <a:pt x="73" y="55"/>
                  </a:lnTo>
                  <a:lnTo>
                    <a:pt x="73" y="57"/>
                  </a:lnTo>
                  <a:lnTo>
                    <a:pt x="71" y="57"/>
                  </a:lnTo>
                  <a:lnTo>
                    <a:pt x="71" y="55"/>
                  </a:lnTo>
                  <a:lnTo>
                    <a:pt x="71" y="57"/>
                  </a:lnTo>
                  <a:lnTo>
                    <a:pt x="69" y="57"/>
                  </a:lnTo>
                  <a:lnTo>
                    <a:pt x="69" y="55"/>
                  </a:lnTo>
                  <a:lnTo>
                    <a:pt x="69" y="53"/>
                  </a:lnTo>
                  <a:lnTo>
                    <a:pt x="66" y="53"/>
                  </a:lnTo>
                  <a:lnTo>
                    <a:pt x="69" y="53"/>
                  </a:lnTo>
                  <a:lnTo>
                    <a:pt x="66" y="53"/>
                  </a:lnTo>
                  <a:lnTo>
                    <a:pt x="66" y="50"/>
                  </a:lnTo>
                  <a:lnTo>
                    <a:pt x="66" y="53"/>
                  </a:lnTo>
                  <a:lnTo>
                    <a:pt x="66" y="55"/>
                  </a:lnTo>
                  <a:lnTo>
                    <a:pt x="66" y="57"/>
                  </a:lnTo>
                  <a:lnTo>
                    <a:pt x="64" y="57"/>
                  </a:lnTo>
                  <a:lnTo>
                    <a:pt x="66" y="57"/>
                  </a:lnTo>
                  <a:lnTo>
                    <a:pt x="64" y="57"/>
                  </a:lnTo>
                  <a:lnTo>
                    <a:pt x="64" y="55"/>
                  </a:lnTo>
                  <a:lnTo>
                    <a:pt x="64" y="53"/>
                  </a:lnTo>
                  <a:lnTo>
                    <a:pt x="64" y="55"/>
                  </a:lnTo>
                  <a:lnTo>
                    <a:pt x="64" y="57"/>
                  </a:lnTo>
                  <a:lnTo>
                    <a:pt x="61" y="57"/>
                  </a:lnTo>
                  <a:lnTo>
                    <a:pt x="61" y="55"/>
                  </a:lnTo>
                  <a:lnTo>
                    <a:pt x="61" y="53"/>
                  </a:lnTo>
                  <a:lnTo>
                    <a:pt x="61" y="50"/>
                  </a:lnTo>
                  <a:lnTo>
                    <a:pt x="61" y="53"/>
                  </a:lnTo>
                  <a:lnTo>
                    <a:pt x="59" y="53"/>
                  </a:lnTo>
                  <a:lnTo>
                    <a:pt x="59" y="50"/>
                  </a:lnTo>
                  <a:lnTo>
                    <a:pt x="59" y="53"/>
                  </a:lnTo>
                  <a:lnTo>
                    <a:pt x="59" y="50"/>
                  </a:lnTo>
                  <a:lnTo>
                    <a:pt x="59" y="53"/>
                  </a:lnTo>
                  <a:lnTo>
                    <a:pt x="59" y="55"/>
                  </a:lnTo>
                  <a:lnTo>
                    <a:pt x="61" y="57"/>
                  </a:lnTo>
                  <a:lnTo>
                    <a:pt x="61" y="60"/>
                  </a:lnTo>
                  <a:lnTo>
                    <a:pt x="61" y="57"/>
                  </a:lnTo>
                  <a:lnTo>
                    <a:pt x="59" y="57"/>
                  </a:lnTo>
                  <a:lnTo>
                    <a:pt x="57" y="57"/>
                  </a:lnTo>
                  <a:lnTo>
                    <a:pt x="54" y="57"/>
                  </a:lnTo>
                  <a:lnTo>
                    <a:pt x="57" y="57"/>
                  </a:lnTo>
                  <a:lnTo>
                    <a:pt x="54" y="57"/>
                  </a:lnTo>
                  <a:lnTo>
                    <a:pt x="57" y="55"/>
                  </a:lnTo>
                  <a:lnTo>
                    <a:pt x="59" y="53"/>
                  </a:lnTo>
                  <a:lnTo>
                    <a:pt x="57" y="53"/>
                  </a:lnTo>
                  <a:lnTo>
                    <a:pt x="57" y="50"/>
                  </a:lnTo>
                  <a:lnTo>
                    <a:pt x="57" y="53"/>
                  </a:lnTo>
                  <a:lnTo>
                    <a:pt x="57" y="55"/>
                  </a:lnTo>
                  <a:lnTo>
                    <a:pt x="54" y="55"/>
                  </a:lnTo>
                  <a:lnTo>
                    <a:pt x="54" y="53"/>
                  </a:lnTo>
                  <a:lnTo>
                    <a:pt x="52" y="53"/>
                  </a:lnTo>
                  <a:lnTo>
                    <a:pt x="52" y="55"/>
                  </a:lnTo>
                  <a:lnTo>
                    <a:pt x="52" y="57"/>
                  </a:lnTo>
                  <a:lnTo>
                    <a:pt x="50" y="57"/>
                  </a:lnTo>
                  <a:lnTo>
                    <a:pt x="50" y="55"/>
                  </a:lnTo>
                  <a:lnTo>
                    <a:pt x="47" y="55"/>
                  </a:lnTo>
                  <a:lnTo>
                    <a:pt x="47" y="53"/>
                  </a:lnTo>
                  <a:lnTo>
                    <a:pt x="47" y="55"/>
                  </a:lnTo>
                  <a:lnTo>
                    <a:pt x="45" y="55"/>
                  </a:lnTo>
                  <a:lnTo>
                    <a:pt x="45" y="57"/>
                  </a:lnTo>
                  <a:lnTo>
                    <a:pt x="45" y="60"/>
                  </a:lnTo>
                  <a:lnTo>
                    <a:pt x="42" y="60"/>
                  </a:lnTo>
                  <a:lnTo>
                    <a:pt x="40" y="60"/>
                  </a:lnTo>
                  <a:lnTo>
                    <a:pt x="40" y="57"/>
                  </a:lnTo>
                  <a:lnTo>
                    <a:pt x="38" y="57"/>
                  </a:lnTo>
                  <a:lnTo>
                    <a:pt x="38" y="60"/>
                  </a:lnTo>
                  <a:lnTo>
                    <a:pt x="35" y="60"/>
                  </a:lnTo>
                  <a:lnTo>
                    <a:pt x="33" y="60"/>
                  </a:lnTo>
                  <a:lnTo>
                    <a:pt x="31" y="60"/>
                  </a:lnTo>
                  <a:lnTo>
                    <a:pt x="31" y="62"/>
                  </a:lnTo>
                  <a:lnTo>
                    <a:pt x="28" y="62"/>
                  </a:lnTo>
                  <a:lnTo>
                    <a:pt x="28" y="65"/>
                  </a:lnTo>
                  <a:lnTo>
                    <a:pt x="26" y="62"/>
                  </a:lnTo>
                  <a:lnTo>
                    <a:pt x="26" y="65"/>
                  </a:lnTo>
                  <a:lnTo>
                    <a:pt x="23" y="65"/>
                  </a:lnTo>
                  <a:lnTo>
                    <a:pt x="21" y="65"/>
                  </a:lnTo>
                  <a:lnTo>
                    <a:pt x="19" y="65"/>
                  </a:lnTo>
                  <a:lnTo>
                    <a:pt x="19" y="62"/>
                  </a:lnTo>
                  <a:lnTo>
                    <a:pt x="21" y="62"/>
                  </a:lnTo>
                  <a:lnTo>
                    <a:pt x="21" y="60"/>
                  </a:lnTo>
                  <a:lnTo>
                    <a:pt x="19" y="60"/>
                  </a:lnTo>
                  <a:lnTo>
                    <a:pt x="21" y="60"/>
                  </a:lnTo>
                  <a:lnTo>
                    <a:pt x="19" y="60"/>
                  </a:lnTo>
                  <a:lnTo>
                    <a:pt x="19" y="62"/>
                  </a:lnTo>
                  <a:lnTo>
                    <a:pt x="16" y="60"/>
                  </a:lnTo>
                  <a:lnTo>
                    <a:pt x="14" y="60"/>
                  </a:lnTo>
                  <a:lnTo>
                    <a:pt x="12" y="60"/>
                  </a:lnTo>
                  <a:lnTo>
                    <a:pt x="12" y="57"/>
                  </a:lnTo>
                  <a:lnTo>
                    <a:pt x="9" y="57"/>
                  </a:lnTo>
                  <a:lnTo>
                    <a:pt x="9" y="60"/>
                  </a:lnTo>
                  <a:lnTo>
                    <a:pt x="7" y="60"/>
                  </a:lnTo>
                  <a:lnTo>
                    <a:pt x="4" y="60"/>
                  </a:lnTo>
                  <a:lnTo>
                    <a:pt x="2" y="60"/>
                  </a:lnTo>
                  <a:lnTo>
                    <a:pt x="0" y="60"/>
                  </a:lnTo>
                  <a:lnTo>
                    <a:pt x="0" y="57"/>
                  </a:lnTo>
                  <a:lnTo>
                    <a:pt x="2" y="57"/>
                  </a:lnTo>
                  <a:lnTo>
                    <a:pt x="4" y="55"/>
                  </a:lnTo>
                  <a:lnTo>
                    <a:pt x="7" y="55"/>
                  </a:lnTo>
                  <a:lnTo>
                    <a:pt x="7" y="53"/>
                  </a:lnTo>
                  <a:lnTo>
                    <a:pt x="7" y="50"/>
                  </a:lnTo>
                  <a:lnTo>
                    <a:pt x="9" y="50"/>
                  </a:lnTo>
                  <a:lnTo>
                    <a:pt x="12" y="50"/>
                  </a:lnTo>
                  <a:lnTo>
                    <a:pt x="12" y="53"/>
                  </a:lnTo>
                  <a:lnTo>
                    <a:pt x="14" y="53"/>
                  </a:lnTo>
                  <a:lnTo>
                    <a:pt x="14" y="55"/>
                  </a:lnTo>
                  <a:lnTo>
                    <a:pt x="16" y="55"/>
                  </a:lnTo>
                  <a:lnTo>
                    <a:pt x="19" y="55"/>
                  </a:lnTo>
                  <a:lnTo>
                    <a:pt x="21" y="55"/>
                  </a:lnTo>
                  <a:lnTo>
                    <a:pt x="21" y="57"/>
                  </a:lnTo>
                  <a:lnTo>
                    <a:pt x="23" y="57"/>
                  </a:lnTo>
                  <a:lnTo>
                    <a:pt x="26" y="57"/>
                  </a:lnTo>
                  <a:lnTo>
                    <a:pt x="23" y="57"/>
                  </a:lnTo>
                  <a:lnTo>
                    <a:pt x="21" y="55"/>
                  </a:lnTo>
                  <a:lnTo>
                    <a:pt x="19" y="55"/>
                  </a:lnTo>
                  <a:lnTo>
                    <a:pt x="19" y="53"/>
                  </a:lnTo>
                  <a:lnTo>
                    <a:pt x="16" y="53"/>
                  </a:lnTo>
                  <a:lnTo>
                    <a:pt x="16" y="50"/>
                  </a:lnTo>
                  <a:lnTo>
                    <a:pt x="19" y="50"/>
                  </a:lnTo>
                  <a:lnTo>
                    <a:pt x="21" y="50"/>
                  </a:lnTo>
                  <a:lnTo>
                    <a:pt x="21" y="53"/>
                  </a:lnTo>
                  <a:lnTo>
                    <a:pt x="23" y="53"/>
                  </a:lnTo>
                  <a:lnTo>
                    <a:pt x="26" y="53"/>
                  </a:lnTo>
                  <a:lnTo>
                    <a:pt x="23" y="53"/>
                  </a:lnTo>
                  <a:lnTo>
                    <a:pt x="23" y="50"/>
                  </a:lnTo>
                  <a:lnTo>
                    <a:pt x="23" y="53"/>
                  </a:lnTo>
                  <a:lnTo>
                    <a:pt x="23" y="50"/>
                  </a:lnTo>
                  <a:lnTo>
                    <a:pt x="21" y="50"/>
                  </a:lnTo>
                  <a:lnTo>
                    <a:pt x="19" y="50"/>
                  </a:lnTo>
                  <a:lnTo>
                    <a:pt x="19" y="48"/>
                  </a:lnTo>
                  <a:lnTo>
                    <a:pt x="16" y="48"/>
                  </a:lnTo>
                  <a:lnTo>
                    <a:pt x="16" y="46"/>
                  </a:lnTo>
                  <a:lnTo>
                    <a:pt x="14" y="46"/>
                  </a:lnTo>
                  <a:lnTo>
                    <a:pt x="14" y="43"/>
                  </a:lnTo>
                  <a:lnTo>
                    <a:pt x="14" y="41"/>
                  </a:lnTo>
                  <a:lnTo>
                    <a:pt x="16" y="41"/>
                  </a:lnTo>
                  <a:lnTo>
                    <a:pt x="19" y="41"/>
                  </a:lnTo>
                  <a:lnTo>
                    <a:pt x="19" y="43"/>
                  </a:lnTo>
                  <a:lnTo>
                    <a:pt x="21" y="43"/>
                  </a:lnTo>
                  <a:lnTo>
                    <a:pt x="23" y="43"/>
                  </a:lnTo>
                  <a:lnTo>
                    <a:pt x="23" y="46"/>
                  </a:lnTo>
                  <a:lnTo>
                    <a:pt x="26" y="46"/>
                  </a:lnTo>
                  <a:lnTo>
                    <a:pt x="28" y="46"/>
                  </a:lnTo>
                  <a:lnTo>
                    <a:pt x="31" y="48"/>
                  </a:lnTo>
                  <a:lnTo>
                    <a:pt x="33" y="48"/>
                  </a:lnTo>
                  <a:lnTo>
                    <a:pt x="33" y="50"/>
                  </a:lnTo>
                  <a:lnTo>
                    <a:pt x="33" y="53"/>
                  </a:lnTo>
                  <a:lnTo>
                    <a:pt x="35" y="50"/>
                  </a:lnTo>
                  <a:lnTo>
                    <a:pt x="35" y="53"/>
                  </a:lnTo>
                  <a:lnTo>
                    <a:pt x="35" y="50"/>
                  </a:lnTo>
                  <a:lnTo>
                    <a:pt x="38" y="50"/>
                  </a:lnTo>
                  <a:lnTo>
                    <a:pt x="38" y="53"/>
                  </a:lnTo>
                  <a:lnTo>
                    <a:pt x="38" y="50"/>
                  </a:lnTo>
                  <a:lnTo>
                    <a:pt x="40" y="50"/>
                  </a:lnTo>
                  <a:lnTo>
                    <a:pt x="38" y="50"/>
                  </a:lnTo>
                  <a:lnTo>
                    <a:pt x="40" y="50"/>
                  </a:lnTo>
                  <a:lnTo>
                    <a:pt x="42" y="48"/>
                  </a:lnTo>
                  <a:lnTo>
                    <a:pt x="40" y="48"/>
                  </a:lnTo>
                  <a:lnTo>
                    <a:pt x="38" y="48"/>
                  </a:lnTo>
                  <a:lnTo>
                    <a:pt x="35" y="48"/>
                  </a:lnTo>
                  <a:lnTo>
                    <a:pt x="33" y="46"/>
                  </a:lnTo>
                  <a:lnTo>
                    <a:pt x="35" y="46"/>
                  </a:lnTo>
                  <a:lnTo>
                    <a:pt x="38" y="46"/>
                  </a:lnTo>
                  <a:lnTo>
                    <a:pt x="40" y="46"/>
                  </a:lnTo>
                  <a:lnTo>
                    <a:pt x="42" y="46"/>
                  </a:lnTo>
                  <a:lnTo>
                    <a:pt x="45" y="46"/>
                  </a:lnTo>
                  <a:lnTo>
                    <a:pt x="42" y="43"/>
                  </a:lnTo>
                  <a:lnTo>
                    <a:pt x="45" y="43"/>
                  </a:lnTo>
                  <a:lnTo>
                    <a:pt x="42" y="43"/>
                  </a:lnTo>
                  <a:lnTo>
                    <a:pt x="40" y="43"/>
                  </a:lnTo>
                  <a:lnTo>
                    <a:pt x="38" y="43"/>
                  </a:lnTo>
                  <a:lnTo>
                    <a:pt x="35" y="43"/>
                  </a:lnTo>
                  <a:lnTo>
                    <a:pt x="33" y="43"/>
                  </a:lnTo>
                  <a:lnTo>
                    <a:pt x="31" y="43"/>
                  </a:lnTo>
                  <a:lnTo>
                    <a:pt x="28" y="43"/>
                  </a:lnTo>
                  <a:lnTo>
                    <a:pt x="26" y="43"/>
                  </a:lnTo>
                  <a:lnTo>
                    <a:pt x="26" y="41"/>
                  </a:lnTo>
                  <a:lnTo>
                    <a:pt x="23" y="41"/>
                  </a:lnTo>
                  <a:lnTo>
                    <a:pt x="23" y="38"/>
                  </a:lnTo>
                  <a:lnTo>
                    <a:pt x="23" y="36"/>
                  </a:lnTo>
                  <a:lnTo>
                    <a:pt x="23" y="34"/>
                  </a:lnTo>
                  <a:lnTo>
                    <a:pt x="26" y="34"/>
                  </a:lnTo>
                  <a:lnTo>
                    <a:pt x="26" y="36"/>
                  </a:lnTo>
                  <a:lnTo>
                    <a:pt x="28" y="36"/>
                  </a:lnTo>
                  <a:lnTo>
                    <a:pt x="31" y="36"/>
                  </a:lnTo>
                  <a:lnTo>
                    <a:pt x="33" y="38"/>
                  </a:lnTo>
                  <a:lnTo>
                    <a:pt x="33" y="36"/>
                  </a:lnTo>
                  <a:lnTo>
                    <a:pt x="35" y="36"/>
                  </a:lnTo>
                  <a:lnTo>
                    <a:pt x="35" y="38"/>
                  </a:lnTo>
                  <a:lnTo>
                    <a:pt x="38" y="38"/>
                  </a:lnTo>
                  <a:lnTo>
                    <a:pt x="40" y="38"/>
                  </a:lnTo>
                  <a:lnTo>
                    <a:pt x="42" y="38"/>
                  </a:lnTo>
                  <a:lnTo>
                    <a:pt x="45" y="38"/>
                  </a:lnTo>
                  <a:lnTo>
                    <a:pt x="45" y="41"/>
                  </a:lnTo>
                  <a:lnTo>
                    <a:pt x="45" y="38"/>
                  </a:lnTo>
                  <a:lnTo>
                    <a:pt x="42" y="38"/>
                  </a:lnTo>
                  <a:lnTo>
                    <a:pt x="40" y="38"/>
                  </a:lnTo>
                  <a:lnTo>
                    <a:pt x="38" y="38"/>
                  </a:lnTo>
                  <a:lnTo>
                    <a:pt x="38" y="36"/>
                  </a:lnTo>
                  <a:lnTo>
                    <a:pt x="35" y="36"/>
                  </a:lnTo>
                  <a:lnTo>
                    <a:pt x="33" y="36"/>
                  </a:lnTo>
                  <a:lnTo>
                    <a:pt x="31" y="36"/>
                  </a:lnTo>
                  <a:lnTo>
                    <a:pt x="31" y="34"/>
                  </a:lnTo>
                  <a:lnTo>
                    <a:pt x="28" y="34"/>
                  </a:lnTo>
                  <a:lnTo>
                    <a:pt x="28" y="31"/>
                  </a:lnTo>
                  <a:lnTo>
                    <a:pt x="26" y="31"/>
                  </a:lnTo>
                  <a:lnTo>
                    <a:pt x="23" y="29"/>
                  </a:lnTo>
                  <a:lnTo>
                    <a:pt x="23" y="26"/>
                  </a:lnTo>
                  <a:lnTo>
                    <a:pt x="26" y="26"/>
                  </a:lnTo>
                  <a:lnTo>
                    <a:pt x="28" y="26"/>
                  </a:lnTo>
                  <a:lnTo>
                    <a:pt x="31" y="26"/>
                  </a:lnTo>
                  <a:lnTo>
                    <a:pt x="31" y="29"/>
                  </a:lnTo>
                  <a:lnTo>
                    <a:pt x="33" y="29"/>
                  </a:lnTo>
                  <a:lnTo>
                    <a:pt x="35" y="29"/>
                  </a:lnTo>
                  <a:lnTo>
                    <a:pt x="38" y="29"/>
                  </a:lnTo>
                  <a:lnTo>
                    <a:pt x="38" y="31"/>
                  </a:lnTo>
                  <a:lnTo>
                    <a:pt x="40" y="31"/>
                  </a:lnTo>
                  <a:lnTo>
                    <a:pt x="38" y="31"/>
                  </a:lnTo>
                  <a:lnTo>
                    <a:pt x="38" y="29"/>
                  </a:lnTo>
                  <a:lnTo>
                    <a:pt x="35" y="29"/>
                  </a:lnTo>
                  <a:lnTo>
                    <a:pt x="35" y="26"/>
                  </a:lnTo>
                  <a:lnTo>
                    <a:pt x="35" y="29"/>
                  </a:lnTo>
                  <a:lnTo>
                    <a:pt x="35" y="26"/>
                  </a:lnTo>
                  <a:lnTo>
                    <a:pt x="33" y="26"/>
                  </a:lnTo>
                  <a:lnTo>
                    <a:pt x="31" y="26"/>
                  </a:lnTo>
                  <a:lnTo>
                    <a:pt x="31" y="24"/>
                  </a:lnTo>
                  <a:lnTo>
                    <a:pt x="28" y="24"/>
                  </a:lnTo>
                  <a:lnTo>
                    <a:pt x="31" y="24"/>
                  </a:lnTo>
                  <a:lnTo>
                    <a:pt x="33" y="24"/>
                  </a:lnTo>
                  <a:lnTo>
                    <a:pt x="33" y="22"/>
                  </a:lnTo>
                  <a:lnTo>
                    <a:pt x="35" y="24"/>
                  </a:lnTo>
                  <a:lnTo>
                    <a:pt x="38" y="24"/>
                  </a:lnTo>
                  <a:lnTo>
                    <a:pt x="38" y="26"/>
                  </a:lnTo>
                  <a:lnTo>
                    <a:pt x="40" y="26"/>
                  </a:lnTo>
                  <a:lnTo>
                    <a:pt x="38" y="24"/>
                  </a:lnTo>
                  <a:lnTo>
                    <a:pt x="35" y="24"/>
                  </a:lnTo>
                  <a:lnTo>
                    <a:pt x="35" y="22"/>
                  </a:lnTo>
                  <a:lnTo>
                    <a:pt x="33" y="22"/>
                  </a:lnTo>
                  <a:lnTo>
                    <a:pt x="31" y="22"/>
                  </a:lnTo>
                  <a:lnTo>
                    <a:pt x="33" y="22"/>
                  </a:lnTo>
                  <a:lnTo>
                    <a:pt x="33" y="19"/>
                  </a:lnTo>
                  <a:lnTo>
                    <a:pt x="35" y="19"/>
                  </a:lnTo>
                  <a:lnTo>
                    <a:pt x="38" y="19"/>
                  </a:lnTo>
                  <a:lnTo>
                    <a:pt x="40" y="19"/>
                  </a:lnTo>
                  <a:lnTo>
                    <a:pt x="42" y="19"/>
                  </a:lnTo>
                  <a:lnTo>
                    <a:pt x="42" y="22"/>
                  </a:lnTo>
                  <a:lnTo>
                    <a:pt x="45" y="22"/>
                  </a:lnTo>
                  <a:lnTo>
                    <a:pt x="47" y="22"/>
                  </a:lnTo>
                  <a:lnTo>
                    <a:pt x="47" y="24"/>
                  </a:lnTo>
                  <a:lnTo>
                    <a:pt x="47" y="26"/>
                  </a:lnTo>
                  <a:lnTo>
                    <a:pt x="45" y="26"/>
                  </a:lnTo>
                  <a:lnTo>
                    <a:pt x="45" y="29"/>
                  </a:lnTo>
                  <a:lnTo>
                    <a:pt x="47" y="29"/>
                  </a:lnTo>
                  <a:lnTo>
                    <a:pt x="47" y="26"/>
                  </a:lnTo>
                  <a:lnTo>
                    <a:pt x="50" y="26"/>
                  </a:lnTo>
                  <a:lnTo>
                    <a:pt x="50" y="24"/>
                  </a:lnTo>
                  <a:lnTo>
                    <a:pt x="52" y="24"/>
                  </a:lnTo>
                  <a:lnTo>
                    <a:pt x="52" y="26"/>
                  </a:lnTo>
                  <a:lnTo>
                    <a:pt x="52" y="29"/>
                  </a:lnTo>
                  <a:lnTo>
                    <a:pt x="50" y="31"/>
                  </a:lnTo>
                  <a:lnTo>
                    <a:pt x="47" y="31"/>
                  </a:lnTo>
                  <a:lnTo>
                    <a:pt x="47" y="34"/>
                  </a:lnTo>
                  <a:lnTo>
                    <a:pt x="50" y="34"/>
                  </a:lnTo>
                  <a:lnTo>
                    <a:pt x="47" y="31"/>
                  </a:lnTo>
                  <a:lnTo>
                    <a:pt x="50" y="31"/>
                  </a:lnTo>
                  <a:lnTo>
                    <a:pt x="52" y="31"/>
                  </a:lnTo>
                  <a:lnTo>
                    <a:pt x="52" y="29"/>
                  </a:lnTo>
                  <a:lnTo>
                    <a:pt x="52" y="26"/>
                  </a:lnTo>
                  <a:lnTo>
                    <a:pt x="54" y="26"/>
                  </a:lnTo>
                  <a:lnTo>
                    <a:pt x="54" y="29"/>
                  </a:lnTo>
                  <a:lnTo>
                    <a:pt x="54" y="31"/>
                  </a:lnTo>
                  <a:lnTo>
                    <a:pt x="54" y="29"/>
                  </a:lnTo>
                  <a:lnTo>
                    <a:pt x="57" y="29"/>
                  </a:lnTo>
                  <a:lnTo>
                    <a:pt x="57" y="31"/>
                  </a:lnTo>
                  <a:lnTo>
                    <a:pt x="54" y="31"/>
                  </a:lnTo>
                  <a:lnTo>
                    <a:pt x="54" y="34"/>
                  </a:lnTo>
                  <a:lnTo>
                    <a:pt x="52" y="34"/>
                  </a:lnTo>
                  <a:lnTo>
                    <a:pt x="52" y="36"/>
                  </a:lnTo>
                  <a:lnTo>
                    <a:pt x="52" y="34"/>
                  </a:lnTo>
                  <a:lnTo>
                    <a:pt x="54" y="34"/>
                  </a:lnTo>
                  <a:lnTo>
                    <a:pt x="57" y="31"/>
                  </a:lnTo>
                  <a:lnTo>
                    <a:pt x="57" y="34"/>
                  </a:lnTo>
                  <a:lnTo>
                    <a:pt x="57" y="36"/>
                  </a:lnTo>
                  <a:lnTo>
                    <a:pt x="57" y="34"/>
                  </a:lnTo>
                  <a:lnTo>
                    <a:pt x="59" y="34"/>
                  </a:lnTo>
                  <a:lnTo>
                    <a:pt x="59" y="31"/>
                  </a:lnTo>
                  <a:lnTo>
                    <a:pt x="59" y="29"/>
                  </a:lnTo>
                  <a:lnTo>
                    <a:pt x="59" y="26"/>
                  </a:lnTo>
                  <a:lnTo>
                    <a:pt x="59" y="29"/>
                  </a:lnTo>
                  <a:lnTo>
                    <a:pt x="61" y="29"/>
                  </a:lnTo>
                  <a:lnTo>
                    <a:pt x="61" y="26"/>
                  </a:lnTo>
                  <a:lnTo>
                    <a:pt x="61" y="29"/>
                  </a:lnTo>
                  <a:lnTo>
                    <a:pt x="61" y="26"/>
                  </a:lnTo>
                  <a:lnTo>
                    <a:pt x="61" y="29"/>
                  </a:lnTo>
                  <a:lnTo>
                    <a:pt x="64" y="29"/>
                  </a:lnTo>
                  <a:lnTo>
                    <a:pt x="64" y="31"/>
                  </a:lnTo>
                  <a:lnTo>
                    <a:pt x="66" y="31"/>
                  </a:lnTo>
                  <a:lnTo>
                    <a:pt x="64" y="34"/>
                  </a:lnTo>
                  <a:lnTo>
                    <a:pt x="66" y="34"/>
                  </a:lnTo>
                  <a:lnTo>
                    <a:pt x="64" y="34"/>
                  </a:lnTo>
                  <a:lnTo>
                    <a:pt x="66" y="34"/>
                  </a:lnTo>
                  <a:lnTo>
                    <a:pt x="64" y="36"/>
                  </a:lnTo>
                  <a:lnTo>
                    <a:pt x="64" y="38"/>
                  </a:lnTo>
                  <a:lnTo>
                    <a:pt x="64" y="41"/>
                  </a:lnTo>
                  <a:lnTo>
                    <a:pt x="61" y="41"/>
                  </a:lnTo>
                  <a:lnTo>
                    <a:pt x="64" y="41"/>
                  </a:lnTo>
                  <a:lnTo>
                    <a:pt x="64" y="38"/>
                  </a:lnTo>
                  <a:lnTo>
                    <a:pt x="64" y="36"/>
                  </a:lnTo>
                  <a:lnTo>
                    <a:pt x="66" y="36"/>
                  </a:lnTo>
                  <a:lnTo>
                    <a:pt x="66" y="34"/>
                  </a:lnTo>
                  <a:lnTo>
                    <a:pt x="66" y="31"/>
                  </a:lnTo>
                  <a:lnTo>
                    <a:pt x="69" y="31"/>
                  </a:lnTo>
                  <a:lnTo>
                    <a:pt x="69" y="34"/>
                  </a:lnTo>
                  <a:lnTo>
                    <a:pt x="69" y="36"/>
                  </a:lnTo>
                  <a:lnTo>
                    <a:pt x="71" y="36"/>
                  </a:lnTo>
                  <a:lnTo>
                    <a:pt x="71" y="34"/>
                  </a:lnTo>
                  <a:lnTo>
                    <a:pt x="71" y="36"/>
                  </a:lnTo>
                  <a:lnTo>
                    <a:pt x="71" y="38"/>
                  </a:lnTo>
                  <a:lnTo>
                    <a:pt x="69" y="38"/>
                  </a:lnTo>
                  <a:lnTo>
                    <a:pt x="69" y="41"/>
                  </a:lnTo>
                  <a:lnTo>
                    <a:pt x="66" y="41"/>
                  </a:lnTo>
                  <a:lnTo>
                    <a:pt x="66" y="43"/>
                  </a:lnTo>
                  <a:lnTo>
                    <a:pt x="66" y="41"/>
                  </a:lnTo>
                  <a:lnTo>
                    <a:pt x="69" y="41"/>
                  </a:lnTo>
                  <a:lnTo>
                    <a:pt x="71" y="41"/>
                  </a:lnTo>
                  <a:lnTo>
                    <a:pt x="71" y="38"/>
                  </a:lnTo>
                  <a:lnTo>
                    <a:pt x="71" y="36"/>
                  </a:lnTo>
                  <a:lnTo>
                    <a:pt x="73" y="36"/>
                  </a:lnTo>
                  <a:lnTo>
                    <a:pt x="73" y="34"/>
                  </a:lnTo>
                  <a:lnTo>
                    <a:pt x="71" y="34"/>
                  </a:lnTo>
                  <a:lnTo>
                    <a:pt x="71" y="31"/>
                  </a:lnTo>
                  <a:lnTo>
                    <a:pt x="71" y="29"/>
                  </a:lnTo>
                  <a:lnTo>
                    <a:pt x="69" y="29"/>
                  </a:lnTo>
                  <a:lnTo>
                    <a:pt x="71" y="29"/>
                  </a:lnTo>
                  <a:lnTo>
                    <a:pt x="69" y="29"/>
                  </a:lnTo>
                  <a:lnTo>
                    <a:pt x="69" y="26"/>
                  </a:lnTo>
                  <a:lnTo>
                    <a:pt x="71" y="26"/>
                  </a:lnTo>
                  <a:lnTo>
                    <a:pt x="71" y="24"/>
                  </a:lnTo>
                  <a:lnTo>
                    <a:pt x="71" y="26"/>
                  </a:lnTo>
                  <a:lnTo>
                    <a:pt x="69" y="26"/>
                  </a:lnTo>
                  <a:lnTo>
                    <a:pt x="66" y="26"/>
                  </a:lnTo>
                  <a:lnTo>
                    <a:pt x="66" y="24"/>
                  </a:lnTo>
                  <a:lnTo>
                    <a:pt x="64" y="24"/>
                  </a:lnTo>
                  <a:lnTo>
                    <a:pt x="61" y="24"/>
                  </a:lnTo>
                  <a:lnTo>
                    <a:pt x="61" y="22"/>
                  </a:lnTo>
                  <a:lnTo>
                    <a:pt x="59" y="22"/>
                  </a:lnTo>
                  <a:lnTo>
                    <a:pt x="57" y="22"/>
                  </a:lnTo>
                  <a:lnTo>
                    <a:pt x="54" y="22"/>
                  </a:lnTo>
                  <a:lnTo>
                    <a:pt x="54" y="19"/>
                  </a:lnTo>
                  <a:lnTo>
                    <a:pt x="52" y="19"/>
                  </a:lnTo>
                  <a:lnTo>
                    <a:pt x="52" y="17"/>
                  </a:lnTo>
                  <a:lnTo>
                    <a:pt x="54" y="17"/>
                  </a:lnTo>
                  <a:lnTo>
                    <a:pt x="57" y="15"/>
                  </a:lnTo>
                  <a:lnTo>
                    <a:pt x="59" y="15"/>
                  </a:lnTo>
                  <a:lnTo>
                    <a:pt x="61" y="17"/>
                  </a:lnTo>
                  <a:lnTo>
                    <a:pt x="64" y="17"/>
                  </a:lnTo>
                  <a:lnTo>
                    <a:pt x="66" y="17"/>
                  </a:lnTo>
                  <a:lnTo>
                    <a:pt x="69" y="17"/>
                  </a:lnTo>
                  <a:lnTo>
                    <a:pt x="69" y="15"/>
                  </a:lnTo>
                  <a:lnTo>
                    <a:pt x="71" y="17"/>
                  </a:lnTo>
                  <a:lnTo>
                    <a:pt x="71" y="15"/>
                  </a:lnTo>
                  <a:lnTo>
                    <a:pt x="73" y="15"/>
                  </a:lnTo>
                  <a:lnTo>
                    <a:pt x="71" y="15"/>
                  </a:lnTo>
                  <a:lnTo>
                    <a:pt x="69" y="15"/>
                  </a:lnTo>
                  <a:lnTo>
                    <a:pt x="66" y="15"/>
                  </a:lnTo>
                  <a:lnTo>
                    <a:pt x="69" y="15"/>
                  </a:lnTo>
                  <a:lnTo>
                    <a:pt x="69" y="12"/>
                  </a:lnTo>
                  <a:lnTo>
                    <a:pt x="66" y="12"/>
                  </a:lnTo>
                  <a:lnTo>
                    <a:pt x="66" y="15"/>
                  </a:lnTo>
                  <a:lnTo>
                    <a:pt x="64" y="15"/>
                  </a:lnTo>
                  <a:lnTo>
                    <a:pt x="61" y="15"/>
                  </a:lnTo>
                  <a:lnTo>
                    <a:pt x="61" y="12"/>
                  </a:lnTo>
                  <a:lnTo>
                    <a:pt x="61" y="10"/>
                  </a:lnTo>
                  <a:lnTo>
                    <a:pt x="64" y="10"/>
                  </a:lnTo>
                  <a:lnTo>
                    <a:pt x="61" y="10"/>
                  </a:lnTo>
                  <a:lnTo>
                    <a:pt x="61" y="12"/>
                  </a:lnTo>
                  <a:lnTo>
                    <a:pt x="59" y="12"/>
                  </a:lnTo>
                  <a:lnTo>
                    <a:pt x="57" y="12"/>
                  </a:lnTo>
                  <a:lnTo>
                    <a:pt x="57" y="10"/>
                  </a:lnTo>
                  <a:lnTo>
                    <a:pt x="59" y="10"/>
                  </a:lnTo>
                  <a:lnTo>
                    <a:pt x="57" y="10"/>
                  </a:lnTo>
                  <a:lnTo>
                    <a:pt x="57" y="12"/>
                  </a:lnTo>
                  <a:lnTo>
                    <a:pt x="54" y="12"/>
                  </a:lnTo>
                  <a:lnTo>
                    <a:pt x="52" y="12"/>
                  </a:lnTo>
                  <a:lnTo>
                    <a:pt x="52" y="15"/>
                  </a:lnTo>
                  <a:lnTo>
                    <a:pt x="52" y="12"/>
                  </a:lnTo>
                  <a:lnTo>
                    <a:pt x="52" y="15"/>
                  </a:lnTo>
                  <a:lnTo>
                    <a:pt x="52" y="12"/>
                  </a:lnTo>
                  <a:lnTo>
                    <a:pt x="50" y="15"/>
                  </a:lnTo>
                  <a:lnTo>
                    <a:pt x="50" y="12"/>
                  </a:lnTo>
                  <a:lnTo>
                    <a:pt x="47" y="12"/>
                  </a:lnTo>
                  <a:lnTo>
                    <a:pt x="45" y="10"/>
                  </a:lnTo>
                  <a:lnTo>
                    <a:pt x="47" y="10"/>
                  </a:lnTo>
                  <a:lnTo>
                    <a:pt x="50" y="10"/>
                  </a:lnTo>
                  <a:lnTo>
                    <a:pt x="50" y="7"/>
                  </a:lnTo>
                  <a:lnTo>
                    <a:pt x="47" y="7"/>
                  </a:lnTo>
                  <a:lnTo>
                    <a:pt x="47" y="5"/>
                  </a:lnTo>
                  <a:lnTo>
                    <a:pt x="50" y="5"/>
                  </a:lnTo>
                  <a:lnTo>
                    <a:pt x="50" y="7"/>
                  </a:lnTo>
                  <a:lnTo>
                    <a:pt x="52" y="7"/>
                  </a:lnTo>
                  <a:lnTo>
                    <a:pt x="50" y="7"/>
                  </a:lnTo>
                  <a:lnTo>
                    <a:pt x="50" y="5"/>
                  </a:lnTo>
                  <a:lnTo>
                    <a:pt x="52" y="5"/>
                  </a:lnTo>
                  <a:lnTo>
                    <a:pt x="54" y="5"/>
                  </a:lnTo>
                  <a:lnTo>
                    <a:pt x="54" y="7"/>
                  </a:lnTo>
                  <a:lnTo>
                    <a:pt x="57" y="7"/>
                  </a:lnTo>
                  <a:lnTo>
                    <a:pt x="57" y="5"/>
                  </a:lnTo>
                  <a:lnTo>
                    <a:pt x="54" y="5"/>
                  </a:lnTo>
                  <a:lnTo>
                    <a:pt x="52" y="5"/>
                  </a:lnTo>
                  <a:lnTo>
                    <a:pt x="52" y="3"/>
                  </a:lnTo>
                  <a:lnTo>
                    <a:pt x="54" y="3"/>
                  </a:lnTo>
                  <a:lnTo>
                    <a:pt x="57" y="5"/>
                  </a:lnTo>
                  <a:lnTo>
                    <a:pt x="59" y="5"/>
                  </a:lnTo>
                  <a:lnTo>
                    <a:pt x="61" y="7"/>
                  </a:lnTo>
                  <a:lnTo>
                    <a:pt x="64" y="7"/>
                  </a:lnTo>
                  <a:lnTo>
                    <a:pt x="64" y="5"/>
                  </a:lnTo>
                  <a:lnTo>
                    <a:pt x="64" y="3"/>
                  </a:lnTo>
                  <a:lnTo>
                    <a:pt x="66" y="3"/>
                  </a:lnTo>
                  <a:lnTo>
                    <a:pt x="66" y="5"/>
                  </a:lnTo>
                  <a:lnTo>
                    <a:pt x="69" y="5"/>
                  </a:lnTo>
                  <a:lnTo>
                    <a:pt x="69" y="7"/>
                  </a:lnTo>
                  <a:lnTo>
                    <a:pt x="69" y="5"/>
                  </a:lnTo>
                  <a:lnTo>
                    <a:pt x="69" y="3"/>
                  </a:lnTo>
                  <a:lnTo>
                    <a:pt x="71" y="5"/>
                  </a:lnTo>
                  <a:lnTo>
                    <a:pt x="71" y="7"/>
                  </a:lnTo>
                  <a:lnTo>
                    <a:pt x="73" y="7"/>
                  </a:lnTo>
                  <a:lnTo>
                    <a:pt x="73" y="10"/>
                  </a:lnTo>
                  <a:lnTo>
                    <a:pt x="76" y="10"/>
                  </a:lnTo>
                  <a:lnTo>
                    <a:pt x="76" y="12"/>
                  </a:lnTo>
                  <a:lnTo>
                    <a:pt x="78" y="10"/>
                  </a:lnTo>
                  <a:lnTo>
                    <a:pt x="78" y="12"/>
                  </a:lnTo>
                  <a:lnTo>
                    <a:pt x="76" y="12"/>
                  </a:lnTo>
                  <a:lnTo>
                    <a:pt x="78" y="12"/>
                  </a:lnTo>
                  <a:lnTo>
                    <a:pt x="78" y="15"/>
                  </a:lnTo>
                  <a:lnTo>
                    <a:pt x="76" y="15"/>
                  </a:lnTo>
                  <a:lnTo>
                    <a:pt x="78" y="15"/>
                  </a:lnTo>
                  <a:lnTo>
                    <a:pt x="80" y="15"/>
                  </a:lnTo>
                  <a:lnTo>
                    <a:pt x="78" y="17"/>
                  </a:lnTo>
                  <a:lnTo>
                    <a:pt x="80" y="17"/>
                  </a:lnTo>
                  <a:lnTo>
                    <a:pt x="80" y="15"/>
                  </a:lnTo>
                  <a:lnTo>
                    <a:pt x="83" y="15"/>
                  </a:lnTo>
                  <a:lnTo>
                    <a:pt x="80" y="15"/>
                  </a:lnTo>
                  <a:lnTo>
                    <a:pt x="83" y="17"/>
                  </a:lnTo>
                  <a:lnTo>
                    <a:pt x="83" y="15"/>
                  </a:lnTo>
                  <a:lnTo>
                    <a:pt x="85" y="15"/>
                  </a:lnTo>
                  <a:lnTo>
                    <a:pt x="85" y="17"/>
                  </a:lnTo>
                  <a:lnTo>
                    <a:pt x="88" y="17"/>
                  </a:lnTo>
                  <a:lnTo>
                    <a:pt x="85" y="17"/>
                  </a:lnTo>
                  <a:lnTo>
                    <a:pt x="85" y="19"/>
                  </a:lnTo>
                  <a:lnTo>
                    <a:pt x="88" y="17"/>
                  </a:lnTo>
                  <a:lnTo>
                    <a:pt x="88" y="19"/>
                  </a:lnTo>
                  <a:lnTo>
                    <a:pt x="90" y="19"/>
                  </a:lnTo>
                  <a:lnTo>
                    <a:pt x="92" y="19"/>
                  </a:lnTo>
                  <a:lnTo>
                    <a:pt x="92" y="22"/>
                  </a:lnTo>
                  <a:lnTo>
                    <a:pt x="95" y="22"/>
                  </a:lnTo>
                  <a:lnTo>
                    <a:pt x="92" y="22"/>
                  </a:lnTo>
                  <a:lnTo>
                    <a:pt x="92" y="24"/>
                  </a:lnTo>
                  <a:lnTo>
                    <a:pt x="95" y="24"/>
                  </a:lnTo>
                  <a:lnTo>
                    <a:pt x="92" y="24"/>
                  </a:lnTo>
                  <a:lnTo>
                    <a:pt x="92" y="26"/>
                  </a:lnTo>
                  <a:lnTo>
                    <a:pt x="95" y="26"/>
                  </a:lnTo>
                  <a:lnTo>
                    <a:pt x="97" y="26"/>
                  </a:lnTo>
                  <a:lnTo>
                    <a:pt x="97" y="29"/>
                  </a:lnTo>
                  <a:lnTo>
                    <a:pt x="95" y="29"/>
                  </a:lnTo>
                  <a:lnTo>
                    <a:pt x="97" y="29"/>
                  </a:lnTo>
                  <a:lnTo>
                    <a:pt x="97" y="26"/>
                  </a:lnTo>
                  <a:lnTo>
                    <a:pt x="99" y="26"/>
                  </a:lnTo>
                  <a:lnTo>
                    <a:pt x="102" y="26"/>
                  </a:lnTo>
                  <a:lnTo>
                    <a:pt x="102" y="29"/>
                  </a:lnTo>
                  <a:lnTo>
                    <a:pt x="99" y="29"/>
                  </a:lnTo>
                  <a:lnTo>
                    <a:pt x="99" y="26"/>
                  </a:lnTo>
                  <a:lnTo>
                    <a:pt x="99" y="29"/>
                  </a:lnTo>
                  <a:lnTo>
                    <a:pt x="102" y="29"/>
                  </a:lnTo>
                  <a:lnTo>
                    <a:pt x="104" y="29"/>
                  </a:lnTo>
                  <a:lnTo>
                    <a:pt x="107" y="29"/>
                  </a:lnTo>
                  <a:lnTo>
                    <a:pt x="107" y="31"/>
                  </a:lnTo>
                  <a:lnTo>
                    <a:pt x="104" y="31"/>
                  </a:lnTo>
                  <a:lnTo>
                    <a:pt x="102" y="31"/>
                  </a:lnTo>
                  <a:lnTo>
                    <a:pt x="99" y="31"/>
                  </a:lnTo>
                  <a:lnTo>
                    <a:pt x="97" y="34"/>
                  </a:lnTo>
                  <a:lnTo>
                    <a:pt x="99" y="34"/>
                  </a:lnTo>
                  <a:lnTo>
                    <a:pt x="102" y="34"/>
                  </a:lnTo>
                  <a:lnTo>
                    <a:pt x="104" y="31"/>
                  </a:lnTo>
                  <a:lnTo>
                    <a:pt x="104" y="34"/>
                  </a:lnTo>
                  <a:lnTo>
                    <a:pt x="102" y="34"/>
                  </a:lnTo>
                  <a:lnTo>
                    <a:pt x="104" y="34"/>
                  </a:lnTo>
                  <a:lnTo>
                    <a:pt x="107" y="34"/>
                  </a:lnTo>
                  <a:lnTo>
                    <a:pt x="109" y="34"/>
                  </a:lnTo>
                  <a:lnTo>
                    <a:pt x="109" y="36"/>
                  </a:lnTo>
                  <a:lnTo>
                    <a:pt x="107" y="38"/>
                  </a:lnTo>
                  <a:lnTo>
                    <a:pt x="109" y="38"/>
                  </a:lnTo>
                  <a:lnTo>
                    <a:pt x="107" y="38"/>
                  </a:lnTo>
                  <a:lnTo>
                    <a:pt x="109" y="41"/>
                  </a:lnTo>
                  <a:lnTo>
                    <a:pt x="107" y="41"/>
                  </a:lnTo>
                  <a:lnTo>
                    <a:pt x="104" y="43"/>
                  </a:lnTo>
                  <a:lnTo>
                    <a:pt x="102" y="43"/>
                  </a:lnTo>
                  <a:lnTo>
                    <a:pt x="104" y="43"/>
                  </a:lnTo>
                  <a:lnTo>
                    <a:pt x="104" y="46"/>
                  </a:lnTo>
                  <a:lnTo>
                    <a:pt x="107" y="46"/>
                  </a:lnTo>
                  <a:lnTo>
                    <a:pt x="104" y="46"/>
                  </a:lnTo>
                  <a:lnTo>
                    <a:pt x="104" y="48"/>
                  </a:lnTo>
                  <a:lnTo>
                    <a:pt x="102" y="48"/>
                  </a:lnTo>
                  <a:lnTo>
                    <a:pt x="104" y="48"/>
                  </a:lnTo>
                  <a:lnTo>
                    <a:pt x="102" y="48"/>
                  </a:lnTo>
                  <a:lnTo>
                    <a:pt x="99" y="48"/>
                  </a:lnTo>
                  <a:lnTo>
                    <a:pt x="97" y="48"/>
                  </a:lnTo>
                  <a:lnTo>
                    <a:pt x="97" y="46"/>
                  </a:lnTo>
                  <a:lnTo>
                    <a:pt x="95" y="46"/>
                  </a:lnTo>
                  <a:lnTo>
                    <a:pt x="95" y="43"/>
                  </a:lnTo>
                  <a:lnTo>
                    <a:pt x="92" y="43"/>
                  </a:lnTo>
                  <a:lnTo>
                    <a:pt x="95" y="46"/>
                  </a:lnTo>
                  <a:lnTo>
                    <a:pt x="95" y="48"/>
                  </a:lnTo>
                  <a:lnTo>
                    <a:pt x="95" y="50"/>
                  </a:lnTo>
                  <a:lnTo>
                    <a:pt x="97" y="50"/>
                  </a:lnTo>
                  <a:lnTo>
                    <a:pt x="99" y="50"/>
                  </a:lnTo>
                  <a:lnTo>
                    <a:pt x="102" y="50"/>
                  </a:lnTo>
                  <a:lnTo>
                    <a:pt x="104" y="50"/>
                  </a:lnTo>
                  <a:lnTo>
                    <a:pt x="104" y="53"/>
                  </a:lnTo>
                  <a:lnTo>
                    <a:pt x="102" y="53"/>
                  </a:lnTo>
                  <a:lnTo>
                    <a:pt x="102" y="55"/>
                  </a:lnTo>
                  <a:lnTo>
                    <a:pt x="104" y="55"/>
                  </a:lnTo>
                  <a:lnTo>
                    <a:pt x="104" y="53"/>
                  </a:lnTo>
                  <a:lnTo>
                    <a:pt x="107" y="53"/>
                  </a:lnTo>
                  <a:lnTo>
                    <a:pt x="107" y="55"/>
                  </a:lnTo>
                  <a:lnTo>
                    <a:pt x="107" y="57"/>
                  </a:lnTo>
                  <a:lnTo>
                    <a:pt x="104" y="60"/>
                  </a:lnTo>
                  <a:lnTo>
                    <a:pt x="102" y="60"/>
                  </a:lnTo>
                  <a:lnTo>
                    <a:pt x="102" y="62"/>
                  </a:lnTo>
                  <a:lnTo>
                    <a:pt x="104" y="62"/>
                  </a:lnTo>
                  <a:lnTo>
                    <a:pt x="107" y="60"/>
                  </a:lnTo>
                  <a:lnTo>
                    <a:pt x="109" y="60"/>
                  </a:lnTo>
                  <a:lnTo>
                    <a:pt x="109" y="62"/>
                  </a:lnTo>
                  <a:lnTo>
                    <a:pt x="111" y="62"/>
                  </a:lnTo>
                  <a:lnTo>
                    <a:pt x="109" y="62"/>
                  </a:lnTo>
                  <a:lnTo>
                    <a:pt x="111" y="62"/>
                  </a:lnTo>
                  <a:lnTo>
                    <a:pt x="111" y="65"/>
                  </a:lnTo>
                  <a:lnTo>
                    <a:pt x="111" y="67"/>
                  </a:lnTo>
                  <a:lnTo>
                    <a:pt x="111" y="69"/>
                  </a:lnTo>
                  <a:lnTo>
                    <a:pt x="111" y="72"/>
                  </a:lnTo>
                  <a:lnTo>
                    <a:pt x="114" y="72"/>
                  </a:lnTo>
                  <a:lnTo>
                    <a:pt x="114" y="74"/>
                  </a:lnTo>
                  <a:lnTo>
                    <a:pt x="114" y="76"/>
                  </a:lnTo>
                  <a:lnTo>
                    <a:pt x="114" y="79"/>
                  </a:lnTo>
                  <a:lnTo>
                    <a:pt x="116" y="79"/>
                  </a:lnTo>
                  <a:lnTo>
                    <a:pt x="114" y="79"/>
                  </a:lnTo>
                  <a:lnTo>
                    <a:pt x="116" y="79"/>
                  </a:lnTo>
                  <a:lnTo>
                    <a:pt x="116" y="76"/>
                  </a:lnTo>
                  <a:lnTo>
                    <a:pt x="114" y="74"/>
                  </a:lnTo>
                  <a:lnTo>
                    <a:pt x="114" y="72"/>
                  </a:lnTo>
                  <a:lnTo>
                    <a:pt x="114" y="69"/>
                  </a:lnTo>
                  <a:lnTo>
                    <a:pt x="116" y="69"/>
                  </a:lnTo>
                  <a:lnTo>
                    <a:pt x="116" y="67"/>
                  </a:lnTo>
                  <a:lnTo>
                    <a:pt x="114" y="67"/>
                  </a:lnTo>
                  <a:lnTo>
                    <a:pt x="116" y="67"/>
                  </a:lnTo>
                  <a:lnTo>
                    <a:pt x="114" y="67"/>
                  </a:lnTo>
                  <a:lnTo>
                    <a:pt x="114" y="65"/>
                  </a:lnTo>
                  <a:lnTo>
                    <a:pt x="114" y="62"/>
                  </a:lnTo>
                  <a:lnTo>
                    <a:pt x="116" y="62"/>
                  </a:lnTo>
                  <a:lnTo>
                    <a:pt x="116" y="65"/>
                  </a:lnTo>
                  <a:lnTo>
                    <a:pt x="118" y="65"/>
                  </a:lnTo>
                  <a:lnTo>
                    <a:pt x="118" y="67"/>
                  </a:lnTo>
                  <a:lnTo>
                    <a:pt x="121" y="67"/>
                  </a:lnTo>
                  <a:lnTo>
                    <a:pt x="118" y="65"/>
                  </a:lnTo>
                  <a:lnTo>
                    <a:pt x="118" y="62"/>
                  </a:lnTo>
                  <a:lnTo>
                    <a:pt x="118" y="60"/>
                  </a:lnTo>
                  <a:lnTo>
                    <a:pt x="118" y="57"/>
                  </a:lnTo>
                  <a:lnTo>
                    <a:pt x="118" y="55"/>
                  </a:lnTo>
                  <a:lnTo>
                    <a:pt x="121" y="53"/>
                  </a:lnTo>
                  <a:lnTo>
                    <a:pt x="123" y="53"/>
                  </a:lnTo>
                  <a:lnTo>
                    <a:pt x="123" y="50"/>
                  </a:lnTo>
                  <a:lnTo>
                    <a:pt x="125" y="50"/>
                  </a:lnTo>
                  <a:lnTo>
                    <a:pt x="125" y="48"/>
                  </a:lnTo>
                  <a:lnTo>
                    <a:pt x="128" y="48"/>
                  </a:lnTo>
                  <a:lnTo>
                    <a:pt x="130" y="48"/>
                  </a:lnTo>
                  <a:lnTo>
                    <a:pt x="130" y="50"/>
                  </a:lnTo>
                  <a:lnTo>
                    <a:pt x="130" y="53"/>
                  </a:lnTo>
                  <a:lnTo>
                    <a:pt x="128" y="55"/>
                  </a:lnTo>
                  <a:lnTo>
                    <a:pt x="128" y="57"/>
                  </a:lnTo>
                  <a:lnTo>
                    <a:pt x="130" y="57"/>
                  </a:lnTo>
                  <a:lnTo>
                    <a:pt x="130" y="55"/>
                  </a:lnTo>
                  <a:lnTo>
                    <a:pt x="133" y="55"/>
                  </a:lnTo>
                  <a:lnTo>
                    <a:pt x="130" y="55"/>
                  </a:lnTo>
                  <a:lnTo>
                    <a:pt x="130" y="57"/>
                  </a:lnTo>
                  <a:lnTo>
                    <a:pt x="133" y="57"/>
                  </a:lnTo>
                  <a:lnTo>
                    <a:pt x="133" y="60"/>
                  </a:lnTo>
                  <a:lnTo>
                    <a:pt x="135" y="60"/>
                  </a:lnTo>
                  <a:lnTo>
                    <a:pt x="135" y="57"/>
                  </a:lnTo>
                  <a:lnTo>
                    <a:pt x="137" y="57"/>
                  </a:lnTo>
                  <a:lnTo>
                    <a:pt x="135" y="55"/>
                  </a:lnTo>
                  <a:lnTo>
                    <a:pt x="133" y="55"/>
                  </a:lnTo>
                  <a:lnTo>
                    <a:pt x="135" y="55"/>
                  </a:lnTo>
                  <a:lnTo>
                    <a:pt x="133" y="55"/>
                  </a:lnTo>
                  <a:lnTo>
                    <a:pt x="133" y="53"/>
                  </a:lnTo>
                  <a:lnTo>
                    <a:pt x="133" y="55"/>
                  </a:lnTo>
                  <a:lnTo>
                    <a:pt x="135" y="55"/>
                  </a:lnTo>
                  <a:lnTo>
                    <a:pt x="135" y="53"/>
                  </a:lnTo>
                  <a:lnTo>
                    <a:pt x="133" y="53"/>
                  </a:lnTo>
                  <a:lnTo>
                    <a:pt x="135" y="53"/>
                  </a:lnTo>
                  <a:lnTo>
                    <a:pt x="137" y="53"/>
                  </a:lnTo>
                  <a:lnTo>
                    <a:pt x="137" y="55"/>
                  </a:lnTo>
                  <a:lnTo>
                    <a:pt x="137" y="53"/>
                  </a:lnTo>
                  <a:lnTo>
                    <a:pt x="137" y="55"/>
                  </a:lnTo>
                  <a:lnTo>
                    <a:pt x="137" y="53"/>
                  </a:lnTo>
                  <a:lnTo>
                    <a:pt x="140" y="53"/>
                  </a:lnTo>
                  <a:lnTo>
                    <a:pt x="140" y="50"/>
                  </a:lnTo>
                  <a:lnTo>
                    <a:pt x="140" y="48"/>
                  </a:lnTo>
                  <a:lnTo>
                    <a:pt x="142" y="48"/>
                  </a:lnTo>
                  <a:lnTo>
                    <a:pt x="142" y="46"/>
                  </a:lnTo>
                  <a:lnTo>
                    <a:pt x="142" y="43"/>
                  </a:lnTo>
                  <a:lnTo>
                    <a:pt x="140" y="43"/>
                  </a:lnTo>
                  <a:lnTo>
                    <a:pt x="142" y="43"/>
                  </a:lnTo>
                  <a:lnTo>
                    <a:pt x="140" y="43"/>
                  </a:lnTo>
                  <a:lnTo>
                    <a:pt x="142" y="43"/>
                  </a:lnTo>
                  <a:lnTo>
                    <a:pt x="140" y="43"/>
                  </a:lnTo>
                  <a:lnTo>
                    <a:pt x="140" y="41"/>
                  </a:lnTo>
                  <a:lnTo>
                    <a:pt x="140" y="38"/>
                  </a:lnTo>
                  <a:lnTo>
                    <a:pt x="140" y="36"/>
                  </a:lnTo>
                  <a:lnTo>
                    <a:pt x="137" y="36"/>
                  </a:lnTo>
                  <a:lnTo>
                    <a:pt x="137" y="34"/>
                  </a:lnTo>
                  <a:lnTo>
                    <a:pt x="137" y="31"/>
                  </a:lnTo>
                  <a:lnTo>
                    <a:pt x="137" y="29"/>
                  </a:lnTo>
                  <a:lnTo>
                    <a:pt x="135" y="29"/>
                  </a:lnTo>
                  <a:lnTo>
                    <a:pt x="137" y="29"/>
                  </a:lnTo>
                  <a:lnTo>
                    <a:pt x="137" y="26"/>
                  </a:lnTo>
                  <a:lnTo>
                    <a:pt x="137" y="24"/>
                  </a:lnTo>
                  <a:lnTo>
                    <a:pt x="137" y="26"/>
                  </a:lnTo>
                  <a:lnTo>
                    <a:pt x="137" y="24"/>
                  </a:lnTo>
                  <a:lnTo>
                    <a:pt x="137" y="26"/>
                  </a:lnTo>
                  <a:lnTo>
                    <a:pt x="140" y="26"/>
                  </a:lnTo>
                  <a:lnTo>
                    <a:pt x="137" y="26"/>
                  </a:lnTo>
                  <a:lnTo>
                    <a:pt x="140" y="26"/>
                  </a:lnTo>
                  <a:lnTo>
                    <a:pt x="140" y="24"/>
                  </a:lnTo>
                  <a:lnTo>
                    <a:pt x="142" y="24"/>
                  </a:lnTo>
                  <a:lnTo>
                    <a:pt x="144" y="24"/>
                  </a:lnTo>
                  <a:lnTo>
                    <a:pt x="147" y="24"/>
                  </a:lnTo>
                  <a:lnTo>
                    <a:pt x="147" y="26"/>
                  </a:lnTo>
                  <a:lnTo>
                    <a:pt x="149" y="26"/>
                  </a:lnTo>
                  <a:lnTo>
                    <a:pt x="149" y="29"/>
                  </a:lnTo>
                  <a:lnTo>
                    <a:pt x="152" y="29"/>
                  </a:lnTo>
                  <a:lnTo>
                    <a:pt x="152" y="31"/>
                  </a:lnTo>
                  <a:lnTo>
                    <a:pt x="154" y="31"/>
                  </a:lnTo>
                  <a:lnTo>
                    <a:pt x="152" y="31"/>
                  </a:lnTo>
                  <a:lnTo>
                    <a:pt x="152" y="34"/>
                  </a:lnTo>
                  <a:lnTo>
                    <a:pt x="154" y="34"/>
                  </a:lnTo>
                  <a:lnTo>
                    <a:pt x="154" y="36"/>
                  </a:lnTo>
                  <a:lnTo>
                    <a:pt x="156" y="36"/>
                  </a:lnTo>
                  <a:lnTo>
                    <a:pt x="159" y="36"/>
                  </a:lnTo>
                  <a:lnTo>
                    <a:pt x="159" y="38"/>
                  </a:lnTo>
                  <a:lnTo>
                    <a:pt x="161" y="38"/>
                  </a:lnTo>
                  <a:lnTo>
                    <a:pt x="161" y="41"/>
                  </a:lnTo>
                  <a:lnTo>
                    <a:pt x="161" y="43"/>
                  </a:lnTo>
                  <a:lnTo>
                    <a:pt x="161" y="46"/>
                  </a:lnTo>
                  <a:lnTo>
                    <a:pt x="163" y="46"/>
                  </a:lnTo>
                  <a:lnTo>
                    <a:pt x="166" y="46"/>
                  </a:lnTo>
                  <a:lnTo>
                    <a:pt x="166" y="43"/>
                  </a:lnTo>
                  <a:lnTo>
                    <a:pt x="166" y="46"/>
                  </a:lnTo>
                  <a:lnTo>
                    <a:pt x="168" y="46"/>
                  </a:lnTo>
                  <a:lnTo>
                    <a:pt x="171" y="46"/>
                  </a:lnTo>
                  <a:lnTo>
                    <a:pt x="171" y="43"/>
                  </a:lnTo>
                  <a:lnTo>
                    <a:pt x="171" y="41"/>
                  </a:lnTo>
                  <a:lnTo>
                    <a:pt x="171" y="38"/>
                  </a:lnTo>
                  <a:lnTo>
                    <a:pt x="171" y="36"/>
                  </a:lnTo>
                  <a:lnTo>
                    <a:pt x="168" y="36"/>
                  </a:lnTo>
                  <a:lnTo>
                    <a:pt x="168" y="34"/>
                  </a:lnTo>
                  <a:lnTo>
                    <a:pt x="171" y="34"/>
                  </a:lnTo>
                  <a:lnTo>
                    <a:pt x="171" y="31"/>
                  </a:lnTo>
                  <a:lnTo>
                    <a:pt x="168" y="31"/>
                  </a:lnTo>
                  <a:lnTo>
                    <a:pt x="171" y="31"/>
                  </a:lnTo>
                  <a:lnTo>
                    <a:pt x="171" y="29"/>
                  </a:lnTo>
                  <a:lnTo>
                    <a:pt x="168" y="29"/>
                  </a:lnTo>
                  <a:lnTo>
                    <a:pt x="168" y="26"/>
                  </a:lnTo>
                  <a:lnTo>
                    <a:pt x="171" y="26"/>
                  </a:lnTo>
                  <a:lnTo>
                    <a:pt x="173" y="26"/>
                  </a:lnTo>
                  <a:lnTo>
                    <a:pt x="175" y="26"/>
                  </a:lnTo>
                  <a:lnTo>
                    <a:pt x="178" y="26"/>
                  </a:lnTo>
                  <a:lnTo>
                    <a:pt x="180" y="26"/>
                  </a:lnTo>
                  <a:lnTo>
                    <a:pt x="178" y="26"/>
                  </a:lnTo>
                  <a:lnTo>
                    <a:pt x="180" y="26"/>
                  </a:lnTo>
                  <a:lnTo>
                    <a:pt x="180" y="24"/>
                  </a:lnTo>
                  <a:lnTo>
                    <a:pt x="180" y="22"/>
                  </a:lnTo>
                  <a:lnTo>
                    <a:pt x="182" y="22"/>
                  </a:lnTo>
                  <a:lnTo>
                    <a:pt x="182" y="19"/>
                  </a:lnTo>
                  <a:lnTo>
                    <a:pt x="185" y="19"/>
                  </a:lnTo>
                  <a:lnTo>
                    <a:pt x="187" y="19"/>
                  </a:lnTo>
                  <a:lnTo>
                    <a:pt x="187" y="22"/>
                  </a:lnTo>
                  <a:lnTo>
                    <a:pt x="185" y="22"/>
                  </a:lnTo>
                  <a:lnTo>
                    <a:pt x="187" y="22"/>
                  </a:lnTo>
                  <a:lnTo>
                    <a:pt x="187" y="19"/>
                  </a:lnTo>
                  <a:lnTo>
                    <a:pt x="190" y="19"/>
                  </a:lnTo>
                  <a:lnTo>
                    <a:pt x="187" y="19"/>
                  </a:lnTo>
                  <a:lnTo>
                    <a:pt x="190" y="19"/>
                  </a:lnTo>
                  <a:lnTo>
                    <a:pt x="192" y="19"/>
                  </a:lnTo>
                  <a:lnTo>
                    <a:pt x="192" y="22"/>
                  </a:lnTo>
                  <a:lnTo>
                    <a:pt x="190" y="22"/>
                  </a:lnTo>
                  <a:lnTo>
                    <a:pt x="192" y="22"/>
                  </a:lnTo>
                  <a:lnTo>
                    <a:pt x="194" y="22"/>
                  </a:lnTo>
                  <a:lnTo>
                    <a:pt x="197" y="24"/>
                  </a:lnTo>
                  <a:lnTo>
                    <a:pt x="194" y="24"/>
                  </a:lnTo>
                  <a:lnTo>
                    <a:pt x="194" y="26"/>
                  </a:lnTo>
                  <a:lnTo>
                    <a:pt x="192" y="29"/>
                  </a:lnTo>
                  <a:lnTo>
                    <a:pt x="194" y="29"/>
                  </a:lnTo>
                  <a:lnTo>
                    <a:pt x="194" y="26"/>
                  </a:lnTo>
                  <a:lnTo>
                    <a:pt x="197" y="26"/>
                  </a:lnTo>
                  <a:lnTo>
                    <a:pt x="197" y="24"/>
                  </a:lnTo>
                  <a:lnTo>
                    <a:pt x="199" y="26"/>
                  </a:lnTo>
                  <a:lnTo>
                    <a:pt x="199" y="29"/>
                  </a:lnTo>
                  <a:lnTo>
                    <a:pt x="199" y="31"/>
                  </a:lnTo>
                  <a:lnTo>
                    <a:pt x="199" y="34"/>
                  </a:lnTo>
                  <a:lnTo>
                    <a:pt x="201" y="31"/>
                  </a:lnTo>
                  <a:lnTo>
                    <a:pt x="201" y="34"/>
                  </a:lnTo>
                  <a:lnTo>
                    <a:pt x="204" y="34"/>
                  </a:lnTo>
                  <a:lnTo>
                    <a:pt x="206" y="34"/>
                  </a:lnTo>
                  <a:lnTo>
                    <a:pt x="206" y="36"/>
                  </a:lnTo>
                  <a:lnTo>
                    <a:pt x="209" y="36"/>
                  </a:lnTo>
                  <a:lnTo>
                    <a:pt x="209" y="38"/>
                  </a:lnTo>
                  <a:lnTo>
                    <a:pt x="211" y="38"/>
                  </a:lnTo>
                  <a:lnTo>
                    <a:pt x="211" y="41"/>
                  </a:lnTo>
                  <a:lnTo>
                    <a:pt x="211" y="43"/>
                  </a:lnTo>
                  <a:lnTo>
                    <a:pt x="211" y="46"/>
                  </a:lnTo>
                  <a:lnTo>
                    <a:pt x="213" y="48"/>
                  </a:lnTo>
                  <a:lnTo>
                    <a:pt x="213" y="50"/>
                  </a:lnTo>
                  <a:lnTo>
                    <a:pt x="216" y="50"/>
                  </a:lnTo>
                  <a:lnTo>
                    <a:pt x="216" y="48"/>
                  </a:lnTo>
                  <a:lnTo>
                    <a:pt x="213" y="46"/>
                  </a:lnTo>
                  <a:lnTo>
                    <a:pt x="213" y="43"/>
                  </a:lnTo>
                  <a:lnTo>
                    <a:pt x="213" y="41"/>
                  </a:lnTo>
                  <a:lnTo>
                    <a:pt x="213" y="38"/>
                  </a:lnTo>
                  <a:lnTo>
                    <a:pt x="213" y="36"/>
                  </a:lnTo>
                  <a:lnTo>
                    <a:pt x="211" y="36"/>
                  </a:lnTo>
                  <a:lnTo>
                    <a:pt x="209" y="36"/>
                  </a:lnTo>
                  <a:lnTo>
                    <a:pt x="209" y="34"/>
                  </a:lnTo>
                  <a:lnTo>
                    <a:pt x="211" y="34"/>
                  </a:lnTo>
                  <a:lnTo>
                    <a:pt x="209" y="31"/>
                  </a:lnTo>
                  <a:lnTo>
                    <a:pt x="209" y="29"/>
                  </a:lnTo>
                  <a:lnTo>
                    <a:pt x="206" y="29"/>
                  </a:lnTo>
                  <a:lnTo>
                    <a:pt x="206" y="26"/>
                  </a:lnTo>
                  <a:lnTo>
                    <a:pt x="206" y="24"/>
                  </a:lnTo>
                  <a:lnTo>
                    <a:pt x="206" y="22"/>
                  </a:lnTo>
                  <a:lnTo>
                    <a:pt x="209" y="19"/>
                  </a:lnTo>
                  <a:lnTo>
                    <a:pt x="209" y="22"/>
                  </a:lnTo>
                  <a:lnTo>
                    <a:pt x="211" y="22"/>
                  </a:lnTo>
                  <a:lnTo>
                    <a:pt x="213" y="22"/>
                  </a:lnTo>
                  <a:lnTo>
                    <a:pt x="216" y="22"/>
                  </a:lnTo>
                  <a:lnTo>
                    <a:pt x="218" y="22"/>
                  </a:lnTo>
                  <a:lnTo>
                    <a:pt x="220" y="22"/>
                  </a:lnTo>
                  <a:lnTo>
                    <a:pt x="220" y="24"/>
                  </a:lnTo>
                  <a:lnTo>
                    <a:pt x="223" y="24"/>
                  </a:lnTo>
                  <a:lnTo>
                    <a:pt x="223" y="26"/>
                  </a:lnTo>
                  <a:lnTo>
                    <a:pt x="225" y="26"/>
                  </a:lnTo>
                  <a:lnTo>
                    <a:pt x="225" y="29"/>
                  </a:lnTo>
                  <a:lnTo>
                    <a:pt x="228" y="29"/>
                  </a:lnTo>
                  <a:lnTo>
                    <a:pt x="228" y="31"/>
                  </a:lnTo>
                  <a:lnTo>
                    <a:pt x="230" y="31"/>
                  </a:lnTo>
                  <a:lnTo>
                    <a:pt x="230" y="34"/>
                  </a:lnTo>
                  <a:lnTo>
                    <a:pt x="230" y="31"/>
                  </a:lnTo>
                  <a:lnTo>
                    <a:pt x="232" y="31"/>
                  </a:lnTo>
                  <a:lnTo>
                    <a:pt x="235" y="31"/>
                  </a:lnTo>
                  <a:lnTo>
                    <a:pt x="237" y="31"/>
                  </a:lnTo>
                  <a:lnTo>
                    <a:pt x="237" y="29"/>
                  </a:lnTo>
                  <a:lnTo>
                    <a:pt x="237" y="26"/>
                  </a:lnTo>
                  <a:lnTo>
                    <a:pt x="237" y="29"/>
                  </a:lnTo>
                  <a:lnTo>
                    <a:pt x="237" y="26"/>
                  </a:lnTo>
                  <a:lnTo>
                    <a:pt x="237" y="24"/>
                  </a:lnTo>
                  <a:lnTo>
                    <a:pt x="239" y="24"/>
                  </a:lnTo>
                  <a:lnTo>
                    <a:pt x="242" y="24"/>
                  </a:lnTo>
                  <a:lnTo>
                    <a:pt x="239" y="24"/>
                  </a:lnTo>
                  <a:lnTo>
                    <a:pt x="242" y="22"/>
                  </a:lnTo>
                  <a:lnTo>
                    <a:pt x="239" y="22"/>
                  </a:lnTo>
                  <a:lnTo>
                    <a:pt x="242" y="22"/>
                  </a:lnTo>
                  <a:lnTo>
                    <a:pt x="242" y="19"/>
                  </a:lnTo>
                  <a:lnTo>
                    <a:pt x="244" y="19"/>
                  </a:lnTo>
                  <a:lnTo>
                    <a:pt x="247" y="19"/>
                  </a:lnTo>
                  <a:lnTo>
                    <a:pt x="249" y="19"/>
                  </a:lnTo>
                  <a:lnTo>
                    <a:pt x="249" y="22"/>
                  </a:lnTo>
                  <a:lnTo>
                    <a:pt x="251" y="22"/>
                  </a:lnTo>
                  <a:lnTo>
                    <a:pt x="251" y="24"/>
                  </a:lnTo>
                  <a:lnTo>
                    <a:pt x="254" y="24"/>
                  </a:lnTo>
                  <a:lnTo>
                    <a:pt x="256" y="22"/>
                  </a:lnTo>
                  <a:lnTo>
                    <a:pt x="256" y="24"/>
                  </a:lnTo>
                  <a:lnTo>
                    <a:pt x="258" y="24"/>
                  </a:lnTo>
                  <a:lnTo>
                    <a:pt x="258" y="22"/>
                  </a:lnTo>
                  <a:lnTo>
                    <a:pt x="261" y="24"/>
                  </a:lnTo>
                  <a:lnTo>
                    <a:pt x="261" y="26"/>
                  </a:lnTo>
                  <a:lnTo>
                    <a:pt x="263" y="26"/>
                  </a:lnTo>
                  <a:lnTo>
                    <a:pt x="263" y="24"/>
                  </a:lnTo>
                  <a:lnTo>
                    <a:pt x="261" y="24"/>
                  </a:lnTo>
                  <a:lnTo>
                    <a:pt x="261" y="22"/>
                  </a:lnTo>
                  <a:lnTo>
                    <a:pt x="263" y="22"/>
                  </a:lnTo>
                  <a:lnTo>
                    <a:pt x="263" y="19"/>
                  </a:lnTo>
                  <a:lnTo>
                    <a:pt x="265" y="19"/>
                  </a:lnTo>
                  <a:lnTo>
                    <a:pt x="268" y="17"/>
                  </a:lnTo>
                  <a:lnTo>
                    <a:pt x="268" y="15"/>
                  </a:lnTo>
                  <a:lnTo>
                    <a:pt x="268" y="12"/>
                  </a:lnTo>
                  <a:lnTo>
                    <a:pt x="265" y="12"/>
                  </a:lnTo>
                  <a:lnTo>
                    <a:pt x="268" y="12"/>
                  </a:lnTo>
                  <a:lnTo>
                    <a:pt x="265" y="12"/>
                  </a:lnTo>
                  <a:lnTo>
                    <a:pt x="265" y="10"/>
                  </a:lnTo>
                  <a:lnTo>
                    <a:pt x="265" y="7"/>
                  </a:lnTo>
                  <a:lnTo>
                    <a:pt x="265" y="5"/>
                  </a:lnTo>
                  <a:lnTo>
                    <a:pt x="263" y="5"/>
                  </a:lnTo>
                  <a:lnTo>
                    <a:pt x="265" y="5"/>
                  </a:lnTo>
                  <a:lnTo>
                    <a:pt x="263" y="3"/>
                  </a:lnTo>
                  <a:lnTo>
                    <a:pt x="263" y="0"/>
                  </a:lnTo>
                  <a:lnTo>
                    <a:pt x="265" y="3"/>
                  </a:lnTo>
                  <a:lnTo>
                    <a:pt x="265" y="0"/>
                  </a:lnTo>
                  <a:lnTo>
                    <a:pt x="268" y="0"/>
                  </a:lnTo>
                  <a:lnTo>
                    <a:pt x="268" y="3"/>
                  </a:lnTo>
                  <a:lnTo>
                    <a:pt x="268" y="0"/>
                  </a:lnTo>
                  <a:lnTo>
                    <a:pt x="270" y="0"/>
                  </a:lnTo>
                  <a:lnTo>
                    <a:pt x="270" y="3"/>
                  </a:lnTo>
                  <a:lnTo>
                    <a:pt x="273" y="3"/>
                  </a:lnTo>
                  <a:lnTo>
                    <a:pt x="275" y="3"/>
                  </a:lnTo>
                  <a:lnTo>
                    <a:pt x="273" y="3"/>
                  </a:lnTo>
                  <a:lnTo>
                    <a:pt x="275" y="3"/>
                  </a:lnTo>
                  <a:lnTo>
                    <a:pt x="275" y="0"/>
                  </a:lnTo>
                  <a:lnTo>
                    <a:pt x="273" y="0"/>
                  </a:lnTo>
                  <a:lnTo>
                    <a:pt x="275" y="0"/>
                  </a:lnTo>
                  <a:lnTo>
                    <a:pt x="275" y="3"/>
                  </a:lnTo>
                  <a:lnTo>
                    <a:pt x="275" y="0"/>
                  </a:lnTo>
                  <a:lnTo>
                    <a:pt x="277" y="0"/>
                  </a:lnTo>
                  <a:lnTo>
                    <a:pt x="280" y="0"/>
                  </a:lnTo>
                  <a:lnTo>
                    <a:pt x="282" y="0"/>
                  </a:lnTo>
                  <a:lnTo>
                    <a:pt x="280" y="0"/>
                  </a:lnTo>
                  <a:lnTo>
                    <a:pt x="280" y="3"/>
                  </a:lnTo>
                  <a:lnTo>
                    <a:pt x="282" y="3"/>
                  </a:lnTo>
                  <a:lnTo>
                    <a:pt x="282" y="0"/>
                  </a:lnTo>
                  <a:lnTo>
                    <a:pt x="284" y="0"/>
                  </a:lnTo>
                  <a:lnTo>
                    <a:pt x="284" y="3"/>
                  </a:lnTo>
                  <a:lnTo>
                    <a:pt x="282" y="3"/>
                  </a:lnTo>
                  <a:lnTo>
                    <a:pt x="284" y="3"/>
                  </a:lnTo>
                  <a:lnTo>
                    <a:pt x="287" y="3"/>
                  </a:lnTo>
                  <a:lnTo>
                    <a:pt x="284" y="3"/>
                  </a:lnTo>
                  <a:lnTo>
                    <a:pt x="284" y="5"/>
                  </a:lnTo>
                  <a:lnTo>
                    <a:pt x="284" y="7"/>
                  </a:lnTo>
                  <a:lnTo>
                    <a:pt x="284" y="5"/>
                  </a:lnTo>
                  <a:lnTo>
                    <a:pt x="287" y="5"/>
                  </a:lnTo>
                  <a:lnTo>
                    <a:pt x="287" y="7"/>
                  </a:lnTo>
                  <a:lnTo>
                    <a:pt x="287" y="5"/>
                  </a:lnTo>
                  <a:lnTo>
                    <a:pt x="287" y="7"/>
                  </a:lnTo>
                  <a:lnTo>
                    <a:pt x="289" y="7"/>
                  </a:lnTo>
                  <a:lnTo>
                    <a:pt x="292" y="7"/>
                  </a:lnTo>
                  <a:lnTo>
                    <a:pt x="292" y="10"/>
                  </a:lnTo>
                  <a:lnTo>
                    <a:pt x="294" y="10"/>
                  </a:lnTo>
                  <a:lnTo>
                    <a:pt x="292" y="12"/>
                  </a:lnTo>
                  <a:lnTo>
                    <a:pt x="292" y="15"/>
                  </a:lnTo>
                  <a:lnTo>
                    <a:pt x="289" y="15"/>
                  </a:lnTo>
                  <a:lnTo>
                    <a:pt x="292" y="15"/>
                  </a:lnTo>
                  <a:lnTo>
                    <a:pt x="292" y="17"/>
                  </a:lnTo>
                  <a:lnTo>
                    <a:pt x="294" y="17"/>
                  </a:lnTo>
                  <a:lnTo>
                    <a:pt x="296" y="17"/>
                  </a:lnTo>
                  <a:lnTo>
                    <a:pt x="296" y="19"/>
                  </a:lnTo>
                  <a:lnTo>
                    <a:pt x="299" y="17"/>
                  </a:lnTo>
                  <a:lnTo>
                    <a:pt x="299" y="19"/>
                  </a:lnTo>
                  <a:lnTo>
                    <a:pt x="301" y="19"/>
                  </a:lnTo>
                  <a:lnTo>
                    <a:pt x="301" y="22"/>
                  </a:lnTo>
                  <a:lnTo>
                    <a:pt x="303" y="22"/>
                  </a:lnTo>
                  <a:lnTo>
                    <a:pt x="301" y="22"/>
                  </a:lnTo>
                  <a:lnTo>
                    <a:pt x="303" y="22"/>
                  </a:lnTo>
                  <a:lnTo>
                    <a:pt x="303" y="19"/>
                  </a:lnTo>
                  <a:lnTo>
                    <a:pt x="303" y="17"/>
                  </a:lnTo>
                  <a:lnTo>
                    <a:pt x="303" y="15"/>
                  </a:lnTo>
                  <a:lnTo>
                    <a:pt x="306" y="15"/>
                  </a:lnTo>
                  <a:lnTo>
                    <a:pt x="306" y="17"/>
                  </a:lnTo>
                  <a:lnTo>
                    <a:pt x="308" y="17"/>
                  </a:lnTo>
                  <a:lnTo>
                    <a:pt x="311" y="15"/>
                  </a:lnTo>
                  <a:lnTo>
                    <a:pt x="313" y="15"/>
                  </a:lnTo>
                  <a:lnTo>
                    <a:pt x="311" y="15"/>
                  </a:lnTo>
                  <a:lnTo>
                    <a:pt x="313" y="15"/>
                  </a:lnTo>
                  <a:lnTo>
                    <a:pt x="313" y="12"/>
                  </a:lnTo>
                  <a:lnTo>
                    <a:pt x="315" y="12"/>
                  </a:lnTo>
                  <a:lnTo>
                    <a:pt x="315" y="10"/>
                  </a:lnTo>
                  <a:lnTo>
                    <a:pt x="318" y="10"/>
                  </a:lnTo>
                  <a:lnTo>
                    <a:pt x="320" y="10"/>
                  </a:lnTo>
                  <a:lnTo>
                    <a:pt x="320" y="7"/>
                  </a:lnTo>
                  <a:lnTo>
                    <a:pt x="320" y="10"/>
                  </a:lnTo>
                  <a:lnTo>
                    <a:pt x="322" y="10"/>
                  </a:lnTo>
                  <a:lnTo>
                    <a:pt x="325" y="10"/>
                  </a:lnTo>
                  <a:lnTo>
                    <a:pt x="327" y="10"/>
                  </a:lnTo>
                  <a:lnTo>
                    <a:pt x="330" y="10"/>
                  </a:lnTo>
                  <a:lnTo>
                    <a:pt x="327" y="10"/>
                  </a:lnTo>
                  <a:lnTo>
                    <a:pt x="325" y="10"/>
                  </a:lnTo>
                  <a:lnTo>
                    <a:pt x="322" y="12"/>
                  </a:lnTo>
                  <a:lnTo>
                    <a:pt x="320" y="12"/>
                  </a:lnTo>
                  <a:lnTo>
                    <a:pt x="318" y="15"/>
                  </a:lnTo>
                  <a:lnTo>
                    <a:pt x="315" y="15"/>
                  </a:lnTo>
                  <a:lnTo>
                    <a:pt x="315" y="17"/>
                  </a:lnTo>
                  <a:lnTo>
                    <a:pt x="318" y="17"/>
                  </a:lnTo>
                  <a:lnTo>
                    <a:pt x="318" y="19"/>
                  </a:lnTo>
                  <a:lnTo>
                    <a:pt x="315" y="19"/>
                  </a:lnTo>
                  <a:lnTo>
                    <a:pt x="315" y="22"/>
                  </a:lnTo>
                  <a:lnTo>
                    <a:pt x="313" y="22"/>
                  </a:lnTo>
                  <a:lnTo>
                    <a:pt x="311" y="22"/>
                  </a:lnTo>
                  <a:lnTo>
                    <a:pt x="311" y="24"/>
                  </a:lnTo>
                  <a:lnTo>
                    <a:pt x="308" y="24"/>
                  </a:lnTo>
                  <a:lnTo>
                    <a:pt x="311" y="24"/>
                  </a:lnTo>
                  <a:lnTo>
                    <a:pt x="313" y="24"/>
                  </a:lnTo>
                  <a:lnTo>
                    <a:pt x="313" y="26"/>
                  </a:lnTo>
                  <a:lnTo>
                    <a:pt x="313" y="29"/>
                  </a:lnTo>
                  <a:lnTo>
                    <a:pt x="315" y="29"/>
                  </a:lnTo>
                  <a:lnTo>
                    <a:pt x="318" y="29"/>
                  </a:lnTo>
                  <a:lnTo>
                    <a:pt x="320" y="29"/>
                  </a:lnTo>
                  <a:lnTo>
                    <a:pt x="322" y="29"/>
                  </a:lnTo>
                  <a:lnTo>
                    <a:pt x="322" y="26"/>
                  </a:lnTo>
                  <a:lnTo>
                    <a:pt x="325" y="26"/>
                  </a:lnTo>
                  <a:lnTo>
                    <a:pt x="325" y="29"/>
                  </a:lnTo>
                  <a:lnTo>
                    <a:pt x="327" y="29"/>
                  </a:lnTo>
                  <a:lnTo>
                    <a:pt x="327" y="31"/>
                  </a:lnTo>
                  <a:lnTo>
                    <a:pt x="327" y="34"/>
                  </a:lnTo>
                  <a:lnTo>
                    <a:pt x="327" y="36"/>
                  </a:lnTo>
                  <a:lnTo>
                    <a:pt x="325" y="38"/>
                  </a:lnTo>
                  <a:lnTo>
                    <a:pt x="322" y="38"/>
                  </a:lnTo>
                  <a:lnTo>
                    <a:pt x="322" y="41"/>
                  </a:lnTo>
                  <a:lnTo>
                    <a:pt x="320" y="41"/>
                  </a:lnTo>
                  <a:lnTo>
                    <a:pt x="320" y="43"/>
                  </a:lnTo>
                  <a:lnTo>
                    <a:pt x="322" y="43"/>
                  </a:lnTo>
                  <a:lnTo>
                    <a:pt x="320" y="43"/>
                  </a:lnTo>
                  <a:lnTo>
                    <a:pt x="318" y="43"/>
                  </a:lnTo>
                  <a:lnTo>
                    <a:pt x="318" y="46"/>
                  </a:lnTo>
                  <a:lnTo>
                    <a:pt x="320" y="46"/>
                  </a:lnTo>
                  <a:lnTo>
                    <a:pt x="318" y="46"/>
                  </a:lnTo>
                  <a:lnTo>
                    <a:pt x="320" y="46"/>
                  </a:lnTo>
                  <a:lnTo>
                    <a:pt x="320" y="43"/>
                  </a:lnTo>
                  <a:lnTo>
                    <a:pt x="322" y="43"/>
                  </a:lnTo>
                  <a:lnTo>
                    <a:pt x="320" y="43"/>
                  </a:lnTo>
                  <a:lnTo>
                    <a:pt x="320" y="46"/>
                  </a:lnTo>
                  <a:lnTo>
                    <a:pt x="322" y="46"/>
                  </a:lnTo>
                  <a:lnTo>
                    <a:pt x="325" y="46"/>
                  </a:lnTo>
                  <a:lnTo>
                    <a:pt x="325" y="43"/>
                  </a:lnTo>
                  <a:lnTo>
                    <a:pt x="325" y="46"/>
                  </a:lnTo>
                  <a:lnTo>
                    <a:pt x="327" y="46"/>
                  </a:lnTo>
                  <a:lnTo>
                    <a:pt x="327" y="43"/>
                  </a:lnTo>
                  <a:lnTo>
                    <a:pt x="330" y="43"/>
                  </a:lnTo>
                  <a:lnTo>
                    <a:pt x="332" y="43"/>
                  </a:lnTo>
                  <a:lnTo>
                    <a:pt x="334" y="43"/>
                  </a:lnTo>
                  <a:lnTo>
                    <a:pt x="337" y="43"/>
                  </a:lnTo>
                  <a:lnTo>
                    <a:pt x="337" y="46"/>
                  </a:lnTo>
                  <a:lnTo>
                    <a:pt x="334" y="46"/>
                  </a:lnTo>
                  <a:lnTo>
                    <a:pt x="337" y="48"/>
                  </a:lnTo>
                  <a:lnTo>
                    <a:pt x="337" y="50"/>
                  </a:lnTo>
                  <a:lnTo>
                    <a:pt x="334" y="53"/>
                  </a:lnTo>
                  <a:lnTo>
                    <a:pt x="332" y="53"/>
                  </a:lnTo>
                  <a:lnTo>
                    <a:pt x="332" y="55"/>
                  </a:lnTo>
                  <a:lnTo>
                    <a:pt x="332" y="57"/>
                  </a:lnTo>
                  <a:lnTo>
                    <a:pt x="330" y="57"/>
                  </a:lnTo>
                  <a:lnTo>
                    <a:pt x="330" y="60"/>
                  </a:lnTo>
                  <a:lnTo>
                    <a:pt x="330" y="62"/>
                  </a:lnTo>
                  <a:lnTo>
                    <a:pt x="330" y="60"/>
                  </a:lnTo>
                  <a:lnTo>
                    <a:pt x="330" y="57"/>
                  </a:lnTo>
                  <a:lnTo>
                    <a:pt x="332" y="57"/>
                  </a:lnTo>
                  <a:lnTo>
                    <a:pt x="332" y="55"/>
                  </a:lnTo>
                  <a:lnTo>
                    <a:pt x="334" y="55"/>
                  </a:lnTo>
                  <a:lnTo>
                    <a:pt x="334" y="53"/>
                  </a:lnTo>
                  <a:lnTo>
                    <a:pt x="337" y="53"/>
                  </a:lnTo>
                  <a:lnTo>
                    <a:pt x="337" y="50"/>
                  </a:lnTo>
                  <a:lnTo>
                    <a:pt x="339" y="50"/>
                  </a:lnTo>
                  <a:lnTo>
                    <a:pt x="341" y="50"/>
                  </a:lnTo>
                  <a:lnTo>
                    <a:pt x="341" y="53"/>
                  </a:lnTo>
                  <a:lnTo>
                    <a:pt x="339" y="53"/>
                  </a:lnTo>
                  <a:lnTo>
                    <a:pt x="341" y="53"/>
                  </a:lnTo>
                  <a:lnTo>
                    <a:pt x="339" y="53"/>
                  </a:lnTo>
                  <a:lnTo>
                    <a:pt x="339" y="55"/>
                  </a:lnTo>
                  <a:lnTo>
                    <a:pt x="337" y="55"/>
                  </a:lnTo>
                  <a:lnTo>
                    <a:pt x="337" y="57"/>
                  </a:lnTo>
                  <a:lnTo>
                    <a:pt x="337" y="60"/>
                  </a:lnTo>
                  <a:lnTo>
                    <a:pt x="334" y="60"/>
                  </a:lnTo>
                  <a:lnTo>
                    <a:pt x="337" y="62"/>
                  </a:lnTo>
                  <a:lnTo>
                    <a:pt x="334" y="62"/>
                  </a:lnTo>
                  <a:lnTo>
                    <a:pt x="337" y="62"/>
                  </a:lnTo>
                  <a:lnTo>
                    <a:pt x="334" y="62"/>
                  </a:lnTo>
                  <a:lnTo>
                    <a:pt x="334" y="65"/>
                  </a:lnTo>
                  <a:lnTo>
                    <a:pt x="334" y="67"/>
                  </a:lnTo>
                  <a:lnTo>
                    <a:pt x="334" y="69"/>
                  </a:lnTo>
                  <a:lnTo>
                    <a:pt x="334" y="72"/>
                  </a:lnTo>
                  <a:lnTo>
                    <a:pt x="332" y="72"/>
                  </a:lnTo>
                  <a:lnTo>
                    <a:pt x="332" y="74"/>
                  </a:lnTo>
                  <a:lnTo>
                    <a:pt x="330" y="74"/>
                  </a:lnTo>
                  <a:lnTo>
                    <a:pt x="330" y="76"/>
                  </a:lnTo>
                  <a:lnTo>
                    <a:pt x="327" y="76"/>
                  </a:lnTo>
                  <a:lnTo>
                    <a:pt x="325" y="76"/>
                  </a:lnTo>
                  <a:lnTo>
                    <a:pt x="325" y="79"/>
                  </a:lnTo>
                  <a:lnTo>
                    <a:pt x="322" y="79"/>
                  </a:lnTo>
                  <a:lnTo>
                    <a:pt x="322" y="81"/>
                  </a:lnTo>
                  <a:lnTo>
                    <a:pt x="320" y="81"/>
                  </a:lnTo>
                  <a:lnTo>
                    <a:pt x="320" y="84"/>
                  </a:lnTo>
                  <a:lnTo>
                    <a:pt x="318" y="84"/>
                  </a:lnTo>
                  <a:lnTo>
                    <a:pt x="318" y="86"/>
                  </a:lnTo>
                  <a:lnTo>
                    <a:pt x="315" y="86"/>
                  </a:lnTo>
                  <a:lnTo>
                    <a:pt x="318" y="86"/>
                  </a:lnTo>
                  <a:lnTo>
                    <a:pt x="318" y="84"/>
                  </a:lnTo>
                  <a:lnTo>
                    <a:pt x="320" y="84"/>
                  </a:lnTo>
                  <a:lnTo>
                    <a:pt x="322" y="84"/>
                  </a:lnTo>
                  <a:lnTo>
                    <a:pt x="322" y="81"/>
                  </a:lnTo>
                  <a:lnTo>
                    <a:pt x="325" y="81"/>
                  </a:lnTo>
                  <a:lnTo>
                    <a:pt x="325" y="79"/>
                  </a:lnTo>
                  <a:lnTo>
                    <a:pt x="327" y="79"/>
                  </a:lnTo>
                  <a:lnTo>
                    <a:pt x="327" y="76"/>
                  </a:lnTo>
                  <a:lnTo>
                    <a:pt x="330" y="76"/>
                  </a:lnTo>
                  <a:lnTo>
                    <a:pt x="330" y="74"/>
                  </a:lnTo>
                  <a:lnTo>
                    <a:pt x="332" y="74"/>
                  </a:lnTo>
                  <a:lnTo>
                    <a:pt x="332" y="72"/>
                  </a:lnTo>
                  <a:lnTo>
                    <a:pt x="334" y="72"/>
                  </a:lnTo>
                  <a:lnTo>
                    <a:pt x="334" y="69"/>
                  </a:lnTo>
                  <a:lnTo>
                    <a:pt x="334" y="67"/>
                  </a:lnTo>
                  <a:lnTo>
                    <a:pt x="337" y="67"/>
                  </a:lnTo>
                  <a:lnTo>
                    <a:pt x="334" y="67"/>
                  </a:lnTo>
                  <a:lnTo>
                    <a:pt x="337" y="65"/>
                  </a:lnTo>
                  <a:lnTo>
                    <a:pt x="337" y="62"/>
                  </a:lnTo>
                  <a:lnTo>
                    <a:pt x="337" y="60"/>
                  </a:lnTo>
                  <a:lnTo>
                    <a:pt x="337" y="57"/>
                  </a:lnTo>
                  <a:lnTo>
                    <a:pt x="337" y="55"/>
                  </a:lnTo>
                  <a:lnTo>
                    <a:pt x="339" y="55"/>
                  </a:lnTo>
                  <a:lnTo>
                    <a:pt x="339" y="53"/>
                  </a:lnTo>
                  <a:lnTo>
                    <a:pt x="341" y="53"/>
                  </a:lnTo>
                  <a:lnTo>
                    <a:pt x="339" y="53"/>
                  </a:lnTo>
                  <a:lnTo>
                    <a:pt x="341" y="53"/>
                  </a:lnTo>
                  <a:lnTo>
                    <a:pt x="344" y="53"/>
                  </a:lnTo>
                  <a:lnTo>
                    <a:pt x="346" y="53"/>
                  </a:lnTo>
                  <a:lnTo>
                    <a:pt x="346" y="55"/>
                  </a:lnTo>
                  <a:lnTo>
                    <a:pt x="349" y="55"/>
                  </a:lnTo>
                  <a:lnTo>
                    <a:pt x="349" y="53"/>
                  </a:lnTo>
                  <a:lnTo>
                    <a:pt x="351" y="53"/>
                  </a:lnTo>
                  <a:lnTo>
                    <a:pt x="353" y="53"/>
                  </a:lnTo>
                  <a:lnTo>
                    <a:pt x="353" y="55"/>
                  </a:lnTo>
                  <a:lnTo>
                    <a:pt x="351" y="55"/>
                  </a:lnTo>
                  <a:lnTo>
                    <a:pt x="353" y="55"/>
                  </a:lnTo>
                  <a:lnTo>
                    <a:pt x="353" y="57"/>
                  </a:lnTo>
                  <a:lnTo>
                    <a:pt x="356" y="57"/>
                  </a:lnTo>
                  <a:lnTo>
                    <a:pt x="356" y="55"/>
                  </a:lnTo>
                  <a:lnTo>
                    <a:pt x="358" y="55"/>
                  </a:lnTo>
                  <a:lnTo>
                    <a:pt x="358" y="57"/>
                  </a:lnTo>
                  <a:lnTo>
                    <a:pt x="360" y="57"/>
                  </a:lnTo>
                  <a:lnTo>
                    <a:pt x="360" y="60"/>
                  </a:lnTo>
                  <a:lnTo>
                    <a:pt x="360" y="62"/>
                  </a:lnTo>
                  <a:lnTo>
                    <a:pt x="360" y="65"/>
                  </a:lnTo>
                  <a:lnTo>
                    <a:pt x="358" y="65"/>
                  </a:lnTo>
                  <a:lnTo>
                    <a:pt x="360" y="65"/>
                  </a:lnTo>
                  <a:lnTo>
                    <a:pt x="358" y="65"/>
                  </a:lnTo>
                  <a:lnTo>
                    <a:pt x="358" y="67"/>
                  </a:lnTo>
                  <a:lnTo>
                    <a:pt x="356" y="67"/>
                  </a:lnTo>
                  <a:lnTo>
                    <a:pt x="353" y="67"/>
                  </a:lnTo>
                  <a:lnTo>
                    <a:pt x="356" y="67"/>
                  </a:lnTo>
                  <a:lnTo>
                    <a:pt x="358" y="67"/>
                  </a:lnTo>
                  <a:lnTo>
                    <a:pt x="358" y="69"/>
                  </a:lnTo>
                  <a:lnTo>
                    <a:pt x="356" y="69"/>
                  </a:lnTo>
                  <a:lnTo>
                    <a:pt x="353" y="69"/>
                  </a:lnTo>
                  <a:lnTo>
                    <a:pt x="351" y="69"/>
                  </a:lnTo>
                  <a:lnTo>
                    <a:pt x="351" y="72"/>
                  </a:lnTo>
                  <a:lnTo>
                    <a:pt x="349" y="72"/>
                  </a:lnTo>
                  <a:lnTo>
                    <a:pt x="351" y="72"/>
                  </a:lnTo>
                  <a:lnTo>
                    <a:pt x="353" y="72"/>
                  </a:lnTo>
                  <a:lnTo>
                    <a:pt x="353" y="69"/>
                  </a:lnTo>
                  <a:lnTo>
                    <a:pt x="356" y="72"/>
                  </a:lnTo>
                  <a:lnTo>
                    <a:pt x="358" y="72"/>
                  </a:lnTo>
                  <a:lnTo>
                    <a:pt x="358" y="69"/>
                  </a:lnTo>
                  <a:lnTo>
                    <a:pt x="360" y="72"/>
                  </a:lnTo>
                  <a:lnTo>
                    <a:pt x="363" y="72"/>
                  </a:lnTo>
                  <a:lnTo>
                    <a:pt x="360" y="72"/>
                  </a:lnTo>
                  <a:lnTo>
                    <a:pt x="360" y="74"/>
                  </a:lnTo>
                  <a:lnTo>
                    <a:pt x="358" y="74"/>
                  </a:lnTo>
                  <a:lnTo>
                    <a:pt x="356" y="76"/>
                  </a:lnTo>
                  <a:lnTo>
                    <a:pt x="353" y="76"/>
                  </a:lnTo>
                  <a:lnTo>
                    <a:pt x="351" y="74"/>
                  </a:lnTo>
                  <a:lnTo>
                    <a:pt x="351" y="76"/>
                  </a:lnTo>
                  <a:lnTo>
                    <a:pt x="349" y="76"/>
                  </a:lnTo>
                  <a:lnTo>
                    <a:pt x="351" y="76"/>
                  </a:lnTo>
                  <a:lnTo>
                    <a:pt x="353" y="76"/>
                  </a:lnTo>
                  <a:lnTo>
                    <a:pt x="356" y="76"/>
                  </a:lnTo>
                  <a:lnTo>
                    <a:pt x="358" y="76"/>
                  </a:lnTo>
                  <a:lnTo>
                    <a:pt x="360" y="76"/>
                  </a:lnTo>
                  <a:lnTo>
                    <a:pt x="360" y="79"/>
                  </a:lnTo>
                  <a:lnTo>
                    <a:pt x="358" y="79"/>
                  </a:lnTo>
                  <a:lnTo>
                    <a:pt x="356" y="79"/>
                  </a:lnTo>
                  <a:lnTo>
                    <a:pt x="358" y="79"/>
                  </a:lnTo>
                  <a:lnTo>
                    <a:pt x="360" y="79"/>
                  </a:lnTo>
                  <a:lnTo>
                    <a:pt x="358" y="81"/>
                  </a:lnTo>
                  <a:lnTo>
                    <a:pt x="360" y="81"/>
                  </a:lnTo>
                  <a:lnTo>
                    <a:pt x="363" y="79"/>
                  </a:lnTo>
                  <a:lnTo>
                    <a:pt x="363" y="76"/>
                  </a:lnTo>
                  <a:lnTo>
                    <a:pt x="365" y="76"/>
                  </a:lnTo>
                  <a:lnTo>
                    <a:pt x="365" y="79"/>
                  </a:lnTo>
                  <a:lnTo>
                    <a:pt x="363" y="79"/>
                  </a:lnTo>
                  <a:lnTo>
                    <a:pt x="363" y="81"/>
                  </a:lnTo>
                  <a:lnTo>
                    <a:pt x="365" y="81"/>
                  </a:lnTo>
                  <a:lnTo>
                    <a:pt x="365" y="84"/>
                  </a:lnTo>
                  <a:lnTo>
                    <a:pt x="363" y="84"/>
                  </a:lnTo>
                  <a:lnTo>
                    <a:pt x="363" y="86"/>
                  </a:lnTo>
                  <a:lnTo>
                    <a:pt x="360" y="84"/>
                  </a:lnTo>
                  <a:lnTo>
                    <a:pt x="360" y="86"/>
                  </a:lnTo>
                  <a:lnTo>
                    <a:pt x="360" y="88"/>
                  </a:lnTo>
                  <a:lnTo>
                    <a:pt x="358" y="88"/>
                  </a:lnTo>
                  <a:lnTo>
                    <a:pt x="356" y="88"/>
                  </a:lnTo>
                  <a:lnTo>
                    <a:pt x="356" y="86"/>
                  </a:lnTo>
                  <a:lnTo>
                    <a:pt x="353" y="86"/>
                  </a:lnTo>
                  <a:lnTo>
                    <a:pt x="351" y="84"/>
                  </a:lnTo>
                  <a:lnTo>
                    <a:pt x="349" y="84"/>
                  </a:lnTo>
                  <a:lnTo>
                    <a:pt x="346" y="84"/>
                  </a:lnTo>
                  <a:lnTo>
                    <a:pt x="349" y="84"/>
                  </a:lnTo>
                  <a:lnTo>
                    <a:pt x="346" y="84"/>
                  </a:lnTo>
                  <a:lnTo>
                    <a:pt x="344" y="86"/>
                  </a:lnTo>
                  <a:lnTo>
                    <a:pt x="341" y="86"/>
                  </a:lnTo>
                  <a:lnTo>
                    <a:pt x="339" y="86"/>
                  </a:lnTo>
                  <a:lnTo>
                    <a:pt x="341" y="86"/>
                  </a:lnTo>
                  <a:lnTo>
                    <a:pt x="344" y="86"/>
                  </a:lnTo>
                  <a:lnTo>
                    <a:pt x="346" y="86"/>
                  </a:lnTo>
                  <a:lnTo>
                    <a:pt x="349" y="86"/>
                  </a:lnTo>
                  <a:lnTo>
                    <a:pt x="351" y="86"/>
                  </a:lnTo>
                  <a:lnTo>
                    <a:pt x="351" y="88"/>
                  </a:lnTo>
                  <a:lnTo>
                    <a:pt x="353" y="88"/>
                  </a:lnTo>
                  <a:lnTo>
                    <a:pt x="351" y="88"/>
                  </a:lnTo>
                  <a:lnTo>
                    <a:pt x="353" y="88"/>
                  </a:lnTo>
                  <a:lnTo>
                    <a:pt x="356" y="91"/>
                  </a:lnTo>
                  <a:lnTo>
                    <a:pt x="358" y="91"/>
                  </a:lnTo>
                  <a:lnTo>
                    <a:pt x="356" y="91"/>
                  </a:lnTo>
                  <a:lnTo>
                    <a:pt x="356" y="93"/>
                  </a:lnTo>
                  <a:lnTo>
                    <a:pt x="356" y="91"/>
                  </a:lnTo>
                  <a:lnTo>
                    <a:pt x="356" y="93"/>
                  </a:lnTo>
                  <a:lnTo>
                    <a:pt x="356" y="91"/>
                  </a:lnTo>
                  <a:lnTo>
                    <a:pt x="353" y="91"/>
                  </a:lnTo>
                  <a:lnTo>
                    <a:pt x="351" y="91"/>
                  </a:lnTo>
                  <a:lnTo>
                    <a:pt x="349" y="91"/>
                  </a:lnTo>
                  <a:lnTo>
                    <a:pt x="346" y="91"/>
                  </a:lnTo>
                  <a:lnTo>
                    <a:pt x="349" y="93"/>
                  </a:lnTo>
                  <a:lnTo>
                    <a:pt x="351" y="93"/>
                  </a:lnTo>
                  <a:lnTo>
                    <a:pt x="353" y="93"/>
                  </a:lnTo>
                  <a:lnTo>
                    <a:pt x="356" y="93"/>
                  </a:lnTo>
                  <a:lnTo>
                    <a:pt x="356" y="95"/>
                  </a:lnTo>
                  <a:lnTo>
                    <a:pt x="353" y="95"/>
                  </a:lnTo>
                  <a:lnTo>
                    <a:pt x="353" y="98"/>
                  </a:lnTo>
                  <a:lnTo>
                    <a:pt x="353" y="95"/>
                  </a:lnTo>
                  <a:lnTo>
                    <a:pt x="351" y="95"/>
                  </a:lnTo>
                  <a:lnTo>
                    <a:pt x="349" y="95"/>
                  </a:lnTo>
                  <a:lnTo>
                    <a:pt x="351" y="98"/>
                  </a:lnTo>
                  <a:lnTo>
                    <a:pt x="353" y="98"/>
                  </a:lnTo>
                  <a:lnTo>
                    <a:pt x="351" y="98"/>
                  </a:lnTo>
                  <a:lnTo>
                    <a:pt x="349" y="98"/>
                  </a:lnTo>
                  <a:lnTo>
                    <a:pt x="346" y="98"/>
                  </a:lnTo>
                  <a:lnTo>
                    <a:pt x="346" y="100"/>
                  </a:lnTo>
                  <a:lnTo>
                    <a:pt x="349" y="100"/>
                  </a:lnTo>
                  <a:lnTo>
                    <a:pt x="349" y="103"/>
                  </a:lnTo>
                  <a:lnTo>
                    <a:pt x="346" y="103"/>
                  </a:lnTo>
                  <a:lnTo>
                    <a:pt x="344" y="103"/>
                  </a:lnTo>
                  <a:lnTo>
                    <a:pt x="341" y="105"/>
                  </a:lnTo>
                  <a:lnTo>
                    <a:pt x="339" y="105"/>
                  </a:lnTo>
                  <a:lnTo>
                    <a:pt x="339" y="103"/>
                  </a:lnTo>
                  <a:lnTo>
                    <a:pt x="337" y="103"/>
                  </a:lnTo>
                  <a:lnTo>
                    <a:pt x="337" y="100"/>
                  </a:lnTo>
                  <a:lnTo>
                    <a:pt x="334" y="100"/>
                  </a:lnTo>
                  <a:lnTo>
                    <a:pt x="334" y="98"/>
                  </a:lnTo>
                  <a:lnTo>
                    <a:pt x="332" y="98"/>
                  </a:lnTo>
                  <a:lnTo>
                    <a:pt x="332" y="100"/>
                  </a:lnTo>
                  <a:lnTo>
                    <a:pt x="334" y="100"/>
                  </a:lnTo>
                  <a:lnTo>
                    <a:pt x="334" y="103"/>
                  </a:lnTo>
                  <a:lnTo>
                    <a:pt x="337" y="105"/>
                  </a:lnTo>
                  <a:lnTo>
                    <a:pt x="339" y="105"/>
                  </a:lnTo>
                  <a:lnTo>
                    <a:pt x="339" y="107"/>
                  </a:lnTo>
                  <a:lnTo>
                    <a:pt x="337" y="107"/>
                  </a:lnTo>
                  <a:lnTo>
                    <a:pt x="337" y="105"/>
                  </a:lnTo>
                  <a:lnTo>
                    <a:pt x="337" y="107"/>
                  </a:lnTo>
                  <a:lnTo>
                    <a:pt x="334" y="105"/>
                  </a:lnTo>
                  <a:lnTo>
                    <a:pt x="332" y="105"/>
                  </a:lnTo>
                  <a:lnTo>
                    <a:pt x="332" y="107"/>
                  </a:lnTo>
                  <a:lnTo>
                    <a:pt x="334" y="107"/>
                  </a:lnTo>
                  <a:lnTo>
                    <a:pt x="334" y="110"/>
                  </a:lnTo>
                  <a:lnTo>
                    <a:pt x="332" y="110"/>
                  </a:lnTo>
                  <a:lnTo>
                    <a:pt x="330" y="110"/>
                  </a:lnTo>
                  <a:lnTo>
                    <a:pt x="330" y="112"/>
                  </a:lnTo>
                  <a:lnTo>
                    <a:pt x="332" y="112"/>
                  </a:lnTo>
                  <a:lnTo>
                    <a:pt x="332" y="114"/>
                  </a:lnTo>
                  <a:lnTo>
                    <a:pt x="332" y="117"/>
                  </a:lnTo>
                  <a:lnTo>
                    <a:pt x="332" y="119"/>
                  </a:lnTo>
                  <a:lnTo>
                    <a:pt x="330" y="119"/>
                  </a:lnTo>
                  <a:lnTo>
                    <a:pt x="327" y="119"/>
                  </a:lnTo>
                  <a:lnTo>
                    <a:pt x="325" y="119"/>
                  </a:lnTo>
                  <a:lnTo>
                    <a:pt x="327" y="119"/>
                  </a:lnTo>
                  <a:lnTo>
                    <a:pt x="325" y="119"/>
                  </a:lnTo>
                  <a:lnTo>
                    <a:pt x="325" y="122"/>
                  </a:lnTo>
                  <a:lnTo>
                    <a:pt x="322" y="122"/>
                  </a:lnTo>
                  <a:lnTo>
                    <a:pt x="320" y="122"/>
                  </a:lnTo>
                  <a:lnTo>
                    <a:pt x="320" y="124"/>
                  </a:lnTo>
                  <a:lnTo>
                    <a:pt x="318" y="124"/>
                  </a:lnTo>
                  <a:lnTo>
                    <a:pt x="315" y="126"/>
                  </a:lnTo>
                  <a:lnTo>
                    <a:pt x="318" y="126"/>
                  </a:lnTo>
                  <a:lnTo>
                    <a:pt x="318" y="129"/>
                  </a:lnTo>
                  <a:lnTo>
                    <a:pt x="315" y="129"/>
                  </a:lnTo>
                  <a:lnTo>
                    <a:pt x="318" y="129"/>
                  </a:lnTo>
                  <a:lnTo>
                    <a:pt x="315" y="129"/>
                  </a:lnTo>
                  <a:lnTo>
                    <a:pt x="311" y="129"/>
                  </a:lnTo>
                  <a:lnTo>
                    <a:pt x="308" y="129"/>
                  </a:lnTo>
                  <a:lnTo>
                    <a:pt x="311" y="129"/>
                  </a:lnTo>
                  <a:lnTo>
                    <a:pt x="313" y="129"/>
                  </a:lnTo>
                  <a:lnTo>
                    <a:pt x="315" y="129"/>
                  </a:lnTo>
                  <a:lnTo>
                    <a:pt x="313" y="129"/>
                  </a:lnTo>
                  <a:lnTo>
                    <a:pt x="313" y="126"/>
                  </a:lnTo>
                  <a:lnTo>
                    <a:pt x="311" y="126"/>
                  </a:lnTo>
                  <a:lnTo>
                    <a:pt x="308" y="126"/>
                  </a:lnTo>
                  <a:lnTo>
                    <a:pt x="308" y="129"/>
                  </a:lnTo>
                  <a:lnTo>
                    <a:pt x="308" y="126"/>
                  </a:lnTo>
                  <a:lnTo>
                    <a:pt x="306" y="126"/>
                  </a:lnTo>
                  <a:lnTo>
                    <a:pt x="303" y="126"/>
                  </a:lnTo>
                  <a:lnTo>
                    <a:pt x="303" y="124"/>
                  </a:lnTo>
                  <a:lnTo>
                    <a:pt x="303" y="122"/>
                  </a:lnTo>
                  <a:lnTo>
                    <a:pt x="303" y="119"/>
                  </a:lnTo>
                  <a:lnTo>
                    <a:pt x="301" y="119"/>
                  </a:lnTo>
                  <a:lnTo>
                    <a:pt x="303" y="119"/>
                  </a:lnTo>
                  <a:lnTo>
                    <a:pt x="303" y="122"/>
                  </a:lnTo>
                  <a:lnTo>
                    <a:pt x="303" y="124"/>
                  </a:lnTo>
                  <a:lnTo>
                    <a:pt x="303" y="126"/>
                  </a:lnTo>
                  <a:lnTo>
                    <a:pt x="303" y="129"/>
                  </a:lnTo>
                  <a:lnTo>
                    <a:pt x="303" y="126"/>
                  </a:lnTo>
                  <a:lnTo>
                    <a:pt x="301" y="126"/>
                  </a:lnTo>
                  <a:lnTo>
                    <a:pt x="301" y="129"/>
                  </a:lnTo>
                  <a:lnTo>
                    <a:pt x="301" y="126"/>
                  </a:lnTo>
                  <a:lnTo>
                    <a:pt x="301" y="129"/>
                  </a:lnTo>
                  <a:lnTo>
                    <a:pt x="299" y="129"/>
                  </a:lnTo>
                  <a:lnTo>
                    <a:pt x="301" y="129"/>
                  </a:lnTo>
                  <a:lnTo>
                    <a:pt x="303" y="129"/>
                  </a:lnTo>
                  <a:lnTo>
                    <a:pt x="306" y="129"/>
                  </a:lnTo>
                  <a:lnTo>
                    <a:pt x="308" y="129"/>
                  </a:lnTo>
                  <a:lnTo>
                    <a:pt x="306" y="129"/>
                  </a:lnTo>
                  <a:lnTo>
                    <a:pt x="301" y="129"/>
                  </a:lnTo>
                  <a:lnTo>
                    <a:pt x="299" y="129"/>
                  </a:lnTo>
                  <a:lnTo>
                    <a:pt x="299" y="131"/>
                  </a:lnTo>
                  <a:lnTo>
                    <a:pt x="296" y="131"/>
                  </a:lnTo>
                  <a:lnTo>
                    <a:pt x="294" y="131"/>
                  </a:lnTo>
                  <a:lnTo>
                    <a:pt x="292" y="131"/>
                  </a:lnTo>
                  <a:lnTo>
                    <a:pt x="292" y="133"/>
                  </a:lnTo>
                  <a:lnTo>
                    <a:pt x="287" y="133"/>
                  </a:lnTo>
                  <a:lnTo>
                    <a:pt x="284" y="133"/>
                  </a:lnTo>
                  <a:lnTo>
                    <a:pt x="284" y="136"/>
                  </a:lnTo>
                  <a:lnTo>
                    <a:pt x="282" y="136"/>
                  </a:lnTo>
                  <a:lnTo>
                    <a:pt x="280" y="138"/>
                  </a:lnTo>
                  <a:lnTo>
                    <a:pt x="277" y="138"/>
                  </a:lnTo>
                  <a:lnTo>
                    <a:pt x="275" y="141"/>
                  </a:lnTo>
                  <a:lnTo>
                    <a:pt x="273" y="143"/>
                  </a:lnTo>
                  <a:lnTo>
                    <a:pt x="270" y="143"/>
                  </a:lnTo>
                  <a:lnTo>
                    <a:pt x="268" y="14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5" name="Freeform 52462"/>
            <p:cNvSpPr>
              <a:spLocks noEditPoints="1"/>
            </p:cNvSpPr>
            <p:nvPr/>
          </p:nvSpPr>
          <p:spPr bwMode="auto">
            <a:xfrm>
              <a:off x="820736" y="3321062"/>
              <a:ext cx="466725" cy="282577"/>
            </a:xfrm>
            <a:custGeom>
              <a:avLst/>
              <a:gdLst>
                <a:gd name="T0" fmla="*/ 92 w 294"/>
                <a:gd name="T1" fmla="*/ 178 h 178"/>
                <a:gd name="T2" fmla="*/ 92 w 294"/>
                <a:gd name="T3" fmla="*/ 173 h 178"/>
                <a:gd name="T4" fmla="*/ 85 w 294"/>
                <a:gd name="T5" fmla="*/ 157 h 178"/>
                <a:gd name="T6" fmla="*/ 87 w 294"/>
                <a:gd name="T7" fmla="*/ 143 h 178"/>
                <a:gd name="T8" fmla="*/ 83 w 294"/>
                <a:gd name="T9" fmla="*/ 145 h 178"/>
                <a:gd name="T10" fmla="*/ 97 w 294"/>
                <a:gd name="T11" fmla="*/ 140 h 178"/>
                <a:gd name="T12" fmla="*/ 40 w 294"/>
                <a:gd name="T13" fmla="*/ 135 h 178"/>
                <a:gd name="T14" fmla="*/ 42 w 294"/>
                <a:gd name="T15" fmla="*/ 135 h 178"/>
                <a:gd name="T16" fmla="*/ 42 w 294"/>
                <a:gd name="T17" fmla="*/ 133 h 178"/>
                <a:gd name="T18" fmla="*/ 253 w 294"/>
                <a:gd name="T19" fmla="*/ 131 h 178"/>
                <a:gd name="T20" fmla="*/ 270 w 294"/>
                <a:gd name="T21" fmla="*/ 124 h 178"/>
                <a:gd name="T22" fmla="*/ 268 w 294"/>
                <a:gd name="T23" fmla="*/ 128 h 178"/>
                <a:gd name="T24" fmla="*/ 277 w 294"/>
                <a:gd name="T25" fmla="*/ 121 h 178"/>
                <a:gd name="T26" fmla="*/ 26 w 294"/>
                <a:gd name="T27" fmla="*/ 119 h 178"/>
                <a:gd name="T28" fmla="*/ 26 w 294"/>
                <a:gd name="T29" fmla="*/ 119 h 178"/>
                <a:gd name="T30" fmla="*/ 23 w 294"/>
                <a:gd name="T31" fmla="*/ 116 h 178"/>
                <a:gd name="T32" fmla="*/ 280 w 294"/>
                <a:gd name="T33" fmla="*/ 114 h 178"/>
                <a:gd name="T34" fmla="*/ 280 w 294"/>
                <a:gd name="T35" fmla="*/ 114 h 178"/>
                <a:gd name="T36" fmla="*/ 291 w 294"/>
                <a:gd name="T37" fmla="*/ 112 h 178"/>
                <a:gd name="T38" fmla="*/ 21 w 294"/>
                <a:gd name="T39" fmla="*/ 102 h 178"/>
                <a:gd name="T40" fmla="*/ 16 w 294"/>
                <a:gd name="T41" fmla="*/ 102 h 178"/>
                <a:gd name="T42" fmla="*/ 2 w 294"/>
                <a:gd name="T43" fmla="*/ 88 h 178"/>
                <a:gd name="T44" fmla="*/ 2 w 294"/>
                <a:gd name="T45" fmla="*/ 88 h 178"/>
                <a:gd name="T46" fmla="*/ 19 w 294"/>
                <a:gd name="T47" fmla="*/ 86 h 178"/>
                <a:gd name="T48" fmla="*/ 11 w 294"/>
                <a:gd name="T49" fmla="*/ 83 h 178"/>
                <a:gd name="T50" fmla="*/ 9 w 294"/>
                <a:gd name="T51" fmla="*/ 86 h 178"/>
                <a:gd name="T52" fmla="*/ 21 w 294"/>
                <a:gd name="T53" fmla="*/ 83 h 178"/>
                <a:gd name="T54" fmla="*/ 19 w 294"/>
                <a:gd name="T55" fmla="*/ 86 h 178"/>
                <a:gd name="T56" fmla="*/ 19 w 294"/>
                <a:gd name="T57" fmla="*/ 83 h 178"/>
                <a:gd name="T58" fmla="*/ 19 w 294"/>
                <a:gd name="T59" fmla="*/ 83 h 178"/>
                <a:gd name="T60" fmla="*/ 21 w 294"/>
                <a:gd name="T61" fmla="*/ 83 h 178"/>
                <a:gd name="T62" fmla="*/ 19 w 294"/>
                <a:gd name="T63" fmla="*/ 81 h 178"/>
                <a:gd name="T64" fmla="*/ 19 w 294"/>
                <a:gd name="T65" fmla="*/ 81 h 178"/>
                <a:gd name="T66" fmla="*/ 16 w 294"/>
                <a:gd name="T67" fmla="*/ 81 h 178"/>
                <a:gd name="T68" fmla="*/ 11 w 294"/>
                <a:gd name="T69" fmla="*/ 81 h 178"/>
                <a:gd name="T70" fmla="*/ 21 w 294"/>
                <a:gd name="T71" fmla="*/ 81 h 178"/>
                <a:gd name="T72" fmla="*/ 14 w 294"/>
                <a:gd name="T73" fmla="*/ 81 h 178"/>
                <a:gd name="T74" fmla="*/ 14 w 294"/>
                <a:gd name="T75" fmla="*/ 81 h 178"/>
                <a:gd name="T76" fmla="*/ 16 w 294"/>
                <a:gd name="T77" fmla="*/ 81 h 178"/>
                <a:gd name="T78" fmla="*/ 11 w 294"/>
                <a:gd name="T79" fmla="*/ 81 h 178"/>
                <a:gd name="T80" fmla="*/ 19 w 294"/>
                <a:gd name="T81" fmla="*/ 74 h 178"/>
                <a:gd name="T82" fmla="*/ 7 w 294"/>
                <a:gd name="T83" fmla="*/ 67 h 178"/>
                <a:gd name="T84" fmla="*/ 14 w 294"/>
                <a:gd name="T85" fmla="*/ 64 h 178"/>
                <a:gd name="T86" fmla="*/ 14 w 294"/>
                <a:gd name="T87" fmla="*/ 62 h 178"/>
                <a:gd name="T88" fmla="*/ 30 w 294"/>
                <a:gd name="T89" fmla="*/ 62 h 178"/>
                <a:gd name="T90" fmla="*/ 9 w 294"/>
                <a:gd name="T91" fmla="*/ 59 h 178"/>
                <a:gd name="T92" fmla="*/ 7 w 294"/>
                <a:gd name="T93" fmla="*/ 57 h 178"/>
                <a:gd name="T94" fmla="*/ 116 w 294"/>
                <a:gd name="T95" fmla="*/ 33 h 178"/>
                <a:gd name="T96" fmla="*/ 116 w 294"/>
                <a:gd name="T97" fmla="*/ 33 h 178"/>
                <a:gd name="T98" fmla="*/ 151 w 294"/>
                <a:gd name="T99" fmla="*/ 31 h 178"/>
                <a:gd name="T100" fmla="*/ 14 w 294"/>
                <a:gd name="T101" fmla="*/ 26 h 178"/>
                <a:gd name="T102" fmla="*/ 14 w 294"/>
                <a:gd name="T103" fmla="*/ 26 h 178"/>
                <a:gd name="T104" fmla="*/ 166 w 294"/>
                <a:gd name="T105" fmla="*/ 2 h 178"/>
                <a:gd name="T106" fmla="*/ 166 w 294"/>
                <a:gd name="T107" fmla="*/ 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178">
                  <a:moveTo>
                    <a:pt x="92" y="176"/>
                  </a:moveTo>
                  <a:lnTo>
                    <a:pt x="92" y="178"/>
                  </a:lnTo>
                  <a:lnTo>
                    <a:pt x="90" y="178"/>
                  </a:lnTo>
                  <a:lnTo>
                    <a:pt x="92" y="178"/>
                  </a:lnTo>
                  <a:lnTo>
                    <a:pt x="90" y="178"/>
                  </a:lnTo>
                  <a:lnTo>
                    <a:pt x="90" y="176"/>
                  </a:lnTo>
                  <a:lnTo>
                    <a:pt x="92" y="176"/>
                  </a:lnTo>
                  <a:lnTo>
                    <a:pt x="92" y="173"/>
                  </a:lnTo>
                  <a:lnTo>
                    <a:pt x="92" y="176"/>
                  </a:lnTo>
                  <a:close/>
                  <a:moveTo>
                    <a:pt x="85" y="157"/>
                  </a:moveTo>
                  <a:lnTo>
                    <a:pt x="87" y="157"/>
                  </a:lnTo>
                  <a:lnTo>
                    <a:pt x="85" y="157"/>
                  </a:lnTo>
                  <a:close/>
                  <a:moveTo>
                    <a:pt x="92" y="143"/>
                  </a:moveTo>
                  <a:lnTo>
                    <a:pt x="92" y="145"/>
                  </a:lnTo>
                  <a:lnTo>
                    <a:pt x="92" y="143"/>
                  </a:lnTo>
                  <a:close/>
                  <a:moveTo>
                    <a:pt x="87" y="143"/>
                  </a:moveTo>
                  <a:lnTo>
                    <a:pt x="85" y="143"/>
                  </a:lnTo>
                  <a:lnTo>
                    <a:pt x="85" y="145"/>
                  </a:lnTo>
                  <a:lnTo>
                    <a:pt x="85" y="143"/>
                  </a:lnTo>
                  <a:lnTo>
                    <a:pt x="83" y="145"/>
                  </a:lnTo>
                  <a:lnTo>
                    <a:pt x="85" y="143"/>
                  </a:lnTo>
                  <a:lnTo>
                    <a:pt x="87" y="143"/>
                  </a:lnTo>
                  <a:close/>
                  <a:moveTo>
                    <a:pt x="97" y="143"/>
                  </a:moveTo>
                  <a:lnTo>
                    <a:pt x="97" y="140"/>
                  </a:lnTo>
                  <a:lnTo>
                    <a:pt x="97" y="143"/>
                  </a:lnTo>
                  <a:close/>
                  <a:moveTo>
                    <a:pt x="40" y="135"/>
                  </a:moveTo>
                  <a:lnTo>
                    <a:pt x="42" y="135"/>
                  </a:lnTo>
                  <a:lnTo>
                    <a:pt x="40" y="135"/>
                  </a:lnTo>
                  <a:close/>
                  <a:moveTo>
                    <a:pt x="40" y="135"/>
                  </a:moveTo>
                  <a:lnTo>
                    <a:pt x="38" y="135"/>
                  </a:lnTo>
                  <a:lnTo>
                    <a:pt x="40" y="135"/>
                  </a:lnTo>
                  <a:close/>
                  <a:moveTo>
                    <a:pt x="42" y="135"/>
                  </a:moveTo>
                  <a:lnTo>
                    <a:pt x="40" y="135"/>
                  </a:lnTo>
                  <a:lnTo>
                    <a:pt x="42" y="135"/>
                  </a:lnTo>
                  <a:lnTo>
                    <a:pt x="40" y="133"/>
                  </a:lnTo>
                  <a:lnTo>
                    <a:pt x="42" y="133"/>
                  </a:lnTo>
                  <a:lnTo>
                    <a:pt x="42" y="135"/>
                  </a:lnTo>
                  <a:close/>
                  <a:moveTo>
                    <a:pt x="253" y="131"/>
                  </a:moveTo>
                  <a:lnTo>
                    <a:pt x="251" y="131"/>
                  </a:lnTo>
                  <a:lnTo>
                    <a:pt x="253" y="131"/>
                  </a:lnTo>
                  <a:close/>
                  <a:moveTo>
                    <a:pt x="268" y="128"/>
                  </a:moveTo>
                  <a:lnTo>
                    <a:pt x="268" y="126"/>
                  </a:lnTo>
                  <a:lnTo>
                    <a:pt x="270" y="126"/>
                  </a:lnTo>
                  <a:lnTo>
                    <a:pt x="270" y="124"/>
                  </a:lnTo>
                  <a:lnTo>
                    <a:pt x="272" y="124"/>
                  </a:lnTo>
                  <a:lnTo>
                    <a:pt x="270" y="126"/>
                  </a:lnTo>
                  <a:lnTo>
                    <a:pt x="268" y="126"/>
                  </a:lnTo>
                  <a:lnTo>
                    <a:pt x="268" y="128"/>
                  </a:lnTo>
                  <a:close/>
                  <a:moveTo>
                    <a:pt x="272" y="124"/>
                  </a:moveTo>
                  <a:lnTo>
                    <a:pt x="275" y="124"/>
                  </a:lnTo>
                  <a:lnTo>
                    <a:pt x="280" y="121"/>
                  </a:lnTo>
                  <a:lnTo>
                    <a:pt x="277" y="121"/>
                  </a:lnTo>
                  <a:lnTo>
                    <a:pt x="275" y="124"/>
                  </a:lnTo>
                  <a:lnTo>
                    <a:pt x="272" y="124"/>
                  </a:lnTo>
                  <a:close/>
                  <a:moveTo>
                    <a:pt x="28" y="119"/>
                  </a:moveTo>
                  <a:lnTo>
                    <a:pt x="26" y="119"/>
                  </a:lnTo>
                  <a:lnTo>
                    <a:pt x="28" y="119"/>
                  </a:lnTo>
                  <a:lnTo>
                    <a:pt x="28" y="116"/>
                  </a:lnTo>
                  <a:lnTo>
                    <a:pt x="28" y="119"/>
                  </a:lnTo>
                  <a:close/>
                  <a:moveTo>
                    <a:pt x="26" y="119"/>
                  </a:moveTo>
                  <a:lnTo>
                    <a:pt x="26" y="116"/>
                  </a:lnTo>
                  <a:lnTo>
                    <a:pt x="26" y="119"/>
                  </a:lnTo>
                  <a:close/>
                  <a:moveTo>
                    <a:pt x="23" y="114"/>
                  </a:moveTo>
                  <a:lnTo>
                    <a:pt x="23" y="116"/>
                  </a:lnTo>
                  <a:lnTo>
                    <a:pt x="21" y="116"/>
                  </a:lnTo>
                  <a:lnTo>
                    <a:pt x="21" y="114"/>
                  </a:lnTo>
                  <a:lnTo>
                    <a:pt x="23" y="114"/>
                  </a:lnTo>
                  <a:close/>
                  <a:moveTo>
                    <a:pt x="280" y="114"/>
                  </a:moveTo>
                  <a:lnTo>
                    <a:pt x="282" y="114"/>
                  </a:lnTo>
                  <a:lnTo>
                    <a:pt x="280" y="114"/>
                  </a:lnTo>
                  <a:lnTo>
                    <a:pt x="280" y="112"/>
                  </a:lnTo>
                  <a:lnTo>
                    <a:pt x="280" y="114"/>
                  </a:lnTo>
                  <a:close/>
                  <a:moveTo>
                    <a:pt x="280" y="114"/>
                  </a:moveTo>
                  <a:lnTo>
                    <a:pt x="280" y="112"/>
                  </a:lnTo>
                  <a:lnTo>
                    <a:pt x="280" y="114"/>
                  </a:lnTo>
                  <a:close/>
                  <a:moveTo>
                    <a:pt x="291" y="112"/>
                  </a:moveTo>
                  <a:lnTo>
                    <a:pt x="294" y="112"/>
                  </a:lnTo>
                  <a:lnTo>
                    <a:pt x="291" y="112"/>
                  </a:lnTo>
                  <a:close/>
                  <a:moveTo>
                    <a:pt x="21" y="105"/>
                  </a:moveTo>
                  <a:lnTo>
                    <a:pt x="21" y="102"/>
                  </a:lnTo>
                  <a:lnTo>
                    <a:pt x="19" y="102"/>
                  </a:lnTo>
                  <a:lnTo>
                    <a:pt x="21" y="105"/>
                  </a:lnTo>
                  <a:close/>
                  <a:moveTo>
                    <a:pt x="19" y="102"/>
                  </a:moveTo>
                  <a:lnTo>
                    <a:pt x="16" y="102"/>
                  </a:lnTo>
                  <a:lnTo>
                    <a:pt x="16" y="100"/>
                  </a:lnTo>
                  <a:lnTo>
                    <a:pt x="16" y="102"/>
                  </a:lnTo>
                  <a:lnTo>
                    <a:pt x="19" y="102"/>
                  </a:lnTo>
                  <a:close/>
                  <a:moveTo>
                    <a:pt x="2" y="88"/>
                  </a:moveTo>
                  <a:lnTo>
                    <a:pt x="0" y="88"/>
                  </a:lnTo>
                  <a:lnTo>
                    <a:pt x="2" y="88"/>
                  </a:lnTo>
                  <a:lnTo>
                    <a:pt x="0" y="88"/>
                  </a:lnTo>
                  <a:lnTo>
                    <a:pt x="2" y="88"/>
                  </a:lnTo>
                  <a:close/>
                  <a:moveTo>
                    <a:pt x="7" y="88"/>
                  </a:moveTo>
                  <a:lnTo>
                    <a:pt x="4" y="88"/>
                  </a:lnTo>
                  <a:lnTo>
                    <a:pt x="7" y="88"/>
                  </a:lnTo>
                  <a:close/>
                  <a:moveTo>
                    <a:pt x="19" y="86"/>
                  </a:moveTo>
                  <a:lnTo>
                    <a:pt x="16" y="86"/>
                  </a:lnTo>
                  <a:lnTo>
                    <a:pt x="19" y="86"/>
                  </a:lnTo>
                  <a:close/>
                  <a:moveTo>
                    <a:pt x="11" y="86"/>
                  </a:moveTo>
                  <a:lnTo>
                    <a:pt x="11" y="83"/>
                  </a:lnTo>
                  <a:lnTo>
                    <a:pt x="11" y="86"/>
                  </a:lnTo>
                  <a:close/>
                  <a:moveTo>
                    <a:pt x="9" y="86"/>
                  </a:moveTo>
                  <a:lnTo>
                    <a:pt x="9" y="83"/>
                  </a:lnTo>
                  <a:lnTo>
                    <a:pt x="9" y="86"/>
                  </a:lnTo>
                  <a:close/>
                  <a:moveTo>
                    <a:pt x="19" y="83"/>
                  </a:moveTo>
                  <a:lnTo>
                    <a:pt x="21" y="83"/>
                  </a:lnTo>
                  <a:lnTo>
                    <a:pt x="19" y="83"/>
                  </a:lnTo>
                  <a:lnTo>
                    <a:pt x="21" y="83"/>
                  </a:lnTo>
                  <a:lnTo>
                    <a:pt x="21" y="86"/>
                  </a:lnTo>
                  <a:lnTo>
                    <a:pt x="19" y="86"/>
                  </a:lnTo>
                  <a:lnTo>
                    <a:pt x="21" y="86"/>
                  </a:lnTo>
                  <a:lnTo>
                    <a:pt x="19" y="86"/>
                  </a:lnTo>
                  <a:lnTo>
                    <a:pt x="16" y="86"/>
                  </a:lnTo>
                  <a:lnTo>
                    <a:pt x="16" y="83"/>
                  </a:lnTo>
                  <a:lnTo>
                    <a:pt x="19" y="83"/>
                  </a:lnTo>
                  <a:close/>
                  <a:moveTo>
                    <a:pt x="19" y="83"/>
                  </a:moveTo>
                  <a:lnTo>
                    <a:pt x="16" y="83"/>
                  </a:lnTo>
                  <a:lnTo>
                    <a:pt x="19" y="83"/>
                  </a:lnTo>
                  <a:lnTo>
                    <a:pt x="16" y="83"/>
                  </a:lnTo>
                  <a:lnTo>
                    <a:pt x="19" y="83"/>
                  </a:lnTo>
                  <a:close/>
                  <a:moveTo>
                    <a:pt x="19" y="83"/>
                  </a:moveTo>
                  <a:lnTo>
                    <a:pt x="21" y="83"/>
                  </a:lnTo>
                  <a:lnTo>
                    <a:pt x="19" y="83"/>
                  </a:lnTo>
                  <a:lnTo>
                    <a:pt x="21" y="83"/>
                  </a:lnTo>
                  <a:lnTo>
                    <a:pt x="19" y="83"/>
                  </a:lnTo>
                  <a:lnTo>
                    <a:pt x="21" y="83"/>
                  </a:lnTo>
                  <a:lnTo>
                    <a:pt x="19" y="83"/>
                  </a:lnTo>
                  <a:close/>
                  <a:moveTo>
                    <a:pt x="19" y="81"/>
                  </a:moveTo>
                  <a:lnTo>
                    <a:pt x="19" y="83"/>
                  </a:lnTo>
                  <a:lnTo>
                    <a:pt x="19" y="81"/>
                  </a:lnTo>
                  <a:lnTo>
                    <a:pt x="19" y="83"/>
                  </a:lnTo>
                  <a:lnTo>
                    <a:pt x="19" y="81"/>
                  </a:lnTo>
                  <a:close/>
                  <a:moveTo>
                    <a:pt x="14" y="81"/>
                  </a:moveTo>
                  <a:lnTo>
                    <a:pt x="14" y="83"/>
                  </a:lnTo>
                  <a:lnTo>
                    <a:pt x="14" y="81"/>
                  </a:lnTo>
                  <a:close/>
                  <a:moveTo>
                    <a:pt x="16" y="81"/>
                  </a:moveTo>
                  <a:lnTo>
                    <a:pt x="14" y="81"/>
                  </a:lnTo>
                  <a:lnTo>
                    <a:pt x="16" y="81"/>
                  </a:lnTo>
                  <a:close/>
                  <a:moveTo>
                    <a:pt x="9" y="81"/>
                  </a:moveTo>
                  <a:lnTo>
                    <a:pt x="11" y="81"/>
                  </a:lnTo>
                  <a:lnTo>
                    <a:pt x="9" y="81"/>
                  </a:lnTo>
                  <a:close/>
                  <a:moveTo>
                    <a:pt x="21" y="81"/>
                  </a:moveTo>
                  <a:lnTo>
                    <a:pt x="19" y="81"/>
                  </a:lnTo>
                  <a:lnTo>
                    <a:pt x="21" y="81"/>
                  </a:lnTo>
                  <a:close/>
                  <a:moveTo>
                    <a:pt x="16" y="81"/>
                  </a:moveTo>
                  <a:lnTo>
                    <a:pt x="19" y="81"/>
                  </a:lnTo>
                  <a:lnTo>
                    <a:pt x="16" y="81"/>
                  </a:lnTo>
                  <a:lnTo>
                    <a:pt x="14" y="81"/>
                  </a:lnTo>
                  <a:lnTo>
                    <a:pt x="16" y="81"/>
                  </a:lnTo>
                  <a:close/>
                  <a:moveTo>
                    <a:pt x="14" y="81"/>
                  </a:moveTo>
                  <a:lnTo>
                    <a:pt x="11" y="81"/>
                  </a:lnTo>
                  <a:lnTo>
                    <a:pt x="14" y="81"/>
                  </a:lnTo>
                  <a:lnTo>
                    <a:pt x="11" y="81"/>
                  </a:lnTo>
                  <a:lnTo>
                    <a:pt x="14" y="81"/>
                  </a:lnTo>
                  <a:close/>
                  <a:moveTo>
                    <a:pt x="19" y="81"/>
                  </a:moveTo>
                  <a:lnTo>
                    <a:pt x="16" y="81"/>
                  </a:lnTo>
                  <a:lnTo>
                    <a:pt x="19" y="81"/>
                  </a:lnTo>
                  <a:close/>
                  <a:moveTo>
                    <a:pt x="14" y="78"/>
                  </a:moveTo>
                  <a:lnTo>
                    <a:pt x="14" y="81"/>
                  </a:lnTo>
                  <a:lnTo>
                    <a:pt x="11" y="81"/>
                  </a:lnTo>
                  <a:lnTo>
                    <a:pt x="11" y="78"/>
                  </a:lnTo>
                  <a:lnTo>
                    <a:pt x="14" y="78"/>
                  </a:lnTo>
                  <a:close/>
                  <a:moveTo>
                    <a:pt x="21" y="74"/>
                  </a:moveTo>
                  <a:lnTo>
                    <a:pt x="19" y="74"/>
                  </a:lnTo>
                  <a:lnTo>
                    <a:pt x="21" y="74"/>
                  </a:lnTo>
                  <a:close/>
                  <a:moveTo>
                    <a:pt x="7" y="67"/>
                  </a:moveTo>
                  <a:lnTo>
                    <a:pt x="7" y="69"/>
                  </a:lnTo>
                  <a:lnTo>
                    <a:pt x="7" y="67"/>
                  </a:lnTo>
                  <a:close/>
                  <a:moveTo>
                    <a:pt x="4" y="67"/>
                  </a:moveTo>
                  <a:lnTo>
                    <a:pt x="4" y="69"/>
                  </a:lnTo>
                  <a:lnTo>
                    <a:pt x="4" y="67"/>
                  </a:lnTo>
                  <a:close/>
                  <a:moveTo>
                    <a:pt x="14" y="64"/>
                  </a:moveTo>
                  <a:lnTo>
                    <a:pt x="11" y="64"/>
                  </a:lnTo>
                  <a:lnTo>
                    <a:pt x="14" y="64"/>
                  </a:lnTo>
                  <a:close/>
                  <a:moveTo>
                    <a:pt x="14" y="64"/>
                  </a:moveTo>
                  <a:lnTo>
                    <a:pt x="14" y="62"/>
                  </a:lnTo>
                  <a:lnTo>
                    <a:pt x="14" y="64"/>
                  </a:lnTo>
                  <a:close/>
                  <a:moveTo>
                    <a:pt x="30" y="62"/>
                  </a:moveTo>
                  <a:lnTo>
                    <a:pt x="30" y="64"/>
                  </a:lnTo>
                  <a:lnTo>
                    <a:pt x="30" y="62"/>
                  </a:lnTo>
                  <a:lnTo>
                    <a:pt x="30" y="64"/>
                  </a:lnTo>
                  <a:lnTo>
                    <a:pt x="30" y="62"/>
                  </a:lnTo>
                  <a:close/>
                  <a:moveTo>
                    <a:pt x="7" y="59"/>
                  </a:moveTo>
                  <a:lnTo>
                    <a:pt x="9" y="59"/>
                  </a:lnTo>
                  <a:lnTo>
                    <a:pt x="7" y="59"/>
                  </a:lnTo>
                  <a:close/>
                  <a:moveTo>
                    <a:pt x="7" y="57"/>
                  </a:moveTo>
                  <a:lnTo>
                    <a:pt x="4" y="57"/>
                  </a:lnTo>
                  <a:lnTo>
                    <a:pt x="7" y="57"/>
                  </a:lnTo>
                  <a:close/>
                  <a:moveTo>
                    <a:pt x="289" y="52"/>
                  </a:moveTo>
                  <a:lnTo>
                    <a:pt x="287" y="52"/>
                  </a:lnTo>
                  <a:lnTo>
                    <a:pt x="289" y="52"/>
                  </a:lnTo>
                  <a:close/>
                  <a:moveTo>
                    <a:pt x="116" y="33"/>
                  </a:moveTo>
                  <a:lnTo>
                    <a:pt x="118" y="33"/>
                  </a:lnTo>
                  <a:lnTo>
                    <a:pt x="118" y="36"/>
                  </a:lnTo>
                  <a:lnTo>
                    <a:pt x="116" y="36"/>
                  </a:lnTo>
                  <a:lnTo>
                    <a:pt x="116" y="33"/>
                  </a:lnTo>
                  <a:close/>
                  <a:moveTo>
                    <a:pt x="151" y="31"/>
                  </a:moveTo>
                  <a:lnTo>
                    <a:pt x="154" y="31"/>
                  </a:lnTo>
                  <a:lnTo>
                    <a:pt x="154" y="33"/>
                  </a:lnTo>
                  <a:lnTo>
                    <a:pt x="151" y="31"/>
                  </a:lnTo>
                  <a:close/>
                  <a:moveTo>
                    <a:pt x="116" y="33"/>
                  </a:moveTo>
                  <a:lnTo>
                    <a:pt x="116" y="31"/>
                  </a:lnTo>
                  <a:lnTo>
                    <a:pt x="116" y="33"/>
                  </a:lnTo>
                  <a:close/>
                  <a:moveTo>
                    <a:pt x="14" y="26"/>
                  </a:moveTo>
                  <a:lnTo>
                    <a:pt x="11" y="26"/>
                  </a:lnTo>
                  <a:lnTo>
                    <a:pt x="14" y="26"/>
                  </a:lnTo>
                  <a:lnTo>
                    <a:pt x="11" y="26"/>
                  </a:lnTo>
                  <a:lnTo>
                    <a:pt x="14" y="26"/>
                  </a:lnTo>
                  <a:close/>
                  <a:moveTo>
                    <a:pt x="170" y="24"/>
                  </a:moveTo>
                  <a:lnTo>
                    <a:pt x="173" y="24"/>
                  </a:lnTo>
                  <a:lnTo>
                    <a:pt x="170" y="24"/>
                  </a:lnTo>
                  <a:close/>
                  <a:moveTo>
                    <a:pt x="166" y="2"/>
                  </a:moveTo>
                  <a:lnTo>
                    <a:pt x="166" y="0"/>
                  </a:lnTo>
                  <a:lnTo>
                    <a:pt x="166" y="2"/>
                  </a:lnTo>
                  <a:lnTo>
                    <a:pt x="168" y="2"/>
                  </a:lnTo>
                  <a:lnTo>
                    <a:pt x="16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6" name="Freeform 52463"/>
            <p:cNvSpPr>
              <a:spLocks noEditPoints="1"/>
            </p:cNvSpPr>
            <p:nvPr/>
          </p:nvSpPr>
          <p:spPr bwMode="auto">
            <a:xfrm>
              <a:off x="801686" y="3332174"/>
              <a:ext cx="519113" cy="260351"/>
            </a:xfrm>
            <a:custGeom>
              <a:avLst/>
              <a:gdLst>
                <a:gd name="T0" fmla="*/ 87 w 327"/>
                <a:gd name="T1" fmla="*/ 147 h 164"/>
                <a:gd name="T2" fmla="*/ 76 w 327"/>
                <a:gd name="T3" fmla="*/ 145 h 164"/>
                <a:gd name="T4" fmla="*/ 95 w 327"/>
                <a:gd name="T5" fmla="*/ 138 h 164"/>
                <a:gd name="T6" fmla="*/ 83 w 327"/>
                <a:gd name="T7" fmla="*/ 138 h 164"/>
                <a:gd name="T8" fmla="*/ 102 w 327"/>
                <a:gd name="T9" fmla="*/ 136 h 164"/>
                <a:gd name="T10" fmla="*/ 95 w 327"/>
                <a:gd name="T11" fmla="*/ 131 h 164"/>
                <a:gd name="T12" fmla="*/ 47 w 327"/>
                <a:gd name="T13" fmla="*/ 112 h 164"/>
                <a:gd name="T14" fmla="*/ 38 w 327"/>
                <a:gd name="T15" fmla="*/ 107 h 164"/>
                <a:gd name="T16" fmla="*/ 306 w 327"/>
                <a:gd name="T17" fmla="*/ 105 h 164"/>
                <a:gd name="T18" fmla="*/ 35 w 327"/>
                <a:gd name="T19" fmla="*/ 105 h 164"/>
                <a:gd name="T20" fmla="*/ 35 w 327"/>
                <a:gd name="T21" fmla="*/ 100 h 164"/>
                <a:gd name="T22" fmla="*/ 23 w 327"/>
                <a:gd name="T23" fmla="*/ 93 h 164"/>
                <a:gd name="T24" fmla="*/ 327 w 327"/>
                <a:gd name="T25" fmla="*/ 83 h 164"/>
                <a:gd name="T26" fmla="*/ 16 w 327"/>
                <a:gd name="T27" fmla="*/ 81 h 164"/>
                <a:gd name="T28" fmla="*/ 19 w 327"/>
                <a:gd name="T29" fmla="*/ 81 h 164"/>
                <a:gd name="T30" fmla="*/ 23 w 327"/>
                <a:gd name="T31" fmla="*/ 79 h 164"/>
                <a:gd name="T32" fmla="*/ 23 w 327"/>
                <a:gd name="T33" fmla="*/ 81 h 164"/>
                <a:gd name="T34" fmla="*/ 31 w 327"/>
                <a:gd name="T35" fmla="*/ 79 h 164"/>
                <a:gd name="T36" fmla="*/ 21 w 327"/>
                <a:gd name="T37" fmla="*/ 79 h 164"/>
                <a:gd name="T38" fmla="*/ 35 w 327"/>
                <a:gd name="T39" fmla="*/ 79 h 164"/>
                <a:gd name="T40" fmla="*/ 35 w 327"/>
                <a:gd name="T41" fmla="*/ 76 h 164"/>
                <a:gd name="T42" fmla="*/ 28 w 327"/>
                <a:gd name="T43" fmla="*/ 76 h 164"/>
                <a:gd name="T44" fmla="*/ 33 w 327"/>
                <a:gd name="T45" fmla="*/ 79 h 164"/>
                <a:gd name="T46" fmla="*/ 33 w 327"/>
                <a:gd name="T47" fmla="*/ 76 h 164"/>
                <a:gd name="T48" fmla="*/ 31 w 327"/>
                <a:gd name="T49" fmla="*/ 76 h 164"/>
                <a:gd name="T50" fmla="*/ 31 w 327"/>
                <a:gd name="T51" fmla="*/ 76 h 164"/>
                <a:gd name="T52" fmla="*/ 23 w 327"/>
                <a:gd name="T53" fmla="*/ 74 h 164"/>
                <a:gd name="T54" fmla="*/ 28 w 327"/>
                <a:gd name="T55" fmla="*/ 74 h 164"/>
                <a:gd name="T56" fmla="*/ 28 w 327"/>
                <a:gd name="T57" fmla="*/ 74 h 164"/>
                <a:gd name="T58" fmla="*/ 31 w 327"/>
                <a:gd name="T59" fmla="*/ 69 h 164"/>
                <a:gd name="T60" fmla="*/ 31 w 327"/>
                <a:gd name="T61" fmla="*/ 69 h 164"/>
                <a:gd name="T62" fmla="*/ 28 w 327"/>
                <a:gd name="T63" fmla="*/ 67 h 164"/>
                <a:gd name="T64" fmla="*/ 40 w 327"/>
                <a:gd name="T65" fmla="*/ 62 h 164"/>
                <a:gd name="T66" fmla="*/ 38 w 327"/>
                <a:gd name="T67" fmla="*/ 62 h 164"/>
                <a:gd name="T68" fmla="*/ 40 w 327"/>
                <a:gd name="T69" fmla="*/ 62 h 164"/>
                <a:gd name="T70" fmla="*/ 19 w 327"/>
                <a:gd name="T71" fmla="*/ 62 h 164"/>
                <a:gd name="T72" fmla="*/ 16 w 327"/>
                <a:gd name="T73" fmla="*/ 60 h 164"/>
                <a:gd name="T74" fmla="*/ 38 w 327"/>
                <a:gd name="T75" fmla="*/ 57 h 164"/>
                <a:gd name="T76" fmla="*/ 35 w 327"/>
                <a:gd name="T77" fmla="*/ 57 h 164"/>
                <a:gd name="T78" fmla="*/ 26 w 327"/>
                <a:gd name="T79" fmla="*/ 57 h 164"/>
                <a:gd name="T80" fmla="*/ 35 w 327"/>
                <a:gd name="T81" fmla="*/ 55 h 164"/>
                <a:gd name="T82" fmla="*/ 31 w 327"/>
                <a:gd name="T83" fmla="*/ 55 h 164"/>
                <a:gd name="T84" fmla="*/ 21 w 327"/>
                <a:gd name="T85" fmla="*/ 52 h 164"/>
                <a:gd name="T86" fmla="*/ 21 w 327"/>
                <a:gd name="T87" fmla="*/ 52 h 164"/>
                <a:gd name="T88" fmla="*/ 21 w 327"/>
                <a:gd name="T89" fmla="*/ 55 h 164"/>
                <a:gd name="T90" fmla="*/ 26 w 327"/>
                <a:gd name="T91" fmla="*/ 52 h 164"/>
                <a:gd name="T92" fmla="*/ 40 w 327"/>
                <a:gd name="T93" fmla="*/ 50 h 164"/>
                <a:gd name="T94" fmla="*/ 97 w 327"/>
                <a:gd name="T95" fmla="*/ 50 h 164"/>
                <a:gd name="T96" fmla="*/ 95 w 327"/>
                <a:gd name="T97" fmla="*/ 48 h 164"/>
                <a:gd name="T98" fmla="*/ 301 w 327"/>
                <a:gd name="T99" fmla="*/ 45 h 164"/>
                <a:gd name="T100" fmla="*/ 59 w 327"/>
                <a:gd name="T101" fmla="*/ 43 h 164"/>
                <a:gd name="T102" fmla="*/ 301 w 327"/>
                <a:gd name="T103" fmla="*/ 38 h 164"/>
                <a:gd name="T104" fmla="*/ 19 w 327"/>
                <a:gd name="T105" fmla="*/ 24 h 164"/>
                <a:gd name="T106" fmla="*/ 209 w 327"/>
                <a:gd name="T107" fmla="*/ 10 h 164"/>
                <a:gd name="T108" fmla="*/ 12 w 327"/>
                <a:gd name="T10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7" h="164">
                  <a:moveTo>
                    <a:pt x="168" y="164"/>
                  </a:moveTo>
                  <a:lnTo>
                    <a:pt x="168" y="162"/>
                  </a:lnTo>
                  <a:lnTo>
                    <a:pt x="168" y="164"/>
                  </a:lnTo>
                  <a:close/>
                  <a:moveTo>
                    <a:pt x="87" y="147"/>
                  </a:moveTo>
                  <a:lnTo>
                    <a:pt x="90" y="147"/>
                  </a:lnTo>
                  <a:lnTo>
                    <a:pt x="87" y="147"/>
                  </a:lnTo>
                  <a:close/>
                  <a:moveTo>
                    <a:pt x="76" y="145"/>
                  </a:moveTo>
                  <a:lnTo>
                    <a:pt x="76" y="147"/>
                  </a:lnTo>
                  <a:lnTo>
                    <a:pt x="76" y="145"/>
                  </a:lnTo>
                  <a:close/>
                  <a:moveTo>
                    <a:pt x="76" y="145"/>
                  </a:moveTo>
                  <a:lnTo>
                    <a:pt x="76" y="147"/>
                  </a:lnTo>
                  <a:lnTo>
                    <a:pt x="76" y="145"/>
                  </a:lnTo>
                  <a:close/>
                  <a:moveTo>
                    <a:pt x="95" y="140"/>
                  </a:moveTo>
                  <a:lnTo>
                    <a:pt x="92" y="140"/>
                  </a:lnTo>
                  <a:lnTo>
                    <a:pt x="95" y="140"/>
                  </a:lnTo>
                  <a:close/>
                  <a:moveTo>
                    <a:pt x="95" y="138"/>
                  </a:moveTo>
                  <a:lnTo>
                    <a:pt x="95" y="140"/>
                  </a:lnTo>
                  <a:lnTo>
                    <a:pt x="95" y="138"/>
                  </a:lnTo>
                  <a:close/>
                  <a:moveTo>
                    <a:pt x="85" y="138"/>
                  </a:moveTo>
                  <a:lnTo>
                    <a:pt x="87" y="138"/>
                  </a:lnTo>
                  <a:lnTo>
                    <a:pt x="85" y="138"/>
                  </a:lnTo>
                  <a:close/>
                  <a:moveTo>
                    <a:pt x="83" y="138"/>
                  </a:moveTo>
                  <a:lnTo>
                    <a:pt x="85" y="138"/>
                  </a:lnTo>
                  <a:lnTo>
                    <a:pt x="83" y="138"/>
                  </a:lnTo>
                  <a:close/>
                  <a:moveTo>
                    <a:pt x="97" y="136"/>
                  </a:moveTo>
                  <a:lnTo>
                    <a:pt x="97" y="138"/>
                  </a:lnTo>
                  <a:lnTo>
                    <a:pt x="97" y="136"/>
                  </a:lnTo>
                  <a:close/>
                  <a:moveTo>
                    <a:pt x="102" y="136"/>
                  </a:moveTo>
                  <a:lnTo>
                    <a:pt x="99" y="136"/>
                  </a:lnTo>
                  <a:lnTo>
                    <a:pt x="102" y="136"/>
                  </a:lnTo>
                  <a:close/>
                  <a:moveTo>
                    <a:pt x="92" y="133"/>
                  </a:moveTo>
                  <a:lnTo>
                    <a:pt x="92" y="136"/>
                  </a:lnTo>
                  <a:lnTo>
                    <a:pt x="92" y="133"/>
                  </a:lnTo>
                  <a:close/>
                  <a:moveTo>
                    <a:pt x="95" y="131"/>
                  </a:moveTo>
                  <a:lnTo>
                    <a:pt x="97" y="131"/>
                  </a:lnTo>
                  <a:lnTo>
                    <a:pt x="95" y="131"/>
                  </a:lnTo>
                  <a:close/>
                  <a:moveTo>
                    <a:pt x="47" y="117"/>
                  </a:moveTo>
                  <a:lnTo>
                    <a:pt x="50" y="117"/>
                  </a:lnTo>
                  <a:lnTo>
                    <a:pt x="47" y="117"/>
                  </a:lnTo>
                  <a:close/>
                  <a:moveTo>
                    <a:pt x="47" y="112"/>
                  </a:moveTo>
                  <a:lnTo>
                    <a:pt x="45" y="112"/>
                  </a:lnTo>
                  <a:lnTo>
                    <a:pt x="47" y="112"/>
                  </a:lnTo>
                  <a:close/>
                  <a:moveTo>
                    <a:pt x="40" y="109"/>
                  </a:moveTo>
                  <a:lnTo>
                    <a:pt x="40" y="112"/>
                  </a:lnTo>
                  <a:lnTo>
                    <a:pt x="40" y="109"/>
                  </a:lnTo>
                  <a:close/>
                  <a:moveTo>
                    <a:pt x="38" y="107"/>
                  </a:moveTo>
                  <a:lnTo>
                    <a:pt x="38" y="109"/>
                  </a:lnTo>
                  <a:lnTo>
                    <a:pt x="38" y="107"/>
                  </a:lnTo>
                  <a:close/>
                  <a:moveTo>
                    <a:pt x="35" y="105"/>
                  </a:moveTo>
                  <a:lnTo>
                    <a:pt x="33" y="105"/>
                  </a:lnTo>
                  <a:lnTo>
                    <a:pt x="35" y="105"/>
                  </a:lnTo>
                  <a:close/>
                  <a:moveTo>
                    <a:pt x="306" y="105"/>
                  </a:moveTo>
                  <a:lnTo>
                    <a:pt x="303" y="105"/>
                  </a:lnTo>
                  <a:lnTo>
                    <a:pt x="306" y="105"/>
                  </a:lnTo>
                  <a:close/>
                  <a:moveTo>
                    <a:pt x="33" y="105"/>
                  </a:moveTo>
                  <a:lnTo>
                    <a:pt x="35" y="105"/>
                  </a:lnTo>
                  <a:lnTo>
                    <a:pt x="33" y="105"/>
                  </a:lnTo>
                  <a:close/>
                  <a:moveTo>
                    <a:pt x="35" y="105"/>
                  </a:moveTo>
                  <a:lnTo>
                    <a:pt x="35" y="102"/>
                  </a:lnTo>
                  <a:lnTo>
                    <a:pt x="35" y="105"/>
                  </a:lnTo>
                  <a:close/>
                  <a:moveTo>
                    <a:pt x="303" y="102"/>
                  </a:moveTo>
                  <a:lnTo>
                    <a:pt x="301" y="102"/>
                  </a:lnTo>
                  <a:lnTo>
                    <a:pt x="303" y="102"/>
                  </a:lnTo>
                  <a:close/>
                  <a:moveTo>
                    <a:pt x="35" y="100"/>
                  </a:moveTo>
                  <a:lnTo>
                    <a:pt x="33" y="100"/>
                  </a:lnTo>
                  <a:lnTo>
                    <a:pt x="35" y="100"/>
                  </a:lnTo>
                  <a:close/>
                  <a:moveTo>
                    <a:pt x="35" y="95"/>
                  </a:moveTo>
                  <a:lnTo>
                    <a:pt x="35" y="98"/>
                  </a:lnTo>
                  <a:lnTo>
                    <a:pt x="35" y="95"/>
                  </a:lnTo>
                  <a:close/>
                  <a:moveTo>
                    <a:pt x="23" y="93"/>
                  </a:moveTo>
                  <a:lnTo>
                    <a:pt x="23" y="95"/>
                  </a:lnTo>
                  <a:lnTo>
                    <a:pt x="23" y="93"/>
                  </a:lnTo>
                  <a:close/>
                  <a:moveTo>
                    <a:pt x="31" y="95"/>
                  </a:moveTo>
                  <a:lnTo>
                    <a:pt x="28" y="95"/>
                  </a:lnTo>
                  <a:lnTo>
                    <a:pt x="28" y="93"/>
                  </a:lnTo>
                  <a:lnTo>
                    <a:pt x="31" y="93"/>
                  </a:lnTo>
                  <a:lnTo>
                    <a:pt x="31" y="95"/>
                  </a:lnTo>
                  <a:close/>
                  <a:moveTo>
                    <a:pt x="327" y="83"/>
                  </a:moveTo>
                  <a:lnTo>
                    <a:pt x="325" y="83"/>
                  </a:lnTo>
                  <a:lnTo>
                    <a:pt x="327" y="83"/>
                  </a:lnTo>
                  <a:close/>
                  <a:moveTo>
                    <a:pt x="4" y="83"/>
                  </a:moveTo>
                  <a:lnTo>
                    <a:pt x="2" y="83"/>
                  </a:lnTo>
                  <a:lnTo>
                    <a:pt x="4" y="83"/>
                  </a:lnTo>
                  <a:close/>
                  <a:moveTo>
                    <a:pt x="16" y="81"/>
                  </a:moveTo>
                  <a:lnTo>
                    <a:pt x="14" y="81"/>
                  </a:lnTo>
                  <a:lnTo>
                    <a:pt x="16" y="81"/>
                  </a:lnTo>
                  <a:close/>
                  <a:moveTo>
                    <a:pt x="54" y="81"/>
                  </a:moveTo>
                  <a:lnTo>
                    <a:pt x="52" y="81"/>
                  </a:lnTo>
                  <a:lnTo>
                    <a:pt x="54" y="81"/>
                  </a:lnTo>
                  <a:close/>
                  <a:moveTo>
                    <a:pt x="19" y="81"/>
                  </a:moveTo>
                  <a:lnTo>
                    <a:pt x="16" y="81"/>
                  </a:lnTo>
                  <a:lnTo>
                    <a:pt x="19" y="81"/>
                  </a:lnTo>
                  <a:close/>
                  <a:moveTo>
                    <a:pt x="280" y="81"/>
                  </a:moveTo>
                  <a:lnTo>
                    <a:pt x="280" y="79"/>
                  </a:lnTo>
                  <a:lnTo>
                    <a:pt x="280" y="81"/>
                  </a:lnTo>
                  <a:close/>
                  <a:moveTo>
                    <a:pt x="23" y="79"/>
                  </a:moveTo>
                  <a:lnTo>
                    <a:pt x="23" y="81"/>
                  </a:lnTo>
                  <a:lnTo>
                    <a:pt x="23" y="79"/>
                  </a:lnTo>
                  <a:close/>
                  <a:moveTo>
                    <a:pt x="26" y="79"/>
                  </a:moveTo>
                  <a:lnTo>
                    <a:pt x="23" y="79"/>
                  </a:lnTo>
                  <a:lnTo>
                    <a:pt x="26" y="79"/>
                  </a:lnTo>
                  <a:close/>
                  <a:moveTo>
                    <a:pt x="23" y="81"/>
                  </a:moveTo>
                  <a:lnTo>
                    <a:pt x="23" y="79"/>
                  </a:lnTo>
                  <a:lnTo>
                    <a:pt x="23" y="81"/>
                  </a:lnTo>
                  <a:close/>
                  <a:moveTo>
                    <a:pt x="28" y="79"/>
                  </a:moveTo>
                  <a:lnTo>
                    <a:pt x="26" y="79"/>
                  </a:lnTo>
                  <a:lnTo>
                    <a:pt x="28" y="79"/>
                  </a:lnTo>
                  <a:close/>
                  <a:moveTo>
                    <a:pt x="31" y="79"/>
                  </a:moveTo>
                  <a:lnTo>
                    <a:pt x="28" y="79"/>
                  </a:lnTo>
                  <a:lnTo>
                    <a:pt x="31" y="79"/>
                  </a:lnTo>
                  <a:close/>
                  <a:moveTo>
                    <a:pt x="28" y="79"/>
                  </a:moveTo>
                  <a:lnTo>
                    <a:pt x="26" y="79"/>
                  </a:lnTo>
                  <a:lnTo>
                    <a:pt x="28" y="79"/>
                  </a:lnTo>
                  <a:close/>
                  <a:moveTo>
                    <a:pt x="21" y="79"/>
                  </a:moveTo>
                  <a:lnTo>
                    <a:pt x="19" y="79"/>
                  </a:lnTo>
                  <a:lnTo>
                    <a:pt x="21" y="79"/>
                  </a:lnTo>
                  <a:close/>
                  <a:moveTo>
                    <a:pt x="26" y="79"/>
                  </a:moveTo>
                  <a:lnTo>
                    <a:pt x="23" y="79"/>
                  </a:lnTo>
                  <a:lnTo>
                    <a:pt x="26" y="79"/>
                  </a:lnTo>
                  <a:close/>
                  <a:moveTo>
                    <a:pt x="35" y="79"/>
                  </a:moveTo>
                  <a:lnTo>
                    <a:pt x="33" y="79"/>
                  </a:lnTo>
                  <a:lnTo>
                    <a:pt x="35" y="79"/>
                  </a:lnTo>
                  <a:close/>
                  <a:moveTo>
                    <a:pt x="33" y="79"/>
                  </a:moveTo>
                  <a:lnTo>
                    <a:pt x="33" y="76"/>
                  </a:lnTo>
                  <a:lnTo>
                    <a:pt x="33" y="79"/>
                  </a:lnTo>
                  <a:close/>
                  <a:moveTo>
                    <a:pt x="35" y="76"/>
                  </a:moveTo>
                  <a:lnTo>
                    <a:pt x="35" y="79"/>
                  </a:lnTo>
                  <a:lnTo>
                    <a:pt x="33" y="76"/>
                  </a:lnTo>
                  <a:lnTo>
                    <a:pt x="35" y="76"/>
                  </a:lnTo>
                  <a:close/>
                  <a:moveTo>
                    <a:pt x="28" y="76"/>
                  </a:moveTo>
                  <a:lnTo>
                    <a:pt x="28" y="79"/>
                  </a:lnTo>
                  <a:lnTo>
                    <a:pt x="28" y="76"/>
                  </a:lnTo>
                  <a:lnTo>
                    <a:pt x="28" y="79"/>
                  </a:lnTo>
                  <a:lnTo>
                    <a:pt x="28" y="76"/>
                  </a:lnTo>
                  <a:lnTo>
                    <a:pt x="28" y="79"/>
                  </a:lnTo>
                  <a:lnTo>
                    <a:pt x="28" y="76"/>
                  </a:lnTo>
                  <a:close/>
                  <a:moveTo>
                    <a:pt x="33" y="76"/>
                  </a:moveTo>
                  <a:lnTo>
                    <a:pt x="33" y="79"/>
                  </a:lnTo>
                  <a:lnTo>
                    <a:pt x="33" y="76"/>
                  </a:lnTo>
                  <a:close/>
                  <a:moveTo>
                    <a:pt x="33" y="76"/>
                  </a:moveTo>
                  <a:lnTo>
                    <a:pt x="31" y="76"/>
                  </a:lnTo>
                  <a:lnTo>
                    <a:pt x="33" y="76"/>
                  </a:lnTo>
                  <a:close/>
                  <a:moveTo>
                    <a:pt x="35" y="76"/>
                  </a:moveTo>
                  <a:lnTo>
                    <a:pt x="33" y="76"/>
                  </a:lnTo>
                  <a:lnTo>
                    <a:pt x="35" y="76"/>
                  </a:lnTo>
                  <a:close/>
                  <a:moveTo>
                    <a:pt x="14" y="76"/>
                  </a:moveTo>
                  <a:lnTo>
                    <a:pt x="12" y="76"/>
                  </a:lnTo>
                  <a:lnTo>
                    <a:pt x="14" y="76"/>
                  </a:lnTo>
                  <a:close/>
                  <a:moveTo>
                    <a:pt x="33" y="76"/>
                  </a:moveTo>
                  <a:lnTo>
                    <a:pt x="31" y="76"/>
                  </a:lnTo>
                  <a:lnTo>
                    <a:pt x="33" y="76"/>
                  </a:lnTo>
                  <a:close/>
                  <a:moveTo>
                    <a:pt x="19" y="76"/>
                  </a:moveTo>
                  <a:lnTo>
                    <a:pt x="21" y="76"/>
                  </a:lnTo>
                  <a:lnTo>
                    <a:pt x="19" y="76"/>
                  </a:lnTo>
                  <a:close/>
                  <a:moveTo>
                    <a:pt x="33" y="76"/>
                  </a:moveTo>
                  <a:lnTo>
                    <a:pt x="31" y="76"/>
                  </a:lnTo>
                  <a:lnTo>
                    <a:pt x="33" y="76"/>
                  </a:lnTo>
                  <a:close/>
                  <a:moveTo>
                    <a:pt x="42" y="76"/>
                  </a:moveTo>
                  <a:lnTo>
                    <a:pt x="40" y="76"/>
                  </a:lnTo>
                  <a:lnTo>
                    <a:pt x="42" y="76"/>
                  </a:lnTo>
                  <a:close/>
                  <a:moveTo>
                    <a:pt x="23" y="76"/>
                  </a:moveTo>
                  <a:lnTo>
                    <a:pt x="23" y="74"/>
                  </a:lnTo>
                  <a:lnTo>
                    <a:pt x="23" y="76"/>
                  </a:lnTo>
                  <a:close/>
                  <a:moveTo>
                    <a:pt x="38" y="76"/>
                  </a:moveTo>
                  <a:lnTo>
                    <a:pt x="38" y="74"/>
                  </a:lnTo>
                  <a:lnTo>
                    <a:pt x="38" y="76"/>
                  </a:lnTo>
                  <a:close/>
                  <a:moveTo>
                    <a:pt x="31" y="74"/>
                  </a:moveTo>
                  <a:lnTo>
                    <a:pt x="28" y="74"/>
                  </a:lnTo>
                  <a:lnTo>
                    <a:pt x="31" y="74"/>
                  </a:lnTo>
                  <a:close/>
                  <a:moveTo>
                    <a:pt x="31" y="74"/>
                  </a:moveTo>
                  <a:lnTo>
                    <a:pt x="28" y="74"/>
                  </a:lnTo>
                  <a:lnTo>
                    <a:pt x="31" y="74"/>
                  </a:lnTo>
                  <a:close/>
                  <a:moveTo>
                    <a:pt x="28" y="71"/>
                  </a:moveTo>
                  <a:lnTo>
                    <a:pt x="28" y="74"/>
                  </a:lnTo>
                  <a:lnTo>
                    <a:pt x="28" y="71"/>
                  </a:lnTo>
                  <a:close/>
                  <a:moveTo>
                    <a:pt x="31" y="69"/>
                  </a:moveTo>
                  <a:lnTo>
                    <a:pt x="31" y="67"/>
                  </a:lnTo>
                  <a:lnTo>
                    <a:pt x="31" y="69"/>
                  </a:lnTo>
                  <a:close/>
                  <a:moveTo>
                    <a:pt x="33" y="69"/>
                  </a:moveTo>
                  <a:lnTo>
                    <a:pt x="31" y="69"/>
                  </a:lnTo>
                  <a:lnTo>
                    <a:pt x="33" y="69"/>
                  </a:lnTo>
                  <a:lnTo>
                    <a:pt x="33" y="67"/>
                  </a:lnTo>
                  <a:lnTo>
                    <a:pt x="33" y="69"/>
                  </a:lnTo>
                  <a:close/>
                  <a:moveTo>
                    <a:pt x="31" y="69"/>
                  </a:moveTo>
                  <a:lnTo>
                    <a:pt x="31" y="67"/>
                  </a:lnTo>
                  <a:lnTo>
                    <a:pt x="31" y="69"/>
                  </a:lnTo>
                  <a:close/>
                  <a:moveTo>
                    <a:pt x="33" y="67"/>
                  </a:moveTo>
                  <a:lnTo>
                    <a:pt x="31" y="67"/>
                  </a:lnTo>
                  <a:lnTo>
                    <a:pt x="33" y="67"/>
                  </a:lnTo>
                  <a:close/>
                  <a:moveTo>
                    <a:pt x="28" y="67"/>
                  </a:moveTo>
                  <a:lnTo>
                    <a:pt x="26" y="67"/>
                  </a:lnTo>
                  <a:lnTo>
                    <a:pt x="28" y="67"/>
                  </a:lnTo>
                  <a:close/>
                  <a:moveTo>
                    <a:pt x="38" y="62"/>
                  </a:moveTo>
                  <a:lnTo>
                    <a:pt x="38" y="64"/>
                  </a:lnTo>
                  <a:lnTo>
                    <a:pt x="38" y="62"/>
                  </a:lnTo>
                  <a:close/>
                  <a:moveTo>
                    <a:pt x="42" y="62"/>
                  </a:moveTo>
                  <a:lnTo>
                    <a:pt x="40" y="64"/>
                  </a:lnTo>
                  <a:lnTo>
                    <a:pt x="40" y="62"/>
                  </a:lnTo>
                  <a:lnTo>
                    <a:pt x="42" y="62"/>
                  </a:lnTo>
                  <a:close/>
                  <a:moveTo>
                    <a:pt x="42" y="62"/>
                  </a:moveTo>
                  <a:lnTo>
                    <a:pt x="40" y="62"/>
                  </a:lnTo>
                  <a:lnTo>
                    <a:pt x="42" y="62"/>
                  </a:lnTo>
                  <a:close/>
                  <a:moveTo>
                    <a:pt x="40" y="62"/>
                  </a:moveTo>
                  <a:lnTo>
                    <a:pt x="38" y="62"/>
                  </a:lnTo>
                  <a:lnTo>
                    <a:pt x="40" y="62"/>
                  </a:lnTo>
                  <a:close/>
                  <a:moveTo>
                    <a:pt x="38" y="62"/>
                  </a:moveTo>
                  <a:lnTo>
                    <a:pt x="38" y="60"/>
                  </a:lnTo>
                  <a:lnTo>
                    <a:pt x="38" y="62"/>
                  </a:lnTo>
                  <a:close/>
                  <a:moveTo>
                    <a:pt x="40" y="60"/>
                  </a:moveTo>
                  <a:lnTo>
                    <a:pt x="40" y="62"/>
                  </a:lnTo>
                  <a:lnTo>
                    <a:pt x="40" y="60"/>
                  </a:lnTo>
                  <a:close/>
                  <a:moveTo>
                    <a:pt x="38" y="60"/>
                  </a:moveTo>
                  <a:lnTo>
                    <a:pt x="38" y="62"/>
                  </a:lnTo>
                  <a:lnTo>
                    <a:pt x="38" y="60"/>
                  </a:lnTo>
                  <a:close/>
                  <a:moveTo>
                    <a:pt x="19" y="60"/>
                  </a:moveTo>
                  <a:lnTo>
                    <a:pt x="19" y="62"/>
                  </a:lnTo>
                  <a:lnTo>
                    <a:pt x="19" y="60"/>
                  </a:lnTo>
                  <a:close/>
                  <a:moveTo>
                    <a:pt x="21" y="60"/>
                  </a:moveTo>
                  <a:lnTo>
                    <a:pt x="19" y="60"/>
                  </a:lnTo>
                  <a:lnTo>
                    <a:pt x="21" y="60"/>
                  </a:lnTo>
                  <a:close/>
                  <a:moveTo>
                    <a:pt x="14" y="60"/>
                  </a:moveTo>
                  <a:lnTo>
                    <a:pt x="16" y="60"/>
                  </a:lnTo>
                  <a:lnTo>
                    <a:pt x="14" y="60"/>
                  </a:lnTo>
                  <a:close/>
                  <a:moveTo>
                    <a:pt x="21" y="57"/>
                  </a:moveTo>
                  <a:lnTo>
                    <a:pt x="21" y="60"/>
                  </a:lnTo>
                  <a:lnTo>
                    <a:pt x="21" y="57"/>
                  </a:lnTo>
                  <a:close/>
                  <a:moveTo>
                    <a:pt x="40" y="57"/>
                  </a:moveTo>
                  <a:lnTo>
                    <a:pt x="38" y="57"/>
                  </a:lnTo>
                  <a:lnTo>
                    <a:pt x="40" y="57"/>
                  </a:lnTo>
                  <a:close/>
                  <a:moveTo>
                    <a:pt x="14" y="57"/>
                  </a:moveTo>
                  <a:lnTo>
                    <a:pt x="12" y="57"/>
                  </a:lnTo>
                  <a:lnTo>
                    <a:pt x="14" y="57"/>
                  </a:lnTo>
                  <a:close/>
                  <a:moveTo>
                    <a:pt x="38" y="57"/>
                  </a:moveTo>
                  <a:lnTo>
                    <a:pt x="35" y="57"/>
                  </a:lnTo>
                  <a:lnTo>
                    <a:pt x="38" y="57"/>
                  </a:lnTo>
                  <a:close/>
                  <a:moveTo>
                    <a:pt x="52" y="57"/>
                  </a:moveTo>
                  <a:lnTo>
                    <a:pt x="50" y="57"/>
                  </a:lnTo>
                  <a:lnTo>
                    <a:pt x="52" y="57"/>
                  </a:lnTo>
                  <a:close/>
                  <a:moveTo>
                    <a:pt x="23" y="57"/>
                  </a:moveTo>
                  <a:lnTo>
                    <a:pt x="26" y="57"/>
                  </a:lnTo>
                  <a:lnTo>
                    <a:pt x="23" y="57"/>
                  </a:lnTo>
                  <a:close/>
                  <a:moveTo>
                    <a:pt x="35" y="57"/>
                  </a:moveTo>
                  <a:lnTo>
                    <a:pt x="35" y="55"/>
                  </a:lnTo>
                  <a:lnTo>
                    <a:pt x="35" y="57"/>
                  </a:lnTo>
                  <a:close/>
                  <a:moveTo>
                    <a:pt x="35" y="57"/>
                  </a:moveTo>
                  <a:lnTo>
                    <a:pt x="35" y="55"/>
                  </a:lnTo>
                  <a:lnTo>
                    <a:pt x="35" y="57"/>
                  </a:lnTo>
                  <a:close/>
                  <a:moveTo>
                    <a:pt x="50" y="55"/>
                  </a:moveTo>
                  <a:lnTo>
                    <a:pt x="47" y="55"/>
                  </a:lnTo>
                  <a:lnTo>
                    <a:pt x="50" y="55"/>
                  </a:lnTo>
                  <a:close/>
                  <a:moveTo>
                    <a:pt x="33" y="55"/>
                  </a:moveTo>
                  <a:lnTo>
                    <a:pt x="31" y="55"/>
                  </a:lnTo>
                  <a:lnTo>
                    <a:pt x="33" y="55"/>
                  </a:lnTo>
                  <a:close/>
                  <a:moveTo>
                    <a:pt x="35" y="55"/>
                  </a:moveTo>
                  <a:lnTo>
                    <a:pt x="33" y="55"/>
                  </a:lnTo>
                  <a:lnTo>
                    <a:pt x="35" y="55"/>
                  </a:lnTo>
                  <a:close/>
                  <a:moveTo>
                    <a:pt x="21" y="55"/>
                  </a:moveTo>
                  <a:lnTo>
                    <a:pt x="21" y="52"/>
                  </a:lnTo>
                  <a:lnTo>
                    <a:pt x="21" y="55"/>
                  </a:lnTo>
                  <a:close/>
                  <a:moveTo>
                    <a:pt x="33" y="55"/>
                  </a:moveTo>
                  <a:lnTo>
                    <a:pt x="33" y="52"/>
                  </a:lnTo>
                  <a:lnTo>
                    <a:pt x="33" y="55"/>
                  </a:lnTo>
                  <a:close/>
                  <a:moveTo>
                    <a:pt x="21" y="55"/>
                  </a:moveTo>
                  <a:lnTo>
                    <a:pt x="21" y="52"/>
                  </a:lnTo>
                  <a:lnTo>
                    <a:pt x="21" y="55"/>
                  </a:lnTo>
                  <a:close/>
                  <a:moveTo>
                    <a:pt x="47" y="52"/>
                  </a:moveTo>
                  <a:lnTo>
                    <a:pt x="47" y="55"/>
                  </a:lnTo>
                  <a:lnTo>
                    <a:pt x="47" y="52"/>
                  </a:lnTo>
                  <a:close/>
                  <a:moveTo>
                    <a:pt x="21" y="52"/>
                  </a:moveTo>
                  <a:lnTo>
                    <a:pt x="21" y="55"/>
                  </a:lnTo>
                  <a:lnTo>
                    <a:pt x="21" y="52"/>
                  </a:lnTo>
                  <a:close/>
                  <a:moveTo>
                    <a:pt x="35" y="52"/>
                  </a:moveTo>
                  <a:lnTo>
                    <a:pt x="33" y="52"/>
                  </a:lnTo>
                  <a:lnTo>
                    <a:pt x="35" y="52"/>
                  </a:lnTo>
                  <a:close/>
                  <a:moveTo>
                    <a:pt x="28" y="52"/>
                  </a:moveTo>
                  <a:lnTo>
                    <a:pt x="26" y="52"/>
                  </a:lnTo>
                  <a:lnTo>
                    <a:pt x="28" y="52"/>
                  </a:lnTo>
                  <a:close/>
                  <a:moveTo>
                    <a:pt x="16" y="52"/>
                  </a:moveTo>
                  <a:lnTo>
                    <a:pt x="16" y="50"/>
                  </a:lnTo>
                  <a:lnTo>
                    <a:pt x="16" y="52"/>
                  </a:lnTo>
                  <a:close/>
                  <a:moveTo>
                    <a:pt x="42" y="50"/>
                  </a:moveTo>
                  <a:lnTo>
                    <a:pt x="40" y="50"/>
                  </a:lnTo>
                  <a:lnTo>
                    <a:pt x="42" y="50"/>
                  </a:lnTo>
                  <a:close/>
                  <a:moveTo>
                    <a:pt x="92" y="50"/>
                  </a:moveTo>
                  <a:lnTo>
                    <a:pt x="92" y="48"/>
                  </a:lnTo>
                  <a:lnTo>
                    <a:pt x="92" y="50"/>
                  </a:lnTo>
                  <a:close/>
                  <a:moveTo>
                    <a:pt x="97" y="48"/>
                  </a:moveTo>
                  <a:lnTo>
                    <a:pt x="97" y="50"/>
                  </a:lnTo>
                  <a:lnTo>
                    <a:pt x="97" y="48"/>
                  </a:lnTo>
                  <a:close/>
                  <a:moveTo>
                    <a:pt x="97" y="48"/>
                  </a:moveTo>
                  <a:lnTo>
                    <a:pt x="95" y="50"/>
                  </a:lnTo>
                  <a:lnTo>
                    <a:pt x="95" y="48"/>
                  </a:lnTo>
                  <a:lnTo>
                    <a:pt x="97" y="48"/>
                  </a:lnTo>
                  <a:close/>
                  <a:moveTo>
                    <a:pt x="95" y="48"/>
                  </a:moveTo>
                  <a:lnTo>
                    <a:pt x="97" y="48"/>
                  </a:lnTo>
                  <a:lnTo>
                    <a:pt x="95" y="48"/>
                  </a:lnTo>
                  <a:close/>
                  <a:moveTo>
                    <a:pt x="99" y="48"/>
                  </a:moveTo>
                  <a:lnTo>
                    <a:pt x="97" y="48"/>
                  </a:lnTo>
                  <a:lnTo>
                    <a:pt x="99" y="48"/>
                  </a:lnTo>
                  <a:close/>
                  <a:moveTo>
                    <a:pt x="301" y="45"/>
                  </a:moveTo>
                  <a:lnTo>
                    <a:pt x="299" y="45"/>
                  </a:lnTo>
                  <a:lnTo>
                    <a:pt x="301" y="45"/>
                  </a:lnTo>
                  <a:close/>
                  <a:moveTo>
                    <a:pt x="59" y="45"/>
                  </a:moveTo>
                  <a:lnTo>
                    <a:pt x="57" y="45"/>
                  </a:lnTo>
                  <a:lnTo>
                    <a:pt x="59" y="45"/>
                  </a:lnTo>
                  <a:close/>
                  <a:moveTo>
                    <a:pt x="59" y="43"/>
                  </a:moveTo>
                  <a:lnTo>
                    <a:pt x="59" y="41"/>
                  </a:lnTo>
                  <a:lnTo>
                    <a:pt x="59" y="43"/>
                  </a:lnTo>
                  <a:close/>
                  <a:moveTo>
                    <a:pt x="66" y="38"/>
                  </a:moveTo>
                  <a:lnTo>
                    <a:pt x="64" y="38"/>
                  </a:lnTo>
                  <a:lnTo>
                    <a:pt x="66" y="38"/>
                  </a:lnTo>
                  <a:close/>
                  <a:moveTo>
                    <a:pt x="301" y="38"/>
                  </a:moveTo>
                  <a:lnTo>
                    <a:pt x="299" y="38"/>
                  </a:lnTo>
                  <a:lnTo>
                    <a:pt x="301" y="38"/>
                  </a:lnTo>
                  <a:close/>
                  <a:moveTo>
                    <a:pt x="2" y="26"/>
                  </a:moveTo>
                  <a:lnTo>
                    <a:pt x="0" y="26"/>
                  </a:lnTo>
                  <a:lnTo>
                    <a:pt x="2" y="26"/>
                  </a:lnTo>
                  <a:close/>
                  <a:moveTo>
                    <a:pt x="19" y="24"/>
                  </a:moveTo>
                  <a:lnTo>
                    <a:pt x="19" y="26"/>
                  </a:lnTo>
                  <a:lnTo>
                    <a:pt x="19" y="24"/>
                  </a:lnTo>
                  <a:close/>
                  <a:moveTo>
                    <a:pt x="140" y="21"/>
                  </a:moveTo>
                  <a:lnTo>
                    <a:pt x="142" y="21"/>
                  </a:lnTo>
                  <a:lnTo>
                    <a:pt x="140" y="21"/>
                  </a:lnTo>
                  <a:close/>
                  <a:moveTo>
                    <a:pt x="209" y="10"/>
                  </a:moveTo>
                  <a:lnTo>
                    <a:pt x="206" y="10"/>
                  </a:lnTo>
                  <a:lnTo>
                    <a:pt x="206" y="7"/>
                  </a:lnTo>
                  <a:lnTo>
                    <a:pt x="209" y="7"/>
                  </a:lnTo>
                  <a:lnTo>
                    <a:pt x="209" y="10"/>
                  </a:lnTo>
                  <a:close/>
                  <a:moveTo>
                    <a:pt x="12" y="2"/>
                  </a:moveTo>
                  <a:lnTo>
                    <a:pt x="12" y="0"/>
                  </a:lnTo>
                  <a:lnTo>
                    <a:pt x="12"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7" name="Freeform 52464"/>
            <p:cNvSpPr>
              <a:spLocks/>
            </p:cNvSpPr>
            <p:nvPr/>
          </p:nvSpPr>
          <p:spPr bwMode="auto">
            <a:xfrm>
              <a:off x="1479548" y="4275153"/>
              <a:ext cx="233363" cy="312739"/>
            </a:xfrm>
            <a:custGeom>
              <a:avLst/>
              <a:gdLst>
                <a:gd name="T0" fmla="*/ 69 w 147"/>
                <a:gd name="T1" fmla="*/ 176 h 197"/>
                <a:gd name="T2" fmla="*/ 66 w 147"/>
                <a:gd name="T3" fmla="*/ 183 h 197"/>
                <a:gd name="T4" fmla="*/ 59 w 147"/>
                <a:gd name="T5" fmla="*/ 188 h 197"/>
                <a:gd name="T6" fmla="*/ 42 w 147"/>
                <a:gd name="T7" fmla="*/ 190 h 197"/>
                <a:gd name="T8" fmla="*/ 35 w 147"/>
                <a:gd name="T9" fmla="*/ 192 h 197"/>
                <a:gd name="T10" fmla="*/ 24 w 147"/>
                <a:gd name="T11" fmla="*/ 195 h 197"/>
                <a:gd name="T12" fmla="*/ 21 w 147"/>
                <a:gd name="T13" fmla="*/ 190 h 197"/>
                <a:gd name="T14" fmla="*/ 9 w 147"/>
                <a:gd name="T15" fmla="*/ 190 h 197"/>
                <a:gd name="T16" fmla="*/ 21 w 147"/>
                <a:gd name="T17" fmla="*/ 183 h 197"/>
                <a:gd name="T18" fmla="*/ 16 w 147"/>
                <a:gd name="T19" fmla="*/ 181 h 197"/>
                <a:gd name="T20" fmla="*/ 5 w 147"/>
                <a:gd name="T21" fmla="*/ 178 h 197"/>
                <a:gd name="T22" fmla="*/ 24 w 147"/>
                <a:gd name="T23" fmla="*/ 164 h 197"/>
                <a:gd name="T24" fmla="*/ 0 w 147"/>
                <a:gd name="T25" fmla="*/ 159 h 197"/>
                <a:gd name="T26" fmla="*/ 14 w 147"/>
                <a:gd name="T27" fmla="*/ 157 h 197"/>
                <a:gd name="T28" fmla="*/ 19 w 147"/>
                <a:gd name="T29" fmla="*/ 150 h 197"/>
                <a:gd name="T30" fmla="*/ 33 w 147"/>
                <a:gd name="T31" fmla="*/ 143 h 197"/>
                <a:gd name="T32" fmla="*/ 54 w 147"/>
                <a:gd name="T33" fmla="*/ 135 h 197"/>
                <a:gd name="T34" fmla="*/ 38 w 147"/>
                <a:gd name="T35" fmla="*/ 140 h 197"/>
                <a:gd name="T36" fmla="*/ 19 w 147"/>
                <a:gd name="T37" fmla="*/ 140 h 197"/>
                <a:gd name="T38" fmla="*/ 35 w 147"/>
                <a:gd name="T39" fmla="*/ 124 h 197"/>
                <a:gd name="T40" fmla="*/ 50 w 147"/>
                <a:gd name="T41" fmla="*/ 114 h 197"/>
                <a:gd name="T42" fmla="*/ 45 w 147"/>
                <a:gd name="T43" fmla="*/ 107 h 197"/>
                <a:gd name="T44" fmla="*/ 28 w 147"/>
                <a:gd name="T45" fmla="*/ 105 h 197"/>
                <a:gd name="T46" fmla="*/ 21 w 147"/>
                <a:gd name="T47" fmla="*/ 107 h 197"/>
                <a:gd name="T48" fmla="*/ 12 w 147"/>
                <a:gd name="T49" fmla="*/ 100 h 197"/>
                <a:gd name="T50" fmla="*/ 14 w 147"/>
                <a:gd name="T51" fmla="*/ 93 h 197"/>
                <a:gd name="T52" fmla="*/ 16 w 147"/>
                <a:gd name="T53" fmla="*/ 86 h 197"/>
                <a:gd name="T54" fmla="*/ 31 w 147"/>
                <a:gd name="T55" fmla="*/ 76 h 197"/>
                <a:gd name="T56" fmla="*/ 7 w 147"/>
                <a:gd name="T57" fmla="*/ 71 h 197"/>
                <a:gd name="T58" fmla="*/ 21 w 147"/>
                <a:gd name="T59" fmla="*/ 74 h 197"/>
                <a:gd name="T60" fmla="*/ 19 w 147"/>
                <a:gd name="T61" fmla="*/ 67 h 197"/>
                <a:gd name="T62" fmla="*/ 12 w 147"/>
                <a:gd name="T63" fmla="*/ 62 h 197"/>
                <a:gd name="T64" fmla="*/ 19 w 147"/>
                <a:gd name="T65" fmla="*/ 59 h 197"/>
                <a:gd name="T66" fmla="*/ 28 w 147"/>
                <a:gd name="T67" fmla="*/ 55 h 197"/>
                <a:gd name="T68" fmla="*/ 45 w 147"/>
                <a:gd name="T69" fmla="*/ 62 h 197"/>
                <a:gd name="T70" fmla="*/ 64 w 147"/>
                <a:gd name="T71" fmla="*/ 59 h 197"/>
                <a:gd name="T72" fmla="*/ 61 w 147"/>
                <a:gd name="T73" fmla="*/ 50 h 197"/>
                <a:gd name="T74" fmla="*/ 78 w 147"/>
                <a:gd name="T75" fmla="*/ 40 h 197"/>
                <a:gd name="T76" fmla="*/ 69 w 147"/>
                <a:gd name="T77" fmla="*/ 40 h 197"/>
                <a:gd name="T78" fmla="*/ 61 w 147"/>
                <a:gd name="T79" fmla="*/ 38 h 197"/>
                <a:gd name="T80" fmla="*/ 64 w 147"/>
                <a:gd name="T81" fmla="*/ 29 h 197"/>
                <a:gd name="T82" fmla="*/ 66 w 147"/>
                <a:gd name="T83" fmla="*/ 26 h 197"/>
                <a:gd name="T84" fmla="*/ 71 w 147"/>
                <a:gd name="T85" fmla="*/ 17 h 197"/>
                <a:gd name="T86" fmla="*/ 85 w 147"/>
                <a:gd name="T87" fmla="*/ 12 h 197"/>
                <a:gd name="T88" fmla="*/ 90 w 147"/>
                <a:gd name="T89" fmla="*/ 12 h 197"/>
                <a:gd name="T90" fmla="*/ 90 w 147"/>
                <a:gd name="T91" fmla="*/ 7 h 197"/>
                <a:gd name="T92" fmla="*/ 97 w 147"/>
                <a:gd name="T93" fmla="*/ 19 h 197"/>
                <a:gd name="T94" fmla="*/ 104 w 147"/>
                <a:gd name="T95" fmla="*/ 5 h 197"/>
                <a:gd name="T96" fmla="*/ 116 w 147"/>
                <a:gd name="T97" fmla="*/ 7 h 197"/>
                <a:gd name="T98" fmla="*/ 97 w 147"/>
                <a:gd name="T99" fmla="*/ 33 h 197"/>
                <a:gd name="T100" fmla="*/ 78 w 147"/>
                <a:gd name="T101" fmla="*/ 45 h 197"/>
                <a:gd name="T102" fmla="*/ 102 w 147"/>
                <a:gd name="T103" fmla="*/ 62 h 197"/>
                <a:gd name="T104" fmla="*/ 123 w 147"/>
                <a:gd name="T105" fmla="*/ 62 h 197"/>
                <a:gd name="T106" fmla="*/ 145 w 147"/>
                <a:gd name="T107" fmla="*/ 71 h 197"/>
                <a:gd name="T108" fmla="*/ 140 w 147"/>
                <a:gd name="T109" fmla="*/ 86 h 197"/>
                <a:gd name="T110" fmla="*/ 145 w 147"/>
                <a:gd name="T111" fmla="*/ 107 h 197"/>
                <a:gd name="T112" fmla="*/ 140 w 147"/>
                <a:gd name="T113" fmla="*/ 135 h 197"/>
                <a:gd name="T114" fmla="*/ 133 w 147"/>
                <a:gd name="T115" fmla="*/ 154 h 197"/>
                <a:gd name="T116" fmla="*/ 118 w 147"/>
                <a:gd name="T117" fmla="*/ 159 h 197"/>
                <a:gd name="T118" fmla="*/ 114 w 147"/>
                <a:gd name="T119" fmla="*/ 157 h 197"/>
                <a:gd name="T120" fmla="*/ 111 w 147"/>
                <a:gd name="T121" fmla="*/ 164 h 197"/>
                <a:gd name="T122" fmla="*/ 95 w 147"/>
                <a:gd name="T123" fmla="*/ 166 h 197"/>
                <a:gd name="T124" fmla="*/ 83 w 147"/>
                <a:gd name="T125" fmla="*/ 1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97">
                  <a:moveTo>
                    <a:pt x="76" y="178"/>
                  </a:moveTo>
                  <a:lnTo>
                    <a:pt x="73" y="178"/>
                  </a:lnTo>
                  <a:lnTo>
                    <a:pt x="76" y="178"/>
                  </a:lnTo>
                  <a:lnTo>
                    <a:pt x="76" y="176"/>
                  </a:lnTo>
                  <a:lnTo>
                    <a:pt x="73" y="176"/>
                  </a:lnTo>
                  <a:lnTo>
                    <a:pt x="76" y="176"/>
                  </a:lnTo>
                  <a:lnTo>
                    <a:pt x="73" y="176"/>
                  </a:lnTo>
                  <a:lnTo>
                    <a:pt x="71" y="176"/>
                  </a:lnTo>
                  <a:lnTo>
                    <a:pt x="73" y="176"/>
                  </a:lnTo>
                  <a:lnTo>
                    <a:pt x="71" y="176"/>
                  </a:lnTo>
                  <a:lnTo>
                    <a:pt x="73" y="176"/>
                  </a:lnTo>
                  <a:lnTo>
                    <a:pt x="71" y="178"/>
                  </a:lnTo>
                  <a:lnTo>
                    <a:pt x="71" y="176"/>
                  </a:lnTo>
                  <a:lnTo>
                    <a:pt x="71" y="173"/>
                  </a:lnTo>
                  <a:lnTo>
                    <a:pt x="71" y="176"/>
                  </a:lnTo>
                  <a:lnTo>
                    <a:pt x="71" y="173"/>
                  </a:lnTo>
                  <a:lnTo>
                    <a:pt x="71" y="176"/>
                  </a:lnTo>
                  <a:lnTo>
                    <a:pt x="71" y="173"/>
                  </a:lnTo>
                  <a:lnTo>
                    <a:pt x="71" y="176"/>
                  </a:lnTo>
                  <a:lnTo>
                    <a:pt x="69" y="176"/>
                  </a:lnTo>
                  <a:lnTo>
                    <a:pt x="69" y="173"/>
                  </a:lnTo>
                  <a:lnTo>
                    <a:pt x="69" y="176"/>
                  </a:lnTo>
                  <a:lnTo>
                    <a:pt x="66" y="176"/>
                  </a:lnTo>
                  <a:lnTo>
                    <a:pt x="69" y="176"/>
                  </a:lnTo>
                  <a:lnTo>
                    <a:pt x="66" y="176"/>
                  </a:lnTo>
                  <a:lnTo>
                    <a:pt x="69" y="176"/>
                  </a:lnTo>
                  <a:lnTo>
                    <a:pt x="71" y="176"/>
                  </a:lnTo>
                  <a:lnTo>
                    <a:pt x="71" y="178"/>
                  </a:lnTo>
                  <a:lnTo>
                    <a:pt x="69" y="178"/>
                  </a:lnTo>
                  <a:lnTo>
                    <a:pt x="71" y="178"/>
                  </a:lnTo>
                  <a:lnTo>
                    <a:pt x="71" y="181"/>
                  </a:lnTo>
                  <a:lnTo>
                    <a:pt x="71" y="178"/>
                  </a:lnTo>
                  <a:lnTo>
                    <a:pt x="71" y="181"/>
                  </a:lnTo>
                  <a:lnTo>
                    <a:pt x="71" y="178"/>
                  </a:lnTo>
                  <a:lnTo>
                    <a:pt x="71" y="181"/>
                  </a:lnTo>
                  <a:lnTo>
                    <a:pt x="69" y="178"/>
                  </a:lnTo>
                  <a:lnTo>
                    <a:pt x="71" y="181"/>
                  </a:lnTo>
                  <a:lnTo>
                    <a:pt x="71" y="178"/>
                  </a:lnTo>
                  <a:lnTo>
                    <a:pt x="71" y="181"/>
                  </a:lnTo>
                  <a:lnTo>
                    <a:pt x="71" y="183"/>
                  </a:lnTo>
                  <a:lnTo>
                    <a:pt x="69" y="183"/>
                  </a:lnTo>
                  <a:lnTo>
                    <a:pt x="69" y="185"/>
                  </a:lnTo>
                  <a:lnTo>
                    <a:pt x="66" y="185"/>
                  </a:lnTo>
                  <a:lnTo>
                    <a:pt x="66" y="183"/>
                  </a:lnTo>
                  <a:lnTo>
                    <a:pt x="64" y="183"/>
                  </a:lnTo>
                  <a:lnTo>
                    <a:pt x="66" y="185"/>
                  </a:lnTo>
                  <a:lnTo>
                    <a:pt x="66" y="183"/>
                  </a:lnTo>
                  <a:lnTo>
                    <a:pt x="66" y="185"/>
                  </a:lnTo>
                  <a:lnTo>
                    <a:pt x="64" y="185"/>
                  </a:lnTo>
                  <a:lnTo>
                    <a:pt x="61" y="185"/>
                  </a:lnTo>
                  <a:lnTo>
                    <a:pt x="64" y="185"/>
                  </a:lnTo>
                  <a:lnTo>
                    <a:pt x="61" y="185"/>
                  </a:lnTo>
                  <a:lnTo>
                    <a:pt x="61" y="183"/>
                  </a:lnTo>
                  <a:lnTo>
                    <a:pt x="59" y="183"/>
                  </a:lnTo>
                  <a:lnTo>
                    <a:pt x="61" y="183"/>
                  </a:lnTo>
                  <a:lnTo>
                    <a:pt x="61" y="185"/>
                  </a:lnTo>
                  <a:lnTo>
                    <a:pt x="64" y="185"/>
                  </a:lnTo>
                  <a:lnTo>
                    <a:pt x="64" y="188"/>
                  </a:lnTo>
                  <a:lnTo>
                    <a:pt x="64" y="190"/>
                  </a:lnTo>
                  <a:lnTo>
                    <a:pt x="64" y="188"/>
                  </a:lnTo>
                  <a:lnTo>
                    <a:pt x="61" y="188"/>
                  </a:lnTo>
                  <a:lnTo>
                    <a:pt x="59" y="188"/>
                  </a:lnTo>
                  <a:lnTo>
                    <a:pt x="57" y="188"/>
                  </a:lnTo>
                  <a:lnTo>
                    <a:pt x="59" y="188"/>
                  </a:lnTo>
                  <a:lnTo>
                    <a:pt x="57" y="188"/>
                  </a:lnTo>
                  <a:lnTo>
                    <a:pt x="59" y="188"/>
                  </a:lnTo>
                  <a:lnTo>
                    <a:pt x="59" y="190"/>
                  </a:lnTo>
                  <a:lnTo>
                    <a:pt x="57" y="190"/>
                  </a:lnTo>
                  <a:lnTo>
                    <a:pt x="59" y="190"/>
                  </a:lnTo>
                  <a:lnTo>
                    <a:pt x="57" y="190"/>
                  </a:lnTo>
                  <a:lnTo>
                    <a:pt x="59" y="190"/>
                  </a:lnTo>
                  <a:lnTo>
                    <a:pt x="57" y="190"/>
                  </a:lnTo>
                  <a:lnTo>
                    <a:pt x="59" y="190"/>
                  </a:lnTo>
                  <a:lnTo>
                    <a:pt x="57" y="190"/>
                  </a:lnTo>
                  <a:lnTo>
                    <a:pt x="54" y="190"/>
                  </a:lnTo>
                  <a:lnTo>
                    <a:pt x="52" y="190"/>
                  </a:lnTo>
                  <a:lnTo>
                    <a:pt x="52" y="188"/>
                  </a:lnTo>
                  <a:lnTo>
                    <a:pt x="52" y="190"/>
                  </a:lnTo>
                  <a:lnTo>
                    <a:pt x="52" y="192"/>
                  </a:lnTo>
                  <a:lnTo>
                    <a:pt x="50" y="192"/>
                  </a:lnTo>
                  <a:lnTo>
                    <a:pt x="47" y="192"/>
                  </a:lnTo>
                  <a:lnTo>
                    <a:pt x="47" y="190"/>
                  </a:lnTo>
                  <a:lnTo>
                    <a:pt x="47" y="192"/>
                  </a:lnTo>
                  <a:lnTo>
                    <a:pt x="47" y="190"/>
                  </a:lnTo>
                  <a:lnTo>
                    <a:pt x="47" y="192"/>
                  </a:lnTo>
                  <a:lnTo>
                    <a:pt x="45" y="192"/>
                  </a:lnTo>
                  <a:lnTo>
                    <a:pt x="42" y="192"/>
                  </a:lnTo>
                  <a:lnTo>
                    <a:pt x="42" y="190"/>
                  </a:lnTo>
                  <a:lnTo>
                    <a:pt x="42" y="192"/>
                  </a:lnTo>
                  <a:lnTo>
                    <a:pt x="45" y="192"/>
                  </a:lnTo>
                  <a:lnTo>
                    <a:pt x="42" y="192"/>
                  </a:lnTo>
                  <a:lnTo>
                    <a:pt x="45" y="192"/>
                  </a:lnTo>
                  <a:lnTo>
                    <a:pt x="42" y="192"/>
                  </a:lnTo>
                  <a:lnTo>
                    <a:pt x="42" y="195"/>
                  </a:lnTo>
                  <a:lnTo>
                    <a:pt x="42" y="192"/>
                  </a:lnTo>
                  <a:lnTo>
                    <a:pt x="42" y="195"/>
                  </a:lnTo>
                  <a:lnTo>
                    <a:pt x="40" y="195"/>
                  </a:lnTo>
                  <a:lnTo>
                    <a:pt x="38" y="195"/>
                  </a:lnTo>
                  <a:lnTo>
                    <a:pt x="38" y="197"/>
                  </a:lnTo>
                  <a:lnTo>
                    <a:pt x="35" y="195"/>
                  </a:lnTo>
                  <a:lnTo>
                    <a:pt x="35" y="197"/>
                  </a:lnTo>
                  <a:lnTo>
                    <a:pt x="35" y="195"/>
                  </a:lnTo>
                  <a:lnTo>
                    <a:pt x="35" y="192"/>
                  </a:lnTo>
                  <a:lnTo>
                    <a:pt x="38" y="192"/>
                  </a:lnTo>
                  <a:lnTo>
                    <a:pt x="35" y="192"/>
                  </a:lnTo>
                  <a:lnTo>
                    <a:pt x="35" y="195"/>
                  </a:lnTo>
                  <a:lnTo>
                    <a:pt x="33" y="195"/>
                  </a:lnTo>
                  <a:lnTo>
                    <a:pt x="35" y="195"/>
                  </a:lnTo>
                  <a:lnTo>
                    <a:pt x="33" y="195"/>
                  </a:lnTo>
                  <a:lnTo>
                    <a:pt x="35" y="192"/>
                  </a:lnTo>
                  <a:lnTo>
                    <a:pt x="33" y="192"/>
                  </a:lnTo>
                  <a:lnTo>
                    <a:pt x="35" y="192"/>
                  </a:lnTo>
                  <a:lnTo>
                    <a:pt x="33" y="192"/>
                  </a:lnTo>
                  <a:lnTo>
                    <a:pt x="35" y="192"/>
                  </a:lnTo>
                  <a:lnTo>
                    <a:pt x="33" y="192"/>
                  </a:lnTo>
                  <a:lnTo>
                    <a:pt x="31" y="192"/>
                  </a:lnTo>
                  <a:lnTo>
                    <a:pt x="31" y="195"/>
                  </a:lnTo>
                  <a:lnTo>
                    <a:pt x="31" y="192"/>
                  </a:lnTo>
                  <a:lnTo>
                    <a:pt x="31" y="195"/>
                  </a:lnTo>
                  <a:lnTo>
                    <a:pt x="28" y="195"/>
                  </a:lnTo>
                  <a:lnTo>
                    <a:pt x="26" y="195"/>
                  </a:lnTo>
                  <a:lnTo>
                    <a:pt x="26" y="192"/>
                  </a:lnTo>
                  <a:lnTo>
                    <a:pt x="26" y="195"/>
                  </a:lnTo>
                  <a:lnTo>
                    <a:pt x="24" y="195"/>
                  </a:lnTo>
                  <a:lnTo>
                    <a:pt x="26" y="195"/>
                  </a:lnTo>
                  <a:lnTo>
                    <a:pt x="24" y="195"/>
                  </a:lnTo>
                  <a:lnTo>
                    <a:pt x="24" y="197"/>
                  </a:lnTo>
                  <a:lnTo>
                    <a:pt x="24" y="195"/>
                  </a:lnTo>
                  <a:lnTo>
                    <a:pt x="26" y="195"/>
                  </a:lnTo>
                  <a:lnTo>
                    <a:pt x="24" y="195"/>
                  </a:lnTo>
                  <a:lnTo>
                    <a:pt x="24" y="197"/>
                  </a:lnTo>
                  <a:lnTo>
                    <a:pt x="24" y="195"/>
                  </a:lnTo>
                  <a:lnTo>
                    <a:pt x="21" y="197"/>
                  </a:lnTo>
                  <a:lnTo>
                    <a:pt x="21" y="195"/>
                  </a:lnTo>
                  <a:lnTo>
                    <a:pt x="24" y="195"/>
                  </a:lnTo>
                  <a:lnTo>
                    <a:pt x="24" y="192"/>
                  </a:lnTo>
                  <a:lnTo>
                    <a:pt x="26" y="192"/>
                  </a:lnTo>
                  <a:lnTo>
                    <a:pt x="26" y="190"/>
                  </a:lnTo>
                  <a:lnTo>
                    <a:pt x="28" y="190"/>
                  </a:lnTo>
                  <a:lnTo>
                    <a:pt x="31" y="190"/>
                  </a:lnTo>
                  <a:lnTo>
                    <a:pt x="31" y="188"/>
                  </a:lnTo>
                  <a:lnTo>
                    <a:pt x="31" y="190"/>
                  </a:lnTo>
                  <a:lnTo>
                    <a:pt x="28" y="190"/>
                  </a:lnTo>
                  <a:lnTo>
                    <a:pt x="31" y="190"/>
                  </a:lnTo>
                  <a:lnTo>
                    <a:pt x="28" y="190"/>
                  </a:lnTo>
                  <a:lnTo>
                    <a:pt x="26" y="190"/>
                  </a:lnTo>
                  <a:lnTo>
                    <a:pt x="28" y="190"/>
                  </a:lnTo>
                  <a:lnTo>
                    <a:pt x="26" y="190"/>
                  </a:lnTo>
                  <a:lnTo>
                    <a:pt x="24" y="190"/>
                  </a:lnTo>
                  <a:lnTo>
                    <a:pt x="24" y="192"/>
                  </a:lnTo>
                  <a:lnTo>
                    <a:pt x="21" y="192"/>
                  </a:lnTo>
                  <a:lnTo>
                    <a:pt x="19" y="192"/>
                  </a:lnTo>
                  <a:lnTo>
                    <a:pt x="21" y="192"/>
                  </a:lnTo>
                  <a:lnTo>
                    <a:pt x="21" y="190"/>
                  </a:lnTo>
                  <a:lnTo>
                    <a:pt x="24" y="190"/>
                  </a:lnTo>
                  <a:lnTo>
                    <a:pt x="26" y="190"/>
                  </a:lnTo>
                  <a:lnTo>
                    <a:pt x="26" y="188"/>
                  </a:lnTo>
                  <a:lnTo>
                    <a:pt x="28" y="188"/>
                  </a:lnTo>
                  <a:lnTo>
                    <a:pt x="31" y="188"/>
                  </a:lnTo>
                  <a:lnTo>
                    <a:pt x="31" y="185"/>
                  </a:lnTo>
                  <a:lnTo>
                    <a:pt x="33" y="185"/>
                  </a:lnTo>
                  <a:lnTo>
                    <a:pt x="33" y="183"/>
                  </a:lnTo>
                  <a:lnTo>
                    <a:pt x="31" y="183"/>
                  </a:lnTo>
                  <a:lnTo>
                    <a:pt x="28" y="185"/>
                  </a:lnTo>
                  <a:lnTo>
                    <a:pt x="26" y="185"/>
                  </a:lnTo>
                  <a:lnTo>
                    <a:pt x="24" y="185"/>
                  </a:lnTo>
                  <a:lnTo>
                    <a:pt x="24" y="188"/>
                  </a:lnTo>
                  <a:lnTo>
                    <a:pt x="21" y="188"/>
                  </a:lnTo>
                  <a:lnTo>
                    <a:pt x="19" y="188"/>
                  </a:lnTo>
                  <a:lnTo>
                    <a:pt x="16" y="188"/>
                  </a:lnTo>
                  <a:lnTo>
                    <a:pt x="16" y="190"/>
                  </a:lnTo>
                  <a:lnTo>
                    <a:pt x="16" y="188"/>
                  </a:lnTo>
                  <a:lnTo>
                    <a:pt x="16" y="190"/>
                  </a:lnTo>
                  <a:lnTo>
                    <a:pt x="14" y="190"/>
                  </a:lnTo>
                  <a:lnTo>
                    <a:pt x="12" y="190"/>
                  </a:lnTo>
                  <a:lnTo>
                    <a:pt x="9" y="190"/>
                  </a:lnTo>
                  <a:lnTo>
                    <a:pt x="9" y="188"/>
                  </a:lnTo>
                  <a:lnTo>
                    <a:pt x="12" y="188"/>
                  </a:lnTo>
                  <a:lnTo>
                    <a:pt x="12" y="190"/>
                  </a:lnTo>
                  <a:lnTo>
                    <a:pt x="12" y="188"/>
                  </a:lnTo>
                  <a:lnTo>
                    <a:pt x="14" y="188"/>
                  </a:lnTo>
                  <a:lnTo>
                    <a:pt x="12" y="188"/>
                  </a:lnTo>
                  <a:lnTo>
                    <a:pt x="14" y="188"/>
                  </a:lnTo>
                  <a:lnTo>
                    <a:pt x="12" y="188"/>
                  </a:lnTo>
                  <a:lnTo>
                    <a:pt x="12" y="185"/>
                  </a:lnTo>
                  <a:lnTo>
                    <a:pt x="14" y="185"/>
                  </a:lnTo>
                  <a:lnTo>
                    <a:pt x="16" y="185"/>
                  </a:lnTo>
                  <a:lnTo>
                    <a:pt x="16" y="183"/>
                  </a:lnTo>
                  <a:lnTo>
                    <a:pt x="16" y="185"/>
                  </a:lnTo>
                  <a:lnTo>
                    <a:pt x="16" y="183"/>
                  </a:lnTo>
                  <a:lnTo>
                    <a:pt x="14" y="183"/>
                  </a:lnTo>
                  <a:lnTo>
                    <a:pt x="16" y="183"/>
                  </a:lnTo>
                  <a:lnTo>
                    <a:pt x="19" y="183"/>
                  </a:lnTo>
                  <a:lnTo>
                    <a:pt x="16" y="183"/>
                  </a:lnTo>
                  <a:lnTo>
                    <a:pt x="19" y="183"/>
                  </a:lnTo>
                  <a:lnTo>
                    <a:pt x="19" y="181"/>
                  </a:lnTo>
                  <a:lnTo>
                    <a:pt x="19" y="183"/>
                  </a:lnTo>
                  <a:lnTo>
                    <a:pt x="21" y="183"/>
                  </a:lnTo>
                  <a:lnTo>
                    <a:pt x="19" y="181"/>
                  </a:lnTo>
                  <a:lnTo>
                    <a:pt x="21" y="181"/>
                  </a:lnTo>
                  <a:lnTo>
                    <a:pt x="24" y="181"/>
                  </a:lnTo>
                  <a:lnTo>
                    <a:pt x="21" y="181"/>
                  </a:lnTo>
                  <a:lnTo>
                    <a:pt x="24" y="181"/>
                  </a:lnTo>
                  <a:lnTo>
                    <a:pt x="21" y="178"/>
                  </a:lnTo>
                  <a:lnTo>
                    <a:pt x="24" y="178"/>
                  </a:lnTo>
                  <a:lnTo>
                    <a:pt x="26" y="178"/>
                  </a:lnTo>
                  <a:lnTo>
                    <a:pt x="28" y="178"/>
                  </a:lnTo>
                  <a:lnTo>
                    <a:pt x="28" y="176"/>
                  </a:lnTo>
                  <a:lnTo>
                    <a:pt x="31" y="176"/>
                  </a:lnTo>
                  <a:lnTo>
                    <a:pt x="28" y="176"/>
                  </a:lnTo>
                  <a:lnTo>
                    <a:pt x="26" y="176"/>
                  </a:lnTo>
                  <a:lnTo>
                    <a:pt x="24" y="176"/>
                  </a:lnTo>
                  <a:lnTo>
                    <a:pt x="24" y="178"/>
                  </a:lnTo>
                  <a:lnTo>
                    <a:pt x="21" y="178"/>
                  </a:lnTo>
                  <a:lnTo>
                    <a:pt x="19" y="181"/>
                  </a:lnTo>
                  <a:lnTo>
                    <a:pt x="19" y="178"/>
                  </a:lnTo>
                  <a:lnTo>
                    <a:pt x="19" y="181"/>
                  </a:lnTo>
                  <a:lnTo>
                    <a:pt x="19" y="178"/>
                  </a:lnTo>
                  <a:lnTo>
                    <a:pt x="19" y="181"/>
                  </a:lnTo>
                  <a:lnTo>
                    <a:pt x="16" y="181"/>
                  </a:lnTo>
                  <a:lnTo>
                    <a:pt x="14" y="181"/>
                  </a:lnTo>
                  <a:lnTo>
                    <a:pt x="12" y="183"/>
                  </a:lnTo>
                  <a:lnTo>
                    <a:pt x="12" y="181"/>
                  </a:lnTo>
                  <a:lnTo>
                    <a:pt x="12" y="183"/>
                  </a:lnTo>
                  <a:lnTo>
                    <a:pt x="9" y="183"/>
                  </a:lnTo>
                  <a:lnTo>
                    <a:pt x="12" y="181"/>
                  </a:lnTo>
                  <a:lnTo>
                    <a:pt x="9" y="181"/>
                  </a:lnTo>
                  <a:lnTo>
                    <a:pt x="9" y="183"/>
                  </a:lnTo>
                  <a:lnTo>
                    <a:pt x="9" y="181"/>
                  </a:lnTo>
                  <a:lnTo>
                    <a:pt x="9" y="183"/>
                  </a:lnTo>
                  <a:lnTo>
                    <a:pt x="9" y="181"/>
                  </a:lnTo>
                  <a:lnTo>
                    <a:pt x="7" y="181"/>
                  </a:lnTo>
                  <a:lnTo>
                    <a:pt x="9" y="181"/>
                  </a:lnTo>
                  <a:lnTo>
                    <a:pt x="9" y="178"/>
                  </a:lnTo>
                  <a:lnTo>
                    <a:pt x="9" y="176"/>
                  </a:lnTo>
                  <a:lnTo>
                    <a:pt x="9" y="178"/>
                  </a:lnTo>
                  <a:lnTo>
                    <a:pt x="7" y="178"/>
                  </a:lnTo>
                  <a:lnTo>
                    <a:pt x="7" y="181"/>
                  </a:lnTo>
                  <a:lnTo>
                    <a:pt x="5" y="181"/>
                  </a:lnTo>
                  <a:lnTo>
                    <a:pt x="2" y="181"/>
                  </a:lnTo>
                  <a:lnTo>
                    <a:pt x="5" y="181"/>
                  </a:lnTo>
                  <a:lnTo>
                    <a:pt x="5" y="178"/>
                  </a:lnTo>
                  <a:lnTo>
                    <a:pt x="2" y="178"/>
                  </a:lnTo>
                  <a:lnTo>
                    <a:pt x="2" y="176"/>
                  </a:lnTo>
                  <a:lnTo>
                    <a:pt x="5" y="176"/>
                  </a:lnTo>
                  <a:lnTo>
                    <a:pt x="7" y="173"/>
                  </a:lnTo>
                  <a:lnTo>
                    <a:pt x="7" y="171"/>
                  </a:lnTo>
                  <a:lnTo>
                    <a:pt x="9" y="171"/>
                  </a:lnTo>
                  <a:lnTo>
                    <a:pt x="7" y="171"/>
                  </a:lnTo>
                  <a:lnTo>
                    <a:pt x="7" y="173"/>
                  </a:lnTo>
                  <a:lnTo>
                    <a:pt x="5" y="173"/>
                  </a:lnTo>
                  <a:lnTo>
                    <a:pt x="7" y="173"/>
                  </a:lnTo>
                  <a:lnTo>
                    <a:pt x="5" y="173"/>
                  </a:lnTo>
                  <a:lnTo>
                    <a:pt x="5" y="171"/>
                  </a:lnTo>
                  <a:lnTo>
                    <a:pt x="7" y="171"/>
                  </a:lnTo>
                  <a:lnTo>
                    <a:pt x="9" y="169"/>
                  </a:lnTo>
                  <a:lnTo>
                    <a:pt x="12" y="169"/>
                  </a:lnTo>
                  <a:lnTo>
                    <a:pt x="14" y="169"/>
                  </a:lnTo>
                  <a:lnTo>
                    <a:pt x="16" y="166"/>
                  </a:lnTo>
                  <a:lnTo>
                    <a:pt x="19" y="166"/>
                  </a:lnTo>
                  <a:lnTo>
                    <a:pt x="16" y="166"/>
                  </a:lnTo>
                  <a:lnTo>
                    <a:pt x="19" y="164"/>
                  </a:lnTo>
                  <a:lnTo>
                    <a:pt x="21" y="164"/>
                  </a:lnTo>
                  <a:lnTo>
                    <a:pt x="24" y="164"/>
                  </a:lnTo>
                  <a:lnTo>
                    <a:pt x="21" y="164"/>
                  </a:lnTo>
                  <a:lnTo>
                    <a:pt x="21" y="162"/>
                  </a:lnTo>
                  <a:lnTo>
                    <a:pt x="24" y="162"/>
                  </a:lnTo>
                  <a:lnTo>
                    <a:pt x="21" y="162"/>
                  </a:lnTo>
                  <a:lnTo>
                    <a:pt x="19" y="162"/>
                  </a:lnTo>
                  <a:lnTo>
                    <a:pt x="16" y="162"/>
                  </a:lnTo>
                  <a:lnTo>
                    <a:pt x="16" y="164"/>
                  </a:lnTo>
                  <a:lnTo>
                    <a:pt x="14" y="164"/>
                  </a:lnTo>
                  <a:lnTo>
                    <a:pt x="12" y="164"/>
                  </a:lnTo>
                  <a:lnTo>
                    <a:pt x="9" y="164"/>
                  </a:lnTo>
                  <a:lnTo>
                    <a:pt x="7" y="164"/>
                  </a:lnTo>
                  <a:lnTo>
                    <a:pt x="9" y="164"/>
                  </a:lnTo>
                  <a:lnTo>
                    <a:pt x="7" y="164"/>
                  </a:lnTo>
                  <a:lnTo>
                    <a:pt x="5" y="164"/>
                  </a:lnTo>
                  <a:lnTo>
                    <a:pt x="7" y="164"/>
                  </a:lnTo>
                  <a:lnTo>
                    <a:pt x="5" y="164"/>
                  </a:lnTo>
                  <a:lnTo>
                    <a:pt x="2" y="164"/>
                  </a:lnTo>
                  <a:lnTo>
                    <a:pt x="5" y="164"/>
                  </a:lnTo>
                  <a:lnTo>
                    <a:pt x="2" y="164"/>
                  </a:lnTo>
                  <a:lnTo>
                    <a:pt x="0" y="164"/>
                  </a:lnTo>
                  <a:lnTo>
                    <a:pt x="0" y="162"/>
                  </a:lnTo>
                  <a:lnTo>
                    <a:pt x="0" y="159"/>
                  </a:lnTo>
                  <a:lnTo>
                    <a:pt x="2" y="159"/>
                  </a:lnTo>
                  <a:lnTo>
                    <a:pt x="2" y="162"/>
                  </a:lnTo>
                  <a:lnTo>
                    <a:pt x="2" y="159"/>
                  </a:lnTo>
                  <a:lnTo>
                    <a:pt x="5" y="159"/>
                  </a:lnTo>
                  <a:lnTo>
                    <a:pt x="5" y="157"/>
                  </a:lnTo>
                  <a:lnTo>
                    <a:pt x="5" y="159"/>
                  </a:lnTo>
                  <a:lnTo>
                    <a:pt x="5" y="157"/>
                  </a:lnTo>
                  <a:lnTo>
                    <a:pt x="7" y="157"/>
                  </a:lnTo>
                  <a:lnTo>
                    <a:pt x="9" y="157"/>
                  </a:lnTo>
                  <a:lnTo>
                    <a:pt x="9" y="154"/>
                  </a:lnTo>
                  <a:lnTo>
                    <a:pt x="9" y="157"/>
                  </a:lnTo>
                  <a:lnTo>
                    <a:pt x="9" y="159"/>
                  </a:lnTo>
                  <a:lnTo>
                    <a:pt x="9" y="157"/>
                  </a:lnTo>
                  <a:lnTo>
                    <a:pt x="9" y="159"/>
                  </a:lnTo>
                  <a:lnTo>
                    <a:pt x="12" y="157"/>
                  </a:lnTo>
                  <a:lnTo>
                    <a:pt x="9" y="157"/>
                  </a:lnTo>
                  <a:lnTo>
                    <a:pt x="12" y="157"/>
                  </a:lnTo>
                  <a:lnTo>
                    <a:pt x="9" y="157"/>
                  </a:lnTo>
                  <a:lnTo>
                    <a:pt x="12" y="157"/>
                  </a:lnTo>
                  <a:lnTo>
                    <a:pt x="14" y="157"/>
                  </a:lnTo>
                  <a:lnTo>
                    <a:pt x="14" y="154"/>
                  </a:lnTo>
                  <a:lnTo>
                    <a:pt x="14" y="157"/>
                  </a:lnTo>
                  <a:lnTo>
                    <a:pt x="16" y="157"/>
                  </a:lnTo>
                  <a:lnTo>
                    <a:pt x="16" y="159"/>
                  </a:lnTo>
                  <a:lnTo>
                    <a:pt x="19" y="159"/>
                  </a:lnTo>
                  <a:lnTo>
                    <a:pt x="21" y="157"/>
                  </a:lnTo>
                  <a:lnTo>
                    <a:pt x="24" y="157"/>
                  </a:lnTo>
                  <a:lnTo>
                    <a:pt x="21" y="157"/>
                  </a:lnTo>
                  <a:lnTo>
                    <a:pt x="19" y="157"/>
                  </a:lnTo>
                  <a:lnTo>
                    <a:pt x="19" y="154"/>
                  </a:lnTo>
                  <a:lnTo>
                    <a:pt x="19" y="157"/>
                  </a:lnTo>
                  <a:lnTo>
                    <a:pt x="19" y="154"/>
                  </a:lnTo>
                  <a:lnTo>
                    <a:pt x="21" y="154"/>
                  </a:lnTo>
                  <a:lnTo>
                    <a:pt x="19" y="154"/>
                  </a:lnTo>
                  <a:lnTo>
                    <a:pt x="21" y="154"/>
                  </a:lnTo>
                  <a:lnTo>
                    <a:pt x="21" y="152"/>
                  </a:lnTo>
                  <a:lnTo>
                    <a:pt x="21" y="150"/>
                  </a:lnTo>
                  <a:lnTo>
                    <a:pt x="19" y="150"/>
                  </a:lnTo>
                  <a:lnTo>
                    <a:pt x="16" y="150"/>
                  </a:lnTo>
                  <a:lnTo>
                    <a:pt x="19" y="150"/>
                  </a:lnTo>
                  <a:lnTo>
                    <a:pt x="19" y="147"/>
                  </a:lnTo>
                  <a:lnTo>
                    <a:pt x="19" y="150"/>
                  </a:lnTo>
                  <a:lnTo>
                    <a:pt x="19" y="147"/>
                  </a:lnTo>
                  <a:lnTo>
                    <a:pt x="19" y="150"/>
                  </a:lnTo>
                  <a:lnTo>
                    <a:pt x="21" y="150"/>
                  </a:lnTo>
                  <a:lnTo>
                    <a:pt x="21" y="147"/>
                  </a:lnTo>
                  <a:lnTo>
                    <a:pt x="24" y="147"/>
                  </a:lnTo>
                  <a:lnTo>
                    <a:pt x="24" y="145"/>
                  </a:lnTo>
                  <a:lnTo>
                    <a:pt x="26" y="147"/>
                  </a:lnTo>
                  <a:lnTo>
                    <a:pt x="26" y="145"/>
                  </a:lnTo>
                  <a:lnTo>
                    <a:pt x="26" y="147"/>
                  </a:lnTo>
                  <a:lnTo>
                    <a:pt x="28" y="147"/>
                  </a:lnTo>
                  <a:lnTo>
                    <a:pt x="26" y="147"/>
                  </a:lnTo>
                  <a:lnTo>
                    <a:pt x="26" y="145"/>
                  </a:lnTo>
                  <a:lnTo>
                    <a:pt x="26" y="147"/>
                  </a:lnTo>
                  <a:lnTo>
                    <a:pt x="26" y="145"/>
                  </a:lnTo>
                  <a:lnTo>
                    <a:pt x="26" y="143"/>
                  </a:lnTo>
                  <a:lnTo>
                    <a:pt x="28" y="140"/>
                  </a:lnTo>
                  <a:lnTo>
                    <a:pt x="28" y="143"/>
                  </a:lnTo>
                  <a:lnTo>
                    <a:pt x="31" y="143"/>
                  </a:lnTo>
                  <a:lnTo>
                    <a:pt x="31" y="140"/>
                  </a:lnTo>
                  <a:lnTo>
                    <a:pt x="33" y="143"/>
                  </a:lnTo>
                  <a:lnTo>
                    <a:pt x="31" y="143"/>
                  </a:lnTo>
                  <a:lnTo>
                    <a:pt x="33" y="143"/>
                  </a:lnTo>
                  <a:lnTo>
                    <a:pt x="31" y="143"/>
                  </a:lnTo>
                  <a:lnTo>
                    <a:pt x="33" y="143"/>
                  </a:lnTo>
                  <a:lnTo>
                    <a:pt x="33" y="140"/>
                  </a:lnTo>
                  <a:lnTo>
                    <a:pt x="35" y="140"/>
                  </a:lnTo>
                  <a:lnTo>
                    <a:pt x="35" y="143"/>
                  </a:lnTo>
                  <a:lnTo>
                    <a:pt x="38" y="143"/>
                  </a:lnTo>
                  <a:lnTo>
                    <a:pt x="38" y="140"/>
                  </a:lnTo>
                  <a:lnTo>
                    <a:pt x="40" y="140"/>
                  </a:lnTo>
                  <a:lnTo>
                    <a:pt x="42" y="140"/>
                  </a:lnTo>
                  <a:lnTo>
                    <a:pt x="40" y="140"/>
                  </a:lnTo>
                  <a:lnTo>
                    <a:pt x="42" y="140"/>
                  </a:lnTo>
                  <a:lnTo>
                    <a:pt x="45" y="140"/>
                  </a:lnTo>
                  <a:lnTo>
                    <a:pt x="45" y="138"/>
                  </a:lnTo>
                  <a:lnTo>
                    <a:pt x="47" y="138"/>
                  </a:lnTo>
                  <a:lnTo>
                    <a:pt x="47" y="140"/>
                  </a:lnTo>
                  <a:lnTo>
                    <a:pt x="47" y="138"/>
                  </a:lnTo>
                  <a:lnTo>
                    <a:pt x="47" y="140"/>
                  </a:lnTo>
                  <a:lnTo>
                    <a:pt x="47" y="138"/>
                  </a:lnTo>
                  <a:lnTo>
                    <a:pt x="47" y="140"/>
                  </a:lnTo>
                  <a:lnTo>
                    <a:pt x="47" y="138"/>
                  </a:lnTo>
                  <a:lnTo>
                    <a:pt x="50" y="138"/>
                  </a:lnTo>
                  <a:lnTo>
                    <a:pt x="52" y="138"/>
                  </a:lnTo>
                  <a:lnTo>
                    <a:pt x="54" y="138"/>
                  </a:lnTo>
                  <a:lnTo>
                    <a:pt x="54" y="135"/>
                  </a:lnTo>
                  <a:lnTo>
                    <a:pt x="54" y="138"/>
                  </a:lnTo>
                  <a:lnTo>
                    <a:pt x="57" y="135"/>
                  </a:lnTo>
                  <a:lnTo>
                    <a:pt x="57" y="138"/>
                  </a:lnTo>
                  <a:lnTo>
                    <a:pt x="59" y="138"/>
                  </a:lnTo>
                  <a:lnTo>
                    <a:pt x="57" y="138"/>
                  </a:lnTo>
                  <a:lnTo>
                    <a:pt x="57" y="135"/>
                  </a:lnTo>
                  <a:lnTo>
                    <a:pt x="54" y="135"/>
                  </a:lnTo>
                  <a:lnTo>
                    <a:pt x="52" y="135"/>
                  </a:lnTo>
                  <a:lnTo>
                    <a:pt x="50" y="135"/>
                  </a:lnTo>
                  <a:lnTo>
                    <a:pt x="50" y="133"/>
                  </a:lnTo>
                  <a:lnTo>
                    <a:pt x="50" y="131"/>
                  </a:lnTo>
                  <a:lnTo>
                    <a:pt x="50" y="133"/>
                  </a:lnTo>
                  <a:lnTo>
                    <a:pt x="47" y="133"/>
                  </a:lnTo>
                  <a:lnTo>
                    <a:pt x="47" y="135"/>
                  </a:lnTo>
                  <a:lnTo>
                    <a:pt x="45" y="135"/>
                  </a:lnTo>
                  <a:lnTo>
                    <a:pt x="45" y="138"/>
                  </a:lnTo>
                  <a:lnTo>
                    <a:pt x="45" y="135"/>
                  </a:lnTo>
                  <a:lnTo>
                    <a:pt x="45" y="138"/>
                  </a:lnTo>
                  <a:lnTo>
                    <a:pt x="42" y="138"/>
                  </a:lnTo>
                  <a:lnTo>
                    <a:pt x="42" y="140"/>
                  </a:lnTo>
                  <a:lnTo>
                    <a:pt x="40" y="140"/>
                  </a:lnTo>
                  <a:lnTo>
                    <a:pt x="38" y="140"/>
                  </a:lnTo>
                  <a:lnTo>
                    <a:pt x="38" y="138"/>
                  </a:lnTo>
                  <a:lnTo>
                    <a:pt x="40" y="138"/>
                  </a:lnTo>
                  <a:lnTo>
                    <a:pt x="38" y="138"/>
                  </a:lnTo>
                  <a:lnTo>
                    <a:pt x="38" y="140"/>
                  </a:lnTo>
                  <a:lnTo>
                    <a:pt x="35" y="140"/>
                  </a:lnTo>
                  <a:lnTo>
                    <a:pt x="33" y="140"/>
                  </a:lnTo>
                  <a:lnTo>
                    <a:pt x="31" y="140"/>
                  </a:lnTo>
                  <a:lnTo>
                    <a:pt x="31" y="138"/>
                  </a:lnTo>
                  <a:lnTo>
                    <a:pt x="28" y="138"/>
                  </a:lnTo>
                  <a:lnTo>
                    <a:pt x="31" y="138"/>
                  </a:lnTo>
                  <a:lnTo>
                    <a:pt x="28" y="138"/>
                  </a:lnTo>
                  <a:lnTo>
                    <a:pt x="28" y="140"/>
                  </a:lnTo>
                  <a:lnTo>
                    <a:pt x="26" y="140"/>
                  </a:lnTo>
                  <a:lnTo>
                    <a:pt x="24" y="140"/>
                  </a:lnTo>
                  <a:lnTo>
                    <a:pt x="26" y="140"/>
                  </a:lnTo>
                  <a:lnTo>
                    <a:pt x="24" y="140"/>
                  </a:lnTo>
                  <a:lnTo>
                    <a:pt x="24" y="143"/>
                  </a:lnTo>
                  <a:lnTo>
                    <a:pt x="21" y="143"/>
                  </a:lnTo>
                  <a:lnTo>
                    <a:pt x="19" y="143"/>
                  </a:lnTo>
                  <a:lnTo>
                    <a:pt x="16" y="143"/>
                  </a:lnTo>
                  <a:lnTo>
                    <a:pt x="19" y="143"/>
                  </a:lnTo>
                  <a:lnTo>
                    <a:pt x="19" y="140"/>
                  </a:lnTo>
                  <a:lnTo>
                    <a:pt x="21" y="140"/>
                  </a:lnTo>
                  <a:lnTo>
                    <a:pt x="21" y="138"/>
                  </a:lnTo>
                  <a:lnTo>
                    <a:pt x="24" y="138"/>
                  </a:lnTo>
                  <a:lnTo>
                    <a:pt x="26" y="138"/>
                  </a:lnTo>
                  <a:lnTo>
                    <a:pt x="26" y="135"/>
                  </a:lnTo>
                  <a:lnTo>
                    <a:pt x="28" y="135"/>
                  </a:lnTo>
                  <a:lnTo>
                    <a:pt x="28" y="133"/>
                  </a:lnTo>
                  <a:lnTo>
                    <a:pt x="26" y="133"/>
                  </a:lnTo>
                  <a:lnTo>
                    <a:pt x="28" y="133"/>
                  </a:lnTo>
                  <a:lnTo>
                    <a:pt x="31" y="133"/>
                  </a:lnTo>
                  <a:lnTo>
                    <a:pt x="31" y="131"/>
                  </a:lnTo>
                  <a:lnTo>
                    <a:pt x="33" y="131"/>
                  </a:lnTo>
                  <a:lnTo>
                    <a:pt x="31" y="131"/>
                  </a:lnTo>
                  <a:lnTo>
                    <a:pt x="33" y="131"/>
                  </a:lnTo>
                  <a:lnTo>
                    <a:pt x="31" y="131"/>
                  </a:lnTo>
                  <a:lnTo>
                    <a:pt x="33" y="131"/>
                  </a:lnTo>
                  <a:lnTo>
                    <a:pt x="31" y="131"/>
                  </a:lnTo>
                  <a:lnTo>
                    <a:pt x="33" y="131"/>
                  </a:lnTo>
                  <a:lnTo>
                    <a:pt x="33" y="128"/>
                  </a:lnTo>
                  <a:lnTo>
                    <a:pt x="33" y="126"/>
                  </a:lnTo>
                  <a:lnTo>
                    <a:pt x="35" y="126"/>
                  </a:lnTo>
                  <a:lnTo>
                    <a:pt x="35" y="124"/>
                  </a:lnTo>
                  <a:lnTo>
                    <a:pt x="33" y="124"/>
                  </a:lnTo>
                  <a:lnTo>
                    <a:pt x="33" y="121"/>
                  </a:lnTo>
                  <a:lnTo>
                    <a:pt x="35" y="121"/>
                  </a:lnTo>
                  <a:lnTo>
                    <a:pt x="35" y="119"/>
                  </a:lnTo>
                  <a:lnTo>
                    <a:pt x="35" y="116"/>
                  </a:lnTo>
                  <a:lnTo>
                    <a:pt x="38" y="116"/>
                  </a:lnTo>
                  <a:lnTo>
                    <a:pt x="38" y="114"/>
                  </a:lnTo>
                  <a:lnTo>
                    <a:pt x="40" y="114"/>
                  </a:lnTo>
                  <a:lnTo>
                    <a:pt x="40" y="112"/>
                  </a:lnTo>
                  <a:lnTo>
                    <a:pt x="40" y="114"/>
                  </a:lnTo>
                  <a:lnTo>
                    <a:pt x="42" y="114"/>
                  </a:lnTo>
                  <a:lnTo>
                    <a:pt x="45" y="114"/>
                  </a:lnTo>
                  <a:lnTo>
                    <a:pt x="42" y="114"/>
                  </a:lnTo>
                  <a:lnTo>
                    <a:pt x="42" y="112"/>
                  </a:lnTo>
                  <a:lnTo>
                    <a:pt x="45" y="112"/>
                  </a:lnTo>
                  <a:lnTo>
                    <a:pt x="47" y="112"/>
                  </a:lnTo>
                  <a:lnTo>
                    <a:pt x="47" y="114"/>
                  </a:lnTo>
                  <a:lnTo>
                    <a:pt x="47" y="112"/>
                  </a:lnTo>
                  <a:lnTo>
                    <a:pt x="45" y="112"/>
                  </a:lnTo>
                  <a:lnTo>
                    <a:pt x="47" y="112"/>
                  </a:lnTo>
                  <a:lnTo>
                    <a:pt x="50" y="112"/>
                  </a:lnTo>
                  <a:lnTo>
                    <a:pt x="50" y="114"/>
                  </a:lnTo>
                  <a:lnTo>
                    <a:pt x="50" y="112"/>
                  </a:lnTo>
                  <a:lnTo>
                    <a:pt x="50" y="109"/>
                  </a:lnTo>
                  <a:lnTo>
                    <a:pt x="52" y="109"/>
                  </a:lnTo>
                  <a:lnTo>
                    <a:pt x="50" y="109"/>
                  </a:lnTo>
                  <a:lnTo>
                    <a:pt x="52" y="109"/>
                  </a:lnTo>
                  <a:lnTo>
                    <a:pt x="50" y="109"/>
                  </a:lnTo>
                  <a:lnTo>
                    <a:pt x="47" y="109"/>
                  </a:lnTo>
                  <a:lnTo>
                    <a:pt x="50" y="109"/>
                  </a:lnTo>
                  <a:lnTo>
                    <a:pt x="47" y="109"/>
                  </a:lnTo>
                  <a:lnTo>
                    <a:pt x="50" y="109"/>
                  </a:lnTo>
                  <a:lnTo>
                    <a:pt x="47" y="109"/>
                  </a:lnTo>
                  <a:lnTo>
                    <a:pt x="50" y="109"/>
                  </a:lnTo>
                  <a:lnTo>
                    <a:pt x="50" y="107"/>
                  </a:lnTo>
                  <a:lnTo>
                    <a:pt x="50" y="109"/>
                  </a:lnTo>
                  <a:lnTo>
                    <a:pt x="50" y="107"/>
                  </a:lnTo>
                  <a:lnTo>
                    <a:pt x="50" y="109"/>
                  </a:lnTo>
                  <a:lnTo>
                    <a:pt x="47" y="107"/>
                  </a:lnTo>
                  <a:lnTo>
                    <a:pt x="50" y="107"/>
                  </a:lnTo>
                  <a:lnTo>
                    <a:pt x="47" y="107"/>
                  </a:lnTo>
                  <a:lnTo>
                    <a:pt x="45" y="107"/>
                  </a:lnTo>
                  <a:lnTo>
                    <a:pt x="45" y="109"/>
                  </a:lnTo>
                  <a:lnTo>
                    <a:pt x="45" y="107"/>
                  </a:lnTo>
                  <a:lnTo>
                    <a:pt x="42" y="107"/>
                  </a:lnTo>
                  <a:lnTo>
                    <a:pt x="42" y="109"/>
                  </a:lnTo>
                  <a:lnTo>
                    <a:pt x="42" y="107"/>
                  </a:lnTo>
                  <a:lnTo>
                    <a:pt x="40" y="107"/>
                  </a:lnTo>
                  <a:lnTo>
                    <a:pt x="40" y="109"/>
                  </a:lnTo>
                  <a:lnTo>
                    <a:pt x="40" y="107"/>
                  </a:lnTo>
                  <a:lnTo>
                    <a:pt x="40" y="109"/>
                  </a:lnTo>
                  <a:lnTo>
                    <a:pt x="38" y="109"/>
                  </a:lnTo>
                  <a:lnTo>
                    <a:pt x="35" y="109"/>
                  </a:lnTo>
                  <a:lnTo>
                    <a:pt x="33" y="109"/>
                  </a:lnTo>
                  <a:lnTo>
                    <a:pt x="31" y="109"/>
                  </a:lnTo>
                  <a:lnTo>
                    <a:pt x="31" y="107"/>
                  </a:lnTo>
                  <a:lnTo>
                    <a:pt x="28" y="107"/>
                  </a:lnTo>
                  <a:lnTo>
                    <a:pt x="31" y="107"/>
                  </a:lnTo>
                  <a:lnTo>
                    <a:pt x="28" y="107"/>
                  </a:lnTo>
                  <a:lnTo>
                    <a:pt x="31" y="107"/>
                  </a:lnTo>
                  <a:lnTo>
                    <a:pt x="28" y="107"/>
                  </a:lnTo>
                  <a:lnTo>
                    <a:pt x="28" y="109"/>
                  </a:lnTo>
                  <a:lnTo>
                    <a:pt x="28" y="107"/>
                  </a:lnTo>
                  <a:lnTo>
                    <a:pt x="28" y="105"/>
                  </a:lnTo>
                  <a:lnTo>
                    <a:pt x="28" y="107"/>
                  </a:lnTo>
                  <a:lnTo>
                    <a:pt x="28" y="105"/>
                  </a:lnTo>
                  <a:lnTo>
                    <a:pt x="28" y="102"/>
                  </a:lnTo>
                  <a:lnTo>
                    <a:pt x="31" y="105"/>
                  </a:lnTo>
                  <a:lnTo>
                    <a:pt x="31" y="102"/>
                  </a:lnTo>
                  <a:lnTo>
                    <a:pt x="28" y="102"/>
                  </a:lnTo>
                  <a:lnTo>
                    <a:pt x="31" y="102"/>
                  </a:lnTo>
                  <a:lnTo>
                    <a:pt x="28" y="102"/>
                  </a:lnTo>
                  <a:lnTo>
                    <a:pt x="28" y="105"/>
                  </a:lnTo>
                  <a:lnTo>
                    <a:pt x="26" y="105"/>
                  </a:lnTo>
                  <a:lnTo>
                    <a:pt x="26" y="102"/>
                  </a:lnTo>
                  <a:lnTo>
                    <a:pt x="28" y="102"/>
                  </a:lnTo>
                  <a:lnTo>
                    <a:pt x="26" y="102"/>
                  </a:lnTo>
                  <a:lnTo>
                    <a:pt x="28" y="102"/>
                  </a:lnTo>
                  <a:lnTo>
                    <a:pt x="26" y="102"/>
                  </a:lnTo>
                  <a:lnTo>
                    <a:pt x="28" y="102"/>
                  </a:lnTo>
                  <a:lnTo>
                    <a:pt x="26" y="102"/>
                  </a:lnTo>
                  <a:lnTo>
                    <a:pt x="24" y="102"/>
                  </a:lnTo>
                  <a:lnTo>
                    <a:pt x="24" y="105"/>
                  </a:lnTo>
                  <a:lnTo>
                    <a:pt x="24" y="102"/>
                  </a:lnTo>
                  <a:lnTo>
                    <a:pt x="24" y="105"/>
                  </a:lnTo>
                  <a:lnTo>
                    <a:pt x="24" y="107"/>
                  </a:lnTo>
                  <a:lnTo>
                    <a:pt x="21" y="105"/>
                  </a:lnTo>
                  <a:lnTo>
                    <a:pt x="21" y="107"/>
                  </a:lnTo>
                  <a:lnTo>
                    <a:pt x="19" y="107"/>
                  </a:lnTo>
                  <a:lnTo>
                    <a:pt x="19" y="105"/>
                  </a:lnTo>
                  <a:lnTo>
                    <a:pt x="21" y="105"/>
                  </a:lnTo>
                  <a:lnTo>
                    <a:pt x="19" y="105"/>
                  </a:lnTo>
                  <a:lnTo>
                    <a:pt x="19" y="102"/>
                  </a:lnTo>
                  <a:lnTo>
                    <a:pt x="19" y="105"/>
                  </a:lnTo>
                  <a:lnTo>
                    <a:pt x="19" y="102"/>
                  </a:lnTo>
                  <a:lnTo>
                    <a:pt x="21" y="102"/>
                  </a:lnTo>
                  <a:lnTo>
                    <a:pt x="21" y="100"/>
                  </a:lnTo>
                  <a:lnTo>
                    <a:pt x="19" y="100"/>
                  </a:lnTo>
                  <a:lnTo>
                    <a:pt x="19" y="102"/>
                  </a:lnTo>
                  <a:lnTo>
                    <a:pt x="19" y="100"/>
                  </a:lnTo>
                  <a:lnTo>
                    <a:pt x="21" y="100"/>
                  </a:lnTo>
                  <a:lnTo>
                    <a:pt x="19" y="100"/>
                  </a:lnTo>
                  <a:lnTo>
                    <a:pt x="19" y="102"/>
                  </a:lnTo>
                  <a:lnTo>
                    <a:pt x="19" y="100"/>
                  </a:lnTo>
                  <a:lnTo>
                    <a:pt x="16" y="102"/>
                  </a:lnTo>
                  <a:lnTo>
                    <a:pt x="14" y="102"/>
                  </a:lnTo>
                  <a:lnTo>
                    <a:pt x="14" y="100"/>
                  </a:lnTo>
                  <a:lnTo>
                    <a:pt x="12" y="100"/>
                  </a:lnTo>
                  <a:lnTo>
                    <a:pt x="9" y="100"/>
                  </a:lnTo>
                  <a:lnTo>
                    <a:pt x="12" y="100"/>
                  </a:lnTo>
                  <a:lnTo>
                    <a:pt x="9" y="100"/>
                  </a:lnTo>
                  <a:lnTo>
                    <a:pt x="9" y="97"/>
                  </a:lnTo>
                  <a:lnTo>
                    <a:pt x="9" y="100"/>
                  </a:lnTo>
                  <a:lnTo>
                    <a:pt x="9" y="97"/>
                  </a:lnTo>
                  <a:lnTo>
                    <a:pt x="9" y="100"/>
                  </a:lnTo>
                  <a:lnTo>
                    <a:pt x="9" y="97"/>
                  </a:lnTo>
                  <a:lnTo>
                    <a:pt x="12" y="97"/>
                  </a:lnTo>
                  <a:lnTo>
                    <a:pt x="14" y="97"/>
                  </a:lnTo>
                  <a:lnTo>
                    <a:pt x="12" y="97"/>
                  </a:lnTo>
                  <a:lnTo>
                    <a:pt x="12" y="95"/>
                  </a:lnTo>
                  <a:lnTo>
                    <a:pt x="12" y="97"/>
                  </a:lnTo>
                  <a:lnTo>
                    <a:pt x="12" y="95"/>
                  </a:lnTo>
                  <a:lnTo>
                    <a:pt x="14" y="97"/>
                  </a:lnTo>
                  <a:lnTo>
                    <a:pt x="14" y="95"/>
                  </a:lnTo>
                  <a:lnTo>
                    <a:pt x="12" y="95"/>
                  </a:lnTo>
                  <a:lnTo>
                    <a:pt x="9" y="95"/>
                  </a:lnTo>
                  <a:lnTo>
                    <a:pt x="12" y="95"/>
                  </a:lnTo>
                  <a:lnTo>
                    <a:pt x="9" y="95"/>
                  </a:lnTo>
                  <a:lnTo>
                    <a:pt x="12" y="95"/>
                  </a:lnTo>
                  <a:lnTo>
                    <a:pt x="9" y="93"/>
                  </a:lnTo>
                  <a:lnTo>
                    <a:pt x="12" y="93"/>
                  </a:lnTo>
                  <a:lnTo>
                    <a:pt x="14" y="93"/>
                  </a:lnTo>
                  <a:lnTo>
                    <a:pt x="16" y="93"/>
                  </a:lnTo>
                  <a:lnTo>
                    <a:pt x="14" y="93"/>
                  </a:lnTo>
                  <a:lnTo>
                    <a:pt x="16" y="93"/>
                  </a:lnTo>
                  <a:lnTo>
                    <a:pt x="14" y="93"/>
                  </a:lnTo>
                  <a:lnTo>
                    <a:pt x="16" y="93"/>
                  </a:lnTo>
                  <a:lnTo>
                    <a:pt x="14" y="93"/>
                  </a:lnTo>
                  <a:lnTo>
                    <a:pt x="14" y="90"/>
                  </a:lnTo>
                  <a:lnTo>
                    <a:pt x="16" y="90"/>
                  </a:lnTo>
                  <a:lnTo>
                    <a:pt x="19" y="90"/>
                  </a:lnTo>
                  <a:lnTo>
                    <a:pt x="21" y="90"/>
                  </a:lnTo>
                  <a:lnTo>
                    <a:pt x="19" y="90"/>
                  </a:lnTo>
                  <a:lnTo>
                    <a:pt x="19" y="88"/>
                  </a:lnTo>
                  <a:lnTo>
                    <a:pt x="19" y="90"/>
                  </a:lnTo>
                  <a:lnTo>
                    <a:pt x="21" y="90"/>
                  </a:lnTo>
                  <a:lnTo>
                    <a:pt x="24" y="90"/>
                  </a:lnTo>
                  <a:lnTo>
                    <a:pt x="26" y="90"/>
                  </a:lnTo>
                  <a:lnTo>
                    <a:pt x="24" y="90"/>
                  </a:lnTo>
                  <a:lnTo>
                    <a:pt x="21" y="90"/>
                  </a:lnTo>
                  <a:lnTo>
                    <a:pt x="19" y="90"/>
                  </a:lnTo>
                  <a:lnTo>
                    <a:pt x="19" y="88"/>
                  </a:lnTo>
                  <a:lnTo>
                    <a:pt x="19" y="86"/>
                  </a:lnTo>
                  <a:lnTo>
                    <a:pt x="16" y="86"/>
                  </a:lnTo>
                  <a:lnTo>
                    <a:pt x="19" y="86"/>
                  </a:lnTo>
                  <a:lnTo>
                    <a:pt x="19" y="83"/>
                  </a:lnTo>
                  <a:lnTo>
                    <a:pt x="19" y="81"/>
                  </a:lnTo>
                  <a:lnTo>
                    <a:pt x="21" y="81"/>
                  </a:lnTo>
                  <a:lnTo>
                    <a:pt x="24" y="81"/>
                  </a:lnTo>
                  <a:lnTo>
                    <a:pt x="26" y="81"/>
                  </a:lnTo>
                  <a:lnTo>
                    <a:pt x="28" y="81"/>
                  </a:lnTo>
                  <a:lnTo>
                    <a:pt x="31" y="81"/>
                  </a:lnTo>
                  <a:lnTo>
                    <a:pt x="28" y="81"/>
                  </a:lnTo>
                  <a:lnTo>
                    <a:pt x="31" y="81"/>
                  </a:lnTo>
                  <a:lnTo>
                    <a:pt x="28" y="81"/>
                  </a:lnTo>
                  <a:lnTo>
                    <a:pt x="28" y="78"/>
                  </a:lnTo>
                  <a:lnTo>
                    <a:pt x="28" y="81"/>
                  </a:lnTo>
                  <a:lnTo>
                    <a:pt x="28" y="78"/>
                  </a:lnTo>
                  <a:lnTo>
                    <a:pt x="31" y="78"/>
                  </a:lnTo>
                  <a:lnTo>
                    <a:pt x="28" y="78"/>
                  </a:lnTo>
                  <a:lnTo>
                    <a:pt x="28" y="76"/>
                  </a:lnTo>
                  <a:lnTo>
                    <a:pt x="31" y="76"/>
                  </a:lnTo>
                  <a:lnTo>
                    <a:pt x="28" y="76"/>
                  </a:lnTo>
                  <a:lnTo>
                    <a:pt x="31" y="76"/>
                  </a:lnTo>
                  <a:lnTo>
                    <a:pt x="28" y="76"/>
                  </a:lnTo>
                  <a:lnTo>
                    <a:pt x="31" y="76"/>
                  </a:lnTo>
                  <a:lnTo>
                    <a:pt x="28" y="76"/>
                  </a:lnTo>
                  <a:lnTo>
                    <a:pt x="26" y="76"/>
                  </a:lnTo>
                  <a:lnTo>
                    <a:pt x="28" y="76"/>
                  </a:lnTo>
                  <a:lnTo>
                    <a:pt x="26" y="76"/>
                  </a:lnTo>
                  <a:lnTo>
                    <a:pt x="24" y="76"/>
                  </a:lnTo>
                  <a:lnTo>
                    <a:pt x="21" y="76"/>
                  </a:lnTo>
                  <a:lnTo>
                    <a:pt x="19" y="76"/>
                  </a:lnTo>
                  <a:lnTo>
                    <a:pt x="19" y="78"/>
                  </a:lnTo>
                  <a:lnTo>
                    <a:pt x="19" y="76"/>
                  </a:lnTo>
                  <a:lnTo>
                    <a:pt x="16" y="76"/>
                  </a:lnTo>
                  <a:lnTo>
                    <a:pt x="16" y="74"/>
                  </a:lnTo>
                  <a:lnTo>
                    <a:pt x="19" y="74"/>
                  </a:lnTo>
                  <a:lnTo>
                    <a:pt x="16" y="74"/>
                  </a:lnTo>
                  <a:lnTo>
                    <a:pt x="16" y="76"/>
                  </a:lnTo>
                  <a:lnTo>
                    <a:pt x="16" y="74"/>
                  </a:lnTo>
                  <a:lnTo>
                    <a:pt x="16" y="76"/>
                  </a:lnTo>
                  <a:lnTo>
                    <a:pt x="14" y="76"/>
                  </a:lnTo>
                  <a:lnTo>
                    <a:pt x="14" y="74"/>
                  </a:lnTo>
                  <a:lnTo>
                    <a:pt x="14" y="71"/>
                  </a:lnTo>
                  <a:lnTo>
                    <a:pt x="12" y="71"/>
                  </a:lnTo>
                  <a:lnTo>
                    <a:pt x="9" y="71"/>
                  </a:lnTo>
                  <a:lnTo>
                    <a:pt x="7" y="71"/>
                  </a:lnTo>
                  <a:lnTo>
                    <a:pt x="9" y="71"/>
                  </a:lnTo>
                  <a:lnTo>
                    <a:pt x="9" y="69"/>
                  </a:lnTo>
                  <a:lnTo>
                    <a:pt x="9" y="71"/>
                  </a:lnTo>
                  <a:lnTo>
                    <a:pt x="12" y="71"/>
                  </a:lnTo>
                  <a:lnTo>
                    <a:pt x="12" y="69"/>
                  </a:lnTo>
                  <a:lnTo>
                    <a:pt x="14" y="69"/>
                  </a:lnTo>
                  <a:lnTo>
                    <a:pt x="16" y="69"/>
                  </a:lnTo>
                  <a:lnTo>
                    <a:pt x="16" y="71"/>
                  </a:lnTo>
                  <a:lnTo>
                    <a:pt x="16" y="74"/>
                  </a:lnTo>
                  <a:lnTo>
                    <a:pt x="16" y="71"/>
                  </a:lnTo>
                  <a:lnTo>
                    <a:pt x="19" y="71"/>
                  </a:lnTo>
                  <a:lnTo>
                    <a:pt x="16" y="74"/>
                  </a:lnTo>
                  <a:lnTo>
                    <a:pt x="19" y="74"/>
                  </a:lnTo>
                  <a:lnTo>
                    <a:pt x="16" y="74"/>
                  </a:lnTo>
                  <a:lnTo>
                    <a:pt x="19" y="74"/>
                  </a:lnTo>
                  <a:lnTo>
                    <a:pt x="19" y="71"/>
                  </a:lnTo>
                  <a:lnTo>
                    <a:pt x="19" y="74"/>
                  </a:lnTo>
                  <a:lnTo>
                    <a:pt x="19" y="71"/>
                  </a:lnTo>
                  <a:lnTo>
                    <a:pt x="19" y="74"/>
                  </a:lnTo>
                  <a:lnTo>
                    <a:pt x="19" y="71"/>
                  </a:lnTo>
                  <a:lnTo>
                    <a:pt x="21" y="71"/>
                  </a:lnTo>
                  <a:lnTo>
                    <a:pt x="21" y="74"/>
                  </a:lnTo>
                  <a:lnTo>
                    <a:pt x="21" y="71"/>
                  </a:lnTo>
                  <a:lnTo>
                    <a:pt x="21" y="74"/>
                  </a:lnTo>
                  <a:lnTo>
                    <a:pt x="21" y="71"/>
                  </a:lnTo>
                  <a:lnTo>
                    <a:pt x="21" y="74"/>
                  </a:lnTo>
                  <a:lnTo>
                    <a:pt x="21" y="71"/>
                  </a:lnTo>
                  <a:lnTo>
                    <a:pt x="19" y="71"/>
                  </a:lnTo>
                  <a:lnTo>
                    <a:pt x="21" y="71"/>
                  </a:lnTo>
                  <a:lnTo>
                    <a:pt x="19" y="71"/>
                  </a:lnTo>
                  <a:lnTo>
                    <a:pt x="21" y="71"/>
                  </a:lnTo>
                  <a:lnTo>
                    <a:pt x="19" y="71"/>
                  </a:lnTo>
                  <a:lnTo>
                    <a:pt x="21" y="71"/>
                  </a:lnTo>
                  <a:lnTo>
                    <a:pt x="19" y="71"/>
                  </a:lnTo>
                  <a:lnTo>
                    <a:pt x="21" y="71"/>
                  </a:lnTo>
                  <a:lnTo>
                    <a:pt x="19" y="71"/>
                  </a:lnTo>
                  <a:lnTo>
                    <a:pt x="19" y="69"/>
                  </a:lnTo>
                  <a:lnTo>
                    <a:pt x="19" y="71"/>
                  </a:lnTo>
                  <a:lnTo>
                    <a:pt x="16" y="71"/>
                  </a:lnTo>
                  <a:lnTo>
                    <a:pt x="19" y="71"/>
                  </a:lnTo>
                  <a:lnTo>
                    <a:pt x="19" y="69"/>
                  </a:lnTo>
                  <a:lnTo>
                    <a:pt x="19" y="67"/>
                  </a:lnTo>
                  <a:lnTo>
                    <a:pt x="21" y="67"/>
                  </a:lnTo>
                  <a:lnTo>
                    <a:pt x="19" y="67"/>
                  </a:lnTo>
                  <a:lnTo>
                    <a:pt x="21" y="67"/>
                  </a:lnTo>
                  <a:lnTo>
                    <a:pt x="19" y="67"/>
                  </a:lnTo>
                  <a:lnTo>
                    <a:pt x="21" y="67"/>
                  </a:lnTo>
                  <a:lnTo>
                    <a:pt x="19" y="64"/>
                  </a:lnTo>
                  <a:lnTo>
                    <a:pt x="21" y="64"/>
                  </a:lnTo>
                  <a:lnTo>
                    <a:pt x="19" y="64"/>
                  </a:lnTo>
                  <a:lnTo>
                    <a:pt x="19" y="67"/>
                  </a:lnTo>
                  <a:lnTo>
                    <a:pt x="16" y="67"/>
                  </a:lnTo>
                  <a:lnTo>
                    <a:pt x="16" y="64"/>
                  </a:lnTo>
                  <a:lnTo>
                    <a:pt x="14" y="64"/>
                  </a:lnTo>
                  <a:lnTo>
                    <a:pt x="16" y="64"/>
                  </a:lnTo>
                  <a:lnTo>
                    <a:pt x="19" y="64"/>
                  </a:lnTo>
                  <a:lnTo>
                    <a:pt x="16" y="64"/>
                  </a:lnTo>
                  <a:lnTo>
                    <a:pt x="16" y="62"/>
                  </a:lnTo>
                  <a:lnTo>
                    <a:pt x="16" y="59"/>
                  </a:lnTo>
                  <a:lnTo>
                    <a:pt x="16" y="62"/>
                  </a:lnTo>
                  <a:lnTo>
                    <a:pt x="16" y="59"/>
                  </a:lnTo>
                  <a:lnTo>
                    <a:pt x="14" y="59"/>
                  </a:lnTo>
                  <a:lnTo>
                    <a:pt x="14" y="62"/>
                  </a:lnTo>
                  <a:lnTo>
                    <a:pt x="14" y="59"/>
                  </a:lnTo>
                  <a:lnTo>
                    <a:pt x="14" y="62"/>
                  </a:lnTo>
                  <a:lnTo>
                    <a:pt x="12" y="62"/>
                  </a:lnTo>
                  <a:lnTo>
                    <a:pt x="14" y="62"/>
                  </a:lnTo>
                  <a:lnTo>
                    <a:pt x="14" y="64"/>
                  </a:lnTo>
                  <a:lnTo>
                    <a:pt x="12" y="64"/>
                  </a:lnTo>
                  <a:lnTo>
                    <a:pt x="14" y="64"/>
                  </a:lnTo>
                  <a:lnTo>
                    <a:pt x="12" y="64"/>
                  </a:lnTo>
                  <a:lnTo>
                    <a:pt x="14" y="64"/>
                  </a:lnTo>
                  <a:lnTo>
                    <a:pt x="14" y="67"/>
                  </a:lnTo>
                  <a:lnTo>
                    <a:pt x="12" y="67"/>
                  </a:lnTo>
                  <a:lnTo>
                    <a:pt x="12" y="64"/>
                  </a:lnTo>
                  <a:lnTo>
                    <a:pt x="12" y="62"/>
                  </a:lnTo>
                  <a:lnTo>
                    <a:pt x="12" y="59"/>
                  </a:lnTo>
                  <a:lnTo>
                    <a:pt x="14" y="59"/>
                  </a:lnTo>
                  <a:lnTo>
                    <a:pt x="12" y="59"/>
                  </a:lnTo>
                  <a:lnTo>
                    <a:pt x="12" y="57"/>
                  </a:lnTo>
                  <a:lnTo>
                    <a:pt x="12" y="59"/>
                  </a:lnTo>
                  <a:lnTo>
                    <a:pt x="12" y="57"/>
                  </a:lnTo>
                  <a:lnTo>
                    <a:pt x="14" y="57"/>
                  </a:lnTo>
                  <a:lnTo>
                    <a:pt x="14" y="55"/>
                  </a:lnTo>
                  <a:lnTo>
                    <a:pt x="16" y="55"/>
                  </a:lnTo>
                  <a:lnTo>
                    <a:pt x="16" y="57"/>
                  </a:lnTo>
                  <a:lnTo>
                    <a:pt x="19" y="57"/>
                  </a:lnTo>
                  <a:lnTo>
                    <a:pt x="19" y="59"/>
                  </a:lnTo>
                  <a:lnTo>
                    <a:pt x="16" y="59"/>
                  </a:lnTo>
                  <a:lnTo>
                    <a:pt x="19" y="59"/>
                  </a:lnTo>
                  <a:lnTo>
                    <a:pt x="21" y="59"/>
                  </a:lnTo>
                  <a:lnTo>
                    <a:pt x="19" y="59"/>
                  </a:lnTo>
                  <a:lnTo>
                    <a:pt x="19" y="57"/>
                  </a:lnTo>
                  <a:lnTo>
                    <a:pt x="21" y="57"/>
                  </a:lnTo>
                  <a:lnTo>
                    <a:pt x="24" y="57"/>
                  </a:lnTo>
                  <a:lnTo>
                    <a:pt x="21" y="57"/>
                  </a:lnTo>
                  <a:lnTo>
                    <a:pt x="21" y="55"/>
                  </a:lnTo>
                  <a:lnTo>
                    <a:pt x="21" y="57"/>
                  </a:lnTo>
                  <a:lnTo>
                    <a:pt x="24" y="57"/>
                  </a:lnTo>
                  <a:lnTo>
                    <a:pt x="21" y="55"/>
                  </a:lnTo>
                  <a:lnTo>
                    <a:pt x="19" y="55"/>
                  </a:lnTo>
                  <a:lnTo>
                    <a:pt x="21" y="55"/>
                  </a:lnTo>
                  <a:lnTo>
                    <a:pt x="21" y="52"/>
                  </a:lnTo>
                  <a:lnTo>
                    <a:pt x="24" y="52"/>
                  </a:lnTo>
                  <a:lnTo>
                    <a:pt x="21" y="52"/>
                  </a:lnTo>
                  <a:lnTo>
                    <a:pt x="21" y="55"/>
                  </a:lnTo>
                  <a:lnTo>
                    <a:pt x="24" y="52"/>
                  </a:lnTo>
                  <a:lnTo>
                    <a:pt x="24" y="55"/>
                  </a:lnTo>
                  <a:lnTo>
                    <a:pt x="26" y="55"/>
                  </a:lnTo>
                  <a:lnTo>
                    <a:pt x="28" y="55"/>
                  </a:lnTo>
                  <a:lnTo>
                    <a:pt x="31" y="55"/>
                  </a:lnTo>
                  <a:lnTo>
                    <a:pt x="28" y="55"/>
                  </a:lnTo>
                  <a:lnTo>
                    <a:pt x="31" y="55"/>
                  </a:lnTo>
                  <a:lnTo>
                    <a:pt x="33" y="55"/>
                  </a:lnTo>
                  <a:lnTo>
                    <a:pt x="35" y="55"/>
                  </a:lnTo>
                  <a:lnTo>
                    <a:pt x="38" y="55"/>
                  </a:lnTo>
                  <a:lnTo>
                    <a:pt x="35" y="55"/>
                  </a:lnTo>
                  <a:lnTo>
                    <a:pt x="38" y="55"/>
                  </a:lnTo>
                  <a:lnTo>
                    <a:pt x="40" y="55"/>
                  </a:lnTo>
                  <a:lnTo>
                    <a:pt x="40" y="57"/>
                  </a:lnTo>
                  <a:lnTo>
                    <a:pt x="40" y="55"/>
                  </a:lnTo>
                  <a:lnTo>
                    <a:pt x="40" y="57"/>
                  </a:lnTo>
                  <a:lnTo>
                    <a:pt x="40" y="59"/>
                  </a:lnTo>
                  <a:lnTo>
                    <a:pt x="40" y="57"/>
                  </a:lnTo>
                  <a:lnTo>
                    <a:pt x="42" y="57"/>
                  </a:lnTo>
                  <a:lnTo>
                    <a:pt x="42" y="59"/>
                  </a:lnTo>
                  <a:lnTo>
                    <a:pt x="40" y="59"/>
                  </a:lnTo>
                  <a:lnTo>
                    <a:pt x="42" y="59"/>
                  </a:lnTo>
                  <a:lnTo>
                    <a:pt x="42" y="62"/>
                  </a:lnTo>
                  <a:lnTo>
                    <a:pt x="42" y="64"/>
                  </a:lnTo>
                  <a:lnTo>
                    <a:pt x="42" y="62"/>
                  </a:lnTo>
                  <a:lnTo>
                    <a:pt x="45" y="62"/>
                  </a:lnTo>
                  <a:lnTo>
                    <a:pt x="45" y="59"/>
                  </a:lnTo>
                  <a:lnTo>
                    <a:pt x="42" y="59"/>
                  </a:lnTo>
                  <a:lnTo>
                    <a:pt x="45" y="59"/>
                  </a:lnTo>
                  <a:lnTo>
                    <a:pt x="45" y="57"/>
                  </a:lnTo>
                  <a:lnTo>
                    <a:pt x="47" y="57"/>
                  </a:lnTo>
                  <a:lnTo>
                    <a:pt x="45" y="57"/>
                  </a:lnTo>
                  <a:lnTo>
                    <a:pt x="47" y="57"/>
                  </a:lnTo>
                  <a:lnTo>
                    <a:pt x="47" y="55"/>
                  </a:lnTo>
                  <a:lnTo>
                    <a:pt x="45" y="55"/>
                  </a:lnTo>
                  <a:lnTo>
                    <a:pt x="47" y="55"/>
                  </a:lnTo>
                  <a:lnTo>
                    <a:pt x="50" y="55"/>
                  </a:lnTo>
                  <a:lnTo>
                    <a:pt x="50" y="57"/>
                  </a:lnTo>
                  <a:lnTo>
                    <a:pt x="52" y="57"/>
                  </a:lnTo>
                  <a:lnTo>
                    <a:pt x="54" y="57"/>
                  </a:lnTo>
                  <a:lnTo>
                    <a:pt x="57" y="57"/>
                  </a:lnTo>
                  <a:lnTo>
                    <a:pt x="59" y="57"/>
                  </a:lnTo>
                  <a:lnTo>
                    <a:pt x="61" y="57"/>
                  </a:lnTo>
                  <a:lnTo>
                    <a:pt x="59" y="57"/>
                  </a:lnTo>
                  <a:lnTo>
                    <a:pt x="61" y="57"/>
                  </a:lnTo>
                  <a:lnTo>
                    <a:pt x="59" y="59"/>
                  </a:lnTo>
                  <a:lnTo>
                    <a:pt x="61" y="59"/>
                  </a:lnTo>
                  <a:lnTo>
                    <a:pt x="64" y="59"/>
                  </a:lnTo>
                  <a:lnTo>
                    <a:pt x="61" y="59"/>
                  </a:lnTo>
                  <a:lnTo>
                    <a:pt x="61" y="57"/>
                  </a:lnTo>
                  <a:lnTo>
                    <a:pt x="61" y="55"/>
                  </a:lnTo>
                  <a:lnTo>
                    <a:pt x="61" y="57"/>
                  </a:lnTo>
                  <a:lnTo>
                    <a:pt x="64" y="57"/>
                  </a:lnTo>
                  <a:lnTo>
                    <a:pt x="66" y="57"/>
                  </a:lnTo>
                  <a:lnTo>
                    <a:pt x="64" y="57"/>
                  </a:lnTo>
                  <a:lnTo>
                    <a:pt x="66" y="57"/>
                  </a:lnTo>
                  <a:lnTo>
                    <a:pt x="64" y="57"/>
                  </a:lnTo>
                  <a:lnTo>
                    <a:pt x="64" y="55"/>
                  </a:lnTo>
                  <a:lnTo>
                    <a:pt x="61" y="55"/>
                  </a:lnTo>
                  <a:lnTo>
                    <a:pt x="64" y="55"/>
                  </a:lnTo>
                  <a:lnTo>
                    <a:pt x="64" y="52"/>
                  </a:lnTo>
                  <a:lnTo>
                    <a:pt x="61" y="52"/>
                  </a:lnTo>
                  <a:lnTo>
                    <a:pt x="61" y="55"/>
                  </a:lnTo>
                  <a:lnTo>
                    <a:pt x="59" y="52"/>
                  </a:lnTo>
                  <a:lnTo>
                    <a:pt x="59" y="55"/>
                  </a:lnTo>
                  <a:lnTo>
                    <a:pt x="59" y="52"/>
                  </a:lnTo>
                  <a:lnTo>
                    <a:pt x="61" y="52"/>
                  </a:lnTo>
                  <a:lnTo>
                    <a:pt x="61" y="50"/>
                  </a:lnTo>
                  <a:lnTo>
                    <a:pt x="64" y="50"/>
                  </a:lnTo>
                  <a:lnTo>
                    <a:pt x="61" y="50"/>
                  </a:lnTo>
                  <a:lnTo>
                    <a:pt x="64" y="50"/>
                  </a:lnTo>
                  <a:lnTo>
                    <a:pt x="64" y="48"/>
                  </a:lnTo>
                  <a:lnTo>
                    <a:pt x="66" y="48"/>
                  </a:lnTo>
                  <a:lnTo>
                    <a:pt x="64" y="48"/>
                  </a:lnTo>
                  <a:lnTo>
                    <a:pt x="66" y="48"/>
                  </a:lnTo>
                  <a:lnTo>
                    <a:pt x="69" y="48"/>
                  </a:lnTo>
                  <a:lnTo>
                    <a:pt x="71" y="48"/>
                  </a:lnTo>
                  <a:lnTo>
                    <a:pt x="71" y="45"/>
                  </a:lnTo>
                  <a:lnTo>
                    <a:pt x="73" y="45"/>
                  </a:lnTo>
                  <a:lnTo>
                    <a:pt x="71" y="45"/>
                  </a:lnTo>
                  <a:lnTo>
                    <a:pt x="71" y="43"/>
                  </a:lnTo>
                  <a:lnTo>
                    <a:pt x="73" y="43"/>
                  </a:lnTo>
                  <a:lnTo>
                    <a:pt x="73" y="40"/>
                  </a:lnTo>
                  <a:lnTo>
                    <a:pt x="76" y="40"/>
                  </a:lnTo>
                  <a:lnTo>
                    <a:pt x="76" y="38"/>
                  </a:lnTo>
                  <a:lnTo>
                    <a:pt x="76" y="40"/>
                  </a:lnTo>
                  <a:lnTo>
                    <a:pt x="76" y="38"/>
                  </a:lnTo>
                  <a:lnTo>
                    <a:pt x="76" y="40"/>
                  </a:lnTo>
                  <a:lnTo>
                    <a:pt x="76" y="38"/>
                  </a:lnTo>
                  <a:lnTo>
                    <a:pt x="78" y="38"/>
                  </a:lnTo>
                  <a:lnTo>
                    <a:pt x="76" y="40"/>
                  </a:lnTo>
                  <a:lnTo>
                    <a:pt x="78" y="40"/>
                  </a:lnTo>
                  <a:lnTo>
                    <a:pt x="76" y="40"/>
                  </a:lnTo>
                  <a:lnTo>
                    <a:pt x="78" y="40"/>
                  </a:lnTo>
                  <a:lnTo>
                    <a:pt x="78" y="38"/>
                  </a:lnTo>
                  <a:lnTo>
                    <a:pt x="78" y="40"/>
                  </a:lnTo>
                  <a:lnTo>
                    <a:pt x="78" y="38"/>
                  </a:lnTo>
                  <a:lnTo>
                    <a:pt x="76" y="38"/>
                  </a:lnTo>
                  <a:lnTo>
                    <a:pt x="78" y="38"/>
                  </a:lnTo>
                  <a:lnTo>
                    <a:pt x="76" y="38"/>
                  </a:lnTo>
                  <a:lnTo>
                    <a:pt x="78" y="38"/>
                  </a:lnTo>
                  <a:lnTo>
                    <a:pt x="76" y="38"/>
                  </a:lnTo>
                  <a:lnTo>
                    <a:pt x="78" y="38"/>
                  </a:lnTo>
                  <a:lnTo>
                    <a:pt x="76" y="38"/>
                  </a:lnTo>
                  <a:lnTo>
                    <a:pt x="73" y="38"/>
                  </a:lnTo>
                  <a:lnTo>
                    <a:pt x="73" y="40"/>
                  </a:lnTo>
                  <a:lnTo>
                    <a:pt x="71" y="40"/>
                  </a:lnTo>
                  <a:lnTo>
                    <a:pt x="71" y="38"/>
                  </a:lnTo>
                  <a:lnTo>
                    <a:pt x="69" y="38"/>
                  </a:lnTo>
                  <a:lnTo>
                    <a:pt x="69" y="40"/>
                  </a:lnTo>
                  <a:lnTo>
                    <a:pt x="66" y="40"/>
                  </a:lnTo>
                  <a:lnTo>
                    <a:pt x="66" y="43"/>
                  </a:lnTo>
                  <a:lnTo>
                    <a:pt x="66" y="40"/>
                  </a:lnTo>
                  <a:lnTo>
                    <a:pt x="69" y="40"/>
                  </a:lnTo>
                  <a:lnTo>
                    <a:pt x="69" y="38"/>
                  </a:lnTo>
                  <a:lnTo>
                    <a:pt x="69" y="40"/>
                  </a:lnTo>
                  <a:lnTo>
                    <a:pt x="69" y="38"/>
                  </a:lnTo>
                  <a:lnTo>
                    <a:pt x="66" y="38"/>
                  </a:lnTo>
                  <a:lnTo>
                    <a:pt x="66" y="40"/>
                  </a:lnTo>
                  <a:lnTo>
                    <a:pt x="66" y="38"/>
                  </a:lnTo>
                  <a:lnTo>
                    <a:pt x="66" y="40"/>
                  </a:lnTo>
                  <a:lnTo>
                    <a:pt x="66" y="38"/>
                  </a:lnTo>
                  <a:lnTo>
                    <a:pt x="66" y="40"/>
                  </a:lnTo>
                  <a:lnTo>
                    <a:pt x="64" y="40"/>
                  </a:lnTo>
                  <a:lnTo>
                    <a:pt x="66" y="40"/>
                  </a:lnTo>
                  <a:lnTo>
                    <a:pt x="64" y="40"/>
                  </a:lnTo>
                  <a:lnTo>
                    <a:pt x="64" y="38"/>
                  </a:lnTo>
                  <a:lnTo>
                    <a:pt x="66" y="38"/>
                  </a:lnTo>
                  <a:lnTo>
                    <a:pt x="64" y="38"/>
                  </a:lnTo>
                  <a:lnTo>
                    <a:pt x="66" y="38"/>
                  </a:lnTo>
                  <a:lnTo>
                    <a:pt x="64" y="38"/>
                  </a:lnTo>
                  <a:lnTo>
                    <a:pt x="64" y="40"/>
                  </a:lnTo>
                  <a:lnTo>
                    <a:pt x="64" y="38"/>
                  </a:lnTo>
                  <a:lnTo>
                    <a:pt x="61" y="38"/>
                  </a:lnTo>
                  <a:lnTo>
                    <a:pt x="61" y="40"/>
                  </a:lnTo>
                  <a:lnTo>
                    <a:pt x="61" y="38"/>
                  </a:lnTo>
                  <a:lnTo>
                    <a:pt x="59" y="38"/>
                  </a:lnTo>
                  <a:lnTo>
                    <a:pt x="61" y="38"/>
                  </a:lnTo>
                  <a:lnTo>
                    <a:pt x="59" y="38"/>
                  </a:lnTo>
                  <a:lnTo>
                    <a:pt x="57" y="38"/>
                  </a:lnTo>
                  <a:lnTo>
                    <a:pt x="54" y="38"/>
                  </a:lnTo>
                  <a:lnTo>
                    <a:pt x="54" y="36"/>
                  </a:lnTo>
                  <a:lnTo>
                    <a:pt x="54" y="38"/>
                  </a:lnTo>
                  <a:lnTo>
                    <a:pt x="54" y="36"/>
                  </a:lnTo>
                  <a:lnTo>
                    <a:pt x="57" y="36"/>
                  </a:lnTo>
                  <a:lnTo>
                    <a:pt x="57" y="33"/>
                  </a:lnTo>
                  <a:lnTo>
                    <a:pt x="57" y="36"/>
                  </a:lnTo>
                  <a:lnTo>
                    <a:pt x="57" y="33"/>
                  </a:lnTo>
                  <a:lnTo>
                    <a:pt x="59" y="33"/>
                  </a:lnTo>
                  <a:lnTo>
                    <a:pt x="59" y="31"/>
                  </a:lnTo>
                  <a:lnTo>
                    <a:pt x="61" y="31"/>
                  </a:lnTo>
                  <a:lnTo>
                    <a:pt x="64" y="31"/>
                  </a:lnTo>
                  <a:lnTo>
                    <a:pt x="66" y="33"/>
                  </a:lnTo>
                  <a:lnTo>
                    <a:pt x="66" y="31"/>
                  </a:lnTo>
                  <a:lnTo>
                    <a:pt x="64" y="31"/>
                  </a:lnTo>
                  <a:lnTo>
                    <a:pt x="66" y="31"/>
                  </a:lnTo>
                  <a:lnTo>
                    <a:pt x="64" y="31"/>
                  </a:lnTo>
                  <a:lnTo>
                    <a:pt x="64" y="29"/>
                  </a:lnTo>
                  <a:lnTo>
                    <a:pt x="61" y="29"/>
                  </a:lnTo>
                  <a:lnTo>
                    <a:pt x="64" y="29"/>
                  </a:lnTo>
                  <a:lnTo>
                    <a:pt x="66" y="29"/>
                  </a:lnTo>
                  <a:lnTo>
                    <a:pt x="69" y="29"/>
                  </a:lnTo>
                  <a:lnTo>
                    <a:pt x="69" y="26"/>
                  </a:lnTo>
                  <a:lnTo>
                    <a:pt x="69" y="29"/>
                  </a:lnTo>
                  <a:lnTo>
                    <a:pt x="71" y="29"/>
                  </a:lnTo>
                  <a:lnTo>
                    <a:pt x="71" y="26"/>
                  </a:lnTo>
                  <a:lnTo>
                    <a:pt x="73" y="26"/>
                  </a:lnTo>
                  <a:lnTo>
                    <a:pt x="71" y="26"/>
                  </a:lnTo>
                  <a:lnTo>
                    <a:pt x="71" y="29"/>
                  </a:lnTo>
                  <a:lnTo>
                    <a:pt x="69" y="29"/>
                  </a:lnTo>
                  <a:lnTo>
                    <a:pt x="69" y="26"/>
                  </a:lnTo>
                  <a:lnTo>
                    <a:pt x="69" y="29"/>
                  </a:lnTo>
                  <a:lnTo>
                    <a:pt x="69" y="26"/>
                  </a:lnTo>
                  <a:lnTo>
                    <a:pt x="71" y="26"/>
                  </a:lnTo>
                  <a:lnTo>
                    <a:pt x="69" y="26"/>
                  </a:lnTo>
                  <a:lnTo>
                    <a:pt x="69" y="24"/>
                  </a:lnTo>
                  <a:lnTo>
                    <a:pt x="69" y="26"/>
                  </a:lnTo>
                  <a:lnTo>
                    <a:pt x="69" y="24"/>
                  </a:lnTo>
                  <a:lnTo>
                    <a:pt x="69" y="26"/>
                  </a:lnTo>
                  <a:lnTo>
                    <a:pt x="66" y="26"/>
                  </a:lnTo>
                  <a:lnTo>
                    <a:pt x="66" y="24"/>
                  </a:lnTo>
                  <a:lnTo>
                    <a:pt x="69" y="24"/>
                  </a:lnTo>
                  <a:lnTo>
                    <a:pt x="69" y="21"/>
                  </a:lnTo>
                  <a:lnTo>
                    <a:pt x="66" y="21"/>
                  </a:lnTo>
                  <a:lnTo>
                    <a:pt x="66" y="19"/>
                  </a:lnTo>
                  <a:lnTo>
                    <a:pt x="66" y="21"/>
                  </a:lnTo>
                  <a:lnTo>
                    <a:pt x="66" y="19"/>
                  </a:lnTo>
                  <a:lnTo>
                    <a:pt x="69" y="19"/>
                  </a:lnTo>
                  <a:lnTo>
                    <a:pt x="66" y="19"/>
                  </a:lnTo>
                  <a:lnTo>
                    <a:pt x="66" y="17"/>
                  </a:lnTo>
                  <a:lnTo>
                    <a:pt x="66" y="19"/>
                  </a:lnTo>
                  <a:lnTo>
                    <a:pt x="69" y="19"/>
                  </a:lnTo>
                  <a:lnTo>
                    <a:pt x="69" y="17"/>
                  </a:lnTo>
                  <a:lnTo>
                    <a:pt x="69" y="19"/>
                  </a:lnTo>
                  <a:lnTo>
                    <a:pt x="69" y="17"/>
                  </a:lnTo>
                  <a:lnTo>
                    <a:pt x="69" y="19"/>
                  </a:lnTo>
                  <a:lnTo>
                    <a:pt x="69" y="17"/>
                  </a:lnTo>
                  <a:lnTo>
                    <a:pt x="71" y="17"/>
                  </a:lnTo>
                  <a:lnTo>
                    <a:pt x="71" y="19"/>
                  </a:lnTo>
                  <a:lnTo>
                    <a:pt x="71" y="17"/>
                  </a:lnTo>
                  <a:lnTo>
                    <a:pt x="71" y="19"/>
                  </a:lnTo>
                  <a:lnTo>
                    <a:pt x="71" y="17"/>
                  </a:lnTo>
                  <a:lnTo>
                    <a:pt x="71" y="14"/>
                  </a:lnTo>
                  <a:lnTo>
                    <a:pt x="71" y="12"/>
                  </a:lnTo>
                  <a:lnTo>
                    <a:pt x="73" y="12"/>
                  </a:lnTo>
                  <a:lnTo>
                    <a:pt x="76" y="12"/>
                  </a:lnTo>
                  <a:lnTo>
                    <a:pt x="76" y="14"/>
                  </a:lnTo>
                  <a:lnTo>
                    <a:pt x="76" y="12"/>
                  </a:lnTo>
                  <a:lnTo>
                    <a:pt x="78" y="12"/>
                  </a:lnTo>
                  <a:lnTo>
                    <a:pt x="76" y="12"/>
                  </a:lnTo>
                  <a:lnTo>
                    <a:pt x="78" y="12"/>
                  </a:lnTo>
                  <a:lnTo>
                    <a:pt x="80" y="12"/>
                  </a:lnTo>
                  <a:lnTo>
                    <a:pt x="80" y="10"/>
                  </a:lnTo>
                  <a:lnTo>
                    <a:pt x="83" y="10"/>
                  </a:lnTo>
                  <a:lnTo>
                    <a:pt x="80" y="10"/>
                  </a:lnTo>
                  <a:lnTo>
                    <a:pt x="83" y="10"/>
                  </a:lnTo>
                  <a:lnTo>
                    <a:pt x="83" y="12"/>
                  </a:lnTo>
                  <a:lnTo>
                    <a:pt x="83" y="10"/>
                  </a:lnTo>
                  <a:lnTo>
                    <a:pt x="85" y="10"/>
                  </a:lnTo>
                  <a:lnTo>
                    <a:pt x="85" y="12"/>
                  </a:lnTo>
                  <a:lnTo>
                    <a:pt x="83" y="12"/>
                  </a:lnTo>
                  <a:lnTo>
                    <a:pt x="85" y="12"/>
                  </a:lnTo>
                  <a:lnTo>
                    <a:pt x="85" y="14"/>
                  </a:lnTo>
                  <a:lnTo>
                    <a:pt x="85" y="12"/>
                  </a:lnTo>
                  <a:lnTo>
                    <a:pt x="88" y="12"/>
                  </a:lnTo>
                  <a:lnTo>
                    <a:pt x="88" y="10"/>
                  </a:lnTo>
                  <a:lnTo>
                    <a:pt x="85" y="10"/>
                  </a:lnTo>
                  <a:lnTo>
                    <a:pt x="85" y="7"/>
                  </a:lnTo>
                  <a:lnTo>
                    <a:pt x="85" y="10"/>
                  </a:lnTo>
                  <a:lnTo>
                    <a:pt x="85" y="7"/>
                  </a:lnTo>
                  <a:lnTo>
                    <a:pt x="85" y="10"/>
                  </a:lnTo>
                  <a:lnTo>
                    <a:pt x="85" y="7"/>
                  </a:lnTo>
                  <a:lnTo>
                    <a:pt x="88" y="7"/>
                  </a:lnTo>
                  <a:lnTo>
                    <a:pt x="88" y="10"/>
                  </a:lnTo>
                  <a:lnTo>
                    <a:pt x="88" y="7"/>
                  </a:lnTo>
                  <a:lnTo>
                    <a:pt x="88" y="10"/>
                  </a:lnTo>
                  <a:lnTo>
                    <a:pt x="88" y="12"/>
                  </a:lnTo>
                  <a:lnTo>
                    <a:pt x="88" y="10"/>
                  </a:lnTo>
                  <a:lnTo>
                    <a:pt x="88" y="12"/>
                  </a:lnTo>
                  <a:lnTo>
                    <a:pt x="88" y="10"/>
                  </a:lnTo>
                  <a:lnTo>
                    <a:pt x="90" y="10"/>
                  </a:lnTo>
                  <a:lnTo>
                    <a:pt x="90" y="12"/>
                  </a:lnTo>
                  <a:lnTo>
                    <a:pt x="90" y="10"/>
                  </a:lnTo>
                  <a:lnTo>
                    <a:pt x="90" y="12"/>
                  </a:lnTo>
                  <a:lnTo>
                    <a:pt x="92" y="12"/>
                  </a:lnTo>
                  <a:lnTo>
                    <a:pt x="90" y="12"/>
                  </a:lnTo>
                  <a:lnTo>
                    <a:pt x="90" y="14"/>
                  </a:lnTo>
                  <a:lnTo>
                    <a:pt x="92" y="14"/>
                  </a:lnTo>
                  <a:lnTo>
                    <a:pt x="90" y="14"/>
                  </a:lnTo>
                  <a:lnTo>
                    <a:pt x="92" y="14"/>
                  </a:lnTo>
                  <a:lnTo>
                    <a:pt x="90" y="14"/>
                  </a:lnTo>
                  <a:lnTo>
                    <a:pt x="92" y="14"/>
                  </a:lnTo>
                  <a:lnTo>
                    <a:pt x="92" y="12"/>
                  </a:lnTo>
                  <a:lnTo>
                    <a:pt x="92" y="10"/>
                  </a:lnTo>
                  <a:lnTo>
                    <a:pt x="92" y="12"/>
                  </a:lnTo>
                  <a:lnTo>
                    <a:pt x="92" y="10"/>
                  </a:lnTo>
                  <a:lnTo>
                    <a:pt x="92" y="12"/>
                  </a:lnTo>
                  <a:lnTo>
                    <a:pt x="90" y="12"/>
                  </a:lnTo>
                  <a:lnTo>
                    <a:pt x="90" y="10"/>
                  </a:lnTo>
                  <a:lnTo>
                    <a:pt x="90" y="7"/>
                  </a:lnTo>
                  <a:lnTo>
                    <a:pt x="90" y="10"/>
                  </a:lnTo>
                  <a:lnTo>
                    <a:pt x="90" y="12"/>
                  </a:lnTo>
                  <a:lnTo>
                    <a:pt x="90" y="10"/>
                  </a:lnTo>
                  <a:lnTo>
                    <a:pt x="88" y="10"/>
                  </a:lnTo>
                  <a:lnTo>
                    <a:pt x="88" y="7"/>
                  </a:lnTo>
                  <a:lnTo>
                    <a:pt x="90" y="7"/>
                  </a:lnTo>
                  <a:lnTo>
                    <a:pt x="92" y="7"/>
                  </a:lnTo>
                  <a:lnTo>
                    <a:pt x="90" y="7"/>
                  </a:lnTo>
                  <a:lnTo>
                    <a:pt x="92" y="7"/>
                  </a:lnTo>
                  <a:lnTo>
                    <a:pt x="92" y="5"/>
                  </a:lnTo>
                  <a:lnTo>
                    <a:pt x="92" y="7"/>
                  </a:lnTo>
                  <a:lnTo>
                    <a:pt x="95" y="7"/>
                  </a:lnTo>
                  <a:lnTo>
                    <a:pt x="95" y="10"/>
                  </a:lnTo>
                  <a:lnTo>
                    <a:pt x="92" y="10"/>
                  </a:lnTo>
                  <a:lnTo>
                    <a:pt x="95" y="10"/>
                  </a:lnTo>
                  <a:lnTo>
                    <a:pt x="95" y="12"/>
                  </a:lnTo>
                  <a:lnTo>
                    <a:pt x="97" y="12"/>
                  </a:lnTo>
                  <a:lnTo>
                    <a:pt x="97" y="14"/>
                  </a:lnTo>
                  <a:lnTo>
                    <a:pt x="95" y="14"/>
                  </a:lnTo>
                  <a:lnTo>
                    <a:pt x="95" y="17"/>
                  </a:lnTo>
                  <a:lnTo>
                    <a:pt x="92" y="17"/>
                  </a:lnTo>
                  <a:lnTo>
                    <a:pt x="92" y="19"/>
                  </a:lnTo>
                  <a:lnTo>
                    <a:pt x="92" y="17"/>
                  </a:lnTo>
                  <a:lnTo>
                    <a:pt x="95" y="17"/>
                  </a:lnTo>
                  <a:lnTo>
                    <a:pt x="95" y="19"/>
                  </a:lnTo>
                  <a:lnTo>
                    <a:pt x="92" y="19"/>
                  </a:lnTo>
                  <a:lnTo>
                    <a:pt x="92" y="21"/>
                  </a:lnTo>
                  <a:lnTo>
                    <a:pt x="95" y="21"/>
                  </a:lnTo>
                  <a:lnTo>
                    <a:pt x="95" y="19"/>
                  </a:lnTo>
                  <a:lnTo>
                    <a:pt x="97" y="19"/>
                  </a:lnTo>
                  <a:lnTo>
                    <a:pt x="97" y="17"/>
                  </a:lnTo>
                  <a:lnTo>
                    <a:pt x="99" y="17"/>
                  </a:lnTo>
                  <a:lnTo>
                    <a:pt x="97" y="17"/>
                  </a:lnTo>
                  <a:lnTo>
                    <a:pt x="99" y="17"/>
                  </a:lnTo>
                  <a:lnTo>
                    <a:pt x="99" y="14"/>
                  </a:lnTo>
                  <a:lnTo>
                    <a:pt x="97" y="17"/>
                  </a:lnTo>
                  <a:lnTo>
                    <a:pt x="97" y="14"/>
                  </a:lnTo>
                  <a:lnTo>
                    <a:pt x="99" y="14"/>
                  </a:lnTo>
                  <a:lnTo>
                    <a:pt x="99" y="12"/>
                  </a:lnTo>
                  <a:lnTo>
                    <a:pt x="97" y="12"/>
                  </a:lnTo>
                  <a:lnTo>
                    <a:pt x="97" y="10"/>
                  </a:lnTo>
                  <a:lnTo>
                    <a:pt x="95" y="10"/>
                  </a:lnTo>
                  <a:lnTo>
                    <a:pt x="97" y="10"/>
                  </a:lnTo>
                  <a:lnTo>
                    <a:pt x="95" y="10"/>
                  </a:lnTo>
                  <a:lnTo>
                    <a:pt x="97" y="10"/>
                  </a:lnTo>
                  <a:lnTo>
                    <a:pt x="97" y="7"/>
                  </a:lnTo>
                  <a:lnTo>
                    <a:pt x="97" y="5"/>
                  </a:lnTo>
                  <a:lnTo>
                    <a:pt x="99" y="5"/>
                  </a:lnTo>
                  <a:lnTo>
                    <a:pt x="102" y="5"/>
                  </a:lnTo>
                  <a:lnTo>
                    <a:pt x="104" y="5"/>
                  </a:lnTo>
                  <a:lnTo>
                    <a:pt x="102" y="5"/>
                  </a:lnTo>
                  <a:lnTo>
                    <a:pt x="104" y="5"/>
                  </a:lnTo>
                  <a:lnTo>
                    <a:pt x="107" y="5"/>
                  </a:lnTo>
                  <a:lnTo>
                    <a:pt x="104" y="5"/>
                  </a:lnTo>
                  <a:lnTo>
                    <a:pt x="107" y="5"/>
                  </a:lnTo>
                  <a:lnTo>
                    <a:pt x="104" y="5"/>
                  </a:lnTo>
                  <a:lnTo>
                    <a:pt x="102" y="5"/>
                  </a:lnTo>
                  <a:lnTo>
                    <a:pt x="102" y="2"/>
                  </a:lnTo>
                  <a:lnTo>
                    <a:pt x="102" y="0"/>
                  </a:lnTo>
                  <a:lnTo>
                    <a:pt x="104" y="0"/>
                  </a:lnTo>
                  <a:lnTo>
                    <a:pt x="104" y="2"/>
                  </a:lnTo>
                  <a:lnTo>
                    <a:pt x="104" y="0"/>
                  </a:lnTo>
                  <a:lnTo>
                    <a:pt x="104" y="2"/>
                  </a:lnTo>
                  <a:lnTo>
                    <a:pt x="104" y="0"/>
                  </a:lnTo>
                  <a:lnTo>
                    <a:pt x="104" y="2"/>
                  </a:lnTo>
                  <a:lnTo>
                    <a:pt x="107" y="2"/>
                  </a:lnTo>
                  <a:lnTo>
                    <a:pt x="109" y="2"/>
                  </a:lnTo>
                  <a:lnTo>
                    <a:pt x="109" y="5"/>
                  </a:lnTo>
                  <a:lnTo>
                    <a:pt x="111" y="5"/>
                  </a:lnTo>
                  <a:lnTo>
                    <a:pt x="111" y="7"/>
                  </a:lnTo>
                  <a:lnTo>
                    <a:pt x="111" y="5"/>
                  </a:lnTo>
                  <a:lnTo>
                    <a:pt x="114" y="5"/>
                  </a:lnTo>
                  <a:lnTo>
                    <a:pt x="114" y="7"/>
                  </a:lnTo>
                  <a:lnTo>
                    <a:pt x="116" y="7"/>
                  </a:lnTo>
                  <a:lnTo>
                    <a:pt x="116" y="10"/>
                  </a:lnTo>
                  <a:lnTo>
                    <a:pt x="114" y="10"/>
                  </a:lnTo>
                  <a:lnTo>
                    <a:pt x="111" y="10"/>
                  </a:lnTo>
                  <a:lnTo>
                    <a:pt x="111" y="12"/>
                  </a:lnTo>
                  <a:lnTo>
                    <a:pt x="109" y="12"/>
                  </a:lnTo>
                  <a:lnTo>
                    <a:pt x="109" y="14"/>
                  </a:lnTo>
                  <a:lnTo>
                    <a:pt x="107" y="14"/>
                  </a:lnTo>
                  <a:lnTo>
                    <a:pt x="107" y="17"/>
                  </a:lnTo>
                  <a:lnTo>
                    <a:pt x="104" y="17"/>
                  </a:lnTo>
                  <a:lnTo>
                    <a:pt x="102" y="17"/>
                  </a:lnTo>
                  <a:lnTo>
                    <a:pt x="102" y="19"/>
                  </a:lnTo>
                  <a:lnTo>
                    <a:pt x="99" y="21"/>
                  </a:lnTo>
                  <a:lnTo>
                    <a:pt x="102" y="21"/>
                  </a:lnTo>
                  <a:lnTo>
                    <a:pt x="99" y="21"/>
                  </a:lnTo>
                  <a:lnTo>
                    <a:pt x="102" y="24"/>
                  </a:lnTo>
                  <a:lnTo>
                    <a:pt x="99" y="24"/>
                  </a:lnTo>
                  <a:lnTo>
                    <a:pt x="99" y="26"/>
                  </a:lnTo>
                  <a:lnTo>
                    <a:pt x="99" y="29"/>
                  </a:lnTo>
                  <a:lnTo>
                    <a:pt x="97" y="29"/>
                  </a:lnTo>
                  <a:lnTo>
                    <a:pt x="97" y="31"/>
                  </a:lnTo>
                  <a:lnTo>
                    <a:pt x="95" y="31"/>
                  </a:lnTo>
                  <a:lnTo>
                    <a:pt x="97" y="33"/>
                  </a:lnTo>
                  <a:lnTo>
                    <a:pt x="95" y="33"/>
                  </a:lnTo>
                  <a:lnTo>
                    <a:pt x="92" y="33"/>
                  </a:lnTo>
                  <a:lnTo>
                    <a:pt x="90" y="33"/>
                  </a:lnTo>
                  <a:lnTo>
                    <a:pt x="90" y="36"/>
                  </a:lnTo>
                  <a:lnTo>
                    <a:pt x="88" y="36"/>
                  </a:lnTo>
                  <a:lnTo>
                    <a:pt x="88" y="33"/>
                  </a:lnTo>
                  <a:lnTo>
                    <a:pt x="85" y="33"/>
                  </a:lnTo>
                  <a:lnTo>
                    <a:pt x="85" y="36"/>
                  </a:lnTo>
                  <a:lnTo>
                    <a:pt x="83" y="36"/>
                  </a:lnTo>
                  <a:lnTo>
                    <a:pt x="85" y="36"/>
                  </a:lnTo>
                  <a:lnTo>
                    <a:pt x="83" y="36"/>
                  </a:lnTo>
                  <a:lnTo>
                    <a:pt x="85" y="38"/>
                  </a:lnTo>
                  <a:lnTo>
                    <a:pt x="88" y="38"/>
                  </a:lnTo>
                  <a:lnTo>
                    <a:pt x="90" y="38"/>
                  </a:lnTo>
                  <a:lnTo>
                    <a:pt x="90" y="40"/>
                  </a:lnTo>
                  <a:lnTo>
                    <a:pt x="88" y="40"/>
                  </a:lnTo>
                  <a:lnTo>
                    <a:pt x="88" y="43"/>
                  </a:lnTo>
                  <a:lnTo>
                    <a:pt x="85" y="43"/>
                  </a:lnTo>
                  <a:lnTo>
                    <a:pt x="83" y="43"/>
                  </a:lnTo>
                  <a:lnTo>
                    <a:pt x="80" y="43"/>
                  </a:lnTo>
                  <a:lnTo>
                    <a:pt x="80" y="45"/>
                  </a:lnTo>
                  <a:lnTo>
                    <a:pt x="78" y="45"/>
                  </a:lnTo>
                  <a:lnTo>
                    <a:pt x="78" y="48"/>
                  </a:lnTo>
                  <a:lnTo>
                    <a:pt x="76" y="48"/>
                  </a:lnTo>
                  <a:lnTo>
                    <a:pt x="78" y="50"/>
                  </a:lnTo>
                  <a:lnTo>
                    <a:pt x="78" y="52"/>
                  </a:lnTo>
                  <a:lnTo>
                    <a:pt x="80" y="52"/>
                  </a:lnTo>
                  <a:lnTo>
                    <a:pt x="83" y="55"/>
                  </a:lnTo>
                  <a:lnTo>
                    <a:pt x="85" y="55"/>
                  </a:lnTo>
                  <a:lnTo>
                    <a:pt x="85" y="57"/>
                  </a:lnTo>
                  <a:lnTo>
                    <a:pt x="85" y="59"/>
                  </a:lnTo>
                  <a:lnTo>
                    <a:pt x="88" y="59"/>
                  </a:lnTo>
                  <a:lnTo>
                    <a:pt x="90" y="59"/>
                  </a:lnTo>
                  <a:lnTo>
                    <a:pt x="92" y="59"/>
                  </a:lnTo>
                  <a:lnTo>
                    <a:pt x="92" y="62"/>
                  </a:lnTo>
                  <a:lnTo>
                    <a:pt x="95" y="62"/>
                  </a:lnTo>
                  <a:lnTo>
                    <a:pt x="95" y="64"/>
                  </a:lnTo>
                  <a:lnTo>
                    <a:pt x="97" y="64"/>
                  </a:lnTo>
                  <a:lnTo>
                    <a:pt x="99" y="64"/>
                  </a:lnTo>
                  <a:lnTo>
                    <a:pt x="99" y="62"/>
                  </a:lnTo>
                  <a:lnTo>
                    <a:pt x="99" y="64"/>
                  </a:lnTo>
                  <a:lnTo>
                    <a:pt x="102" y="64"/>
                  </a:lnTo>
                  <a:lnTo>
                    <a:pt x="104" y="64"/>
                  </a:lnTo>
                  <a:lnTo>
                    <a:pt x="102" y="62"/>
                  </a:lnTo>
                  <a:lnTo>
                    <a:pt x="104" y="62"/>
                  </a:lnTo>
                  <a:lnTo>
                    <a:pt x="104" y="64"/>
                  </a:lnTo>
                  <a:lnTo>
                    <a:pt x="104" y="62"/>
                  </a:lnTo>
                  <a:lnTo>
                    <a:pt x="107" y="62"/>
                  </a:lnTo>
                  <a:lnTo>
                    <a:pt x="107" y="59"/>
                  </a:lnTo>
                  <a:lnTo>
                    <a:pt x="109" y="59"/>
                  </a:lnTo>
                  <a:lnTo>
                    <a:pt x="109" y="57"/>
                  </a:lnTo>
                  <a:lnTo>
                    <a:pt x="109" y="55"/>
                  </a:lnTo>
                  <a:lnTo>
                    <a:pt x="107" y="55"/>
                  </a:lnTo>
                  <a:lnTo>
                    <a:pt x="109" y="55"/>
                  </a:lnTo>
                  <a:lnTo>
                    <a:pt x="109" y="52"/>
                  </a:lnTo>
                  <a:lnTo>
                    <a:pt x="111" y="52"/>
                  </a:lnTo>
                  <a:lnTo>
                    <a:pt x="111" y="50"/>
                  </a:lnTo>
                  <a:lnTo>
                    <a:pt x="114" y="50"/>
                  </a:lnTo>
                  <a:lnTo>
                    <a:pt x="116" y="50"/>
                  </a:lnTo>
                  <a:lnTo>
                    <a:pt x="116" y="52"/>
                  </a:lnTo>
                  <a:lnTo>
                    <a:pt x="118" y="52"/>
                  </a:lnTo>
                  <a:lnTo>
                    <a:pt x="118" y="55"/>
                  </a:lnTo>
                  <a:lnTo>
                    <a:pt x="118" y="57"/>
                  </a:lnTo>
                  <a:lnTo>
                    <a:pt x="121" y="59"/>
                  </a:lnTo>
                  <a:lnTo>
                    <a:pt x="123" y="59"/>
                  </a:lnTo>
                  <a:lnTo>
                    <a:pt x="123" y="62"/>
                  </a:lnTo>
                  <a:lnTo>
                    <a:pt x="123" y="59"/>
                  </a:lnTo>
                  <a:lnTo>
                    <a:pt x="126" y="59"/>
                  </a:lnTo>
                  <a:lnTo>
                    <a:pt x="126" y="62"/>
                  </a:lnTo>
                  <a:lnTo>
                    <a:pt x="126" y="64"/>
                  </a:lnTo>
                  <a:lnTo>
                    <a:pt x="126" y="67"/>
                  </a:lnTo>
                  <a:lnTo>
                    <a:pt x="126" y="69"/>
                  </a:lnTo>
                  <a:lnTo>
                    <a:pt x="128" y="69"/>
                  </a:lnTo>
                  <a:lnTo>
                    <a:pt x="128" y="67"/>
                  </a:lnTo>
                  <a:lnTo>
                    <a:pt x="128" y="69"/>
                  </a:lnTo>
                  <a:lnTo>
                    <a:pt x="128" y="67"/>
                  </a:lnTo>
                  <a:lnTo>
                    <a:pt x="130" y="67"/>
                  </a:lnTo>
                  <a:lnTo>
                    <a:pt x="133" y="67"/>
                  </a:lnTo>
                  <a:lnTo>
                    <a:pt x="135" y="67"/>
                  </a:lnTo>
                  <a:lnTo>
                    <a:pt x="135" y="64"/>
                  </a:lnTo>
                  <a:lnTo>
                    <a:pt x="135" y="67"/>
                  </a:lnTo>
                  <a:lnTo>
                    <a:pt x="137" y="67"/>
                  </a:lnTo>
                  <a:lnTo>
                    <a:pt x="137" y="64"/>
                  </a:lnTo>
                  <a:lnTo>
                    <a:pt x="137" y="67"/>
                  </a:lnTo>
                  <a:lnTo>
                    <a:pt x="140" y="67"/>
                  </a:lnTo>
                  <a:lnTo>
                    <a:pt x="140" y="69"/>
                  </a:lnTo>
                  <a:lnTo>
                    <a:pt x="142" y="69"/>
                  </a:lnTo>
                  <a:lnTo>
                    <a:pt x="145" y="71"/>
                  </a:lnTo>
                  <a:lnTo>
                    <a:pt x="142" y="71"/>
                  </a:lnTo>
                  <a:lnTo>
                    <a:pt x="140" y="71"/>
                  </a:lnTo>
                  <a:lnTo>
                    <a:pt x="137" y="71"/>
                  </a:lnTo>
                  <a:lnTo>
                    <a:pt x="137" y="69"/>
                  </a:lnTo>
                  <a:lnTo>
                    <a:pt x="135" y="69"/>
                  </a:lnTo>
                  <a:lnTo>
                    <a:pt x="133" y="69"/>
                  </a:lnTo>
                  <a:lnTo>
                    <a:pt x="135" y="69"/>
                  </a:lnTo>
                  <a:lnTo>
                    <a:pt x="135" y="71"/>
                  </a:lnTo>
                  <a:lnTo>
                    <a:pt x="135" y="74"/>
                  </a:lnTo>
                  <a:lnTo>
                    <a:pt x="135" y="76"/>
                  </a:lnTo>
                  <a:lnTo>
                    <a:pt x="137" y="76"/>
                  </a:lnTo>
                  <a:lnTo>
                    <a:pt x="140" y="76"/>
                  </a:lnTo>
                  <a:lnTo>
                    <a:pt x="140" y="78"/>
                  </a:lnTo>
                  <a:lnTo>
                    <a:pt x="137" y="78"/>
                  </a:lnTo>
                  <a:lnTo>
                    <a:pt x="137" y="81"/>
                  </a:lnTo>
                  <a:lnTo>
                    <a:pt x="140" y="81"/>
                  </a:lnTo>
                  <a:lnTo>
                    <a:pt x="140" y="83"/>
                  </a:lnTo>
                  <a:lnTo>
                    <a:pt x="137" y="83"/>
                  </a:lnTo>
                  <a:lnTo>
                    <a:pt x="137" y="86"/>
                  </a:lnTo>
                  <a:lnTo>
                    <a:pt x="137" y="83"/>
                  </a:lnTo>
                  <a:lnTo>
                    <a:pt x="140" y="83"/>
                  </a:lnTo>
                  <a:lnTo>
                    <a:pt x="140" y="86"/>
                  </a:lnTo>
                  <a:lnTo>
                    <a:pt x="140" y="88"/>
                  </a:lnTo>
                  <a:lnTo>
                    <a:pt x="140" y="90"/>
                  </a:lnTo>
                  <a:lnTo>
                    <a:pt x="142" y="90"/>
                  </a:lnTo>
                  <a:lnTo>
                    <a:pt x="145" y="90"/>
                  </a:lnTo>
                  <a:lnTo>
                    <a:pt x="145" y="93"/>
                  </a:lnTo>
                  <a:lnTo>
                    <a:pt x="145" y="95"/>
                  </a:lnTo>
                  <a:lnTo>
                    <a:pt x="142" y="95"/>
                  </a:lnTo>
                  <a:lnTo>
                    <a:pt x="145" y="95"/>
                  </a:lnTo>
                  <a:lnTo>
                    <a:pt x="142" y="97"/>
                  </a:lnTo>
                  <a:lnTo>
                    <a:pt x="140" y="97"/>
                  </a:lnTo>
                  <a:lnTo>
                    <a:pt x="142" y="97"/>
                  </a:lnTo>
                  <a:lnTo>
                    <a:pt x="142" y="100"/>
                  </a:lnTo>
                  <a:lnTo>
                    <a:pt x="145" y="100"/>
                  </a:lnTo>
                  <a:lnTo>
                    <a:pt x="145" y="102"/>
                  </a:lnTo>
                  <a:lnTo>
                    <a:pt x="142" y="100"/>
                  </a:lnTo>
                  <a:lnTo>
                    <a:pt x="142" y="102"/>
                  </a:lnTo>
                  <a:lnTo>
                    <a:pt x="140" y="102"/>
                  </a:lnTo>
                  <a:lnTo>
                    <a:pt x="142" y="102"/>
                  </a:lnTo>
                  <a:lnTo>
                    <a:pt x="140" y="105"/>
                  </a:lnTo>
                  <a:lnTo>
                    <a:pt x="142" y="105"/>
                  </a:lnTo>
                  <a:lnTo>
                    <a:pt x="142" y="107"/>
                  </a:lnTo>
                  <a:lnTo>
                    <a:pt x="145" y="107"/>
                  </a:lnTo>
                  <a:lnTo>
                    <a:pt x="142" y="107"/>
                  </a:lnTo>
                  <a:lnTo>
                    <a:pt x="142" y="109"/>
                  </a:lnTo>
                  <a:lnTo>
                    <a:pt x="145" y="109"/>
                  </a:lnTo>
                  <a:lnTo>
                    <a:pt x="145" y="112"/>
                  </a:lnTo>
                  <a:lnTo>
                    <a:pt x="145" y="114"/>
                  </a:lnTo>
                  <a:lnTo>
                    <a:pt x="145" y="116"/>
                  </a:lnTo>
                  <a:lnTo>
                    <a:pt x="147" y="116"/>
                  </a:lnTo>
                  <a:lnTo>
                    <a:pt x="145" y="116"/>
                  </a:lnTo>
                  <a:lnTo>
                    <a:pt x="145" y="119"/>
                  </a:lnTo>
                  <a:lnTo>
                    <a:pt x="145" y="121"/>
                  </a:lnTo>
                  <a:lnTo>
                    <a:pt x="147" y="121"/>
                  </a:lnTo>
                  <a:lnTo>
                    <a:pt x="147" y="124"/>
                  </a:lnTo>
                  <a:lnTo>
                    <a:pt x="145" y="124"/>
                  </a:lnTo>
                  <a:lnTo>
                    <a:pt x="145" y="126"/>
                  </a:lnTo>
                  <a:lnTo>
                    <a:pt x="147" y="126"/>
                  </a:lnTo>
                  <a:lnTo>
                    <a:pt x="145" y="126"/>
                  </a:lnTo>
                  <a:lnTo>
                    <a:pt x="145" y="128"/>
                  </a:lnTo>
                  <a:lnTo>
                    <a:pt x="142" y="128"/>
                  </a:lnTo>
                  <a:lnTo>
                    <a:pt x="142" y="131"/>
                  </a:lnTo>
                  <a:lnTo>
                    <a:pt x="142" y="133"/>
                  </a:lnTo>
                  <a:lnTo>
                    <a:pt x="142" y="135"/>
                  </a:lnTo>
                  <a:lnTo>
                    <a:pt x="140" y="135"/>
                  </a:lnTo>
                  <a:lnTo>
                    <a:pt x="140" y="138"/>
                  </a:lnTo>
                  <a:lnTo>
                    <a:pt x="140" y="140"/>
                  </a:lnTo>
                  <a:lnTo>
                    <a:pt x="140" y="143"/>
                  </a:lnTo>
                  <a:lnTo>
                    <a:pt x="140" y="145"/>
                  </a:lnTo>
                  <a:lnTo>
                    <a:pt x="137" y="145"/>
                  </a:lnTo>
                  <a:lnTo>
                    <a:pt x="137" y="147"/>
                  </a:lnTo>
                  <a:lnTo>
                    <a:pt x="135" y="150"/>
                  </a:lnTo>
                  <a:lnTo>
                    <a:pt x="135" y="152"/>
                  </a:lnTo>
                  <a:lnTo>
                    <a:pt x="133" y="152"/>
                  </a:lnTo>
                  <a:lnTo>
                    <a:pt x="130" y="152"/>
                  </a:lnTo>
                  <a:lnTo>
                    <a:pt x="133" y="152"/>
                  </a:lnTo>
                  <a:lnTo>
                    <a:pt x="130" y="152"/>
                  </a:lnTo>
                  <a:lnTo>
                    <a:pt x="133" y="152"/>
                  </a:lnTo>
                  <a:lnTo>
                    <a:pt x="130" y="152"/>
                  </a:lnTo>
                  <a:lnTo>
                    <a:pt x="133" y="152"/>
                  </a:lnTo>
                  <a:lnTo>
                    <a:pt x="130" y="152"/>
                  </a:lnTo>
                  <a:lnTo>
                    <a:pt x="128" y="152"/>
                  </a:lnTo>
                  <a:lnTo>
                    <a:pt x="128" y="150"/>
                  </a:lnTo>
                  <a:lnTo>
                    <a:pt x="128" y="152"/>
                  </a:lnTo>
                  <a:lnTo>
                    <a:pt x="130" y="152"/>
                  </a:lnTo>
                  <a:lnTo>
                    <a:pt x="133" y="152"/>
                  </a:lnTo>
                  <a:lnTo>
                    <a:pt x="133" y="154"/>
                  </a:lnTo>
                  <a:lnTo>
                    <a:pt x="135" y="154"/>
                  </a:lnTo>
                  <a:lnTo>
                    <a:pt x="135" y="157"/>
                  </a:lnTo>
                  <a:lnTo>
                    <a:pt x="137" y="157"/>
                  </a:lnTo>
                  <a:lnTo>
                    <a:pt x="137" y="159"/>
                  </a:lnTo>
                  <a:lnTo>
                    <a:pt x="135" y="159"/>
                  </a:lnTo>
                  <a:lnTo>
                    <a:pt x="135" y="162"/>
                  </a:lnTo>
                  <a:lnTo>
                    <a:pt x="133" y="162"/>
                  </a:lnTo>
                  <a:lnTo>
                    <a:pt x="130" y="162"/>
                  </a:lnTo>
                  <a:lnTo>
                    <a:pt x="128" y="162"/>
                  </a:lnTo>
                  <a:lnTo>
                    <a:pt x="126" y="162"/>
                  </a:lnTo>
                  <a:lnTo>
                    <a:pt x="126" y="159"/>
                  </a:lnTo>
                  <a:lnTo>
                    <a:pt x="123" y="159"/>
                  </a:lnTo>
                  <a:lnTo>
                    <a:pt x="126" y="159"/>
                  </a:lnTo>
                  <a:lnTo>
                    <a:pt x="123" y="159"/>
                  </a:lnTo>
                  <a:lnTo>
                    <a:pt x="121" y="159"/>
                  </a:lnTo>
                  <a:lnTo>
                    <a:pt x="121" y="157"/>
                  </a:lnTo>
                  <a:lnTo>
                    <a:pt x="123" y="157"/>
                  </a:lnTo>
                  <a:lnTo>
                    <a:pt x="121" y="157"/>
                  </a:lnTo>
                  <a:lnTo>
                    <a:pt x="121" y="159"/>
                  </a:lnTo>
                  <a:lnTo>
                    <a:pt x="118" y="159"/>
                  </a:lnTo>
                  <a:lnTo>
                    <a:pt x="121" y="159"/>
                  </a:lnTo>
                  <a:lnTo>
                    <a:pt x="118" y="159"/>
                  </a:lnTo>
                  <a:lnTo>
                    <a:pt x="118" y="162"/>
                  </a:lnTo>
                  <a:lnTo>
                    <a:pt x="121" y="159"/>
                  </a:lnTo>
                  <a:lnTo>
                    <a:pt x="121" y="162"/>
                  </a:lnTo>
                  <a:lnTo>
                    <a:pt x="118" y="162"/>
                  </a:lnTo>
                  <a:lnTo>
                    <a:pt x="121" y="162"/>
                  </a:lnTo>
                  <a:lnTo>
                    <a:pt x="118" y="162"/>
                  </a:lnTo>
                  <a:lnTo>
                    <a:pt x="116" y="162"/>
                  </a:lnTo>
                  <a:lnTo>
                    <a:pt x="116" y="164"/>
                  </a:lnTo>
                  <a:lnTo>
                    <a:pt x="116" y="162"/>
                  </a:lnTo>
                  <a:lnTo>
                    <a:pt x="118" y="162"/>
                  </a:lnTo>
                  <a:lnTo>
                    <a:pt x="116" y="162"/>
                  </a:lnTo>
                  <a:lnTo>
                    <a:pt x="116" y="159"/>
                  </a:lnTo>
                  <a:lnTo>
                    <a:pt x="116" y="157"/>
                  </a:lnTo>
                  <a:lnTo>
                    <a:pt x="114" y="157"/>
                  </a:lnTo>
                  <a:lnTo>
                    <a:pt x="114" y="154"/>
                  </a:lnTo>
                  <a:lnTo>
                    <a:pt x="114" y="152"/>
                  </a:lnTo>
                  <a:lnTo>
                    <a:pt x="116" y="152"/>
                  </a:lnTo>
                  <a:lnTo>
                    <a:pt x="116" y="150"/>
                  </a:lnTo>
                  <a:lnTo>
                    <a:pt x="116" y="152"/>
                  </a:lnTo>
                  <a:lnTo>
                    <a:pt x="114" y="152"/>
                  </a:lnTo>
                  <a:lnTo>
                    <a:pt x="114" y="154"/>
                  </a:lnTo>
                  <a:lnTo>
                    <a:pt x="114" y="157"/>
                  </a:lnTo>
                  <a:lnTo>
                    <a:pt x="111" y="157"/>
                  </a:lnTo>
                  <a:lnTo>
                    <a:pt x="109" y="157"/>
                  </a:lnTo>
                  <a:lnTo>
                    <a:pt x="107" y="157"/>
                  </a:lnTo>
                  <a:lnTo>
                    <a:pt x="104" y="157"/>
                  </a:lnTo>
                  <a:lnTo>
                    <a:pt x="104" y="154"/>
                  </a:lnTo>
                  <a:lnTo>
                    <a:pt x="104" y="157"/>
                  </a:lnTo>
                  <a:lnTo>
                    <a:pt x="107" y="157"/>
                  </a:lnTo>
                  <a:lnTo>
                    <a:pt x="109" y="157"/>
                  </a:lnTo>
                  <a:lnTo>
                    <a:pt x="111" y="157"/>
                  </a:lnTo>
                  <a:lnTo>
                    <a:pt x="114" y="157"/>
                  </a:lnTo>
                  <a:lnTo>
                    <a:pt x="116" y="157"/>
                  </a:lnTo>
                  <a:lnTo>
                    <a:pt x="116" y="159"/>
                  </a:lnTo>
                  <a:lnTo>
                    <a:pt x="114" y="159"/>
                  </a:lnTo>
                  <a:lnTo>
                    <a:pt x="116" y="159"/>
                  </a:lnTo>
                  <a:lnTo>
                    <a:pt x="114" y="159"/>
                  </a:lnTo>
                  <a:lnTo>
                    <a:pt x="114" y="162"/>
                  </a:lnTo>
                  <a:lnTo>
                    <a:pt x="116" y="162"/>
                  </a:lnTo>
                  <a:lnTo>
                    <a:pt x="114" y="162"/>
                  </a:lnTo>
                  <a:lnTo>
                    <a:pt x="116" y="162"/>
                  </a:lnTo>
                  <a:lnTo>
                    <a:pt x="114" y="162"/>
                  </a:lnTo>
                  <a:lnTo>
                    <a:pt x="114" y="164"/>
                  </a:lnTo>
                  <a:lnTo>
                    <a:pt x="111" y="164"/>
                  </a:lnTo>
                  <a:lnTo>
                    <a:pt x="111" y="162"/>
                  </a:lnTo>
                  <a:lnTo>
                    <a:pt x="109" y="162"/>
                  </a:lnTo>
                  <a:lnTo>
                    <a:pt x="111" y="162"/>
                  </a:lnTo>
                  <a:lnTo>
                    <a:pt x="109" y="162"/>
                  </a:lnTo>
                  <a:lnTo>
                    <a:pt x="109" y="164"/>
                  </a:lnTo>
                  <a:lnTo>
                    <a:pt x="107" y="164"/>
                  </a:lnTo>
                  <a:lnTo>
                    <a:pt x="104" y="164"/>
                  </a:lnTo>
                  <a:lnTo>
                    <a:pt x="102" y="164"/>
                  </a:lnTo>
                  <a:lnTo>
                    <a:pt x="99" y="164"/>
                  </a:lnTo>
                  <a:lnTo>
                    <a:pt x="97" y="164"/>
                  </a:lnTo>
                  <a:lnTo>
                    <a:pt x="97" y="166"/>
                  </a:lnTo>
                  <a:lnTo>
                    <a:pt x="95" y="166"/>
                  </a:lnTo>
                  <a:lnTo>
                    <a:pt x="97" y="166"/>
                  </a:lnTo>
                  <a:lnTo>
                    <a:pt x="95" y="166"/>
                  </a:lnTo>
                  <a:lnTo>
                    <a:pt x="95" y="164"/>
                  </a:lnTo>
                  <a:lnTo>
                    <a:pt x="95" y="166"/>
                  </a:lnTo>
                  <a:lnTo>
                    <a:pt x="95" y="164"/>
                  </a:lnTo>
                  <a:lnTo>
                    <a:pt x="92" y="164"/>
                  </a:lnTo>
                  <a:lnTo>
                    <a:pt x="92" y="166"/>
                  </a:lnTo>
                  <a:lnTo>
                    <a:pt x="95" y="166"/>
                  </a:lnTo>
                  <a:lnTo>
                    <a:pt x="92" y="166"/>
                  </a:lnTo>
                  <a:lnTo>
                    <a:pt x="95" y="166"/>
                  </a:lnTo>
                  <a:lnTo>
                    <a:pt x="97" y="166"/>
                  </a:lnTo>
                  <a:lnTo>
                    <a:pt x="97" y="169"/>
                  </a:lnTo>
                  <a:lnTo>
                    <a:pt x="95" y="169"/>
                  </a:lnTo>
                  <a:lnTo>
                    <a:pt x="95" y="171"/>
                  </a:lnTo>
                  <a:lnTo>
                    <a:pt x="92" y="171"/>
                  </a:lnTo>
                  <a:lnTo>
                    <a:pt x="90" y="171"/>
                  </a:lnTo>
                  <a:lnTo>
                    <a:pt x="90" y="173"/>
                  </a:lnTo>
                  <a:lnTo>
                    <a:pt x="88" y="173"/>
                  </a:lnTo>
                  <a:lnTo>
                    <a:pt x="88" y="171"/>
                  </a:lnTo>
                  <a:lnTo>
                    <a:pt x="88" y="173"/>
                  </a:lnTo>
                  <a:lnTo>
                    <a:pt x="88" y="171"/>
                  </a:lnTo>
                  <a:lnTo>
                    <a:pt x="85" y="171"/>
                  </a:lnTo>
                  <a:lnTo>
                    <a:pt x="88" y="171"/>
                  </a:lnTo>
                  <a:lnTo>
                    <a:pt x="85" y="171"/>
                  </a:lnTo>
                  <a:lnTo>
                    <a:pt x="85" y="169"/>
                  </a:lnTo>
                  <a:lnTo>
                    <a:pt x="85" y="166"/>
                  </a:lnTo>
                  <a:lnTo>
                    <a:pt x="85" y="169"/>
                  </a:lnTo>
                  <a:lnTo>
                    <a:pt x="85" y="171"/>
                  </a:lnTo>
                  <a:lnTo>
                    <a:pt x="85" y="173"/>
                  </a:lnTo>
                  <a:lnTo>
                    <a:pt x="83" y="173"/>
                  </a:lnTo>
                  <a:lnTo>
                    <a:pt x="83" y="176"/>
                  </a:lnTo>
                  <a:lnTo>
                    <a:pt x="83" y="173"/>
                  </a:lnTo>
                  <a:lnTo>
                    <a:pt x="85" y="173"/>
                  </a:lnTo>
                  <a:lnTo>
                    <a:pt x="85" y="176"/>
                  </a:lnTo>
                  <a:lnTo>
                    <a:pt x="83" y="176"/>
                  </a:lnTo>
                  <a:lnTo>
                    <a:pt x="80" y="176"/>
                  </a:lnTo>
                  <a:lnTo>
                    <a:pt x="80" y="178"/>
                  </a:lnTo>
                  <a:lnTo>
                    <a:pt x="78" y="178"/>
                  </a:lnTo>
                  <a:lnTo>
                    <a:pt x="78" y="181"/>
                  </a:lnTo>
                  <a:lnTo>
                    <a:pt x="78" y="178"/>
                  </a:lnTo>
                  <a:lnTo>
                    <a:pt x="76" y="181"/>
                  </a:lnTo>
                  <a:lnTo>
                    <a:pt x="73" y="181"/>
                  </a:lnTo>
                  <a:lnTo>
                    <a:pt x="73" y="178"/>
                  </a:lnTo>
                  <a:lnTo>
                    <a:pt x="76" y="17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8" name="Freeform 52467"/>
            <p:cNvSpPr>
              <a:spLocks noEditPoints="1"/>
            </p:cNvSpPr>
            <p:nvPr/>
          </p:nvSpPr>
          <p:spPr bwMode="auto">
            <a:xfrm>
              <a:off x="1471610" y="4283090"/>
              <a:ext cx="241300" cy="309565"/>
            </a:xfrm>
            <a:custGeom>
              <a:avLst/>
              <a:gdLst>
                <a:gd name="T0" fmla="*/ 38 w 152"/>
                <a:gd name="T1" fmla="*/ 192 h 195"/>
                <a:gd name="T2" fmla="*/ 40 w 152"/>
                <a:gd name="T3" fmla="*/ 192 h 195"/>
                <a:gd name="T4" fmla="*/ 40 w 152"/>
                <a:gd name="T5" fmla="*/ 190 h 195"/>
                <a:gd name="T6" fmla="*/ 38 w 152"/>
                <a:gd name="T7" fmla="*/ 187 h 195"/>
                <a:gd name="T8" fmla="*/ 26 w 152"/>
                <a:gd name="T9" fmla="*/ 183 h 195"/>
                <a:gd name="T10" fmla="*/ 24 w 152"/>
                <a:gd name="T11" fmla="*/ 183 h 195"/>
                <a:gd name="T12" fmla="*/ 19 w 152"/>
                <a:gd name="T13" fmla="*/ 180 h 195"/>
                <a:gd name="T14" fmla="*/ 7 w 152"/>
                <a:gd name="T15" fmla="*/ 171 h 195"/>
                <a:gd name="T16" fmla="*/ 7 w 152"/>
                <a:gd name="T17" fmla="*/ 168 h 195"/>
                <a:gd name="T18" fmla="*/ 2 w 152"/>
                <a:gd name="T19" fmla="*/ 159 h 195"/>
                <a:gd name="T20" fmla="*/ 131 w 152"/>
                <a:gd name="T21" fmla="*/ 159 h 195"/>
                <a:gd name="T22" fmla="*/ 116 w 152"/>
                <a:gd name="T23" fmla="*/ 152 h 195"/>
                <a:gd name="T24" fmla="*/ 50 w 152"/>
                <a:gd name="T25" fmla="*/ 130 h 195"/>
                <a:gd name="T26" fmla="*/ 52 w 152"/>
                <a:gd name="T27" fmla="*/ 133 h 195"/>
                <a:gd name="T28" fmla="*/ 52 w 152"/>
                <a:gd name="T29" fmla="*/ 130 h 195"/>
                <a:gd name="T30" fmla="*/ 52 w 152"/>
                <a:gd name="T31" fmla="*/ 130 h 195"/>
                <a:gd name="T32" fmla="*/ 36 w 152"/>
                <a:gd name="T33" fmla="*/ 114 h 195"/>
                <a:gd name="T34" fmla="*/ 36 w 152"/>
                <a:gd name="T35" fmla="*/ 111 h 195"/>
                <a:gd name="T36" fmla="*/ 26 w 152"/>
                <a:gd name="T37" fmla="*/ 109 h 195"/>
                <a:gd name="T38" fmla="*/ 29 w 152"/>
                <a:gd name="T39" fmla="*/ 107 h 195"/>
                <a:gd name="T40" fmla="*/ 31 w 152"/>
                <a:gd name="T41" fmla="*/ 111 h 195"/>
                <a:gd name="T42" fmla="*/ 26 w 152"/>
                <a:gd name="T43" fmla="*/ 109 h 195"/>
                <a:gd name="T44" fmla="*/ 52 w 152"/>
                <a:gd name="T45" fmla="*/ 104 h 195"/>
                <a:gd name="T46" fmla="*/ 26 w 152"/>
                <a:gd name="T47" fmla="*/ 102 h 195"/>
                <a:gd name="T48" fmla="*/ 31 w 152"/>
                <a:gd name="T49" fmla="*/ 100 h 195"/>
                <a:gd name="T50" fmla="*/ 31 w 152"/>
                <a:gd name="T51" fmla="*/ 102 h 195"/>
                <a:gd name="T52" fmla="*/ 29 w 152"/>
                <a:gd name="T53" fmla="*/ 102 h 195"/>
                <a:gd name="T54" fmla="*/ 29 w 152"/>
                <a:gd name="T55" fmla="*/ 102 h 195"/>
                <a:gd name="T56" fmla="*/ 31 w 152"/>
                <a:gd name="T57" fmla="*/ 100 h 195"/>
                <a:gd name="T58" fmla="*/ 12 w 152"/>
                <a:gd name="T59" fmla="*/ 95 h 195"/>
                <a:gd name="T60" fmla="*/ 17 w 152"/>
                <a:gd name="T61" fmla="*/ 90 h 195"/>
                <a:gd name="T62" fmla="*/ 14 w 152"/>
                <a:gd name="T63" fmla="*/ 90 h 195"/>
                <a:gd name="T64" fmla="*/ 19 w 152"/>
                <a:gd name="T65" fmla="*/ 85 h 195"/>
                <a:gd name="T66" fmla="*/ 21 w 152"/>
                <a:gd name="T67" fmla="*/ 85 h 195"/>
                <a:gd name="T68" fmla="*/ 17 w 152"/>
                <a:gd name="T69" fmla="*/ 83 h 195"/>
                <a:gd name="T70" fmla="*/ 12 w 152"/>
                <a:gd name="T71" fmla="*/ 85 h 195"/>
                <a:gd name="T72" fmla="*/ 12 w 152"/>
                <a:gd name="T73" fmla="*/ 83 h 195"/>
                <a:gd name="T74" fmla="*/ 21 w 152"/>
                <a:gd name="T75" fmla="*/ 83 h 195"/>
                <a:gd name="T76" fmla="*/ 14 w 152"/>
                <a:gd name="T77" fmla="*/ 81 h 195"/>
                <a:gd name="T78" fmla="*/ 19 w 152"/>
                <a:gd name="T79" fmla="*/ 78 h 195"/>
                <a:gd name="T80" fmla="*/ 21 w 152"/>
                <a:gd name="T81" fmla="*/ 76 h 195"/>
                <a:gd name="T82" fmla="*/ 33 w 152"/>
                <a:gd name="T83" fmla="*/ 73 h 195"/>
                <a:gd name="T84" fmla="*/ 33 w 152"/>
                <a:gd name="T85" fmla="*/ 73 h 195"/>
                <a:gd name="T86" fmla="*/ 21 w 152"/>
                <a:gd name="T87" fmla="*/ 71 h 195"/>
                <a:gd name="T88" fmla="*/ 14 w 152"/>
                <a:gd name="T89" fmla="*/ 59 h 195"/>
                <a:gd name="T90" fmla="*/ 14 w 152"/>
                <a:gd name="T91" fmla="*/ 59 h 195"/>
                <a:gd name="T92" fmla="*/ 14 w 152"/>
                <a:gd name="T93" fmla="*/ 57 h 195"/>
                <a:gd name="T94" fmla="*/ 64 w 152"/>
                <a:gd name="T95" fmla="*/ 45 h 195"/>
                <a:gd name="T96" fmla="*/ 59 w 152"/>
                <a:gd name="T97" fmla="*/ 31 h 195"/>
                <a:gd name="T98" fmla="*/ 71 w 152"/>
                <a:gd name="T99" fmla="*/ 16 h 195"/>
                <a:gd name="T100" fmla="*/ 66 w 152"/>
                <a:gd name="T101" fmla="*/ 14 h 195"/>
                <a:gd name="T102" fmla="*/ 74 w 152"/>
                <a:gd name="T103" fmla="*/ 12 h 195"/>
                <a:gd name="T104" fmla="*/ 76 w 152"/>
                <a:gd name="T105" fmla="*/ 9 h 195"/>
                <a:gd name="T106" fmla="*/ 76 w 152"/>
                <a:gd name="T107" fmla="*/ 9 h 195"/>
                <a:gd name="T108" fmla="*/ 81 w 152"/>
                <a:gd name="T109" fmla="*/ 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95">
                  <a:moveTo>
                    <a:pt x="38" y="192"/>
                  </a:moveTo>
                  <a:lnTo>
                    <a:pt x="36" y="192"/>
                  </a:lnTo>
                  <a:lnTo>
                    <a:pt x="36" y="195"/>
                  </a:lnTo>
                  <a:lnTo>
                    <a:pt x="36" y="192"/>
                  </a:lnTo>
                  <a:lnTo>
                    <a:pt x="38" y="192"/>
                  </a:lnTo>
                  <a:close/>
                  <a:moveTo>
                    <a:pt x="38" y="190"/>
                  </a:moveTo>
                  <a:lnTo>
                    <a:pt x="36" y="190"/>
                  </a:lnTo>
                  <a:lnTo>
                    <a:pt x="38" y="190"/>
                  </a:lnTo>
                  <a:close/>
                  <a:moveTo>
                    <a:pt x="40" y="190"/>
                  </a:moveTo>
                  <a:lnTo>
                    <a:pt x="40" y="192"/>
                  </a:lnTo>
                  <a:lnTo>
                    <a:pt x="38" y="192"/>
                  </a:lnTo>
                  <a:lnTo>
                    <a:pt x="38" y="190"/>
                  </a:lnTo>
                  <a:lnTo>
                    <a:pt x="40" y="190"/>
                  </a:lnTo>
                  <a:lnTo>
                    <a:pt x="38" y="190"/>
                  </a:lnTo>
                  <a:lnTo>
                    <a:pt x="40" y="190"/>
                  </a:lnTo>
                  <a:close/>
                  <a:moveTo>
                    <a:pt x="36" y="190"/>
                  </a:moveTo>
                  <a:lnTo>
                    <a:pt x="33" y="190"/>
                  </a:lnTo>
                  <a:lnTo>
                    <a:pt x="36" y="190"/>
                  </a:lnTo>
                  <a:close/>
                  <a:moveTo>
                    <a:pt x="38" y="190"/>
                  </a:moveTo>
                  <a:lnTo>
                    <a:pt x="38" y="187"/>
                  </a:lnTo>
                  <a:lnTo>
                    <a:pt x="38" y="190"/>
                  </a:lnTo>
                  <a:close/>
                  <a:moveTo>
                    <a:pt x="14" y="185"/>
                  </a:moveTo>
                  <a:lnTo>
                    <a:pt x="12" y="185"/>
                  </a:lnTo>
                  <a:lnTo>
                    <a:pt x="14" y="185"/>
                  </a:lnTo>
                  <a:close/>
                  <a:moveTo>
                    <a:pt x="26" y="183"/>
                  </a:moveTo>
                  <a:lnTo>
                    <a:pt x="24" y="183"/>
                  </a:lnTo>
                  <a:lnTo>
                    <a:pt x="24" y="185"/>
                  </a:lnTo>
                  <a:lnTo>
                    <a:pt x="24" y="183"/>
                  </a:lnTo>
                  <a:lnTo>
                    <a:pt x="24" y="185"/>
                  </a:lnTo>
                  <a:lnTo>
                    <a:pt x="24" y="183"/>
                  </a:lnTo>
                  <a:lnTo>
                    <a:pt x="26" y="183"/>
                  </a:lnTo>
                  <a:close/>
                  <a:moveTo>
                    <a:pt x="38" y="180"/>
                  </a:moveTo>
                  <a:lnTo>
                    <a:pt x="36" y="180"/>
                  </a:lnTo>
                  <a:lnTo>
                    <a:pt x="38" y="180"/>
                  </a:lnTo>
                  <a:close/>
                  <a:moveTo>
                    <a:pt x="19" y="180"/>
                  </a:moveTo>
                  <a:lnTo>
                    <a:pt x="19" y="178"/>
                  </a:lnTo>
                  <a:lnTo>
                    <a:pt x="19" y="180"/>
                  </a:lnTo>
                  <a:close/>
                  <a:moveTo>
                    <a:pt x="10" y="168"/>
                  </a:moveTo>
                  <a:lnTo>
                    <a:pt x="10" y="171"/>
                  </a:lnTo>
                  <a:lnTo>
                    <a:pt x="7" y="171"/>
                  </a:lnTo>
                  <a:lnTo>
                    <a:pt x="5" y="171"/>
                  </a:lnTo>
                  <a:lnTo>
                    <a:pt x="7" y="171"/>
                  </a:lnTo>
                  <a:lnTo>
                    <a:pt x="7" y="168"/>
                  </a:lnTo>
                  <a:lnTo>
                    <a:pt x="10" y="168"/>
                  </a:lnTo>
                  <a:lnTo>
                    <a:pt x="7" y="168"/>
                  </a:lnTo>
                  <a:lnTo>
                    <a:pt x="10" y="168"/>
                  </a:lnTo>
                  <a:close/>
                  <a:moveTo>
                    <a:pt x="0" y="164"/>
                  </a:moveTo>
                  <a:lnTo>
                    <a:pt x="0" y="161"/>
                  </a:lnTo>
                  <a:lnTo>
                    <a:pt x="0" y="164"/>
                  </a:lnTo>
                  <a:close/>
                  <a:moveTo>
                    <a:pt x="2" y="159"/>
                  </a:moveTo>
                  <a:lnTo>
                    <a:pt x="2" y="161"/>
                  </a:lnTo>
                  <a:lnTo>
                    <a:pt x="0" y="161"/>
                  </a:lnTo>
                  <a:lnTo>
                    <a:pt x="2" y="161"/>
                  </a:lnTo>
                  <a:lnTo>
                    <a:pt x="2" y="159"/>
                  </a:lnTo>
                  <a:close/>
                  <a:moveTo>
                    <a:pt x="131" y="159"/>
                  </a:moveTo>
                  <a:lnTo>
                    <a:pt x="133" y="159"/>
                  </a:lnTo>
                  <a:lnTo>
                    <a:pt x="131" y="159"/>
                  </a:lnTo>
                  <a:close/>
                  <a:moveTo>
                    <a:pt x="116" y="152"/>
                  </a:moveTo>
                  <a:lnTo>
                    <a:pt x="119" y="152"/>
                  </a:lnTo>
                  <a:lnTo>
                    <a:pt x="116" y="152"/>
                  </a:lnTo>
                  <a:close/>
                  <a:moveTo>
                    <a:pt x="50" y="133"/>
                  </a:moveTo>
                  <a:lnTo>
                    <a:pt x="50" y="130"/>
                  </a:lnTo>
                  <a:lnTo>
                    <a:pt x="50" y="133"/>
                  </a:lnTo>
                  <a:close/>
                  <a:moveTo>
                    <a:pt x="50" y="133"/>
                  </a:moveTo>
                  <a:lnTo>
                    <a:pt x="50" y="130"/>
                  </a:lnTo>
                  <a:lnTo>
                    <a:pt x="50" y="133"/>
                  </a:lnTo>
                  <a:close/>
                  <a:moveTo>
                    <a:pt x="52" y="130"/>
                  </a:moveTo>
                  <a:lnTo>
                    <a:pt x="52" y="133"/>
                  </a:lnTo>
                  <a:lnTo>
                    <a:pt x="52" y="130"/>
                  </a:lnTo>
                  <a:close/>
                  <a:moveTo>
                    <a:pt x="52" y="133"/>
                  </a:moveTo>
                  <a:lnTo>
                    <a:pt x="50" y="133"/>
                  </a:lnTo>
                  <a:lnTo>
                    <a:pt x="52" y="133"/>
                  </a:lnTo>
                  <a:lnTo>
                    <a:pt x="52" y="130"/>
                  </a:lnTo>
                  <a:lnTo>
                    <a:pt x="52" y="133"/>
                  </a:lnTo>
                  <a:close/>
                  <a:moveTo>
                    <a:pt x="52" y="130"/>
                  </a:moveTo>
                  <a:lnTo>
                    <a:pt x="50" y="130"/>
                  </a:lnTo>
                  <a:lnTo>
                    <a:pt x="52" y="130"/>
                  </a:lnTo>
                  <a:close/>
                  <a:moveTo>
                    <a:pt x="52" y="130"/>
                  </a:moveTo>
                  <a:lnTo>
                    <a:pt x="52" y="128"/>
                  </a:lnTo>
                  <a:lnTo>
                    <a:pt x="52" y="130"/>
                  </a:lnTo>
                  <a:close/>
                  <a:moveTo>
                    <a:pt x="36" y="123"/>
                  </a:moveTo>
                  <a:lnTo>
                    <a:pt x="36" y="126"/>
                  </a:lnTo>
                  <a:lnTo>
                    <a:pt x="36" y="123"/>
                  </a:lnTo>
                  <a:close/>
                  <a:moveTo>
                    <a:pt x="36" y="111"/>
                  </a:moveTo>
                  <a:lnTo>
                    <a:pt x="36" y="114"/>
                  </a:lnTo>
                  <a:lnTo>
                    <a:pt x="36" y="111"/>
                  </a:lnTo>
                  <a:close/>
                  <a:moveTo>
                    <a:pt x="33" y="109"/>
                  </a:moveTo>
                  <a:lnTo>
                    <a:pt x="36" y="111"/>
                  </a:lnTo>
                  <a:lnTo>
                    <a:pt x="33" y="111"/>
                  </a:lnTo>
                  <a:lnTo>
                    <a:pt x="36" y="111"/>
                  </a:lnTo>
                  <a:lnTo>
                    <a:pt x="33" y="111"/>
                  </a:lnTo>
                  <a:lnTo>
                    <a:pt x="33" y="109"/>
                  </a:lnTo>
                  <a:close/>
                  <a:moveTo>
                    <a:pt x="26" y="109"/>
                  </a:moveTo>
                  <a:lnTo>
                    <a:pt x="24" y="109"/>
                  </a:lnTo>
                  <a:lnTo>
                    <a:pt x="26" y="109"/>
                  </a:lnTo>
                  <a:close/>
                  <a:moveTo>
                    <a:pt x="26" y="109"/>
                  </a:moveTo>
                  <a:lnTo>
                    <a:pt x="29" y="109"/>
                  </a:lnTo>
                  <a:lnTo>
                    <a:pt x="29" y="107"/>
                  </a:lnTo>
                  <a:lnTo>
                    <a:pt x="29" y="109"/>
                  </a:lnTo>
                  <a:lnTo>
                    <a:pt x="29" y="107"/>
                  </a:lnTo>
                  <a:lnTo>
                    <a:pt x="29" y="109"/>
                  </a:lnTo>
                  <a:lnTo>
                    <a:pt x="31" y="109"/>
                  </a:lnTo>
                  <a:lnTo>
                    <a:pt x="33" y="109"/>
                  </a:lnTo>
                  <a:lnTo>
                    <a:pt x="33" y="111"/>
                  </a:lnTo>
                  <a:lnTo>
                    <a:pt x="31" y="111"/>
                  </a:lnTo>
                  <a:lnTo>
                    <a:pt x="31" y="109"/>
                  </a:lnTo>
                  <a:lnTo>
                    <a:pt x="29" y="109"/>
                  </a:lnTo>
                  <a:lnTo>
                    <a:pt x="26" y="109"/>
                  </a:lnTo>
                  <a:lnTo>
                    <a:pt x="26" y="107"/>
                  </a:lnTo>
                  <a:lnTo>
                    <a:pt x="26" y="109"/>
                  </a:lnTo>
                  <a:close/>
                  <a:moveTo>
                    <a:pt x="52" y="104"/>
                  </a:moveTo>
                  <a:lnTo>
                    <a:pt x="55" y="104"/>
                  </a:lnTo>
                  <a:lnTo>
                    <a:pt x="55" y="107"/>
                  </a:lnTo>
                  <a:lnTo>
                    <a:pt x="52" y="107"/>
                  </a:lnTo>
                  <a:lnTo>
                    <a:pt x="52" y="104"/>
                  </a:lnTo>
                  <a:close/>
                  <a:moveTo>
                    <a:pt x="29" y="102"/>
                  </a:moveTo>
                  <a:lnTo>
                    <a:pt x="31" y="102"/>
                  </a:lnTo>
                  <a:lnTo>
                    <a:pt x="29" y="102"/>
                  </a:lnTo>
                  <a:close/>
                  <a:moveTo>
                    <a:pt x="26" y="100"/>
                  </a:moveTo>
                  <a:lnTo>
                    <a:pt x="26" y="102"/>
                  </a:lnTo>
                  <a:lnTo>
                    <a:pt x="26" y="100"/>
                  </a:lnTo>
                  <a:close/>
                  <a:moveTo>
                    <a:pt x="24" y="100"/>
                  </a:moveTo>
                  <a:lnTo>
                    <a:pt x="21" y="100"/>
                  </a:lnTo>
                  <a:lnTo>
                    <a:pt x="24" y="100"/>
                  </a:lnTo>
                  <a:close/>
                  <a:moveTo>
                    <a:pt x="31" y="100"/>
                  </a:moveTo>
                  <a:lnTo>
                    <a:pt x="33" y="100"/>
                  </a:lnTo>
                  <a:lnTo>
                    <a:pt x="33" y="102"/>
                  </a:lnTo>
                  <a:lnTo>
                    <a:pt x="33" y="100"/>
                  </a:lnTo>
                  <a:lnTo>
                    <a:pt x="31" y="100"/>
                  </a:lnTo>
                  <a:lnTo>
                    <a:pt x="31" y="102"/>
                  </a:lnTo>
                  <a:lnTo>
                    <a:pt x="31" y="104"/>
                  </a:lnTo>
                  <a:lnTo>
                    <a:pt x="29" y="104"/>
                  </a:lnTo>
                  <a:lnTo>
                    <a:pt x="29" y="102"/>
                  </a:lnTo>
                  <a:lnTo>
                    <a:pt x="29" y="104"/>
                  </a:lnTo>
                  <a:lnTo>
                    <a:pt x="29" y="102"/>
                  </a:lnTo>
                  <a:lnTo>
                    <a:pt x="29" y="104"/>
                  </a:lnTo>
                  <a:lnTo>
                    <a:pt x="31" y="102"/>
                  </a:lnTo>
                  <a:lnTo>
                    <a:pt x="29" y="102"/>
                  </a:lnTo>
                  <a:lnTo>
                    <a:pt x="31" y="102"/>
                  </a:lnTo>
                  <a:lnTo>
                    <a:pt x="29" y="102"/>
                  </a:lnTo>
                  <a:lnTo>
                    <a:pt x="31" y="102"/>
                  </a:lnTo>
                  <a:lnTo>
                    <a:pt x="29" y="100"/>
                  </a:lnTo>
                  <a:lnTo>
                    <a:pt x="31" y="100"/>
                  </a:lnTo>
                  <a:lnTo>
                    <a:pt x="33" y="100"/>
                  </a:lnTo>
                  <a:lnTo>
                    <a:pt x="31" y="100"/>
                  </a:lnTo>
                  <a:close/>
                  <a:moveTo>
                    <a:pt x="21" y="97"/>
                  </a:moveTo>
                  <a:lnTo>
                    <a:pt x="24" y="97"/>
                  </a:lnTo>
                  <a:lnTo>
                    <a:pt x="21" y="97"/>
                  </a:lnTo>
                  <a:close/>
                  <a:moveTo>
                    <a:pt x="14" y="95"/>
                  </a:moveTo>
                  <a:lnTo>
                    <a:pt x="12" y="95"/>
                  </a:lnTo>
                  <a:lnTo>
                    <a:pt x="14" y="95"/>
                  </a:lnTo>
                  <a:close/>
                  <a:moveTo>
                    <a:pt x="152" y="90"/>
                  </a:moveTo>
                  <a:lnTo>
                    <a:pt x="152" y="92"/>
                  </a:lnTo>
                  <a:lnTo>
                    <a:pt x="152" y="90"/>
                  </a:lnTo>
                  <a:close/>
                  <a:moveTo>
                    <a:pt x="17" y="90"/>
                  </a:moveTo>
                  <a:lnTo>
                    <a:pt x="14" y="90"/>
                  </a:lnTo>
                  <a:lnTo>
                    <a:pt x="17" y="90"/>
                  </a:lnTo>
                  <a:close/>
                  <a:moveTo>
                    <a:pt x="14" y="90"/>
                  </a:moveTo>
                  <a:lnTo>
                    <a:pt x="12" y="90"/>
                  </a:lnTo>
                  <a:lnTo>
                    <a:pt x="14" y="90"/>
                  </a:lnTo>
                  <a:close/>
                  <a:moveTo>
                    <a:pt x="14" y="88"/>
                  </a:moveTo>
                  <a:lnTo>
                    <a:pt x="14" y="90"/>
                  </a:lnTo>
                  <a:lnTo>
                    <a:pt x="14" y="88"/>
                  </a:lnTo>
                  <a:close/>
                  <a:moveTo>
                    <a:pt x="19" y="88"/>
                  </a:moveTo>
                  <a:lnTo>
                    <a:pt x="19" y="85"/>
                  </a:lnTo>
                  <a:lnTo>
                    <a:pt x="19" y="88"/>
                  </a:lnTo>
                  <a:close/>
                  <a:moveTo>
                    <a:pt x="10" y="85"/>
                  </a:moveTo>
                  <a:lnTo>
                    <a:pt x="12" y="85"/>
                  </a:lnTo>
                  <a:lnTo>
                    <a:pt x="10" y="85"/>
                  </a:lnTo>
                  <a:close/>
                  <a:moveTo>
                    <a:pt x="21" y="85"/>
                  </a:moveTo>
                  <a:lnTo>
                    <a:pt x="19" y="85"/>
                  </a:lnTo>
                  <a:lnTo>
                    <a:pt x="19" y="83"/>
                  </a:lnTo>
                  <a:lnTo>
                    <a:pt x="19" y="85"/>
                  </a:lnTo>
                  <a:lnTo>
                    <a:pt x="21" y="85"/>
                  </a:lnTo>
                  <a:close/>
                  <a:moveTo>
                    <a:pt x="17" y="83"/>
                  </a:moveTo>
                  <a:lnTo>
                    <a:pt x="14" y="83"/>
                  </a:lnTo>
                  <a:lnTo>
                    <a:pt x="17" y="83"/>
                  </a:lnTo>
                  <a:close/>
                  <a:moveTo>
                    <a:pt x="14" y="83"/>
                  </a:moveTo>
                  <a:lnTo>
                    <a:pt x="14" y="85"/>
                  </a:lnTo>
                  <a:lnTo>
                    <a:pt x="12" y="85"/>
                  </a:lnTo>
                  <a:lnTo>
                    <a:pt x="14" y="85"/>
                  </a:lnTo>
                  <a:lnTo>
                    <a:pt x="12" y="85"/>
                  </a:lnTo>
                  <a:lnTo>
                    <a:pt x="12" y="83"/>
                  </a:lnTo>
                  <a:lnTo>
                    <a:pt x="12" y="85"/>
                  </a:lnTo>
                  <a:lnTo>
                    <a:pt x="12" y="83"/>
                  </a:lnTo>
                  <a:lnTo>
                    <a:pt x="14" y="83"/>
                  </a:lnTo>
                  <a:lnTo>
                    <a:pt x="12" y="83"/>
                  </a:lnTo>
                  <a:lnTo>
                    <a:pt x="14" y="83"/>
                  </a:lnTo>
                  <a:close/>
                  <a:moveTo>
                    <a:pt x="24" y="83"/>
                  </a:moveTo>
                  <a:lnTo>
                    <a:pt x="21" y="83"/>
                  </a:lnTo>
                  <a:lnTo>
                    <a:pt x="24" y="83"/>
                  </a:lnTo>
                  <a:lnTo>
                    <a:pt x="21" y="83"/>
                  </a:lnTo>
                  <a:lnTo>
                    <a:pt x="24" y="83"/>
                  </a:lnTo>
                  <a:close/>
                  <a:moveTo>
                    <a:pt x="17" y="81"/>
                  </a:moveTo>
                  <a:lnTo>
                    <a:pt x="14" y="81"/>
                  </a:lnTo>
                  <a:lnTo>
                    <a:pt x="17" y="81"/>
                  </a:lnTo>
                  <a:lnTo>
                    <a:pt x="14" y="81"/>
                  </a:lnTo>
                  <a:lnTo>
                    <a:pt x="17" y="81"/>
                  </a:lnTo>
                  <a:close/>
                  <a:moveTo>
                    <a:pt x="19" y="81"/>
                  </a:moveTo>
                  <a:lnTo>
                    <a:pt x="19" y="78"/>
                  </a:lnTo>
                  <a:lnTo>
                    <a:pt x="19" y="81"/>
                  </a:lnTo>
                  <a:close/>
                  <a:moveTo>
                    <a:pt x="31" y="76"/>
                  </a:moveTo>
                  <a:lnTo>
                    <a:pt x="31" y="73"/>
                  </a:lnTo>
                  <a:lnTo>
                    <a:pt x="31" y="76"/>
                  </a:lnTo>
                  <a:close/>
                  <a:moveTo>
                    <a:pt x="21" y="76"/>
                  </a:moveTo>
                  <a:lnTo>
                    <a:pt x="19" y="76"/>
                  </a:lnTo>
                  <a:lnTo>
                    <a:pt x="19" y="73"/>
                  </a:lnTo>
                  <a:lnTo>
                    <a:pt x="21" y="73"/>
                  </a:lnTo>
                  <a:lnTo>
                    <a:pt x="21" y="76"/>
                  </a:lnTo>
                  <a:close/>
                  <a:moveTo>
                    <a:pt x="33" y="73"/>
                  </a:moveTo>
                  <a:lnTo>
                    <a:pt x="31" y="73"/>
                  </a:lnTo>
                  <a:lnTo>
                    <a:pt x="33" y="73"/>
                  </a:lnTo>
                  <a:close/>
                  <a:moveTo>
                    <a:pt x="33" y="73"/>
                  </a:moveTo>
                  <a:lnTo>
                    <a:pt x="31" y="73"/>
                  </a:lnTo>
                  <a:lnTo>
                    <a:pt x="33" y="73"/>
                  </a:lnTo>
                  <a:close/>
                  <a:moveTo>
                    <a:pt x="33" y="73"/>
                  </a:moveTo>
                  <a:lnTo>
                    <a:pt x="31" y="73"/>
                  </a:lnTo>
                  <a:lnTo>
                    <a:pt x="33" y="73"/>
                  </a:lnTo>
                  <a:close/>
                  <a:moveTo>
                    <a:pt x="21" y="73"/>
                  </a:moveTo>
                  <a:lnTo>
                    <a:pt x="21" y="71"/>
                  </a:lnTo>
                  <a:lnTo>
                    <a:pt x="21" y="73"/>
                  </a:lnTo>
                  <a:close/>
                  <a:moveTo>
                    <a:pt x="14" y="62"/>
                  </a:moveTo>
                  <a:lnTo>
                    <a:pt x="17" y="62"/>
                  </a:lnTo>
                  <a:lnTo>
                    <a:pt x="14" y="62"/>
                  </a:lnTo>
                  <a:close/>
                  <a:moveTo>
                    <a:pt x="14" y="59"/>
                  </a:moveTo>
                  <a:lnTo>
                    <a:pt x="12" y="59"/>
                  </a:lnTo>
                  <a:lnTo>
                    <a:pt x="14" y="59"/>
                  </a:lnTo>
                  <a:close/>
                  <a:moveTo>
                    <a:pt x="14" y="59"/>
                  </a:moveTo>
                  <a:lnTo>
                    <a:pt x="12" y="59"/>
                  </a:lnTo>
                  <a:lnTo>
                    <a:pt x="14" y="59"/>
                  </a:lnTo>
                  <a:lnTo>
                    <a:pt x="12" y="59"/>
                  </a:lnTo>
                  <a:lnTo>
                    <a:pt x="14" y="59"/>
                  </a:lnTo>
                  <a:lnTo>
                    <a:pt x="12" y="59"/>
                  </a:lnTo>
                  <a:lnTo>
                    <a:pt x="12" y="57"/>
                  </a:lnTo>
                  <a:lnTo>
                    <a:pt x="14" y="57"/>
                  </a:lnTo>
                  <a:lnTo>
                    <a:pt x="14" y="59"/>
                  </a:lnTo>
                  <a:close/>
                  <a:moveTo>
                    <a:pt x="66" y="50"/>
                  </a:moveTo>
                  <a:lnTo>
                    <a:pt x="66" y="52"/>
                  </a:lnTo>
                  <a:lnTo>
                    <a:pt x="66" y="50"/>
                  </a:lnTo>
                  <a:close/>
                  <a:moveTo>
                    <a:pt x="64" y="45"/>
                  </a:moveTo>
                  <a:lnTo>
                    <a:pt x="64" y="43"/>
                  </a:lnTo>
                  <a:lnTo>
                    <a:pt x="64" y="45"/>
                  </a:lnTo>
                  <a:close/>
                  <a:moveTo>
                    <a:pt x="59" y="31"/>
                  </a:moveTo>
                  <a:lnTo>
                    <a:pt x="59" y="33"/>
                  </a:lnTo>
                  <a:lnTo>
                    <a:pt x="59" y="31"/>
                  </a:lnTo>
                  <a:close/>
                  <a:moveTo>
                    <a:pt x="71" y="16"/>
                  </a:moveTo>
                  <a:lnTo>
                    <a:pt x="71" y="19"/>
                  </a:lnTo>
                  <a:lnTo>
                    <a:pt x="71" y="16"/>
                  </a:lnTo>
                  <a:close/>
                  <a:moveTo>
                    <a:pt x="71" y="14"/>
                  </a:moveTo>
                  <a:lnTo>
                    <a:pt x="71" y="16"/>
                  </a:lnTo>
                  <a:lnTo>
                    <a:pt x="71" y="14"/>
                  </a:lnTo>
                  <a:close/>
                  <a:moveTo>
                    <a:pt x="69" y="14"/>
                  </a:moveTo>
                  <a:lnTo>
                    <a:pt x="69" y="16"/>
                  </a:lnTo>
                  <a:lnTo>
                    <a:pt x="66" y="16"/>
                  </a:lnTo>
                  <a:lnTo>
                    <a:pt x="66" y="14"/>
                  </a:lnTo>
                  <a:lnTo>
                    <a:pt x="69" y="14"/>
                  </a:lnTo>
                  <a:lnTo>
                    <a:pt x="66" y="14"/>
                  </a:lnTo>
                  <a:lnTo>
                    <a:pt x="69" y="14"/>
                  </a:lnTo>
                  <a:close/>
                  <a:moveTo>
                    <a:pt x="76" y="12"/>
                  </a:moveTo>
                  <a:lnTo>
                    <a:pt x="74" y="12"/>
                  </a:lnTo>
                  <a:lnTo>
                    <a:pt x="76" y="12"/>
                  </a:lnTo>
                  <a:close/>
                  <a:moveTo>
                    <a:pt x="74" y="12"/>
                  </a:moveTo>
                  <a:lnTo>
                    <a:pt x="74" y="9"/>
                  </a:lnTo>
                  <a:lnTo>
                    <a:pt x="74" y="12"/>
                  </a:lnTo>
                  <a:close/>
                  <a:moveTo>
                    <a:pt x="76" y="9"/>
                  </a:moveTo>
                  <a:lnTo>
                    <a:pt x="74" y="9"/>
                  </a:lnTo>
                  <a:lnTo>
                    <a:pt x="76" y="9"/>
                  </a:lnTo>
                  <a:close/>
                  <a:moveTo>
                    <a:pt x="76" y="9"/>
                  </a:moveTo>
                  <a:lnTo>
                    <a:pt x="74" y="9"/>
                  </a:lnTo>
                  <a:lnTo>
                    <a:pt x="76" y="9"/>
                  </a:lnTo>
                  <a:close/>
                  <a:moveTo>
                    <a:pt x="81" y="7"/>
                  </a:moveTo>
                  <a:lnTo>
                    <a:pt x="81" y="5"/>
                  </a:lnTo>
                  <a:lnTo>
                    <a:pt x="81" y="7"/>
                  </a:lnTo>
                  <a:close/>
                  <a:moveTo>
                    <a:pt x="78" y="2"/>
                  </a:moveTo>
                  <a:lnTo>
                    <a:pt x="81" y="2"/>
                  </a:lnTo>
                  <a:lnTo>
                    <a:pt x="78" y="2"/>
                  </a:lnTo>
                  <a:lnTo>
                    <a:pt x="78" y="0"/>
                  </a:lnTo>
                  <a:lnTo>
                    <a:pt x="78"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9" name="Freeform 52468"/>
            <p:cNvSpPr>
              <a:spLocks noEditPoints="1"/>
            </p:cNvSpPr>
            <p:nvPr/>
          </p:nvSpPr>
          <p:spPr bwMode="auto">
            <a:xfrm>
              <a:off x="1490660" y="4275153"/>
              <a:ext cx="153988" cy="312739"/>
            </a:xfrm>
            <a:custGeom>
              <a:avLst/>
              <a:gdLst>
                <a:gd name="T0" fmla="*/ 31 w 97"/>
                <a:gd name="T1" fmla="*/ 197 h 197"/>
                <a:gd name="T2" fmla="*/ 33 w 97"/>
                <a:gd name="T3" fmla="*/ 197 h 197"/>
                <a:gd name="T4" fmla="*/ 38 w 97"/>
                <a:gd name="T5" fmla="*/ 192 h 197"/>
                <a:gd name="T6" fmla="*/ 26 w 97"/>
                <a:gd name="T7" fmla="*/ 192 h 197"/>
                <a:gd name="T8" fmla="*/ 0 w 97"/>
                <a:gd name="T9" fmla="*/ 181 h 197"/>
                <a:gd name="T10" fmla="*/ 7 w 97"/>
                <a:gd name="T11" fmla="*/ 152 h 197"/>
                <a:gd name="T12" fmla="*/ 38 w 97"/>
                <a:gd name="T13" fmla="*/ 135 h 197"/>
                <a:gd name="T14" fmla="*/ 40 w 97"/>
                <a:gd name="T15" fmla="*/ 135 h 197"/>
                <a:gd name="T16" fmla="*/ 38 w 97"/>
                <a:gd name="T17" fmla="*/ 135 h 197"/>
                <a:gd name="T18" fmla="*/ 40 w 97"/>
                <a:gd name="T19" fmla="*/ 135 h 197"/>
                <a:gd name="T20" fmla="*/ 40 w 97"/>
                <a:gd name="T21" fmla="*/ 133 h 197"/>
                <a:gd name="T22" fmla="*/ 12 w 97"/>
                <a:gd name="T23" fmla="*/ 112 h 197"/>
                <a:gd name="T24" fmla="*/ 12 w 97"/>
                <a:gd name="T25" fmla="*/ 107 h 197"/>
                <a:gd name="T26" fmla="*/ 21 w 97"/>
                <a:gd name="T27" fmla="*/ 107 h 197"/>
                <a:gd name="T28" fmla="*/ 12 w 97"/>
                <a:gd name="T29" fmla="*/ 107 h 197"/>
                <a:gd name="T30" fmla="*/ 17 w 97"/>
                <a:gd name="T31" fmla="*/ 107 h 197"/>
                <a:gd name="T32" fmla="*/ 9 w 97"/>
                <a:gd name="T33" fmla="*/ 102 h 197"/>
                <a:gd name="T34" fmla="*/ 14 w 97"/>
                <a:gd name="T35" fmla="*/ 100 h 197"/>
                <a:gd name="T36" fmla="*/ 2 w 97"/>
                <a:gd name="T37" fmla="*/ 100 h 197"/>
                <a:gd name="T38" fmla="*/ 2 w 97"/>
                <a:gd name="T39" fmla="*/ 100 h 197"/>
                <a:gd name="T40" fmla="*/ 5 w 97"/>
                <a:gd name="T41" fmla="*/ 97 h 197"/>
                <a:gd name="T42" fmla="*/ 5 w 97"/>
                <a:gd name="T43" fmla="*/ 90 h 197"/>
                <a:gd name="T44" fmla="*/ 9 w 97"/>
                <a:gd name="T45" fmla="*/ 90 h 197"/>
                <a:gd name="T46" fmla="*/ 12 w 97"/>
                <a:gd name="T47" fmla="*/ 88 h 197"/>
                <a:gd name="T48" fmla="*/ 19 w 97"/>
                <a:gd name="T49" fmla="*/ 81 h 197"/>
                <a:gd name="T50" fmla="*/ 19 w 97"/>
                <a:gd name="T51" fmla="*/ 81 h 197"/>
                <a:gd name="T52" fmla="*/ 19 w 97"/>
                <a:gd name="T53" fmla="*/ 81 h 197"/>
                <a:gd name="T54" fmla="*/ 19 w 97"/>
                <a:gd name="T55" fmla="*/ 78 h 197"/>
                <a:gd name="T56" fmla="*/ 21 w 97"/>
                <a:gd name="T57" fmla="*/ 76 h 197"/>
                <a:gd name="T58" fmla="*/ 19 w 97"/>
                <a:gd name="T59" fmla="*/ 76 h 197"/>
                <a:gd name="T60" fmla="*/ 19 w 97"/>
                <a:gd name="T61" fmla="*/ 76 h 197"/>
                <a:gd name="T62" fmla="*/ 0 w 97"/>
                <a:gd name="T63" fmla="*/ 76 h 197"/>
                <a:gd name="T64" fmla="*/ 17 w 97"/>
                <a:gd name="T65" fmla="*/ 76 h 197"/>
                <a:gd name="T66" fmla="*/ 19 w 97"/>
                <a:gd name="T67" fmla="*/ 76 h 197"/>
                <a:gd name="T68" fmla="*/ 19 w 97"/>
                <a:gd name="T69" fmla="*/ 76 h 197"/>
                <a:gd name="T70" fmla="*/ 17 w 97"/>
                <a:gd name="T71" fmla="*/ 76 h 197"/>
                <a:gd name="T72" fmla="*/ 17 w 97"/>
                <a:gd name="T73" fmla="*/ 76 h 197"/>
                <a:gd name="T74" fmla="*/ 5 w 97"/>
                <a:gd name="T75" fmla="*/ 74 h 197"/>
                <a:gd name="T76" fmla="*/ 12 w 97"/>
                <a:gd name="T77" fmla="*/ 71 h 197"/>
                <a:gd name="T78" fmla="*/ 2 w 97"/>
                <a:gd name="T79" fmla="*/ 67 h 197"/>
                <a:gd name="T80" fmla="*/ 35 w 97"/>
                <a:gd name="T81" fmla="*/ 59 h 197"/>
                <a:gd name="T82" fmla="*/ 2 w 97"/>
                <a:gd name="T83" fmla="*/ 59 h 197"/>
                <a:gd name="T84" fmla="*/ 17 w 97"/>
                <a:gd name="T85" fmla="*/ 52 h 197"/>
                <a:gd name="T86" fmla="*/ 54 w 97"/>
                <a:gd name="T87" fmla="*/ 52 h 197"/>
                <a:gd name="T88" fmla="*/ 69 w 97"/>
                <a:gd name="T89" fmla="*/ 38 h 197"/>
                <a:gd name="T90" fmla="*/ 54 w 97"/>
                <a:gd name="T91" fmla="*/ 29 h 197"/>
                <a:gd name="T92" fmla="*/ 59 w 97"/>
                <a:gd name="T93" fmla="*/ 26 h 197"/>
                <a:gd name="T94" fmla="*/ 57 w 97"/>
                <a:gd name="T95" fmla="*/ 24 h 197"/>
                <a:gd name="T96" fmla="*/ 62 w 97"/>
                <a:gd name="T97" fmla="*/ 24 h 197"/>
                <a:gd name="T98" fmla="*/ 59 w 97"/>
                <a:gd name="T99" fmla="*/ 17 h 197"/>
                <a:gd name="T100" fmla="*/ 97 w 97"/>
                <a:gd name="T101" fmla="*/ 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 h="197">
                  <a:moveTo>
                    <a:pt x="31" y="197"/>
                  </a:moveTo>
                  <a:lnTo>
                    <a:pt x="28" y="197"/>
                  </a:lnTo>
                  <a:lnTo>
                    <a:pt x="31" y="197"/>
                  </a:lnTo>
                  <a:close/>
                  <a:moveTo>
                    <a:pt x="33" y="197"/>
                  </a:moveTo>
                  <a:lnTo>
                    <a:pt x="33" y="195"/>
                  </a:lnTo>
                  <a:lnTo>
                    <a:pt x="33" y="197"/>
                  </a:lnTo>
                  <a:close/>
                  <a:moveTo>
                    <a:pt x="38" y="195"/>
                  </a:moveTo>
                  <a:lnTo>
                    <a:pt x="35" y="195"/>
                  </a:lnTo>
                  <a:lnTo>
                    <a:pt x="38" y="192"/>
                  </a:lnTo>
                  <a:lnTo>
                    <a:pt x="38" y="195"/>
                  </a:lnTo>
                  <a:close/>
                  <a:moveTo>
                    <a:pt x="28" y="192"/>
                  </a:moveTo>
                  <a:lnTo>
                    <a:pt x="26" y="192"/>
                  </a:lnTo>
                  <a:lnTo>
                    <a:pt x="28" y="192"/>
                  </a:lnTo>
                  <a:close/>
                  <a:moveTo>
                    <a:pt x="0" y="178"/>
                  </a:moveTo>
                  <a:lnTo>
                    <a:pt x="0" y="181"/>
                  </a:lnTo>
                  <a:lnTo>
                    <a:pt x="0" y="178"/>
                  </a:lnTo>
                  <a:close/>
                  <a:moveTo>
                    <a:pt x="7" y="154"/>
                  </a:moveTo>
                  <a:lnTo>
                    <a:pt x="7" y="152"/>
                  </a:lnTo>
                  <a:lnTo>
                    <a:pt x="7" y="154"/>
                  </a:lnTo>
                  <a:close/>
                  <a:moveTo>
                    <a:pt x="38" y="138"/>
                  </a:moveTo>
                  <a:lnTo>
                    <a:pt x="38" y="135"/>
                  </a:lnTo>
                  <a:lnTo>
                    <a:pt x="38" y="138"/>
                  </a:lnTo>
                  <a:close/>
                  <a:moveTo>
                    <a:pt x="40" y="138"/>
                  </a:moveTo>
                  <a:lnTo>
                    <a:pt x="40" y="135"/>
                  </a:lnTo>
                  <a:lnTo>
                    <a:pt x="40" y="138"/>
                  </a:lnTo>
                  <a:close/>
                  <a:moveTo>
                    <a:pt x="40" y="135"/>
                  </a:moveTo>
                  <a:lnTo>
                    <a:pt x="38" y="135"/>
                  </a:lnTo>
                  <a:lnTo>
                    <a:pt x="40" y="135"/>
                  </a:lnTo>
                  <a:close/>
                  <a:moveTo>
                    <a:pt x="43" y="135"/>
                  </a:moveTo>
                  <a:lnTo>
                    <a:pt x="40" y="135"/>
                  </a:lnTo>
                  <a:lnTo>
                    <a:pt x="43" y="135"/>
                  </a:lnTo>
                  <a:close/>
                  <a:moveTo>
                    <a:pt x="43" y="133"/>
                  </a:moveTo>
                  <a:lnTo>
                    <a:pt x="40" y="133"/>
                  </a:lnTo>
                  <a:lnTo>
                    <a:pt x="43" y="133"/>
                  </a:lnTo>
                  <a:close/>
                  <a:moveTo>
                    <a:pt x="12" y="114"/>
                  </a:moveTo>
                  <a:lnTo>
                    <a:pt x="12" y="112"/>
                  </a:lnTo>
                  <a:lnTo>
                    <a:pt x="12" y="114"/>
                  </a:lnTo>
                  <a:close/>
                  <a:moveTo>
                    <a:pt x="14" y="107"/>
                  </a:moveTo>
                  <a:lnTo>
                    <a:pt x="12" y="107"/>
                  </a:lnTo>
                  <a:lnTo>
                    <a:pt x="14" y="107"/>
                  </a:lnTo>
                  <a:close/>
                  <a:moveTo>
                    <a:pt x="24" y="107"/>
                  </a:moveTo>
                  <a:lnTo>
                    <a:pt x="21" y="107"/>
                  </a:lnTo>
                  <a:lnTo>
                    <a:pt x="24" y="107"/>
                  </a:lnTo>
                  <a:close/>
                  <a:moveTo>
                    <a:pt x="14" y="107"/>
                  </a:moveTo>
                  <a:lnTo>
                    <a:pt x="12" y="107"/>
                  </a:lnTo>
                  <a:lnTo>
                    <a:pt x="14" y="107"/>
                  </a:lnTo>
                  <a:close/>
                  <a:moveTo>
                    <a:pt x="17" y="105"/>
                  </a:moveTo>
                  <a:lnTo>
                    <a:pt x="17" y="107"/>
                  </a:lnTo>
                  <a:lnTo>
                    <a:pt x="17" y="105"/>
                  </a:lnTo>
                  <a:close/>
                  <a:moveTo>
                    <a:pt x="9" y="105"/>
                  </a:moveTo>
                  <a:lnTo>
                    <a:pt x="9" y="102"/>
                  </a:lnTo>
                  <a:lnTo>
                    <a:pt x="9" y="105"/>
                  </a:lnTo>
                  <a:close/>
                  <a:moveTo>
                    <a:pt x="14" y="102"/>
                  </a:moveTo>
                  <a:lnTo>
                    <a:pt x="14" y="100"/>
                  </a:lnTo>
                  <a:lnTo>
                    <a:pt x="14" y="102"/>
                  </a:lnTo>
                  <a:close/>
                  <a:moveTo>
                    <a:pt x="5" y="100"/>
                  </a:moveTo>
                  <a:lnTo>
                    <a:pt x="2" y="100"/>
                  </a:lnTo>
                  <a:lnTo>
                    <a:pt x="5" y="100"/>
                  </a:lnTo>
                  <a:close/>
                  <a:moveTo>
                    <a:pt x="5" y="100"/>
                  </a:moveTo>
                  <a:lnTo>
                    <a:pt x="2" y="100"/>
                  </a:lnTo>
                  <a:lnTo>
                    <a:pt x="5" y="100"/>
                  </a:lnTo>
                  <a:close/>
                  <a:moveTo>
                    <a:pt x="7" y="97"/>
                  </a:moveTo>
                  <a:lnTo>
                    <a:pt x="5" y="97"/>
                  </a:lnTo>
                  <a:lnTo>
                    <a:pt x="7" y="97"/>
                  </a:lnTo>
                  <a:close/>
                  <a:moveTo>
                    <a:pt x="7" y="90"/>
                  </a:moveTo>
                  <a:lnTo>
                    <a:pt x="5" y="90"/>
                  </a:lnTo>
                  <a:lnTo>
                    <a:pt x="7" y="90"/>
                  </a:lnTo>
                  <a:close/>
                  <a:moveTo>
                    <a:pt x="12" y="90"/>
                  </a:moveTo>
                  <a:lnTo>
                    <a:pt x="9" y="90"/>
                  </a:lnTo>
                  <a:lnTo>
                    <a:pt x="12" y="90"/>
                  </a:lnTo>
                  <a:close/>
                  <a:moveTo>
                    <a:pt x="12" y="90"/>
                  </a:moveTo>
                  <a:lnTo>
                    <a:pt x="12" y="88"/>
                  </a:lnTo>
                  <a:lnTo>
                    <a:pt x="12" y="90"/>
                  </a:lnTo>
                  <a:close/>
                  <a:moveTo>
                    <a:pt x="21" y="81"/>
                  </a:moveTo>
                  <a:lnTo>
                    <a:pt x="19" y="81"/>
                  </a:lnTo>
                  <a:lnTo>
                    <a:pt x="21" y="81"/>
                  </a:lnTo>
                  <a:close/>
                  <a:moveTo>
                    <a:pt x="21" y="81"/>
                  </a:moveTo>
                  <a:lnTo>
                    <a:pt x="19" y="81"/>
                  </a:lnTo>
                  <a:lnTo>
                    <a:pt x="21" y="81"/>
                  </a:lnTo>
                  <a:close/>
                  <a:moveTo>
                    <a:pt x="21" y="81"/>
                  </a:moveTo>
                  <a:lnTo>
                    <a:pt x="19" y="81"/>
                  </a:lnTo>
                  <a:lnTo>
                    <a:pt x="21" y="81"/>
                  </a:lnTo>
                  <a:close/>
                  <a:moveTo>
                    <a:pt x="21" y="78"/>
                  </a:moveTo>
                  <a:lnTo>
                    <a:pt x="19" y="78"/>
                  </a:lnTo>
                  <a:lnTo>
                    <a:pt x="21" y="78"/>
                  </a:lnTo>
                  <a:close/>
                  <a:moveTo>
                    <a:pt x="21" y="78"/>
                  </a:moveTo>
                  <a:lnTo>
                    <a:pt x="21" y="76"/>
                  </a:lnTo>
                  <a:lnTo>
                    <a:pt x="21" y="78"/>
                  </a:lnTo>
                  <a:close/>
                  <a:moveTo>
                    <a:pt x="21" y="76"/>
                  </a:moveTo>
                  <a:lnTo>
                    <a:pt x="19" y="76"/>
                  </a:lnTo>
                  <a:lnTo>
                    <a:pt x="21" y="76"/>
                  </a:lnTo>
                  <a:close/>
                  <a:moveTo>
                    <a:pt x="21" y="76"/>
                  </a:moveTo>
                  <a:lnTo>
                    <a:pt x="19" y="76"/>
                  </a:lnTo>
                  <a:lnTo>
                    <a:pt x="21" y="76"/>
                  </a:lnTo>
                  <a:close/>
                  <a:moveTo>
                    <a:pt x="2" y="76"/>
                  </a:moveTo>
                  <a:lnTo>
                    <a:pt x="0" y="76"/>
                  </a:lnTo>
                  <a:lnTo>
                    <a:pt x="2" y="76"/>
                  </a:lnTo>
                  <a:close/>
                  <a:moveTo>
                    <a:pt x="19" y="76"/>
                  </a:moveTo>
                  <a:lnTo>
                    <a:pt x="17" y="76"/>
                  </a:lnTo>
                  <a:lnTo>
                    <a:pt x="19" y="76"/>
                  </a:lnTo>
                  <a:close/>
                  <a:moveTo>
                    <a:pt x="17" y="76"/>
                  </a:moveTo>
                  <a:lnTo>
                    <a:pt x="19" y="76"/>
                  </a:lnTo>
                  <a:lnTo>
                    <a:pt x="17" y="76"/>
                  </a:lnTo>
                  <a:close/>
                  <a:moveTo>
                    <a:pt x="21" y="76"/>
                  </a:moveTo>
                  <a:lnTo>
                    <a:pt x="19" y="76"/>
                  </a:lnTo>
                  <a:lnTo>
                    <a:pt x="21" y="76"/>
                  </a:lnTo>
                  <a:close/>
                  <a:moveTo>
                    <a:pt x="19" y="76"/>
                  </a:moveTo>
                  <a:lnTo>
                    <a:pt x="17" y="76"/>
                  </a:lnTo>
                  <a:lnTo>
                    <a:pt x="19" y="76"/>
                  </a:lnTo>
                  <a:close/>
                  <a:moveTo>
                    <a:pt x="19" y="76"/>
                  </a:moveTo>
                  <a:lnTo>
                    <a:pt x="17" y="76"/>
                  </a:lnTo>
                  <a:lnTo>
                    <a:pt x="19" y="76"/>
                  </a:lnTo>
                  <a:close/>
                  <a:moveTo>
                    <a:pt x="5" y="71"/>
                  </a:moveTo>
                  <a:lnTo>
                    <a:pt x="5" y="74"/>
                  </a:lnTo>
                  <a:lnTo>
                    <a:pt x="5" y="71"/>
                  </a:lnTo>
                  <a:close/>
                  <a:moveTo>
                    <a:pt x="14" y="71"/>
                  </a:moveTo>
                  <a:lnTo>
                    <a:pt x="12" y="71"/>
                  </a:lnTo>
                  <a:lnTo>
                    <a:pt x="14" y="71"/>
                  </a:lnTo>
                  <a:close/>
                  <a:moveTo>
                    <a:pt x="5" y="67"/>
                  </a:moveTo>
                  <a:lnTo>
                    <a:pt x="2" y="67"/>
                  </a:lnTo>
                  <a:lnTo>
                    <a:pt x="5" y="67"/>
                  </a:lnTo>
                  <a:close/>
                  <a:moveTo>
                    <a:pt x="35" y="62"/>
                  </a:moveTo>
                  <a:lnTo>
                    <a:pt x="35" y="59"/>
                  </a:lnTo>
                  <a:lnTo>
                    <a:pt x="35" y="62"/>
                  </a:lnTo>
                  <a:close/>
                  <a:moveTo>
                    <a:pt x="5" y="59"/>
                  </a:moveTo>
                  <a:lnTo>
                    <a:pt x="2" y="59"/>
                  </a:lnTo>
                  <a:lnTo>
                    <a:pt x="5" y="59"/>
                  </a:lnTo>
                  <a:close/>
                  <a:moveTo>
                    <a:pt x="17" y="55"/>
                  </a:moveTo>
                  <a:lnTo>
                    <a:pt x="17" y="52"/>
                  </a:lnTo>
                  <a:lnTo>
                    <a:pt x="17" y="55"/>
                  </a:lnTo>
                  <a:close/>
                  <a:moveTo>
                    <a:pt x="52" y="52"/>
                  </a:moveTo>
                  <a:lnTo>
                    <a:pt x="54" y="52"/>
                  </a:lnTo>
                  <a:lnTo>
                    <a:pt x="52" y="52"/>
                  </a:lnTo>
                  <a:close/>
                  <a:moveTo>
                    <a:pt x="69" y="40"/>
                  </a:moveTo>
                  <a:lnTo>
                    <a:pt x="69" y="38"/>
                  </a:lnTo>
                  <a:lnTo>
                    <a:pt x="69" y="40"/>
                  </a:lnTo>
                  <a:close/>
                  <a:moveTo>
                    <a:pt x="57" y="29"/>
                  </a:moveTo>
                  <a:lnTo>
                    <a:pt x="54" y="29"/>
                  </a:lnTo>
                  <a:lnTo>
                    <a:pt x="57" y="29"/>
                  </a:lnTo>
                  <a:close/>
                  <a:moveTo>
                    <a:pt x="62" y="26"/>
                  </a:moveTo>
                  <a:lnTo>
                    <a:pt x="59" y="26"/>
                  </a:lnTo>
                  <a:lnTo>
                    <a:pt x="62" y="26"/>
                  </a:lnTo>
                  <a:close/>
                  <a:moveTo>
                    <a:pt x="59" y="24"/>
                  </a:moveTo>
                  <a:lnTo>
                    <a:pt x="57" y="24"/>
                  </a:lnTo>
                  <a:lnTo>
                    <a:pt x="59" y="24"/>
                  </a:lnTo>
                  <a:close/>
                  <a:moveTo>
                    <a:pt x="62" y="21"/>
                  </a:moveTo>
                  <a:lnTo>
                    <a:pt x="62" y="24"/>
                  </a:lnTo>
                  <a:lnTo>
                    <a:pt x="62" y="21"/>
                  </a:lnTo>
                  <a:close/>
                  <a:moveTo>
                    <a:pt x="62" y="17"/>
                  </a:moveTo>
                  <a:lnTo>
                    <a:pt x="59" y="17"/>
                  </a:lnTo>
                  <a:lnTo>
                    <a:pt x="62" y="17"/>
                  </a:lnTo>
                  <a:close/>
                  <a:moveTo>
                    <a:pt x="97" y="0"/>
                  </a:moveTo>
                  <a:lnTo>
                    <a:pt x="97" y="2"/>
                  </a:lnTo>
                  <a:lnTo>
                    <a:pt x="97"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0" name="Freeform 52469"/>
            <p:cNvSpPr>
              <a:spLocks/>
            </p:cNvSpPr>
            <p:nvPr/>
          </p:nvSpPr>
          <p:spPr bwMode="auto">
            <a:xfrm>
              <a:off x="1776411" y="4354528"/>
              <a:ext cx="26988" cy="26988"/>
            </a:xfrm>
            <a:custGeom>
              <a:avLst/>
              <a:gdLst>
                <a:gd name="T0" fmla="*/ 14 w 17"/>
                <a:gd name="T1" fmla="*/ 5 h 17"/>
                <a:gd name="T2" fmla="*/ 17 w 17"/>
                <a:gd name="T3" fmla="*/ 5 h 17"/>
                <a:gd name="T4" fmla="*/ 14 w 17"/>
                <a:gd name="T5" fmla="*/ 7 h 17"/>
                <a:gd name="T6" fmla="*/ 14 w 17"/>
                <a:gd name="T7" fmla="*/ 7 h 17"/>
                <a:gd name="T8" fmla="*/ 14 w 17"/>
                <a:gd name="T9" fmla="*/ 7 h 17"/>
                <a:gd name="T10" fmla="*/ 14 w 17"/>
                <a:gd name="T11" fmla="*/ 7 h 17"/>
                <a:gd name="T12" fmla="*/ 14 w 17"/>
                <a:gd name="T13" fmla="*/ 9 h 17"/>
                <a:gd name="T14" fmla="*/ 12 w 17"/>
                <a:gd name="T15" fmla="*/ 9 h 17"/>
                <a:gd name="T16" fmla="*/ 12 w 17"/>
                <a:gd name="T17" fmla="*/ 9 h 17"/>
                <a:gd name="T18" fmla="*/ 12 w 17"/>
                <a:gd name="T19" fmla="*/ 12 h 17"/>
                <a:gd name="T20" fmla="*/ 12 w 17"/>
                <a:gd name="T21" fmla="*/ 12 h 17"/>
                <a:gd name="T22" fmla="*/ 10 w 17"/>
                <a:gd name="T23" fmla="*/ 12 h 17"/>
                <a:gd name="T24" fmla="*/ 10 w 17"/>
                <a:gd name="T25" fmla="*/ 12 h 17"/>
                <a:gd name="T26" fmla="*/ 10 w 17"/>
                <a:gd name="T27" fmla="*/ 12 h 17"/>
                <a:gd name="T28" fmla="*/ 10 w 17"/>
                <a:gd name="T29" fmla="*/ 14 h 17"/>
                <a:gd name="T30" fmla="*/ 10 w 17"/>
                <a:gd name="T31" fmla="*/ 14 h 17"/>
                <a:gd name="T32" fmla="*/ 7 w 17"/>
                <a:gd name="T33" fmla="*/ 14 h 17"/>
                <a:gd name="T34" fmla="*/ 7 w 17"/>
                <a:gd name="T35" fmla="*/ 14 h 17"/>
                <a:gd name="T36" fmla="*/ 7 w 17"/>
                <a:gd name="T37" fmla="*/ 14 h 17"/>
                <a:gd name="T38" fmla="*/ 7 w 17"/>
                <a:gd name="T39" fmla="*/ 17 h 17"/>
                <a:gd name="T40" fmla="*/ 5 w 17"/>
                <a:gd name="T41" fmla="*/ 17 h 17"/>
                <a:gd name="T42" fmla="*/ 5 w 17"/>
                <a:gd name="T43" fmla="*/ 17 h 17"/>
                <a:gd name="T44" fmla="*/ 5 w 17"/>
                <a:gd name="T45" fmla="*/ 17 h 17"/>
                <a:gd name="T46" fmla="*/ 5 w 17"/>
                <a:gd name="T47" fmla="*/ 17 h 17"/>
                <a:gd name="T48" fmla="*/ 5 w 17"/>
                <a:gd name="T49" fmla="*/ 17 h 17"/>
                <a:gd name="T50" fmla="*/ 5 w 17"/>
                <a:gd name="T51" fmla="*/ 17 h 17"/>
                <a:gd name="T52" fmla="*/ 5 w 17"/>
                <a:gd name="T53" fmla="*/ 17 h 17"/>
                <a:gd name="T54" fmla="*/ 3 w 17"/>
                <a:gd name="T55" fmla="*/ 17 h 17"/>
                <a:gd name="T56" fmla="*/ 3 w 17"/>
                <a:gd name="T57" fmla="*/ 17 h 17"/>
                <a:gd name="T58" fmla="*/ 3 w 17"/>
                <a:gd name="T59" fmla="*/ 17 h 17"/>
                <a:gd name="T60" fmla="*/ 3 w 17"/>
                <a:gd name="T61" fmla="*/ 17 h 17"/>
                <a:gd name="T62" fmla="*/ 3 w 17"/>
                <a:gd name="T63" fmla="*/ 17 h 17"/>
                <a:gd name="T64" fmla="*/ 3 w 17"/>
                <a:gd name="T65" fmla="*/ 17 h 17"/>
                <a:gd name="T66" fmla="*/ 0 w 17"/>
                <a:gd name="T67" fmla="*/ 17 h 17"/>
                <a:gd name="T68" fmla="*/ 0 w 17"/>
                <a:gd name="T69" fmla="*/ 17 h 17"/>
                <a:gd name="T70" fmla="*/ 0 w 17"/>
                <a:gd name="T71" fmla="*/ 17 h 17"/>
                <a:gd name="T72" fmla="*/ 0 w 17"/>
                <a:gd name="T73" fmla="*/ 17 h 17"/>
                <a:gd name="T74" fmla="*/ 0 w 17"/>
                <a:gd name="T75" fmla="*/ 17 h 17"/>
                <a:gd name="T76" fmla="*/ 0 w 17"/>
                <a:gd name="T77" fmla="*/ 17 h 17"/>
                <a:gd name="T78" fmla="*/ 0 w 17"/>
                <a:gd name="T79" fmla="*/ 17 h 17"/>
                <a:gd name="T80" fmla="*/ 0 w 17"/>
                <a:gd name="T81" fmla="*/ 17 h 17"/>
                <a:gd name="T82" fmla="*/ 0 w 17"/>
                <a:gd name="T83" fmla="*/ 14 h 17"/>
                <a:gd name="T84" fmla="*/ 3 w 17"/>
                <a:gd name="T85" fmla="*/ 14 h 17"/>
                <a:gd name="T86" fmla="*/ 3 w 17"/>
                <a:gd name="T87" fmla="*/ 14 h 17"/>
                <a:gd name="T88" fmla="*/ 0 w 17"/>
                <a:gd name="T89" fmla="*/ 12 h 17"/>
                <a:gd name="T90" fmla="*/ 3 w 17"/>
                <a:gd name="T91" fmla="*/ 12 h 17"/>
                <a:gd name="T92" fmla="*/ 3 w 17"/>
                <a:gd name="T93" fmla="*/ 9 h 17"/>
                <a:gd name="T94" fmla="*/ 3 w 17"/>
                <a:gd name="T95" fmla="*/ 9 h 17"/>
                <a:gd name="T96" fmla="*/ 3 w 17"/>
                <a:gd name="T97" fmla="*/ 9 h 17"/>
                <a:gd name="T98" fmla="*/ 5 w 17"/>
                <a:gd name="T99" fmla="*/ 7 h 17"/>
                <a:gd name="T100" fmla="*/ 7 w 17"/>
                <a:gd name="T101" fmla="*/ 5 h 17"/>
                <a:gd name="T102" fmla="*/ 7 w 17"/>
                <a:gd name="T103" fmla="*/ 2 h 17"/>
                <a:gd name="T104" fmla="*/ 10 w 17"/>
                <a:gd name="T105" fmla="*/ 2 h 17"/>
                <a:gd name="T106" fmla="*/ 12 w 17"/>
                <a:gd name="T107" fmla="*/ 0 h 17"/>
                <a:gd name="T108" fmla="*/ 14 w 17"/>
                <a:gd name="T109" fmla="*/ 0 h 17"/>
                <a:gd name="T110" fmla="*/ 14 w 17"/>
                <a:gd name="T111" fmla="*/ 2 h 17"/>
                <a:gd name="T112" fmla="*/ 14 w 17"/>
                <a:gd name="T113"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 h="17">
                  <a:moveTo>
                    <a:pt x="14" y="5"/>
                  </a:moveTo>
                  <a:lnTo>
                    <a:pt x="14" y="5"/>
                  </a:lnTo>
                  <a:lnTo>
                    <a:pt x="14" y="5"/>
                  </a:lnTo>
                  <a:lnTo>
                    <a:pt x="14" y="5"/>
                  </a:lnTo>
                  <a:lnTo>
                    <a:pt x="14" y="5"/>
                  </a:lnTo>
                  <a:lnTo>
                    <a:pt x="14" y="5"/>
                  </a:lnTo>
                  <a:lnTo>
                    <a:pt x="17" y="5"/>
                  </a:lnTo>
                  <a:lnTo>
                    <a:pt x="17" y="5"/>
                  </a:lnTo>
                  <a:lnTo>
                    <a:pt x="14" y="5"/>
                  </a:lnTo>
                  <a:lnTo>
                    <a:pt x="14" y="5"/>
                  </a:lnTo>
                  <a:lnTo>
                    <a:pt x="14" y="5"/>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9"/>
                  </a:lnTo>
                  <a:lnTo>
                    <a:pt x="14" y="9"/>
                  </a:lnTo>
                  <a:lnTo>
                    <a:pt x="14" y="9"/>
                  </a:lnTo>
                  <a:lnTo>
                    <a:pt x="12" y="9"/>
                  </a:lnTo>
                  <a:lnTo>
                    <a:pt x="12" y="9"/>
                  </a:lnTo>
                  <a:lnTo>
                    <a:pt x="12" y="9"/>
                  </a:lnTo>
                  <a:lnTo>
                    <a:pt x="12" y="9"/>
                  </a:lnTo>
                  <a:lnTo>
                    <a:pt x="12" y="9"/>
                  </a:lnTo>
                  <a:lnTo>
                    <a:pt x="12" y="9"/>
                  </a:lnTo>
                  <a:lnTo>
                    <a:pt x="12" y="9"/>
                  </a:lnTo>
                  <a:lnTo>
                    <a:pt x="12" y="9"/>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0" y="12"/>
                  </a:lnTo>
                  <a:lnTo>
                    <a:pt x="10" y="12"/>
                  </a:lnTo>
                  <a:lnTo>
                    <a:pt x="10" y="12"/>
                  </a:lnTo>
                  <a:lnTo>
                    <a:pt x="10" y="12"/>
                  </a:lnTo>
                  <a:lnTo>
                    <a:pt x="10" y="12"/>
                  </a:lnTo>
                  <a:lnTo>
                    <a:pt x="10" y="12"/>
                  </a:lnTo>
                  <a:lnTo>
                    <a:pt x="10" y="12"/>
                  </a:lnTo>
                  <a:lnTo>
                    <a:pt x="10" y="12"/>
                  </a:lnTo>
                  <a:lnTo>
                    <a:pt x="10" y="12"/>
                  </a:lnTo>
                  <a:lnTo>
                    <a:pt x="10" y="14"/>
                  </a:lnTo>
                  <a:lnTo>
                    <a:pt x="10" y="14"/>
                  </a:lnTo>
                  <a:lnTo>
                    <a:pt x="10" y="14"/>
                  </a:lnTo>
                  <a:lnTo>
                    <a:pt x="10" y="14"/>
                  </a:lnTo>
                  <a:lnTo>
                    <a:pt x="10" y="14"/>
                  </a:lnTo>
                  <a:lnTo>
                    <a:pt x="10" y="14"/>
                  </a:lnTo>
                  <a:lnTo>
                    <a:pt x="10" y="14"/>
                  </a:lnTo>
                  <a:lnTo>
                    <a:pt x="10" y="14"/>
                  </a:lnTo>
                  <a:lnTo>
                    <a:pt x="10" y="14"/>
                  </a:lnTo>
                  <a:lnTo>
                    <a:pt x="7" y="14"/>
                  </a:lnTo>
                  <a:lnTo>
                    <a:pt x="7" y="14"/>
                  </a:lnTo>
                  <a:lnTo>
                    <a:pt x="7" y="14"/>
                  </a:lnTo>
                  <a:lnTo>
                    <a:pt x="7" y="14"/>
                  </a:lnTo>
                  <a:lnTo>
                    <a:pt x="7" y="14"/>
                  </a:lnTo>
                  <a:lnTo>
                    <a:pt x="7" y="14"/>
                  </a:lnTo>
                  <a:lnTo>
                    <a:pt x="7" y="14"/>
                  </a:lnTo>
                  <a:lnTo>
                    <a:pt x="7" y="14"/>
                  </a:lnTo>
                  <a:lnTo>
                    <a:pt x="7" y="14"/>
                  </a:lnTo>
                  <a:lnTo>
                    <a:pt x="7" y="14"/>
                  </a:lnTo>
                  <a:lnTo>
                    <a:pt x="7" y="14"/>
                  </a:lnTo>
                  <a:lnTo>
                    <a:pt x="7" y="17"/>
                  </a:lnTo>
                  <a:lnTo>
                    <a:pt x="7" y="17"/>
                  </a:lnTo>
                  <a:lnTo>
                    <a:pt x="7" y="17"/>
                  </a:lnTo>
                  <a:lnTo>
                    <a:pt x="7"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4"/>
                  </a:lnTo>
                  <a:lnTo>
                    <a:pt x="0" y="14"/>
                  </a:lnTo>
                  <a:lnTo>
                    <a:pt x="0" y="14"/>
                  </a:lnTo>
                  <a:lnTo>
                    <a:pt x="0" y="14"/>
                  </a:lnTo>
                  <a:lnTo>
                    <a:pt x="0" y="14"/>
                  </a:lnTo>
                  <a:lnTo>
                    <a:pt x="0" y="14"/>
                  </a:lnTo>
                  <a:lnTo>
                    <a:pt x="3" y="14"/>
                  </a:lnTo>
                  <a:lnTo>
                    <a:pt x="3" y="14"/>
                  </a:lnTo>
                  <a:lnTo>
                    <a:pt x="3" y="14"/>
                  </a:lnTo>
                  <a:lnTo>
                    <a:pt x="3" y="14"/>
                  </a:lnTo>
                  <a:lnTo>
                    <a:pt x="3" y="14"/>
                  </a:lnTo>
                  <a:lnTo>
                    <a:pt x="3" y="14"/>
                  </a:lnTo>
                  <a:lnTo>
                    <a:pt x="3" y="12"/>
                  </a:lnTo>
                  <a:lnTo>
                    <a:pt x="3" y="12"/>
                  </a:lnTo>
                  <a:lnTo>
                    <a:pt x="0" y="12"/>
                  </a:lnTo>
                  <a:lnTo>
                    <a:pt x="0" y="12"/>
                  </a:lnTo>
                  <a:lnTo>
                    <a:pt x="3" y="12"/>
                  </a:lnTo>
                  <a:lnTo>
                    <a:pt x="3" y="12"/>
                  </a:lnTo>
                  <a:lnTo>
                    <a:pt x="3" y="12"/>
                  </a:lnTo>
                  <a:lnTo>
                    <a:pt x="3" y="9"/>
                  </a:lnTo>
                  <a:lnTo>
                    <a:pt x="3" y="9"/>
                  </a:lnTo>
                  <a:lnTo>
                    <a:pt x="3" y="9"/>
                  </a:lnTo>
                  <a:lnTo>
                    <a:pt x="3" y="9"/>
                  </a:lnTo>
                  <a:lnTo>
                    <a:pt x="3" y="9"/>
                  </a:lnTo>
                  <a:lnTo>
                    <a:pt x="3" y="9"/>
                  </a:lnTo>
                  <a:lnTo>
                    <a:pt x="3" y="9"/>
                  </a:lnTo>
                  <a:lnTo>
                    <a:pt x="3" y="9"/>
                  </a:lnTo>
                  <a:lnTo>
                    <a:pt x="3" y="9"/>
                  </a:lnTo>
                  <a:lnTo>
                    <a:pt x="3" y="9"/>
                  </a:lnTo>
                  <a:lnTo>
                    <a:pt x="3" y="9"/>
                  </a:lnTo>
                  <a:lnTo>
                    <a:pt x="3" y="9"/>
                  </a:lnTo>
                  <a:lnTo>
                    <a:pt x="3" y="9"/>
                  </a:lnTo>
                  <a:lnTo>
                    <a:pt x="3" y="9"/>
                  </a:lnTo>
                  <a:lnTo>
                    <a:pt x="5" y="9"/>
                  </a:lnTo>
                  <a:lnTo>
                    <a:pt x="5" y="7"/>
                  </a:lnTo>
                  <a:lnTo>
                    <a:pt x="5" y="7"/>
                  </a:lnTo>
                  <a:lnTo>
                    <a:pt x="5" y="7"/>
                  </a:lnTo>
                  <a:lnTo>
                    <a:pt x="5" y="7"/>
                  </a:lnTo>
                  <a:lnTo>
                    <a:pt x="7" y="5"/>
                  </a:lnTo>
                  <a:lnTo>
                    <a:pt x="7" y="5"/>
                  </a:lnTo>
                  <a:lnTo>
                    <a:pt x="7" y="5"/>
                  </a:lnTo>
                  <a:lnTo>
                    <a:pt x="7" y="5"/>
                  </a:lnTo>
                  <a:lnTo>
                    <a:pt x="7" y="2"/>
                  </a:lnTo>
                  <a:lnTo>
                    <a:pt x="7" y="2"/>
                  </a:lnTo>
                  <a:lnTo>
                    <a:pt x="7" y="2"/>
                  </a:lnTo>
                  <a:lnTo>
                    <a:pt x="7" y="2"/>
                  </a:lnTo>
                  <a:lnTo>
                    <a:pt x="10" y="2"/>
                  </a:lnTo>
                  <a:lnTo>
                    <a:pt x="10" y="0"/>
                  </a:lnTo>
                  <a:lnTo>
                    <a:pt x="10" y="0"/>
                  </a:lnTo>
                  <a:lnTo>
                    <a:pt x="12" y="0"/>
                  </a:lnTo>
                  <a:lnTo>
                    <a:pt x="12" y="0"/>
                  </a:lnTo>
                  <a:lnTo>
                    <a:pt x="12" y="0"/>
                  </a:lnTo>
                  <a:lnTo>
                    <a:pt x="14" y="0"/>
                  </a:lnTo>
                  <a:lnTo>
                    <a:pt x="14" y="0"/>
                  </a:lnTo>
                  <a:lnTo>
                    <a:pt x="14" y="0"/>
                  </a:lnTo>
                  <a:lnTo>
                    <a:pt x="14" y="0"/>
                  </a:lnTo>
                  <a:lnTo>
                    <a:pt x="14" y="0"/>
                  </a:lnTo>
                  <a:lnTo>
                    <a:pt x="14" y="2"/>
                  </a:lnTo>
                  <a:lnTo>
                    <a:pt x="14" y="2"/>
                  </a:lnTo>
                  <a:lnTo>
                    <a:pt x="12" y="2"/>
                  </a:lnTo>
                  <a:lnTo>
                    <a:pt x="12" y="2"/>
                  </a:lnTo>
                  <a:lnTo>
                    <a:pt x="14" y="5"/>
                  </a:lnTo>
                  <a:lnTo>
                    <a:pt x="14" y="5"/>
                  </a:lnTo>
                  <a:lnTo>
                    <a:pt x="14" y="5"/>
                  </a:lnTo>
                  <a:lnTo>
                    <a:pt x="14" y="5"/>
                  </a:lnTo>
                  <a:lnTo>
                    <a:pt x="14" y="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1" name="Freeform 52470"/>
            <p:cNvSpPr>
              <a:spLocks/>
            </p:cNvSpPr>
            <p:nvPr/>
          </p:nvSpPr>
          <p:spPr bwMode="auto">
            <a:xfrm>
              <a:off x="1773235" y="4381515"/>
              <a:ext cx="3175" cy="3175"/>
            </a:xfrm>
            <a:custGeom>
              <a:avLst/>
              <a:gdLst>
                <a:gd name="T0" fmla="*/ 2 w 2"/>
                <a:gd name="T1" fmla="*/ 0 h 2"/>
                <a:gd name="T2" fmla="*/ 2 w 2"/>
                <a:gd name="T3" fmla="*/ 2 h 2"/>
                <a:gd name="T4" fmla="*/ 2 w 2"/>
                <a:gd name="T5" fmla="*/ 2 h 2"/>
                <a:gd name="T6" fmla="*/ 0 w 2"/>
                <a:gd name="T7" fmla="*/ 2 h 2"/>
                <a:gd name="T8" fmla="*/ 0 w 2"/>
                <a:gd name="T9" fmla="*/ 2 h 2"/>
                <a:gd name="T10" fmla="*/ 0 w 2"/>
                <a:gd name="T11" fmla="*/ 0 h 2"/>
                <a:gd name="T12" fmla="*/ 0 w 2"/>
                <a:gd name="T13" fmla="*/ 0 h 2"/>
                <a:gd name="T14" fmla="*/ 0 w 2"/>
                <a:gd name="T15" fmla="*/ 0 h 2"/>
                <a:gd name="T16" fmla="*/ 2 w 2"/>
                <a:gd name="T17" fmla="*/ 0 h 2"/>
                <a:gd name="T18" fmla="*/ 2 w 2"/>
                <a:gd name="T19" fmla="*/ 0 h 2"/>
                <a:gd name="T20" fmla="*/ 2 w 2"/>
                <a:gd name="T21" fmla="*/ 0 h 2"/>
                <a:gd name="T22" fmla="*/ 2 w 2"/>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2" y="0"/>
                  </a:moveTo>
                  <a:lnTo>
                    <a:pt x="2" y="2"/>
                  </a:lnTo>
                  <a:lnTo>
                    <a:pt x="2" y="2"/>
                  </a:lnTo>
                  <a:lnTo>
                    <a:pt x="0" y="2"/>
                  </a:lnTo>
                  <a:lnTo>
                    <a:pt x="0" y="2"/>
                  </a:lnTo>
                  <a:lnTo>
                    <a:pt x="0" y="0"/>
                  </a:lnTo>
                  <a:lnTo>
                    <a:pt x="0" y="0"/>
                  </a:lnTo>
                  <a:lnTo>
                    <a:pt x="0" y="0"/>
                  </a:lnTo>
                  <a:lnTo>
                    <a:pt x="2" y="0"/>
                  </a:lnTo>
                  <a:lnTo>
                    <a:pt x="2" y="0"/>
                  </a:lnTo>
                  <a:lnTo>
                    <a:pt x="2"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2" name="Freeform 52471"/>
            <p:cNvSpPr>
              <a:spLocks noEditPoints="1"/>
            </p:cNvSpPr>
            <p:nvPr/>
          </p:nvSpPr>
          <p:spPr bwMode="auto">
            <a:xfrm>
              <a:off x="2374898" y="4919679"/>
              <a:ext cx="622299" cy="762002"/>
            </a:xfrm>
            <a:custGeom>
              <a:avLst/>
              <a:gdLst>
                <a:gd name="T0" fmla="*/ 278 w 392"/>
                <a:gd name="T1" fmla="*/ 445 h 480"/>
                <a:gd name="T2" fmla="*/ 285 w 392"/>
                <a:gd name="T3" fmla="*/ 461 h 480"/>
                <a:gd name="T4" fmla="*/ 259 w 392"/>
                <a:gd name="T5" fmla="*/ 473 h 480"/>
                <a:gd name="T6" fmla="*/ 224 w 392"/>
                <a:gd name="T7" fmla="*/ 449 h 480"/>
                <a:gd name="T8" fmla="*/ 193 w 392"/>
                <a:gd name="T9" fmla="*/ 421 h 480"/>
                <a:gd name="T10" fmla="*/ 214 w 392"/>
                <a:gd name="T11" fmla="*/ 411 h 480"/>
                <a:gd name="T12" fmla="*/ 243 w 392"/>
                <a:gd name="T13" fmla="*/ 418 h 480"/>
                <a:gd name="T14" fmla="*/ 285 w 392"/>
                <a:gd name="T15" fmla="*/ 409 h 480"/>
                <a:gd name="T16" fmla="*/ 98 w 392"/>
                <a:gd name="T17" fmla="*/ 285 h 480"/>
                <a:gd name="T18" fmla="*/ 100 w 392"/>
                <a:gd name="T19" fmla="*/ 297 h 480"/>
                <a:gd name="T20" fmla="*/ 100 w 392"/>
                <a:gd name="T21" fmla="*/ 338 h 480"/>
                <a:gd name="T22" fmla="*/ 86 w 392"/>
                <a:gd name="T23" fmla="*/ 364 h 480"/>
                <a:gd name="T24" fmla="*/ 72 w 392"/>
                <a:gd name="T25" fmla="*/ 378 h 480"/>
                <a:gd name="T26" fmla="*/ 57 w 392"/>
                <a:gd name="T27" fmla="*/ 357 h 480"/>
                <a:gd name="T28" fmla="*/ 60 w 392"/>
                <a:gd name="T29" fmla="*/ 335 h 480"/>
                <a:gd name="T30" fmla="*/ 53 w 392"/>
                <a:gd name="T31" fmla="*/ 302 h 480"/>
                <a:gd name="T32" fmla="*/ 57 w 392"/>
                <a:gd name="T33" fmla="*/ 290 h 480"/>
                <a:gd name="T34" fmla="*/ 183 w 392"/>
                <a:gd name="T35" fmla="*/ 86 h 480"/>
                <a:gd name="T36" fmla="*/ 209 w 392"/>
                <a:gd name="T37" fmla="*/ 69 h 480"/>
                <a:gd name="T38" fmla="*/ 193 w 392"/>
                <a:gd name="T39" fmla="*/ 76 h 480"/>
                <a:gd name="T40" fmla="*/ 188 w 392"/>
                <a:gd name="T41" fmla="*/ 79 h 480"/>
                <a:gd name="T42" fmla="*/ 183 w 392"/>
                <a:gd name="T43" fmla="*/ 91 h 480"/>
                <a:gd name="T44" fmla="*/ 190 w 392"/>
                <a:gd name="T45" fmla="*/ 98 h 480"/>
                <a:gd name="T46" fmla="*/ 188 w 392"/>
                <a:gd name="T47" fmla="*/ 110 h 480"/>
                <a:gd name="T48" fmla="*/ 193 w 392"/>
                <a:gd name="T49" fmla="*/ 140 h 480"/>
                <a:gd name="T50" fmla="*/ 235 w 392"/>
                <a:gd name="T51" fmla="*/ 181 h 480"/>
                <a:gd name="T52" fmla="*/ 266 w 392"/>
                <a:gd name="T53" fmla="*/ 233 h 480"/>
                <a:gd name="T54" fmla="*/ 314 w 392"/>
                <a:gd name="T55" fmla="*/ 245 h 480"/>
                <a:gd name="T56" fmla="*/ 318 w 392"/>
                <a:gd name="T57" fmla="*/ 269 h 480"/>
                <a:gd name="T58" fmla="*/ 356 w 392"/>
                <a:gd name="T59" fmla="*/ 290 h 480"/>
                <a:gd name="T60" fmla="*/ 387 w 392"/>
                <a:gd name="T61" fmla="*/ 314 h 480"/>
                <a:gd name="T62" fmla="*/ 375 w 392"/>
                <a:gd name="T63" fmla="*/ 326 h 480"/>
                <a:gd name="T64" fmla="*/ 345 w 392"/>
                <a:gd name="T65" fmla="*/ 307 h 480"/>
                <a:gd name="T66" fmla="*/ 335 w 392"/>
                <a:gd name="T67" fmla="*/ 347 h 480"/>
                <a:gd name="T68" fmla="*/ 337 w 392"/>
                <a:gd name="T69" fmla="*/ 378 h 480"/>
                <a:gd name="T70" fmla="*/ 309 w 392"/>
                <a:gd name="T71" fmla="*/ 423 h 480"/>
                <a:gd name="T72" fmla="*/ 307 w 392"/>
                <a:gd name="T73" fmla="*/ 397 h 480"/>
                <a:gd name="T74" fmla="*/ 309 w 392"/>
                <a:gd name="T75" fmla="*/ 357 h 480"/>
                <a:gd name="T76" fmla="*/ 285 w 392"/>
                <a:gd name="T77" fmla="*/ 328 h 480"/>
                <a:gd name="T78" fmla="*/ 254 w 392"/>
                <a:gd name="T79" fmla="*/ 302 h 480"/>
                <a:gd name="T80" fmla="*/ 240 w 392"/>
                <a:gd name="T81" fmla="*/ 283 h 480"/>
                <a:gd name="T82" fmla="*/ 205 w 392"/>
                <a:gd name="T83" fmla="*/ 266 h 480"/>
                <a:gd name="T84" fmla="*/ 171 w 392"/>
                <a:gd name="T85" fmla="*/ 238 h 480"/>
                <a:gd name="T86" fmla="*/ 148 w 392"/>
                <a:gd name="T87" fmla="*/ 209 h 480"/>
                <a:gd name="T88" fmla="*/ 121 w 392"/>
                <a:gd name="T89" fmla="*/ 171 h 480"/>
                <a:gd name="T90" fmla="*/ 105 w 392"/>
                <a:gd name="T91" fmla="*/ 143 h 480"/>
                <a:gd name="T92" fmla="*/ 84 w 392"/>
                <a:gd name="T93" fmla="*/ 129 h 480"/>
                <a:gd name="T94" fmla="*/ 62 w 392"/>
                <a:gd name="T95" fmla="*/ 131 h 480"/>
                <a:gd name="T96" fmla="*/ 29 w 392"/>
                <a:gd name="T97" fmla="*/ 157 h 480"/>
                <a:gd name="T98" fmla="*/ 10 w 392"/>
                <a:gd name="T99" fmla="*/ 133 h 480"/>
                <a:gd name="T100" fmla="*/ 0 w 392"/>
                <a:gd name="T101" fmla="*/ 93 h 480"/>
                <a:gd name="T102" fmla="*/ 5 w 392"/>
                <a:gd name="T103" fmla="*/ 67 h 480"/>
                <a:gd name="T104" fmla="*/ 41 w 392"/>
                <a:gd name="T105" fmla="*/ 57 h 480"/>
                <a:gd name="T106" fmla="*/ 65 w 392"/>
                <a:gd name="T107" fmla="*/ 48 h 480"/>
                <a:gd name="T108" fmla="*/ 84 w 392"/>
                <a:gd name="T109" fmla="*/ 43 h 480"/>
                <a:gd name="T110" fmla="*/ 110 w 392"/>
                <a:gd name="T111" fmla="*/ 36 h 480"/>
                <a:gd name="T112" fmla="*/ 124 w 392"/>
                <a:gd name="T113" fmla="*/ 22 h 480"/>
                <a:gd name="T114" fmla="*/ 159 w 392"/>
                <a:gd name="T115" fmla="*/ 5 h 480"/>
                <a:gd name="T116" fmla="*/ 186 w 392"/>
                <a:gd name="T117" fmla="*/ 12 h 480"/>
                <a:gd name="T118" fmla="*/ 228 w 392"/>
                <a:gd name="T119" fmla="*/ 31 h 480"/>
                <a:gd name="T120" fmla="*/ 228 w 392"/>
                <a:gd name="T121" fmla="*/ 62 h 480"/>
                <a:gd name="T122" fmla="*/ 228 w 392"/>
                <a:gd name="T123" fmla="*/ 6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2" h="480">
                  <a:moveTo>
                    <a:pt x="295" y="407"/>
                  </a:moveTo>
                  <a:lnTo>
                    <a:pt x="297" y="407"/>
                  </a:lnTo>
                  <a:lnTo>
                    <a:pt x="295" y="407"/>
                  </a:lnTo>
                  <a:lnTo>
                    <a:pt x="295" y="409"/>
                  </a:lnTo>
                  <a:lnTo>
                    <a:pt x="295" y="411"/>
                  </a:lnTo>
                  <a:lnTo>
                    <a:pt x="292" y="411"/>
                  </a:lnTo>
                  <a:lnTo>
                    <a:pt x="292" y="414"/>
                  </a:lnTo>
                  <a:lnTo>
                    <a:pt x="292" y="416"/>
                  </a:lnTo>
                  <a:lnTo>
                    <a:pt x="290" y="416"/>
                  </a:lnTo>
                  <a:lnTo>
                    <a:pt x="290" y="418"/>
                  </a:lnTo>
                  <a:lnTo>
                    <a:pt x="290" y="421"/>
                  </a:lnTo>
                  <a:lnTo>
                    <a:pt x="288" y="421"/>
                  </a:lnTo>
                  <a:lnTo>
                    <a:pt x="288" y="423"/>
                  </a:lnTo>
                  <a:lnTo>
                    <a:pt x="285" y="423"/>
                  </a:lnTo>
                  <a:lnTo>
                    <a:pt x="285" y="426"/>
                  </a:lnTo>
                  <a:lnTo>
                    <a:pt x="285" y="428"/>
                  </a:lnTo>
                  <a:lnTo>
                    <a:pt x="285" y="426"/>
                  </a:lnTo>
                  <a:lnTo>
                    <a:pt x="285" y="428"/>
                  </a:lnTo>
                  <a:lnTo>
                    <a:pt x="283" y="428"/>
                  </a:lnTo>
                  <a:lnTo>
                    <a:pt x="283" y="430"/>
                  </a:lnTo>
                  <a:lnTo>
                    <a:pt x="283" y="433"/>
                  </a:lnTo>
                  <a:lnTo>
                    <a:pt x="283" y="435"/>
                  </a:lnTo>
                  <a:lnTo>
                    <a:pt x="280" y="435"/>
                  </a:lnTo>
                  <a:lnTo>
                    <a:pt x="280" y="437"/>
                  </a:lnTo>
                  <a:lnTo>
                    <a:pt x="280" y="440"/>
                  </a:lnTo>
                  <a:lnTo>
                    <a:pt x="278" y="440"/>
                  </a:lnTo>
                  <a:lnTo>
                    <a:pt x="278" y="442"/>
                  </a:lnTo>
                  <a:lnTo>
                    <a:pt x="278" y="445"/>
                  </a:lnTo>
                  <a:lnTo>
                    <a:pt x="278" y="447"/>
                  </a:lnTo>
                  <a:lnTo>
                    <a:pt x="278" y="449"/>
                  </a:lnTo>
                  <a:lnTo>
                    <a:pt x="280" y="449"/>
                  </a:lnTo>
                  <a:lnTo>
                    <a:pt x="280" y="452"/>
                  </a:lnTo>
                  <a:lnTo>
                    <a:pt x="280" y="449"/>
                  </a:lnTo>
                  <a:lnTo>
                    <a:pt x="280" y="452"/>
                  </a:lnTo>
                  <a:lnTo>
                    <a:pt x="283" y="452"/>
                  </a:lnTo>
                  <a:lnTo>
                    <a:pt x="283" y="449"/>
                  </a:lnTo>
                  <a:lnTo>
                    <a:pt x="283" y="452"/>
                  </a:lnTo>
                  <a:lnTo>
                    <a:pt x="285" y="452"/>
                  </a:lnTo>
                  <a:lnTo>
                    <a:pt x="283" y="452"/>
                  </a:lnTo>
                  <a:lnTo>
                    <a:pt x="283" y="454"/>
                  </a:lnTo>
                  <a:lnTo>
                    <a:pt x="283" y="452"/>
                  </a:lnTo>
                  <a:lnTo>
                    <a:pt x="283" y="454"/>
                  </a:lnTo>
                  <a:lnTo>
                    <a:pt x="283" y="452"/>
                  </a:lnTo>
                  <a:lnTo>
                    <a:pt x="283" y="454"/>
                  </a:lnTo>
                  <a:lnTo>
                    <a:pt x="280" y="454"/>
                  </a:lnTo>
                  <a:lnTo>
                    <a:pt x="283" y="454"/>
                  </a:lnTo>
                  <a:lnTo>
                    <a:pt x="280" y="454"/>
                  </a:lnTo>
                  <a:lnTo>
                    <a:pt x="283" y="454"/>
                  </a:lnTo>
                  <a:lnTo>
                    <a:pt x="280" y="454"/>
                  </a:lnTo>
                  <a:lnTo>
                    <a:pt x="283" y="454"/>
                  </a:lnTo>
                  <a:lnTo>
                    <a:pt x="283" y="456"/>
                  </a:lnTo>
                  <a:lnTo>
                    <a:pt x="283" y="454"/>
                  </a:lnTo>
                  <a:lnTo>
                    <a:pt x="283" y="456"/>
                  </a:lnTo>
                  <a:lnTo>
                    <a:pt x="283" y="459"/>
                  </a:lnTo>
                  <a:lnTo>
                    <a:pt x="285" y="459"/>
                  </a:lnTo>
                  <a:lnTo>
                    <a:pt x="285" y="461"/>
                  </a:lnTo>
                  <a:lnTo>
                    <a:pt x="285" y="464"/>
                  </a:lnTo>
                  <a:lnTo>
                    <a:pt x="288" y="464"/>
                  </a:lnTo>
                  <a:lnTo>
                    <a:pt x="285" y="464"/>
                  </a:lnTo>
                  <a:lnTo>
                    <a:pt x="283" y="464"/>
                  </a:lnTo>
                  <a:lnTo>
                    <a:pt x="283" y="466"/>
                  </a:lnTo>
                  <a:lnTo>
                    <a:pt x="280" y="466"/>
                  </a:lnTo>
                  <a:lnTo>
                    <a:pt x="280" y="468"/>
                  </a:lnTo>
                  <a:lnTo>
                    <a:pt x="280" y="471"/>
                  </a:lnTo>
                  <a:lnTo>
                    <a:pt x="278" y="471"/>
                  </a:lnTo>
                  <a:lnTo>
                    <a:pt x="278" y="473"/>
                  </a:lnTo>
                  <a:lnTo>
                    <a:pt x="278" y="475"/>
                  </a:lnTo>
                  <a:lnTo>
                    <a:pt x="280" y="475"/>
                  </a:lnTo>
                  <a:lnTo>
                    <a:pt x="280" y="478"/>
                  </a:lnTo>
                  <a:lnTo>
                    <a:pt x="278" y="478"/>
                  </a:lnTo>
                  <a:lnTo>
                    <a:pt x="278" y="480"/>
                  </a:lnTo>
                  <a:lnTo>
                    <a:pt x="278" y="478"/>
                  </a:lnTo>
                  <a:lnTo>
                    <a:pt x="276" y="478"/>
                  </a:lnTo>
                  <a:lnTo>
                    <a:pt x="276" y="475"/>
                  </a:lnTo>
                  <a:lnTo>
                    <a:pt x="276" y="478"/>
                  </a:lnTo>
                  <a:lnTo>
                    <a:pt x="273" y="478"/>
                  </a:lnTo>
                  <a:lnTo>
                    <a:pt x="273" y="475"/>
                  </a:lnTo>
                  <a:lnTo>
                    <a:pt x="271" y="475"/>
                  </a:lnTo>
                  <a:lnTo>
                    <a:pt x="269" y="475"/>
                  </a:lnTo>
                  <a:lnTo>
                    <a:pt x="266" y="475"/>
                  </a:lnTo>
                  <a:lnTo>
                    <a:pt x="264" y="475"/>
                  </a:lnTo>
                  <a:lnTo>
                    <a:pt x="264" y="473"/>
                  </a:lnTo>
                  <a:lnTo>
                    <a:pt x="261" y="473"/>
                  </a:lnTo>
                  <a:lnTo>
                    <a:pt x="259" y="473"/>
                  </a:lnTo>
                  <a:lnTo>
                    <a:pt x="259" y="471"/>
                  </a:lnTo>
                  <a:lnTo>
                    <a:pt x="257" y="471"/>
                  </a:lnTo>
                  <a:lnTo>
                    <a:pt x="257" y="468"/>
                  </a:lnTo>
                  <a:lnTo>
                    <a:pt x="257" y="466"/>
                  </a:lnTo>
                  <a:lnTo>
                    <a:pt x="254" y="466"/>
                  </a:lnTo>
                  <a:lnTo>
                    <a:pt x="254" y="464"/>
                  </a:lnTo>
                  <a:lnTo>
                    <a:pt x="252" y="461"/>
                  </a:lnTo>
                  <a:lnTo>
                    <a:pt x="250" y="461"/>
                  </a:lnTo>
                  <a:lnTo>
                    <a:pt x="250" y="459"/>
                  </a:lnTo>
                  <a:lnTo>
                    <a:pt x="247" y="459"/>
                  </a:lnTo>
                  <a:lnTo>
                    <a:pt x="245" y="459"/>
                  </a:lnTo>
                  <a:lnTo>
                    <a:pt x="243" y="459"/>
                  </a:lnTo>
                  <a:lnTo>
                    <a:pt x="240" y="459"/>
                  </a:lnTo>
                  <a:lnTo>
                    <a:pt x="238" y="459"/>
                  </a:lnTo>
                  <a:lnTo>
                    <a:pt x="238" y="456"/>
                  </a:lnTo>
                  <a:lnTo>
                    <a:pt x="235" y="456"/>
                  </a:lnTo>
                  <a:lnTo>
                    <a:pt x="233" y="456"/>
                  </a:lnTo>
                  <a:lnTo>
                    <a:pt x="233" y="454"/>
                  </a:lnTo>
                  <a:lnTo>
                    <a:pt x="231" y="454"/>
                  </a:lnTo>
                  <a:lnTo>
                    <a:pt x="231" y="452"/>
                  </a:lnTo>
                  <a:lnTo>
                    <a:pt x="228" y="452"/>
                  </a:lnTo>
                  <a:lnTo>
                    <a:pt x="226" y="452"/>
                  </a:lnTo>
                  <a:lnTo>
                    <a:pt x="228" y="452"/>
                  </a:lnTo>
                  <a:lnTo>
                    <a:pt x="226" y="452"/>
                  </a:lnTo>
                  <a:lnTo>
                    <a:pt x="226" y="449"/>
                  </a:lnTo>
                  <a:lnTo>
                    <a:pt x="226" y="452"/>
                  </a:lnTo>
                  <a:lnTo>
                    <a:pt x="226" y="449"/>
                  </a:lnTo>
                  <a:lnTo>
                    <a:pt x="224" y="449"/>
                  </a:lnTo>
                  <a:lnTo>
                    <a:pt x="221" y="449"/>
                  </a:lnTo>
                  <a:lnTo>
                    <a:pt x="221" y="447"/>
                  </a:lnTo>
                  <a:lnTo>
                    <a:pt x="219" y="447"/>
                  </a:lnTo>
                  <a:lnTo>
                    <a:pt x="219" y="445"/>
                  </a:lnTo>
                  <a:lnTo>
                    <a:pt x="216" y="445"/>
                  </a:lnTo>
                  <a:lnTo>
                    <a:pt x="216" y="442"/>
                  </a:lnTo>
                  <a:lnTo>
                    <a:pt x="214" y="442"/>
                  </a:lnTo>
                  <a:lnTo>
                    <a:pt x="212" y="442"/>
                  </a:lnTo>
                  <a:lnTo>
                    <a:pt x="212" y="440"/>
                  </a:lnTo>
                  <a:lnTo>
                    <a:pt x="212" y="442"/>
                  </a:lnTo>
                  <a:lnTo>
                    <a:pt x="209" y="442"/>
                  </a:lnTo>
                  <a:lnTo>
                    <a:pt x="209" y="440"/>
                  </a:lnTo>
                  <a:lnTo>
                    <a:pt x="209" y="437"/>
                  </a:lnTo>
                  <a:lnTo>
                    <a:pt x="207" y="437"/>
                  </a:lnTo>
                  <a:lnTo>
                    <a:pt x="205" y="437"/>
                  </a:lnTo>
                  <a:lnTo>
                    <a:pt x="202" y="437"/>
                  </a:lnTo>
                  <a:lnTo>
                    <a:pt x="200" y="437"/>
                  </a:lnTo>
                  <a:lnTo>
                    <a:pt x="197" y="437"/>
                  </a:lnTo>
                  <a:lnTo>
                    <a:pt x="197" y="435"/>
                  </a:lnTo>
                  <a:lnTo>
                    <a:pt x="195" y="435"/>
                  </a:lnTo>
                  <a:lnTo>
                    <a:pt x="193" y="435"/>
                  </a:lnTo>
                  <a:lnTo>
                    <a:pt x="193" y="433"/>
                  </a:lnTo>
                  <a:lnTo>
                    <a:pt x="193" y="430"/>
                  </a:lnTo>
                  <a:lnTo>
                    <a:pt x="190" y="428"/>
                  </a:lnTo>
                  <a:lnTo>
                    <a:pt x="193" y="428"/>
                  </a:lnTo>
                  <a:lnTo>
                    <a:pt x="193" y="426"/>
                  </a:lnTo>
                  <a:lnTo>
                    <a:pt x="193" y="423"/>
                  </a:lnTo>
                  <a:lnTo>
                    <a:pt x="193" y="421"/>
                  </a:lnTo>
                  <a:lnTo>
                    <a:pt x="193" y="423"/>
                  </a:lnTo>
                  <a:lnTo>
                    <a:pt x="193" y="421"/>
                  </a:lnTo>
                  <a:lnTo>
                    <a:pt x="193" y="418"/>
                  </a:lnTo>
                  <a:lnTo>
                    <a:pt x="193" y="421"/>
                  </a:lnTo>
                  <a:lnTo>
                    <a:pt x="193" y="418"/>
                  </a:lnTo>
                  <a:lnTo>
                    <a:pt x="193" y="421"/>
                  </a:lnTo>
                  <a:lnTo>
                    <a:pt x="195" y="418"/>
                  </a:lnTo>
                  <a:lnTo>
                    <a:pt x="193" y="418"/>
                  </a:lnTo>
                  <a:lnTo>
                    <a:pt x="195" y="418"/>
                  </a:lnTo>
                  <a:lnTo>
                    <a:pt x="193" y="418"/>
                  </a:lnTo>
                  <a:lnTo>
                    <a:pt x="195" y="418"/>
                  </a:lnTo>
                  <a:lnTo>
                    <a:pt x="195" y="416"/>
                  </a:lnTo>
                  <a:lnTo>
                    <a:pt x="197" y="416"/>
                  </a:lnTo>
                  <a:lnTo>
                    <a:pt x="197" y="414"/>
                  </a:lnTo>
                  <a:lnTo>
                    <a:pt x="200" y="414"/>
                  </a:lnTo>
                  <a:lnTo>
                    <a:pt x="200" y="411"/>
                  </a:lnTo>
                  <a:lnTo>
                    <a:pt x="202" y="411"/>
                  </a:lnTo>
                  <a:lnTo>
                    <a:pt x="202" y="414"/>
                  </a:lnTo>
                  <a:lnTo>
                    <a:pt x="202" y="416"/>
                  </a:lnTo>
                  <a:lnTo>
                    <a:pt x="205" y="416"/>
                  </a:lnTo>
                  <a:lnTo>
                    <a:pt x="205" y="418"/>
                  </a:lnTo>
                  <a:lnTo>
                    <a:pt x="207" y="418"/>
                  </a:lnTo>
                  <a:lnTo>
                    <a:pt x="209" y="418"/>
                  </a:lnTo>
                  <a:lnTo>
                    <a:pt x="209" y="416"/>
                  </a:lnTo>
                  <a:lnTo>
                    <a:pt x="212" y="416"/>
                  </a:lnTo>
                  <a:lnTo>
                    <a:pt x="212" y="414"/>
                  </a:lnTo>
                  <a:lnTo>
                    <a:pt x="212" y="411"/>
                  </a:lnTo>
                  <a:lnTo>
                    <a:pt x="214" y="411"/>
                  </a:lnTo>
                  <a:lnTo>
                    <a:pt x="216" y="411"/>
                  </a:lnTo>
                  <a:lnTo>
                    <a:pt x="219" y="411"/>
                  </a:lnTo>
                  <a:lnTo>
                    <a:pt x="219" y="409"/>
                  </a:lnTo>
                  <a:lnTo>
                    <a:pt x="216" y="409"/>
                  </a:lnTo>
                  <a:lnTo>
                    <a:pt x="219" y="409"/>
                  </a:lnTo>
                  <a:lnTo>
                    <a:pt x="219" y="411"/>
                  </a:lnTo>
                  <a:lnTo>
                    <a:pt x="219" y="409"/>
                  </a:lnTo>
                  <a:lnTo>
                    <a:pt x="221" y="409"/>
                  </a:lnTo>
                  <a:lnTo>
                    <a:pt x="221" y="411"/>
                  </a:lnTo>
                  <a:lnTo>
                    <a:pt x="221" y="414"/>
                  </a:lnTo>
                  <a:lnTo>
                    <a:pt x="224" y="414"/>
                  </a:lnTo>
                  <a:lnTo>
                    <a:pt x="226" y="414"/>
                  </a:lnTo>
                  <a:lnTo>
                    <a:pt x="228" y="414"/>
                  </a:lnTo>
                  <a:lnTo>
                    <a:pt x="228" y="416"/>
                  </a:lnTo>
                  <a:lnTo>
                    <a:pt x="228" y="418"/>
                  </a:lnTo>
                  <a:lnTo>
                    <a:pt x="231" y="418"/>
                  </a:lnTo>
                  <a:lnTo>
                    <a:pt x="233" y="418"/>
                  </a:lnTo>
                  <a:lnTo>
                    <a:pt x="233" y="421"/>
                  </a:lnTo>
                  <a:lnTo>
                    <a:pt x="235" y="421"/>
                  </a:lnTo>
                  <a:lnTo>
                    <a:pt x="235" y="418"/>
                  </a:lnTo>
                  <a:lnTo>
                    <a:pt x="235" y="421"/>
                  </a:lnTo>
                  <a:lnTo>
                    <a:pt x="238" y="421"/>
                  </a:lnTo>
                  <a:lnTo>
                    <a:pt x="238" y="418"/>
                  </a:lnTo>
                  <a:lnTo>
                    <a:pt x="240" y="418"/>
                  </a:lnTo>
                  <a:lnTo>
                    <a:pt x="243" y="418"/>
                  </a:lnTo>
                  <a:lnTo>
                    <a:pt x="243" y="416"/>
                  </a:lnTo>
                  <a:lnTo>
                    <a:pt x="245" y="416"/>
                  </a:lnTo>
                  <a:lnTo>
                    <a:pt x="243" y="418"/>
                  </a:lnTo>
                  <a:lnTo>
                    <a:pt x="245" y="418"/>
                  </a:lnTo>
                  <a:lnTo>
                    <a:pt x="247" y="418"/>
                  </a:lnTo>
                  <a:lnTo>
                    <a:pt x="250" y="418"/>
                  </a:lnTo>
                  <a:lnTo>
                    <a:pt x="252" y="418"/>
                  </a:lnTo>
                  <a:lnTo>
                    <a:pt x="254" y="418"/>
                  </a:lnTo>
                  <a:lnTo>
                    <a:pt x="257" y="418"/>
                  </a:lnTo>
                  <a:lnTo>
                    <a:pt x="257" y="416"/>
                  </a:lnTo>
                  <a:lnTo>
                    <a:pt x="257" y="418"/>
                  </a:lnTo>
                  <a:lnTo>
                    <a:pt x="259" y="418"/>
                  </a:lnTo>
                  <a:lnTo>
                    <a:pt x="259" y="416"/>
                  </a:lnTo>
                  <a:lnTo>
                    <a:pt x="261" y="416"/>
                  </a:lnTo>
                  <a:lnTo>
                    <a:pt x="264" y="416"/>
                  </a:lnTo>
                  <a:lnTo>
                    <a:pt x="264" y="414"/>
                  </a:lnTo>
                  <a:lnTo>
                    <a:pt x="266" y="414"/>
                  </a:lnTo>
                  <a:lnTo>
                    <a:pt x="266" y="411"/>
                  </a:lnTo>
                  <a:lnTo>
                    <a:pt x="269" y="411"/>
                  </a:lnTo>
                  <a:lnTo>
                    <a:pt x="271" y="411"/>
                  </a:lnTo>
                  <a:lnTo>
                    <a:pt x="273" y="411"/>
                  </a:lnTo>
                  <a:lnTo>
                    <a:pt x="276" y="411"/>
                  </a:lnTo>
                  <a:lnTo>
                    <a:pt x="278" y="411"/>
                  </a:lnTo>
                  <a:lnTo>
                    <a:pt x="278" y="414"/>
                  </a:lnTo>
                  <a:lnTo>
                    <a:pt x="280" y="414"/>
                  </a:lnTo>
                  <a:lnTo>
                    <a:pt x="280" y="411"/>
                  </a:lnTo>
                  <a:lnTo>
                    <a:pt x="283" y="411"/>
                  </a:lnTo>
                  <a:lnTo>
                    <a:pt x="283" y="409"/>
                  </a:lnTo>
                  <a:lnTo>
                    <a:pt x="283" y="407"/>
                  </a:lnTo>
                  <a:lnTo>
                    <a:pt x="283" y="409"/>
                  </a:lnTo>
                  <a:lnTo>
                    <a:pt x="285" y="409"/>
                  </a:lnTo>
                  <a:lnTo>
                    <a:pt x="288" y="409"/>
                  </a:lnTo>
                  <a:lnTo>
                    <a:pt x="290" y="409"/>
                  </a:lnTo>
                  <a:lnTo>
                    <a:pt x="290" y="407"/>
                  </a:lnTo>
                  <a:lnTo>
                    <a:pt x="292" y="407"/>
                  </a:lnTo>
                  <a:lnTo>
                    <a:pt x="295" y="407"/>
                  </a:lnTo>
                  <a:close/>
                  <a:moveTo>
                    <a:pt x="86" y="273"/>
                  </a:moveTo>
                  <a:lnTo>
                    <a:pt x="86" y="276"/>
                  </a:lnTo>
                  <a:lnTo>
                    <a:pt x="88" y="276"/>
                  </a:lnTo>
                  <a:lnTo>
                    <a:pt x="88" y="273"/>
                  </a:lnTo>
                  <a:lnTo>
                    <a:pt x="88" y="276"/>
                  </a:lnTo>
                  <a:lnTo>
                    <a:pt x="88" y="273"/>
                  </a:lnTo>
                  <a:lnTo>
                    <a:pt x="91" y="273"/>
                  </a:lnTo>
                  <a:lnTo>
                    <a:pt x="91" y="276"/>
                  </a:lnTo>
                  <a:lnTo>
                    <a:pt x="93" y="276"/>
                  </a:lnTo>
                  <a:lnTo>
                    <a:pt x="93" y="278"/>
                  </a:lnTo>
                  <a:lnTo>
                    <a:pt x="91" y="278"/>
                  </a:lnTo>
                  <a:lnTo>
                    <a:pt x="93" y="278"/>
                  </a:lnTo>
                  <a:lnTo>
                    <a:pt x="93" y="281"/>
                  </a:lnTo>
                  <a:lnTo>
                    <a:pt x="93" y="278"/>
                  </a:lnTo>
                  <a:lnTo>
                    <a:pt x="95" y="278"/>
                  </a:lnTo>
                  <a:lnTo>
                    <a:pt x="95" y="276"/>
                  </a:lnTo>
                  <a:lnTo>
                    <a:pt x="95" y="278"/>
                  </a:lnTo>
                  <a:lnTo>
                    <a:pt x="95" y="281"/>
                  </a:lnTo>
                  <a:lnTo>
                    <a:pt x="95" y="283"/>
                  </a:lnTo>
                  <a:lnTo>
                    <a:pt x="98" y="283"/>
                  </a:lnTo>
                  <a:lnTo>
                    <a:pt x="100" y="283"/>
                  </a:lnTo>
                  <a:lnTo>
                    <a:pt x="100" y="285"/>
                  </a:lnTo>
                  <a:lnTo>
                    <a:pt x="98" y="285"/>
                  </a:lnTo>
                  <a:lnTo>
                    <a:pt x="98" y="283"/>
                  </a:lnTo>
                  <a:lnTo>
                    <a:pt x="98" y="285"/>
                  </a:lnTo>
                  <a:lnTo>
                    <a:pt x="95" y="285"/>
                  </a:lnTo>
                  <a:lnTo>
                    <a:pt x="95" y="288"/>
                  </a:lnTo>
                  <a:lnTo>
                    <a:pt x="98" y="288"/>
                  </a:lnTo>
                  <a:lnTo>
                    <a:pt x="95" y="288"/>
                  </a:lnTo>
                  <a:lnTo>
                    <a:pt x="93" y="288"/>
                  </a:lnTo>
                  <a:lnTo>
                    <a:pt x="95" y="288"/>
                  </a:lnTo>
                  <a:lnTo>
                    <a:pt x="93" y="288"/>
                  </a:lnTo>
                  <a:lnTo>
                    <a:pt x="95" y="288"/>
                  </a:lnTo>
                  <a:lnTo>
                    <a:pt x="98" y="288"/>
                  </a:lnTo>
                  <a:lnTo>
                    <a:pt x="95" y="288"/>
                  </a:lnTo>
                  <a:lnTo>
                    <a:pt x="98" y="288"/>
                  </a:lnTo>
                  <a:lnTo>
                    <a:pt x="95" y="288"/>
                  </a:lnTo>
                  <a:lnTo>
                    <a:pt x="98" y="288"/>
                  </a:lnTo>
                  <a:lnTo>
                    <a:pt x="100" y="288"/>
                  </a:lnTo>
                  <a:lnTo>
                    <a:pt x="98" y="288"/>
                  </a:lnTo>
                  <a:lnTo>
                    <a:pt x="98" y="290"/>
                  </a:lnTo>
                  <a:lnTo>
                    <a:pt x="100" y="290"/>
                  </a:lnTo>
                  <a:lnTo>
                    <a:pt x="103" y="290"/>
                  </a:lnTo>
                  <a:lnTo>
                    <a:pt x="103" y="292"/>
                  </a:lnTo>
                  <a:lnTo>
                    <a:pt x="100" y="292"/>
                  </a:lnTo>
                  <a:lnTo>
                    <a:pt x="100" y="290"/>
                  </a:lnTo>
                  <a:lnTo>
                    <a:pt x="100" y="292"/>
                  </a:lnTo>
                  <a:lnTo>
                    <a:pt x="100" y="290"/>
                  </a:lnTo>
                  <a:lnTo>
                    <a:pt x="100" y="292"/>
                  </a:lnTo>
                  <a:lnTo>
                    <a:pt x="100" y="295"/>
                  </a:lnTo>
                  <a:lnTo>
                    <a:pt x="100" y="297"/>
                  </a:lnTo>
                  <a:lnTo>
                    <a:pt x="103" y="297"/>
                  </a:lnTo>
                  <a:lnTo>
                    <a:pt x="100" y="297"/>
                  </a:lnTo>
                  <a:lnTo>
                    <a:pt x="103" y="297"/>
                  </a:lnTo>
                  <a:lnTo>
                    <a:pt x="103" y="300"/>
                  </a:lnTo>
                  <a:lnTo>
                    <a:pt x="103" y="302"/>
                  </a:lnTo>
                  <a:lnTo>
                    <a:pt x="103" y="304"/>
                  </a:lnTo>
                  <a:lnTo>
                    <a:pt x="105" y="304"/>
                  </a:lnTo>
                  <a:lnTo>
                    <a:pt x="105" y="307"/>
                  </a:lnTo>
                  <a:lnTo>
                    <a:pt x="105" y="309"/>
                  </a:lnTo>
                  <a:lnTo>
                    <a:pt x="103" y="309"/>
                  </a:lnTo>
                  <a:lnTo>
                    <a:pt x="103" y="311"/>
                  </a:lnTo>
                  <a:lnTo>
                    <a:pt x="100" y="311"/>
                  </a:lnTo>
                  <a:lnTo>
                    <a:pt x="103" y="311"/>
                  </a:lnTo>
                  <a:lnTo>
                    <a:pt x="100" y="314"/>
                  </a:lnTo>
                  <a:lnTo>
                    <a:pt x="100" y="316"/>
                  </a:lnTo>
                  <a:lnTo>
                    <a:pt x="98" y="316"/>
                  </a:lnTo>
                  <a:lnTo>
                    <a:pt x="98" y="319"/>
                  </a:lnTo>
                  <a:lnTo>
                    <a:pt x="98" y="321"/>
                  </a:lnTo>
                  <a:lnTo>
                    <a:pt x="100" y="321"/>
                  </a:lnTo>
                  <a:lnTo>
                    <a:pt x="100" y="323"/>
                  </a:lnTo>
                  <a:lnTo>
                    <a:pt x="100" y="326"/>
                  </a:lnTo>
                  <a:lnTo>
                    <a:pt x="103" y="326"/>
                  </a:lnTo>
                  <a:lnTo>
                    <a:pt x="103" y="328"/>
                  </a:lnTo>
                  <a:lnTo>
                    <a:pt x="100" y="328"/>
                  </a:lnTo>
                  <a:lnTo>
                    <a:pt x="100" y="331"/>
                  </a:lnTo>
                  <a:lnTo>
                    <a:pt x="100" y="333"/>
                  </a:lnTo>
                  <a:lnTo>
                    <a:pt x="100" y="335"/>
                  </a:lnTo>
                  <a:lnTo>
                    <a:pt x="100" y="338"/>
                  </a:lnTo>
                  <a:lnTo>
                    <a:pt x="100" y="340"/>
                  </a:lnTo>
                  <a:lnTo>
                    <a:pt x="100" y="342"/>
                  </a:lnTo>
                  <a:lnTo>
                    <a:pt x="100" y="345"/>
                  </a:lnTo>
                  <a:lnTo>
                    <a:pt x="100" y="347"/>
                  </a:lnTo>
                  <a:lnTo>
                    <a:pt x="100" y="350"/>
                  </a:lnTo>
                  <a:lnTo>
                    <a:pt x="98" y="350"/>
                  </a:lnTo>
                  <a:lnTo>
                    <a:pt x="98" y="352"/>
                  </a:lnTo>
                  <a:lnTo>
                    <a:pt x="98" y="354"/>
                  </a:lnTo>
                  <a:lnTo>
                    <a:pt x="100" y="354"/>
                  </a:lnTo>
                  <a:lnTo>
                    <a:pt x="98" y="354"/>
                  </a:lnTo>
                  <a:lnTo>
                    <a:pt x="98" y="357"/>
                  </a:lnTo>
                  <a:lnTo>
                    <a:pt x="98" y="359"/>
                  </a:lnTo>
                  <a:lnTo>
                    <a:pt x="98" y="361"/>
                  </a:lnTo>
                  <a:lnTo>
                    <a:pt x="95" y="364"/>
                  </a:lnTo>
                  <a:lnTo>
                    <a:pt x="95" y="366"/>
                  </a:lnTo>
                  <a:lnTo>
                    <a:pt x="98" y="366"/>
                  </a:lnTo>
                  <a:lnTo>
                    <a:pt x="95" y="366"/>
                  </a:lnTo>
                  <a:lnTo>
                    <a:pt x="95" y="369"/>
                  </a:lnTo>
                  <a:lnTo>
                    <a:pt x="95" y="371"/>
                  </a:lnTo>
                  <a:lnTo>
                    <a:pt x="95" y="369"/>
                  </a:lnTo>
                  <a:lnTo>
                    <a:pt x="93" y="369"/>
                  </a:lnTo>
                  <a:lnTo>
                    <a:pt x="95" y="369"/>
                  </a:lnTo>
                  <a:lnTo>
                    <a:pt x="93" y="369"/>
                  </a:lnTo>
                  <a:lnTo>
                    <a:pt x="91" y="369"/>
                  </a:lnTo>
                  <a:lnTo>
                    <a:pt x="91" y="366"/>
                  </a:lnTo>
                  <a:lnTo>
                    <a:pt x="88" y="366"/>
                  </a:lnTo>
                  <a:lnTo>
                    <a:pt x="88" y="364"/>
                  </a:lnTo>
                  <a:lnTo>
                    <a:pt x="86" y="364"/>
                  </a:lnTo>
                  <a:lnTo>
                    <a:pt x="84" y="364"/>
                  </a:lnTo>
                  <a:lnTo>
                    <a:pt x="84" y="366"/>
                  </a:lnTo>
                  <a:lnTo>
                    <a:pt x="81" y="366"/>
                  </a:lnTo>
                  <a:lnTo>
                    <a:pt x="81" y="364"/>
                  </a:lnTo>
                  <a:lnTo>
                    <a:pt x="79" y="364"/>
                  </a:lnTo>
                  <a:lnTo>
                    <a:pt x="79" y="361"/>
                  </a:lnTo>
                  <a:lnTo>
                    <a:pt x="79" y="364"/>
                  </a:lnTo>
                  <a:lnTo>
                    <a:pt x="79" y="361"/>
                  </a:lnTo>
                  <a:lnTo>
                    <a:pt x="79" y="364"/>
                  </a:lnTo>
                  <a:lnTo>
                    <a:pt x="81" y="364"/>
                  </a:lnTo>
                  <a:lnTo>
                    <a:pt x="79" y="364"/>
                  </a:lnTo>
                  <a:lnTo>
                    <a:pt x="81" y="364"/>
                  </a:lnTo>
                  <a:lnTo>
                    <a:pt x="81" y="366"/>
                  </a:lnTo>
                  <a:lnTo>
                    <a:pt x="81" y="364"/>
                  </a:lnTo>
                  <a:lnTo>
                    <a:pt x="79" y="364"/>
                  </a:lnTo>
                  <a:lnTo>
                    <a:pt x="81" y="364"/>
                  </a:lnTo>
                  <a:lnTo>
                    <a:pt x="81" y="366"/>
                  </a:lnTo>
                  <a:lnTo>
                    <a:pt x="79" y="366"/>
                  </a:lnTo>
                  <a:lnTo>
                    <a:pt x="79" y="369"/>
                  </a:lnTo>
                  <a:lnTo>
                    <a:pt x="79" y="371"/>
                  </a:lnTo>
                  <a:lnTo>
                    <a:pt x="79" y="373"/>
                  </a:lnTo>
                  <a:lnTo>
                    <a:pt x="79" y="376"/>
                  </a:lnTo>
                  <a:lnTo>
                    <a:pt x="76" y="376"/>
                  </a:lnTo>
                  <a:lnTo>
                    <a:pt x="76" y="378"/>
                  </a:lnTo>
                  <a:lnTo>
                    <a:pt x="74" y="378"/>
                  </a:lnTo>
                  <a:lnTo>
                    <a:pt x="74" y="380"/>
                  </a:lnTo>
                  <a:lnTo>
                    <a:pt x="72" y="380"/>
                  </a:lnTo>
                  <a:lnTo>
                    <a:pt x="72" y="378"/>
                  </a:lnTo>
                  <a:lnTo>
                    <a:pt x="72" y="380"/>
                  </a:lnTo>
                  <a:lnTo>
                    <a:pt x="72" y="378"/>
                  </a:lnTo>
                  <a:lnTo>
                    <a:pt x="72" y="380"/>
                  </a:lnTo>
                  <a:lnTo>
                    <a:pt x="72" y="378"/>
                  </a:lnTo>
                  <a:lnTo>
                    <a:pt x="69" y="378"/>
                  </a:lnTo>
                  <a:lnTo>
                    <a:pt x="67" y="378"/>
                  </a:lnTo>
                  <a:lnTo>
                    <a:pt x="67" y="380"/>
                  </a:lnTo>
                  <a:lnTo>
                    <a:pt x="65" y="380"/>
                  </a:lnTo>
                  <a:lnTo>
                    <a:pt x="67" y="380"/>
                  </a:lnTo>
                  <a:lnTo>
                    <a:pt x="67" y="378"/>
                  </a:lnTo>
                  <a:lnTo>
                    <a:pt x="65" y="378"/>
                  </a:lnTo>
                  <a:lnTo>
                    <a:pt x="65" y="376"/>
                  </a:lnTo>
                  <a:lnTo>
                    <a:pt x="62" y="373"/>
                  </a:lnTo>
                  <a:lnTo>
                    <a:pt x="65" y="373"/>
                  </a:lnTo>
                  <a:lnTo>
                    <a:pt x="62" y="373"/>
                  </a:lnTo>
                  <a:lnTo>
                    <a:pt x="62" y="371"/>
                  </a:lnTo>
                  <a:lnTo>
                    <a:pt x="62" y="373"/>
                  </a:lnTo>
                  <a:lnTo>
                    <a:pt x="62" y="371"/>
                  </a:lnTo>
                  <a:lnTo>
                    <a:pt x="60" y="371"/>
                  </a:lnTo>
                  <a:lnTo>
                    <a:pt x="60" y="369"/>
                  </a:lnTo>
                  <a:lnTo>
                    <a:pt x="60" y="366"/>
                  </a:lnTo>
                  <a:lnTo>
                    <a:pt x="57" y="366"/>
                  </a:lnTo>
                  <a:lnTo>
                    <a:pt x="57" y="364"/>
                  </a:lnTo>
                  <a:lnTo>
                    <a:pt x="57" y="361"/>
                  </a:lnTo>
                  <a:lnTo>
                    <a:pt x="60" y="361"/>
                  </a:lnTo>
                  <a:lnTo>
                    <a:pt x="60" y="359"/>
                  </a:lnTo>
                  <a:lnTo>
                    <a:pt x="57" y="359"/>
                  </a:lnTo>
                  <a:lnTo>
                    <a:pt x="57" y="357"/>
                  </a:lnTo>
                  <a:lnTo>
                    <a:pt x="57" y="354"/>
                  </a:lnTo>
                  <a:lnTo>
                    <a:pt x="57" y="352"/>
                  </a:lnTo>
                  <a:lnTo>
                    <a:pt x="60" y="352"/>
                  </a:lnTo>
                  <a:lnTo>
                    <a:pt x="60" y="350"/>
                  </a:lnTo>
                  <a:lnTo>
                    <a:pt x="60" y="347"/>
                  </a:lnTo>
                  <a:lnTo>
                    <a:pt x="60" y="345"/>
                  </a:lnTo>
                  <a:lnTo>
                    <a:pt x="60" y="342"/>
                  </a:lnTo>
                  <a:lnTo>
                    <a:pt x="60" y="340"/>
                  </a:lnTo>
                  <a:lnTo>
                    <a:pt x="60" y="342"/>
                  </a:lnTo>
                  <a:lnTo>
                    <a:pt x="62" y="342"/>
                  </a:lnTo>
                  <a:lnTo>
                    <a:pt x="62" y="340"/>
                  </a:lnTo>
                  <a:lnTo>
                    <a:pt x="62" y="338"/>
                  </a:lnTo>
                  <a:lnTo>
                    <a:pt x="62" y="335"/>
                  </a:lnTo>
                  <a:lnTo>
                    <a:pt x="65" y="335"/>
                  </a:lnTo>
                  <a:lnTo>
                    <a:pt x="62" y="335"/>
                  </a:lnTo>
                  <a:lnTo>
                    <a:pt x="62" y="333"/>
                  </a:lnTo>
                  <a:lnTo>
                    <a:pt x="60" y="333"/>
                  </a:lnTo>
                  <a:lnTo>
                    <a:pt x="62" y="333"/>
                  </a:lnTo>
                  <a:lnTo>
                    <a:pt x="62" y="331"/>
                  </a:lnTo>
                  <a:lnTo>
                    <a:pt x="60" y="331"/>
                  </a:lnTo>
                  <a:lnTo>
                    <a:pt x="60" y="333"/>
                  </a:lnTo>
                  <a:lnTo>
                    <a:pt x="62" y="333"/>
                  </a:lnTo>
                  <a:lnTo>
                    <a:pt x="60" y="333"/>
                  </a:lnTo>
                  <a:lnTo>
                    <a:pt x="60" y="335"/>
                  </a:lnTo>
                  <a:lnTo>
                    <a:pt x="60" y="333"/>
                  </a:lnTo>
                  <a:lnTo>
                    <a:pt x="60" y="335"/>
                  </a:lnTo>
                  <a:lnTo>
                    <a:pt x="60" y="333"/>
                  </a:lnTo>
                  <a:lnTo>
                    <a:pt x="60" y="335"/>
                  </a:lnTo>
                  <a:lnTo>
                    <a:pt x="57" y="333"/>
                  </a:lnTo>
                  <a:lnTo>
                    <a:pt x="57" y="331"/>
                  </a:lnTo>
                  <a:lnTo>
                    <a:pt x="57" y="328"/>
                  </a:lnTo>
                  <a:lnTo>
                    <a:pt x="57" y="326"/>
                  </a:lnTo>
                  <a:lnTo>
                    <a:pt x="57" y="328"/>
                  </a:lnTo>
                  <a:lnTo>
                    <a:pt x="60" y="328"/>
                  </a:lnTo>
                  <a:lnTo>
                    <a:pt x="60" y="326"/>
                  </a:lnTo>
                  <a:lnTo>
                    <a:pt x="60" y="328"/>
                  </a:lnTo>
                  <a:lnTo>
                    <a:pt x="60" y="326"/>
                  </a:lnTo>
                  <a:lnTo>
                    <a:pt x="60" y="323"/>
                  </a:lnTo>
                  <a:lnTo>
                    <a:pt x="60" y="321"/>
                  </a:lnTo>
                  <a:lnTo>
                    <a:pt x="60" y="319"/>
                  </a:lnTo>
                  <a:lnTo>
                    <a:pt x="60" y="316"/>
                  </a:lnTo>
                  <a:lnTo>
                    <a:pt x="60" y="314"/>
                  </a:lnTo>
                  <a:lnTo>
                    <a:pt x="57" y="314"/>
                  </a:lnTo>
                  <a:lnTo>
                    <a:pt x="57" y="311"/>
                  </a:lnTo>
                  <a:lnTo>
                    <a:pt x="57" y="309"/>
                  </a:lnTo>
                  <a:lnTo>
                    <a:pt x="57" y="307"/>
                  </a:lnTo>
                  <a:lnTo>
                    <a:pt x="55" y="307"/>
                  </a:lnTo>
                  <a:lnTo>
                    <a:pt x="55" y="304"/>
                  </a:lnTo>
                  <a:lnTo>
                    <a:pt x="55" y="302"/>
                  </a:lnTo>
                  <a:lnTo>
                    <a:pt x="53" y="302"/>
                  </a:lnTo>
                  <a:lnTo>
                    <a:pt x="53" y="304"/>
                  </a:lnTo>
                  <a:lnTo>
                    <a:pt x="50" y="304"/>
                  </a:lnTo>
                  <a:lnTo>
                    <a:pt x="50" y="302"/>
                  </a:lnTo>
                  <a:lnTo>
                    <a:pt x="53" y="302"/>
                  </a:lnTo>
                  <a:lnTo>
                    <a:pt x="50" y="302"/>
                  </a:lnTo>
                  <a:lnTo>
                    <a:pt x="53" y="302"/>
                  </a:lnTo>
                  <a:lnTo>
                    <a:pt x="50" y="302"/>
                  </a:lnTo>
                  <a:lnTo>
                    <a:pt x="50" y="304"/>
                  </a:lnTo>
                  <a:lnTo>
                    <a:pt x="50" y="302"/>
                  </a:lnTo>
                  <a:lnTo>
                    <a:pt x="50" y="300"/>
                  </a:lnTo>
                  <a:lnTo>
                    <a:pt x="50" y="297"/>
                  </a:lnTo>
                  <a:lnTo>
                    <a:pt x="48" y="297"/>
                  </a:lnTo>
                  <a:lnTo>
                    <a:pt x="50" y="295"/>
                  </a:lnTo>
                  <a:lnTo>
                    <a:pt x="48" y="295"/>
                  </a:lnTo>
                  <a:lnTo>
                    <a:pt x="50" y="295"/>
                  </a:lnTo>
                  <a:lnTo>
                    <a:pt x="50" y="292"/>
                  </a:lnTo>
                  <a:lnTo>
                    <a:pt x="50" y="290"/>
                  </a:lnTo>
                  <a:lnTo>
                    <a:pt x="53" y="290"/>
                  </a:lnTo>
                  <a:lnTo>
                    <a:pt x="53" y="288"/>
                  </a:lnTo>
                  <a:lnTo>
                    <a:pt x="50" y="288"/>
                  </a:lnTo>
                  <a:lnTo>
                    <a:pt x="50" y="285"/>
                  </a:lnTo>
                  <a:lnTo>
                    <a:pt x="53" y="285"/>
                  </a:lnTo>
                  <a:lnTo>
                    <a:pt x="53" y="288"/>
                  </a:lnTo>
                  <a:lnTo>
                    <a:pt x="53" y="290"/>
                  </a:lnTo>
                  <a:lnTo>
                    <a:pt x="55" y="290"/>
                  </a:lnTo>
                  <a:lnTo>
                    <a:pt x="53" y="290"/>
                  </a:lnTo>
                  <a:lnTo>
                    <a:pt x="55" y="290"/>
                  </a:lnTo>
                  <a:lnTo>
                    <a:pt x="57" y="290"/>
                  </a:lnTo>
                  <a:lnTo>
                    <a:pt x="55" y="290"/>
                  </a:lnTo>
                  <a:lnTo>
                    <a:pt x="57" y="290"/>
                  </a:lnTo>
                  <a:lnTo>
                    <a:pt x="57" y="292"/>
                  </a:lnTo>
                  <a:lnTo>
                    <a:pt x="57" y="290"/>
                  </a:lnTo>
                  <a:lnTo>
                    <a:pt x="57" y="292"/>
                  </a:lnTo>
                  <a:lnTo>
                    <a:pt x="57" y="290"/>
                  </a:lnTo>
                  <a:lnTo>
                    <a:pt x="60" y="292"/>
                  </a:lnTo>
                  <a:lnTo>
                    <a:pt x="62" y="292"/>
                  </a:lnTo>
                  <a:lnTo>
                    <a:pt x="65" y="290"/>
                  </a:lnTo>
                  <a:lnTo>
                    <a:pt x="67" y="290"/>
                  </a:lnTo>
                  <a:lnTo>
                    <a:pt x="67" y="288"/>
                  </a:lnTo>
                  <a:lnTo>
                    <a:pt x="69" y="288"/>
                  </a:lnTo>
                  <a:lnTo>
                    <a:pt x="72" y="288"/>
                  </a:lnTo>
                  <a:lnTo>
                    <a:pt x="72" y="285"/>
                  </a:lnTo>
                  <a:lnTo>
                    <a:pt x="74" y="285"/>
                  </a:lnTo>
                  <a:lnTo>
                    <a:pt x="74" y="283"/>
                  </a:lnTo>
                  <a:lnTo>
                    <a:pt x="76" y="283"/>
                  </a:lnTo>
                  <a:lnTo>
                    <a:pt x="76" y="281"/>
                  </a:lnTo>
                  <a:lnTo>
                    <a:pt x="76" y="278"/>
                  </a:lnTo>
                  <a:lnTo>
                    <a:pt x="76" y="281"/>
                  </a:lnTo>
                  <a:lnTo>
                    <a:pt x="76" y="278"/>
                  </a:lnTo>
                  <a:lnTo>
                    <a:pt x="79" y="278"/>
                  </a:lnTo>
                  <a:lnTo>
                    <a:pt x="81" y="278"/>
                  </a:lnTo>
                  <a:lnTo>
                    <a:pt x="81" y="276"/>
                  </a:lnTo>
                  <a:lnTo>
                    <a:pt x="84" y="276"/>
                  </a:lnTo>
                  <a:lnTo>
                    <a:pt x="84" y="273"/>
                  </a:lnTo>
                  <a:lnTo>
                    <a:pt x="81" y="273"/>
                  </a:lnTo>
                  <a:lnTo>
                    <a:pt x="84" y="273"/>
                  </a:lnTo>
                  <a:lnTo>
                    <a:pt x="86" y="273"/>
                  </a:lnTo>
                  <a:lnTo>
                    <a:pt x="86" y="271"/>
                  </a:lnTo>
                  <a:lnTo>
                    <a:pt x="86" y="273"/>
                  </a:lnTo>
                  <a:close/>
                  <a:moveTo>
                    <a:pt x="183" y="86"/>
                  </a:moveTo>
                  <a:lnTo>
                    <a:pt x="183" y="83"/>
                  </a:lnTo>
                  <a:lnTo>
                    <a:pt x="183" y="86"/>
                  </a:lnTo>
                  <a:close/>
                  <a:moveTo>
                    <a:pt x="224" y="67"/>
                  </a:moveTo>
                  <a:lnTo>
                    <a:pt x="226" y="67"/>
                  </a:lnTo>
                  <a:lnTo>
                    <a:pt x="224" y="67"/>
                  </a:lnTo>
                  <a:lnTo>
                    <a:pt x="224" y="69"/>
                  </a:lnTo>
                  <a:lnTo>
                    <a:pt x="221" y="69"/>
                  </a:lnTo>
                  <a:lnTo>
                    <a:pt x="221" y="67"/>
                  </a:lnTo>
                  <a:lnTo>
                    <a:pt x="221" y="64"/>
                  </a:lnTo>
                  <a:lnTo>
                    <a:pt x="219" y="64"/>
                  </a:lnTo>
                  <a:lnTo>
                    <a:pt x="216" y="64"/>
                  </a:lnTo>
                  <a:lnTo>
                    <a:pt x="219" y="64"/>
                  </a:lnTo>
                  <a:lnTo>
                    <a:pt x="219" y="62"/>
                  </a:lnTo>
                  <a:lnTo>
                    <a:pt x="216" y="62"/>
                  </a:lnTo>
                  <a:lnTo>
                    <a:pt x="219" y="62"/>
                  </a:lnTo>
                  <a:lnTo>
                    <a:pt x="219" y="64"/>
                  </a:lnTo>
                  <a:lnTo>
                    <a:pt x="216" y="64"/>
                  </a:lnTo>
                  <a:lnTo>
                    <a:pt x="214" y="64"/>
                  </a:lnTo>
                  <a:lnTo>
                    <a:pt x="214" y="67"/>
                  </a:lnTo>
                  <a:lnTo>
                    <a:pt x="214" y="64"/>
                  </a:lnTo>
                  <a:lnTo>
                    <a:pt x="214" y="67"/>
                  </a:lnTo>
                  <a:lnTo>
                    <a:pt x="214" y="64"/>
                  </a:lnTo>
                  <a:lnTo>
                    <a:pt x="212" y="64"/>
                  </a:lnTo>
                  <a:lnTo>
                    <a:pt x="212" y="67"/>
                  </a:lnTo>
                  <a:lnTo>
                    <a:pt x="214" y="67"/>
                  </a:lnTo>
                  <a:lnTo>
                    <a:pt x="214" y="69"/>
                  </a:lnTo>
                  <a:lnTo>
                    <a:pt x="212" y="69"/>
                  </a:lnTo>
                  <a:lnTo>
                    <a:pt x="214" y="69"/>
                  </a:lnTo>
                  <a:lnTo>
                    <a:pt x="212" y="69"/>
                  </a:lnTo>
                  <a:lnTo>
                    <a:pt x="209" y="69"/>
                  </a:lnTo>
                  <a:lnTo>
                    <a:pt x="209" y="72"/>
                  </a:lnTo>
                  <a:lnTo>
                    <a:pt x="209" y="69"/>
                  </a:lnTo>
                  <a:lnTo>
                    <a:pt x="209" y="72"/>
                  </a:lnTo>
                  <a:lnTo>
                    <a:pt x="209" y="69"/>
                  </a:lnTo>
                  <a:lnTo>
                    <a:pt x="209" y="72"/>
                  </a:lnTo>
                  <a:lnTo>
                    <a:pt x="207" y="72"/>
                  </a:lnTo>
                  <a:lnTo>
                    <a:pt x="207" y="69"/>
                  </a:lnTo>
                  <a:lnTo>
                    <a:pt x="205" y="69"/>
                  </a:lnTo>
                  <a:lnTo>
                    <a:pt x="205" y="67"/>
                  </a:lnTo>
                  <a:lnTo>
                    <a:pt x="205" y="69"/>
                  </a:lnTo>
                  <a:lnTo>
                    <a:pt x="207" y="69"/>
                  </a:lnTo>
                  <a:lnTo>
                    <a:pt x="207" y="72"/>
                  </a:lnTo>
                  <a:lnTo>
                    <a:pt x="205" y="72"/>
                  </a:lnTo>
                  <a:lnTo>
                    <a:pt x="202" y="74"/>
                  </a:lnTo>
                  <a:lnTo>
                    <a:pt x="200" y="74"/>
                  </a:lnTo>
                  <a:lnTo>
                    <a:pt x="202" y="74"/>
                  </a:lnTo>
                  <a:lnTo>
                    <a:pt x="200" y="74"/>
                  </a:lnTo>
                  <a:lnTo>
                    <a:pt x="200" y="76"/>
                  </a:lnTo>
                  <a:lnTo>
                    <a:pt x="197" y="76"/>
                  </a:lnTo>
                  <a:lnTo>
                    <a:pt x="195" y="76"/>
                  </a:lnTo>
                  <a:lnTo>
                    <a:pt x="193" y="79"/>
                  </a:lnTo>
                  <a:lnTo>
                    <a:pt x="190" y="79"/>
                  </a:lnTo>
                  <a:lnTo>
                    <a:pt x="190" y="81"/>
                  </a:lnTo>
                  <a:lnTo>
                    <a:pt x="190" y="79"/>
                  </a:lnTo>
                  <a:lnTo>
                    <a:pt x="193" y="79"/>
                  </a:lnTo>
                  <a:lnTo>
                    <a:pt x="193" y="76"/>
                  </a:lnTo>
                  <a:lnTo>
                    <a:pt x="195" y="76"/>
                  </a:lnTo>
                  <a:lnTo>
                    <a:pt x="193" y="76"/>
                  </a:lnTo>
                  <a:lnTo>
                    <a:pt x="193" y="79"/>
                  </a:lnTo>
                  <a:lnTo>
                    <a:pt x="195" y="76"/>
                  </a:lnTo>
                  <a:lnTo>
                    <a:pt x="197" y="76"/>
                  </a:lnTo>
                  <a:lnTo>
                    <a:pt x="195" y="76"/>
                  </a:lnTo>
                  <a:lnTo>
                    <a:pt x="197" y="76"/>
                  </a:lnTo>
                  <a:lnTo>
                    <a:pt x="197" y="74"/>
                  </a:lnTo>
                  <a:lnTo>
                    <a:pt x="195" y="74"/>
                  </a:lnTo>
                  <a:lnTo>
                    <a:pt x="195" y="76"/>
                  </a:lnTo>
                  <a:lnTo>
                    <a:pt x="195" y="74"/>
                  </a:lnTo>
                  <a:lnTo>
                    <a:pt x="195" y="76"/>
                  </a:lnTo>
                  <a:lnTo>
                    <a:pt x="195" y="74"/>
                  </a:lnTo>
                  <a:lnTo>
                    <a:pt x="195" y="76"/>
                  </a:lnTo>
                  <a:lnTo>
                    <a:pt x="195" y="74"/>
                  </a:lnTo>
                  <a:lnTo>
                    <a:pt x="195" y="76"/>
                  </a:lnTo>
                  <a:lnTo>
                    <a:pt x="195" y="74"/>
                  </a:lnTo>
                  <a:lnTo>
                    <a:pt x="193" y="74"/>
                  </a:lnTo>
                  <a:lnTo>
                    <a:pt x="190" y="74"/>
                  </a:lnTo>
                  <a:lnTo>
                    <a:pt x="190" y="76"/>
                  </a:lnTo>
                  <a:lnTo>
                    <a:pt x="190" y="74"/>
                  </a:lnTo>
                  <a:lnTo>
                    <a:pt x="190" y="76"/>
                  </a:lnTo>
                  <a:lnTo>
                    <a:pt x="188" y="76"/>
                  </a:lnTo>
                  <a:lnTo>
                    <a:pt x="186" y="76"/>
                  </a:lnTo>
                  <a:lnTo>
                    <a:pt x="186" y="79"/>
                  </a:lnTo>
                  <a:lnTo>
                    <a:pt x="186" y="76"/>
                  </a:lnTo>
                  <a:lnTo>
                    <a:pt x="186" y="79"/>
                  </a:lnTo>
                  <a:lnTo>
                    <a:pt x="186" y="76"/>
                  </a:lnTo>
                  <a:lnTo>
                    <a:pt x="186" y="79"/>
                  </a:lnTo>
                  <a:lnTo>
                    <a:pt x="188" y="79"/>
                  </a:lnTo>
                  <a:lnTo>
                    <a:pt x="188" y="81"/>
                  </a:lnTo>
                  <a:lnTo>
                    <a:pt x="188" y="79"/>
                  </a:lnTo>
                  <a:lnTo>
                    <a:pt x="186" y="79"/>
                  </a:lnTo>
                  <a:lnTo>
                    <a:pt x="188" y="79"/>
                  </a:lnTo>
                  <a:lnTo>
                    <a:pt x="186" y="79"/>
                  </a:lnTo>
                  <a:lnTo>
                    <a:pt x="188" y="79"/>
                  </a:lnTo>
                  <a:lnTo>
                    <a:pt x="186" y="79"/>
                  </a:lnTo>
                  <a:lnTo>
                    <a:pt x="183" y="79"/>
                  </a:lnTo>
                  <a:lnTo>
                    <a:pt x="186" y="79"/>
                  </a:lnTo>
                  <a:lnTo>
                    <a:pt x="183" y="79"/>
                  </a:lnTo>
                  <a:lnTo>
                    <a:pt x="186" y="79"/>
                  </a:lnTo>
                  <a:lnTo>
                    <a:pt x="186" y="81"/>
                  </a:lnTo>
                  <a:lnTo>
                    <a:pt x="183" y="81"/>
                  </a:lnTo>
                  <a:lnTo>
                    <a:pt x="183" y="83"/>
                  </a:lnTo>
                  <a:lnTo>
                    <a:pt x="181" y="83"/>
                  </a:lnTo>
                  <a:lnTo>
                    <a:pt x="183" y="81"/>
                  </a:lnTo>
                  <a:lnTo>
                    <a:pt x="181" y="81"/>
                  </a:lnTo>
                  <a:lnTo>
                    <a:pt x="181" y="83"/>
                  </a:lnTo>
                  <a:lnTo>
                    <a:pt x="183" y="83"/>
                  </a:lnTo>
                  <a:lnTo>
                    <a:pt x="183" y="86"/>
                  </a:lnTo>
                  <a:lnTo>
                    <a:pt x="181" y="86"/>
                  </a:lnTo>
                  <a:lnTo>
                    <a:pt x="181" y="88"/>
                  </a:lnTo>
                  <a:lnTo>
                    <a:pt x="183" y="88"/>
                  </a:lnTo>
                  <a:lnTo>
                    <a:pt x="181" y="88"/>
                  </a:lnTo>
                  <a:lnTo>
                    <a:pt x="183" y="88"/>
                  </a:lnTo>
                  <a:lnTo>
                    <a:pt x="183" y="86"/>
                  </a:lnTo>
                  <a:lnTo>
                    <a:pt x="183" y="88"/>
                  </a:lnTo>
                  <a:lnTo>
                    <a:pt x="183" y="91"/>
                  </a:lnTo>
                  <a:lnTo>
                    <a:pt x="186" y="91"/>
                  </a:lnTo>
                  <a:lnTo>
                    <a:pt x="188" y="91"/>
                  </a:lnTo>
                  <a:lnTo>
                    <a:pt x="188" y="93"/>
                  </a:lnTo>
                  <a:lnTo>
                    <a:pt x="188" y="95"/>
                  </a:lnTo>
                  <a:lnTo>
                    <a:pt x="188" y="93"/>
                  </a:lnTo>
                  <a:lnTo>
                    <a:pt x="186" y="93"/>
                  </a:lnTo>
                  <a:lnTo>
                    <a:pt x="186" y="95"/>
                  </a:lnTo>
                  <a:lnTo>
                    <a:pt x="188" y="95"/>
                  </a:lnTo>
                  <a:lnTo>
                    <a:pt x="188" y="98"/>
                  </a:lnTo>
                  <a:lnTo>
                    <a:pt x="188" y="95"/>
                  </a:lnTo>
                  <a:lnTo>
                    <a:pt x="188" y="98"/>
                  </a:lnTo>
                  <a:lnTo>
                    <a:pt x="188" y="95"/>
                  </a:lnTo>
                  <a:lnTo>
                    <a:pt x="188" y="98"/>
                  </a:lnTo>
                  <a:lnTo>
                    <a:pt x="190" y="98"/>
                  </a:lnTo>
                  <a:lnTo>
                    <a:pt x="188" y="98"/>
                  </a:lnTo>
                  <a:lnTo>
                    <a:pt x="188" y="100"/>
                  </a:lnTo>
                  <a:lnTo>
                    <a:pt x="190" y="100"/>
                  </a:lnTo>
                  <a:lnTo>
                    <a:pt x="190" y="98"/>
                  </a:lnTo>
                  <a:lnTo>
                    <a:pt x="190" y="100"/>
                  </a:lnTo>
                  <a:lnTo>
                    <a:pt x="190" y="98"/>
                  </a:lnTo>
                  <a:lnTo>
                    <a:pt x="190" y="100"/>
                  </a:lnTo>
                  <a:lnTo>
                    <a:pt x="190" y="98"/>
                  </a:lnTo>
                  <a:lnTo>
                    <a:pt x="190" y="100"/>
                  </a:lnTo>
                  <a:lnTo>
                    <a:pt x="190" y="98"/>
                  </a:lnTo>
                  <a:lnTo>
                    <a:pt x="190" y="100"/>
                  </a:lnTo>
                  <a:lnTo>
                    <a:pt x="190" y="98"/>
                  </a:lnTo>
                  <a:lnTo>
                    <a:pt x="190" y="100"/>
                  </a:lnTo>
                  <a:lnTo>
                    <a:pt x="190" y="98"/>
                  </a:lnTo>
                  <a:lnTo>
                    <a:pt x="190" y="100"/>
                  </a:lnTo>
                  <a:lnTo>
                    <a:pt x="190" y="98"/>
                  </a:lnTo>
                  <a:lnTo>
                    <a:pt x="190" y="100"/>
                  </a:lnTo>
                  <a:lnTo>
                    <a:pt x="193" y="100"/>
                  </a:lnTo>
                  <a:lnTo>
                    <a:pt x="193" y="102"/>
                  </a:lnTo>
                  <a:lnTo>
                    <a:pt x="190" y="102"/>
                  </a:lnTo>
                  <a:lnTo>
                    <a:pt x="188" y="102"/>
                  </a:lnTo>
                  <a:lnTo>
                    <a:pt x="186" y="102"/>
                  </a:lnTo>
                  <a:lnTo>
                    <a:pt x="186" y="100"/>
                  </a:lnTo>
                  <a:lnTo>
                    <a:pt x="183" y="100"/>
                  </a:lnTo>
                  <a:lnTo>
                    <a:pt x="183" y="98"/>
                  </a:lnTo>
                  <a:lnTo>
                    <a:pt x="181" y="98"/>
                  </a:lnTo>
                  <a:lnTo>
                    <a:pt x="178" y="98"/>
                  </a:lnTo>
                  <a:lnTo>
                    <a:pt x="178" y="100"/>
                  </a:lnTo>
                  <a:lnTo>
                    <a:pt x="178" y="98"/>
                  </a:lnTo>
                  <a:lnTo>
                    <a:pt x="181" y="98"/>
                  </a:lnTo>
                  <a:lnTo>
                    <a:pt x="181" y="100"/>
                  </a:lnTo>
                  <a:lnTo>
                    <a:pt x="181" y="98"/>
                  </a:lnTo>
                  <a:lnTo>
                    <a:pt x="183" y="98"/>
                  </a:lnTo>
                  <a:lnTo>
                    <a:pt x="183" y="100"/>
                  </a:lnTo>
                  <a:lnTo>
                    <a:pt x="186" y="100"/>
                  </a:lnTo>
                  <a:lnTo>
                    <a:pt x="186" y="102"/>
                  </a:lnTo>
                  <a:lnTo>
                    <a:pt x="188" y="102"/>
                  </a:lnTo>
                  <a:lnTo>
                    <a:pt x="188" y="105"/>
                  </a:lnTo>
                  <a:lnTo>
                    <a:pt x="188" y="107"/>
                  </a:lnTo>
                  <a:lnTo>
                    <a:pt x="190" y="107"/>
                  </a:lnTo>
                  <a:lnTo>
                    <a:pt x="190" y="110"/>
                  </a:lnTo>
                  <a:lnTo>
                    <a:pt x="188" y="110"/>
                  </a:lnTo>
                  <a:lnTo>
                    <a:pt x="188" y="107"/>
                  </a:lnTo>
                  <a:lnTo>
                    <a:pt x="188" y="110"/>
                  </a:lnTo>
                  <a:lnTo>
                    <a:pt x="190" y="110"/>
                  </a:lnTo>
                  <a:lnTo>
                    <a:pt x="188" y="110"/>
                  </a:lnTo>
                  <a:lnTo>
                    <a:pt x="190" y="110"/>
                  </a:lnTo>
                  <a:lnTo>
                    <a:pt x="188" y="110"/>
                  </a:lnTo>
                  <a:lnTo>
                    <a:pt x="188" y="107"/>
                  </a:lnTo>
                  <a:lnTo>
                    <a:pt x="186" y="107"/>
                  </a:lnTo>
                  <a:lnTo>
                    <a:pt x="186" y="110"/>
                  </a:lnTo>
                  <a:lnTo>
                    <a:pt x="186" y="107"/>
                  </a:lnTo>
                  <a:lnTo>
                    <a:pt x="186" y="110"/>
                  </a:lnTo>
                  <a:lnTo>
                    <a:pt x="186" y="107"/>
                  </a:lnTo>
                  <a:lnTo>
                    <a:pt x="186" y="110"/>
                  </a:lnTo>
                  <a:lnTo>
                    <a:pt x="186" y="112"/>
                  </a:lnTo>
                  <a:lnTo>
                    <a:pt x="186" y="114"/>
                  </a:lnTo>
                  <a:lnTo>
                    <a:pt x="186" y="117"/>
                  </a:lnTo>
                  <a:lnTo>
                    <a:pt x="186" y="119"/>
                  </a:lnTo>
                  <a:lnTo>
                    <a:pt x="186" y="121"/>
                  </a:lnTo>
                  <a:lnTo>
                    <a:pt x="186" y="124"/>
                  </a:lnTo>
                  <a:lnTo>
                    <a:pt x="186" y="126"/>
                  </a:lnTo>
                  <a:lnTo>
                    <a:pt x="188" y="129"/>
                  </a:lnTo>
                  <a:lnTo>
                    <a:pt x="188" y="131"/>
                  </a:lnTo>
                  <a:lnTo>
                    <a:pt x="188" y="133"/>
                  </a:lnTo>
                  <a:lnTo>
                    <a:pt x="188" y="136"/>
                  </a:lnTo>
                  <a:lnTo>
                    <a:pt x="190" y="136"/>
                  </a:lnTo>
                  <a:lnTo>
                    <a:pt x="190" y="138"/>
                  </a:lnTo>
                  <a:lnTo>
                    <a:pt x="193" y="138"/>
                  </a:lnTo>
                  <a:lnTo>
                    <a:pt x="193" y="140"/>
                  </a:lnTo>
                  <a:lnTo>
                    <a:pt x="195" y="143"/>
                  </a:lnTo>
                  <a:lnTo>
                    <a:pt x="197" y="145"/>
                  </a:lnTo>
                  <a:lnTo>
                    <a:pt x="200" y="148"/>
                  </a:lnTo>
                  <a:lnTo>
                    <a:pt x="202" y="148"/>
                  </a:lnTo>
                  <a:lnTo>
                    <a:pt x="205" y="150"/>
                  </a:lnTo>
                  <a:lnTo>
                    <a:pt x="207" y="150"/>
                  </a:lnTo>
                  <a:lnTo>
                    <a:pt x="207" y="152"/>
                  </a:lnTo>
                  <a:lnTo>
                    <a:pt x="209" y="152"/>
                  </a:lnTo>
                  <a:lnTo>
                    <a:pt x="212" y="155"/>
                  </a:lnTo>
                  <a:lnTo>
                    <a:pt x="214" y="155"/>
                  </a:lnTo>
                  <a:lnTo>
                    <a:pt x="214" y="157"/>
                  </a:lnTo>
                  <a:lnTo>
                    <a:pt x="216" y="157"/>
                  </a:lnTo>
                  <a:lnTo>
                    <a:pt x="216" y="159"/>
                  </a:lnTo>
                  <a:lnTo>
                    <a:pt x="219" y="162"/>
                  </a:lnTo>
                  <a:lnTo>
                    <a:pt x="221" y="162"/>
                  </a:lnTo>
                  <a:lnTo>
                    <a:pt x="224" y="162"/>
                  </a:lnTo>
                  <a:lnTo>
                    <a:pt x="224" y="164"/>
                  </a:lnTo>
                  <a:lnTo>
                    <a:pt x="226" y="164"/>
                  </a:lnTo>
                  <a:lnTo>
                    <a:pt x="228" y="164"/>
                  </a:lnTo>
                  <a:lnTo>
                    <a:pt x="228" y="167"/>
                  </a:lnTo>
                  <a:lnTo>
                    <a:pt x="231" y="167"/>
                  </a:lnTo>
                  <a:lnTo>
                    <a:pt x="231" y="169"/>
                  </a:lnTo>
                  <a:lnTo>
                    <a:pt x="231" y="171"/>
                  </a:lnTo>
                  <a:lnTo>
                    <a:pt x="231" y="174"/>
                  </a:lnTo>
                  <a:lnTo>
                    <a:pt x="233" y="176"/>
                  </a:lnTo>
                  <a:lnTo>
                    <a:pt x="233" y="178"/>
                  </a:lnTo>
                  <a:lnTo>
                    <a:pt x="235" y="178"/>
                  </a:lnTo>
                  <a:lnTo>
                    <a:pt x="235" y="181"/>
                  </a:lnTo>
                  <a:lnTo>
                    <a:pt x="235" y="183"/>
                  </a:lnTo>
                  <a:lnTo>
                    <a:pt x="235" y="186"/>
                  </a:lnTo>
                  <a:lnTo>
                    <a:pt x="238" y="188"/>
                  </a:lnTo>
                  <a:lnTo>
                    <a:pt x="238" y="190"/>
                  </a:lnTo>
                  <a:lnTo>
                    <a:pt x="238" y="193"/>
                  </a:lnTo>
                  <a:lnTo>
                    <a:pt x="238" y="195"/>
                  </a:lnTo>
                  <a:lnTo>
                    <a:pt x="240" y="195"/>
                  </a:lnTo>
                  <a:lnTo>
                    <a:pt x="238" y="195"/>
                  </a:lnTo>
                  <a:lnTo>
                    <a:pt x="240" y="197"/>
                  </a:lnTo>
                  <a:lnTo>
                    <a:pt x="240" y="200"/>
                  </a:lnTo>
                  <a:lnTo>
                    <a:pt x="243" y="205"/>
                  </a:lnTo>
                  <a:lnTo>
                    <a:pt x="243" y="207"/>
                  </a:lnTo>
                  <a:lnTo>
                    <a:pt x="245" y="209"/>
                  </a:lnTo>
                  <a:lnTo>
                    <a:pt x="245" y="212"/>
                  </a:lnTo>
                  <a:lnTo>
                    <a:pt x="247" y="212"/>
                  </a:lnTo>
                  <a:lnTo>
                    <a:pt x="247" y="214"/>
                  </a:lnTo>
                  <a:lnTo>
                    <a:pt x="250" y="216"/>
                  </a:lnTo>
                  <a:lnTo>
                    <a:pt x="250" y="219"/>
                  </a:lnTo>
                  <a:lnTo>
                    <a:pt x="252" y="219"/>
                  </a:lnTo>
                  <a:lnTo>
                    <a:pt x="254" y="221"/>
                  </a:lnTo>
                  <a:lnTo>
                    <a:pt x="257" y="221"/>
                  </a:lnTo>
                  <a:lnTo>
                    <a:pt x="257" y="224"/>
                  </a:lnTo>
                  <a:lnTo>
                    <a:pt x="259" y="226"/>
                  </a:lnTo>
                  <a:lnTo>
                    <a:pt x="261" y="228"/>
                  </a:lnTo>
                  <a:lnTo>
                    <a:pt x="264" y="228"/>
                  </a:lnTo>
                  <a:lnTo>
                    <a:pt x="264" y="231"/>
                  </a:lnTo>
                  <a:lnTo>
                    <a:pt x="266" y="231"/>
                  </a:lnTo>
                  <a:lnTo>
                    <a:pt x="266" y="233"/>
                  </a:lnTo>
                  <a:lnTo>
                    <a:pt x="266" y="235"/>
                  </a:lnTo>
                  <a:lnTo>
                    <a:pt x="269" y="235"/>
                  </a:lnTo>
                  <a:lnTo>
                    <a:pt x="271" y="235"/>
                  </a:lnTo>
                  <a:lnTo>
                    <a:pt x="271" y="238"/>
                  </a:lnTo>
                  <a:lnTo>
                    <a:pt x="273" y="238"/>
                  </a:lnTo>
                  <a:lnTo>
                    <a:pt x="276" y="238"/>
                  </a:lnTo>
                  <a:lnTo>
                    <a:pt x="276" y="240"/>
                  </a:lnTo>
                  <a:lnTo>
                    <a:pt x="278" y="240"/>
                  </a:lnTo>
                  <a:lnTo>
                    <a:pt x="280" y="243"/>
                  </a:lnTo>
                  <a:lnTo>
                    <a:pt x="283" y="243"/>
                  </a:lnTo>
                  <a:lnTo>
                    <a:pt x="285" y="243"/>
                  </a:lnTo>
                  <a:lnTo>
                    <a:pt x="288" y="243"/>
                  </a:lnTo>
                  <a:lnTo>
                    <a:pt x="290" y="243"/>
                  </a:lnTo>
                  <a:lnTo>
                    <a:pt x="292" y="243"/>
                  </a:lnTo>
                  <a:lnTo>
                    <a:pt x="295" y="243"/>
                  </a:lnTo>
                  <a:lnTo>
                    <a:pt x="297" y="243"/>
                  </a:lnTo>
                  <a:lnTo>
                    <a:pt x="299" y="243"/>
                  </a:lnTo>
                  <a:lnTo>
                    <a:pt x="302" y="243"/>
                  </a:lnTo>
                  <a:lnTo>
                    <a:pt x="304" y="243"/>
                  </a:lnTo>
                  <a:lnTo>
                    <a:pt x="307" y="243"/>
                  </a:lnTo>
                  <a:lnTo>
                    <a:pt x="307" y="240"/>
                  </a:lnTo>
                  <a:lnTo>
                    <a:pt x="309" y="240"/>
                  </a:lnTo>
                  <a:lnTo>
                    <a:pt x="311" y="240"/>
                  </a:lnTo>
                  <a:lnTo>
                    <a:pt x="311" y="243"/>
                  </a:lnTo>
                  <a:lnTo>
                    <a:pt x="314" y="243"/>
                  </a:lnTo>
                  <a:lnTo>
                    <a:pt x="314" y="245"/>
                  </a:lnTo>
                  <a:lnTo>
                    <a:pt x="316" y="245"/>
                  </a:lnTo>
                  <a:lnTo>
                    <a:pt x="314" y="245"/>
                  </a:lnTo>
                  <a:lnTo>
                    <a:pt x="316" y="245"/>
                  </a:lnTo>
                  <a:lnTo>
                    <a:pt x="314" y="245"/>
                  </a:lnTo>
                  <a:lnTo>
                    <a:pt x="314" y="247"/>
                  </a:lnTo>
                  <a:lnTo>
                    <a:pt x="316" y="247"/>
                  </a:lnTo>
                  <a:lnTo>
                    <a:pt x="314" y="247"/>
                  </a:lnTo>
                  <a:lnTo>
                    <a:pt x="316" y="247"/>
                  </a:lnTo>
                  <a:lnTo>
                    <a:pt x="314" y="247"/>
                  </a:lnTo>
                  <a:lnTo>
                    <a:pt x="314" y="250"/>
                  </a:lnTo>
                  <a:lnTo>
                    <a:pt x="311" y="250"/>
                  </a:lnTo>
                  <a:lnTo>
                    <a:pt x="311" y="252"/>
                  </a:lnTo>
                  <a:lnTo>
                    <a:pt x="309" y="252"/>
                  </a:lnTo>
                  <a:lnTo>
                    <a:pt x="309" y="254"/>
                  </a:lnTo>
                  <a:lnTo>
                    <a:pt x="307" y="254"/>
                  </a:lnTo>
                  <a:lnTo>
                    <a:pt x="307" y="257"/>
                  </a:lnTo>
                  <a:lnTo>
                    <a:pt x="307" y="254"/>
                  </a:lnTo>
                  <a:lnTo>
                    <a:pt x="307" y="257"/>
                  </a:lnTo>
                  <a:lnTo>
                    <a:pt x="307" y="254"/>
                  </a:lnTo>
                  <a:lnTo>
                    <a:pt x="307" y="257"/>
                  </a:lnTo>
                  <a:lnTo>
                    <a:pt x="304" y="257"/>
                  </a:lnTo>
                  <a:lnTo>
                    <a:pt x="304" y="259"/>
                  </a:lnTo>
                  <a:lnTo>
                    <a:pt x="307" y="259"/>
                  </a:lnTo>
                  <a:lnTo>
                    <a:pt x="307" y="262"/>
                  </a:lnTo>
                  <a:lnTo>
                    <a:pt x="307" y="264"/>
                  </a:lnTo>
                  <a:lnTo>
                    <a:pt x="309" y="264"/>
                  </a:lnTo>
                  <a:lnTo>
                    <a:pt x="311" y="266"/>
                  </a:lnTo>
                  <a:lnTo>
                    <a:pt x="314" y="266"/>
                  </a:lnTo>
                  <a:lnTo>
                    <a:pt x="316" y="269"/>
                  </a:lnTo>
                  <a:lnTo>
                    <a:pt x="318" y="269"/>
                  </a:lnTo>
                  <a:lnTo>
                    <a:pt x="321" y="269"/>
                  </a:lnTo>
                  <a:lnTo>
                    <a:pt x="321" y="271"/>
                  </a:lnTo>
                  <a:lnTo>
                    <a:pt x="323" y="271"/>
                  </a:lnTo>
                  <a:lnTo>
                    <a:pt x="323" y="273"/>
                  </a:lnTo>
                  <a:lnTo>
                    <a:pt x="326" y="271"/>
                  </a:lnTo>
                  <a:lnTo>
                    <a:pt x="326" y="273"/>
                  </a:lnTo>
                  <a:lnTo>
                    <a:pt x="328" y="273"/>
                  </a:lnTo>
                  <a:lnTo>
                    <a:pt x="328" y="276"/>
                  </a:lnTo>
                  <a:lnTo>
                    <a:pt x="330" y="276"/>
                  </a:lnTo>
                  <a:lnTo>
                    <a:pt x="333" y="276"/>
                  </a:lnTo>
                  <a:lnTo>
                    <a:pt x="335" y="276"/>
                  </a:lnTo>
                  <a:lnTo>
                    <a:pt x="335" y="278"/>
                  </a:lnTo>
                  <a:lnTo>
                    <a:pt x="337" y="278"/>
                  </a:lnTo>
                  <a:lnTo>
                    <a:pt x="340" y="278"/>
                  </a:lnTo>
                  <a:lnTo>
                    <a:pt x="340" y="281"/>
                  </a:lnTo>
                  <a:lnTo>
                    <a:pt x="342" y="281"/>
                  </a:lnTo>
                  <a:lnTo>
                    <a:pt x="345" y="281"/>
                  </a:lnTo>
                  <a:lnTo>
                    <a:pt x="345" y="283"/>
                  </a:lnTo>
                  <a:lnTo>
                    <a:pt x="347" y="283"/>
                  </a:lnTo>
                  <a:lnTo>
                    <a:pt x="349" y="283"/>
                  </a:lnTo>
                  <a:lnTo>
                    <a:pt x="349" y="285"/>
                  </a:lnTo>
                  <a:lnTo>
                    <a:pt x="349" y="283"/>
                  </a:lnTo>
                  <a:lnTo>
                    <a:pt x="349" y="285"/>
                  </a:lnTo>
                  <a:lnTo>
                    <a:pt x="352" y="285"/>
                  </a:lnTo>
                  <a:lnTo>
                    <a:pt x="352" y="288"/>
                  </a:lnTo>
                  <a:lnTo>
                    <a:pt x="354" y="288"/>
                  </a:lnTo>
                  <a:lnTo>
                    <a:pt x="354" y="290"/>
                  </a:lnTo>
                  <a:lnTo>
                    <a:pt x="356" y="290"/>
                  </a:lnTo>
                  <a:lnTo>
                    <a:pt x="356" y="292"/>
                  </a:lnTo>
                  <a:lnTo>
                    <a:pt x="359" y="292"/>
                  </a:lnTo>
                  <a:lnTo>
                    <a:pt x="361" y="292"/>
                  </a:lnTo>
                  <a:lnTo>
                    <a:pt x="361" y="295"/>
                  </a:lnTo>
                  <a:lnTo>
                    <a:pt x="364" y="295"/>
                  </a:lnTo>
                  <a:lnTo>
                    <a:pt x="366" y="295"/>
                  </a:lnTo>
                  <a:lnTo>
                    <a:pt x="366" y="297"/>
                  </a:lnTo>
                  <a:lnTo>
                    <a:pt x="368" y="297"/>
                  </a:lnTo>
                  <a:lnTo>
                    <a:pt x="371" y="297"/>
                  </a:lnTo>
                  <a:lnTo>
                    <a:pt x="371" y="300"/>
                  </a:lnTo>
                  <a:lnTo>
                    <a:pt x="373" y="297"/>
                  </a:lnTo>
                  <a:lnTo>
                    <a:pt x="373" y="300"/>
                  </a:lnTo>
                  <a:lnTo>
                    <a:pt x="373" y="297"/>
                  </a:lnTo>
                  <a:lnTo>
                    <a:pt x="373" y="300"/>
                  </a:lnTo>
                  <a:lnTo>
                    <a:pt x="375" y="300"/>
                  </a:lnTo>
                  <a:lnTo>
                    <a:pt x="375" y="302"/>
                  </a:lnTo>
                  <a:lnTo>
                    <a:pt x="375" y="304"/>
                  </a:lnTo>
                  <a:lnTo>
                    <a:pt x="378" y="304"/>
                  </a:lnTo>
                  <a:lnTo>
                    <a:pt x="378" y="307"/>
                  </a:lnTo>
                  <a:lnTo>
                    <a:pt x="380" y="307"/>
                  </a:lnTo>
                  <a:lnTo>
                    <a:pt x="380" y="309"/>
                  </a:lnTo>
                  <a:lnTo>
                    <a:pt x="382" y="309"/>
                  </a:lnTo>
                  <a:lnTo>
                    <a:pt x="382" y="311"/>
                  </a:lnTo>
                  <a:lnTo>
                    <a:pt x="385" y="311"/>
                  </a:lnTo>
                  <a:lnTo>
                    <a:pt x="385" y="314"/>
                  </a:lnTo>
                  <a:lnTo>
                    <a:pt x="385" y="311"/>
                  </a:lnTo>
                  <a:lnTo>
                    <a:pt x="385" y="314"/>
                  </a:lnTo>
                  <a:lnTo>
                    <a:pt x="387" y="314"/>
                  </a:lnTo>
                  <a:lnTo>
                    <a:pt x="387" y="316"/>
                  </a:lnTo>
                  <a:lnTo>
                    <a:pt x="390" y="316"/>
                  </a:lnTo>
                  <a:lnTo>
                    <a:pt x="390" y="319"/>
                  </a:lnTo>
                  <a:lnTo>
                    <a:pt x="390" y="321"/>
                  </a:lnTo>
                  <a:lnTo>
                    <a:pt x="390" y="323"/>
                  </a:lnTo>
                  <a:lnTo>
                    <a:pt x="392" y="323"/>
                  </a:lnTo>
                  <a:lnTo>
                    <a:pt x="390" y="323"/>
                  </a:lnTo>
                  <a:lnTo>
                    <a:pt x="392" y="323"/>
                  </a:lnTo>
                  <a:lnTo>
                    <a:pt x="392" y="326"/>
                  </a:lnTo>
                  <a:lnTo>
                    <a:pt x="390" y="326"/>
                  </a:lnTo>
                  <a:lnTo>
                    <a:pt x="390" y="328"/>
                  </a:lnTo>
                  <a:lnTo>
                    <a:pt x="387" y="331"/>
                  </a:lnTo>
                  <a:lnTo>
                    <a:pt x="387" y="333"/>
                  </a:lnTo>
                  <a:lnTo>
                    <a:pt x="387" y="335"/>
                  </a:lnTo>
                  <a:lnTo>
                    <a:pt x="387" y="338"/>
                  </a:lnTo>
                  <a:lnTo>
                    <a:pt x="385" y="338"/>
                  </a:lnTo>
                  <a:lnTo>
                    <a:pt x="382" y="338"/>
                  </a:lnTo>
                  <a:lnTo>
                    <a:pt x="380" y="338"/>
                  </a:lnTo>
                  <a:lnTo>
                    <a:pt x="380" y="335"/>
                  </a:lnTo>
                  <a:lnTo>
                    <a:pt x="378" y="335"/>
                  </a:lnTo>
                  <a:lnTo>
                    <a:pt x="378" y="333"/>
                  </a:lnTo>
                  <a:lnTo>
                    <a:pt x="375" y="333"/>
                  </a:lnTo>
                  <a:lnTo>
                    <a:pt x="375" y="331"/>
                  </a:lnTo>
                  <a:lnTo>
                    <a:pt x="375" y="328"/>
                  </a:lnTo>
                  <a:lnTo>
                    <a:pt x="375" y="331"/>
                  </a:lnTo>
                  <a:lnTo>
                    <a:pt x="375" y="328"/>
                  </a:lnTo>
                  <a:lnTo>
                    <a:pt x="373" y="326"/>
                  </a:lnTo>
                  <a:lnTo>
                    <a:pt x="375" y="326"/>
                  </a:lnTo>
                  <a:lnTo>
                    <a:pt x="375" y="323"/>
                  </a:lnTo>
                  <a:lnTo>
                    <a:pt x="373" y="323"/>
                  </a:lnTo>
                  <a:lnTo>
                    <a:pt x="373" y="321"/>
                  </a:lnTo>
                  <a:lnTo>
                    <a:pt x="371" y="321"/>
                  </a:lnTo>
                  <a:lnTo>
                    <a:pt x="373" y="321"/>
                  </a:lnTo>
                  <a:lnTo>
                    <a:pt x="371" y="319"/>
                  </a:lnTo>
                  <a:lnTo>
                    <a:pt x="373" y="319"/>
                  </a:lnTo>
                  <a:lnTo>
                    <a:pt x="371" y="319"/>
                  </a:lnTo>
                  <a:lnTo>
                    <a:pt x="371" y="316"/>
                  </a:lnTo>
                  <a:lnTo>
                    <a:pt x="368" y="316"/>
                  </a:lnTo>
                  <a:lnTo>
                    <a:pt x="366" y="316"/>
                  </a:lnTo>
                  <a:lnTo>
                    <a:pt x="364" y="316"/>
                  </a:lnTo>
                  <a:lnTo>
                    <a:pt x="361" y="316"/>
                  </a:lnTo>
                  <a:lnTo>
                    <a:pt x="359" y="316"/>
                  </a:lnTo>
                  <a:lnTo>
                    <a:pt x="356" y="316"/>
                  </a:lnTo>
                  <a:lnTo>
                    <a:pt x="356" y="314"/>
                  </a:lnTo>
                  <a:lnTo>
                    <a:pt x="354" y="314"/>
                  </a:lnTo>
                  <a:lnTo>
                    <a:pt x="352" y="314"/>
                  </a:lnTo>
                  <a:lnTo>
                    <a:pt x="352" y="311"/>
                  </a:lnTo>
                  <a:lnTo>
                    <a:pt x="349" y="311"/>
                  </a:lnTo>
                  <a:lnTo>
                    <a:pt x="349" y="309"/>
                  </a:lnTo>
                  <a:lnTo>
                    <a:pt x="349" y="307"/>
                  </a:lnTo>
                  <a:lnTo>
                    <a:pt x="352" y="307"/>
                  </a:lnTo>
                  <a:lnTo>
                    <a:pt x="352" y="309"/>
                  </a:lnTo>
                  <a:lnTo>
                    <a:pt x="352" y="307"/>
                  </a:lnTo>
                  <a:lnTo>
                    <a:pt x="349" y="307"/>
                  </a:lnTo>
                  <a:lnTo>
                    <a:pt x="347" y="307"/>
                  </a:lnTo>
                  <a:lnTo>
                    <a:pt x="345" y="307"/>
                  </a:lnTo>
                  <a:lnTo>
                    <a:pt x="342" y="307"/>
                  </a:lnTo>
                  <a:lnTo>
                    <a:pt x="340" y="309"/>
                  </a:lnTo>
                  <a:lnTo>
                    <a:pt x="337" y="309"/>
                  </a:lnTo>
                  <a:lnTo>
                    <a:pt x="337" y="311"/>
                  </a:lnTo>
                  <a:lnTo>
                    <a:pt x="337" y="314"/>
                  </a:lnTo>
                  <a:lnTo>
                    <a:pt x="335" y="314"/>
                  </a:lnTo>
                  <a:lnTo>
                    <a:pt x="335" y="316"/>
                  </a:lnTo>
                  <a:lnTo>
                    <a:pt x="333" y="319"/>
                  </a:lnTo>
                  <a:lnTo>
                    <a:pt x="333" y="321"/>
                  </a:lnTo>
                  <a:lnTo>
                    <a:pt x="333" y="319"/>
                  </a:lnTo>
                  <a:lnTo>
                    <a:pt x="333" y="321"/>
                  </a:lnTo>
                  <a:lnTo>
                    <a:pt x="330" y="323"/>
                  </a:lnTo>
                  <a:lnTo>
                    <a:pt x="328" y="326"/>
                  </a:lnTo>
                  <a:lnTo>
                    <a:pt x="328" y="328"/>
                  </a:lnTo>
                  <a:lnTo>
                    <a:pt x="328" y="331"/>
                  </a:lnTo>
                  <a:lnTo>
                    <a:pt x="330" y="331"/>
                  </a:lnTo>
                  <a:lnTo>
                    <a:pt x="328" y="331"/>
                  </a:lnTo>
                  <a:lnTo>
                    <a:pt x="328" y="333"/>
                  </a:lnTo>
                  <a:lnTo>
                    <a:pt x="326" y="335"/>
                  </a:lnTo>
                  <a:lnTo>
                    <a:pt x="326" y="338"/>
                  </a:lnTo>
                  <a:lnTo>
                    <a:pt x="326" y="340"/>
                  </a:lnTo>
                  <a:lnTo>
                    <a:pt x="326" y="342"/>
                  </a:lnTo>
                  <a:lnTo>
                    <a:pt x="326" y="345"/>
                  </a:lnTo>
                  <a:lnTo>
                    <a:pt x="328" y="345"/>
                  </a:lnTo>
                  <a:lnTo>
                    <a:pt x="328" y="347"/>
                  </a:lnTo>
                  <a:lnTo>
                    <a:pt x="330" y="347"/>
                  </a:lnTo>
                  <a:lnTo>
                    <a:pt x="333" y="347"/>
                  </a:lnTo>
                  <a:lnTo>
                    <a:pt x="335" y="347"/>
                  </a:lnTo>
                  <a:lnTo>
                    <a:pt x="335" y="350"/>
                  </a:lnTo>
                  <a:lnTo>
                    <a:pt x="337" y="350"/>
                  </a:lnTo>
                  <a:lnTo>
                    <a:pt x="337" y="352"/>
                  </a:lnTo>
                  <a:lnTo>
                    <a:pt x="340" y="352"/>
                  </a:lnTo>
                  <a:lnTo>
                    <a:pt x="342" y="352"/>
                  </a:lnTo>
                  <a:lnTo>
                    <a:pt x="342" y="354"/>
                  </a:lnTo>
                  <a:lnTo>
                    <a:pt x="345" y="354"/>
                  </a:lnTo>
                  <a:lnTo>
                    <a:pt x="345" y="357"/>
                  </a:lnTo>
                  <a:lnTo>
                    <a:pt x="347" y="357"/>
                  </a:lnTo>
                  <a:lnTo>
                    <a:pt x="347" y="359"/>
                  </a:lnTo>
                  <a:lnTo>
                    <a:pt x="345" y="359"/>
                  </a:lnTo>
                  <a:lnTo>
                    <a:pt x="345" y="361"/>
                  </a:lnTo>
                  <a:lnTo>
                    <a:pt x="345" y="364"/>
                  </a:lnTo>
                  <a:lnTo>
                    <a:pt x="347" y="364"/>
                  </a:lnTo>
                  <a:lnTo>
                    <a:pt x="347" y="366"/>
                  </a:lnTo>
                  <a:lnTo>
                    <a:pt x="345" y="366"/>
                  </a:lnTo>
                  <a:lnTo>
                    <a:pt x="345" y="369"/>
                  </a:lnTo>
                  <a:lnTo>
                    <a:pt x="345" y="371"/>
                  </a:lnTo>
                  <a:lnTo>
                    <a:pt x="347" y="371"/>
                  </a:lnTo>
                  <a:lnTo>
                    <a:pt x="347" y="373"/>
                  </a:lnTo>
                  <a:lnTo>
                    <a:pt x="349" y="373"/>
                  </a:lnTo>
                  <a:lnTo>
                    <a:pt x="347" y="373"/>
                  </a:lnTo>
                  <a:lnTo>
                    <a:pt x="347" y="376"/>
                  </a:lnTo>
                  <a:lnTo>
                    <a:pt x="347" y="378"/>
                  </a:lnTo>
                  <a:lnTo>
                    <a:pt x="345" y="378"/>
                  </a:lnTo>
                  <a:lnTo>
                    <a:pt x="342" y="378"/>
                  </a:lnTo>
                  <a:lnTo>
                    <a:pt x="340" y="378"/>
                  </a:lnTo>
                  <a:lnTo>
                    <a:pt x="337" y="378"/>
                  </a:lnTo>
                  <a:lnTo>
                    <a:pt x="335" y="378"/>
                  </a:lnTo>
                  <a:lnTo>
                    <a:pt x="333" y="380"/>
                  </a:lnTo>
                  <a:lnTo>
                    <a:pt x="330" y="380"/>
                  </a:lnTo>
                  <a:lnTo>
                    <a:pt x="330" y="383"/>
                  </a:lnTo>
                  <a:lnTo>
                    <a:pt x="328" y="383"/>
                  </a:lnTo>
                  <a:lnTo>
                    <a:pt x="328" y="385"/>
                  </a:lnTo>
                  <a:lnTo>
                    <a:pt x="326" y="388"/>
                  </a:lnTo>
                  <a:lnTo>
                    <a:pt x="328" y="388"/>
                  </a:lnTo>
                  <a:lnTo>
                    <a:pt x="328" y="390"/>
                  </a:lnTo>
                  <a:lnTo>
                    <a:pt x="328" y="392"/>
                  </a:lnTo>
                  <a:lnTo>
                    <a:pt x="328" y="395"/>
                  </a:lnTo>
                  <a:lnTo>
                    <a:pt x="328" y="397"/>
                  </a:lnTo>
                  <a:lnTo>
                    <a:pt x="328" y="399"/>
                  </a:lnTo>
                  <a:lnTo>
                    <a:pt x="326" y="402"/>
                  </a:lnTo>
                  <a:lnTo>
                    <a:pt x="323" y="404"/>
                  </a:lnTo>
                  <a:lnTo>
                    <a:pt x="321" y="404"/>
                  </a:lnTo>
                  <a:lnTo>
                    <a:pt x="321" y="407"/>
                  </a:lnTo>
                  <a:lnTo>
                    <a:pt x="318" y="407"/>
                  </a:lnTo>
                  <a:lnTo>
                    <a:pt x="318" y="409"/>
                  </a:lnTo>
                  <a:lnTo>
                    <a:pt x="316" y="409"/>
                  </a:lnTo>
                  <a:lnTo>
                    <a:pt x="316" y="411"/>
                  </a:lnTo>
                  <a:lnTo>
                    <a:pt x="314" y="411"/>
                  </a:lnTo>
                  <a:lnTo>
                    <a:pt x="314" y="414"/>
                  </a:lnTo>
                  <a:lnTo>
                    <a:pt x="314" y="416"/>
                  </a:lnTo>
                  <a:lnTo>
                    <a:pt x="314" y="418"/>
                  </a:lnTo>
                  <a:lnTo>
                    <a:pt x="311" y="421"/>
                  </a:lnTo>
                  <a:lnTo>
                    <a:pt x="311" y="423"/>
                  </a:lnTo>
                  <a:lnTo>
                    <a:pt x="309" y="423"/>
                  </a:lnTo>
                  <a:lnTo>
                    <a:pt x="307" y="423"/>
                  </a:lnTo>
                  <a:lnTo>
                    <a:pt x="304" y="423"/>
                  </a:lnTo>
                  <a:lnTo>
                    <a:pt x="302" y="423"/>
                  </a:lnTo>
                  <a:lnTo>
                    <a:pt x="299" y="423"/>
                  </a:lnTo>
                  <a:lnTo>
                    <a:pt x="299" y="421"/>
                  </a:lnTo>
                  <a:lnTo>
                    <a:pt x="297" y="421"/>
                  </a:lnTo>
                  <a:lnTo>
                    <a:pt x="297" y="418"/>
                  </a:lnTo>
                  <a:lnTo>
                    <a:pt x="297" y="416"/>
                  </a:lnTo>
                  <a:lnTo>
                    <a:pt x="297" y="414"/>
                  </a:lnTo>
                  <a:lnTo>
                    <a:pt x="297" y="411"/>
                  </a:lnTo>
                  <a:lnTo>
                    <a:pt x="297" y="409"/>
                  </a:lnTo>
                  <a:lnTo>
                    <a:pt x="299" y="409"/>
                  </a:lnTo>
                  <a:lnTo>
                    <a:pt x="299" y="407"/>
                  </a:lnTo>
                  <a:lnTo>
                    <a:pt x="299" y="409"/>
                  </a:lnTo>
                  <a:lnTo>
                    <a:pt x="299" y="407"/>
                  </a:lnTo>
                  <a:lnTo>
                    <a:pt x="302" y="407"/>
                  </a:lnTo>
                  <a:lnTo>
                    <a:pt x="302" y="404"/>
                  </a:lnTo>
                  <a:lnTo>
                    <a:pt x="304" y="404"/>
                  </a:lnTo>
                  <a:lnTo>
                    <a:pt x="302" y="404"/>
                  </a:lnTo>
                  <a:lnTo>
                    <a:pt x="304" y="402"/>
                  </a:lnTo>
                  <a:lnTo>
                    <a:pt x="304" y="399"/>
                  </a:lnTo>
                  <a:lnTo>
                    <a:pt x="307" y="399"/>
                  </a:lnTo>
                  <a:lnTo>
                    <a:pt x="304" y="399"/>
                  </a:lnTo>
                  <a:lnTo>
                    <a:pt x="307" y="399"/>
                  </a:lnTo>
                  <a:lnTo>
                    <a:pt x="307" y="397"/>
                  </a:lnTo>
                  <a:lnTo>
                    <a:pt x="307" y="399"/>
                  </a:lnTo>
                  <a:lnTo>
                    <a:pt x="304" y="399"/>
                  </a:lnTo>
                  <a:lnTo>
                    <a:pt x="307" y="397"/>
                  </a:lnTo>
                  <a:lnTo>
                    <a:pt x="307" y="395"/>
                  </a:lnTo>
                  <a:lnTo>
                    <a:pt x="304" y="395"/>
                  </a:lnTo>
                  <a:lnTo>
                    <a:pt x="304" y="392"/>
                  </a:lnTo>
                  <a:lnTo>
                    <a:pt x="302" y="392"/>
                  </a:lnTo>
                  <a:lnTo>
                    <a:pt x="302" y="390"/>
                  </a:lnTo>
                  <a:lnTo>
                    <a:pt x="304" y="390"/>
                  </a:lnTo>
                  <a:lnTo>
                    <a:pt x="304" y="388"/>
                  </a:lnTo>
                  <a:lnTo>
                    <a:pt x="307" y="388"/>
                  </a:lnTo>
                  <a:lnTo>
                    <a:pt x="309" y="388"/>
                  </a:lnTo>
                  <a:lnTo>
                    <a:pt x="311" y="388"/>
                  </a:lnTo>
                  <a:lnTo>
                    <a:pt x="314" y="388"/>
                  </a:lnTo>
                  <a:lnTo>
                    <a:pt x="314" y="385"/>
                  </a:lnTo>
                  <a:lnTo>
                    <a:pt x="316" y="385"/>
                  </a:lnTo>
                  <a:lnTo>
                    <a:pt x="316" y="383"/>
                  </a:lnTo>
                  <a:lnTo>
                    <a:pt x="316" y="380"/>
                  </a:lnTo>
                  <a:lnTo>
                    <a:pt x="316" y="378"/>
                  </a:lnTo>
                  <a:lnTo>
                    <a:pt x="314" y="378"/>
                  </a:lnTo>
                  <a:lnTo>
                    <a:pt x="314" y="376"/>
                  </a:lnTo>
                  <a:lnTo>
                    <a:pt x="314" y="373"/>
                  </a:lnTo>
                  <a:lnTo>
                    <a:pt x="311" y="373"/>
                  </a:lnTo>
                  <a:lnTo>
                    <a:pt x="311" y="371"/>
                  </a:lnTo>
                  <a:lnTo>
                    <a:pt x="311" y="369"/>
                  </a:lnTo>
                  <a:lnTo>
                    <a:pt x="311" y="366"/>
                  </a:lnTo>
                  <a:lnTo>
                    <a:pt x="311" y="364"/>
                  </a:lnTo>
                  <a:lnTo>
                    <a:pt x="311" y="361"/>
                  </a:lnTo>
                  <a:lnTo>
                    <a:pt x="309" y="361"/>
                  </a:lnTo>
                  <a:lnTo>
                    <a:pt x="309" y="359"/>
                  </a:lnTo>
                  <a:lnTo>
                    <a:pt x="309" y="357"/>
                  </a:lnTo>
                  <a:lnTo>
                    <a:pt x="309" y="354"/>
                  </a:lnTo>
                  <a:lnTo>
                    <a:pt x="307" y="354"/>
                  </a:lnTo>
                  <a:lnTo>
                    <a:pt x="307" y="352"/>
                  </a:lnTo>
                  <a:lnTo>
                    <a:pt x="307" y="350"/>
                  </a:lnTo>
                  <a:lnTo>
                    <a:pt x="304" y="350"/>
                  </a:lnTo>
                  <a:lnTo>
                    <a:pt x="304" y="347"/>
                  </a:lnTo>
                  <a:lnTo>
                    <a:pt x="304" y="345"/>
                  </a:lnTo>
                  <a:lnTo>
                    <a:pt x="302" y="345"/>
                  </a:lnTo>
                  <a:lnTo>
                    <a:pt x="302" y="342"/>
                  </a:lnTo>
                  <a:lnTo>
                    <a:pt x="302" y="340"/>
                  </a:lnTo>
                  <a:lnTo>
                    <a:pt x="302" y="338"/>
                  </a:lnTo>
                  <a:lnTo>
                    <a:pt x="302" y="335"/>
                  </a:lnTo>
                  <a:lnTo>
                    <a:pt x="302" y="333"/>
                  </a:lnTo>
                  <a:lnTo>
                    <a:pt x="299" y="333"/>
                  </a:lnTo>
                  <a:lnTo>
                    <a:pt x="299" y="331"/>
                  </a:lnTo>
                  <a:lnTo>
                    <a:pt x="299" y="328"/>
                  </a:lnTo>
                  <a:lnTo>
                    <a:pt x="297" y="328"/>
                  </a:lnTo>
                  <a:lnTo>
                    <a:pt x="297" y="326"/>
                  </a:lnTo>
                  <a:lnTo>
                    <a:pt x="295" y="326"/>
                  </a:lnTo>
                  <a:lnTo>
                    <a:pt x="292" y="326"/>
                  </a:lnTo>
                  <a:lnTo>
                    <a:pt x="292" y="328"/>
                  </a:lnTo>
                  <a:lnTo>
                    <a:pt x="290" y="328"/>
                  </a:lnTo>
                  <a:lnTo>
                    <a:pt x="290" y="331"/>
                  </a:lnTo>
                  <a:lnTo>
                    <a:pt x="288" y="331"/>
                  </a:lnTo>
                  <a:lnTo>
                    <a:pt x="288" y="328"/>
                  </a:lnTo>
                  <a:lnTo>
                    <a:pt x="288" y="331"/>
                  </a:lnTo>
                  <a:lnTo>
                    <a:pt x="288" y="328"/>
                  </a:lnTo>
                  <a:lnTo>
                    <a:pt x="285" y="328"/>
                  </a:lnTo>
                  <a:lnTo>
                    <a:pt x="285" y="326"/>
                  </a:lnTo>
                  <a:lnTo>
                    <a:pt x="283" y="326"/>
                  </a:lnTo>
                  <a:lnTo>
                    <a:pt x="283" y="323"/>
                  </a:lnTo>
                  <a:lnTo>
                    <a:pt x="280" y="323"/>
                  </a:lnTo>
                  <a:lnTo>
                    <a:pt x="280" y="321"/>
                  </a:lnTo>
                  <a:lnTo>
                    <a:pt x="278" y="321"/>
                  </a:lnTo>
                  <a:lnTo>
                    <a:pt x="276" y="321"/>
                  </a:lnTo>
                  <a:lnTo>
                    <a:pt x="276" y="319"/>
                  </a:lnTo>
                  <a:lnTo>
                    <a:pt x="273" y="319"/>
                  </a:lnTo>
                  <a:lnTo>
                    <a:pt x="273" y="316"/>
                  </a:lnTo>
                  <a:lnTo>
                    <a:pt x="273" y="314"/>
                  </a:lnTo>
                  <a:lnTo>
                    <a:pt x="276" y="314"/>
                  </a:lnTo>
                  <a:lnTo>
                    <a:pt x="276" y="311"/>
                  </a:lnTo>
                  <a:lnTo>
                    <a:pt x="276" y="309"/>
                  </a:lnTo>
                  <a:lnTo>
                    <a:pt x="273" y="307"/>
                  </a:lnTo>
                  <a:lnTo>
                    <a:pt x="273" y="304"/>
                  </a:lnTo>
                  <a:lnTo>
                    <a:pt x="271" y="304"/>
                  </a:lnTo>
                  <a:lnTo>
                    <a:pt x="271" y="302"/>
                  </a:lnTo>
                  <a:lnTo>
                    <a:pt x="269" y="300"/>
                  </a:lnTo>
                  <a:lnTo>
                    <a:pt x="266" y="300"/>
                  </a:lnTo>
                  <a:lnTo>
                    <a:pt x="269" y="300"/>
                  </a:lnTo>
                  <a:lnTo>
                    <a:pt x="266" y="300"/>
                  </a:lnTo>
                  <a:lnTo>
                    <a:pt x="264" y="300"/>
                  </a:lnTo>
                  <a:lnTo>
                    <a:pt x="261" y="300"/>
                  </a:lnTo>
                  <a:lnTo>
                    <a:pt x="261" y="302"/>
                  </a:lnTo>
                  <a:lnTo>
                    <a:pt x="259" y="302"/>
                  </a:lnTo>
                  <a:lnTo>
                    <a:pt x="257" y="302"/>
                  </a:lnTo>
                  <a:lnTo>
                    <a:pt x="254" y="302"/>
                  </a:lnTo>
                  <a:lnTo>
                    <a:pt x="254" y="304"/>
                  </a:lnTo>
                  <a:lnTo>
                    <a:pt x="254" y="302"/>
                  </a:lnTo>
                  <a:lnTo>
                    <a:pt x="254" y="304"/>
                  </a:lnTo>
                  <a:lnTo>
                    <a:pt x="252" y="302"/>
                  </a:lnTo>
                  <a:lnTo>
                    <a:pt x="254" y="302"/>
                  </a:lnTo>
                  <a:lnTo>
                    <a:pt x="252" y="302"/>
                  </a:lnTo>
                  <a:lnTo>
                    <a:pt x="254" y="302"/>
                  </a:lnTo>
                  <a:lnTo>
                    <a:pt x="254" y="300"/>
                  </a:lnTo>
                  <a:lnTo>
                    <a:pt x="257" y="300"/>
                  </a:lnTo>
                  <a:lnTo>
                    <a:pt x="257" y="297"/>
                  </a:lnTo>
                  <a:lnTo>
                    <a:pt x="259" y="297"/>
                  </a:lnTo>
                  <a:lnTo>
                    <a:pt x="257" y="295"/>
                  </a:lnTo>
                  <a:lnTo>
                    <a:pt x="254" y="295"/>
                  </a:lnTo>
                  <a:lnTo>
                    <a:pt x="254" y="292"/>
                  </a:lnTo>
                  <a:lnTo>
                    <a:pt x="252" y="292"/>
                  </a:lnTo>
                  <a:lnTo>
                    <a:pt x="252" y="290"/>
                  </a:lnTo>
                  <a:lnTo>
                    <a:pt x="252" y="292"/>
                  </a:lnTo>
                  <a:lnTo>
                    <a:pt x="252" y="290"/>
                  </a:lnTo>
                  <a:lnTo>
                    <a:pt x="252" y="292"/>
                  </a:lnTo>
                  <a:lnTo>
                    <a:pt x="250" y="292"/>
                  </a:lnTo>
                  <a:lnTo>
                    <a:pt x="247" y="292"/>
                  </a:lnTo>
                  <a:lnTo>
                    <a:pt x="245" y="292"/>
                  </a:lnTo>
                  <a:lnTo>
                    <a:pt x="245" y="295"/>
                  </a:lnTo>
                  <a:lnTo>
                    <a:pt x="245" y="292"/>
                  </a:lnTo>
                  <a:lnTo>
                    <a:pt x="245" y="290"/>
                  </a:lnTo>
                  <a:lnTo>
                    <a:pt x="243" y="288"/>
                  </a:lnTo>
                  <a:lnTo>
                    <a:pt x="243" y="285"/>
                  </a:lnTo>
                  <a:lnTo>
                    <a:pt x="240" y="283"/>
                  </a:lnTo>
                  <a:lnTo>
                    <a:pt x="240" y="281"/>
                  </a:lnTo>
                  <a:lnTo>
                    <a:pt x="238" y="278"/>
                  </a:lnTo>
                  <a:lnTo>
                    <a:pt x="238" y="276"/>
                  </a:lnTo>
                  <a:lnTo>
                    <a:pt x="235" y="276"/>
                  </a:lnTo>
                  <a:lnTo>
                    <a:pt x="235" y="273"/>
                  </a:lnTo>
                  <a:lnTo>
                    <a:pt x="233" y="273"/>
                  </a:lnTo>
                  <a:lnTo>
                    <a:pt x="231" y="273"/>
                  </a:lnTo>
                  <a:lnTo>
                    <a:pt x="231" y="271"/>
                  </a:lnTo>
                  <a:lnTo>
                    <a:pt x="231" y="273"/>
                  </a:lnTo>
                  <a:lnTo>
                    <a:pt x="231" y="271"/>
                  </a:lnTo>
                  <a:lnTo>
                    <a:pt x="231" y="273"/>
                  </a:lnTo>
                  <a:lnTo>
                    <a:pt x="228" y="273"/>
                  </a:lnTo>
                  <a:lnTo>
                    <a:pt x="228" y="276"/>
                  </a:lnTo>
                  <a:lnTo>
                    <a:pt x="228" y="273"/>
                  </a:lnTo>
                  <a:lnTo>
                    <a:pt x="226" y="273"/>
                  </a:lnTo>
                  <a:lnTo>
                    <a:pt x="224" y="273"/>
                  </a:lnTo>
                  <a:lnTo>
                    <a:pt x="224" y="271"/>
                  </a:lnTo>
                  <a:lnTo>
                    <a:pt x="221" y="271"/>
                  </a:lnTo>
                  <a:lnTo>
                    <a:pt x="219" y="271"/>
                  </a:lnTo>
                  <a:lnTo>
                    <a:pt x="216" y="271"/>
                  </a:lnTo>
                  <a:lnTo>
                    <a:pt x="214" y="271"/>
                  </a:lnTo>
                  <a:lnTo>
                    <a:pt x="214" y="273"/>
                  </a:lnTo>
                  <a:lnTo>
                    <a:pt x="212" y="273"/>
                  </a:lnTo>
                  <a:lnTo>
                    <a:pt x="212" y="271"/>
                  </a:lnTo>
                  <a:lnTo>
                    <a:pt x="209" y="271"/>
                  </a:lnTo>
                  <a:lnTo>
                    <a:pt x="209" y="269"/>
                  </a:lnTo>
                  <a:lnTo>
                    <a:pt x="207" y="266"/>
                  </a:lnTo>
                  <a:lnTo>
                    <a:pt x="205" y="266"/>
                  </a:lnTo>
                  <a:lnTo>
                    <a:pt x="205" y="264"/>
                  </a:lnTo>
                  <a:lnTo>
                    <a:pt x="202" y="266"/>
                  </a:lnTo>
                  <a:lnTo>
                    <a:pt x="202" y="264"/>
                  </a:lnTo>
                  <a:lnTo>
                    <a:pt x="202" y="266"/>
                  </a:lnTo>
                  <a:lnTo>
                    <a:pt x="202" y="264"/>
                  </a:lnTo>
                  <a:lnTo>
                    <a:pt x="200" y="264"/>
                  </a:lnTo>
                  <a:lnTo>
                    <a:pt x="197" y="264"/>
                  </a:lnTo>
                  <a:lnTo>
                    <a:pt x="197" y="262"/>
                  </a:lnTo>
                  <a:lnTo>
                    <a:pt x="195" y="262"/>
                  </a:lnTo>
                  <a:lnTo>
                    <a:pt x="195" y="259"/>
                  </a:lnTo>
                  <a:lnTo>
                    <a:pt x="193" y="257"/>
                  </a:lnTo>
                  <a:lnTo>
                    <a:pt x="190" y="254"/>
                  </a:lnTo>
                  <a:lnTo>
                    <a:pt x="190" y="252"/>
                  </a:lnTo>
                  <a:lnTo>
                    <a:pt x="188" y="252"/>
                  </a:lnTo>
                  <a:lnTo>
                    <a:pt x="186" y="252"/>
                  </a:lnTo>
                  <a:lnTo>
                    <a:pt x="186" y="250"/>
                  </a:lnTo>
                  <a:lnTo>
                    <a:pt x="183" y="250"/>
                  </a:lnTo>
                  <a:lnTo>
                    <a:pt x="186" y="250"/>
                  </a:lnTo>
                  <a:lnTo>
                    <a:pt x="183" y="250"/>
                  </a:lnTo>
                  <a:lnTo>
                    <a:pt x="183" y="247"/>
                  </a:lnTo>
                  <a:lnTo>
                    <a:pt x="183" y="245"/>
                  </a:lnTo>
                  <a:lnTo>
                    <a:pt x="181" y="243"/>
                  </a:lnTo>
                  <a:lnTo>
                    <a:pt x="181" y="240"/>
                  </a:lnTo>
                  <a:lnTo>
                    <a:pt x="178" y="240"/>
                  </a:lnTo>
                  <a:lnTo>
                    <a:pt x="176" y="238"/>
                  </a:lnTo>
                  <a:lnTo>
                    <a:pt x="174" y="238"/>
                  </a:lnTo>
                  <a:lnTo>
                    <a:pt x="174" y="235"/>
                  </a:lnTo>
                  <a:lnTo>
                    <a:pt x="171" y="238"/>
                  </a:lnTo>
                  <a:lnTo>
                    <a:pt x="171" y="235"/>
                  </a:lnTo>
                  <a:lnTo>
                    <a:pt x="169" y="235"/>
                  </a:lnTo>
                  <a:lnTo>
                    <a:pt x="169" y="233"/>
                  </a:lnTo>
                  <a:lnTo>
                    <a:pt x="169" y="231"/>
                  </a:lnTo>
                  <a:lnTo>
                    <a:pt x="167" y="231"/>
                  </a:lnTo>
                  <a:lnTo>
                    <a:pt x="167" y="228"/>
                  </a:lnTo>
                  <a:lnTo>
                    <a:pt x="167" y="226"/>
                  </a:lnTo>
                  <a:lnTo>
                    <a:pt x="164" y="226"/>
                  </a:lnTo>
                  <a:lnTo>
                    <a:pt x="164" y="224"/>
                  </a:lnTo>
                  <a:lnTo>
                    <a:pt x="162" y="224"/>
                  </a:lnTo>
                  <a:lnTo>
                    <a:pt x="159" y="221"/>
                  </a:lnTo>
                  <a:lnTo>
                    <a:pt x="157" y="221"/>
                  </a:lnTo>
                  <a:lnTo>
                    <a:pt x="155" y="219"/>
                  </a:lnTo>
                  <a:lnTo>
                    <a:pt x="152" y="219"/>
                  </a:lnTo>
                  <a:lnTo>
                    <a:pt x="150" y="219"/>
                  </a:lnTo>
                  <a:lnTo>
                    <a:pt x="150" y="221"/>
                  </a:lnTo>
                  <a:lnTo>
                    <a:pt x="148" y="221"/>
                  </a:lnTo>
                  <a:lnTo>
                    <a:pt x="148" y="219"/>
                  </a:lnTo>
                  <a:lnTo>
                    <a:pt x="150" y="219"/>
                  </a:lnTo>
                  <a:lnTo>
                    <a:pt x="150" y="216"/>
                  </a:lnTo>
                  <a:lnTo>
                    <a:pt x="150" y="214"/>
                  </a:lnTo>
                  <a:lnTo>
                    <a:pt x="150" y="212"/>
                  </a:lnTo>
                  <a:lnTo>
                    <a:pt x="148" y="212"/>
                  </a:lnTo>
                  <a:lnTo>
                    <a:pt x="148" y="214"/>
                  </a:lnTo>
                  <a:lnTo>
                    <a:pt x="148" y="212"/>
                  </a:lnTo>
                  <a:lnTo>
                    <a:pt x="148" y="209"/>
                  </a:lnTo>
                  <a:lnTo>
                    <a:pt x="145" y="209"/>
                  </a:lnTo>
                  <a:lnTo>
                    <a:pt x="148" y="209"/>
                  </a:lnTo>
                  <a:lnTo>
                    <a:pt x="145" y="209"/>
                  </a:lnTo>
                  <a:lnTo>
                    <a:pt x="145" y="207"/>
                  </a:lnTo>
                  <a:lnTo>
                    <a:pt x="143" y="207"/>
                  </a:lnTo>
                  <a:lnTo>
                    <a:pt x="143" y="205"/>
                  </a:lnTo>
                  <a:lnTo>
                    <a:pt x="140" y="205"/>
                  </a:lnTo>
                  <a:lnTo>
                    <a:pt x="140" y="202"/>
                  </a:lnTo>
                  <a:lnTo>
                    <a:pt x="138" y="202"/>
                  </a:lnTo>
                  <a:lnTo>
                    <a:pt x="136" y="202"/>
                  </a:lnTo>
                  <a:lnTo>
                    <a:pt x="136" y="200"/>
                  </a:lnTo>
                  <a:lnTo>
                    <a:pt x="136" y="197"/>
                  </a:lnTo>
                  <a:lnTo>
                    <a:pt x="136" y="195"/>
                  </a:lnTo>
                  <a:lnTo>
                    <a:pt x="133" y="195"/>
                  </a:lnTo>
                  <a:lnTo>
                    <a:pt x="131" y="195"/>
                  </a:lnTo>
                  <a:lnTo>
                    <a:pt x="129" y="195"/>
                  </a:lnTo>
                  <a:lnTo>
                    <a:pt x="126" y="195"/>
                  </a:lnTo>
                  <a:lnTo>
                    <a:pt x="126" y="193"/>
                  </a:lnTo>
                  <a:lnTo>
                    <a:pt x="129" y="193"/>
                  </a:lnTo>
                  <a:lnTo>
                    <a:pt x="129" y="190"/>
                  </a:lnTo>
                  <a:lnTo>
                    <a:pt x="129" y="188"/>
                  </a:lnTo>
                  <a:lnTo>
                    <a:pt x="129" y="186"/>
                  </a:lnTo>
                  <a:lnTo>
                    <a:pt x="129" y="183"/>
                  </a:lnTo>
                  <a:lnTo>
                    <a:pt x="129" y="181"/>
                  </a:lnTo>
                  <a:lnTo>
                    <a:pt x="126" y="178"/>
                  </a:lnTo>
                  <a:lnTo>
                    <a:pt x="126" y="176"/>
                  </a:lnTo>
                  <a:lnTo>
                    <a:pt x="124" y="176"/>
                  </a:lnTo>
                  <a:lnTo>
                    <a:pt x="124" y="174"/>
                  </a:lnTo>
                  <a:lnTo>
                    <a:pt x="124" y="171"/>
                  </a:lnTo>
                  <a:lnTo>
                    <a:pt x="121" y="171"/>
                  </a:lnTo>
                  <a:lnTo>
                    <a:pt x="121" y="169"/>
                  </a:lnTo>
                  <a:lnTo>
                    <a:pt x="121" y="167"/>
                  </a:lnTo>
                  <a:lnTo>
                    <a:pt x="121" y="169"/>
                  </a:lnTo>
                  <a:lnTo>
                    <a:pt x="121" y="167"/>
                  </a:lnTo>
                  <a:lnTo>
                    <a:pt x="121" y="169"/>
                  </a:lnTo>
                  <a:lnTo>
                    <a:pt x="119" y="169"/>
                  </a:lnTo>
                  <a:lnTo>
                    <a:pt x="119" y="167"/>
                  </a:lnTo>
                  <a:lnTo>
                    <a:pt x="121" y="167"/>
                  </a:lnTo>
                  <a:lnTo>
                    <a:pt x="121" y="164"/>
                  </a:lnTo>
                  <a:lnTo>
                    <a:pt x="121" y="167"/>
                  </a:lnTo>
                  <a:lnTo>
                    <a:pt x="121" y="164"/>
                  </a:lnTo>
                  <a:lnTo>
                    <a:pt x="119" y="164"/>
                  </a:lnTo>
                  <a:lnTo>
                    <a:pt x="119" y="162"/>
                  </a:lnTo>
                  <a:lnTo>
                    <a:pt x="119" y="159"/>
                  </a:lnTo>
                  <a:lnTo>
                    <a:pt x="119" y="157"/>
                  </a:lnTo>
                  <a:lnTo>
                    <a:pt x="119" y="155"/>
                  </a:lnTo>
                  <a:lnTo>
                    <a:pt x="119" y="152"/>
                  </a:lnTo>
                  <a:lnTo>
                    <a:pt x="117" y="150"/>
                  </a:lnTo>
                  <a:lnTo>
                    <a:pt x="117" y="148"/>
                  </a:lnTo>
                  <a:lnTo>
                    <a:pt x="114" y="148"/>
                  </a:lnTo>
                  <a:lnTo>
                    <a:pt x="114" y="145"/>
                  </a:lnTo>
                  <a:lnTo>
                    <a:pt x="112" y="145"/>
                  </a:lnTo>
                  <a:lnTo>
                    <a:pt x="112" y="143"/>
                  </a:lnTo>
                  <a:lnTo>
                    <a:pt x="110" y="143"/>
                  </a:lnTo>
                  <a:lnTo>
                    <a:pt x="110" y="145"/>
                  </a:lnTo>
                  <a:lnTo>
                    <a:pt x="110" y="143"/>
                  </a:lnTo>
                  <a:lnTo>
                    <a:pt x="107" y="143"/>
                  </a:lnTo>
                  <a:lnTo>
                    <a:pt x="105" y="143"/>
                  </a:lnTo>
                  <a:lnTo>
                    <a:pt x="105" y="140"/>
                  </a:lnTo>
                  <a:lnTo>
                    <a:pt x="105" y="143"/>
                  </a:lnTo>
                  <a:lnTo>
                    <a:pt x="105" y="140"/>
                  </a:lnTo>
                  <a:lnTo>
                    <a:pt x="105" y="143"/>
                  </a:lnTo>
                  <a:lnTo>
                    <a:pt x="105" y="145"/>
                  </a:lnTo>
                  <a:lnTo>
                    <a:pt x="105" y="143"/>
                  </a:lnTo>
                  <a:lnTo>
                    <a:pt x="103" y="143"/>
                  </a:lnTo>
                  <a:lnTo>
                    <a:pt x="103" y="140"/>
                  </a:lnTo>
                  <a:lnTo>
                    <a:pt x="100" y="140"/>
                  </a:lnTo>
                  <a:lnTo>
                    <a:pt x="98" y="140"/>
                  </a:lnTo>
                  <a:lnTo>
                    <a:pt x="98" y="138"/>
                  </a:lnTo>
                  <a:lnTo>
                    <a:pt x="95" y="138"/>
                  </a:lnTo>
                  <a:lnTo>
                    <a:pt x="95" y="136"/>
                  </a:lnTo>
                  <a:lnTo>
                    <a:pt x="93" y="136"/>
                  </a:lnTo>
                  <a:lnTo>
                    <a:pt x="93" y="133"/>
                  </a:lnTo>
                  <a:lnTo>
                    <a:pt x="91" y="133"/>
                  </a:lnTo>
                  <a:lnTo>
                    <a:pt x="91" y="136"/>
                  </a:lnTo>
                  <a:lnTo>
                    <a:pt x="91" y="133"/>
                  </a:lnTo>
                  <a:lnTo>
                    <a:pt x="88" y="131"/>
                  </a:lnTo>
                  <a:lnTo>
                    <a:pt x="86" y="131"/>
                  </a:lnTo>
                  <a:lnTo>
                    <a:pt x="84" y="131"/>
                  </a:lnTo>
                  <a:lnTo>
                    <a:pt x="86" y="131"/>
                  </a:lnTo>
                  <a:lnTo>
                    <a:pt x="84" y="131"/>
                  </a:lnTo>
                  <a:lnTo>
                    <a:pt x="84" y="133"/>
                  </a:lnTo>
                  <a:lnTo>
                    <a:pt x="86" y="133"/>
                  </a:lnTo>
                  <a:lnTo>
                    <a:pt x="84" y="133"/>
                  </a:lnTo>
                  <a:lnTo>
                    <a:pt x="84" y="131"/>
                  </a:lnTo>
                  <a:lnTo>
                    <a:pt x="84" y="129"/>
                  </a:lnTo>
                  <a:lnTo>
                    <a:pt x="81" y="129"/>
                  </a:lnTo>
                  <a:lnTo>
                    <a:pt x="79" y="129"/>
                  </a:lnTo>
                  <a:lnTo>
                    <a:pt x="76" y="129"/>
                  </a:lnTo>
                  <a:lnTo>
                    <a:pt x="74" y="129"/>
                  </a:lnTo>
                  <a:lnTo>
                    <a:pt x="76" y="129"/>
                  </a:lnTo>
                  <a:lnTo>
                    <a:pt x="74" y="129"/>
                  </a:lnTo>
                  <a:lnTo>
                    <a:pt x="76" y="129"/>
                  </a:lnTo>
                  <a:lnTo>
                    <a:pt x="74" y="129"/>
                  </a:lnTo>
                  <a:lnTo>
                    <a:pt x="74" y="126"/>
                  </a:lnTo>
                  <a:lnTo>
                    <a:pt x="74" y="129"/>
                  </a:lnTo>
                  <a:lnTo>
                    <a:pt x="74" y="126"/>
                  </a:lnTo>
                  <a:lnTo>
                    <a:pt x="74" y="129"/>
                  </a:lnTo>
                  <a:lnTo>
                    <a:pt x="74" y="126"/>
                  </a:lnTo>
                  <a:lnTo>
                    <a:pt x="74" y="129"/>
                  </a:lnTo>
                  <a:lnTo>
                    <a:pt x="74" y="126"/>
                  </a:lnTo>
                  <a:lnTo>
                    <a:pt x="74" y="129"/>
                  </a:lnTo>
                  <a:lnTo>
                    <a:pt x="74" y="126"/>
                  </a:lnTo>
                  <a:lnTo>
                    <a:pt x="72" y="126"/>
                  </a:lnTo>
                  <a:lnTo>
                    <a:pt x="69" y="126"/>
                  </a:lnTo>
                  <a:lnTo>
                    <a:pt x="72" y="126"/>
                  </a:lnTo>
                  <a:lnTo>
                    <a:pt x="69" y="126"/>
                  </a:lnTo>
                  <a:lnTo>
                    <a:pt x="67" y="126"/>
                  </a:lnTo>
                  <a:lnTo>
                    <a:pt x="67" y="129"/>
                  </a:lnTo>
                  <a:lnTo>
                    <a:pt x="65" y="129"/>
                  </a:lnTo>
                  <a:lnTo>
                    <a:pt x="65" y="131"/>
                  </a:lnTo>
                  <a:lnTo>
                    <a:pt x="62" y="131"/>
                  </a:lnTo>
                  <a:lnTo>
                    <a:pt x="65" y="131"/>
                  </a:lnTo>
                  <a:lnTo>
                    <a:pt x="62" y="131"/>
                  </a:lnTo>
                  <a:lnTo>
                    <a:pt x="60" y="131"/>
                  </a:lnTo>
                  <a:lnTo>
                    <a:pt x="62" y="131"/>
                  </a:lnTo>
                  <a:lnTo>
                    <a:pt x="60" y="133"/>
                  </a:lnTo>
                  <a:lnTo>
                    <a:pt x="60" y="136"/>
                  </a:lnTo>
                  <a:lnTo>
                    <a:pt x="57" y="136"/>
                  </a:lnTo>
                  <a:lnTo>
                    <a:pt x="57" y="138"/>
                  </a:lnTo>
                  <a:lnTo>
                    <a:pt x="60" y="138"/>
                  </a:lnTo>
                  <a:lnTo>
                    <a:pt x="57" y="138"/>
                  </a:lnTo>
                  <a:lnTo>
                    <a:pt x="55" y="138"/>
                  </a:lnTo>
                  <a:lnTo>
                    <a:pt x="53" y="140"/>
                  </a:lnTo>
                  <a:lnTo>
                    <a:pt x="53" y="143"/>
                  </a:lnTo>
                  <a:lnTo>
                    <a:pt x="53" y="145"/>
                  </a:lnTo>
                  <a:lnTo>
                    <a:pt x="50" y="145"/>
                  </a:lnTo>
                  <a:lnTo>
                    <a:pt x="50" y="148"/>
                  </a:lnTo>
                  <a:lnTo>
                    <a:pt x="50" y="150"/>
                  </a:lnTo>
                  <a:lnTo>
                    <a:pt x="48" y="150"/>
                  </a:lnTo>
                  <a:lnTo>
                    <a:pt x="48" y="152"/>
                  </a:lnTo>
                  <a:lnTo>
                    <a:pt x="46" y="152"/>
                  </a:lnTo>
                  <a:lnTo>
                    <a:pt x="43" y="152"/>
                  </a:lnTo>
                  <a:lnTo>
                    <a:pt x="41" y="155"/>
                  </a:lnTo>
                  <a:lnTo>
                    <a:pt x="38" y="155"/>
                  </a:lnTo>
                  <a:lnTo>
                    <a:pt x="36" y="155"/>
                  </a:lnTo>
                  <a:lnTo>
                    <a:pt x="34" y="155"/>
                  </a:lnTo>
                  <a:lnTo>
                    <a:pt x="34" y="157"/>
                  </a:lnTo>
                  <a:lnTo>
                    <a:pt x="31" y="157"/>
                  </a:lnTo>
                  <a:lnTo>
                    <a:pt x="31" y="155"/>
                  </a:lnTo>
                  <a:lnTo>
                    <a:pt x="31" y="157"/>
                  </a:lnTo>
                  <a:lnTo>
                    <a:pt x="29" y="157"/>
                  </a:lnTo>
                  <a:lnTo>
                    <a:pt x="29" y="155"/>
                  </a:lnTo>
                  <a:lnTo>
                    <a:pt x="29" y="152"/>
                  </a:lnTo>
                  <a:lnTo>
                    <a:pt x="31" y="150"/>
                  </a:lnTo>
                  <a:lnTo>
                    <a:pt x="29" y="150"/>
                  </a:lnTo>
                  <a:lnTo>
                    <a:pt x="31" y="150"/>
                  </a:lnTo>
                  <a:lnTo>
                    <a:pt x="31" y="148"/>
                  </a:lnTo>
                  <a:lnTo>
                    <a:pt x="34" y="148"/>
                  </a:lnTo>
                  <a:lnTo>
                    <a:pt x="34" y="145"/>
                  </a:lnTo>
                  <a:lnTo>
                    <a:pt x="36" y="143"/>
                  </a:lnTo>
                  <a:lnTo>
                    <a:pt x="34" y="143"/>
                  </a:lnTo>
                  <a:lnTo>
                    <a:pt x="34" y="140"/>
                  </a:lnTo>
                  <a:lnTo>
                    <a:pt x="34" y="138"/>
                  </a:lnTo>
                  <a:lnTo>
                    <a:pt x="31" y="138"/>
                  </a:lnTo>
                  <a:lnTo>
                    <a:pt x="31" y="140"/>
                  </a:lnTo>
                  <a:lnTo>
                    <a:pt x="31" y="138"/>
                  </a:lnTo>
                  <a:lnTo>
                    <a:pt x="29" y="140"/>
                  </a:lnTo>
                  <a:lnTo>
                    <a:pt x="27" y="140"/>
                  </a:lnTo>
                  <a:lnTo>
                    <a:pt x="24" y="140"/>
                  </a:lnTo>
                  <a:lnTo>
                    <a:pt x="22" y="140"/>
                  </a:lnTo>
                  <a:lnTo>
                    <a:pt x="19" y="140"/>
                  </a:lnTo>
                  <a:lnTo>
                    <a:pt x="19" y="138"/>
                  </a:lnTo>
                  <a:lnTo>
                    <a:pt x="17" y="138"/>
                  </a:lnTo>
                  <a:lnTo>
                    <a:pt x="17" y="136"/>
                  </a:lnTo>
                  <a:lnTo>
                    <a:pt x="17" y="138"/>
                  </a:lnTo>
                  <a:lnTo>
                    <a:pt x="15" y="136"/>
                  </a:lnTo>
                  <a:lnTo>
                    <a:pt x="12" y="136"/>
                  </a:lnTo>
                  <a:lnTo>
                    <a:pt x="12" y="133"/>
                  </a:lnTo>
                  <a:lnTo>
                    <a:pt x="10" y="133"/>
                  </a:lnTo>
                  <a:lnTo>
                    <a:pt x="10" y="131"/>
                  </a:lnTo>
                  <a:lnTo>
                    <a:pt x="8" y="129"/>
                  </a:lnTo>
                  <a:lnTo>
                    <a:pt x="8" y="126"/>
                  </a:lnTo>
                  <a:lnTo>
                    <a:pt x="10" y="126"/>
                  </a:lnTo>
                  <a:lnTo>
                    <a:pt x="8" y="124"/>
                  </a:lnTo>
                  <a:lnTo>
                    <a:pt x="8" y="121"/>
                  </a:lnTo>
                  <a:lnTo>
                    <a:pt x="10" y="119"/>
                  </a:lnTo>
                  <a:lnTo>
                    <a:pt x="8" y="119"/>
                  </a:lnTo>
                  <a:lnTo>
                    <a:pt x="10" y="119"/>
                  </a:lnTo>
                  <a:lnTo>
                    <a:pt x="10" y="117"/>
                  </a:lnTo>
                  <a:lnTo>
                    <a:pt x="10" y="114"/>
                  </a:lnTo>
                  <a:lnTo>
                    <a:pt x="12" y="114"/>
                  </a:lnTo>
                  <a:lnTo>
                    <a:pt x="15" y="114"/>
                  </a:lnTo>
                  <a:lnTo>
                    <a:pt x="15" y="112"/>
                  </a:lnTo>
                  <a:lnTo>
                    <a:pt x="12" y="112"/>
                  </a:lnTo>
                  <a:lnTo>
                    <a:pt x="12" y="110"/>
                  </a:lnTo>
                  <a:lnTo>
                    <a:pt x="12" y="107"/>
                  </a:lnTo>
                  <a:lnTo>
                    <a:pt x="10" y="107"/>
                  </a:lnTo>
                  <a:lnTo>
                    <a:pt x="8" y="107"/>
                  </a:lnTo>
                  <a:lnTo>
                    <a:pt x="5" y="107"/>
                  </a:lnTo>
                  <a:lnTo>
                    <a:pt x="5" y="105"/>
                  </a:lnTo>
                  <a:lnTo>
                    <a:pt x="3" y="105"/>
                  </a:lnTo>
                  <a:lnTo>
                    <a:pt x="3" y="102"/>
                  </a:lnTo>
                  <a:lnTo>
                    <a:pt x="3" y="100"/>
                  </a:lnTo>
                  <a:lnTo>
                    <a:pt x="3" y="98"/>
                  </a:lnTo>
                  <a:lnTo>
                    <a:pt x="0" y="98"/>
                  </a:lnTo>
                  <a:lnTo>
                    <a:pt x="0" y="95"/>
                  </a:lnTo>
                  <a:lnTo>
                    <a:pt x="0" y="93"/>
                  </a:lnTo>
                  <a:lnTo>
                    <a:pt x="3" y="93"/>
                  </a:lnTo>
                  <a:lnTo>
                    <a:pt x="5" y="93"/>
                  </a:lnTo>
                  <a:lnTo>
                    <a:pt x="8" y="93"/>
                  </a:lnTo>
                  <a:lnTo>
                    <a:pt x="10" y="91"/>
                  </a:lnTo>
                  <a:lnTo>
                    <a:pt x="12" y="91"/>
                  </a:lnTo>
                  <a:lnTo>
                    <a:pt x="12" y="88"/>
                  </a:lnTo>
                  <a:lnTo>
                    <a:pt x="15" y="91"/>
                  </a:lnTo>
                  <a:lnTo>
                    <a:pt x="15" y="88"/>
                  </a:lnTo>
                  <a:lnTo>
                    <a:pt x="17" y="88"/>
                  </a:lnTo>
                  <a:lnTo>
                    <a:pt x="17" y="86"/>
                  </a:lnTo>
                  <a:lnTo>
                    <a:pt x="15" y="86"/>
                  </a:lnTo>
                  <a:lnTo>
                    <a:pt x="15" y="83"/>
                  </a:lnTo>
                  <a:lnTo>
                    <a:pt x="17" y="83"/>
                  </a:lnTo>
                  <a:lnTo>
                    <a:pt x="17" y="81"/>
                  </a:lnTo>
                  <a:lnTo>
                    <a:pt x="17" y="79"/>
                  </a:lnTo>
                  <a:lnTo>
                    <a:pt x="15" y="79"/>
                  </a:lnTo>
                  <a:lnTo>
                    <a:pt x="12" y="79"/>
                  </a:lnTo>
                  <a:lnTo>
                    <a:pt x="12" y="76"/>
                  </a:lnTo>
                  <a:lnTo>
                    <a:pt x="15" y="76"/>
                  </a:lnTo>
                  <a:lnTo>
                    <a:pt x="12" y="76"/>
                  </a:lnTo>
                  <a:lnTo>
                    <a:pt x="12" y="74"/>
                  </a:lnTo>
                  <a:lnTo>
                    <a:pt x="10" y="72"/>
                  </a:lnTo>
                  <a:lnTo>
                    <a:pt x="12" y="72"/>
                  </a:lnTo>
                  <a:lnTo>
                    <a:pt x="12" y="69"/>
                  </a:lnTo>
                  <a:lnTo>
                    <a:pt x="10" y="69"/>
                  </a:lnTo>
                  <a:lnTo>
                    <a:pt x="8" y="69"/>
                  </a:lnTo>
                  <a:lnTo>
                    <a:pt x="8" y="67"/>
                  </a:lnTo>
                  <a:lnTo>
                    <a:pt x="5" y="67"/>
                  </a:lnTo>
                  <a:lnTo>
                    <a:pt x="5" y="64"/>
                  </a:lnTo>
                  <a:lnTo>
                    <a:pt x="5" y="62"/>
                  </a:lnTo>
                  <a:lnTo>
                    <a:pt x="5" y="60"/>
                  </a:lnTo>
                  <a:lnTo>
                    <a:pt x="8" y="60"/>
                  </a:lnTo>
                  <a:lnTo>
                    <a:pt x="10" y="60"/>
                  </a:lnTo>
                  <a:lnTo>
                    <a:pt x="12" y="60"/>
                  </a:lnTo>
                  <a:lnTo>
                    <a:pt x="12" y="57"/>
                  </a:lnTo>
                  <a:lnTo>
                    <a:pt x="15" y="57"/>
                  </a:lnTo>
                  <a:lnTo>
                    <a:pt x="15" y="60"/>
                  </a:lnTo>
                  <a:lnTo>
                    <a:pt x="17" y="60"/>
                  </a:lnTo>
                  <a:lnTo>
                    <a:pt x="19" y="60"/>
                  </a:lnTo>
                  <a:lnTo>
                    <a:pt x="17" y="60"/>
                  </a:lnTo>
                  <a:lnTo>
                    <a:pt x="19" y="60"/>
                  </a:lnTo>
                  <a:lnTo>
                    <a:pt x="19" y="57"/>
                  </a:lnTo>
                  <a:lnTo>
                    <a:pt x="22" y="57"/>
                  </a:lnTo>
                  <a:lnTo>
                    <a:pt x="24" y="57"/>
                  </a:lnTo>
                  <a:lnTo>
                    <a:pt x="27" y="57"/>
                  </a:lnTo>
                  <a:lnTo>
                    <a:pt x="27" y="55"/>
                  </a:lnTo>
                  <a:lnTo>
                    <a:pt x="29" y="55"/>
                  </a:lnTo>
                  <a:lnTo>
                    <a:pt x="29" y="53"/>
                  </a:lnTo>
                  <a:lnTo>
                    <a:pt x="31" y="53"/>
                  </a:lnTo>
                  <a:lnTo>
                    <a:pt x="31" y="55"/>
                  </a:lnTo>
                  <a:lnTo>
                    <a:pt x="34" y="55"/>
                  </a:lnTo>
                  <a:lnTo>
                    <a:pt x="36" y="55"/>
                  </a:lnTo>
                  <a:lnTo>
                    <a:pt x="36" y="57"/>
                  </a:lnTo>
                  <a:lnTo>
                    <a:pt x="36" y="55"/>
                  </a:lnTo>
                  <a:lnTo>
                    <a:pt x="38" y="57"/>
                  </a:lnTo>
                  <a:lnTo>
                    <a:pt x="41" y="57"/>
                  </a:lnTo>
                  <a:lnTo>
                    <a:pt x="41" y="55"/>
                  </a:lnTo>
                  <a:lnTo>
                    <a:pt x="41" y="53"/>
                  </a:lnTo>
                  <a:lnTo>
                    <a:pt x="43" y="53"/>
                  </a:lnTo>
                  <a:lnTo>
                    <a:pt x="46" y="53"/>
                  </a:lnTo>
                  <a:lnTo>
                    <a:pt x="46" y="50"/>
                  </a:lnTo>
                  <a:lnTo>
                    <a:pt x="46" y="48"/>
                  </a:lnTo>
                  <a:lnTo>
                    <a:pt x="48" y="48"/>
                  </a:lnTo>
                  <a:lnTo>
                    <a:pt x="48" y="45"/>
                  </a:lnTo>
                  <a:lnTo>
                    <a:pt x="50" y="45"/>
                  </a:lnTo>
                  <a:lnTo>
                    <a:pt x="50" y="43"/>
                  </a:lnTo>
                  <a:lnTo>
                    <a:pt x="48" y="43"/>
                  </a:lnTo>
                  <a:lnTo>
                    <a:pt x="48" y="41"/>
                  </a:lnTo>
                  <a:lnTo>
                    <a:pt x="48" y="38"/>
                  </a:lnTo>
                  <a:lnTo>
                    <a:pt x="50" y="38"/>
                  </a:lnTo>
                  <a:lnTo>
                    <a:pt x="53" y="38"/>
                  </a:lnTo>
                  <a:lnTo>
                    <a:pt x="53" y="36"/>
                  </a:lnTo>
                  <a:lnTo>
                    <a:pt x="55" y="36"/>
                  </a:lnTo>
                  <a:lnTo>
                    <a:pt x="55" y="34"/>
                  </a:lnTo>
                  <a:lnTo>
                    <a:pt x="57" y="31"/>
                  </a:lnTo>
                  <a:lnTo>
                    <a:pt x="60" y="31"/>
                  </a:lnTo>
                  <a:lnTo>
                    <a:pt x="60" y="34"/>
                  </a:lnTo>
                  <a:lnTo>
                    <a:pt x="60" y="36"/>
                  </a:lnTo>
                  <a:lnTo>
                    <a:pt x="60" y="38"/>
                  </a:lnTo>
                  <a:lnTo>
                    <a:pt x="60" y="41"/>
                  </a:lnTo>
                  <a:lnTo>
                    <a:pt x="60" y="43"/>
                  </a:lnTo>
                  <a:lnTo>
                    <a:pt x="62" y="43"/>
                  </a:lnTo>
                  <a:lnTo>
                    <a:pt x="65" y="45"/>
                  </a:lnTo>
                  <a:lnTo>
                    <a:pt x="65" y="48"/>
                  </a:lnTo>
                  <a:lnTo>
                    <a:pt x="67" y="48"/>
                  </a:lnTo>
                  <a:lnTo>
                    <a:pt x="69" y="48"/>
                  </a:lnTo>
                  <a:lnTo>
                    <a:pt x="72" y="48"/>
                  </a:lnTo>
                  <a:lnTo>
                    <a:pt x="72" y="50"/>
                  </a:lnTo>
                  <a:lnTo>
                    <a:pt x="74" y="50"/>
                  </a:lnTo>
                  <a:lnTo>
                    <a:pt x="72" y="50"/>
                  </a:lnTo>
                  <a:lnTo>
                    <a:pt x="72" y="53"/>
                  </a:lnTo>
                  <a:lnTo>
                    <a:pt x="72" y="55"/>
                  </a:lnTo>
                  <a:lnTo>
                    <a:pt x="74" y="55"/>
                  </a:lnTo>
                  <a:lnTo>
                    <a:pt x="74" y="57"/>
                  </a:lnTo>
                  <a:lnTo>
                    <a:pt x="76" y="57"/>
                  </a:lnTo>
                  <a:lnTo>
                    <a:pt x="76" y="60"/>
                  </a:lnTo>
                  <a:lnTo>
                    <a:pt x="74" y="60"/>
                  </a:lnTo>
                  <a:lnTo>
                    <a:pt x="76" y="60"/>
                  </a:lnTo>
                  <a:lnTo>
                    <a:pt x="76" y="62"/>
                  </a:lnTo>
                  <a:lnTo>
                    <a:pt x="79" y="62"/>
                  </a:lnTo>
                  <a:lnTo>
                    <a:pt x="79" y="60"/>
                  </a:lnTo>
                  <a:lnTo>
                    <a:pt x="81" y="57"/>
                  </a:lnTo>
                  <a:lnTo>
                    <a:pt x="79" y="57"/>
                  </a:lnTo>
                  <a:lnTo>
                    <a:pt x="79" y="55"/>
                  </a:lnTo>
                  <a:lnTo>
                    <a:pt x="76" y="55"/>
                  </a:lnTo>
                  <a:lnTo>
                    <a:pt x="79" y="53"/>
                  </a:lnTo>
                  <a:lnTo>
                    <a:pt x="79" y="50"/>
                  </a:lnTo>
                  <a:lnTo>
                    <a:pt x="81" y="50"/>
                  </a:lnTo>
                  <a:lnTo>
                    <a:pt x="81" y="48"/>
                  </a:lnTo>
                  <a:lnTo>
                    <a:pt x="81" y="45"/>
                  </a:lnTo>
                  <a:lnTo>
                    <a:pt x="84" y="45"/>
                  </a:lnTo>
                  <a:lnTo>
                    <a:pt x="84" y="43"/>
                  </a:lnTo>
                  <a:lnTo>
                    <a:pt x="86" y="43"/>
                  </a:lnTo>
                  <a:lnTo>
                    <a:pt x="86" y="41"/>
                  </a:lnTo>
                  <a:lnTo>
                    <a:pt x="86" y="38"/>
                  </a:lnTo>
                  <a:lnTo>
                    <a:pt x="88" y="38"/>
                  </a:lnTo>
                  <a:lnTo>
                    <a:pt x="88" y="36"/>
                  </a:lnTo>
                  <a:lnTo>
                    <a:pt x="86" y="36"/>
                  </a:lnTo>
                  <a:lnTo>
                    <a:pt x="86" y="34"/>
                  </a:lnTo>
                  <a:lnTo>
                    <a:pt x="86" y="31"/>
                  </a:lnTo>
                  <a:lnTo>
                    <a:pt x="86" y="29"/>
                  </a:lnTo>
                  <a:lnTo>
                    <a:pt x="88" y="29"/>
                  </a:lnTo>
                  <a:lnTo>
                    <a:pt x="91" y="29"/>
                  </a:lnTo>
                  <a:lnTo>
                    <a:pt x="91" y="31"/>
                  </a:lnTo>
                  <a:lnTo>
                    <a:pt x="91" y="29"/>
                  </a:lnTo>
                  <a:lnTo>
                    <a:pt x="93" y="29"/>
                  </a:lnTo>
                  <a:lnTo>
                    <a:pt x="93" y="31"/>
                  </a:lnTo>
                  <a:lnTo>
                    <a:pt x="93" y="34"/>
                  </a:lnTo>
                  <a:lnTo>
                    <a:pt x="93" y="36"/>
                  </a:lnTo>
                  <a:lnTo>
                    <a:pt x="95" y="36"/>
                  </a:lnTo>
                  <a:lnTo>
                    <a:pt x="95" y="38"/>
                  </a:lnTo>
                  <a:lnTo>
                    <a:pt x="98" y="38"/>
                  </a:lnTo>
                  <a:lnTo>
                    <a:pt x="100" y="38"/>
                  </a:lnTo>
                  <a:lnTo>
                    <a:pt x="103" y="38"/>
                  </a:lnTo>
                  <a:lnTo>
                    <a:pt x="100" y="38"/>
                  </a:lnTo>
                  <a:lnTo>
                    <a:pt x="103" y="38"/>
                  </a:lnTo>
                  <a:lnTo>
                    <a:pt x="103" y="36"/>
                  </a:lnTo>
                  <a:lnTo>
                    <a:pt x="105" y="36"/>
                  </a:lnTo>
                  <a:lnTo>
                    <a:pt x="107" y="36"/>
                  </a:lnTo>
                  <a:lnTo>
                    <a:pt x="110" y="36"/>
                  </a:lnTo>
                  <a:lnTo>
                    <a:pt x="110" y="38"/>
                  </a:lnTo>
                  <a:lnTo>
                    <a:pt x="110" y="41"/>
                  </a:lnTo>
                  <a:lnTo>
                    <a:pt x="112" y="41"/>
                  </a:lnTo>
                  <a:lnTo>
                    <a:pt x="112" y="43"/>
                  </a:lnTo>
                  <a:lnTo>
                    <a:pt x="114" y="43"/>
                  </a:lnTo>
                  <a:lnTo>
                    <a:pt x="117" y="41"/>
                  </a:lnTo>
                  <a:lnTo>
                    <a:pt x="117" y="38"/>
                  </a:lnTo>
                  <a:lnTo>
                    <a:pt x="114" y="38"/>
                  </a:lnTo>
                  <a:lnTo>
                    <a:pt x="114" y="36"/>
                  </a:lnTo>
                  <a:lnTo>
                    <a:pt x="114" y="34"/>
                  </a:lnTo>
                  <a:lnTo>
                    <a:pt x="117" y="34"/>
                  </a:lnTo>
                  <a:lnTo>
                    <a:pt x="114" y="34"/>
                  </a:lnTo>
                  <a:lnTo>
                    <a:pt x="112" y="31"/>
                  </a:lnTo>
                  <a:lnTo>
                    <a:pt x="112" y="29"/>
                  </a:lnTo>
                  <a:lnTo>
                    <a:pt x="112" y="26"/>
                  </a:lnTo>
                  <a:lnTo>
                    <a:pt x="114" y="26"/>
                  </a:lnTo>
                  <a:lnTo>
                    <a:pt x="114" y="24"/>
                  </a:lnTo>
                  <a:lnTo>
                    <a:pt x="117" y="24"/>
                  </a:lnTo>
                  <a:lnTo>
                    <a:pt x="119" y="24"/>
                  </a:lnTo>
                  <a:lnTo>
                    <a:pt x="119" y="22"/>
                  </a:lnTo>
                  <a:lnTo>
                    <a:pt x="119" y="24"/>
                  </a:lnTo>
                  <a:lnTo>
                    <a:pt x="119" y="26"/>
                  </a:lnTo>
                  <a:lnTo>
                    <a:pt x="121" y="26"/>
                  </a:lnTo>
                  <a:lnTo>
                    <a:pt x="124" y="26"/>
                  </a:lnTo>
                  <a:lnTo>
                    <a:pt x="126" y="26"/>
                  </a:lnTo>
                  <a:lnTo>
                    <a:pt x="126" y="24"/>
                  </a:lnTo>
                  <a:lnTo>
                    <a:pt x="126" y="22"/>
                  </a:lnTo>
                  <a:lnTo>
                    <a:pt x="124" y="22"/>
                  </a:lnTo>
                  <a:lnTo>
                    <a:pt x="124" y="19"/>
                  </a:lnTo>
                  <a:lnTo>
                    <a:pt x="124" y="17"/>
                  </a:lnTo>
                  <a:lnTo>
                    <a:pt x="126" y="17"/>
                  </a:lnTo>
                  <a:lnTo>
                    <a:pt x="124" y="17"/>
                  </a:lnTo>
                  <a:lnTo>
                    <a:pt x="124" y="15"/>
                  </a:lnTo>
                  <a:lnTo>
                    <a:pt x="126" y="15"/>
                  </a:lnTo>
                  <a:lnTo>
                    <a:pt x="126" y="12"/>
                  </a:lnTo>
                  <a:lnTo>
                    <a:pt x="129" y="12"/>
                  </a:lnTo>
                  <a:lnTo>
                    <a:pt x="131" y="12"/>
                  </a:lnTo>
                  <a:lnTo>
                    <a:pt x="133" y="12"/>
                  </a:lnTo>
                  <a:lnTo>
                    <a:pt x="136" y="15"/>
                  </a:lnTo>
                  <a:lnTo>
                    <a:pt x="136" y="17"/>
                  </a:lnTo>
                  <a:lnTo>
                    <a:pt x="136" y="15"/>
                  </a:lnTo>
                  <a:lnTo>
                    <a:pt x="138" y="17"/>
                  </a:lnTo>
                  <a:lnTo>
                    <a:pt x="140" y="17"/>
                  </a:lnTo>
                  <a:lnTo>
                    <a:pt x="143" y="17"/>
                  </a:lnTo>
                  <a:lnTo>
                    <a:pt x="145" y="17"/>
                  </a:lnTo>
                  <a:lnTo>
                    <a:pt x="145" y="15"/>
                  </a:lnTo>
                  <a:lnTo>
                    <a:pt x="145" y="12"/>
                  </a:lnTo>
                  <a:lnTo>
                    <a:pt x="148" y="12"/>
                  </a:lnTo>
                  <a:lnTo>
                    <a:pt x="148" y="10"/>
                  </a:lnTo>
                  <a:lnTo>
                    <a:pt x="150" y="7"/>
                  </a:lnTo>
                  <a:lnTo>
                    <a:pt x="152" y="7"/>
                  </a:lnTo>
                  <a:lnTo>
                    <a:pt x="155" y="7"/>
                  </a:lnTo>
                  <a:lnTo>
                    <a:pt x="155" y="5"/>
                  </a:lnTo>
                  <a:lnTo>
                    <a:pt x="157" y="7"/>
                  </a:lnTo>
                  <a:lnTo>
                    <a:pt x="159" y="7"/>
                  </a:lnTo>
                  <a:lnTo>
                    <a:pt x="159" y="5"/>
                  </a:lnTo>
                  <a:lnTo>
                    <a:pt x="162" y="5"/>
                  </a:lnTo>
                  <a:lnTo>
                    <a:pt x="162" y="7"/>
                  </a:lnTo>
                  <a:lnTo>
                    <a:pt x="162" y="5"/>
                  </a:lnTo>
                  <a:lnTo>
                    <a:pt x="164" y="5"/>
                  </a:lnTo>
                  <a:lnTo>
                    <a:pt x="167" y="5"/>
                  </a:lnTo>
                  <a:lnTo>
                    <a:pt x="167" y="7"/>
                  </a:lnTo>
                  <a:lnTo>
                    <a:pt x="169" y="7"/>
                  </a:lnTo>
                  <a:lnTo>
                    <a:pt x="169" y="5"/>
                  </a:lnTo>
                  <a:lnTo>
                    <a:pt x="171" y="5"/>
                  </a:lnTo>
                  <a:lnTo>
                    <a:pt x="174" y="5"/>
                  </a:lnTo>
                  <a:lnTo>
                    <a:pt x="176" y="3"/>
                  </a:lnTo>
                  <a:lnTo>
                    <a:pt x="178" y="3"/>
                  </a:lnTo>
                  <a:lnTo>
                    <a:pt x="181" y="3"/>
                  </a:lnTo>
                  <a:lnTo>
                    <a:pt x="183" y="0"/>
                  </a:lnTo>
                  <a:lnTo>
                    <a:pt x="183" y="3"/>
                  </a:lnTo>
                  <a:lnTo>
                    <a:pt x="186" y="3"/>
                  </a:lnTo>
                  <a:lnTo>
                    <a:pt x="183" y="3"/>
                  </a:lnTo>
                  <a:lnTo>
                    <a:pt x="183" y="5"/>
                  </a:lnTo>
                  <a:lnTo>
                    <a:pt x="181" y="5"/>
                  </a:lnTo>
                  <a:lnTo>
                    <a:pt x="181" y="7"/>
                  </a:lnTo>
                  <a:lnTo>
                    <a:pt x="183" y="7"/>
                  </a:lnTo>
                  <a:lnTo>
                    <a:pt x="183" y="10"/>
                  </a:lnTo>
                  <a:lnTo>
                    <a:pt x="181" y="10"/>
                  </a:lnTo>
                  <a:lnTo>
                    <a:pt x="183" y="10"/>
                  </a:lnTo>
                  <a:lnTo>
                    <a:pt x="183" y="12"/>
                  </a:lnTo>
                  <a:lnTo>
                    <a:pt x="186" y="12"/>
                  </a:lnTo>
                  <a:lnTo>
                    <a:pt x="186" y="10"/>
                  </a:lnTo>
                  <a:lnTo>
                    <a:pt x="186" y="12"/>
                  </a:lnTo>
                  <a:lnTo>
                    <a:pt x="186" y="15"/>
                  </a:lnTo>
                  <a:lnTo>
                    <a:pt x="186" y="17"/>
                  </a:lnTo>
                  <a:lnTo>
                    <a:pt x="188" y="17"/>
                  </a:lnTo>
                  <a:lnTo>
                    <a:pt x="190" y="19"/>
                  </a:lnTo>
                  <a:lnTo>
                    <a:pt x="193" y="19"/>
                  </a:lnTo>
                  <a:lnTo>
                    <a:pt x="193" y="22"/>
                  </a:lnTo>
                  <a:lnTo>
                    <a:pt x="195" y="22"/>
                  </a:lnTo>
                  <a:lnTo>
                    <a:pt x="197" y="22"/>
                  </a:lnTo>
                  <a:lnTo>
                    <a:pt x="200" y="22"/>
                  </a:lnTo>
                  <a:lnTo>
                    <a:pt x="202" y="22"/>
                  </a:lnTo>
                  <a:lnTo>
                    <a:pt x="202" y="24"/>
                  </a:lnTo>
                  <a:lnTo>
                    <a:pt x="205" y="24"/>
                  </a:lnTo>
                  <a:lnTo>
                    <a:pt x="207" y="24"/>
                  </a:lnTo>
                  <a:lnTo>
                    <a:pt x="209" y="24"/>
                  </a:lnTo>
                  <a:lnTo>
                    <a:pt x="212" y="24"/>
                  </a:lnTo>
                  <a:lnTo>
                    <a:pt x="214" y="24"/>
                  </a:lnTo>
                  <a:lnTo>
                    <a:pt x="216" y="26"/>
                  </a:lnTo>
                  <a:lnTo>
                    <a:pt x="219" y="26"/>
                  </a:lnTo>
                  <a:lnTo>
                    <a:pt x="221" y="26"/>
                  </a:lnTo>
                  <a:lnTo>
                    <a:pt x="224" y="26"/>
                  </a:lnTo>
                  <a:lnTo>
                    <a:pt x="226" y="26"/>
                  </a:lnTo>
                  <a:lnTo>
                    <a:pt x="228" y="26"/>
                  </a:lnTo>
                  <a:lnTo>
                    <a:pt x="231" y="26"/>
                  </a:lnTo>
                  <a:lnTo>
                    <a:pt x="231" y="29"/>
                  </a:lnTo>
                  <a:lnTo>
                    <a:pt x="233" y="29"/>
                  </a:lnTo>
                  <a:lnTo>
                    <a:pt x="233" y="31"/>
                  </a:lnTo>
                  <a:lnTo>
                    <a:pt x="231" y="31"/>
                  </a:lnTo>
                  <a:lnTo>
                    <a:pt x="228" y="31"/>
                  </a:lnTo>
                  <a:lnTo>
                    <a:pt x="228" y="34"/>
                  </a:lnTo>
                  <a:lnTo>
                    <a:pt x="226" y="36"/>
                  </a:lnTo>
                  <a:lnTo>
                    <a:pt x="224" y="36"/>
                  </a:lnTo>
                  <a:lnTo>
                    <a:pt x="224" y="38"/>
                  </a:lnTo>
                  <a:lnTo>
                    <a:pt x="221" y="38"/>
                  </a:lnTo>
                  <a:lnTo>
                    <a:pt x="224" y="38"/>
                  </a:lnTo>
                  <a:lnTo>
                    <a:pt x="224" y="41"/>
                  </a:lnTo>
                  <a:lnTo>
                    <a:pt x="224" y="43"/>
                  </a:lnTo>
                  <a:lnTo>
                    <a:pt x="226" y="43"/>
                  </a:lnTo>
                  <a:lnTo>
                    <a:pt x="224" y="43"/>
                  </a:lnTo>
                  <a:lnTo>
                    <a:pt x="226" y="43"/>
                  </a:lnTo>
                  <a:lnTo>
                    <a:pt x="228" y="43"/>
                  </a:lnTo>
                  <a:lnTo>
                    <a:pt x="231" y="43"/>
                  </a:lnTo>
                  <a:lnTo>
                    <a:pt x="231" y="45"/>
                  </a:lnTo>
                  <a:lnTo>
                    <a:pt x="231" y="48"/>
                  </a:lnTo>
                  <a:lnTo>
                    <a:pt x="228" y="48"/>
                  </a:lnTo>
                  <a:lnTo>
                    <a:pt x="228" y="50"/>
                  </a:lnTo>
                  <a:lnTo>
                    <a:pt x="226" y="50"/>
                  </a:lnTo>
                  <a:lnTo>
                    <a:pt x="226" y="53"/>
                  </a:lnTo>
                  <a:lnTo>
                    <a:pt x="226" y="55"/>
                  </a:lnTo>
                  <a:lnTo>
                    <a:pt x="228" y="55"/>
                  </a:lnTo>
                  <a:lnTo>
                    <a:pt x="228" y="53"/>
                  </a:lnTo>
                  <a:lnTo>
                    <a:pt x="231" y="53"/>
                  </a:lnTo>
                  <a:lnTo>
                    <a:pt x="231" y="55"/>
                  </a:lnTo>
                  <a:lnTo>
                    <a:pt x="231" y="57"/>
                  </a:lnTo>
                  <a:lnTo>
                    <a:pt x="228" y="57"/>
                  </a:lnTo>
                  <a:lnTo>
                    <a:pt x="228" y="60"/>
                  </a:lnTo>
                  <a:lnTo>
                    <a:pt x="228" y="62"/>
                  </a:lnTo>
                  <a:lnTo>
                    <a:pt x="231" y="62"/>
                  </a:lnTo>
                  <a:lnTo>
                    <a:pt x="233" y="62"/>
                  </a:lnTo>
                  <a:lnTo>
                    <a:pt x="233" y="64"/>
                  </a:lnTo>
                  <a:lnTo>
                    <a:pt x="235" y="64"/>
                  </a:lnTo>
                  <a:lnTo>
                    <a:pt x="235" y="67"/>
                  </a:lnTo>
                  <a:lnTo>
                    <a:pt x="238" y="67"/>
                  </a:lnTo>
                  <a:lnTo>
                    <a:pt x="238" y="69"/>
                  </a:lnTo>
                  <a:lnTo>
                    <a:pt x="240" y="69"/>
                  </a:lnTo>
                  <a:lnTo>
                    <a:pt x="240" y="72"/>
                  </a:lnTo>
                  <a:lnTo>
                    <a:pt x="238" y="72"/>
                  </a:lnTo>
                  <a:lnTo>
                    <a:pt x="235" y="72"/>
                  </a:lnTo>
                  <a:lnTo>
                    <a:pt x="233" y="72"/>
                  </a:lnTo>
                  <a:lnTo>
                    <a:pt x="235" y="72"/>
                  </a:lnTo>
                  <a:lnTo>
                    <a:pt x="235" y="69"/>
                  </a:lnTo>
                  <a:lnTo>
                    <a:pt x="233" y="69"/>
                  </a:lnTo>
                  <a:lnTo>
                    <a:pt x="235" y="69"/>
                  </a:lnTo>
                  <a:lnTo>
                    <a:pt x="235" y="67"/>
                  </a:lnTo>
                  <a:lnTo>
                    <a:pt x="233" y="67"/>
                  </a:lnTo>
                  <a:lnTo>
                    <a:pt x="233" y="64"/>
                  </a:lnTo>
                  <a:lnTo>
                    <a:pt x="231" y="64"/>
                  </a:lnTo>
                  <a:lnTo>
                    <a:pt x="228" y="64"/>
                  </a:lnTo>
                  <a:lnTo>
                    <a:pt x="228" y="62"/>
                  </a:lnTo>
                  <a:lnTo>
                    <a:pt x="228" y="64"/>
                  </a:lnTo>
                  <a:lnTo>
                    <a:pt x="228" y="62"/>
                  </a:lnTo>
                  <a:lnTo>
                    <a:pt x="228" y="64"/>
                  </a:lnTo>
                  <a:lnTo>
                    <a:pt x="226" y="64"/>
                  </a:lnTo>
                  <a:lnTo>
                    <a:pt x="228" y="64"/>
                  </a:lnTo>
                  <a:lnTo>
                    <a:pt x="228" y="67"/>
                  </a:lnTo>
                  <a:lnTo>
                    <a:pt x="226" y="64"/>
                  </a:lnTo>
                  <a:lnTo>
                    <a:pt x="228" y="64"/>
                  </a:lnTo>
                  <a:lnTo>
                    <a:pt x="228" y="67"/>
                  </a:lnTo>
                  <a:lnTo>
                    <a:pt x="226" y="67"/>
                  </a:lnTo>
                  <a:lnTo>
                    <a:pt x="224" y="67"/>
                  </a:lnTo>
                  <a:close/>
                  <a:moveTo>
                    <a:pt x="224" y="67"/>
                  </a:moveTo>
                  <a:lnTo>
                    <a:pt x="221" y="67"/>
                  </a:lnTo>
                  <a:lnTo>
                    <a:pt x="224" y="67"/>
                  </a:lnTo>
                  <a:close/>
                  <a:moveTo>
                    <a:pt x="190" y="148"/>
                  </a:moveTo>
                  <a:lnTo>
                    <a:pt x="190" y="150"/>
                  </a:lnTo>
                  <a:lnTo>
                    <a:pt x="193" y="150"/>
                  </a:lnTo>
                  <a:lnTo>
                    <a:pt x="193" y="148"/>
                  </a:lnTo>
                  <a:lnTo>
                    <a:pt x="190" y="148"/>
                  </a:lnTo>
                  <a:close/>
                  <a:moveTo>
                    <a:pt x="190" y="243"/>
                  </a:moveTo>
                  <a:lnTo>
                    <a:pt x="193" y="243"/>
                  </a:lnTo>
                  <a:lnTo>
                    <a:pt x="190" y="24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3" name="Freeform 52480"/>
            <p:cNvSpPr>
              <a:spLocks noEditPoints="1"/>
            </p:cNvSpPr>
            <p:nvPr/>
          </p:nvSpPr>
          <p:spPr bwMode="auto">
            <a:xfrm>
              <a:off x="2459035" y="5021281"/>
              <a:ext cx="508000" cy="739777"/>
            </a:xfrm>
            <a:custGeom>
              <a:avLst/>
              <a:gdLst>
                <a:gd name="T0" fmla="*/ 142 w 320"/>
                <a:gd name="T1" fmla="*/ 464 h 466"/>
                <a:gd name="T2" fmla="*/ 125 w 320"/>
                <a:gd name="T3" fmla="*/ 409 h 466"/>
                <a:gd name="T4" fmla="*/ 123 w 320"/>
                <a:gd name="T5" fmla="*/ 407 h 466"/>
                <a:gd name="T6" fmla="*/ 135 w 320"/>
                <a:gd name="T7" fmla="*/ 357 h 466"/>
                <a:gd name="T8" fmla="*/ 135 w 320"/>
                <a:gd name="T9" fmla="*/ 357 h 466"/>
                <a:gd name="T10" fmla="*/ 220 w 320"/>
                <a:gd name="T11" fmla="*/ 335 h 466"/>
                <a:gd name="T12" fmla="*/ 220 w 320"/>
                <a:gd name="T13" fmla="*/ 333 h 466"/>
                <a:gd name="T14" fmla="*/ 216 w 320"/>
                <a:gd name="T15" fmla="*/ 328 h 466"/>
                <a:gd name="T16" fmla="*/ 208 w 320"/>
                <a:gd name="T17" fmla="*/ 328 h 466"/>
                <a:gd name="T18" fmla="*/ 161 w 320"/>
                <a:gd name="T19" fmla="*/ 324 h 466"/>
                <a:gd name="T20" fmla="*/ 4 w 320"/>
                <a:gd name="T21" fmla="*/ 307 h 466"/>
                <a:gd name="T22" fmla="*/ 4 w 320"/>
                <a:gd name="T23" fmla="*/ 312 h 466"/>
                <a:gd name="T24" fmla="*/ 2 w 320"/>
                <a:gd name="T25" fmla="*/ 302 h 466"/>
                <a:gd name="T26" fmla="*/ 2 w 320"/>
                <a:gd name="T27" fmla="*/ 302 h 466"/>
                <a:gd name="T28" fmla="*/ 197 w 320"/>
                <a:gd name="T29" fmla="*/ 240 h 466"/>
                <a:gd name="T30" fmla="*/ 185 w 320"/>
                <a:gd name="T31" fmla="*/ 233 h 466"/>
                <a:gd name="T32" fmla="*/ 171 w 320"/>
                <a:gd name="T33" fmla="*/ 231 h 466"/>
                <a:gd name="T34" fmla="*/ 47 w 320"/>
                <a:gd name="T35" fmla="*/ 224 h 466"/>
                <a:gd name="T36" fmla="*/ 154 w 320"/>
                <a:gd name="T37" fmla="*/ 226 h 466"/>
                <a:gd name="T38" fmla="*/ 45 w 320"/>
                <a:gd name="T39" fmla="*/ 217 h 466"/>
                <a:gd name="T40" fmla="*/ 0 w 320"/>
                <a:gd name="T41" fmla="*/ 221 h 466"/>
                <a:gd name="T42" fmla="*/ 0 w 320"/>
                <a:gd name="T43" fmla="*/ 217 h 466"/>
                <a:gd name="T44" fmla="*/ 38 w 320"/>
                <a:gd name="T45" fmla="*/ 212 h 466"/>
                <a:gd name="T46" fmla="*/ 33 w 320"/>
                <a:gd name="T47" fmla="*/ 209 h 466"/>
                <a:gd name="T48" fmla="*/ 40 w 320"/>
                <a:gd name="T49" fmla="*/ 209 h 466"/>
                <a:gd name="T50" fmla="*/ 38 w 320"/>
                <a:gd name="T51" fmla="*/ 207 h 466"/>
                <a:gd name="T52" fmla="*/ 38 w 320"/>
                <a:gd name="T53" fmla="*/ 209 h 466"/>
                <a:gd name="T54" fmla="*/ 38 w 320"/>
                <a:gd name="T55" fmla="*/ 207 h 466"/>
                <a:gd name="T56" fmla="*/ 35 w 320"/>
                <a:gd name="T57" fmla="*/ 205 h 466"/>
                <a:gd name="T58" fmla="*/ 95 w 320"/>
                <a:gd name="T59" fmla="*/ 162 h 466"/>
                <a:gd name="T60" fmla="*/ 66 w 320"/>
                <a:gd name="T61" fmla="*/ 160 h 466"/>
                <a:gd name="T62" fmla="*/ 87 w 320"/>
                <a:gd name="T63" fmla="*/ 160 h 466"/>
                <a:gd name="T64" fmla="*/ 59 w 320"/>
                <a:gd name="T65" fmla="*/ 145 h 466"/>
                <a:gd name="T66" fmla="*/ 73 w 320"/>
                <a:gd name="T67" fmla="*/ 136 h 466"/>
                <a:gd name="T68" fmla="*/ 71 w 320"/>
                <a:gd name="T69" fmla="*/ 141 h 466"/>
                <a:gd name="T70" fmla="*/ 66 w 320"/>
                <a:gd name="T71" fmla="*/ 141 h 466"/>
                <a:gd name="T72" fmla="*/ 64 w 320"/>
                <a:gd name="T73" fmla="*/ 138 h 466"/>
                <a:gd name="T74" fmla="*/ 71 w 320"/>
                <a:gd name="T75" fmla="*/ 136 h 466"/>
                <a:gd name="T76" fmla="*/ 50 w 320"/>
                <a:gd name="T77" fmla="*/ 126 h 466"/>
                <a:gd name="T78" fmla="*/ 54 w 320"/>
                <a:gd name="T79" fmla="*/ 110 h 466"/>
                <a:gd name="T80" fmla="*/ 52 w 320"/>
                <a:gd name="T81" fmla="*/ 81 h 466"/>
                <a:gd name="T82" fmla="*/ 140 w 320"/>
                <a:gd name="T83" fmla="*/ 41 h 466"/>
                <a:gd name="T84" fmla="*/ 137 w 320"/>
                <a:gd name="T85" fmla="*/ 43 h 466"/>
                <a:gd name="T86" fmla="*/ 133 w 320"/>
                <a:gd name="T87" fmla="*/ 38 h 466"/>
                <a:gd name="T88" fmla="*/ 140 w 320"/>
                <a:gd name="T89" fmla="*/ 38 h 466"/>
                <a:gd name="T90" fmla="*/ 140 w 320"/>
                <a:gd name="T91" fmla="*/ 38 h 466"/>
                <a:gd name="T92" fmla="*/ 140 w 320"/>
                <a:gd name="T93" fmla="*/ 38 h 466"/>
                <a:gd name="T94" fmla="*/ 137 w 320"/>
                <a:gd name="T95" fmla="*/ 34 h 466"/>
                <a:gd name="T96" fmla="*/ 133 w 320"/>
                <a:gd name="T97" fmla="*/ 24 h 466"/>
                <a:gd name="T98" fmla="*/ 133 w 320"/>
                <a:gd name="T99" fmla="*/ 24 h 466"/>
                <a:gd name="T100" fmla="*/ 135 w 320"/>
                <a:gd name="T101" fmla="*/ 22 h 466"/>
                <a:gd name="T102" fmla="*/ 133 w 320"/>
                <a:gd name="T103" fmla="*/ 17 h 466"/>
                <a:gd name="T104" fmla="*/ 133 w 320"/>
                <a:gd name="T105" fmla="*/ 17 h 466"/>
                <a:gd name="T106" fmla="*/ 137 w 320"/>
                <a:gd name="T107" fmla="*/ 15 h 466"/>
                <a:gd name="T108" fmla="*/ 137 w 320"/>
                <a:gd name="T109" fmla="*/ 15 h 466"/>
                <a:gd name="T110" fmla="*/ 137 w 320"/>
                <a:gd name="T111" fmla="*/ 15 h 466"/>
                <a:gd name="T112" fmla="*/ 137 w 320"/>
                <a:gd name="T113" fmla="*/ 15 h 466"/>
                <a:gd name="T114" fmla="*/ 166 w 320"/>
                <a:gd name="T115" fmla="*/ 3 h 466"/>
                <a:gd name="T116" fmla="*/ 163 w 320"/>
                <a:gd name="T117" fmla="*/ 3 h 466"/>
                <a:gd name="T118" fmla="*/ 166 w 320"/>
                <a:gd name="T119" fmla="*/ 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466">
                  <a:moveTo>
                    <a:pt x="142" y="464"/>
                  </a:moveTo>
                  <a:lnTo>
                    <a:pt x="144" y="464"/>
                  </a:lnTo>
                  <a:lnTo>
                    <a:pt x="144" y="466"/>
                  </a:lnTo>
                  <a:lnTo>
                    <a:pt x="142" y="466"/>
                  </a:lnTo>
                  <a:lnTo>
                    <a:pt x="140" y="464"/>
                  </a:lnTo>
                  <a:lnTo>
                    <a:pt x="142" y="464"/>
                  </a:lnTo>
                  <a:close/>
                  <a:moveTo>
                    <a:pt x="152" y="449"/>
                  </a:moveTo>
                  <a:lnTo>
                    <a:pt x="154" y="449"/>
                  </a:lnTo>
                  <a:lnTo>
                    <a:pt x="152" y="449"/>
                  </a:lnTo>
                  <a:close/>
                  <a:moveTo>
                    <a:pt x="123" y="407"/>
                  </a:moveTo>
                  <a:lnTo>
                    <a:pt x="125" y="407"/>
                  </a:lnTo>
                  <a:lnTo>
                    <a:pt x="125" y="409"/>
                  </a:lnTo>
                  <a:lnTo>
                    <a:pt x="125" y="411"/>
                  </a:lnTo>
                  <a:lnTo>
                    <a:pt x="123" y="411"/>
                  </a:lnTo>
                  <a:lnTo>
                    <a:pt x="123" y="409"/>
                  </a:lnTo>
                  <a:lnTo>
                    <a:pt x="121" y="409"/>
                  </a:lnTo>
                  <a:lnTo>
                    <a:pt x="121" y="407"/>
                  </a:lnTo>
                  <a:lnTo>
                    <a:pt x="123" y="407"/>
                  </a:lnTo>
                  <a:close/>
                  <a:moveTo>
                    <a:pt x="137" y="359"/>
                  </a:moveTo>
                  <a:lnTo>
                    <a:pt x="137" y="362"/>
                  </a:lnTo>
                  <a:lnTo>
                    <a:pt x="140" y="362"/>
                  </a:lnTo>
                  <a:lnTo>
                    <a:pt x="137" y="362"/>
                  </a:lnTo>
                  <a:lnTo>
                    <a:pt x="137" y="359"/>
                  </a:lnTo>
                  <a:close/>
                  <a:moveTo>
                    <a:pt x="135" y="357"/>
                  </a:moveTo>
                  <a:lnTo>
                    <a:pt x="135" y="359"/>
                  </a:lnTo>
                  <a:lnTo>
                    <a:pt x="135" y="357"/>
                  </a:lnTo>
                  <a:lnTo>
                    <a:pt x="135" y="359"/>
                  </a:lnTo>
                  <a:lnTo>
                    <a:pt x="133" y="359"/>
                  </a:lnTo>
                  <a:lnTo>
                    <a:pt x="133" y="357"/>
                  </a:lnTo>
                  <a:lnTo>
                    <a:pt x="135" y="357"/>
                  </a:lnTo>
                  <a:close/>
                  <a:moveTo>
                    <a:pt x="125" y="354"/>
                  </a:moveTo>
                  <a:lnTo>
                    <a:pt x="125" y="357"/>
                  </a:lnTo>
                  <a:lnTo>
                    <a:pt x="128" y="357"/>
                  </a:lnTo>
                  <a:lnTo>
                    <a:pt x="125" y="357"/>
                  </a:lnTo>
                  <a:lnTo>
                    <a:pt x="125" y="354"/>
                  </a:lnTo>
                  <a:close/>
                  <a:moveTo>
                    <a:pt x="220" y="335"/>
                  </a:moveTo>
                  <a:lnTo>
                    <a:pt x="223" y="335"/>
                  </a:lnTo>
                  <a:lnTo>
                    <a:pt x="223" y="338"/>
                  </a:lnTo>
                  <a:lnTo>
                    <a:pt x="220" y="338"/>
                  </a:lnTo>
                  <a:lnTo>
                    <a:pt x="220" y="335"/>
                  </a:lnTo>
                  <a:close/>
                  <a:moveTo>
                    <a:pt x="220" y="331"/>
                  </a:moveTo>
                  <a:lnTo>
                    <a:pt x="220" y="333"/>
                  </a:lnTo>
                  <a:lnTo>
                    <a:pt x="223" y="333"/>
                  </a:lnTo>
                  <a:lnTo>
                    <a:pt x="220" y="333"/>
                  </a:lnTo>
                  <a:lnTo>
                    <a:pt x="220" y="335"/>
                  </a:lnTo>
                  <a:lnTo>
                    <a:pt x="220" y="333"/>
                  </a:lnTo>
                  <a:lnTo>
                    <a:pt x="220" y="331"/>
                  </a:lnTo>
                  <a:close/>
                  <a:moveTo>
                    <a:pt x="216" y="328"/>
                  </a:moveTo>
                  <a:lnTo>
                    <a:pt x="218" y="328"/>
                  </a:lnTo>
                  <a:lnTo>
                    <a:pt x="218" y="331"/>
                  </a:lnTo>
                  <a:lnTo>
                    <a:pt x="216" y="331"/>
                  </a:lnTo>
                  <a:lnTo>
                    <a:pt x="216" y="328"/>
                  </a:lnTo>
                  <a:close/>
                  <a:moveTo>
                    <a:pt x="208" y="331"/>
                  </a:moveTo>
                  <a:lnTo>
                    <a:pt x="208" y="328"/>
                  </a:lnTo>
                  <a:lnTo>
                    <a:pt x="208" y="331"/>
                  </a:lnTo>
                  <a:close/>
                  <a:moveTo>
                    <a:pt x="225" y="326"/>
                  </a:moveTo>
                  <a:lnTo>
                    <a:pt x="225" y="328"/>
                  </a:lnTo>
                  <a:lnTo>
                    <a:pt x="225" y="326"/>
                  </a:lnTo>
                  <a:close/>
                  <a:moveTo>
                    <a:pt x="163" y="324"/>
                  </a:moveTo>
                  <a:lnTo>
                    <a:pt x="161" y="324"/>
                  </a:lnTo>
                  <a:lnTo>
                    <a:pt x="163" y="324"/>
                  </a:lnTo>
                  <a:close/>
                  <a:moveTo>
                    <a:pt x="230" y="319"/>
                  </a:moveTo>
                  <a:lnTo>
                    <a:pt x="230" y="321"/>
                  </a:lnTo>
                  <a:lnTo>
                    <a:pt x="230" y="319"/>
                  </a:lnTo>
                  <a:close/>
                  <a:moveTo>
                    <a:pt x="4" y="305"/>
                  </a:moveTo>
                  <a:lnTo>
                    <a:pt x="4" y="307"/>
                  </a:lnTo>
                  <a:lnTo>
                    <a:pt x="4" y="305"/>
                  </a:lnTo>
                  <a:lnTo>
                    <a:pt x="7" y="305"/>
                  </a:lnTo>
                  <a:lnTo>
                    <a:pt x="7" y="307"/>
                  </a:lnTo>
                  <a:lnTo>
                    <a:pt x="7" y="309"/>
                  </a:lnTo>
                  <a:lnTo>
                    <a:pt x="7" y="312"/>
                  </a:lnTo>
                  <a:lnTo>
                    <a:pt x="4" y="312"/>
                  </a:lnTo>
                  <a:lnTo>
                    <a:pt x="4" y="309"/>
                  </a:lnTo>
                  <a:lnTo>
                    <a:pt x="4" y="307"/>
                  </a:lnTo>
                  <a:lnTo>
                    <a:pt x="2" y="307"/>
                  </a:lnTo>
                  <a:lnTo>
                    <a:pt x="4" y="307"/>
                  </a:lnTo>
                  <a:lnTo>
                    <a:pt x="4" y="305"/>
                  </a:lnTo>
                  <a:close/>
                  <a:moveTo>
                    <a:pt x="2" y="302"/>
                  </a:moveTo>
                  <a:lnTo>
                    <a:pt x="2" y="305"/>
                  </a:lnTo>
                  <a:lnTo>
                    <a:pt x="2" y="307"/>
                  </a:lnTo>
                  <a:lnTo>
                    <a:pt x="0" y="307"/>
                  </a:lnTo>
                  <a:lnTo>
                    <a:pt x="0" y="305"/>
                  </a:lnTo>
                  <a:lnTo>
                    <a:pt x="0" y="302"/>
                  </a:lnTo>
                  <a:lnTo>
                    <a:pt x="2" y="302"/>
                  </a:lnTo>
                  <a:close/>
                  <a:moveTo>
                    <a:pt x="320" y="264"/>
                  </a:moveTo>
                  <a:lnTo>
                    <a:pt x="320" y="262"/>
                  </a:lnTo>
                  <a:lnTo>
                    <a:pt x="320" y="264"/>
                  </a:lnTo>
                  <a:close/>
                  <a:moveTo>
                    <a:pt x="197" y="240"/>
                  </a:moveTo>
                  <a:lnTo>
                    <a:pt x="199" y="240"/>
                  </a:lnTo>
                  <a:lnTo>
                    <a:pt x="197" y="240"/>
                  </a:lnTo>
                  <a:close/>
                  <a:moveTo>
                    <a:pt x="185" y="231"/>
                  </a:moveTo>
                  <a:lnTo>
                    <a:pt x="187" y="231"/>
                  </a:lnTo>
                  <a:lnTo>
                    <a:pt x="187" y="233"/>
                  </a:lnTo>
                  <a:lnTo>
                    <a:pt x="190" y="233"/>
                  </a:lnTo>
                  <a:lnTo>
                    <a:pt x="187" y="233"/>
                  </a:lnTo>
                  <a:lnTo>
                    <a:pt x="185" y="233"/>
                  </a:lnTo>
                  <a:lnTo>
                    <a:pt x="185" y="231"/>
                  </a:lnTo>
                  <a:close/>
                  <a:moveTo>
                    <a:pt x="190" y="231"/>
                  </a:moveTo>
                  <a:lnTo>
                    <a:pt x="192" y="231"/>
                  </a:lnTo>
                  <a:lnTo>
                    <a:pt x="190" y="231"/>
                  </a:lnTo>
                  <a:close/>
                  <a:moveTo>
                    <a:pt x="171" y="228"/>
                  </a:moveTo>
                  <a:lnTo>
                    <a:pt x="171" y="231"/>
                  </a:lnTo>
                  <a:lnTo>
                    <a:pt x="171" y="228"/>
                  </a:lnTo>
                  <a:close/>
                  <a:moveTo>
                    <a:pt x="50" y="226"/>
                  </a:moveTo>
                  <a:lnTo>
                    <a:pt x="47" y="226"/>
                  </a:lnTo>
                  <a:lnTo>
                    <a:pt x="50" y="226"/>
                  </a:lnTo>
                  <a:close/>
                  <a:moveTo>
                    <a:pt x="50" y="224"/>
                  </a:moveTo>
                  <a:lnTo>
                    <a:pt x="47" y="224"/>
                  </a:lnTo>
                  <a:lnTo>
                    <a:pt x="47" y="226"/>
                  </a:lnTo>
                  <a:lnTo>
                    <a:pt x="47" y="224"/>
                  </a:lnTo>
                  <a:lnTo>
                    <a:pt x="50" y="224"/>
                  </a:lnTo>
                  <a:close/>
                  <a:moveTo>
                    <a:pt x="156" y="224"/>
                  </a:moveTo>
                  <a:lnTo>
                    <a:pt x="156" y="226"/>
                  </a:lnTo>
                  <a:lnTo>
                    <a:pt x="154" y="226"/>
                  </a:lnTo>
                  <a:lnTo>
                    <a:pt x="154" y="224"/>
                  </a:lnTo>
                  <a:lnTo>
                    <a:pt x="156" y="224"/>
                  </a:lnTo>
                  <a:close/>
                  <a:moveTo>
                    <a:pt x="152" y="221"/>
                  </a:moveTo>
                  <a:lnTo>
                    <a:pt x="152" y="224"/>
                  </a:lnTo>
                  <a:lnTo>
                    <a:pt x="152" y="221"/>
                  </a:lnTo>
                  <a:close/>
                  <a:moveTo>
                    <a:pt x="45" y="217"/>
                  </a:moveTo>
                  <a:lnTo>
                    <a:pt x="42" y="217"/>
                  </a:lnTo>
                  <a:lnTo>
                    <a:pt x="45" y="217"/>
                  </a:lnTo>
                  <a:lnTo>
                    <a:pt x="42" y="217"/>
                  </a:lnTo>
                  <a:lnTo>
                    <a:pt x="45" y="217"/>
                  </a:lnTo>
                  <a:close/>
                  <a:moveTo>
                    <a:pt x="0" y="219"/>
                  </a:moveTo>
                  <a:lnTo>
                    <a:pt x="0" y="221"/>
                  </a:lnTo>
                  <a:lnTo>
                    <a:pt x="0" y="219"/>
                  </a:lnTo>
                  <a:lnTo>
                    <a:pt x="0" y="221"/>
                  </a:lnTo>
                  <a:lnTo>
                    <a:pt x="0" y="219"/>
                  </a:lnTo>
                  <a:lnTo>
                    <a:pt x="0" y="217"/>
                  </a:lnTo>
                  <a:lnTo>
                    <a:pt x="2" y="217"/>
                  </a:lnTo>
                  <a:lnTo>
                    <a:pt x="0" y="217"/>
                  </a:lnTo>
                  <a:lnTo>
                    <a:pt x="0" y="214"/>
                  </a:lnTo>
                  <a:lnTo>
                    <a:pt x="2" y="214"/>
                  </a:lnTo>
                  <a:lnTo>
                    <a:pt x="2" y="217"/>
                  </a:lnTo>
                  <a:lnTo>
                    <a:pt x="0" y="217"/>
                  </a:lnTo>
                  <a:lnTo>
                    <a:pt x="0" y="219"/>
                  </a:lnTo>
                  <a:close/>
                  <a:moveTo>
                    <a:pt x="38" y="212"/>
                  </a:moveTo>
                  <a:lnTo>
                    <a:pt x="38" y="209"/>
                  </a:lnTo>
                  <a:lnTo>
                    <a:pt x="38" y="212"/>
                  </a:lnTo>
                  <a:close/>
                  <a:moveTo>
                    <a:pt x="33" y="212"/>
                  </a:moveTo>
                  <a:lnTo>
                    <a:pt x="33" y="209"/>
                  </a:lnTo>
                  <a:lnTo>
                    <a:pt x="35" y="209"/>
                  </a:lnTo>
                  <a:lnTo>
                    <a:pt x="33" y="209"/>
                  </a:lnTo>
                  <a:lnTo>
                    <a:pt x="35" y="209"/>
                  </a:lnTo>
                  <a:lnTo>
                    <a:pt x="35" y="212"/>
                  </a:lnTo>
                  <a:lnTo>
                    <a:pt x="33" y="212"/>
                  </a:lnTo>
                  <a:close/>
                  <a:moveTo>
                    <a:pt x="40" y="209"/>
                  </a:moveTo>
                  <a:lnTo>
                    <a:pt x="40" y="212"/>
                  </a:lnTo>
                  <a:lnTo>
                    <a:pt x="40" y="209"/>
                  </a:lnTo>
                  <a:lnTo>
                    <a:pt x="40" y="212"/>
                  </a:lnTo>
                  <a:lnTo>
                    <a:pt x="40" y="209"/>
                  </a:lnTo>
                  <a:close/>
                  <a:moveTo>
                    <a:pt x="35" y="209"/>
                  </a:moveTo>
                  <a:lnTo>
                    <a:pt x="38" y="209"/>
                  </a:lnTo>
                  <a:lnTo>
                    <a:pt x="35" y="209"/>
                  </a:lnTo>
                  <a:close/>
                  <a:moveTo>
                    <a:pt x="38" y="207"/>
                  </a:moveTo>
                  <a:lnTo>
                    <a:pt x="40" y="207"/>
                  </a:lnTo>
                  <a:lnTo>
                    <a:pt x="38" y="207"/>
                  </a:lnTo>
                  <a:lnTo>
                    <a:pt x="40" y="209"/>
                  </a:lnTo>
                  <a:lnTo>
                    <a:pt x="38" y="209"/>
                  </a:lnTo>
                  <a:lnTo>
                    <a:pt x="40" y="209"/>
                  </a:lnTo>
                  <a:lnTo>
                    <a:pt x="38" y="209"/>
                  </a:lnTo>
                  <a:lnTo>
                    <a:pt x="38" y="207"/>
                  </a:lnTo>
                  <a:lnTo>
                    <a:pt x="38" y="209"/>
                  </a:lnTo>
                  <a:lnTo>
                    <a:pt x="38" y="207"/>
                  </a:lnTo>
                  <a:close/>
                  <a:moveTo>
                    <a:pt x="38" y="207"/>
                  </a:moveTo>
                  <a:lnTo>
                    <a:pt x="35" y="207"/>
                  </a:lnTo>
                  <a:lnTo>
                    <a:pt x="38" y="207"/>
                  </a:lnTo>
                  <a:lnTo>
                    <a:pt x="35" y="207"/>
                  </a:lnTo>
                  <a:lnTo>
                    <a:pt x="38" y="207"/>
                  </a:lnTo>
                  <a:close/>
                  <a:moveTo>
                    <a:pt x="35" y="207"/>
                  </a:moveTo>
                  <a:lnTo>
                    <a:pt x="38" y="207"/>
                  </a:lnTo>
                  <a:lnTo>
                    <a:pt x="35" y="207"/>
                  </a:lnTo>
                  <a:lnTo>
                    <a:pt x="35" y="205"/>
                  </a:lnTo>
                  <a:lnTo>
                    <a:pt x="35" y="207"/>
                  </a:lnTo>
                  <a:close/>
                  <a:moveTo>
                    <a:pt x="38" y="205"/>
                  </a:moveTo>
                  <a:lnTo>
                    <a:pt x="38" y="207"/>
                  </a:lnTo>
                  <a:lnTo>
                    <a:pt x="38" y="205"/>
                  </a:lnTo>
                  <a:close/>
                  <a:moveTo>
                    <a:pt x="95" y="164"/>
                  </a:moveTo>
                  <a:lnTo>
                    <a:pt x="95" y="162"/>
                  </a:lnTo>
                  <a:lnTo>
                    <a:pt x="92" y="162"/>
                  </a:lnTo>
                  <a:lnTo>
                    <a:pt x="95" y="162"/>
                  </a:lnTo>
                  <a:lnTo>
                    <a:pt x="95" y="164"/>
                  </a:lnTo>
                  <a:close/>
                  <a:moveTo>
                    <a:pt x="68" y="157"/>
                  </a:moveTo>
                  <a:lnTo>
                    <a:pt x="68" y="160"/>
                  </a:lnTo>
                  <a:lnTo>
                    <a:pt x="66" y="160"/>
                  </a:lnTo>
                  <a:lnTo>
                    <a:pt x="66" y="157"/>
                  </a:lnTo>
                  <a:lnTo>
                    <a:pt x="68" y="157"/>
                  </a:lnTo>
                  <a:close/>
                  <a:moveTo>
                    <a:pt x="87" y="157"/>
                  </a:moveTo>
                  <a:lnTo>
                    <a:pt x="87" y="160"/>
                  </a:lnTo>
                  <a:lnTo>
                    <a:pt x="90" y="160"/>
                  </a:lnTo>
                  <a:lnTo>
                    <a:pt x="87" y="160"/>
                  </a:lnTo>
                  <a:lnTo>
                    <a:pt x="85" y="160"/>
                  </a:lnTo>
                  <a:lnTo>
                    <a:pt x="85" y="157"/>
                  </a:lnTo>
                  <a:lnTo>
                    <a:pt x="87" y="157"/>
                  </a:lnTo>
                  <a:close/>
                  <a:moveTo>
                    <a:pt x="61" y="148"/>
                  </a:moveTo>
                  <a:lnTo>
                    <a:pt x="59" y="148"/>
                  </a:lnTo>
                  <a:lnTo>
                    <a:pt x="59" y="145"/>
                  </a:lnTo>
                  <a:lnTo>
                    <a:pt x="61" y="145"/>
                  </a:lnTo>
                  <a:lnTo>
                    <a:pt x="61" y="148"/>
                  </a:lnTo>
                  <a:close/>
                  <a:moveTo>
                    <a:pt x="76" y="136"/>
                  </a:moveTo>
                  <a:lnTo>
                    <a:pt x="76" y="133"/>
                  </a:lnTo>
                  <a:lnTo>
                    <a:pt x="76" y="136"/>
                  </a:lnTo>
                  <a:close/>
                  <a:moveTo>
                    <a:pt x="73" y="136"/>
                  </a:moveTo>
                  <a:lnTo>
                    <a:pt x="73" y="133"/>
                  </a:lnTo>
                  <a:lnTo>
                    <a:pt x="73" y="136"/>
                  </a:lnTo>
                  <a:close/>
                  <a:moveTo>
                    <a:pt x="73" y="136"/>
                  </a:moveTo>
                  <a:lnTo>
                    <a:pt x="73" y="138"/>
                  </a:lnTo>
                  <a:lnTo>
                    <a:pt x="71" y="138"/>
                  </a:lnTo>
                  <a:lnTo>
                    <a:pt x="71" y="141"/>
                  </a:lnTo>
                  <a:lnTo>
                    <a:pt x="73" y="141"/>
                  </a:lnTo>
                  <a:lnTo>
                    <a:pt x="73" y="143"/>
                  </a:lnTo>
                  <a:lnTo>
                    <a:pt x="71" y="143"/>
                  </a:lnTo>
                  <a:lnTo>
                    <a:pt x="68" y="143"/>
                  </a:lnTo>
                  <a:lnTo>
                    <a:pt x="68" y="141"/>
                  </a:lnTo>
                  <a:lnTo>
                    <a:pt x="66" y="141"/>
                  </a:lnTo>
                  <a:lnTo>
                    <a:pt x="64" y="141"/>
                  </a:lnTo>
                  <a:lnTo>
                    <a:pt x="61" y="141"/>
                  </a:lnTo>
                  <a:lnTo>
                    <a:pt x="61" y="138"/>
                  </a:lnTo>
                  <a:lnTo>
                    <a:pt x="61" y="136"/>
                  </a:lnTo>
                  <a:lnTo>
                    <a:pt x="64" y="136"/>
                  </a:lnTo>
                  <a:lnTo>
                    <a:pt x="64" y="138"/>
                  </a:lnTo>
                  <a:lnTo>
                    <a:pt x="66" y="138"/>
                  </a:lnTo>
                  <a:lnTo>
                    <a:pt x="66" y="136"/>
                  </a:lnTo>
                  <a:lnTo>
                    <a:pt x="68" y="136"/>
                  </a:lnTo>
                  <a:lnTo>
                    <a:pt x="68" y="138"/>
                  </a:lnTo>
                  <a:lnTo>
                    <a:pt x="68" y="136"/>
                  </a:lnTo>
                  <a:lnTo>
                    <a:pt x="71" y="136"/>
                  </a:lnTo>
                  <a:lnTo>
                    <a:pt x="71" y="133"/>
                  </a:lnTo>
                  <a:lnTo>
                    <a:pt x="73" y="133"/>
                  </a:lnTo>
                  <a:lnTo>
                    <a:pt x="73" y="136"/>
                  </a:lnTo>
                  <a:close/>
                  <a:moveTo>
                    <a:pt x="52" y="129"/>
                  </a:moveTo>
                  <a:lnTo>
                    <a:pt x="50" y="129"/>
                  </a:lnTo>
                  <a:lnTo>
                    <a:pt x="50" y="126"/>
                  </a:lnTo>
                  <a:lnTo>
                    <a:pt x="52" y="126"/>
                  </a:lnTo>
                  <a:lnTo>
                    <a:pt x="52" y="124"/>
                  </a:lnTo>
                  <a:lnTo>
                    <a:pt x="52" y="126"/>
                  </a:lnTo>
                  <a:lnTo>
                    <a:pt x="52" y="129"/>
                  </a:lnTo>
                  <a:close/>
                  <a:moveTo>
                    <a:pt x="54" y="107"/>
                  </a:moveTo>
                  <a:lnTo>
                    <a:pt x="54" y="110"/>
                  </a:lnTo>
                  <a:lnTo>
                    <a:pt x="54" y="107"/>
                  </a:lnTo>
                  <a:close/>
                  <a:moveTo>
                    <a:pt x="52" y="81"/>
                  </a:moveTo>
                  <a:lnTo>
                    <a:pt x="52" y="79"/>
                  </a:lnTo>
                  <a:lnTo>
                    <a:pt x="52" y="81"/>
                  </a:lnTo>
                  <a:lnTo>
                    <a:pt x="52" y="79"/>
                  </a:lnTo>
                  <a:lnTo>
                    <a:pt x="52" y="81"/>
                  </a:lnTo>
                  <a:close/>
                  <a:moveTo>
                    <a:pt x="140" y="38"/>
                  </a:moveTo>
                  <a:lnTo>
                    <a:pt x="142" y="38"/>
                  </a:lnTo>
                  <a:lnTo>
                    <a:pt x="140" y="38"/>
                  </a:lnTo>
                  <a:close/>
                  <a:moveTo>
                    <a:pt x="137" y="38"/>
                  </a:moveTo>
                  <a:lnTo>
                    <a:pt x="137" y="41"/>
                  </a:lnTo>
                  <a:lnTo>
                    <a:pt x="140" y="41"/>
                  </a:lnTo>
                  <a:lnTo>
                    <a:pt x="140" y="43"/>
                  </a:lnTo>
                  <a:lnTo>
                    <a:pt x="140" y="41"/>
                  </a:lnTo>
                  <a:lnTo>
                    <a:pt x="140" y="43"/>
                  </a:lnTo>
                  <a:lnTo>
                    <a:pt x="137" y="43"/>
                  </a:lnTo>
                  <a:lnTo>
                    <a:pt x="137" y="41"/>
                  </a:lnTo>
                  <a:lnTo>
                    <a:pt x="137" y="43"/>
                  </a:lnTo>
                  <a:lnTo>
                    <a:pt x="137" y="46"/>
                  </a:lnTo>
                  <a:lnTo>
                    <a:pt x="137" y="43"/>
                  </a:lnTo>
                  <a:lnTo>
                    <a:pt x="135" y="43"/>
                  </a:lnTo>
                  <a:lnTo>
                    <a:pt x="135" y="41"/>
                  </a:lnTo>
                  <a:lnTo>
                    <a:pt x="135" y="38"/>
                  </a:lnTo>
                  <a:lnTo>
                    <a:pt x="133" y="38"/>
                  </a:lnTo>
                  <a:lnTo>
                    <a:pt x="135" y="38"/>
                  </a:lnTo>
                  <a:lnTo>
                    <a:pt x="137" y="38"/>
                  </a:lnTo>
                  <a:close/>
                  <a:moveTo>
                    <a:pt x="142" y="38"/>
                  </a:moveTo>
                  <a:lnTo>
                    <a:pt x="140" y="38"/>
                  </a:lnTo>
                  <a:lnTo>
                    <a:pt x="140" y="41"/>
                  </a:lnTo>
                  <a:lnTo>
                    <a:pt x="140" y="38"/>
                  </a:lnTo>
                  <a:lnTo>
                    <a:pt x="140" y="41"/>
                  </a:lnTo>
                  <a:lnTo>
                    <a:pt x="137" y="41"/>
                  </a:lnTo>
                  <a:lnTo>
                    <a:pt x="137" y="38"/>
                  </a:lnTo>
                  <a:lnTo>
                    <a:pt x="140" y="38"/>
                  </a:lnTo>
                  <a:lnTo>
                    <a:pt x="137" y="38"/>
                  </a:lnTo>
                  <a:lnTo>
                    <a:pt x="140" y="38"/>
                  </a:lnTo>
                  <a:lnTo>
                    <a:pt x="142" y="38"/>
                  </a:lnTo>
                  <a:close/>
                  <a:moveTo>
                    <a:pt x="140" y="36"/>
                  </a:moveTo>
                  <a:lnTo>
                    <a:pt x="142" y="36"/>
                  </a:lnTo>
                  <a:lnTo>
                    <a:pt x="140" y="36"/>
                  </a:lnTo>
                  <a:lnTo>
                    <a:pt x="142" y="36"/>
                  </a:lnTo>
                  <a:lnTo>
                    <a:pt x="140" y="38"/>
                  </a:lnTo>
                  <a:lnTo>
                    <a:pt x="140" y="36"/>
                  </a:lnTo>
                  <a:close/>
                  <a:moveTo>
                    <a:pt x="137" y="34"/>
                  </a:moveTo>
                  <a:lnTo>
                    <a:pt x="135" y="34"/>
                  </a:lnTo>
                  <a:lnTo>
                    <a:pt x="137" y="34"/>
                  </a:lnTo>
                  <a:lnTo>
                    <a:pt x="135" y="34"/>
                  </a:lnTo>
                  <a:lnTo>
                    <a:pt x="137" y="34"/>
                  </a:lnTo>
                  <a:close/>
                  <a:moveTo>
                    <a:pt x="133" y="27"/>
                  </a:moveTo>
                  <a:lnTo>
                    <a:pt x="133" y="24"/>
                  </a:lnTo>
                  <a:lnTo>
                    <a:pt x="133" y="27"/>
                  </a:lnTo>
                  <a:close/>
                  <a:moveTo>
                    <a:pt x="133" y="24"/>
                  </a:moveTo>
                  <a:lnTo>
                    <a:pt x="135" y="24"/>
                  </a:lnTo>
                  <a:lnTo>
                    <a:pt x="133" y="24"/>
                  </a:lnTo>
                  <a:lnTo>
                    <a:pt x="133" y="27"/>
                  </a:lnTo>
                  <a:lnTo>
                    <a:pt x="135" y="27"/>
                  </a:lnTo>
                  <a:lnTo>
                    <a:pt x="133" y="27"/>
                  </a:lnTo>
                  <a:lnTo>
                    <a:pt x="133" y="24"/>
                  </a:lnTo>
                  <a:close/>
                  <a:moveTo>
                    <a:pt x="135" y="24"/>
                  </a:moveTo>
                  <a:lnTo>
                    <a:pt x="133" y="24"/>
                  </a:lnTo>
                  <a:lnTo>
                    <a:pt x="135" y="24"/>
                  </a:lnTo>
                  <a:close/>
                  <a:moveTo>
                    <a:pt x="130" y="22"/>
                  </a:moveTo>
                  <a:lnTo>
                    <a:pt x="130" y="24"/>
                  </a:lnTo>
                  <a:lnTo>
                    <a:pt x="130" y="22"/>
                  </a:lnTo>
                  <a:close/>
                  <a:moveTo>
                    <a:pt x="135" y="19"/>
                  </a:moveTo>
                  <a:lnTo>
                    <a:pt x="135" y="22"/>
                  </a:lnTo>
                  <a:lnTo>
                    <a:pt x="133" y="22"/>
                  </a:lnTo>
                  <a:lnTo>
                    <a:pt x="133" y="24"/>
                  </a:lnTo>
                  <a:lnTo>
                    <a:pt x="133" y="22"/>
                  </a:lnTo>
                  <a:lnTo>
                    <a:pt x="135" y="22"/>
                  </a:lnTo>
                  <a:lnTo>
                    <a:pt x="135" y="19"/>
                  </a:lnTo>
                  <a:close/>
                  <a:moveTo>
                    <a:pt x="133" y="17"/>
                  </a:moveTo>
                  <a:lnTo>
                    <a:pt x="133" y="19"/>
                  </a:lnTo>
                  <a:lnTo>
                    <a:pt x="130" y="19"/>
                  </a:lnTo>
                  <a:lnTo>
                    <a:pt x="130" y="17"/>
                  </a:lnTo>
                  <a:lnTo>
                    <a:pt x="130" y="19"/>
                  </a:lnTo>
                  <a:lnTo>
                    <a:pt x="130" y="17"/>
                  </a:lnTo>
                  <a:lnTo>
                    <a:pt x="133" y="17"/>
                  </a:lnTo>
                  <a:close/>
                  <a:moveTo>
                    <a:pt x="135" y="15"/>
                  </a:moveTo>
                  <a:lnTo>
                    <a:pt x="135" y="17"/>
                  </a:lnTo>
                  <a:lnTo>
                    <a:pt x="135" y="15"/>
                  </a:lnTo>
                  <a:close/>
                  <a:moveTo>
                    <a:pt x="137" y="15"/>
                  </a:moveTo>
                  <a:lnTo>
                    <a:pt x="137" y="17"/>
                  </a:lnTo>
                  <a:lnTo>
                    <a:pt x="137" y="15"/>
                  </a:lnTo>
                  <a:lnTo>
                    <a:pt x="137" y="17"/>
                  </a:lnTo>
                  <a:lnTo>
                    <a:pt x="135" y="17"/>
                  </a:lnTo>
                  <a:lnTo>
                    <a:pt x="135" y="19"/>
                  </a:lnTo>
                  <a:lnTo>
                    <a:pt x="135" y="17"/>
                  </a:lnTo>
                  <a:lnTo>
                    <a:pt x="135" y="15"/>
                  </a:lnTo>
                  <a:lnTo>
                    <a:pt x="137" y="15"/>
                  </a:lnTo>
                  <a:close/>
                  <a:moveTo>
                    <a:pt x="137" y="15"/>
                  </a:moveTo>
                  <a:lnTo>
                    <a:pt x="135" y="15"/>
                  </a:lnTo>
                  <a:lnTo>
                    <a:pt x="137" y="15"/>
                  </a:lnTo>
                  <a:lnTo>
                    <a:pt x="135" y="15"/>
                  </a:lnTo>
                  <a:lnTo>
                    <a:pt x="137" y="15"/>
                  </a:lnTo>
                  <a:close/>
                  <a:moveTo>
                    <a:pt x="137" y="15"/>
                  </a:moveTo>
                  <a:lnTo>
                    <a:pt x="135" y="15"/>
                  </a:lnTo>
                  <a:lnTo>
                    <a:pt x="137" y="15"/>
                  </a:lnTo>
                  <a:close/>
                  <a:moveTo>
                    <a:pt x="137" y="12"/>
                  </a:moveTo>
                  <a:lnTo>
                    <a:pt x="140" y="12"/>
                  </a:lnTo>
                  <a:lnTo>
                    <a:pt x="137" y="12"/>
                  </a:lnTo>
                  <a:lnTo>
                    <a:pt x="137" y="15"/>
                  </a:lnTo>
                  <a:lnTo>
                    <a:pt x="137" y="12"/>
                  </a:lnTo>
                  <a:close/>
                  <a:moveTo>
                    <a:pt x="140" y="12"/>
                  </a:moveTo>
                  <a:lnTo>
                    <a:pt x="137" y="12"/>
                  </a:lnTo>
                  <a:lnTo>
                    <a:pt x="140" y="12"/>
                  </a:lnTo>
                  <a:close/>
                  <a:moveTo>
                    <a:pt x="168" y="3"/>
                  </a:moveTo>
                  <a:lnTo>
                    <a:pt x="166" y="3"/>
                  </a:lnTo>
                  <a:lnTo>
                    <a:pt x="168" y="3"/>
                  </a:lnTo>
                  <a:close/>
                  <a:moveTo>
                    <a:pt x="163" y="3"/>
                  </a:moveTo>
                  <a:lnTo>
                    <a:pt x="161" y="3"/>
                  </a:lnTo>
                  <a:lnTo>
                    <a:pt x="163" y="3"/>
                  </a:lnTo>
                  <a:close/>
                  <a:moveTo>
                    <a:pt x="166" y="3"/>
                  </a:moveTo>
                  <a:lnTo>
                    <a:pt x="163" y="3"/>
                  </a:lnTo>
                  <a:lnTo>
                    <a:pt x="166" y="3"/>
                  </a:lnTo>
                  <a:close/>
                  <a:moveTo>
                    <a:pt x="166" y="0"/>
                  </a:moveTo>
                  <a:lnTo>
                    <a:pt x="168" y="0"/>
                  </a:lnTo>
                  <a:lnTo>
                    <a:pt x="166" y="3"/>
                  </a:lnTo>
                  <a:lnTo>
                    <a:pt x="168" y="3"/>
                  </a:lnTo>
                  <a:lnTo>
                    <a:pt x="166" y="3"/>
                  </a:lnTo>
                  <a:lnTo>
                    <a:pt x="16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4" name="Freeform 52481"/>
            <p:cNvSpPr>
              <a:spLocks noEditPoints="1"/>
            </p:cNvSpPr>
            <p:nvPr/>
          </p:nvSpPr>
          <p:spPr bwMode="auto">
            <a:xfrm>
              <a:off x="2511423" y="5021281"/>
              <a:ext cx="452438" cy="622303"/>
            </a:xfrm>
            <a:custGeom>
              <a:avLst/>
              <a:gdLst>
                <a:gd name="T0" fmla="*/ 197 w 285"/>
                <a:gd name="T1" fmla="*/ 392 h 392"/>
                <a:gd name="T2" fmla="*/ 107 w 285"/>
                <a:gd name="T3" fmla="*/ 362 h 392"/>
                <a:gd name="T4" fmla="*/ 107 w 285"/>
                <a:gd name="T5" fmla="*/ 362 h 392"/>
                <a:gd name="T6" fmla="*/ 104 w 285"/>
                <a:gd name="T7" fmla="*/ 359 h 392"/>
                <a:gd name="T8" fmla="*/ 194 w 285"/>
                <a:gd name="T9" fmla="*/ 326 h 392"/>
                <a:gd name="T10" fmla="*/ 194 w 285"/>
                <a:gd name="T11" fmla="*/ 326 h 392"/>
                <a:gd name="T12" fmla="*/ 192 w 285"/>
                <a:gd name="T13" fmla="*/ 326 h 392"/>
                <a:gd name="T14" fmla="*/ 285 w 285"/>
                <a:gd name="T15" fmla="*/ 255 h 392"/>
                <a:gd name="T16" fmla="*/ 285 w 285"/>
                <a:gd name="T17" fmla="*/ 255 h 392"/>
                <a:gd name="T18" fmla="*/ 138 w 285"/>
                <a:gd name="T19" fmla="*/ 228 h 392"/>
                <a:gd name="T20" fmla="*/ 14 w 285"/>
                <a:gd name="T21" fmla="*/ 221 h 392"/>
                <a:gd name="T22" fmla="*/ 14 w 285"/>
                <a:gd name="T23" fmla="*/ 221 h 392"/>
                <a:gd name="T24" fmla="*/ 9 w 285"/>
                <a:gd name="T25" fmla="*/ 219 h 392"/>
                <a:gd name="T26" fmla="*/ 9 w 285"/>
                <a:gd name="T27" fmla="*/ 212 h 392"/>
                <a:gd name="T28" fmla="*/ 9 w 285"/>
                <a:gd name="T29" fmla="*/ 212 h 392"/>
                <a:gd name="T30" fmla="*/ 0 w 285"/>
                <a:gd name="T31" fmla="*/ 209 h 392"/>
                <a:gd name="T32" fmla="*/ 100 w 285"/>
                <a:gd name="T33" fmla="*/ 46 h 392"/>
                <a:gd name="T34" fmla="*/ 100 w 285"/>
                <a:gd name="T35" fmla="*/ 46 h 392"/>
                <a:gd name="T36" fmla="*/ 104 w 285"/>
                <a:gd name="T37" fmla="*/ 46 h 392"/>
                <a:gd name="T38" fmla="*/ 104 w 285"/>
                <a:gd name="T39" fmla="*/ 43 h 392"/>
                <a:gd name="T40" fmla="*/ 104 w 285"/>
                <a:gd name="T41" fmla="*/ 43 h 392"/>
                <a:gd name="T42" fmla="*/ 100 w 285"/>
                <a:gd name="T43" fmla="*/ 36 h 392"/>
                <a:gd name="T44" fmla="*/ 109 w 285"/>
                <a:gd name="T45" fmla="*/ 36 h 392"/>
                <a:gd name="T46" fmla="*/ 109 w 285"/>
                <a:gd name="T47" fmla="*/ 36 h 392"/>
                <a:gd name="T48" fmla="*/ 97 w 285"/>
                <a:gd name="T49" fmla="*/ 36 h 392"/>
                <a:gd name="T50" fmla="*/ 102 w 285"/>
                <a:gd name="T51" fmla="*/ 34 h 392"/>
                <a:gd name="T52" fmla="*/ 102 w 285"/>
                <a:gd name="T53" fmla="*/ 34 h 392"/>
                <a:gd name="T54" fmla="*/ 100 w 285"/>
                <a:gd name="T55" fmla="*/ 31 h 392"/>
                <a:gd name="T56" fmla="*/ 102 w 285"/>
                <a:gd name="T57" fmla="*/ 31 h 392"/>
                <a:gd name="T58" fmla="*/ 102 w 285"/>
                <a:gd name="T59" fmla="*/ 31 h 392"/>
                <a:gd name="T60" fmla="*/ 97 w 285"/>
                <a:gd name="T61" fmla="*/ 24 h 392"/>
                <a:gd name="T62" fmla="*/ 95 w 285"/>
                <a:gd name="T63" fmla="*/ 24 h 392"/>
                <a:gd name="T64" fmla="*/ 95 w 285"/>
                <a:gd name="T65" fmla="*/ 22 h 392"/>
                <a:gd name="T66" fmla="*/ 95 w 285"/>
                <a:gd name="T67" fmla="*/ 24 h 392"/>
                <a:gd name="T68" fmla="*/ 97 w 285"/>
                <a:gd name="T69" fmla="*/ 17 h 392"/>
                <a:gd name="T70" fmla="*/ 102 w 285"/>
                <a:gd name="T71" fmla="*/ 15 h 392"/>
                <a:gd name="T72" fmla="*/ 102 w 285"/>
                <a:gd name="T73" fmla="*/ 15 h 392"/>
                <a:gd name="T74" fmla="*/ 102 w 285"/>
                <a:gd name="T75" fmla="*/ 15 h 392"/>
                <a:gd name="T76" fmla="*/ 104 w 285"/>
                <a:gd name="T77" fmla="*/ 15 h 392"/>
                <a:gd name="T78" fmla="*/ 104 w 285"/>
                <a:gd name="T79" fmla="*/ 15 h 392"/>
                <a:gd name="T80" fmla="*/ 102 w 285"/>
                <a:gd name="T81" fmla="*/ 15 h 392"/>
                <a:gd name="T82" fmla="*/ 104 w 285"/>
                <a:gd name="T83" fmla="*/ 15 h 392"/>
                <a:gd name="T84" fmla="*/ 104 w 285"/>
                <a:gd name="T85" fmla="*/ 15 h 392"/>
                <a:gd name="T86" fmla="*/ 104 w 285"/>
                <a:gd name="T87" fmla="*/ 12 h 392"/>
                <a:gd name="T88" fmla="*/ 107 w 285"/>
                <a:gd name="T89" fmla="*/ 12 h 392"/>
                <a:gd name="T90" fmla="*/ 107 w 285"/>
                <a:gd name="T91" fmla="*/ 12 h 392"/>
                <a:gd name="T92" fmla="*/ 107 w 285"/>
                <a:gd name="T93" fmla="*/ 12 h 392"/>
                <a:gd name="T94" fmla="*/ 104 w 285"/>
                <a:gd name="T95" fmla="*/ 15 h 392"/>
                <a:gd name="T96" fmla="*/ 107 w 285"/>
                <a:gd name="T97" fmla="*/ 12 h 392"/>
                <a:gd name="T98" fmla="*/ 107 w 285"/>
                <a:gd name="T99" fmla="*/ 12 h 392"/>
                <a:gd name="T100" fmla="*/ 109 w 285"/>
                <a:gd name="T101" fmla="*/ 12 h 392"/>
                <a:gd name="T102" fmla="*/ 109 w 285"/>
                <a:gd name="T103" fmla="*/ 12 h 392"/>
                <a:gd name="T104" fmla="*/ 107 w 285"/>
                <a:gd name="T105" fmla="*/ 12 h 392"/>
                <a:gd name="T106" fmla="*/ 107 w 285"/>
                <a:gd name="T107" fmla="*/ 12 h 392"/>
                <a:gd name="T108" fmla="*/ 107 w 285"/>
                <a:gd name="T109" fmla="*/ 10 h 392"/>
                <a:gd name="T110" fmla="*/ 130 w 285"/>
                <a:gd name="T111" fmla="*/ 3 h 392"/>
                <a:gd name="T112" fmla="*/ 130 w 285"/>
                <a:gd name="T113"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392">
                  <a:moveTo>
                    <a:pt x="197" y="390"/>
                  </a:moveTo>
                  <a:lnTo>
                    <a:pt x="197" y="392"/>
                  </a:lnTo>
                  <a:lnTo>
                    <a:pt x="197" y="390"/>
                  </a:lnTo>
                  <a:close/>
                  <a:moveTo>
                    <a:pt x="107" y="362"/>
                  </a:moveTo>
                  <a:lnTo>
                    <a:pt x="107" y="359"/>
                  </a:lnTo>
                  <a:lnTo>
                    <a:pt x="107" y="362"/>
                  </a:lnTo>
                  <a:close/>
                  <a:moveTo>
                    <a:pt x="107" y="359"/>
                  </a:moveTo>
                  <a:lnTo>
                    <a:pt x="104" y="359"/>
                  </a:lnTo>
                  <a:lnTo>
                    <a:pt x="107" y="359"/>
                  </a:lnTo>
                  <a:close/>
                  <a:moveTo>
                    <a:pt x="194" y="326"/>
                  </a:moveTo>
                  <a:lnTo>
                    <a:pt x="192" y="326"/>
                  </a:lnTo>
                  <a:lnTo>
                    <a:pt x="194" y="326"/>
                  </a:lnTo>
                  <a:close/>
                  <a:moveTo>
                    <a:pt x="194" y="326"/>
                  </a:moveTo>
                  <a:lnTo>
                    <a:pt x="192" y="326"/>
                  </a:lnTo>
                  <a:lnTo>
                    <a:pt x="194" y="326"/>
                  </a:lnTo>
                  <a:close/>
                  <a:moveTo>
                    <a:pt x="285" y="255"/>
                  </a:moveTo>
                  <a:lnTo>
                    <a:pt x="285" y="252"/>
                  </a:lnTo>
                  <a:lnTo>
                    <a:pt x="285" y="255"/>
                  </a:lnTo>
                  <a:close/>
                  <a:moveTo>
                    <a:pt x="140" y="228"/>
                  </a:moveTo>
                  <a:lnTo>
                    <a:pt x="138" y="228"/>
                  </a:lnTo>
                  <a:lnTo>
                    <a:pt x="140" y="228"/>
                  </a:lnTo>
                  <a:close/>
                  <a:moveTo>
                    <a:pt x="14" y="221"/>
                  </a:moveTo>
                  <a:lnTo>
                    <a:pt x="12" y="221"/>
                  </a:lnTo>
                  <a:lnTo>
                    <a:pt x="14" y="221"/>
                  </a:lnTo>
                  <a:close/>
                  <a:moveTo>
                    <a:pt x="12" y="219"/>
                  </a:moveTo>
                  <a:lnTo>
                    <a:pt x="9" y="219"/>
                  </a:lnTo>
                  <a:lnTo>
                    <a:pt x="12" y="219"/>
                  </a:lnTo>
                  <a:close/>
                  <a:moveTo>
                    <a:pt x="9" y="212"/>
                  </a:moveTo>
                  <a:lnTo>
                    <a:pt x="7" y="212"/>
                  </a:lnTo>
                  <a:lnTo>
                    <a:pt x="9" y="212"/>
                  </a:lnTo>
                  <a:close/>
                  <a:moveTo>
                    <a:pt x="0" y="207"/>
                  </a:moveTo>
                  <a:lnTo>
                    <a:pt x="0" y="209"/>
                  </a:lnTo>
                  <a:lnTo>
                    <a:pt x="0" y="207"/>
                  </a:lnTo>
                  <a:close/>
                  <a:moveTo>
                    <a:pt x="100" y="46"/>
                  </a:moveTo>
                  <a:lnTo>
                    <a:pt x="102" y="46"/>
                  </a:lnTo>
                  <a:lnTo>
                    <a:pt x="100" y="46"/>
                  </a:lnTo>
                  <a:close/>
                  <a:moveTo>
                    <a:pt x="104" y="43"/>
                  </a:moveTo>
                  <a:lnTo>
                    <a:pt x="104" y="46"/>
                  </a:lnTo>
                  <a:lnTo>
                    <a:pt x="104" y="43"/>
                  </a:lnTo>
                  <a:close/>
                  <a:moveTo>
                    <a:pt x="104" y="43"/>
                  </a:moveTo>
                  <a:lnTo>
                    <a:pt x="107" y="43"/>
                  </a:lnTo>
                  <a:lnTo>
                    <a:pt x="104" y="43"/>
                  </a:lnTo>
                  <a:close/>
                  <a:moveTo>
                    <a:pt x="100" y="38"/>
                  </a:moveTo>
                  <a:lnTo>
                    <a:pt x="100" y="36"/>
                  </a:lnTo>
                  <a:lnTo>
                    <a:pt x="100" y="38"/>
                  </a:lnTo>
                  <a:close/>
                  <a:moveTo>
                    <a:pt x="109" y="36"/>
                  </a:moveTo>
                  <a:lnTo>
                    <a:pt x="107" y="36"/>
                  </a:lnTo>
                  <a:lnTo>
                    <a:pt x="109" y="36"/>
                  </a:lnTo>
                  <a:close/>
                  <a:moveTo>
                    <a:pt x="100" y="36"/>
                  </a:moveTo>
                  <a:lnTo>
                    <a:pt x="97" y="36"/>
                  </a:lnTo>
                  <a:lnTo>
                    <a:pt x="100" y="36"/>
                  </a:lnTo>
                  <a:close/>
                  <a:moveTo>
                    <a:pt x="102" y="34"/>
                  </a:moveTo>
                  <a:lnTo>
                    <a:pt x="102" y="31"/>
                  </a:lnTo>
                  <a:lnTo>
                    <a:pt x="102" y="34"/>
                  </a:lnTo>
                  <a:close/>
                  <a:moveTo>
                    <a:pt x="102" y="31"/>
                  </a:moveTo>
                  <a:lnTo>
                    <a:pt x="100" y="31"/>
                  </a:lnTo>
                  <a:lnTo>
                    <a:pt x="102" y="31"/>
                  </a:lnTo>
                  <a:close/>
                  <a:moveTo>
                    <a:pt x="102" y="31"/>
                  </a:moveTo>
                  <a:lnTo>
                    <a:pt x="100" y="31"/>
                  </a:lnTo>
                  <a:lnTo>
                    <a:pt x="102" y="31"/>
                  </a:lnTo>
                  <a:close/>
                  <a:moveTo>
                    <a:pt x="100" y="24"/>
                  </a:moveTo>
                  <a:lnTo>
                    <a:pt x="97" y="24"/>
                  </a:lnTo>
                  <a:lnTo>
                    <a:pt x="100" y="24"/>
                  </a:lnTo>
                  <a:close/>
                  <a:moveTo>
                    <a:pt x="95" y="24"/>
                  </a:moveTo>
                  <a:lnTo>
                    <a:pt x="97" y="22"/>
                  </a:lnTo>
                  <a:lnTo>
                    <a:pt x="95" y="22"/>
                  </a:lnTo>
                  <a:lnTo>
                    <a:pt x="97" y="22"/>
                  </a:lnTo>
                  <a:lnTo>
                    <a:pt x="95" y="24"/>
                  </a:lnTo>
                  <a:close/>
                  <a:moveTo>
                    <a:pt x="97" y="19"/>
                  </a:moveTo>
                  <a:lnTo>
                    <a:pt x="97" y="17"/>
                  </a:lnTo>
                  <a:lnTo>
                    <a:pt x="97" y="19"/>
                  </a:lnTo>
                  <a:close/>
                  <a:moveTo>
                    <a:pt x="102" y="15"/>
                  </a:moveTo>
                  <a:lnTo>
                    <a:pt x="100" y="15"/>
                  </a:lnTo>
                  <a:lnTo>
                    <a:pt x="102" y="15"/>
                  </a:lnTo>
                  <a:close/>
                  <a:moveTo>
                    <a:pt x="100" y="15"/>
                  </a:moveTo>
                  <a:lnTo>
                    <a:pt x="102" y="15"/>
                  </a:lnTo>
                  <a:lnTo>
                    <a:pt x="100" y="15"/>
                  </a:lnTo>
                  <a:close/>
                  <a:moveTo>
                    <a:pt x="104" y="15"/>
                  </a:moveTo>
                  <a:lnTo>
                    <a:pt x="102" y="15"/>
                  </a:lnTo>
                  <a:lnTo>
                    <a:pt x="104" y="15"/>
                  </a:lnTo>
                  <a:close/>
                  <a:moveTo>
                    <a:pt x="104" y="15"/>
                  </a:moveTo>
                  <a:lnTo>
                    <a:pt x="102" y="15"/>
                  </a:lnTo>
                  <a:lnTo>
                    <a:pt x="104" y="15"/>
                  </a:lnTo>
                  <a:close/>
                  <a:moveTo>
                    <a:pt x="104" y="15"/>
                  </a:moveTo>
                  <a:lnTo>
                    <a:pt x="104" y="12"/>
                  </a:lnTo>
                  <a:lnTo>
                    <a:pt x="104" y="15"/>
                  </a:lnTo>
                  <a:close/>
                  <a:moveTo>
                    <a:pt x="104" y="15"/>
                  </a:moveTo>
                  <a:lnTo>
                    <a:pt x="104" y="12"/>
                  </a:lnTo>
                  <a:lnTo>
                    <a:pt x="104" y="15"/>
                  </a:lnTo>
                  <a:close/>
                  <a:moveTo>
                    <a:pt x="107" y="12"/>
                  </a:moveTo>
                  <a:lnTo>
                    <a:pt x="107" y="15"/>
                  </a:lnTo>
                  <a:lnTo>
                    <a:pt x="107" y="12"/>
                  </a:lnTo>
                  <a:lnTo>
                    <a:pt x="107" y="15"/>
                  </a:lnTo>
                  <a:lnTo>
                    <a:pt x="107" y="12"/>
                  </a:lnTo>
                  <a:close/>
                  <a:moveTo>
                    <a:pt x="104" y="12"/>
                  </a:moveTo>
                  <a:lnTo>
                    <a:pt x="104" y="15"/>
                  </a:lnTo>
                  <a:lnTo>
                    <a:pt x="104" y="12"/>
                  </a:lnTo>
                  <a:close/>
                  <a:moveTo>
                    <a:pt x="107" y="12"/>
                  </a:moveTo>
                  <a:lnTo>
                    <a:pt x="104" y="12"/>
                  </a:lnTo>
                  <a:lnTo>
                    <a:pt x="107" y="12"/>
                  </a:lnTo>
                  <a:close/>
                  <a:moveTo>
                    <a:pt x="109" y="10"/>
                  </a:moveTo>
                  <a:lnTo>
                    <a:pt x="109" y="12"/>
                  </a:lnTo>
                  <a:lnTo>
                    <a:pt x="109" y="10"/>
                  </a:lnTo>
                  <a:lnTo>
                    <a:pt x="109" y="12"/>
                  </a:lnTo>
                  <a:lnTo>
                    <a:pt x="109" y="10"/>
                  </a:lnTo>
                  <a:close/>
                  <a:moveTo>
                    <a:pt x="107" y="12"/>
                  </a:moveTo>
                  <a:lnTo>
                    <a:pt x="107" y="10"/>
                  </a:lnTo>
                  <a:lnTo>
                    <a:pt x="107" y="12"/>
                  </a:lnTo>
                  <a:close/>
                  <a:moveTo>
                    <a:pt x="107" y="12"/>
                  </a:moveTo>
                  <a:lnTo>
                    <a:pt x="107" y="10"/>
                  </a:lnTo>
                  <a:lnTo>
                    <a:pt x="107" y="12"/>
                  </a:lnTo>
                  <a:close/>
                  <a:moveTo>
                    <a:pt x="130" y="3"/>
                  </a:moveTo>
                  <a:lnTo>
                    <a:pt x="128" y="3"/>
                  </a:lnTo>
                  <a:lnTo>
                    <a:pt x="130" y="0"/>
                  </a:lnTo>
                  <a:lnTo>
                    <a:pt x="130"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5" name="Freeform 52483"/>
            <p:cNvSpPr>
              <a:spLocks/>
            </p:cNvSpPr>
            <p:nvPr/>
          </p:nvSpPr>
          <p:spPr bwMode="auto">
            <a:xfrm>
              <a:off x="1908174" y="4757754"/>
              <a:ext cx="11113" cy="7938"/>
            </a:xfrm>
            <a:custGeom>
              <a:avLst/>
              <a:gdLst>
                <a:gd name="T0" fmla="*/ 3 w 7"/>
                <a:gd name="T1" fmla="*/ 0 h 5"/>
                <a:gd name="T2" fmla="*/ 5 w 7"/>
                <a:gd name="T3" fmla="*/ 0 h 5"/>
                <a:gd name="T4" fmla="*/ 5 w 7"/>
                <a:gd name="T5" fmla="*/ 0 h 5"/>
                <a:gd name="T6" fmla="*/ 5 w 7"/>
                <a:gd name="T7" fmla="*/ 0 h 5"/>
                <a:gd name="T8" fmla="*/ 5 w 7"/>
                <a:gd name="T9" fmla="*/ 0 h 5"/>
                <a:gd name="T10" fmla="*/ 5 w 7"/>
                <a:gd name="T11" fmla="*/ 0 h 5"/>
                <a:gd name="T12" fmla="*/ 5 w 7"/>
                <a:gd name="T13" fmla="*/ 0 h 5"/>
                <a:gd name="T14" fmla="*/ 7 w 7"/>
                <a:gd name="T15" fmla="*/ 0 h 5"/>
                <a:gd name="T16" fmla="*/ 7 w 7"/>
                <a:gd name="T17" fmla="*/ 0 h 5"/>
                <a:gd name="T18" fmla="*/ 7 w 7"/>
                <a:gd name="T19" fmla="*/ 0 h 5"/>
                <a:gd name="T20" fmla="*/ 7 w 7"/>
                <a:gd name="T21" fmla="*/ 0 h 5"/>
                <a:gd name="T22" fmla="*/ 7 w 7"/>
                <a:gd name="T23" fmla="*/ 0 h 5"/>
                <a:gd name="T24" fmla="*/ 7 w 7"/>
                <a:gd name="T25" fmla="*/ 0 h 5"/>
                <a:gd name="T26" fmla="*/ 7 w 7"/>
                <a:gd name="T27" fmla="*/ 3 h 5"/>
                <a:gd name="T28" fmla="*/ 7 w 7"/>
                <a:gd name="T29" fmla="*/ 3 h 5"/>
                <a:gd name="T30" fmla="*/ 7 w 7"/>
                <a:gd name="T31" fmla="*/ 3 h 5"/>
                <a:gd name="T32" fmla="*/ 7 w 7"/>
                <a:gd name="T33" fmla="*/ 3 h 5"/>
                <a:gd name="T34" fmla="*/ 7 w 7"/>
                <a:gd name="T35" fmla="*/ 3 h 5"/>
                <a:gd name="T36" fmla="*/ 7 w 7"/>
                <a:gd name="T37" fmla="*/ 3 h 5"/>
                <a:gd name="T38" fmla="*/ 7 w 7"/>
                <a:gd name="T39" fmla="*/ 5 h 5"/>
                <a:gd name="T40" fmla="*/ 7 w 7"/>
                <a:gd name="T41" fmla="*/ 5 h 5"/>
                <a:gd name="T42" fmla="*/ 7 w 7"/>
                <a:gd name="T43" fmla="*/ 5 h 5"/>
                <a:gd name="T44" fmla="*/ 7 w 7"/>
                <a:gd name="T45" fmla="*/ 5 h 5"/>
                <a:gd name="T46" fmla="*/ 5 w 7"/>
                <a:gd name="T47" fmla="*/ 5 h 5"/>
                <a:gd name="T48" fmla="*/ 5 w 7"/>
                <a:gd name="T49" fmla="*/ 3 h 5"/>
                <a:gd name="T50" fmla="*/ 5 w 7"/>
                <a:gd name="T51" fmla="*/ 5 h 5"/>
                <a:gd name="T52" fmla="*/ 5 w 7"/>
                <a:gd name="T53" fmla="*/ 5 h 5"/>
                <a:gd name="T54" fmla="*/ 5 w 7"/>
                <a:gd name="T55" fmla="*/ 5 h 5"/>
                <a:gd name="T56" fmla="*/ 5 w 7"/>
                <a:gd name="T57" fmla="*/ 5 h 5"/>
                <a:gd name="T58" fmla="*/ 5 w 7"/>
                <a:gd name="T59" fmla="*/ 5 h 5"/>
                <a:gd name="T60" fmla="*/ 5 w 7"/>
                <a:gd name="T61" fmla="*/ 3 h 5"/>
                <a:gd name="T62" fmla="*/ 5 w 7"/>
                <a:gd name="T63" fmla="*/ 3 h 5"/>
                <a:gd name="T64" fmla="*/ 3 w 7"/>
                <a:gd name="T65" fmla="*/ 3 h 5"/>
                <a:gd name="T66" fmla="*/ 3 w 7"/>
                <a:gd name="T67" fmla="*/ 3 h 5"/>
                <a:gd name="T68" fmla="*/ 3 w 7"/>
                <a:gd name="T69" fmla="*/ 3 h 5"/>
                <a:gd name="T70" fmla="*/ 3 w 7"/>
                <a:gd name="T71" fmla="*/ 5 h 5"/>
                <a:gd name="T72" fmla="*/ 3 w 7"/>
                <a:gd name="T73" fmla="*/ 5 h 5"/>
                <a:gd name="T74" fmla="*/ 3 w 7"/>
                <a:gd name="T75" fmla="*/ 5 h 5"/>
                <a:gd name="T76" fmla="*/ 3 w 7"/>
                <a:gd name="T77" fmla="*/ 5 h 5"/>
                <a:gd name="T78" fmla="*/ 3 w 7"/>
                <a:gd name="T79" fmla="*/ 3 h 5"/>
                <a:gd name="T80" fmla="*/ 3 w 7"/>
                <a:gd name="T81" fmla="*/ 3 h 5"/>
                <a:gd name="T82" fmla="*/ 3 w 7"/>
                <a:gd name="T83" fmla="*/ 3 h 5"/>
                <a:gd name="T84" fmla="*/ 3 w 7"/>
                <a:gd name="T85" fmla="*/ 3 h 5"/>
                <a:gd name="T86" fmla="*/ 3 w 7"/>
                <a:gd name="T87" fmla="*/ 3 h 5"/>
                <a:gd name="T88" fmla="*/ 0 w 7"/>
                <a:gd name="T89" fmla="*/ 5 h 5"/>
                <a:gd name="T90" fmla="*/ 0 w 7"/>
                <a:gd name="T91" fmla="*/ 3 h 5"/>
                <a:gd name="T92" fmla="*/ 0 w 7"/>
                <a:gd name="T93" fmla="*/ 3 h 5"/>
                <a:gd name="T94" fmla="*/ 0 w 7"/>
                <a:gd name="T95" fmla="*/ 3 h 5"/>
                <a:gd name="T96" fmla="*/ 3 w 7"/>
                <a:gd name="T97" fmla="*/ 3 h 5"/>
                <a:gd name="T98" fmla="*/ 0 w 7"/>
                <a:gd name="T99" fmla="*/ 3 h 5"/>
                <a:gd name="T100" fmla="*/ 0 w 7"/>
                <a:gd name="T101" fmla="*/ 0 h 5"/>
                <a:gd name="T102" fmla="*/ 0 w 7"/>
                <a:gd name="T103" fmla="*/ 0 h 5"/>
                <a:gd name="T104" fmla="*/ 0 w 7"/>
                <a:gd name="T105" fmla="*/ 0 h 5"/>
                <a:gd name="T106" fmla="*/ 0 w 7"/>
                <a:gd name="T107" fmla="*/ 0 h 5"/>
                <a:gd name="T108" fmla="*/ 0 w 7"/>
                <a:gd name="T109" fmla="*/ 0 h 5"/>
                <a:gd name="T110" fmla="*/ 3 w 7"/>
                <a:gd name="T111" fmla="*/ 0 h 5"/>
                <a:gd name="T112" fmla="*/ 3 w 7"/>
                <a:gd name="T113" fmla="*/ 0 h 5"/>
                <a:gd name="T114" fmla="*/ 3 w 7"/>
                <a:gd name="T115" fmla="*/ 0 h 5"/>
                <a:gd name="T116" fmla="*/ 3 w 7"/>
                <a:gd name="T117" fmla="*/ 0 h 5"/>
                <a:gd name="T118" fmla="*/ 3 w 7"/>
                <a:gd name="T119" fmla="*/ 0 h 5"/>
                <a:gd name="T120" fmla="*/ 3 w 7"/>
                <a:gd name="T1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 h="5">
                  <a:moveTo>
                    <a:pt x="3" y="0"/>
                  </a:moveTo>
                  <a:lnTo>
                    <a:pt x="3" y="0"/>
                  </a:lnTo>
                  <a:lnTo>
                    <a:pt x="3"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3"/>
                  </a:lnTo>
                  <a:lnTo>
                    <a:pt x="7" y="0"/>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5"/>
                  </a:lnTo>
                  <a:lnTo>
                    <a:pt x="7" y="5"/>
                  </a:lnTo>
                  <a:lnTo>
                    <a:pt x="7" y="5"/>
                  </a:lnTo>
                  <a:lnTo>
                    <a:pt x="7" y="5"/>
                  </a:lnTo>
                  <a:lnTo>
                    <a:pt x="7" y="5"/>
                  </a:lnTo>
                  <a:lnTo>
                    <a:pt x="7" y="5"/>
                  </a:lnTo>
                  <a:lnTo>
                    <a:pt x="7" y="5"/>
                  </a:lnTo>
                  <a:lnTo>
                    <a:pt x="7" y="5"/>
                  </a:lnTo>
                  <a:lnTo>
                    <a:pt x="7" y="5"/>
                  </a:lnTo>
                  <a:lnTo>
                    <a:pt x="7" y="5"/>
                  </a:lnTo>
                  <a:lnTo>
                    <a:pt x="7" y="5"/>
                  </a:lnTo>
                  <a:lnTo>
                    <a:pt x="5" y="5"/>
                  </a:lnTo>
                  <a:lnTo>
                    <a:pt x="5" y="5"/>
                  </a:lnTo>
                  <a:lnTo>
                    <a:pt x="5" y="5"/>
                  </a:lnTo>
                  <a:lnTo>
                    <a:pt x="5" y="3"/>
                  </a:lnTo>
                  <a:lnTo>
                    <a:pt x="5" y="3"/>
                  </a:lnTo>
                  <a:lnTo>
                    <a:pt x="5" y="3"/>
                  </a:lnTo>
                  <a:lnTo>
                    <a:pt x="5" y="3"/>
                  </a:lnTo>
                  <a:lnTo>
                    <a:pt x="5" y="3"/>
                  </a:lnTo>
                  <a:lnTo>
                    <a:pt x="5" y="5"/>
                  </a:lnTo>
                  <a:lnTo>
                    <a:pt x="5" y="5"/>
                  </a:lnTo>
                  <a:lnTo>
                    <a:pt x="5" y="5"/>
                  </a:lnTo>
                  <a:lnTo>
                    <a:pt x="5" y="5"/>
                  </a:lnTo>
                  <a:lnTo>
                    <a:pt x="5" y="5"/>
                  </a:lnTo>
                  <a:lnTo>
                    <a:pt x="5" y="5"/>
                  </a:lnTo>
                  <a:lnTo>
                    <a:pt x="5" y="5"/>
                  </a:lnTo>
                  <a:lnTo>
                    <a:pt x="5" y="5"/>
                  </a:lnTo>
                  <a:lnTo>
                    <a:pt x="5" y="5"/>
                  </a:lnTo>
                  <a:lnTo>
                    <a:pt x="5" y="5"/>
                  </a:lnTo>
                  <a:lnTo>
                    <a:pt x="5" y="5"/>
                  </a:lnTo>
                  <a:lnTo>
                    <a:pt x="5" y="5"/>
                  </a:lnTo>
                  <a:lnTo>
                    <a:pt x="5" y="5"/>
                  </a:lnTo>
                  <a:lnTo>
                    <a:pt x="5" y="3"/>
                  </a:lnTo>
                  <a:lnTo>
                    <a:pt x="5" y="3"/>
                  </a:lnTo>
                  <a:lnTo>
                    <a:pt x="5" y="3"/>
                  </a:lnTo>
                  <a:lnTo>
                    <a:pt x="5" y="3"/>
                  </a:lnTo>
                  <a:lnTo>
                    <a:pt x="5" y="3"/>
                  </a:lnTo>
                  <a:lnTo>
                    <a:pt x="5" y="3"/>
                  </a:lnTo>
                  <a:lnTo>
                    <a:pt x="5" y="3"/>
                  </a:lnTo>
                  <a:lnTo>
                    <a:pt x="5" y="3"/>
                  </a:lnTo>
                  <a:lnTo>
                    <a:pt x="3" y="3"/>
                  </a:lnTo>
                  <a:lnTo>
                    <a:pt x="3" y="3"/>
                  </a:lnTo>
                  <a:lnTo>
                    <a:pt x="3" y="3"/>
                  </a:lnTo>
                  <a:lnTo>
                    <a:pt x="3" y="3"/>
                  </a:lnTo>
                  <a:lnTo>
                    <a:pt x="3" y="3"/>
                  </a:lnTo>
                  <a:lnTo>
                    <a:pt x="3" y="3"/>
                  </a:lnTo>
                  <a:lnTo>
                    <a:pt x="3" y="3"/>
                  </a:lnTo>
                  <a:lnTo>
                    <a:pt x="3" y="3"/>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0" y="5"/>
                  </a:lnTo>
                  <a:lnTo>
                    <a:pt x="0" y="3"/>
                  </a:lnTo>
                  <a:lnTo>
                    <a:pt x="0" y="3"/>
                  </a:lnTo>
                  <a:lnTo>
                    <a:pt x="0" y="3"/>
                  </a:lnTo>
                  <a:lnTo>
                    <a:pt x="0" y="3"/>
                  </a:lnTo>
                  <a:lnTo>
                    <a:pt x="0" y="3"/>
                  </a:lnTo>
                  <a:lnTo>
                    <a:pt x="0" y="3"/>
                  </a:lnTo>
                  <a:lnTo>
                    <a:pt x="0" y="3"/>
                  </a:lnTo>
                  <a:lnTo>
                    <a:pt x="0" y="3"/>
                  </a:lnTo>
                  <a:lnTo>
                    <a:pt x="0" y="3"/>
                  </a:lnTo>
                  <a:lnTo>
                    <a:pt x="0" y="3"/>
                  </a:lnTo>
                  <a:lnTo>
                    <a:pt x="0" y="3"/>
                  </a:lnTo>
                  <a:lnTo>
                    <a:pt x="3" y="3"/>
                  </a:lnTo>
                  <a:lnTo>
                    <a:pt x="0" y="3"/>
                  </a:lnTo>
                  <a:lnTo>
                    <a:pt x="0" y="3"/>
                  </a:lnTo>
                  <a:lnTo>
                    <a:pt x="0" y="3"/>
                  </a:lnTo>
                  <a:lnTo>
                    <a:pt x="0" y="3"/>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6" name="Freeform 52484"/>
            <p:cNvSpPr>
              <a:spLocks noEditPoints="1"/>
            </p:cNvSpPr>
            <p:nvPr/>
          </p:nvSpPr>
          <p:spPr bwMode="auto">
            <a:xfrm>
              <a:off x="1912935" y="4754579"/>
              <a:ext cx="14288" cy="11113"/>
            </a:xfrm>
            <a:custGeom>
              <a:avLst/>
              <a:gdLst>
                <a:gd name="T0" fmla="*/ 4 w 9"/>
                <a:gd name="T1" fmla="*/ 7 h 7"/>
                <a:gd name="T2" fmla="*/ 4 w 9"/>
                <a:gd name="T3" fmla="*/ 7 h 7"/>
                <a:gd name="T4" fmla="*/ 4 w 9"/>
                <a:gd name="T5" fmla="*/ 7 h 7"/>
                <a:gd name="T6" fmla="*/ 4 w 9"/>
                <a:gd name="T7" fmla="*/ 7 h 7"/>
                <a:gd name="T8" fmla="*/ 4 w 9"/>
                <a:gd name="T9" fmla="*/ 7 h 7"/>
                <a:gd name="T10" fmla="*/ 2 w 9"/>
                <a:gd name="T11" fmla="*/ 7 h 7"/>
                <a:gd name="T12" fmla="*/ 2 w 9"/>
                <a:gd name="T13" fmla="*/ 7 h 7"/>
                <a:gd name="T14" fmla="*/ 2 w 9"/>
                <a:gd name="T15" fmla="*/ 7 h 7"/>
                <a:gd name="T16" fmla="*/ 2 w 9"/>
                <a:gd name="T17" fmla="*/ 7 h 7"/>
                <a:gd name="T18" fmla="*/ 2 w 9"/>
                <a:gd name="T19" fmla="*/ 7 h 7"/>
                <a:gd name="T20" fmla="*/ 2 w 9"/>
                <a:gd name="T21" fmla="*/ 5 h 7"/>
                <a:gd name="T22" fmla="*/ 2 w 9"/>
                <a:gd name="T23" fmla="*/ 5 h 7"/>
                <a:gd name="T24" fmla="*/ 2 w 9"/>
                <a:gd name="T25" fmla="*/ 5 h 7"/>
                <a:gd name="T26" fmla="*/ 2 w 9"/>
                <a:gd name="T27" fmla="*/ 5 h 7"/>
                <a:gd name="T28" fmla="*/ 2 w 9"/>
                <a:gd name="T29" fmla="*/ 5 h 7"/>
                <a:gd name="T30" fmla="*/ 2 w 9"/>
                <a:gd name="T31" fmla="*/ 5 h 7"/>
                <a:gd name="T32" fmla="*/ 2 w 9"/>
                <a:gd name="T33" fmla="*/ 5 h 7"/>
                <a:gd name="T34" fmla="*/ 0 w 9"/>
                <a:gd name="T35" fmla="*/ 5 h 7"/>
                <a:gd name="T36" fmla="*/ 0 w 9"/>
                <a:gd name="T37" fmla="*/ 5 h 7"/>
                <a:gd name="T38" fmla="*/ 0 w 9"/>
                <a:gd name="T39" fmla="*/ 5 h 7"/>
                <a:gd name="T40" fmla="*/ 0 w 9"/>
                <a:gd name="T41" fmla="*/ 5 h 7"/>
                <a:gd name="T42" fmla="*/ 0 w 9"/>
                <a:gd name="T43" fmla="*/ 5 h 7"/>
                <a:gd name="T44" fmla="*/ 9 w 9"/>
                <a:gd name="T45" fmla="*/ 0 h 7"/>
                <a:gd name="T46" fmla="*/ 9 w 9"/>
                <a:gd name="T47" fmla="*/ 0 h 7"/>
                <a:gd name="T48" fmla="*/ 9 w 9"/>
                <a:gd name="T49" fmla="*/ 0 h 7"/>
                <a:gd name="T50" fmla="*/ 9 w 9"/>
                <a:gd name="T51" fmla="*/ 0 h 7"/>
                <a:gd name="T52" fmla="*/ 9 w 9"/>
                <a:gd name="T53" fmla="*/ 0 h 7"/>
                <a:gd name="T54" fmla="*/ 9 w 9"/>
                <a:gd name="T55" fmla="*/ 0 h 7"/>
                <a:gd name="T56" fmla="*/ 9 w 9"/>
                <a:gd name="T57" fmla="*/ 0 h 7"/>
                <a:gd name="T58" fmla="*/ 9 w 9"/>
                <a:gd name="T59" fmla="*/ 0 h 7"/>
                <a:gd name="T60" fmla="*/ 9 w 9"/>
                <a:gd name="T6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 h="7">
                  <a:moveTo>
                    <a:pt x="4" y="7"/>
                  </a:moveTo>
                  <a:lnTo>
                    <a:pt x="4" y="7"/>
                  </a:lnTo>
                  <a:lnTo>
                    <a:pt x="4" y="7"/>
                  </a:lnTo>
                  <a:lnTo>
                    <a:pt x="4" y="7"/>
                  </a:lnTo>
                  <a:lnTo>
                    <a:pt x="4" y="7"/>
                  </a:lnTo>
                  <a:close/>
                  <a:moveTo>
                    <a:pt x="2" y="7"/>
                  </a:moveTo>
                  <a:lnTo>
                    <a:pt x="2" y="7"/>
                  </a:lnTo>
                  <a:lnTo>
                    <a:pt x="2" y="7"/>
                  </a:lnTo>
                  <a:lnTo>
                    <a:pt x="2" y="7"/>
                  </a:lnTo>
                  <a:lnTo>
                    <a:pt x="2" y="7"/>
                  </a:lnTo>
                  <a:close/>
                  <a:moveTo>
                    <a:pt x="2" y="5"/>
                  </a:moveTo>
                  <a:lnTo>
                    <a:pt x="2" y="5"/>
                  </a:lnTo>
                  <a:lnTo>
                    <a:pt x="2" y="5"/>
                  </a:lnTo>
                  <a:lnTo>
                    <a:pt x="2" y="5"/>
                  </a:lnTo>
                  <a:lnTo>
                    <a:pt x="2" y="5"/>
                  </a:lnTo>
                  <a:lnTo>
                    <a:pt x="2" y="5"/>
                  </a:lnTo>
                  <a:lnTo>
                    <a:pt x="2" y="5"/>
                  </a:lnTo>
                  <a:close/>
                  <a:moveTo>
                    <a:pt x="0" y="5"/>
                  </a:moveTo>
                  <a:lnTo>
                    <a:pt x="0" y="5"/>
                  </a:lnTo>
                  <a:lnTo>
                    <a:pt x="0" y="5"/>
                  </a:lnTo>
                  <a:lnTo>
                    <a:pt x="0" y="5"/>
                  </a:lnTo>
                  <a:lnTo>
                    <a:pt x="0" y="5"/>
                  </a:lnTo>
                  <a:close/>
                  <a:moveTo>
                    <a:pt x="9" y="0"/>
                  </a:moveTo>
                  <a:lnTo>
                    <a:pt x="9" y="0"/>
                  </a:lnTo>
                  <a:lnTo>
                    <a:pt x="9" y="0"/>
                  </a:lnTo>
                  <a:lnTo>
                    <a:pt x="9" y="0"/>
                  </a:lnTo>
                  <a:close/>
                  <a:moveTo>
                    <a:pt x="9" y="0"/>
                  </a:moveTo>
                  <a:lnTo>
                    <a:pt x="9" y="0"/>
                  </a:lnTo>
                  <a:lnTo>
                    <a:pt x="9" y="0"/>
                  </a:lnTo>
                  <a:lnTo>
                    <a:pt x="9" y="0"/>
                  </a:lnTo>
                  <a:lnTo>
                    <a:pt x="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7" name="Freeform 52485"/>
            <p:cNvSpPr>
              <a:spLocks/>
            </p:cNvSpPr>
            <p:nvPr/>
          </p:nvSpPr>
          <p:spPr bwMode="auto">
            <a:xfrm>
              <a:off x="3125784" y="4056076"/>
              <a:ext cx="379413" cy="196850"/>
            </a:xfrm>
            <a:custGeom>
              <a:avLst/>
              <a:gdLst>
                <a:gd name="T0" fmla="*/ 2 w 239"/>
                <a:gd name="T1" fmla="*/ 67 h 124"/>
                <a:gd name="T2" fmla="*/ 12 w 239"/>
                <a:gd name="T3" fmla="*/ 55 h 124"/>
                <a:gd name="T4" fmla="*/ 16 w 239"/>
                <a:gd name="T5" fmla="*/ 41 h 124"/>
                <a:gd name="T6" fmla="*/ 19 w 239"/>
                <a:gd name="T7" fmla="*/ 38 h 124"/>
                <a:gd name="T8" fmla="*/ 19 w 239"/>
                <a:gd name="T9" fmla="*/ 38 h 124"/>
                <a:gd name="T10" fmla="*/ 21 w 239"/>
                <a:gd name="T11" fmla="*/ 29 h 124"/>
                <a:gd name="T12" fmla="*/ 35 w 239"/>
                <a:gd name="T13" fmla="*/ 24 h 124"/>
                <a:gd name="T14" fmla="*/ 52 w 239"/>
                <a:gd name="T15" fmla="*/ 17 h 124"/>
                <a:gd name="T16" fmla="*/ 61 w 239"/>
                <a:gd name="T17" fmla="*/ 29 h 124"/>
                <a:gd name="T18" fmla="*/ 71 w 239"/>
                <a:gd name="T19" fmla="*/ 41 h 124"/>
                <a:gd name="T20" fmla="*/ 80 w 239"/>
                <a:gd name="T21" fmla="*/ 53 h 124"/>
                <a:gd name="T22" fmla="*/ 95 w 239"/>
                <a:gd name="T23" fmla="*/ 57 h 124"/>
                <a:gd name="T24" fmla="*/ 87 w 239"/>
                <a:gd name="T25" fmla="*/ 62 h 124"/>
                <a:gd name="T26" fmla="*/ 87 w 239"/>
                <a:gd name="T27" fmla="*/ 62 h 124"/>
                <a:gd name="T28" fmla="*/ 102 w 239"/>
                <a:gd name="T29" fmla="*/ 55 h 124"/>
                <a:gd name="T30" fmla="*/ 106 w 239"/>
                <a:gd name="T31" fmla="*/ 64 h 124"/>
                <a:gd name="T32" fmla="*/ 106 w 239"/>
                <a:gd name="T33" fmla="*/ 60 h 124"/>
                <a:gd name="T34" fmla="*/ 102 w 239"/>
                <a:gd name="T35" fmla="*/ 55 h 124"/>
                <a:gd name="T36" fmla="*/ 109 w 239"/>
                <a:gd name="T37" fmla="*/ 48 h 124"/>
                <a:gd name="T38" fmla="*/ 111 w 239"/>
                <a:gd name="T39" fmla="*/ 34 h 124"/>
                <a:gd name="T40" fmla="*/ 111 w 239"/>
                <a:gd name="T41" fmla="*/ 15 h 124"/>
                <a:gd name="T42" fmla="*/ 118 w 239"/>
                <a:gd name="T43" fmla="*/ 7 h 124"/>
                <a:gd name="T44" fmla="*/ 133 w 239"/>
                <a:gd name="T45" fmla="*/ 3 h 124"/>
                <a:gd name="T46" fmla="*/ 144 w 239"/>
                <a:gd name="T47" fmla="*/ 0 h 124"/>
                <a:gd name="T48" fmla="*/ 156 w 239"/>
                <a:gd name="T49" fmla="*/ 10 h 124"/>
                <a:gd name="T50" fmla="*/ 166 w 239"/>
                <a:gd name="T51" fmla="*/ 12 h 124"/>
                <a:gd name="T52" fmla="*/ 170 w 239"/>
                <a:gd name="T53" fmla="*/ 19 h 124"/>
                <a:gd name="T54" fmla="*/ 178 w 239"/>
                <a:gd name="T55" fmla="*/ 26 h 124"/>
                <a:gd name="T56" fmla="*/ 192 w 239"/>
                <a:gd name="T57" fmla="*/ 26 h 124"/>
                <a:gd name="T58" fmla="*/ 201 w 239"/>
                <a:gd name="T59" fmla="*/ 26 h 124"/>
                <a:gd name="T60" fmla="*/ 216 w 239"/>
                <a:gd name="T61" fmla="*/ 29 h 124"/>
                <a:gd name="T62" fmla="*/ 225 w 239"/>
                <a:gd name="T63" fmla="*/ 38 h 124"/>
                <a:gd name="T64" fmla="*/ 223 w 239"/>
                <a:gd name="T65" fmla="*/ 53 h 124"/>
                <a:gd name="T66" fmla="*/ 223 w 239"/>
                <a:gd name="T67" fmla="*/ 62 h 124"/>
                <a:gd name="T68" fmla="*/ 230 w 239"/>
                <a:gd name="T69" fmla="*/ 64 h 124"/>
                <a:gd name="T70" fmla="*/ 232 w 239"/>
                <a:gd name="T71" fmla="*/ 76 h 124"/>
                <a:gd name="T72" fmla="*/ 237 w 239"/>
                <a:gd name="T73" fmla="*/ 83 h 124"/>
                <a:gd name="T74" fmla="*/ 239 w 239"/>
                <a:gd name="T75" fmla="*/ 95 h 124"/>
                <a:gd name="T76" fmla="*/ 230 w 239"/>
                <a:gd name="T77" fmla="*/ 105 h 124"/>
                <a:gd name="T78" fmla="*/ 218 w 239"/>
                <a:gd name="T79" fmla="*/ 112 h 124"/>
                <a:gd name="T80" fmla="*/ 208 w 239"/>
                <a:gd name="T81" fmla="*/ 119 h 124"/>
                <a:gd name="T82" fmla="*/ 197 w 239"/>
                <a:gd name="T83" fmla="*/ 119 h 124"/>
                <a:gd name="T84" fmla="*/ 187 w 239"/>
                <a:gd name="T85" fmla="*/ 124 h 124"/>
                <a:gd name="T86" fmla="*/ 173 w 239"/>
                <a:gd name="T87" fmla="*/ 114 h 124"/>
                <a:gd name="T88" fmla="*/ 161 w 239"/>
                <a:gd name="T89" fmla="*/ 107 h 124"/>
                <a:gd name="T90" fmla="*/ 152 w 239"/>
                <a:gd name="T91" fmla="*/ 100 h 124"/>
                <a:gd name="T92" fmla="*/ 140 w 239"/>
                <a:gd name="T93" fmla="*/ 98 h 124"/>
                <a:gd name="T94" fmla="*/ 133 w 239"/>
                <a:gd name="T95" fmla="*/ 91 h 124"/>
                <a:gd name="T96" fmla="*/ 130 w 239"/>
                <a:gd name="T97" fmla="*/ 83 h 124"/>
                <a:gd name="T98" fmla="*/ 121 w 239"/>
                <a:gd name="T99" fmla="*/ 88 h 124"/>
                <a:gd name="T100" fmla="*/ 109 w 239"/>
                <a:gd name="T101" fmla="*/ 91 h 124"/>
                <a:gd name="T102" fmla="*/ 102 w 239"/>
                <a:gd name="T103" fmla="*/ 91 h 124"/>
                <a:gd name="T104" fmla="*/ 85 w 239"/>
                <a:gd name="T105" fmla="*/ 88 h 124"/>
                <a:gd name="T106" fmla="*/ 73 w 239"/>
                <a:gd name="T107" fmla="*/ 91 h 124"/>
                <a:gd name="T108" fmla="*/ 61 w 239"/>
                <a:gd name="T109" fmla="*/ 88 h 124"/>
                <a:gd name="T110" fmla="*/ 45 w 239"/>
                <a:gd name="T111" fmla="*/ 86 h 124"/>
                <a:gd name="T112" fmla="*/ 28 w 239"/>
                <a:gd name="T113" fmla="*/ 88 h 124"/>
                <a:gd name="T114" fmla="*/ 14 w 239"/>
                <a:gd name="T115" fmla="*/ 95 h 124"/>
                <a:gd name="T116" fmla="*/ 7 w 239"/>
                <a:gd name="T117" fmla="*/ 100 h 124"/>
                <a:gd name="T118" fmla="*/ 0 w 239"/>
                <a:gd name="T119" fmla="*/ 9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9" h="124">
                  <a:moveTo>
                    <a:pt x="2" y="79"/>
                  </a:moveTo>
                  <a:lnTo>
                    <a:pt x="0" y="79"/>
                  </a:lnTo>
                  <a:lnTo>
                    <a:pt x="0" y="76"/>
                  </a:lnTo>
                  <a:lnTo>
                    <a:pt x="2" y="76"/>
                  </a:lnTo>
                  <a:lnTo>
                    <a:pt x="2" y="74"/>
                  </a:lnTo>
                  <a:lnTo>
                    <a:pt x="2" y="72"/>
                  </a:lnTo>
                  <a:lnTo>
                    <a:pt x="2" y="69"/>
                  </a:lnTo>
                  <a:lnTo>
                    <a:pt x="2" y="67"/>
                  </a:lnTo>
                  <a:lnTo>
                    <a:pt x="2" y="64"/>
                  </a:lnTo>
                  <a:lnTo>
                    <a:pt x="4" y="64"/>
                  </a:lnTo>
                  <a:lnTo>
                    <a:pt x="4" y="62"/>
                  </a:lnTo>
                  <a:lnTo>
                    <a:pt x="7" y="62"/>
                  </a:lnTo>
                  <a:lnTo>
                    <a:pt x="9" y="60"/>
                  </a:lnTo>
                  <a:lnTo>
                    <a:pt x="9" y="57"/>
                  </a:lnTo>
                  <a:lnTo>
                    <a:pt x="12" y="57"/>
                  </a:lnTo>
                  <a:lnTo>
                    <a:pt x="12" y="55"/>
                  </a:lnTo>
                  <a:lnTo>
                    <a:pt x="14" y="55"/>
                  </a:lnTo>
                  <a:lnTo>
                    <a:pt x="14" y="53"/>
                  </a:lnTo>
                  <a:lnTo>
                    <a:pt x="14" y="50"/>
                  </a:lnTo>
                  <a:lnTo>
                    <a:pt x="14" y="48"/>
                  </a:lnTo>
                  <a:lnTo>
                    <a:pt x="14" y="45"/>
                  </a:lnTo>
                  <a:lnTo>
                    <a:pt x="14" y="43"/>
                  </a:lnTo>
                  <a:lnTo>
                    <a:pt x="14" y="41"/>
                  </a:lnTo>
                  <a:lnTo>
                    <a:pt x="16" y="41"/>
                  </a:lnTo>
                  <a:lnTo>
                    <a:pt x="16" y="38"/>
                  </a:lnTo>
                  <a:lnTo>
                    <a:pt x="16" y="36"/>
                  </a:lnTo>
                  <a:lnTo>
                    <a:pt x="19" y="36"/>
                  </a:lnTo>
                  <a:lnTo>
                    <a:pt x="19" y="34"/>
                  </a:lnTo>
                  <a:lnTo>
                    <a:pt x="19" y="36"/>
                  </a:lnTo>
                  <a:lnTo>
                    <a:pt x="21" y="36"/>
                  </a:lnTo>
                  <a:lnTo>
                    <a:pt x="19" y="36"/>
                  </a:lnTo>
                  <a:lnTo>
                    <a:pt x="19" y="38"/>
                  </a:lnTo>
                  <a:lnTo>
                    <a:pt x="21" y="38"/>
                  </a:lnTo>
                  <a:lnTo>
                    <a:pt x="19" y="38"/>
                  </a:lnTo>
                  <a:lnTo>
                    <a:pt x="19" y="41"/>
                  </a:lnTo>
                  <a:lnTo>
                    <a:pt x="21" y="41"/>
                  </a:lnTo>
                  <a:lnTo>
                    <a:pt x="21" y="43"/>
                  </a:lnTo>
                  <a:lnTo>
                    <a:pt x="21" y="41"/>
                  </a:lnTo>
                  <a:lnTo>
                    <a:pt x="19" y="41"/>
                  </a:lnTo>
                  <a:lnTo>
                    <a:pt x="19" y="38"/>
                  </a:lnTo>
                  <a:lnTo>
                    <a:pt x="21" y="38"/>
                  </a:lnTo>
                  <a:lnTo>
                    <a:pt x="19" y="36"/>
                  </a:lnTo>
                  <a:lnTo>
                    <a:pt x="21" y="36"/>
                  </a:lnTo>
                  <a:lnTo>
                    <a:pt x="19" y="36"/>
                  </a:lnTo>
                  <a:lnTo>
                    <a:pt x="19" y="34"/>
                  </a:lnTo>
                  <a:lnTo>
                    <a:pt x="21" y="34"/>
                  </a:lnTo>
                  <a:lnTo>
                    <a:pt x="21" y="31"/>
                  </a:lnTo>
                  <a:lnTo>
                    <a:pt x="21" y="29"/>
                  </a:lnTo>
                  <a:lnTo>
                    <a:pt x="23" y="29"/>
                  </a:lnTo>
                  <a:lnTo>
                    <a:pt x="23" y="26"/>
                  </a:lnTo>
                  <a:lnTo>
                    <a:pt x="26" y="26"/>
                  </a:lnTo>
                  <a:lnTo>
                    <a:pt x="26" y="24"/>
                  </a:lnTo>
                  <a:lnTo>
                    <a:pt x="28" y="24"/>
                  </a:lnTo>
                  <a:lnTo>
                    <a:pt x="31" y="24"/>
                  </a:lnTo>
                  <a:lnTo>
                    <a:pt x="33" y="24"/>
                  </a:lnTo>
                  <a:lnTo>
                    <a:pt x="35" y="24"/>
                  </a:lnTo>
                  <a:lnTo>
                    <a:pt x="38" y="22"/>
                  </a:lnTo>
                  <a:lnTo>
                    <a:pt x="40" y="22"/>
                  </a:lnTo>
                  <a:lnTo>
                    <a:pt x="42" y="19"/>
                  </a:lnTo>
                  <a:lnTo>
                    <a:pt x="45" y="19"/>
                  </a:lnTo>
                  <a:lnTo>
                    <a:pt x="49" y="17"/>
                  </a:lnTo>
                  <a:lnTo>
                    <a:pt x="52" y="17"/>
                  </a:lnTo>
                  <a:lnTo>
                    <a:pt x="54" y="17"/>
                  </a:lnTo>
                  <a:lnTo>
                    <a:pt x="52" y="17"/>
                  </a:lnTo>
                  <a:lnTo>
                    <a:pt x="52" y="19"/>
                  </a:lnTo>
                  <a:lnTo>
                    <a:pt x="52" y="22"/>
                  </a:lnTo>
                  <a:lnTo>
                    <a:pt x="54" y="24"/>
                  </a:lnTo>
                  <a:lnTo>
                    <a:pt x="54" y="26"/>
                  </a:lnTo>
                  <a:lnTo>
                    <a:pt x="57" y="26"/>
                  </a:lnTo>
                  <a:lnTo>
                    <a:pt x="57" y="29"/>
                  </a:lnTo>
                  <a:lnTo>
                    <a:pt x="59" y="29"/>
                  </a:lnTo>
                  <a:lnTo>
                    <a:pt x="61" y="29"/>
                  </a:lnTo>
                  <a:lnTo>
                    <a:pt x="61" y="31"/>
                  </a:lnTo>
                  <a:lnTo>
                    <a:pt x="64" y="31"/>
                  </a:lnTo>
                  <a:lnTo>
                    <a:pt x="64" y="34"/>
                  </a:lnTo>
                  <a:lnTo>
                    <a:pt x="66" y="36"/>
                  </a:lnTo>
                  <a:lnTo>
                    <a:pt x="68" y="36"/>
                  </a:lnTo>
                  <a:lnTo>
                    <a:pt x="71" y="36"/>
                  </a:lnTo>
                  <a:lnTo>
                    <a:pt x="71" y="38"/>
                  </a:lnTo>
                  <a:lnTo>
                    <a:pt x="71" y="41"/>
                  </a:lnTo>
                  <a:lnTo>
                    <a:pt x="73" y="43"/>
                  </a:lnTo>
                  <a:lnTo>
                    <a:pt x="73" y="45"/>
                  </a:lnTo>
                  <a:lnTo>
                    <a:pt x="73" y="48"/>
                  </a:lnTo>
                  <a:lnTo>
                    <a:pt x="73" y="50"/>
                  </a:lnTo>
                  <a:lnTo>
                    <a:pt x="76" y="50"/>
                  </a:lnTo>
                  <a:lnTo>
                    <a:pt x="76" y="53"/>
                  </a:lnTo>
                  <a:lnTo>
                    <a:pt x="78" y="53"/>
                  </a:lnTo>
                  <a:lnTo>
                    <a:pt x="80" y="53"/>
                  </a:lnTo>
                  <a:lnTo>
                    <a:pt x="80" y="55"/>
                  </a:lnTo>
                  <a:lnTo>
                    <a:pt x="83" y="55"/>
                  </a:lnTo>
                  <a:lnTo>
                    <a:pt x="83" y="57"/>
                  </a:lnTo>
                  <a:lnTo>
                    <a:pt x="85" y="57"/>
                  </a:lnTo>
                  <a:lnTo>
                    <a:pt x="87" y="57"/>
                  </a:lnTo>
                  <a:lnTo>
                    <a:pt x="90" y="57"/>
                  </a:lnTo>
                  <a:lnTo>
                    <a:pt x="92" y="57"/>
                  </a:lnTo>
                  <a:lnTo>
                    <a:pt x="95" y="57"/>
                  </a:lnTo>
                  <a:lnTo>
                    <a:pt x="97" y="55"/>
                  </a:lnTo>
                  <a:lnTo>
                    <a:pt x="97" y="57"/>
                  </a:lnTo>
                  <a:lnTo>
                    <a:pt x="95" y="57"/>
                  </a:lnTo>
                  <a:lnTo>
                    <a:pt x="92" y="57"/>
                  </a:lnTo>
                  <a:lnTo>
                    <a:pt x="90" y="57"/>
                  </a:lnTo>
                  <a:lnTo>
                    <a:pt x="90" y="60"/>
                  </a:lnTo>
                  <a:lnTo>
                    <a:pt x="87" y="60"/>
                  </a:lnTo>
                  <a:lnTo>
                    <a:pt x="87" y="62"/>
                  </a:lnTo>
                  <a:lnTo>
                    <a:pt x="85" y="62"/>
                  </a:lnTo>
                  <a:lnTo>
                    <a:pt x="87" y="62"/>
                  </a:lnTo>
                  <a:lnTo>
                    <a:pt x="85" y="62"/>
                  </a:lnTo>
                  <a:lnTo>
                    <a:pt x="85" y="64"/>
                  </a:lnTo>
                  <a:lnTo>
                    <a:pt x="85" y="67"/>
                  </a:lnTo>
                  <a:lnTo>
                    <a:pt x="87" y="67"/>
                  </a:lnTo>
                  <a:lnTo>
                    <a:pt x="85" y="64"/>
                  </a:lnTo>
                  <a:lnTo>
                    <a:pt x="87" y="62"/>
                  </a:lnTo>
                  <a:lnTo>
                    <a:pt x="87" y="60"/>
                  </a:lnTo>
                  <a:lnTo>
                    <a:pt x="90" y="60"/>
                  </a:lnTo>
                  <a:lnTo>
                    <a:pt x="92" y="57"/>
                  </a:lnTo>
                  <a:lnTo>
                    <a:pt x="95" y="57"/>
                  </a:lnTo>
                  <a:lnTo>
                    <a:pt x="97" y="57"/>
                  </a:lnTo>
                  <a:lnTo>
                    <a:pt x="97" y="55"/>
                  </a:lnTo>
                  <a:lnTo>
                    <a:pt x="99" y="55"/>
                  </a:lnTo>
                  <a:lnTo>
                    <a:pt x="102" y="55"/>
                  </a:lnTo>
                  <a:lnTo>
                    <a:pt x="99" y="55"/>
                  </a:lnTo>
                  <a:lnTo>
                    <a:pt x="102" y="53"/>
                  </a:lnTo>
                  <a:lnTo>
                    <a:pt x="102" y="55"/>
                  </a:lnTo>
                  <a:lnTo>
                    <a:pt x="102" y="57"/>
                  </a:lnTo>
                  <a:lnTo>
                    <a:pt x="102" y="60"/>
                  </a:lnTo>
                  <a:lnTo>
                    <a:pt x="104" y="60"/>
                  </a:lnTo>
                  <a:lnTo>
                    <a:pt x="106" y="62"/>
                  </a:lnTo>
                  <a:lnTo>
                    <a:pt x="106" y="64"/>
                  </a:lnTo>
                  <a:lnTo>
                    <a:pt x="109" y="64"/>
                  </a:lnTo>
                  <a:lnTo>
                    <a:pt x="106" y="64"/>
                  </a:lnTo>
                  <a:lnTo>
                    <a:pt x="106" y="62"/>
                  </a:lnTo>
                  <a:lnTo>
                    <a:pt x="109" y="62"/>
                  </a:lnTo>
                  <a:lnTo>
                    <a:pt x="109" y="64"/>
                  </a:lnTo>
                  <a:lnTo>
                    <a:pt x="109" y="62"/>
                  </a:lnTo>
                  <a:lnTo>
                    <a:pt x="106" y="62"/>
                  </a:lnTo>
                  <a:lnTo>
                    <a:pt x="106" y="60"/>
                  </a:lnTo>
                  <a:lnTo>
                    <a:pt x="104" y="60"/>
                  </a:lnTo>
                  <a:lnTo>
                    <a:pt x="102" y="57"/>
                  </a:lnTo>
                  <a:lnTo>
                    <a:pt x="104" y="57"/>
                  </a:lnTo>
                  <a:lnTo>
                    <a:pt x="104" y="55"/>
                  </a:lnTo>
                  <a:lnTo>
                    <a:pt x="102" y="57"/>
                  </a:lnTo>
                  <a:lnTo>
                    <a:pt x="102" y="55"/>
                  </a:lnTo>
                  <a:lnTo>
                    <a:pt x="104" y="55"/>
                  </a:lnTo>
                  <a:lnTo>
                    <a:pt x="102" y="55"/>
                  </a:lnTo>
                  <a:lnTo>
                    <a:pt x="102" y="53"/>
                  </a:lnTo>
                  <a:lnTo>
                    <a:pt x="99" y="53"/>
                  </a:lnTo>
                  <a:lnTo>
                    <a:pt x="102" y="53"/>
                  </a:lnTo>
                  <a:lnTo>
                    <a:pt x="104" y="53"/>
                  </a:lnTo>
                  <a:lnTo>
                    <a:pt x="104" y="50"/>
                  </a:lnTo>
                  <a:lnTo>
                    <a:pt x="106" y="50"/>
                  </a:lnTo>
                  <a:lnTo>
                    <a:pt x="106" y="48"/>
                  </a:lnTo>
                  <a:lnTo>
                    <a:pt x="109" y="48"/>
                  </a:lnTo>
                  <a:lnTo>
                    <a:pt x="109" y="45"/>
                  </a:lnTo>
                  <a:lnTo>
                    <a:pt x="111" y="45"/>
                  </a:lnTo>
                  <a:lnTo>
                    <a:pt x="111" y="43"/>
                  </a:lnTo>
                  <a:lnTo>
                    <a:pt x="114" y="43"/>
                  </a:lnTo>
                  <a:lnTo>
                    <a:pt x="114" y="41"/>
                  </a:lnTo>
                  <a:lnTo>
                    <a:pt x="114" y="38"/>
                  </a:lnTo>
                  <a:lnTo>
                    <a:pt x="114" y="36"/>
                  </a:lnTo>
                  <a:lnTo>
                    <a:pt x="111" y="34"/>
                  </a:lnTo>
                  <a:lnTo>
                    <a:pt x="111" y="31"/>
                  </a:lnTo>
                  <a:lnTo>
                    <a:pt x="111" y="29"/>
                  </a:lnTo>
                  <a:lnTo>
                    <a:pt x="111" y="26"/>
                  </a:lnTo>
                  <a:lnTo>
                    <a:pt x="111" y="24"/>
                  </a:lnTo>
                  <a:lnTo>
                    <a:pt x="111" y="22"/>
                  </a:lnTo>
                  <a:lnTo>
                    <a:pt x="111" y="19"/>
                  </a:lnTo>
                  <a:lnTo>
                    <a:pt x="111" y="17"/>
                  </a:lnTo>
                  <a:lnTo>
                    <a:pt x="111" y="15"/>
                  </a:lnTo>
                  <a:lnTo>
                    <a:pt x="111" y="12"/>
                  </a:lnTo>
                  <a:lnTo>
                    <a:pt x="111" y="10"/>
                  </a:lnTo>
                  <a:lnTo>
                    <a:pt x="114" y="10"/>
                  </a:lnTo>
                  <a:lnTo>
                    <a:pt x="114" y="7"/>
                  </a:lnTo>
                  <a:lnTo>
                    <a:pt x="116" y="7"/>
                  </a:lnTo>
                  <a:lnTo>
                    <a:pt x="118" y="7"/>
                  </a:lnTo>
                  <a:lnTo>
                    <a:pt x="118" y="5"/>
                  </a:lnTo>
                  <a:lnTo>
                    <a:pt x="118" y="7"/>
                  </a:lnTo>
                  <a:lnTo>
                    <a:pt x="121" y="7"/>
                  </a:lnTo>
                  <a:lnTo>
                    <a:pt x="121" y="5"/>
                  </a:lnTo>
                  <a:lnTo>
                    <a:pt x="123" y="7"/>
                  </a:lnTo>
                  <a:lnTo>
                    <a:pt x="123" y="5"/>
                  </a:lnTo>
                  <a:lnTo>
                    <a:pt x="125" y="5"/>
                  </a:lnTo>
                  <a:lnTo>
                    <a:pt x="128" y="5"/>
                  </a:lnTo>
                  <a:lnTo>
                    <a:pt x="130" y="3"/>
                  </a:lnTo>
                  <a:lnTo>
                    <a:pt x="133" y="3"/>
                  </a:lnTo>
                  <a:lnTo>
                    <a:pt x="135" y="0"/>
                  </a:lnTo>
                  <a:lnTo>
                    <a:pt x="137" y="0"/>
                  </a:lnTo>
                  <a:lnTo>
                    <a:pt x="140" y="0"/>
                  </a:lnTo>
                  <a:lnTo>
                    <a:pt x="140" y="3"/>
                  </a:lnTo>
                  <a:lnTo>
                    <a:pt x="142" y="5"/>
                  </a:lnTo>
                  <a:lnTo>
                    <a:pt x="142" y="3"/>
                  </a:lnTo>
                  <a:lnTo>
                    <a:pt x="142" y="0"/>
                  </a:lnTo>
                  <a:lnTo>
                    <a:pt x="144" y="0"/>
                  </a:lnTo>
                  <a:lnTo>
                    <a:pt x="144" y="3"/>
                  </a:lnTo>
                  <a:lnTo>
                    <a:pt x="147" y="3"/>
                  </a:lnTo>
                  <a:lnTo>
                    <a:pt x="147" y="5"/>
                  </a:lnTo>
                  <a:lnTo>
                    <a:pt x="149" y="5"/>
                  </a:lnTo>
                  <a:lnTo>
                    <a:pt x="152" y="5"/>
                  </a:lnTo>
                  <a:lnTo>
                    <a:pt x="152" y="7"/>
                  </a:lnTo>
                  <a:lnTo>
                    <a:pt x="154" y="7"/>
                  </a:lnTo>
                  <a:lnTo>
                    <a:pt x="156" y="10"/>
                  </a:lnTo>
                  <a:lnTo>
                    <a:pt x="156" y="7"/>
                  </a:lnTo>
                  <a:lnTo>
                    <a:pt x="159" y="10"/>
                  </a:lnTo>
                  <a:lnTo>
                    <a:pt x="159" y="12"/>
                  </a:lnTo>
                  <a:lnTo>
                    <a:pt x="161" y="12"/>
                  </a:lnTo>
                  <a:lnTo>
                    <a:pt x="161" y="10"/>
                  </a:lnTo>
                  <a:lnTo>
                    <a:pt x="161" y="12"/>
                  </a:lnTo>
                  <a:lnTo>
                    <a:pt x="163" y="12"/>
                  </a:lnTo>
                  <a:lnTo>
                    <a:pt x="166" y="12"/>
                  </a:lnTo>
                  <a:lnTo>
                    <a:pt x="168" y="12"/>
                  </a:lnTo>
                  <a:lnTo>
                    <a:pt x="166" y="15"/>
                  </a:lnTo>
                  <a:lnTo>
                    <a:pt x="166" y="17"/>
                  </a:lnTo>
                  <a:lnTo>
                    <a:pt x="168" y="17"/>
                  </a:lnTo>
                  <a:lnTo>
                    <a:pt x="170" y="17"/>
                  </a:lnTo>
                  <a:lnTo>
                    <a:pt x="170" y="19"/>
                  </a:lnTo>
                  <a:lnTo>
                    <a:pt x="173" y="19"/>
                  </a:lnTo>
                  <a:lnTo>
                    <a:pt x="170" y="19"/>
                  </a:lnTo>
                  <a:lnTo>
                    <a:pt x="173" y="19"/>
                  </a:lnTo>
                  <a:lnTo>
                    <a:pt x="173" y="22"/>
                  </a:lnTo>
                  <a:lnTo>
                    <a:pt x="173" y="24"/>
                  </a:lnTo>
                  <a:lnTo>
                    <a:pt x="175" y="24"/>
                  </a:lnTo>
                  <a:lnTo>
                    <a:pt x="175" y="26"/>
                  </a:lnTo>
                  <a:lnTo>
                    <a:pt x="175" y="24"/>
                  </a:lnTo>
                  <a:lnTo>
                    <a:pt x="175" y="26"/>
                  </a:lnTo>
                  <a:lnTo>
                    <a:pt x="178" y="26"/>
                  </a:lnTo>
                  <a:lnTo>
                    <a:pt x="180" y="26"/>
                  </a:lnTo>
                  <a:lnTo>
                    <a:pt x="182" y="26"/>
                  </a:lnTo>
                  <a:lnTo>
                    <a:pt x="182" y="29"/>
                  </a:lnTo>
                  <a:lnTo>
                    <a:pt x="185" y="29"/>
                  </a:lnTo>
                  <a:lnTo>
                    <a:pt x="187" y="29"/>
                  </a:lnTo>
                  <a:lnTo>
                    <a:pt x="187" y="26"/>
                  </a:lnTo>
                  <a:lnTo>
                    <a:pt x="189" y="26"/>
                  </a:lnTo>
                  <a:lnTo>
                    <a:pt x="192" y="26"/>
                  </a:lnTo>
                  <a:lnTo>
                    <a:pt x="189" y="26"/>
                  </a:lnTo>
                  <a:lnTo>
                    <a:pt x="192" y="26"/>
                  </a:lnTo>
                  <a:lnTo>
                    <a:pt x="194" y="24"/>
                  </a:lnTo>
                  <a:lnTo>
                    <a:pt x="197" y="22"/>
                  </a:lnTo>
                  <a:lnTo>
                    <a:pt x="197" y="24"/>
                  </a:lnTo>
                  <a:lnTo>
                    <a:pt x="199" y="24"/>
                  </a:lnTo>
                  <a:lnTo>
                    <a:pt x="199" y="26"/>
                  </a:lnTo>
                  <a:lnTo>
                    <a:pt x="201" y="26"/>
                  </a:lnTo>
                  <a:lnTo>
                    <a:pt x="204" y="26"/>
                  </a:lnTo>
                  <a:lnTo>
                    <a:pt x="206" y="26"/>
                  </a:lnTo>
                  <a:lnTo>
                    <a:pt x="208" y="29"/>
                  </a:lnTo>
                  <a:lnTo>
                    <a:pt x="211" y="29"/>
                  </a:lnTo>
                  <a:lnTo>
                    <a:pt x="213" y="29"/>
                  </a:lnTo>
                  <a:lnTo>
                    <a:pt x="216" y="29"/>
                  </a:lnTo>
                  <a:lnTo>
                    <a:pt x="218" y="29"/>
                  </a:lnTo>
                  <a:lnTo>
                    <a:pt x="216" y="29"/>
                  </a:lnTo>
                  <a:lnTo>
                    <a:pt x="216" y="31"/>
                  </a:lnTo>
                  <a:lnTo>
                    <a:pt x="216" y="34"/>
                  </a:lnTo>
                  <a:lnTo>
                    <a:pt x="218" y="34"/>
                  </a:lnTo>
                  <a:lnTo>
                    <a:pt x="218" y="36"/>
                  </a:lnTo>
                  <a:lnTo>
                    <a:pt x="220" y="36"/>
                  </a:lnTo>
                  <a:lnTo>
                    <a:pt x="223" y="36"/>
                  </a:lnTo>
                  <a:lnTo>
                    <a:pt x="223" y="38"/>
                  </a:lnTo>
                  <a:lnTo>
                    <a:pt x="225" y="38"/>
                  </a:lnTo>
                  <a:lnTo>
                    <a:pt x="227" y="41"/>
                  </a:lnTo>
                  <a:lnTo>
                    <a:pt x="227" y="43"/>
                  </a:lnTo>
                  <a:lnTo>
                    <a:pt x="225" y="43"/>
                  </a:lnTo>
                  <a:lnTo>
                    <a:pt x="225" y="45"/>
                  </a:lnTo>
                  <a:lnTo>
                    <a:pt x="225" y="48"/>
                  </a:lnTo>
                  <a:lnTo>
                    <a:pt x="223" y="48"/>
                  </a:lnTo>
                  <a:lnTo>
                    <a:pt x="223" y="50"/>
                  </a:lnTo>
                  <a:lnTo>
                    <a:pt x="223" y="53"/>
                  </a:lnTo>
                  <a:lnTo>
                    <a:pt x="223" y="55"/>
                  </a:lnTo>
                  <a:lnTo>
                    <a:pt x="223" y="57"/>
                  </a:lnTo>
                  <a:lnTo>
                    <a:pt x="223" y="60"/>
                  </a:lnTo>
                  <a:lnTo>
                    <a:pt x="220" y="60"/>
                  </a:lnTo>
                  <a:lnTo>
                    <a:pt x="220" y="62"/>
                  </a:lnTo>
                  <a:lnTo>
                    <a:pt x="220" y="64"/>
                  </a:lnTo>
                  <a:lnTo>
                    <a:pt x="223" y="64"/>
                  </a:lnTo>
                  <a:lnTo>
                    <a:pt x="223" y="62"/>
                  </a:lnTo>
                  <a:lnTo>
                    <a:pt x="223" y="64"/>
                  </a:lnTo>
                  <a:lnTo>
                    <a:pt x="223" y="62"/>
                  </a:lnTo>
                  <a:lnTo>
                    <a:pt x="225" y="62"/>
                  </a:lnTo>
                  <a:lnTo>
                    <a:pt x="227" y="62"/>
                  </a:lnTo>
                  <a:lnTo>
                    <a:pt x="227" y="64"/>
                  </a:lnTo>
                  <a:lnTo>
                    <a:pt x="230" y="64"/>
                  </a:lnTo>
                  <a:lnTo>
                    <a:pt x="230" y="67"/>
                  </a:lnTo>
                  <a:lnTo>
                    <a:pt x="230" y="64"/>
                  </a:lnTo>
                  <a:lnTo>
                    <a:pt x="230" y="67"/>
                  </a:lnTo>
                  <a:lnTo>
                    <a:pt x="227" y="67"/>
                  </a:lnTo>
                  <a:lnTo>
                    <a:pt x="227" y="69"/>
                  </a:lnTo>
                  <a:lnTo>
                    <a:pt x="230" y="69"/>
                  </a:lnTo>
                  <a:lnTo>
                    <a:pt x="230" y="72"/>
                  </a:lnTo>
                  <a:lnTo>
                    <a:pt x="232" y="72"/>
                  </a:lnTo>
                  <a:lnTo>
                    <a:pt x="232" y="74"/>
                  </a:lnTo>
                  <a:lnTo>
                    <a:pt x="232" y="76"/>
                  </a:lnTo>
                  <a:lnTo>
                    <a:pt x="235" y="76"/>
                  </a:lnTo>
                  <a:lnTo>
                    <a:pt x="237" y="76"/>
                  </a:lnTo>
                  <a:lnTo>
                    <a:pt x="237" y="79"/>
                  </a:lnTo>
                  <a:lnTo>
                    <a:pt x="235" y="79"/>
                  </a:lnTo>
                  <a:lnTo>
                    <a:pt x="235" y="81"/>
                  </a:lnTo>
                  <a:lnTo>
                    <a:pt x="237" y="81"/>
                  </a:lnTo>
                  <a:lnTo>
                    <a:pt x="235" y="81"/>
                  </a:lnTo>
                  <a:lnTo>
                    <a:pt x="237" y="83"/>
                  </a:lnTo>
                  <a:lnTo>
                    <a:pt x="237" y="86"/>
                  </a:lnTo>
                  <a:lnTo>
                    <a:pt x="237" y="88"/>
                  </a:lnTo>
                  <a:lnTo>
                    <a:pt x="237" y="91"/>
                  </a:lnTo>
                  <a:lnTo>
                    <a:pt x="239" y="91"/>
                  </a:lnTo>
                  <a:lnTo>
                    <a:pt x="239" y="93"/>
                  </a:lnTo>
                  <a:lnTo>
                    <a:pt x="239" y="95"/>
                  </a:lnTo>
                  <a:lnTo>
                    <a:pt x="237" y="95"/>
                  </a:lnTo>
                  <a:lnTo>
                    <a:pt x="239" y="95"/>
                  </a:lnTo>
                  <a:lnTo>
                    <a:pt x="237" y="95"/>
                  </a:lnTo>
                  <a:lnTo>
                    <a:pt x="237" y="98"/>
                  </a:lnTo>
                  <a:lnTo>
                    <a:pt x="235" y="98"/>
                  </a:lnTo>
                  <a:lnTo>
                    <a:pt x="235" y="100"/>
                  </a:lnTo>
                  <a:lnTo>
                    <a:pt x="232" y="100"/>
                  </a:lnTo>
                  <a:lnTo>
                    <a:pt x="230" y="100"/>
                  </a:lnTo>
                  <a:lnTo>
                    <a:pt x="230" y="102"/>
                  </a:lnTo>
                  <a:lnTo>
                    <a:pt x="230" y="105"/>
                  </a:lnTo>
                  <a:lnTo>
                    <a:pt x="227" y="105"/>
                  </a:lnTo>
                  <a:lnTo>
                    <a:pt x="225" y="105"/>
                  </a:lnTo>
                  <a:lnTo>
                    <a:pt x="225" y="107"/>
                  </a:lnTo>
                  <a:lnTo>
                    <a:pt x="223" y="107"/>
                  </a:lnTo>
                  <a:lnTo>
                    <a:pt x="223" y="110"/>
                  </a:lnTo>
                  <a:lnTo>
                    <a:pt x="220" y="110"/>
                  </a:lnTo>
                  <a:lnTo>
                    <a:pt x="220" y="112"/>
                  </a:lnTo>
                  <a:lnTo>
                    <a:pt x="218" y="112"/>
                  </a:lnTo>
                  <a:lnTo>
                    <a:pt x="220" y="114"/>
                  </a:lnTo>
                  <a:lnTo>
                    <a:pt x="218" y="117"/>
                  </a:lnTo>
                  <a:lnTo>
                    <a:pt x="218" y="119"/>
                  </a:lnTo>
                  <a:lnTo>
                    <a:pt x="216" y="119"/>
                  </a:lnTo>
                  <a:lnTo>
                    <a:pt x="213" y="117"/>
                  </a:lnTo>
                  <a:lnTo>
                    <a:pt x="211" y="117"/>
                  </a:lnTo>
                  <a:lnTo>
                    <a:pt x="208" y="117"/>
                  </a:lnTo>
                  <a:lnTo>
                    <a:pt x="208" y="119"/>
                  </a:lnTo>
                  <a:lnTo>
                    <a:pt x="206" y="117"/>
                  </a:lnTo>
                  <a:lnTo>
                    <a:pt x="204" y="117"/>
                  </a:lnTo>
                  <a:lnTo>
                    <a:pt x="204" y="114"/>
                  </a:lnTo>
                  <a:lnTo>
                    <a:pt x="201" y="114"/>
                  </a:lnTo>
                  <a:lnTo>
                    <a:pt x="201" y="117"/>
                  </a:lnTo>
                  <a:lnTo>
                    <a:pt x="199" y="117"/>
                  </a:lnTo>
                  <a:lnTo>
                    <a:pt x="197" y="117"/>
                  </a:lnTo>
                  <a:lnTo>
                    <a:pt x="197" y="119"/>
                  </a:lnTo>
                  <a:lnTo>
                    <a:pt x="194" y="119"/>
                  </a:lnTo>
                  <a:lnTo>
                    <a:pt x="194" y="121"/>
                  </a:lnTo>
                  <a:lnTo>
                    <a:pt x="192" y="121"/>
                  </a:lnTo>
                  <a:lnTo>
                    <a:pt x="192" y="124"/>
                  </a:lnTo>
                  <a:lnTo>
                    <a:pt x="189" y="124"/>
                  </a:lnTo>
                  <a:lnTo>
                    <a:pt x="189" y="121"/>
                  </a:lnTo>
                  <a:lnTo>
                    <a:pt x="187" y="121"/>
                  </a:lnTo>
                  <a:lnTo>
                    <a:pt x="187" y="124"/>
                  </a:lnTo>
                  <a:lnTo>
                    <a:pt x="185" y="124"/>
                  </a:lnTo>
                  <a:lnTo>
                    <a:pt x="182" y="124"/>
                  </a:lnTo>
                  <a:lnTo>
                    <a:pt x="180" y="121"/>
                  </a:lnTo>
                  <a:lnTo>
                    <a:pt x="178" y="121"/>
                  </a:lnTo>
                  <a:lnTo>
                    <a:pt x="178" y="119"/>
                  </a:lnTo>
                  <a:lnTo>
                    <a:pt x="175" y="119"/>
                  </a:lnTo>
                  <a:lnTo>
                    <a:pt x="173" y="117"/>
                  </a:lnTo>
                  <a:lnTo>
                    <a:pt x="173" y="114"/>
                  </a:lnTo>
                  <a:lnTo>
                    <a:pt x="170" y="114"/>
                  </a:lnTo>
                  <a:lnTo>
                    <a:pt x="170" y="112"/>
                  </a:lnTo>
                  <a:lnTo>
                    <a:pt x="168" y="112"/>
                  </a:lnTo>
                  <a:lnTo>
                    <a:pt x="168" y="110"/>
                  </a:lnTo>
                  <a:lnTo>
                    <a:pt x="166" y="110"/>
                  </a:lnTo>
                  <a:lnTo>
                    <a:pt x="166" y="107"/>
                  </a:lnTo>
                  <a:lnTo>
                    <a:pt x="163" y="107"/>
                  </a:lnTo>
                  <a:lnTo>
                    <a:pt x="161" y="107"/>
                  </a:lnTo>
                  <a:lnTo>
                    <a:pt x="161" y="105"/>
                  </a:lnTo>
                  <a:lnTo>
                    <a:pt x="159" y="105"/>
                  </a:lnTo>
                  <a:lnTo>
                    <a:pt x="156" y="102"/>
                  </a:lnTo>
                  <a:lnTo>
                    <a:pt x="154" y="102"/>
                  </a:lnTo>
                  <a:lnTo>
                    <a:pt x="156" y="102"/>
                  </a:lnTo>
                  <a:lnTo>
                    <a:pt x="156" y="100"/>
                  </a:lnTo>
                  <a:lnTo>
                    <a:pt x="154" y="100"/>
                  </a:lnTo>
                  <a:lnTo>
                    <a:pt x="152" y="100"/>
                  </a:lnTo>
                  <a:lnTo>
                    <a:pt x="152" y="98"/>
                  </a:lnTo>
                  <a:lnTo>
                    <a:pt x="149" y="98"/>
                  </a:lnTo>
                  <a:lnTo>
                    <a:pt x="149" y="100"/>
                  </a:lnTo>
                  <a:lnTo>
                    <a:pt x="147" y="100"/>
                  </a:lnTo>
                  <a:lnTo>
                    <a:pt x="144" y="100"/>
                  </a:lnTo>
                  <a:lnTo>
                    <a:pt x="142" y="100"/>
                  </a:lnTo>
                  <a:lnTo>
                    <a:pt x="142" y="98"/>
                  </a:lnTo>
                  <a:lnTo>
                    <a:pt x="140" y="98"/>
                  </a:lnTo>
                  <a:lnTo>
                    <a:pt x="137" y="98"/>
                  </a:lnTo>
                  <a:lnTo>
                    <a:pt x="135" y="98"/>
                  </a:lnTo>
                  <a:lnTo>
                    <a:pt x="135" y="95"/>
                  </a:lnTo>
                  <a:lnTo>
                    <a:pt x="135" y="93"/>
                  </a:lnTo>
                  <a:lnTo>
                    <a:pt x="133" y="93"/>
                  </a:lnTo>
                  <a:lnTo>
                    <a:pt x="133" y="91"/>
                  </a:lnTo>
                  <a:lnTo>
                    <a:pt x="130" y="91"/>
                  </a:lnTo>
                  <a:lnTo>
                    <a:pt x="133" y="91"/>
                  </a:lnTo>
                  <a:lnTo>
                    <a:pt x="130" y="91"/>
                  </a:lnTo>
                  <a:lnTo>
                    <a:pt x="133" y="91"/>
                  </a:lnTo>
                  <a:lnTo>
                    <a:pt x="130" y="91"/>
                  </a:lnTo>
                  <a:lnTo>
                    <a:pt x="130" y="88"/>
                  </a:lnTo>
                  <a:lnTo>
                    <a:pt x="133" y="88"/>
                  </a:lnTo>
                  <a:lnTo>
                    <a:pt x="130" y="88"/>
                  </a:lnTo>
                  <a:lnTo>
                    <a:pt x="130" y="86"/>
                  </a:lnTo>
                  <a:lnTo>
                    <a:pt x="130" y="83"/>
                  </a:lnTo>
                  <a:lnTo>
                    <a:pt x="128" y="83"/>
                  </a:lnTo>
                  <a:lnTo>
                    <a:pt x="128" y="86"/>
                  </a:lnTo>
                  <a:lnTo>
                    <a:pt x="125" y="86"/>
                  </a:lnTo>
                  <a:lnTo>
                    <a:pt x="123" y="86"/>
                  </a:lnTo>
                  <a:lnTo>
                    <a:pt x="123" y="88"/>
                  </a:lnTo>
                  <a:lnTo>
                    <a:pt x="121" y="88"/>
                  </a:lnTo>
                  <a:lnTo>
                    <a:pt x="121" y="91"/>
                  </a:lnTo>
                  <a:lnTo>
                    <a:pt x="121" y="88"/>
                  </a:lnTo>
                  <a:lnTo>
                    <a:pt x="121" y="91"/>
                  </a:lnTo>
                  <a:lnTo>
                    <a:pt x="118" y="91"/>
                  </a:lnTo>
                  <a:lnTo>
                    <a:pt x="118" y="93"/>
                  </a:lnTo>
                  <a:lnTo>
                    <a:pt x="116" y="93"/>
                  </a:lnTo>
                  <a:lnTo>
                    <a:pt x="114" y="93"/>
                  </a:lnTo>
                  <a:lnTo>
                    <a:pt x="111" y="93"/>
                  </a:lnTo>
                  <a:lnTo>
                    <a:pt x="111" y="91"/>
                  </a:lnTo>
                  <a:lnTo>
                    <a:pt x="109" y="91"/>
                  </a:lnTo>
                  <a:lnTo>
                    <a:pt x="109" y="93"/>
                  </a:lnTo>
                  <a:lnTo>
                    <a:pt x="106" y="93"/>
                  </a:lnTo>
                  <a:lnTo>
                    <a:pt x="104" y="95"/>
                  </a:lnTo>
                  <a:lnTo>
                    <a:pt x="104" y="93"/>
                  </a:lnTo>
                  <a:lnTo>
                    <a:pt x="104" y="95"/>
                  </a:lnTo>
                  <a:lnTo>
                    <a:pt x="104" y="93"/>
                  </a:lnTo>
                  <a:lnTo>
                    <a:pt x="102" y="93"/>
                  </a:lnTo>
                  <a:lnTo>
                    <a:pt x="102" y="91"/>
                  </a:lnTo>
                  <a:lnTo>
                    <a:pt x="99" y="91"/>
                  </a:lnTo>
                  <a:lnTo>
                    <a:pt x="97" y="91"/>
                  </a:lnTo>
                  <a:lnTo>
                    <a:pt x="95" y="91"/>
                  </a:lnTo>
                  <a:lnTo>
                    <a:pt x="92" y="91"/>
                  </a:lnTo>
                  <a:lnTo>
                    <a:pt x="92" y="88"/>
                  </a:lnTo>
                  <a:lnTo>
                    <a:pt x="90" y="88"/>
                  </a:lnTo>
                  <a:lnTo>
                    <a:pt x="87" y="88"/>
                  </a:lnTo>
                  <a:lnTo>
                    <a:pt x="85" y="88"/>
                  </a:lnTo>
                  <a:lnTo>
                    <a:pt x="85" y="91"/>
                  </a:lnTo>
                  <a:lnTo>
                    <a:pt x="83" y="91"/>
                  </a:lnTo>
                  <a:lnTo>
                    <a:pt x="83" y="88"/>
                  </a:lnTo>
                  <a:lnTo>
                    <a:pt x="80" y="88"/>
                  </a:lnTo>
                  <a:lnTo>
                    <a:pt x="76" y="88"/>
                  </a:lnTo>
                  <a:lnTo>
                    <a:pt x="73" y="88"/>
                  </a:lnTo>
                  <a:lnTo>
                    <a:pt x="71" y="88"/>
                  </a:lnTo>
                  <a:lnTo>
                    <a:pt x="73" y="91"/>
                  </a:lnTo>
                  <a:lnTo>
                    <a:pt x="71" y="91"/>
                  </a:lnTo>
                  <a:lnTo>
                    <a:pt x="68" y="91"/>
                  </a:lnTo>
                  <a:lnTo>
                    <a:pt x="66" y="91"/>
                  </a:lnTo>
                  <a:lnTo>
                    <a:pt x="66" y="88"/>
                  </a:lnTo>
                  <a:lnTo>
                    <a:pt x="66" y="86"/>
                  </a:lnTo>
                  <a:lnTo>
                    <a:pt x="64" y="86"/>
                  </a:lnTo>
                  <a:lnTo>
                    <a:pt x="64" y="88"/>
                  </a:lnTo>
                  <a:lnTo>
                    <a:pt x="61" y="88"/>
                  </a:lnTo>
                  <a:lnTo>
                    <a:pt x="59" y="88"/>
                  </a:lnTo>
                  <a:lnTo>
                    <a:pt x="57" y="88"/>
                  </a:lnTo>
                  <a:lnTo>
                    <a:pt x="54" y="88"/>
                  </a:lnTo>
                  <a:lnTo>
                    <a:pt x="52" y="88"/>
                  </a:lnTo>
                  <a:lnTo>
                    <a:pt x="52" y="86"/>
                  </a:lnTo>
                  <a:lnTo>
                    <a:pt x="49" y="86"/>
                  </a:lnTo>
                  <a:lnTo>
                    <a:pt x="47" y="86"/>
                  </a:lnTo>
                  <a:lnTo>
                    <a:pt x="45" y="86"/>
                  </a:lnTo>
                  <a:lnTo>
                    <a:pt x="42" y="86"/>
                  </a:lnTo>
                  <a:lnTo>
                    <a:pt x="40" y="86"/>
                  </a:lnTo>
                  <a:lnTo>
                    <a:pt x="38" y="86"/>
                  </a:lnTo>
                  <a:lnTo>
                    <a:pt x="35" y="86"/>
                  </a:lnTo>
                  <a:lnTo>
                    <a:pt x="33" y="86"/>
                  </a:lnTo>
                  <a:lnTo>
                    <a:pt x="33" y="88"/>
                  </a:lnTo>
                  <a:lnTo>
                    <a:pt x="31" y="88"/>
                  </a:lnTo>
                  <a:lnTo>
                    <a:pt x="28" y="88"/>
                  </a:lnTo>
                  <a:lnTo>
                    <a:pt x="26" y="91"/>
                  </a:lnTo>
                  <a:lnTo>
                    <a:pt x="23" y="91"/>
                  </a:lnTo>
                  <a:lnTo>
                    <a:pt x="21" y="91"/>
                  </a:lnTo>
                  <a:lnTo>
                    <a:pt x="19" y="91"/>
                  </a:lnTo>
                  <a:lnTo>
                    <a:pt x="19" y="93"/>
                  </a:lnTo>
                  <a:lnTo>
                    <a:pt x="16" y="93"/>
                  </a:lnTo>
                  <a:lnTo>
                    <a:pt x="16" y="95"/>
                  </a:lnTo>
                  <a:lnTo>
                    <a:pt x="14" y="95"/>
                  </a:lnTo>
                  <a:lnTo>
                    <a:pt x="12" y="95"/>
                  </a:lnTo>
                  <a:lnTo>
                    <a:pt x="12" y="98"/>
                  </a:lnTo>
                  <a:lnTo>
                    <a:pt x="9" y="98"/>
                  </a:lnTo>
                  <a:lnTo>
                    <a:pt x="7" y="100"/>
                  </a:lnTo>
                  <a:lnTo>
                    <a:pt x="9" y="100"/>
                  </a:lnTo>
                  <a:lnTo>
                    <a:pt x="7" y="100"/>
                  </a:lnTo>
                  <a:lnTo>
                    <a:pt x="9" y="100"/>
                  </a:lnTo>
                  <a:lnTo>
                    <a:pt x="7" y="100"/>
                  </a:lnTo>
                  <a:lnTo>
                    <a:pt x="7" y="102"/>
                  </a:lnTo>
                  <a:lnTo>
                    <a:pt x="4" y="102"/>
                  </a:lnTo>
                  <a:lnTo>
                    <a:pt x="2" y="102"/>
                  </a:lnTo>
                  <a:lnTo>
                    <a:pt x="2" y="100"/>
                  </a:lnTo>
                  <a:lnTo>
                    <a:pt x="0" y="98"/>
                  </a:lnTo>
                  <a:lnTo>
                    <a:pt x="0" y="95"/>
                  </a:lnTo>
                  <a:lnTo>
                    <a:pt x="0" y="93"/>
                  </a:lnTo>
                  <a:lnTo>
                    <a:pt x="0" y="91"/>
                  </a:lnTo>
                  <a:lnTo>
                    <a:pt x="0" y="88"/>
                  </a:lnTo>
                  <a:lnTo>
                    <a:pt x="0" y="86"/>
                  </a:lnTo>
                  <a:lnTo>
                    <a:pt x="0" y="83"/>
                  </a:lnTo>
                  <a:lnTo>
                    <a:pt x="0" y="81"/>
                  </a:lnTo>
                  <a:lnTo>
                    <a:pt x="0" y="79"/>
                  </a:lnTo>
                  <a:lnTo>
                    <a:pt x="2" y="79"/>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8" name="Freeform 52486"/>
            <p:cNvSpPr>
              <a:spLocks noEditPoints="1"/>
            </p:cNvSpPr>
            <p:nvPr/>
          </p:nvSpPr>
          <p:spPr bwMode="auto">
            <a:xfrm>
              <a:off x="3279773" y="4140213"/>
              <a:ext cx="11113" cy="11113"/>
            </a:xfrm>
            <a:custGeom>
              <a:avLst/>
              <a:gdLst>
                <a:gd name="T0" fmla="*/ 7 w 7"/>
                <a:gd name="T1" fmla="*/ 7 h 7"/>
                <a:gd name="T2" fmla="*/ 7 w 7"/>
                <a:gd name="T3" fmla="*/ 7 h 7"/>
                <a:gd name="T4" fmla="*/ 7 w 7"/>
                <a:gd name="T5" fmla="*/ 7 h 7"/>
                <a:gd name="T6" fmla="*/ 7 w 7"/>
                <a:gd name="T7" fmla="*/ 7 h 7"/>
                <a:gd name="T8" fmla="*/ 7 w 7"/>
                <a:gd name="T9" fmla="*/ 7 h 7"/>
                <a:gd name="T10" fmla="*/ 7 w 7"/>
                <a:gd name="T11" fmla="*/ 7 h 7"/>
                <a:gd name="T12" fmla="*/ 5 w 7"/>
                <a:gd name="T13" fmla="*/ 7 h 7"/>
                <a:gd name="T14" fmla="*/ 7 w 7"/>
                <a:gd name="T15" fmla="*/ 7 h 7"/>
                <a:gd name="T16" fmla="*/ 7 w 7"/>
                <a:gd name="T17" fmla="*/ 7 h 7"/>
                <a:gd name="T18" fmla="*/ 7 w 7"/>
                <a:gd name="T19" fmla="*/ 7 h 7"/>
                <a:gd name="T20" fmla="*/ 7 w 7"/>
                <a:gd name="T21" fmla="*/ 7 h 7"/>
                <a:gd name="T22" fmla="*/ 7 w 7"/>
                <a:gd name="T23" fmla="*/ 7 h 7"/>
                <a:gd name="T24" fmla="*/ 5 w 7"/>
                <a:gd name="T25" fmla="*/ 0 h 7"/>
                <a:gd name="T26" fmla="*/ 5 w 7"/>
                <a:gd name="T27" fmla="*/ 0 h 7"/>
                <a:gd name="T28" fmla="*/ 5 w 7"/>
                <a:gd name="T29" fmla="*/ 0 h 7"/>
                <a:gd name="T30" fmla="*/ 5 w 7"/>
                <a:gd name="T31" fmla="*/ 0 h 7"/>
                <a:gd name="T32" fmla="*/ 5 w 7"/>
                <a:gd name="T33" fmla="*/ 0 h 7"/>
                <a:gd name="T34" fmla="*/ 5 w 7"/>
                <a:gd name="T35" fmla="*/ 0 h 7"/>
                <a:gd name="T36" fmla="*/ 5 w 7"/>
                <a:gd name="T37" fmla="*/ 0 h 7"/>
                <a:gd name="T38" fmla="*/ 5 w 7"/>
                <a:gd name="T39" fmla="*/ 0 h 7"/>
                <a:gd name="T40" fmla="*/ 5 w 7"/>
                <a:gd name="T41" fmla="*/ 0 h 7"/>
                <a:gd name="T42" fmla="*/ 2 w 7"/>
                <a:gd name="T43" fmla="*/ 0 h 7"/>
                <a:gd name="T44" fmla="*/ 2 w 7"/>
                <a:gd name="T45" fmla="*/ 0 h 7"/>
                <a:gd name="T46" fmla="*/ 2 w 7"/>
                <a:gd name="T47" fmla="*/ 0 h 7"/>
                <a:gd name="T48" fmla="*/ 2 w 7"/>
                <a:gd name="T49" fmla="*/ 0 h 7"/>
                <a:gd name="T50" fmla="*/ 2 w 7"/>
                <a:gd name="T51" fmla="*/ 0 h 7"/>
                <a:gd name="T52" fmla="*/ 2 w 7"/>
                <a:gd name="T53" fmla="*/ 0 h 7"/>
                <a:gd name="T54" fmla="*/ 2 w 7"/>
                <a:gd name="T55" fmla="*/ 0 h 7"/>
                <a:gd name="T56" fmla="*/ 2 w 7"/>
                <a:gd name="T57" fmla="*/ 0 h 7"/>
                <a:gd name="T58" fmla="*/ 2 w 7"/>
                <a:gd name="T59" fmla="*/ 0 h 7"/>
                <a:gd name="T60" fmla="*/ 2 w 7"/>
                <a:gd name="T61" fmla="*/ 0 h 7"/>
                <a:gd name="T62" fmla="*/ 5 w 7"/>
                <a:gd name="T63" fmla="*/ 0 h 7"/>
                <a:gd name="T64" fmla="*/ 5 w 7"/>
                <a:gd name="T65" fmla="*/ 0 h 7"/>
                <a:gd name="T66" fmla="*/ 5 w 7"/>
                <a:gd name="T67" fmla="*/ 0 h 7"/>
                <a:gd name="T68" fmla="*/ 5 w 7"/>
                <a:gd name="T69" fmla="*/ 0 h 7"/>
                <a:gd name="T70" fmla="*/ 5 w 7"/>
                <a:gd name="T71" fmla="*/ 0 h 7"/>
                <a:gd name="T72" fmla="*/ 2 w 7"/>
                <a:gd name="T73" fmla="*/ 2 h 7"/>
                <a:gd name="T74" fmla="*/ 2 w 7"/>
                <a:gd name="T75" fmla="*/ 2 h 7"/>
                <a:gd name="T76" fmla="*/ 2 w 7"/>
                <a:gd name="T77" fmla="*/ 2 h 7"/>
                <a:gd name="T78" fmla="*/ 2 w 7"/>
                <a:gd name="T79" fmla="*/ 2 h 7"/>
                <a:gd name="T80" fmla="*/ 2 w 7"/>
                <a:gd name="T81" fmla="*/ 2 h 7"/>
                <a:gd name="T82" fmla="*/ 2 w 7"/>
                <a:gd name="T83" fmla="*/ 2 h 7"/>
                <a:gd name="T84" fmla="*/ 2 w 7"/>
                <a:gd name="T85" fmla="*/ 2 h 7"/>
                <a:gd name="T86" fmla="*/ 2 w 7"/>
                <a:gd name="T87" fmla="*/ 2 h 7"/>
                <a:gd name="T88" fmla="*/ 2 w 7"/>
                <a:gd name="T89" fmla="*/ 2 h 7"/>
                <a:gd name="T90" fmla="*/ 2 w 7"/>
                <a:gd name="T91" fmla="*/ 2 h 7"/>
                <a:gd name="T92" fmla="*/ 0 w 7"/>
                <a:gd name="T93" fmla="*/ 2 h 7"/>
                <a:gd name="T94" fmla="*/ 0 w 7"/>
                <a:gd name="T95" fmla="*/ 2 h 7"/>
                <a:gd name="T96" fmla="*/ 0 w 7"/>
                <a:gd name="T97" fmla="*/ 2 h 7"/>
                <a:gd name="T98" fmla="*/ 0 w 7"/>
                <a:gd name="T99" fmla="*/ 2 h 7"/>
                <a:gd name="T100" fmla="*/ 0 w 7"/>
                <a:gd name="T101" fmla="*/ 2 h 7"/>
                <a:gd name="T102" fmla="*/ 0 w 7"/>
                <a:gd name="T103" fmla="*/ 2 h 7"/>
                <a:gd name="T104" fmla="*/ 0 w 7"/>
                <a:gd name="T105" fmla="*/ 2 h 7"/>
                <a:gd name="T106" fmla="*/ 2 w 7"/>
                <a:gd name="T107" fmla="*/ 2 h 7"/>
                <a:gd name="T108" fmla="*/ 2 w 7"/>
                <a:gd name="T109" fmla="*/ 2 h 7"/>
                <a:gd name="T110" fmla="*/ 2 w 7"/>
                <a:gd name="T111" fmla="*/ 0 h 7"/>
                <a:gd name="T112" fmla="*/ 2 w 7"/>
                <a:gd name="T113" fmla="*/ 0 h 7"/>
                <a:gd name="T114" fmla="*/ 2 w 7"/>
                <a:gd name="T115" fmla="*/ 0 h 7"/>
                <a:gd name="T116" fmla="*/ 2 w 7"/>
                <a:gd name="T117" fmla="*/ 0 h 7"/>
                <a:gd name="T118" fmla="*/ 2 w 7"/>
                <a:gd name="T119" fmla="*/ 0 h 7"/>
                <a:gd name="T120" fmla="*/ 2 w 7"/>
                <a:gd name="T1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 h="7">
                  <a:moveTo>
                    <a:pt x="7" y="7"/>
                  </a:moveTo>
                  <a:lnTo>
                    <a:pt x="7" y="7"/>
                  </a:lnTo>
                  <a:lnTo>
                    <a:pt x="7" y="7"/>
                  </a:lnTo>
                  <a:lnTo>
                    <a:pt x="7" y="7"/>
                  </a:lnTo>
                  <a:lnTo>
                    <a:pt x="7" y="7"/>
                  </a:lnTo>
                  <a:lnTo>
                    <a:pt x="7" y="7"/>
                  </a:lnTo>
                  <a:lnTo>
                    <a:pt x="5" y="7"/>
                  </a:lnTo>
                  <a:lnTo>
                    <a:pt x="7" y="7"/>
                  </a:lnTo>
                  <a:lnTo>
                    <a:pt x="7" y="7"/>
                  </a:lnTo>
                  <a:lnTo>
                    <a:pt x="7" y="7"/>
                  </a:lnTo>
                  <a:lnTo>
                    <a:pt x="7" y="7"/>
                  </a:lnTo>
                  <a:lnTo>
                    <a:pt x="7" y="7"/>
                  </a:lnTo>
                  <a:close/>
                  <a:moveTo>
                    <a:pt x="5" y="0"/>
                  </a:moveTo>
                  <a:lnTo>
                    <a:pt x="5" y="0"/>
                  </a:lnTo>
                  <a:lnTo>
                    <a:pt x="5" y="0"/>
                  </a:lnTo>
                  <a:lnTo>
                    <a:pt x="5" y="0"/>
                  </a:lnTo>
                  <a:lnTo>
                    <a:pt x="5" y="0"/>
                  </a:lnTo>
                  <a:lnTo>
                    <a:pt x="5" y="0"/>
                  </a:lnTo>
                  <a:lnTo>
                    <a:pt x="5" y="0"/>
                  </a:lnTo>
                  <a:lnTo>
                    <a:pt x="5" y="0"/>
                  </a:lnTo>
                  <a:lnTo>
                    <a:pt x="5" y="0"/>
                  </a:lnTo>
                  <a:close/>
                  <a:moveTo>
                    <a:pt x="2" y="0"/>
                  </a:moveTo>
                  <a:lnTo>
                    <a:pt x="2" y="0"/>
                  </a:lnTo>
                  <a:lnTo>
                    <a:pt x="2" y="0"/>
                  </a:lnTo>
                  <a:lnTo>
                    <a:pt x="2" y="0"/>
                  </a:lnTo>
                  <a:lnTo>
                    <a:pt x="2" y="0"/>
                  </a:lnTo>
                  <a:lnTo>
                    <a:pt x="2" y="0"/>
                  </a:lnTo>
                  <a:lnTo>
                    <a:pt x="2" y="0"/>
                  </a:lnTo>
                  <a:lnTo>
                    <a:pt x="2" y="0"/>
                  </a:lnTo>
                  <a:lnTo>
                    <a:pt x="2" y="0"/>
                  </a:lnTo>
                  <a:lnTo>
                    <a:pt x="2" y="0"/>
                  </a:lnTo>
                  <a:lnTo>
                    <a:pt x="5" y="0"/>
                  </a:lnTo>
                  <a:lnTo>
                    <a:pt x="5" y="0"/>
                  </a:lnTo>
                  <a:lnTo>
                    <a:pt x="5" y="0"/>
                  </a:lnTo>
                  <a:lnTo>
                    <a:pt x="5" y="0"/>
                  </a:lnTo>
                  <a:lnTo>
                    <a:pt x="5" y="0"/>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2" y="2"/>
                  </a:lnTo>
                  <a:lnTo>
                    <a:pt x="2" y="2"/>
                  </a:lnTo>
                  <a:lnTo>
                    <a:pt x="2" y="0"/>
                  </a:lnTo>
                  <a:lnTo>
                    <a:pt x="2" y="0"/>
                  </a:lnTo>
                  <a:lnTo>
                    <a:pt x="2" y="0"/>
                  </a:lnTo>
                  <a:lnTo>
                    <a:pt x="2" y="0"/>
                  </a:lnTo>
                  <a:lnTo>
                    <a:pt x="2"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9" name="Freeform 52487"/>
            <p:cNvSpPr>
              <a:spLocks/>
            </p:cNvSpPr>
            <p:nvPr/>
          </p:nvSpPr>
          <p:spPr bwMode="auto">
            <a:xfrm>
              <a:off x="2522535" y="4908567"/>
              <a:ext cx="7938" cy="15875"/>
            </a:xfrm>
            <a:custGeom>
              <a:avLst/>
              <a:gdLst>
                <a:gd name="T0" fmla="*/ 5 w 5"/>
                <a:gd name="T1" fmla="*/ 10 h 10"/>
                <a:gd name="T2" fmla="*/ 5 w 5"/>
                <a:gd name="T3" fmla="*/ 10 h 10"/>
                <a:gd name="T4" fmla="*/ 2 w 5"/>
                <a:gd name="T5" fmla="*/ 10 h 10"/>
                <a:gd name="T6" fmla="*/ 2 w 5"/>
                <a:gd name="T7" fmla="*/ 10 h 10"/>
                <a:gd name="T8" fmla="*/ 2 w 5"/>
                <a:gd name="T9" fmla="*/ 10 h 10"/>
                <a:gd name="T10" fmla="*/ 2 w 5"/>
                <a:gd name="T11" fmla="*/ 10 h 10"/>
                <a:gd name="T12" fmla="*/ 0 w 5"/>
                <a:gd name="T13" fmla="*/ 10 h 10"/>
                <a:gd name="T14" fmla="*/ 0 w 5"/>
                <a:gd name="T15" fmla="*/ 10 h 10"/>
                <a:gd name="T16" fmla="*/ 2 w 5"/>
                <a:gd name="T17" fmla="*/ 10 h 10"/>
                <a:gd name="T18" fmla="*/ 2 w 5"/>
                <a:gd name="T19" fmla="*/ 7 h 10"/>
                <a:gd name="T20" fmla="*/ 2 w 5"/>
                <a:gd name="T21" fmla="*/ 7 h 10"/>
                <a:gd name="T22" fmla="*/ 2 w 5"/>
                <a:gd name="T23" fmla="*/ 7 h 10"/>
                <a:gd name="T24" fmla="*/ 2 w 5"/>
                <a:gd name="T25" fmla="*/ 7 h 10"/>
                <a:gd name="T26" fmla="*/ 0 w 5"/>
                <a:gd name="T27" fmla="*/ 5 h 10"/>
                <a:gd name="T28" fmla="*/ 0 w 5"/>
                <a:gd name="T29" fmla="*/ 5 h 10"/>
                <a:gd name="T30" fmla="*/ 0 w 5"/>
                <a:gd name="T31" fmla="*/ 3 h 10"/>
                <a:gd name="T32" fmla="*/ 2 w 5"/>
                <a:gd name="T33" fmla="*/ 3 h 10"/>
                <a:gd name="T34" fmla="*/ 2 w 5"/>
                <a:gd name="T35" fmla="*/ 0 h 10"/>
                <a:gd name="T36" fmla="*/ 2 w 5"/>
                <a:gd name="T37" fmla="*/ 0 h 10"/>
                <a:gd name="T38" fmla="*/ 2 w 5"/>
                <a:gd name="T39" fmla="*/ 0 h 10"/>
                <a:gd name="T40" fmla="*/ 2 w 5"/>
                <a:gd name="T41" fmla="*/ 0 h 10"/>
                <a:gd name="T42" fmla="*/ 2 w 5"/>
                <a:gd name="T43" fmla="*/ 0 h 10"/>
                <a:gd name="T44" fmla="*/ 2 w 5"/>
                <a:gd name="T45" fmla="*/ 3 h 10"/>
                <a:gd name="T46" fmla="*/ 5 w 5"/>
                <a:gd name="T47" fmla="*/ 3 h 10"/>
                <a:gd name="T48" fmla="*/ 5 w 5"/>
                <a:gd name="T49" fmla="*/ 3 h 10"/>
                <a:gd name="T50" fmla="*/ 5 w 5"/>
                <a:gd name="T51" fmla="*/ 5 h 10"/>
                <a:gd name="T52" fmla="*/ 2 w 5"/>
                <a:gd name="T53" fmla="*/ 5 h 10"/>
                <a:gd name="T54" fmla="*/ 5 w 5"/>
                <a:gd name="T55" fmla="*/ 5 h 10"/>
                <a:gd name="T56" fmla="*/ 5 w 5"/>
                <a:gd name="T57" fmla="*/ 5 h 10"/>
                <a:gd name="T58" fmla="*/ 5 w 5"/>
                <a:gd name="T59" fmla="*/ 5 h 10"/>
                <a:gd name="T60" fmla="*/ 5 w 5"/>
                <a:gd name="T61" fmla="*/ 5 h 10"/>
                <a:gd name="T62" fmla="*/ 5 w 5"/>
                <a:gd name="T63" fmla="*/ 7 h 10"/>
                <a:gd name="T64" fmla="*/ 5 w 5"/>
                <a:gd name="T65" fmla="*/ 7 h 10"/>
                <a:gd name="T66" fmla="*/ 5 w 5"/>
                <a:gd name="T67" fmla="*/ 7 h 10"/>
                <a:gd name="T68" fmla="*/ 5 w 5"/>
                <a:gd name="T69" fmla="*/ 7 h 10"/>
                <a:gd name="T70" fmla="*/ 5 w 5"/>
                <a:gd name="T71" fmla="*/ 10 h 10"/>
                <a:gd name="T72" fmla="*/ 5 w 5"/>
                <a:gd name="T73" fmla="*/ 10 h 10"/>
                <a:gd name="T74" fmla="*/ 5 w 5"/>
                <a:gd name="T7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 h="10">
                  <a:moveTo>
                    <a:pt x="5" y="10"/>
                  </a:moveTo>
                  <a:lnTo>
                    <a:pt x="5" y="10"/>
                  </a:lnTo>
                  <a:lnTo>
                    <a:pt x="5" y="10"/>
                  </a:lnTo>
                  <a:lnTo>
                    <a:pt x="5" y="10"/>
                  </a:lnTo>
                  <a:lnTo>
                    <a:pt x="2" y="10"/>
                  </a:lnTo>
                  <a:lnTo>
                    <a:pt x="2" y="10"/>
                  </a:lnTo>
                  <a:lnTo>
                    <a:pt x="2" y="10"/>
                  </a:lnTo>
                  <a:lnTo>
                    <a:pt x="2" y="10"/>
                  </a:lnTo>
                  <a:lnTo>
                    <a:pt x="2" y="10"/>
                  </a:lnTo>
                  <a:lnTo>
                    <a:pt x="2" y="10"/>
                  </a:lnTo>
                  <a:lnTo>
                    <a:pt x="2" y="10"/>
                  </a:lnTo>
                  <a:lnTo>
                    <a:pt x="2" y="10"/>
                  </a:lnTo>
                  <a:lnTo>
                    <a:pt x="0" y="10"/>
                  </a:lnTo>
                  <a:lnTo>
                    <a:pt x="0" y="10"/>
                  </a:lnTo>
                  <a:lnTo>
                    <a:pt x="0" y="10"/>
                  </a:lnTo>
                  <a:lnTo>
                    <a:pt x="0" y="10"/>
                  </a:lnTo>
                  <a:lnTo>
                    <a:pt x="0" y="10"/>
                  </a:lnTo>
                  <a:lnTo>
                    <a:pt x="2" y="10"/>
                  </a:lnTo>
                  <a:lnTo>
                    <a:pt x="2" y="7"/>
                  </a:lnTo>
                  <a:lnTo>
                    <a:pt x="2" y="7"/>
                  </a:lnTo>
                  <a:lnTo>
                    <a:pt x="2" y="7"/>
                  </a:lnTo>
                  <a:lnTo>
                    <a:pt x="2" y="7"/>
                  </a:lnTo>
                  <a:lnTo>
                    <a:pt x="2" y="7"/>
                  </a:lnTo>
                  <a:lnTo>
                    <a:pt x="2" y="7"/>
                  </a:lnTo>
                  <a:lnTo>
                    <a:pt x="2" y="7"/>
                  </a:lnTo>
                  <a:lnTo>
                    <a:pt x="2" y="7"/>
                  </a:lnTo>
                  <a:lnTo>
                    <a:pt x="2" y="5"/>
                  </a:lnTo>
                  <a:lnTo>
                    <a:pt x="0" y="5"/>
                  </a:lnTo>
                  <a:lnTo>
                    <a:pt x="0" y="5"/>
                  </a:lnTo>
                  <a:lnTo>
                    <a:pt x="0" y="5"/>
                  </a:lnTo>
                  <a:lnTo>
                    <a:pt x="0" y="3"/>
                  </a:lnTo>
                  <a:lnTo>
                    <a:pt x="0" y="3"/>
                  </a:lnTo>
                  <a:lnTo>
                    <a:pt x="0" y="3"/>
                  </a:lnTo>
                  <a:lnTo>
                    <a:pt x="2" y="3"/>
                  </a:lnTo>
                  <a:lnTo>
                    <a:pt x="2" y="0"/>
                  </a:lnTo>
                  <a:lnTo>
                    <a:pt x="2" y="0"/>
                  </a:lnTo>
                  <a:lnTo>
                    <a:pt x="2" y="0"/>
                  </a:lnTo>
                  <a:lnTo>
                    <a:pt x="2" y="0"/>
                  </a:lnTo>
                  <a:lnTo>
                    <a:pt x="2" y="0"/>
                  </a:lnTo>
                  <a:lnTo>
                    <a:pt x="2" y="0"/>
                  </a:lnTo>
                  <a:lnTo>
                    <a:pt x="2" y="0"/>
                  </a:lnTo>
                  <a:lnTo>
                    <a:pt x="2" y="0"/>
                  </a:lnTo>
                  <a:lnTo>
                    <a:pt x="2" y="0"/>
                  </a:lnTo>
                  <a:lnTo>
                    <a:pt x="2" y="0"/>
                  </a:lnTo>
                  <a:lnTo>
                    <a:pt x="2" y="3"/>
                  </a:lnTo>
                  <a:lnTo>
                    <a:pt x="2" y="3"/>
                  </a:lnTo>
                  <a:lnTo>
                    <a:pt x="5" y="3"/>
                  </a:lnTo>
                  <a:lnTo>
                    <a:pt x="5" y="3"/>
                  </a:lnTo>
                  <a:lnTo>
                    <a:pt x="5" y="3"/>
                  </a:lnTo>
                  <a:lnTo>
                    <a:pt x="5" y="3"/>
                  </a:lnTo>
                  <a:lnTo>
                    <a:pt x="5" y="3"/>
                  </a:lnTo>
                  <a:lnTo>
                    <a:pt x="5" y="5"/>
                  </a:lnTo>
                  <a:lnTo>
                    <a:pt x="2" y="5"/>
                  </a:lnTo>
                  <a:lnTo>
                    <a:pt x="2" y="5"/>
                  </a:lnTo>
                  <a:lnTo>
                    <a:pt x="5" y="5"/>
                  </a:lnTo>
                  <a:lnTo>
                    <a:pt x="5" y="5"/>
                  </a:lnTo>
                  <a:lnTo>
                    <a:pt x="5" y="5"/>
                  </a:lnTo>
                  <a:lnTo>
                    <a:pt x="5" y="5"/>
                  </a:lnTo>
                  <a:lnTo>
                    <a:pt x="5" y="5"/>
                  </a:lnTo>
                  <a:lnTo>
                    <a:pt x="5" y="5"/>
                  </a:lnTo>
                  <a:lnTo>
                    <a:pt x="5" y="5"/>
                  </a:lnTo>
                  <a:lnTo>
                    <a:pt x="5" y="5"/>
                  </a:lnTo>
                  <a:lnTo>
                    <a:pt x="5" y="7"/>
                  </a:lnTo>
                  <a:lnTo>
                    <a:pt x="5" y="7"/>
                  </a:lnTo>
                  <a:lnTo>
                    <a:pt x="5" y="7"/>
                  </a:lnTo>
                  <a:lnTo>
                    <a:pt x="5" y="7"/>
                  </a:lnTo>
                  <a:lnTo>
                    <a:pt x="5" y="7"/>
                  </a:lnTo>
                  <a:lnTo>
                    <a:pt x="5" y="7"/>
                  </a:lnTo>
                  <a:lnTo>
                    <a:pt x="5" y="7"/>
                  </a:lnTo>
                  <a:lnTo>
                    <a:pt x="5" y="7"/>
                  </a:lnTo>
                  <a:lnTo>
                    <a:pt x="5" y="10"/>
                  </a:lnTo>
                  <a:lnTo>
                    <a:pt x="5" y="10"/>
                  </a:lnTo>
                  <a:lnTo>
                    <a:pt x="5" y="10"/>
                  </a:lnTo>
                  <a:lnTo>
                    <a:pt x="5" y="10"/>
                  </a:lnTo>
                  <a:lnTo>
                    <a:pt x="5" y="10"/>
                  </a:lnTo>
                  <a:lnTo>
                    <a:pt x="5" y="1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0" name="Freeform 52488"/>
            <p:cNvSpPr>
              <a:spLocks noEditPoints="1"/>
            </p:cNvSpPr>
            <p:nvPr/>
          </p:nvSpPr>
          <p:spPr bwMode="auto">
            <a:xfrm>
              <a:off x="3125784" y="4187840"/>
              <a:ext cx="304799" cy="207965"/>
            </a:xfrm>
            <a:custGeom>
              <a:avLst/>
              <a:gdLst>
                <a:gd name="T0" fmla="*/ 0 w 192"/>
                <a:gd name="T1" fmla="*/ 57 h 131"/>
                <a:gd name="T2" fmla="*/ 4 w 192"/>
                <a:gd name="T3" fmla="*/ 41 h 131"/>
                <a:gd name="T4" fmla="*/ 4 w 192"/>
                <a:gd name="T5" fmla="*/ 53 h 131"/>
                <a:gd name="T6" fmla="*/ 130 w 192"/>
                <a:gd name="T7" fmla="*/ 8 h 131"/>
                <a:gd name="T8" fmla="*/ 135 w 192"/>
                <a:gd name="T9" fmla="*/ 10 h 131"/>
                <a:gd name="T10" fmla="*/ 144 w 192"/>
                <a:gd name="T11" fmla="*/ 17 h 131"/>
                <a:gd name="T12" fmla="*/ 156 w 192"/>
                <a:gd name="T13" fmla="*/ 17 h 131"/>
                <a:gd name="T14" fmla="*/ 163 w 192"/>
                <a:gd name="T15" fmla="*/ 24 h 131"/>
                <a:gd name="T16" fmla="*/ 173 w 192"/>
                <a:gd name="T17" fmla="*/ 31 h 131"/>
                <a:gd name="T18" fmla="*/ 185 w 192"/>
                <a:gd name="T19" fmla="*/ 41 h 131"/>
                <a:gd name="T20" fmla="*/ 182 w 192"/>
                <a:gd name="T21" fmla="*/ 50 h 131"/>
                <a:gd name="T22" fmla="*/ 182 w 192"/>
                <a:gd name="T23" fmla="*/ 55 h 131"/>
                <a:gd name="T24" fmla="*/ 185 w 192"/>
                <a:gd name="T25" fmla="*/ 57 h 131"/>
                <a:gd name="T26" fmla="*/ 192 w 192"/>
                <a:gd name="T27" fmla="*/ 60 h 131"/>
                <a:gd name="T28" fmla="*/ 185 w 192"/>
                <a:gd name="T29" fmla="*/ 67 h 131"/>
                <a:gd name="T30" fmla="*/ 173 w 192"/>
                <a:gd name="T31" fmla="*/ 69 h 131"/>
                <a:gd name="T32" fmla="*/ 168 w 192"/>
                <a:gd name="T33" fmla="*/ 79 h 131"/>
                <a:gd name="T34" fmla="*/ 159 w 192"/>
                <a:gd name="T35" fmla="*/ 81 h 131"/>
                <a:gd name="T36" fmla="*/ 156 w 192"/>
                <a:gd name="T37" fmla="*/ 95 h 131"/>
                <a:gd name="T38" fmla="*/ 152 w 192"/>
                <a:gd name="T39" fmla="*/ 103 h 131"/>
                <a:gd name="T40" fmla="*/ 152 w 192"/>
                <a:gd name="T41" fmla="*/ 110 h 131"/>
                <a:gd name="T42" fmla="*/ 159 w 192"/>
                <a:gd name="T43" fmla="*/ 114 h 131"/>
                <a:gd name="T44" fmla="*/ 152 w 192"/>
                <a:gd name="T45" fmla="*/ 117 h 131"/>
                <a:gd name="T46" fmla="*/ 152 w 192"/>
                <a:gd name="T47" fmla="*/ 112 h 131"/>
                <a:gd name="T48" fmla="*/ 140 w 192"/>
                <a:gd name="T49" fmla="*/ 112 h 131"/>
                <a:gd name="T50" fmla="*/ 133 w 192"/>
                <a:gd name="T51" fmla="*/ 117 h 131"/>
                <a:gd name="T52" fmla="*/ 125 w 192"/>
                <a:gd name="T53" fmla="*/ 124 h 131"/>
                <a:gd name="T54" fmla="*/ 121 w 192"/>
                <a:gd name="T55" fmla="*/ 126 h 131"/>
                <a:gd name="T56" fmla="*/ 111 w 192"/>
                <a:gd name="T57" fmla="*/ 129 h 131"/>
                <a:gd name="T58" fmla="*/ 104 w 192"/>
                <a:gd name="T59" fmla="*/ 129 h 131"/>
                <a:gd name="T60" fmla="*/ 95 w 192"/>
                <a:gd name="T61" fmla="*/ 129 h 131"/>
                <a:gd name="T62" fmla="*/ 83 w 192"/>
                <a:gd name="T63" fmla="*/ 126 h 131"/>
                <a:gd name="T64" fmla="*/ 78 w 192"/>
                <a:gd name="T65" fmla="*/ 114 h 131"/>
                <a:gd name="T66" fmla="*/ 68 w 192"/>
                <a:gd name="T67" fmla="*/ 107 h 131"/>
                <a:gd name="T68" fmla="*/ 57 w 192"/>
                <a:gd name="T69" fmla="*/ 103 h 131"/>
                <a:gd name="T70" fmla="*/ 57 w 192"/>
                <a:gd name="T71" fmla="*/ 91 h 131"/>
                <a:gd name="T72" fmla="*/ 64 w 192"/>
                <a:gd name="T73" fmla="*/ 84 h 131"/>
                <a:gd name="T74" fmla="*/ 57 w 192"/>
                <a:gd name="T75" fmla="*/ 76 h 131"/>
                <a:gd name="T76" fmla="*/ 45 w 192"/>
                <a:gd name="T77" fmla="*/ 72 h 131"/>
                <a:gd name="T78" fmla="*/ 33 w 192"/>
                <a:gd name="T79" fmla="*/ 72 h 131"/>
                <a:gd name="T80" fmla="*/ 21 w 192"/>
                <a:gd name="T81" fmla="*/ 67 h 131"/>
                <a:gd name="T82" fmla="*/ 14 w 192"/>
                <a:gd name="T83" fmla="*/ 57 h 131"/>
                <a:gd name="T84" fmla="*/ 9 w 192"/>
                <a:gd name="T85" fmla="*/ 55 h 131"/>
                <a:gd name="T86" fmla="*/ 4 w 192"/>
                <a:gd name="T87" fmla="*/ 41 h 131"/>
                <a:gd name="T88" fmla="*/ 2 w 192"/>
                <a:gd name="T89" fmla="*/ 36 h 131"/>
                <a:gd name="T90" fmla="*/ 2 w 192"/>
                <a:gd name="T91" fmla="*/ 19 h 131"/>
                <a:gd name="T92" fmla="*/ 7 w 192"/>
                <a:gd name="T93" fmla="*/ 17 h 131"/>
                <a:gd name="T94" fmla="*/ 19 w 192"/>
                <a:gd name="T95" fmla="*/ 10 h 131"/>
                <a:gd name="T96" fmla="*/ 33 w 192"/>
                <a:gd name="T97" fmla="*/ 5 h 131"/>
                <a:gd name="T98" fmla="*/ 47 w 192"/>
                <a:gd name="T99" fmla="*/ 3 h 131"/>
                <a:gd name="T100" fmla="*/ 61 w 192"/>
                <a:gd name="T101" fmla="*/ 5 h 131"/>
                <a:gd name="T102" fmla="*/ 71 w 192"/>
                <a:gd name="T103" fmla="*/ 8 h 131"/>
                <a:gd name="T104" fmla="*/ 83 w 192"/>
                <a:gd name="T105" fmla="*/ 8 h 131"/>
                <a:gd name="T106" fmla="*/ 95 w 192"/>
                <a:gd name="T107" fmla="*/ 8 h 131"/>
                <a:gd name="T108" fmla="*/ 104 w 192"/>
                <a:gd name="T109" fmla="*/ 10 h 131"/>
                <a:gd name="T110" fmla="*/ 114 w 192"/>
                <a:gd name="T111" fmla="*/ 10 h 131"/>
                <a:gd name="T112" fmla="*/ 121 w 192"/>
                <a:gd name="T113"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 h="131">
                  <a:moveTo>
                    <a:pt x="4" y="53"/>
                  </a:moveTo>
                  <a:lnTo>
                    <a:pt x="4" y="55"/>
                  </a:lnTo>
                  <a:lnTo>
                    <a:pt x="2" y="55"/>
                  </a:lnTo>
                  <a:lnTo>
                    <a:pt x="2" y="57"/>
                  </a:lnTo>
                  <a:lnTo>
                    <a:pt x="2" y="60"/>
                  </a:lnTo>
                  <a:lnTo>
                    <a:pt x="0" y="60"/>
                  </a:lnTo>
                  <a:lnTo>
                    <a:pt x="0" y="57"/>
                  </a:lnTo>
                  <a:lnTo>
                    <a:pt x="2" y="55"/>
                  </a:lnTo>
                  <a:lnTo>
                    <a:pt x="2" y="53"/>
                  </a:lnTo>
                  <a:lnTo>
                    <a:pt x="4" y="50"/>
                  </a:lnTo>
                  <a:lnTo>
                    <a:pt x="4" y="48"/>
                  </a:lnTo>
                  <a:lnTo>
                    <a:pt x="4" y="46"/>
                  </a:lnTo>
                  <a:lnTo>
                    <a:pt x="4" y="43"/>
                  </a:lnTo>
                  <a:lnTo>
                    <a:pt x="4" y="41"/>
                  </a:lnTo>
                  <a:lnTo>
                    <a:pt x="4" y="38"/>
                  </a:lnTo>
                  <a:lnTo>
                    <a:pt x="4" y="41"/>
                  </a:lnTo>
                  <a:lnTo>
                    <a:pt x="4" y="43"/>
                  </a:lnTo>
                  <a:lnTo>
                    <a:pt x="4" y="46"/>
                  </a:lnTo>
                  <a:lnTo>
                    <a:pt x="4" y="48"/>
                  </a:lnTo>
                  <a:lnTo>
                    <a:pt x="4" y="50"/>
                  </a:lnTo>
                  <a:lnTo>
                    <a:pt x="4" y="53"/>
                  </a:lnTo>
                  <a:close/>
                  <a:moveTo>
                    <a:pt x="128" y="0"/>
                  </a:moveTo>
                  <a:lnTo>
                    <a:pt x="130" y="0"/>
                  </a:lnTo>
                  <a:lnTo>
                    <a:pt x="130" y="3"/>
                  </a:lnTo>
                  <a:lnTo>
                    <a:pt x="130" y="5"/>
                  </a:lnTo>
                  <a:lnTo>
                    <a:pt x="133" y="5"/>
                  </a:lnTo>
                  <a:lnTo>
                    <a:pt x="130" y="5"/>
                  </a:lnTo>
                  <a:lnTo>
                    <a:pt x="130" y="8"/>
                  </a:lnTo>
                  <a:lnTo>
                    <a:pt x="133" y="8"/>
                  </a:lnTo>
                  <a:lnTo>
                    <a:pt x="130" y="8"/>
                  </a:lnTo>
                  <a:lnTo>
                    <a:pt x="133" y="8"/>
                  </a:lnTo>
                  <a:lnTo>
                    <a:pt x="130" y="8"/>
                  </a:lnTo>
                  <a:lnTo>
                    <a:pt x="133" y="8"/>
                  </a:lnTo>
                  <a:lnTo>
                    <a:pt x="133" y="10"/>
                  </a:lnTo>
                  <a:lnTo>
                    <a:pt x="135" y="10"/>
                  </a:lnTo>
                  <a:lnTo>
                    <a:pt x="135" y="12"/>
                  </a:lnTo>
                  <a:lnTo>
                    <a:pt x="135" y="15"/>
                  </a:lnTo>
                  <a:lnTo>
                    <a:pt x="137" y="15"/>
                  </a:lnTo>
                  <a:lnTo>
                    <a:pt x="140" y="15"/>
                  </a:lnTo>
                  <a:lnTo>
                    <a:pt x="142" y="15"/>
                  </a:lnTo>
                  <a:lnTo>
                    <a:pt x="142" y="17"/>
                  </a:lnTo>
                  <a:lnTo>
                    <a:pt x="144" y="17"/>
                  </a:lnTo>
                  <a:lnTo>
                    <a:pt x="147" y="17"/>
                  </a:lnTo>
                  <a:lnTo>
                    <a:pt x="149" y="17"/>
                  </a:lnTo>
                  <a:lnTo>
                    <a:pt x="149" y="15"/>
                  </a:lnTo>
                  <a:lnTo>
                    <a:pt x="152" y="15"/>
                  </a:lnTo>
                  <a:lnTo>
                    <a:pt x="152" y="17"/>
                  </a:lnTo>
                  <a:lnTo>
                    <a:pt x="154" y="17"/>
                  </a:lnTo>
                  <a:lnTo>
                    <a:pt x="156" y="17"/>
                  </a:lnTo>
                  <a:lnTo>
                    <a:pt x="156" y="19"/>
                  </a:lnTo>
                  <a:lnTo>
                    <a:pt x="154" y="19"/>
                  </a:lnTo>
                  <a:lnTo>
                    <a:pt x="156" y="19"/>
                  </a:lnTo>
                  <a:lnTo>
                    <a:pt x="159" y="22"/>
                  </a:lnTo>
                  <a:lnTo>
                    <a:pt x="161" y="22"/>
                  </a:lnTo>
                  <a:lnTo>
                    <a:pt x="161" y="24"/>
                  </a:lnTo>
                  <a:lnTo>
                    <a:pt x="163" y="24"/>
                  </a:lnTo>
                  <a:lnTo>
                    <a:pt x="166" y="24"/>
                  </a:lnTo>
                  <a:lnTo>
                    <a:pt x="166" y="27"/>
                  </a:lnTo>
                  <a:lnTo>
                    <a:pt x="168" y="27"/>
                  </a:lnTo>
                  <a:lnTo>
                    <a:pt x="168" y="29"/>
                  </a:lnTo>
                  <a:lnTo>
                    <a:pt x="170" y="29"/>
                  </a:lnTo>
                  <a:lnTo>
                    <a:pt x="170" y="31"/>
                  </a:lnTo>
                  <a:lnTo>
                    <a:pt x="173" y="31"/>
                  </a:lnTo>
                  <a:lnTo>
                    <a:pt x="173" y="34"/>
                  </a:lnTo>
                  <a:lnTo>
                    <a:pt x="175" y="36"/>
                  </a:lnTo>
                  <a:lnTo>
                    <a:pt x="178" y="36"/>
                  </a:lnTo>
                  <a:lnTo>
                    <a:pt x="178" y="38"/>
                  </a:lnTo>
                  <a:lnTo>
                    <a:pt x="180" y="38"/>
                  </a:lnTo>
                  <a:lnTo>
                    <a:pt x="182" y="41"/>
                  </a:lnTo>
                  <a:lnTo>
                    <a:pt x="185" y="41"/>
                  </a:lnTo>
                  <a:lnTo>
                    <a:pt x="187" y="41"/>
                  </a:lnTo>
                  <a:lnTo>
                    <a:pt x="187" y="43"/>
                  </a:lnTo>
                  <a:lnTo>
                    <a:pt x="187" y="46"/>
                  </a:lnTo>
                  <a:lnTo>
                    <a:pt x="185" y="46"/>
                  </a:lnTo>
                  <a:lnTo>
                    <a:pt x="185" y="48"/>
                  </a:lnTo>
                  <a:lnTo>
                    <a:pt x="182" y="48"/>
                  </a:lnTo>
                  <a:lnTo>
                    <a:pt x="182" y="50"/>
                  </a:lnTo>
                  <a:lnTo>
                    <a:pt x="185" y="50"/>
                  </a:lnTo>
                  <a:lnTo>
                    <a:pt x="185" y="53"/>
                  </a:lnTo>
                  <a:lnTo>
                    <a:pt x="182" y="53"/>
                  </a:lnTo>
                  <a:lnTo>
                    <a:pt x="185" y="53"/>
                  </a:lnTo>
                  <a:lnTo>
                    <a:pt x="182" y="53"/>
                  </a:lnTo>
                  <a:lnTo>
                    <a:pt x="185" y="55"/>
                  </a:lnTo>
                  <a:lnTo>
                    <a:pt x="182" y="55"/>
                  </a:lnTo>
                  <a:lnTo>
                    <a:pt x="185" y="55"/>
                  </a:lnTo>
                  <a:lnTo>
                    <a:pt x="182" y="55"/>
                  </a:lnTo>
                  <a:lnTo>
                    <a:pt x="180" y="57"/>
                  </a:lnTo>
                  <a:lnTo>
                    <a:pt x="182" y="57"/>
                  </a:lnTo>
                  <a:lnTo>
                    <a:pt x="185" y="57"/>
                  </a:lnTo>
                  <a:lnTo>
                    <a:pt x="185" y="60"/>
                  </a:lnTo>
                  <a:lnTo>
                    <a:pt x="185" y="57"/>
                  </a:lnTo>
                  <a:lnTo>
                    <a:pt x="185" y="60"/>
                  </a:lnTo>
                  <a:lnTo>
                    <a:pt x="185" y="57"/>
                  </a:lnTo>
                  <a:lnTo>
                    <a:pt x="185" y="60"/>
                  </a:lnTo>
                  <a:lnTo>
                    <a:pt x="185" y="57"/>
                  </a:lnTo>
                  <a:lnTo>
                    <a:pt x="187" y="57"/>
                  </a:lnTo>
                  <a:lnTo>
                    <a:pt x="189" y="57"/>
                  </a:lnTo>
                  <a:lnTo>
                    <a:pt x="192" y="60"/>
                  </a:lnTo>
                  <a:lnTo>
                    <a:pt x="192" y="62"/>
                  </a:lnTo>
                  <a:lnTo>
                    <a:pt x="189" y="62"/>
                  </a:lnTo>
                  <a:lnTo>
                    <a:pt x="189" y="65"/>
                  </a:lnTo>
                  <a:lnTo>
                    <a:pt x="187" y="65"/>
                  </a:lnTo>
                  <a:lnTo>
                    <a:pt x="189" y="67"/>
                  </a:lnTo>
                  <a:lnTo>
                    <a:pt x="187" y="67"/>
                  </a:lnTo>
                  <a:lnTo>
                    <a:pt x="185" y="67"/>
                  </a:lnTo>
                  <a:lnTo>
                    <a:pt x="182" y="67"/>
                  </a:lnTo>
                  <a:lnTo>
                    <a:pt x="180" y="69"/>
                  </a:lnTo>
                  <a:lnTo>
                    <a:pt x="180" y="67"/>
                  </a:lnTo>
                  <a:lnTo>
                    <a:pt x="178" y="67"/>
                  </a:lnTo>
                  <a:lnTo>
                    <a:pt x="175" y="67"/>
                  </a:lnTo>
                  <a:lnTo>
                    <a:pt x="175" y="69"/>
                  </a:lnTo>
                  <a:lnTo>
                    <a:pt x="173" y="69"/>
                  </a:lnTo>
                  <a:lnTo>
                    <a:pt x="175" y="72"/>
                  </a:lnTo>
                  <a:lnTo>
                    <a:pt x="173" y="72"/>
                  </a:lnTo>
                  <a:lnTo>
                    <a:pt x="173" y="74"/>
                  </a:lnTo>
                  <a:lnTo>
                    <a:pt x="173" y="76"/>
                  </a:lnTo>
                  <a:lnTo>
                    <a:pt x="170" y="76"/>
                  </a:lnTo>
                  <a:lnTo>
                    <a:pt x="168" y="76"/>
                  </a:lnTo>
                  <a:lnTo>
                    <a:pt x="168" y="79"/>
                  </a:lnTo>
                  <a:lnTo>
                    <a:pt x="166" y="79"/>
                  </a:lnTo>
                  <a:lnTo>
                    <a:pt x="166" y="76"/>
                  </a:lnTo>
                  <a:lnTo>
                    <a:pt x="163" y="76"/>
                  </a:lnTo>
                  <a:lnTo>
                    <a:pt x="163" y="79"/>
                  </a:lnTo>
                  <a:lnTo>
                    <a:pt x="161" y="79"/>
                  </a:lnTo>
                  <a:lnTo>
                    <a:pt x="161" y="81"/>
                  </a:lnTo>
                  <a:lnTo>
                    <a:pt x="159" y="81"/>
                  </a:lnTo>
                  <a:lnTo>
                    <a:pt x="159" y="84"/>
                  </a:lnTo>
                  <a:lnTo>
                    <a:pt x="156" y="84"/>
                  </a:lnTo>
                  <a:lnTo>
                    <a:pt x="156" y="86"/>
                  </a:lnTo>
                  <a:lnTo>
                    <a:pt x="156" y="88"/>
                  </a:lnTo>
                  <a:lnTo>
                    <a:pt x="156" y="91"/>
                  </a:lnTo>
                  <a:lnTo>
                    <a:pt x="156" y="93"/>
                  </a:lnTo>
                  <a:lnTo>
                    <a:pt x="156" y="95"/>
                  </a:lnTo>
                  <a:lnTo>
                    <a:pt x="159" y="95"/>
                  </a:lnTo>
                  <a:lnTo>
                    <a:pt x="156" y="95"/>
                  </a:lnTo>
                  <a:lnTo>
                    <a:pt x="156" y="98"/>
                  </a:lnTo>
                  <a:lnTo>
                    <a:pt x="154" y="98"/>
                  </a:lnTo>
                  <a:lnTo>
                    <a:pt x="154" y="100"/>
                  </a:lnTo>
                  <a:lnTo>
                    <a:pt x="154" y="103"/>
                  </a:lnTo>
                  <a:lnTo>
                    <a:pt x="152" y="103"/>
                  </a:lnTo>
                  <a:lnTo>
                    <a:pt x="154" y="103"/>
                  </a:lnTo>
                  <a:lnTo>
                    <a:pt x="154" y="105"/>
                  </a:lnTo>
                  <a:lnTo>
                    <a:pt x="152" y="105"/>
                  </a:lnTo>
                  <a:lnTo>
                    <a:pt x="152" y="107"/>
                  </a:lnTo>
                  <a:lnTo>
                    <a:pt x="149" y="107"/>
                  </a:lnTo>
                  <a:lnTo>
                    <a:pt x="149" y="110"/>
                  </a:lnTo>
                  <a:lnTo>
                    <a:pt x="152" y="110"/>
                  </a:lnTo>
                  <a:lnTo>
                    <a:pt x="154" y="110"/>
                  </a:lnTo>
                  <a:lnTo>
                    <a:pt x="156" y="110"/>
                  </a:lnTo>
                  <a:lnTo>
                    <a:pt x="156" y="112"/>
                  </a:lnTo>
                  <a:lnTo>
                    <a:pt x="159" y="112"/>
                  </a:lnTo>
                  <a:lnTo>
                    <a:pt x="159" y="114"/>
                  </a:lnTo>
                  <a:lnTo>
                    <a:pt x="156" y="114"/>
                  </a:lnTo>
                  <a:lnTo>
                    <a:pt x="159" y="114"/>
                  </a:lnTo>
                  <a:lnTo>
                    <a:pt x="159" y="117"/>
                  </a:lnTo>
                  <a:lnTo>
                    <a:pt x="156" y="117"/>
                  </a:lnTo>
                  <a:lnTo>
                    <a:pt x="154" y="117"/>
                  </a:lnTo>
                  <a:lnTo>
                    <a:pt x="156" y="117"/>
                  </a:lnTo>
                  <a:lnTo>
                    <a:pt x="154" y="119"/>
                  </a:lnTo>
                  <a:lnTo>
                    <a:pt x="152" y="119"/>
                  </a:lnTo>
                  <a:lnTo>
                    <a:pt x="152" y="117"/>
                  </a:lnTo>
                  <a:lnTo>
                    <a:pt x="152" y="119"/>
                  </a:lnTo>
                  <a:lnTo>
                    <a:pt x="152" y="117"/>
                  </a:lnTo>
                  <a:lnTo>
                    <a:pt x="149" y="117"/>
                  </a:lnTo>
                  <a:lnTo>
                    <a:pt x="152" y="114"/>
                  </a:lnTo>
                  <a:lnTo>
                    <a:pt x="149" y="114"/>
                  </a:lnTo>
                  <a:lnTo>
                    <a:pt x="152" y="114"/>
                  </a:lnTo>
                  <a:lnTo>
                    <a:pt x="152" y="112"/>
                  </a:lnTo>
                  <a:lnTo>
                    <a:pt x="149" y="112"/>
                  </a:lnTo>
                  <a:lnTo>
                    <a:pt x="149" y="110"/>
                  </a:lnTo>
                  <a:lnTo>
                    <a:pt x="147" y="110"/>
                  </a:lnTo>
                  <a:lnTo>
                    <a:pt x="147" y="112"/>
                  </a:lnTo>
                  <a:lnTo>
                    <a:pt x="144" y="112"/>
                  </a:lnTo>
                  <a:lnTo>
                    <a:pt x="142" y="112"/>
                  </a:lnTo>
                  <a:lnTo>
                    <a:pt x="140" y="112"/>
                  </a:lnTo>
                  <a:lnTo>
                    <a:pt x="140" y="114"/>
                  </a:lnTo>
                  <a:lnTo>
                    <a:pt x="137" y="114"/>
                  </a:lnTo>
                  <a:lnTo>
                    <a:pt x="137" y="117"/>
                  </a:lnTo>
                  <a:lnTo>
                    <a:pt x="135" y="117"/>
                  </a:lnTo>
                  <a:lnTo>
                    <a:pt x="135" y="119"/>
                  </a:lnTo>
                  <a:lnTo>
                    <a:pt x="133" y="119"/>
                  </a:lnTo>
                  <a:lnTo>
                    <a:pt x="133" y="117"/>
                  </a:lnTo>
                  <a:lnTo>
                    <a:pt x="130" y="117"/>
                  </a:lnTo>
                  <a:lnTo>
                    <a:pt x="128" y="117"/>
                  </a:lnTo>
                  <a:lnTo>
                    <a:pt x="125" y="119"/>
                  </a:lnTo>
                  <a:lnTo>
                    <a:pt x="128" y="119"/>
                  </a:lnTo>
                  <a:lnTo>
                    <a:pt x="125" y="119"/>
                  </a:lnTo>
                  <a:lnTo>
                    <a:pt x="125" y="122"/>
                  </a:lnTo>
                  <a:lnTo>
                    <a:pt x="125" y="124"/>
                  </a:lnTo>
                  <a:lnTo>
                    <a:pt x="128" y="124"/>
                  </a:lnTo>
                  <a:lnTo>
                    <a:pt x="128" y="126"/>
                  </a:lnTo>
                  <a:lnTo>
                    <a:pt x="125" y="126"/>
                  </a:lnTo>
                  <a:lnTo>
                    <a:pt x="123" y="126"/>
                  </a:lnTo>
                  <a:lnTo>
                    <a:pt x="123" y="124"/>
                  </a:lnTo>
                  <a:lnTo>
                    <a:pt x="121" y="124"/>
                  </a:lnTo>
                  <a:lnTo>
                    <a:pt x="121" y="126"/>
                  </a:lnTo>
                  <a:lnTo>
                    <a:pt x="118" y="126"/>
                  </a:lnTo>
                  <a:lnTo>
                    <a:pt x="116" y="126"/>
                  </a:lnTo>
                  <a:lnTo>
                    <a:pt x="116" y="129"/>
                  </a:lnTo>
                  <a:lnTo>
                    <a:pt x="114" y="129"/>
                  </a:lnTo>
                  <a:lnTo>
                    <a:pt x="114" y="131"/>
                  </a:lnTo>
                  <a:lnTo>
                    <a:pt x="111" y="131"/>
                  </a:lnTo>
                  <a:lnTo>
                    <a:pt x="111" y="129"/>
                  </a:lnTo>
                  <a:lnTo>
                    <a:pt x="111" y="131"/>
                  </a:lnTo>
                  <a:lnTo>
                    <a:pt x="109" y="131"/>
                  </a:lnTo>
                  <a:lnTo>
                    <a:pt x="109" y="129"/>
                  </a:lnTo>
                  <a:lnTo>
                    <a:pt x="106" y="129"/>
                  </a:lnTo>
                  <a:lnTo>
                    <a:pt x="106" y="126"/>
                  </a:lnTo>
                  <a:lnTo>
                    <a:pt x="104" y="126"/>
                  </a:lnTo>
                  <a:lnTo>
                    <a:pt x="104" y="129"/>
                  </a:lnTo>
                  <a:lnTo>
                    <a:pt x="102" y="129"/>
                  </a:lnTo>
                  <a:lnTo>
                    <a:pt x="99" y="129"/>
                  </a:lnTo>
                  <a:lnTo>
                    <a:pt x="97" y="126"/>
                  </a:lnTo>
                  <a:lnTo>
                    <a:pt x="97" y="129"/>
                  </a:lnTo>
                  <a:lnTo>
                    <a:pt x="95" y="129"/>
                  </a:lnTo>
                  <a:lnTo>
                    <a:pt x="92" y="129"/>
                  </a:lnTo>
                  <a:lnTo>
                    <a:pt x="95" y="129"/>
                  </a:lnTo>
                  <a:lnTo>
                    <a:pt x="92" y="131"/>
                  </a:lnTo>
                  <a:lnTo>
                    <a:pt x="92" y="129"/>
                  </a:lnTo>
                  <a:lnTo>
                    <a:pt x="90" y="129"/>
                  </a:lnTo>
                  <a:lnTo>
                    <a:pt x="87" y="129"/>
                  </a:lnTo>
                  <a:lnTo>
                    <a:pt x="85" y="129"/>
                  </a:lnTo>
                  <a:lnTo>
                    <a:pt x="83" y="129"/>
                  </a:lnTo>
                  <a:lnTo>
                    <a:pt x="83" y="126"/>
                  </a:lnTo>
                  <a:lnTo>
                    <a:pt x="83" y="124"/>
                  </a:lnTo>
                  <a:lnTo>
                    <a:pt x="83" y="122"/>
                  </a:lnTo>
                  <a:lnTo>
                    <a:pt x="83" y="119"/>
                  </a:lnTo>
                  <a:lnTo>
                    <a:pt x="83" y="117"/>
                  </a:lnTo>
                  <a:lnTo>
                    <a:pt x="80" y="117"/>
                  </a:lnTo>
                  <a:lnTo>
                    <a:pt x="80" y="114"/>
                  </a:lnTo>
                  <a:lnTo>
                    <a:pt x="78" y="114"/>
                  </a:lnTo>
                  <a:lnTo>
                    <a:pt x="78" y="112"/>
                  </a:lnTo>
                  <a:lnTo>
                    <a:pt x="76" y="112"/>
                  </a:lnTo>
                  <a:lnTo>
                    <a:pt x="73" y="112"/>
                  </a:lnTo>
                  <a:lnTo>
                    <a:pt x="73" y="110"/>
                  </a:lnTo>
                  <a:lnTo>
                    <a:pt x="71" y="110"/>
                  </a:lnTo>
                  <a:lnTo>
                    <a:pt x="68" y="110"/>
                  </a:lnTo>
                  <a:lnTo>
                    <a:pt x="68" y="107"/>
                  </a:lnTo>
                  <a:lnTo>
                    <a:pt x="66" y="107"/>
                  </a:lnTo>
                  <a:lnTo>
                    <a:pt x="66" y="105"/>
                  </a:lnTo>
                  <a:lnTo>
                    <a:pt x="64" y="105"/>
                  </a:lnTo>
                  <a:lnTo>
                    <a:pt x="61" y="105"/>
                  </a:lnTo>
                  <a:lnTo>
                    <a:pt x="59" y="107"/>
                  </a:lnTo>
                  <a:lnTo>
                    <a:pt x="59" y="105"/>
                  </a:lnTo>
                  <a:lnTo>
                    <a:pt x="57" y="103"/>
                  </a:lnTo>
                  <a:lnTo>
                    <a:pt x="57" y="100"/>
                  </a:lnTo>
                  <a:lnTo>
                    <a:pt x="57" y="98"/>
                  </a:lnTo>
                  <a:lnTo>
                    <a:pt x="57" y="95"/>
                  </a:lnTo>
                  <a:lnTo>
                    <a:pt x="57" y="93"/>
                  </a:lnTo>
                  <a:lnTo>
                    <a:pt x="59" y="93"/>
                  </a:lnTo>
                  <a:lnTo>
                    <a:pt x="57" y="93"/>
                  </a:lnTo>
                  <a:lnTo>
                    <a:pt x="57" y="91"/>
                  </a:lnTo>
                  <a:lnTo>
                    <a:pt x="59" y="91"/>
                  </a:lnTo>
                  <a:lnTo>
                    <a:pt x="57" y="91"/>
                  </a:lnTo>
                  <a:lnTo>
                    <a:pt x="57" y="88"/>
                  </a:lnTo>
                  <a:lnTo>
                    <a:pt x="59" y="88"/>
                  </a:lnTo>
                  <a:lnTo>
                    <a:pt x="61" y="86"/>
                  </a:lnTo>
                  <a:lnTo>
                    <a:pt x="61" y="84"/>
                  </a:lnTo>
                  <a:lnTo>
                    <a:pt x="64" y="84"/>
                  </a:lnTo>
                  <a:lnTo>
                    <a:pt x="61" y="84"/>
                  </a:lnTo>
                  <a:lnTo>
                    <a:pt x="61" y="81"/>
                  </a:lnTo>
                  <a:lnTo>
                    <a:pt x="61" y="79"/>
                  </a:lnTo>
                  <a:lnTo>
                    <a:pt x="59" y="79"/>
                  </a:lnTo>
                  <a:lnTo>
                    <a:pt x="57" y="76"/>
                  </a:lnTo>
                  <a:lnTo>
                    <a:pt x="54" y="76"/>
                  </a:lnTo>
                  <a:lnTo>
                    <a:pt x="57" y="76"/>
                  </a:lnTo>
                  <a:lnTo>
                    <a:pt x="54" y="76"/>
                  </a:lnTo>
                  <a:lnTo>
                    <a:pt x="54" y="74"/>
                  </a:lnTo>
                  <a:lnTo>
                    <a:pt x="52" y="74"/>
                  </a:lnTo>
                  <a:lnTo>
                    <a:pt x="52" y="72"/>
                  </a:lnTo>
                  <a:lnTo>
                    <a:pt x="49" y="72"/>
                  </a:lnTo>
                  <a:lnTo>
                    <a:pt x="47" y="72"/>
                  </a:lnTo>
                  <a:lnTo>
                    <a:pt x="45" y="72"/>
                  </a:lnTo>
                  <a:lnTo>
                    <a:pt x="42" y="72"/>
                  </a:lnTo>
                  <a:lnTo>
                    <a:pt x="40" y="72"/>
                  </a:lnTo>
                  <a:lnTo>
                    <a:pt x="38" y="72"/>
                  </a:lnTo>
                  <a:lnTo>
                    <a:pt x="38" y="74"/>
                  </a:lnTo>
                  <a:lnTo>
                    <a:pt x="35" y="74"/>
                  </a:lnTo>
                  <a:lnTo>
                    <a:pt x="35" y="72"/>
                  </a:lnTo>
                  <a:lnTo>
                    <a:pt x="33" y="72"/>
                  </a:lnTo>
                  <a:lnTo>
                    <a:pt x="31" y="72"/>
                  </a:lnTo>
                  <a:lnTo>
                    <a:pt x="31" y="69"/>
                  </a:lnTo>
                  <a:lnTo>
                    <a:pt x="28" y="69"/>
                  </a:lnTo>
                  <a:lnTo>
                    <a:pt x="26" y="69"/>
                  </a:lnTo>
                  <a:lnTo>
                    <a:pt x="23" y="69"/>
                  </a:lnTo>
                  <a:lnTo>
                    <a:pt x="23" y="67"/>
                  </a:lnTo>
                  <a:lnTo>
                    <a:pt x="21" y="67"/>
                  </a:lnTo>
                  <a:lnTo>
                    <a:pt x="21" y="65"/>
                  </a:lnTo>
                  <a:lnTo>
                    <a:pt x="19" y="65"/>
                  </a:lnTo>
                  <a:lnTo>
                    <a:pt x="16" y="65"/>
                  </a:lnTo>
                  <a:lnTo>
                    <a:pt x="16" y="62"/>
                  </a:lnTo>
                  <a:lnTo>
                    <a:pt x="14" y="62"/>
                  </a:lnTo>
                  <a:lnTo>
                    <a:pt x="14" y="60"/>
                  </a:lnTo>
                  <a:lnTo>
                    <a:pt x="14" y="57"/>
                  </a:lnTo>
                  <a:lnTo>
                    <a:pt x="12" y="57"/>
                  </a:lnTo>
                  <a:lnTo>
                    <a:pt x="12" y="55"/>
                  </a:lnTo>
                  <a:lnTo>
                    <a:pt x="12" y="57"/>
                  </a:lnTo>
                  <a:lnTo>
                    <a:pt x="9" y="57"/>
                  </a:lnTo>
                  <a:lnTo>
                    <a:pt x="7" y="57"/>
                  </a:lnTo>
                  <a:lnTo>
                    <a:pt x="7" y="55"/>
                  </a:lnTo>
                  <a:lnTo>
                    <a:pt x="9" y="55"/>
                  </a:lnTo>
                  <a:lnTo>
                    <a:pt x="9" y="53"/>
                  </a:lnTo>
                  <a:lnTo>
                    <a:pt x="9" y="50"/>
                  </a:lnTo>
                  <a:lnTo>
                    <a:pt x="7" y="48"/>
                  </a:lnTo>
                  <a:lnTo>
                    <a:pt x="7" y="46"/>
                  </a:lnTo>
                  <a:lnTo>
                    <a:pt x="7" y="43"/>
                  </a:lnTo>
                  <a:lnTo>
                    <a:pt x="4" y="43"/>
                  </a:lnTo>
                  <a:lnTo>
                    <a:pt x="4" y="41"/>
                  </a:lnTo>
                  <a:lnTo>
                    <a:pt x="7" y="43"/>
                  </a:lnTo>
                  <a:lnTo>
                    <a:pt x="7" y="41"/>
                  </a:lnTo>
                  <a:lnTo>
                    <a:pt x="4" y="41"/>
                  </a:lnTo>
                  <a:lnTo>
                    <a:pt x="4" y="38"/>
                  </a:lnTo>
                  <a:lnTo>
                    <a:pt x="2" y="38"/>
                  </a:lnTo>
                  <a:lnTo>
                    <a:pt x="4" y="38"/>
                  </a:lnTo>
                  <a:lnTo>
                    <a:pt x="2" y="36"/>
                  </a:lnTo>
                  <a:lnTo>
                    <a:pt x="2" y="34"/>
                  </a:lnTo>
                  <a:lnTo>
                    <a:pt x="2" y="31"/>
                  </a:lnTo>
                  <a:lnTo>
                    <a:pt x="2" y="29"/>
                  </a:lnTo>
                  <a:lnTo>
                    <a:pt x="2" y="27"/>
                  </a:lnTo>
                  <a:lnTo>
                    <a:pt x="2" y="24"/>
                  </a:lnTo>
                  <a:lnTo>
                    <a:pt x="2" y="22"/>
                  </a:lnTo>
                  <a:lnTo>
                    <a:pt x="2" y="19"/>
                  </a:lnTo>
                  <a:lnTo>
                    <a:pt x="4" y="19"/>
                  </a:lnTo>
                  <a:lnTo>
                    <a:pt x="7" y="19"/>
                  </a:lnTo>
                  <a:lnTo>
                    <a:pt x="7" y="17"/>
                  </a:lnTo>
                  <a:lnTo>
                    <a:pt x="9" y="17"/>
                  </a:lnTo>
                  <a:lnTo>
                    <a:pt x="7" y="17"/>
                  </a:lnTo>
                  <a:lnTo>
                    <a:pt x="9" y="17"/>
                  </a:lnTo>
                  <a:lnTo>
                    <a:pt x="7" y="17"/>
                  </a:lnTo>
                  <a:lnTo>
                    <a:pt x="9" y="15"/>
                  </a:lnTo>
                  <a:lnTo>
                    <a:pt x="12" y="15"/>
                  </a:lnTo>
                  <a:lnTo>
                    <a:pt x="12" y="12"/>
                  </a:lnTo>
                  <a:lnTo>
                    <a:pt x="14" y="12"/>
                  </a:lnTo>
                  <a:lnTo>
                    <a:pt x="16" y="12"/>
                  </a:lnTo>
                  <a:lnTo>
                    <a:pt x="16" y="10"/>
                  </a:lnTo>
                  <a:lnTo>
                    <a:pt x="19" y="10"/>
                  </a:lnTo>
                  <a:lnTo>
                    <a:pt x="19" y="8"/>
                  </a:lnTo>
                  <a:lnTo>
                    <a:pt x="21" y="8"/>
                  </a:lnTo>
                  <a:lnTo>
                    <a:pt x="23" y="8"/>
                  </a:lnTo>
                  <a:lnTo>
                    <a:pt x="26" y="8"/>
                  </a:lnTo>
                  <a:lnTo>
                    <a:pt x="28" y="5"/>
                  </a:lnTo>
                  <a:lnTo>
                    <a:pt x="31" y="5"/>
                  </a:lnTo>
                  <a:lnTo>
                    <a:pt x="33" y="5"/>
                  </a:lnTo>
                  <a:lnTo>
                    <a:pt x="33" y="3"/>
                  </a:lnTo>
                  <a:lnTo>
                    <a:pt x="35" y="3"/>
                  </a:lnTo>
                  <a:lnTo>
                    <a:pt x="38" y="3"/>
                  </a:lnTo>
                  <a:lnTo>
                    <a:pt x="40" y="3"/>
                  </a:lnTo>
                  <a:lnTo>
                    <a:pt x="42" y="3"/>
                  </a:lnTo>
                  <a:lnTo>
                    <a:pt x="45" y="3"/>
                  </a:lnTo>
                  <a:lnTo>
                    <a:pt x="47" y="3"/>
                  </a:lnTo>
                  <a:lnTo>
                    <a:pt x="49" y="3"/>
                  </a:lnTo>
                  <a:lnTo>
                    <a:pt x="52" y="3"/>
                  </a:lnTo>
                  <a:lnTo>
                    <a:pt x="52" y="5"/>
                  </a:lnTo>
                  <a:lnTo>
                    <a:pt x="54" y="5"/>
                  </a:lnTo>
                  <a:lnTo>
                    <a:pt x="57" y="5"/>
                  </a:lnTo>
                  <a:lnTo>
                    <a:pt x="59" y="5"/>
                  </a:lnTo>
                  <a:lnTo>
                    <a:pt x="61" y="5"/>
                  </a:lnTo>
                  <a:lnTo>
                    <a:pt x="64" y="5"/>
                  </a:lnTo>
                  <a:lnTo>
                    <a:pt x="64" y="3"/>
                  </a:lnTo>
                  <a:lnTo>
                    <a:pt x="66" y="3"/>
                  </a:lnTo>
                  <a:lnTo>
                    <a:pt x="66" y="5"/>
                  </a:lnTo>
                  <a:lnTo>
                    <a:pt x="66" y="8"/>
                  </a:lnTo>
                  <a:lnTo>
                    <a:pt x="68" y="8"/>
                  </a:lnTo>
                  <a:lnTo>
                    <a:pt x="71" y="8"/>
                  </a:lnTo>
                  <a:lnTo>
                    <a:pt x="73" y="8"/>
                  </a:lnTo>
                  <a:lnTo>
                    <a:pt x="71" y="5"/>
                  </a:lnTo>
                  <a:lnTo>
                    <a:pt x="73" y="5"/>
                  </a:lnTo>
                  <a:lnTo>
                    <a:pt x="76" y="5"/>
                  </a:lnTo>
                  <a:lnTo>
                    <a:pt x="80" y="5"/>
                  </a:lnTo>
                  <a:lnTo>
                    <a:pt x="83" y="5"/>
                  </a:lnTo>
                  <a:lnTo>
                    <a:pt x="83" y="8"/>
                  </a:lnTo>
                  <a:lnTo>
                    <a:pt x="85" y="8"/>
                  </a:lnTo>
                  <a:lnTo>
                    <a:pt x="85" y="5"/>
                  </a:lnTo>
                  <a:lnTo>
                    <a:pt x="87" y="5"/>
                  </a:lnTo>
                  <a:lnTo>
                    <a:pt x="90" y="5"/>
                  </a:lnTo>
                  <a:lnTo>
                    <a:pt x="92" y="5"/>
                  </a:lnTo>
                  <a:lnTo>
                    <a:pt x="92" y="8"/>
                  </a:lnTo>
                  <a:lnTo>
                    <a:pt x="95" y="8"/>
                  </a:lnTo>
                  <a:lnTo>
                    <a:pt x="97" y="8"/>
                  </a:lnTo>
                  <a:lnTo>
                    <a:pt x="99" y="8"/>
                  </a:lnTo>
                  <a:lnTo>
                    <a:pt x="102" y="8"/>
                  </a:lnTo>
                  <a:lnTo>
                    <a:pt x="102" y="10"/>
                  </a:lnTo>
                  <a:lnTo>
                    <a:pt x="104" y="10"/>
                  </a:lnTo>
                  <a:lnTo>
                    <a:pt x="104" y="12"/>
                  </a:lnTo>
                  <a:lnTo>
                    <a:pt x="104" y="10"/>
                  </a:lnTo>
                  <a:lnTo>
                    <a:pt x="104" y="12"/>
                  </a:lnTo>
                  <a:lnTo>
                    <a:pt x="106" y="10"/>
                  </a:lnTo>
                  <a:lnTo>
                    <a:pt x="109" y="10"/>
                  </a:lnTo>
                  <a:lnTo>
                    <a:pt x="109" y="8"/>
                  </a:lnTo>
                  <a:lnTo>
                    <a:pt x="111" y="8"/>
                  </a:lnTo>
                  <a:lnTo>
                    <a:pt x="111" y="10"/>
                  </a:lnTo>
                  <a:lnTo>
                    <a:pt x="114" y="10"/>
                  </a:lnTo>
                  <a:lnTo>
                    <a:pt x="116" y="10"/>
                  </a:lnTo>
                  <a:lnTo>
                    <a:pt x="118" y="10"/>
                  </a:lnTo>
                  <a:lnTo>
                    <a:pt x="118" y="8"/>
                  </a:lnTo>
                  <a:lnTo>
                    <a:pt x="121" y="8"/>
                  </a:lnTo>
                  <a:lnTo>
                    <a:pt x="121" y="5"/>
                  </a:lnTo>
                  <a:lnTo>
                    <a:pt x="121" y="8"/>
                  </a:lnTo>
                  <a:lnTo>
                    <a:pt x="121" y="5"/>
                  </a:lnTo>
                  <a:lnTo>
                    <a:pt x="123" y="5"/>
                  </a:lnTo>
                  <a:lnTo>
                    <a:pt x="123" y="3"/>
                  </a:lnTo>
                  <a:lnTo>
                    <a:pt x="125" y="3"/>
                  </a:lnTo>
                  <a:lnTo>
                    <a:pt x="128" y="3"/>
                  </a:lnTo>
                  <a:lnTo>
                    <a:pt x="12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1" name="Freeform 52489"/>
            <p:cNvSpPr>
              <a:spLocks noEditPoints="1"/>
            </p:cNvSpPr>
            <p:nvPr/>
          </p:nvSpPr>
          <p:spPr bwMode="auto">
            <a:xfrm>
              <a:off x="3140073" y="4278328"/>
              <a:ext cx="7938" cy="7938"/>
            </a:xfrm>
            <a:custGeom>
              <a:avLst/>
              <a:gdLst>
                <a:gd name="T0" fmla="*/ 0 w 5"/>
                <a:gd name="T1" fmla="*/ 5 h 5"/>
                <a:gd name="T2" fmla="*/ 0 w 5"/>
                <a:gd name="T3" fmla="*/ 5 h 5"/>
                <a:gd name="T4" fmla="*/ 3 w 5"/>
                <a:gd name="T5" fmla="*/ 5 h 5"/>
                <a:gd name="T6" fmla="*/ 0 w 5"/>
                <a:gd name="T7" fmla="*/ 5 h 5"/>
                <a:gd name="T8" fmla="*/ 0 w 5"/>
                <a:gd name="T9" fmla="*/ 5 h 5"/>
                <a:gd name="T10" fmla="*/ 0 w 5"/>
                <a:gd name="T11" fmla="*/ 5 h 5"/>
                <a:gd name="T12" fmla="*/ 0 w 5"/>
                <a:gd name="T13" fmla="*/ 5 h 5"/>
                <a:gd name="T14" fmla="*/ 0 w 5"/>
                <a:gd name="T15" fmla="*/ 5 h 5"/>
                <a:gd name="T16" fmla="*/ 0 w 5"/>
                <a:gd name="T17" fmla="*/ 5 h 5"/>
                <a:gd name="T18" fmla="*/ 0 w 5"/>
                <a:gd name="T19" fmla="*/ 5 h 5"/>
                <a:gd name="T20" fmla="*/ 0 w 5"/>
                <a:gd name="T21" fmla="*/ 3 h 5"/>
                <a:gd name="T22" fmla="*/ 0 w 5"/>
                <a:gd name="T23" fmla="*/ 3 h 5"/>
                <a:gd name="T24" fmla="*/ 0 w 5"/>
                <a:gd name="T25" fmla="*/ 3 h 5"/>
                <a:gd name="T26" fmla="*/ 0 w 5"/>
                <a:gd name="T27" fmla="*/ 3 h 5"/>
                <a:gd name="T28" fmla="*/ 0 w 5"/>
                <a:gd name="T29" fmla="*/ 3 h 5"/>
                <a:gd name="T30" fmla="*/ 0 w 5"/>
                <a:gd name="T31" fmla="*/ 3 h 5"/>
                <a:gd name="T32" fmla="*/ 0 w 5"/>
                <a:gd name="T33" fmla="*/ 3 h 5"/>
                <a:gd name="T34" fmla="*/ 5 w 5"/>
                <a:gd name="T35" fmla="*/ 0 h 5"/>
                <a:gd name="T36" fmla="*/ 5 w 5"/>
                <a:gd name="T37" fmla="*/ 0 h 5"/>
                <a:gd name="T38" fmla="*/ 5 w 5"/>
                <a:gd name="T39" fmla="*/ 3 h 5"/>
                <a:gd name="T40" fmla="*/ 5 w 5"/>
                <a:gd name="T41" fmla="*/ 3 h 5"/>
                <a:gd name="T42" fmla="*/ 5 w 5"/>
                <a:gd name="T43" fmla="*/ 3 h 5"/>
                <a:gd name="T44" fmla="*/ 5 w 5"/>
                <a:gd name="T45" fmla="*/ 3 h 5"/>
                <a:gd name="T46" fmla="*/ 3 w 5"/>
                <a:gd name="T47" fmla="*/ 3 h 5"/>
                <a:gd name="T48" fmla="*/ 3 w 5"/>
                <a:gd name="T49" fmla="*/ 3 h 5"/>
                <a:gd name="T50" fmla="*/ 3 w 5"/>
                <a:gd name="T51" fmla="*/ 5 h 5"/>
                <a:gd name="T52" fmla="*/ 3 w 5"/>
                <a:gd name="T53" fmla="*/ 5 h 5"/>
                <a:gd name="T54" fmla="*/ 3 w 5"/>
                <a:gd name="T55" fmla="*/ 5 h 5"/>
                <a:gd name="T56" fmla="*/ 0 w 5"/>
                <a:gd name="T57" fmla="*/ 3 h 5"/>
                <a:gd name="T58" fmla="*/ 0 w 5"/>
                <a:gd name="T59" fmla="*/ 3 h 5"/>
                <a:gd name="T60" fmla="*/ 0 w 5"/>
                <a:gd name="T61" fmla="*/ 3 h 5"/>
                <a:gd name="T62" fmla="*/ 0 w 5"/>
                <a:gd name="T63" fmla="*/ 3 h 5"/>
                <a:gd name="T64" fmla="*/ 0 w 5"/>
                <a:gd name="T65" fmla="*/ 3 h 5"/>
                <a:gd name="T66" fmla="*/ 0 w 5"/>
                <a:gd name="T67" fmla="*/ 3 h 5"/>
                <a:gd name="T68" fmla="*/ 0 w 5"/>
                <a:gd name="T69" fmla="*/ 3 h 5"/>
                <a:gd name="T70" fmla="*/ 0 w 5"/>
                <a:gd name="T71" fmla="*/ 3 h 5"/>
                <a:gd name="T72" fmla="*/ 0 w 5"/>
                <a:gd name="T73" fmla="*/ 3 h 5"/>
                <a:gd name="T74" fmla="*/ 0 w 5"/>
                <a:gd name="T75" fmla="*/ 3 h 5"/>
                <a:gd name="T76" fmla="*/ 0 w 5"/>
                <a:gd name="T77" fmla="*/ 3 h 5"/>
                <a:gd name="T78" fmla="*/ 0 w 5"/>
                <a:gd name="T79" fmla="*/ 0 h 5"/>
                <a:gd name="T80" fmla="*/ 0 w 5"/>
                <a:gd name="T81" fmla="*/ 0 h 5"/>
                <a:gd name="T82" fmla="*/ 0 w 5"/>
                <a:gd name="T83" fmla="*/ 0 h 5"/>
                <a:gd name="T84" fmla="*/ 0 w 5"/>
                <a:gd name="T85" fmla="*/ 0 h 5"/>
                <a:gd name="T86" fmla="*/ 0 w 5"/>
                <a:gd name="T87" fmla="*/ 0 h 5"/>
                <a:gd name="T88" fmla="*/ 0 w 5"/>
                <a:gd name="T89" fmla="*/ 0 h 5"/>
                <a:gd name="T90" fmla="*/ 3 w 5"/>
                <a:gd name="T91" fmla="*/ 0 h 5"/>
                <a:gd name="T92" fmla="*/ 3 w 5"/>
                <a:gd name="T9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 h="5">
                  <a:moveTo>
                    <a:pt x="0" y="3"/>
                  </a:moveTo>
                  <a:lnTo>
                    <a:pt x="0" y="5"/>
                  </a:lnTo>
                  <a:lnTo>
                    <a:pt x="0" y="5"/>
                  </a:lnTo>
                  <a:lnTo>
                    <a:pt x="0" y="5"/>
                  </a:lnTo>
                  <a:lnTo>
                    <a:pt x="3" y="5"/>
                  </a:lnTo>
                  <a:lnTo>
                    <a:pt x="3"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3"/>
                  </a:lnTo>
                  <a:lnTo>
                    <a:pt x="0" y="3"/>
                  </a:lnTo>
                  <a:lnTo>
                    <a:pt x="0" y="3"/>
                  </a:lnTo>
                  <a:close/>
                  <a:moveTo>
                    <a:pt x="0" y="3"/>
                  </a:moveTo>
                  <a:lnTo>
                    <a:pt x="0" y="5"/>
                  </a:lnTo>
                  <a:lnTo>
                    <a:pt x="0" y="3"/>
                  </a:lnTo>
                  <a:lnTo>
                    <a:pt x="0" y="3"/>
                  </a:lnTo>
                  <a:lnTo>
                    <a:pt x="0" y="3"/>
                  </a:lnTo>
                  <a:lnTo>
                    <a:pt x="0" y="3"/>
                  </a:lnTo>
                  <a:lnTo>
                    <a:pt x="0" y="3"/>
                  </a:lnTo>
                  <a:lnTo>
                    <a:pt x="0" y="3"/>
                  </a:lnTo>
                  <a:lnTo>
                    <a:pt x="0" y="3"/>
                  </a:lnTo>
                  <a:lnTo>
                    <a:pt x="0" y="3"/>
                  </a:lnTo>
                  <a:lnTo>
                    <a:pt x="0" y="3"/>
                  </a:lnTo>
                  <a:close/>
                  <a:moveTo>
                    <a:pt x="3" y="0"/>
                  </a:moveTo>
                  <a:lnTo>
                    <a:pt x="5" y="0"/>
                  </a:lnTo>
                  <a:lnTo>
                    <a:pt x="5" y="0"/>
                  </a:lnTo>
                  <a:lnTo>
                    <a:pt x="5" y="0"/>
                  </a:lnTo>
                  <a:lnTo>
                    <a:pt x="5" y="0"/>
                  </a:lnTo>
                  <a:lnTo>
                    <a:pt x="5" y="3"/>
                  </a:lnTo>
                  <a:lnTo>
                    <a:pt x="5" y="3"/>
                  </a:lnTo>
                  <a:lnTo>
                    <a:pt x="5" y="3"/>
                  </a:lnTo>
                  <a:lnTo>
                    <a:pt x="5" y="3"/>
                  </a:lnTo>
                  <a:lnTo>
                    <a:pt x="5" y="3"/>
                  </a:lnTo>
                  <a:lnTo>
                    <a:pt x="5" y="3"/>
                  </a:lnTo>
                  <a:lnTo>
                    <a:pt x="5" y="3"/>
                  </a:lnTo>
                  <a:lnTo>
                    <a:pt x="3" y="3"/>
                  </a:lnTo>
                  <a:lnTo>
                    <a:pt x="3" y="3"/>
                  </a:lnTo>
                  <a:lnTo>
                    <a:pt x="3" y="3"/>
                  </a:lnTo>
                  <a:lnTo>
                    <a:pt x="3" y="3"/>
                  </a:lnTo>
                  <a:lnTo>
                    <a:pt x="3" y="5"/>
                  </a:lnTo>
                  <a:lnTo>
                    <a:pt x="3" y="5"/>
                  </a:lnTo>
                  <a:lnTo>
                    <a:pt x="3" y="5"/>
                  </a:lnTo>
                  <a:lnTo>
                    <a:pt x="3" y="5"/>
                  </a:lnTo>
                  <a:lnTo>
                    <a:pt x="3" y="5"/>
                  </a:lnTo>
                  <a:lnTo>
                    <a:pt x="3" y="5"/>
                  </a:lnTo>
                  <a:lnTo>
                    <a:pt x="0" y="5"/>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2" name="Freeform 52490"/>
            <p:cNvSpPr>
              <a:spLocks/>
            </p:cNvSpPr>
            <p:nvPr/>
          </p:nvSpPr>
          <p:spPr bwMode="auto">
            <a:xfrm>
              <a:off x="3132135" y="425292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3" name="Freeform 52491"/>
            <p:cNvSpPr>
              <a:spLocks/>
            </p:cNvSpPr>
            <p:nvPr/>
          </p:nvSpPr>
          <p:spPr bwMode="auto">
            <a:xfrm>
              <a:off x="2327273" y="4686317"/>
              <a:ext cx="41275" cy="57150"/>
            </a:xfrm>
            <a:custGeom>
              <a:avLst/>
              <a:gdLst>
                <a:gd name="T0" fmla="*/ 12 w 26"/>
                <a:gd name="T1" fmla="*/ 0 h 36"/>
                <a:gd name="T2" fmla="*/ 14 w 26"/>
                <a:gd name="T3" fmla="*/ 2 h 36"/>
                <a:gd name="T4" fmla="*/ 14 w 26"/>
                <a:gd name="T5" fmla="*/ 5 h 36"/>
                <a:gd name="T6" fmla="*/ 12 w 26"/>
                <a:gd name="T7" fmla="*/ 5 h 36"/>
                <a:gd name="T8" fmla="*/ 12 w 26"/>
                <a:gd name="T9" fmla="*/ 5 h 36"/>
                <a:gd name="T10" fmla="*/ 14 w 26"/>
                <a:gd name="T11" fmla="*/ 7 h 36"/>
                <a:gd name="T12" fmla="*/ 14 w 26"/>
                <a:gd name="T13" fmla="*/ 7 h 36"/>
                <a:gd name="T14" fmla="*/ 14 w 26"/>
                <a:gd name="T15" fmla="*/ 9 h 36"/>
                <a:gd name="T16" fmla="*/ 14 w 26"/>
                <a:gd name="T17" fmla="*/ 12 h 36"/>
                <a:gd name="T18" fmla="*/ 14 w 26"/>
                <a:gd name="T19" fmla="*/ 9 h 36"/>
                <a:gd name="T20" fmla="*/ 16 w 26"/>
                <a:gd name="T21" fmla="*/ 12 h 36"/>
                <a:gd name="T22" fmla="*/ 16 w 26"/>
                <a:gd name="T23" fmla="*/ 12 h 36"/>
                <a:gd name="T24" fmla="*/ 16 w 26"/>
                <a:gd name="T25" fmla="*/ 14 h 36"/>
                <a:gd name="T26" fmla="*/ 19 w 26"/>
                <a:gd name="T27" fmla="*/ 14 h 36"/>
                <a:gd name="T28" fmla="*/ 19 w 26"/>
                <a:gd name="T29" fmla="*/ 14 h 36"/>
                <a:gd name="T30" fmla="*/ 19 w 26"/>
                <a:gd name="T31" fmla="*/ 17 h 36"/>
                <a:gd name="T32" fmla="*/ 21 w 26"/>
                <a:gd name="T33" fmla="*/ 17 h 36"/>
                <a:gd name="T34" fmla="*/ 23 w 26"/>
                <a:gd name="T35" fmla="*/ 19 h 36"/>
                <a:gd name="T36" fmla="*/ 23 w 26"/>
                <a:gd name="T37" fmla="*/ 17 h 36"/>
                <a:gd name="T38" fmla="*/ 26 w 26"/>
                <a:gd name="T39" fmla="*/ 19 h 36"/>
                <a:gd name="T40" fmla="*/ 26 w 26"/>
                <a:gd name="T41" fmla="*/ 19 h 36"/>
                <a:gd name="T42" fmla="*/ 26 w 26"/>
                <a:gd name="T43" fmla="*/ 19 h 36"/>
                <a:gd name="T44" fmla="*/ 26 w 26"/>
                <a:gd name="T45" fmla="*/ 21 h 36"/>
                <a:gd name="T46" fmla="*/ 26 w 26"/>
                <a:gd name="T47" fmla="*/ 21 h 36"/>
                <a:gd name="T48" fmla="*/ 23 w 26"/>
                <a:gd name="T49" fmla="*/ 24 h 36"/>
                <a:gd name="T50" fmla="*/ 23 w 26"/>
                <a:gd name="T51" fmla="*/ 26 h 36"/>
                <a:gd name="T52" fmla="*/ 21 w 26"/>
                <a:gd name="T53" fmla="*/ 28 h 36"/>
                <a:gd name="T54" fmla="*/ 21 w 26"/>
                <a:gd name="T55" fmla="*/ 28 h 36"/>
                <a:gd name="T56" fmla="*/ 21 w 26"/>
                <a:gd name="T57" fmla="*/ 31 h 36"/>
                <a:gd name="T58" fmla="*/ 21 w 26"/>
                <a:gd name="T59" fmla="*/ 36 h 36"/>
                <a:gd name="T60" fmla="*/ 19 w 26"/>
                <a:gd name="T61" fmla="*/ 33 h 36"/>
                <a:gd name="T62" fmla="*/ 16 w 26"/>
                <a:gd name="T63" fmla="*/ 33 h 36"/>
                <a:gd name="T64" fmla="*/ 14 w 26"/>
                <a:gd name="T65" fmla="*/ 33 h 36"/>
                <a:gd name="T66" fmla="*/ 12 w 26"/>
                <a:gd name="T67" fmla="*/ 36 h 36"/>
                <a:gd name="T68" fmla="*/ 9 w 26"/>
                <a:gd name="T69" fmla="*/ 36 h 36"/>
                <a:gd name="T70" fmla="*/ 9 w 26"/>
                <a:gd name="T71" fmla="*/ 36 h 36"/>
                <a:gd name="T72" fmla="*/ 7 w 26"/>
                <a:gd name="T73" fmla="*/ 33 h 36"/>
                <a:gd name="T74" fmla="*/ 4 w 26"/>
                <a:gd name="T75" fmla="*/ 33 h 36"/>
                <a:gd name="T76" fmla="*/ 4 w 26"/>
                <a:gd name="T77" fmla="*/ 33 h 36"/>
                <a:gd name="T78" fmla="*/ 4 w 26"/>
                <a:gd name="T79" fmla="*/ 31 h 36"/>
                <a:gd name="T80" fmla="*/ 4 w 26"/>
                <a:gd name="T81" fmla="*/ 31 h 36"/>
                <a:gd name="T82" fmla="*/ 4 w 26"/>
                <a:gd name="T83" fmla="*/ 28 h 36"/>
                <a:gd name="T84" fmla="*/ 4 w 26"/>
                <a:gd name="T85" fmla="*/ 28 h 36"/>
                <a:gd name="T86" fmla="*/ 4 w 26"/>
                <a:gd name="T87" fmla="*/ 26 h 36"/>
                <a:gd name="T88" fmla="*/ 4 w 26"/>
                <a:gd name="T89" fmla="*/ 24 h 36"/>
                <a:gd name="T90" fmla="*/ 4 w 26"/>
                <a:gd name="T91" fmla="*/ 24 h 36"/>
                <a:gd name="T92" fmla="*/ 4 w 26"/>
                <a:gd name="T93" fmla="*/ 21 h 36"/>
                <a:gd name="T94" fmla="*/ 2 w 26"/>
                <a:gd name="T95" fmla="*/ 19 h 36"/>
                <a:gd name="T96" fmla="*/ 2 w 26"/>
                <a:gd name="T97" fmla="*/ 19 h 36"/>
                <a:gd name="T98" fmla="*/ 0 w 26"/>
                <a:gd name="T99" fmla="*/ 17 h 36"/>
                <a:gd name="T100" fmla="*/ 0 w 26"/>
                <a:gd name="T101" fmla="*/ 17 h 36"/>
                <a:gd name="T102" fmla="*/ 0 w 26"/>
                <a:gd name="T103" fmla="*/ 17 h 36"/>
                <a:gd name="T104" fmla="*/ 2 w 26"/>
                <a:gd name="T105" fmla="*/ 14 h 36"/>
                <a:gd name="T106" fmla="*/ 2 w 26"/>
                <a:gd name="T107" fmla="*/ 14 h 36"/>
                <a:gd name="T108" fmla="*/ 2 w 26"/>
                <a:gd name="T109" fmla="*/ 12 h 36"/>
                <a:gd name="T110" fmla="*/ 2 w 26"/>
                <a:gd name="T111" fmla="*/ 9 h 36"/>
                <a:gd name="T112" fmla="*/ 4 w 26"/>
                <a:gd name="T113" fmla="*/ 9 h 36"/>
                <a:gd name="T114" fmla="*/ 4 w 26"/>
                <a:gd name="T115" fmla="*/ 7 h 36"/>
                <a:gd name="T116" fmla="*/ 4 w 26"/>
                <a:gd name="T117" fmla="*/ 5 h 36"/>
                <a:gd name="T118" fmla="*/ 4 w 26"/>
                <a:gd name="T119" fmla="*/ 2 h 36"/>
                <a:gd name="T120" fmla="*/ 7 w 26"/>
                <a:gd name="T121" fmla="*/ 0 h 36"/>
                <a:gd name="T122" fmla="*/ 9 w 26"/>
                <a:gd name="T1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36">
                  <a:moveTo>
                    <a:pt x="9" y="0"/>
                  </a:moveTo>
                  <a:lnTo>
                    <a:pt x="9" y="0"/>
                  </a:lnTo>
                  <a:lnTo>
                    <a:pt x="12" y="0"/>
                  </a:lnTo>
                  <a:lnTo>
                    <a:pt x="12" y="0"/>
                  </a:lnTo>
                  <a:lnTo>
                    <a:pt x="12" y="0"/>
                  </a:lnTo>
                  <a:lnTo>
                    <a:pt x="12" y="0"/>
                  </a:lnTo>
                  <a:lnTo>
                    <a:pt x="12" y="0"/>
                  </a:lnTo>
                  <a:lnTo>
                    <a:pt x="12" y="0"/>
                  </a:lnTo>
                  <a:lnTo>
                    <a:pt x="12" y="2"/>
                  </a:lnTo>
                  <a:lnTo>
                    <a:pt x="12" y="2"/>
                  </a:lnTo>
                  <a:lnTo>
                    <a:pt x="12" y="2"/>
                  </a:lnTo>
                  <a:lnTo>
                    <a:pt x="14" y="2"/>
                  </a:lnTo>
                  <a:lnTo>
                    <a:pt x="14" y="2"/>
                  </a:lnTo>
                  <a:lnTo>
                    <a:pt x="14" y="2"/>
                  </a:lnTo>
                  <a:lnTo>
                    <a:pt x="14" y="2"/>
                  </a:lnTo>
                  <a:lnTo>
                    <a:pt x="14" y="2"/>
                  </a:lnTo>
                  <a:lnTo>
                    <a:pt x="14" y="2"/>
                  </a:lnTo>
                  <a:lnTo>
                    <a:pt x="14" y="2"/>
                  </a:lnTo>
                  <a:lnTo>
                    <a:pt x="14" y="2"/>
                  </a:lnTo>
                  <a:lnTo>
                    <a:pt x="14" y="2"/>
                  </a:lnTo>
                  <a:lnTo>
                    <a:pt x="14" y="2"/>
                  </a:lnTo>
                  <a:lnTo>
                    <a:pt x="14" y="2"/>
                  </a:lnTo>
                  <a:lnTo>
                    <a:pt x="14" y="5"/>
                  </a:lnTo>
                  <a:lnTo>
                    <a:pt x="14" y="5"/>
                  </a:lnTo>
                  <a:lnTo>
                    <a:pt x="14" y="5"/>
                  </a:lnTo>
                  <a:lnTo>
                    <a:pt x="14" y="5"/>
                  </a:lnTo>
                  <a:lnTo>
                    <a:pt x="14" y="5"/>
                  </a:lnTo>
                  <a:lnTo>
                    <a:pt x="14" y="5"/>
                  </a:lnTo>
                  <a:lnTo>
                    <a:pt x="14" y="5"/>
                  </a:lnTo>
                  <a:lnTo>
                    <a:pt x="14" y="5"/>
                  </a:lnTo>
                  <a:lnTo>
                    <a:pt x="12" y="5"/>
                  </a:lnTo>
                  <a:lnTo>
                    <a:pt x="12" y="5"/>
                  </a:lnTo>
                  <a:lnTo>
                    <a:pt x="14" y="5"/>
                  </a:lnTo>
                  <a:lnTo>
                    <a:pt x="12" y="5"/>
                  </a:lnTo>
                  <a:lnTo>
                    <a:pt x="12" y="5"/>
                  </a:lnTo>
                  <a:lnTo>
                    <a:pt x="14" y="5"/>
                  </a:lnTo>
                  <a:lnTo>
                    <a:pt x="14" y="5"/>
                  </a:lnTo>
                  <a:lnTo>
                    <a:pt x="14" y="5"/>
                  </a:lnTo>
                  <a:lnTo>
                    <a:pt x="12" y="5"/>
                  </a:lnTo>
                  <a:lnTo>
                    <a:pt x="12" y="5"/>
                  </a:lnTo>
                  <a:lnTo>
                    <a:pt x="12" y="5"/>
                  </a:lnTo>
                  <a:lnTo>
                    <a:pt x="12" y="7"/>
                  </a:lnTo>
                  <a:lnTo>
                    <a:pt x="12" y="7"/>
                  </a:lnTo>
                  <a:lnTo>
                    <a:pt x="12" y="5"/>
                  </a:lnTo>
                  <a:lnTo>
                    <a:pt x="14" y="5"/>
                  </a:lnTo>
                  <a:lnTo>
                    <a:pt x="14" y="7"/>
                  </a:lnTo>
                  <a:lnTo>
                    <a:pt x="14" y="7"/>
                  </a:lnTo>
                  <a:lnTo>
                    <a:pt x="14" y="7"/>
                  </a:lnTo>
                  <a:lnTo>
                    <a:pt x="14" y="7"/>
                  </a:lnTo>
                  <a:lnTo>
                    <a:pt x="14" y="7"/>
                  </a:lnTo>
                  <a:lnTo>
                    <a:pt x="14" y="7"/>
                  </a:lnTo>
                  <a:lnTo>
                    <a:pt x="14" y="7"/>
                  </a:lnTo>
                  <a:lnTo>
                    <a:pt x="14" y="7"/>
                  </a:lnTo>
                  <a:lnTo>
                    <a:pt x="14" y="7"/>
                  </a:lnTo>
                  <a:lnTo>
                    <a:pt x="14" y="7"/>
                  </a:lnTo>
                  <a:lnTo>
                    <a:pt x="14" y="7"/>
                  </a:lnTo>
                  <a:lnTo>
                    <a:pt x="14" y="9"/>
                  </a:lnTo>
                  <a:lnTo>
                    <a:pt x="14" y="9"/>
                  </a:lnTo>
                  <a:lnTo>
                    <a:pt x="14" y="9"/>
                  </a:lnTo>
                  <a:lnTo>
                    <a:pt x="14" y="9"/>
                  </a:lnTo>
                  <a:lnTo>
                    <a:pt x="14" y="9"/>
                  </a:lnTo>
                  <a:lnTo>
                    <a:pt x="14" y="9"/>
                  </a:lnTo>
                  <a:lnTo>
                    <a:pt x="14" y="9"/>
                  </a:lnTo>
                  <a:lnTo>
                    <a:pt x="14" y="9"/>
                  </a:lnTo>
                  <a:lnTo>
                    <a:pt x="14" y="9"/>
                  </a:lnTo>
                  <a:lnTo>
                    <a:pt x="14" y="9"/>
                  </a:lnTo>
                  <a:lnTo>
                    <a:pt x="14" y="9"/>
                  </a:lnTo>
                  <a:lnTo>
                    <a:pt x="14" y="9"/>
                  </a:lnTo>
                  <a:lnTo>
                    <a:pt x="14" y="9"/>
                  </a:lnTo>
                  <a:lnTo>
                    <a:pt x="14" y="9"/>
                  </a:lnTo>
                  <a:lnTo>
                    <a:pt x="14" y="12"/>
                  </a:lnTo>
                  <a:lnTo>
                    <a:pt x="14" y="12"/>
                  </a:lnTo>
                  <a:lnTo>
                    <a:pt x="14" y="12"/>
                  </a:lnTo>
                  <a:lnTo>
                    <a:pt x="14" y="12"/>
                  </a:lnTo>
                  <a:lnTo>
                    <a:pt x="14" y="12"/>
                  </a:lnTo>
                  <a:lnTo>
                    <a:pt x="14" y="12"/>
                  </a:lnTo>
                  <a:lnTo>
                    <a:pt x="14" y="12"/>
                  </a:lnTo>
                  <a:lnTo>
                    <a:pt x="14" y="9"/>
                  </a:lnTo>
                  <a:lnTo>
                    <a:pt x="14" y="9"/>
                  </a:lnTo>
                  <a:lnTo>
                    <a:pt x="14" y="9"/>
                  </a:lnTo>
                  <a:lnTo>
                    <a:pt x="14" y="9"/>
                  </a:lnTo>
                  <a:lnTo>
                    <a:pt x="14" y="9"/>
                  </a:lnTo>
                  <a:lnTo>
                    <a:pt x="14" y="9"/>
                  </a:lnTo>
                  <a:lnTo>
                    <a:pt x="14" y="9"/>
                  </a:lnTo>
                  <a:lnTo>
                    <a:pt x="16" y="9"/>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4"/>
                  </a:lnTo>
                  <a:lnTo>
                    <a:pt x="16" y="14"/>
                  </a:lnTo>
                  <a:lnTo>
                    <a:pt x="16" y="14"/>
                  </a:lnTo>
                  <a:lnTo>
                    <a:pt x="16" y="14"/>
                  </a:lnTo>
                  <a:lnTo>
                    <a:pt x="16" y="14"/>
                  </a:lnTo>
                  <a:lnTo>
                    <a:pt x="16" y="14"/>
                  </a:lnTo>
                  <a:lnTo>
                    <a:pt x="16" y="14"/>
                  </a:lnTo>
                  <a:lnTo>
                    <a:pt x="16" y="14"/>
                  </a:lnTo>
                  <a:lnTo>
                    <a:pt x="16" y="14"/>
                  </a:lnTo>
                  <a:lnTo>
                    <a:pt x="16" y="14"/>
                  </a:lnTo>
                  <a:lnTo>
                    <a:pt x="16" y="14"/>
                  </a:lnTo>
                  <a:lnTo>
                    <a:pt x="16"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7"/>
                  </a:lnTo>
                  <a:lnTo>
                    <a:pt x="19" y="17"/>
                  </a:lnTo>
                  <a:lnTo>
                    <a:pt x="19" y="17"/>
                  </a:lnTo>
                  <a:lnTo>
                    <a:pt x="19" y="17"/>
                  </a:lnTo>
                  <a:lnTo>
                    <a:pt x="19" y="17"/>
                  </a:lnTo>
                  <a:lnTo>
                    <a:pt x="19" y="17"/>
                  </a:lnTo>
                  <a:lnTo>
                    <a:pt x="19" y="17"/>
                  </a:lnTo>
                  <a:lnTo>
                    <a:pt x="21" y="17"/>
                  </a:lnTo>
                  <a:lnTo>
                    <a:pt x="21" y="17"/>
                  </a:lnTo>
                  <a:lnTo>
                    <a:pt x="21" y="17"/>
                  </a:lnTo>
                  <a:lnTo>
                    <a:pt x="21" y="17"/>
                  </a:lnTo>
                  <a:lnTo>
                    <a:pt x="21" y="17"/>
                  </a:lnTo>
                  <a:lnTo>
                    <a:pt x="21" y="17"/>
                  </a:lnTo>
                  <a:lnTo>
                    <a:pt x="21" y="17"/>
                  </a:lnTo>
                  <a:lnTo>
                    <a:pt x="21" y="17"/>
                  </a:lnTo>
                  <a:lnTo>
                    <a:pt x="21" y="17"/>
                  </a:lnTo>
                  <a:lnTo>
                    <a:pt x="21" y="17"/>
                  </a:lnTo>
                  <a:lnTo>
                    <a:pt x="21" y="17"/>
                  </a:lnTo>
                  <a:lnTo>
                    <a:pt x="23" y="17"/>
                  </a:lnTo>
                  <a:lnTo>
                    <a:pt x="23" y="17"/>
                  </a:lnTo>
                  <a:lnTo>
                    <a:pt x="23" y="19"/>
                  </a:lnTo>
                  <a:lnTo>
                    <a:pt x="23" y="19"/>
                  </a:lnTo>
                  <a:lnTo>
                    <a:pt x="23" y="19"/>
                  </a:lnTo>
                  <a:lnTo>
                    <a:pt x="23" y="17"/>
                  </a:lnTo>
                  <a:lnTo>
                    <a:pt x="23" y="17"/>
                  </a:lnTo>
                  <a:lnTo>
                    <a:pt x="23" y="19"/>
                  </a:lnTo>
                  <a:lnTo>
                    <a:pt x="23" y="19"/>
                  </a:lnTo>
                  <a:lnTo>
                    <a:pt x="23" y="17"/>
                  </a:lnTo>
                  <a:lnTo>
                    <a:pt x="23" y="17"/>
                  </a:lnTo>
                  <a:lnTo>
                    <a:pt x="26" y="17"/>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4"/>
                  </a:lnTo>
                  <a:lnTo>
                    <a:pt x="26" y="24"/>
                  </a:lnTo>
                  <a:lnTo>
                    <a:pt x="26" y="24"/>
                  </a:lnTo>
                  <a:lnTo>
                    <a:pt x="23" y="24"/>
                  </a:lnTo>
                  <a:lnTo>
                    <a:pt x="23" y="24"/>
                  </a:lnTo>
                  <a:lnTo>
                    <a:pt x="23" y="24"/>
                  </a:lnTo>
                  <a:lnTo>
                    <a:pt x="23" y="24"/>
                  </a:lnTo>
                  <a:lnTo>
                    <a:pt x="23" y="24"/>
                  </a:lnTo>
                  <a:lnTo>
                    <a:pt x="23" y="24"/>
                  </a:lnTo>
                  <a:lnTo>
                    <a:pt x="23" y="26"/>
                  </a:lnTo>
                  <a:lnTo>
                    <a:pt x="23" y="26"/>
                  </a:lnTo>
                  <a:lnTo>
                    <a:pt x="23" y="26"/>
                  </a:lnTo>
                  <a:lnTo>
                    <a:pt x="23" y="26"/>
                  </a:lnTo>
                  <a:lnTo>
                    <a:pt x="23" y="26"/>
                  </a:lnTo>
                  <a:lnTo>
                    <a:pt x="23" y="26"/>
                  </a:lnTo>
                  <a:lnTo>
                    <a:pt x="23" y="26"/>
                  </a:lnTo>
                  <a:lnTo>
                    <a:pt x="23" y="26"/>
                  </a:lnTo>
                  <a:lnTo>
                    <a:pt x="23" y="28"/>
                  </a:lnTo>
                  <a:lnTo>
                    <a:pt x="23"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31"/>
                  </a:lnTo>
                  <a:lnTo>
                    <a:pt x="21" y="31"/>
                  </a:lnTo>
                  <a:lnTo>
                    <a:pt x="21" y="31"/>
                  </a:lnTo>
                  <a:lnTo>
                    <a:pt x="21" y="31"/>
                  </a:lnTo>
                  <a:lnTo>
                    <a:pt x="21" y="31"/>
                  </a:lnTo>
                  <a:lnTo>
                    <a:pt x="21" y="31"/>
                  </a:lnTo>
                  <a:lnTo>
                    <a:pt x="21" y="31"/>
                  </a:lnTo>
                  <a:lnTo>
                    <a:pt x="21" y="33"/>
                  </a:lnTo>
                  <a:lnTo>
                    <a:pt x="21" y="33"/>
                  </a:lnTo>
                  <a:lnTo>
                    <a:pt x="21" y="33"/>
                  </a:lnTo>
                  <a:lnTo>
                    <a:pt x="21" y="36"/>
                  </a:lnTo>
                  <a:lnTo>
                    <a:pt x="21" y="36"/>
                  </a:lnTo>
                  <a:lnTo>
                    <a:pt x="21" y="36"/>
                  </a:lnTo>
                  <a:lnTo>
                    <a:pt x="21" y="36"/>
                  </a:lnTo>
                  <a:lnTo>
                    <a:pt x="21" y="36"/>
                  </a:lnTo>
                  <a:lnTo>
                    <a:pt x="19" y="36"/>
                  </a:lnTo>
                  <a:lnTo>
                    <a:pt x="19" y="33"/>
                  </a:lnTo>
                  <a:lnTo>
                    <a:pt x="19" y="33"/>
                  </a:lnTo>
                  <a:lnTo>
                    <a:pt x="19" y="33"/>
                  </a:lnTo>
                  <a:lnTo>
                    <a:pt x="19" y="33"/>
                  </a:lnTo>
                  <a:lnTo>
                    <a:pt x="19" y="33"/>
                  </a:lnTo>
                  <a:lnTo>
                    <a:pt x="19" y="33"/>
                  </a:lnTo>
                  <a:lnTo>
                    <a:pt x="19" y="33"/>
                  </a:lnTo>
                  <a:lnTo>
                    <a:pt x="19" y="33"/>
                  </a:lnTo>
                  <a:lnTo>
                    <a:pt x="16" y="33"/>
                  </a:lnTo>
                  <a:lnTo>
                    <a:pt x="16" y="33"/>
                  </a:lnTo>
                  <a:lnTo>
                    <a:pt x="16" y="33"/>
                  </a:lnTo>
                  <a:lnTo>
                    <a:pt x="16" y="33"/>
                  </a:lnTo>
                  <a:lnTo>
                    <a:pt x="14" y="33"/>
                  </a:lnTo>
                  <a:lnTo>
                    <a:pt x="14" y="33"/>
                  </a:lnTo>
                  <a:lnTo>
                    <a:pt x="14" y="33"/>
                  </a:lnTo>
                  <a:lnTo>
                    <a:pt x="14" y="33"/>
                  </a:lnTo>
                  <a:lnTo>
                    <a:pt x="14" y="33"/>
                  </a:lnTo>
                  <a:lnTo>
                    <a:pt x="14" y="33"/>
                  </a:lnTo>
                  <a:lnTo>
                    <a:pt x="14" y="33"/>
                  </a:lnTo>
                  <a:lnTo>
                    <a:pt x="14" y="33"/>
                  </a:lnTo>
                  <a:lnTo>
                    <a:pt x="14" y="33"/>
                  </a:lnTo>
                  <a:lnTo>
                    <a:pt x="14" y="33"/>
                  </a:lnTo>
                  <a:lnTo>
                    <a:pt x="14" y="33"/>
                  </a:lnTo>
                  <a:lnTo>
                    <a:pt x="14" y="33"/>
                  </a:lnTo>
                  <a:lnTo>
                    <a:pt x="14" y="33"/>
                  </a:lnTo>
                  <a:lnTo>
                    <a:pt x="12" y="33"/>
                  </a:lnTo>
                  <a:lnTo>
                    <a:pt x="12" y="36"/>
                  </a:lnTo>
                  <a:lnTo>
                    <a:pt x="12" y="36"/>
                  </a:lnTo>
                  <a:lnTo>
                    <a:pt x="12" y="36"/>
                  </a:lnTo>
                  <a:lnTo>
                    <a:pt x="12" y="36"/>
                  </a:lnTo>
                  <a:lnTo>
                    <a:pt x="12" y="36"/>
                  </a:lnTo>
                  <a:lnTo>
                    <a:pt x="12" y="36"/>
                  </a:lnTo>
                  <a:lnTo>
                    <a:pt x="12" y="36"/>
                  </a:lnTo>
                  <a:lnTo>
                    <a:pt x="12" y="36"/>
                  </a:lnTo>
                  <a:lnTo>
                    <a:pt x="9" y="36"/>
                  </a:lnTo>
                  <a:lnTo>
                    <a:pt x="9" y="36"/>
                  </a:lnTo>
                  <a:lnTo>
                    <a:pt x="9" y="36"/>
                  </a:lnTo>
                  <a:lnTo>
                    <a:pt x="9" y="36"/>
                  </a:lnTo>
                  <a:lnTo>
                    <a:pt x="9" y="36"/>
                  </a:lnTo>
                  <a:lnTo>
                    <a:pt x="9" y="36"/>
                  </a:lnTo>
                  <a:lnTo>
                    <a:pt x="9" y="36"/>
                  </a:lnTo>
                  <a:lnTo>
                    <a:pt x="9" y="36"/>
                  </a:lnTo>
                  <a:lnTo>
                    <a:pt x="9" y="36"/>
                  </a:lnTo>
                  <a:lnTo>
                    <a:pt x="9" y="36"/>
                  </a:lnTo>
                  <a:lnTo>
                    <a:pt x="9" y="36"/>
                  </a:lnTo>
                  <a:lnTo>
                    <a:pt x="9" y="36"/>
                  </a:lnTo>
                  <a:lnTo>
                    <a:pt x="9" y="36"/>
                  </a:lnTo>
                  <a:lnTo>
                    <a:pt x="9" y="36"/>
                  </a:lnTo>
                  <a:lnTo>
                    <a:pt x="7" y="36"/>
                  </a:lnTo>
                  <a:lnTo>
                    <a:pt x="7" y="36"/>
                  </a:lnTo>
                  <a:lnTo>
                    <a:pt x="7" y="33"/>
                  </a:lnTo>
                  <a:lnTo>
                    <a:pt x="7" y="33"/>
                  </a:lnTo>
                  <a:lnTo>
                    <a:pt x="7" y="33"/>
                  </a:lnTo>
                  <a:lnTo>
                    <a:pt x="7" y="33"/>
                  </a:lnTo>
                  <a:lnTo>
                    <a:pt x="7" y="33"/>
                  </a:lnTo>
                  <a:lnTo>
                    <a:pt x="7" y="33"/>
                  </a:lnTo>
                  <a:lnTo>
                    <a:pt x="7" y="33"/>
                  </a:lnTo>
                  <a:lnTo>
                    <a:pt x="4" y="33"/>
                  </a:lnTo>
                  <a:lnTo>
                    <a:pt x="4" y="33"/>
                  </a:lnTo>
                  <a:lnTo>
                    <a:pt x="4" y="33"/>
                  </a:lnTo>
                  <a:lnTo>
                    <a:pt x="4" y="33"/>
                  </a:lnTo>
                  <a:lnTo>
                    <a:pt x="4" y="33"/>
                  </a:lnTo>
                  <a:lnTo>
                    <a:pt x="4" y="33"/>
                  </a:lnTo>
                  <a:lnTo>
                    <a:pt x="4" y="33"/>
                  </a:lnTo>
                  <a:lnTo>
                    <a:pt x="4" y="33"/>
                  </a:lnTo>
                  <a:lnTo>
                    <a:pt x="4" y="33"/>
                  </a:lnTo>
                  <a:lnTo>
                    <a:pt x="4" y="33"/>
                  </a:lnTo>
                  <a:lnTo>
                    <a:pt x="4" y="33"/>
                  </a:lnTo>
                  <a:lnTo>
                    <a:pt x="4" y="33"/>
                  </a:lnTo>
                  <a:lnTo>
                    <a:pt x="4" y="33"/>
                  </a:lnTo>
                  <a:lnTo>
                    <a:pt x="4" y="31"/>
                  </a:lnTo>
                  <a:lnTo>
                    <a:pt x="4" y="31"/>
                  </a:lnTo>
                  <a:lnTo>
                    <a:pt x="4" y="31"/>
                  </a:lnTo>
                  <a:lnTo>
                    <a:pt x="4" y="31"/>
                  </a:lnTo>
                  <a:lnTo>
                    <a:pt x="4" y="31"/>
                  </a:lnTo>
                  <a:lnTo>
                    <a:pt x="4" y="31"/>
                  </a:lnTo>
                  <a:lnTo>
                    <a:pt x="2" y="31"/>
                  </a:lnTo>
                  <a:lnTo>
                    <a:pt x="2" y="31"/>
                  </a:lnTo>
                  <a:lnTo>
                    <a:pt x="2" y="31"/>
                  </a:lnTo>
                  <a:lnTo>
                    <a:pt x="2" y="31"/>
                  </a:lnTo>
                  <a:lnTo>
                    <a:pt x="4" y="31"/>
                  </a:lnTo>
                  <a:lnTo>
                    <a:pt x="4" y="31"/>
                  </a:lnTo>
                  <a:lnTo>
                    <a:pt x="4" y="31"/>
                  </a:lnTo>
                  <a:lnTo>
                    <a:pt x="4" y="31"/>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6"/>
                  </a:lnTo>
                  <a:lnTo>
                    <a:pt x="4" y="26"/>
                  </a:lnTo>
                  <a:lnTo>
                    <a:pt x="4" y="26"/>
                  </a:lnTo>
                  <a:lnTo>
                    <a:pt x="4" y="26"/>
                  </a:lnTo>
                  <a:lnTo>
                    <a:pt x="4" y="26"/>
                  </a:lnTo>
                  <a:lnTo>
                    <a:pt x="4" y="26"/>
                  </a:lnTo>
                  <a:lnTo>
                    <a:pt x="4" y="26"/>
                  </a:lnTo>
                  <a:lnTo>
                    <a:pt x="7" y="26"/>
                  </a:lnTo>
                  <a:lnTo>
                    <a:pt x="7" y="26"/>
                  </a:lnTo>
                  <a:lnTo>
                    <a:pt x="4" y="26"/>
                  </a:lnTo>
                  <a:lnTo>
                    <a:pt x="7" y="26"/>
                  </a:lnTo>
                  <a:lnTo>
                    <a:pt x="7" y="26"/>
                  </a:lnTo>
                  <a:lnTo>
                    <a:pt x="7" y="26"/>
                  </a:lnTo>
                  <a:lnTo>
                    <a:pt x="4" y="26"/>
                  </a:lnTo>
                  <a:lnTo>
                    <a:pt x="4" y="24"/>
                  </a:lnTo>
                  <a:lnTo>
                    <a:pt x="4" y="24"/>
                  </a:lnTo>
                  <a:lnTo>
                    <a:pt x="4" y="24"/>
                  </a:lnTo>
                  <a:lnTo>
                    <a:pt x="4" y="24"/>
                  </a:lnTo>
                  <a:lnTo>
                    <a:pt x="4" y="24"/>
                  </a:lnTo>
                  <a:lnTo>
                    <a:pt x="4" y="24"/>
                  </a:lnTo>
                  <a:lnTo>
                    <a:pt x="4" y="24"/>
                  </a:lnTo>
                  <a:lnTo>
                    <a:pt x="4" y="24"/>
                  </a:lnTo>
                  <a:lnTo>
                    <a:pt x="4" y="24"/>
                  </a:lnTo>
                  <a:lnTo>
                    <a:pt x="4" y="24"/>
                  </a:lnTo>
                  <a:lnTo>
                    <a:pt x="4" y="24"/>
                  </a:lnTo>
                  <a:lnTo>
                    <a:pt x="4" y="24"/>
                  </a:lnTo>
                  <a:lnTo>
                    <a:pt x="4" y="24"/>
                  </a:lnTo>
                  <a:lnTo>
                    <a:pt x="4" y="24"/>
                  </a:lnTo>
                  <a:lnTo>
                    <a:pt x="4" y="21"/>
                  </a:lnTo>
                  <a:lnTo>
                    <a:pt x="4" y="21"/>
                  </a:lnTo>
                  <a:lnTo>
                    <a:pt x="4" y="21"/>
                  </a:lnTo>
                  <a:lnTo>
                    <a:pt x="2" y="21"/>
                  </a:lnTo>
                  <a:lnTo>
                    <a:pt x="2" y="21"/>
                  </a:lnTo>
                  <a:lnTo>
                    <a:pt x="4" y="21"/>
                  </a:lnTo>
                  <a:lnTo>
                    <a:pt x="2" y="21"/>
                  </a:lnTo>
                  <a:lnTo>
                    <a:pt x="2" y="21"/>
                  </a:lnTo>
                  <a:lnTo>
                    <a:pt x="2" y="21"/>
                  </a:lnTo>
                  <a:lnTo>
                    <a:pt x="2" y="21"/>
                  </a:lnTo>
                  <a:lnTo>
                    <a:pt x="2" y="19"/>
                  </a:lnTo>
                  <a:lnTo>
                    <a:pt x="2" y="19"/>
                  </a:lnTo>
                  <a:lnTo>
                    <a:pt x="2" y="19"/>
                  </a:lnTo>
                  <a:lnTo>
                    <a:pt x="2" y="19"/>
                  </a:lnTo>
                  <a:lnTo>
                    <a:pt x="2" y="19"/>
                  </a:lnTo>
                  <a:lnTo>
                    <a:pt x="2" y="19"/>
                  </a:lnTo>
                  <a:lnTo>
                    <a:pt x="2" y="19"/>
                  </a:lnTo>
                  <a:lnTo>
                    <a:pt x="2" y="19"/>
                  </a:lnTo>
                  <a:lnTo>
                    <a:pt x="2" y="19"/>
                  </a:lnTo>
                  <a:lnTo>
                    <a:pt x="2" y="19"/>
                  </a:lnTo>
                  <a:lnTo>
                    <a:pt x="2" y="19"/>
                  </a:lnTo>
                  <a:lnTo>
                    <a:pt x="2" y="19"/>
                  </a:lnTo>
                  <a:lnTo>
                    <a:pt x="2" y="19"/>
                  </a:lnTo>
                  <a:lnTo>
                    <a:pt x="0" y="19"/>
                  </a:lnTo>
                  <a:lnTo>
                    <a:pt x="0" y="19"/>
                  </a:lnTo>
                  <a:lnTo>
                    <a:pt x="0" y="19"/>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4"/>
                  </a:lnTo>
                  <a:lnTo>
                    <a:pt x="0" y="14"/>
                  </a:lnTo>
                  <a:lnTo>
                    <a:pt x="0" y="14"/>
                  </a:lnTo>
                  <a:lnTo>
                    <a:pt x="0" y="14"/>
                  </a:lnTo>
                  <a:lnTo>
                    <a:pt x="0" y="14"/>
                  </a:lnTo>
                  <a:lnTo>
                    <a:pt x="2" y="14"/>
                  </a:lnTo>
                  <a:lnTo>
                    <a:pt x="2" y="14"/>
                  </a:lnTo>
                  <a:lnTo>
                    <a:pt x="2" y="14"/>
                  </a:lnTo>
                  <a:lnTo>
                    <a:pt x="2" y="14"/>
                  </a:lnTo>
                  <a:lnTo>
                    <a:pt x="2" y="14"/>
                  </a:lnTo>
                  <a:lnTo>
                    <a:pt x="2" y="14"/>
                  </a:lnTo>
                  <a:lnTo>
                    <a:pt x="2" y="14"/>
                  </a:lnTo>
                  <a:lnTo>
                    <a:pt x="2" y="14"/>
                  </a:lnTo>
                  <a:lnTo>
                    <a:pt x="2" y="14"/>
                  </a:lnTo>
                  <a:lnTo>
                    <a:pt x="2" y="14"/>
                  </a:lnTo>
                  <a:lnTo>
                    <a:pt x="2" y="14"/>
                  </a:lnTo>
                  <a:lnTo>
                    <a:pt x="0" y="14"/>
                  </a:lnTo>
                  <a:lnTo>
                    <a:pt x="0" y="14"/>
                  </a:lnTo>
                  <a:lnTo>
                    <a:pt x="0" y="14"/>
                  </a:lnTo>
                  <a:lnTo>
                    <a:pt x="0" y="14"/>
                  </a:lnTo>
                  <a:lnTo>
                    <a:pt x="0" y="14"/>
                  </a:lnTo>
                  <a:lnTo>
                    <a:pt x="0" y="14"/>
                  </a:lnTo>
                  <a:lnTo>
                    <a:pt x="0" y="12"/>
                  </a:lnTo>
                  <a:lnTo>
                    <a:pt x="2" y="12"/>
                  </a:lnTo>
                  <a:lnTo>
                    <a:pt x="2" y="12"/>
                  </a:lnTo>
                  <a:lnTo>
                    <a:pt x="2" y="12"/>
                  </a:lnTo>
                  <a:lnTo>
                    <a:pt x="2" y="12"/>
                  </a:lnTo>
                  <a:lnTo>
                    <a:pt x="2" y="12"/>
                  </a:lnTo>
                  <a:lnTo>
                    <a:pt x="2" y="12"/>
                  </a:lnTo>
                  <a:lnTo>
                    <a:pt x="2" y="9"/>
                  </a:lnTo>
                  <a:lnTo>
                    <a:pt x="2" y="9"/>
                  </a:lnTo>
                  <a:lnTo>
                    <a:pt x="2" y="9"/>
                  </a:lnTo>
                  <a:lnTo>
                    <a:pt x="2" y="9"/>
                  </a:lnTo>
                  <a:lnTo>
                    <a:pt x="2" y="9"/>
                  </a:lnTo>
                  <a:lnTo>
                    <a:pt x="2" y="9"/>
                  </a:lnTo>
                  <a:lnTo>
                    <a:pt x="2" y="9"/>
                  </a:lnTo>
                  <a:lnTo>
                    <a:pt x="2" y="9"/>
                  </a:lnTo>
                  <a:lnTo>
                    <a:pt x="2" y="9"/>
                  </a:lnTo>
                  <a:lnTo>
                    <a:pt x="4" y="9"/>
                  </a:lnTo>
                  <a:lnTo>
                    <a:pt x="4" y="9"/>
                  </a:lnTo>
                  <a:lnTo>
                    <a:pt x="2" y="9"/>
                  </a:lnTo>
                  <a:lnTo>
                    <a:pt x="2" y="9"/>
                  </a:lnTo>
                  <a:lnTo>
                    <a:pt x="2" y="9"/>
                  </a:lnTo>
                  <a:lnTo>
                    <a:pt x="2" y="7"/>
                  </a:lnTo>
                  <a:lnTo>
                    <a:pt x="2" y="7"/>
                  </a:lnTo>
                  <a:lnTo>
                    <a:pt x="4" y="7"/>
                  </a:lnTo>
                  <a:lnTo>
                    <a:pt x="4" y="7"/>
                  </a:lnTo>
                  <a:lnTo>
                    <a:pt x="4" y="7"/>
                  </a:lnTo>
                  <a:lnTo>
                    <a:pt x="4" y="7"/>
                  </a:lnTo>
                  <a:lnTo>
                    <a:pt x="4" y="7"/>
                  </a:lnTo>
                  <a:lnTo>
                    <a:pt x="4" y="7"/>
                  </a:lnTo>
                  <a:lnTo>
                    <a:pt x="4" y="7"/>
                  </a:lnTo>
                  <a:lnTo>
                    <a:pt x="4" y="5"/>
                  </a:lnTo>
                  <a:lnTo>
                    <a:pt x="4" y="5"/>
                  </a:lnTo>
                  <a:lnTo>
                    <a:pt x="4" y="5"/>
                  </a:lnTo>
                  <a:lnTo>
                    <a:pt x="4" y="5"/>
                  </a:lnTo>
                  <a:lnTo>
                    <a:pt x="4" y="5"/>
                  </a:lnTo>
                  <a:lnTo>
                    <a:pt x="4" y="5"/>
                  </a:lnTo>
                  <a:lnTo>
                    <a:pt x="4" y="5"/>
                  </a:lnTo>
                  <a:lnTo>
                    <a:pt x="4" y="5"/>
                  </a:lnTo>
                  <a:lnTo>
                    <a:pt x="4" y="5"/>
                  </a:lnTo>
                  <a:lnTo>
                    <a:pt x="4" y="5"/>
                  </a:lnTo>
                  <a:lnTo>
                    <a:pt x="4" y="2"/>
                  </a:lnTo>
                  <a:lnTo>
                    <a:pt x="4" y="2"/>
                  </a:lnTo>
                  <a:lnTo>
                    <a:pt x="7" y="2"/>
                  </a:lnTo>
                  <a:lnTo>
                    <a:pt x="7" y="2"/>
                  </a:lnTo>
                  <a:lnTo>
                    <a:pt x="7" y="2"/>
                  </a:lnTo>
                  <a:lnTo>
                    <a:pt x="7" y="2"/>
                  </a:lnTo>
                  <a:lnTo>
                    <a:pt x="7" y="2"/>
                  </a:lnTo>
                  <a:lnTo>
                    <a:pt x="7" y="0"/>
                  </a:lnTo>
                  <a:lnTo>
                    <a:pt x="7" y="0"/>
                  </a:lnTo>
                  <a:lnTo>
                    <a:pt x="7" y="0"/>
                  </a:lnTo>
                  <a:lnTo>
                    <a:pt x="7" y="0"/>
                  </a:lnTo>
                  <a:lnTo>
                    <a:pt x="7" y="0"/>
                  </a:lnTo>
                  <a:lnTo>
                    <a:pt x="9" y="0"/>
                  </a:lnTo>
                  <a:lnTo>
                    <a:pt x="9" y="0"/>
                  </a:lnTo>
                  <a:lnTo>
                    <a:pt x="9" y="0"/>
                  </a:lnTo>
                  <a:lnTo>
                    <a:pt x="9" y="0"/>
                  </a:lnTo>
                  <a:lnTo>
                    <a:pt x="9" y="0"/>
                  </a:lnTo>
                  <a:lnTo>
                    <a:pt x="9" y="0"/>
                  </a:lnTo>
                  <a:lnTo>
                    <a:pt x="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4" name="Freeform 52492"/>
            <p:cNvSpPr>
              <a:spLocks noEditPoints="1"/>
            </p:cNvSpPr>
            <p:nvPr/>
          </p:nvSpPr>
          <p:spPr bwMode="auto">
            <a:xfrm>
              <a:off x="2771773" y="5719783"/>
              <a:ext cx="17463" cy="19050"/>
            </a:xfrm>
            <a:custGeom>
              <a:avLst/>
              <a:gdLst>
                <a:gd name="T0" fmla="*/ 4 w 11"/>
                <a:gd name="T1" fmla="*/ 5 h 12"/>
                <a:gd name="T2" fmla="*/ 4 w 11"/>
                <a:gd name="T3" fmla="*/ 5 h 12"/>
                <a:gd name="T4" fmla="*/ 7 w 11"/>
                <a:gd name="T5" fmla="*/ 5 h 12"/>
                <a:gd name="T6" fmla="*/ 4 w 11"/>
                <a:gd name="T7" fmla="*/ 7 h 12"/>
                <a:gd name="T8" fmla="*/ 7 w 11"/>
                <a:gd name="T9" fmla="*/ 5 h 12"/>
                <a:gd name="T10" fmla="*/ 7 w 11"/>
                <a:gd name="T11" fmla="*/ 5 h 12"/>
                <a:gd name="T12" fmla="*/ 7 w 11"/>
                <a:gd name="T13" fmla="*/ 5 h 12"/>
                <a:gd name="T14" fmla="*/ 7 w 11"/>
                <a:gd name="T15" fmla="*/ 7 h 12"/>
                <a:gd name="T16" fmla="*/ 9 w 11"/>
                <a:gd name="T17" fmla="*/ 7 h 12"/>
                <a:gd name="T18" fmla="*/ 9 w 11"/>
                <a:gd name="T19" fmla="*/ 7 h 12"/>
                <a:gd name="T20" fmla="*/ 9 w 11"/>
                <a:gd name="T21" fmla="*/ 7 h 12"/>
                <a:gd name="T22" fmla="*/ 9 w 11"/>
                <a:gd name="T23" fmla="*/ 7 h 12"/>
                <a:gd name="T24" fmla="*/ 9 w 11"/>
                <a:gd name="T25" fmla="*/ 7 h 12"/>
                <a:gd name="T26" fmla="*/ 9 w 11"/>
                <a:gd name="T27" fmla="*/ 9 h 12"/>
                <a:gd name="T28" fmla="*/ 9 w 11"/>
                <a:gd name="T29" fmla="*/ 9 h 12"/>
                <a:gd name="T30" fmla="*/ 9 w 11"/>
                <a:gd name="T31" fmla="*/ 7 h 12"/>
                <a:gd name="T32" fmla="*/ 11 w 11"/>
                <a:gd name="T33" fmla="*/ 9 h 12"/>
                <a:gd name="T34" fmla="*/ 11 w 11"/>
                <a:gd name="T35" fmla="*/ 9 h 12"/>
                <a:gd name="T36" fmla="*/ 11 w 11"/>
                <a:gd name="T37" fmla="*/ 9 h 12"/>
                <a:gd name="T38" fmla="*/ 11 w 11"/>
                <a:gd name="T39" fmla="*/ 12 h 12"/>
                <a:gd name="T40" fmla="*/ 11 w 11"/>
                <a:gd name="T41" fmla="*/ 12 h 12"/>
                <a:gd name="T42" fmla="*/ 11 w 11"/>
                <a:gd name="T43" fmla="*/ 12 h 12"/>
                <a:gd name="T44" fmla="*/ 11 w 11"/>
                <a:gd name="T45" fmla="*/ 12 h 12"/>
                <a:gd name="T46" fmla="*/ 9 w 11"/>
                <a:gd name="T47" fmla="*/ 12 h 12"/>
                <a:gd name="T48" fmla="*/ 11 w 11"/>
                <a:gd name="T49" fmla="*/ 12 h 12"/>
                <a:gd name="T50" fmla="*/ 11 w 11"/>
                <a:gd name="T51" fmla="*/ 12 h 12"/>
                <a:gd name="T52" fmla="*/ 9 w 11"/>
                <a:gd name="T53" fmla="*/ 12 h 12"/>
                <a:gd name="T54" fmla="*/ 7 w 11"/>
                <a:gd name="T55" fmla="*/ 12 h 12"/>
                <a:gd name="T56" fmla="*/ 7 w 11"/>
                <a:gd name="T57" fmla="*/ 12 h 12"/>
                <a:gd name="T58" fmla="*/ 4 w 11"/>
                <a:gd name="T59" fmla="*/ 9 h 12"/>
                <a:gd name="T60" fmla="*/ 4 w 11"/>
                <a:gd name="T61" fmla="*/ 9 h 12"/>
                <a:gd name="T62" fmla="*/ 4 w 11"/>
                <a:gd name="T63" fmla="*/ 7 h 12"/>
                <a:gd name="T64" fmla="*/ 4 w 11"/>
                <a:gd name="T65" fmla="*/ 7 h 12"/>
                <a:gd name="T66" fmla="*/ 4 w 11"/>
                <a:gd name="T67" fmla="*/ 7 h 12"/>
                <a:gd name="T68" fmla="*/ 4 w 11"/>
                <a:gd name="T69" fmla="*/ 5 h 12"/>
                <a:gd name="T70" fmla="*/ 4 w 11"/>
                <a:gd name="T71" fmla="*/ 5 h 12"/>
                <a:gd name="T72" fmla="*/ 4 w 11"/>
                <a:gd name="T73" fmla="*/ 5 h 12"/>
                <a:gd name="T74" fmla="*/ 4 w 11"/>
                <a:gd name="T75" fmla="*/ 5 h 12"/>
                <a:gd name="T76" fmla="*/ 4 w 11"/>
                <a:gd name="T77" fmla="*/ 5 h 12"/>
                <a:gd name="T78" fmla="*/ 4 w 11"/>
                <a:gd name="T79" fmla="*/ 5 h 12"/>
                <a:gd name="T80" fmla="*/ 4 w 11"/>
                <a:gd name="T81" fmla="*/ 2 h 12"/>
                <a:gd name="T82" fmla="*/ 4 w 11"/>
                <a:gd name="T83" fmla="*/ 2 h 12"/>
                <a:gd name="T84" fmla="*/ 4 w 11"/>
                <a:gd name="T85" fmla="*/ 2 h 12"/>
                <a:gd name="T86" fmla="*/ 2 w 11"/>
                <a:gd name="T87" fmla="*/ 0 h 12"/>
                <a:gd name="T88" fmla="*/ 2 w 11"/>
                <a:gd name="T89" fmla="*/ 0 h 12"/>
                <a:gd name="T90" fmla="*/ 2 w 11"/>
                <a:gd name="T91" fmla="*/ 0 h 12"/>
                <a:gd name="T92" fmla="*/ 2 w 11"/>
                <a:gd name="T93" fmla="*/ 2 h 12"/>
                <a:gd name="T94" fmla="*/ 4 w 11"/>
                <a:gd name="T95" fmla="*/ 2 h 12"/>
                <a:gd name="T96" fmla="*/ 2 w 11"/>
                <a:gd name="T97" fmla="*/ 2 h 12"/>
                <a:gd name="T98" fmla="*/ 2 w 11"/>
                <a:gd name="T99" fmla="*/ 2 h 12"/>
                <a:gd name="T100" fmla="*/ 0 w 11"/>
                <a:gd name="T101" fmla="*/ 2 h 12"/>
                <a:gd name="T102" fmla="*/ 0 w 11"/>
                <a:gd name="T103" fmla="*/ 2 h 12"/>
                <a:gd name="T104" fmla="*/ 0 w 11"/>
                <a:gd name="T105" fmla="*/ 2 h 12"/>
                <a:gd name="T106" fmla="*/ 0 w 11"/>
                <a:gd name="T107" fmla="*/ 0 h 12"/>
                <a:gd name="T108" fmla="*/ 0 w 11"/>
                <a:gd name="T10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 h="12">
                  <a:moveTo>
                    <a:pt x="4" y="5"/>
                  </a:move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7" y="5"/>
                  </a:lnTo>
                  <a:lnTo>
                    <a:pt x="7" y="5"/>
                  </a:lnTo>
                  <a:lnTo>
                    <a:pt x="7" y="5"/>
                  </a:lnTo>
                  <a:lnTo>
                    <a:pt x="7" y="5"/>
                  </a:lnTo>
                  <a:lnTo>
                    <a:pt x="7" y="5"/>
                  </a:lnTo>
                  <a:lnTo>
                    <a:pt x="7" y="5"/>
                  </a:lnTo>
                  <a:lnTo>
                    <a:pt x="4" y="5"/>
                  </a:lnTo>
                  <a:lnTo>
                    <a:pt x="4" y="5"/>
                  </a:lnTo>
                  <a:lnTo>
                    <a:pt x="4" y="5"/>
                  </a:lnTo>
                  <a:lnTo>
                    <a:pt x="4" y="7"/>
                  </a:lnTo>
                  <a:lnTo>
                    <a:pt x="4" y="7"/>
                  </a:lnTo>
                  <a:lnTo>
                    <a:pt x="4" y="7"/>
                  </a:lnTo>
                  <a:lnTo>
                    <a:pt x="7" y="5"/>
                  </a:lnTo>
                  <a:lnTo>
                    <a:pt x="7" y="5"/>
                  </a:lnTo>
                  <a:lnTo>
                    <a:pt x="7" y="5"/>
                  </a:lnTo>
                  <a:lnTo>
                    <a:pt x="7" y="5"/>
                  </a:lnTo>
                  <a:lnTo>
                    <a:pt x="7" y="5"/>
                  </a:lnTo>
                  <a:lnTo>
                    <a:pt x="7" y="5"/>
                  </a:lnTo>
                  <a:lnTo>
                    <a:pt x="7" y="5"/>
                  </a:lnTo>
                  <a:lnTo>
                    <a:pt x="7" y="5"/>
                  </a:lnTo>
                  <a:lnTo>
                    <a:pt x="7" y="5"/>
                  </a:lnTo>
                  <a:lnTo>
                    <a:pt x="7" y="5"/>
                  </a:lnTo>
                  <a:lnTo>
                    <a:pt x="7" y="5"/>
                  </a:lnTo>
                  <a:lnTo>
                    <a:pt x="7" y="5"/>
                  </a:lnTo>
                  <a:lnTo>
                    <a:pt x="7" y="5"/>
                  </a:lnTo>
                  <a:lnTo>
                    <a:pt x="7" y="7"/>
                  </a:lnTo>
                  <a:lnTo>
                    <a:pt x="7" y="7"/>
                  </a:lnTo>
                  <a:lnTo>
                    <a:pt x="7" y="5"/>
                  </a:lnTo>
                  <a:lnTo>
                    <a:pt x="7" y="5"/>
                  </a:lnTo>
                  <a:lnTo>
                    <a:pt x="7" y="5"/>
                  </a:lnTo>
                  <a:lnTo>
                    <a:pt x="7" y="5"/>
                  </a:lnTo>
                  <a:lnTo>
                    <a:pt x="7" y="5"/>
                  </a:lnTo>
                  <a:lnTo>
                    <a:pt x="7" y="7"/>
                  </a:lnTo>
                  <a:lnTo>
                    <a:pt x="7" y="7"/>
                  </a:lnTo>
                  <a:lnTo>
                    <a:pt x="7" y="7"/>
                  </a:lnTo>
                  <a:lnTo>
                    <a:pt x="7" y="7"/>
                  </a:lnTo>
                  <a:lnTo>
                    <a:pt x="7" y="7"/>
                  </a:lnTo>
                  <a:lnTo>
                    <a:pt x="7" y="7"/>
                  </a:lnTo>
                  <a:lnTo>
                    <a:pt x="7" y="7"/>
                  </a:lnTo>
                  <a:lnTo>
                    <a:pt x="7"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9"/>
                  </a:lnTo>
                  <a:lnTo>
                    <a:pt x="9" y="7"/>
                  </a:lnTo>
                  <a:lnTo>
                    <a:pt x="9" y="7"/>
                  </a:lnTo>
                  <a:lnTo>
                    <a:pt x="9" y="7"/>
                  </a:lnTo>
                  <a:lnTo>
                    <a:pt x="9" y="7"/>
                  </a:lnTo>
                  <a:lnTo>
                    <a:pt x="9" y="7"/>
                  </a:lnTo>
                  <a:lnTo>
                    <a:pt x="9" y="9"/>
                  </a:lnTo>
                  <a:lnTo>
                    <a:pt x="9" y="9"/>
                  </a:lnTo>
                  <a:lnTo>
                    <a:pt x="9" y="9"/>
                  </a:lnTo>
                  <a:lnTo>
                    <a:pt x="9" y="9"/>
                  </a:lnTo>
                  <a:lnTo>
                    <a:pt x="9" y="9"/>
                  </a:lnTo>
                  <a:lnTo>
                    <a:pt x="9" y="9"/>
                  </a:lnTo>
                  <a:lnTo>
                    <a:pt x="9" y="9"/>
                  </a:lnTo>
                  <a:lnTo>
                    <a:pt x="9" y="9"/>
                  </a:lnTo>
                  <a:lnTo>
                    <a:pt x="9" y="9"/>
                  </a:lnTo>
                  <a:lnTo>
                    <a:pt x="9" y="9"/>
                  </a:lnTo>
                  <a:lnTo>
                    <a:pt x="9" y="9"/>
                  </a:lnTo>
                  <a:lnTo>
                    <a:pt x="9" y="9"/>
                  </a:lnTo>
                  <a:lnTo>
                    <a:pt x="9" y="9"/>
                  </a:lnTo>
                  <a:lnTo>
                    <a:pt x="9" y="9"/>
                  </a:lnTo>
                  <a:lnTo>
                    <a:pt x="9" y="7"/>
                  </a:lnTo>
                  <a:lnTo>
                    <a:pt x="9" y="7"/>
                  </a:lnTo>
                  <a:lnTo>
                    <a:pt x="9" y="7"/>
                  </a:lnTo>
                  <a:lnTo>
                    <a:pt x="9" y="7"/>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12"/>
                  </a:lnTo>
                  <a:lnTo>
                    <a:pt x="11" y="12"/>
                  </a:lnTo>
                  <a:lnTo>
                    <a:pt x="11" y="9"/>
                  </a:lnTo>
                  <a:lnTo>
                    <a:pt x="11" y="9"/>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9" y="12"/>
                  </a:lnTo>
                  <a:lnTo>
                    <a:pt x="9" y="12"/>
                  </a:lnTo>
                  <a:lnTo>
                    <a:pt x="9" y="12"/>
                  </a:lnTo>
                  <a:lnTo>
                    <a:pt x="9" y="12"/>
                  </a:lnTo>
                  <a:lnTo>
                    <a:pt x="9" y="12"/>
                  </a:lnTo>
                  <a:lnTo>
                    <a:pt x="9" y="12"/>
                  </a:lnTo>
                  <a:lnTo>
                    <a:pt x="9" y="12"/>
                  </a:lnTo>
                  <a:lnTo>
                    <a:pt x="9"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9" y="12"/>
                  </a:lnTo>
                  <a:lnTo>
                    <a:pt x="9" y="12"/>
                  </a:lnTo>
                  <a:lnTo>
                    <a:pt x="9" y="12"/>
                  </a:lnTo>
                  <a:lnTo>
                    <a:pt x="9" y="12"/>
                  </a:lnTo>
                  <a:lnTo>
                    <a:pt x="9" y="12"/>
                  </a:lnTo>
                  <a:lnTo>
                    <a:pt x="9"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4" y="9"/>
                  </a:lnTo>
                  <a:lnTo>
                    <a:pt x="4" y="9"/>
                  </a:lnTo>
                  <a:lnTo>
                    <a:pt x="4" y="9"/>
                  </a:lnTo>
                  <a:lnTo>
                    <a:pt x="4" y="9"/>
                  </a:lnTo>
                  <a:lnTo>
                    <a:pt x="4" y="9"/>
                  </a:lnTo>
                  <a:lnTo>
                    <a:pt x="4" y="9"/>
                  </a:lnTo>
                  <a:lnTo>
                    <a:pt x="4" y="9"/>
                  </a:lnTo>
                  <a:lnTo>
                    <a:pt x="4" y="9"/>
                  </a:lnTo>
                  <a:lnTo>
                    <a:pt x="4" y="9"/>
                  </a:lnTo>
                  <a:lnTo>
                    <a:pt x="4" y="9"/>
                  </a:lnTo>
                  <a:lnTo>
                    <a:pt x="4" y="9"/>
                  </a:lnTo>
                  <a:lnTo>
                    <a:pt x="4" y="9"/>
                  </a:lnTo>
                  <a:lnTo>
                    <a:pt x="4" y="9"/>
                  </a:lnTo>
                  <a:lnTo>
                    <a:pt x="4" y="9"/>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2"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close/>
                  <a:moveTo>
                    <a:pt x="4" y="2"/>
                  </a:moveTo>
                  <a:lnTo>
                    <a:pt x="4" y="2"/>
                  </a:lnTo>
                  <a:lnTo>
                    <a:pt x="4" y="2"/>
                  </a:lnTo>
                  <a:lnTo>
                    <a:pt x="4" y="2"/>
                  </a:lnTo>
                  <a:lnTo>
                    <a:pt x="4" y="2"/>
                  </a:lnTo>
                  <a:lnTo>
                    <a:pt x="4" y="2"/>
                  </a:lnTo>
                  <a:lnTo>
                    <a:pt x="4" y="2"/>
                  </a:lnTo>
                  <a:lnTo>
                    <a:pt x="4" y="2"/>
                  </a:lnTo>
                  <a:lnTo>
                    <a:pt x="4" y="2"/>
                  </a:lnTo>
                  <a:lnTo>
                    <a:pt x="4" y="2"/>
                  </a:lnTo>
                  <a:lnTo>
                    <a:pt x="4" y="2"/>
                  </a:lnTo>
                  <a:lnTo>
                    <a:pt x="4" y="2"/>
                  </a:lnTo>
                  <a:lnTo>
                    <a:pt x="2" y="2"/>
                  </a:lnTo>
                  <a:lnTo>
                    <a:pt x="4" y="2"/>
                  </a:lnTo>
                  <a:lnTo>
                    <a:pt x="4" y="2"/>
                  </a:lnTo>
                  <a:lnTo>
                    <a:pt x="4" y="2"/>
                  </a:lnTo>
                  <a:lnTo>
                    <a:pt x="4" y="2"/>
                  </a:lnTo>
                  <a:lnTo>
                    <a:pt x="4" y="2"/>
                  </a:lnTo>
                  <a:lnTo>
                    <a:pt x="4" y="2"/>
                  </a:lnTo>
                  <a:lnTo>
                    <a:pt x="4" y="2"/>
                  </a:lnTo>
                  <a:lnTo>
                    <a:pt x="4" y="2"/>
                  </a:lnTo>
                  <a:lnTo>
                    <a:pt x="4" y="2"/>
                  </a:lnTo>
                  <a:close/>
                  <a:moveTo>
                    <a:pt x="0" y="0"/>
                  </a:move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4" y="2"/>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5" name="Freeform 52493"/>
            <p:cNvSpPr>
              <a:spLocks noEditPoints="1"/>
            </p:cNvSpPr>
            <p:nvPr/>
          </p:nvSpPr>
          <p:spPr bwMode="auto">
            <a:xfrm>
              <a:off x="2774948" y="5722956"/>
              <a:ext cx="7938" cy="19050"/>
            </a:xfrm>
            <a:custGeom>
              <a:avLst/>
              <a:gdLst>
                <a:gd name="T0" fmla="*/ 5 w 5"/>
                <a:gd name="T1" fmla="*/ 12 h 12"/>
                <a:gd name="T2" fmla="*/ 5 w 5"/>
                <a:gd name="T3" fmla="*/ 12 h 12"/>
                <a:gd name="T4" fmla="*/ 5 w 5"/>
                <a:gd name="T5" fmla="*/ 12 h 12"/>
                <a:gd name="T6" fmla="*/ 5 w 5"/>
                <a:gd name="T7" fmla="*/ 10 h 12"/>
                <a:gd name="T8" fmla="*/ 5 w 5"/>
                <a:gd name="T9" fmla="*/ 10 h 12"/>
                <a:gd name="T10" fmla="*/ 5 w 5"/>
                <a:gd name="T11" fmla="*/ 10 h 12"/>
                <a:gd name="T12" fmla="*/ 5 w 5"/>
                <a:gd name="T13" fmla="*/ 12 h 12"/>
                <a:gd name="T14" fmla="*/ 5 w 5"/>
                <a:gd name="T15" fmla="*/ 3 h 12"/>
                <a:gd name="T16" fmla="*/ 5 w 5"/>
                <a:gd name="T17" fmla="*/ 3 h 12"/>
                <a:gd name="T18" fmla="*/ 5 w 5"/>
                <a:gd name="T19" fmla="*/ 3 h 12"/>
                <a:gd name="T20" fmla="*/ 5 w 5"/>
                <a:gd name="T21" fmla="*/ 3 h 12"/>
                <a:gd name="T22" fmla="*/ 5 w 5"/>
                <a:gd name="T23" fmla="*/ 3 h 12"/>
                <a:gd name="T24" fmla="*/ 5 w 5"/>
                <a:gd name="T25" fmla="*/ 3 h 12"/>
                <a:gd name="T26" fmla="*/ 5 w 5"/>
                <a:gd name="T27" fmla="*/ 3 h 12"/>
                <a:gd name="T28" fmla="*/ 2 w 5"/>
                <a:gd name="T29" fmla="*/ 0 h 12"/>
                <a:gd name="T30" fmla="*/ 2 w 5"/>
                <a:gd name="T31" fmla="*/ 0 h 12"/>
                <a:gd name="T32" fmla="*/ 0 w 5"/>
                <a:gd name="T33" fmla="*/ 0 h 12"/>
                <a:gd name="T34" fmla="*/ 0 w 5"/>
                <a:gd name="T35" fmla="*/ 0 h 12"/>
                <a:gd name="T36" fmla="*/ 0 w 5"/>
                <a:gd name="T37" fmla="*/ 0 h 12"/>
                <a:gd name="T38" fmla="*/ 0 w 5"/>
                <a:gd name="T39" fmla="*/ 0 h 12"/>
                <a:gd name="T40" fmla="*/ 0 w 5"/>
                <a:gd name="T41" fmla="*/ 0 h 12"/>
                <a:gd name="T42" fmla="*/ 0 w 5"/>
                <a:gd name="T43" fmla="*/ 0 h 12"/>
                <a:gd name="T44" fmla="*/ 2 w 5"/>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 h="12">
                  <a:moveTo>
                    <a:pt x="5" y="12"/>
                  </a:moveTo>
                  <a:lnTo>
                    <a:pt x="5" y="12"/>
                  </a:lnTo>
                  <a:lnTo>
                    <a:pt x="5" y="12"/>
                  </a:lnTo>
                  <a:lnTo>
                    <a:pt x="5" y="10"/>
                  </a:lnTo>
                  <a:lnTo>
                    <a:pt x="5" y="10"/>
                  </a:lnTo>
                  <a:lnTo>
                    <a:pt x="5" y="10"/>
                  </a:lnTo>
                  <a:lnTo>
                    <a:pt x="5" y="12"/>
                  </a:lnTo>
                  <a:close/>
                  <a:moveTo>
                    <a:pt x="5" y="3"/>
                  </a:moveTo>
                  <a:lnTo>
                    <a:pt x="5" y="3"/>
                  </a:lnTo>
                  <a:lnTo>
                    <a:pt x="5" y="3"/>
                  </a:lnTo>
                  <a:lnTo>
                    <a:pt x="5" y="3"/>
                  </a:lnTo>
                  <a:lnTo>
                    <a:pt x="5" y="3"/>
                  </a:lnTo>
                  <a:lnTo>
                    <a:pt x="5" y="3"/>
                  </a:lnTo>
                  <a:lnTo>
                    <a:pt x="5" y="3"/>
                  </a:lnTo>
                  <a:close/>
                  <a:moveTo>
                    <a:pt x="2" y="0"/>
                  </a:moveTo>
                  <a:lnTo>
                    <a:pt x="2" y="0"/>
                  </a:lnTo>
                  <a:lnTo>
                    <a:pt x="0" y="0"/>
                  </a:lnTo>
                  <a:lnTo>
                    <a:pt x="0" y="0"/>
                  </a:lnTo>
                  <a:lnTo>
                    <a:pt x="0" y="0"/>
                  </a:lnTo>
                  <a:lnTo>
                    <a:pt x="0" y="0"/>
                  </a:lnTo>
                  <a:lnTo>
                    <a:pt x="0" y="0"/>
                  </a:lnTo>
                  <a:lnTo>
                    <a:pt x="0"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6" name="Freeform 52494"/>
            <p:cNvSpPr>
              <a:spLocks/>
            </p:cNvSpPr>
            <p:nvPr/>
          </p:nvSpPr>
          <p:spPr bwMode="auto">
            <a:xfrm>
              <a:off x="3419473" y="4814905"/>
              <a:ext cx="187325" cy="230188"/>
            </a:xfrm>
            <a:custGeom>
              <a:avLst/>
              <a:gdLst>
                <a:gd name="T0" fmla="*/ 45 w 118"/>
                <a:gd name="T1" fmla="*/ 7 h 145"/>
                <a:gd name="T2" fmla="*/ 52 w 118"/>
                <a:gd name="T3" fmla="*/ 12 h 145"/>
                <a:gd name="T4" fmla="*/ 59 w 118"/>
                <a:gd name="T5" fmla="*/ 12 h 145"/>
                <a:gd name="T6" fmla="*/ 61 w 118"/>
                <a:gd name="T7" fmla="*/ 19 h 145"/>
                <a:gd name="T8" fmla="*/ 61 w 118"/>
                <a:gd name="T9" fmla="*/ 19 h 145"/>
                <a:gd name="T10" fmla="*/ 71 w 118"/>
                <a:gd name="T11" fmla="*/ 16 h 145"/>
                <a:gd name="T12" fmla="*/ 78 w 118"/>
                <a:gd name="T13" fmla="*/ 26 h 145"/>
                <a:gd name="T14" fmla="*/ 88 w 118"/>
                <a:gd name="T15" fmla="*/ 28 h 145"/>
                <a:gd name="T16" fmla="*/ 85 w 118"/>
                <a:gd name="T17" fmla="*/ 38 h 145"/>
                <a:gd name="T18" fmla="*/ 88 w 118"/>
                <a:gd name="T19" fmla="*/ 43 h 145"/>
                <a:gd name="T20" fmla="*/ 88 w 118"/>
                <a:gd name="T21" fmla="*/ 50 h 145"/>
                <a:gd name="T22" fmla="*/ 95 w 118"/>
                <a:gd name="T23" fmla="*/ 57 h 145"/>
                <a:gd name="T24" fmla="*/ 97 w 118"/>
                <a:gd name="T25" fmla="*/ 66 h 145"/>
                <a:gd name="T26" fmla="*/ 99 w 118"/>
                <a:gd name="T27" fmla="*/ 71 h 145"/>
                <a:gd name="T28" fmla="*/ 106 w 118"/>
                <a:gd name="T29" fmla="*/ 78 h 145"/>
                <a:gd name="T30" fmla="*/ 111 w 118"/>
                <a:gd name="T31" fmla="*/ 88 h 145"/>
                <a:gd name="T32" fmla="*/ 114 w 118"/>
                <a:gd name="T33" fmla="*/ 97 h 145"/>
                <a:gd name="T34" fmla="*/ 116 w 118"/>
                <a:gd name="T35" fmla="*/ 97 h 145"/>
                <a:gd name="T36" fmla="*/ 111 w 118"/>
                <a:gd name="T37" fmla="*/ 100 h 145"/>
                <a:gd name="T38" fmla="*/ 104 w 118"/>
                <a:gd name="T39" fmla="*/ 97 h 145"/>
                <a:gd name="T40" fmla="*/ 97 w 118"/>
                <a:gd name="T41" fmla="*/ 97 h 145"/>
                <a:gd name="T42" fmla="*/ 90 w 118"/>
                <a:gd name="T43" fmla="*/ 100 h 145"/>
                <a:gd name="T44" fmla="*/ 88 w 118"/>
                <a:gd name="T45" fmla="*/ 92 h 145"/>
                <a:gd name="T46" fmla="*/ 80 w 118"/>
                <a:gd name="T47" fmla="*/ 97 h 145"/>
                <a:gd name="T48" fmla="*/ 78 w 118"/>
                <a:gd name="T49" fmla="*/ 114 h 145"/>
                <a:gd name="T50" fmla="*/ 69 w 118"/>
                <a:gd name="T51" fmla="*/ 128 h 145"/>
                <a:gd name="T52" fmla="*/ 64 w 118"/>
                <a:gd name="T53" fmla="*/ 135 h 145"/>
                <a:gd name="T54" fmla="*/ 54 w 118"/>
                <a:gd name="T55" fmla="*/ 142 h 145"/>
                <a:gd name="T56" fmla="*/ 50 w 118"/>
                <a:gd name="T57" fmla="*/ 140 h 145"/>
                <a:gd name="T58" fmla="*/ 52 w 118"/>
                <a:gd name="T59" fmla="*/ 130 h 145"/>
                <a:gd name="T60" fmla="*/ 50 w 118"/>
                <a:gd name="T61" fmla="*/ 119 h 145"/>
                <a:gd name="T62" fmla="*/ 50 w 118"/>
                <a:gd name="T63" fmla="*/ 111 h 145"/>
                <a:gd name="T64" fmla="*/ 50 w 118"/>
                <a:gd name="T65" fmla="*/ 107 h 145"/>
                <a:gd name="T66" fmla="*/ 52 w 118"/>
                <a:gd name="T67" fmla="*/ 107 h 145"/>
                <a:gd name="T68" fmla="*/ 54 w 118"/>
                <a:gd name="T69" fmla="*/ 102 h 145"/>
                <a:gd name="T70" fmla="*/ 54 w 118"/>
                <a:gd name="T71" fmla="*/ 100 h 145"/>
                <a:gd name="T72" fmla="*/ 54 w 118"/>
                <a:gd name="T73" fmla="*/ 88 h 145"/>
                <a:gd name="T74" fmla="*/ 52 w 118"/>
                <a:gd name="T75" fmla="*/ 83 h 145"/>
                <a:gd name="T76" fmla="*/ 50 w 118"/>
                <a:gd name="T77" fmla="*/ 73 h 145"/>
                <a:gd name="T78" fmla="*/ 45 w 118"/>
                <a:gd name="T79" fmla="*/ 69 h 145"/>
                <a:gd name="T80" fmla="*/ 40 w 118"/>
                <a:gd name="T81" fmla="*/ 66 h 145"/>
                <a:gd name="T82" fmla="*/ 38 w 118"/>
                <a:gd name="T83" fmla="*/ 62 h 145"/>
                <a:gd name="T84" fmla="*/ 33 w 118"/>
                <a:gd name="T85" fmla="*/ 54 h 145"/>
                <a:gd name="T86" fmla="*/ 31 w 118"/>
                <a:gd name="T87" fmla="*/ 50 h 145"/>
                <a:gd name="T88" fmla="*/ 28 w 118"/>
                <a:gd name="T89" fmla="*/ 47 h 145"/>
                <a:gd name="T90" fmla="*/ 21 w 118"/>
                <a:gd name="T91" fmla="*/ 38 h 145"/>
                <a:gd name="T92" fmla="*/ 19 w 118"/>
                <a:gd name="T93" fmla="*/ 28 h 145"/>
                <a:gd name="T94" fmla="*/ 14 w 118"/>
                <a:gd name="T95" fmla="*/ 21 h 145"/>
                <a:gd name="T96" fmla="*/ 12 w 118"/>
                <a:gd name="T97" fmla="*/ 16 h 145"/>
                <a:gd name="T98" fmla="*/ 4 w 118"/>
                <a:gd name="T99" fmla="*/ 12 h 145"/>
                <a:gd name="T100" fmla="*/ 7 w 118"/>
                <a:gd name="T101" fmla="*/ 9 h 145"/>
                <a:gd name="T102" fmla="*/ 14 w 118"/>
                <a:gd name="T103" fmla="*/ 7 h 145"/>
                <a:gd name="T104" fmla="*/ 19 w 118"/>
                <a:gd name="T105" fmla="*/ 5 h 145"/>
                <a:gd name="T106" fmla="*/ 23 w 118"/>
                <a:gd name="T107" fmla="*/ 2 h 145"/>
                <a:gd name="T108" fmla="*/ 33 w 118"/>
                <a:gd name="T10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145">
                  <a:moveTo>
                    <a:pt x="35" y="2"/>
                  </a:moveTo>
                  <a:lnTo>
                    <a:pt x="38" y="2"/>
                  </a:lnTo>
                  <a:lnTo>
                    <a:pt x="40" y="2"/>
                  </a:lnTo>
                  <a:lnTo>
                    <a:pt x="40" y="5"/>
                  </a:lnTo>
                  <a:lnTo>
                    <a:pt x="42" y="5"/>
                  </a:lnTo>
                  <a:lnTo>
                    <a:pt x="42" y="7"/>
                  </a:lnTo>
                  <a:lnTo>
                    <a:pt x="45" y="7"/>
                  </a:lnTo>
                  <a:lnTo>
                    <a:pt x="45" y="9"/>
                  </a:lnTo>
                  <a:lnTo>
                    <a:pt x="47" y="9"/>
                  </a:lnTo>
                  <a:lnTo>
                    <a:pt x="50" y="9"/>
                  </a:lnTo>
                  <a:lnTo>
                    <a:pt x="50" y="12"/>
                  </a:lnTo>
                  <a:lnTo>
                    <a:pt x="50" y="14"/>
                  </a:lnTo>
                  <a:lnTo>
                    <a:pt x="50" y="12"/>
                  </a:lnTo>
                  <a:lnTo>
                    <a:pt x="52" y="12"/>
                  </a:lnTo>
                  <a:lnTo>
                    <a:pt x="52" y="14"/>
                  </a:lnTo>
                  <a:lnTo>
                    <a:pt x="54" y="14"/>
                  </a:lnTo>
                  <a:lnTo>
                    <a:pt x="57" y="14"/>
                  </a:lnTo>
                  <a:lnTo>
                    <a:pt x="57" y="12"/>
                  </a:lnTo>
                  <a:lnTo>
                    <a:pt x="57" y="14"/>
                  </a:lnTo>
                  <a:lnTo>
                    <a:pt x="57" y="12"/>
                  </a:lnTo>
                  <a:lnTo>
                    <a:pt x="59" y="12"/>
                  </a:lnTo>
                  <a:lnTo>
                    <a:pt x="59" y="14"/>
                  </a:lnTo>
                  <a:lnTo>
                    <a:pt x="57" y="16"/>
                  </a:lnTo>
                  <a:lnTo>
                    <a:pt x="57" y="19"/>
                  </a:lnTo>
                  <a:lnTo>
                    <a:pt x="57" y="16"/>
                  </a:lnTo>
                  <a:lnTo>
                    <a:pt x="59" y="16"/>
                  </a:lnTo>
                  <a:lnTo>
                    <a:pt x="61" y="16"/>
                  </a:lnTo>
                  <a:lnTo>
                    <a:pt x="61" y="19"/>
                  </a:lnTo>
                  <a:lnTo>
                    <a:pt x="59" y="19"/>
                  </a:lnTo>
                  <a:lnTo>
                    <a:pt x="61" y="19"/>
                  </a:lnTo>
                  <a:lnTo>
                    <a:pt x="61" y="21"/>
                  </a:lnTo>
                  <a:lnTo>
                    <a:pt x="64" y="21"/>
                  </a:lnTo>
                  <a:lnTo>
                    <a:pt x="61" y="21"/>
                  </a:lnTo>
                  <a:lnTo>
                    <a:pt x="64" y="19"/>
                  </a:lnTo>
                  <a:lnTo>
                    <a:pt x="61" y="19"/>
                  </a:lnTo>
                  <a:lnTo>
                    <a:pt x="64" y="19"/>
                  </a:lnTo>
                  <a:lnTo>
                    <a:pt x="64" y="16"/>
                  </a:lnTo>
                  <a:lnTo>
                    <a:pt x="66" y="16"/>
                  </a:lnTo>
                  <a:lnTo>
                    <a:pt x="69" y="16"/>
                  </a:lnTo>
                  <a:lnTo>
                    <a:pt x="69" y="19"/>
                  </a:lnTo>
                  <a:lnTo>
                    <a:pt x="71" y="19"/>
                  </a:lnTo>
                  <a:lnTo>
                    <a:pt x="71" y="16"/>
                  </a:lnTo>
                  <a:lnTo>
                    <a:pt x="71" y="19"/>
                  </a:lnTo>
                  <a:lnTo>
                    <a:pt x="73" y="19"/>
                  </a:lnTo>
                  <a:lnTo>
                    <a:pt x="76" y="19"/>
                  </a:lnTo>
                  <a:lnTo>
                    <a:pt x="73" y="21"/>
                  </a:lnTo>
                  <a:lnTo>
                    <a:pt x="73" y="24"/>
                  </a:lnTo>
                  <a:lnTo>
                    <a:pt x="76" y="24"/>
                  </a:lnTo>
                  <a:lnTo>
                    <a:pt x="78" y="26"/>
                  </a:lnTo>
                  <a:lnTo>
                    <a:pt x="80" y="26"/>
                  </a:lnTo>
                  <a:lnTo>
                    <a:pt x="83" y="26"/>
                  </a:lnTo>
                  <a:lnTo>
                    <a:pt x="83" y="24"/>
                  </a:lnTo>
                  <a:lnTo>
                    <a:pt x="85" y="24"/>
                  </a:lnTo>
                  <a:lnTo>
                    <a:pt x="85" y="26"/>
                  </a:lnTo>
                  <a:lnTo>
                    <a:pt x="85" y="31"/>
                  </a:lnTo>
                  <a:lnTo>
                    <a:pt x="88" y="28"/>
                  </a:lnTo>
                  <a:lnTo>
                    <a:pt x="88" y="31"/>
                  </a:lnTo>
                  <a:lnTo>
                    <a:pt x="85" y="31"/>
                  </a:lnTo>
                  <a:lnTo>
                    <a:pt x="85" y="33"/>
                  </a:lnTo>
                  <a:lnTo>
                    <a:pt x="88" y="33"/>
                  </a:lnTo>
                  <a:lnTo>
                    <a:pt x="88" y="35"/>
                  </a:lnTo>
                  <a:lnTo>
                    <a:pt x="88" y="38"/>
                  </a:lnTo>
                  <a:lnTo>
                    <a:pt x="85" y="38"/>
                  </a:lnTo>
                  <a:lnTo>
                    <a:pt x="88" y="38"/>
                  </a:lnTo>
                  <a:lnTo>
                    <a:pt x="88" y="40"/>
                  </a:lnTo>
                  <a:lnTo>
                    <a:pt x="85" y="40"/>
                  </a:lnTo>
                  <a:lnTo>
                    <a:pt x="88" y="40"/>
                  </a:lnTo>
                  <a:lnTo>
                    <a:pt x="88" y="43"/>
                  </a:lnTo>
                  <a:lnTo>
                    <a:pt x="85" y="43"/>
                  </a:lnTo>
                  <a:lnTo>
                    <a:pt x="88" y="43"/>
                  </a:lnTo>
                  <a:lnTo>
                    <a:pt x="85" y="43"/>
                  </a:lnTo>
                  <a:lnTo>
                    <a:pt x="85" y="45"/>
                  </a:lnTo>
                  <a:lnTo>
                    <a:pt x="83" y="45"/>
                  </a:lnTo>
                  <a:lnTo>
                    <a:pt x="85" y="47"/>
                  </a:lnTo>
                  <a:lnTo>
                    <a:pt x="85" y="50"/>
                  </a:lnTo>
                  <a:lnTo>
                    <a:pt x="85" y="52"/>
                  </a:lnTo>
                  <a:lnTo>
                    <a:pt x="88" y="50"/>
                  </a:lnTo>
                  <a:lnTo>
                    <a:pt x="88" y="52"/>
                  </a:lnTo>
                  <a:lnTo>
                    <a:pt x="90" y="52"/>
                  </a:lnTo>
                  <a:lnTo>
                    <a:pt x="90" y="50"/>
                  </a:lnTo>
                  <a:lnTo>
                    <a:pt x="90" y="54"/>
                  </a:lnTo>
                  <a:lnTo>
                    <a:pt x="92" y="54"/>
                  </a:lnTo>
                  <a:lnTo>
                    <a:pt x="92" y="57"/>
                  </a:lnTo>
                  <a:lnTo>
                    <a:pt x="95" y="57"/>
                  </a:lnTo>
                  <a:lnTo>
                    <a:pt x="95" y="54"/>
                  </a:lnTo>
                  <a:lnTo>
                    <a:pt x="97" y="54"/>
                  </a:lnTo>
                  <a:lnTo>
                    <a:pt x="99" y="54"/>
                  </a:lnTo>
                  <a:lnTo>
                    <a:pt x="99" y="59"/>
                  </a:lnTo>
                  <a:lnTo>
                    <a:pt x="97" y="59"/>
                  </a:lnTo>
                  <a:lnTo>
                    <a:pt x="99" y="66"/>
                  </a:lnTo>
                  <a:lnTo>
                    <a:pt x="97" y="66"/>
                  </a:lnTo>
                  <a:lnTo>
                    <a:pt x="95" y="66"/>
                  </a:lnTo>
                  <a:lnTo>
                    <a:pt x="97" y="66"/>
                  </a:lnTo>
                  <a:lnTo>
                    <a:pt x="97" y="69"/>
                  </a:lnTo>
                  <a:lnTo>
                    <a:pt x="97" y="66"/>
                  </a:lnTo>
                  <a:lnTo>
                    <a:pt x="99" y="66"/>
                  </a:lnTo>
                  <a:lnTo>
                    <a:pt x="99" y="69"/>
                  </a:lnTo>
                  <a:lnTo>
                    <a:pt x="99" y="71"/>
                  </a:lnTo>
                  <a:lnTo>
                    <a:pt x="99" y="73"/>
                  </a:lnTo>
                  <a:lnTo>
                    <a:pt x="97" y="73"/>
                  </a:lnTo>
                  <a:lnTo>
                    <a:pt x="99" y="73"/>
                  </a:lnTo>
                  <a:lnTo>
                    <a:pt x="102" y="76"/>
                  </a:lnTo>
                  <a:lnTo>
                    <a:pt x="104" y="76"/>
                  </a:lnTo>
                  <a:lnTo>
                    <a:pt x="104" y="78"/>
                  </a:lnTo>
                  <a:lnTo>
                    <a:pt x="106" y="78"/>
                  </a:lnTo>
                  <a:lnTo>
                    <a:pt x="109" y="78"/>
                  </a:lnTo>
                  <a:lnTo>
                    <a:pt x="109" y="81"/>
                  </a:lnTo>
                  <a:lnTo>
                    <a:pt x="111" y="78"/>
                  </a:lnTo>
                  <a:lnTo>
                    <a:pt x="111" y="81"/>
                  </a:lnTo>
                  <a:lnTo>
                    <a:pt x="111" y="83"/>
                  </a:lnTo>
                  <a:lnTo>
                    <a:pt x="111" y="85"/>
                  </a:lnTo>
                  <a:lnTo>
                    <a:pt x="111" y="88"/>
                  </a:lnTo>
                  <a:lnTo>
                    <a:pt x="111" y="90"/>
                  </a:lnTo>
                  <a:lnTo>
                    <a:pt x="111" y="92"/>
                  </a:lnTo>
                  <a:lnTo>
                    <a:pt x="109" y="92"/>
                  </a:lnTo>
                  <a:lnTo>
                    <a:pt x="109" y="95"/>
                  </a:lnTo>
                  <a:lnTo>
                    <a:pt x="111" y="95"/>
                  </a:lnTo>
                  <a:lnTo>
                    <a:pt x="111" y="97"/>
                  </a:lnTo>
                  <a:lnTo>
                    <a:pt x="114" y="97"/>
                  </a:lnTo>
                  <a:lnTo>
                    <a:pt x="111" y="97"/>
                  </a:lnTo>
                  <a:lnTo>
                    <a:pt x="114" y="97"/>
                  </a:lnTo>
                  <a:lnTo>
                    <a:pt x="114" y="100"/>
                  </a:lnTo>
                  <a:lnTo>
                    <a:pt x="116" y="100"/>
                  </a:lnTo>
                  <a:lnTo>
                    <a:pt x="116" y="97"/>
                  </a:lnTo>
                  <a:lnTo>
                    <a:pt x="116" y="100"/>
                  </a:lnTo>
                  <a:lnTo>
                    <a:pt x="116" y="97"/>
                  </a:lnTo>
                  <a:lnTo>
                    <a:pt x="116" y="100"/>
                  </a:lnTo>
                  <a:lnTo>
                    <a:pt x="118" y="100"/>
                  </a:lnTo>
                  <a:lnTo>
                    <a:pt x="116" y="102"/>
                  </a:lnTo>
                  <a:lnTo>
                    <a:pt x="116" y="100"/>
                  </a:lnTo>
                  <a:lnTo>
                    <a:pt x="114" y="100"/>
                  </a:lnTo>
                  <a:lnTo>
                    <a:pt x="114" y="102"/>
                  </a:lnTo>
                  <a:lnTo>
                    <a:pt x="111" y="100"/>
                  </a:lnTo>
                  <a:lnTo>
                    <a:pt x="111" y="102"/>
                  </a:lnTo>
                  <a:lnTo>
                    <a:pt x="111" y="100"/>
                  </a:lnTo>
                  <a:lnTo>
                    <a:pt x="109" y="102"/>
                  </a:lnTo>
                  <a:lnTo>
                    <a:pt x="106" y="100"/>
                  </a:lnTo>
                  <a:lnTo>
                    <a:pt x="104" y="100"/>
                  </a:lnTo>
                  <a:lnTo>
                    <a:pt x="106" y="100"/>
                  </a:lnTo>
                  <a:lnTo>
                    <a:pt x="104" y="97"/>
                  </a:lnTo>
                  <a:lnTo>
                    <a:pt x="102" y="100"/>
                  </a:lnTo>
                  <a:lnTo>
                    <a:pt x="102" y="97"/>
                  </a:lnTo>
                  <a:lnTo>
                    <a:pt x="102" y="102"/>
                  </a:lnTo>
                  <a:lnTo>
                    <a:pt x="99" y="102"/>
                  </a:lnTo>
                  <a:lnTo>
                    <a:pt x="97" y="100"/>
                  </a:lnTo>
                  <a:lnTo>
                    <a:pt x="95" y="97"/>
                  </a:lnTo>
                  <a:lnTo>
                    <a:pt x="97" y="97"/>
                  </a:lnTo>
                  <a:lnTo>
                    <a:pt x="95" y="95"/>
                  </a:lnTo>
                  <a:lnTo>
                    <a:pt x="92" y="97"/>
                  </a:lnTo>
                  <a:lnTo>
                    <a:pt x="92" y="100"/>
                  </a:lnTo>
                  <a:lnTo>
                    <a:pt x="92" y="97"/>
                  </a:lnTo>
                  <a:lnTo>
                    <a:pt x="90" y="95"/>
                  </a:lnTo>
                  <a:lnTo>
                    <a:pt x="90" y="97"/>
                  </a:lnTo>
                  <a:lnTo>
                    <a:pt x="90" y="100"/>
                  </a:lnTo>
                  <a:lnTo>
                    <a:pt x="88" y="100"/>
                  </a:lnTo>
                  <a:lnTo>
                    <a:pt x="88" y="102"/>
                  </a:lnTo>
                  <a:lnTo>
                    <a:pt x="85" y="100"/>
                  </a:lnTo>
                  <a:lnTo>
                    <a:pt x="88" y="100"/>
                  </a:lnTo>
                  <a:lnTo>
                    <a:pt x="88" y="97"/>
                  </a:lnTo>
                  <a:lnTo>
                    <a:pt x="88" y="95"/>
                  </a:lnTo>
                  <a:lnTo>
                    <a:pt x="88" y="92"/>
                  </a:lnTo>
                  <a:lnTo>
                    <a:pt x="85" y="92"/>
                  </a:lnTo>
                  <a:lnTo>
                    <a:pt x="85" y="95"/>
                  </a:lnTo>
                  <a:lnTo>
                    <a:pt x="83" y="95"/>
                  </a:lnTo>
                  <a:lnTo>
                    <a:pt x="80" y="95"/>
                  </a:lnTo>
                  <a:lnTo>
                    <a:pt x="78" y="95"/>
                  </a:lnTo>
                  <a:lnTo>
                    <a:pt x="78" y="97"/>
                  </a:lnTo>
                  <a:lnTo>
                    <a:pt x="80" y="97"/>
                  </a:lnTo>
                  <a:lnTo>
                    <a:pt x="78" y="97"/>
                  </a:lnTo>
                  <a:lnTo>
                    <a:pt x="78" y="100"/>
                  </a:lnTo>
                  <a:lnTo>
                    <a:pt x="78" y="102"/>
                  </a:lnTo>
                  <a:lnTo>
                    <a:pt x="78" y="104"/>
                  </a:lnTo>
                  <a:lnTo>
                    <a:pt x="78" y="107"/>
                  </a:lnTo>
                  <a:lnTo>
                    <a:pt x="80" y="109"/>
                  </a:lnTo>
                  <a:lnTo>
                    <a:pt x="78" y="114"/>
                  </a:lnTo>
                  <a:lnTo>
                    <a:pt x="80" y="116"/>
                  </a:lnTo>
                  <a:lnTo>
                    <a:pt x="78" y="119"/>
                  </a:lnTo>
                  <a:lnTo>
                    <a:pt x="73" y="119"/>
                  </a:lnTo>
                  <a:lnTo>
                    <a:pt x="71" y="121"/>
                  </a:lnTo>
                  <a:lnTo>
                    <a:pt x="71" y="123"/>
                  </a:lnTo>
                  <a:lnTo>
                    <a:pt x="73" y="126"/>
                  </a:lnTo>
                  <a:lnTo>
                    <a:pt x="69" y="128"/>
                  </a:lnTo>
                  <a:lnTo>
                    <a:pt x="66" y="130"/>
                  </a:lnTo>
                  <a:lnTo>
                    <a:pt x="64" y="133"/>
                  </a:lnTo>
                  <a:lnTo>
                    <a:pt x="64" y="130"/>
                  </a:lnTo>
                  <a:lnTo>
                    <a:pt x="64" y="133"/>
                  </a:lnTo>
                  <a:lnTo>
                    <a:pt x="61" y="133"/>
                  </a:lnTo>
                  <a:lnTo>
                    <a:pt x="61" y="135"/>
                  </a:lnTo>
                  <a:lnTo>
                    <a:pt x="64" y="135"/>
                  </a:lnTo>
                  <a:lnTo>
                    <a:pt x="64" y="138"/>
                  </a:lnTo>
                  <a:lnTo>
                    <a:pt x="61" y="140"/>
                  </a:lnTo>
                  <a:lnTo>
                    <a:pt x="64" y="142"/>
                  </a:lnTo>
                  <a:lnTo>
                    <a:pt x="61" y="142"/>
                  </a:lnTo>
                  <a:lnTo>
                    <a:pt x="59" y="142"/>
                  </a:lnTo>
                  <a:lnTo>
                    <a:pt x="57" y="140"/>
                  </a:lnTo>
                  <a:lnTo>
                    <a:pt x="54" y="142"/>
                  </a:lnTo>
                  <a:lnTo>
                    <a:pt x="54" y="145"/>
                  </a:lnTo>
                  <a:lnTo>
                    <a:pt x="52" y="145"/>
                  </a:lnTo>
                  <a:lnTo>
                    <a:pt x="52" y="142"/>
                  </a:lnTo>
                  <a:lnTo>
                    <a:pt x="52" y="140"/>
                  </a:lnTo>
                  <a:lnTo>
                    <a:pt x="52" y="138"/>
                  </a:lnTo>
                  <a:lnTo>
                    <a:pt x="52" y="140"/>
                  </a:lnTo>
                  <a:lnTo>
                    <a:pt x="50" y="140"/>
                  </a:lnTo>
                  <a:lnTo>
                    <a:pt x="50" y="138"/>
                  </a:lnTo>
                  <a:lnTo>
                    <a:pt x="50" y="135"/>
                  </a:lnTo>
                  <a:lnTo>
                    <a:pt x="50" y="138"/>
                  </a:lnTo>
                  <a:lnTo>
                    <a:pt x="52" y="138"/>
                  </a:lnTo>
                  <a:lnTo>
                    <a:pt x="52" y="135"/>
                  </a:lnTo>
                  <a:lnTo>
                    <a:pt x="52" y="133"/>
                  </a:lnTo>
                  <a:lnTo>
                    <a:pt x="52" y="130"/>
                  </a:lnTo>
                  <a:lnTo>
                    <a:pt x="52" y="128"/>
                  </a:lnTo>
                  <a:lnTo>
                    <a:pt x="52" y="130"/>
                  </a:lnTo>
                  <a:lnTo>
                    <a:pt x="50" y="128"/>
                  </a:lnTo>
                  <a:lnTo>
                    <a:pt x="50" y="126"/>
                  </a:lnTo>
                  <a:lnTo>
                    <a:pt x="50" y="123"/>
                  </a:lnTo>
                  <a:lnTo>
                    <a:pt x="50" y="121"/>
                  </a:lnTo>
                  <a:lnTo>
                    <a:pt x="50" y="119"/>
                  </a:lnTo>
                  <a:lnTo>
                    <a:pt x="50" y="116"/>
                  </a:lnTo>
                  <a:lnTo>
                    <a:pt x="50" y="114"/>
                  </a:lnTo>
                  <a:lnTo>
                    <a:pt x="52" y="114"/>
                  </a:lnTo>
                  <a:lnTo>
                    <a:pt x="50" y="114"/>
                  </a:lnTo>
                  <a:lnTo>
                    <a:pt x="50" y="111"/>
                  </a:lnTo>
                  <a:lnTo>
                    <a:pt x="52" y="111"/>
                  </a:lnTo>
                  <a:lnTo>
                    <a:pt x="50" y="111"/>
                  </a:lnTo>
                  <a:lnTo>
                    <a:pt x="52" y="111"/>
                  </a:lnTo>
                  <a:lnTo>
                    <a:pt x="50" y="111"/>
                  </a:lnTo>
                  <a:lnTo>
                    <a:pt x="50" y="109"/>
                  </a:lnTo>
                  <a:lnTo>
                    <a:pt x="52" y="111"/>
                  </a:lnTo>
                  <a:lnTo>
                    <a:pt x="52" y="109"/>
                  </a:lnTo>
                  <a:lnTo>
                    <a:pt x="50" y="109"/>
                  </a:lnTo>
                  <a:lnTo>
                    <a:pt x="50" y="107"/>
                  </a:lnTo>
                  <a:lnTo>
                    <a:pt x="52" y="107"/>
                  </a:lnTo>
                  <a:lnTo>
                    <a:pt x="50" y="107"/>
                  </a:lnTo>
                  <a:lnTo>
                    <a:pt x="52" y="107"/>
                  </a:lnTo>
                  <a:lnTo>
                    <a:pt x="52" y="104"/>
                  </a:lnTo>
                  <a:lnTo>
                    <a:pt x="52" y="107"/>
                  </a:lnTo>
                  <a:lnTo>
                    <a:pt x="52" y="104"/>
                  </a:lnTo>
                  <a:lnTo>
                    <a:pt x="52" y="107"/>
                  </a:lnTo>
                  <a:lnTo>
                    <a:pt x="52" y="104"/>
                  </a:lnTo>
                  <a:lnTo>
                    <a:pt x="54" y="104"/>
                  </a:lnTo>
                  <a:lnTo>
                    <a:pt x="52" y="104"/>
                  </a:lnTo>
                  <a:lnTo>
                    <a:pt x="52" y="102"/>
                  </a:lnTo>
                  <a:lnTo>
                    <a:pt x="52" y="104"/>
                  </a:lnTo>
                  <a:lnTo>
                    <a:pt x="52" y="102"/>
                  </a:lnTo>
                  <a:lnTo>
                    <a:pt x="54" y="102"/>
                  </a:lnTo>
                  <a:lnTo>
                    <a:pt x="52" y="102"/>
                  </a:lnTo>
                  <a:lnTo>
                    <a:pt x="54" y="102"/>
                  </a:lnTo>
                  <a:lnTo>
                    <a:pt x="52" y="102"/>
                  </a:lnTo>
                  <a:lnTo>
                    <a:pt x="54" y="102"/>
                  </a:lnTo>
                  <a:lnTo>
                    <a:pt x="52" y="102"/>
                  </a:lnTo>
                  <a:lnTo>
                    <a:pt x="54" y="102"/>
                  </a:lnTo>
                  <a:lnTo>
                    <a:pt x="54" y="100"/>
                  </a:lnTo>
                  <a:lnTo>
                    <a:pt x="54" y="97"/>
                  </a:lnTo>
                  <a:lnTo>
                    <a:pt x="54" y="95"/>
                  </a:lnTo>
                  <a:lnTo>
                    <a:pt x="54" y="92"/>
                  </a:lnTo>
                  <a:lnTo>
                    <a:pt x="54" y="95"/>
                  </a:lnTo>
                  <a:lnTo>
                    <a:pt x="54" y="92"/>
                  </a:lnTo>
                  <a:lnTo>
                    <a:pt x="54" y="90"/>
                  </a:lnTo>
                  <a:lnTo>
                    <a:pt x="54" y="88"/>
                  </a:lnTo>
                  <a:lnTo>
                    <a:pt x="54" y="85"/>
                  </a:lnTo>
                  <a:lnTo>
                    <a:pt x="54" y="88"/>
                  </a:lnTo>
                  <a:lnTo>
                    <a:pt x="54" y="85"/>
                  </a:lnTo>
                  <a:lnTo>
                    <a:pt x="52" y="85"/>
                  </a:lnTo>
                  <a:lnTo>
                    <a:pt x="54" y="85"/>
                  </a:lnTo>
                  <a:lnTo>
                    <a:pt x="52" y="85"/>
                  </a:lnTo>
                  <a:lnTo>
                    <a:pt x="52" y="83"/>
                  </a:lnTo>
                  <a:lnTo>
                    <a:pt x="52" y="81"/>
                  </a:lnTo>
                  <a:lnTo>
                    <a:pt x="52" y="83"/>
                  </a:lnTo>
                  <a:lnTo>
                    <a:pt x="52" y="81"/>
                  </a:lnTo>
                  <a:lnTo>
                    <a:pt x="50" y="81"/>
                  </a:lnTo>
                  <a:lnTo>
                    <a:pt x="50" y="78"/>
                  </a:lnTo>
                  <a:lnTo>
                    <a:pt x="50" y="76"/>
                  </a:lnTo>
                  <a:lnTo>
                    <a:pt x="50" y="73"/>
                  </a:lnTo>
                  <a:lnTo>
                    <a:pt x="50" y="76"/>
                  </a:lnTo>
                  <a:lnTo>
                    <a:pt x="50" y="73"/>
                  </a:lnTo>
                  <a:lnTo>
                    <a:pt x="50" y="71"/>
                  </a:lnTo>
                  <a:lnTo>
                    <a:pt x="47" y="71"/>
                  </a:lnTo>
                  <a:lnTo>
                    <a:pt x="47" y="69"/>
                  </a:lnTo>
                  <a:lnTo>
                    <a:pt x="45" y="71"/>
                  </a:lnTo>
                  <a:lnTo>
                    <a:pt x="45" y="69"/>
                  </a:lnTo>
                  <a:lnTo>
                    <a:pt x="42" y="69"/>
                  </a:lnTo>
                  <a:lnTo>
                    <a:pt x="42" y="66"/>
                  </a:lnTo>
                  <a:lnTo>
                    <a:pt x="40" y="66"/>
                  </a:lnTo>
                  <a:lnTo>
                    <a:pt x="42" y="66"/>
                  </a:lnTo>
                  <a:lnTo>
                    <a:pt x="40" y="66"/>
                  </a:lnTo>
                  <a:lnTo>
                    <a:pt x="40" y="64"/>
                  </a:lnTo>
                  <a:lnTo>
                    <a:pt x="40" y="66"/>
                  </a:lnTo>
                  <a:lnTo>
                    <a:pt x="40" y="64"/>
                  </a:lnTo>
                  <a:lnTo>
                    <a:pt x="40" y="62"/>
                  </a:lnTo>
                  <a:lnTo>
                    <a:pt x="38" y="62"/>
                  </a:lnTo>
                  <a:lnTo>
                    <a:pt x="40" y="62"/>
                  </a:lnTo>
                  <a:lnTo>
                    <a:pt x="38" y="62"/>
                  </a:lnTo>
                  <a:lnTo>
                    <a:pt x="38" y="59"/>
                  </a:lnTo>
                  <a:lnTo>
                    <a:pt x="38" y="62"/>
                  </a:lnTo>
                  <a:lnTo>
                    <a:pt x="38" y="59"/>
                  </a:lnTo>
                  <a:lnTo>
                    <a:pt x="38" y="57"/>
                  </a:lnTo>
                  <a:lnTo>
                    <a:pt x="35" y="57"/>
                  </a:lnTo>
                  <a:lnTo>
                    <a:pt x="35" y="59"/>
                  </a:lnTo>
                  <a:lnTo>
                    <a:pt x="35" y="57"/>
                  </a:lnTo>
                  <a:lnTo>
                    <a:pt x="33" y="57"/>
                  </a:lnTo>
                  <a:lnTo>
                    <a:pt x="33" y="54"/>
                  </a:lnTo>
                  <a:lnTo>
                    <a:pt x="33" y="52"/>
                  </a:lnTo>
                  <a:lnTo>
                    <a:pt x="31" y="52"/>
                  </a:lnTo>
                  <a:lnTo>
                    <a:pt x="33" y="52"/>
                  </a:lnTo>
                  <a:lnTo>
                    <a:pt x="33" y="50"/>
                  </a:lnTo>
                  <a:lnTo>
                    <a:pt x="31" y="50"/>
                  </a:lnTo>
                  <a:lnTo>
                    <a:pt x="33" y="50"/>
                  </a:lnTo>
                  <a:lnTo>
                    <a:pt x="31" y="50"/>
                  </a:lnTo>
                  <a:lnTo>
                    <a:pt x="31" y="47"/>
                  </a:lnTo>
                  <a:lnTo>
                    <a:pt x="31" y="50"/>
                  </a:lnTo>
                  <a:lnTo>
                    <a:pt x="31" y="47"/>
                  </a:lnTo>
                  <a:lnTo>
                    <a:pt x="31" y="50"/>
                  </a:lnTo>
                  <a:lnTo>
                    <a:pt x="31" y="47"/>
                  </a:lnTo>
                  <a:lnTo>
                    <a:pt x="28" y="50"/>
                  </a:lnTo>
                  <a:lnTo>
                    <a:pt x="28" y="47"/>
                  </a:lnTo>
                  <a:lnTo>
                    <a:pt x="28" y="45"/>
                  </a:lnTo>
                  <a:lnTo>
                    <a:pt x="26" y="45"/>
                  </a:lnTo>
                  <a:lnTo>
                    <a:pt x="26" y="43"/>
                  </a:lnTo>
                  <a:lnTo>
                    <a:pt x="23" y="43"/>
                  </a:lnTo>
                  <a:lnTo>
                    <a:pt x="23" y="40"/>
                  </a:lnTo>
                  <a:lnTo>
                    <a:pt x="23" y="38"/>
                  </a:lnTo>
                  <a:lnTo>
                    <a:pt x="21" y="38"/>
                  </a:lnTo>
                  <a:lnTo>
                    <a:pt x="23" y="38"/>
                  </a:lnTo>
                  <a:lnTo>
                    <a:pt x="23" y="35"/>
                  </a:lnTo>
                  <a:lnTo>
                    <a:pt x="21" y="35"/>
                  </a:lnTo>
                  <a:lnTo>
                    <a:pt x="21" y="33"/>
                  </a:lnTo>
                  <a:lnTo>
                    <a:pt x="21" y="31"/>
                  </a:lnTo>
                  <a:lnTo>
                    <a:pt x="21" y="28"/>
                  </a:lnTo>
                  <a:lnTo>
                    <a:pt x="19" y="28"/>
                  </a:lnTo>
                  <a:lnTo>
                    <a:pt x="19" y="26"/>
                  </a:lnTo>
                  <a:lnTo>
                    <a:pt x="19" y="24"/>
                  </a:lnTo>
                  <a:lnTo>
                    <a:pt x="16" y="24"/>
                  </a:lnTo>
                  <a:lnTo>
                    <a:pt x="19" y="24"/>
                  </a:lnTo>
                  <a:lnTo>
                    <a:pt x="16" y="24"/>
                  </a:lnTo>
                  <a:lnTo>
                    <a:pt x="16" y="21"/>
                  </a:lnTo>
                  <a:lnTo>
                    <a:pt x="14" y="21"/>
                  </a:lnTo>
                  <a:lnTo>
                    <a:pt x="14" y="19"/>
                  </a:lnTo>
                  <a:lnTo>
                    <a:pt x="14" y="16"/>
                  </a:lnTo>
                  <a:lnTo>
                    <a:pt x="14" y="19"/>
                  </a:lnTo>
                  <a:lnTo>
                    <a:pt x="12" y="19"/>
                  </a:lnTo>
                  <a:lnTo>
                    <a:pt x="12" y="16"/>
                  </a:lnTo>
                  <a:lnTo>
                    <a:pt x="14" y="16"/>
                  </a:lnTo>
                  <a:lnTo>
                    <a:pt x="12" y="16"/>
                  </a:lnTo>
                  <a:lnTo>
                    <a:pt x="12" y="14"/>
                  </a:lnTo>
                  <a:lnTo>
                    <a:pt x="12" y="16"/>
                  </a:lnTo>
                  <a:lnTo>
                    <a:pt x="9" y="16"/>
                  </a:lnTo>
                  <a:lnTo>
                    <a:pt x="9" y="14"/>
                  </a:lnTo>
                  <a:lnTo>
                    <a:pt x="7" y="14"/>
                  </a:lnTo>
                  <a:lnTo>
                    <a:pt x="7" y="12"/>
                  </a:lnTo>
                  <a:lnTo>
                    <a:pt x="4" y="12"/>
                  </a:lnTo>
                  <a:lnTo>
                    <a:pt x="2" y="12"/>
                  </a:lnTo>
                  <a:lnTo>
                    <a:pt x="0" y="12"/>
                  </a:lnTo>
                  <a:lnTo>
                    <a:pt x="2" y="9"/>
                  </a:lnTo>
                  <a:lnTo>
                    <a:pt x="2" y="7"/>
                  </a:lnTo>
                  <a:lnTo>
                    <a:pt x="4" y="7"/>
                  </a:lnTo>
                  <a:lnTo>
                    <a:pt x="4" y="9"/>
                  </a:lnTo>
                  <a:lnTo>
                    <a:pt x="7" y="9"/>
                  </a:lnTo>
                  <a:lnTo>
                    <a:pt x="7" y="7"/>
                  </a:lnTo>
                  <a:lnTo>
                    <a:pt x="4" y="7"/>
                  </a:lnTo>
                  <a:lnTo>
                    <a:pt x="4" y="5"/>
                  </a:lnTo>
                  <a:lnTo>
                    <a:pt x="7" y="5"/>
                  </a:lnTo>
                  <a:lnTo>
                    <a:pt x="9" y="5"/>
                  </a:lnTo>
                  <a:lnTo>
                    <a:pt x="12" y="7"/>
                  </a:lnTo>
                  <a:lnTo>
                    <a:pt x="14" y="7"/>
                  </a:lnTo>
                  <a:lnTo>
                    <a:pt x="14" y="5"/>
                  </a:lnTo>
                  <a:lnTo>
                    <a:pt x="16" y="5"/>
                  </a:lnTo>
                  <a:lnTo>
                    <a:pt x="16" y="2"/>
                  </a:lnTo>
                  <a:lnTo>
                    <a:pt x="16" y="5"/>
                  </a:lnTo>
                  <a:lnTo>
                    <a:pt x="16" y="7"/>
                  </a:lnTo>
                  <a:lnTo>
                    <a:pt x="19" y="7"/>
                  </a:lnTo>
                  <a:lnTo>
                    <a:pt x="19" y="5"/>
                  </a:lnTo>
                  <a:lnTo>
                    <a:pt x="19" y="7"/>
                  </a:lnTo>
                  <a:lnTo>
                    <a:pt x="19" y="5"/>
                  </a:lnTo>
                  <a:lnTo>
                    <a:pt x="21" y="5"/>
                  </a:lnTo>
                  <a:lnTo>
                    <a:pt x="21" y="7"/>
                  </a:lnTo>
                  <a:lnTo>
                    <a:pt x="23" y="7"/>
                  </a:lnTo>
                  <a:lnTo>
                    <a:pt x="23" y="5"/>
                  </a:lnTo>
                  <a:lnTo>
                    <a:pt x="23" y="2"/>
                  </a:lnTo>
                  <a:lnTo>
                    <a:pt x="26" y="2"/>
                  </a:lnTo>
                  <a:lnTo>
                    <a:pt x="26" y="5"/>
                  </a:lnTo>
                  <a:lnTo>
                    <a:pt x="28" y="5"/>
                  </a:lnTo>
                  <a:lnTo>
                    <a:pt x="28" y="2"/>
                  </a:lnTo>
                  <a:lnTo>
                    <a:pt x="31" y="2"/>
                  </a:lnTo>
                  <a:lnTo>
                    <a:pt x="33" y="2"/>
                  </a:lnTo>
                  <a:lnTo>
                    <a:pt x="33" y="0"/>
                  </a:lnTo>
                  <a:lnTo>
                    <a:pt x="33" y="2"/>
                  </a:lnTo>
                  <a:lnTo>
                    <a:pt x="35"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7" name="Freeform 52495"/>
            <p:cNvSpPr>
              <a:spLocks/>
            </p:cNvSpPr>
            <p:nvPr/>
          </p:nvSpPr>
          <p:spPr bwMode="auto">
            <a:xfrm>
              <a:off x="2412998" y="5168918"/>
              <a:ext cx="4763" cy="3175"/>
            </a:xfrm>
            <a:custGeom>
              <a:avLst/>
              <a:gdLst>
                <a:gd name="T0" fmla="*/ 3 w 3"/>
                <a:gd name="T1" fmla="*/ 0 h 2"/>
                <a:gd name="T2" fmla="*/ 3 w 3"/>
                <a:gd name="T3" fmla="*/ 0 h 2"/>
                <a:gd name="T4" fmla="*/ 3 w 3"/>
                <a:gd name="T5" fmla="*/ 0 h 2"/>
                <a:gd name="T6" fmla="*/ 3 w 3"/>
                <a:gd name="T7" fmla="*/ 0 h 2"/>
                <a:gd name="T8" fmla="*/ 3 w 3"/>
                <a:gd name="T9" fmla="*/ 2 h 2"/>
                <a:gd name="T10" fmla="*/ 3 w 3"/>
                <a:gd name="T11" fmla="*/ 2 h 2"/>
                <a:gd name="T12" fmla="*/ 3 w 3"/>
                <a:gd name="T13" fmla="*/ 2 h 2"/>
                <a:gd name="T14" fmla="*/ 3 w 3"/>
                <a:gd name="T15" fmla="*/ 2 h 2"/>
                <a:gd name="T16" fmla="*/ 3 w 3"/>
                <a:gd name="T17" fmla="*/ 2 h 2"/>
                <a:gd name="T18" fmla="*/ 3 w 3"/>
                <a:gd name="T19" fmla="*/ 2 h 2"/>
                <a:gd name="T20" fmla="*/ 3 w 3"/>
                <a:gd name="T21" fmla="*/ 2 h 2"/>
                <a:gd name="T22" fmla="*/ 3 w 3"/>
                <a:gd name="T23" fmla="*/ 2 h 2"/>
                <a:gd name="T24" fmla="*/ 0 w 3"/>
                <a:gd name="T25" fmla="*/ 2 h 2"/>
                <a:gd name="T26" fmla="*/ 0 w 3"/>
                <a:gd name="T27" fmla="*/ 2 h 2"/>
                <a:gd name="T28" fmla="*/ 0 w 3"/>
                <a:gd name="T29" fmla="*/ 2 h 2"/>
                <a:gd name="T30" fmla="*/ 0 w 3"/>
                <a:gd name="T31" fmla="*/ 2 h 2"/>
                <a:gd name="T32" fmla="*/ 3 w 3"/>
                <a:gd name="T33" fmla="*/ 0 h 2"/>
                <a:gd name="T34" fmla="*/ 3 w 3"/>
                <a:gd name="T35" fmla="*/ 0 h 2"/>
                <a:gd name="T36" fmla="*/ 3 w 3"/>
                <a:gd name="T37" fmla="*/ 0 h 2"/>
                <a:gd name="T38" fmla="*/ 3 w 3"/>
                <a:gd name="T39" fmla="*/ 0 h 2"/>
                <a:gd name="T40" fmla="*/ 3 w 3"/>
                <a:gd name="T41" fmla="*/ 0 h 2"/>
                <a:gd name="T42" fmla="*/ 3 w 3"/>
                <a:gd name="T43" fmla="*/ 0 h 2"/>
                <a:gd name="T44" fmla="*/ 3 w 3"/>
                <a:gd name="T45" fmla="*/ 0 h 2"/>
                <a:gd name="T46" fmla="*/ 3 w 3"/>
                <a:gd name="T47" fmla="*/ 0 h 2"/>
                <a:gd name="T48" fmla="*/ 3 w 3"/>
                <a:gd name="T49" fmla="*/ 0 h 2"/>
                <a:gd name="T50" fmla="*/ 3 w 3"/>
                <a:gd name="T5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2">
                  <a:moveTo>
                    <a:pt x="3" y="0"/>
                  </a:moveTo>
                  <a:lnTo>
                    <a:pt x="3" y="0"/>
                  </a:lnTo>
                  <a:lnTo>
                    <a:pt x="3" y="0"/>
                  </a:lnTo>
                  <a:lnTo>
                    <a:pt x="3" y="0"/>
                  </a:lnTo>
                  <a:lnTo>
                    <a:pt x="3" y="2"/>
                  </a:lnTo>
                  <a:lnTo>
                    <a:pt x="3" y="2"/>
                  </a:lnTo>
                  <a:lnTo>
                    <a:pt x="3" y="2"/>
                  </a:lnTo>
                  <a:lnTo>
                    <a:pt x="3" y="2"/>
                  </a:lnTo>
                  <a:lnTo>
                    <a:pt x="3" y="2"/>
                  </a:lnTo>
                  <a:lnTo>
                    <a:pt x="3" y="2"/>
                  </a:lnTo>
                  <a:lnTo>
                    <a:pt x="3" y="2"/>
                  </a:lnTo>
                  <a:lnTo>
                    <a:pt x="3" y="2"/>
                  </a:lnTo>
                  <a:lnTo>
                    <a:pt x="0" y="2"/>
                  </a:lnTo>
                  <a:lnTo>
                    <a:pt x="0" y="2"/>
                  </a:lnTo>
                  <a:lnTo>
                    <a:pt x="0" y="2"/>
                  </a:lnTo>
                  <a:lnTo>
                    <a:pt x="0" y="2"/>
                  </a:lnTo>
                  <a:lnTo>
                    <a:pt x="3" y="0"/>
                  </a:lnTo>
                  <a:lnTo>
                    <a:pt x="3" y="0"/>
                  </a:lnTo>
                  <a:lnTo>
                    <a:pt x="3" y="0"/>
                  </a:lnTo>
                  <a:lnTo>
                    <a:pt x="3" y="0"/>
                  </a:ln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8" name="Freeform 52496"/>
            <p:cNvSpPr>
              <a:spLocks/>
            </p:cNvSpPr>
            <p:nvPr/>
          </p:nvSpPr>
          <p:spPr bwMode="auto">
            <a:xfrm>
              <a:off x="2994022" y="5184793"/>
              <a:ext cx="96838" cy="123825"/>
            </a:xfrm>
            <a:custGeom>
              <a:avLst/>
              <a:gdLst>
                <a:gd name="T0" fmla="*/ 28 w 61"/>
                <a:gd name="T1" fmla="*/ 4 h 78"/>
                <a:gd name="T2" fmla="*/ 33 w 61"/>
                <a:gd name="T3" fmla="*/ 7 h 78"/>
                <a:gd name="T4" fmla="*/ 35 w 61"/>
                <a:gd name="T5" fmla="*/ 14 h 78"/>
                <a:gd name="T6" fmla="*/ 40 w 61"/>
                <a:gd name="T7" fmla="*/ 16 h 78"/>
                <a:gd name="T8" fmla="*/ 45 w 61"/>
                <a:gd name="T9" fmla="*/ 19 h 78"/>
                <a:gd name="T10" fmla="*/ 49 w 61"/>
                <a:gd name="T11" fmla="*/ 21 h 78"/>
                <a:gd name="T12" fmla="*/ 52 w 61"/>
                <a:gd name="T13" fmla="*/ 26 h 78"/>
                <a:gd name="T14" fmla="*/ 57 w 61"/>
                <a:gd name="T15" fmla="*/ 28 h 78"/>
                <a:gd name="T16" fmla="*/ 61 w 61"/>
                <a:gd name="T17" fmla="*/ 33 h 78"/>
                <a:gd name="T18" fmla="*/ 57 w 61"/>
                <a:gd name="T19" fmla="*/ 38 h 78"/>
                <a:gd name="T20" fmla="*/ 52 w 61"/>
                <a:gd name="T21" fmla="*/ 35 h 78"/>
                <a:gd name="T22" fmla="*/ 52 w 61"/>
                <a:gd name="T23" fmla="*/ 40 h 78"/>
                <a:gd name="T24" fmla="*/ 54 w 61"/>
                <a:gd name="T25" fmla="*/ 47 h 78"/>
                <a:gd name="T26" fmla="*/ 49 w 61"/>
                <a:gd name="T27" fmla="*/ 47 h 78"/>
                <a:gd name="T28" fmla="*/ 45 w 61"/>
                <a:gd name="T29" fmla="*/ 49 h 78"/>
                <a:gd name="T30" fmla="*/ 42 w 61"/>
                <a:gd name="T31" fmla="*/ 45 h 78"/>
                <a:gd name="T32" fmla="*/ 42 w 61"/>
                <a:gd name="T33" fmla="*/ 42 h 78"/>
                <a:gd name="T34" fmla="*/ 38 w 61"/>
                <a:gd name="T35" fmla="*/ 47 h 78"/>
                <a:gd name="T36" fmla="*/ 35 w 61"/>
                <a:gd name="T37" fmla="*/ 52 h 78"/>
                <a:gd name="T38" fmla="*/ 30 w 61"/>
                <a:gd name="T39" fmla="*/ 54 h 78"/>
                <a:gd name="T40" fmla="*/ 28 w 61"/>
                <a:gd name="T41" fmla="*/ 61 h 78"/>
                <a:gd name="T42" fmla="*/ 30 w 61"/>
                <a:gd name="T43" fmla="*/ 66 h 78"/>
                <a:gd name="T44" fmla="*/ 30 w 61"/>
                <a:gd name="T45" fmla="*/ 73 h 78"/>
                <a:gd name="T46" fmla="*/ 28 w 61"/>
                <a:gd name="T47" fmla="*/ 76 h 78"/>
                <a:gd name="T48" fmla="*/ 28 w 61"/>
                <a:gd name="T49" fmla="*/ 78 h 78"/>
                <a:gd name="T50" fmla="*/ 23 w 61"/>
                <a:gd name="T51" fmla="*/ 76 h 78"/>
                <a:gd name="T52" fmla="*/ 23 w 61"/>
                <a:gd name="T53" fmla="*/ 73 h 78"/>
                <a:gd name="T54" fmla="*/ 23 w 61"/>
                <a:gd name="T55" fmla="*/ 71 h 78"/>
                <a:gd name="T56" fmla="*/ 21 w 61"/>
                <a:gd name="T57" fmla="*/ 71 h 78"/>
                <a:gd name="T58" fmla="*/ 23 w 61"/>
                <a:gd name="T59" fmla="*/ 71 h 78"/>
                <a:gd name="T60" fmla="*/ 21 w 61"/>
                <a:gd name="T61" fmla="*/ 66 h 78"/>
                <a:gd name="T62" fmla="*/ 19 w 61"/>
                <a:gd name="T63" fmla="*/ 66 h 78"/>
                <a:gd name="T64" fmla="*/ 16 w 61"/>
                <a:gd name="T65" fmla="*/ 61 h 78"/>
                <a:gd name="T66" fmla="*/ 11 w 61"/>
                <a:gd name="T67" fmla="*/ 59 h 78"/>
                <a:gd name="T68" fmla="*/ 7 w 61"/>
                <a:gd name="T69" fmla="*/ 57 h 78"/>
                <a:gd name="T70" fmla="*/ 7 w 61"/>
                <a:gd name="T71" fmla="*/ 54 h 78"/>
                <a:gd name="T72" fmla="*/ 4 w 61"/>
                <a:gd name="T73" fmla="*/ 52 h 78"/>
                <a:gd name="T74" fmla="*/ 9 w 61"/>
                <a:gd name="T75" fmla="*/ 54 h 78"/>
                <a:gd name="T76" fmla="*/ 7 w 61"/>
                <a:gd name="T77" fmla="*/ 52 h 78"/>
                <a:gd name="T78" fmla="*/ 9 w 61"/>
                <a:gd name="T79" fmla="*/ 52 h 78"/>
                <a:gd name="T80" fmla="*/ 7 w 61"/>
                <a:gd name="T81" fmla="*/ 47 h 78"/>
                <a:gd name="T82" fmla="*/ 4 w 61"/>
                <a:gd name="T83" fmla="*/ 52 h 78"/>
                <a:gd name="T84" fmla="*/ 2 w 61"/>
                <a:gd name="T85" fmla="*/ 52 h 78"/>
                <a:gd name="T86" fmla="*/ 0 w 61"/>
                <a:gd name="T87" fmla="*/ 52 h 78"/>
                <a:gd name="T88" fmla="*/ 2 w 61"/>
                <a:gd name="T89" fmla="*/ 42 h 78"/>
                <a:gd name="T90" fmla="*/ 2 w 61"/>
                <a:gd name="T91" fmla="*/ 40 h 78"/>
                <a:gd name="T92" fmla="*/ 0 w 61"/>
                <a:gd name="T93" fmla="*/ 35 h 78"/>
                <a:gd name="T94" fmla="*/ 2 w 61"/>
                <a:gd name="T95" fmla="*/ 28 h 78"/>
                <a:gd name="T96" fmla="*/ 7 w 61"/>
                <a:gd name="T97" fmla="*/ 23 h 78"/>
                <a:gd name="T98" fmla="*/ 7 w 61"/>
                <a:gd name="T99" fmla="*/ 16 h 78"/>
                <a:gd name="T100" fmla="*/ 11 w 61"/>
                <a:gd name="T101" fmla="*/ 11 h 78"/>
                <a:gd name="T102" fmla="*/ 16 w 61"/>
                <a:gd name="T103" fmla="*/ 9 h 78"/>
                <a:gd name="T104" fmla="*/ 19 w 61"/>
                <a:gd name="T105" fmla="*/ 14 h 78"/>
                <a:gd name="T106" fmla="*/ 21 w 61"/>
                <a:gd name="T107" fmla="*/ 9 h 78"/>
                <a:gd name="T108" fmla="*/ 19 w 61"/>
                <a:gd name="T109" fmla="*/ 4 h 78"/>
                <a:gd name="T110" fmla="*/ 16 w 61"/>
                <a:gd name="T111" fmla="*/ 0 h 78"/>
                <a:gd name="T112" fmla="*/ 21 w 61"/>
                <a:gd name="T113"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78">
                  <a:moveTo>
                    <a:pt x="26" y="2"/>
                  </a:moveTo>
                  <a:lnTo>
                    <a:pt x="26" y="4"/>
                  </a:lnTo>
                  <a:lnTo>
                    <a:pt x="28" y="4"/>
                  </a:lnTo>
                  <a:lnTo>
                    <a:pt x="28" y="7"/>
                  </a:lnTo>
                  <a:lnTo>
                    <a:pt x="30" y="7"/>
                  </a:lnTo>
                  <a:lnTo>
                    <a:pt x="33" y="7"/>
                  </a:lnTo>
                  <a:lnTo>
                    <a:pt x="33" y="9"/>
                  </a:lnTo>
                  <a:lnTo>
                    <a:pt x="35" y="11"/>
                  </a:lnTo>
                  <a:lnTo>
                    <a:pt x="35" y="14"/>
                  </a:lnTo>
                  <a:lnTo>
                    <a:pt x="38" y="14"/>
                  </a:lnTo>
                  <a:lnTo>
                    <a:pt x="38" y="16"/>
                  </a:lnTo>
                  <a:lnTo>
                    <a:pt x="40" y="16"/>
                  </a:lnTo>
                  <a:lnTo>
                    <a:pt x="40" y="19"/>
                  </a:lnTo>
                  <a:lnTo>
                    <a:pt x="42" y="19"/>
                  </a:lnTo>
                  <a:lnTo>
                    <a:pt x="45" y="19"/>
                  </a:lnTo>
                  <a:lnTo>
                    <a:pt x="47" y="19"/>
                  </a:lnTo>
                  <a:lnTo>
                    <a:pt x="49" y="19"/>
                  </a:lnTo>
                  <a:lnTo>
                    <a:pt x="49" y="21"/>
                  </a:lnTo>
                  <a:lnTo>
                    <a:pt x="49" y="23"/>
                  </a:lnTo>
                  <a:lnTo>
                    <a:pt x="52" y="23"/>
                  </a:lnTo>
                  <a:lnTo>
                    <a:pt x="52" y="26"/>
                  </a:lnTo>
                  <a:lnTo>
                    <a:pt x="54" y="28"/>
                  </a:lnTo>
                  <a:lnTo>
                    <a:pt x="57" y="26"/>
                  </a:lnTo>
                  <a:lnTo>
                    <a:pt x="57" y="28"/>
                  </a:lnTo>
                  <a:lnTo>
                    <a:pt x="59" y="28"/>
                  </a:lnTo>
                  <a:lnTo>
                    <a:pt x="61" y="30"/>
                  </a:lnTo>
                  <a:lnTo>
                    <a:pt x="61" y="33"/>
                  </a:lnTo>
                  <a:lnTo>
                    <a:pt x="59" y="35"/>
                  </a:lnTo>
                  <a:lnTo>
                    <a:pt x="59" y="38"/>
                  </a:lnTo>
                  <a:lnTo>
                    <a:pt x="57" y="38"/>
                  </a:lnTo>
                  <a:lnTo>
                    <a:pt x="54" y="38"/>
                  </a:lnTo>
                  <a:lnTo>
                    <a:pt x="54" y="35"/>
                  </a:lnTo>
                  <a:lnTo>
                    <a:pt x="52" y="35"/>
                  </a:lnTo>
                  <a:lnTo>
                    <a:pt x="49" y="38"/>
                  </a:lnTo>
                  <a:lnTo>
                    <a:pt x="49" y="40"/>
                  </a:lnTo>
                  <a:lnTo>
                    <a:pt x="52" y="40"/>
                  </a:lnTo>
                  <a:lnTo>
                    <a:pt x="52" y="42"/>
                  </a:lnTo>
                  <a:lnTo>
                    <a:pt x="54" y="45"/>
                  </a:lnTo>
                  <a:lnTo>
                    <a:pt x="54" y="47"/>
                  </a:lnTo>
                  <a:lnTo>
                    <a:pt x="52" y="45"/>
                  </a:lnTo>
                  <a:lnTo>
                    <a:pt x="52" y="47"/>
                  </a:lnTo>
                  <a:lnTo>
                    <a:pt x="49" y="47"/>
                  </a:lnTo>
                  <a:lnTo>
                    <a:pt x="47" y="47"/>
                  </a:lnTo>
                  <a:lnTo>
                    <a:pt x="47" y="49"/>
                  </a:lnTo>
                  <a:lnTo>
                    <a:pt x="45" y="49"/>
                  </a:lnTo>
                  <a:lnTo>
                    <a:pt x="42" y="49"/>
                  </a:lnTo>
                  <a:lnTo>
                    <a:pt x="42" y="47"/>
                  </a:lnTo>
                  <a:lnTo>
                    <a:pt x="42" y="45"/>
                  </a:lnTo>
                  <a:lnTo>
                    <a:pt x="42" y="42"/>
                  </a:lnTo>
                  <a:lnTo>
                    <a:pt x="42" y="40"/>
                  </a:lnTo>
                  <a:lnTo>
                    <a:pt x="42" y="42"/>
                  </a:lnTo>
                  <a:lnTo>
                    <a:pt x="40" y="42"/>
                  </a:lnTo>
                  <a:lnTo>
                    <a:pt x="38" y="45"/>
                  </a:lnTo>
                  <a:lnTo>
                    <a:pt x="38" y="47"/>
                  </a:lnTo>
                  <a:lnTo>
                    <a:pt x="35" y="47"/>
                  </a:lnTo>
                  <a:lnTo>
                    <a:pt x="35" y="49"/>
                  </a:lnTo>
                  <a:lnTo>
                    <a:pt x="35" y="52"/>
                  </a:lnTo>
                  <a:lnTo>
                    <a:pt x="33" y="52"/>
                  </a:lnTo>
                  <a:lnTo>
                    <a:pt x="33" y="54"/>
                  </a:lnTo>
                  <a:lnTo>
                    <a:pt x="30" y="54"/>
                  </a:lnTo>
                  <a:lnTo>
                    <a:pt x="30" y="57"/>
                  </a:lnTo>
                  <a:lnTo>
                    <a:pt x="30" y="59"/>
                  </a:lnTo>
                  <a:lnTo>
                    <a:pt x="28" y="61"/>
                  </a:lnTo>
                  <a:lnTo>
                    <a:pt x="26" y="64"/>
                  </a:lnTo>
                  <a:lnTo>
                    <a:pt x="28" y="64"/>
                  </a:lnTo>
                  <a:lnTo>
                    <a:pt x="30" y="66"/>
                  </a:lnTo>
                  <a:lnTo>
                    <a:pt x="30" y="68"/>
                  </a:lnTo>
                  <a:lnTo>
                    <a:pt x="30" y="71"/>
                  </a:lnTo>
                  <a:lnTo>
                    <a:pt x="30" y="73"/>
                  </a:lnTo>
                  <a:lnTo>
                    <a:pt x="28" y="73"/>
                  </a:lnTo>
                  <a:lnTo>
                    <a:pt x="30" y="76"/>
                  </a:lnTo>
                  <a:lnTo>
                    <a:pt x="28" y="76"/>
                  </a:lnTo>
                  <a:lnTo>
                    <a:pt x="30" y="76"/>
                  </a:lnTo>
                  <a:lnTo>
                    <a:pt x="30" y="78"/>
                  </a:lnTo>
                  <a:lnTo>
                    <a:pt x="28" y="78"/>
                  </a:lnTo>
                  <a:lnTo>
                    <a:pt x="28" y="76"/>
                  </a:lnTo>
                  <a:lnTo>
                    <a:pt x="26" y="76"/>
                  </a:lnTo>
                  <a:lnTo>
                    <a:pt x="23" y="76"/>
                  </a:lnTo>
                  <a:lnTo>
                    <a:pt x="23" y="73"/>
                  </a:lnTo>
                  <a:lnTo>
                    <a:pt x="21" y="73"/>
                  </a:lnTo>
                  <a:lnTo>
                    <a:pt x="23" y="73"/>
                  </a:lnTo>
                  <a:lnTo>
                    <a:pt x="23" y="71"/>
                  </a:lnTo>
                  <a:lnTo>
                    <a:pt x="21" y="71"/>
                  </a:lnTo>
                  <a:lnTo>
                    <a:pt x="23" y="71"/>
                  </a:lnTo>
                  <a:lnTo>
                    <a:pt x="21" y="71"/>
                  </a:lnTo>
                  <a:lnTo>
                    <a:pt x="23" y="71"/>
                  </a:lnTo>
                  <a:lnTo>
                    <a:pt x="21" y="71"/>
                  </a:lnTo>
                  <a:lnTo>
                    <a:pt x="23" y="71"/>
                  </a:lnTo>
                  <a:lnTo>
                    <a:pt x="21" y="71"/>
                  </a:lnTo>
                  <a:lnTo>
                    <a:pt x="23" y="71"/>
                  </a:lnTo>
                  <a:lnTo>
                    <a:pt x="23" y="68"/>
                  </a:lnTo>
                  <a:lnTo>
                    <a:pt x="21" y="68"/>
                  </a:lnTo>
                  <a:lnTo>
                    <a:pt x="21" y="66"/>
                  </a:lnTo>
                  <a:lnTo>
                    <a:pt x="21" y="68"/>
                  </a:lnTo>
                  <a:lnTo>
                    <a:pt x="21" y="66"/>
                  </a:lnTo>
                  <a:lnTo>
                    <a:pt x="19" y="66"/>
                  </a:lnTo>
                  <a:lnTo>
                    <a:pt x="19" y="64"/>
                  </a:lnTo>
                  <a:lnTo>
                    <a:pt x="16" y="64"/>
                  </a:lnTo>
                  <a:lnTo>
                    <a:pt x="16" y="61"/>
                  </a:lnTo>
                  <a:lnTo>
                    <a:pt x="14" y="61"/>
                  </a:lnTo>
                  <a:lnTo>
                    <a:pt x="14" y="59"/>
                  </a:lnTo>
                  <a:lnTo>
                    <a:pt x="11" y="59"/>
                  </a:lnTo>
                  <a:lnTo>
                    <a:pt x="9" y="59"/>
                  </a:lnTo>
                  <a:lnTo>
                    <a:pt x="9" y="57"/>
                  </a:lnTo>
                  <a:lnTo>
                    <a:pt x="7" y="57"/>
                  </a:lnTo>
                  <a:lnTo>
                    <a:pt x="9" y="57"/>
                  </a:lnTo>
                  <a:lnTo>
                    <a:pt x="7" y="57"/>
                  </a:lnTo>
                  <a:lnTo>
                    <a:pt x="7" y="54"/>
                  </a:lnTo>
                  <a:lnTo>
                    <a:pt x="4" y="54"/>
                  </a:lnTo>
                  <a:lnTo>
                    <a:pt x="2" y="52"/>
                  </a:lnTo>
                  <a:lnTo>
                    <a:pt x="4" y="52"/>
                  </a:lnTo>
                  <a:lnTo>
                    <a:pt x="7" y="52"/>
                  </a:lnTo>
                  <a:lnTo>
                    <a:pt x="7" y="54"/>
                  </a:lnTo>
                  <a:lnTo>
                    <a:pt x="9" y="54"/>
                  </a:lnTo>
                  <a:lnTo>
                    <a:pt x="7" y="52"/>
                  </a:lnTo>
                  <a:lnTo>
                    <a:pt x="9" y="52"/>
                  </a:lnTo>
                  <a:lnTo>
                    <a:pt x="7" y="52"/>
                  </a:lnTo>
                  <a:lnTo>
                    <a:pt x="7" y="49"/>
                  </a:lnTo>
                  <a:lnTo>
                    <a:pt x="9" y="49"/>
                  </a:lnTo>
                  <a:lnTo>
                    <a:pt x="9" y="52"/>
                  </a:lnTo>
                  <a:lnTo>
                    <a:pt x="9" y="49"/>
                  </a:lnTo>
                  <a:lnTo>
                    <a:pt x="7" y="49"/>
                  </a:lnTo>
                  <a:lnTo>
                    <a:pt x="7" y="47"/>
                  </a:lnTo>
                  <a:lnTo>
                    <a:pt x="7" y="49"/>
                  </a:lnTo>
                  <a:lnTo>
                    <a:pt x="7" y="52"/>
                  </a:lnTo>
                  <a:lnTo>
                    <a:pt x="4" y="52"/>
                  </a:lnTo>
                  <a:lnTo>
                    <a:pt x="4" y="49"/>
                  </a:lnTo>
                  <a:lnTo>
                    <a:pt x="2" y="49"/>
                  </a:lnTo>
                  <a:lnTo>
                    <a:pt x="2" y="52"/>
                  </a:lnTo>
                  <a:lnTo>
                    <a:pt x="2" y="49"/>
                  </a:lnTo>
                  <a:lnTo>
                    <a:pt x="2" y="52"/>
                  </a:lnTo>
                  <a:lnTo>
                    <a:pt x="0" y="52"/>
                  </a:lnTo>
                  <a:lnTo>
                    <a:pt x="0" y="49"/>
                  </a:lnTo>
                  <a:lnTo>
                    <a:pt x="0" y="45"/>
                  </a:lnTo>
                  <a:lnTo>
                    <a:pt x="2" y="42"/>
                  </a:lnTo>
                  <a:lnTo>
                    <a:pt x="4" y="42"/>
                  </a:lnTo>
                  <a:lnTo>
                    <a:pt x="4" y="40"/>
                  </a:lnTo>
                  <a:lnTo>
                    <a:pt x="2" y="40"/>
                  </a:lnTo>
                  <a:lnTo>
                    <a:pt x="2" y="38"/>
                  </a:lnTo>
                  <a:lnTo>
                    <a:pt x="0" y="38"/>
                  </a:lnTo>
                  <a:lnTo>
                    <a:pt x="0" y="35"/>
                  </a:lnTo>
                  <a:lnTo>
                    <a:pt x="0" y="33"/>
                  </a:lnTo>
                  <a:lnTo>
                    <a:pt x="2" y="30"/>
                  </a:lnTo>
                  <a:lnTo>
                    <a:pt x="2" y="28"/>
                  </a:lnTo>
                  <a:lnTo>
                    <a:pt x="2" y="26"/>
                  </a:lnTo>
                  <a:lnTo>
                    <a:pt x="4" y="23"/>
                  </a:lnTo>
                  <a:lnTo>
                    <a:pt x="7" y="23"/>
                  </a:lnTo>
                  <a:lnTo>
                    <a:pt x="7" y="21"/>
                  </a:lnTo>
                  <a:lnTo>
                    <a:pt x="7" y="19"/>
                  </a:lnTo>
                  <a:lnTo>
                    <a:pt x="7" y="16"/>
                  </a:lnTo>
                  <a:lnTo>
                    <a:pt x="7" y="14"/>
                  </a:lnTo>
                  <a:lnTo>
                    <a:pt x="9" y="11"/>
                  </a:lnTo>
                  <a:lnTo>
                    <a:pt x="11" y="11"/>
                  </a:lnTo>
                  <a:lnTo>
                    <a:pt x="11" y="9"/>
                  </a:lnTo>
                  <a:lnTo>
                    <a:pt x="14" y="9"/>
                  </a:lnTo>
                  <a:lnTo>
                    <a:pt x="16" y="9"/>
                  </a:lnTo>
                  <a:lnTo>
                    <a:pt x="16" y="11"/>
                  </a:lnTo>
                  <a:lnTo>
                    <a:pt x="16" y="14"/>
                  </a:lnTo>
                  <a:lnTo>
                    <a:pt x="19" y="14"/>
                  </a:lnTo>
                  <a:lnTo>
                    <a:pt x="19" y="11"/>
                  </a:lnTo>
                  <a:lnTo>
                    <a:pt x="21" y="11"/>
                  </a:lnTo>
                  <a:lnTo>
                    <a:pt x="21" y="9"/>
                  </a:lnTo>
                  <a:lnTo>
                    <a:pt x="19" y="9"/>
                  </a:lnTo>
                  <a:lnTo>
                    <a:pt x="19" y="7"/>
                  </a:lnTo>
                  <a:lnTo>
                    <a:pt x="19" y="4"/>
                  </a:lnTo>
                  <a:lnTo>
                    <a:pt x="16" y="4"/>
                  </a:lnTo>
                  <a:lnTo>
                    <a:pt x="16" y="2"/>
                  </a:lnTo>
                  <a:lnTo>
                    <a:pt x="16" y="0"/>
                  </a:lnTo>
                  <a:lnTo>
                    <a:pt x="19" y="0"/>
                  </a:lnTo>
                  <a:lnTo>
                    <a:pt x="19" y="2"/>
                  </a:lnTo>
                  <a:lnTo>
                    <a:pt x="21" y="2"/>
                  </a:lnTo>
                  <a:lnTo>
                    <a:pt x="23" y="2"/>
                  </a:lnTo>
                  <a:lnTo>
                    <a:pt x="2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9" name="Freeform 52497"/>
            <p:cNvSpPr>
              <a:spLocks/>
            </p:cNvSpPr>
            <p:nvPr/>
          </p:nvSpPr>
          <p:spPr bwMode="auto">
            <a:xfrm>
              <a:off x="3011485" y="5278455"/>
              <a:ext cx="4763" cy="0"/>
            </a:xfrm>
            <a:custGeom>
              <a:avLst/>
              <a:gdLst>
                <a:gd name="T0" fmla="*/ 3 w 3"/>
                <a:gd name="T1" fmla="*/ 3 w 3"/>
                <a:gd name="T2" fmla="*/ 0 w 3"/>
                <a:gd name="T3" fmla="*/ 0 w 3"/>
                <a:gd name="T4" fmla="*/ 0 w 3"/>
                <a:gd name="T5" fmla="*/ 0 w 3"/>
                <a:gd name="T6" fmla="*/ 0 w 3"/>
                <a:gd name="T7" fmla="*/ 3 w 3"/>
                <a:gd name="T8"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3" y="0"/>
                  </a:moveTo>
                  <a:lnTo>
                    <a:pt x="3" y="0"/>
                  </a:lnTo>
                  <a:lnTo>
                    <a:pt x="0" y="0"/>
                  </a:lnTo>
                  <a:lnTo>
                    <a:pt x="0" y="0"/>
                  </a:lnTo>
                  <a:lnTo>
                    <a:pt x="0" y="0"/>
                  </a:lnTo>
                  <a:lnTo>
                    <a:pt x="0" y="0"/>
                  </a:lnTo>
                  <a:lnTo>
                    <a:pt x="0"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0" name="Freeform 52498"/>
            <p:cNvSpPr>
              <a:spLocks noEditPoints="1"/>
            </p:cNvSpPr>
            <p:nvPr/>
          </p:nvSpPr>
          <p:spPr bwMode="auto">
            <a:xfrm>
              <a:off x="2997198" y="5267344"/>
              <a:ext cx="30163" cy="30163"/>
            </a:xfrm>
            <a:custGeom>
              <a:avLst/>
              <a:gdLst>
                <a:gd name="T0" fmla="*/ 19 w 19"/>
                <a:gd name="T1" fmla="*/ 19 h 19"/>
                <a:gd name="T2" fmla="*/ 19 w 19"/>
                <a:gd name="T3" fmla="*/ 19 h 19"/>
                <a:gd name="T4" fmla="*/ 19 w 19"/>
                <a:gd name="T5" fmla="*/ 19 h 19"/>
                <a:gd name="T6" fmla="*/ 19 w 19"/>
                <a:gd name="T7" fmla="*/ 19 h 19"/>
                <a:gd name="T8" fmla="*/ 19 w 19"/>
                <a:gd name="T9" fmla="*/ 19 h 19"/>
                <a:gd name="T10" fmla="*/ 19 w 19"/>
                <a:gd name="T11" fmla="*/ 19 h 19"/>
                <a:gd name="T12" fmla="*/ 0 w 19"/>
                <a:gd name="T13" fmla="*/ 2 h 19"/>
                <a:gd name="T14" fmla="*/ 0 w 19"/>
                <a:gd name="T15" fmla="*/ 2 h 19"/>
                <a:gd name="T16" fmla="*/ 0 w 19"/>
                <a:gd name="T17" fmla="*/ 2 h 19"/>
                <a:gd name="T18" fmla="*/ 0 w 19"/>
                <a:gd name="T19" fmla="*/ 2 h 19"/>
                <a:gd name="T20" fmla="*/ 0 w 19"/>
                <a:gd name="T21" fmla="*/ 2 h 19"/>
                <a:gd name="T22" fmla="*/ 5 w 19"/>
                <a:gd name="T23" fmla="*/ 0 h 19"/>
                <a:gd name="T24" fmla="*/ 5 w 19"/>
                <a:gd name="T25" fmla="*/ 0 h 19"/>
                <a:gd name="T26" fmla="*/ 5 w 19"/>
                <a:gd name="T27" fmla="*/ 0 h 19"/>
                <a:gd name="T28" fmla="*/ 5 w 19"/>
                <a:gd name="T29" fmla="*/ 0 h 19"/>
                <a:gd name="T30" fmla="*/ 5 w 19"/>
                <a:gd name="T31" fmla="*/ 0 h 19"/>
                <a:gd name="T32" fmla="*/ 5 w 19"/>
                <a:gd name="T33" fmla="*/ 0 h 19"/>
                <a:gd name="T34" fmla="*/ 5 w 19"/>
                <a:gd name="T35" fmla="*/ 0 h 19"/>
                <a:gd name="T36" fmla="*/ 5 w 19"/>
                <a:gd name="T37" fmla="*/ 0 h 19"/>
                <a:gd name="T38" fmla="*/ 5 w 19"/>
                <a:gd name="T39" fmla="*/ 0 h 19"/>
                <a:gd name="T40" fmla="*/ 5 w 19"/>
                <a:gd name="T41" fmla="*/ 0 h 19"/>
                <a:gd name="T42" fmla="*/ 5 w 19"/>
                <a:gd name="T4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9"/>
                  </a:moveTo>
                  <a:lnTo>
                    <a:pt x="19" y="19"/>
                  </a:lnTo>
                  <a:lnTo>
                    <a:pt x="19" y="19"/>
                  </a:lnTo>
                  <a:lnTo>
                    <a:pt x="19" y="19"/>
                  </a:lnTo>
                  <a:lnTo>
                    <a:pt x="19" y="19"/>
                  </a:lnTo>
                  <a:lnTo>
                    <a:pt x="19" y="19"/>
                  </a:lnTo>
                  <a:close/>
                  <a:moveTo>
                    <a:pt x="0" y="2"/>
                  </a:moveTo>
                  <a:lnTo>
                    <a:pt x="0" y="2"/>
                  </a:lnTo>
                  <a:lnTo>
                    <a:pt x="0" y="2"/>
                  </a:lnTo>
                  <a:lnTo>
                    <a:pt x="0" y="2"/>
                  </a:lnTo>
                  <a:lnTo>
                    <a:pt x="0" y="2"/>
                  </a:lnTo>
                  <a:close/>
                  <a:moveTo>
                    <a:pt x="5" y="0"/>
                  </a:moveTo>
                  <a:lnTo>
                    <a:pt x="5" y="0"/>
                  </a:lnTo>
                  <a:lnTo>
                    <a:pt x="5" y="0"/>
                  </a:lnTo>
                  <a:lnTo>
                    <a:pt x="5" y="0"/>
                  </a:lnTo>
                  <a:lnTo>
                    <a:pt x="5" y="0"/>
                  </a:lnTo>
                  <a:lnTo>
                    <a:pt x="5" y="0"/>
                  </a:lnTo>
                  <a:lnTo>
                    <a:pt x="5" y="0"/>
                  </a:lnTo>
                  <a:lnTo>
                    <a:pt x="5" y="0"/>
                  </a:lnTo>
                  <a:lnTo>
                    <a:pt x="5" y="0"/>
                  </a:lnTo>
                  <a:lnTo>
                    <a:pt x="5" y="0"/>
                  </a:lnTo>
                  <a:lnTo>
                    <a:pt x="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1" name="Freeform 52499"/>
            <p:cNvSpPr>
              <a:spLocks noEditPoints="1"/>
            </p:cNvSpPr>
            <p:nvPr/>
          </p:nvSpPr>
          <p:spPr bwMode="auto">
            <a:xfrm>
              <a:off x="2201860" y="4429140"/>
              <a:ext cx="203200" cy="211138"/>
            </a:xfrm>
            <a:custGeom>
              <a:avLst/>
              <a:gdLst>
                <a:gd name="T0" fmla="*/ 17 w 128"/>
                <a:gd name="T1" fmla="*/ 105 h 133"/>
                <a:gd name="T2" fmla="*/ 26 w 128"/>
                <a:gd name="T3" fmla="*/ 105 h 133"/>
                <a:gd name="T4" fmla="*/ 19 w 128"/>
                <a:gd name="T5" fmla="*/ 112 h 133"/>
                <a:gd name="T6" fmla="*/ 0 w 128"/>
                <a:gd name="T7" fmla="*/ 105 h 133"/>
                <a:gd name="T8" fmla="*/ 29 w 128"/>
                <a:gd name="T9" fmla="*/ 103 h 133"/>
                <a:gd name="T10" fmla="*/ 50 w 128"/>
                <a:gd name="T11" fmla="*/ 84 h 133"/>
                <a:gd name="T12" fmla="*/ 50 w 128"/>
                <a:gd name="T13" fmla="*/ 84 h 133"/>
                <a:gd name="T14" fmla="*/ 29 w 128"/>
                <a:gd name="T15" fmla="*/ 103 h 133"/>
                <a:gd name="T16" fmla="*/ 12 w 128"/>
                <a:gd name="T17" fmla="*/ 100 h 133"/>
                <a:gd name="T18" fmla="*/ 12 w 128"/>
                <a:gd name="T19" fmla="*/ 93 h 133"/>
                <a:gd name="T20" fmla="*/ 12 w 128"/>
                <a:gd name="T21" fmla="*/ 98 h 133"/>
                <a:gd name="T22" fmla="*/ 24 w 128"/>
                <a:gd name="T23" fmla="*/ 100 h 133"/>
                <a:gd name="T24" fmla="*/ 26 w 128"/>
                <a:gd name="T25" fmla="*/ 93 h 133"/>
                <a:gd name="T26" fmla="*/ 24 w 128"/>
                <a:gd name="T27" fmla="*/ 91 h 133"/>
                <a:gd name="T28" fmla="*/ 17 w 128"/>
                <a:gd name="T29" fmla="*/ 86 h 133"/>
                <a:gd name="T30" fmla="*/ 24 w 128"/>
                <a:gd name="T31" fmla="*/ 74 h 133"/>
                <a:gd name="T32" fmla="*/ 34 w 128"/>
                <a:gd name="T33" fmla="*/ 81 h 133"/>
                <a:gd name="T34" fmla="*/ 34 w 128"/>
                <a:gd name="T35" fmla="*/ 88 h 133"/>
                <a:gd name="T36" fmla="*/ 67 w 128"/>
                <a:gd name="T37" fmla="*/ 74 h 133"/>
                <a:gd name="T38" fmla="*/ 55 w 128"/>
                <a:gd name="T39" fmla="*/ 81 h 133"/>
                <a:gd name="T40" fmla="*/ 53 w 128"/>
                <a:gd name="T41" fmla="*/ 74 h 133"/>
                <a:gd name="T42" fmla="*/ 36 w 128"/>
                <a:gd name="T43" fmla="*/ 88 h 133"/>
                <a:gd name="T44" fmla="*/ 50 w 128"/>
                <a:gd name="T45" fmla="*/ 86 h 133"/>
                <a:gd name="T46" fmla="*/ 60 w 128"/>
                <a:gd name="T47" fmla="*/ 84 h 133"/>
                <a:gd name="T48" fmla="*/ 62 w 128"/>
                <a:gd name="T49" fmla="*/ 81 h 133"/>
                <a:gd name="T50" fmla="*/ 60 w 128"/>
                <a:gd name="T51" fmla="*/ 72 h 133"/>
                <a:gd name="T52" fmla="*/ 41 w 128"/>
                <a:gd name="T53" fmla="*/ 76 h 133"/>
                <a:gd name="T54" fmla="*/ 34 w 128"/>
                <a:gd name="T55" fmla="*/ 79 h 133"/>
                <a:gd name="T56" fmla="*/ 26 w 128"/>
                <a:gd name="T57" fmla="*/ 74 h 133"/>
                <a:gd name="T58" fmla="*/ 43 w 128"/>
                <a:gd name="T59" fmla="*/ 50 h 133"/>
                <a:gd name="T60" fmla="*/ 50 w 128"/>
                <a:gd name="T61" fmla="*/ 53 h 133"/>
                <a:gd name="T62" fmla="*/ 62 w 128"/>
                <a:gd name="T63" fmla="*/ 53 h 133"/>
                <a:gd name="T64" fmla="*/ 69 w 128"/>
                <a:gd name="T65" fmla="*/ 46 h 133"/>
                <a:gd name="T66" fmla="*/ 79 w 128"/>
                <a:gd name="T67" fmla="*/ 31 h 133"/>
                <a:gd name="T68" fmla="*/ 67 w 128"/>
                <a:gd name="T69" fmla="*/ 24 h 133"/>
                <a:gd name="T70" fmla="*/ 57 w 128"/>
                <a:gd name="T71" fmla="*/ 29 h 133"/>
                <a:gd name="T72" fmla="*/ 60 w 128"/>
                <a:gd name="T73" fmla="*/ 43 h 133"/>
                <a:gd name="T74" fmla="*/ 57 w 128"/>
                <a:gd name="T75" fmla="*/ 50 h 133"/>
                <a:gd name="T76" fmla="*/ 50 w 128"/>
                <a:gd name="T77" fmla="*/ 53 h 133"/>
                <a:gd name="T78" fmla="*/ 43 w 128"/>
                <a:gd name="T79" fmla="*/ 38 h 133"/>
                <a:gd name="T80" fmla="*/ 50 w 128"/>
                <a:gd name="T81" fmla="*/ 29 h 133"/>
                <a:gd name="T82" fmla="*/ 69 w 128"/>
                <a:gd name="T83" fmla="*/ 15 h 133"/>
                <a:gd name="T84" fmla="*/ 86 w 128"/>
                <a:gd name="T85" fmla="*/ 3 h 133"/>
                <a:gd name="T86" fmla="*/ 114 w 128"/>
                <a:gd name="T87" fmla="*/ 0 h 133"/>
                <a:gd name="T88" fmla="*/ 126 w 128"/>
                <a:gd name="T89" fmla="*/ 10 h 133"/>
                <a:gd name="T90" fmla="*/ 124 w 128"/>
                <a:gd name="T91" fmla="*/ 31 h 133"/>
                <a:gd name="T92" fmla="*/ 112 w 128"/>
                <a:gd name="T93" fmla="*/ 48 h 133"/>
                <a:gd name="T94" fmla="*/ 121 w 128"/>
                <a:gd name="T95" fmla="*/ 62 h 133"/>
                <a:gd name="T96" fmla="*/ 114 w 128"/>
                <a:gd name="T97" fmla="*/ 76 h 133"/>
                <a:gd name="T98" fmla="*/ 100 w 128"/>
                <a:gd name="T99" fmla="*/ 81 h 133"/>
                <a:gd name="T100" fmla="*/ 86 w 128"/>
                <a:gd name="T101" fmla="*/ 84 h 133"/>
                <a:gd name="T102" fmla="*/ 95 w 128"/>
                <a:gd name="T103" fmla="*/ 100 h 133"/>
                <a:gd name="T104" fmla="*/ 91 w 128"/>
                <a:gd name="T105" fmla="*/ 117 h 133"/>
                <a:gd name="T106" fmla="*/ 88 w 128"/>
                <a:gd name="T107" fmla="*/ 126 h 133"/>
                <a:gd name="T108" fmla="*/ 79 w 128"/>
                <a:gd name="T109" fmla="*/ 131 h 133"/>
                <a:gd name="T110" fmla="*/ 83 w 128"/>
                <a:gd name="T111" fmla="*/ 117 h 133"/>
                <a:gd name="T112" fmla="*/ 67 w 128"/>
                <a:gd name="T113" fmla="*/ 107 h 133"/>
                <a:gd name="T114" fmla="*/ 53 w 128"/>
                <a:gd name="T115" fmla="*/ 103 h 133"/>
                <a:gd name="T116" fmla="*/ 43 w 128"/>
                <a:gd name="T117" fmla="*/ 100 h 133"/>
                <a:gd name="T118" fmla="*/ 34 w 128"/>
                <a:gd name="T119" fmla="*/ 103 h 133"/>
                <a:gd name="T120" fmla="*/ 34 w 128"/>
                <a:gd name="T121" fmla="*/ 8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33">
                  <a:moveTo>
                    <a:pt x="17" y="105"/>
                  </a:moveTo>
                  <a:lnTo>
                    <a:pt x="17" y="107"/>
                  </a:lnTo>
                  <a:lnTo>
                    <a:pt x="17" y="105"/>
                  </a:lnTo>
                  <a:lnTo>
                    <a:pt x="15" y="105"/>
                  </a:lnTo>
                  <a:lnTo>
                    <a:pt x="17" y="107"/>
                  </a:lnTo>
                  <a:lnTo>
                    <a:pt x="17" y="110"/>
                  </a:lnTo>
                  <a:lnTo>
                    <a:pt x="15" y="110"/>
                  </a:lnTo>
                  <a:lnTo>
                    <a:pt x="15" y="112"/>
                  </a:lnTo>
                  <a:lnTo>
                    <a:pt x="15" y="110"/>
                  </a:lnTo>
                  <a:lnTo>
                    <a:pt x="17" y="110"/>
                  </a:lnTo>
                  <a:lnTo>
                    <a:pt x="17" y="107"/>
                  </a:lnTo>
                  <a:lnTo>
                    <a:pt x="17" y="105"/>
                  </a:lnTo>
                  <a:lnTo>
                    <a:pt x="15" y="105"/>
                  </a:lnTo>
                  <a:lnTo>
                    <a:pt x="17" y="105"/>
                  </a:lnTo>
                  <a:lnTo>
                    <a:pt x="19" y="105"/>
                  </a:lnTo>
                  <a:lnTo>
                    <a:pt x="19" y="103"/>
                  </a:lnTo>
                  <a:lnTo>
                    <a:pt x="22" y="103"/>
                  </a:lnTo>
                  <a:lnTo>
                    <a:pt x="24" y="103"/>
                  </a:lnTo>
                  <a:lnTo>
                    <a:pt x="24" y="105"/>
                  </a:lnTo>
                  <a:lnTo>
                    <a:pt x="26" y="105"/>
                  </a:lnTo>
                  <a:lnTo>
                    <a:pt x="29" y="105"/>
                  </a:lnTo>
                  <a:lnTo>
                    <a:pt x="26" y="105"/>
                  </a:lnTo>
                  <a:lnTo>
                    <a:pt x="26" y="103"/>
                  </a:lnTo>
                  <a:lnTo>
                    <a:pt x="26" y="105"/>
                  </a:lnTo>
                  <a:lnTo>
                    <a:pt x="29" y="105"/>
                  </a:lnTo>
                  <a:lnTo>
                    <a:pt x="26" y="105"/>
                  </a:lnTo>
                  <a:lnTo>
                    <a:pt x="29" y="105"/>
                  </a:lnTo>
                  <a:lnTo>
                    <a:pt x="29" y="103"/>
                  </a:lnTo>
                  <a:lnTo>
                    <a:pt x="29" y="105"/>
                  </a:lnTo>
                  <a:lnTo>
                    <a:pt x="26" y="107"/>
                  </a:lnTo>
                  <a:lnTo>
                    <a:pt x="24" y="110"/>
                  </a:lnTo>
                  <a:lnTo>
                    <a:pt x="22" y="110"/>
                  </a:lnTo>
                  <a:lnTo>
                    <a:pt x="22" y="112"/>
                  </a:lnTo>
                  <a:lnTo>
                    <a:pt x="19" y="112"/>
                  </a:lnTo>
                  <a:lnTo>
                    <a:pt x="17" y="112"/>
                  </a:lnTo>
                  <a:lnTo>
                    <a:pt x="19" y="112"/>
                  </a:lnTo>
                  <a:lnTo>
                    <a:pt x="17" y="112"/>
                  </a:lnTo>
                  <a:lnTo>
                    <a:pt x="15" y="112"/>
                  </a:lnTo>
                  <a:lnTo>
                    <a:pt x="15" y="110"/>
                  </a:lnTo>
                  <a:lnTo>
                    <a:pt x="12" y="110"/>
                  </a:lnTo>
                  <a:lnTo>
                    <a:pt x="12" y="107"/>
                  </a:lnTo>
                  <a:lnTo>
                    <a:pt x="10" y="107"/>
                  </a:lnTo>
                  <a:lnTo>
                    <a:pt x="7" y="107"/>
                  </a:lnTo>
                  <a:lnTo>
                    <a:pt x="5" y="107"/>
                  </a:lnTo>
                  <a:lnTo>
                    <a:pt x="5" y="110"/>
                  </a:lnTo>
                  <a:lnTo>
                    <a:pt x="3" y="110"/>
                  </a:lnTo>
                  <a:lnTo>
                    <a:pt x="0" y="107"/>
                  </a:lnTo>
                  <a:lnTo>
                    <a:pt x="0" y="105"/>
                  </a:lnTo>
                  <a:lnTo>
                    <a:pt x="0" y="103"/>
                  </a:lnTo>
                  <a:lnTo>
                    <a:pt x="3" y="103"/>
                  </a:lnTo>
                  <a:lnTo>
                    <a:pt x="5" y="103"/>
                  </a:lnTo>
                  <a:lnTo>
                    <a:pt x="7" y="103"/>
                  </a:lnTo>
                  <a:lnTo>
                    <a:pt x="10" y="103"/>
                  </a:lnTo>
                  <a:lnTo>
                    <a:pt x="12" y="105"/>
                  </a:lnTo>
                  <a:lnTo>
                    <a:pt x="15" y="105"/>
                  </a:lnTo>
                  <a:lnTo>
                    <a:pt x="17" y="105"/>
                  </a:lnTo>
                  <a:close/>
                  <a:moveTo>
                    <a:pt x="31" y="103"/>
                  </a:moveTo>
                  <a:lnTo>
                    <a:pt x="29" y="103"/>
                  </a:lnTo>
                  <a:lnTo>
                    <a:pt x="29" y="100"/>
                  </a:lnTo>
                  <a:lnTo>
                    <a:pt x="29" y="103"/>
                  </a:lnTo>
                  <a:lnTo>
                    <a:pt x="31" y="103"/>
                  </a:lnTo>
                  <a:close/>
                  <a:moveTo>
                    <a:pt x="50" y="84"/>
                  </a:moveTo>
                  <a:lnTo>
                    <a:pt x="50" y="86"/>
                  </a:lnTo>
                  <a:lnTo>
                    <a:pt x="48" y="86"/>
                  </a:lnTo>
                  <a:lnTo>
                    <a:pt x="45" y="86"/>
                  </a:lnTo>
                  <a:lnTo>
                    <a:pt x="48" y="86"/>
                  </a:lnTo>
                  <a:lnTo>
                    <a:pt x="48" y="84"/>
                  </a:lnTo>
                  <a:lnTo>
                    <a:pt x="48" y="86"/>
                  </a:lnTo>
                  <a:lnTo>
                    <a:pt x="45" y="86"/>
                  </a:lnTo>
                  <a:lnTo>
                    <a:pt x="45" y="84"/>
                  </a:lnTo>
                  <a:lnTo>
                    <a:pt x="48" y="84"/>
                  </a:lnTo>
                  <a:lnTo>
                    <a:pt x="50" y="84"/>
                  </a:lnTo>
                  <a:lnTo>
                    <a:pt x="50" y="81"/>
                  </a:lnTo>
                  <a:lnTo>
                    <a:pt x="53" y="81"/>
                  </a:lnTo>
                  <a:lnTo>
                    <a:pt x="55" y="81"/>
                  </a:lnTo>
                  <a:lnTo>
                    <a:pt x="55" y="84"/>
                  </a:lnTo>
                  <a:lnTo>
                    <a:pt x="57" y="84"/>
                  </a:lnTo>
                  <a:lnTo>
                    <a:pt x="60" y="84"/>
                  </a:lnTo>
                  <a:lnTo>
                    <a:pt x="60" y="86"/>
                  </a:lnTo>
                  <a:lnTo>
                    <a:pt x="57" y="86"/>
                  </a:lnTo>
                  <a:lnTo>
                    <a:pt x="55" y="86"/>
                  </a:lnTo>
                  <a:lnTo>
                    <a:pt x="53" y="86"/>
                  </a:lnTo>
                  <a:lnTo>
                    <a:pt x="50" y="86"/>
                  </a:lnTo>
                  <a:lnTo>
                    <a:pt x="50" y="84"/>
                  </a:lnTo>
                  <a:close/>
                  <a:moveTo>
                    <a:pt x="26" y="88"/>
                  </a:moveTo>
                  <a:lnTo>
                    <a:pt x="26" y="91"/>
                  </a:lnTo>
                  <a:lnTo>
                    <a:pt x="29" y="91"/>
                  </a:lnTo>
                  <a:lnTo>
                    <a:pt x="26" y="91"/>
                  </a:lnTo>
                  <a:lnTo>
                    <a:pt x="29" y="91"/>
                  </a:lnTo>
                  <a:lnTo>
                    <a:pt x="29" y="93"/>
                  </a:lnTo>
                  <a:lnTo>
                    <a:pt x="29" y="95"/>
                  </a:lnTo>
                  <a:lnTo>
                    <a:pt x="29" y="98"/>
                  </a:lnTo>
                  <a:lnTo>
                    <a:pt x="26" y="98"/>
                  </a:lnTo>
                  <a:lnTo>
                    <a:pt x="29" y="98"/>
                  </a:lnTo>
                  <a:lnTo>
                    <a:pt x="29" y="100"/>
                  </a:lnTo>
                  <a:lnTo>
                    <a:pt x="29" y="103"/>
                  </a:lnTo>
                  <a:lnTo>
                    <a:pt x="26" y="103"/>
                  </a:lnTo>
                  <a:lnTo>
                    <a:pt x="24" y="103"/>
                  </a:lnTo>
                  <a:lnTo>
                    <a:pt x="24" y="100"/>
                  </a:lnTo>
                  <a:lnTo>
                    <a:pt x="22" y="100"/>
                  </a:lnTo>
                  <a:lnTo>
                    <a:pt x="19" y="100"/>
                  </a:lnTo>
                  <a:lnTo>
                    <a:pt x="19" y="103"/>
                  </a:lnTo>
                  <a:lnTo>
                    <a:pt x="17" y="103"/>
                  </a:lnTo>
                  <a:lnTo>
                    <a:pt x="15" y="103"/>
                  </a:lnTo>
                  <a:lnTo>
                    <a:pt x="12" y="103"/>
                  </a:lnTo>
                  <a:lnTo>
                    <a:pt x="12" y="100"/>
                  </a:lnTo>
                  <a:lnTo>
                    <a:pt x="12" y="98"/>
                  </a:lnTo>
                  <a:lnTo>
                    <a:pt x="12" y="100"/>
                  </a:lnTo>
                  <a:lnTo>
                    <a:pt x="10" y="100"/>
                  </a:lnTo>
                  <a:lnTo>
                    <a:pt x="7" y="100"/>
                  </a:lnTo>
                  <a:lnTo>
                    <a:pt x="5" y="98"/>
                  </a:lnTo>
                  <a:lnTo>
                    <a:pt x="3" y="98"/>
                  </a:lnTo>
                  <a:lnTo>
                    <a:pt x="3" y="95"/>
                  </a:lnTo>
                  <a:lnTo>
                    <a:pt x="5" y="95"/>
                  </a:lnTo>
                  <a:lnTo>
                    <a:pt x="5" y="93"/>
                  </a:lnTo>
                  <a:lnTo>
                    <a:pt x="7" y="93"/>
                  </a:lnTo>
                  <a:lnTo>
                    <a:pt x="10" y="93"/>
                  </a:lnTo>
                  <a:lnTo>
                    <a:pt x="12" y="93"/>
                  </a:lnTo>
                  <a:lnTo>
                    <a:pt x="15" y="93"/>
                  </a:lnTo>
                  <a:lnTo>
                    <a:pt x="12" y="93"/>
                  </a:lnTo>
                  <a:lnTo>
                    <a:pt x="15" y="93"/>
                  </a:lnTo>
                  <a:lnTo>
                    <a:pt x="17" y="93"/>
                  </a:lnTo>
                  <a:lnTo>
                    <a:pt x="19" y="93"/>
                  </a:lnTo>
                  <a:lnTo>
                    <a:pt x="19" y="95"/>
                  </a:lnTo>
                  <a:lnTo>
                    <a:pt x="17" y="95"/>
                  </a:lnTo>
                  <a:lnTo>
                    <a:pt x="15" y="95"/>
                  </a:lnTo>
                  <a:lnTo>
                    <a:pt x="12" y="95"/>
                  </a:lnTo>
                  <a:lnTo>
                    <a:pt x="10" y="95"/>
                  </a:lnTo>
                  <a:lnTo>
                    <a:pt x="10" y="93"/>
                  </a:lnTo>
                  <a:lnTo>
                    <a:pt x="10" y="95"/>
                  </a:lnTo>
                  <a:lnTo>
                    <a:pt x="12" y="95"/>
                  </a:lnTo>
                  <a:lnTo>
                    <a:pt x="12" y="98"/>
                  </a:lnTo>
                  <a:lnTo>
                    <a:pt x="12" y="95"/>
                  </a:lnTo>
                  <a:lnTo>
                    <a:pt x="15" y="95"/>
                  </a:lnTo>
                  <a:lnTo>
                    <a:pt x="17" y="95"/>
                  </a:lnTo>
                  <a:lnTo>
                    <a:pt x="19" y="95"/>
                  </a:lnTo>
                  <a:lnTo>
                    <a:pt x="22" y="95"/>
                  </a:lnTo>
                  <a:lnTo>
                    <a:pt x="22" y="98"/>
                  </a:lnTo>
                  <a:lnTo>
                    <a:pt x="22" y="100"/>
                  </a:lnTo>
                  <a:lnTo>
                    <a:pt x="22" y="98"/>
                  </a:lnTo>
                  <a:lnTo>
                    <a:pt x="22" y="95"/>
                  </a:lnTo>
                  <a:lnTo>
                    <a:pt x="22" y="98"/>
                  </a:lnTo>
                  <a:lnTo>
                    <a:pt x="24" y="98"/>
                  </a:lnTo>
                  <a:lnTo>
                    <a:pt x="24" y="100"/>
                  </a:lnTo>
                  <a:lnTo>
                    <a:pt x="26" y="100"/>
                  </a:lnTo>
                  <a:lnTo>
                    <a:pt x="29" y="100"/>
                  </a:lnTo>
                  <a:lnTo>
                    <a:pt x="29" y="98"/>
                  </a:lnTo>
                  <a:lnTo>
                    <a:pt x="26" y="98"/>
                  </a:lnTo>
                  <a:lnTo>
                    <a:pt x="26" y="95"/>
                  </a:lnTo>
                  <a:lnTo>
                    <a:pt x="24" y="95"/>
                  </a:lnTo>
                  <a:lnTo>
                    <a:pt x="22" y="95"/>
                  </a:lnTo>
                  <a:lnTo>
                    <a:pt x="22" y="93"/>
                  </a:lnTo>
                  <a:lnTo>
                    <a:pt x="24" y="93"/>
                  </a:lnTo>
                  <a:lnTo>
                    <a:pt x="26" y="93"/>
                  </a:lnTo>
                  <a:lnTo>
                    <a:pt x="26" y="91"/>
                  </a:lnTo>
                  <a:lnTo>
                    <a:pt x="26" y="93"/>
                  </a:lnTo>
                  <a:lnTo>
                    <a:pt x="26" y="91"/>
                  </a:lnTo>
                  <a:lnTo>
                    <a:pt x="26" y="93"/>
                  </a:lnTo>
                  <a:lnTo>
                    <a:pt x="26" y="91"/>
                  </a:lnTo>
                  <a:lnTo>
                    <a:pt x="26" y="93"/>
                  </a:lnTo>
                  <a:lnTo>
                    <a:pt x="26" y="91"/>
                  </a:lnTo>
                  <a:lnTo>
                    <a:pt x="24" y="91"/>
                  </a:lnTo>
                  <a:lnTo>
                    <a:pt x="26" y="91"/>
                  </a:lnTo>
                  <a:lnTo>
                    <a:pt x="29" y="91"/>
                  </a:lnTo>
                  <a:lnTo>
                    <a:pt x="26" y="91"/>
                  </a:lnTo>
                  <a:lnTo>
                    <a:pt x="26" y="88"/>
                  </a:lnTo>
                  <a:lnTo>
                    <a:pt x="24" y="88"/>
                  </a:lnTo>
                  <a:lnTo>
                    <a:pt x="24" y="91"/>
                  </a:lnTo>
                  <a:lnTo>
                    <a:pt x="22" y="91"/>
                  </a:lnTo>
                  <a:lnTo>
                    <a:pt x="22" y="93"/>
                  </a:lnTo>
                  <a:lnTo>
                    <a:pt x="19" y="91"/>
                  </a:lnTo>
                  <a:lnTo>
                    <a:pt x="17" y="91"/>
                  </a:lnTo>
                  <a:lnTo>
                    <a:pt x="17" y="88"/>
                  </a:lnTo>
                  <a:lnTo>
                    <a:pt x="15" y="88"/>
                  </a:lnTo>
                  <a:lnTo>
                    <a:pt x="17" y="88"/>
                  </a:lnTo>
                  <a:lnTo>
                    <a:pt x="15" y="88"/>
                  </a:lnTo>
                  <a:lnTo>
                    <a:pt x="12" y="88"/>
                  </a:lnTo>
                  <a:lnTo>
                    <a:pt x="12" y="86"/>
                  </a:lnTo>
                  <a:lnTo>
                    <a:pt x="15" y="86"/>
                  </a:lnTo>
                  <a:lnTo>
                    <a:pt x="17" y="86"/>
                  </a:lnTo>
                  <a:lnTo>
                    <a:pt x="17" y="84"/>
                  </a:lnTo>
                  <a:lnTo>
                    <a:pt x="17" y="81"/>
                  </a:lnTo>
                  <a:lnTo>
                    <a:pt x="19" y="81"/>
                  </a:lnTo>
                  <a:lnTo>
                    <a:pt x="22" y="81"/>
                  </a:lnTo>
                  <a:lnTo>
                    <a:pt x="24" y="81"/>
                  </a:lnTo>
                  <a:lnTo>
                    <a:pt x="24" y="79"/>
                  </a:lnTo>
                  <a:lnTo>
                    <a:pt x="22" y="79"/>
                  </a:lnTo>
                  <a:lnTo>
                    <a:pt x="24" y="79"/>
                  </a:lnTo>
                  <a:lnTo>
                    <a:pt x="24" y="76"/>
                  </a:lnTo>
                  <a:lnTo>
                    <a:pt x="22" y="76"/>
                  </a:lnTo>
                  <a:lnTo>
                    <a:pt x="22" y="74"/>
                  </a:lnTo>
                  <a:lnTo>
                    <a:pt x="24" y="74"/>
                  </a:lnTo>
                  <a:lnTo>
                    <a:pt x="22" y="74"/>
                  </a:lnTo>
                  <a:lnTo>
                    <a:pt x="24" y="74"/>
                  </a:lnTo>
                  <a:lnTo>
                    <a:pt x="24" y="76"/>
                  </a:lnTo>
                  <a:lnTo>
                    <a:pt x="22" y="76"/>
                  </a:lnTo>
                  <a:lnTo>
                    <a:pt x="24" y="76"/>
                  </a:lnTo>
                  <a:lnTo>
                    <a:pt x="26" y="76"/>
                  </a:lnTo>
                  <a:lnTo>
                    <a:pt x="29" y="79"/>
                  </a:lnTo>
                  <a:lnTo>
                    <a:pt x="31" y="79"/>
                  </a:lnTo>
                  <a:lnTo>
                    <a:pt x="34" y="79"/>
                  </a:lnTo>
                  <a:lnTo>
                    <a:pt x="34" y="81"/>
                  </a:lnTo>
                  <a:lnTo>
                    <a:pt x="36" y="81"/>
                  </a:lnTo>
                  <a:lnTo>
                    <a:pt x="34" y="81"/>
                  </a:lnTo>
                  <a:lnTo>
                    <a:pt x="31" y="81"/>
                  </a:lnTo>
                  <a:lnTo>
                    <a:pt x="31" y="84"/>
                  </a:lnTo>
                  <a:lnTo>
                    <a:pt x="29" y="84"/>
                  </a:lnTo>
                  <a:lnTo>
                    <a:pt x="26" y="81"/>
                  </a:lnTo>
                  <a:lnTo>
                    <a:pt x="24" y="81"/>
                  </a:lnTo>
                  <a:lnTo>
                    <a:pt x="24" y="84"/>
                  </a:lnTo>
                  <a:lnTo>
                    <a:pt x="26" y="84"/>
                  </a:lnTo>
                  <a:lnTo>
                    <a:pt x="29" y="84"/>
                  </a:lnTo>
                  <a:lnTo>
                    <a:pt x="29" y="86"/>
                  </a:lnTo>
                  <a:lnTo>
                    <a:pt x="31" y="86"/>
                  </a:lnTo>
                  <a:lnTo>
                    <a:pt x="31" y="88"/>
                  </a:lnTo>
                  <a:lnTo>
                    <a:pt x="34" y="88"/>
                  </a:lnTo>
                  <a:lnTo>
                    <a:pt x="34" y="86"/>
                  </a:lnTo>
                  <a:lnTo>
                    <a:pt x="36" y="88"/>
                  </a:lnTo>
                  <a:lnTo>
                    <a:pt x="34" y="88"/>
                  </a:lnTo>
                  <a:lnTo>
                    <a:pt x="31" y="91"/>
                  </a:lnTo>
                  <a:lnTo>
                    <a:pt x="29" y="91"/>
                  </a:lnTo>
                  <a:lnTo>
                    <a:pt x="29" y="88"/>
                  </a:lnTo>
                  <a:lnTo>
                    <a:pt x="26" y="88"/>
                  </a:lnTo>
                  <a:close/>
                  <a:moveTo>
                    <a:pt x="60" y="72"/>
                  </a:moveTo>
                  <a:lnTo>
                    <a:pt x="60" y="74"/>
                  </a:lnTo>
                  <a:lnTo>
                    <a:pt x="62" y="74"/>
                  </a:lnTo>
                  <a:lnTo>
                    <a:pt x="64" y="74"/>
                  </a:lnTo>
                  <a:lnTo>
                    <a:pt x="67" y="74"/>
                  </a:lnTo>
                  <a:lnTo>
                    <a:pt x="67" y="76"/>
                  </a:lnTo>
                  <a:lnTo>
                    <a:pt x="69" y="76"/>
                  </a:lnTo>
                  <a:lnTo>
                    <a:pt x="69" y="79"/>
                  </a:lnTo>
                  <a:lnTo>
                    <a:pt x="69" y="81"/>
                  </a:lnTo>
                  <a:lnTo>
                    <a:pt x="67" y="81"/>
                  </a:lnTo>
                  <a:lnTo>
                    <a:pt x="67" y="84"/>
                  </a:lnTo>
                  <a:lnTo>
                    <a:pt x="67" y="81"/>
                  </a:lnTo>
                  <a:lnTo>
                    <a:pt x="64" y="81"/>
                  </a:lnTo>
                  <a:lnTo>
                    <a:pt x="62" y="81"/>
                  </a:lnTo>
                  <a:lnTo>
                    <a:pt x="60" y="81"/>
                  </a:lnTo>
                  <a:lnTo>
                    <a:pt x="57" y="81"/>
                  </a:lnTo>
                  <a:lnTo>
                    <a:pt x="55" y="81"/>
                  </a:lnTo>
                  <a:lnTo>
                    <a:pt x="53" y="81"/>
                  </a:lnTo>
                  <a:lnTo>
                    <a:pt x="50" y="81"/>
                  </a:lnTo>
                  <a:lnTo>
                    <a:pt x="48" y="81"/>
                  </a:lnTo>
                  <a:lnTo>
                    <a:pt x="45" y="81"/>
                  </a:lnTo>
                  <a:lnTo>
                    <a:pt x="43" y="81"/>
                  </a:lnTo>
                  <a:lnTo>
                    <a:pt x="43" y="79"/>
                  </a:lnTo>
                  <a:lnTo>
                    <a:pt x="45" y="79"/>
                  </a:lnTo>
                  <a:lnTo>
                    <a:pt x="45" y="76"/>
                  </a:lnTo>
                  <a:lnTo>
                    <a:pt x="48" y="76"/>
                  </a:lnTo>
                  <a:lnTo>
                    <a:pt x="50" y="76"/>
                  </a:lnTo>
                  <a:lnTo>
                    <a:pt x="53" y="76"/>
                  </a:lnTo>
                  <a:lnTo>
                    <a:pt x="53" y="74"/>
                  </a:lnTo>
                  <a:lnTo>
                    <a:pt x="55" y="74"/>
                  </a:lnTo>
                  <a:lnTo>
                    <a:pt x="57" y="74"/>
                  </a:lnTo>
                  <a:lnTo>
                    <a:pt x="57" y="72"/>
                  </a:lnTo>
                  <a:lnTo>
                    <a:pt x="57" y="74"/>
                  </a:lnTo>
                  <a:lnTo>
                    <a:pt x="57" y="72"/>
                  </a:lnTo>
                  <a:lnTo>
                    <a:pt x="60" y="72"/>
                  </a:lnTo>
                  <a:close/>
                  <a:moveTo>
                    <a:pt x="67" y="41"/>
                  </a:moveTo>
                  <a:lnTo>
                    <a:pt x="67" y="38"/>
                  </a:lnTo>
                  <a:lnTo>
                    <a:pt x="64" y="38"/>
                  </a:lnTo>
                  <a:lnTo>
                    <a:pt x="67" y="38"/>
                  </a:lnTo>
                  <a:lnTo>
                    <a:pt x="67" y="41"/>
                  </a:lnTo>
                  <a:close/>
                  <a:moveTo>
                    <a:pt x="36" y="88"/>
                  </a:moveTo>
                  <a:lnTo>
                    <a:pt x="34" y="88"/>
                  </a:lnTo>
                  <a:lnTo>
                    <a:pt x="36" y="88"/>
                  </a:lnTo>
                  <a:lnTo>
                    <a:pt x="38" y="88"/>
                  </a:lnTo>
                  <a:lnTo>
                    <a:pt x="41" y="88"/>
                  </a:lnTo>
                  <a:lnTo>
                    <a:pt x="43" y="88"/>
                  </a:lnTo>
                  <a:lnTo>
                    <a:pt x="41" y="88"/>
                  </a:lnTo>
                  <a:lnTo>
                    <a:pt x="43" y="88"/>
                  </a:lnTo>
                  <a:lnTo>
                    <a:pt x="43" y="86"/>
                  </a:lnTo>
                  <a:lnTo>
                    <a:pt x="45" y="86"/>
                  </a:lnTo>
                  <a:lnTo>
                    <a:pt x="48" y="86"/>
                  </a:lnTo>
                  <a:lnTo>
                    <a:pt x="48" y="88"/>
                  </a:lnTo>
                  <a:lnTo>
                    <a:pt x="50" y="86"/>
                  </a:lnTo>
                  <a:lnTo>
                    <a:pt x="50" y="88"/>
                  </a:lnTo>
                  <a:lnTo>
                    <a:pt x="50" y="86"/>
                  </a:lnTo>
                  <a:lnTo>
                    <a:pt x="53" y="86"/>
                  </a:lnTo>
                  <a:lnTo>
                    <a:pt x="55" y="86"/>
                  </a:lnTo>
                  <a:lnTo>
                    <a:pt x="55" y="88"/>
                  </a:lnTo>
                  <a:lnTo>
                    <a:pt x="57" y="86"/>
                  </a:lnTo>
                  <a:lnTo>
                    <a:pt x="60" y="86"/>
                  </a:lnTo>
                  <a:lnTo>
                    <a:pt x="62" y="86"/>
                  </a:lnTo>
                  <a:lnTo>
                    <a:pt x="64" y="86"/>
                  </a:lnTo>
                  <a:lnTo>
                    <a:pt x="62" y="86"/>
                  </a:lnTo>
                  <a:lnTo>
                    <a:pt x="60" y="86"/>
                  </a:lnTo>
                  <a:lnTo>
                    <a:pt x="60" y="84"/>
                  </a:lnTo>
                  <a:lnTo>
                    <a:pt x="60" y="86"/>
                  </a:lnTo>
                  <a:lnTo>
                    <a:pt x="62" y="86"/>
                  </a:lnTo>
                  <a:lnTo>
                    <a:pt x="60" y="84"/>
                  </a:lnTo>
                  <a:lnTo>
                    <a:pt x="60" y="86"/>
                  </a:lnTo>
                  <a:lnTo>
                    <a:pt x="60" y="84"/>
                  </a:lnTo>
                  <a:lnTo>
                    <a:pt x="57" y="84"/>
                  </a:lnTo>
                  <a:lnTo>
                    <a:pt x="60" y="84"/>
                  </a:lnTo>
                  <a:lnTo>
                    <a:pt x="57" y="84"/>
                  </a:lnTo>
                  <a:lnTo>
                    <a:pt x="55" y="81"/>
                  </a:lnTo>
                  <a:lnTo>
                    <a:pt x="57" y="81"/>
                  </a:lnTo>
                  <a:lnTo>
                    <a:pt x="60" y="81"/>
                  </a:lnTo>
                  <a:lnTo>
                    <a:pt x="62" y="81"/>
                  </a:lnTo>
                  <a:lnTo>
                    <a:pt x="64" y="81"/>
                  </a:lnTo>
                  <a:lnTo>
                    <a:pt x="67" y="84"/>
                  </a:lnTo>
                  <a:lnTo>
                    <a:pt x="67" y="81"/>
                  </a:lnTo>
                  <a:lnTo>
                    <a:pt x="69" y="81"/>
                  </a:lnTo>
                  <a:lnTo>
                    <a:pt x="69" y="79"/>
                  </a:lnTo>
                  <a:lnTo>
                    <a:pt x="69" y="76"/>
                  </a:lnTo>
                  <a:lnTo>
                    <a:pt x="67" y="76"/>
                  </a:lnTo>
                  <a:lnTo>
                    <a:pt x="67" y="74"/>
                  </a:lnTo>
                  <a:lnTo>
                    <a:pt x="64" y="74"/>
                  </a:lnTo>
                  <a:lnTo>
                    <a:pt x="62" y="74"/>
                  </a:lnTo>
                  <a:lnTo>
                    <a:pt x="60" y="74"/>
                  </a:lnTo>
                  <a:lnTo>
                    <a:pt x="60" y="72"/>
                  </a:lnTo>
                  <a:lnTo>
                    <a:pt x="57" y="72"/>
                  </a:lnTo>
                  <a:lnTo>
                    <a:pt x="57" y="74"/>
                  </a:lnTo>
                  <a:lnTo>
                    <a:pt x="55" y="74"/>
                  </a:lnTo>
                  <a:lnTo>
                    <a:pt x="53" y="74"/>
                  </a:lnTo>
                  <a:lnTo>
                    <a:pt x="53" y="76"/>
                  </a:lnTo>
                  <a:lnTo>
                    <a:pt x="50" y="76"/>
                  </a:lnTo>
                  <a:lnTo>
                    <a:pt x="48" y="76"/>
                  </a:lnTo>
                  <a:lnTo>
                    <a:pt x="45" y="76"/>
                  </a:lnTo>
                  <a:lnTo>
                    <a:pt x="45" y="79"/>
                  </a:lnTo>
                  <a:lnTo>
                    <a:pt x="43" y="79"/>
                  </a:lnTo>
                  <a:lnTo>
                    <a:pt x="41" y="79"/>
                  </a:lnTo>
                  <a:lnTo>
                    <a:pt x="41" y="76"/>
                  </a:lnTo>
                  <a:lnTo>
                    <a:pt x="41" y="79"/>
                  </a:lnTo>
                  <a:lnTo>
                    <a:pt x="41" y="76"/>
                  </a:lnTo>
                  <a:lnTo>
                    <a:pt x="38" y="79"/>
                  </a:lnTo>
                  <a:lnTo>
                    <a:pt x="38" y="76"/>
                  </a:lnTo>
                  <a:lnTo>
                    <a:pt x="38" y="79"/>
                  </a:lnTo>
                  <a:lnTo>
                    <a:pt x="36" y="76"/>
                  </a:lnTo>
                  <a:lnTo>
                    <a:pt x="36" y="79"/>
                  </a:lnTo>
                  <a:lnTo>
                    <a:pt x="36" y="76"/>
                  </a:lnTo>
                  <a:lnTo>
                    <a:pt x="36" y="79"/>
                  </a:lnTo>
                  <a:lnTo>
                    <a:pt x="36" y="76"/>
                  </a:lnTo>
                  <a:lnTo>
                    <a:pt x="34" y="76"/>
                  </a:lnTo>
                  <a:lnTo>
                    <a:pt x="34" y="79"/>
                  </a:lnTo>
                  <a:lnTo>
                    <a:pt x="36" y="79"/>
                  </a:lnTo>
                  <a:lnTo>
                    <a:pt x="34" y="79"/>
                  </a:lnTo>
                  <a:lnTo>
                    <a:pt x="34" y="76"/>
                  </a:lnTo>
                  <a:lnTo>
                    <a:pt x="34" y="79"/>
                  </a:lnTo>
                  <a:lnTo>
                    <a:pt x="34" y="76"/>
                  </a:lnTo>
                  <a:lnTo>
                    <a:pt x="34" y="79"/>
                  </a:lnTo>
                  <a:lnTo>
                    <a:pt x="31" y="79"/>
                  </a:lnTo>
                  <a:lnTo>
                    <a:pt x="31" y="76"/>
                  </a:lnTo>
                  <a:lnTo>
                    <a:pt x="29" y="76"/>
                  </a:lnTo>
                  <a:lnTo>
                    <a:pt x="26" y="74"/>
                  </a:lnTo>
                  <a:lnTo>
                    <a:pt x="24" y="74"/>
                  </a:lnTo>
                  <a:lnTo>
                    <a:pt x="26" y="74"/>
                  </a:lnTo>
                  <a:lnTo>
                    <a:pt x="26" y="72"/>
                  </a:lnTo>
                  <a:lnTo>
                    <a:pt x="29" y="69"/>
                  </a:lnTo>
                  <a:lnTo>
                    <a:pt x="31" y="67"/>
                  </a:lnTo>
                  <a:lnTo>
                    <a:pt x="34" y="65"/>
                  </a:lnTo>
                  <a:lnTo>
                    <a:pt x="34" y="62"/>
                  </a:lnTo>
                  <a:lnTo>
                    <a:pt x="36" y="62"/>
                  </a:lnTo>
                  <a:lnTo>
                    <a:pt x="36" y="60"/>
                  </a:lnTo>
                  <a:lnTo>
                    <a:pt x="38" y="57"/>
                  </a:lnTo>
                  <a:lnTo>
                    <a:pt x="38" y="55"/>
                  </a:lnTo>
                  <a:lnTo>
                    <a:pt x="41" y="53"/>
                  </a:lnTo>
                  <a:lnTo>
                    <a:pt x="41" y="50"/>
                  </a:lnTo>
                  <a:lnTo>
                    <a:pt x="43" y="50"/>
                  </a:lnTo>
                  <a:lnTo>
                    <a:pt x="45" y="50"/>
                  </a:lnTo>
                  <a:lnTo>
                    <a:pt x="45" y="53"/>
                  </a:lnTo>
                  <a:lnTo>
                    <a:pt x="48" y="53"/>
                  </a:lnTo>
                  <a:lnTo>
                    <a:pt x="50" y="53"/>
                  </a:lnTo>
                  <a:lnTo>
                    <a:pt x="48" y="53"/>
                  </a:lnTo>
                  <a:lnTo>
                    <a:pt x="50" y="53"/>
                  </a:lnTo>
                  <a:lnTo>
                    <a:pt x="48" y="53"/>
                  </a:lnTo>
                  <a:lnTo>
                    <a:pt x="50" y="53"/>
                  </a:lnTo>
                  <a:lnTo>
                    <a:pt x="48" y="53"/>
                  </a:lnTo>
                  <a:lnTo>
                    <a:pt x="50" y="53"/>
                  </a:lnTo>
                  <a:lnTo>
                    <a:pt x="48" y="53"/>
                  </a:lnTo>
                  <a:lnTo>
                    <a:pt x="50" y="53"/>
                  </a:lnTo>
                  <a:lnTo>
                    <a:pt x="50" y="55"/>
                  </a:lnTo>
                  <a:lnTo>
                    <a:pt x="53" y="55"/>
                  </a:lnTo>
                  <a:lnTo>
                    <a:pt x="55" y="55"/>
                  </a:lnTo>
                  <a:lnTo>
                    <a:pt x="55" y="57"/>
                  </a:lnTo>
                  <a:lnTo>
                    <a:pt x="55" y="55"/>
                  </a:lnTo>
                  <a:lnTo>
                    <a:pt x="57" y="57"/>
                  </a:lnTo>
                  <a:lnTo>
                    <a:pt x="57" y="55"/>
                  </a:lnTo>
                  <a:lnTo>
                    <a:pt x="57" y="57"/>
                  </a:lnTo>
                  <a:lnTo>
                    <a:pt x="60" y="57"/>
                  </a:lnTo>
                  <a:lnTo>
                    <a:pt x="60" y="55"/>
                  </a:lnTo>
                  <a:lnTo>
                    <a:pt x="60" y="53"/>
                  </a:lnTo>
                  <a:lnTo>
                    <a:pt x="62" y="53"/>
                  </a:lnTo>
                  <a:lnTo>
                    <a:pt x="62" y="50"/>
                  </a:lnTo>
                  <a:lnTo>
                    <a:pt x="64" y="50"/>
                  </a:lnTo>
                  <a:lnTo>
                    <a:pt x="67" y="48"/>
                  </a:lnTo>
                  <a:lnTo>
                    <a:pt x="69" y="48"/>
                  </a:lnTo>
                  <a:lnTo>
                    <a:pt x="69" y="46"/>
                  </a:lnTo>
                  <a:lnTo>
                    <a:pt x="69" y="43"/>
                  </a:lnTo>
                  <a:lnTo>
                    <a:pt x="67" y="41"/>
                  </a:lnTo>
                  <a:lnTo>
                    <a:pt x="69" y="41"/>
                  </a:lnTo>
                  <a:lnTo>
                    <a:pt x="69" y="43"/>
                  </a:lnTo>
                  <a:lnTo>
                    <a:pt x="69" y="46"/>
                  </a:lnTo>
                  <a:lnTo>
                    <a:pt x="69" y="48"/>
                  </a:lnTo>
                  <a:lnTo>
                    <a:pt x="69" y="46"/>
                  </a:lnTo>
                  <a:lnTo>
                    <a:pt x="72" y="46"/>
                  </a:lnTo>
                  <a:lnTo>
                    <a:pt x="72" y="43"/>
                  </a:lnTo>
                  <a:lnTo>
                    <a:pt x="74" y="43"/>
                  </a:lnTo>
                  <a:lnTo>
                    <a:pt x="76" y="43"/>
                  </a:lnTo>
                  <a:lnTo>
                    <a:pt x="76" y="41"/>
                  </a:lnTo>
                  <a:lnTo>
                    <a:pt x="74" y="41"/>
                  </a:lnTo>
                  <a:lnTo>
                    <a:pt x="74" y="38"/>
                  </a:lnTo>
                  <a:lnTo>
                    <a:pt x="74" y="36"/>
                  </a:lnTo>
                  <a:lnTo>
                    <a:pt x="74" y="34"/>
                  </a:lnTo>
                  <a:lnTo>
                    <a:pt x="76" y="34"/>
                  </a:lnTo>
                  <a:lnTo>
                    <a:pt x="76" y="31"/>
                  </a:lnTo>
                  <a:lnTo>
                    <a:pt x="79" y="31"/>
                  </a:lnTo>
                  <a:lnTo>
                    <a:pt x="76" y="31"/>
                  </a:lnTo>
                  <a:lnTo>
                    <a:pt x="74" y="31"/>
                  </a:lnTo>
                  <a:lnTo>
                    <a:pt x="72" y="31"/>
                  </a:lnTo>
                  <a:lnTo>
                    <a:pt x="69" y="31"/>
                  </a:lnTo>
                  <a:lnTo>
                    <a:pt x="67" y="31"/>
                  </a:lnTo>
                  <a:lnTo>
                    <a:pt x="67" y="29"/>
                  </a:lnTo>
                  <a:lnTo>
                    <a:pt x="69" y="29"/>
                  </a:lnTo>
                  <a:lnTo>
                    <a:pt x="69" y="27"/>
                  </a:lnTo>
                  <a:lnTo>
                    <a:pt x="67" y="27"/>
                  </a:lnTo>
                  <a:lnTo>
                    <a:pt x="69" y="27"/>
                  </a:lnTo>
                  <a:lnTo>
                    <a:pt x="69" y="24"/>
                  </a:lnTo>
                  <a:lnTo>
                    <a:pt x="67" y="24"/>
                  </a:lnTo>
                  <a:lnTo>
                    <a:pt x="67" y="22"/>
                  </a:lnTo>
                  <a:lnTo>
                    <a:pt x="69" y="22"/>
                  </a:lnTo>
                  <a:lnTo>
                    <a:pt x="67" y="22"/>
                  </a:lnTo>
                  <a:lnTo>
                    <a:pt x="69" y="22"/>
                  </a:lnTo>
                  <a:lnTo>
                    <a:pt x="67" y="22"/>
                  </a:lnTo>
                  <a:lnTo>
                    <a:pt x="67" y="19"/>
                  </a:lnTo>
                  <a:lnTo>
                    <a:pt x="64" y="19"/>
                  </a:lnTo>
                  <a:lnTo>
                    <a:pt x="62" y="22"/>
                  </a:lnTo>
                  <a:lnTo>
                    <a:pt x="57" y="27"/>
                  </a:lnTo>
                  <a:lnTo>
                    <a:pt x="55" y="27"/>
                  </a:lnTo>
                  <a:lnTo>
                    <a:pt x="57" y="27"/>
                  </a:lnTo>
                  <a:lnTo>
                    <a:pt x="57" y="29"/>
                  </a:lnTo>
                  <a:lnTo>
                    <a:pt x="60" y="31"/>
                  </a:lnTo>
                  <a:lnTo>
                    <a:pt x="57" y="31"/>
                  </a:lnTo>
                  <a:lnTo>
                    <a:pt x="57" y="34"/>
                  </a:lnTo>
                  <a:lnTo>
                    <a:pt x="60" y="34"/>
                  </a:lnTo>
                  <a:lnTo>
                    <a:pt x="60" y="36"/>
                  </a:lnTo>
                  <a:lnTo>
                    <a:pt x="62" y="36"/>
                  </a:lnTo>
                  <a:lnTo>
                    <a:pt x="64" y="36"/>
                  </a:lnTo>
                  <a:lnTo>
                    <a:pt x="64" y="38"/>
                  </a:lnTo>
                  <a:lnTo>
                    <a:pt x="62" y="38"/>
                  </a:lnTo>
                  <a:lnTo>
                    <a:pt x="62" y="41"/>
                  </a:lnTo>
                  <a:lnTo>
                    <a:pt x="60" y="41"/>
                  </a:lnTo>
                  <a:lnTo>
                    <a:pt x="60" y="43"/>
                  </a:lnTo>
                  <a:lnTo>
                    <a:pt x="60" y="41"/>
                  </a:lnTo>
                  <a:lnTo>
                    <a:pt x="57" y="41"/>
                  </a:lnTo>
                  <a:lnTo>
                    <a:pt x="55" y="41"/>
                  </a:lnTo>
                  <a:lnTo>
                    <a:pt x="55" y="43"/>
                  </a:lnTo>
                  <a:lnTo>
                    <a:pt x="55" y="46"/>
                  </a:lnTo>
                  <a:lnTo>
                    <a:pt x="57" y="46"/>
                  </a:lnTo>
                  <a:lnTo>
                    <a:pt x="57" y="48"/>
                  </a:lnTo>
                  <a:lnTo>
                    <a:pt x="57" y="50"/>
                  </a:lnTo>
                  <a:lnTo>
                    <a:pt x="55" y="50"/>
                  </a:lnTo>
                  <a:lnTo>
                    <a:pt x="57" y="50"/>
                  </a:lnTo>
                  <a:lnTo>
                    <a:pt x="57" y="48"/>
                  </a:lnTo>
                  <a:lnTo>
                    <a:pt x="57" y="50"/>
                  </a:lnTo>
                  <a:lnTo>
                    <a:pt x="60" y="50"/>
                  </a:lnTo>
                  <a:lnTo>
                    <a:pt x="57" y="50"/>
                  </a:lnTo>
                  <a:lnTo>
                    <a:pt x="57" y="53"/>
                  </a:lnTo>
                  <a:lnTo>
                    <a:pt x="57" y="50"/>
                  </a:lnTo>
                  <a:lnTo>
                    <a:pt x="57" y="53"/>
                  </a:lnTo>
                  <a:lnTo>
                    <a:pt x="55" y="53"/>
                  </a:lnTo>
                  <a:lnTo>
                    <a:pt x="55" y="55"/>
                  </a:lnTo>
                  <a:lnTo>
                    <a:pt x="53" y="55"/>
                  </a:lnTo>
                  <a:lnTo>
                    <a:pt x="53" y="53"/>
                  </a:lnTo>
                  <a:lnTo>
                    <a:pt x="53" y="55"/>
                  </a:lnTo>
                  <a:lnTo>
                    <a:pt x="53" y="53"/>
                  </a:lnTo>
                  <a:lnTo>
                    <a:pt x="50" y="53"/>
                  </a:lnTo>
                  <a:lnTo>
                    <a:pt x="48" y="53"/>
                  </a:lnTo>
                  <a:lnTo>
                    <a:pt x="45" y="53"/>
                  </a:lnTo>
                  <a:lnTo>
                    <a:pt x="45" y="50"/>
                  </a:lnTo>
                  <a:lnTo>
                    <a:pt x="43" y="50"/>
                  </a:lnTo>
                  <a:lnTo>
                    <a:pt x="41" y="50"/>
                  </a:lnTo>
                  <a:lnTo>
                    <a:pt x="43" y="50"/>
                  </a:lnTo>
                  <a:lnTo>
                    <a:pt x="41" y="50"/>
                  </a:lnTo>
                  <a:lnTo>
                    <a:pt x="41" y="48"/>
                  </a:lnTo>
                  <a:lnTo>
                    <a:pt x="41" y="46"/>
                  </a:lnTo>
                  <a:lnTo>
                    <a:pt x="43" y="43"/>
                  </a:lnTo>
                  <a:lnTo>
                    <a:pt x="43" y="41"/>
                  </a:lnTo>
                  <a:lnTo>
                    <a:pt x="43" y="38"/>
                  </a:lnTo>
                  <a:lnTo>
                    <a:pt x="43" y="36"/>
                  </a:lnTo>
                  <a:lnTo>
                    <a:pt x="43" y="34"/>
                  </a:lnTo>
                  <a:lnTo>
                    <a:pt x="45" y="31"/>
                  </a:lnTo>
                  <a:lnTo>
                    <a:pt x="45" y="29"/>
                  </a:lnTo>
                  <a:lnTo>
                    <a:pt x="45" y="27"/>
                  </a:lnTo>
                  <a:lnTo>
                    <a:pt x="45" y="24"/>
                  </a:lnTo>
                  <a:lnTo>
                    <a:pt x="48" y="24"/>
                  </a:lnTo>
                  <a:lnTo>
                    <a:pt x="48" y="27"/>
                  </a:lnTo>
                  <a:lnTo>
                    <a:pt x="48" y="24"/>
                  </a:lnTo>
                  <a:lnTo>
                    <a:pt x="48" y="27"/>
                  </a:lnTo>
                  <a:lnTo>
                    <a:pt x="48" y="29"/>
                  </a:lnTo>
                  <a:lnTo>
                    <a:pt x="50" y="29"/>
                  </a:lnTo>
                  <a:lnTo>
                    <a:pt x="53" y="29"/>
                  </a:lnTo>
                  <a:lnTo>
                    <a:pt x="53" y="27"/>
                  </a:lnTo>
                  <a:lnTo>
                    <a:pt x="55" y="27"/>
                  </a:lnTo>
                  <a:lnTo>
                    <a:pt x="57" y="27"/>
                  </a:lnTo>
                  <a:lnTo>
                    <a:pt x="55" y="27"/>
                  </a:lnTo>
                  <a:lnTo>
                    <a:pt x="57" y="27"/>
                  </a:lnTo>
                  <a:lnTo>
                    <a:pt x="62" y="22"/>
                  </a:lnTo>
                  <a:lnTo>
                    <a:pt x="64" y="19"/>
                  </a:lnTo>
                  <a:lnTo>
                    <a:pt x="67" y="19"/>
                  </a:lnTo>
                  <a:lnTo>
                    <a:pt x="67" y="17"/>
                  </a:lnTo>
                  <a:lnTo>
                    <a:pt x="69" y="17"/>
                  </a:lnTo>
                  <a:lnTo>
                    <a:pt x="69" y="15"/>
                  </a:lnTo>
                  <a:lnTo>
                    <a:pt x="69" y="12"/>
                  </a:lnTo>
                  <a:lnTo>
                    <a:pt x="72" y="12"/>
                  </a:lnTo>
                  <a:lnTo>
                    <a:pt x="72" y="10"/>
                  </a:lnTo>
                  <a:lnTo>
                    <a:pt x="74" y="10"/>
                  </a:lnTo>
                  <a:lnTo>
                    <a:pt x="74" y="8"/>
                  </a:lnTo>
                  <a:lnTo>
                    <a:pt x="76" y="8"/>
                  </a:lnTo>
                  <a:lnTo>
                    <a:pt x="79" y="8"/>
                  </a:lnTo>
                  <a:lnTo>
                    <a:pt x="79" y="5"/>
                  </a:lnTo>
                  <a:lnTo>
                    <a:pt x="81" y="5"/>
                  </a:lnTo>
                  <a:lnTo>
                    <a:pt x="83" y="5"/>
                  </a:lnTo>
                  <a:lnTo>
                    <a:pt x="83" y="3"/>
                  </a:lnTo>
                  <a:lnTo>
                    <a:pt x="86" y="3"/>
                  </a:lnTo>
                  <a:lnTo>
                    <a:pt x="88" y="3"/>
                  </a:lnTo>
                  <a:lnTo>
                    <a:pt x="91" y="3"/>
                  </a:lnTo>
                  <a:lnTo>
                    <a:pt x="93" y="3"/>
                  </a:lnTo>
                  <a:lnTo>
                    <a:pt x="95" y="3"/>
                  </a:lnTo>
                  <a:lnTo>
                    <a:pt x="98" y="3"/>
                  </a:lnTo>
                  <a:lnTo>
                    <a:pt x="100" y="3"/>
                  </a:lnTo>
                  <a:lnTo>
                    <a:pt x="102" y="3"/>
                  </a:lnTo>
                  <a:lnTo>
                    <a:pt x="105" y="3"/>
                  </a:lnTo>
                  <a:lnTo>
                    <a:pt x="107" y="0"/>
                  </a:lnTo>
                  <a:lnTo>
                    <a:pt x="109" y="0"/>
                  </a:lnTo>
                  <a:lnTo>
                    <a:pt x="112" y="0"/>
                  </a:lnTo>
                  <a:lnTo>
                    <a:pt x="114" y="0"/>
                  </a:lnTo>
                  <a:lnTo>
                    <a:pt x="117" y="0"/>
                  </a:lnTo>
                  <a:lnTo>
                    <a:pt x="114" y="0"/>
                  </a:lnTo>
                  <a:lnTo>
                    <a:pt x="117" y="0"/>
                  </a:lnTo>
                  <a:lnTo>
                    <a:pt x="117" y="3"/>
                  </a:lnTo>
                  <a:lnTo>
                    <a:pt x="117" y="5"/>
                  </a:lnTo>
                  <a:lnTo>
                    <a:pt x="119" y="8"/>
                  </a:lnTo>
                  <a:lnTo>
                    <a:pt x="121" y="8"/>
                  </a:lnTo>
                  <a:lnTo>
                    <a:pt x="124" y="8"/>
                  </a:lnTo>
                  <a:lnTo>
                    <a:pt x="124" y="10"/>
                  </a:lnTo>
                  <a:lnTo>
                    <a:pt x="126" y="10"/>
                  </a:lnTo>
                  <a:lnTo>
                    <a:pt x="126" y="12"/>
                  </a:lnTo>
                  <a:lnTo>
                    <a:pt x="126" y="10"/>
                  </a:lnTo>
                  <a:lnTo>
                    <a:pt x="126" y="12"/>
                  </a:lnTo>
                  <a:lnTo>
                    <a:pt x="128" y="12"/>
                  </a:lnTo>
                  <a:lnTo>
                    <a:pt x="128" y="15"/>
                  </a:lnTo>
                  <a:lnTo>
                    <a:pt x="126" y="15"/>
                  </a:lnTo>
                  <a:lnTo>
                    <a:pt x="126" y="17"/>
                  </a:lnTo>
                  <a:lnTo>
                    <a:pt x="128" y="17"/>
                  </a:lnTo>
                  <a:lnTo>
                    <a:pt x="126" y="19"/>
                  </a:lnTo>
                  <a:lnTo>
                    <a:pt x="128" y="22"/>
                  </a:lnTo>
                  <a:lnTo>
                    <a:pt x="128" y="24"/>
                  </a:lnTo>
                  <a:lnTo>
                    <a:pt x="126" y="27"/>
                  </a:lnTo>
                  <a:lnTo>
                    <a:pt x="124" y="29"/>
                  </a:lnTo>
                  <a:lnTo>
                    <a:pt x="124" y="31"/>
                  </a:lnTo>
                  <a:lnTo>
                    <a:pt x="124" y="34"/>
                  </a:lnTo>
                  <a:lnTo>
                    <a:pt x="124" y="38"/>
                  </a:lnTo>
                  <a:lnTo>
                    <a:pt x="121" y="41"/>
                  </a:lnTo>
                  <a:lnTo>
                    <a:pt x="119" y="41"/>
                  </a:lnTo>
                  <a:lnTo>
                    <a:pt x="117" y="41"/>
                  </a:lnTo>
                  <a:lnTo>
                    <a:pt x="114" y="41"/>
                  </a:lnTo>
                  <a:lnTo>
                    <a:pt x="112" y="41"/>
                  </a:lnTo>
                  <a:lnTo>
                    <a:pt x="112" y="43"/>
                  </a:lnTo>
                  <a:lnTo>
                    <a:pt x="114" y="46"/>
                  </a:lnTo>
                  <a:lnTo>
                    <a:pt x="112" y="46"/>
                  </a:lnTo>
                  <a:lnTo>
                    <a:pt x="109" y="46"/>
                  </a:lnTo>
                  <a:lnTo>
                    <a:pt x="112" y="48"/>
                  </a:lnTo>
                  <a:lnTo>
                    <a:pt x="112" y="50"/>
                  </a:lnTo>
                  <a:lnTo>
                    <a:pt x="114" y="50"/>
                  </a:lnTo>
                  <a:lnTo>
                    <a:pt x="117" y="50"/>
                  </a:lnTo>
                  <a:lnTo>
                    <a:pt x="119" y="50"/>
                  </a:lnTo>
                  <a:lnTo>
                    <a:pt x="121" y="50"/>
                  </a:lnTo>
                  <a:lnTo>
                    <a:pt x="121" y="53"/>
                  </a:lnTo>
                  <a:lnTo>
                    <a:pt x="124" y="53"/>
                  </a:lnTo>
                  <a:lnTo>
                    <a:pt x="124" y="55"/>
                  </a:lnTo>
                  <a:lnTo>
                    <a:pt x="121" y="57"/>
                  </a:lnTo>
                  <a:lnTo>
                    <a:pt x="121" y="60"/>
                  </a:lnTo>
                  <a:lnTo>
                    <a:pt x="124" y="62"/>
                  </a:lnTo>
                  <a:lnTo>
                    <a:pt x="121" y="62"/>
                  </a:lnTo>
                  <a:lnTo>
                    <a:pt x="119" y="62"/>
                  </a:lnTo>
                  <a:lnTo>
                    <a:pt x="119" y="65"/>
                  </a:lnTo>
                  <a:lnTo>
                    <a:pt x="117" y="65"/>
                  </a:lnTo>
                  <a:lnTo>
                    <a:pt x="117" y="67"/>
                  </a:lnTo>
                  <a:lnTo>
                    <a:pt x="114" y="67"/>
                  </a:lnTo>
                  <a:lnTo>
                    <a:pt x="112" y="67"/>
                  </a:lnTo>
                  <a:lnTo>
                    <a:pt x="112" y="69"/>
                  </a:lnTo>
                  <a:lnTo>
                    <a:pt x="109" y="69"/>
                  </a:lnTo>
                  <a:lnTo>
                    <a:pt x="109" y="72"/>
                  </a:lnTo>
                  <a:lnTo>
                    <a:pt x="112" y="72"/>
                  </a:lnTo>
                  <a:lnTo>
                    <a:pt x="114" y="74"/>
                  </a:lnTo>
                  <a:lnTo>
                    <a:pt x="114" y="76"/>
                  </a:lnTo>
                  <a:lnTo>
                    <a:pt x="112" y="76"/>
                  </a:lnTo>
                  <a:lnTo>
                    <a:pt x="112" y="79"/>
                  </a:lnTo>
                  <a:lnTo>
                    <a:pt x="112" y="76"/>
                  </a:lnTo>
                  <a:lnTo>
                    <a:pt x="109" y="76"/>
                  </a:lnTo>
                  <a:lnTo>
                    <a:pt x="109" y="79"/>
                  </a:lnTo>
                  <a:lnTo>
                    <a:pt x="107" y="79"/>
                  </a:lnTo>
                  <a:lnTo>
                    <a:pt x="105" y="79"/>
                  </a:lnTo>
                  <a:lnTo>
                    <a:pt x="102" y="79"/>
                  </a:lnTo>
                  <a:lnTo>
                    <a:pt x="100" y="79"/>
                  </a:lnTo>
                  <a:lnTo>
                    <a:pt x="100" y="81"/>
                  </a:lnTo>
                  <a:lnTo>
                    <a:pt x="102" y="81"/>
                  </a:lnTo>
                  <a:lnTo>
                    <a:pt x="100" y="81"/>
                  </a:lnTo>
                  <a:lnTo>
                    <a:pt x="98" y="81"/>
                  </a:lnTo>
                  <a:lnTo>
                    <a:pt x="98" y="79"/>
                  </a:lnTo>
                  <a:lnTo>
                    <a:pt x="95" y="79"/>
                  </a:lnTo>
                  <a:lnTo>
                    <a:pt x="93" y="79"/>
                  </a:lnTo>
                  <a:lnTo>
                    <a:pt x="91" y="79"/>
                  </a:lnTo>
                  <a:lnTo>
                    <a:pt x="93" y="79"/>
                  </a:lnTo>
                  <a:lnTo>
                    <a:pt x="93" y="81"/>
                  </a:lnTo>
                  <a:lnTo>
                    <a:pt x="91" y="81"/>
                  </a:lnTo>
                  <a:lnTo>
                    <a:pt x="91" y="79"/>
                  </a:lnTo>
                  <a:lnTo>
                    <a:pt x="88" y="81"/>
                  </a:lnTo>
                  <a:lnTo>
                    <a:pt x="86" y="81"/>
                  </a:lnTo>
                  <a:lnTo>
                    <a:pt x="86" y="84"/>
                  </a:lnTo>
                  <a:lnTo>
                    <a:pt x="88" y="84"/>
                  </a:lnTo>
                  <a:lnTo>
                    <a:pt x="86" y="86"/>
                  </a:lnTo>
                  <a:lnTo>
                    <a:pt x="88" y="86"/>
                  </a:lnTo>
                  <a:lnTo>
                    <a:pt x="88" y="88"/>
                  </a:lnTo>
                  <a:lnTo>
                    <a:pt x="91" y="88"/>
                  </a:lnTo>
                  <a:lnTo>
                    <a:pt x="91" y="91"/>
                  </a:lnTo>
                  <a:lnTo>
                    <a:pt x="91" y="93"/>
                  </a:lnTo>
                  <a:lnTo>
                    <a:pt x="93" y="93"/>
                  </a:lnTo>
                  <a:lnTo>
                    <a:pt x="93" y="95"/>
                  </a:lnTo>
                  <a:lnTo>
                    <a:pt x="95" y="95"/>
                  </a:lnTo>
                  <a:lnTo>
                    <a:pt x="95" y="98"/>
                  </a:lnTo>
                  <a:lnTo>
                    <a:pt x="95" y="100"/>
                  </a:lnTo>
                  <a:lnTo>
                    <a:pt x="95" y="103"/>
                  </a:lnTo>
                  <a:lnTo>
                    <a:pt x="95" y="105"/>
                  </a:lnTo>
                  <a:lnTo>
                    <a:pt x="93" y="105"/>
                  </a:lnTo>
                  <a:lnTo>
                    <a:pt x="93" y="107"/>
                  </a:lnTo>
                  <a:lnTo>
                    <a:pt x="93" y="110"/>
                  </a:lnTo>
                  <a:lnTo>
                    <a:pt x="91" y="110"/>
                  </a:lnTo>
                  <a:lnTo>
                    <a:pt x="91" y="112"/>
                  </a:lnTo>
                  <a:lnTo>
                    <a:pt x="91" y="114"/>
                  </a:lnTo>
                  <a:lnTo>
                    <a:pt x="93" y="112"/>
                  </a:lnTo>
                  <a:lnTo>
                    <a:pt x="93" y="114"/>
                  </a:lnTo>
                  <a:lnTo>
                    <a:pt x="91" y="114"/>
                  </a:lnTo>
                  <a:lnTo>
                    <a:pt x="91" y="117"/>
                  </a:lnTo>
                  <a:lnTo>
                    <a:pt x="88" y="117"/>
                  </a:lnTo>
                  <a:lnTo>
                    <a:pt x="88" y="119"/>
                  </a:lnTo>
                  <a:lnTo>
                    <a:pt x="86" y="119"/>
                  </a:lnTo>
                  <a:lnTo>
                    <a:pt x="83" y="119"/>
                  </a:lnTo>
                  <a:lnTo>
                    <a:pt x="83" y="122"/>
                  </a:lnTo>
                  <a:lnTo>
                    <a:pt x="86" y="122"/>
                  </a:lnTo>
                  <a:lnTo>
                    <a:pt x="83" y="122"/>
                  </a:lnTo>
                  <a:lnTo>
                    <a:pt x="83" y="124"/>
                  </a:lnTo>
                  <a:lnTo>
                    <a:pt x="86" y="124"/>
                  </a:lnTo>
                  <a:lnTo>
                    <a:pt x="86" y="122"/>
                  </a:lnTo>
                  <a:lnTo>
                    <a:pt x="88" y="124"/>
                  </a:lnTo>
                  <a:lnTo>
                    <a:pt x="88" y="126"/>
                  </a:lnTo>
                  <a:lnTo>
                    <a:pt x="91" y="126"/>
                  </a:lnTo>
                  <a:lnTo>
                    <a:pt x="91" y="129"/>
                  </a:lnTo>
                  <a:lnTo>
                    <a:pt x="88" y="129"/>
                  </a:lnTo>
                  <a:lnTo>
                    <a:pt x="88" y="131"/>
                  </a:lnTo>
                  <a:lnTo>
                    <a:pt x="88" y="133"/>
                  </a:lnTo>
                  <a:lnTo>
                    <a:pt x="86" y="133"/>
                  </a:lnTo>
                  <a:lnTo>
                    <a:pt x="83" y="133"/>
                  </a:lnTo>
                  <a:lnTo>
                    <a:pt x="81" y="133"/>
                  </a:lnTo>
                  <a:lnTo>
                    <a:pt x="79" y="133"/>
                  </a:lnTo>
                  <a:lnTo>
                    <a:pt x="76" y="133"/>
                  </a:lnTo>
                  <a:lnTo>
                    <a:pt x="79" y="133"/>
                  </a:lnTo>
                  <a:lnTo>
                    <a:pt x="79" y="131"/>
                  </a:lnTo>
                  <a:lnTo>
                    <a:pt x="76" y="131"/>
                  </a:lnTo>
                  <a:lnTo>
                    <a:pt x="76" y="129"/>
                  </a:lnTo>
                  <a:lnTo>
                    <a:pt x="76" y="126"/>
                  </a:lnTo>
                  <a:lnTo>
                    <a:pt x="79" y="126"/>
                  </a:lnTo>
                  <a:lnTo>
                    <a:pt x="79" y="124"/>
                  </a:lnTo>
                  <a:lnTo>
                    <a:pt x="79" y="122"/>
                  </a:lnTo>
                  <a:lnTo>
                    <a:pt x="81" y="122"/>
                  </a:lnTo>
                  <a:lnTo>
                    <a:pt x="79" y="122"/>
                  </a:lnTo>
                  <a:lnTo>
                    <a:pt x="79" y="119"/>
                  </a:lnTo>
                  <a:lnTo>
                    <a:pt x="81" y="119"/>
                  </a:lnTo>
                  <a:lnTo>
                    <a:pt x="81" y="117"/>
                  </a:lnTo>
                  <a:lnTo>
                    <a:pt x="83" y="117"/>
                  </a:lnTo>
                  <a:lnTo>
                    <a:pt x="81" y="117"/>
                  </a:lnTo>
                  <a:lnTo>
                    <a:pt x="83" y="114"/>
                  </a:lnTo>
                  <a:lnTo>
                    <a:pt x="81" y="114"/>
                  </a:lnTo>
                  <a:lnTo>
                    <a:pt x="81" y="112"/>
                  </a:lnTo>
                  <a:lnTo>
                    <a:pt x="79" y="112"/>
                  </a:lnTo>
                  <a:lnTo>
                    <a:pt x="76" y="112"/>
                  </a:lnTo>
                  <a:lnTo>
                    <a:pt x="74" y="112"/>
                  </a:lnTo>
                  <a:lnTo>
                    <a:pt x="74" y="110"/>
                  </a:lnTo>
                  <a:lnTo>
                    <a:pt x="72" y="107"/>
                  </a:lnTo>
                  <a:lnTo>
                    <a:pt x="69" y="107"/>
                  </a:lnTo>
                  <a:lnTo>
                    <a:pt x="69" y="110"/>
                  </a:lnTo>
                  <a:lnTo>
                    <a:pt x="67" y="107"/>
                  </a:lnTo>
                  <a:lnTo>
                    <a:pt x="67" y="110"/>
                  </a:lnTo>
                  <a:lnTo>
                    <a:pt x="64" y="110"/>
                  </a:lnTo>
                  <a:lnTo>
                    <a:pt x="62" y="110"/>
                  </a:lnTo>
                  <a:lnTo>
                    <a:pt x="62" y="107"/>
                  </a:lnTo>
                  <a:lnTo>
                    <a:pt x="60" y="107"/>
                  </a:lnTo>
                  <a:lnTo>
                    <a:pt x="60" y="105"/>
                  </a:lnTo>
                  <a:lnTo>
                    <a:pt x="57" y="103"/>
                  </a:lnTo>
                  <a:lnTo>
                    <a:pt x="57" y="100"/>
                  </a:lnTo>
                  <a:lnTo>
                    <a:pt x="57" y="98"/>
                  </a:lnTo>
                  <a:lnTo>
                    <a:pt x="55" y="98"/>
                  </a:lnTo>
                  <a:lnTo>
                    <a:pt x="55" y="100"/>
                  </a:lnTo>
                  <a:lnTo>
                    <a:pt x="53" y="103"/>
                  </a:lnTo>
                  <a:lnTo>
                    <a:pt x="50" y="103"/>
                  </a:lnTo>
                  <a:lnTo>
                    <a:pt x="48" y="103"/>
                  </a:lnTo>
                  <a:lnTo>
                    <a:pt x="48" y="100"/>
                  </a:lnTo>
                  <a:lnTo>
                    <a:pt x="50" y="103"/>
                  </a:lnTo>
                  <a:lnTo>
                    <a:pt x="50" y="100"/>
                  </a:lnTo>
                  <a:lnTo>
                    <a:pt x="48" y="100"/>
                  </a:lnTo>
                  <a:lnTo>
                    <a:pt x="50" y="100"/>
                  </a:lnTo>
                  <a:lnTo>
                    <a:pt x="50" y="98"/>
                  </a:lnTo>
                  <a:lnTo>
                    <a:pt x="48" y="98"/>
                  </a:lnTo>
                  <a:lnTo>
                    <a:pt x="45" y="98"/>
                  </a:lnTo>
                  <a:lnTo>
                    <a:pt x="45" y="100"/>
                  </a:lnTo>
                  <a:lnTo>
                    <a:pt x="43" y="100"/>
                  </a:lnTo>
                  <a:lnTo>
                    <a:pt x="41" y="100"/>
                  </a:lnTo>
                  <a:lnTo>
                    <a:pt x="38" y="100"/>
                  </a:lnTo>
                  <a:lnTo>
                    <a:pt x="41" y="98"/>
                  </a:lnTo>
                  <a:lnTo>
                    <a:pt x="38" y="98"/>
                  </a:lnTo>
                  <a:lnTo>
                    <a:pt x="36" y="98"/>
                  </a:lnTo>
                  <a:lnTo>
                    <a:pt x="36" y="100"/>
                  </a:lnTo>
                  <a:lnTo>
                    <a:pt x="34" y="100"/>
                  </a:lnTo>
                  <a:lnTo>
                    <a:pt x="34" y="103"/>
                  </a:lnTo>
                  <a:lnTo>
                    <a:pt x="36" y="103"/>
                  </a:lnTo>
                  <a:lnTo>
                    <a:pt x="36" y="105"/>
                  </a:lnTo>
                  <a:lnTo>
                    <a:pt x="34" y="105"/>
                  </a:lnTo>
                  <a:lnTo>
                    <a:pt x="34" y="103"/>
                  </a:lnTo>
                  <a:lnTo>
                    <a:pt x="31" y="103"/>
                  </a:lnTo>
                  <a:lnTo>
                    <a:pt x="29" y="103"/>
                  </a:lnTo>
                  <a:lnTo>
                    <a:pt x="29" y="100"/>
                  </a:lnTo>
                  <a:lnTo>
                    <a:pt x="29" y="98"/>
                  </a:lnTo>
                  <a:lnTo>
                    <a:pt x="31" y="98"/>
                  </a:lnTo>
                  <a:lnTo>
                    <a:pt x="29" y="98"/>
                  </a:lnTo>
                  <a:lnTo>
                    <a:pt x="29" y="95"/>
                  </a:lnTo>
                  <a:lnTo>
                    <a:pt x="29" y="93"/>
                  </a:lnTo>
                  <a:lnTo>
                    <a:pt x="29" y="91"/>
                  </a:lnTo>
                  <a:lnTo>
                    <a:pt x="31" y="91"/>
                  </a:lnTo>
                  <a:lnTo>
                    <a:pt x="34" y="91"/>
                  </a:lnTo>
                  <a:lnTo>
                    <a:pt x="34" y="88"/>
                  </a:lnTo>
                  <a:lnTo>
                    <a:pt x="36" y="8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2" name="Freeform 52500"/>
            <p:cNvSpPr>
              <a:spLocks noEditPoints="1"/>
            </p:cNvSpPr>
            <p:nvPr/>
          </p:nvSpPr>
          <p:spPr bwMode="auto">
            <a:xfrm>
              <a:off x="2217735" y="4422791"/>
              <a:ext cx="150813" cy="150814"/>
            </a:xfrm>
            <a:custGeom>
              <a:avLst/>
              <a:gdLst>
                <a:gd name="T0" fmla="*/ 2 w 95"/>
                <a:gd name="T1" fmla="*/ 95 h 95"/>
                <a:gd name="T2" fmla="*/ 35 w 95"/>
                <a:gd name="T3" fmla="*/ 90 h 95"/>
                <a:gd name="T4" fmla="*/ 21 w 95"/>
                <a:gd name="T5" fmla="*/ 90 h 95"/>
                <a:gd name="T6" fmla="*/ 38 w 95"/>
                <a:gd name="T7" fmla="*/ 90 h 95"/>
                <a:gd name="T8" fmla="*/ 35 w 95"/>
                <a:gd name="T9" fmla="*/ 85 h 95"/>
                <a:gd name="T10" fmla="*/ 40 w 95"/>
                <a:gd name="T11" fmla="*/ 88 h 95"/>
                <a:gd name="T12" fmla="*/ 35 w 95"/>
                <a:gd name="T13" fmla="*/ 90 h 95"/>
                <a:gd name="T14" fmla="*/ 33 w 95"/>
                <a:gd name="T15" fmla="*/ 85 h 95"/>
                <a:gd name="T16" fmla="*/ 28 w 95"/>
                <a:gd name="T17" fmla="*/ 85 h 95"/>
                <a:gd name="T18" fmla="*/ 33 w 95"/>
                <a:gd name="T19" fmla="*/ 88 h 95"/>
                <a:gd name="T20" fmla="*/ 31 w 95"/>
                <a:gd name="T21" fmla="*/ 92 h 95"/>
                <a:gd name="T22" fmla="*/ 26 w 95"/>
                <a:gd name="T23" fmla="*/ 90 h 95"/>
                <a:gd name="T24" fmla="*/ 21 w 95"/>
                <a:gd name="T25" fmla="*/ 88 h 95"/>
                <a:gd name="T26" fmla="*/ 21 w 95"/>
                <a:gd name="T27" fmla="*/ 85 h 95"/>
                <a:gd name="T28" fmla="*/ 28 w 95"/>
                <a:gd name="T29" fmla="*/ 80 h 95"/>
                <a:gd name="T30" fmla="*/ 31 w 95"/>
                <a:gd name="T31" fmla="*/ 83 h 95"/>
                <a:gd name="T32" fmla="*/ 33 w 95"/>
                <a:gd name="T33" fmla="*/ 88 h 95"/>
                <a:gd name="T34" fmla="*/ 31 w 95"/>
                <a:gd name="T35" fmla="*/ 88 h 95"/>
                <a:gd name="T36" fmla="*/ 31 w 95"/>
                <a:gd name="T37" fmla="*/ 85 h 95"/>
                <a:gd name="T38" fmla="*/ 24 w 95"/>
                <a:gd name="T39" fmla="*/ 85 h 95"/>
                <a:gd name="T40" fmla="*/ 28 w 95"/>
                <a:gd name="T41" fmla="*/ 83 h 95"/>
                <a:gd name="T42" fmla="*/ 21 w 95"/>
                <a:gd name="T43" fmla="*/ 83 h 95"/>
                <a:gd name="T44" fmla="*/ 19 w 95"/>
                <a:gd name="T45" fmla="*/ 83 h 95"/>
                <a:gd name="T46" fmla="*/ 16 w 95"/>
                <a:gd name="T47" fmla="*/ 78 h 95"/>
                <a:gd name="T48" fmla="*/ 16 w 95"/>
                <a:gd name="T49" fmla="*/ 80 h 95"/>
                <a:gd name="T50" fmla="*/ 16 w 95"/>
                <a:gd name="T51" fmla="*/ 78 h 95"/>
                <a:gd name="T52" fmla="*/ 16 w 95"/>
                <a:gd name="T53" fmla="*/ 80 h 95"/>
                <a:gd name="T54" fmla="*/ 19 w 95"/>
                <a:gd name="T55" fmla="*/ 80 h 95"/>
                <a:gd name="T56" fmla="*/ 16 w 95"/>
                <a:gd name="T57" fmla="*/ 78 h 95"/>
                <a:gd name="T58" fmla="*/ 43 w 95"/>
                <a:gd name="T59" fmla="*/ 59 h 95"/>
                <a:gd name="T60" fmla="*/ 31 w 95"/>
                <a:gd name="T61" fmla="*/ 54 h 95"/>
                <a:gd name="T62" fmla="*/ 35 w 95"/>
                <a:gd name="T63" fmla="*/ 28 h 95"/>
                <a:gd name="T64" fmla="*/ 43 w 95"/>
                <a:gd name="T65" fmla="*/ 21 h 95"/>
                <a:gd name="T66" fmla="*/ 43 w 95"/>
                <a:gd name="T67" fmla="*/ 23 h 95"/>
                <a:gd name="T68" fmla="*/ 38 w 95"/>
                <a:gd name="T69" fmla="*/ 26 h 95"/>
                <a:gd name="T70" fmla="*/ 35 w 95"/>
                <a:gd name="T71" fmla="*/ 26 h 95"/>
                <a:gd name="T72" fmla="*/ 35 w 95"/>
                <a:gd name="T73" fmla="*/ 26 h 95"/>
                <a:gd name="T74" fmla="*/ 38 w 95"/>
                <a:gd name="T75" fmla="*/ 19 h 95"/>
                <a:gd name="T76" fmla="*/ 54 w 95"/>
                <a:gd name="T77" fmla="*/ 14 h 95"/>
                <a:gd name="T78" fmla="*/ 47 w 95"/>
                <a:gd name="T79" fmla="*/ 14 h 95"/>
                <a:gd name="T80" fmla="*/ 47 w 95"/>
                <a:gd name="T81" fmla="*/ 12 h 95"/>
                <a:gd name="T82" fmla="*/ 45 w 95"/>
                <a:gd name="T83" fmla="*/ 16 h 95"/>
                <a:gd name="T84" fmla="*/ 43 w 95"/>
                <a:gd name="T85" fmla="*/ 14 h 95"/>
                <a:gd name="T86" fmla="*/ 47 w 95"/>
                <a:gd name="T87" fmla="*/ 12 h 95"/>
                <a:gd name="T88" fmla="*/ 62 w 95"/>
                <a:gd name="T89" fmla="*/ 7 h 95"/>
                <a:gd name="T90" fmla="*/ 59 w 95"/>
                <a:gd name="T91" fmla="*/ 7 h 95"/>
                <a:gd name="T92" fmla="*/ 57 w 95"/>
                <a:gd name="T93" fmla="*/ 7 h 95"/>
                <a:gd name="T94" fmla="*/ 52 w 95"/>
                <a:gd name="T95" fmla="*/ 9 h 95"/>
                <a:gd name="T96" fmla="*/ 54 w 95"/>
                <a:gd name="T97" fmla="*/ 7 h 95"/>
                <a:gd name="T98" fmla="*/ 59 w 95"/>
                <a:gd name="T99" fmla="*/ 4 h 95"/>
                <a:gd name="T100" fmla="*/ 66 w 95"/>
                <a:gd name="T101" fmla="*/ 4 h 95"/>
                <a:gd name="T102" fmla="*/ 73 w 95"/>
                <a:gd name="T103" fmla="*/ 4 h 95"/>
                <a:gd name="T104" fmla="*/ 76 w 95"/>
                <a:gd name="T105" fmla="*/ 4 h 95"/>
                <a:gd name="T106" fmla="*/ 71 w 95"/>
                <a:gd name="T107" fmla="*/ 7 h 95"/>
                <a:gd name="T108" fmla="*/ 69 w 95"/>
                <a:gd name="T109" fmla="*/ 7 h 95"/>
                <a:gd name="T110" fmla="*/ 64 w 95"/>
                <a:gd name="T111" fmla="*/ 4 h 95"/>
                <a:gd name="T112" fmla="*/ 78 w 95"/>
                <a:gd name="T113" fmla="*/ 4 h 95"/>
                <a:gd name="T114" fmla="*/ 88 w 95"/>
                <a:gd name="T115" fmla="*/ 2 h 95"/>
                <a:gd name="T116" fmla="*/ 83 w 95"/>
                <a:gd name="T117" fmla="*/ 2 h 95"/>
                <a:gd name="T118" fmla="*/ 90 w 95"/>
                <a:gd name="T119" fmla="*/ 2 h 95"/>
                <a:gd name="T120" fmla="*/ 92 w 95"/>
                <a:gd name="T121"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95">
                  <a:moveTo>
                    <a:pt x="2" y="95"/>
                  </a:moveTo>
                  <a:lnTo>
                    <a:pt x="0" y="95"/>
                  </a:lnTo>
                  <a:lnTo>
                    <a:pt x="2" y="95"/>
                  </a:lnTo>
                  <a:lnTo>
                    <a:pt x="0" y="95"/>
                  </a:lnTo>
                  <a:lnTo>
                    <a:pt x="2" y="95"/>
                  </a:lnTo>
                  <a:close/>
                  <a:moveTo>
                    <a:pt x="35" y="90"/>
                  </a:moveTo>
                  <a:lnTo>
                    <a:pt x="38" y="90"/>
                  </a:lnTo>
                  <a:lnTo>
                    <a:pt x="35" y="90"/>
                  </a:lnTo>
                  <a:close/>
                  <a:moveTo>
                    <a:pt x="21" y="90"/>
                  </a:moveTo>
                  <a:lnTo>
                    <a:pt x="24" y="90"/>
                  </a:lnTo>
                  <a:lnTo>
                    <a:pt x="21" y="90"/>
                  </a:lnTo>
                  <a:close/>
                  <a:moveTo>
                    <a:pt x="38" y="90"/>
                  </a:moveTo>
                  <a:lnTo>
                    <a:pt x="40" y="90"/>
                  </a:lnTo>
                  <a:lnTo>
                    <a:pt x="38" y="90"/>
                  </a:lnTo>
                  <a:close/>
                  <a:moveTo>
                    <a:pt x="35" y="85"/>
                  </a:moveTo>
                  <a:lnTo>
                    <a:pt x="38" y="85"/>
                  </a:lnTo>
                  <a:lnTo>
                    <a:pt x="40" y="85"/>
                  </a:lnTo>
                  <a:lnTo>
                    <a:pt x="40" y="88"/>
                  </a:lnTo>
                  <a:lnTo>
                    <a:pt x="38" y="88"/>
                  </a:lnTo>
                  <a:lnTo>
                    <a:pt x="35" y="88"/>
                  </a:lnTo>
                  <a:lnTo>
                    <a:pt x="35" y="90"/>
                  </a:lnTo>
                  <a:lnTo>
                    <a:pt x="33" y="90"/>
                  </a:lnTo>
                  <a:lnTo>
                    <a:pt x="33" y="88"/>
                  </a:lnTo>
                  <a:lnTo>
                    <a:pt x="33" y="85"/>
                  </a:lnTo>
                  <a:lnTo>
                    <a:pt x="35" y="85"/>
                  </a:lnTo>
                  <a:close/>
                  <a:moveTo>
                    <a:pt x="26" y="85"/>
                  </a:moveTo>
                  <a:lnTo>
                    <a:pt x="28" y="85"/>
                  </a:lnTo>
                  <a:lnTo>
                    <a:pt x="31" y="85"/>
                  </a:lnTo>
                  <a:lnTo>
                    <a:pt x="31" y="88"/>
                  </a:lnTo>
                  <a:lnTo>
                    <a:pt x="33" y="88"/>
                  </a:lnTo>
                  <a:lnTo>
                    <a:pt x="33" y="90"/>
                  </a:lnTo>
                  <a:lnTo>
                    <a:pt x="31" y="90"/>
                  </a:lnTo>
                  <a:lnTo>
                    <a:pt x="31" y="92"/>
                  </a:lnTo>
                  <a:lnTo>
                    <a:pt x="28" y="92"/>
                  </a:lnTo>
                  <a:lnTo>
                    <a:pt x="28" y="90"/>
                  </a:lnTo>
                  <a:lnTo>
                    <a:pt x="26" y="90"/>
                  </a:lnTo>
                  <a:lnTo>
                    <a:pt x="24" y="90"/>
                  </a:lnTo>
                  <a:lnTo>
                    <a:pt x="21" y="90"/>
                  </a:lnTo>
                  <a:lnTo>
                    <a:pt x="21" y="88"/>
                  </a:lnTo>
                  <a:lnTo>
                    <a:pt x="19" y="88"/>
                  </a:lnTo>
                  <a:lnTo>
                    <a:pt x="21" y="88"/>
                  </a:lnTo>
                  <a:lnTo>
                    <a:pt x="21" y="85"/>
                  </a:lnTo>
                  <a:lnTo>
                    <a:pt x="24" y="85"/>
                  </a:lnTo>
                  <a:lnTo>
                    <a:pt x="26" y="85"/>
                  </a:lnTo>
                  <a:close/>
                  <a:moveTo>
                    <a:pt x="28" y="80"/>
                  </a:moveTo>
                  <a:lnTo>
                    <a:pt x="28" y="83"/>
                  </a:lnTo>
                  <a:lnTo>
                    <a:pt x="31" y="80"/>
                  </a:lnTo>
                  <a:lnTo>
                    <a:pt x="31" y="83"/>
                  </a:lnTo>
                  <a:lnTo>
                    <a:pt x="33" y="83"/>
                  </a:lnTo>
                  <a:lnTo>
                    <a:pt x="33" y="85"/>
                  </a:lnTo>
                  <a:lnTo>
                    <a:pt x="33" y="88"/>
                  </a:lnTo>
                  <a:lnTo>
                    <a:pt x="33" y="85"/>
                  </a:lnTo>
                  <a:lnTo>
                    <a:pt x="33" y="88"/>
                  </a:lnTo>
                  <a:lnTo>
                    <a:pt x="31" y="88"/>
                  </a:lnTo>
                  <a:lnTo>
                    <a:pt x="31" y="85"/>
                  </a:lnTo>
                  <a:lnTo>
                    <a:pt x="31" y="88"/>
                  </a:lnTo>
                  <a:lnTo>
                    <a:pt x="31" y="85"/>
                  </a:lnTo>
                  <a:lnTo>
                    <a:pt x="28" y="85"/>
                  </a:lnTo>
                  <a:lnTo>
                    <a:pt x="26" y="85"/>
                  </a:lnTo>
                  <a:lnTo>
                    <a:pt x="24" y="85"/>
                  </a:lnTo>
                  <a:lnTo>
                    <a:pt x="24" y="83"/>
                  </a:lnTo>
                  <a:lnTo>
                    <a:pt x="26" y="83"/>
                  </a:lnTo>
                  <a:lnTo>
                    <a:pt x="28" y="83"/>
                  </a:lnTo>
                  <a:lnTo>
                    <a:pt x="28" y="80"/>
                  </a:lnTo>
                  <a:close/>
                  <a:moveTo>
                    <a:pt x="19" y="80"/>
                  </a:moveTo>
                  <a:lnTo>
                    <a:pt x="21" y="83"/>
                  </a:lnTo>
                  <a:lnTo>
                    <a:pt x="24" y="83"/>
                  </a:lnTo>
                  <a:lnTo>
                    <a:pt x="21" y="83"/>
                  </a:lnTo>
                  <a:lnTo>
                    <a:pt x="19" y="83"/>
                  </a:lnTo>
                  <a:lnTo>
                    <a:pt x="19" y="80"/>
                  </a:lnTo>
                  <a:lnTo>
                    <a:pt x="16" y="80"/>
                  </a:lnTo>
                  <a:lnTo>
                    <a:pt x="16" y="78"/>
                  </a:lnTo>
                  <a:lnTo>
                    <a:pt x="14" y="78"/>
                  </a:lnTo>
                  <a:lnTo>
                    <a:pt x="16" y="78"/>
                  </a:lnTo>
                  <a:lnTo>
                    <a:pt x="16" y="80"/>
                  </a:lnTo>
                  <a:lnTo>
                    <a:pt x="14" y="80"/>
                  </a:lnTo>
                  <a:lnTo>
                    <a:pt x="14" y="78"/>
                  </a:lnTo>
                  <a:lnTo>
                    <a:pt x="16" y="78"/>
                  </a:lnTo>
                  <a:lnTo>
                    <a:pt x="16" y="80"/>
                  </a:lnTo>
                  <a:lnTo>
                    <a:pt x="16" y="78"/>
                  </a:lnTo>
                  <a:lnTo>
                    <a:pt x="16" y="80"/>
                  </a:lnTo>
                  <a:lnTo>
                    <a:pt x="19" y="80"/>
                  </a:lnTo>
                  <a:lnTo>
                    <a:pt x="19" y="83"/>
                  </a:lnTo>
                  <a:lnTo>
                    <a:pt x="19" y="80"/>
                  </a:lnTo>
                  <a:close/>
                  <a:moveTo>
                    <a:pt x="19" y="80"/>
                  </a:moveTo>
                  <a:lnTo>
                    <a:pt x="16" y="80"/>
                  </a:lnTo>
                  <a:lnTo>
                    <a:pt x="16" y="78"/>
                  </a:lnTo>
                  <a:lnTo>
                    <a:pt x="19" y="80"/>
                  </a:lnTo>
                  <a:close/>
                  <a:moveTo>
                    <a:pt x="45" y="59"/>
                  </a:moveTo>
                  <a:lnTo>
                    <a:pt x="43" y="59"/>
                  </a:lnTo>
                  <a:lnTo>
                    <a:pt x="45" y="59"/>
                  </a:lnTo>
                  <a:close/>
                  <a:moveTo>
                    <a:pt x="28" y="54"/>
                  </a:moveTo>
                  <a:lnTo>
                    <a:pt x="31" y="54"/>
                  </a:lnTo>
                  <a:lnTo>
                    <a:pt x="28" y="54"/>
                  </a:lnTo>
                  <a:close/>
                  <a:moveTo>
                    <a:pt x="33" y="28"/>
                  </a:moveTo>
                  <a:lnTo>
                    <a:pt x="35" y="28"/>
                  </a:lnTo>
                  <a:lnTo>
                    <a:pt x="33" y="28"/>
                  </a:lnTo>
                  <a:close/>
                  <a:moveTo>
                    <a:pt x="40" y="19"/>
                  </a:moveTo>
                  <a:lnTo>
                    <a:pt x="43" y="21"/>
                  </a:lnTo>
                  <a:lnTo>
                    <a:pt x="40" y="21"/>
                  </a:lnTo>
                  <a:lnTo>
                    <a:pt x="40" y="23"/>
                  </a:lnTo>
                  <a:lnTo>
                    <a:pt x="43" y="23"/>
                  </a:lnTo>
                  <a:lnTo>
                    <a:pt x="40" y="23"/>
                  </a:lnTo>
                  <a:lnTo>
                    <a:pt x="40" y="26"/>
                  </a:lnTo>
                  <a:lnTo>
                    <a:pt x="38" y="26"/>
                  </a:lnTo>
                  <a:lnTo>
                    <a:pt x="38" y="28"/>
                  </a:lnTo>
                  <a:lnTo>
                    <a:pt x="38" y="26"/>
                  </a:lnTo>
                  <a:lnTo>
                    <a:pt x="35" y="26"/>
                  </a:lnTo>
                  <a:lnTo>
                    <a:pt x="38" y="28"/>
                  </a:lnTo>
                  <a:lnTo>
                    <a:pt x="35" y="28"/>
                  </a:lnTo>
                  <a:lnTo>
                    <a:pt x="35" y="26"/>
                  </a:lnTo>
                  <a:lnTo>
                    <a:pt x="35" y="23"/>
                  </a:lnTo>
                  <a:lnTo>
                    <a:pt x="38" y="21"/>
                  </a:lnTo>
                  <a:lnTo>
                    <a:pt x="38" y="19"/>
                  </a:lnTo>
                  <a:lnTo>
                    <a:pt x="40" y="19"/>
                  </a:lnTo>
                  <a:close/>
                  <a:moveTo>
                    <a:pt x="52" y="14"/>
                  </a:moveTo>
                  <a:lnTo>
                    <a:pt x="54" y="14"/>
                  </a:lnTo>
                  <a:lnTo>
                    <a:pt x="52" y="14"/>
                  </a:lnTo>
                  <a:close/>
                  <a:moveTo>
                    <a:pt x="50" y="14"/>
                  </a:moveTo>
                  <a:lnTo>
                    <a:pt x="47" y="14"/>
                  </a:lnTo>
                  <a:lnTo>
                    <a:pt x="50" y="12"/>
                  </a:lnTo>
                  <a:lnTo>
                    <a:pt x="50" y="14"/>
                  </a:lnTo>
                  <a:close/>
                  <a:moveTo>
                    <a:pt x="47" y="12"/>
                  </a:moveTo>
                  <a:lnTo>
                    <a:pt x="47" y="14"/>
                  </a:lnTo>
                  <a:lnTo>
                    <a:pt x="45" y="14"/>
                  </a:lnTo>
                  <a:lnTo>
                    <a:pt x="45" y="16"/>
                  </a:lnTo>
                  <a:lnTo>
                    <a:pt x="43" y="16"/>
                  </a:lnTo>
                  <a:lnTo>
                    <a:pt x="40" y="16"/>
                  </a:lnTo>
                  <a:lnTo>
                    <a:pt x="43" y="14"/>
                  </a:lnTo>
                  <a:lnTo>
                    <a:pt x="45" y="14"/>
                  </a:lnTo>
                  <a:lnTo>
                    <a:pt x="45" y="12"/>
                  </a:lnTo>
                  <a:lnTo>
                    <a:pt x="47" y="12"/>
                  </a:lnTo>
                  <a:close/>
                  <a:moveTo>
                    <a:pt x="64" y="4"/>
                  </a:moveTo>
                  <a:lnTo>
                    <a:pt x="62" y="4"/>
                  </a:lnTo>
                  <a:lnTo>
                    <a:pt x="62" y="7"/>
                  </a:lnTo>
                  <a:lnTo>
                    <a:pt x="59" y="7"/>
                  </a:lnTo>
                  <a:lnTo>
                    <a:pt x="62" y="7"/>
                  </a:lnTo>
                  <a:lnTo>
                    <a:pt x="59" y="7"/>
                  </a:lnTo>
                  <a:lnTo>
                    <a:pt x="62" y="7"/>
                  </a:lnTo>
                  <a:lnTo>
                    <a:pt x="59" y="7"/>
                  </a:lnTo>
                  <a:lnTo>
                    <a:pt x="57" y="7"/>
                  </a:lnTo>
                  <a:lnTo>
                    <a:pt x="57" y="9"/>
                  </a:lnTo>
                  <a:lnTo>
                    <a:pt x="54" y="9"/>
                  </a:lnTo>
                  <a:lnTo>
                    <a:pt x="52" y="9"/>
                  </a:lnTo>
                  <a:lnTo>
                    <a:pt x="50" y="9"/>
                  </a:lnTo>
                  <a:lnTo>
                    <a:pt x="52" y="7"/>
                  </a:lnTo>
                  <a:lnTo>
                    <a:pt x="54" y="7"/>
                  </a:lnTo>
                  <a:lnTo>
                    <a:pt x="57" y="7"/>
                  </a:lnTo>
                  <a:lnTo>
                    <a:pt x="59" y="7"/>
                  </a:lnTo>
                  <a:lnTo>
                    <a:pt x="59" y="4"/>
                  </a:lnTo>
                  <a:lnTo>
                    <a:pt x="62" y="4"/>
                  </a:lnTo>
                  <a:lnTo>
                    <a:pt x="64" y="4"/>
                  </a:lnTo>
                  <a:close/>
                  <a:moveTo>
                    <a:pt x="66" y="4"/>
                  </a:moveTo>
                  <a:lnTo>
                    <a:pt x="69" y="4"/>
                  </a:lnTo>
                  <a:lnTo>
                    <a:pt x="71" y="4"/>
                  </a:lnTo>
                  <a:lnTo>
                    <a:pt x="73" y="4"/>
                  </a:lnTo>
                  <a:lnTo>
                    <a:pt x="76" y="4"/>
                  </a:lnTo>
                  <a:lnTo>
                    <a:pt x="78" y="4"/>
                  </a:lnTo>
                  <a:lnTo>
                    <a:pt x="76" y="4"/>
                  </a:lnTo>
                  <a:lnTo>
                    <a:pt x="73" y="4"/>
                  </a:lnTo>
                  <a:lnTo>
                    <a:pt x="71" y="4"/>
                  </a:lnTo>
                  <a:lnTo>
                    <a:pt x="71" y="7"/>
                  </a:lnTo>
                  <a:lnTo>
                    <a:pt x="71" y="4"/>
                  </a:lnTo>
                  <a:lnTo>
                    <a:pt x="69" y="4"/>
                  </a:lnTo>
                  <a:lnTo>
                    <a:pt x="69" y="7"/>
                  </a:lnTo>
                  <a:lnTo>
                    <a:pt x="66" y="7"/>
                  </a:lnTo>
                  <a:lnTo>
                    <a:pt x="66" y="4"/>
                  </a:lnTo>
                  <a:lnTo>
                    <a:pt x="64" y="4"/>
                  </a:lnTo>
                  <a:lnTo>
                    <a:pt x="66" y="4"/>
                  </a:lnTo>
                  <a:close/>
                  <a:moveTo>
                    <a:pt x="81" y="4"/>
                  </a:moveTo>
                  <a:lnTo>
                    <a:pt x="78" y="4"/>
                  </a:lnTo>
                  <a:lnTo>
                    <a:pt x="81" y="4"/>
                  </a:lnTo>
                  <a:close/>
                  <a:moveTo>
                    <a:pt x="90" y="2"/>
                  </a:moveTo>
                  <a:lnTo>
                    <a:pt x="88" y="2"/>
                  </a:lnTo>
                  <a:lnTo>
                    <a:pt x="85" y="4"/>
                  </a:lnTo>
                  <a:lnTo>
                    <a:pt x="83" y="4"/>
                  </a:lnTo>
                  <a:lnTo>
                    <a:pt x="83" y="2"/>
                  </a:lnTo>
                  <a:lnTo>
                    <a:pt x="85" y="2"/>
                  </a:lnTo>
                  <a:lnTo>
                    <a:pt x="88" y="2"/>
                  </a:lnTo>
                  <a:lnTo>
                    <a:pt x="90" y="2"/>
                  </a:lnTo>
                  <a:close/>
                  <a:moveTo>
                    <a:pt x="95" y="0"/>
                  </a:moveTo>
                  <a:lnTo>
                    <a:pt x="95" y="2"/>
                  </a:lnTo>
                  <a:lnTo>
                    <a:pt x="92" y="2"/>
                  </a:lnTo>
                  <a:lnTo>
                    <a:pt x="92" y="0"/>
                  </a:lnTo>
                  <a:lnTo>
                    <a:pt x="9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3" name="Freeform 52501"/>
            <p:cNvSpPr>
              <a:spLocks noEditPoints="1"/>
            </p:cNvSpPr>
            <p:nvPr/>
          </p:nvSpPr>
          <p:spPr bwMode="auto">
            <a:xfrm>
              <a:off x="2217735" y="4489466"/>
              <a:ext cx="93663" cy="90488"/>
            </a:xfrm>
            <a:custGeom>
              <a:avLst/>
              <a:gdLst>
                <a:gd name="T0" fmla="*/ 2 w 59"/>
                <a:gd name="T1" fmla="*/ 57 h 57"/>
                <a:gd name="T2" fmla="*/ 2 w 59"/>
                <a:gd name="T3" fmla="*/ 57 h 57"/>
                <a:gd name="T4" fmla="*/ 2 w 59"/>
                <a:gd name="T5" fmla="*/ 57 h 57"/>
                <a:gd name="T6" fmla="*/ 2 w 59"/>
                <a:gd name="T7" fmla="*/ 57 h 57"/>
                <a:gd name="T8" fmla="*/ 2 w 59"/>
                <a:gd name="T9" fmla="*/ 57 h 57"/>
                <a:gd name="T10" fmla="*/ 5 w 59"/>
                <a:gd name="T11" fmla="*/ 57 h 57"/>
                <a:gd name="T12" fmla="*/ 5 w 59"/>
                <a:gd name="T13" fmla="*/ 57 h 57"/>
                <a:gd name="T14" fmla="*/ 5 w 59"/>
                <a:gd name="T15" fmla="*/ 57 h 57"/>
                <a:gd name="T16" fmla="*/ 5 w 59"/>
                <a:gd name="T17" fmla="*/ 57 h 57"/>
                <a:gd name="T18" fmla="*/ 5 w 59"/>
                <a:gd name="T19" fmla="*/ 57 h 57"/>
                <a:gd name="T20" fmla="*/ 5 w 59"/>
                <a:gd name="T21" fmla="*/ 57 h 57"/>
                <a:gd name="T22" fmla="*/ 0 w 59"/>
                <a:gd name="T23" fmla="*/ 57 h 57"/>
                <a:gd name="T24" fmla="*/ 16 w 59"/>
                <a:gd name="T25" fmla="*/ 50 h 57"/>
                <a:gd name="T26" fmla="*/ 16 w 59"/>
                <a:gd name="T27" fmla="*/ 50 h 57"/>
                <a:gd name="T28" fmla="*/ 16 w 59"/>
                <a:gd name="T29" fmla="*/ 50 h 57"/>
                <a:gd name="T30" fmla="*/ 31 w 59"/>
                <a:gd name="T31" fmla="*/ 50 h 57"/>
                <a:gd name="T32" fmla="*/ 31 w 59"/>
                <a:gd name="T33" fmla="*/ 50 h 57"/>
                <a:gd name="T34" fmla="*/ 35 w 59"/>
                <a:gd name="T35" fmla="*/ 48 h 57"/>
                <a:gd name="T36" fmla="*/ 35 w 59"/>
                <a:gd name="T37" fmla="*/ 48 h 57"/>
                <a:gd name="T38" fmla="*/ 35 w 59"/>
                <a:gd name="T39" fmla="*/ 48 h 57"/>
                <a:gd name="T40" fmla="*/ 35 w 59"/>
                <a:gd name="T41" fmla="*/ 48 h 57"/>
                <a:gd name="T42" fmla="*/ 35 w 59"/>
                <a:gd name="T43" fmla="*/ 48 h 57"/>
                <a:gd name="T44" fmla="*/ 40 w 59"/>
                <a:gd name="T45" fmla="*/ 48 h 57"/>
                <a:gd name="T46" fmla="*/ 40 w 59"/>
                <a:gd name="T47" fmla="*/ 48 h 57"/>
                <a:gd name="T48" fmla="*/ 40 w 59"/>
                <a:gd name="T49" fmla="*/ 48 h 57"/>
                <a:gd name="T50" fmla="*/ 38 w 59"/>
                <a:gd name="T51" fmla="*/ 48 h 57"/>
                <a:gd name="T52" fmla="*/ 38 w 59"/>
                <a:gd name="T53" fmla="*/ 48 h 57"/>
                <a:gd name="T54" fmla="*/ 38 w 59"/>
                <a:gd name="T55" fmla="*/ 48 h 57"/>
                <a:gd name="T56" fmla="*/ 38 w 59"/>
                <a:gd name="T57" fmla="*/ 48 h 57"/>
                <a:gd name="T58" fmla="*/ 38 w 59"/>
                <a:gd name="T59" fmla="*/ 48 h 57"/>
                <a:gd name="T60" fmla="*/ 38 w 59"/>
                <a:gd name="T61" fmla="*/ 48 h 57"/>
                <a:gd name="T62" fmla="*/ 26 w 59"/>
                <a:gd name="T63" fmla="*/ 43 h 57"/>
                <a:gd name="T64" fmla="*/ 26 w 59"/>
                <a:gd name="T65" fmla="*/ 43 h 57"/>
                <a:gd name="T66" fmla="*/ 59 w 59"/>
                <a:gd name="T67" fmla="*/ 41 h 57"/>
                <a:gd name="T68" fmla="*/ 59 w 59"/>
                <a:gd name="T69" fmla="*/ 41 h 57"/>
                <a:gd name="T70" fmla="*/ 28 w 59"/>
                <a:gd name="T71" fmla="*/ 38 h 57"/>
                <a:gd name="T72" fmla="*/ 28 w 59"/>
                <a:gd name="T73" fmla="*/ 38 h 57"/>
                <a:gd name="T74" fmla="*/ 14 w 59"/>
                <a:gd name="T75" fmla="*/ 38 h 57"/>
                <a:gd name="T76" fmla="*/ 14 w 59"/>
                <a:gd name="T77" fmla="*/ 38 h 57"/>
                <a:gd name="T78" fmla="*/ 50 w 59"/>
                <a:gd name="T79" fmla="*/ 36 h 57"/>
                <a:gd name="T80" fmla="*/ 50 w 59"/>
                <a:gd name="T81" fmla="*/ 36 h 57"/>
                <a:gd name="T82" fmla="*/ 47 w 59"/>
                <a:gd name="T83" fmla="*/ 17 h 57"/>
                <a:gd name="T84" fmla="*/ 47 w 59"/>
                <a:gd name="T85" fmla="*/ 17 h 57"/>
                <a:gd name="T86" fmla="*/ 45 w 59"/>
                <a:gd name="T87" fmla="*/ 17 h 57"/>
                <a:gd name="T88" fmla="*/ 45 w 59"/>
                <a:gd name="T89" fmla="*/ 17 h 57"/>
                <a:gd name="T90" fmla="*/ 47 w 59"/>
                <a:gd name="T91" fmla="*/ 17 h 57"/>
                <a:gd name="T92" fmla="*/ 47 w 59"/>
                <a:gd name="T93" fmla="*/ 17 h 57"/>
                <a:gd name="T94" fmla="*/ 40 w 59"/>
                <a:gd name="T95" fmla="*/ 15 h 57"/>
                <a:gd name="T96" fmla="*/ 31 w 59"/>
                <a:gd name="T97" fmla="*/ 12 h 57"/>
                <a:gd name="T98" fmla="*/ 31 w 59"/>
                <a:gd name="T99" fmla="*/ 12 h 57"/>
                <a:gd name="T100" fmla="*/ 31 w 59"/>
                <a:gd name="T101" fmla="*/ 12 h 57"/>
                <a:gd name="T102" fmla="*/ 31 w 59"/>
                <a:gd name="T103" fmla="*/ 12 h 57"/>
                <a:gd name="T104" fmla="*/ 59 w 59"/>
                <a:gd name="T105" fmla="*/ 10 h 57"/>
                <a:gd name="T106" fmla="*/ 59 w 59"/>
                <a:gd name="T107" fmla="*/ 10 h 57"/>
                <a:gd name="T108" fmla="*/ 54 w 59"/>
                <a:gd name="T109" fmla="*/ 0 h 57"/>
                <a:gd name="T110" fmla="*/ 54 w 59"/>
                <a:gd name="T111" fmla="*/ 0 h 57"/>
                <a:gd name="T112" fmla="*/ 54 w 59"/>
                <a:gd name="T113" fmla="*/ 0 h 57"/>
                <a:gd name="T114" fmla="*/ 54 w 59"/>
                <a:gd name="T11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 h="57">
                  <a:moveTo>
                    <a:pt x="2" y="57"/>
                  </a:moveTo>
                  <a:lnTo>
                    <a:pt x="2" y="57"/>
                  </a:lnTo>
                  <a:lnTo>
                    <a:pt x="2" y="57"/>
                  </a:lnTo>
                  <a:lnTo>
                    <a:pt x="2" y="57"/>
                  </a:lnTo>
                  <a:lnTo>
                    <a:pt x="2" y="57"/>
                  </a:lnTo>
                  <a:close/>
                  <a:moveTo>
                    <a:pt x="2" y="57"/>
                  </a:moveTo>
                  <a:lnTo>
                    <a:pt x="2" y="57"/>
                  </a:lnTo>
                  <a:lnTo>
                    <a:pt x="2" y="57"/>
                  </a:lnTo>
                  <a:lnTo>
                    <a:pt x="2" y="57"/>
                  </a:lnTo>
                  <a:lnTo>
                    <a:pt x="2" y="57"/>
                  </a:lnTo>
                  <a:lnTo>
                    <a:pt x="2" y="57"/>
                  </a:lnTo>
                  <a:close/>
                  <a:moveTo>
                    <a:pt x="2" y="57"/>
                  </a:moveTo>
                  <a:lnTo>
                    <a:pt x="2" y="57"/>
                  </a:lnTo>
                  <a:lnTo>
                    <a:pt x="2" y="57"/>
                  </a:lnTo>
                  <a:lnTo>
                    <a:pt x="2" y="57"/>
                  </a:lnTo>
                  <a:lnTo>
                    <a:pt x="2" y="57"/>
                  </a:lnTo>
                  <a:close/>
                  <a:moveTo>
                    <a:pt x="5" y="57"/>
                  </a:moveTo>
                  <a:lnTo>
                    <a:pt x="5" y="57"/>
                  </a:lnTo>
                  <a:lnTo>
                    <a:pt x="5" y="57"/>
                  </a:lnTo>
                  <a:lnTo>
                    <a:pt x="5" y="57"/>
                  </a:lnTo>
                  <a:lnTo>
                    <a:pt x="5" y="57"/>
                  </a:lnTo>
                  <a:lnTo>
                    <a:pt x="5" y="57"/>
                  </a:lnTo>
                  <a:close/>
                  <a:moveTo>
                    <a:pt x="5" y="57"/>
                  </a:moveTo>
                  <a:lnTo>
                    <a:pt x="5" y="57"/>
                  </a:lnTo>
                  <a:lnTo>
                    <a:pt x="5" y="57"/>
                  </a:lnTo>
                  <a:lnTo>
                    <a:pt x="5" y="57"/>
                  </a:lnTo>
                  <a:lnTo>
                    <a:pt x="5" y="57"/>
                  </a:lnTo>
                  <a:lnTo>
                    <a:pt x="5" y="57"/>
                  </a:lnTo>
                  <a:lnTo>
                    <a:pt x="5" y="57"/>
                  </a:lnTo>
                  <a:lnTo>
                    <a:pt x="5" y="57"/>
                  </a:lnTo>
                  <a:lnTo>
                    <a:pt x="5" y="57"/>
                  </a:lnTo>
                  <a:lnTo>
                    <a:pt x="5" y="57"/>
                  </a:lnTo>
                  <a:lnTo>
                    <a:pt x="5" y="57"/>
                  </a:lnTo>
                  <a:close/>
                  <a:moveTo>
                    <a:pt x="0" y="57"/>
                  </a:moveTo>
                  <a:lnTo>
                    <a:pt x="2" y="57"/>
                  </a:lnTo>
                  <a:lnTo>
                    <a:pt x="0" y="57"/>
                  </a:lnTo>
                  <a:lnTo>
                    <a:pt x="0" y="57"/>
                  </a:lnTo>
                  <a:lnTo>
                    <a:pt x="0" y="57"/>
                  </a:lnTo>
                  <a:close/>
                  <a:moveTo>
                    <a:pt x="16" y="50"/>
                  </a:moveTo>
                  <a:lnTo>
                    <a:pt x="16" y="50"/>
                  </a:lnTo>
                  <a:lnTo>
                    <a:pt x="16" y="50"/>
                  </a:lnTo>
                  <a:lnTo>
                    <a:pt x="16" y="50"/>
                  </a:lnTo>
                  <a:close/>
                  <a:moveTo>
                    <a:pt x="16" y="50"/>
                  </a:moveTo>
                  <a:lnTo>
                    <a:pt x="16" y="50"/>
                  </a:lnTo>
                  <a:lnTo>
                    <a:pt x="16" y="50"/>
                  </a:lnTo>
                  <a:lnTo>
                    <a:pt x="16" y="50"/>
                  </a:lnTo>
                  <a:close/>
                  <a:moveTo>
                    <a:pt x="31" y="50"/>
                  </a:moveTo>
                  <a:lnTo>
                    <a:pt x="31" y="50"/>
                  </a:lnTo>
                  <a:lnTo>
                    <a:pt x="31" y="50"/>
                  </a:lnTo>
                  <a:lnTo>
                    <a:pt x="31" y="50"/>
                  </a:lnTo>
                  <a:lnTo>
                    <a:pt x="31" y="50"/>
                  </a:lnTo>
                  <a:lnTo>
                    <a:pt x="31" y="50"/>
                  </a:lnTo>
                  <a:lnTo>
                    <a:pt x="31" y="50"/>
                  </a:lnTo>
                  <a:close/>
                  <a:moveTo>
                    <a:pt x="35" y="48"/>
                  </a:moveTo>
                  <a:lnTo>
                    <a:pt x="35" y="48"/>
                  </a:lnTo>
                  <a:lnTo>
                    <a:pt x="35" y="48"/>
                  </a:lnTo>
                  <a:lnTo>
                    <a:pt x="35" y="48"/>
                  </a:lnTo>
                  <a:lnTo>
                    <a:pt x="35" y="48"/>
                  </a:lnTo>
                  <a:lnTo>
                    <a:pt x="35" y="48"/>
                  </a:lnTo>
                  <a:lnTo>
                    <a:pt x="35" y="48"/>
                  </a:lnTo>
                  <a:lnTo>
                    <a:pt x="35" y="48"/>
                  </a:lnTo>
                  <a:lnTo>
                    <a:pt x="35" y="48"/>
                  </a:lnTo>
                  <a:close/>
                  <a:moveTo>
                    <a:pt x="35" y="48"/>
                  </a:moveTo>
                  <a:lnTo>
                    <a:pt x="35" y="48"/>
                  </a:lnTo>
                  <a:lnTo>
                    <a:pt x="35" y="48"/>
                  </a:lnTo>
                  <a:lnTo>
                    <a:pt x="35" y="48"/>
                  </a:lnTo>
                  <a:lnTo>
                    <a:pt x="35" y="48"/>
                  </a:lnTo>
                  <a:lnTo>
                    <a:pt x="35" y="48"/>
                  </a:lnTo>
                  <a:close/>
                  <a:moveTo>
                    <a:pt x="40" y="48"/>
                  </a:moveTo>
                  <a:lnTo>
                    <a:pt x="40" y="48"/>
                  </a:lnTo>
                  <a:lnTo>
                    <a:pt x="40" y="48"/>
                  </a:lnTo>
                  <a:lnTo>
                    <a:pt x="40" y="48"/>
                  </a:lnTo>
                  <a:lnTo>
                    <a:pt x="40" y="48"/>
                  </a:lnTo>
                  <a:lnTo>
                    <a:pt x="40" y="48"/>
                  </a:lnTo>
                  <a:lnTo>
                    <a:pt x="40" y="48"/>
                  </a:lnTo>
                  <a:close/>
                  <a:moveTo>
                    <a:pt x="38" y="48"/>
                  </a:moveTo>
                  <a:lnTo>
                    <a:pt x="38" y="48"/>
                  </a:lnTo>
                  <a:lnTo>
                    <a:pt x="38" y="48"/>
                  </a:lnTo>
                  <a:lnTo>
                    <a:pt x="38" y="48"/>
                  </a:lnTo>
                  <a:lnTo>
                    <a:pt x="38" y="48"/>
                  </a:lnTo>
                  <a:close/>
                  <a:moveTo>
                    <a:pt x="38" y="48"/>
                  </a:moveTo>
                  <a:lnTo>
                    <a:pt x="38" y="48"/>
                  </a:lnTo>
                  <a:lnTo>
                    <a:pt x="38" y="48"/>
                  </a:lnTo>
                  <a:lnTo>
                    <a:pt x="38" y="48"/>
                  </a:lnTo>
                  <a:lnTo>
                    <a:pt x="38" y="48"/>
                  </a:lnTo>
                  <a:lnTo>
                    <a:pt x="38" y="48"/>
                  </a:lnTo>
                  <a:lnTo>
                    <a:pt x="38" y="48"/>
                  </a:lnTo>
                  <a:lnTo>
                    <a:pt x="38" y="48"/>
                  </a:lnTo>
                  <a:close/>
                  <a:moveTo>
                    <a:pt x="38" y="48"/>
                  </a:moveTo>
                  <a:lnTo>
                    <a:pt x="38" y="48"/>
                  </a:lnTo>
                  <a:lnTo>
                    <a:pt x="38" y="48"/>
                  </a:lnTo>
                  <a:lnTo>
                    <a:pt x="38" y="48"/>
                  </a:lnTo>
                  <a:lnTo>
                    <a:pt x="38" y="48"/>
                  </a:lnTo>
                  <a:lnTo>
                    <a:pt x="38" y="48"/>
                  </a:lnTo>
                  <a:lnTo>
                    <a:pt x="38" y="48"/>
                  </a:lnTo>
                  <a:close/>
                  <a:moveTo>
                    <a:pt x="26" y="43"/>
                  </a:moveTo>
                  <a:lnTo>
                    <a:pt x="26" y="43"/>
                  </a:lnTo>
                  <a:lnTo>
                    <a:pt x="26" y="43"/>
                  </a:lnTo>
                  <a:lnTo>
                    <a:pt x="26" y="43"/>
                  </a:lnTo>
                  <a:lnTo>
                    <a:pt x="26" y="43"/>
                  </a:lnTo>
                  <a:close/>
                  <a:moveTo>
                    <a:pt x="59" y="41"/>
                  </a:moveTo>
                  <a:lnTo>
                    <a:pt x="59" y="41"/>
                  </a:lnTo>
                  <a:lnTo>
                    <a:pt x="59" y="41"/>
                  </a:lnTo>
                  <a:lnTo>
                    <a:pt x="59" y="41"/>
                  </a:lnTo>
                  <a:lnTo>
                    <a:pt x="59" y="41"/>
                  </a:lnTo>
                  <a:lnTo>
                    <a:pt x="59" y="41"/>
                  </a:lnTo>
                  <a:lnTo>
                    <a:pt x="59" y="41"/>
                  </a:lnTo>
                  <a:close/>
                  <a:moveTo>
                    <a:pt x="28" y="38"/>
                  </a:moveTo>
                  <a:lnTo>
                    <a:pt x="28" y="38"/>
                  </a:lnTo>
                  <a:lnTo>
                    <a:pt x="28" y="38"/>
                  </a:lnTo>
                  <a:lnTo>
                    <a:pt x="28" y="38"/>
                  </a:lnTo>
                  <a:lnTo>
                    <a:pt x="28" y="38"/>
                  </a:lnTo>
                  <a:lnTo>
                    <a:pt x="28" y="38"/>
                  </a:lnTo>
                  <a:close/>
                  <a:moveTo>
                    <a:pt x="14" y="38"/>
                  </a:moveTo>
                  <a:lnTo>
                    <a:pt x="14" y="38"/>
                  </a:lnTo>
                  <a:lnTo>
                    <a:pt x="14" y="38"/>
                  </a:lnTo>
                  <a:lnTo>
                    <a:pt x="14" y="38"/>
                  </a:lnTo>
                  <a:close/>
                  <a:moveTo>
                    <a:pt x="50" y="36"/>
                  </a:moveTo>
                  <a:lnTo>
                    <a:pt x="50" y="36"/>
                  </a:lnTo>
                  <a:lnTo>
                    <a:pt x="50" y="36"/>
                  </a:lnTo>
                  <a:lnTo>
                    <a:pt x="50" y="36"/>
                  </a:lnTo>
                  <a:lnTo>
                    <a:pt x="50" y="36"/>
                  </a:lnTo>
                  <a:lnTo>
                    <a:pt x="50" y="36"/>
                  </a:lnTo>
                  <a:lnTo>
                    <a:pt x="50" y="36"/>
                  </a:lnTo>
                  <a:close/>
                  <a:moveTo>
                    <a:pt x="47" y="17"/>
                  </a:moveTo>
                  <a:lnTo>
                    <a:pt x="47" y="17"/>
                  </a:lnTo>
                  <a:lnTo>
                    <a:pt x="47" y="17"/>
                  </a:lnTo>
                  <a:lnTo>
                    <a:pt x="47" y="17"/>
                  </a:lnTo>
                  <a:lnTo>
                    <a:pt x="47" y="17"/>
                  </a:lnTo>
                  <a:lnTo>
                    <a:pt x="47" y="17"/>
                  </a:lnTo>
                  <a:close/>
                  <a:moveTo>
                    <a:pt x="45" y="17"/>
                  </a:moveTo>
                  <a:lnTo>
                    <a:pt x="45" y="17"/>
                  </a:lnTo>
                  <a:lnTo>
                    <a:pt x="45" y="17"/>
                  </a:lnTo>
                  <a:lnTo>
                    <a:pt x="45" y="17"/>
                  </a:lnTo>
                  <a:lnTo>
                    <a:pt x="45" y="17"/>
                  </a:lnTo>
                  <a:close/>
                  <a:moveTo>
                    <a:pt x="47" y="17"/>
                  </a:moveTo>
                  <a:lnTo>
                    <a:pt x="47" y="17"/>
                  </a:lnTo>
                  <a:lnTo>
                    <a:pt x="47" y="17"/>
                  </a:lnTo>
                  <a:lnTo>
                    <a:pt x="47" y="17"/>
                  </a:lnTo>
                  <a:lnTo>
                    <a:pt x="47" y="17"/>
                  </a:lnTo>
                  <a:lnTo>
                    <a:pt x="47" y="17"/>
                  </a:lnTo>
                  <a:close/>
                  <a:moveTo>
                    <a:pt x="40" y="15"/>
                  </a:moveTo>
                  <a:lnTo>
                    <a:pt x="40" y="15"/>
                  </a:lnTo>
                  <a:lnTo>
                    <a:pt x="40" y="15"/>
                  </a:lnTo>
                  <a:lnTo>
                    <a:pt x="40" y="15"/>
                  </a:lnTo>
                  <a:lnTo>
                    <a:pt x="40" y="15"/>
                  </a:lnTo>
                  <a:close/>
                  <a:moveTo>
                    <a:pt x="31" y="12"/>
                  </a:moveTo>
                  <a:lnTo>
                    <a:pt x="31" y="12"/>
                  </a:lnTo>
                  <a:lnTo>
                    <a:pt x="31" y="12"/>
                  </a:lnTo>
                  <a:lnTo>
                    <a:pt x="31" y="12"/>
                  </a:lnTo>
                  <a:lnTo>
                    <a:pt x="31" y="12"/>
                  </a:lnTo>
                  <a:close/>
                  <a:moveTo>
                    <a:pt x="31" y="12"/>
                  </a:moveTo>
                  <a:lnTo>
                    <a:pt x="31" y="12"/>
                  </a:lnTo>
                  <a:lnTo>
                    <a:pt x="31" y="12"/>
                  </a:lnTo>
                  <a:lnTo>
                    <a:pt x="31" y="12"/>
                  </a:lnTo>
                  <a:lnTo>
                    <a:pt x="31" y="12"/>
                  </a:lnTo>
                  <a:lnTo>
                    <a:pt x="31" y="12"/>
                  </a:lnTo>
                  <a:lnTo>
                    <a:pt x="31" y="12"/>
                  </a:lnTo>
                  <a:close/>
                  <a:moveTo>
                    <a:pt x="59" y="10"/>
                  </a:moveTo>
                  <a:lnTo>
                    <a:pt x="57" y="10"/>
                  </a:lnTo>
                  <a:lnTo>
                    <a:pt x="59" y="10"/>
                  </a:lnTo>
                  <a:lnTo>
                    <a:pt x="59" y="10"/>
                  </a:lnTo>
                  <a:lnTo>
                    <a:pt x="59" y="10"/>
                  </a:lnTo>
                  <a:lnTo>
                    <a:pt x="59" y="10"/>
                  </a:lnTo>
                  <a:close/>
                  <a:moveTo>
                    <a:pt x="54" y="0"/>
                  </a:moveTo>
                  <a:lnTo>
                    <a:pt x="54" y="0"/>
                  </a:lnTo>
                  <a:lnTo>
                    <a:pt x="54" y="0"/>
                  </a:lnTo>
                  <a:lnTo>
                    <a:pt x="54" y="0"/>
                  </a:lnTo>
                  <a:lnTo>
                    <a:pt x="54" y="0"/>
                  </a:lnTo>
                  <a:lnTo>
                    <a:pt x="54" y="0"/>
                  </a:lnTo>
                  <a:close/>
                  <a:moveTo>
                    <a:pt x="54" y="0"/>
                  </a:moveTo>
                  <a:lnTo>
                    <a:pt x="54" y="0"/>
                  </a:lnTo>
                  <a:lnTo>
                    <a:pt x="54" y="0"/>
                  </a:lnTo>
                  <a:lnTo>
                    <a:pt x="54" y="0"/>
                  </a:lnTo>
                  <a:lnTo>
                    <a:pt x="5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4" name="Freeform 52502"/>
            <p:cNvSpPr>
              <a:spLocks noEditPoints="1"/>
            </p:cNvSpPr>
            <p:nvPr/>
          </p:nvSpPr>
          <p:spPr bwMode="auto">
            <a:xfrm>
              <a:off x="2955922" y="1939935"/>
              <a:ext cx="496888" cy="347664"/>
            </a:xfrm>
            <a:custGeom>
              <a:avLst/>
              <a:gdLst>
                <a:gd name="T0" fmla="*/ 192 w 313"/>
                <a:gd name="T1" fmla="*/ 174 h 219"/>
                <a:gd name="T2" fmla="*/ 211 w 313"/>
                <a:gd name="T3" fmla="*/ 183 h 219"/>
                <a:gd name="T4" fmla="*/ 197 w 313"/>
                <a:gd name="T5" fmla="*/ 200 h 219"/>
                <a:gd name="T6" fmla="*/ 166 w 313"/>
                <a:gd name="T7" fmla="*/ 217 h 219"/>
                <a:gd name="T8" fmla="*/ 161 w 313"/>
                <a:gd name="T9" fmla="*/ 202 h 219"/>
                <a:gd name="T10" fmla="*/ 173 w 313"/>
                <a:gd name="T11" fmla="*/ 198 h 219"/>
                <a:gd name="T12" fmla="*/ 164 w 313"/>
                <a:gd name="T13" fmla="*/ 195 h 219"/>
                <a:gd name="T14" fmla="*/ 164 w 313"/>
                <a:gd name="T15" fmla="*/ 188 h 219"/>
                <a:gd name="T16" fmla="*/ 156 w 313"/>
                <a:gd name="T17" fmla="*/ 195 h 219"/>
                <a:gd name="T18" fmla="*/ 140 w 313"/>
                <a:gd name="T19" fmla="*/ 200 h 219"/>
                <a:gd name="T20" fmla="*/ 104 w 313"/>
                <a:gd name="T21" fmla="*/ 202 h 219"/>
                <a:gd name="T22" fmla="*/ 119 w 313"/>
                <a:gd name="T23" fmla="*/ 181 h 219"/>
                <a:gd name="T24" fmla="*/ 109 w 313"/>
                <a:gd name="T25" fmla="*/ 169 h 219"/>
                <a:gd name="T26" fmla="*/ 130 w 313"/>
                <a:gd name="T27" fmla="*/ 155 h 219"/>
                <a:gd name="T28" fmla="*/ 168 w 313"/>
                <a:gd name="T29" fmla="*/ 153 h 219"/>
                <a:gd name="T30" fmla="*/ 175 w 313"/>
                <a:gd name="T31" fmla="*/ 29 h 219"/>
                <a:gd name="T32" fmla="*/ 185 w 313"/>
                <a:gd name="T33" fmla="*/ 27 h 219"/>
                <a:gd name="T34" fmla="*/ 197 w 313"/>
                <a:gd name="T35" fmla="*/ 24 h 219"/>
                <a:gd name="T36" fmla="*/ 202 w 313"/>
                <a:gd name="T37" fmla="*/ 17 h 219"/>
                <a:gd name="T38" fmla="*/ 216 w 313"/>
                <a:gd name="T39" fmla="*/ 15 h 219"/>
                <a:gd name="T40" fmla="*/ 223 w 313"/>
                <a:gd name="T41" fmla="*/ 12 h 219"/>
                <a:gd name="T42" fmla="*/ 232 w 313"/>
                <a:gd name="T43" fmla="*/ 17 h 219"/>
                <a:gd name="T44" fmla="*/ 249 w 313"/>
                <a:gd name="T45" fmla="*/ 19 h 219"/>
                <a:gd name="T46" fmla="*/ 268 w 313"/>
                <a:gd name="T47" fmla="*/ 24 h 219"/>
                <a:gd name="T48" fmla="*/ 301 w 313"/>
                <a:gd name="T49" fmla="*/ 27 h 219"/>
                <a:gd name="T50" fmla="*/ 308 w 313"/>
                <a:gd name="T51" fmla="*/ 48 h 219"/>
                <a:gd name="T52" fmla="*/ 277 w 313"/>
                <a:gd name="T53" fmla="*/ 60 h 219"/>
                <a:gd name="T54" fmla="*/ 247 w 313"/>
                <a:gd name="T55" fmla="*/ 79 h 219"/>
                <a:gd name="T56" fmla="*/ 206 w 313"/>
                <a:gd name="T57" fmla="*/ 88 h 219"/>
                <a:gd name="T58" fmla="*/ 166 w 313"/>
                <a:gd name="T59" fmla="*/ 81 h 219"/>
                <a:gd name="T60" fmla="*/ 145 w 313"/>
                <a:gd name="T61" fmla="*/ 79 h 219"/>
                <a:gd name="T62" fmla="*/ 100 w 313"/>
                <a:gd name="T63" fmla="*/ 77 h 219"/>
                <a:gd name="T64" fmla="*/ 66 w 313"/>
                <a:gd name="T65" fmla="*/ 62 h 219"/>
                <a:gd name="T66" fmla="*/ 97 w 313"/>
                <a:gd name="T67" fmla="*/ 65 h 219"/>
                <a:gd name="T68" fmla="*/ 97 w 313"/>
                <a:gd name="T69" fmla="*/ 62 h 219"/>
                <a:gd name="T70" fmla="*/ 128 w 313"/>
                <a:gd name="T71" fmla="*/ 58 h 219"/>
                <a:gd name="T72" fmla="*/ 123 w 313"/>
                <a:gd name="T73" fmla="*/ 48 h 219"/>
                <a:gd name="T74" fmla="*/ 85 w 313"/>
                <a:gd name="T75" fmla="*/ 50 h 219"/>
                <a:gd name="T76" fmla="*/ 57 w 313"/>
                <a:gd name="T77" fmla="*/ 53 h 219"/>
                <a:gd name="T78" fmla="*/ 35 w 313"/>
                <a:gd name="T79" fmla="*/ 55 h 219"/>
                <a:gd name="T80" fmla="*/ 24 w 313"/>
                <a:gd name="T81" fmla="*/ 50 h 219"/>
                <a:gd name="T82" fmla="*/ 31 w 313"/>
                <a:gd name="T83" fmla="*/ 38 h 219"/>
                <a:gd name="T84" fmla="*/ 35 w 313"/>
                <a:gd name="T85" fmla="*/ 34 h 219"/>
                <a:gd name="T86" fmla="*/ 14 w 313"/>
                <a:gd name="T87" fmla="*/ 31 h 219"/>
                <a:gd name="T88" fmla="*/ 7 w 313"/>
                <a:gd name="T89" fmla="*/ 24 h 219"/>
                <a:gd name="T90" fmla="*/ 28 w 313"/>
                <a:gd name="T91" fmla="*/ 24 h 219"/>
                <a:gd name="T92" fmla="*/ 45 w 313"/>
                <a:gd name="T93" fmla="*/ 27 h 219"/>
                <a:gd name="T94" fmla="*/ 52 w 313"/>
                <a:gd name="T95" fmla="*/ 24 h 219"/>
                <a:gd name="T96" fmla="*/ 57 w 313"/>
                <a:gd name="T97" fmla="*/ 17 h 219"/>
                <a:gd name="T98" fmla="*/ 66 w 313"/>
                <a:gd name="T99" fmla="*/ 15 h 219"/>
                <a:gd name="T100" fmla="*/ 59 w 313"/>
                <a:gd name="T101" fmla="*/ 3 h 219"/>
                <a:gd name="T102" fmla="*/ 78 w 313"/>
                <a:gd name="T103" fmla="*/ 8 h 219"/>
                <a:gd name="T104" fmla="*/ 100 w 313"/>
                <a:gd name="T105" fmla="*/ 15 h 219"/>
                <a:gd name="T106" fmla="*/ 121 w 313"/>
                <a:gd name="T107" fmla="*/ 22 h 219"/>
                <a:gd name="T108" fmla="*/ 128 w 313"/>
                <a:gd name="T109" fmla="*/ 27 h 219"/>
                <a:gd name="T110" fmla="*/ 147 w 313"/>
                <a:gd name="T111" fmla="*/ 36 h 219"/>
                <a:gd name="T112" fmla="*/ 154 w 313"/>
                <a:gd name="T113" fmla="*/ 29 h 219"/>
                <a:gd name="T114" fmla="*/ 154 w 313"/>
                <a:gd name="T115" fmla="*/ 12 h 219"/>
                <a:gd name="T116" fmla="*/ 168 w 313"/>
                <a:gd name="T117" fmla="*/ 5 h 219"/>
                <a:gd name="T118" fmla="*/ 180 w 313"/>
                <a:gd name="T119" fmla="*/ 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3" h="219">
                  <a:moveTo>
                    <a:pt x="171" y="155"/>
                  </a:moveTo>
                  <a:lnTo>
                    <a:pt x="173" y="155"/>
                  </a:lnTo>
                  <a:lnTo>
                    <a:pt x="175" y="155"/>
                  </a:lnTo>
                  <a:lnTo>
                    <a:pt x="178" y="155"/>
                  </a:lnTo>
                  <a:lnTo>
                    <a:pt x="178" y="157"/>
                  </a:lnTo>
                  <a:lnTo>
                    <a:pt x="180" y="160"/>
                  </a:lnTo>
                  <a:lnTo>
                    <a:pt x="178" y="160"/>
                  </a:lnTo>
                  <a:lnTo>
                    <a:pt x="178" y="162"/>
                  </a:lnTo>
                  <a:lnTo>
                    <a:pt x="175" y="162"/>
                  </a:lnTo>
                  <a:lnTo>
                    <a:pt x="178" y="164"/>
                  </a:lnTo>
                  <a:lnTo>
                    <a:pt x="180" y="167"/>
                  </a:lnTo>
                  <a:lnTo>
                    <a:pt x="183" y="167"/>
                  </a:lnTo>
                  <a:lnTo>
                    <a:pt x="183" y="169"/>
                  </a:lnTo>
                  <a:lnTo>
                    <a:pt x="183" y="172"/>
                  </a:lnTo>
                  <a:lnTo>
                    <a:pt x="185" y="172"/>
                  </a:lnTo>
                  <a:lnTo>
                    <a:pt x="187" y="172"/>
                  </a:lnTo>
                  <a:lnTo>
                    <a:pt x="190" y="174"/>
                  </a:lnTo>
                  <a:lnTo>
                    <a:pt x="192" y="174"/>
                  </a:lnTo>
                  <a:lnTo>
                    <a:pt x="194" y="176"/>
                  </a:lnTo>
                  <a:lnTo>
                    <a:pt x="197" y="174"/>
                  </a:lnTo>
                  <a:lnTo>
                    <a:pt x="199" y="174"/>
                  </a:lnTo>
                  <a:lnTo>
                    <a:pt x="202" y="174"/>
                  </a:lnTo>
                  <a:lnTo>
                    <a:pt x="204" y="174"/>
                  </a:lnTo>
                  <a:lnTo>
                    <a:pt x="206" y="174"/>
                  </a:lnTo>
                  <a:lnTo>
                    <a:pt x="211" y="174"/>
                  </a:lnTo>
                  <a:lnTo>
                    <a:pt x="213" y="174"/>
                  </a:lnTo>
                  <a:lnTo>
                    <a:pt x="216" y="174"/>
                  </a:lnTo>
                  <a:lnTo>
                    <a:pt x="216" y="176"/>
                  </a:lnTo>
                  <a:lnTo>
                    <a:pt x="213" y="176"/>
                  </a:lnTo>
                  <a:lnTo>
                    <a:pt x="216" y="176"/>
                  </a:lnTo>
                  <a:lnTo>
                    <a:pt x="218" y="176"/>
                  </a:lnTo>
                  <a:lnTo>
                    <a:pt x="216" y="176"/>
                  </a:lnTo>
                  <a:lnTo>
                    <a:pt x="213" y="179"/>
                  </a:lnTo>
                  <a:lnTo>
                    <a:pt x="211" y="179"/>
                  </a:lnTo>
                  <a:lnTo>
                    <a:pt x="211" y="181"/>
                  </a:lnTo>
                  <a:lnTo>
                    <a:pt x="211" y="183"/>
                  </a:lnTo>
                  <a:lnTo>
                    <a:pt x="209" y="183"/>
                  </a:lnTo>
                  <a:lnTo>
                    <a:pt x="211" y="183"/>
                  </a:lnTo>
                  <a:lnTo>
                    <a:pt x="211" y="186"/>
                  </a:lnTo>
                  <a:lnTo>
                    <a:pt x="213" y="186"/>
                  </a:lnTo>
                  <a:lnTo>
                    <a:pt x="213" y="188"/>
                  </a:lnTo>
                  <a:lnTo>
                    <a:pt x="211" y="188"/>
                  </a:lnTo>
                  <a:lnTo>
                    <a:pt x="211" y="191"/>
                  </a:lnTo>
                  <a:lnTo>
                    <a:pt x="209" y="191"/>
                  </a:lnTo>
                  <a:lnTo>
                    <a:pt x="206" y="191"/>
                  </a:lnTo>
                  <a:lnTo>
                    <a:pt x="206" y="193"/>
                  </a:lnTo>
                  <a:lnTo>
                    <a:pt x="204" y="193"/>
                  </a:lnTo>
                  <a:lnTo>
                    <a:pt x="206" y="193"/>
                  </a:lnTo>
                  <a:lnTo>
                    <a:pt x="206" y="195"/>
                  </a:lnTo>
                  <a:lnTo>
                    <a:pt x="204" y="195"/>
                  </a:lnTo>
                  <a:lnTo>
                    <a:pt x="202" y="195"/>
                  </a:lnTo>
                  <a:lnTo>
                    <a:pt x="202" y="198"/>
                  </a:lnTo>
                  <a:lnTo>
                    <a:pt x="199" y="200"/>
                  </a:lnTo>
                  <a:lnTo>
                    <a:pt x="197" y="200"/>
                  </a:lnTo>
                  <a:lnTo>
                    <a:pt x="194" y="202"/>
                  </a:lnTo>
                  <a:lnTo>
                    <a:pt x="192" y="205"/>
                  </a:lnTo>
                  <a:lnTo>
                    <a:pt x="190" y="205"/>
                  </a:lnTo>
                  <a:lnTo>
                    <a:pt x="190" y="207"/>
                  </a:lnTo>
                  <a:lnTo>
                    <a:pt x="187" y="207"/>
                  </a:lnTo>
                  <a:lnTo>
                    <a:pt x="185" y="207"/>
                  </a:lnTo>
                  <a:lnTo>
                    <a:pt x="185" y="210"/>
                  </a:lnTo>
                  <a:lnTo>
                    <a:pt x="183" y="210"/>
                  </a:lnTo>
                  <a:lnTo>
                    <a:pt x="180" y="210"/>
                  </a:lnTo>
                  <a:lnTo>
                    <a:pt x="180" y="212"/>
                  </a:lnTo>
                  <a:lnTo>
                    <a:pt x="178" y="212"/>
                  </a:lnTo>
                  <a:lnTo>
                    <a:pt x="175" y="212"/>
                  </a:lnTo>
                  <a:lnTo>
                    <a:pt x="175" y="214"/>
                  </a:lnTo>
                  <a:lnTo>
                    <a:pt x="173" y="214"/>
                  </a:lnTo>
                  <a:lnTo>
                    <a:pt x="173" y="217"/>
                  </a:lnTo>
                  <a:lnTo>
                    <a:pt x="171" y="217"/>
                  </a:lnTo>
                  <a:lnTo>
                    <a:pt x="168" y="217"/>
                  </a:lnTo>
                  <a:lnTo>
                    <a:pt x="166" y="217"/>
                  </a:lnTo>
                  <a:lnTo>
                    <a:pt x="164" y="219"/>
                  </a:lnTo>
                  <a:lnTo>
                    <a:pt x="161" y="219"/>
                  </a:lnTo>
                  <a:lnTo>
                    <a:pt x="159" y="219"/>
                  </a:lnTo>
                  <a:lnTo>
                    <a:pt x="159" y="217"/>
                  </a:lnTo>
                  <a:lnTo>
                    <a:pt x="161" y="214"/>
                  </a:lnTo>
                  <a:lnTo>
                    <a:pt x="164" y="214"/>
                  </a:lnTo>
                  <a:lnTo>
                    <a:pt x="164" y="212"/>
                  </a:lnTo>
                  <a:lnTo>
                    <a:pt x="164" y="210"/>
                  </a:lnTo>
                  <a:lnTo>
                    <a:pt x="161" y="210"/>
                  </a:lnTo>
                  <a:lnTo>
                    <a:pt x="159" y="210"/>
                  </a:lnTo>
                  <a:lnTo>
                    <a:pt x="161" y="210"/>
                  </a:lnTo>
                  <a:lnTo>
                    <a:pt x="161" y="207"/>
                  </a:lnTo>
                  <a:lnTo>
                    <a:pt x="164" y="207"/>
                  </a:lnTo>
                  <a:lnTo>
                    <a:pt x="166" y="207"/>
                  </a:lnTo>
                  <a:lnTo>
                    <a:pt x="166" y="205"/>
                  </a:lnTo>
                  <a:lnTo>
                    <a:pt x="166" y="202"/>
                  </a:lnTo>
                  <a:lnTo>
                    <a:pt x="164" y="202"/>
                  </a:lnTo>
                  <a:lnTo>
                    <a:pt x="161" y="202"/>
                  </a:lnTo>
                  <a:lnTo>
                    <a:pt x="161" y="200"/>
                  </a:lnTo>
                  <a:lnTo>
                    <a:pt x="164" y="200"/>
                  </a:lnTo>
                  <a:lnTo>
                    <a:pt x="164" y="202"/>
                  </a:lnTo>
                  <a:lnTo>
                    <a:pt x="166" y="202"/>
                  </a:lnTo>
                  <a:lnTo>
                    <a:pt x="164" y="202"/>
                  </a:lnTo>
                  <a:lnTo>
                    <a:pt x="166" y="202"/>
                  </a:lnTo>
                  <a:lnTo>
                    <a:pt x="168" y="202"/>
                  </a:lnTo>
                  <a:lnTo>
                    <a:pt x="171" y="200"/>
                  </a:lnTo>
                  <a:lnTo>
                    <a:pt x="173" y="200"/>
                  </a:lnTo>
                  <a:lnTo>
                    <a:pt x="175" y="200"/>
                  </a:lnTo>
                  <a:lnTo>
                    <a:pt x="173" y="200"/>
                  </a:lnTo>
                  <a:lnTo>
                    <a:pt x="175" y="200"/>
                  </a:lnTo>
                  <a:lnTo>
                    <a:pt x="173" y="200"/>
                  </a:lnTo>
                  <a:lnTo>
                    <a:pt x="173" y="198"/>
                  </a:lnTo>
                  <a:lnTo>
                    <a:pt x="175" y="198"/>
                  </a:lnTo>
                  <a:lnTo>
                    <a:pt x="173" y="198"/>
                  </a:lnTo>
                  <a:lnTo>
                    <a:pt x="175" y="198"/>
                  </a:lnTo>
                  <a:lnTo>
                    <a:pt x="173" y="198"/>
                  </a:lnTo>
                  <a:lnTo>
                    <a:pt x="171" y="198"/>
                  </a:lnTo>
                  <a:lnTo>
                    <a:pt x="168" y="198"/>
                  </a:lnTo>
                  <a:lnTo>
                    <a:pt x="166" y="198"/>
                  </a:lnTo>
                  <a:lnTo>
                    <a:pt x="164" y="198"/>
                  </a:lnTo>
                  <a:lnTo>
                    <a:pt x="164" y="200"/>
                  </a:lnTo>
                  <a:lnTo>
                    <a:pt x="161" y="200"/>
                  </a:lnTo>
                  <a:lnTo>
                    <a:pt x="164" y="200"/>
                  </a:lnTo>
                  <a:lnTo>
                    <a:pt x="161" y="200"/>
                  </a:lnTo>
                  <a:lnTo>
                    <a:pt x="161" y="198"/>
                  </a:lnTo>
                  <a:lnTo>
                    <a:pt x="164" y="195"/>
                  </a:lnTo>
                  <a:lnTo>
                    <a:pt x="161" y="195"/>
                  </a:lnTo>
                  <a:lnTo>
                    <a:pt x="161" y="198"/>
                  </a:lnTo>
                  <a:lnTo>
                    <a:pt x="161" y="195"/>
                  </a:lnTo>
                  <a:lnTo>
                    <a:pt x="164" y="195"/>
                  </a:lnTo>
                  <a:lnTo>
                    <a:pt x="161" y="195"/>
                  </a:lnTo>
                  <a:lnTo>
                    <a:pt x="164" y="195"/>
                  </a:lnTo>
                  <a:lnTo>
                    <a:pt x="161" y="195"/>
                  </a:lnTo>
                  <a:lnTo>
                    <a:pt x="164" y="195"/>
                  </a:lnTo>
                  <a:lnTo>
                    <a:pt x="164" y="193"/>
                  </a:lnTo>
                  <a:lnTo>
                    <a:pt x="166" y="193"/>
                  </a:lnTo>
                  <a:lnTo>
                    <a:pt x="168" y="193"/>
                  </a:lnTo>
                  <a:lnTo>
                    <a:pt x="168" y="191"/>
                  </a:lnTo>
                  <a:lnTo>
                    <a:pt x="171" y="191"/>
                  </a:lnTo>
                  <a:lnTo>
                    <a:pt x="168" y="191"/>
                  </a:lnTo>
                  <a:lnTo>
                    <a:pt x="166" y="193"/>
                  </a:lnTo>
                  <a:lnTo>
                    <a:pt x="164" y="193"/>
                  </a:lnTo>
                  <a:lnTo>
                    <a:pt x="164" y="191"/>
                  </a:lnTo>
                  <a:lnTo>
                    <a:pt x="164" y="188"/>
                  </a:lnTo>
                  <a:lnTo>
                    <a:pt x="166" y="188"/>
                  </a:lnTo>
                  <a:lnTo>
                    <a:pt x="164" y="188"/>
                  </a:lnTo>
                  <a:lnTo>
                    <a:pt x="166" y="188"/>
                  </a:lnTo>
                  <a:lnTo>
                    <a:pt x="166" y="186"/>
                  </a:lnTo>
                  <a:lnTo>
                    <a:pt x="166" y="188"/>
                  </a:lnTo>
                  <a:lnTo>
                    <a:pt x="164" y="188"/>
                  </a:lnTo>
                  <a:lnTo>
                    <a:pt x="166" y="188"/>
                  </a:lnTo>
                  <a:lnTo>
                    <a:pt x="164" y="188"/>
                  </a:lnTo>
                  <a:lnTo>
                    <a:pt x="164" y="191"/>
                  </a:lnTo>
                  <a:lnTo>
                    <a:pt x="164" y="193"/>
                  </a:lnTo>
                  <a:lnTo>
                    <a:pt x="164" y="195"/>
                  </a:lnTo>
                  <a:lnTo>
                    <a:pt x="161" y="195"/>
                  </a:lnTo>
                  <a:lnTo>
                    <a:pt x="159" y="195"/>
                  </a:lnTo>
                  <a:lnTo>
                    <a:pt x="161" y="195"/>
                  </a:lnTo>
                  <a:lnTo>
                    <a:pt x="159" y="195"/>
                  </a:lnTo>
                  <a:lnTo>
                    <a:pt x="161" y="195"/>
                  </a:lnTo>
                  <a:lnTo>
                    <a:pt x="159" y="195"/>
                  </a:lnTo>
                  <a:lnTo>
                    <a:pt x="156" y="195"/>
                  </a:lnTo>
                  <a:lnTo>
                    <a:pt x="156" y="193"/>
                  </a:lnTo>
                  <a:lnTo>
                    <a:pt x="154" y="193"/>
                  </a:lnTo>
                  <a:lnTo>
                    <a:pt x="156" y="193"/>
                  </a:lnTo>
                  <a:lnTo>
                    <a:pt x="154" y="193"/>
                  </a:lnTo>
                  <a:lnTo>
                    <a:pt x="156" y="193"/>
                  </a:lnTo>
                  <a:lnTo>
                    <a:pt x="154" y="193"/>
                  </a:lnTo>
                  <a:lnTo>
                    <a:pt x="156" y="193"/>
                  </a:lnTo>
                  <a:lnTo>
                    <a:pt x="156" y="195"/>
                  </a:lnTo>
                  <a:lnTo>
                    <a:pt x="154" y="195"/>
                  </a:lnTo>
                  <a:lnTo>
                    <a:pt x="152" y="195"/>
                  </a:lnTo>
                  <a:lnTo>
                    <a:pt x="154" y="195"/>
                  </a:lnTo>
                  <a:lnTo>
                    <a:pt x="152" y="195"/>
                  </a:lnTo>
                  <a:lnTo>
                    <a:pt x="149" y="195"/>
                  </a:lnTo>
                  <a:lnTo>
                    <a:pt x="152" y="195"/>
                  </a:lnTo>
                  <a:lnTo>
                    <a:pt x="154" y="195"/>
                  </a:lnTo>
                  <a:lnTo>
                    <a:pt x="154" y="198"/>
                  </a:lnTo>
                  <a:lnTo>
                    <a:pt x="152" y="198"/>
                  </a:lnTo>
                  <a:lnTo>
                    <a:pt x="149" y="198"/>
                  </a:lnTo>
                  <a:lnTo>
                    <a:pt x="147" y="198"/>
                  </a:lnTo>
                  <a:lnTo>
                    <a:pt x="145" y="200"/>
                  </a:lnTo>
                  <a:lnTo>
                    <a:pt x="142" y="200"/>
                  </a:lnTo>
                  <a:lnTo>
                    <a:pt x="140" y="200"/>
                  </a:lnTo>
                  <a:lnTo>
                    <a:pt x="142" y="200"/>
                  </a:lnTo>
                  <a:lnTo>
                    <a:pt x="140" y="200"/>
                  </a:lnTo>
                  <a:lnTo>
                    <a:pt x="142" y="200"/>
                  </a:lnTo>
                  <a:lnTo>
                    <a:pt x="140" y="200"/>
                  </a:lnTo>
                  <a:lnTo>
                    <a:pt x="142" y="200"/>
                  </a:lnTo>
                  <a:lnTo>
                    <a:pt x="140" y="202"/>
                  </a:lnTo>
                  <a:lnTo>
                    <a:pt x="135" y="202"/>
                  </a:lnTo>
                  <a:lnTo>
                    <a:pt x="133" y="202"/>
                  </a:lnTo>
                  <a:lnTo>
                    <a:pt x="126" y="202"/>
                  </a:lnTo>
                  <a:lnTo>
                    <a:pt x="123" y="202"/>
                  </a:lnTo>
                  <a:lnTo>
                    <a:pt x="121" y="205"/>
                  </a:lnTo>
                  <a:lnTo>
                    <a:pt x="119" y="205"/>
                  </a:lnTo>
                  <a:lnTo>
                    <a:pt x="116" y="205"/>
                  </a:lnTo>
                  <a:lnTo>
                    <a:pt x="114" y="205"/>
                  </a:lnTo>
                  <a:lnTo>
                    <a:pt x="111" y="207"/>
                  </a:lnTo>
                  <a:lnTo>
                    <a:pt x="109" y="207"/>
                  </a:lnTo>
                  <a:lnTo>
                    <a:pt x="107" y="207"/>
                  </a:lnTo>
                  <a:lnTo>
                    <a:pt x="104" y="207"/>
                  </a:lnTo>
                  <a:lnTo>
                    <a:pt x="102" y="207"/>
                  </a:lnTo>
                  <a:lnTo>
                    <a:pt x="102" y="205"/>
                  </a:lnTo>
                  <a:lnTo>
                    <a:pt x="102" y="202"/>
                  </a:lnTo>
                  <a:lnTo>
                    <a:pt x="104" y="202"/>
                  </a:lnTo>
                  <a:lnTo>
                    <a:pt x="102" y="202"/>
                  </a:lnTo>
                  <a:lnTo>
                    <a:pt x="102" y="200"/>
                  </a:lnTo>
                  <a:lnTo>
                    <a:pt x="104" y="200"/>
                  </a:lnTo>
                  <a:lnTo>
                    <a:pt x="102" y="200"/>
                  </a:lnTo>
                  <a:lnTo>
                    <a:pt x="104" y="200"/>
                  </a:lnTo>
                  <a:lnTo>
                    <a:pt x="104" y="198"/>
                  </a:lnTo>
                  <a:lnTo>
                    <a:pt x="102" y="198"/>
                  </a:lnTo>
                  <a:lnTo>
                    <a:pt x="104" y="198"/>
                  </a:lnTo>
                  <a:lnTo>
                    <a:pt x="107" y="198"/>
                  </a:lnTo>
                  <a:lnTo>
                    <a:pt x="109" y="198"/>
                  </a:lnTo>
                  <a:lnTo>
                    <a:pt x="111" y="195"/>
                  </a:lnTo>
                  <a:lnTo>
                    <a:pt x="114" y="195"/>
                  </a:lnTo>
                  <a:lnTo>
                    <a:pt x="114" y="193"/>
                  </a:lnTo>
                  <a:lnTo>
                    <a:pt x="114" y="191"/>
                  </a:lnTo>
                  <a:lnTo>
                    <a:pt x="114" y="188"/>
                  </a:lnTo>
                  <a:lnTo>
                    <a:pt x="116" y="186"/>
                  </a:lnTo>
                  <a:lnTo>
                    <a:pt x="119" y="183"/>
                  </a:lnTo>
                  <a:lnTo>
                    <a:pt x="119" y="181"/>
                  </a:lnTo>
                  <a:lnTo>
                    <a:pt x="121" y="181"/>
                  </a:lnTo>
                  <a:lnTo>
                    <a:pt x="123" y="181"/>
                  </a:lnTo>
                  <a:lnTo>
                    <a:pt x="123" y="179"/>
                  </a:lnTo>
                  <a:lnTo>
                    <a:pt x="123" y="176"/>
                  </a:lnTo>
                  <a:lnTo>
                    <a:pt x="123" y="179"/>
                  </a:lnTo>
                  <a:lnTo>
                    <a:pt x="123" y="176"/>
                  </a:lnTo>
                  <a:lnTo>
                    <a:pt x="126" y="176"/>
                  </a:lnTo>
                  <a:lnTo>
                    <a:pt x="126" y="174"/>
                  </a:lnTo>
                  <a:lnTo>
                    <a:pt x="123" y="174"/>
                  </a:lnTo>
                  <a:lnTo>
                    <a:pt x="126" y="174"/>
                  </a:lnTo>
                  <a:lnTo>
                    <a:pt x="123" y="174"/>
                  </a:lnTo>
                  <a:lnTo>
                    <a:pt x="121" y="174"/>
                  </a:lnTo>
                  <a:lnTo>
                    <a:pt x="121" y="172"/>
                  </a:lnTo>
                  <a:lnTo>
                    <a:pt x="116" y="172"/>
                  </a:lnTo>
                  <a:lnTo>
                    <a:pt x="114" y="172"/>
                  </a:lnTo>
                  <a:lnTo>
                    <a:pt x="114" y="169"/>
                  </a:lnTo>
                  <a:lnTo>
                    <a:pt x="111" y="169"/>
                  </a:lnTo>
                  <a:lnTo>
                    <a:pt x="109" y="169"/>
                  </a:lnTo>
                  <a:lnTo>
                    <a:pt x="107" y="167"/>
                  </a:lnTo>
                  <a:lnTo>
                    <a:pt x="104" y="167"/>
                  </a:lnTo>
                  <a:lnTo>
                    <a:pt x="104" y="164"/>
                  </a:lnTo>
                  <a:lnTo>
                    <a:pt x="102" y="164"/>
                  </a:lnTo>
                  <a:lnTo>
                    <a:pt x="102" y="162"/>
                  </a:lnTo>
                  <a:lnTo>
                    <a:pt x="104" y="162"/>
                  </a:lnTo>
                  <a:lnTo>
                    <a:pt x="107" y="162"/>
                  </a:lnTo>
                  <a:lnTo>
                    <a:pt x="107" y="160"/>
                  </a:lnTo>
                  <a:lnTo>
                    <a:pt x="109" y="160"/>
                  </a:lnTo>
                  <a:lnTo>
                    <a:pt x="111" y="160"/>
                  </a:lnTo>
                  <a:lnTo>
                    <a:pt x="114" y="160"/>
                  </a:lnTo>
                  <a:lnTo>
                    <a:pt x="116" y="160"/>
                  </a:lnTo>
                  <a:lnTo>
                    <a:pt x="119" y="157"/>
                  </a:lnTo>
                  <a:lnTo>
                    <a:pt x="121" y="157"/>
                  </a:lnTo>
                  <a:lnTo>
                    <a:pt x="123" y="157"/>
                  </a:lnTo>
                  <a:lnTo>
                    <a:pt x="126" y="157"/>
                  </a:lnTo>
                  <a:lnTo>
                    <a:pt x="128" y="157"/>
                  </a:lnTo>
                  <a:lnTo>
                    <a:pt x="130" y="155"/>
                  </a:lnTo>
                  <a:lnTo>
                    <a:pt x="133" y="155"/>
                  </a:lnTo>
                  <a:lnTo>
                    <a:pt x="140" y="157"/>
                  </a:lnTo>
                  <a:lnTo>
                    <a:pt x="142" y="157"/>
                  </a:lnTo>
                  <a:lnTo>
                    <a:pt x="145" y="157"/>
                  </a:lnTo>
                  <a:lnTo>
                    <a:pt x="147" y="157"/>
                  </a:lnTo>
                  <a:lnTo>
                    <a:pt x="149" y="157"/>
                  </a:lnTo>
                  <a:lnTo>
                    <a:pt x="149" y="155"/>
                  </a:lnTo>
                  <a:lnTo>
                    <a:pt x="149" y="157"/>
                  </a:lnTo>
                  <a:lnTo>
                    <a:pt x="149" y="155"/>
                  </a:lnTo>
                  <a:lnTo>
                    <a:pt x="152" y="155"/>
                  </a:lnTo>
                  <a:lnTo>
                    <a:pt x="152" y="157"/>
                  </a:lnTo>
                  <a:lnTo>
                    <a:pt x="154" y="155"/>
                  </a:lnTo>
                  <a:lnTo>
                    <a:pt x="156" y="155"/>
                  </a:lnTo>
                  <a:lnTo>
                    <a:pt x="159" y="155"/>
                  </a:lnTo>
                  <a:lnTo>
                    <a:pt x="161" y="155"/>
                  </a:lnTo>
                  <a:lnTo>
                    <a:pt x="164" y="153"/>
                  </a:lnTo>
                  <a:lnTo>
                    <a:pt x="166" y="153"/>
                  </a:lnTo>
                  <a:lnTo>
                    <a:pt x="168" y="153"/>
                  </a:lnTo>
                  <a:lnTo>
                    <a:pt x="171" y="153"/>
                  </a:lnTo>
                  <a:lnTo>
                    <a:pt x="171" y="155"/>
                  </a:lnTo>
                  <a:close/>
                  <a:moveTo>
                    <a:pt x="183" y="15"/>
                  </a:moveTo>
                  <a:lnTo>
                    <a:pt x="185" y="15"/>
                  </a:lnTo>
                  <a:lnTo>
                    <a:pt x="185" y="17"/>
                  </a:lnTo>
                  <a:lnTo>
                    <a:pt x="183" y="17"/>
                  </a:lnTo>
                  <a:lnTo>
                    <a:pt x="183" y="19"/>
                  </a:lnTo>
                  <a:lnTo>
                    <a:pt x="183" y="17"/>
                  </a:lnTo>
                  <a:lnTo>
                    <a:pt x="180" y="19"/>
                  </a:lnTo>
                  <a:lnTo>
                    <a:pt x="178" y="19"/>
                  </a:lnTo>
                  <a:lnTo>
                    <a:pt x="175" y="19"/>
                  </a:lnTo>
                  <a:lnTo>
                    <a:pt x="175" y="22"/>
                  </a:lnTo>
                  <a:lnTo>
                    <a:pt x="175" y="24"/>
                  </a:lnTo>
                  <a:lnTo>
                    <a:pt x="173" y="24"/>
                  </a:lnTo>
                  <a:lnTo>
                    <a:pt x="173" y="27"/>
                  </a:lnTo>
                  <a:lnTo>
                    <a:pt x="175" y="27"/>
                  </a:lnTo>
                  <a:lnTo>
                    <a:pt x="178" y="27"/>
                  </a:lnTo>
                  <a:lnTo>
                    <a:pt x="175" y="29"/>
                  </a:lnTo>
                  <a:lnTo>
                    <a:pt x="178" y="29"/>
                  </a:lnTo>
                  <a:lnTo>
                    <a:pt x="178" y="27"/>
                  </a:lnTo>
                  <a:lnTo>
                    <a:pt x="178" y="29"/>
                  </a:lnTo>
                  <a:lnTo>
                    <a:pt x="180" y="29"/>
                  </a:lnTo>
                  <a:lnTo>
                    <a:pt x="180" y="27"/>
                  </a:lnTo>
                  <a:lnTo>
                    <a:pt x="178" y="27"/>
                  </a:lnTo>
                  <a:lnTo>
                    <a:pt x="178" y="24"/>
                  </a:lnTo>
                  <a:lnTo>
                    <a:pt x="175" y="24"/>
                  </a:lnTo>
                  <a:lnTo>
                    <a:pt x="178" y="24"/>
                  </a:lnTo>
                  <a:lnTo>
                    <a:pt x="180" y="24"/>
                  </a:lnTo>
                  <a:lnTo>
                    <a:pt x="183" y="27"/>
                  </a:lnTo>
                  <a:lnTo>
                    <a:pt x="183" y="24"/>
                  </a:lnTo>
                  <a:lnTo>
                    <a:pt x="180" y="24"/>
                  </a:lnTo>
                  <a:lnTo>
                    <a:pt x="183" y="24"/>
                  </a:lnTo>
                  <a:lnTo>
                    <a:pt x="180" y="24"/>
                  </a:lnTo>
                  <a:lnTo>
                    <a:pt x="183" y="24"/>
                  </a:lnTo>
                  <a:lnTo>
                    <a:pt x="185" y="24"/>
                  </a:lnTo>
                  <a:lnTo>
                    <a:pt x="185" y="27"/>
                  </a:lnTo>
                  <a:lnTo>
                    <a:pt x="187" y="27"/>
                  </a:lnTo>
                  <a:lnTo>
                    <a:pt x="190" y="27"/>
                  </a:lnTo>
                  <a:lnTo>
                    <a:pt x="187" y="27"/>
                  </a:lnTo>
                  <a:lnTo>
                    <a:pt x="187" y="24"/>
                  </a:lnTo>
                  <a:lnTo>
                    <a:pt x="185" y="24"/>
                  </a:lnTo>
                  <a:lnTo>
                    <a:pt x="185" y="22"/>
                  </a:lnTo>
                  <a:lnTo>
                    <a:pt x="185" y="24"/>
                  </a:lnTo>
                  <a:lnTo>
                    <a:pt x="187" y="22"/>
                  </a:lnTo>
                  <a:lnTo>
                    <a:pt x="190" y="22"/>
                  </a:lnTo>
                  <a:lnTo>
                    <a:pt x="190" y="24"/>
                  </a:lnTo>
                  <a:lnTo>
                    <a:pt x="190" y="27"/>
                  </a:lnTo>
                  <a:lnTo>
                    <a:pt x="192" y="27"/>
                  </a:lnTo>
                  <a:lnTo>
                    <a:pt x="190" y="27"/>
                  </a:lnTo>
                  <a:lnTo>
                    <a:pt x="192" y="29"/>
                  </a:lnTo>
                  <a:lnTo>
                    <a:pt x="194" y="29"/>
                  </a:lnTo>
                  <a:lnTo>
                    <a:pt x="194" y="27"/>
                  </a:lnTo>
                  <a:lnTo>
                    <a:pt x="194" y="24"/>
                  </a:lnTo>
                  <a:lnTo>
                    <a:pt x="197" y="24"/>
                  </a:lnTo>
                  <a:lnTo>
                    <a:pt x="199" y="24"/>
                  </a:lnTo>
                  <a:lnTo>
                    <a:pt x="202" y="24"/>
                  </a:lnTo>
                  <a:lnTo>
                    <a:pt x="199" y="24"/>
                  </a:lnTo>
                  <a:lnTo>
                    <a:pt x="199" y="22"/>
                  </a:lnTo>
                  <a:lnTo>
                    <a:pt x="197" y="22"/>
                  </a:lnTo>
                  <a:lnTo>
                    <a:pt x="197" y="19"/>
                  </a:lnTo>
                  <a:lnTo>
                    <a:pt x="199" y="19"/>
                  </a:lnTo>
                  <a:lnTo>
                    <a:pt x="202" y="19"/>
                  </a:lnTo>
                  <a:lnTo>
                    <a:pt x="199" y="19"/>
                  </a:lnTo>
                  <a:lnTo>
                    <a:pt x="197" y="19"/>
                  </a:lnTo>
                  <a:lnTo>
                    <a:pt x="199" y="19"/>
                  </a:lnTo>
                  <a:lnTo>
                    <a:pt x="199" y="17"/>
                  </a:lnTo>
                  <a:lnTo>
                    <a:pt x="197" y="17"/>
                  </a:lnTo>
                  <a:lnTo>
                    <a:pt x="199" y="17"/>
                  </a:lnTo>
                  <a:lnTo>
                    <a:pt x="202" y="17"/>
                  </a:lnTo>
                  <a:lnTo>
                    <a:pt x="202" y="19"/>
                  </a:lnTo>
                  <a:lnTo>
                    <a:pt x="204" y="19"/>
                  </a:lnTo>
                  <a:lnTo>
                    <a:pt x="202" y="17"/>
                  </a:lnTo>
                  <a:lnTo>
                    <a:pt x="204" y="17"/>
                  </a:lnTo>
                  <a:lnTo>
                    <a:pt x="206" y="17"/>
                  </a:lnTo>
                  <a:lnTo>
                    <a:pt x="206" y="19"/>
                  </a:lnTo>
                  <a:lnTo>
                    <a:pt x="209" y="19"/>
                  </a:lnTo>
                  <a:lnTo>
                    <a:pt x="209" y="17"/>
                  </a:lnTo>
                  <a:lnTo>
                    <a:pt x="206" y="17"/>
                  </a:lnTo>
                  <a:lnTo>
                    <a:pt x="204" y="17"/>
                  </a:lnTo>
                  <a:lnTo>
                    <a:pt x="206" y="17"/>
                  </a:lnTo>
                  <a:lnTo>
                    <a:pt x="206" y="15"/>
                  </a:lnTo>
                  <a:lnTo>
                    <a:pt x="209" y="17"/>
                  </a:lnTo>
                  <a:lnTo>
                    <a:pt x="211" y="17"/>
                  </a:lnTo>
                  <a:lnTo>
                    <a:pt x="213" y="19"/>
                  </a:lnTo>
                  <a:lnTo>
                    <a:pt x="216" y="19"/>
                  </a:lnTo>
                  <a:lnTo>
                    <a:pt x="216" y="17"/>
                  </a:lnTo>
                  <a:lnTo>
                    <a:pt x="213" y="17"/>
                  </a:lnTo>
                  <a:lnTo>
                    <a:pt x="211" y="17"/>
                  </a:lnTo>
                  <a:lnTo>
                    <a:pt x="213" y="15"/>
                  </a:lnTo>
                  <a:lnTo>
                    <a:pt x="216" y="15"/>
                  </a:lnTo>
                  <a:lnTo>
                    <a:pt x="216" y="17"/>
                  </a:lnTo>
                  <a:lnTo>
                    <a:pt x="218" y="17"/>
                  </a:lnTo>
                  <a:lnTo>
                    <a:pt x="221" y="17"/>
                  </a:lnTo>
                  <a:lnTo>
                    <a:pt x="218" y="17"/>
                  </a:lnTo>
                  <a:lnTo>
                    <a:pt x="218" y="15"/>
                  </a:lnTo>
                  <a:lnTo>
                    <a:pt x="216" y="15"/>
                  </a:lnTo>
                  <a:lnTo>
                    <a:pt x="218" y="15"/>
                  </a:lnTo>
                  <a:lnTo>
                    <a:pt x="221" y="15"/>
                  </a:lnTo>
                  <a:lnTo>
                    <a:pt x="218" y="15"/>
                  </a:lnTo>
                  <a:lnTo>
                    <a:pt x="213" y="15"/>
                  </a:lnTo>
                  <a:lnTo>
                    <a:pt x="213" y="12"/>
                  </a:lnTo>
                  <a:lnTo>
                    <a:pt x="211" y="12"/>
                  </a:lnTo>
                  <a:lnTo>
                    <a:pt x="213" y="12"/>
                  </a:lnTo>
                  <a:lnTo>
                    <a:pt x="216" y="12"/>
                  </a:lnTo>
                  <a:lnTo>
                    <a:pt x="216" y="10"/>
                  </a:lnTo>
                  <a:lnTo>
                    <a:pt x="216" y="12"/>
                  </a:lnTo>
                  <a:lnTo>
                    <a:pt x="221" y="12"/>
                  </a:lnTo>
                  <a:lnTo>
                    <a:pt x="223" y="12"/>
                  </a:lnTo>
                  <a:lnTo>
                    <a:pt x="225" y="12"/>
                  </a:lnTo>
                  <a:lnTo>
                    <a:pt x="225" y="15"/>
                  </a:lnTo>
                  <a:lnTo>
                    <a:pt x="228" y="15"/>
                  </a:lnTo>
                  <a:lnTo>
                    <a:pt x="225" y="15"/>
                  </a:lnTo>
                  <a:lnTo>
                    <a:pt x="223" y="15"/>
                  </a:lnTo>
                  <a:lnTo>
                    <a:pt x="223" y="17"/>
                  </a:lnTo>
                  <a:lnTo>
                    <a:pt x="221" y="17"/>
                  </a:lnTo>
                  <a:lnTo>
                    <a:pt x="223" y="17"/>
                  </a:lnTo>
                  <a:lnTo>
                    <a:pt x="221" y="17"/>
                  </a:lnTo>
                  <a:lnTo>
                    <a:pt x="221" y="19"/>
                  </a:lnTo>
                  <a:lnTo>
                    <a:pt x="223" y="19"/>
                  </a:lnTo>
                  <a:lnTo>
                    <a:pt x="223" y="17"/>
                  </a:lnTo>
                  <a:lnTo>
                    <a:pt x="225" y="17"/>
                  </a:lnTo>
                  <a:lnTo>
                    <a:pt x="228" y="17"/>
                  </a:lnTo>
                  <a:lnTo>
                    <a:pt x="225" y="17"/>
                  </a:lnTo>
                  <a:lnTo>
                    <a:pt x="228" y="17"/>
                  </a:lnTo>
                  <a:lnTo>
                    <a:pt x="230" y="17"/>
                  </a:lnTo>
                  <a:lnTo>
                    <a:pt x="232" y="17"/>
                  </a:lnTo>
                  <a:lnTo>
                    <a:pt x="232" y="15"/>
                  </a:lnTo>
                  <a:lnTo>
                    <a:pt x="232" y="12"/>
                  </a:lnTo>
                  <a:lnTo>
                    <a:pt x="235" y="12"/>
                  </a:lnTo>
                  <a:lnTo>
                    <a:pt x="235" y="15"/>
                  </a:lnTo>
                  <a:lnTo>
                    <a:pt x="235" y="17"/>
                  </a:lnTo>
                  <a:lnTo>
                    <a:pt x="232" y="19"/>
                  </a:lnTo>
                  <a:lnTo>
                    <a:pt x="235" y="19"/>
                  </a:lnTo>
                  <a:lnTo>
                    <a:pt x="237" y="19"/>
                  </a:lnTo>
                  <a:lnTo>
                    <a:pt x="240" y="19"/>
                  </a:lnTo>
                  <a:lnTo>
                    <a:pt x="242" y="19"/>
                  </a:lnTo>
                  <a:lnTo>
                    <a:pt x="244" y="17"/>
                  </a:lnTo>
                  <a:lnTo>
                    <a:pt x="247" y="17"/>
                  </a:lnTo>
                  <a:lnTo>
                    <a:pt x="249" y="17"/>
                  </a:lnTo>
                  <a:lnTo>
                    <a:pt x="251" y="17"/>
                  </a:lnTo>
                  <a:lnTo>
                    <a:pt x="249" y="17"/>
                  </a:lnTo>
                  <a:lnTo>
                    <a:pt x="249" y="19"/>
                  </a:lnTo>
                  <a:lnTo>
                    <a:pt x="247" y="19"/>
                  </a:lnTo>
                  <a:lnTo>
                    <a:pt x="249" y="19"/>
                  </a:lnTo>
                  <a:lnTo>
                    <a:pt x="251" y="19"/>
                  </a:lnTo>
                  <a:lnTo>
                    <a:pt x="254" y="22"/>
                  </a:lnTo>
                  <a:lnTo>
                    <a:pt x="254" y="19"/>
                  </a:lnTo>
                  <a:lnTo>
                    <a:pt x="256" y="19"/>
                  </a:lnTo>
                  <a:lnTo>
                    <a:pt x="256" y="22"/>
                  </a:lnTo>
                  <a:lnTo>
                    <a:pt x="259" y="22"/>
                  </a:lnTo>
                  <a:lnTo>
                    <a:pt x="259" y="24"/>
                  </a:lnTo>
                  <a:lnTo>
                    <a:pt x="261" y="24"/>
                  </a:lnTo>
                  <a:lnTo>
                    <a:pt x="261" y="22"/>
                  </a:lnTo>
                  <a:lnTo>
                    <a:pt x="263" y="22"/>
                  </a:lnTo>
                  <a:lnTo>
                    <a:pt x="266" y="22"/>
                  </a:lnTo>
                  <a:lnTo>
                    <a:pt x="268" y="22"/>
                  </a:lnTo>
                  <a:lnTo>
                    <a:pt x="266" y="22"/>
                  </a:lnTo>
                  <a:lnTo>
                    <a:pt x="268" y="24"/>
                  </a:lnTo>
                  <a:lnTo>
                    <a:pt x="266" y="24"/>
                  </a:lnTo>
                  <a:lnTo>
                    <a:pt x="263" y="24"/>
                  </a:lnTo>
                  <a:lnTo>
                    <a:pt x="266" y="24"/>
                  </a:lnTo>
                  <a:lnTo>
                    <a:pt x="268" y="24"/>
                  </a:lnTo>
                  <a:lnTo>
                    <a:pt x="270" y="24"/>
                  </a:lnTo>
                  <a:lnTo>
                    <a:pt x="268" y="24"/>
                  </a:lnTo>
                  <a:lnTo>
                    <a:pt x="268" y="27"/>
                  </a:lnTo>
                  <a:lnTo>
                    <a:pt x="268" y="24"/>
                  </a:lnTo>
                  <a:lnTo>
                    <a:pt x="270" y="24"/>
                  </a:lnTo>
                  <a:lnTo>
                    <a:pt x="273" y="24"/>
                  </a:lnTo>
                  <a:lnTo>
                    <a:pt x="275" y="24"/>
                  </a:lnTo>
                  <a:lnTo>
                    <a:pt x="277" y="24"/>
                  </a:lnTo>
                  <a:lnTo>
                    <a:pt x="280" y="24"/>
                  </a:lnTo>
                  <a:lnTo>
                    <a:pt x="282" y="24"/>
                  </a:lnTo>
                  <a:lnTo>
                    <a:pt x="285" y="24"/>
                  </a:lnTo>
                  <a:lnTo>
                    <a:pt x="287" y="24"/>
                  </a:lnTo>
                  <a:lnTo>
                    <a:pt x="289" y="24"/>
                  </a:lnTo>
                  <a:lnTo>
                    <a:pt x="292" y="24"/>
                  </a:lnTo>
                  <a:lnTo>
                    <a:pt x="294" y="24"/>
                  </a:lnTo>
                  <a:lnTo>
                    <a:pt x="296" y="27"/>
                  </a:lnTo>
                  <a:lnTo>
                    <a:pt x="299" y="27"/>
                  </a:lnTo>
                  <a:lnTo>
                    <a:pt x="301" y="27"/>
                  </a:lnTo>
                  <a:lnTo>
                    <a:pt x="301" y="29"/>
                  </a:lnTo>
                  <a:lnTo>
                    <a:pt x="304" y="29"/>
                  </a:lnTo>
                  <a:lnTo>
                    <a:pt x="304" y="31"/>
                  </a:lnTo>
                  <a:lnTo>
                    <a:pt x="308" y="31"/>
                  </a:lnTo>
                  <a:lnTo>
                    <a:pt x="311" y="31"/>
                  </a:lnTo>
                  <a:lnTo>
                    <a:pt x="313" y="31"/>
                  </a:lnTo>
                  <a:lnTo>
                    <a:pt x="313" y="34"/>
                  </a:lnTo>
                  <a:lnTo>
                    <a:pt x="311" y="34"/>
                  </a:lnTo>
                  <a:lnTo>
                    <a:pt x="308" y="34"/>
                  </a:lnTo>
                  <a:lnTo>
                    <a:pt x="308" y="36"/>
                  </a:lnTo>
                  <a:lnTo>
                    <a:pt x="308" y="38"/>
                  </a:lnTo>
                  <a:lnTo>
                    <a:pt x="311" y="38"/>
                  </a:lnTo>
                  <a:lnTo>
                    <a:pt x="308" y="38"/>
                  </a:lnTo>
                  <a:lnTo>
                    <a:pt x="308" y="41"/>
                  </a:lnTo>
                  <a:lnTo>
                    <a:pt x="311" y="43"/>
                  </a:lnTo>
                  <a:lnTo>
                    <a:pt x="311" y="46"/>
                  </a:lnTo>
                  <a:lnTo>
                    <a:pt x="311" y="48"/>
                  </a:lnTo>
                  <a:lnTo>
                    <a:pt x="308" y="48"/>
                  </a:lnTo>
                  <a:lnTo>
                    <a:pt x="306" y="48"/>
                  </a:lnTo>
                  <a:lnTo>
                    <a:pt x="306" y="50"/>
                  </a:lnTo>
                  <a:lnTo>
                    <a:pt x="304" y="50"/>
                  </a:lnTo>
                  <a:lnTo>
                    <a:pt x="301" y="50"/>
                  </a:lnTo>
                  <a:lnTo>
                    <a:pt x="299" y="50"/>
                  </a:lnTo>
                  <a:lnTo>
                    <a:pt x="299" y="53"/>
                  </a:lnTo>
                  <a:lnTo>
                    <a:pt x="299" y="50"/>
                  </a:lnTo>
                  <a:lnTo>
                    <a:pt x="296" y="53"/>
                  </a:lnTo>
                  <a:lnTo>
                    <a:pt x="296" y="50"/>
                  </a:lnTo>
                  <a:lnTo>
                    <a:pt x="294" y="53"/>
                  </a:lnTo>
                  <a:lnTo>
                    <a:pt x="292" y="55"/>
                  </a:lnTo>
                  <a:lnTo>
                    <a:pt x="289" y="55"/>
                  </a:lnTo>
                  <a:lnTo>
                    <a:pt x="289" y="58"/>
                  </a:lnTo>
                  <a:lnTo>
                    <a:pt x="287" y="58"/>
                  </a:lnTo>
                  <a:lnTo>
                    <a:pt x="285" y="58"/>
                  </a:lnTo>
                  <a:lnTo>
                    <a:pt x="282" y="60"/>
                  </a:lnTo>
                  <a:lnTo>
                    <a:pt x="280" y="60"/>
                  </a:lnTo>
                  <a:lnTo>
                    <a:pt x="277" y="60"/>
                  </a:lnTo>
                  <a:lnTo>
                    <a:pt x="275" y="62"/>
                  </a:lnTo>
                  <a:lnTo>
                    <a:pt x="273" y="62"/>
                  </a:lnTo>
                  <a:lnTo>
                    <a:pt x="266" y="65"/>
                  </a:lnTo>
                  <a:lnTo>
                    <a:pt x="263" y="65"/>
                  </a:lnTo>
                  <a:lnTo>
                    <a:pt x="261" y="67"/>
                  </a:lnTo>
                  <a:lnTo>
                    <a:pt x="263" y="67"/>
                  </a:lnTo>
                  <a:lnTo>
                    <a:pt x="263" y="69"/>
                  </a:lnTo>
                  <a:lnTo>
                    <a:pt x="266" y="69"/>
                  </a:lnTo>
                  <a:lnTo>
                    <a:pt x="266" y="72"/>
                  </a:lnTo>
                  <a:lnTo>
                    <a:pt x="263" y="72"/>
                  </a:lnTo>
                  <a:lnTo>
                    <a:pt x="263" y="74"/>
                  </a:lnTo>
                  <a:lnTo>
                    <a:pt x="261" y="74"/>
                  </a:lnTo>
                  <a:lnTo>
                    <a:pt x="259" y="74"/>
                  </a:lnTo>
                  <a:lnTo>
                    <a:pt x="256" y="77"/>
                  </a:lnTo>
                  <a:lnTo>
                    <a:pt x="254" y="77"/>
                  </a:lnTo>
                  <a:lnTo>
                    <a:pt x="251" y="79"/>
                  </a:lnTo>
                  <a:lnTo>
                    <a:pt x="249" y="79"/>
                  </a:lnTo>
                  <a:lnTo>
                    <a:pt x="247" y="79"/>
                  </a:lnTo>
                  <a:lnTo>
                    <a:pt x="244" y="79"/>
                  </a:lnTo>
                  <a:lnTo>
                    <a:pt x="242" y="79"/>
                  </a:lnTo>
                  <a:lnTo>
                    <a:pt x="240" y="79"/>
                  </a:lnTo>
                  <a:lnTo>
                    <a:pt x="237" y="79"/>
                  </a:lnTo>
                  <a:lnTo>
                    <a:pt x="235" y="79"/>
                  </a:lnTo>
                  <a:lnTo>
                    <a:pt x="232" y="79"/>
                  </a:lnTo>
                  <a:lnTo>
                    <a:pt x="230" y="81"/>
                  </a:lnTo>
                  <a:lnTo>
                    <a:pt x="228" y="81"/>
                  </a:lnTo>
                  <a:lnTo>
                    <a:pt x="225" y="81"/>
                  </a:lnTo>
                  <a:lnTo>
                    <a:pt x="223" y="81"/>
                  </a:lnTo>
                  <a:lnTo>
                    <a:pt x="221" y="81"/>
                  </a:lnTo>
                  <a:lnTo>
                    <a:pt x="218" y="81"/>
                  </a:lnTo>
                  <a:lnTo>
                    <a:pt x="216" y="84"/>
                  </a:lnTo>
                  <a:lnTo>
                    <a:pt x="213" y="84"/>
                  </a:lnTo>
                  <a:lnTo>
                    <a:pt x="211" y="84"/>
                  </a:lnTo>
                  <a:lnTo>
                    <a:pt x="209" y="86"/>
                  </a:lnTo>
                  <a:lnTo>
                    <a:pt x="209" y="88"/>
                  </a:lnTo>
                  <a:lnTo>
                    <a:pt x="206" y="88"/>
                  </a:lnTo>
                  <a:lnTo>
                    <a:pt x="202" y="88"/>
                  </a:lnTo>
                  <a:lnTo>
                    <a:pt x="199" y="91"/>
                  </a:lnTo>
                  <a:lnTo>
                    <a:pt x="192" y="91"/>
                  </a:lnTo>
                  <a:lnTo>
                    <a:pt x="192" y="88"/>
                  </a:lnTo>
                  <a:lnTo>
                    <a:pt x="185" y="88"/>
                  </a:lnTo>
                  <a:lnTo>
                    <a:pt x="183" y="88"/>
                  </a:lnTo>
                  <a:lnTo>
                    <a:pt x="180" y="88"/>
                  </a:lnTo>
                  <a:lnTo>
                    <a:pt x="178" y="88"/>
                  </a:lnTo>
                  <a:lnTo>
                    <a:pt x="178" y="86"/>
                  </a:lnTo>
                  <a:lnTo>
                    <a:pt x="175" y="86"/>
                  </a:lnTo>
                  <a:lnTo>
                    <a:pt x="173" y="86"/>
                  </a:lnTo>
                  <a:lnTo>
                    <a:pt x="171" y="86"/>
                  </a:lnTo>
                  <a:lnTo>
                    <a:pt x="168" y="86"/>
                  </a:lnTo>
                  <a:lnTo>
                    <a:pt x="166" y="86"/>
                  </a:lnTo>
                  <a:lnTo>
                    <a:pt x="166" y="84"/>
                  </a:lnTo>
                  <a:lnTo>
                    <a:pt x="164" y="84"/>
                  </a:lnTo>
                  <a:lnTo>
                    <a:pt x="164" y="81"/>
                  </a:lnTo>
                  <a:lnTo>
                    <a:pt x="166" y="81"/>
                  </a:lnTo>
                  <a:lnTo>
                    <a:pt x="166" y="79"/>
                  </a:lnTo>
                  <a:lnTo>
                    <a:pt x="168" y="79"/>
                  </a:lnTo>
                  <a:lnTo>
                    <a:pt x="171" y="79"/>
                  </a:lnTo>
                  <a:lnTo>
                    <a:pt x="168" y="79"/>
                  </a:lnTo>
                  <a:lnTo>
                    <a:pt x="171" y="79"/>
                  </a:lnTo>
                  <a:lnTo>
                    <a:pt x="168" y="79"/>
                  </a:lnTo>
                  <a:lnTo>
                    <a:pt x="166" y="79"/>
                  </a:lnTo>
                  <a:lnTo>
                    <a:pt x="166" y="77"/>
                  </a:lnTo>
                  <a:lnTo>
                    <a:pt x="164" y="77"/>
                  </a:lnTo>
                  <a:lnTo>
                    <a:pt x="161" y="77"/>
                  </a:lnTo>
                  <a:lnTo>
                    <a:pt x="159" y="77"/>
                  </a:lnTo>
                  <a:lnTo>
                    <a:pt x="156" y="77"/>
                  </a:lnTo>
                  <a:lnTo>
                    <a:pt x="154" y="77"/>
                  </a:lnTo>
                  <a:lnTo>
                    <a:pt x="152" y="77"/>
                  </a:lnTo>
                  <a:lnTo>
                    <a:pt x="149" y="77"/>
                  </a:lnTo>
                  <a:lnTo>
                    <a:pt x="147" y="77"/>
                  </a:lnTo>
                  <a:lnTo>
                    <a:pt x="147" y="79"/>
                  </a:lnTo>
                  <a:lnTo>
                    <a:pt x="145" y="79"/>
                  </a:lnTo>
                  <a:lnTo>
                    <a:pt x="140" y="79"/>
                  </a:lnTo>
                  <a:lnTo>
                    <a:pt x="138" y="79"/>
                  </a:lnTo>
                  <a:lnTo>
                    <a:pt x="135" y="81"/>
                  </a:lnTo>
                  <a:lnTo>
                    <a:pt x="133" y="81"/>
                  </a:lnTo>
                  <a:lnTo>
                    <a:pt x="133" y="79"/>
                  </a:lnTo>
                  <a:lnTo>
                    <a:pt x="130" y="79"/>
                  </a:lnTo>
                  <a:lnTo>
                    <a:pt x="128" y="79"/>
                  </a:lnTo>
                  <a:lnTo>
                    <a:pt x="126" y="79"/>
                  </a:lnTo>
                  <a:lnTo>
                    <a:pt x="123" y="79"/>
                  </a:lnTo>
                  <a:lnTo>
                    <a:pt x="121" y="79"/>
                  </a:lnTo>
                  <a:lnTo>
                    <a:pt x="119" y="79"/>
                  </a:lnTo>
                  <a:lnTo>
                    <a:pt x="114" y="79"/>
                  </a:lnTo>
                  <a:lnTo>
                    <a:pt x="111" y="79"/>
                  </a:lnTo>
                  <a:lnTo>
                    <a:pt x="109" y="79"/>
                  </a:lnTo>
                  <a:lnTo>
                    <a:pt x="107" y="79"/>
                  </a:lnTo>
                  <a:lnTo>
                    <a:pt x="102" y="79"/>
                  </a:lnTo>
                  <a:lnTo>
                    <a:pt x="100" y="79"/>
                  </a:lnTo>
                  <a:lnTo>
                    <a:pt x="100" y="77"/>
                  </a:lnTo>
                  <a:lnTo>
                    <a:pt x="97" y="77"/>
                  </a:lnTo>
                  <a:lnTo>
                    <a:pt x="97" y="74"/>
                  </a:lnTo>
                  <a:lnTo>
                    <a:pt x="95" y="74"/>
                  </a:lnTo>
                  <a:lnTo>
                    <a:pt x="92" y="74"/>
                  </a:lnTo>
                  <a:lnTo>
                    <a:pt x="90" y="74"/>
                  </a:lnTo>
                  <a:lnTo>
                    <a:pt x="88" y="74"/>
                  </a:lnTo>
                  <a:lnTo>
                    <a:pt x="85" y="74"/>
                  </a:lnTo>
                  <a:lnTo>
                    <a:pt x="83" y="74"/>
                  </a:lnTo>
                  <a:lnTo>
                    <a:pt x="81" y="72"/>
                  </a:lnTo>
                  <a:lnTo>
                    <a:pt x="78" y="72"/>
                  </a:lnTo>
                  <a:lnTo>
                    <a:pt x="76" y="72"/>
                  </a:lnTo>
                  <a:lnTo>
                    <a:pt x="73" y="72"/>
                  </a:lnTo>
                  <a:lnTo>
                    <a:pt x="73" y="69"/>
                  </a:lnTo>
                  <a:lnTo>
                    <a:pt x="71" y="69"/>
                  </a:lnTo>
                  <a:lnTo>
                    <a:pt x="69" y="67"/>
                  </a:lnTo>
                  <a:lnTo>
                    <a:pt x="66" y="67"/>
                  </a:lnTo>
                  <a:lnTo>
                    <a:pt x="64" y="62"/>
                  </a:lnTo>
                  <a:lnTo>
                    <a:pt x="66" y="62"/>
                  </a:lnTo>
                  <a:lnTo>
                    <a:pt x="69" y="62"/>
                  </a:lnTo>
                  <a:lnTo>
                    <a:pt x="71" y="62"/>
                  </a:lnTo>
                  <a:lnTo>
                    <a:pt x="73" y="62"/>
                  </a:lnTo>
                  <a:lnTo>
                    <a:pt x="76" y="60"/>
                  </a:lnTo>
                  <a:lnTo>
                    <a:pt x="76" y="62"/>
                  </a:lnTo>
                  <a:lnTo>
                    <a:pt x="78" y="62"/>
                  </a:lnTo>
                  <a:lnTo>
                    <a:pt x="78" y="60"/>
                  </a:lnTo>
                  <a:lnTo>
                    <a:pt x="81" y="62"/>
                  </a:lnTo>
                  <a:lnTo>
                    <a:pt x="83" y="62"/>
                  </a:lnTo>
                  <a:lnTo>
                    <a:pt x="85" y="62"/>
                  </a:lnTo>
                  <a:lnTo>
                    <a:pt x="85" y="65"/>
                  </a:lnTo>
                  <a:lnTo>
                    <a:pt x="88" y="65"/>
                  </a:lnTo>
                  <a:lnTo>
                    <a:pt x="90" y="65"/>
                  </a:lnTo>
                  <a:lnTo>
                    <a:pt x="92" y="65"/>
                  </a:lnTo>
                  <a:lnTo>
                    <a:pt x="90" y="65"/>
                  </a:lnTo>
                  <a:lnTo>
                    <a:pt x="92" y="65"/>
                  </a:lnTo>
                  <a:lnTo>
                    <a:pt x="95" y="65"/>
                  </a:lnTo>
                  <a:lnTo>
                    <a:pt x="97" y="65"/>
                  </a:lnTo>
                  <a:lnTo>
                    <a:pt x="100" y="65"/>
                  </a:lnTo>
                  <a:lnTo>
                    <a:pt x="102" y="65"/>
                  </a:lnTo>
                  <a:lnTo>
                    <a:pt x="104" y="65"/>
                  </a:lnTo>
                  <a:lnTo>
                    <a:pt x="107" y="67"/>
                  </a:lnTo>
                  <a:lnTo>
                    <a:pt x="109" y="67"/>
                  </a:lnTo>
                  <a:lnTo>
                    <a:pt x="111" y="67"/>
                  </a:lnTo>
                  <a:lnTo>
                    <a:pt x="114" y="67"/>
                  </a:lnTo>
                  <a:lnTo>
                    <a:pt x="116" y="67"/>
                  </a:lnTo>
                  <a:lnTo>
                    <a:pt x="116" y="65"/>
                  </a:lnTo>
                  <a:lnTo>
                    <a:pt x="114" y="65"/>
                  </a:lnTo>
                  <a:lnTo>
                    <a:pt x="111" y="65"/>
                  </a:lnTo>
                  <a:lnTo>
                    <a:pt x="109" y="65"/>
                  </a:lnTo>
                  <a:lnTo>
                    <a:pt x="107" y="65"/>
                  </a:lnTo>
                  <a:lnTo>
                    <a:pt x="107" y="62"/>
                  </a:lnTo>
                  <a:lnTo>
                    <a:pt x="104" y="62"/>
                  </a:lnTo>
                  <a:lnTo>
                    <a:pt x="102" y="62"/>
                  </a:lnTo>
                  <a:lnTo>
                    <a:pt x="100" y="62"/>
                  </a:lnTo>
                  <a:lnTo>
                    <a:pt x="97" y="62"/>
                  </a:lnTo>
                  <a:lnTo>
                    <a:pt x="95" y="62"/>
                  </a:lnTo>
                  <a:lnTo>
                    <a:pt x="92" y="60"/>
                  </a:lnTo>
                  <a:lnTo>
                    <a:pt x="90" y="58"/>
                  </a:lnTo>
                  <a:lnTo>
                    <a:pt x="92" y="58"/>
                  </a:lnTo>
                  <a:lnTo>
                    <a:pt x="100" y="58"/>
                  </a:lnTo>
                  <a:lnTo>
                    <a:pt x="102" y="58"/>
                  </a:lnTo>
                  <a:lnTo>
                    <a:pt x="107" y="58"/>
                  </a:lnTo>
                  <a:lnTo>
                    <a:pt x="109" y="55"/>
                  </a:lnTo>
                  <a:lnTo>
                    <a:pt x="111" y="55"/>
                  </a:lnTo>
                  <a:lnTo>
                    <a:pt x="114" y="55"/>
                  </a:lnTo>
                  <a:lnTo>
                    <a:pt x="116" y="55"/>
                  </a:lnTo>
                  <a:lnTo>
                    <a:pt x="119" y="55"/>
                  </a:lnTo>
                  <a:lnTo>
                    <a:pt x="121" y="55"/>
                  </a:lnTo>
                  <a:lnTo>
                    <a:pt x="123" y="55"/>
                  </a:lnTo>
                  <a:lnTo>
                    <a:pt x="123" y="58"/>
                  </a:lnTo>
                  <a:lnTo>
                    <a:pt x="126" y="55"/>
                  </a:lnTo>
                  <a:lnTo>
                    <a:pt x="126" y="58"/>
                  </a:lnTo>
                  <a:lnTo>
                    <a:pt x="128" y="58"/>
                  </a:lnTo>
                  <a:lnTo>
                    <a:pt x="128" y="55"/>
                  </a:lnTo>
                  <a:lnTo>
                    <a:pt x="130" y="55"/>
                  </a:lnTo>
                  <a:lnTo>
                    <a:pt x="135" y="55"/>
                  </a:lnTo>
                  <a:lnTo>
                    <a:pt x="135" y="53"/>
                  </a:lnTo>
                  <a:lnTo>
                    <a:pt x="133" y="53"/>
                  </a:lnTo>
                  <a:lnTo>
                    <a:pt x="130" y="53"/>
                  </a:lnTo>
                  <a:lnTo>
                    <a:pt x="130" y="50"/>
                  </a:lnTo>
                  <a:lnTo>
                    <a:pt x="133" y="50"/>
                  </a:lnTo>
                  <a:lnTo>
                    <a:pt x="130" y="50"/>
                  </a:lnTo>
                  <a:lnTo>
                    <a:pt x="128" y="50"/>
                  </a:lnTo>
                  <a:lnTo>
                    <a:pt x="128" y="53"/>
                  </a:lnTo>
                  <a:lnTo>
                    <a:pt x="128" y="50"/>
                  </a:lnTo>
                  <a:lnTo>
                    <a:pt x="126" y="50"/>
                  </a:lnTo>
                  <a:lnTo>
                    <a:pt x="128" y="50"/>
                  </a:lnTo>
                  <a:lnTo>
                    <a:pt x="130" y="48"/>
                  </a:lnTo>
                  <a:lnTo>
                    <a:pt x="128" y="48"/>
                  </a:lnTo>
                  <a:lnTo>
                    <a:pt x="126" y="48"/>
                  </a:lnTo>
                  <a:lnTo>
                    <a:pt x="123" y="48"/>
                  </a:lnTo>
                  <a:lnTo>
                    <a:pt x="121" y="48"/>
                  </a:lnTo>
                  <a:lnTo>
                    <a:pt x="119" y="48"/>
                  </a:lnTo>
                  <a:lnTo>
                    <a:pt x="116" y="48"/>
                  </a:lnTo>
                  <a:lnTo>
                    <a:pt x="116" y="50"/>
                  </a:lnTo>
                  <a:lnTo>
                    <a:pt x="114" y="48"/>
                  </a:lnTo>
                  <a:lnTo>
                    <a:pt x="114" y="50"/>
                  </a:lnTo>
                  <a:lnTo>
                    <a:pt x="111" y="50"/>
                  </a:lnTo>
                  <a:lnTo>
                    <a:pt x="109" y="50"/>
                  </a:lnTo>
                  <a:lnTo>
                    <a:pt x="107" y="50"/>
                  </a:lnTo>
                  <a:lnTo>
                    <a:pt x="104" y="50"/>
                  </a:lnTo>
                  <a:lnTo>
                    <a:pt x="102" y="50"/>
                  </a:lnTo>
                  <a:lnTo>
                    <a:pt x="100" y="50"/>
                  </a:lnTo>
                  <a:lnTo>
                    <a:pt x="97" y="50"/>
                  </a:lnTo>
                  <a:lnTo>
                    <a:pt x="95" y="50"/>
                  </a:lnTo>
                  <a:lnTo>
                    <a:pt x="92" y="50"/>
                  </a:lnTo>
                  <a:lnTo>
                    <a:pt x="90" y="50"/>
                  </a:lnTo>
                  <a:lnTo>
                    <a:pt x="88" y="50"/>
                  </a:lnTo>
                  <a:lnTo>
                    <a:pt x="85" y="50"/>
                  </a:lnTo>
                  <a:lnTo>
                    <a:pt x="83" y="50"/>
                  </a:lnTo>
                  <a:lnTo>
                    <a:pt x="81" y="53"/>
                  </a:lnTo>
                  <a:lnTo>
                    <a:pt x="78" y="53"/>
                  </a:lnTo>
                  <a:lnTo>
                    <a:pt x="76" y="53"/>
                  </a:lnTo>
                  <a:lnTo>
                    <a:pt x="73" y="53"/>
                  </a:lnTo>
                  <a:lnTo>
                    <a:pt x="71" y="53"/>
                  </a:lnTo>
                  <a:lnTo>
                    <a:pt x="69" y="53"/>
                  </a:lnTo>
                  <a:lnTo>
                    <a:pt x="66" y="53"/>
                  </a:lnTo>
                  <a:lnTo>
                    <a:pt x="64" y="53"/>
                  </a:lnTo>
                  <a:lnTo>
                    <a:pt x="62" y="53"/>
                  </a:lnTo>
                  <a:lnTo>
                    <a:pt x="59" y="53"/>
                  </a:lnTo>
                  <a:lnTo>
                    <a:pt x="59" y="55"/>
                  </a:lnTo>
                  <a:lnTo>
                    <a:pt x="57" y="55"/>
                  </a:lnTo>
                  <a:lnTo>
                    <a:pt x="59" y="55"/>
                  </a:lnTo>
                  <a:lnTo>
                    <a:pt x="57" y="55"/>
                  </a:lnTo>
                  <a:lnTo>
                    <a:pt x="59" y="55"/>
                  </a:lnTo>
                  <a:lnTo>
                    <a:pt x="57" y="55"/>
                  </a:lnTo>
                  <a:lnTo>
                    <a:pt x="57" y="53"/>
                  </a:lnTo>
                  <a:lnTo>
                    <a:pt x="59" y="53"/>
                  </a:lnTo>
                  <a:lnTo>
                    <a:pt x="57" y="53"/>
                  </a:lnTo>
                  <a:lnTo>
                    <a:pt x="59" y="53"/>
                  </a:lnTo>
                  <a:lnTo>
                    <a:pt x="57" y="53"/>
                  </a:lnTo>
                  <a:lnTo>
                    <a:pt x="54" y="53"/>
                  </a:lnTo>
                  <a:lnTo>
                    <a:pt x="52" y="53"/>
                  </a:lnTo>
                  <a:lnTo>
                    <a:pt x="50" y="53"/>
                  </a:lnTo>
                  <a:lnTo>
                    <a:pt x="47" y="53"/>
                  </a:lnTo>
                  <a:lnTo>
                    <a:pt x="45" y="53"/>
                  </a:lnTo>
                  <a:lnTo>
                    <a:pt x="43" y="53"/>
                  </a:lnTo>
                  <a:lnTo>
                    <a:pt x="43" y="50"/>
                  </a:lnTo>
                  <a:lnTo>
                    <a:pt x="43" y="53"/>
                  </a:lnTo>
                  <a:lnTo>
                    <a:pt x="40" y="53"/>
                  </a:lnTo>
                  <a:lnTo>
                    <a:pt x="38" y="53"/>
                  </a:lnTo>
                  <a:lnTo>
                    <a:pt x="35" y="53"/>
                  </a:lnTo>
                  <a:lnTo>
                    <a:pt x="38" y="53"/>
                  </a:lnTo>
                  <a:lnTo>
                    <a:pt x="38" y="55"/>
                  </a:lnTo>
                  <a:lnTo>
                    <a:pt x="35" y="55"/>
                  </a:lnTo>
                  <a:lnTo>
                    <a:pt x="33" y="55"/>
                  </a:lnTo>
                  <a:lnTo>
                    <a:pt x="33" y="53"/>
                  </a:lnTo>
                  <a:lnTo>
                    <a:pt x="35" y="53"/>
                  </a:lnTo>
                  <a:lnTo>
                    <a:pt x="33" y="53"/>
                  </a:lnTo>
                  <a:lnTo>
                    <a:pt x="35" y="53"/>
                  </a:lnTo>
                  <a:lnTo>
                    <a:pt x="33" y="53"/>
                  </a:lnTo>
                  <a:lnTo>
                    <a:pt x="33" y="50"/>
                  </a:lnTo>
                  <a:lnTo>
                    <a:pt x="31" y="50"/>
                  </a:lnTo>
                  <a:lnTo>
                    <a:pt x="28" y="48"/>
                  </a:lnTo>
                  <a:lnTo>
                    <a:pt x="28" y="50"/>
                  </a:lnTo>
                  <a:lnTo>
                    <a:pt x="26" y="50"/>
                  </a:lnTo>
                  <a:lnTo>
                    <a:pt x="28" y="50"/>
                  </a:lnTo>
                  <a:lnTo>
                    <a:pt x="31" y="50"/>
                  </a:lnTo>
                  <a:lnTo>
                    <a:pt x="28" y="50"/>
                  </a:lnTo>
                  <a:lnTo>
                    <a:pt x="26" y="50"/>
                  </a:lnTo>
                  <a:lnTo>
                    <a:pt x="24" y="50"/>
                  </a:lnTo>
                  <a:lnTo>
                    <a:pt x="26" y="50"/>
                  </a:lnTo>
                  <a:lnTo>
                    <a:pt x="24" y="50"/>
                  </a:lnTo>
                  <a:lnTo>
                    <a:pt x="24" y="48"/>
                  </a:lnTo>
                  <a:lnTo>
                    <a:pt x="21" y="48"/>
                  </a:lnTo>
                  <a:lnTo>
                    <a:pt x="19" y="48"/>
                  </a:lnTo>
                  <a:lnTo>
                    <a:pt x="16" y="48"/>
                  </a:lnTo>
                  <a:lnTo>
                    <a:pt x="16" y="46"/>
                  </a:lnTo>
                  <a:lnTo>
                    <a:pt x="16" y="43"/>
                  </a:lnTo>
                  <a:lnTo>
                    <a:pt x="14" y="43"/>
                  </a:lnTo>
                  <a:lnTo>
                    <a:pt x="12" y="43"/>
                  </a:lnTo>
                  <a:lnTo>
                    <a:pt x="14" y="43"/>
                  </a:lnTo>
                  <a:lnTo>
                    <a:pt x="14" y="41"/>
                  </a:lnTo>
                  <a:lnTo>
                    <a:pt x="16" y="41"/>
                  </a:lnTo>
                  <a:lnTo>
                    <a:pt x="19" y="41"/>
                  </a:lnTo>
                  <a:lnTo>
                    <a:pt x="21" y="41"/>
                  </a:lnTo>
                  <a:lnTo>
                    <a:pt x="21" y="38"/>
                  </a:lnTo>
                  <a:lnTo>
                    <a:pt x="24" y="38"/>
                  </a:lnTo>
                  <a:lnTo>
                    <a:pt x="26" y="38"/>
                  </a:lnTo>
                  <a:lnTo>
                    <a:pt x="28" y="38"/>
                  </a:lnTo>
                  <a:lnTo>
                    <a:pt x="31" y="38"/>
                  </a:lnTo>
                  <a:lnTo>
                    <a:pt x="28" y="38"/>
                  </a:lnTo>
                  <a:lnTo>
                    <a:pt x="31" y="38"/>
                  </a:lnTo>
                  <a:lnTo>
                    <a:pt x="31" y="36"/>
                  </a:lnTo>
                  <a:lnTo>
                    <a:pt x="28" y="36"/>
                  </a:lnTo>
                  <a:lnTo>
                    <a:pt x="28" y="38"/>
                  </a:lnTo>
                  <a:lnTo>
                    <a:pt x="26" y="38"/>
                  </a:lnTo>
                  <a:lnTo>
                    <a:pt x="28" y="38"/>
                  </a:lnTo>
                  <a:lnTo>
                    <a:pt x="28" y="36"/>
                  </a:lnTo>
                  <a:lnTo>
                    <a:pt x="31" y="36"/>
                  </a:lnTo>
                  <a:lnTo>
                    <a:pt x="28" y="36"/>
                  </a:lnTo>
                  <a:lnTo>
                    <a:pt x="31" y="36"/>
                  </a:lnTo>
                  <a:lnTo>
                    <a:pt x="33" y="36"/>
                  </a:lnTo>
                  <a:lnTo>
                    <a:pt x="33" y="38"/>
                  </a:lnTo>
                  <a:lnTo>
                    <a:pt x="35" y="38"/>
                  </a:lnTo>
                  <a:lnTo>
                    <a:pt x="35" y="36"/>
                  </a:lnTo>
                  <a:lnTo>
                    <a:pt x="33" y="36"/>
                  </a:lnTo>
                  <a:lnTo>
                    <a:pt x="33" y="34"/>
                  </a:lnTo>
                  <a:lnTo>
                    <a:pt x="35" y="34"/>
                  </a:lnTo>
                  <a:lnTo>
                    <a:pt x="38" y="34"/>
                  </a:lnTo>
                  <a:lnTo>
                    <a:pt x="40" y="34"/>
                  </a:lnTo>
                  <a:lnTo>
                    <a:pt x="40" y="31"/>
                  </a:lnTo>
                  <a:lnTo>
                    <a:pt x="38" y="34"/>
                  </a:lnTo>
                  <a:lnTo>
                    <a:pt x="35" y="34"/>
                  </a:lnTo>
                  <a:lnTo>
                    <a:pt x="33" y="34"/>
                  </a:lnTo>
                  <a:lnTo>
                    <a:pt x="31" y="34"/>
                  </a:lnTo>
                  <a:lnTo>
                    <a:pt x="33" y="34"/>
                  </a:lnTo>
                  <a:lnTo>
                    <a:pt x="31" y="34"/>
                  </a:lnTo>
                  <a:lnTo>
                    <a:pt x="28" y="34"/>
                  </a:lnTo>
                  <a:lnTo>
                    <a:pt x="26" y="34"/>
                  </a:lnTo>
                  <a:lnTo>
                    <a:pt x="24" y="34"/>
                  </a:lnTo>
                  <a:lnTo>
                    <a:pt x="21" y="34"/>
                  </a:lnTo>
                  <a:lnTo>
                    <a:pt x="19" y="34"/>
                  </a:lnTo>
                  <a:lnTo>
                    <a:pt x="16" y="34"/>
                  </a:lnTo>
                  <a:lnTo>
                    <a:pt x="16" y="31"/>
                  </a:lnTo>
                  <a:lnTo>
                    <a:pt x="16" y="34"/>
                  </a:lnTo>
                  <a:lnTo>
                    <a:pt x="14" y="31"/>
                  </a:lnTo>
                  <a:lnTo>
                    <a:pt x="14" y="34"/>
                  </a:lnTo>
                  <a:lnTo>
                    <a:pt x="14" y="31"/>
                  </a:lnTo>
                  <a:lnTo>
                    <a:pt x="14" y="34"/>
                  </a:lnTo>
                  <a:lnTo>
                    <a:pt x="12" y="34"/>
                  </a:lnTo>
                  <a:lnTo>
                    <a:pt x="12" y="31"/>
                  </a:lnTo>
                  <a:lnTo>
                    <a:pt x="12" y="29"/>
                  </a:lnTo>
                  <a:lnTo>
                    <a:pt x="9" y="29"/>
                  </a:lnTo>
                  <a:lnTo>
                    <a:pt x="9" y="27"/>
                  </a:lnTo>
                  <a:lnTo>
                    <a:pt x="7" y="27"/>
                  </a:lnTo>
                  <a:lnTo>
                    <a:pt x="7" y="29"/>
                  </a:lnTo>
                  <a:lnTo>
                    <a:pt x="7" y="27"/>
                  </a:lnTo>
                  <a:lnTo>
                    <a:pt x="5" y="27"/>
                  </a:lnTo>
                  <a:lnTo>
                    <a:pt x="2" y="27"/>
                  </a:lnTo>
                  <a:lnTo>
                    <a:pt x="0" y="27"/>
                  </a:lnTo>
                  <a:lnTo>
                    <a:pt x="2" y="27"/>
                  </a:lnTo>
                  <a:lnTo>
                    <a:pt x="2" y="24"/>
                  </a:lnTo>
                  <a:lnTo>
                    <a:pt x="5" y="24"/>
                  </a:lnTo>
                  <a:lnTo>
                    <a:pt x="7" y="24"/>
                  </a:lnTo>
                  <a:lnTo>
                    <a:pt x="7" y="22"/>
                  </a:lnTo>
                  <a:lnTo>
                    <a:pt x="7" y="24"/>
                  </a:lnTo>
                  <a:lnTo>
                    <a:pt x="9" y="24"/>
                  </a:lnTo>
                  <a:lnTo>
                    <a:pt x="12" y="24"/>
                  </a:lnTo>
                  <a:lnTo>
                    <a:pt x="14" y="24"/>
                  </a:lnTo>
                  <a:lnTo>
                    <a:pt x="16" y="24"/>
                  </a:lnTo>
                  <a:lnTo>
                    <a:pt x="19" y="24"/>
                  </a:lnTo>
                  <a:lnTo>
                    <a:pt x="21" y="24"/>
                  </a:lnTo>
                  <a:lnTo>
                    <a:pt x="19" y="24"/>
                  </a:lnTo>
                  <a:lnTo>
                    <a:pt x="19" y="22"/>
                  </a:lnTo>
                  <a:lnTo>
                    <a:pt x="21" y="22"/>
                  </a:lnTo>
                  <a:lnTo>
                    <a:pt x="21" y="24"/>
                  </a:lnTo>
                  <a:lnTo>
                    <a:pt x="24" y="24"/>
                  </a:lnTo>
                  <a:lnTo>
                    <a:pt x="21" y="24"/>
                  </a:lnTo>
                  <a:lnTo>
                    <a:pt x="24" y="22"/>
                  </a:lnTo>
                  <a:lnTo>
                    <a:pt x="24" y="24"/>
                  </a:lnTo>
                  <a:lnTo>
                    <a:pt x="26" y="24"/>
                  </a:lnTo>
                  <a:lnTo>
                    <a:pt x="28" y="24"/>
                  </a:lnTo>
                  <a:lnTo>
                    <a:pt x="31" y="24"/>
                  </a:lnTo>
                  <a:lnTo>
                    <a:pt x="28" y="24"/>
                  </a:lnTo>
                  <a:lnTo>
                    <a:pt x="31" y="24"/>
                  </a:lnTo>
                  <a:lnTo>
                    <a:pt x="33" y="24"/>
                  </a:lnTo>
                  <a:lnTo>
                    <a:pt x="31" y="24"/>
                  </a:lnTo>
                  <a:lnTo>
                    <a:pt x="33" y="24"/>
                  </a:lnTo>
                  <a:lnTo>
                    <a:pt x="35" y="24"/>
                  </a:lnTo>
                  <a:lnTo>
                    <a:pt x="33" y="22"/>
                  </a:lnTo>
                  <a:lnTo>
                    <a:pt x="31" y="22"/>
                  </a:lnTo>
                  <a:lnTo>
                    <a:pt x="33" y="22"/>
                  </a:lnTo>
                  <a:lnTo>
                    <a:pt x="35" y="22"/>
                  </a:lnTo>
                  <a:lnTo>
                    <a:pt x="38" y="24"/>
                  </a:lnTo>
                  <a:lnTo>
                    <a:pt x="40" y="24"/>
                  </a:lnTo>
                  <a:lnTo>
                    <a:pt x="38" y="24"/>
                  </a:lnTo>
                  <a:lnTo>
                    <a:pt x="40" y="24"/>
                  </a:lnTo>
                  <a:lnTo>
                    <a:pt x="40" y="27"/>
                  </a:lnTo>
                  <a:lnTo>
                    <a:pt x="43" y="27"/>
                  </a:lnTo>
                  <a:lnTo>
                    <a:pt x="45" y="27"/>
                  </a:lnTo>
                  <a:lnTo>
                    <a:pt x="45" y="29"/>
                  </a:lnTo>
                  <a:lnTo>
                    <a:pt x="47" y="29"/>
                  </a:lnTo>
                  <a:lnTo>
                    <a:pt x="50" y="29"/>
                  </a:lnTo>
                  <a:lnTo>
                    <a:pt x="52" y="29"/>
                  </a:lnTo>
                  <a:lnTo>
                    <a:pt x="54" y="29"/>
                  </a:lnTo>
                  <a:lnTo>
                    <a:pt x="57" y="29"/>
                  </a:lnTo>
                  <a:lnTo>
                    <a:pt x="54" y="29"/>
                  </a:lnTo>
                  <a:lnTo>
                    <a:pt x="54" y="27"/>
                  </a:lnTo>
                  <a:lnTo>
                    <a:pt x="57" y="27"/>
                  </a:lnTo>
                  <a:lnTo>
                    <a:pt x="54" y="27"/>
                  </a:lnTo>
                  <a:lnTo>
                    <a:pt x="57" y="27"/>
                  </a:lnTo>
                  <a:lnTo>
                    <a:pt x="59" y="27"/>
                  </a:lnTo>
                  <a:lnTo>
                    <a:pt x="62" y="27"/>
                  </a:lnTo>
                  <a:lnTo>
                    <a:pt x="62" y="24"/>
                  </a:lnTo>
                  <a:lnTo>
                    <a:pt x="59" y="24"/>
                  </a:lnTo>
                  <a:lnTo>
                    <a:pt x="57" y="24"/>
                  </a:lnTo>
                  <a:lnTo>
                    <a:pt x="54" y="24"/>
                  </a:lnTo>
                  <a:lnTo>
                    <a:pt x="52" y="24"/>
                  </a:lnTo>
                  <a:lnTo>
                    <a:pt x="50" y="24"/>
                  </a:lnTo>
                  <a:lnTo>
                    <a:pt x="47" y="22"/>
                  </a:lnTo>
                  <a:lnTo>
                    <a:pt x="50" y="22"/>
                  </a:lnTo>
                  <a:lnTo>
                    <a:pt x="47" y="22"/>
                  </a:lnTo>
                  <a:lnTo>
                    <a:pt x="47" y="19"/>
                  </a:lnTo>
                  <a:lnTo>
                    <a:pt x="45" y="19"/>
                  </a:lnTo>
                  <a:lnTo>
                    <a:pt x="43" y="17"/>
                  </a:lnTo>
                  <a:lnTo>
                    <a:pt x="45" y="17"/>
                  </a:lnTo>
                  <a:lnTo>
                    <a:pt x="45" y="15"/>
                  </a:lnTo>
                  <a:lnTo>
                    <a:pt x="43" y="15"/>
                  </a:lnTo>
                  <a:lnTo>
                    <a:pt x="43" y="12"/>
                  </a:lnTo>
                  <a:lnTo>
                    <a:pt x="45" y="12"/>
                  </a:lnTo>
                  <a:lnTo>
                    <a:pt x="47" y="12"/>
                  </a:lnTo>
                  <a:lnTo>
                    <a:pt x="50" y="12"/>
                  </a:lnTo>
                  <a:lnTo>
                    <a:pt x="52" y="15"/>
                  </a:lnTo>
                  <a:lnTo>
                    <a:pt x="54" y="15"/>
                  </a:lnTo>
                  <a:lnTo>
                    <a:pt x="54" y="17"/>
                  </a:lnTo>
                  <a:lnTo>
                    <a:pt x="57" y="17"/>
                  </a:lnTo>
                  <a:lnTo>
                    <a:pt x="57" y="19"/>
                  </a:lnTo>
                  <a:lnTo>
                    <a:pt x="59" y="19"/>
                  </a:lnTo>
                  <a:lnTo>
                    <a:pt x="62" y="19"/>
                  </a:lnTo>
                  <a:lnTo>
                    <a:pt x="62" y="22"/>
                  </a:lnTo>
                  <a:lnTo>
                    <a:pt x="64" y="22"/>
                  </a:lnTo>
                  <a:lnTo>
                    <a:pt x="66" y="22"/>
                  </a:lnTo>
                  <a:lnTo>
                    <a:pt x="69" y="22"/>
                  </a:lnTo>
                  <a:lnTo>
                    <a:pt x="69" y="19"/>
                  </a:lnTo>
                  <a:lnTo>
                    <a:pt x="66" y="19"/>
                  </a:lnTo>
                  <a:lnTo>
                    <a:pt x="64" y="19"/>
                  </a:lnTo>
                  <a:lnTo>
                    <a:pt x="66" y="17"/>
                  </a:lnTo>
                  <a:lnTo>
                    <a:pt x="69" y="17"/>
                  </a:lnTo>
                  <a:lnTo>
                    <a:pt x="66" y="17"/>
                  </a:lnTo>
                  <a:lnTo>
                    <a:pt x="66" y="15"/>
                  </a:lnTo>
                  <a:lnTo>
                    <a:pt x="69" y="15"/>
                  </a:lnTo>
                  <a:lnTo>
                    <a:pt x="66" y="15"/>
                  </a:lnTo>
                  <a:lnTo>
                    <a:pt x="69" y="15"/>
                  </a:lnTo>
                  <a:lnTo>
                    <a:pt x="66" y="15"/>
                  </a:lnTo>
                  <a:lnTo>
                    <a:pt x="69" y="12"/>
                  </a:lnTo>
                  <a:lnTo>
                    <a:pt x="71" y="12"/>
                  </a:lnTo>
                  <a:lnTo>
                    <a:pt x="69" y="12"/>
                  </a:lnTo>
                  <a:lnTo>
                    <a:pt x="66" y="12"/>
                  </a:lnTo>
                  <a:lnTo>
                    <a:pt x="69" y="12"/>
                  </a:lnTo>
                  <a:lnTo>
                    <a:pt x="71" y="12"/>
                  </a:lnTo>
                  <a:lnTo>
                    <a:pt x="69" y="10"/>
                  </a:lnTo>
                  <a:lnTo>
                    <a:pt x="71" y="10"/>
                  </a:lnTo>
                  <a:lnTo>
                    <a:pt x="73" y="10"/>
                  </a:lnTo>
                  <a:lnTo>
                    <a:pt x="71" y="10"/>
                  </a:lnTo>
                  <a:lnTo>
                    <a:pt x="66" y="10"/>
                  </a:lnTo>
                  <a:lnTo>
                    <a:pt x="64" y="10"/>
                  </a:lnTo>
                  <a:lnTo>
                    <a:pt x="62" y="10"/>
                  </a:lnTo>
                  <a:lnTo>
                    <a:pt x="59" y="10"/>
                  </a:lnTo>
                  <a:lnTo>
                    <a:pt x="57" y="10"/>
                  </a:lnTo>
                  <a:lnTo>
                    <a:pt x="57" y="8"/>
                  </a:lnTo>
                  <a:lnTo>
                    <a:pt x="57" y="5"/>
                  </a:lnTo>
                  <a:lnTo>
                    <a:pt x="59" y="3"/>
                  </a:lnTo>
                  <a:lnTo>
                    <a:pt x="59" y="5"/>
                  </a:lnTo>
                  <a:lnTo>
                    <a:pt x="62" y="5"/>
                  </a:lnTo>
                  <a:lnTo>
                    <a:pt x="64" y="5"/>
                  </a:lnTo>
                  <a:lnTo>
                    <a:pt x="66" y="8"/>
                  </a:lnTo>
                  <a:lnTo>
                    <a:pt x="66" y="5"/>
                  </a:lnTo>
                  <a:lnTo>
                    <a:pt x="64" y="5"/>
                  </a:lnTo>
                  <a:lnTo>
                    <a:pt x="62" y="5"/>
                  </a:lnTo>
                  <a:lnTo>
                    <a:pt x="62" y="3"/>
                  </a:lnTo>
                  <a:lnTo>
                    <a:pt x="62" y="0"/>
                  </a:lnTo>
                  <a:lnTo>
                    <a:pt x="64" y="3"/>
                  </a:lnTo>
                  <a:lnTo>
                    <a:pt x="66" y="3"/>
                  </a:lnTo>
                  <a:lnTo>
                    <a:pt x="69" y="3"/>
                  </a:lnTo>
                  <a:lnTo>
                    <a:pt x="69" y="5"/>
                  </a:lnTo>
                  <a:lnTo>
                    <a:pt x="71" y="5"/>
                  </a:lnTo>
                  <a:lnTo>
                    <a:pt x="73" y="5"/>
                  </a:lnTo>
                  <a:lnTo>
                    <a:pt x="76" y="5"/>
                  </a:lnTo>
                  <a:lnTo>
                    <a:pt x="76" y="8"/>
                  </a:lnTo>
                  <a:lnTo>
                    <a:pt x="78" y="8"/>
                  </a:lnTo>
                  <a:lnTo>
                    <a:pt x="78" y="10"/>
                  </a:lnTo>
                  <a:lnTo>
                    <a:pt x="81" y="8"/>
                  </a:lnTo>
                  <a:lnTo>
                    <a:pt x="83" y="8"/>
                  </a:lnTo>
                  <a:lnTo>
                    <a:pt x="85" y="8"/>
                  </a:lnTo>
                  <a:lnTo>
                    <a:pt x="88" y="8"/>
                  </a:lnTo>
                  <a:lnTo>
                    <a:pt x="88" y="10"/>
                  </a:lnTo>
                  <a:lnTo>
                    <a:pt x="90" y="10"/>
                  </a:lnTo>
                  <a:lnTo>
                    <a:pt x="88" y="10"/>
                  </a:lnTo>
                  <a:lnTo>
                    <a:pt x="90" y="12"/>
                  </a:lnTo>
                  <a:lnTo>
                    <a:pt x="92" y="12"/>
                  </a:lnTo>
                  <a:lnTo>
                    <a:pt x="92" y="15"/>
                  </a:lnTo>
                  <a:lnTo>
                    <a:pt x="92" y="17"/>
                  </a:lnTo>
                  <a:lnTo>
                    <a:pt x="95" y="17"/>
                  </a:lnTo>
                  <a:lnTo>
                    <a:pt x="92" y="17"/>
                  </a:lnTo>
                  <a:lnTo>
                    <a:pt x="95" y="17"/>
                  </a:lnTo>
                  <a:lnTo>
                    <a:pt x="97" y="17"/>
                  </a:lnTo>
                  <a:lnTo>
                    <a:pt x="97" y="15"/>
                  </a:lnTo>
                  <a:lnTo>
                    <a:pt x="100" y="15"/>
                  </a:lnTo>
                  <a:lnTo>
                    <a:pt x="102" y="15"/>
                  </a:lnTo>
                  <a:lnTo>
                    <a:pt x="102" y="17"/>
                  </a:lnTo>
                  <a:lnTo>
                    <a:pt x="102" y="19"/>
                  </a:lnTo>
                  <a:lnTo>
                    <a:pt x="102" y="22"/>
                  </a:lnTo>
                  <a:lnTo>
                    <a:pt x="104" y="22"/>
                  </a:lnTo>
                  <a:lnTo>
                    <a:pt x="107" y="22"/>
                  </a:lnTo>
                  <a:lnTo>
                    <a:pt x="109" y="22"/>
                  </a:lnTo>
                  <a:lnTo>
                    <a:pt x="107" y="22"/>
                  </a:lnTo>
                  <a:lnTo>
                    <a:pt x="109" y="22"/>
                  </a:lnTo>
                  <a:lnTo>
                    <a:pt x="107" y="22"/>
                  </a:lnTo>
                  <a:lnTo>
                    <a:pt x="109" y="22"/>
                  </a:lnTo>
                  <a:lnTo>
                    <a:pt x="111" y="22"/>
                  </a:lnTo>
                  <a:lnTo>
                    <a:pt x="114" y="22"/>
                  </a:lnTo>
                  <a:lnTo>
                    <a:pt x="114" y="19"/>
                  </a:lnTo>
                  <a:lnTo>
                    <a:pt x="116" y="19"/>
                  </a:lnTo>
                  <a:lnTo>
                    <a:pt x="119" y="19"/>
                  </a:lnTo>
                  <a:lnTo>
                    <a:pt x="119" y="22"/>
                  </a:lnTo>
                  <a:lnTo>
                    <a:pt x="121" y="22"/>
                  </a:lnTo>
                  <a:lnTo>
                    <a:pt x="121" y="19"/>
                  </a:lnTo>
                  <a:lnTo>
                    <a:pt x="123" y="17"/>
                  </a:lnTo>
                  <a:lnTo>
                    <a:pt x="126" y="19"/>
                  </a:lnTo>
                  <a:lnTo>
                    <a:pt x="128" y="19"/>
                  </a:lnTo>
                  <a:lnTo>
                    <a:pt x="128" y="22"/>
                  </a:lnTo>
                  <a:lnTo>
                    <a:pt x="130" y="22"/>
                  </a:lnTo>
                  <a:lnTo>
                    <a:pt x="130" y="19"/>
                  </a:lnTo>
                  <a:lnTo>
                    <a:pt x="130" y="17"/>
                  </a:lnTo>
                  <a:lnTo>
                    <a:pt x="133" y="17"/>
                  </a:lnTo>
                  <a:lnTo>
                    <a:pt x="135" y="17"/>
                  </a:lnTo>
                  <a:lnTo>
                    <a:pt x="135" y="19"/>
                  </a:lnTo>
                  <a:lnTo>
                    <a:pt x="138" y="19"/>
                  </a:lnTo>
                  <a:lnTo>
                    <a:pt x="135" y="19"/>
                  </a:lnTo>
                  <a:lnTo>
                    <a:pt x="135" y="22"/>
                  </a:lnTo>
                  <a:lnTo>
                    <a:pt x="133" y="24"/>
                  </a:lnTo>
                  <a:lnTo>
                    <a:pt x="130" y="24"/>
                  </a:lnTo>
                  <a:lnTo>
                    <a:pt x="130" y="27"/>
                  </a:lnTo>
                  <a:lnTo>
                    <a:pt x="128" y="27"/>
                  </a:lnTo>
                  <a:lnTo>
                    <a:pt x="126" y="27"/>
                  </a:lnTo>
                  <a:lnTo>
                    <a:pt x="126" y="29"/>
                  </a:lnTo>
                  <a:lnTo>
                    <a:pt x="128" y="29"/>
                  </a:lnTo>
                  <a:lnTo>
                    <a:pt x="130" y="29"/>
                  </a:lnTo>
                  <a:lnTo>
                    <a:pt x="130" y="27"/>
                  </a:lnTo>
                  <a:lnTo>
                    <a:pt x="133" y="27"/>
                  </a:lnTo>
                  <a:lnTo>
                    <a:pt x="135" y="27"/>
                  </a:lnTo>
                  <a:lnTo>
                    <a:pt x="138" y="27"/>
                  </a:lnTo>
                  <a:lnTo>
                    <a:pt x="138" y="29"/>
                  </a:lnTo>
                  <a:lnTo>
                    <a:pt x="140" y="29"/>
                  </a:lnTo>
                  <a:lnTo>
                    <a:pt x="142" y="29"/>
                  </a:lnTo>
                  <a:lnTo>
                    <a:pt x="145" y="29"/>
                  </a:lnTo>
                  <a:lnTo>
                    <a:pt x="145" y="31"/>
                  </a:lnTo>
                  <a:lnTo>
                    <a:pt x="145" y="34"/>
                  </a:lnTo>
                  <a:lnTo>
                    <a:pt x="147" y="34"/>
                  </a:lnTo>
                  <a:lnTo>
                    <a:pt x="147" y="36"/>
                  </a:lnTo>
                  <a:lnTo>
                    <a:pt x="149" y="36"/>
                  </a:lnTo>
                  <a:lnTo>
                    <a:pt x="147" y="36"/>
                  </a:lnTo>
                  <a:lnTo>
                    <a:pt x="149" y="36"/>
                  </a:lnTo>
                  <a:lnTo>
                    <a:pt x="152" y="36"/>
                  </a:lnTo>
                  <a:lnTo>
                    <a:pt x="152" y="34"/>
                  </a:lnTo>
                  <a:lnTo>
                    <a:pt x="154" y="34"/>
                  </a:lnTo>
                  <a:lnTo>
                    <a:pt x="154" y="36"/>
                  </a:lnTo>
                  <a:lnTo>
                    <a:pt x="156" y="36"/>
                  </a:lnTo>
                  <a:lnTo>
                    <a:pt x="156" y="34"/>
                  </a:lnTo>
                  <a:lnTo>
                    <a:pt x="154" y="34"/>
                  </a:lnTo>
                  <a:lnTo>
                    <a:pt x="154" y="31"/>
                  </a:lnTo>
                  <a:lnTo>
                    <a:pt x="156" y="31"/>
                  </a:lnTo>
                  <a:lnTo>
                    <a:pt x="156" y="34"/>
                  </a:lnTo>
                  <a:lnTo>
                    <a:pt x="159" y="34"/>
                  </a:lnTo>
                  <a:lnTo>
                    <a:pt x="159" y="31"/>
                  </a:lnTo>
                  <a:lnTo>
                    <a:pt x="156" y="31"/>
                  </a:lnTo>
                  <a:lnTo>
                    <a:pt x="154" y="31"/>
                  </a:lnTo>
                  <a:lnTo>
                    <a:pt x="156" y="31"/>
                  </a:lnTo>
                  <a:lnTo>
                    <a:pt x="156" y="29"/>
                  </a:lnTo>
                  <a:lnTo>
                    <a:pt x="154" y="29"/>
                  </a:lnTo>
                  <a:lnTo>
                    <a:pt x="152" y="29"/>
                  </a:lnTo>
                  <a:lnTo>
                    <a:pt x="154" y="29"/>
                  </a:lnTo>
                  <a:lnTo>
                    <a:pt x="154" y="27"/>
                  </a:lnTo>
                  <a:lnTo>
                    <a:pt x="154" y="24"/>
                  </a:lnTo>
                  <a:lnTo>
                    <a:pt x="156" y="22"/>
                  </a:lnTo>
                  <a:lnTo>
                    <a:pt x="159" y="22"/>
                  </a:lnTo>
                  <a:lnTo>
                    <a:pt x="156" y="22"/>
                  </a:lnTo>
                  <a:lnTo>
                    <a:pt x="156" y="19"/>
                  </a:lnTo>
                  <a:lnTo>
                    <a:pt x="156" y="17"/>
                  </a:lnTo>
                  <a:lnTo>
                    <a:pt x="159" y="17"/>
                  </a:lnTo>
                  <a:lnTo>
                    <a:pt x="161" y="17"/>
                  </a:lnTo>
                  <a:lnTo>
                    <a:pt x="159" y="17"/>
                  </a:lnTo>
                  <a:lnTo>
                    <a:pt x="161" y="17"/>
                  </a:lnTo>
                  <a:lnTo>
                    <a:pt x="161" y="15"/>
                  </a:lnTo>
                  <a:lnTo>
                    <a:pt x="159" y="15"/>
                  </a:lnTo>
                  <a:lnTo>
                    <a:pt x="156" y="15"/>
                  </a:lnTo>
                  <a:lnTo>
                    <a:pt x="154" y="15"/>
                  </a:lnTo>
                  <a:lnTo>
                    <a:pt x="154" y="12"/>
                  </a:lnTo>
                  <a:lnTo>
                    <a:pt x="152" y="12"/>
                  </a:lnTo>
                  <a:lnTo>
                    <a:pt x="152" y="10"/>
                  </a:lnTo>
                  <a:lnTo>
                    <a:pt x="154" y="8"/>
                  </a:lnTo>
                  <a:lnTo>
                    <a:pt x="156" y="8"/>
                  </a:lnTo>
                  <a:lnTo>
                    <a:pt x="159" y="8"/>
                  </a:lnTo>
                  <a:lnTo>
                    <a:pt x="161" y="8"/>
                  </a:lnTo>
                  <a:lnTo>
                    <a:pt x="161" y="10"/>
                  </a:lnTo>
                  <a:lnTo>
                    <a:pt x="161" y="12"/>
                  </a:lnTo>
                  <a:lnTo>
                    <a:pt x="164" y="12"/>
                  </a:lnTo>
                  <a:lnTo>
                    <a:pt x="164" y="15"/>
                  </a:lnTo>
                  <a:lnTo>
                    <a:pt x="166" y="15"/>
                  </a:lnTo>
                  <a:lnTo>
                    <a:pt x="166" y="12"/>
                  </a:lnTo>
                  <a:lnTo>
                    <a:pt x="164" y="12"/>
                  </a:lnTo>
                  <a:lnTo>
                    <a:pt x="166" y="12"/>
                  </a:lnTo>
                  <a:lnTo>
                    <a:pt x="166" y="10"/>
                  </a:lnTo>
                  <a:lnTo>
                    <a:pt x="168" y="10"/>
                  </a:lnTo>
                  <a:lnTo>
                    <a:pt x="168" y="8"/>
                  </a:lnTo>
                  <a:lnTo>
                    <a:pt x="168" y="5"/>
                  </a:lnTo>
                  <a:lnTo>
                    <a:pt x="166" y="5"/>
                  </a:lnTo>
                  <a:lnTo>
                    <a:pt x="166" y="3"/>
                  </a:lnTo>
                  <a:lnTo>
                    <a:pt x="166" y="0"/>
                  </a:lnTo>
                  <a:lnTo>
                    <a:pt x="168" y="0"/>
                  </a:lnTo>
                  <a:lnTo>
                    <a:pt x="168" y="3"/>
                  </a:lnTo>
                  <a:lnTo>
                    <a:pt x="171" y="3"/>
                  </a:lnTo>
                  <a:lnTo>
                    <a:pt x="173" y="3"/>
                  </a:lnTo>
                  <a:lnTo>
                    <a:pt x="173" y="5"/>
                  </a:lnTo>
                  <a:lnTo>
                    <a:pt x="175" y="5"/>
                  </a:lnTo>
                  <a:lnTo>
                    <a:pt x="178" y="5"/>
                  </a:lnTo>
                  <a:lnTo>
                    <a:pt x="180" y="5"/>
                  </a:lnTo>
                  <a:lnTo>
                    <a:pt x="183" y="5"/>
                  </a:lnTo>
                  <a:lnTo>
                    <a:pt x="185" y="8"/>
                  </a:lnTo>
                  <a:lnTo>
                    <a:pt x="183" y="8"/>
                  </a:lnTo>
                  <a:lnTo>
                    <a:pt x="183" y="10"/>
                  </a:lnTo>
                  <a:lnTo>
                    <a:pt x="180" y="10"/>
                  </a:lnTo>
                  <a:lnTo>
                    <a:pt x="178" y="10"/>
                  </a:lnTo>
                  <a:lnTo>
                    <a:pt x="180" y="10"/>
                  </a:lnTo>
                  <a:lnTo>
                    <a:pt x="183" y="10"/>
                  </a:lnTo>
                  <a:lnTo>
                    <a:pt x="180" y="10"/>
                  </a:lnTo>
                  <a:lnTo>
                    <a:pt x="180" y="12"/>
                  </a:lnTo>
                  <a:lnTo>
                    <a:pt x="178" y="12"/>
                  </a:lnTo>
                  <a:lnTo>
                    <a:pt x="180" y="12"/>
                  </a:lnTo>
                  <a:lnTo>
                    <a:pt x="178" y="12"/>
                  </a:lnTo>
                  <a:lnTo>
                    <a:pt x="180" y="12"/>
                  </a:lnTo>
                  <a:lnTo>
                    <a:pt x="183" y="12"/>
                  </a:lnTo>
                  <a:lnTo>
                    <a:pt x="185" y="12"/>
                  </a:lnTo>
                  <a:lnTo>
                    <a:pt x="185" y="15"/>
                  </a:lnTo>
                  <a:lnTo>
                    <a:pt x="183" y="15"/>
                  </a:lnTo>
                  <a:lnTo>
                    <a:pt x="185" y="15"/>
                  </a:lnTo>
                  <a:lnTo>
                    <a:pt x="183" y="1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5" name="Freeform 52505"/>
            <p:cNvSpPr>
              <a:spLocks noEditPoints="1"/>
            </p:cNvSpPr>
            <p:nvPr/>
          </p:nvSpPr>
          <p:spPr bwMode="auto">
            <a:xfrm>
              <a:off x="1550986" y="1963747"/>
              <a:ext cx="2230437" cy="1897068"/>
            </a:xfrm>
            <a:custGeom>
              <a:avLst/>
              <a:gdLst>
                <a:gd name="T0" fmla="*/ 479 w 1405"/>
                <a:gd name="T1" fmla="*/ 1188 h 1195"/>
                <a:gd name="T2" fmla="*/ 486 w 1405"/>
                <a:gd name="T3" fmla="*/ 1178 h 1195"/>
                <a:gd name="T4" fmla="*/ 785 w 1405"/>
                <a:gd name="T5" fmla="*/ 758 h 1195"/>
                <a:gd name="T6" fmla="*/ 783 w 1405"/>
                <a:gd name="T7" fmla="*/ 758 h 1195"/>
                <a:gd name="T8" fmla="*/ 780 w 1405"/>
                <a:gd name="T9" fmla="*/ 760 h 1195"/>
                <a:gd name="T10" fmla="*/ 776 w 1405"/>
                <a:gd name="T11" fmla="*/ 753 h 1195"/>
                <a:gd name="T12" fmla="*/ 785 w 1405"/>
                <a:gd name="T13" fmla="*/ 748 h 1195"/>
                <a:gd name="T14" fmla="*/ 795 w 1405"/>
                <a:gd name="T15" fmla="*/ 746 h 1195"/>
                <a:gd name="T16" fmla="*/ 826 w 1405"/>
                <a:gd name="T17" fmla="*/ 710 h 1195"/>
                <a:gd name="T18" fmla="*/ 814 w 1405"/>
                <a:gd name="T19" fmla="*/ 720 h 1195"/>
                <a:gd name="T20" fmla="*/ 823 w 1405"/>
                <a:gd name="T21" fmla="*/ 703 h 1195"/>
                <a:gd name="T22" fmla="*/ 923 w 1405"/>
                <a:gd name="T23" fmla="*/ 672 h 1195"/>
                <a:gd name="T24" fmla="*/ 894 w 1405"/>
                <a:gd name="T25" fmla="*/ 677 h 1195"/>
                <a:gd name="T26" fmla="*/ 906 w 1405"/>
                <a:gd name="T27" fmla="*/ 672 h 1195"/>
                <a:gd name="T28" fmla="*/ 909 w 1405"/>
                <a:gd name="T29" fmla="*/ 670 h 1195"/>
                <a:gd name="T30" fmla="*/ 916 w 1405"/>
                <a:gd name="T31" fmla="*/ 667 h 1195"/>
                <a:gd name="T32" fmla="*/ 949 w 1405"/>
                <a:gd name="T33" fmla="*/ 658 h 1195"/>
                <a:gd name="T34" fmla="*/ 925 w 1405"/>
                <a:gd name="T35" fmla="*/ 663 h 1195"/>
                <a:gd name="T36" fmla="*/ 930 w 1405"/>
                <a:gd name="T37" fmla="*/ 653 h 1195"/>
                <a:gd name="T38" fmla="*/ 980 w 1405"/>
                <a:gd name="T39" fmla="*/ 651 h 1195"/>
                <a:gd name="T40" fmla="*/ 949 w 1405"/>
                <a:gd name="T41" fmla="*/ 639 h 1195"/>
                <a:gd name="T42" fmla="*/ 961 w 1405"/>
                <a:gd name="T43" fmla="*/ 648 h 1195"/>
                <a:gd name="T44" fmla="*/ 944 w 1405"/>
                <a:gd name="T45" fmla="*/ 641 h 1195"/>
                <a:gd name="T46" fmla="*/ 1075 w 1405"/>
                <a:gd name="T47" fmla="*/ 632 h 1195"/>
                <a:gd name="T48" fmla="*/ 1063 w 1405"/>
                <a:gd name="T49" fmla="*/ 632 h 1195"/>
                <a:gd name="T50" fmla="*/ 1063 w 1405"/>
                <a:gd name="T51" fmla="*/ 627 h 1195"/>
                <a:gd name="T52" fmla="*/ 1072 w 1405"/>
                <a:gd name="T53" fmla="*/ 622 h 1195"/>
                <a:gd name="T54" fmla="*/ 1084 w 1405"/>
                <a:gd name="T55" fmla="*/ 613 h 1195"/>
                <a:gd name="T56" fmla="*/ 1089 w 1405"/>
                <a:gd name="T57" fmla="*/ 625 h 1195"/>
                <a:gd name="T58" fmla="*/ 35 w 1405"/>
                <a:gd name="T59" fmla="*/ 594 h 1195"/>
                <a:gd name="T60" fmla="*/ 2 w 1405"/>
                <a:gd name="T61" fmla="*/ 606 h 1195"/>
                <a:gd name="T62" fmla="*/ 24 w 1405"/>
                <a:gd name="T63" fmla="*/ 589 h 1195"/>
                <a:gd name="T64" fmla="*/ 1153 w 1405"/>
                <a:gd name="T65" fmla="*/ 587 h 1195"/>
                <a:gd name="T66" fmla="*/ 1158 w 1405"/>
                <a:gd name="T67" fmla="*/ 594 h 1195"/>
                <a:gd name="T68" fmla="*/ 1153 w 1405"/>
                <a:gd name="T69" fmla="*/ 596 h 1195"/>
                <a:gd name="T70" fmla="*/ 1141 w 1405"/>
                <a:gd name="T71" fmla="*/ 594 h 1195"/>
                <a:gd name="T72" fmla="*/ 1136 w 1405"/>
                <a:gd name="T73" fmla="*/ 589 h 1195"/>
                <a:gd name="T74" fmla="*/ 1146 w 1405"/>
                <a:gd name="T75" fmla="*/ 587 h 1195"/>
                <a:gd name="T76" fmla="*/ 923 w 1405"/>
                <a:gd name="T77" fmla="*/ 380 h 1195"/>
                <a:gd name="T78" fmla="*/ 1015 w 1405"/>
                <a:gd name="T79" fmla="*/ 119 h 1195"/>
                <a:gd name="T80" fmla="*/ 1032 w 1405"/>
                <a:gd name="T81" fmla="*/ 130 h 1195"/>
                <a:gd name="T82" fmla="*/ 992 w 1405"/>
                <a:gd name="T83" fmla="*/ 140 h 1195"/>
                <a:gd name="T84" fmla="*/ 982 w 1405"/>
                <a:gd name="T85" fmla="*/ 133 h 1195"/>
                <a:gd name="T86" fmla="*/ 977 w 1405"/>
                <a:gd name="T87" fmla="*/ 121 h 1195"/>
                <a:gd name="T88" fmla="*/ 1193 w 1405"/>
                <a:gd name="T89" fmla="*/ 107 h 1195"/>
                <a:gd name="T90" fmla="*/ 1181 w 1405"/>
                <a:gd name="T91" fmla="*/ 104 h 1195"/>
                <a:gd name="T92" fmla="*/ 659 w 1405"/>
                <a:gd name="T93" fmla="*/ 104 h 1195"/>
                <a:gd name="T94" fmla="*/ 669 w 1405"/>
                <a:gd name="T95" fmla="*/ 116 h 1195"/>
                <a:gd name="T96" fmla="*/ 690 w 1405"/>
                <a:gd name="T97" fmla="*/ 128 h 1195"/>
                <a:gd name="T98" fmla="*/ 688 w 1405"/>
                <a:gd name="T99" fmla="*/ 135 h 1195"/>
                <a:gd name="T100" fmla="*/ 664 w 1405"/>
                <a:gd name="T101" fmla="*/ 123 h 1195"/>
                <a:gd name="T102" fmla="*/ 648 w 1405"/>
                <a:gd name="T103" fmla="*/ 102 h 1195"/>
                <a:gd name="T104" fmla="*/ 1269 w 1405"/>
                <a:gd name="T105" fmla="*/ 95 h 1195"/>
                <a:gd name="T106" fmla="*/ 1253 w 1405"/>
                <a:gd name="T107" fmla="*/ 95 h 1195"/>
                <a:gd name="T108" fmla="*/ 1217 w 1405"/>
                <a:gd name="T109" fmla="*/ 97 h 1195"/>
                <a:gd name="T110" fmla="*/ 968 w 1405"/>
                <a:gd name="T111" fmla="*/ 81 h 1195"/>
                <a:gd name="T112" fmla="*/ 968 w 1405"/>
                <a:gd name="T113" fmla="*/ 88 h 1195"/>
                <a:gd name="T114" fmla="*/ 1402 w 1405"/>
                <a:gd name="T115" fmla="*/ 9 h 1195"/>
                <a:gd name="T116" fmla="*/ 1364 w 1405"/>
                <a:gd name="T117" fmla="*/ 14 h 1195"/>
                <a:gd name="T118" fmla="*/ 1338 w 1405"/>
                <a:gd name="T119" fmla="*/ 12 h 1195"/>
                <a:gd name="T120" fmla="*/ 1378 w 1405"/>
                <a:gd name="T121" fmla="*/ 0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05" h="1195">
                  <a:moveTo>
                    <a:pt x="486" y="1180"/>
                  </a:moveTo>
                  <a:lnTo>
                    <a:pt x="489" y="1178"/>
                  </a:lnTo>
                  <a:lnTo>
                    <a:pt x="489" y="1180"/>
                  </a:lnTo>
                  <a:lnTo>
                    <a:pt x="489" y="1183"/>
                  </a:lnTo>
                  <a:lnTo>
                    <a:pt x="489" y="1185"/>
                  </a:lnTo>
                  <a:lnTo>
                    <a:pt x="489" y="1188"/>
                  </a:lnTo>
                  <a:lnTo>
                    <a:pt x="489" y="1190"/>
                  </a:lnTo>
                  <a:lnTo>
                    <a:pt x="489" y="1192"/>
                  </a:lnTo>
                  <a:lnTo>
                    <a:pt x="486" y="1192"/>
                  </a:lnTo>
                  <a:lnTo>
                    <a:pt x="486" y="1190"/>
                  </a:lnTo>
                  <a:lnTo>
                    <a:pt x="486" y="1192"/>
                  </a:lnTo>
                  <a:lnTo>
                    <a:pt x="484" y="1192"/>
                  </a:lnTo>
                  <a:lnTo>
                    <a:pt x="482" y="1195"/>
                  </a:lnTo>
                  <a:lnTo>
                    <a:pt x="482" y="1192"/>
                  </a:lnTo>
                  <a:lnTo>
                    <a:pt x="479" y="1192"/>
                  </a:lnTo>
                  <a:lnTo>
                    <a:pt x="479" y="1190"/>
                  </a:lnTo>
                  <a:lnTo>
                    <a:pt x="477" y="1190"/>
                  </a:lnTo>
                  <a:lnTo>
                    <a:pt x="477" y="1188"/>
                  </a:lnTo>
                  <a:lnTo>
                    <a:pt x="479" y="1188"/>
                  </a:lnTo>
                  <a:lnTo>
                    <a:pt x="482" y="1188"/>
                  </a:lnTo>
                  <a:lnTo>
                    <a:pt x="479" y="1188"/>
                  </a:lnTo>
                  <a:lnTo>
                    <a:pt x="479" y="1185"/>
                  </a:lnTo>
                  <a:lnTo>
                    <a:pt x="482" y="1185"/>
                  </a:lnTo>
                  <a:lnTo>
                    <a:pt x="479" y="1185"/>
                  </a:lnTo>
                  <a:lnTo>
                    <a:pt x="482" y="1185"/>
                  </a:lnTo>
                  <a:lnTo>
                    <a:pt x="479" y="1185"/>
                  </a:lnTo>
                  <a:lnTo>
                    <a:pt x="482" y="1185"/>
                  </a:lnTo>
                  <a:lnTo>
                    <a:pt x="482" y="1183"/>
                  </a:lnTo>
                  <a:lnTo>
                    <a:pt x="484" y="1183"/>
                  </a:lnTo>
                  <a:lnTo>
                    <a:pt x="484" y="1185"/>
                  </a:lnTo>
                  <a:lnTo>
                    <a:pt x="484" y="1183"/>
                  </a:lnTo>
                  <a:lnTo>
                    <a:pt x="484" y="1180"/>
                  </a:lnTo>
                  <a:lnTo>
                    <a:pt x="486" y="1180"/>
                  </a:lnTo>
                  <a:lnTo>
                    <a:pt x="484" y="1180"/>
                  </a:lnTo>
                  <a:lnTo>
                    <a:pt x="486" y="1180"/>
                  </a:lnTo>
                  <a:lnTo>
                    <a:pt x="484" y="1180"/>
                  </a:lnTo>
                  <a:lnTo>
                    <a:pt x="486" y="1180"/>
                  </a:lnTo>
                  <a:lnTo>
                    <a:pt x="486" y="1178"/>
                  </a:lnTo>
                  <a:lnTo>
                    <a:pt x="486" y="1180"/>
                  </a:lnTo>
                  <a:close/>
                  <a:moveTo>
                    <a:pt x="802" y="746"/>
                  </a:moveTo>
                  <a:lnTo>
                    <a:pt x="799" y="746"/>
                  </a:lnTo>
                  <a:lnTo>
                    <a:pt x="802" y="746"/>
                  </a:lnTo>
                  <a:lnTo>
                    <a:pt x="799" y="746"/>
                  </a:lnTo>
                  <a:lnTo>
                    <a:pt x="799" y="748"/>
                  </a:lnTo>
                  <a:lnTo>
                    <a:pt x="797" y="750"/>
                  </a:lnTo>
                  <a:lnTo>
                    <a:pt x="795" y="750"/>
                  </a:lnTo>
                  <a:lnTo>
                    <a:pt x="792" y="750"/>
                  </a:lnTo>
                  <a:lnTo>
                    <a:pt x="792" y="753"/>
                  </a:lnTo>
                  <a:lnTo>
                    <a:pt x="795" y="750"/>
                  </a:lnTo>
                  <a:lnTo>
                    <a:pt x="795" y="753"/>
                  </a:lnTo>
                  <a:lnTo>
                    <a:pt x="792" y="753"/>
                  </a:lnTo>
                  <a:lnTo>
                    <a:pt x="790" y="755"/>
                  </a:lnTo>
                  <a:lnTo>
                    <a:pt x="788" y="755"/>
                  </a:lnTo>
                  <a:lnTo>
                    <a:pt x="788" y="758"/>
                  </a:lnTo>
                  <a:lnTo>
                    <a:pt x="785" y="758"/>
                  </a:lnTo>
                  <a:lnTo>
                    <a:pt x="788" y="758"/>
                  </a:lnTo>
                  <a:lnTo>
                    <a:pt x="785" y="758"/>
                  </a:lnTo>
                  <a:lnTo>
                    <a:pt x="785" y="755"/>
                  </a:lnTo>
                  <a:lnTo>
                    <a:pt x="788" y="753"/>
                  </a:lnTo>
                  <a:lnTo>
                    <a:pt x="785" y="753"/>
                  </a:lnTo>
                  <a:lnTo>
                    <a:pt x="785" y="755"/>
                  </a:lnTo>
                  <a:lnTo>
                    <a:pt x="785" y="753"/>
                  </a:lnTo>
                  <a:lnTo>
                    <a:pt x="785" y="755"/>
                  </a:lnTo>
                  <a:lnTo>
                    <a:pt x="785" y="758"/>
                  </a:lnTo>
                  <a:lnTo>
                    <a:pt x="783" y="755"/>
                  </a:lnTo>
                  <a:lnTo>
                    <a:pt x="785" y="755"/>
                  </a:lnTo>
                  <a:lnTo>
                    <a:pt x="783" y="755"/>
                  </a:lnTo>
                  <a:lnTo>
                    <a:pt x="783" y="758"/>
                  </a:lnTo>
                  <a:lnTo>
                    <a:pt x="783" y="755"/>
                  </a:lnTo>
                  <a:lnTo>
                    <a:pt x="783" y="758"/>
                  </a:lnTo>
                  <a:lnTo>
                    <a:pt x="783" y="755"/>
                  </a:lnTo>
                  <a:lnTo>
                    <a:pt x="783" y="758"/>
                  </a:lnTo>
                  <a:lnTo>
                    <a:pt x="785" y="758"/>
                  </a:lnTo>
                  <a:lnTo>
                    <a:pt x="783" y="758"/>
                  </a:lnTo>
                  <a:lnTo>
                    <a:pt x="785" y="758"/>
                  </a:lnTo>
                  <a:lnTo>
                    <a:pt x="783" y="758"/>
                  </a:lnTo>
                  <a:lnTo>
                    <a:pt x="785" y="758"/>
                  </a:lnTo>
                  <a:lnTo>
                    <a:pt x="783" y="758"/>
                  </a:lnTo>
                  <a:lnTo>
                    <a:pt x="783" y="760"/>
                  </a:lnTo>
                  <a:lnTo>
                    <a:pt x="783" y="758"/>
                  </a:lnTo>
                  <a:lnTo>
                    <a:pt x="783" y="760"/>
                  </a:lnTo>
                  <a:lnTo>
                    <a:pt x="783" y="758"/>
                  </a:lnTo>
                  <a:lnTo>
                    <a:pt x="780" y="758"/>
                  </a:lnTo>
                  <a:lnTo>
                    <a:pt x="780" y="760"/>
                  </a:lnTo>
                  <a:lnTo>
                    <a:pt x="780" y="758"/>
                  </a:lnTo>
                  <a:lnTo>
                    <a:pt x="780" y="760"/>
                  </a:lnTo>
                  <a:lnTo>
                    <a:pt x="780" y="758"/>
                  </a:lnTo>
                  <a:lnTo>
                    <a:pt x="780" y="760"/>
                  </a:lnTo>
                  <a:lnTo>
                    <a:pt x="780" y="758"/>
                  </a:lnTo>
                  <a:lnTo>
                    <a:pt x="778" y="760"/>
                  </a:lnTo>
                  <a:lnTo>
                    <a:pt x="780" y="760"/>
                  </a:lnTo>
                  <a:lnTo>
                    <a:pt x="778" y="760"/>
                  </a:lnTo>
                  <a:lnTo>
                    <a:pt x="780" y="760"/>
                  </a:lnTo>
                  <a:lnTo>
                    <a:pt x="778" y="760"/>
                  </a:lnTo>
                  <a:lnTo>
                    <a:pt x="780" y="760"/>
                  </a:lnTo>
                  <a:lnTo>
                    <a:pt x="778" y="760"/>
                  </a:lnTo>
                  <a:lnTo>
                    <a:pt x="776" y="762"/>
                  </a:lnTo>
                  <a:lnTo>
                    <a:pt x="776" y="760"/>
                  </a:lnTo>
                  <a:lnTo>
                    <a:pt x="776" y="762"/>
                  </a:lnTo>
                  <a:lnTo>
                    <a:pt x="773" y="762"/>
                  </a:lnTo>
                  <a:lnTo>
                    <a:pt x="773" y="760"/>
                  </a:lnTo>
                  <a:lnTo>
                    <a:pt x="773" y="762"/>
                  </a:lnTo>
                  <a:lnTo>
                    <a:pt x="771" y="762"/>
                  </a:lnTo>
                  <a:lnTo>
                    <a:pt x="769" y="762"/>
                  </a:lnTo>
                  <a:lnTo>
                    <a:pt x="769" y="760"/>
                  </a:lnTo>
                  <a:lnTo>
                    <a:pt x="771" y="758"/>
                  </a:lnTo>
                  <a:lnTo>
                    <a:pt x="773" y="758"/>
                  </a:lnTo>
                  <a:lnTo>
                    <a:pt x="771" y="758"/>
                  </a:lnTo>
                  <a:lnTo>
                    <a:pt x="773" y="758"/>
                  </a:lnTo>
                  <a:lnTo>
                    <a:pt x="773" y="755"/>
                  </a:lnTo>
                  <a:lnTo>
                    <a:pt x="771" y="755"/>
                  </a:lnTo>
                  <a:lnTo>
                    <a:pt x="771" y="753"/>
                  </a:lnTo>
                  <a:lnTo>
                    <a:pt x="773" y="753"/>
                  </a:lnTo>
                  <a:lnTo>
                    <a:pt x="776" y="753"/>
                  </a:lnTo>
                  <a:lnTo>
                    <a:pt x="776" y="755"/>
                  </a:lnTo>
                  <a:lnTo>
                    <a:pt x="776" y="753"/>
                  </a:lnTo>
                  <a:lnTo>
                    <a:pt x="776" y="755"/>
                  </a:lnTo>
                  <a:lnTo>
                    <a:pt x="776" y="753"/>
                  </a:lnTo>
                  <a:lnTo>
                    <a:pt x="776" y="750"/>
                  </a:lnTo>
                  <a:lnTo>
                    <a:pt x="773" y="750"/>
                  </a:lnTo>
                  <a:lnTo>
                    <a:pt x="776" y="750"/>
                  </a:lnTo>
                  <a:lnTo>
                    <a:pt x="778" y="750"/>
                  </a:lnTo>
                  <a:lnTo>
                    <a:pt x="778" y="748"/>
                  </a:lnTo>
                  <a:lnTo>
                    <a:pt x="780" y="750"/>
                  </a:lnTo>
                  <a:lnTo>
                    <a:pt x="780" y="748"/>
                  </a:lnTo>
                  <a:lnTo>
                    <a:pt x="778" y="748"/>
                  </a:lnTo>
                  <a:lnTo>
                    <a:pt x="780" y="748"/>
                  </a:lnTo>
                  <a:lnTo>
                    <a:pt x="783" y="748"/>
                  </a:lnTo>
                  <a:lnTo>
                    <a:pt x="785" y="748"/>
                  </a:lnTo>
                  <a:lnTo>
                    <a:pt x="783" y="748"/>
                  </a:lnTo>
                  <a:lnTo>
                    <a:pt x="783" y="750"/>
                  </a:lnTo>
                  <a:lnTo>
                    <a:pt x="785" y="750"/>
                  </a:lnTo>
                  <a:lnTo>
                    <a:pt x="785" y="748"/>
                  </a:lnTo>
                  <a:lnTo>
                    <a:pt x="785" y="746"/>
                  </a:lnTo>
                  <a:lnTo>
                    <a:pt x="785" y="748"/>
                  </a:lnTo>
                  <a:lnTo>
                    <a:pt x="788" y="748"/>
                  </a:lnTo>
                  <a:lnTo>
                    <a:pt x="785" y="748"/>
                  </a:lnTo>
                  <a:lnTo>
                    <a:pt x="788" y="748"/>
                  </a:lnTo>
                  <a:lnTo>
                    <a:pt x="790" y="748"/>
                  </a:lnTo>
                  <a:lnTo>
                    <a:pt x="788" y="748"/>
                  </a:lnTo>
                  <a:lnTo>
                    <a:pt x="790" y="748"/>
                  </a:lnTo>
                  <a:lnTo>
                    <a:pt x="790" y="750"/>
                  </a:lnTo>
                  <a:lnTo>
                    <a:pt x="788" y="750"/>
                  </a:lnTo>
                  <a:lnTo>
                    <a:pt x="790" y="750"/>
                  </a:lnTo>
                  <a:lnTo>
                    <a:pt x="790" y="748"/>
                  </a:lnTo>
                  <a:lnTo>
                    <a:pt x="790" y="746"/>
                  </a:lnTo>
                  <a:lnTo>
                    <a:pt x="792" y="746"/>
                  </a:lnTo>
                  <a:lnTo>
                    <a:pt x="790" y="746"/>
                  </a:lnTo>
                  <a:lnTo>
                    <a:pt x="792" y="746"/>
                  </a:lnTo>
                  <a:lnTo>
                    <a:pt x="795" y="746"/>
                  </a:lnTo>
                  <a:lnTo>
                    <a:pt x="795" y="748"/>
                  </a:lnTo>
                  <a:lnTo>
                    <a:pt x="795" y="746"/>
                  </a:lnTo>
                  <a:lnTo>
                    <a:pt x="795" y="748"/>
                  </a:lnTo>
                  <a:lnTo>
                    <a:pt x="795" y="746"/>
                  </a:lnTo>
                  <a:lnTo>
                    <a:pt x="797" y="746"/>
                  </a:lnTo>
                  <a:lnTo>
                    <a:pt x="799" y="746"/>
                  </a:lnTo>
                  <a:lnTo>
                    <a:pt x="802" y="746"/>
                  </a:lnTo>
                  <a:close/>
                  <a:moveTo>
                    <a:pt x="833" y="696"/>
                  </a:moveTo>
                  <a:lnTo>
                    <a:pt x="833" y="698"/>
                  </a:lnTo>
                  <a:lnTo>
                    <a:pt x="833" y="701"/>
                  </a:lnTo>
                  <a:lnTo>
                    <a:pt x="830" y="701"/>
                  </a:lnTo>
                  <a:lnTo>
                    <a:pt x="830" y="703"/>
                  </a:lnTo>
                  <a:lnTo>
                    <a:pt x="830" y="705"/>
                  </a:lnTo>
                  <a:lnTo>
                    <a:pt x="828" y="705"/>
                  </a:lnTo>
                  <a:lnTo>
                    <a:pt x="828" y="708"/>
                  </a:lnTo>
                  <a:lnTo>
                    <a:pt x="826" y="708"/>
                  </a:lnTo>
                  <a:lnTo>
                    <a:pt x="826" y="710"/>
                  </a:lnTo>
                  <a:lnTo>
                    <a:pt x="826" y="708"/>
                  </a:lnTo>
                  <a:lnTo>
                    <a:pt x="826" y="710"/>
                  </a:lnTo>
                  <a:lnTo>
                    <a:pt x="823" y="710"/>
                  </a:lnTo>
                  <a:lnTo>
                    <a:pt x="826" y="710"/>
                  </a:lnTo>
                  <a:lnTo>
                    <a:pt x="823" y="710"/>
                  </a:lnTo>
                  <a:lnTo>
                    <a:pt x="826" y="710"/>
                  </a:lnTo>
                  <a:lnTo>
                    <a:pt x="823" y="710"/>
                  </a:lnTo>
                  <a:lnTo>
                    <a:pt x="823" y="712"/>
                  </a:lnTo>
                  <a:lnTo>
                    <a:pt x="821" y="712"/>
                  </a:lnTo>
                  <a:lnTo>
                    <a:pt x="821" y="715"/>
                  </a:lnTo>
                  <a:lnTo>
                    <a:pt x="821" y="712"/>
                  </a:lnTo>
                  <a:lnTo>
                    <a:pt x="821" y="715"/>
                  </a:lnTo>
                  <a:lnTo>
                    <a:pt x="818" y="715"/>
                  </a:lnTo>
                  <a:lnTo>
                    <a:pt x="821" y="715"/>
                  </a:lnTo>
                  <a:lnTo>
                    <a:pt x="818" y="715"/>
                  </a:lnTo>
                  <a:lnTo>
                    <a:pt x="816" y="715"/>
                  </a:lnTo>
                  <a:lnTo>
                    <a:pt x="816" y="717"/>
                  </a:lnTo>
                  <a:lnTo>
                    <a:pt x="816" y="715"/>
                  </a:lnTo>
                  <a:lnTo>
                    <a:pt x="814" y="715"/>
                  </a:lnTo>
                  <a:lnTo>
                    <a:pt x="811" y="715"/>
                  </a:lnTo>
                  <a:lnTo>
                    <a:pt x="814" y="715"/>
                  </a:lnTo>
                  <a:lnTo>
                    <a:pt x="814" y="717"/>
                  </a:lnTo>
                  <a:lnTo>
                    <a:pt x="814" y="720"/>
                  </a:lnTo>
                  <a:lnTo>
                    <a:pt x="811" y="720"/>
                  </a:lnTo>
                  <a:lnTo>
                    <a:pt x="811" y="722"/>
                  </a:lnTo>
                  <a:lnTo>
                    <a:pt x="809" y="722"/>
                  </a:lnTo>
                  <a:lnTo>
                    <a:pt x="809" y="720"/>
                  </a:lnTo>
                  <a:lnTo>
                    <a:pt x="809" y="717"/>
                  </a:lnTo>
                  <a:lnTo>
                    <a:pt x="809" y="715"/>
                  </a:lnTo>
                  <a:lnTo>
                    <a:pt x="809" y="712"/>
                  </a:lnTo>
                  <a:lnTo>
                    <a:pt x="811" y="712"/>
                  </a:lnTo>
                  <a:lnTo>
                    <a:pt x="811" y="710"/>
                  </a:lnTo>
                  <a:lnTo>
                    <a:pt x="814" y="710"/>
                  </a:lnTo>
                  <a:lnTo>
                    <a:pt x="814" y="708"/>
                  </a:lnTo>
                  <a:lnTo>
                    <a:pt x="816" y="708"/>
                  </a:lnTo>
                  <a:lnTo>
                    <a:pt x="816" y="705"/>
                  </a:lnTo>
                  <a:lnTo>
                    <a:pt x="818" y="705"/>
                  </a:lnTo>
                  <a:lnTo>
                    <a:pt x="821" y="705"/>
                  </a:lnTo>
                  <a:lnTo>
                    <a:pt x="818" y="705"/>
                  </a:lnTo>
                  <a:lnTo>
                    <a:pt x="821" y="705"/>
                  </a:lnTo>
                  <a:lnTo>
                    <a:pt x="821" y="703"/>
                  </a:lnTo>
                  <a:lnTo>
                    <a:pt x="823" y="703"/>
                  </a:lnTo>
                  <a:lnTo>
                    <a:pt x="823" y="701"/>
                  </a:lnTo>
                  <a:lnTo>
                    <a:pt x="823" y="698"/>
                  </a:lnTo>
                  <a:lnTo>
                    <a:pt x="823" y="701"/>
                  </a:lnTo>
                  <a:lnTo>
                    <a:pt x="823" y="698"/>
                  </a:lnTo>
                  <a:lnTo>
                    <a:pt x="826" y="698"/>
                  </a:lnTo>
                  <a:lnTo>
                    <a:pt x="828" y="698"/>
                  </a:lnTo>
                  <a:lnTo>
                    <a:pt x="828" y="696"/>
                  </a:lnTo>
                  <a:lnTo>
                    <a:pt x="830" y="696"/>
                  </a:lnTo>
                  <a:lnTo>
                    <a:pt x="833" y="696"/>
                  </a:lnTo>
                  <a:close/>
                  <a:moveTo>
                    <a:pt x="918" y="663"/>
                  </a:moveTo>
                  <a:lnTo>
                    <a:pt x="920" y="663"/>
                  </a:lnTo>
                  <a:lnTo>
                    <a:pt x="920" y="665"/>
                  </a:lnTo>
                  <a:lnTo>
                    <a:pt x="923" y="665"/>
                  </a:lnTo>
                  <a:lnTo>
                    <a:pt x="925" y="665"/>
                  </a:lnTo>
                  <a:lnTo>
                    <a:pt x="928" y="667"/>
                  </a:lnTo>
                  <a:lnTo>
                    <a:pt x="928" y="670"/>
                  </a:lnTo>
                  <a:lnTo>
                    <a:pt x="928" y="672"/>
                  </a:lnTo>
                  <a:lnTo>
                    <a:pt x="925" y="672"/>
                  </a:lnTo>
                  <a:lnTo>
                    <a:pt x="923" y="672"/>
                  </a:lnTo>
                  <a:lnTo>
                    <a:pt x="923" y="674"/>
                  </a:lnTo>
                  <a:lnTo>
                    <a:pt x="920" y="674"/>
                  </a:lnTo>
                  <a:lnTo>
                    <a:pt x="918" y="674"/>
                  </a:lnTo>
                  <a:lnTo>
                    <a:pt x="918" y="677"/>
                  </a:lnTo>
                  <a:lnTo>
                    <a:pt x="920" y="677"/>
                  </a:lnTo>
                  <a:lnTo>
                    <a:pt x="920" y="679"/>
                  </a:lnTo>
                  <a:lnTo>
                    <a:pt x="918" y="682"/>
                  </a:lnTo>
                  <a:lnTo>
                    <a:pt x="916" y="682"/>
                  </a:lnTo>
                  <a:lnTo>
                    <a:pt x="913" y="682"/>
                  </a:lnTo>
                  <a:lnTo>
                    <a:pt x="911" y="682"/>
                  </a:lnTo>
                  <a:lnTo>
                    <a:pt x="909" y="682"/>
                  </a:lnTo>
                  <a:lnTo>
                    <a:pt x="906" y="684"/>
                  </a:lnTo>
                  <a:lnTo>
                    <a:pt x="904" y="684"/>
                  </a:lnTo>
                  <a:lnTo>
                    <a:pt x="901" y="684"/>
                  </a:lnTo>
                  <a:lnTo>
                    <a:pt x="899" y="684"/>
                  </a:lnTo>
                  <a:lnTo>
                    <a:pt x="897" y="682"/>
                  </a:lnTo>
                  <a:lnTo>
                    <a:pt x="894" y="682"/>
                  </a:lnTo>
                  <a:lnTo>
                    <a:pt x="894" y="679"/>
                  </a:lnTo>
                  <a:lnTo>
                    <a:pt x="894" y="677"/>
                  </a:lnTo>
                  <a:lnTo>
                    <a:pt x="897" y="677"/>
                  </a:lnTo>
                  <a:lnTo>
                    <a:pt x="897" y="679"/>
                  </a:lnTo>
                  <a:lnTo>
                    <a:pt x="897" y="677"/>
                  </a:lnTo>
                  <a:lnTo>
                    <a:pt x="899" y="677"/>
                  </a:lnTo>
                  <a:lnTo>
                    <a:pt x="901" y="677"/>
                  </a:lnTo>
                  <a:lnTo>
                    <a:pt x="901" y="679"/>
                  </a:lnTo>
                  <a:lnTo>
                    <a:pt x="904" y="679"/>
                  </a:lnTo>
                  <a:lnTo>
                    <a:pt x="906" y="677"/>
                  </a:lnTo>
                  <a:lnTo>
                    <a:pt x="904" y="677"/>
                  </a:lnTo>
                  <a:lnTo>
                    <a:pt x="901" y="677"/>
                  </a:lnTo>
                  <a:lnTo>
                    <a:pt x="901" y="674"/>
                  </a:lnTo>
                  <a:lnTo>
                    <a:pt x="899" y="674"/>
                  </a:lnTo>
                  <a:lnTo>
                    <a:pt x="899" y="672"/>
                  </a:lnTo>
                  <a:lnTo>
                    <a:pt x="901" y="672"/>
                  </a:lnTo>
                  <a:lnTo>
                    <a:pt x="901" y="674"/>
                  </a:lnTo>
                  <a:lnTo>
                    <a:pt x="901" y="672"/>
                  </a:lnTo>
                  <a:lnTo>
                    <a:pt x="904" y="674"/>
                  </a:lnTo>
                  <a:lnTo>
                    <a:pt x="906" y="674"/>
                  </a:lnTo>
                  <a:lnTo>
                    <a:pt x="906" y="672"/>
                  </a:lnTo>
                  <a:lnTo>
                    <a:pt x="909" y="672"/>
                  </a:lnTo>
                  <a:lnTo>
                    <a:pt x="909" y="674"/>
                  </a:lnTo>
                  <a:lnTo>
                    <a:pt x="909" y="672"/>
                  </a:lnTo>
                  <a:lnTo>
                    <a:pt x="909" y="674"/>
                  </a:lnTo>
                  <a:lnTo>
                    <a:pt x="911" y="672"/>
                  </a:lnTo>
                  <a:lnTo>
                    <a:pt x="911" y="674"/>
                  </a:lnTo>
                  <a:lnTo>
                    <a:pt x="913" y="674"/>
                  </a:lnTo>
                  <a:lnTo>
                    <a:pt x="913" y="672"/>
                  </a:lnTo>
                  <a:lnTo>
                    <a:pt x="911" y="672"/>
                  </a:lnTo>
                  <a:lnTo>
                    <a:pt x="909" y="672"/>
                  </a:lnTo>
                  <a:lnTo>
                    <a:pt x="906" y="672"/>
                  </a:lnTo>
                  <a:lnTo>
                    <a:pt x="904" y="672"/>
                  </a:lnTo>
                  <a:lnTo>
                    <a:pt x="904" y="670"/>
                  </a:lnTo>
                  <a:lnTo>
                    <a:pt x="904" y="667"/>
                  </a:lnTo>
                  <a:lnTo>
                    <a:pt x="906" y="667"/>
                  </a:lnTo>
                  <a:lnTo>
                    <a:pt x="906" y="670"/>
                  </a:lnTo>
                  <a:lnTo>
                    <a:pt x="909" y="670"/>
                  </a:lnTo>
                  <a:lnTo>
                    <a:pt x="909" y="667"/>
                  </a:lnTo>
                  <a:lnTo>
                    <a:pt x="909" y="670"/>
                  </a:lnTo>
                  <a:lnTo>
                    <a:pt x="911" y="670"/>
                  </a:lnTo>
                  <a:lnTo>
                    <a:pt x="911" y="667"/>
                  </a:lnTo>
                  <a:lnTo>
                    <a:pt x="913" y="667"/>
                  </a:lnTo>
                  <a:lnTo>
                    <a:pt x="916" y="667"/>
                  </a:lnTo>
                  <a:lnTo>
                    <a:pt x="913" y="670"/>
                  </a:lnTo>
                  <a:lnTo>
                    <a:pt x="916" y="670"/>
                  </a:lnTo>
                  <a:lnTo>
                    <a:pt x="913" y="670"/>
                  </a:lnTo>
                  <a:lnTo>
                    <a:pt x="916" y="670"/>
                  </a:lnTo>
                  <a:lnTo>
                    <a:pt x="913" y="670"/>
                  </a:lnTo>
                  <a:lnTo>
                    <a:pt x="916" y="670"/>
                  </a:lnTo>
                  <a:lnTo>
                    <a:pt x="916" y="672"/>
                  </a:lnTo>
                  <a:lnTo>
                    <a:pt x="916" y="674"/>
                  </a:lnTo>
                  <a:lnTo>
                    <a:pt x="918" y="674"/>
                  </a:lnTo>
                  <a:lnTo>
                    <a:pt x="916" y="674"/>
                  </a:lnTo>
                  <a:lnTo>
                    <a:pt x="916" y="672"/>
                  </a:lnTo>
                  <a:lnTo>
                    <a:pt x="916" y="670"/>
                  </a:lnTo>
                  <a:lnTo>
                    <a:pt x="918" y="670"/>
                  </a:lnTo>
                  <a:lnTo>
                    <a:pt x="918" y="667"/>
                  </a:lnTo>
                  <a:lnTo>
                    <a:pt x="916" y="667"/>
                  </a:lnTo>
                  <a:lnTo>
                    <a:pt x="916" y="665"/>
                  </a:lnTo>
                  <a:lnTo>
                    <a:pt x="916" y="663"/>
                  </a:lnTo>
                  <a:lnTo>
                    <a:pt x="918" y="663"/>
                  </a:lnTo>
                  <a:close/>
                  <a:moveTo>
                    <a:pt x="932" y="651"/>
                  </a:moveTo>
                  <a:lnTo>
                    <a:pt x="935" y="651"/>
                  </a:lnTo>
                  <a:lnTo>
                    <a:pt x="937" y="651"/>
                  </a:lnTo>
                  <a:lnTo>
                    <a:pt x="935" y="653"/>
                  </a:lnTo>
                  <a:lnTo>
                    <a:pt x="937" y="653"/>
                  </a:lnTo>
                  <a:lnTo>
                    <a:pt x="937" y="655"/>
                  </a:lnTo>
                  <a:lnTo>
                    <a:pt x="939" y="655"/>
                  </a:lnTo>
                  <a:lnTo>
                    <a:pt x="939" y="653"/>
                  </a:lnTo>
                  <a:lnTo>
                    <a:pt x="942" y="653"/>
                  </a:lnTo>
                  <a:lnTo>
                    <a:pt x="944" y="653"/>
                  </a:lnTo>
                  <a:lnTo>
                    <a:pt x="944" y="655"/>
                  </a:lnTo>
                  <a:lnTo>
                    <a:pt x="947" y="655"/>
                  </a:lnTo>
                  <a:lnTo>
                    <a:pt x="947" y="653"/>
                  </a:lnTo>
                  <a:lnTo>
                    <a:pt x="947" y="655"/>
                  </a:lnTo>
                  <a:lnTo>
                    <a:pt x="949" y="655"/>
                  </a:lnTo>
                  <a:lnTo>
                    <a:pt x="949" y="658"/>
                  </a:lnTo>
                  <a:lnTo>
                    <a:pt x="947" y="658"/>
                  </a:lnTo>
                  <a:lnTo>
                    <a:pt x="944" y="658"/>
                  </a:lnTo>
                  <a:lnTo>
                    <a:pt x="942" y="658"/>
                  </a:lnTo>
                  <a:lnTo>
                    <a:pt x="942" y="660"/>
                  </a:lnTo>
                  <a:lnTo>
                    <a:pt x="942" y="663"/>
                  </a:lnTo>
                  <a:lnTo>
                    <a:pt x="939" y="663"/>
                  </a:lnTo>
                  <a:lnTo>
                    <a:pt x="939" y="665"/>
                  </a:lnTo>
                  <a:lnTo>
                    <a:pt x="937" y="665"/>
                  </a:lnTo>
                  <a:lnTo>
                    <a:pt x="939" y="665"/>
                  </a:lnTo>
                  <a:lnTo>
                    <a:pt x="937" y="665"/>
                  </a:lnTo>
                  <a:lnTo>
                    <a:pt x="937" y="667"/>
                  </a:lnTo>
                  <a:lnTo>
                    <a:pt x="935" y="667"/>
                  </a:lnTo>
                  <a:lnTo>
                    <a:pt x="932" y="667"/>
                  </a:lnTo>
                  <a:lnTo>
                    <a:pt x="930" y="667"/>
                  </a:lnTo>
                  <a:lnTo>
                    <a:pt x="928" y="667"/>
                  </a:lnTo>
                  <a:lnTo>
                    <a:pt x="928" y="665"/>
                  </a:lnTo>
                  <a:lnTo>
                    <a:pt x="925" y="665"/>
                  </a:lnTo>
                  <a:lnTo>
                    <a:pt x="923" y="663"/>
                  </a:lnTo>
                  <a:lnTo>
                    <a:pt x="925" y="663"/>
                  </a:lnTo>
                  <a:lnTo>
                    <a:pt x="923" y="663"/>
                  </a:lnTo>
                  <a:lnTo>
                    <a:pt x="920" y="663"/>
                  </a:lnTo>
                  <a:lnTo>
                    <a:pt x="920" y="660"/>
                  </a:lnTo>
                  <a:lnTo>
                    <a:pt x="918" y="660"/>
                  </a:lnTo>
                  <a:lnTo>
                    <a:pt x="916" y="660"/>
                  </a:lnTo>
                  <a:lnTo>
                    <a:pt x="918" y="658"/>
                  </a:lnTo>
                  <a:lnTo>
                    <a:pt x="920" y="658"/>
                  </a:lnTo>
                  <a:lnTo>
                    <a:pt x="923" y="658"/>
                  </a:lnTo>
                  <a:lnTo>
                    <a:pt x="920" y="658"/>
                  </a:lnTo>
                  <a:lnTo>
                    <a:pt x="920" y="655"/>
                  </a:lnTo>
                  <a:lnTo>
                    <a:pt x="920" y="653"/>
                  </a:lnTo>
                  <a:lnTo>
                    <a:pt x="923" y="653"/>
                  </a:lnTo>
                  <a:lnTo>
                    <a:pt x="925" y="653"/>
                  </a:lnTo>
                  <a:lnTo>
                    <a:pt x="925" y="655"/>
                  </a:lnTo>
                  <a:lnTo>
                    <a:pt x="925" y="653"/>
                  </a:lnTo>
                  <a:lnTo>
                    <a:pt x="928" y="653"/>
                  </a:lnTo>
                  <a:lnTo>
                    <a:pt x="928" y="655"/>
                  </a:lnTo>
                  <a:lnTo>
                    <a:pt x="928" y="653"/>
                  </a:lnTo>
                  <a:lnTo>
                    <a:pt x="930" y="653"/>
                  </a:lnTo>
                  <a:lnTo>
                    <a:pt x="930" y="655"/>
                  </a:lnTo>
                  <a:lnTo>
                    <a:pt x="930" y="653"/>
                  </a:lnTo>
                  <a:lnTo>
                    <a:pt x="928" y="653"/>
                  </a:lnTo>
                  <a:lnTo>
                    <a:pt x="928" y="651"/>
                  </a:lnTo>
                  <a:lnTo>
                    <a:pt x="930" y="651"/>
                  </a:lnTo>
                  <a:lnTo>
                    <a:pt x="932" y="651"/>
                  </a:lnTo>
                  <a:lnTo>
                    <a:pt x="935" y="651"/>
                  </a:lnTo>
                  <a:lnTo>
                    <a:pt x="932" y="651"/>
                  </a:lnTo>
                  <a:close/>
                  <a:moveTo>
                    <a:pt x="982" y="641"/>
                  </a:moveTo>
                  <a:lnTo>
                    <a:pt x="985" y="641"/>
                  </a:lnTo>
                  <a:lnTo>
                    <a:pt x="987" y="644"/>
                  </a:lnTo>
                  <a:lnTo>
                    <a:pt x="985" y="646"/>
                  </a:lnTo>
                  <a:lnTo>
                    <a:pt x="985" y="648"/>
                  </a:lnTo>
                  <a:lnTo>
                    <a:pt x="985" y="651"/>
                  </a:lnTo>
                  <a:lnTo>
                    <a:pt x="987" y="651"/>
                  </a:lnTo>
                  <a:lnTo>
                    <a:pt x="987" y="653"/>
                  </a:lnTo>
                  <a:lnTo>
                    <a:pt x="985" y="653"/>
                  </a:lnTo>
                  <a:lnTo>
                    <a:pt x="982" y="653"/>
                  </a:lnTo>
                  <a:lnTo>
                    <a:pt x="980" y="651"/>
                  </a:lnTo>
                  <a:lnTo>
                    <a:pt x="980" y="653"/>
                  </a:lnTo>
                  <a:lnTo>
                    <a:pt x="977" y="653"/>
                  </a:lnTo>
                  <a:lnTo>
                    <a:pt x="977" y="651"/>
                  </a:lnTo>
                  <a:lnTo>
                    <a:pt x="977" y="648"/>
                  </a:lnTo>
                  <a:lnTo>
                    <a:pt x="977" y="651"/>
                  </a:lnTo>
                  <a:lnTo>
                    <a:pt x="975" y="651"/>
                  </a:lnTo>
                  <a:lnTo>
                    <a:pt x="975" y="653"/>
                  </a:lnTo>
                  <a:lnTo>
                    <a:pt x="973" y="653"/>
                  </a:lnTo>
                  <a:lnTo>
                    <a:pt x="973" y="651"/>
                  </a:lnTo>
                  <a:lnTo>
                    <a:pt x="973" y="648"/>
                  </a:lnTo>
                  <a:lnTo>
                    <a:pt x="973" y="646"/>
                  </a:lnTo>
                  <a:lnTo>
                    <a:pt x="973" y="644"/>
                  </a:lnTo>
                  <a:lnTo>
                    <a:pt x="975" y="644"/>
                  </a:lnTo>
                  <a:lnTo>
                    <a:pt x="977" y="644"/>
                  </a:lnTo>
                  <a:lnTo>
                    <a:pt x="977" y="641"/>
                  </a:lnTo>
                  <a:lnTo>
                    <a:pt x="980" y="641"/>
                  </a:lnTo>
                  <a:lnTo>
                    <a:pt x="982" y="641"/>
                  </a:lnTo>
                  <a:close/>
                  <a:moveTo>
                    <a:pt x="947" y="639"/>
                  </a:moveTo>
                  <a:lnTo>
                    <a:pt x="949" y="639"/>
                  </a:lnTo>
                  <a:lnTo>
                    <a:pt x="949" y="641"/>
                  </a:lnTo>
                  <a:lnTo>
                    <a:pt x="951" y="641"/>
                  </a:lnTo>
                  <a:lnTo>
                    <a:pt x="951" y="644"/>
                  </a:lnTo>
                  <a:lnTo>
                    <a:pt x="951" y="646"/>
                  </a:lnTo>
                  <a:lnTo>
                    <a:pt x="954" y="646"/>
                  </a:lnTo>
                  <a:lnTo>
                    <a:pt x="954" y="644"/>
                  </a:lnTo>
                  <a:lnTo>
                    <a:pt x="956" y="644"/>
                  </a:lnTo>
                  <a:lnTo>
                    <a:pt x="956" y="646"/>
                  </a:lnTo>
                  <a:lnTo>
                    <a:pt x="958" y="646"/>
                  </a:lnTo>
                  <a:lnTo>
                    <a:pt x="958" y="648"/>
                  </a:lnTo>
                  <a:lnTo>
                    <a:pt x="958" y="646"/>
                  </a:lnTo>
                  <a:lnTo>
                    <a:pt x="958" y="648"/>
                  </a:lnTo>
                  <a:lnTo>
                    <a:pt x="958" y="646"/>
                  </a:lnTo>
                  <a:lnTo>
                    <a:pt x="961" y="646"/>
                  </a:lnTo>
                  <a:lnTo>
                    <a:pt x="961" y="648"/>
                  </a:lnTo>
                  <a:lnTo>
                    <a:pt x="958" y="648"/>
                  </a:lnTo>
                  <a:lnTo>
                    <a:pt x="961" y="648"/>
                  </a:lnTo>
                  <a:lnTo>
                    <a:pt x="963" y="648"/>
                  </a:lnTo>
                  <a:lnTo>
                    <a:pt x="961" y="648"/>
                  </a:lnTo>
                  <a:lnTo>
                    <a:pt x="963" y="648"/>
                  </a:lnTo>
                  <a:lnTo>
                    <a:pt x="963" y="651"/>
                  </a:lnTo>
                  <a:lnTo>
                    <a:pt x="961" y="651"/>
                  </a:lnTo>
                  <a:lnTo>
                    <a:pt x="958" y="651"/>
                  </a:lnTo>
                  <a:lnTo>
                    <a:pt x="961" y="651"/>
                  </a:lnTo>
                  <a:lnTo>
                    <a:pt x="958" y="651"/>
                  </a:lnTo>
                  <a:lnTo>
                    <a:pt x="958" y="653"/>
                  </a:lnTo>
                  <a:lnTo>
                    <a:pt x="956" y="653"/>
                  </a:lnTo>
                  <a:lnTo>
                    <a:pt x="954" y="653"/>
                  </a:lnTo>
                  <a:lnTo>
                    <a:pt x="951" y="653"/>
                  </a:lnTo>
                  <a:lnTo>
                    <a:pt x="951" y="651"/>
                  </a:lnTo>
                  <a:lnTo>
                    <a:pt x="949" y="651"/>
                  </a:lnTo>
                  <a:lnTo>
                    <a:pt x="949" y="648"/>
                  </a:lnTo>
                  <a:lnTo>
                    <a:pt x="951" y="648"/>
                  </a:lnTo>
                  <a:lnTo>
                    <a:pt x="949" y="648"/>
                  </a:lnTo>
                  <a:lnTo>
                    <a:pt x="949" y="646"/>
                  </a:lnTo>
                  <a:lnTo>
                    <a:pt x="947" y="644"/>
                  </a:lnTo>
                  <a:lnTo>
                    <a:pt x="944" y="644"/>
                  </a:lnTo>
                  <a:lnTo>
                    <a:pt x="944" y="641"/>
                  </a:lnTo>
                  <a:lnTo>
                    <a:pt x="947" y="641"/>
                  </a:lnTo>
                  <a:lnTo>
                    <a:pt x="944" y="641"/>
                  </a:lnTo>
                  <a:lnTo>
                    <a:pt x="944" y="639"/>
                  </a:lnTo>
                  <a:lnTo>
                    <a:pt x="947" y="639"/>
                  </a:lnTo>
                  <a:close/>
                  <a:moveTo>
                    <a:pt x="1072" y="617"/>
                  </a:moveTo>
                  <a:lnTo>
                    <a:pt x="1075" y="617"/>
                  </a:lnTo>
                  <a:lnTo>
                    <a:pt x="1075" y="620"/>
                  </a:lnTo>
                  <a:lnTo>
                    <a:pt x="1077" y="617"/>
                  </a:lnTo>
                  <a:lnTo>
                    <a:pt x="1077" y="620"/>
                  </a:lnTo>
                  <a:lnTo>
                    <a:pt x="1077" y="622"/>
                  </a:lnTo>
                  <a:lnTo>
                    <a:pt x="1077" y="625"/>
                  </a:lnTo>
                  <a:lnTo>
                    <a:pt x="1079" y="625"/>
                  </a:lnTo>
                  <a:lnTo>
                    <a:pt x="1079" y="627"/>
                  </a:lnTo>
                  <a:lnTo>
                    <a:pt x="1079" y="629"/>
                  </a:lnTo>
                  <a:lnTo>
                    <a:pt x="1077" y="629"/>
                  </a:lnTo>
                  <a:lnTo>
                    <a:pt x="1077" y="632"/>
                  </a:lnTo>
                  <a:lnTo>
                    <a:pt x="1075" y="632"/>
                  </a:lnTo>
                  <a:lnTo>
                    <a:pt x="1072" y="632"/>
                  </a:lnTo>
                  <a:lnTo>
                    <a:pt x="1075" y="632"/>
                  </a:lnTo>
                  <a:lnTo>
                    <a:pt x="1075" y="634"/>
                  </a:lnTo>
                  <a:lnTo>
                    <a:pt x="1072" y="634"/>
                  </a:lnTo>
                  <a:lnTo>
                    <a:pt x="1070" y="634"/>
                  </a:lnTo>
                  <a:lnTo>
                    <a:pt x="1068" y="634"/>
                  </a:lnTo>
                  <a:lnTo>
                    <a:pt x="1068" y="636"/>
                  </a:lnTo>
                  <a:lnTo>
                    <a:pt x="1070" y="636"/>
                  </a:lnTo>
                  <a:lnTo>
                    <a:pt x="1068" y="636"/>
                  </a:lnTo>
                  <a:lnTo>
                    <a:pt x="1070" y="636"/>
                  </a:lnTo>
                  <a:lnTo>
                    <a:pt x="1068" y="636"/>
                  </a:lnTo>
                  <a:lnTo>
                    <a:pt x="1068" y="639"/>
                  </a:lnTo>
                  <a:lnTo>
                    <a:pt x="1065" y="639"/>
                  </a:lnTo>
                  <a:lnTo>
                    <a:pt x="1063" y="639"/>
                  </a:lnTo>
                  <a:lnTo>
                    <a:pt x="1060" y="639"/>
                  </a:lnTo>
                  <a:lnTo>
                    <a:pt x="1060" y="636"/>
                  </a:lnTo>
                  <a:lnTo>
                    <a:pt x="1060" y="634"/>
                  </a:lnTo>
                  <a:lnTo>
                    <a:pt x="1063" y="634"/>
                  </a:lnTo>
                  <a:lnTo>
                    <a:pt x="1060" y="634"/>
                  </a:lnTo>
                  <a:lnTo>
                    <a:pt x="1063" y="634"/>
                  </a:lnTo>
                  <a:lnTo>
                    <a:pt x="1063" y="632"/>
                  </a:lnTo>
                  <a:lnTo>
                    <a:pt x="1060" y="632"/>
                  </a:lnTo>
                  <a:lnTo>
                    <a:pt x="1060" y="634"/>
                  </a:lnTo>
                  <a:lnTo>
                    <a:pt x="1058" y="636"/>
                  </a:lnTo>
                  <a:lnTo>
                    <a:pt x="1058" y="634"/>
                  </a:lnTo>
                  <a:lnTo>
                    <a:pt x="1056" y="634"/>
                  </a:lnTo>
                  <a:lnTo>
                    <a:pt x="1056" y="632"/>
                  </a:lnTo>
                  <a:lnTo>
                    <a:pt x="1053" y="632"/>
                  </a:lnTo>
                  <a:lnTo>
                    <a:pt x="1053" y="629"/>
                  </a:lnTo>
                  <a:lnTo>
                    <a:pt x="1053" y="632"/>
                  </a:lnTo>
                  <a:lnTo>
                    <a:pt x="1056" y="632"/>
                  </a:lnTo>
                  <a:lnTo>
                    <a:pt x="1053" y="629"/>
                  </a:lnTo>
                  <a:lnTo>
                    <a:pt x="1056" y="627"/>
                  </a:lnTo>
                  <a:lnTo>
                    <a:pt x="1056" y="629"/>
                  </a:lnTo>
                  <a:lnTo>
                    <a:pt x="1056" y="627"/>
                  </a:lnTo>
                  <a:lnTo>
                    <a:pt x="1058" y="627"/>
                  </a:lnTo>
                  <a:lnTo>
                    <a:pt x="1058" y="625"/>
                  </a:lnTo>
                  <a:lnTo>
                    <a:pt x="1060" y="625"/>
                  </a:lnTo>
                  <a:lnTo>
                    <a:pt x="1063" y="625"/>
                  </a:lnTo>
                  <a:lnTo>
                    <a:pt x="1063" y="627"/>
                  </a:lnTo>
                  <a:lnTo>
                    <a:pt x="1063" y="625"/>
                  </a:lnTo>
                  <a:lnTo>
                    <a:pt x="1065" y="625"/>
                  </a:lnTo>
                  <a:lnTo>
                    <a:pt x="1063" y="625"/>
                  </a:lnTo>
                  <a:lnTo>
                    <a:pt x="1063" y="622"/>
                  </a:lnTo>
                  <a:lnTo>
                    <a:pt x="1065" y="622"/>
                  </a:lnTo>
                  <a:lnTo>
                    <a:pt x="1065" y="625"/>
                  </a:lnTo>
                  <a:lnTo>
                    <a:pt x="1068" y="625"/>
                  </a:lnTo>
                  <a:lnTo>
                    <a:pt x="1068" y="627"/>
                  </a:lnTo>
                  <a:lnTo>
                    <a:pt x="1065" y="627"/>
                  </a:lnTo>
                  <a:lnTo>
                    <a:pt x="1068" y="627"/>
                  </a:lnTo>
                  <a:lnTo>
                    <a:pt x="1068" y="625"/>
                  </a:lnTo>
                  <a:lnTo>
                    <a:pt x="1070" y="625"/>
                  </a:lnTo>
                  <a:lnTo>
                    <a:pt x="1068" y="625"/>
                  </a:lnTo>
                  <a:lnTo>
                    <a:pt x="1068" y="622"/>
                  </a:lnTo>
                  <a:lnTo>
                    <a:pt x="1070" y="622"/>
                  </a:lnTo>
                  <a:lnTo>
                    <a:pt x="1070" y="625"/>
                  </a:lnTo>
                  <a:lnTo>
                    <a:pt x="1070" y="622"/>
                  </a:lnTo>
                  <a:lnTo>
                    <a:pt x="1072" y="625"/>
                  </a:lnTo>
                  <a:lnTo>
                    <a:pt x="1072" y="622"/>
                  </a:lnTo>
                  <a:lnTo>
                    <a:pt x="1070" y="622"/>
                  </a:lnTo>
                  <a:lnTo>
                    <a:pt x="1072" y="622"/>
                  </a:lnTo>
                  <a:lnTo>
                    <a:pt x="1075" y="622"/>
                  </a:lnTo>
                  <a:lnTo>
                    <a:pt x="1075" y="625"/>
                  </a:lnTo>
                  <a:lnTo>
                    <a:pt x="1075" y="622"/>
                  </a:lnTo>
                  <a:lnTo>
                    <a:pt x="1072" y="622"/>
                  </a:lnTo>
                  <a:lnTo>
                    <a:pt x="1075" y="622"/>
                  </a:lnTo>
                  <a:lnTo>
                    <a:pt x="1075" y="620"/>
                  </a:lnTo>
                  <a:lnTo>
                    <a:pt x="1072" y="620"/>
                  </a:lnTo>
                  <a:lnTo>
                    <a:pt x="1075" y="620"/>
                  </a:lnTo>
                  <a:lnTo>
                    <a:pt x="1072" y="620"/>
                  </a:lnTo>
                  <a:lnTo>
                    <a:pt x="1070" y="620"/>
                  </a:lnTo>
                  <a:lnTo>
                    <a:pt x="1072" y="620"/>
                  </a:lnTo>
                  <a:lnTo>
                    <a:pt x="1070" y="620"/>
                  </a:lnTo>
                  <a:lnTo>
                    <a:pt x="1070" y="617"/>
                  </a:lnTo>
                  <a:lnTo>
                    <a:pt x="1072" y="617"/>
                  </a:lnTo>
                  <a:close/>
                  <a:moveTo>
                    <a:pt x="1082" y="610"/>
                  </a:moveTo>
                  <a:lnTo>
                    <a:pt x="1084" y="610"/>
                  </a:lnTo>
                  <a:lnTo>
                    <a:pt x="1084" y="613"/>
                  </a:lnTo>
                  <a:lnTo>
                    <a:pt x="1087" y="613"/>
                  </a:lnTo>
                  <a:lnTo>
                    <a:pt x="1084" y="613"/>
                  </a:lnTo>
                  <a:lnTo>
                    <a:pt x="1084" y="615"/>
                  </a:lnTo>
                  <a:lnTo>
                    <a:pt x="1084" y="613"/>
                  </a:lnTo>
                  <a:lnTo>
                    <a:pt x="1087" y="613"/>
                  </a:lnTo>
                  <a:lnTo>
                    <a:pt x="1089" y="613"/>
                  </a:lnTo>
                  <a:lnTo>
                    <a:pt x="1091" y="613"/>
                  </a:lnTo>
                  <a:lnTo>
                    <a:pt x="1091" y="615"/>
                  </a:lnTo>
                  <a:lnTo>
                    <a:pt x="1094" y="615"/>
                  </a:lnTo>
                  <a:lnTo>
                    <a:pt x="1094" y="617"/>
                  </a:lnTo>
                  <a:lnTo>
                    <a:pt x="1096" y="617"/>
                  </a:lnTo>
                  <a:lnTo>
                    <a:pt x="1094" y="617"/>
                  </a:lnTo>
                  <a:lnTo>
                    <a:pt x="1096" y="617"/>
                  </a:lnTo>
                  <a:lnTo>
                    <a:pt x="1096" y="620"/>
                  </a:lnTo>
                  <a:lnTo>
                    <a:pt x="1094" y="620"/>
                  </a:lnTo>
                  <a:lnTo>
                    <a:pt x="1094" y="622"/>
                  </a:lnTo>
                  <a:lnTo>
                    <a:pt x="1091" y="622"/>
                  </a:lnTo>
                  <a:lnTo>
                    <a:pt x="1091" y="625"/>
                  </a:lnTo>
                  <a:lnTo>
                    <a:pt x="1089" y="625"/>
                  </a:lnTo>
                  <a:lnTo>
                    <a:pt x="1087" y="625"/>
                  </a:lnTo>
                  <a:lnTo>
                    <a:pt x="1084" y="625"/>
                  </a:lnTo>
                  <a:lnTo>
                    <a:pt x="1082" y="625"/>
                  </a:lnTo>
                  <a:lnTo>
                    <a:pt x="1082" y="622"/>
                  </a:lnTo>
                  <a:lnTo>
                    <a:pt x="1082" y="620"/>
                  </a:lnTo>
                  <a:lnTo>
                    <a:pt x="1079" y="620"/>
                  </a:lnTo>
                  <a:lnTo>
                    <a:pt x="1077" y="620"/>
                  </a:lnTo>
                  <a:lnTo>
                    <a:pt x="1079" y="620"/>
                  </a:lnTo>
                  <a:lnTo>
                    <a:pt x="1079" y="617"/>
                  </a:lnTo>
                  <a:lnTo>
                    <a:pt x="1082" y="615"/>
                  </a:lnTo>
                  <a:lnTo>
                    <a:pt x="1079" y="615"/>
                  </a:lnTo>
                  <a:lnTo>
                    <a:pt x="1079" y="613"/>
                  </a:lnTo>
                  <a:lnTo>
                    <a:pt x="1079" y="610"/>
                  </a:lnTo>
                  <a:lnTo>
                    <a:pt x="1082" y="610"/>
                  </a:lnTo>
                  <a:close/>
                  <a:moveTo>
                    <a:pt x="38" y="587"/>
                  </a:moveTo>
                  <a:lnTo>
                    <a:pt x="38" y="589"/>
                  </a:lnTo>
                  <a:lnTo>
                    <a:pt x="35" y="589"/>
                  </a:lnTo>
                  <a:lnTo>
                    <a:pt x="35" y="591"/>
                  </a:lnTo>
                  <a:lnTo>
                    <a:pt x="35" y="594"/>
                  </a:lnTo>
                  <a:lnTo>
                    <a:pt x="35" y="596"/>
                  </a:lnTo>
                  <a:lnTo>
                    <a:pt x="33" y="596"/>
                  </a:lnTo>
                  <a:lnTo>
                    <a:pt x="31" y="596"/>
                  </a:lnTo>
                  <a:lnTo>
                    <a:pt x="28" y="596"/>
                  </a:lnTo>
                  <a:lnTo>
                    <a:pt x="26" y="596"/>
                  </a:lnTo>
                  <a:lnTo>
                    <a:pt x="24" y="596"/>
                  </a:lnTo>
                  <a:lnTo>
                    <a:pt x="24" y="598"/>
                  </a:lnTo>
                  <a:lnTo>
                    <a:pt x="24" y="596"/>
                  </a:lnTo>
                  <a:lnTo>
                    <a:pt x="21" y="598"/>
                  </a:lnTo>
                  <a:lnTo>
                    <a:pt x="19" y="598"/>
                  </a:lnTo>
                  <a:lnTo>
                    <a:pt x="16" y="598"/>
                  </a:lnTo>
                  <a:lnTo>
                    <a:pt x="14" y="598"/>
                  </a:lnTo>
                  <a:lnTo>
                    <a:pt x="12" y="601"/>
                  </a:lnTo>
                  <a:lnTo>
                    <a:pt x="12" y="603"/>
                  </a:lnTo>
                  <a:lnTo>
                    <a:pt x="9" y="603"/>
                  </a:lnTo>
                  <a:lnTo>
                    <a:pt x="7" y="603"/>
                  </a:lnTo>
                  <a:lnTo>
                    <a:pt x="7" y="606"/>
                  </a:lnTo>
                  <a:lnTo>
                    <a:pt x="5" y="606"/>
                  </a:lnTo>
                  <a:lnTo>
                    <a:pt x="2" y="606"/>
                  </a:lnTo>
                  <a:lnTo>
                    <a:pt x="0" y="603"/>
                  </a:lnTo>
                  <a:lnTo>
                    <a:pt x="2" y="603"/>
                  </a:lnTo>
                  <a:lnTo>
                    <a:pt x="5" y="603"/>
                  </a:lnTo>
                  <a:lnTo>
                    <a:pt x="5" y="601"/>
                  </a:lnTo>
                  <a:lnTo>
                    <a:pt x="7" y="601"/>
                  </a:lnTo>
                  <a:lnTo>
                    <a:pt x="7" y="598"/>
                  </a:lnTo>
                  <a:lnTo>
                    <a:pt x="9" y="598"/>
                  </a:lnTo>
                  <a:lnTo>
                    <a:pt x="12" y="598"/>
                  </a:lnTo>
                  <a:lnTo>
                    <a:pt x="14" y="598"/>
                  </a:lnTo>
                  <a:lnTo>
                    <a:pt x="14" y="596"/>
                  </a:lnTo>
                  <a:lnTo>
                    <a:pt x="12" y="596"/>
                  </a:lnTo>
                  <a:lnTo>
                    <a:pt x="14" y="596"/>
                  </a:lnTo>
                  <a:lnTo>
                    <a:pt x="16" y="596"/>
                  </a:lnTo>
                  <a:lnTo>
                    <a:pt x="19" y="596"/>
                  </a:lnTo>
                  <a:lnTo>
                    <a:pt x="21" y="596"/>
                  </a:lnTo>
                  <a:lnTo>
                    <a:pt x="21" y="594"/>
                  </a:lnTo>
                  <a:lnTo>
                    <a:pt x="21" y="591"/>
                  </a:lnTo>
                  <a:lnTo>
                    <a:pt x="24" y="591"/>
                  </a:lnTo>
                  <a:lnTo>
                    <a:pt x="24" y="589"/>
                  </a:lnTo>
                  <a:lnTo>
                    <a:pt x="26" y="589"/>
                  </a:lnTo>
                  <a:lnTo>
                    <a:pt x="28" y="589"/>
                  </a:lnTo>
                  <a:lnTo>
                    <a:pt x="28" y="587"/>
                  </a:lnTo>
                  <a:lnTo>
                    <a:pt x="31" y="587"/>
                  </a:lnTo>
                  <a:lnTo>
                    <a:pt x="33" y="587"/>
                  </a:lnTo>
                  <a:lnTo>
                    <a:pt x="35" y="587"/>
                  </a:lnTo>
                  <a:lnTo>
                    <a:pt x="38" y="587"/>
                  </a:lnTo>
                  <a:close/>
                  <a:moveTo>
                    <a:pt x="1146" y="587"/>
                  </a:moveTo>
                  <a:lnTo>
                    <a:pt x="1148" y="587"/>
                  </a:lnTo>
                  <a:lnTo>
                    <a:pt x="1151" y="587"/>
                  </a:lnTo>
                  <a:lnTo>
                    <a:pt x="1151" y="584"/>
                  </a:lnTo>
                  <a:lnTo>
                    <a:pt x="1151" y="587"/>
                  </a:lnTo>
                  <a:lnTo>
                    <a:pt x="1151" y="584"/>
                  </a:lnTo>
                  <a:lnTo>
                    <a:pt x="1151" y="587"/>
                  </a:lnTo>
                  <a:lnTo>
                    <a:pt x="1151" y="589"/>
                  </a:lnTo>
                  <a:lnTo>
                    <a:pt x="1148" y="589"/>
                  </a:lnTo>
                  <a:lnTo>
                    <a:pt x="1151" y="589"/>
                  </a:lnTo>
                  <a:lnTo>
                    <a:pt x="1153" y="589"/>
                  </a:lnTo>
                  <a:lnTo>
                    <a:pt x="1153" y="587"/>
                  </a:lnTo>
                  <a:lnTo>
                    <a:pt x="1153" y="589"/>
                  </a:lnTo>
                  <a:lnTo>
                    <a:pt x="1151" y="589"/>
                  </a:lnTo>
                  <a:lnTo>
                    <a:pt x="1153" y="589"/>
                  </a:lnTo>
                  <a:lnTo>
                    <a:pt x="1155" y="589"/>
                  </a:lnTo>
                  <a:lnTo>
                    <a:pt x="1155" y="587"/>
                  </a:lnTo>
                  <a:lnTo>
                    <a:pt x="1155" y="589"/>
                  </a:lnTo>
                  <a:lnTo>
                    <a:pt x="1155" y="587"/>
                  </a:lnTo>
                  <a:lnTo>
                    <a:pt x="1158" y="587"/>
                  </a:lnTo>
                  <a:lnTo>
                    <a:pt x="1158" y="589"/>
                  </a:lnTo>
                  <a:lnTo>
                    <a:pt x="1158" y="591"/>
                  </a:lnTo>
                  <a:lnTo>
                    <a:pt x="1155" y="591"/>
                  </a:lnTo>
                  <a:lnTo>
                    <a:pt x="1153" y="591"/>
                  </a:lnTo>
                  <a:lnTo>
                    <a:pt x="1153" y="594"/>
                  </a:lnTo>
                  <a:lnTo>
                    <a:pt x="1155" y="594"/>
                  </a:lnTo>
                  <a:lnTo>
                    <a:pt x="1153" y="594"/>
                  </a:lnTo>
                  <a:lnTo>
                    <a:pt x="1153" y="596"/>
                  </a:lnTo>
                  <a:lnTo>
                    <a:pt x="1155" y="596"/>
                  </a:lnTo>
                  <a:lnTo>
                    <a:pt x="1158" y="596"/>
                  </a:lnTo>
                  <a:lnTo>
                    <a:pt x="1158" y="594"/>
                  </a:lnTo>
                  <a:lnTo>
                    <a:pt x="1158" y="596"/>
                  </a:lnTo>
                  <a:lnTo>
                    <a:pt x="1160" y="596"/>
                  </a:lnTo>
                  <a:lnTo>
                    <a:pt x="1160" y="594"/>
                  </a:lnTo>
                  <a:lnTo>
                    <a:pt x="1162" y="594"/>
                  </a:lnTo>
                  <a:lnTo>
                    <a:pt x="1162" y="591"/>
                  </a:lnTo>
                  <a:lnTo>
                    <a:pt x="1165" y="591"/>
                  </a:lnTo>
                  <a:lnTo>
                    <a:pt x="1165" y="594"/>
                  </a:lnTo>
                  <a:lnTo>
                    <a:pt x="1162" y="594"/>
                  </a:lnTo>
                  <a:lnTo>
                    <a:pt x="1162" y="596"/>
                  </a:lnTo>
                  <a:lnTo>
                    <a:pt x="1160" y="596"/>
                  </a:lnTo>
                  <a:lnTo>
                    <a:pt x="1162" y="596"/>
                  </a:lnTo>
                  <a:lnTo>
                    <a:pt x="1160" y="596"/>
                  </a:lnTo>
                  <a:lnTo>
                    <a:pt x="1158" y="596"/>
                  </a:lnTo>
                  <a:lnTo>
                    <a:pt x="1158" y="598"/>
                  </a:lnTo>
                  <a:lnTo>
                    <a:pt x="1158" y="596"/>
                  </a:lnTo>
                  <a:lnTo>
                    <a:pt x="1155" y="596"/>
                  </a:lnTo>
                  <a:lnTo>
                    <a:pt x="1155" y="598"/>
                  </a:lnTo>
                  <a:lnTo>
                    <a:pt x="1153" y="598"/>
                  </a:lnTo>
                  <a:lnTo>
                    <a:pt x="1153" y="596"/>
                  </a:lnTo>
                  <a:lnTo>
                    <a:pt x="1151" y="596"/>
                  </a:lnTo>
                  <a:lnTo>
                    <a:pt x="1151" y="598"/>
                  </a:lnTo>
                  <a:lnTo>
                    <a:pt x="1151" y="596"/>
                  </a:lnTo>
                  <a:lnTo>
                    <a:pt x="1148" y="596"/>
                  </a:lnTo>
                  <a:lnTo>
                    <a:pt x="1148" y="598"/>
                  </a:lnTo>
                  <a:lnTo>
                    <a:pt x="1146" y="598"/>
                  </a:lnTo>
                  <a:lnTo>
                    <a:pt x="1148" y="598"/>
                  </a:lnTo>
                  <a:lnTo>
                    <a:pt x="1146" y="598"/>
                  </a:lnTo>
                  <a:lnTo>
                    <a:pt x="1144" y="598"/>
                  </a:lnTo>
                  <a:lnTo>
                    <a:pt x="1146" y="598"/>
                  </a:lnTo>
                  <a:lnTo>
                    <a:pt x="1144" y="601"/>
                  </a:lnTo>
                  <a:lnTo>
                    <a:pt x="1141" y="598"/>
                  </a:lnTo>
                  <a:lnTo>
                    <a:pt x="1139" y="598"/>
                  </a:lnTo>
                  <a:lnTo>
                    <a:pt x="1141" y="596"/>
                  </a:lnTo>
                  <a:lnTo>
                    <a:pt x="1139" y="596"/>
                  </a:lnTo>
                  <a:lnTo>
                    <a:pt x="1136" y="596"/>
                  </a:lnTo>
                  <a:lnTo>
                    <a:pt x="1139" y="596"/>
                  </a:lnTo>
                  <a:lnTo>
                    <a:pt x="1141" y="596"/>
                  </a:lnTo>
                  <a:lnTo>
                    <a:pt x="1141" y="594"/>
                  </a:lnTo>
                  <a:lnTo>
                    <a:pt x="1144" y="594"/>
                  </a:lnTo>
                  <a:lnTo>
                    <a:pt x="1141" y="594"/>
                  </a:lnTo>
                  <a:lnTo>
                    <a:pt x="1144" y="594"/>
                  </a:lnTo>
                  <a:lnTo>
                    <a:pt x="1141" y="594"/>
                  </a:lnTo>
                  <a:lnTo>
                    <a:pt x="1139" y="594"/>
                  </a:lnTo>
                  <a:lnTo>
                    <a:pt x="1136" y="594"/>
                  </a:lnTo>
                  <a:lnTo>
                    <a:pt x="1134" y="594"/>
                  </a:lnTo>
                  <a:lnTo>
                    <a:pt x="1132" y="594"/>
                  </a:lnTo>
                  <a:lnTo>
                    <a:pt x="1134" y="594"/>
                  </a:lnTo>
                  <a:lnTo>
                    <a:pt x="1132" y="594"/>
                  </a:lnTo>
                  <a:lnTo>
                    <a:pt x="1134" y="591"/>
                  </a:lnTo>
                  <a:lnTo>
                    <a:pt x="1134" y="589"/>
                  </a:lnTo>
                  <a:lnTo>
                    <a:pt x="1136" y="589"/>
                  </a:lnTo>
                  <a:lnTo>
                    <a:pt x="1134" y="589"/>
                  </a:lnTo>
                  <a:lnTo>
                    <a:pt x="1136" y="589"/>
                  </a:lnTo>
                  <a:lnTo>
                    <a:pt x="1139" y="589"/>
                  </a:lnTo>
                  <a:lnTo>
                    <a:pt x="1136" y="589"/>
                  </a:lnTo>
                  <a:lnTo>
                    <a:pt x="1139" y="589"/>
                  </a:lnTo>
                  <a:lnTo>
                    <a:pt x="1136" y="589"/>
                  </a:lnTo>
                  <a:lnTo>
                    <a:pt x="1139" y="589"/>
                  </a:lnTo>
                  <a:lnTo>
                    <a:pt x="1139" y="591"/>
                  </a:lnTo>
                  <a:lnTo>
                    <a:pt x="1139" y="589"/>
                  </a:lnTo>
                  <a:lnTo>
                    <a:pt x="1139" y="591"/>
                  </a:lnTo>
                  <a:lnTo>
                    <a:pt x="1139" y="589"/>
                  </a:lnTo>
                  <a:lnTo>
                    <a:pt x="1141" y="589"/>
                  </a:lnTo>
                  <a:lnTo>
                    <a:pt x="1144" y="589"/>
                  </a:lnTo>
                  <a:lnTo>
                    <a:pt x="1146" y="589"/>
                  </a:lnTo>
                  <a:lnTo>
                    <a:pt x="1146" y="591"/>
                  </a:lnTo>
                  <a:lnTo>
                    <a:pt x="1148" y="591"/>
                  </a:lnTo>
                  <a:lnTo>
                    <a:pt x="1148" y="589"/>
                  </a:lnTo>
                  <a:lnTo>
                    <a:pt x="1146" y="589"/>
                  </a:lnTo>
                  <a:lnTo>
                    <a:pt x="1144" y="589"/>
                  </a:lnTo>
                  <a:lnTo>
                    <a:pt x="1144" y="587"/>
                  </a:lnTo>
                  <a:lnTo>
                    <a:pt x="1141" y="587"/>
                  </a:lnTo>
                  <a:lnTo>
                    <a:pt x="1144" y="587"/>
                  </a:lnTo>
                  <a:lnTo>
                    <a:pt x="1146" y="587"/>
                  </a:lnTo>
                  <a:lnTo>
                    <a:pt x="1146" y="584"/>
                  </a:lnTo>
                  <a:lnTo>
                    <a:pt x="1146" y="587"/>
                  </a:lnTo>
                  <a:lnTo>
                    <a:pt x="1148" y="587"/>
                  </a:lnTo>
                  <a:lnTo>
                    <a:pt x="1146" y="587"/>
                  </a:lnTo>
                  <a:close/>
                  <a:moveTo>
                    <a:pt x="932" y="380"/>
                  </a:moveTo>
                  <a:lnTo>
                    <a:pt x="935" y="382"/>
                  </a:lnTo>
                  <a:lnTo>
                    <a:pt x="935" y="385"/>
                  </a:lnTo>
                  <a:lnTo>
                    <a:pt x="935" y="387"/>
                  </a:lnTo>
                  <a:lnTo>
                    <a:pt x="932" y="387"/>
                  </a:lnTo>
                  <a:lnTo>
                    <a:pt x="932" y="389"/>
                  </a:lnTo>
                  <a:lnTo>
                    <a:pt x="930" y="389"/>
                  </a:lnTo>
                  <a:lnTo>
                    <a:pt x="928" y="389"/>
                  </a:lnTo>
                  <a:lnTo>
                    <a:pt x="925" y="387"/>
                  </a:lnTo>
                  <a:lnTo>
                    <a:pt x="923" y="387"/>
                  </a:lnTo>
                  <a:lnTo>
                    <a:pt x="923" y="385"/>
                  </a:lnTo>
                  <a:lnTo>
                    <a:pt x="920" y="385"/>
                  </a:lnTo>
                  <a:lnTo>
                    <a:pt x="920" y="382"/>
                  </a:lnTo>
                  <a:lnTo>
                    <a:pt x="918" y="382"/>
                  </a:lnTo>
                  <a:lnTo>
                    <a:pt x="920" y="382"/>
                  </a:lnTo>
                  <a:lnTo>
                    <a:pt x="920" y="380"/>
                  </a:lnTo>
                  <a:lnTo>
                    <a:pt x="923" y="380"/>
                  </a:lnTo>
                  <a:lnTo>
                    <a:pt x="925" y="380"/>
                  </a:lnTo>
                  <a:lnTo>
                    <a:pt x="928" y="380"/>
                  </a:lnTo>
                  <a:lnTo>
                    <a:pt x="930" y="380"/>
                  </a:lnTo>
                  <a:lnTo>
                    <a:pt x="932" y="380"/>
                  </a:lnTo>
                  <a:close/>
                  <a:moveTo>
                    <a:pt x="996" y="116"/>
                  </a:moveTo>
                  <a:lnTo>
                    <a:pt x="996" y="114"/>
                  </a:lnTo>
                  <a:lnTo>
                    <a:pt x="999" y="114"/>
                  </a:lnTo>
                  <a:lnTo>
                    <a:pt x="996" y="114"/>
                  </a:lnTo>
                  <a:lnTo>
                    <a:pt x="999" y="114"/>
                  </a:lnTo>
                  <a:lnTo>
                    <a:pt x="999" y="111"/>
                  </a:lnTo>
                  <a:lnTo>
                    <a:pt x="1001" y="114"/>
                  </a:lnTo>
                  <a:lnTo>
                    <a:pt x="1004" y="114"/>
                  </a:lnTo>
                  <a:lnTo>
                    <a:pt x="1006" y="116"/>
                  </a:lnTo>
                  <a:lnTo>
                    <a:pt x="1008" y="119"/>
                  </a:lnTo>
                  <a:lnTo>
                    <a:pt x="1011" y="119"/>
                  </a:lnTo>
                  <a:lnTo>
                    <a:pt x="1013" y="119"/>
                  </a:lnTo>
                  <a:lnTo>
                    <a:pt x="1013" y="116"/>
                  </a:lnTo>
                  <a:lnTo>
                    <a:pt x="1015" y="116"/>
                  </a:lnTo>
                  <a:lnTo>
                    <a:pt x="1015" y="119"/>
                  </a:lnTo>
                  <a:lnTo>
                    <a:pt x="1018" y="119"/>
                  </a:lnTo>
                  <a:lnTo>
                    <a:pt x="1018" y="116"/>
                  </a:lnTo>
                  <a:lnTo>
                    <a:pt x="1015" y="116"/>
                  </a:lnTo>
                  <a:lnTo>
                    <a:pt x="1018" y="116"/>
                  </a:lnTo>
                  <a:lnTo>
                    <a:pt x="1015" y="116"/>
                  </a:lnTo>
                  <a:lnTo>
                    <a:pt x="1018" y="116"/>
                  </a:lnTo>
                  <a:lnTo>
                    <a:pt x="1020" y="116"/>
                  </a:lnTo>
                  <a:lnTo>
                    <a:pt x="1023" y="116"/>
                  </a:lnTo>
                  <a:lnTo>
                    <a:pt x="1025" y="116"/>
                  </a:lnTo>
                  <a:lnTo>
                    <a:pt x="1025" y="119"/>
                  </a:lnTo>
                  <a:lnTo>
                    <a:pt x="1025" y="121"/>
                  </a:lnTo>
                  <a:lnTo>
                    <a:pt x="1027" y="121"/>
                  </a:lnTo>
                  <a:lnTo>
                    <a:pt x="1030" y="123"/>
                  </a:lnTo>
                  <a:lnTo>
                    <a:pt x="1030" y="126"/>
                  </a:lnTo>
                  <a:lnTo>
                    <a:pt x="1030" y="128"/>
                  </a:lnTo>
                  <a:lnTo>
                    <a:pt x="1032" y="128"/>
                  </a:lnTo>
                  <a:lnTo>
                    <a:pt x="1030" y="128"/>
                  </a:lnTo>
                  <a:lnTo>
                    <a:pt x="1032" y="128"/>
                  </a:lnTo>
                  <a:lnTo>
                    <a:pt x="1032" y="130"/>
                  </a:lnTo>
                  <a:lnTo>
                    <a:pt x="1032" y="133"/>
                  </a:lnTo>
                  <a:lnTo>
                    <a:pt x="1030" y="135"/>
                  </a:lnTo>
                  <a:lnTo>
                    <a:pt x="1030" y="138"/>
                  </a:lnTo>
                  <a:lnTo>
                    <a:pt x="1027" y="138"/>
                  </a:lnTo>
                  <a:lnTo>
                    <a:pt x="1023" y="138"/>
                  </a:lnTo>
                  <a:lnTo>
                    <a:pt x="1020" y="138"/>
                  </a:lnTo>
                  <a:lnTo>
                    <a:pt x="1018" y="138"/>
                  </a:lnTo>
                  <a:lnTo>
                    <a:pt x="1015" y="138"/>
                  </a:lnTo>
                  <a:lnTo>
                    <a:pt x="1013" y="138"/>
                  </a:lnTo>
                  <a:lnTo>
                    <a:pt x="1011" y="138"/>
                  </a:lnTo>
                  <a:lnTo>
                    <a:pt x="1008" y="138"/>
                  </a:lnTo>
                  <a:lnTo>
                    <a:pt x="1006" y="140"/>
                  </a:lnTo>
                  <a:lnTo>
                    <a:pt x="1004" y="140"/>
                  </a:lnTo>
                  <a:lnTo>
                    <a:pt x="999" y="140"/>
                  </a:lnTo>
                  <a:lnTo>
                    <a:pt x="996" y="140"/>
                  </a:lnTo>
                  <a:lnTo>
                    <a:pt x="994" y="140"/>
                  </a:lnTo>
                  <a:lnTo>
                    <a:pt x="994" y="142"/>
                  </a:lnTo>
                  <a:lnTo>
                    <a:pt x="992" y="142"/>
                  </a:lnTo>
                  <a:lnTo>
                    <a:pt x="992" y="140"/>
                  </a:lnTo>
                  <a:lnTo>
                    <a:pt x="989" y="140"/>
                  </a:lnTo>
                  <a:lnTo>
                    <a:pt x="987" y="140"/>
                  </a:lnTo>
                  <a:lnTo>
                    <a:pt x="985" y="140"/>
                  </a:lnTo>
                  <a:lnTo>
                    <a:pt x="982" y="140"/>
                  </a:lnTo>
                  <a:lnTo>
                    <a:pt x="985" y="140"/>
                  </a:lnTo>
                  <a:lnTo>
                    <a:pt x="985" y="138"/>
                  </a:lnTo>
                  <a:lnTo>
                    <a:pt x="982" y="138"/>
                  </a:lnTo>
                  <a:lnTo>
                    <a:pt x="985" y="138"/>
                  </a:lnTo>
                  <a:lnTo>
                    <a:pt x="985" y="135"/>
                  </a:lnTo>
                  <a:lnTo>
                    <a:pt x="982" y="135"/>
                  </a:lnTo>
                  <a:lnTo>
                    <a:pt x="980" y="135"/>
                  </a:lnTo>
                  <a:lnTo>
                    <a:pt x="980" y="133"/>
                  </a:lnTo>
                  <a:lnTo>
                    <a:pt x="980" y="135"/>
                  </a:lnTo>
                  <a:lnTo>
                    <a:pt x="980" y="133"/>
                  </a:lnTo>
                  <a:lnTo>
                    <a:pt x="982" y="133"/>
                  </a:lnTo>
                  <a:lnTo>
                    <a:pt x="985" y="133"/>
                  </a:lnTo>
                  <a:lnTo>
                    <a:pt x="987" y="133"/>
                  </a:lnTo>
                  <a:lnTo>
                    <a:pt x="985" y="133"/>
                  </a:lnTo>
                  <a:lnTo>
                    <a:pt x="982" y="133"/>
                  </a:lnTo>
                  <a:lnTo>
                    <a:pt x="985" y="133"/>
                  </a:lnTo>
                  <a:lnTo>
                    <a:pt x="982" y="133"/>
                  </a:lnTo>
                  <a:lnTo>
                    <a:pt x="980" y="133"/>
                  </a:lnTo>
                  <a:lnTo>
                    <a:pt x="982" y="133"/>
                  </a:lnTo>
                  <a:lnTo>
                    <a:pt x="982" y="130"/>
                  </a:lnTo>
                  <a:lnTo>
                    <a:pt x="982" y="128"/>
                  </a:lnTo>
                  <a:lnTo>
                    <a:pt x="980" y="128"/>
                  </a:lnTo>
                  <a:lnTo>
                    <a:pt x="980" y="126"/>
                  </a:lnTo>
                  <a:lnTo>
                    <a:pt x="977" y="126"/>
                  </a:lnTo>
                  <a:lnTo>
                    <a:pt x="975" y="126"/>
                  </a:lnTo>
                  <a:lnTo>
                    <a:pt x="973" y="123"/>
                  </a:lnTo>
                  <a:lnTo>
                    <a:pt x="970" y="123"/>
                  </a:lnTo>
                  <a:lnTo>
                    <a:pt x="968" y="123"/>
                  </a:lnTo>
                  <a:lnTo>
                    <a:pt x="966" y="123"/>
                  </a:lnTo>
                  <a:lnTo>
                    <a:pt x="966" y="121"/>
                  </a:lnTo>
                  <a:lnTo>
                    <a:pt x="968" y="121"/>
                  </a:lnTo>
                  <a:lnTo>
                    <a:pt x="973" y="121"/>
                  </a:lnTo>
                  <a:lnTo>
                    <a:pt x="975" y="121"/>
                  </a:lnTo>
                  <a:lnTo>
                    <a:pt x="977" y="121"/>
                  </a:lnTo>
                  <a:lnTo>
                    <a:pt x="977" y="119"/>
                  </a:lnTo>
                  <a:lnTo>
                    <a:pt x="977" y="121"/>
                  </a:lnTo>
                  <a:lnTo>
                    <a:pt x="977" y="119"/>
                  </a:lnTo>
                  <a:lnTo>
                    <a:pt x="980" y="119"/>
                  </a:lnTo>
                  <a:lnTo>
                    <a:pt x="982" y="119"/>
                  </a:lnTo>
                  <a:lnTo>
                    <a:pt x="985" y="119"/>
                  </a:lnTo>
                  <a:lnTo>
                    <a:pt x="987" y="119"/>
                  </a:lnTo>
                  <a:lnTo>
                    <a:pt x="989" y="119"/>
                  </a:lnTo>
                  <a:lnTo>
                    <a:pt x="987" y="119"/>
                  </a:lnTo>
                  <a:lnTo>
                    <a:pt x="989" y="119"/>
                  </a:lnTo>
                  <a:lnTo>
                    <a:pt x="992" y="119"/>
                  </a:lnTo>
                  <a:lnTo>
                    <a:pt x="994" y="119"/>
                  </a:lnTo>
                  <a:lnTo>
                    <a:pt x="994" y="116"/>
                  </a:lnTo>
                  <a:lnTo>
                    <a:pt x="996" y="116"/>
                  </a:lnTo>
                  <a:close/>
                  <a:moveTo>
                    <a:pt x="1184" y="104"/>
                  </a:moveTo>
                  <a:lnTo>
                    <a:pt x="1186" y="107"/>
                  </a:lnTo>
                  <a:lnTo>
                    <a:pt x="1189" y="107"/>
                  </a:lnTo>
                  <a:lnTo>
                    <a:pt x="1191" y="107"/>
                  </a:lnTo>
                  <a:lnTo>
                    <a:pt x="1193" y="107"/>
                  </a:lnTo>
                  <a:lnTo>
                    <a:pt x="1191" y="107"/>
                  </a:lnTo>
                  <a:lnTo>
                    <a:pt x="1191" y="109"/>
                  </a:lnTo>
                  <a:lnTo>
                    <a:pt x="1189" y="111"/>
                  </a:lnTo>
                  <a:lnTo>
                    <a:pt x="1186" y="111"/>
                  </a:lnTo>
                  <a:lnTo>
                    <a:pt x="1184" y="111"/>
                  </a:lnTo>
                  <a:lnTo>
                    <a:pt x="1181" y="111"/>
                  </a:lnTo>
                  <a:lnTo>
                    <a:pt x="1181" y="109"/>
                  </a:lnTo>
                  <a:lnTo>
                    <a:pt x="1179" y="109"/>
                  </a:lnTo>
                  <a:lnTo>
                    <a:pt x="1177" y="109"/>
                  </a:lnTo>
                  <a:lnTo>
                    <a:pt x="1174" y="107"/>
                  </a:lnTo>
                  <a:lnTo>
                    <a:pt x="1172" y="104"/>
                  </a:lnTo>
                  <a:lnTo>
                    <a:pt x="1170" y="104"/>
                  </a:lnTo>
                  <a:lnTo>
                    <a:pt x="1170" y="102"/>
                  </a:lnTo>
                  <a:lnTo>
                    <a:pt x="1172" y="100"/>
                  </a:lnTo>
                  <a:lnTo>
                    <a:pt x="1174" y="100"/>
                  </a:lnTo>
                  <a:lnTo>
                    <a:pt x="1177" y="100"/>
                  </a:lnTo>
                  <a:lnTo>
                    <a:pt x="1179" y="100"/>
                  </a:lnTo>
                  <a:lnTo>
                    <a:pt x="1179" y="102"/>
                  </a:lnTo>
                  <a:lnTo>
                    <a:pt x="1181" y="104"/>
                  </a:lnTo>
                  <a:lnTo>
                    <a:pt x="1184" y="104"/>
                  </a:lnTo>
                  <a:close/>
                  <a:moveTo>
                    <a:pt x="648" y="95"/>
                  </a:moveTo>
                  <a:lnTo>
                    <a:pt x="650" y="95"/>
                  </a:lnTo>
                  <a:lnTo>
                    <a:pt x="652" y="95"/>
                  </a:lnTo>
                  <a:lnTo>
                    <a:pt x="652" y="97"/>
                  </a:lnTo>
                  <a:lnTo>
                    <a:pt x="655" y="97"/>
                  </a:lnTo>
                  <a:lnTo>
                    <a:pt x="657" y="97"/>
                  </a:lnTo>
                  <a:lnTo>
                    <a:pt x="659" y="97"/>
                  </a:lnTo>
                  <a:lnTo>
                    <a:pt x="659" y="100"/>
                  </a:lnTo>
                  <a:lnTo>
                    <a:pt x="662" y="100"/>
                  </a:lnTo>
                  <a:lnTo>
                    <a:pt x="662" y="102"/>
                  </a:lnTo>
                  <a:lnTo>
                    <a:pt x="662" y="100"/>
                  </a:lnTo>
                  <a:lnTo>
                    <a:pt x="659" y="100"/>
                  </a:lnTo>
                  <a:lnTo>
                    <a:pt x="662" y="100"/>
                  </a:lnTo>
                  <a:lnTo>
                    <a:pt x="659" y="100"/>
                  </a:lnTo>
                  <a:lnTo>
                    <a:pt x="662" y="100"/>
                  </a:lnTo>
                  <a:lnTo>
                    <a:pt x="662" y="102"/>
                  </a:lnTo>
                  <a:lnTo>
                    <a:pt x="659" y="102"/>
                  </a:lnTo>
                  <a:lnTo>
                    <a:pt x="659" y="104"/>
                  </a:lnTo>
                  <a:lnTo>
                    <a:pt x="662" y="104"/>
                  </a:lnTo>
                  <a:lnTo>
                    <a:pt x="664" y="104"/>
                  </a:lnTo>
                  <a:lnTo>
                    <a:pt x="662" y="104"/>
                  </a:lnTo>
                  <a:lnTo>
                    <a:pt x="662" y="102"/>
                  </a:lnTo>
                  <a:lnTo>
                    <a:pt x="664" y="104"/>
                  </a:lnTo>
                  <a:lnTo>
                    <a:pt x="667" y="104"/>
                  </a:lnTo>
                  <a:lnTo>
                    <a:pt x="669" y="107"/>
                  </a:lnTo>
                  <a:lnTo>
                    <a:pt x="667" y="107"/>
                  </a:lnTo>
                  <a:lnTo>
                    <a:pt x="664" y="109"/>
                  </a:lnTo>
                  <a:lnTo>
                    <a:pt x="664" y="107"/>
                  </a:lnTo>
                  <a:lnTo>
                    <a:pt x="664" y="109"/>
                  </a:lnTo>
                  <a:lnTo>
                    <a:pt x="664" y="111"/>
                  </a:lnTo>
                  <a:lnTo>
                    <a:pt x="667" y="111"/>
                  </a:lnTo>
                  <a:lnTo>
                    <a:pt x="669" y="111"/>
                  </a:lnTo>
                  <a:lnTo>
                    <a:pt x="667" y="111"/>
                  </a:lnTo>
                  <a:lnTo>
                    <a:pt x="667" y="114"/>
                  </a:lnTo>
                  <a:lnTo>
                    <a:pt x="669" y="114"/>
                  </a:lnTo>
                  <a:lnTo>
                    <a:pt x="671" y="114"/>
                  </a:lnTo>
                  <a:lnTo>
                    <a:pt x="669" y="116"/>
                  </a:lnTo>
                  <a:lnTo>
                    <a:pt x="671" y="116"/>
                  </a:lnTo>
                  <a:lnTo>
                    <a:pt x="674" y="119"/>
                  </a:lnTo>
                  <a:lnTo>
                    <a:pt x="671" y="119"/>
                  </a:lnTo>
                  <a:lnTo>
                    <a:pt x="669" y="119"/>
                  </a:lnTo>
                  <a:lnTo>
                    <a:pt x="671" y="119"/>
                  </a:lnTo>
                  <a:lnTo>
                    <a:pt x="674" y="119"/>
                  </a:lnTo>
                  <a:lnTo>
                    <a:pt x="676" y="119"/>
                  </a:lnTo>
                  <a:lnTo>
                    <a:pt x="678" y="119"/>
                  </a:lnTo>
                  <a:lnTo>
                    <a:pt x="676" y="119"/>
                  </a:lnTo>
                  <a:lnTo>
                    <a:pt x="678" y="121"/>
                  </a:lnTo>
                  <a:lnTo>
                    <a:pt x="681" y="123"/>
                  </a:lnTo>
                  <a:lnTo>
                    <a:pt x="683" y="123"/>
                  </a:lnTo>
                  <a:lnTo>
                    <a:pt x="683" y="126"/>
                  </a:lnTo>
                  <a:lnTo>
                    <a:pt x="686" y="126"/>
                  </a:lnTo>
                  <a:lnTo>
                    <a:pt x="688" y="126"/>
                  </a:lnTo>
                  <a:lnTo>
                    <a:pt x="690" y="126"/>
                  </a:lnTo>
                  <a:lnTo>
                    <a:pt x="693" y="126"/>
                  </a:lnTo>
                  <a:lnTo>
                    <a:pt x="690" y="126"/>
                  </a:lnTo>
                  <a:lnTo>
                    <a:pt x="690" y="128"/>
                  </a:lnTo>
                  <a:lnTo>
                    <a:pt x="693" y="128"/>
                  </a:lnTo>
                  <a:lnTo>
                    <a:pt x="693" y="130"/>
                  </a:lnTo>
                  <a:lnTo>
                    <a:pt x="695" y="133"/>
                  </a:lnTo>
                  <a:lnTo>
                    <a:pt x="695" y="135"/>
                  </a:lnTo>
                  <a:lnTo>
                    <a:pt x="697" y="135"/>
                  </a:lnTo>
                  <a:lnTo>
                    <a:pt x="697" y="138"/>
                  </a:lnTo>
                  <a:lnTo>
                    <a:pt x="700" y="138"/>
                  </a:lnTo>
                  <a:lnTo>
                    <a:pt x="700" y="140"/>
                  </a:lnTo>
                  <a:lnTo>
                    <a:pt x="700" y="142"/>
                  </a:lnTo>
                  <a:lnTo>
                    <a:pt x="700" y="140"/>
                  </a:lnTo>
                  <a:lnTo>
                    <a:pt x="697" y="140"/>
                  </a:lnTo>
                  <a:lnTo>
                    <a:pt x="695" y="140"/>
                  </a:lnTo>
                  <a:lnTo>
                    <a:pt x="693" y="140"/>
                  </a:lnTo>
                  <a:lnTo>
                    <a:pt x="690" y="140"/>
                  </a:lnTo>
                  <a:lnTo>
                    <a:pt x="690" y="138"/>
                  </a:lnTo>
                  <a:lnTo>
                    <a:pt x="688" y="138"/>
                  </a:lnTo>
                  <a:lnTo>
                    <a:pt x="690" y="138"/>
                  </a:lnTo>
                  <a:lnTo>
                    <a:pt x="690" y="135"/>
                  </a:lnTo>
                  <a:lnTo>
                    <a:pt x="688" y="135"/>
                  </a:lnTo>
                  <a:lnTo>
                    <a:pt x="688" y="133"/>
                  </a:lnTo>
                  <a:lnTo>
                    <a:pt x="686" y="133"/>
                  </a:lnTo>
                  <a:lnTo>
                    <a:pt x="683" y="133"/>
                  </a:lnTo>
                  <a:lnTo>
                    <a:pt x="683" y="130"/>
                  </a:lnTo>
                  <a:lnTo>
                    <a:pt x="681" y="130"/>
                  </a:lnTo>
                  <a:lnTo>
                    <a:pt x="681" y="128"/>
                  </a:lnTo>
                  <a:lnTo>
                    <a:pt x="678" y="128"/>
                  </a:lnTo>
                  <a:lnTo>
                    <a:pt x="676" y="128"/>
                  </a:lnTo>
                  <a:lnTo>
                    <a:pt x="676" y="126"/>
                  </a:lnTo>
                  <a:lnTo>
                    <a:pt x="674" y="126"/>
                  </a:lnTo>
                  <a:lnTo>
                    <a:pt x="671" y="126"/>
                  </a:lnTo>
                  <a:lnTo>
                    <a:pt x="669" y="126"/>
                  </a:lnTo>
                  <a:lnTo>
                    <a:pt x="671" y="126"/>
                  </a:lnTo>
                  <a:lnTo>
                    <a:pt x="671" y="123"/>
                  </a:lnTo>
                  <a:lnTo>
                    <a:pt x="669" y="123"/>
                  </a:lnTo>
                  <a:lnTo>
                    <a:pt x="669" y="126"/>
                  </a:lnTo>
                  <a:lnTo>
                    <a:pt x="667" y="126"/>
                  </a:lnTo>
                  <a:lnTo>
                    <a:pt x="664" y="126"/>
                  </a:lnTo>
                  <a:lnTo>
                    <a:pt x="664" y="123"/>
                  </a:lnTo>
                  <a:lnTo>
                    <a:pt x="664" y="121"/>
                  </a:lnTo>
                  <a:lnTo>
                    <a:pt x="662" y="121"/>
                  </a:lnTo>
                  <a:lnTo>
                    <a:pt x="662" y="119"/>
                  </a:lnTo>
                  <a:lnTo>
                    <a:pt x="659" y="116"/>
                  </a:lnTo>
                  <a:lnTo>
                    <a:pt x="659" y="114"/>
                  </a:lnTo>
                  <a:lnTo>
                    <a:pt x="657" y="114"/>
                  </a:lnTo>
                  <a:lnTo>
                    <a:pt x="657" y="111"/>
                  </a:lnTo>
                  <a:lnTo>
                    <a:pt x="655" y="111"/>
                  </a:lnTo>
                  <a:lnTo>
                    <a:pt x="655" y="109"/>
                  </a:lnTo>
                  <a:lnTo>
                    <a:pt x="652" y="109"/>
                  </a:lnTo>
                  <a:lnTo>
                    <a:pt x="655" y="109"/>
                  </a:lnTo>
                  <a:lnTo>
                    <a:pt x="652" y="109"/>
                  </a:lnTo>
                  <a:lnTo>
                    <a:pt x="652" y="107"/>
                  </a:lnTo>
                  <a:lnTo>
                    <a:pt x="650" y="107"/>
                  </a:lnTo>
                  <a:lnTo>
                    <a:pt x="650" y="104"/>
                  </a:lnTo>
                  <a:lnTo>
                    <a:pt x="648" y="104"/>
                  </a:lnTo>
                  <a:lnTo>
                    <a:pt x="645" y="104"/>
                  </a:lnTo>
                  <a:lnTo>
                    <a:pt x="645" y="102"/>
                  </a:lnTo>
                  <a:lnTo>
                    <a:pt x="648" y="102"/>
                  </a:lnTo>
                  <a:lnTo>
                    <a:pt x="648" y="100"/>
                  </a:lnTo>
                  <a:lnTo>
                    <a:pt x="648" y="97"/>
                  </a:lnTo>
                  <a:lnTo>
                    <a:pt x="645" y="95"/>
                  </a:lnTo>
                  <a:lnTo>
                    <a:pt x="648" y="95"/>
                  </a:lnTo>
                  <a:close/>
                  <a:moveTo>
                    <a:pt x="1238" y="90"/>
                  </a:moveTo>
                  <a:lnTo>
                    <a:pt x="1241" y="90"/>
                  </a:lnTo>
                  <a:lnTo>
                    <a:pt x="1243" y="90"/>
                  </a:lnTo>
                  <a:lnTo>
                    <a:pt x="1246" y="90"/>
                  </a:lnTo>
                  <a:lnTo>
                    <a:pt x="1248" y="90"/>
                  </a:lnTo>
                  <a:lnTo>
                    <a:pt x="1250" y="90"/>
                  </a:lnTo>
                  <a:lnTo>
                    <a:pt x="1253" y="90"/>
                  </a:lnTo>
                  <a:lnTo>
                    <a:pt x="1255" y="90"/>
                  </a:lnTo>
                  <a:lnTo>
                    <a:pt x="1255" y="92"/>
                  </a:lnTo>
                  <a:lnTo>
                    <a:pt x="1255" y="95"/>
                  </a:lnTo>
                  <a:lnTo>
                    <a:pt x="1257" y="95"/>
                  </a:lnTo>
                  <a:lnTo>
                    <a:pt x="1260" y="95"/>
                  </a:lnTo>
                  <a:lnTo>
                    <a:pt x="1262" y="95"/>
                  </a:lnTo>
                  <a:lnTo>
                    <a:pt x="1265" y="95"/>
                  </a:lnTo>
                  <a:lnTo>
                    <a:pt x="1269" y="95"/>
                  </a:lnTo>
                  <a:lnTo>
                    <a:pt x="1272" y="95"/>
                  </a:lnTo>
                  <a:lnTo>
                    <a:pt x="1274" y="95"/>
                  </a:lnTo>
                  <a:lnTo>
                    <a:pt x="1276" y="92"/>
                  </a:lnTo>
                  <a:lnTo>
                    <a:pt x="1276" y="95"/>
                  </a:lnTo>
                  <a:lnTo>
                    <a:pt x="1279" y="95"/>
                  </a:lnTo>
                  <a:lnTo>
                    <a:pt x="1276" y="95"/>
                  </a:lnTo>
                  <a:lnTo>
                    <a:pt x="1274" y="95"/>
                  </a:lnTo>
                  <a:lnTo>
                    <a:pt x="1272" y="95"/>
                  </a:lnTo>
                  <a:lnTo>
                    <a:pt x="1269" y="97"/>
                  </a:lnTo>
                  <a:lnTo>
                    <a:pt x="1267" y="97"/>
                  </a:lnTo>
                  <a:lnTo>
                    <a:pt x="1267" y="100"/>
                  </a:lnTo>
                  <a:lnTo>
                    <a:pt x="1265" y="100"/>
                  </a:lnTo>
                  <a:lnTo>
                    <a:pt x="1265" y="97"/>
                  </a:lnTo>
                  <a:lnTo>
                    <a:pt x="1262" y="97"/>
                  </a:lnTo>
                  <a:lnTo>
                    <a:pt x="1260" y="97"/>
                  </a:lnTo>
                  <a:lnTo>
                    <a:pt x="1257" y="97"/>
                  </a:lnTo>
                  <a:lnTo>
                    <a:pt x="1257" y="95"/>
                  </a:lnTo>
                  <a:lnTo>
                    <a:pt x="1255" y="95"/>
                  </a:lnTo>
                  <a:lnTo>
                    <a:pt x="1253" y="95"/>
                  </a:lnTo>
                  <a:lnTo>
                    <a:pt x="1250" y="95"/>
                  </a:lnTo>
                  <a:lnTo>
                    <a:pt x="1248" y="95"/>
                  </a:lnTo>
                  <a:lnTo>
                    <a:pt x="1246" y="95"/>
                  </a:lnTo>
                  <a:lnTo>
                    <a:pt x="1243" y="95"/>
                  </a:lnTo>
                  <a:lnTo>
                    <a:pt x="1243" y="97"/>
                  </a:lnTo>
                  <a:lnTo>
                    <a:pt x="1243" y="95"/>
                  </a:lnTo>
                  <a:lnTo>
                    <a:pt x="1241" y="95"/>
                  </a:lnTo>
                  <a:lnTo>
                    <a:pt x="1238" y="95"/>
                  </a:lnTo>
                  <a:lnTo>
                    <a:pt x="1236" y="97"/>
                  </a:lnTo>
                  <a:lnTo>
                    <a:pt x="1234" y="97"/>
                  </a:lnTo>
                  <a:lnTo>
                    <a:pt x="1231" y="97"/>
                  </a:lnTo>
                  <a:lnTo>
                    <a:pt x="1229" y="97"/>
                  </a:lnTo>
                  <a:lnTo>
                    <a:pt x="1229" y="100"/>
                  </a:lnTo>
                  <a:lnTo>
                    <a:pt x="1227" y="100"/>
                  </a:lnTo>
                  <a:lnTo>
                    <a:pt x="1224" y="100"/>
                  </a:lnTo>
                  <a:lnTo>
                    <a:pt x="1222" y="100"/>
                  </a:lnTo>
                  <a:lnTo>
                    <a:pt x="1219" y="100"/>
                  </a:lnTo>
                  <a:lnTo>
                    <a:pt x="1219" y="97"/>
                  </a:lnTo>
                  <a:lnTo>
                    <a:pt x="1217" y="97"/>
                  </a:lnTo>
                  <a:lnTo>
                    <a:pt x="1219" y="97"/>
                  </a:lnTo>
                  <a:lnTo>
                    <a:pt x="1217" y="97"/>
                  </a:lnTo>
                  <a:lnTo>
                    <a:pt x="1219" y="97"/>
                  </a:lnTo>
                  <a:lnTo>
                    <a:pt x="1222" y="97"/>
                  </a:lnTo>
                  <a:lnTo>
                    <a:pt x="1224" y="97"/>
                  </a:lnTo>
                  <a:lnTo>
                    <a:pt x="1227" y="95"/>
                  </a:lnTo>
                  <a:lnTo>
                    <a:pt x="1229" y="95"/>
                  </a:lnTo>
                  <a:lnTo>
                    <a:pt x="1231" y="95"/>
                  </a:lnTo>
                  <a:lnTo>
                    <a:pt x="1236" y="92"/>
                  </a:lnTo>
                  <a:lnTo>
                    <a:pt x="1238" y="92"/>
                  </a:lnTo>
                  <a:lnTo>
                    <a:pt x="1238" y="90"/>
                  </a:lnTo>
                  <a:lnTo>
                    <a:pt x="1236" y="90"/>
                  </a:lnTo>
                  <a:lnTo>
                    <a:pt x="1238" y="92"/>
                  </a:lnTo>
                  <a:lnTo>
                    <a:pt x="1236" y="92"/>
                  </a:lnTo>
                  <a:lnTo>
                    <a:pt x="1238" y="92"/>
                  </a:lnTo>
                  <a:lnTo>
                    <a:pt x="1236" y="92"/>
                  </a:lnTo>
                  <a:lnTo>
                    <a:pt x="1236" y="90"/>
                  </a:lnTo>
                  <a:lnTo>
                    <a:pt x="1238" y="90"/>
                  </a:lnTo>
                  <a:close/>
                  <a:moveTo>
                    <a:pt x="968" y="81"/>
                  </a:moveTo>
                  <a:lnTo>
                    <a:pt x="970" y="81"/>
                  </a:lnTo>
                  <a:lnTo>
                    <a:pt x="973" y="81"/>
                  </a:lnTo>
                  <a:lnTo>
                    <a:pt x="975" y="81"/>
                  </a:lnTo>
                  <a:lnTo>
                    <a:pt x="973" y="81"/>
                  </a:lnTo>
                  <a:lnTo>
                    <a:pt x="975" y="81"/>
                  </a:lnTo>
                  <a:lnTo>
                    <a:pt x="977" y="81"/>
                  </a:lnTo>
                  <a:lnTo>
                    <a:pt x="982" y="83"/>
                  </a:lnTo>
                  <a:lnTo>
                    <a:pt x="985" y="83"/>
                  </a:lnTo>
                  <a:lnTo>
                    <a:pt x="987" y="83"/>
                  </a:lnTo>
                  <a:lnTo>
                    <a:pt x="985" y="85"/>
                  </a:lnTo>
                  <a:lnTo>
                    <a:pt x="982" y="85"/>
                  </a:lnTo>
                  <a:lnTo>
                    <a:pt x="980" y="88"/>
                  </a:lnTo>
                  <a:lnTo>
                    <a:pt x="977" y="85"/>
                  </a:lnTo>
                  <a:lnTo>
                    <a:pt x="975" y="88"/>
                  </a:lnTo>
                  <a:lnTo>
                    <a:pt x="973" y="88"/>
                  </a:lnTo>
                  <a:lnTo>
                    <a:pt x="970" y="88"/>
                  </a:lnTo>
                  <a:lnTo>
                    <a:pt x="968" y="88"/>
                  </a:lnTo>
                  <a:lnTo>
                    <a:pt x="970" y="88"/>
                  </a:lnTo>
                  <a:lnTo>
                    <a:pt x="968" y="88"/>
                  </a:lnTo>
                  <a:lnTo>
                    <a:pt x="970" y="88"/>
                  </a:lnTo>
                  <a:lnTo>
                    <a:pt x="968" y="88"/>
                  </a:lnTo>
                  <a:lnTo>
                    <a:pt x="966" y="88"/>
                  </a:lnTo>
                  <a:lnTo>
                    <a:pt x="963" y="85"/>
                  </a:lnTo>
                  <a:lnTo>
                    <a:pt x="966" y="85"/>
                  </a:lnTo>
                  <a:lnTo>
                    <a:pt x="963" y="85"/>
                  </a:lnTo>
                  <a:lnTo>
                    <a:pt x="963" y="83"/>
                  </a:lnTo>
                  <a:lnTo>
                    <a:pt x="966" y="83"/>
                  </a:lnTo>
                  <a:lnTo>
                    <a:pt x="966" y="81"/>
                  </a:lnTo>
                  <a:lnTo>
                    <a:pt x="963" y="81"/>
                  </a:lnTo>
                  <a:lnTo>
                    <a:pt x="966" y="81"/>
                  </a:lnTo>
                  <a:lnTo>
                    <a:pt x="968" y="81"/>
                  </a:lnTo>
                  <a:close/>
                  <a:moveTo>
                    <a:pt x="1402" y="4"/>
                  </a:moveTo>
                  <a:lnTo>
                    <a:pt x="1405" y="4"/>
                  </a:lnTo>
                  <a:lnTo>
                    <a:pt x="1405" y="7"/>
                  </a:lnTo>
                  <a:lnTo>
                    <a:pt x="1402" y="7"/>
                  </a:lnTo>
                  <a:lnTo>
                    <a:pt x="1405" y="7"/>
                  </a:lnTo>
                  <a:lnTo>
                    <a:pt x="1405" y="9"/>
                  </a:lnTo>
                  <a:lnTo>
                    <a:pt x="1402" y="9"/>
                  </a:lnTo>
                  <a:lnTo>
                    <a:pt x="1400" y="9"/>
                  </a:lnTo>
                  <a:lnTo>
                    <a:pt x="1400" y="12"/>
                  </a:lnTo>
                  <a:lnTo>
                    <a:pt x="1402" y="12"/>
                  </a:lnTo>
                  <a:lnTo>
                    <a:pt x="1400" y="12"/>
                  </a:lnTo>
                  <a:lnTo>
                    <a:pt x="1397" y="12"/>
                  </a:lnTo>
                  <a:lnTo>
                    <a:pt x="1395" y="12"/>
                  </a:lnTo>
                  <a:lnTo>
                    <a:pt x="1393" y="12"/>
                  </a:lnTo>
                  <a:lnTo>
                    <a:pt x="1390" y="12"/>
                  </a:lnTo>
                  <a:lnTo>
                    <a:pt x="1388" y="12"/>
                  </a:lnTo>
                  <a:lnTo>
                    <a:pt x="1386" y="12"/>
                  </a:lnTo>
                  <a:lnTo>
                    <a:pt x="1383" y="12"/>
                  </a:lnTo>
                  <a:lnTo>
                    <a:pt x="1381" y="12"/>
                  </a:lnTo>
                  <a:lnTo>
                    <a:pt x="1378" y="12"/>
                  </a:lnTo>
                  <a:lnTo>
                    <a:pt x="1378" y="14"/>
                  </a:lnTo>
                  <a:lnTo>
                    <a:pt x="1376" y="14"/>
                  </a:lnTo>
                  <a:lnTo>
                    <a:pt x="1371" y="14"/>
                  </a:lnTo>
                  <a:lnTo>
                    <a:pt x="1369" y="14"/>
                  </a:lnTo>
                  <a:lnTo>
                    <a:pt x="1367" y="14"/>
                  </a:lnTo>
                  <a:lnTo>
                    <a:pt x="1364" y="14"/>
                  </a:lnTo>
                  <a:lnTo>
                    <a:pt x="1362" y="14"/>
                  </a:lnTo>
                  <a:lnTo>
                    <a:pt x="1359" y="14"/>
                  </a:lnTo>
                  <a:lnTo>
                    <a:pt x="1359" y="16"/>
                  </a:lnTo>
                  <a:lnTo>
                    <a:pt x="1357" y="16"/>
                  </a:lnTo>
                  <a:lnTo>
                    <a:pt x="1355" y="16"/>
                  </a:lnTo>
                  <a:lnTo>
                    <a:pt x="1350" y="16"/>
                  </a:lnTo>
                  <a:lnTo>
                    <a:pt x="1348" y="16"/>
                  </a:lnTo>
                  <a:lnTo>
                    <a:pt x="1348" y="19"/>
                  </a:lnTo>
                  <a:lnTo>
                    <a:pt x="1345" y="19"/>
                  </a:lnTo>
                  <a:lnTo>
                    <a:pt x="1343" y="19"/>
                  </a:lnTo>
                  <a:lnTo>
                    <a:pt x="1343" y="16"/>
                  </a:lnTo>
                  <a:lnTo>
                    <a:pt x="1340" y="16"/>
                  </a:lnTo>
                  <a:lnTo>
                    <a:pt x="1338" y="16"/>
                  </a:lnTo>
                  <a:lnTo>
                    <a:pt x="1336" y="16"/>
                  </a:lnTo>
                  <a:lnTo>
                    <a:pt x="1336" y="14"/>
                  </a:lnTo>
                  <a:lnTo>
                    <a:pt x="1338" y="14"/>
                  </a:lnTo>
                  <a:lnTo>
                    <a:pt x="1336" y="14"/>
                  </a:lnTo>
                  <a:lnTo>
                    <a:pt x="1338" y="14"/>
                  </a:lnTo>
                  <a:lnTo>
                    <a:pt x="1338" y="12"/>
                  </a:lnTo>
                  <a:lnTo>
                    <a:pt x="1340" y="12"/>
                  </a:lnTo>
                  <a:lnTo>
                    <a:pt x="1340" y="9"/>
                  </a:lnTo>
                  <a:lnTo>
                    <a:pt x="1343" y="9"/>
                  </a:lnTo>
                  <a:lnTo>
                    <a:pt x="1345" y="9"/>
                  </a:lnTo>
                  <a:lnTo>
                    <a:pt x="1345" y="7"/>
                  </a:lnTo>
                  <a:lnTo>
                    <a:pt x="1348" y="7"/>
                  </a:lnTo>
                  <a:lnTo>
                    <a:pt x="1350" y="7"/>
                  </a:lnTo>
                  <a:lnTo>
                    <a:pt x="1352" y="7"/>
                  </a:lnTo>
                  <a:lnTo>
                    <a:pt x="1355" y="4"/>
                  </a:lnTo>
                  <a:lnTo>
                    <a:pt x="1357" y="4"/>
                  </a:lnTo>
                  <a:lnTo>
                    <a:pt x="1359" y="4"/>
                  </a:lnTo>
                  <a:lnTo>
                    <a:pt x="1359" y="2"/>
                  </a:lnTo>
                  <a:lnTo>
                    <a:pt x="1362" y="2"/>
                  </a:lnTo>
                  <a:lnTo>
                    <a:pt x="1364" y="2"/>
                  </a:lnTo>
                  <a:lnTo>
                    <a:pt x="1367" y="2"/>
                  </a:lnTo>
                  <a:lnTo>
                    <a:pt x="1371" y="2"/>
                  </a:lnTo>
                  <a:lnTo>
                    <a:pt x="1374" y="0"/>
                  </a:lnTo>
                  <a:lnTo>
                    <a:pt x="1376" y="0"/>
                  </a:lnTo>
                  <a:lnTo>
                    <a:pt x="1378" y="0"/>
                  </a:lnTo>
                  <a:lnTo>
                    <a:pt x="1381" y="0"/>
                  </a:lnTo>
                  <a:lnTo>
                    <a:pt x="1383" y="0"/>
                  </a:lnTo>
                  <a:lnTo>
                    <a:pt x="1386" y="0"/>
                  </a:lnTo>
                  <a:lnTo>
                    <a:pt x="1388" y="0"/>
                  </a:lnTo>
                  <a:lnTo>
                    <a:pt x="1390" y="0"/>
                  </a:lnTo>
                  <a:lnTo>
                    <a:pt x="1393" y="0"/>
                  </a:lnTo>
                  <a:lnTo>
                    <a:pt x="1395" y="2"/>
                  </a:lnTo>
                  <a:lnTo>
                    <a:pt x="1397" y="2"/>
                  </a:lnTo>
                  <a:lnTo>
                    <a:pt x="1397" y="4"/>
                  </a:lnTo>
                  <a:lnTo>
                    <a:pt x="1402" y="4"/>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6" name="Freeform 52524"/>
            <p:cNvSpPr>
              <a:spLocks noEditPoints="1"/>
            </p:cNvSpPr>
            <p:nvPr/>
          </p:nvSpPr>
          <p:spPr bwMode="auto">
            <a:xfrm>
              <a:off x="2266948" y="1989145"/>
              <a:ext cx="1385887" cy="2074869"/>
            </a:xfrm>
            <a:custGeom>
              <a:avLst/>
              <a:gdLst>
                <a:gd name="T0" fmla="*/ 28 w 873"/>
                <a:gd name="T1" fmla="*/ 1081 h 1307"/>
                <a:gd name="T2" fmla="*/ 220 w 873"/>
                <a:gd name="T3" fmla="*/ 932 h 1307"/>
                <a:gd name="T4" fmla="*/ 261 w 873"/>
                <a:gd name="T5" fmla="*/ 872 h 1307"/>
                <a:gd name="T6" fmla="*/ 356 w 873"/>
                <a:gd name="T7" fmla="*/ 723 h 1307"/>
                <a:gd name="T8" fmla="*/ 377 w 873"/>
                <a:gd name="T9" fmla="*/ 732 h 1307"/>
                <a:gd name="T10" fmla="*/ 353 w 873"/>
                <a:gd name="T11" fmla="*/ 704 h 1307"/>
                <a:gd name="T12" fmla="*/ 434 w 873"/>
                <a:gd name="T13" fmla="*/ 689 h 1307"/>
                <a:gd name="T14" fmla="*/ 436 w 873"/>
                <a:gd name="T15" fmla="*/ 668 h 1307"/>
                <a:gd name="T16" fmla="*/ 598 w 873"/>
                <a:gd name="T17" fmla="*/ 618 h 1307"/>
                <a:gd name="T18" fmla="*/ 619 w 873"/>
                <a:gd name="T19" fmla="*/ 592 h 1307"/>
                <a:gd name="T20" fmla="*/ 809 w 873"/>
                <a:gd name="T21" fmla="*/ 639 h 1307"/>
                <a:gd name="T22" fmla="*/ 745 w 873"/>
                <a:gd name="T23" fmla="*/ 644 h 1307"/>
                <a:gd name="T24" fmla="*/ 384 w 873"/>
                <a:gd name="T25" fmla="*/ 815 h 1307"/>
                <a:gd name="T26" fmla="*/ 225 w 873"/>
                <a:gd name="T27" fmla="*/ 1250 h 1307"/>
                <a:gd name="T28" fmla="*/ 192 w 873"/>
                <a:gd name="T29" fmla="*/ 1219 h 1307"/>
                <a:gd name="T30" fmla="*/ 161 w 873"/>
                <a:gd name="T31" fmla="*/ 1257 h 1307"/>
                <a:gd name="T32" fmla="*/ 92 w 873"/>
                <a:gd name="T33" fmla="*/ 1305 h 1307"/>
                <a:gd name="T34" fmla="*/ 42 w 873"/>
                <a:gd name="T35" fmla="*/ 1257 h 1307"/>
                <a:gd name="T36" fmla="*/ 42 w 873"/>
                <a:gd name="T37" fmla="*/ 1224 h 1307"/>
                <a:gd name="T38" fmla="*/ 50 w 873"/>
                <a:gd name="T39" fmla="*/ 1198 h 1307"/>
                <a:gd name="T40" fmla="*/ 33 w 873"/>
                <a:gd name="T41" fmla="*/ 1191 h 1307"/>
                <a:gd name="T42" fmla="*/ 23 w 873"/>
                <a:gd name="T43" fmla="*/ 1167 h 1307"/>
                <a:gd name="T44" fmla="*/ 61 w 873"/>
                <a:gd name="T45" fmla="*/ 1143 h 1307"/>
                <a:gd name="T46" fmla="*/ 40 w 873"/>
                <a:gd name="T47" fmla="*/ 1138 h 1307"/>
                <a:gd name="T48" fmla="*/ 16 w 873"/>
                <a:gd name="T49" fmla="*/ 1115 h 1307"/>
                <a:gd name="T50" fmla="*/ 26 w 873"/>
                <a:gd name="T51" fmla="*/ 1091 h 1307"/>
                <a:gd name="T52" fmla="*/ 80 w 873"/>
                <a:gd name="T53" fmla="*/ 1086 h 1307"/>
                <a:gd name="T54" fmla="*/ 97 w 873"/>
                <a:gd name="T55" fmla="*/ 1060 h 1307"/>
                <a:gd name="T56" fmla="*/ 114 w 873"/>
                <a:gd name="T57" fmla="*/ 1039 h 1307"/>
                <a:gd name="T58" fmla="*/ 154 w 873"/>
                <a:gd name="T59" fmla="*/ 1017 h 1307"/>
                <a:gd name="T60" fmla="*/ 225 w 873"/>
                <a:gd name="T61" fmla="*/ 991 h 1307"/>
                <a:gd name="T62" fmla="*/ 168 w 873"/>
                <a:gd name="T63" fmla="*/ 991 h 1307"/>
                <a:gd name="T64" fmla="*/ 213 w 873"/>
                <a:gd name="T65" fmla="*/ 951 h 1307"/>
                <a:gd name="T66" fmla="*/ 258 w 873"/>
                <a:gd name="T67" fmla="*/ 934 h 1307"/>
                <a:gd name="T68" fmla="*/ 256 w 873"/>
                <a:gd name="T69" fmla="*/ 920 h 1307"/>
                <a:gd name="T70" fmla="*/ 265 w 873"/>
                <a:gd name="T71" fmla="*/ 889 h 1307"/>
                <a:gd name="T72" fmla="*/ 289 w 873"/>
                <a:gd name="T73" fmla="*/ 853 h 1307"/>
                <a:gd name="T74" fmla="*/ 301 w 873"/>
                <a:gd name="T75" fmla="*/ 825 h 1307"/>
                <a:gd name="T76" fmla="*/ 348 w 873"/>
                <a:gd name="T77" fmla="*/ 799 h 1307"/>
                <a:gd name="T78" fmla="*/ 356 w 873"/>
                <a:gd name="T79" fmla="*/ 780 h 1307"/>
                <a:gd name="T80" fmla="*/ 358 w 873"/>
                <a:gd name="T81" fmla="*/ 756 h 1307"/>
                <a:gd name="T82" fmla="*/ 391 w 873"/>
                <a:gd name="T83" fmla="*/ 749 h 1307"/>
                <a:gd name="T84" fmla="*/ 398 w 873"/>
                <a:gd name="T85" fmla="*/ 725 h 1307"/>
                <a:gd name="T86" fmla="*/ 462 w 873"/>
                <a:gd name="T87" fmla="*/ 680 h 1307"/>
                <a:gd name="T88" fmla="*/ 500 w 873"/>
                <a:gd name="T89" fmla="*/ 658 h 1307"/>
                <a:gd name="T90" fmla="*/ 569 w 873"/>
                <a:gd name="T91" fmla="*/ 649 h 1307"/>
                <a:gd name="T92" fmla="*/ 602 w 873"/>
                <a:gd name="T93" fmla="*/ 632 h 1307"/>
                <a:gd name="T94" fmla="*/ 662 w 873"/>
                <a:gd name="T95" fmla="*/ 597 h 1307"/>
                <a:gd name="T96" fmla="*/ 681 w 873"/>
                <a:gd name="T97" fmla="*/ 616 h 1307"/>
                <a:gd name="T98" fmla="*/ 733 w 873"/>
                <a:gd name="T99" fmla="*/ 611 h 1307"/>
                <a:gd name="T100" fmla="*/ 785 w 873"/>
                <a:gd name="T101" fmla="*/ 590 h 1307"/>
                <a:gd name="T102" fmla="*/ 814 w 873"/>
                <a:gd name="T103" fmla="*/ 594 h 1307"/>
                <a:gd name="T104" fmla="*/ 405 w 873"/>
                <a:gd name="T105" fmla="*/ 145 h 1307"/>
                <a:gd name="T106" fmla="*/ 365 w 873"/>
                <a:gd name="T107" fmla="*/ 117 h 1307"/>
                <a:gd name="T108" fmla="*/ 329 w 873"/>
                <a:gd name="T109" fmla="*/ 95 h 1307"/>
                <a:gd name="T110" fmla="*/ 254 w 873"/>
                <a:gd name="T111" fmla="*/ 100 h 1307"/>
                <a:gd name="T112" fmla="*/ 206 w 873"/>
                <a:gd name="T113" fmla="*/ 48 h 1307"/>
                <a:gd name="T114" fmla="*/ 273 w 873"/>
                <a:gd name="T115" fmla="*/ 19 h 1307"/>
                <a:gd name="T116" fmla="*/ 320 w 873"/>
                <a:gd name="T117" fmla="*/ 24 h 1307"/>
                <a:gd name="T118" fmla="*/ 408 w 873"/>
                <a:gd name="T119" fmla="*/ 12 h 1307"/>
                <a:gd name="T120" fmla="*/ 555 w 873"/>
                <a:gd name="T121" fmla="*/ 86 h 1307"/>
                <a:gd name="T122" fmla="*/ 429 w 873"/>
                <a:gd name="T123" fmla="*/ 176 h 1307"/>
                <a:gd name="T124" fmla="*/ 375 w 873"/>
                <a:gd name="T125" fmla="*/ 202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3" h="1307">
                  <a:moveTo>
                    <a:pt x="16" y="1191"/>
                  </a:moveTo>
                  <a:lnTo>
                    <a:pt x="16" y="1193"/>
                  </a:lnTo>
                  <a:lnTo>
                    <a:pt x="16" y="1191"/>
                  </a:lnTo>
                  <a:lnTo>
                    <a:pt x="16" y="1193"/>
                  </a:lnTo>
                  <a:lnTo>
                    <a:pt x="14" y="1191"/>
                  </a:lnTo>
                  <a:lnTo>
                    <a:pt x="14" y="1193"/>
                  </a:lnTo>
                  <a:lnTo>
                    <a:pt x="14" y="1191"/>
                  </a:lnTo>
                  <a:lnTo>
                    <a:pt x="16" y="1191"/>
                  </a:lnTo>
                  <a:lnTo>
                    <a:pt x="14" y="1191"/>
                  </a:lnTo>
                  <a:lnTo>
                    <a:pt x="16" y="1191"/>
                  </a:lnTo>
                  <a:lnTo>
                    <a:pt x="14" y="1191"/>
                  </a:lnTo>
                  <a:lnTo>
                    <a:pt x="16" y="1191"/>
                  </a:lnTo>
                  <a:lnTo>
                    <a:pt x="14" y="1191"/>
                  </a:lnTo>
                  <a:lnTo>
                    <a:pt x="16" y="1191"/>
                  </a:lnTo>
                  <a:lnTo>
                    <a:pt x="16" y="1188"/>
                  </a:lnTo>
                  <a:lnTo>
                    <a:pt x="16" y="1191"/>
                  </a:lnTo>
                  <a:lnTo>
                    <a:pt x="16" y="1188"/>
                  </a:lnTo>
                  <a:lnTo>
                    <a:pt x="16" y="1191"/>
                  </a:lnTo>
                  <a:lnTo>
                    <a:pt x="16" y="1188"/>
                  </a:lnTo>
                  <a:lnTo>
                    <a:pt x="16" y="1191"/>
                  </a:lnTo>
                  <a:lnTo>
                    <a:pt x="14" y="1191"/>
                  </a:lnTo>
                  <a:lnTo>
                    <a:pt x="16" y="1191"/>
                  </a:lnTo>
                  <a:lnTo>
                    <a:pt x="14" y="1191"/>
                  </a:lnTo>
                  <a:lnTo>
                    <a:pt x="14" y="1188"/>
                  </a:lnTo>
                  <a:lnTo>
                    <a:pt x="14" y="1191"/>
                  </a:lnTo>
                  <a:lnTo>
                    <a:pt x="14" y="1188"/>
                  </a:lnTo>
                  <a:lnTo>
                    <a:pt x="14" y="1186"/>
                  </a:lnTo>
                  <a:lnTo>
                    <a:pt x="14" y="1188"/>
                  </a:lnTo>
                  <a:lnTo>
                    <a:pt x="12" y="1188"/>
                  </a:lnTo>
                  <a:lnTo>
                    <a:pt x="14" y="1188"/>
                  </a:lnTo>
                  <a:lnTo>
                    <a:pt x="12" y="1188"/>
                  </a:lnTo>
                  <a:lnTo>
                    <a:pt x="12" y="1186"/>
                  </a:lnTo>
                  <a:lnTo>
                    <a:pt x="12" y="1183"/>
                  </a:lnTo>
                  <a:lnTo>
                    <a:pt x="12" y="1186"/>
                  </a:lnTo>
                  <a:lnTo>
                    <a:pt x="12" y="1183"/>
                  </a:lnTo>
                  <a:lnTo>
                    <a:pt x="14" y="1183"/>
                  </a:lnTo>
                  <a:lnTo>
                    <a:pt x="14" y="1186"/>
                  </a:lnTo>
                  <a:lnTo>
                    <a:pt x="14" y="1183"/>
                  </a:lnTo>
                  <a:lnTo>
                    <a:pt x="14" y="1186"/>
                  </a:lnTo>
                  <a:lnTo>
                    <a:pt x="14" y="1183"/>
                  </a:lnTo>
                  <a:lnTo>
                    <a:pt x="14" y="1186"/>
                  </a:lnTo>
                  <a:lnTo>
                    <a:pt x="14" y="1183"/>
                  </a:lnTo>
                  <a:lnTo>
                    <a:pt x="14" y="1186"/>
                  </a:lnTo>
                  <a:lnTo>
                    <a:pt x="14" y="1183"/>
                  </a:lnTo>
                  <a:lnTo>
                    <a:pt x="14" y="1186"/>
                  </a:lnTo>
                  <a:lnTo>
                    <a:pt x="16" y="1186"/>
                  </a:lnTo>
                  <a:lnTo>
                    <a:pt x="14" y="1186"/>
                  </a:lnTo>
                  <a:lnTo>
                    <a:pt x="14" y="1183"/>
                  </a:lnTo>
                  <a:lnTo>
                    <a:pt x="14" y="1181"/>
                  </a:lnTo>
                  <a:lnTo>
                    <a:pt x="12" y="1181"/>
                  </a:lnTo>
                  <a:lnTo>
                    <a:pt x="12" y="1179"/>
                  </a:lnTo>
                  <a:lnTo>
                    <a:pt x="14" y="1179"/>
                  </a:lnTo>
                  <a:lnTo>
                    <a:pt x="12" y="1179"/>
                  </a:lnTo>
                  <a:lnTo>
                    <a:pt x="14" y="1179"/>
                  </a:lnTo>
                  <a:lnTo>
                    <a:pt x="12" y="1179"/>
                  </a:lnTo>
                  <a:lnTo>
                    <a:pt x="12" y="1176"/>
                  </a:lnTo>
                  <a:lnTo>
                    <a:pt x="14" y="1176"/>
                  </a:lnTo>
                  <a:lnTo>
                    <a:pt x="14" y="1179"/>
                  </a:lnTo>
                  <a:lnTo>
                    <a:pt x="16" y="1179"/>
                  </a:lnTo>
                  <a:lnTo>
                    <a:pt x="16" y="1181"/>
                  </a:lnTo>
                  <a:lnTo>
                    <a:pt x="19" y="1181"/>
                  </a:lnTo>
                  <a:lnTo>
                    <a:pt x="16" y="1181"/>
                  </a:lnTo>
                  <a:lnTo>
                    <a:pt x="19" y="1181"/>
                  </a:lnTo>
                  <a:lnTo>
                    <a:pt x="16" y="1181"/>
                  </a:lnTo>
                  <a:lnTo>
                    <a:pt x="16" y="1179"/>
                  </a:lnTo>
                  <a:lnTo>
                    <a:pt x="19" y="1179"/>
                  </a:lnTo>
                  <a:lnTo>
                    <a:pt x="19" y="1181"/>
                  </a:lnTo>
                  <a:lnTo>
                    <a:pt x="19" y="1183"/>
                  </a:lnTo>
                  <a:lnTo>
                    <a:pt x="19" y="1181"/>
                  </a:lnTo>
                  <a:lnTo>
                    <a:pt x="16" y="1181"/>
                  </a:lnTo>
                  <a:lnTo>
                    <a:pt x="16" y="1183"/>
                  </a:lnTo>
                  <a:lnTo>
                    <a:pt x="19" y="1183"/>
                  </a:lnTo>
                  <a:lnTo>
                    <a:pt x="19" y="1186"/>
                  </a:lnTo>
                  <a:lnTo>
                    <a:pt x="16" y="1186"/>
                  </a:lnTo>
                  <a:lnTo>
                    <a:pt x="19" y="1186"/>
                  </a:lnTo>
                  <a:lnTo>
                    <a:pt x="19" y="1188"/>
                  </a:lnTo>
                  <a:lnTo>
                    <a:pt x="19" y="1191"/>
                  </a:lnTo>
                  <a:lnTo>
                    <a:pt x="16" y="1191"/>
                  </a:lnTo>
                  <a:lnTo>
                    <a:pt x="19" y="1191"/>
                  </a:lnTo>
                  <a:lnTo>
                    <a:pt x="16" y="1191"/>
                  </a:lnTo>
                  <a:close/>
                  <a:moveTo>
                    <a:pt x="7" y="1157"/>
                  </a:moveTo>
                  <a:lnTo>
                    <a:pt x="9" y="1157"/>
                  </a:lnTo>
                  <a:lnTo>
                    <a:pt x="7" y="1157"/>
                  </a:lnTo>
                  <a:lnTo>
                    <a:pt x="9" y="1157"/>
                  </a:lnTo>
                  <a:lnTo>
                    <a:pt x="7" y="1157"/>
                  </a:lnTo>
                  <a:close/>
                  <a:moveTo>
                    <a:pt x="7" y="1138"/>
                  </a:moveTo>
                  <a:lnTo>
                    <a:pt x="7" y="1141"/>
                  </a:lnTo>
                  <a:lnTo>
                    <a:pt x="7" y="1138"/>
                  </a:lnTo>
                  <a:close/>
                  <a:moveTo>
                    <a:pt x="7" y="1141"/>
                  </a:moveTo>
                  <a:lnTo>
                    <a:pt x="7" y="1138"/>
                  </a:lnTo>
                  <a:lnTo>
                    <a:pt x="9" y="1138"/>
                  </a:lnTo>
                  <a:lnTo>
                    <a:pt x="9" y="1136"/>
                  </a:lnTo>
                  <a:lnTo>
                    <a:pt x="9" y="1138"/>
                  </a:lnTo>
                  <a:lnTo>
                    <a:pt x="9" y="1141"/>
                  </a:lnTo>
                  <a:lnTo>
                    <a:pt x="12" y="1141"/>
                  </a:lnTo>
                  <a:lnTo>
                    <a:pt x="12" y="1138"/>
                  </a:lnTo>
                  <a:lnTo>
                    <a:pt x="9" y="1138"/>
                  </a:lnTo>
                  <a:lnTo>
                    <a:pt x="12" y="1138"/>
                  </a:lnTo>
                  <a:lnTo>
                    <a:pt x="9" y="1138"/>
                  </a:lnTo>
                  <a:lnTo>
                    <a:pt x="12" y="1138"/>
                  </a:lnTo>
                  <a:lnTo>
                    <a:pt x="9" y="1136"/>
                  </a:lnTo>
                  <a:lnTo>
                    <a:pt x="12" y="1136"/>
                  </a:lnTo>
                  <a:lnTo>
                    <a:pt x="12" y="1138"/>
                  </a:lnTo>
                  <a:lnTo>
                    <a:pt x="12" y="1141"/>
                  </a:lnTo>
                  <a:lnTo>
                    <a:pt x="12" y="1138"/>
                  </a:lnTo>
                  <a:lnTo>
                    <a:pt x="12" y="1136"/>
                  </a:lnTo>
                  <a:lnTo>
                    <a:pt x="12" y="1138"/>
                  </a:lnTo>
                  <a:lnTo>
                    <a:pt x="14" y="1138"/>
                  </a:lnTo>
                  <a:lnTo>
                    <a:pt x="12" y="1136"/>
                  </a:lnTo>
                  <a:lnTo>
                    <a:pt x="14" y="1136"/>
                  </a:lnTo>
                  <a:lnTo>
                    <a:pt x="14" y="1138"/>
                  </a:lnTo>
                  <a:lnTo>
                    <a:pt x="14" y="1141"/>
                  </a:lnTo>
                  <a:lnTo>
                    <a:pt x="14" y="1143"/>
                  </a:lnTo>
                  <a:lnTo>
                    <a:pt x="12" y="1143"/>
                  </a:lnTo>
                  <a:lnTo>
                    <a:pt x="12" y="1141"/>
                  </a:lnTo>
                  <a:lnTo>
                    <a:pt x="12" y="1143"/>
                  </a:lnTo>
                  <a:lnTo>
                    <a:pt x="12" y="1141"/>
                  </a:lnTo>
                  <a:lnTo>
                    <a:pt x="9" y="1141"/>
                  </a:lnTo>
                  <a:lnTo>
                    <a:pt x="12" y="1141"/>
                  </a:lnTo>
                  <a:lnTo>
                    <a:pt x="12" y="1143"/>
                  </a:lnTo>
                  <a:lnTo>
                    <a:pt x="9" y="1143"/>
                  </a:lnTo>
                  <a:lnTo>
                    <a:pt x="9" y="1145"/>
                  </a:lnTo>
                  <a:lnTo>
                    <a:pt x="7" y="1143"/>
                  </a:lnTo>
                  <a:lnTo>
                    <a:pt x="7" y="1145"/>
                  </a:lnTo>
                  <a:lnTo>
                    <a:pt x="7" y="1143"/>
                  </a:lnTo>
                  <a:lnTo>
                    <a:pt x="7" y="1145"/>
                  </a:lnTo>
                  <a:lnTo>
                    <a:pt x="7" y="1143"/>
                  </a:lnTo>
                  <a:lnTo>
                    <a:pt x="7" y="1145"/>
                  </a:lnTo>
                  <a:lnTo>
                    <a:pt x="7" y="1143"/>
                  </a:lnTo>
                  <a:lnTo>
                    <a:pt x="7" y="1145"/>
                  </a:lnTo>
                  <a:lnTo>
                    <a:pt x="7" y="1143"/>
                  </a:lnTo>
                  <a:lnTo>
                    <a:pt x="4" y="1145"/>
                  </a:lnTo>
                  <a:lnTo>
                    <a:pt x="4" y="1143"/>
                  </a:lnTo>
                  <a:lnTo>
                    <a:pt x="4" y="1141"/>
                  </a:lnTo>
                  <a:lnTo>
                    <a:pt x="7" y="1141"/>
                  </a:lnTo>
                  <a:lnTo>
                    <a:pt x="7" y="1143"/>
                  </a:lnTo>
                  <a:lnTo>
                    <a:pt x="7" y="1141"/>
                  </a:lnTo>
                  <a:lnTo>
                    <a:pt x="7" y="1143"/>
                  </a:lnTo>
                  <a:lnTo>
                    <a:pt x="9" y="1143"/>
                  </a:lnTo>
                  <a:lnTo>
                    <a:pt x="7" y="1143"/>
                  </a:lnTo>
                  <a:lnTo>
                    <a:pt x="9" y="1143"/>
                  </a:lnTo>
                  <a:lnTo>
                    <a:pt x="9" y="1141"/>
                  </a:lnTo>
                  <a:lnTo>
                    <a:pt x="7" y="1141"/>
                  </a:lnTo>
                  <a:lnTo>
                    <a:pt x="9" y="1141"/>
                  </a:lnTo>
                  <a:lnTo>
                    <a:pt x="7" y="1141"/>
                  </a:lnTo>
                  <a:lnTo>
                    <a:pt x="9" y="1141"/>
                  </a:lnTo>
                  <a:lnTo>
                    <a:pt x="7" y="1138"/>
                  </a:lnTo>
                  <a:lnTo>
                    <a:pt x="7" y="1141"/>
                  </a:lnTo>
                  <a:close/>
                  <a:moveTo>
                    <a:pt x="4" y="1136"/>
                  </a:moveTo>
                  <a:lnTo>
                    <a:pt x="7" y="1136"/>
                  </a:lnTo>
                  <a:lnTo>
                    <a:pt x="4" y="1136"/>
                  </a:lnTo>
                  <a:close/>
                  <a:moveTo>
                    <a:pt x="2" y="1131"/>
                  </a:moveTo>
                  <a:lnTo>
                    <a:pt x="0" y="1131"/>
                  </a:lnTo>
                  <a:lnTo>
                    <a:pt x="2" y="1131"/>
                  </a:lnTo>
                  <a:close/>
                  <a:moveTo>
                    <a:pt x="28" y="1079"/>
                  </a:moveTo>
                  <a:lnTo>
                    <a:pt x="31" y="1079"/>
                  </a:lnTo>
                  <a:lnTo>
                    <a:pt x="31" y="1081"/>
                  </a:lnTo>
                  <a:lnTo>
                    <a:pt x="28" y="1079"/>
                  </a:lnTo>
                  <a:lnTo>
                    <a:pt x="28" y="1081"/>
                  </a:lnTo>
                  <a:lnTo>
                    <a:pt x="28" y="1079"/>
                  </a:lnTo>
                  <a:lnTo>
                    <a:pt x="28" y="1081"/>
                  </a:lnTo>
                  <a:lnTo>
                    <a:pt x="28" y="1079"/>
                  </a:lnTo>
                  <a:lnTo>
                    <a:pt x="28" y="1081"/>
                  </a:lnTo>
                  <a:lnTo>
                    <a:pt x="28" y="1079"/>
                  </a:lnTo>
                  <a:lnTo>
                    <a:pt x="26" y="1079"/>
                  </a:lnTo>
                  <a:lnTo>
                    <a:pt x="28" y="1079"/>
                  </a:lnTo>
                  <a:lnTo>
                    <a:pt x="26" y="1079"/>
                  </a:lnTo>
                  <a:lnTo>
                    <a:pt x="28" y="1079"/>
                  </a:lnTo>
                  <a:lnTo>
                    <a:pt x="31" y="1079"/>
                  </a:lnTo>
                  <a:lnTo>
                    <a:pt x="28" y="1079"/>
                  </a:lnTo>
                  <a:close/>
                  <a:moveTo>
                    <a:pt x="109" y="1022"/>
                  </a:moveTo>
                  <a:lnTo>
                    <a:pt x="109" y="1024"/>
                  </a:lnTo>
                  <a:lnTo>
                    <a:pt x="109" y="1022"/>
                  </a:lnTo>
                  <a:lnTo>
                    <a:pt x="106" y="1024"/>
                  </a:lnTo>
                  <a:lnTo>
                    <a:pt x="106" y="1022"/>
                  </a:lnTo>
                  <a:lnTo>
                    <a:pt x="106" y="1024"/>
                  </a:lnTo>
                  <a:lnTo>
                    <a:pt x="106" y="1022"/>
                  </a:lnTo>
                  <a:lnTo>
                    <a:pt x="109" y="1022"/>
                  </a:lnTo>
                  <a:close/>
                  <a:moveTo>
                    <a:pt x="111" y="1012"/>
                  </a:moveTo>
                  <a:lnTo>
                    <a:pt x="114" y="1012"/>
                  </a:lnTo>
                  <a:lnTo>
                    <a:pt x="111" y="1012"/>
                  </a:lnTo>
                  <a:lnTo>
                    <a:pt x="114" y="1012"/>
                  </a:lnTo>
                  <a:lnTo>
                    <a:pt x="111" y="1012"/>
                  </a:lnTo>
                  <a:lnTo>
                    <a:pt x="114" y="1012"/>
                  </a:lnTo>
                  <a:lnTo>
                    <a:pt x="116" y="1012"/>
                  </a:lnTo>
                  <a:lnTo>
                    <a:pt x="118" y="1012"/>
                  </a:lnTo>
                  <a:lnTo>
                    <a:pt x="116" y="1012"/>
                  </a:lnTo>
                  <a:lnTo>
                    <a:pt x="118" y="1015"/>
                  </a:lnTo>
                  <a:lnTo>
                    <a:pt x="118" y="1017"/>
                  </a:lnTo>
                  <a:lnTo>
                    <a:pt x="121" y="1017"/>
                  </a:lnTo>
                  <a:lnTo>
                    <a:pt x="118" y="1017"/>
                  </a:lnTo>
                  <a:lnTo>
                    <a:pt x="121" y="1017"/>
                  </a:lnTo>
                  <a:lnTo>
                    <a:pt x="118" y="1017"/>
                  </a:lnTo>
                  <a:lnTo>
                    <a:pt x="121" y="1017"/>
                  </a:lnTo>
                  <a:lnTo>
                    <a:pt x="118" y="1017"/>
                  </a:lnTo>
                  <a:lnTo>
                    <a:pt x="118" y="1020"/>
                  </a:lnTo>
                  <a:lnTo>
                    <a:pt x="116" y="1020"/>
                  </a:lnTo>
                  <a:lnTo>
                    <a:pt x="116" y="1022"/>
                  </a:lnTo>
                  <a:lnTo>
                    <a:pt x="114" y="1020"/>
                  </a:lnTo>
                  <a:lnTo>
                    <a:pt x="114" y="1022"/>
                  </a:lnTo>
                  <a:lnTo>
                    <a:pt x="116" y="1022"/>
                  </a:lnTo>
                  <a:lnTo>
                    <a:pt x="114" y="1022"/>
                  </a:lnTo>
                  <a:lnTo>
                    <a:pt x="116" y="1022"/>
                  </a:lnTo>
                  <a:lnTo>
                    <a:pt x="114" y="1022"/>
                  </a:lnTo>
                  <a:lnTo>
                    <a:pt x="111" y="1022"/>
                  </a:lnTo>
                  <a:lnTo>
                    <a:pt x="114" y="1022"/>
                  </a:lnTo>
                  <a:lnTo>
                    <a:pt x="111" y="1022"/>
                  </a:lnTo>
                  <a:lnTo>
                    <a:pt x="114" y="1022"/>
                  </a:lnTo>
                  <a:lnTo>
                    <a:pt x="114" y="1020"/>
                  </a:lnTo>
                  <a:lnTo>
                    <a:pt x="114" y="1022"/>
                  </a:lnTo>
                  <a:lnTo>
                    <a:pt x="111" y="1022"/>
                  </a:lnTo>
                  <a:lnTo>
                    <a:pt x="111" y="1020"/>
                  </a:lnTo>
                  <a:lnTo>
                    <a:pt x="109" y="1020"/>
                  </a:lnTo>
                  <a:lnTo>
                    <a:pt x="111" y="1020"/>
                  </a:lnTo>
                  <a:lnTo>
                    <a:pt x="109" y="1020"/>
                  </a:lnTo>
                  <a:lnTo>
                    <a:pt x="106" y="1020"/>
                  </a:lnTo>
                  <a:lnTo>
                    <a:pt x="109" y="1020"/>
                  </a:lnTo>
                  <a:lnTo>
                    <a:pt x="106" y="1020"/>
                  </a:lnTo>
                  <a:lnTo>
                    <a:pt x="109" y="1020"/>
                  </a:lnTo>
                  <a:lnTo>
                    <a:pt x="109" y="1017"/>
                  </a:lnTo>
                  <a:lnTo>
                    <a:pt x="109" y="1020"/>
                  </a:lnTo>
                  <a:lnTo>
                    <a:pt x="106" y="1020"/>
                  </a:lnTo>
                  <a:lnTo>
                    <a:pt x="106" y="1017"/>
                  </a:lnTo>
                  <a:lnTo>
                    <a:pt x="104" y="1017"/>
                  </a:lnTo>
                  <a:lnTo>
                    <a:pt x="106" y="1017"/>
                  </a:lnTo>
                  <a:lnTo>
                    <a:pt x="104" y="1017"/>
                  </a:lnTo>
                  <a:lnTo>
                    <a:pt x="106" y="1017"/>
                  </a:lnTo>
                  <a:lnTo>
                    <a:pt x="106" y="1015"/>
                  </a:lnTo>
                  <a:lnTo>
                    <a:pt x="109" y="1015"/>
                  </a:lnTo>
                  <a:lnTo>
                    <a:pt x="106" y="1015"/>
                  </a:lnTo>
                  <a:lnTo>
                    <a:pt x="109" y="1015"/>
                  </a:lnTo>
                  <a:lnTo>
                    <a:pt x="111" y="1015"/>
                  </a:lnTo>
                  <a:lnTo>
                    <a:pt x="109" y="1015"/>
                  </a:lnTo>
                  <a:lnTo>
                    <a:pt x="111" y="1015"/>
                  </a:lnTo>
                  <a:lnTo>
                    <a:pt x="111" y="1012"/>
                  </a:lnTo>
                  <a:close/>
                  <a:moveTo>
                    <a:pt x="140" y="1003"/>
                  </a:moveTo>
                  <a:lnTo>
                    <a:pt x="142" y="1003"/>
                  </a:lnTo>
                  <a:lnTo>
                    <a:pt x="140" y="1003"/>
                  </a:lnTo>
                  <a:lnTo>
                    <a:pt x="142" y="1003"/>
                  </a:lnTo>
                  <a:lnTo>
                    <a:pt x="144" y="1003"/>
                  </a:lnTo>
                  <a:lnTo>
                    <a:pt x="147" y="1003"/>
                  </a:lnTo>
                  <a:lnTo>
                    <a:pt x="144" y="1003"/>
                  </a:lnTo>
                  <a:lnTo>
                    <a:pt x="147" y="1003"/>
                  </a:lnTo>
                  <a:lnTo>
                    <a:pt x="144" y="1003"/>
                  </a:lnTo>
                  <a:lnTo>
                    <a:pt x="144" y="1005"/>
                  </a:lnTo>
                  <a:lnTo>
                    <a:pt x="144" y="1008"/>
                  </a:lnTo>
                  <a:lnTo>
                    <a:pt x="144" y="1005"/>
                  </a:lnTo>
                  <a:lnTo>
                    <a:pt x="147" y="1005"/>
                  </a:lnTo>
                  <a:lnTo>
                    <a:pt x="147" y="1008"/>
                  </a:lnTo>
                  <a:lnTo>
                    <a:pt x="147" y="1005"/>
                  </a:lnTo>
                  <a:lnTo>
                    <a:pt x="149" y="1005"/>
                  </a:lnTo>
                  <a:lnTo>
                    <a:pt x="147" y="1005"/>
                  </a:lnTo>
                  <a:lnTo>
                    <a:pt x="149" y="1005"/>
                  </a:lnTo>
                  <a:lnTo>
                    <a:pt x="152" y="1008"/>
                  </a:lnTo>
                  <a:lnTo>
                    <a:pt x="149" y="1008"/>
                  </a:lnTo>
                  <a:lnTo>
                    <a:pt x="152" y="1008"/>
                  </a:lnTo>
                  <a:lnTo>
                    <a:pt x="152" y="1010"/>
                  </a:lnTo>
                  <a:lnTo>
                    <a:pt x="149" y="1010"/>
                  </a:lnTo>
                  <a:lnTo>
                    <a:pt x="147" y="1010"/>
                  </a:lnTo>
                  <a:lnTo>
                    <a:pt x="149" y="1010"/>
                  </a:lnTo>
                  <a:lnTo>
                    <a:pt x="147" y="1010"/>
                  </a:lnTo>
                  <a:lnTo>
                    <a:pt x="144" y="1010"/>
                  </a:lnTo>
                  <a:lnTo>
                    <a:pt x="144" y="1012"/>
                  </a:lnTo>
                  <a:lnTo>
                    <a:pt x="142" y="1012"/>
                  </a:lnTo>
                  <a:lnTo>
                    <a:pt x="140" y="1012"/>
                  </a:lnTo>
                  <a:lnTo>
                    <a:pt x="137" y="1012"/>
                  </a:lnTo>
                  <a:lnTo>
                    <a:pt x="135" y="1012"/>
                  </a:lnTo>
                  <a:lnTo>
                    <a:pt x="133" y="1012"/>
                  </a:lnTo>
                  <a:lnTo>
                    <a:pt x="133" y="1015"/>
                  </a:lnTo>
                  <a:lnTo>
                    <a:pt x="130" y="1015"/>
                  </a:lnTo>
                  <a:lnTo>
                    <a:pt x="128" y="1015"/>
                  </a:lnTo>
                  <a:lnTo>
                    <a:pt x="125" y="1015"/>
                  </a:lnTo>
                  <a:lnTo>
                    <a:pt x="123" y="1015"/>
                  </a:lnTo>
                  <a:lnTo>
                    <a:pt x="125" y="1015"/>
                  </a:lnTo>
                  <a:lnTo>
                    <a:pt x="123" y="1015"/>
                  </a:lnTo>
                  <a:lnTo>
                    <a:pt x="123" y="1012"/>
                  </a:lnTo>
                  <a:lnTo>
                    <a:pt x="125" y="1010"/>
                  </a:lnTo>
                  <a:lnTo>
                    <a:pt x="123" y="1010"/>
                  </a:lnTo>
                  <a:lnTo>
                    <a:pt x="123" y="1012"/>
                  </a:lnTo>
                  <a:lnTo>
                    <a:pt x="121" y="1012"/>
                  </a:lnTo>
                  <a:lnTo>
                    <a:pt x="123" y="1012"/>
                  </a:lnTo>
                  <a:lnTo>
                    <a:pt x="123" y="1010"/>
                  </a:lnTo>
                  <a:lnTo>
                    <a:pt x="125" y="1010"/>
                  </a:lnTo>
                  <a:lnTo>
                    <a:pt x="125" y="1008"/>
                  </a:lnTo>
                  <a:lnTo>
                    <a:pt x="128" y="1008"/>
                  </a:lnTo>
                  <a:lnTo>
                    <a:pt x="130" y="1008"/>
                  </a:lnTo>
                  <a:lnTo>
                    <a:pt x="133" y="1008"/>
                  </a:lnTo>
                  <a:lnTo>
                    <a:pt x="135" y="1008"/>
                  </a:lnTo>
                  <a:lnTo>
                    <a:pt x="137" y="1008"/>
                  </a:lnTo>
                  <a:lnTo>
                    <a:pt x="135" y="1008"/>
                  </a:lnTo>
                  <a:lnTo>
                    <a:pt x="133" y="1008"/>
                  </a:lnTo>
                  <a:lnTo>
                    <a:pt x="135" y="1008"/>
                  </a:lnTo>
                  <a:lnTo>
                    <a:pt x="133" y="1008"/>
                  </a:lnTo>
                  <a:lnTo>
                    <a:pt x="133" y="1005"/>
                  </a:lnTo>
                  <a:lnTo>
                    <a:pt x="133" y="1008"/>
                  </a:lnTo>
                  <a:lnTo>
                    <a:pt x="133" y="1005"/>
                  </a:lnTo>
                  <a:lnTo>
                    <a:pt x="130" y="1005"/>
                  </a:lnTo>
                  <a:lnTo>
                    <a:pt x="133" y="1005"/>
                  </a:lnTo>
                  <a:lnTo>
                    <a:pt x="135" y="1005"/>
                  </a:lnTo>
                  <a:lnTo>
                    <a:pt x="133" y="1005"/>
                  </a:lnTo>
                  <a:lnTo>
                    <a:pt x="135" y="1005"/>
                  </a:lnTo>
                  <a:lnTo>
                    <a:pt x="137" y="1003"/>
                  </a:lnTo>
                  <a:lnTo>
                    <a:pt x="135" y="1003"/>
                  </a:lnTo>
                  <a:lnTo>
                    <a:pt x="137" y="1003"/>
                  </a:lnTo>
                  <a:lnTo>
                    <a:pt x="140" y="1003"/>
                  </a:lnTo>
                  <a:lnTo>
                    <a:pt x="137" y="1003"/>
                  </a:lnTo>
                  <a:lnTo>
                    <a:pt x="140" y="1003"/>
                  </a:lnTo>
                  <a:close/>
                  <a:moveTo>
                    <a:pt x="128" y="991"/>
                  </a:moveTo>
                  <a:lnTo>
                    <a:pt x="128" y="993"/>
                  </a:lnTo>
                  <a:lnTo>
                    <a:pt x="128" y="991"/>
                  </a:lnTo>
                  <a:lnTo>
                    <a:pt x="128" y="993"/>
                  </a:lnTo>
                  <a:lnTo>
                    <a:pt x="128" y="991"/>
                  </a:lnTo>
                  <a:close/>
                  <a:moveTo>
                    <a:pt x="199" y="936"/>
                  </a:moveTo>
                  <a:lnTo>
                    <a:pt x="199" y="934"/>
                  </a:lnTo>
                  <a:lnTo>
                    <a:pt x="199" y="936"/>
                  </a:lnTo>
                  <a:lnTo>
                    <a:pt x="199" y="934"/>
                  </a:lnTo>
                  <a:lnTo>
                    <a:pt x="201" y="934"/>
                  </a:lnTo>
                  <a:lnTo>
                    <a:pt x="199" y="936"/>
                  </a:lnTo>
                  <a:close/>
                  <a:moveTo>
                    <a:pt x="216" y="929"/>
                  </a:moveTo>
                  <a:lnTo>
                    <a:pt x="218" y="929"/>
                  </a:lnTo>
                  <a:lnTo>
                    <a:pt x="218" y="932"/>
                  </a:lnTo>
                  <a:lnTo>
                    <a:pt x="220" y="932"/>
                  </a:lnTo>
                  <a:lnTo>
                    <a:pt x="218" y="932"/>
                  </a:lnTo>
                  <a:lnTo>
                    <a:pt x="220" y="932"/>
                  </a:lnTo>
                  <a:lnTo>
                    <a:pt x="218" y="932"/>
                  </a:lnTo>
                  <a:lnTo>
                    <a:pt x="220" y="932"/>
                  </a:lnTo>
                  <a:lnTo>
                    <a:pt x="218" y="932"/>
                  </a:lnTo>
                  <a:lnTo>
                    <a:pt x="220" y="932"/>
                  </a:lnTo>
                  <a:lnTo>
                    <a:pt x="218" y="932"/>
                  </a:lnTo>
                  <a:lnTo>
                    <a:pt x="220" y="932"/>
                  </a:lnTo>
                  <a:lnTo>
                    <a:pt x="220" y="934"/>
                  </a:lnTo>
                  <a:lnTo>
                    <a:pt x="223" y="932"/>
                  </a:lnTo>
                  <a:lnTo>
                    <a:pt x="223" y="934"/>
                  </a:lnTo>
                  <a:lnTo>
                    <a:pt x="220" y="934"/>
                  </a:lnTo>
                  <a:lnTo>
                    <a:pt x="220" y="936"/>
                  </a:lnTo>
                  <a:lnTo>
                    <a:pt x="218" y="936"/>
                  </a:lnTo>
                  <a:lnTo>
                    <a:pt x="216" y="936"/>
                  </a:lnTo>
                  <a:lnTo>
                    <a:pt x="213" y="936"/>
                  </a:lnTo>
                  <a:lnTo>
                    <a:pt x="216" y="936"/>
                  </a:lnTo>
                  <a:lnTo>
                    <a:pt x="213" y="936"/>
                  </a:lnTo>
                  <a:lnTo>
                    <a:pt x="213" y="939"/>
                  </a:lnTo>
                  <a:lnTo>
                    <a:pt x="213" y="936"/>
                  </a:lnTo>
                  <a:lnTo>
                    <a:pt x="213" y="939"/>
                  </a:lnTo>
                  <a:lnTo>
                    <a:pt x="213" y="936"/>
                  </a:lnTo>
                  <a:lnTo>
                    <a:pt x="216" y="936"/>
                  </a:lnTo>
                  <a:lnTo>
                    <a:pt x="213" y="936"/>
                  </a:lnTo>
                  <a:lnTo>
                    <a:pt x="213" y="934"/>
                  </a:lnTo>
                  <a:lnTo>
                    <a:pt x="213" y="936"/>
                  </a:lnTo>
                  <a:lnTo>
                    <a:pt x="213" y="934"/>
                  </a:lnTo>
                  <a:lnTo>
                    <a:pt x="216" y="934"/>
                  </a:lnTo>
                  <a:lnTo>
                    <a:pt x="216" y="932"/>
                  </a:lnTo>
                  <a:lnTo>
                    <a:pt x="216" y="934"/>
                  </a:lnTo>
                  <a:lnTo>
                    <a:pt x="213" y="934"/>
                  </a:lnTo>
                  <a:lnTo>
                    <a:pt x="211" y="934"/>
                  </a:lnTo>
                  <a:lnTo>
                    <a:pt x="211" y="936"/>
                  </a:lnTo>
                  <a:lnTo>
                    <a:pt x="208" y="936"/>
                  </a:lnTo>
                  <a:lnTo>
                    <a:pt x="208" y="934"/>
                  </a:lnTo>
                  <a:lnTo>
                    <a:pt x="211" y="934"/>
                  </a:lnTo>
                  <a:lnTo>
                    <a:pt x="208" y="934"/>
                  </a:lnTo>
                  <a:lnTo>
                    <a:pt x="208" y="936"/>
                  </a:lnTo>
                  <a:lnTo>
                    <a:pt x="206" y="936"/>
                  </a:lnTo>
                  <a:lnTo>
                    <a:pt x="208" y="934"/>
                  </a:lnTo>
                  <a:lnTo>
                    <a:pt x="211" y="934"/>
                  </a:lnTo>
                  <a:lnTo>
                    <a:pt x="211" y="932"/>
                  </a:lnTo>
                  <a:lnTo>
                    <a:pt x="213" y="932"/>
                  </a:lnTo>
                  <a:lnTo>
                    <a:pt x="216" y="932"/>
                  </a:lnTo>
                  <a:lnTo>
                    <a:pt x="216" y="929"/>
                  </a:lnTo>
                  <a:lnTo>
                    <a:pt x="218" y="929"/>
                  </a:lnTo>
                  <a:lnTo>
                    <a:pt x="216" y="929"/>
                  </a:lnTo>
                  <a:close/>
                  <a:moveTo>
                    <a:pt x="208" y="927"/>
                  </a:moveTo>
                  <a:lnTo>
                    <a:pt x="208" y="929"/>
                  </a:lnTo>
                  <a:lnTo>
                    <a:pt x="211" y="929"/>
                  </a:lnTo>
                  <a:lnTo>
                    <a:pt x="208" y="929"/>
                  </a:lnTo>
                  <a:lnTo>
                    <a:pt x="211" y="929"/>
                  </a:lnTo>
                  <a:lnTo>
                    <a:pt x="208" y="929"/>
                  </a:lnTo>
                  <a:lnTo>
                    <a:pt x="206" y="929"/>
                  </a:lnTo>
                  <a:lnTo>
                    <a:pt x="208" y="929"/>
                  </a:lnTo>
                  <a:lnTo>
                    <a:pt x="206" y="929"/>
                  </a:lnTo>
                  <a:lnTo>
                    <a:pt x="206" y="932"/>
                  </a:lnTo>
                  <a:lnTo>
                    <a:pt x="206" y="929"/>
                  </a:lnTo>
                  <a:lnTo>
                    <a:pt x="204" y="929"/>
                  </a:lnTo>
                  <a:lnTo>
                    <a:pt x="206" y="929"/>
                  </a:lnTo>
                  <a:lnTo>
                    <a:pt x="204" y="929"/>
                  </a:lnTo>
                  <a:lnTo>
                    <a:pt x="206" y="929"/>
                  </a:lnTo>
                  <a:lnTo>
                    <a:pt x="204" y="929"/>
                  </a:lnTo>
                  <a:lnTo>
                    <a:pt x="206" y="929"/>
                  </a:lnTo>
                  <a:lnTo>
                    <a:pt x="204" y="929"/>
                  </a:lnTo>
                  <a:lnTo>
                    <a:pt x="206" y="929"/>
                  </a:lnTo>
                  <a:lnTo>
                    <a:pt x="208" y="927"/>
                  </a:lnTo>
                  <a:lnTo>
                    <a:pt x="206" y="927"/>
                  </a:lnTo>
                  <a:lnTo>
                    <a:pt x="208" y="927"/>
                  </a:lnTo>
                  <a:lnTo>
                    <a:pt x="208" y="929"/>
                  </a:lnTo>
                  <a:lnTo>
                    <a:pt x="208" y="927"/>
                  </a:lnTo>
                  <a:close/>
                  <a:moveTo>
                    <a:pt x="211" y="927"/>
                  </a:moveTo>
                  <a:lnTo>
                    <a:pt x="213" y="927"/>
                  </a:lnTo>
                  <a:lnTo>
                    <a:pt x="211" y="927"/>
                  </a:lnTo>
                  <a:lnTo>
                    <a:pt x="213" y="927"/>
                  </a:lnTo>
                  <a:lnTo>
                    <a:pt x="211" y="927"/>
                  </a:lnTo>
                  <a:close/>
                  <a:moveTo>
                    <a:pt x="242" y="889"/>
                  </a:moveTo>
                  <a:lnTo>
                    <a:pt x="242" y="887"/>
                  </a:lnTo>
                  <a:lnTo>
                    <a:pt x="242" y="889"/>
                  </a:lnTo>
                  <a:lnTo>
                    <a:pt x="242" y="887"/>
                  </a:lnTo>
                  <a:lnTo>
                    <a:pt x="242" y="889"/>
                  </a:lnTo>
                  <a:lnTo>
                    <a:pt x="244" y="889"/>
                  </a:lnTo>
                  <a:lnTo>
                    <a:pt x="244" y="887"/>
                  </a:lnTo>
                  <a:lnTo>
                    <a:pt x="242" y="887"/>
                  </a:lnTo>
                  <a:lnTo>
                    <a:pt x="242" y="889"/>
                  </a:lnTo>
                  <a:lnTo>
                    <a:pt x="242" y="887"/>
                  </a:lnTo>
                  <a:lnTo>
                    <a:pt x="244" y="887"/>
                  </a:lnTo>
                  <a:lnTo>
                    <a:pt x="244" y="889"/>
                  </a:lnTo>
                  <a:lnTo>
                    <a:pt x="246" y="889"/>
                  </a:lnTo>
                  <a:lnTo>
                    <a:pt x="244" y="889"/>
                  </a:lnTo>
                  <a:lnTo>
                    <a:pt x="246" y="889"/>
                  </a:lnTo>
                  <a:lnTo>
                    <a:pt x="244" y="889"/>
                  </a:lnTo>
                  <a:lnTo>
                    <a:pt x="246" y="889"/>
                  </a:lnTo>
                  <a:lnTo>
                    <a:pt x="246" y="891"/>
                  </a:lnTo>
                  <a:lnTo>
                    <a:pt x="246" y="889"/>
                  </a:lnTo>
                  <a:lnTo>
                    <a:pt x="246" y="891"/>
                  </a:lnTo>
                  <a:lnTo>
                    <a:pt x="244" y="891"/>
                  </a:lnTo>
                  <a:lnTo>
                    <a:pt x="244" y="894"/>
                  </a:lnTo>
                  <a:lnTo>
                    <a:pt x="242" y="894"/>
                  </a:lnTo>
                  <a:lnTo>
                    <a:pt x="239" y="894"/>
                  </a:lnTo>
                  <a:lnTo>
                    <a:pt x="242" y="894"/>
                  </a:lnTo>
                  <a:lnTo>
                    <a:pt x="239" y="894"/>
                  </a:lnTo>
                  <a:lnTo>
                    <a:pt x="242" y="894"/>
                  </a:lnTo>
                  <a:lnTo>
                    <a:pt x="239" y="894"/>
                  </a:lnTo>
                  <a:lnTo>
                    <a:pt x="237" y="894"/>
                  </a:lnTo>
                  <a:lnTo>
                    <a:pt x="237" y="891"/>
                  </a:lnTo>
                  <a:lnTo>
                    <a:pt x="239" y="889"/>
                  </a:lnTo>
                  <a:lnTo>
                    <a:pt x="242" y="887"/>
                  </a:lnTo>
                  <a:lnTo>
                    <a:pt x="242" y="889"/>
                  </a:lnTo>
                  <a:close/>
                  <a:moveTo>
                    <a:pt x="239" y="879"/>
                  </a:moveTo>
                  <a:lnTo>
                    <a:pt x="237" y="879"/>
                  </a:lnTo>
                  <a:lnTo>
                    <a:pt x="239" y="879"/>
                  </a:lnTo>
                  <a:lnTo>
                    <a:pt x="237" y="879"/>
                  </a:lnTo>
                  <a:lnTo>
                    <a:pt x="239" y="879"/>
                  </a:lnTo>
                  <a:close/>
                  <a:moveTo>
                    <a:pt x="239" y="879"/>
                  </a:moveTo>
                  <a:lnTo>
                    <a:pt x="239" y="877"/>
                  </a:lnTo>
                  <a:lnTo>
                    <a:pt x="239" y="879"/>
                  </a:lnTo>
                  <a:close/>
                  <a:moveTo>
                    <a:pt x="251" y="877"/>
                  </a:moveTo>
                  <a:lnTo>
                    <a:pt x="249" y="877"/>
                  </a:lnTo>
                  <a:lnTo>
                    <a:pt x="249" y="875"/>
                  </a:lnTo>
                  <a:lnTo>
                    <a:pt x="249" y="877"/>
                  </a:lnTo>
                  <a:lnTo>
                    <a:pt x="249" y="875"/>
                  </a:lnTo>
                  <a:lnTo>
                    <a:pt x="251" y="875"/>
                  </a:lnTo>
                  <a:lnTo>
                    <a:pt x="251" y="877"/>
                  </a:lnTo>
                  <a:close/>
                  <a:moveTo>
                    <a:pt x="251" y="875"/>
                  </a:moveTo>
                  <a:lnTo>
                    <a:pt x="251" y="877"/>
                  </a:lnTo>
                  <a:lnTo>
                    <a:pt x="251" y="875"/>
                  </a:lnTo>
                  <a:close/>
                  <a:moveTo>
                    <a:pt x="258" y="870"/>
                  </a:moveTo>
                  <a:lnTo>
                    <a:pt x="256" y="870"/>
                  </a:lnTo>
                  <a:lnTo>
                    <a:pt x="256" y="872"/>
                  </a:lnTo>
                  <a:lnTo>
                    <a:pt x="254" y="872"/>
                  </a:lnTo>
                  <a:lnTo>
                    <a:pt x="254" y="870"/>
                  </a:lnTo>
                  <a:lnTo>
                    <a:pt x="254" y="872"/>
                  </a:lnTo>
                  <a:lnTo>
                    <a:pt x="256" y="872"/>
                  </a:lnTo>
                  <a:lnTo>
                    <a:pt x="256" y="870"/>
                  </a:lnTo>
                  <a:lnTo>
                    <a:pt x="258" y="870"/>
                  </a:lnTo>
                  <a:close/>
                  <a:moveTo>
                    <a:pt x="265" y="872"/>
                  </a:moveTo>
                  <a:lnTo>
                    <a:pt x="268" y="872"/>
                  </a:lnTo>
                  <a:lnTo>
                    <a:pt x="268" y="870"/>
                  </a:lnTo>
                  <a:lnTo>
                    <a:pt x="270" y="870"/>
                  </a:lnTo>
                  <a:lnTo>
                    <a:pt x="273" y="870"/>
                  </a:lnTo>
                  <a:lnTo>
                    <a:pt x="275" y="870"/>
                  </a:lnTo>
                  <a:lnTo>
                    <a:pt x="275" y="872"/>
                  </a:lnTo>
                  <a:lnTo>
                    <a:pt x="273" y="872"/>
                  </a:lnTo>
                  <a:lnTo>
                    <a:pt x="270" y="872"/>
                  </a:lnTo>
                  <a:lnTo>
                    <a:pt x="268" y="872"/>
                  </a:lnTo>
                  <a:lnTo>
                    <a:pt x="268" y="875"/>
                  </a:lnTo>
                  <a:lnTo>
                    <a:pt x="265" y="875"/>
                  </a:lnTo>
                  <a:lnTo>
                    <a:pt x="265" y="877"/>
                  </a:lnTo>
                  <a:lnTo>
                    <a:pt x="263" y="877"/>
                  </a:lnTo>
                  <a:lnTo>
                    <a:pt x="261" y="877"/>
                  </a:lnTo>
                  <a:lnTo>
                    <a:pt x="261" y="879"/>
                  </a:lnTo>
                  <a:lnTo>
                    <a:pt x="258" y="879"/>
                  </a:lnTo>
                  <a:lnTo>
                    <a:pt x="261" y="879"/>
                  </a:lnTo>
                  <a:lnTo>
                    <a:pt x="261" y="877"/>
                  </a:lnTo>
                  <a:lnTo>
                    <a:pt x="263" y="877"/>
                  </a:lnTo>
                  <a:lnTo>
                    <a:pt x="261" y="877"/>
                  </a:lnTo>
                  <a:lnTo>
                    <a:pt x="258" y="877"/>
                  </a:lnTo>
                  <a:lnTo>
                    <a:pt x="261" y="877"/>
                  </a:lnTo>
                  <a:lnTo>
                    <a:pt x="258" y="877"/>
                  </a:lnTo>
                  <a:lnTo>
                    <a:pt x="258" y="875"/>
                  </a:lnTo>
                  <a:lnTo>
                    <a:pt x="258" y="877"/>
                  </a:lnTo>
                  <a:lnTo>
                    <a:pt x="258" y="875"/>
                  </a:lnTo>
                  <a:lnTo>
                    <a:pt x="261" y="875"/>
                  </a:lnTo>
                  <a:lnTo>
                    <a:pt x="258" y="875"/>
                  </a:lnTo>
                  <a:lnTo>
                    <a:pt x="261" y="875"/>
                  </a:lnTo>
                  <a:lnTo>
                    <a:pt x="261" y="872"/>
                  </a:lnTo>
                  <a:lnTo>
                    <a:pt x="263" y="872"/>
                  </a:lnTo>
                  <a:lnTo>
                    <a:pt x="263" y="870"/>
                  </a:lnTo>
                  <a:lnTo>
                    <a:pt x="265" y="870"/>
                  </a:lnTo>
                  <a:lnTo>
                    <a:pt x="268" y="870"/>
                  </a:lnTo>
                  <a:lnTo>
                    <a:pt x="265" y="870"/>
                  </a:lnTo>
                  <a:lnTo>
                    <a:pt x="265" y="872"/>
                  </a:lnTo>
                  <a:close/>
                  <a:moveTo>
                    <a:pt x="263" y="851"/>
                  </a:moveTo>
                  <a:lnTo>
                    <a:pt x="263" y="848"/>
                  </a:lnTo>
                  <a:lnTo>
                    <a:pt x="263" y="851"/>
                  </a:lnTo>
                  <a:close/>
                  <a:moveTo>
                    <a:pt x="258" y="848"/>
                  </a:moveTo>
                  <a:lnTo>
                    <a:pt x="258" y="851"/>
                  </a:lnTo>
                  <a:lnTo>
                    <a:pt x="256" y="851"/>
                  </a:lnTo>
                  <a:lnTo>
                    <a:pt x="258" y="851"/>
                  </a:lnTo>
                  <a:lnTo>
                    <a:pt x="256" y="851"/>
                  </a:lnTo>
                  <a:lnTo>
                    <a:pt x="256" y="848"/>
                  </a:lnTo>
                  <a:lnTo>
                    <a:pt x="258" y="848"/>
                  </a:lnTo>
                  <a:close/>
                  <a:moveTo>
                    <a:pt x="251" y="837"/>
                  </a:moveTo>
                  <a:lnTo>
                    <a:pt x="254" y="839"/>
                  </a:lnTo>
                  <a:lnTo>
                    <a:pt x="254" y="837"/>
                  </a:lnTo>
                  <a:lnTo>
                    <a:pt x="254" y="839"/>
                  </a:lnTo>
                  <a:lnTo>
                    <a:pt x="251" y="839"/>
                  </a:lnTo>
                  <a:lnTo>
                    <a:pt x="251" y="837"/>
                  </a:lnTo>
                  <a:close/>
                  <a:moveTo>
                    <a:pt x="270" y="837"/>
                  </a:moveTo>
                  <a:lnTo>
                    <a:pt x="270" y="839"/>
                  </a:lnTo>
                  <a:lnTo>
                    <a:pt x="270" y="837"/>
                  </a:lnTo>
                  <a:close/>
                  <a:moveTo>
                    <a:pt x="334" y="746"/>
                  </a:moveTo>
                  <a:lnTo>
                    <a:pt x="334" y="749"/>
                  </a:lnTo>
                  <a:lnTo>
                    <a:pt x="332" y="749"/>
                  </a:lnTo>
                  <a:lnTo>
                    <a:pt x="332" y="746"/>
                  </a:lnTo>
                  <a:lnTo>
                    <a:pt x="332" y="749"/>
                  </a:lnTo>
                  <a:lnTo>
                    <a:pt x="332" y="746"/>
                  </a:lnTo>
                  <a:lnTo>
                    <a:pt x="334" y="746"/>
                  </a:lnTo>
                  <a:close/>
                  <a:moveTo>
                    <a:pt x="315" y="737"/>
                  </a:moveTo>
                  <a:lnTo>
                    <a:pt x="318" y="737"/>
                  </a:lnTo>
                  <a:lnTo>
                    <a:pt x="320" y="739"/>
                  </a:lnTo>
                  <a:lnTo>
                    <a:pt x="320" y="742"/>
                  </a:lnTo>
                  <a:lnTo>
                    <a:pt x="318" y="742"/>
                  </a:lnTo>
                  <a:lnTo>
                    <a:pt x="315" y="742"/>
                  </a:lnTo>
                  <a:lnTo>
                    <a:pt x="315" y="739"/>
                  </a:lnTo>
                  <a:lnTo>
                    <a:pt x="315" y="742"/>
                  </a:lnTo>
                  <a:lnTo>
                    <a:pt x="315" y="744"/>
                  </a:lnTo>
                  <a:lnTo>
                    <a:pt x="313" y="744"/>
                  </a:lnTo>
                  <a:lnTo>
                    <a:pt x="315" y="744"/>
                  </a:lnTo>
                  <a:lnTo>
                    <a:pt x="313" y="744"/>
                  </a:lnTo>
                  <a:lnTo>
                    <a:pt x="313" y="746"/>
                  </a:lnTo>
                  <a:lnTo>
                    <a:pt x="313" y="744"/>
                  </a:lnTo>
                  <a:lnTo>
                    <a:pt x="313" y="746"/>
                  </a:lnTo>
                  <a:lnTo>
                    <a:pt x="313" y="744"/>
                  </a:lnTo>
                  <a:lnTo>
                    <a:pt x="313" y="746"/>
                  </a:lnTo>
                  <a:lnTo>
                    <a:pt x="311" y="746"/>
                  </a:lnTo>
                  <a:lnTo>
                    <a:pt x="311" y="744"/>
                  </a:lnTo>
                  <a:lnTo>
                    <a:pt x="311" y="746"/>
                  </a:lnTo>
                  <a:lnTo>
                    <a:pt x="308" y="746"/>
                  </a:lnTo>
                  <a:lnTo>
                    <a:pt x="306" y="746"/>
                  </a:lnTo>
                  <a:lnTo>
                    <a:pt x="303" y="746"/>
                  </a:lnTo>
                  <a:lnTo>
                    <a:pt x="303" y="749"/>
                  </a:lnTo>
                  <a:lnTo>
                    <a:pt x="303" y="746"/>
                  </a:lnTo>
                  <a:lnTo>
                    <a:pt x="306" y="746"/>
                  </a:lnTo>
                  <a:lnTo>
                    <a:pt x="303" y="749"/>
                  </a:lnTo>
                  <a:lnTo>
                    <a:pt x="306" y="749"/>
                  </a:lnTo>
                  <a:lnTo>
                    <a:pt x="306" y="751"/>
                  </a:lnTo>
                  <a:lnTo>
                    <a:pt x="306" y="749"/>
                  </a:lnTo>
                  <a:lnTo>
                    <a:pt x="303" y="749"/>
                  </a:lnTo>
                  <a:lnTo>
                    <a:pt x="303" y="751"/>
                  </a:lnTo>
                  <a:lnTo>
                    <a:pt x="303" y="749"/>
                  </a:lnTo>
                  <a:lnTo>
                    <a:pt x="303" y="751"/>
                  </a:lnTo>
                  <a:lnTo>
                    <a:pt x="303" y="749"/>
                  </a:lnTo>
                  <a:lnTo>
                    <a:pt x="303" y="751"/>
                  </a:lnTo>
                  <a:lnTo>
                    <a:pt x="303" y="749"/>
                  </a:lnTo>
                  <a:lnTo>
                    <a:pt x="301" y="749"/>
                  </a:lnTo>
                  <a:lnTo>
                    <a:pt x="303" y="749"/>
                  </a:lnTo>
                  <a:lnTo>
                    <a:pt x="301" y="749"/>
                  </a:lnTo>
                  <a:lnTo>
                    <a:pt x="301" y="751"/>
                  </a:lnTo>
                  <a:lnTo>
                    <a:pt x="299" y="751"/>
                  </a:lnTo>
                  <a:lnTo>
                    <a:pt x="299" y="749"/>
                  </a:lnTo>
                  <a:lnTo>
                    <a:pt x="296" y="749"/>
                  </a:lnTo>
                  <a:lnTo>
                    <a:pt x="296" y="751"/>
                  </a:lnTo>
                  <a:lnTo>
                    <a:pt x="296" y="753"/>
                  </a:lnTo>
                  <a:lnTo>
                    <a:pt x="296" y="751"/>
                  </a:lnTo>
                  <a:lnTo>
                    <a:pt x="294" y="753"/>
                  </a:lnTo>
                  <a:lnTo>
                    <a:pt x="296" y="753"/>
                  </a:lnTo>
                  <a:lnTo>
                    <a:pt x="294" y="753"/>
                  </a:lnTo>
                  <a:lnTo>
                    <a:pt x="294" y="751"/>
                  </a:lnTo>
                  <a:lnTo>
                    <a:pt x="294" y="749"/>
                  </a:lnTo>
                  <a:lnTo>
                    <a:pt x="296" y="749"/>
                  </a:lnTo>
                  <a:lnTo>
                    <a:pt x="294" y="749"/>
                  </a:lnTo>
                  <a:lnTo>
                    <a:pt x="296" y="749"/>
                  </a:lnTo>
                  <a:lnTo>
                    <a:pt x="296" y="746"/>
                  </a:lnTo>
                  <a:lnTo>
                    <a:pt x="299" y="746"/>
                  </a:lnTo>
                  <a:lnTo>
                    <a:pt x="296" y="746"/>
                  </a:lnTo>
                  <a:lnTo>
                    <a:pt x="299" y="746"/>
                  </a:lnTo>
                  <a:lnTo>
                    <a:pt x="296" y="746"/>
                  </a:lnTo>
                  <a:lnTo>
                    <a:pt x="296" y="749"/>
                  </a:lnTo>
                  <a:lnTo>
                    <a:pt x="294" y="749"/>
                  </a:lnTo>
                  <a:lnTo>
                    <a:pt x="294" y="746"/>
                  </a:lnTo>
                  <a:lnTo>
                    <a:pt x="296" y="746"/>
                  </a:lnTo>
                  <a:lnTo>
                    <a:pt x="294" y="746"/>
                  </a:lnTo>
                  <a:lnTo>
                    <a:pt x="294" y="744"/>
                  </a:lnTo>
                  <a:lnTo>
                    <a:pt x="294" y="746"/>
                  </a:lnTo>
                  <a:lnTo>
                    <a:pt x="294" y="744"/>
                  </a:lnTo>
                  <a:lnTo>
                    <a:pt x="296" y="744"/>
                  </a:lnTo>
                  <a:lnTo>
                    <a:pt x="299" y="744"/>
                  </a:lnTo>
                  <a:lnTo>
                    <a:pt x="299" y="742"/>
                  </a:lnTo>
                  <a:lnTo>
                    <a:pt x="299" y="744"/>
                  </a:lnTo>
                  <a:lnTo>
                    <a:pt x="299" y="742"/>
                  </a:lnTo>
                  <a:lnTo>
                    <a:pt x="296" y="742"/>
                  </a:lnTo>
                  <a:lnTo>
                    <a:pt x="294" y="742"/>
                  </a:lnTo>
                  <a:lnTo>
                    <a:pt x="296" y="742"/>
                  </a:lnTo>
                  <a:lnTo>
                    <a:pt x="296" y="739"/>
                  </a:lnTo>
                  <a:lnTo>
                    <a:pt x="299" y="739"/>
                  </a:lnTo>
                  <a:lnTo>
                    <a:pt x="301" y="739"/>
                  </a:lnTo>
                  <a:lnTo>
                    <a:pt x="303" y="739"/>
                  </a:lnTo>
                  <a:lnTo>
                    <a:pt x="306" y="739"/>
                  </a:lnTo>
                  <a:lnTo>
                    <a:pt x="306" y="737"/>
                  </a:lnTo>
                  <a:lnTo>
                    <a:pt x="308" y="737"/>
                  </a:lnTo>
                  <a:lnTo>
                    <a:pt x="311" y="737"/>
                  </a:lnTo>
                  <a:lnTo>
                    <a:pt x="311" y="739"/>
                  </a:lnTo>
                  <a:lnTo>
                    <a:pt x="311" y="742"/>
                  </a:lnTo>
                  <a:lnTo>
                    <a:pt x="313" y="742"/>
                  </a:lnTo>
                  <a:lnTo>
                    <a:pt x="313" y="739"/>
                  </a:lnTo>
                  <a:lnTo>
                    <a:pt x="315" y="739"/>
                  </a:lnTo>
                  <a:lnTo>
                    <a:pt x="313" y="739"/>
                  </a:lnTo>
                  <a:lnTo>
                    <a:pt x="313" y="737"/>
                  </a:lnTo>
                  <a:lnTo>
                    <a:pt x="313" y="739"/>
                  </a:lnTo>
                  <a:lnTo>
                    <a:pt x="313" y="737"/>
                  </a:lnTo>
                  <a:lnTo>
                    <a:pt x="315" y="737"/>
                  </a:lnTo>
                  <a:close/>
                  <a:moveTo>
                    <a:pt x="351" y="701"/>
                  </a:moveTo>
                  <a:lnTo>
                    <a:pt x="353" y="701"/>
                  </a:lnTo>
                  <a:lnTo>
                    <a:pt x="353" y="704"/>
                  </a:lnTo>
                  <a:lnTo>
                    <a:pt x="351" y="701"/>
                  </a:lnTo>
                  <a:close/>
                  <a:moveTo>
                    <a:pt x="348" y="739"/>
                  </a:moveTo>
                  <a:lnTo>
                    <a:pt x="346" y="739"/>
                  </a:lnTo>
                  <a:lnTo>
                    <a:pt x="344" y="739"/>
                  </a:lnTo>
                  <a:lnTo>
                    <a:pt x="346" y="739"/>
                  </a:lnTo>
                  <a:lnTo>
                    <a:pt x="346" y="742"/>
                  </a:lnTo>
                  <a:lnTo>
                    <a:pt x="344" y="742"/>
                  </a:lnTo>
                  <a:lnTo>
                    <a:pt x="344" y="739"/>
                  </a:lnTo>
                  <a:lnTo>
                    <a:pt x="344" y="737"/>
                  </a:lnTo>
                  <a:lnTo>
                    <a:pt x="346" y="737"/>
                  </a:lnTo>
                  <a:lnTo>
                    <a:pt x="346" y="734"/>
                  </a:lnTo>
                  <a:lnTo>
                    <a:pt x="348" y="734"/>
                  </a:lnTo>
                  <a:lnTo>
                    <a:pt x="346" y="734"/>
                  </a:lnTo>
                  <a:lnTo>
                    <a:pt x="346" y="732"/>
                  </a:lnTo>
                  <a:lnTo>
                    <a:pt x="348" y="732"/>
                  </a:lnTo>
                  <a:lnTo>
                    <a:pt x="351" y="732"/>
                  </a:lnTo>
                  <a:lnTo>
                    <a:pt x="351" y="730"/>
                  </a:lnTo>
                  <a:lnTo>
                    <a:pt x="353" y="730"/>
                  </a:lnTo>
                  <a:lnTo>
                    <a:pt x="356" y="730"/>
                  </a:lnTo>
                  <a:lnTo>
                    <a:pt x="358" y="730"/>
                  </a:lnTo>
                  <a:lnTo>
                    <a:pt x="356" y="730"/>
                  </a:lnTo>
                  <a:lnTo>
                    <a:pt x="353" y="730"/>
                  </a:lnTo>
                  <a:lnTo>
                    <a:pt x="351" y="730"/>
                  </a:lnTo>
                  <a:lnTo>
                    <a:pt x="351" y="727"/>
                  </a:lnTo>
                  <a:lnTo>
                    <a:pt x="353" y="727"/>
                  </a:lnTo>
                  <a:lnTo>
                    <a:pt x="356" y="727"/>
                  </a:lnTo>
                  <a:lnTo>
                    <a:pt x="353" y="727"/>
                  </a:lnTo>
                  <a:lnTo>
                    <a:pt x="353" y="725"/>
                  </a:lnTo>
                  <a:lnTo>
                    <a:pt x="351" y="725"/>
                  </a:lnTo>
                  <a:lnTo>
                    <a:pt x="348" y="725"/>
                  </a:lnTo>
                  <a:lnTo>
                    <a:pt x="351" y="725"/>
                  </a:lnTo>
                  <a:lnTo>
                    <a:pt x="351" y="723"/>
                  </a:lnTo>
                  <a:lnTo>
                    <a:pt x="353" y="723"/>
                  </a:lnTo>
                  <a:lnTo>
                    <a:pt x="356" y="723"/>
                  </a:lnTo>
                  <a:lnTo>
                    <a:pt x="353" y="723"/>
                  </a:lnTo>
                  <a:lnTo>
                    <a:pt x="356" y="723"/>
                  </a:lnTo>
                  <a:lnTo>
                    <a:pt x="356" y="720"/>
                  </a:lnTo>
                  <a:lnTo>
                    <a:pt x="358" y="720"/>
                  </a:lnTo>
                  <a:lnTo>
                    <a:pt x="358" y="723"/>
                  </a:lnTo>
                  <a:lnTo>
                    <a:pt x="358" y="720"/>
                  </a:lnTo>
                  <a:lnTo>
                    <a:pt x="358" y="723"/>
                  </a:lnTo>
                  <a:lnTo>
                    <a:pt x="360" y="723"/>
                  </a:lnTo>
                  <a:lnTo>
                    <a:pt x="358" y="720"/>
                  </a:lnTo>
                  <a:lnTo>
                    <a:pt x="360" y="720"/>
                  </a:lnTo>
                  <a:lnTo>
                    <a:pt x="363" y="720"/>
                  </a:lnTo>
                  <a:lnTo>
                    <a:pt x="365" y="720"/>
                  </a:lnTo>
                  <a:lnTo>
                    <a:pt x="363" y="720"/>
                  </a:lnTo>
                  <a:lnTo>
                    <a:pt x="360" y="720"/>
                  </a:lnTo>
                  <a:lnTo>
                    <a:pt x="360" y="718"/>
                  </a:lnTo>
                  <a:lnTo>
                    <a:pt x="358" y="718"/>
                  </a:lnTo>
                  <a:lnTo>
                    <a:pt x="360" y="718"/>
                  </a:lnTo>
                  <a:lnTo>
                    <a:pt x="358" y="718"/>
                  </a:lnTo>
                  <a:lnTo>
                    <a:pt x="360" y="718"/>
                  </a:lnTo>
                  <a:lnTo>
                    <a:pt x="358" y="718"/>
                  </a:lnTo>
                  <a:lnTo>
                    <a:pt x="360" y="718"/>
                  </a:lnTo>
                  <a:lnTo>
                    <a:pt x="358" y="718"/>
                  </a:lnTo>
                  <a:lnTo>
                    <a:pt x="358" y="715"/>
                  </a:lnTo>
                  <a:lnTo>
                    <a:pt x="358" y="713"/>
                  </a:lnTo>
                  <a:lnTo>
                    <a:pt x="358" y="715"/>
                  </a:lnTo>
                  <a:lnTo>
                    <a:pt x="358" y="713"/>
                  </a:lnTo>
                  <a:lnTo>
                    <a:pt x="358" y="715"/>
                  </a:lnTo>
                  <a:lnTo>
                    <a:pt x="360" y="715"/>
                  </a:lnTo>
                  <a:lnTo>
                    <a:pt x="363" y="715"/>
                  </a:lnTo>
                  <a:lnTo>
                    <a:pt x="363" y="713"/>
                  </a:lnTo>
                  <a:lnTo>
                    <a:pt x="365" y="713"/>
                  </a:lnTo>
                  <a:lnTo>
                    <a:pt x="365" y="715"/>
                  </a:lnTo>
                  <a:lnTo>
                    <a:pt x="367" y="715"/>
                  </a:lnTo>
                  <a:lnTo>
                    <a:pt x="365" y="715"/>
                  </a:lnTo>
                  <a:lnTo>
                    <a:pt x="365" y="713"/>
                  </a:lnTo>
                  <a:lnTo>
                    <a:pt x="363" y="713"/>
                  </a:lnTo>
                  <a:lnTo>
                    <a:pt x="360" y="713"/>
                  </a:lnTo>
                  <a:lnTo>
                    <a:pt x="360" y="715"/>
                  </a:lnTo>
                  <a:lnTo>
                    <a:pt x="360" y="713"/>
                  </a:lnTo>
                  <a:lnTo>
                    <a:pt x="358" y="713"/>
                  </a:lnTo>
                  <a:lnTo>
                    <a:pt x="358" y="711"/>
                  </a:lnTo>
                  <a:lnTo>
                    <a:pt x="360" y="711"/>
                  </a:lnTo>
                  <a:lnTo>
                    <a:pt x="358" y="711"/>
                  </a:lnTo>
                  <a:lnTo>
                    <a:pt x="358" y="708"/>
                  </a:lnTo>
                  <a:lnTo>
                    <a:pt x="360" y="708"/>
                  </a:lnTo>
                  <a:lnTo>
                    <a:pt x="360" y="711"/>
                  </a:lnTo>
                  <a:lnTo>
                    <a:pt x="363" y="711"/>
                  </a:lnTo>
                  <a:lnTo>
                    <a:pt x="360" y="711"/>
                  </a:lnTo>
                  <a:lnTo>
                    <a:pt x="360" y="708"/>
                  </a:lnTo>
                  <a:lnTo>
                    <a:pt x="363" y="708"/>
                  </a:lnTo>
                  <a:lnTo>
                    <a:pt x="365" y="708"/>
                  </a:lnTo>
                  <a:lnTo>
                    <a:pt x="363" y="708"/>
                  </a:lnTo>
                  <a:lnTo>
                    <a:pt x="363" y="706"/>
                  </a:lnTo>
                  <a:lnTo>
                    <a:pt x="365" y="706"/>
                  </a:lnTo>
                  <a:lnTo>
                    <a:pt x="363" y="706"/>
                  </a:lnTo>
                  <a:lnTo>
                    <a:pt x="363" y="704"/>
                  </a:lnTo>
                  <a:lnTo>
                    <a:pt x="365" y="704"/>
                  </a:lnTo>
                  <a:lnTo>
                    <a:pt x="365" y="701"/>
                  </a:lnTo>
                  <a:lnTo>
                    <a:pt x="367" y="701"/>
                  </a:lnTo>
                  <a:lnTo>
                    <a:pt x="367" y="699"/>
                  </a:lnTo>
                  <a:lnTo>
                    <a:pt x="367" y="701"/>
                  </a:lnTo>
                  <a:lnTo>
                    <a:pt x="367" y="699"/>
                  </a:lnTo>
                  <a:lnTo>
                    <a:pt x="367" y="701"/>
                  </a:lnTo>
                  <a:lnTo>
                    <a:pt x="370" y="701"/>
                  </a:lnTo>
                  <a:lnTo>
                    <a:pt x="372" y="701"/>
                  </a:lnTo>
                  <a:lnTo>
                    <a:pt x="375" y="701"/>
                  </a:lnTo>
                  <a:lnTo>
                    <a:pt x="375" y="704"/>
                  </a:lnTo>
                  <a:lnTo>
                    <a:pt x="375" y="706"/>
                  </a:lnTo>
                  <a:lnTo>
                    <a:pt x="375" y="708"/>
                  </a:lnTo>
                  <a:lnTo>
                    <a:pt x="372" y="708"/>
                  </a:lnTo>
                  <a:lnTo>
                    <a:pt x="372" y="711"/>
                  </a:lnTo>
                  <a:lnTo>
                    <a:pt x="372" y="713"/>
                  </a:lnTo>
                  <a:lnTo>
                    <a:pt x="370" y="713"/>
                  </a:lnTo>
                  <a:lnTo>
                    <a:pt x="372" y="713"/>
                  </a:lnTo>
                  <a:lnTo>
                    <a:pt x="372" y="711"/>
                  </a:lnTo>
                  <a:lnTo>
                    <a:pt x="375" y="711"/>
                  </a:lnTo>
                  <a:lnTo>
                    <a:pt x="377" y="711"/>
                  </a:lnTo>
                  <a:lnTo>
                    <a:pt x="377" y="713"/>
                  </a:lnTo>
                  <a:lnTo>
                    <a:pt x="377" y="715"/>
                  </a:lnTo>
                  <a:lnTo>
                    <a:pt x="375" y="715"/>
                  </a:lnTo>
                  <a:lnTo>
                    <a:pt x="375" y="718"/>
                  </a:lnTo>
                  <a:lnTo>
                    <a:pt x="372" y="718"/>
                  </a:lnTo>
                  <a:lnTo>
                    <a:pt x="370" y="720"/>
                  </a:lnTo>
                  <a:lnTo>
                    <a:pt x="370" y="723"/>
                  </a:lnTo>
                  <a:lnTo>
                    <a:pt x="370" y="725"/>
                  </a:lnTo>
                  <a:lnTo>
                    <a:pt x="367" y="725"/>
                  </a:lnTo>
                  <a:lnTo>
                    <a:pt x="370" y="725"/>
                  </a:lnTo>
                  <a:lnTo>
                    <a:pt x="370" y="723"/>
                  </a:lnTo>
                  <a:lnTo>
                    <a:pt x="370" y="720"/>
                  </a:lnTo>
                  <a:lnTo>
                    <a:pt x="372" y="720"/>
                  </a:lnTo>
                  <a:lnTo>
                    <a:pt x="375" y="720"/>
                  </a:lnTo>
                  <a:lnTo>
                    <a:pt x="372" y="720"/>
                  </a:lnTo>
                  <a:lnTo>
                    <a:pt x="375" y="720"/>
                  </a:lnTo>
                  <a:lnTo>
                    <a:pt x="375" y="718"/>
                  </a:lnTo>
                  <a:lnTo>
                    <a:pt x="377" y="718"/>
                  </a:lnTo>
                  <a:lnTo>
                    <a:pt x="379" y="718"/>
                  </a:lnTo>
                  <a:lnTo>
                    <a:pt x="379" y="720"/>
                  </a:lnTo>
                  <a:lnTo>
                    <a:pt x="379" y="718"/>
                  </a:lnTo>
                  <a:lnTo>
                    <a:pt x="377" y="718"/>
                  </a:lnTo>
                  <a:lnTo>
                    <a:pt x="377" y="715"/>
                  </a:lnTo>
                  <a:lnTo>
                    <a:pt x="379" y="715"/>
                  </a:lnTo>
                  <a:lnTo>
                    <a:pt x="377" y="715"/>
                  </a:lnTo>
                  <a:lnTo>
                    <a:pt x="379" y="715"/>
                  </a:lnTo>
                  <a:lnTo>
                    <a:pt x="379" y="713"/>
                  </a:lnTo>
                  <a:lnTo>
                    <a:pt x="382" y="713"/>
                  </a:lnTo>
                  <a:lnTo>
                    <a:pt x="384" y="713"/>
                  </a:lnTo>
                  <a:lnTo>
                    <a:pt x="386" y="713"/>
                  </a:lnTo>
                  <a:lnTo>
                    <a:pt x="384" y="713"/>
                  </a:lnTo>
                  <a:lnTo>
                    <a:pt x="382" y="713"/>
                  </a:lnTo>
                  <a:lnTo>
                    <a:pt x="382" y="711"/>
                  </a:lnTo>
                  <a:lnTo>
                    <a:pt x="379" y="711"/>
                  </a:lnTo>
                  <a:lnTo>
                    <a:pt x="379" y="708"/>
                  </a:lnTo>
                  <a:lnTo>
                    <a:pt x="382" y="708"/>
                  </a:lnTo>
                  <a:lnTo>
                    <a:pt x="382" y="706"/>
                  </a:lnTo>
                  <a:lnTo>
                    <a:pt x="384" y="706"/>
                  </a:lnTo>
                  <a:lnTo>
                    <a:pt x="386" y="706"/>
                  </a:lnTo>
                  <a:lnTo>
                    <a:pt x="386" y="708"/>
                  </a:lnTo>
                  <a:lnTo>
                    <a:pt x="389" y="708"/>
                  </a:lnTo>
                  <a:lnTo>
                    <a:pt x="386" y="708"/>
                  </a:lnTo>
                  <a:lnTo>
                    <a:pt x="386" y="706"/>
                  </a:lnTo>
                  <a:lnTo>
                    <a:pt x="384" y="706"/>
                  </a:lnTo>
                  <a:lnTo>
                    <a:pt x="384" y="704"/>
                  </a:lnTo>
                  <a:lnTo>
                    <a:pt x="386" y="704"/>
                  </a:lnTo>
                  <a:lnTo>
                    <a:pt x="386" y="706"/>
                  </a:lnTo>
                  <a:lnTo>
                    <a:pt x="389" y="706"/>
                  </a:lnTo>
                  <a:lnTo>
                    <a:pt x="391" y="706"/>
                  </a:lnTo>
                  <a:lnTo>
                    <a:pt x="394" y="706"/>
                  </a:lnTo>
                  <a:lnTo>
                    <a:pt x="394" y="708"/>
                  </a:lnTo>
                  <a:lnTo>
                    <a:pt x="396" y="708"/>
                  </a:lnTo>
                  <a:lnTo>
                    <a:pt x="394" y="708"/>
                  </a:lnTo>
                  <a:lnTo>
                    <a:pt x="394" y="711"/>
                  </a:lnTo>
                  <a:lnTo>
                    <a:pt x="396" y="711"/>
                  </a:lnTo>
                  <a:lnTo>
                    <a:pt x="394" y="711"/>
                  </a:lnTo>
                  <a:lnTo>
                    <a:pt x="396" y="711"/>
                  </a:lnTo>
                  <a:lnTo>
                    <a:pt x="396" y="713"/>
                  </a:lnTo>
                  <a:lnTo>
                    <a:pt x="396" y="715"/>
                  </a:lnTo>
                  <a:lnTo>
                    <a:pt x="394" y="715"/>
                  </a:lnTo>
                  <a:lnTo>
                    <a:pt x="396" y="715"/>
                  </a:lnTo>
                  <a:lnTo>
                    <a:pt x="396" y="713"/>
                  </a:lnTo>
                  <a:lnTo>
                    <a:pt x="396" y="715"/>
                  </a:lnTo>
                  <a:lnTo>
                    <a:pt x="394" y="718"/>
                  </a:lnTo>
                  <a:lnTo>
                    <a:pt x="396" y="718"/>
                  </a:lnTo>
                  <a:lnTo>
                    <a:pt x="394" y="718"/>
                  </a:lnTo>
                  <a:lnTo>
                    <a:pt x="396" y="718"/>
                  </a:lnTo>
                  <a:lnTo>
                    <a:pt x="396" y="720"/>
                  </a:lnTo>
                  <a:lnTo>
                    <a:pt x="394" y="720"/>
                  </a:lnTo>
                  <a:lnTo>
                    <a:pt x="394" y="723"/>
                  </a:lnTo>
                  <a:lnTo>
                    <a:pt x="394" y="720"/>
                  </a:lnTo>
                  <a:lnTo>
                    <a:pt x="394" y="723"/>
                  </a:lnTo>
                  <a:lnTo>
                    <a:pt x="394" y="725"/>
                  </a:lnTo>
                  <a:lnTo>
                    <a:pt x="391" y="725"/>
                  </a:lnTo>
                  <a:lnTo>
                    <a:pt x="389" y="723"/>
                  </a:lnTo>
                  <a:lnTo>
                    <a:pt x="389" y="725"/>
                  </a:lnTo>
                  <a:lnTo>
                    <a:pt x="386" y="725"/>
                  </a:lnTo>
                  <a:lnTo>
                    <a:pt x="384" y="725"/>
                  </a:lnTo>
                  <a:lnTo>
                    <a:pt x="382" y="725"/>
                  </a:lnTo>
                  <a:lnTo>
                    <a:pt x="379" y="725"/>
                  </a:lnTo>
                  <a:lnTo>
                    <a:pt x="379" y="727"/>
                  </a:lnTo>
                  <a:lnTo>
                    <a:pt x="382" y="727"/>
                  </a:lnTo>
                  <a:lnTo>
                    <a:pt x="379" y="727"/>
                  </a:lnTo>
                  <a:lnTo>
                    <a:pt x="379" y="730"/>
                  </a:lnTo>
                  <a:lnTo>
                    <a:pt x="377" y="730"/>
                  </a:lnTo>
                  <a:lnTo>
                    <a:pt x="377" y="732"/>
                  </a:lnTo>
                  <a:lnTo>
                    <a:pt x="375" y="732"/>
                  </a:lnTo>
                  <a:lnTo>
                    <a:pt x="377" y="734"/>
                  </a:lnTo>
                  <a:lnTo>
                    <a:pt x="375" y="734"/>
                  </a:lnTo>
                  <a:lnTo>
                    <a:pt x="372" y="734"/>
                  </a:lnTo>
                  <a:lnTo>
                    <a:pt x="372" y="732"/>
                  </a:lnTo>
                  <a:lnTo>
                    <a:pt x="372" y="730"/>
                  </a:lnTo>
                  <a:lnTo>
                    <a:pt x="372" y="727"/>
                  </a:lnTo>
                  <a:lnTo>
                    <a:pt x="372" y="730"/>
                  </a:lnTo>
                  <a:lnTo>
                    <a:pt x="372" y="732"/>
                  </a:lnTo>
                  <a:lnTo>
                    <a:pt x="370" y="734"/>
                  </a:lnTo>
                  <a:lnTo>
                    <a:pt x="370" y="732"/>
                  </a:lnTo>
                  <a:lnTo>
                    <a:pt x="370" y="734"/>
                  </a:lnTo>
                  <a:lnTo>
                    <a:pt x="370" y="732"/>
                  </a:lnTo>
                  <a:lnTo>
                    <a:pt x="367" y="732"/>
                  </a:lnTo>
                  <a:lnTo>
                    <a:pt x="367" y="734"/>
                  </a:lnTo>
                  <a:lnTo>
                    <a:pt x="370" y="734"/>
                  </a:lnTo>
                  <a:lnTo>
                    <a:pt x="367" y="734"/>
                  </a:lnTo>
                  <a:lnTo>
                    <a:pt x="365" y="734"/>
                  </a:lnTo>
                  <a:lnTo>
                    <a:pt x="367" y="734"/>
                  </a:lnTo>
                  <a:lnTo>
                    <a:pt x="365" y="734"/>
                  </a:lnTo>
                  <a:lnTo>
                    <a:pt x="367" y="734"/>
                  </a:lnTo>
                  <a:lnTo>
                    <a:pt x="370" y="734"/>
                  </a:lnTo>
                  <a:lnTo>
                    <a:pt x="367" y="734"/>
                  </a:lnTo>
                  <a:lnTo>
                    <a:pt x="367" y="737"/>
                  </a:lnTo>
                  <a:lnTo>
                    <a:pt x="365" y="737"/>
                  </a:lnTo>
                  <a:lnTo>
                    <a:pt x="367" y="737"/>
                  </a:lnTo>
                  <a:lnTo>
                    <a:pt x="365" y="737"/>
                  </a:lnTo>
                  <a:lnTo>
                    <a:pt x="365" y="739"/>
                  </a:lnTo>
                  <a:lnTo>
                    <a:pt x="363" y="739"/>
                  </a:lnTo>
                  <a:lnTo>
                    <a:pt x="363" y="737"/>
                  </a:lnTo>
                  <a:lnTo>
                    <a:pt x="360" y="737"/>
                  </a:lnTo>
                  <a:lnTo>
                    <a:pt x="358" y="737"/>
                  </a:lnTo>
                  <a:lnTo>
                    <a:pt x="360" y="737"/>
                  </a:lnTo>
                  <a:lnTo>
                    <a:pt x="358" y="737"/>
                  </a:lnTo>
                  <a:lnTo>
                    <a:pt x="356" y="737"/>
                  </a:lnTo>
                  <a:lnTo>
                    <a:pt x="358" y="737"/>
                  </a:lnTo>
                  <a:lnTo>
                    <a:pt x="356" y="737"/>
                  </a:lnTo>
                  <a:lnTo>
                    <a:pt x="353" y="737"/>
                  </a:lnTo>
                  <a:lnTo>
                    <a:pt x="356" y="734"/>
                  </a:lnTo>
                  <a:lnTo>
                    <a:pt x="356" y="737"/>
                  </a:lnTo>
                  <a:lnTo>
                    <a:pt x="356" y="734"/>
                  </a:lnTo>
                  <a:lnTo>
                    <a:pt x="356" y="737"/>
                  </a:lnTo>
                  <a:lnTo>
                    <a:pt x="356" y="734"/>
                  </a:lnTo>
                  <a:lnTo>
                    <a:pt x="358" y="734"/>
                  </a:lnTo>
                  <a:lnTo>
                    <a:pt x="358" y="732"/>
                  </a:lnTo>
                  <a:lnTo>
                    <a:pt x="360" y="732"/>
                  </a:lnTo>
                  <a:lnTo>
                    <a:pt x="360" y="730"/>
                  </a:lnTo>
                  <a:lnTo>
                    <a:pt x="363" y="730"/>
                  </a:lnTo>
                  <a:lnTo>
                    <a:pt x="363" y="727"/>
                  </a:lnTo>
                  <a:lnTo>
                    <a:pt x="360" y="727"/>
                  </a:lnTo>
                  <a:lnTo>
                    <a:pt x="363" y="727"/>
                  </a:lnTo>
                  <a:lnTo>
                    <a:pt x="360" y="730"/>
                  </a:lnTo>
                  <a:lnTo>
                    <a:pt x="358" y="730"/>
                  </a:lnTo>
                  <a:lnTo>
                    <a:pt x="358" y="732"/>
                  </a:lnTo>
                  <a:lnTo>
                    <a:pt x="356" y="732"/>
                  </a:lnTo>
                  <a:lnTo>
                    <a:pt x="356" y="734"/>
                  </a:lnTo>
                  <a:lnTo>
                    <a:pt x="353" y="734"/>
                  </a:lnTo>
                  <a:lnTo>
                    <a:pt x="351" y="734"/>
                  </a:lnTo>
                  <a:lnTo>
                    <a:pt x="348" y="734"/>
                  </a:lnTo>
                  <a:lnTo>
                    <a:pt x="351" y="734"/>
                  </a:lnTo>
                  <a:lnTo>
                    <a:pt x="351" y="737"/>
                  </a:lnTo>
                  <a:lnTo>
                    <a:pt x="348" y="739"/>
                  </a:lnTo>
                  <a:lnTo>
                    <a:pt x="348" y="737"/>
                  </a:lnTo>
                  <a:lnTo>
                    <a:pt x="348" y="739"/>
                  </a:lnTo>
                  <a:lnTo>
                    <a:pt x="348" y="737"/>
                  </a:lnTo>
                  <a:lnTo>
                    <a:pt x="348" y="739"/>
                  </a:lnTo>
                  <a:close/>
                  <a:moveTo>
                    <a:pt x="327" y="713"/>
                  </a:moveTo>
                  <a:lnTo>
                    <a:pt x="325" y="713"/>
                  </a:lnTo>
                  <a:lnTo>
                    <a:pt x="327" y="713"/>
                  </a:lnTo>
                  <a:lnTo>
                    <a:pt x="325" y="713"/>
                  </a:lnTo>
                  <a:lnTo>
                    <a:pt x="325" y="711"/>
                  </a:lnTo>
                  <a:lnTo>
                    <a:pt x="327" y="711"/>
                  </a:lnTo>
                  <a:lnTo>
                    <a:pt x="329" y="711"/>
                  </a:lnTo>
                  <a:lnTo>
                    <a:pt x="329" y="708"/>
                  </a:lnTo>
                  <a:lnTo>
                    <a:pt x="327" y="708"/>
                  </a:lnTo>
                  <a:lnTo>
                    <a:pt x="329" y="708"/>
                  </a:lnTo>
                  <a:lnTo>
                    <a:pt x="329" y="711"/>
                  </a:lnTo>
                  <a:lnTo>
                    <a:pt x="329" y="713"/>
                  </a:lnTo>
                  <a:lnTo>
                    <a:pt x="332" y="713"/>
                  </a:lnTo>
                  <a:lnTo>
                    <a:pt x="329" y="713"/>
                  </a:lnTo>
                  <a:lnTo>
                    <a:pt x="329" y="715"/>
                  </a:lnTo>
                  <a:lnTo>
                    <a:pt x="332" y="715"/>
                  </a:lnTo>
                  <a:lnTo>
                    <a:pt x="332" y="713"/>
                  </a:lnTo>
                  <a:lnTo>
                    <a:pt x="329" y="713"/>
                  </a:lnTo>
                  <a:lnTo>
                    <a:pt x="332" y="713"/>
                  </a:lnTo>
                  <a:lnTo>
                    <a:pt x="332" y="711"/>
                  </a:lnTo>
                  <a:lnTo>
                    <a:pt x="332" y="708"/>
                  </a:lnTo>
                  <a:lnTo>
                    <a:pt x="334" y="708"/>
                  </a:lnTo>
                  <a:lnTo>
                    <a:pt x="334" y="711"/>
                  </a:lnTo>
                  <a:lnTo>
                    <a:pt x="334" y="713"/>
                  </a:lnTo>
                  <a:lnTo>
                    <a:pt x="334" y="711"/>
                  </a:lnTo>
                  <a:lnTo>
                    <a:pt x="334" y="713"/>
                  </a:lnTo>
                  <a:lnTo>
                    <a:pt x="337" y="713"/>
                  </a:lnTo>
                  <a:lnTo>
                    <a:pt x="337" y="711"/>
                  </a:lnTo>
                  <a:lnTo>
                    <a:pt x="339" y="711"/>
                  </a:lnTo>
                  <a:lnTo>
                    <a:pt x="341" y="711"/>
                  </a:lnTo>
                  <a:lnTo>
                    <a:pt x="339" y="711"/>
                  </a:lnTo>
                  <a:lnTo>
                    <a:pt x="339" y="713"/>
                  </a:lnTo>
                  <a:lnTo>
                    <a:pt x="339" y="711"/>
                  </a:lnTo>
                  <a:lnTo>
                    <a:pt x="339" y="713"/>
                  </a:lnTo>
                  <a:lnTo>
                    <a:pt x="341" y="713"/>
                  </a:lnTo>
                  <a:lnTo>
                    <a:pt x="341" y="711"/>
                  </a:lnTo>
                  <a:lnTo>
                    <a:pt x="341" y="713"/>
                  </a:lnTo>
                  <a:lnTo>
                    <a:pt x="341" y="711"/>
                  </a:lnTo>
                  <a:lnTo>
                    <a:pt x="344" y="711"/>
                  </a:lnTo>
                  <a:lnTo>
                    <a:pt x="341" y="711"/>
                  </a:lnTo>
                  <a:lnTo>
                    <a:pt x="341" y="708"/>
                  </a:lnTo>
                  <a:lnTo>
                    <a:pt x="344" y="708"/>
                  </a:lnTo>
                  <a:lnTo>
                    <a:pt x="341" y="708"/>
                  </a:lnTo>
                  <a:lnTo>
                    <a:pt x="341" y="706"/>
                  </a:lnTo>
                  <a:lnTo>
                    <a:pt x="344" y="706"/>
                  </a:lnTo>
                  <a:lnTo>
                    <a:pt x="344" y="708"/>
                  </a:lnTo>
                  <a:lnTo>
                    <a:pt x="344" y="711"/>
                  </a:lnTo>
                  <a:lnTo>
                    <a:pt x="346" y="711"/>
                  </a:lnTo>
                  <a:lnTo>
                    <a:pt x="344" y="711"/>
                  </a:lnTo>
                  <a:lnTo>
                    <a:pt x="344" y="708"/>
                  </a:lnTo>
                  <a:lnTo>
                    <a:pt x="346" y="708"/>
                  </a:lnTo>
                  <a:lnTo>
                    <a:pt x="344" y="708"/>
                  </a:lnTo>
                  <a:lnTo>
                    <a:pt x="346" y="708"/>
                  </a:lnTo>
                  <a:lnTo>
                    <a:pt x="344" y="706"/>
                  </a:lnTo>
                  <a:lnTo>
                    <a:pt x="346" y="706"/>
                  </a:lnTo>
                  <a:lnTo>
                    <a:pt x="346" y="708"/>
                  </a:lnTo>
                  <a:lnTo>
                    <a:pt x="348" y="708"/>
                  </a:lnTo>
                  <a:lnTo>
                    <a:pt x="348" y="706"/>
                  </a:lnTo>
                  <a:lnTo>
                    <a:pt x="346" y="706"/>
                  </a:lnTo>
                  <a:lnTo>
                    <a:pt x="346" y="704"/>
                  </a:lnTo>
                  <a:lnTo>
                    <a:pt x="346" y="706"/>
                  </a:lnTo>
                  <a:lnTo>
                    <a:pt x="344" y="706"/>
                  </a:lnTo>
                  <a:lnTo>
                    <a:pt x="344" y="704"/>
                  </a:lnTo>
                  <a:lnTo>
                    <a:pt x="346" y="704"/>
                  </a:lnTo>
                  <a:lnTo>
                    <a:pt x="344" y="704"/>
                  </a:lnTo>
                  <a:lnTo>
                    <a:pt x="346" y="704"/>
                  </a:lnTo>
                  <a:lnTo>
                    <a:pt x="346" y="701"/>
                  </a:lnTo>
                  <a:lnTo>
                    <a:pt x="344" y="701"/>
                  </a:lnTo>
                  <a:lnTo>
                    <a:pt x="344" y="699"/>
                  </a:lnTo>
                  <a:lnTo>
                    <a:pt x="346" y="699"/>
                  </a:lnTo>
                  <a:lnTo>
                    <a:pt x="346" y="696"/>
                  </a:lnTo>
                  <a:lnTo>
                    <a:pt x="348" y="696"/>
                  </a:lnTo>
                  <a:lnTo>
                    <a:pt x="351" y="696"/>
                  </a:lnTo>
                  <a:lnTo>
                    <a:pt x="348" y="699"/>
                  </a:lnTo>
                  <a:lnTo>
                    <a:pt x="351" y="699"/>
                  </a:lnTo>
                  <a:lnTo>
                    <a:pt x="348" y="699"/>
                  </a:lnTo>
                  <a:lnTo>
                    <a:pt x="351" y="699"/>
                  </a:lnTo>
                  <a:lnTo>
                    <a:pt x="348" y="699"/>
                  </a:lnTo>
                  <a:lnTo>
                    <a:pt x="351" y="699"/>
                  </a:lnTo>
                  <a:lnTo>
                    <a:pt x="348" y="699"/>
                  </a:lnTo>
                  <a:lnTo>
                    <a:pt x="351" y="699"/>
                  </a:lnTo>
                  <a:lnTo>
                    <a:pt x="348" y="699"/>
                  </a:lnTo>
                  <a:lnTo>
                    <a:pt x="348" y="701"/>
                  </a:lnTo>
                  <a:lnTo>
                    <a:pt x="346" y="701"/>
                  </a:lnTo>
                  <a:lnTo>
                    <a:pt x="348" y="701"/>
                  </a:lnTo>
                  <a:lnTo>
                    <a:pt x="351" y="701"/>
                  </a:lnTo>
                  <a:lnTo>
                    <a:pt x="348" y="701"/>
                  </a:lnTo>
                  <a:lnTo>
                    <a:pt x="351" y="701"/>
                  </a:lnTo>
                  <a:lnTo>
                    <a:pt x="348" y="701"/>
                  </a:lnTo>
                  <a:lnTo>
                    <a:pt x="351" y="701"/>
                  </a:lnTo>
                  <a:lnTo>
                    <a:pt x="348" y="701"/>
                  </a:lnTo>
                  <a:lnTo>
                    <a:pt x="351" y="701"/>
                  </a:lnTo>
                  <a:lnTo>
                    <a:pt x="348" y="701"/>
                  </a:lnTo>
                  <a:lnTo>
                    <a:pt x="348" y="704"/>
                  </a:lnTo>
                  <a:lnTo>
                    <a:pt x="351" y="701"/>
                  </a:lnTo>
                  <a:lnTo>
                    <a:pt x="351" y="704"/>
                  </a:lnTo>
                  <a:lnTo>
                    <a:pt x="353" y="704"/>
                  </a:lnTo>
                  <a:lnTo>
                    <a:pt x="353" y="706"/>
                  </a:lnTo>
                  <a:lnTo>
                    <a:pt x="353" y="708"/>
                  </a:lnTo>
                  <a:lnTo>
                    <a:pt x="353" y="706"/>
                  </a:lnTo>
                  <a:lnTo>
                    <a:pt x="353" y="708"/>
                  </a:lnTo>
                  <a:lnTo>
                    <a:pt x="351" y="708"/>
                  </a:lnTo>
                  <a:lnTo>
                    <a:pt x="353" y="708"/>
                  </a:lnTo>
                  <a:lnTo>
                    <a:pt x="351" y="708"/>
                  </a:lnTo>
                  <a:lnTo>
                    <a:pt x="353" y="708"/>
                  </a:lnTo>
                  <a:lnTo>
                    <a:pt x="353" y="706"/>
                  </a:lnTo>
                  <a:lnTo>
                    <a:pt x="353" y="708"/>
                  </a:lnTo>
                  <a:lnTo>
                    <a:pt x="353" y="706"/>
                  </a:lnTo>
                  <a:lnTo>
                    <a:pt x="356" y="706"/>
                  </a:lnTo>
                  <a:lnTo>
                    <a:pt x="356" y="708"/>
                  </a:lnTo>
                  <a:lnTo>
                    <a:pt x="356" y="711"/>
                  </a:lnTo>
                  <a:lnTo>
                    <a:pt x="356" y="708"/>
                  </a:lnTo>
                  <a:lnTo>
                    <a:pt x="356" y="711"/>
                  </a:lnTo>
                  <a:lnTo>
                    <a:pt x="353" y="711"/>
                  </a:lnTo>
                  <a:lnTo>
                    <a:pt x="353" y="713"/>
                  </a:lnTo>
                  <a:lnTo>
                    <a:pt x="356" y="713"/>
                  </a:lnTo>
                  <a:lnTo>
                    <a:pt x="358" y="713"/>
                  </a:lnTo>
                  <a:lnTo>
                    <a:pt x="358" y="715"/>
                  </a:lnTo>
                  <a:lnTo>
                    <a:pt x="358" y="718"/>
                  </a:lnTo>
                  <a:lnTo>
                    <a:pt x="356" y="718"/>
                  </a:lnTo>
                  <a:lnTo>
                    <a:pt x="353" y="718"/>
                  </a:lnTo>
                  <a:lnTo>
                    <a:pt x="353" y="720"/>
                  </a:lnTo>
                  <a:lnTo>
                    <a:pt x="351" y="720"/>
                  </a:lnTo>
                  <a:lnTo>
                    <a:pt x="348" y="720"/>
                  </a:lnTo>
                  <a:lnTo>
                    <a:pt x="346" y="723"/>
                  </a:lnTo>
                  <a:lnTo>
                    <a:pt x="344" y="723"/>
                  </a:lnTo>
                  <a:lnTo>
                    <a:pt x="341" y="723"/>
                  </a:lnTo>
                  <a:lnTo>
                    <a:pt x="339" y="723"/>
                  </a:lnTo>
                  <a:lnTo>
                    <a:pt x="339" y="720"/>
                  </a:lnTo>
                  <a:lnTo>
                    <a:pt x="339" y="723"/>
                  </a:lnTo>
                  <a:lnTo>
                    <a:pt x="339" y="720"/>
                  </a:lnTo>
                  <a:lnTo>
                    <a:pt x="337" y="720"/>
                  </a:lnTo>
                  <a:lnTo>
                    <a:pt x="339" y="720"/>
                  </a:lnTo>
                  <a:lnTo>
                    <a:pt x="337" y="720"/>
                  </a:lnTo>
                  <a:lnTo>
                    <a:pt x="339" y="718"/>
                  </a:lnTo>
                  <a:lnTo>
                    <a:pt x="339" y="720"/>
                  </a:lnTo>
                  <a:lnTo>
                    <a:pt x="339" y="718"/>
                  </a:lnTo>
                  <a:lnTo>
                    <a:pt x="341" y="718"/>
                  </a:lnTo>
                  <a:lnTo>
                    <a:pt x="344" y="718"/>
                  </a:lnTo>
                  <a:lnTo>
                    <a:pt x="341" y="718"/>
                  </a:lnTo>
                  <a:lnTo>
                    <a:pt x="344" y="718"/>
                  </a:lnTo>
                  <a:lnTo>
                    <a:pt x="346" y="718"/>
                  </a:lnTo>
                  <a:lnTo>
                    <a:pt x="344" y="718"/>
                  </a:lnTo>
                  <a:lnTo>
                    <a:pt x="346" y="718"/>
                  </a:lnTo>
                  <a:lnTo>
                    <a:pt x="344" y="718"/>
                  </a:lnTo>
                  <a:lnTo>
                    <a:pt x="346" y="718"/>
                  </a:lnTo>
                  <a:lnTo>
                    <a:pt x="346" y="715"/>
                  </a:lnTo>
                  <a:lnTo>
                    <a:pt x="348" y="715"/>
                  </a:lnTo>
                  <a:lnTo>
                    <a:pt x="348" y="713"/>
                  </a:lnTo>
                  <a:lnTo>
                    <a:pt x="346" y="713"/>
                  </a:lnTo>
                  <a:lnTo>
                    <a:pt x="344" y="713"/>
                  </a:lnTo>
                  <a:lnTo>
                    <a:pt x="346" y="713"/>
                  </a:lnTo>
                  <a:lnTo>
                    <a:pt x="346" y="715"/>
                  </a:lnTo>
                  <a:lnTo>
                    <a:pt x="346" y="713"/>
                  </a:lnTo>
                  <a:lnTo>
                    <a:pt x="346" y="715"/>
                  </a:lnTo>
                  <a:lnTo>
                    <a:pt x="344" y="715"/>
                  </a:lnTo>
                  <a:lnTo>
                    <a:pt x="341" y="715"/>
                  </a:lnTo>
                  <a:lnTo>
                    <a:pt x="344" y="715"/>
                  </a:lnTo>
                  <a:lnTo>
                    <a:pt x="341" y="715"/>
                  </a:lnTo>
                  <a:lnTo>
                    <a:pt x="344" y="715"/>
                  </a:lnTo>
                  <a:lnTo>
                    <a:pt x="344" y="713"/>
                  </a:lnTo>
                  <a:lnTo>
                    <a:pt x="341" y="713"/>
                  </a:lnTo>
                  <a:lnTo>
                    <a:pt x="344" y="713"/>
                  </a:lnTo>
                  <a:lnTo>
                    <a:pt x="341" y="715"/>
                  </a:lnTo>
                  <a:lnTo>
                    <a:pt x="341" y="718"/>
                  </a:lnTo>
                  <a:lnTo>
                    <a:pt x="339" y="718"/>
                  </a:lnTo>
                  <a:lnTo>
                    <a:pt x="339" y="715"/>
                  </a:lnTo>
                  <a:lnTo>
                    <a:pt x="339" y="718"/>
                  </a:lnTo>
                  <a:lnTo>
                    <a:pt x="339" y="715"/>
                  </a:lnTo>
                  <a:lnTo>
                    <a:pt x="339" y="718"/>
                  </a:lnTo>
                  <a:lnTo>
                    <a:pt x="337" y="718"/>
                  </a:lnTo>
                  <a:lnTo>
                    <a:pt x="337" y="715"/>
                  </a:lnTo>
                  <a:lnTo>
                    <a:pt x="339" y="715"/>
                  </a:lnTo>
                  <a:lnTo>
                    <a:pt x="337" y="715"/>
                  </a:lnTo>
                  <a:lnTo>
                    <a:pt x="337" y="718"/>
                  </a:lnTo>
                  <a:lnTo>
                    <a:pt x="337" y="715"/>
                  </a:lnTo>
                  <a:lnTo>
                    <a:pt x="337" y="718"/>
                  </a:lnTo>
                  <a:lnTo>
                    <a:pt x="337" y="715"/>
                  </a:lnTo>
                  <a:lnTo>
                    <a:pt x="337" y="718"/>
                  </a:lnTo>
                  <a:lnTo>
                    <a:pt x="334" y="718"/>
                  </a:lnTo>
                  <a:lnTo>
                    <a:pt x="334" y="715"/>
                  </a:lnTo>
                  <a:lnTo>
                    <a:pt x="332" y="715"/>
                  </a:lnTo>
                  <a:lnTo>
                    <a:pt x="334" y="715"/>
                  </a:lnTo>
                  <a:lnTo>
                    <a:pt x="334" y="718"/>
                  </a:lnTo>
                  <a:lnTo>
                    <a:pt x="332" y="718"/>
                  </a:lnTo>
                  <a:lnTo>
                    <a:pt x="334" y="718"/>
                  </a:lnTo>
                  <a:lnTo>
                    <a:pt x="332" y="718"/>
                  </a:lnTo>
                  <a:lnTo>
                    <a:pt x="332" y="720"/>
                  </a:lnTo>
                  <a:lnTo>
                    <a:pt x="329" y="720"/>
                  </a:lnTo>
                  <a:lnTo>
                    <a:pt x="332" y="720"/>
                  </a:lnTo>
                  <a:lnTo>
                    <a:pt x="329" y="720"/>
                  </a:lnTo>
                  <a:lnTo>
                    <a:pt x="327" y="723"/>
                  </a:lnTo>
                  <a:lnTo>
                    <a:pt x="327" y="720"/>
                  </a:lnTo>
                  <a:lnTo>
                    <a:pt x="327" y="723"/>
                  </a:lnTo>
                  <a:lnTo>
                    <a:pt x="327" y="720"/>
                  </a:lnTo>
                  <a:lnTo>
                    <a:pt x="327" y="723"/>
                  </a:lnTo>
                  <a:lnTo>
                    <a:pt x="325" y="723"/>
                  </a:lnTo>
                  <a:lnTo>
                    <a:pt x="325" y="720"/>
                  </a:lnTo>
                  <a:lnTo>
                    <a:pt x="325" y="723"/>
                  </a:lnTo>
                  <a:lnTo>
                    <a:pt x="325" y="720"/>
                  </a:lnTo>
                  <a:lnTo>
                    <a:pt x="325" y="723"/>
                  </a:lnTo>
                  <a:lnTo>
                    <a:pt x="325" y="720"/>
                  </a:lnTo>
                  <a:lnTo>
                    <a:pt x="325" y="718"/>
                  </a:lnTo>
                  <a:lnTo>
                    <a:pt x="325" y="720"/>
                  </a:lnTo>
                  <a:lnTo>
                    <a:pt x="325" y="718"/>
                  </a:lnTo>
                  <a:lnTo>
                    <a:pt x="322" y="718"/>
                  </a:lnTo>
                  <a:lnTo>
                    <a:pt x="325" y="718"/>
                  </a:lnTo>
                  <a:lnTo>
                    <a:pt x="322" y="718"/>
                  </a:lnTo>
                  <a:lnTo>
                    <a:pt x="322" y="715"/>
                  </a:lnTo>
                  <a:lnTo>
                    <a:pt x="325" y="715"/>
                  </a:lnTo>
                  <a:lnTo>
                    <a:pt x="327" y="715"/>
                  </a:lnTo>
                  <a:lnTo>
                    <a:pt x="325" y="715"/>
                  </a:lnTo>
                  <a:lnTo>
                    <a:pt x="327" y="715"/>
                  </a:lnTo>
                  <a:lnTo>
                    <a:pt x="327" y="713"/>
                  </a:lnTo>
                  <a:lnTo>
                    <a:pt x="327" y="715"/>
                  </a:lnTo>
                  <a:lnTo>
                    <a:pt x="327" y="713"/>
                  </a:lnTo>
                  <a:lnTo>
                    <a:pt x="329" y="713"/>
                  </a:lnTo>
                  <a:lnTo>
                    <a:pt x="329" y="715"/>
                  </a:lnTo>
                  <a:lnTo>
                    <a:pt x="329" y="713"/>
                  </a:lnTo>
                  <a:lnTo>
                    <a:pt x="327" y="713"/>
                  </a:lnTo>
                  <a:close/>
                  <a:moveTo>
                    <a:pt x="441" y="673"/>
                  </a:moveTo>
                  <a:lnTo>
                    <a:pt x="439" y="673"/>
                  </a:lnTo>
                  <a:lnTo>
                    <a:pt x="441" y="673"/>
                  </a:lnTo>
                  <a:lnTo>
                    <a:pt x="441" y="675"/>
                  </a:lnTo>
                  <a:lnTo>
                    <a:pt x="443" y="675"/>
                  </a:lnTo>
                  <a:lnTo>
                    <a:pt x="443" y="673"/>
                  </a:lnTo>
                  <a:lnTo>
                    <a:pt x="446" y="673"/>
                  </a:lnTo>
                  <a:lnTo>
                    <a:pt x="446" y="675"/>
                  </a:lnTo>
                  <a:lnTo>
                    <a:pt x="443" y="675"/>
                  </a:lnTo>
                  <a:lnTo>
                    <a:pt x="446" y="675"/>
                  </a:lnTo>
                  <a:lnTo>
                    <a:pt x="443" y="675"/>
                  </a:lnTo>
                  <a:lnTo>
                    <a:pt x="446" y="675"/>
                  </a:lnTo>
                  <a:lnTo>
                    <a:pt x="443" y="675"/>
                  </a:lnTo>
                  <a:lnTo>
                    <a:pt x="446" y="675"/>
                  </a:lnTo>
                  <a:lnTo>
                    <a:pt x="443" y="677"/>
                  </a:lnTo>
                  <a:lnTo>
                    <a:pt x="446" y="677"/>
                  </a:lnTo>
                  <a:lnTo>
                    <a:pt x="443" y="677"/>
                  </a:lnTo>
                  <a:lnTo>
                    <a:pt x="441" y="677"/>
                  </a:lnTo>
                  <a:lnTo>
                    <a:pt x="441" y="680"/>
                  </a:lnTo>
                  <a:lnTo>
                    <a:pt x="439" y="680"/>
                  </a:lnTo>
                  <a:lnTo>
                    <a:pt x="441" y="680"/>
                  </a:lnTo>
                  <a:lnTo>
                    <a:pt x="439" y="680"/>
                  </a:lnTo>
                  <a:lnTo>
                    <a:pt x="441" y="680"/>
                  </a:lnTo>
                  <a:lnTo>
                    <a:pt x="441" y="682"/>
                  </a:lnTo>
                  <a:lnTo>
                    <a:pt x="439" y="682"/>
                  </a:lnTo>
                  <a:lnTo>
                    <a:pt x="441" y="682"/>
                  </a:lnTo>
                  <a:lnTo>
                    <a:pt x="441" y="685"/>
                  </a:lnTo>
                  <a:lnTo>
                    <a:pt x="439" y="685"/>
                  </a:lnTo>
                  <a:lnTo>
                    <a:pt x="439" y="687"/>
                  </a:lnTo>
                  <a:lnTo>
                    <a:pt x="439" y="685"/>
                  </a:lnTo>
                  <a:lnTo>
                    <a:pt x="441" y="685"/>
                  </a:lnTo>
                  <a:lnTo>
                    <a:pt x="441" y="687"/>
                  </a:lnTo>
                  <a:lnTo>
                    <a:pt x="443" y="687"/>
                  </a:lnTo>
                  <a:lnTo>
                    <a:pt x="441" y="687"/>
                  </a:lnTo>
                  <a:lnTo>
                    <a:pt x="441" y="689"/>
                  </a:lnTo>
                  <a:lnTo>
                    <a:pt x="441" y="687"/>
                  </a:lnTo>
                  <a:lnTo>
                    <a:pt x="441" y="689"/>
                  </a:lnTo>
                  <a:lnTo>
                    <a:pt x="439" y="689"/>
                  </a:lnTo>
                  <a:lnTo>
                    <a:pt x="436" y="689"/>
                  </a:lnTo>
                  <a:lnTo>
                    <a:pt x="434" y="689"/>
                  </a:lnTo>
                  <a:lnTo>
                    <a:pt x="432" y="689"/>
                  </a:lnTo>
                  <a:lnTo>
                    <a:pt x="429" y="689"/>
                  </a:lnTo>
                  <a:lnTo>
                    <a:pt x="427" y="689"/>
                  </a:lnTo>
                  <a:lnTo>
                    <a:pt x="424" y="689"/>
                  </a:lnTo>
                  <a:lnTo>
                    <a:pt x="427" y="689"/>
                  </a:lnTo>
                  <a:lnTo>
                    <a:pt x="427" y="687"/>
                  </a:lnTo>
                  <a:lnTo>
                    <a:pt x="424" y="687"/>
                  </a:lnTo>
                  <a:lnTo>
                    <a:pt x="422" y="689"/>
                  </a:lnTo>
                  <a:lnTo>
                    <a:pt x="424" y="689"/>
                  </a:lnTo>
                  <a:lnTo>
                    <a:pt x="422" y="689"/>
                  </a:lnTo>
                  <a:lnTo>
                    <a:pt x="420" y="689"/>
                  </a:lnTo>
                  <a:lnTo>
                    <a:pt x="420" y="692"/>
                  </a:lnTo>
                  <a:lnTo>
                    <a:pt x="417" y="692"/>
                  </a:lnTo>
                  <a:lnTo>
                    <a:pt x="417" y="694"/>
                  </a:lnTo>
                  <a:lnTo>
                    <a:pt x="415" y="694"/>
                  </a:lnTo>
                  <a:lnTo>
                    <a:pt x="417" y="694"/>
                  </a:lnTo>
                  <a:lnTo>
                    <a:pt x="415" y="694"/>
                  </a:lnTo>
                  <a:lnTo>
                    <a:pt x="415" y="696"/>
                  </a:lnTo>
                  <a:lnTo>
                    <a:pt x="417" y="694"/>
                  </a:lnTo>
                  <a:lnTo>
                    <a:pt x="417" y="696"/>
                  </a:lnTo>
                  <a:lnTo>
                    <a:pt x="415" y="696"/>
                  </a:lnTo>
                  <a:lnTo>
                    <a:pt x="415" y="699"/>
                  </a:lnTo>
                  <a:lnTo>
                    <a:pt x="413" y="699"/>
                  </a:lnTo>
                  <a:lnTo>
                    <a:pt x="410" y="699"/>
                  </a:lnTo>
                  <a:lnTo>
                    <a:pt x="410" y="696"/>
                  </a:lnTo>
                  <a:lnTo>
                    <a:pt x="410" y="694"/>
                  </a:lnTo>
                  <a:lnTo>
                    <a:pt x="413" y="694"/>
                  </a:lnTo>
                  <a:lnTo>
                    <a:pt x="415" y="694"/>
                  </a:lnTo>
                  <a:lnTo>
                    <a:pt x="413" y="694"/>
                  </a:lnTo>
                  <a:lnTo>
                    <a:pt x="410" y="694"/>
                  </a:lnTo>
                  <a:lnTo>
                    <a:pt x="408" y="694"/>
                  </a:lnTo>
                  <a:lnTo>
                    <a:pt x="405" y="694"/>
                  </a:lnTo>
                  <a:lnTo>
                    <a:pt x="405" y="696"/>
                  </a:lnTo>
                  <a:lnTo>
                    <a:pt x="403" y="696"/>
                  </a:lnTo>
                  <a:lnTo>
                    <a:pt x="403" y="694"/>
                  </a:lnTo>
                  <a:lnTo>
                    <a:pt x="403" y="692"/>
                  </a:lnTo>
                  <a:lnTo>
                    <a:pt x="405" y="692"/>
                  </a:lnTo>
                  <a:lnTo>
                    <a:pt x="408" y="692"/>
                  </a:lnTo>
                  <a:lnTo>
                    <a:pt x="405" y="692"/>
                  </a:lnTo>
                  <a:lnTo>
                    <a:pt x="408" y="689"/>
                  </a:lnTo>
                  <a:lnTo>
                    <a:pt x="410" y="689"/>
                  </a:lnTo>
                  <a:lnTo>
                    <a:pt x="413" y="689"/>
                  </a:lnTo>
                  <a:lnTo>
                    <a:pt x="415" y="687"/>
                  </a:lnTo>
                  <a:lnTo>
                    <a:pt x="413" y="687"/>
                  </a:lnTo>
                  <a:lnTo>
                    <a:pt x="415" y="687"/>
                  </a:lnTo>
                  <a:lnTo>
                    <a:pt x="417" y="687"/>
                  </a:lnTo>
                  <a:lnTo>
                    <a:pt x="415" y="687"/>
                  </a:lnTo>
                  <a:lnTo>
                    <a:pt x="413" y="687"/>
                  </a:lnTo>
                  <a:lnTo>
                    <a:pt x="410" y="687"/>
                  </a:lnTo>
                  <a:lnTo>
                    <a:pt x="408" y="687"/>
                  </a:lnTo>
                  <a:lnTo>
                    <a:pt x="405" y="687"/>
                  </a:lnTo>
                  <a:lnTo>
                    <a:pt x="408" y="687"/>
                  </a:lnTo>
                  <a:lnTo>
                    <a:pt x="408" y="685"/>
                  </a:lnTo>
                  <a:lnTo>
                    <a:pt x="405" y="685"/>
                  </a:lnTo>
                  <a:lnTo>
                    <a:pt x="408" y="685"/>
                  </a:lnTo>
                  <a:lnTo>
                    <a:pt x="410" y="685"/>
                  </a:lnTo>
                  <a:lnTo>
                    <a:pt x="413" y="685"/>
                  </a:lnTo>
                  <a:lnTo>
                    <a:pt x="415" y="685"/>
                  </a:lnTo>
                  <a:lnTo>
                    <a:pt x="413" y="685"/>
                  </a:lnTo>
                  <a:lnTo>
                    <a:pt x="413" y="682"/>
                  </a:lnTo>
                  <a:lnTo>
                    <a:pt x="415" y="682"/>
                  </a:lnTo>
                  <a:lnTo>
                    <a:pt x="413" y="682"/>
                  </a:lnTo>
                  <a:lnTo>
                    <a:pt x="410" y="682"/>
                  </a:lnTo>
                  <a:lnTo>
                    <a:pt x="413" y="682"/>
                  </a:lnTo>
                  <a:lnTo>
                    <a:pt x="410" y="682"/>
                  </a:lnTo>
                  <a:lnTo>
                    <a:pt x="408" y="682"/>
                  </a:lnTo>
                  <a:lnTo>
                    <a:pt x="410" y="680"/>
                  </a:lnTo>
                  <a:lnTo>
                    <a:pt x="408" y="680"/>
                  </a:lnTo>
                  <a:lnTo>
                    <a:pt x="405" y="680"/>
                  </a:lnTo>
                  <a:lnTo>
                    <a:pt x="408" y="680"/>
                  </a:lnTo>
                  <a:lnTo>
                    <a:pt x="410" y="680"/>
                  </a:lnTo>
                  <a:lnTo>
                    <a:pt x="413" y="680"/>
                  </a:lnTo>
                  <a:lnTo>
                    <a:pt x="415" y="680"/>
                  </a:lnTo>
                  <a:lnTo>
                    <a:pt x="413" y="680"/>
                  </a:lnTo>
                  <a:lnTo>
                    <a:pt x="415" y="677"/>
                  </a:lnTo>
                  <a:lnTo>
                    <a:pt x="413" y="677"/>
                  </a:lnTo>
                  <a:lnTo>
                    <a:pt x="413" y="680"/>
                  </a:lnTo>
                  <a:lnTo>
                    <a:pt x="413" y="677"/>
                  </a:lnTo>
                  <a:lnTo>
                    <a:pt x="410" y="677"/>
                  </a:lnTo>
                  <a:lnTo>
                    <a:pt x="413" y="677"/>
                  </a:lnTo>
                  <a:lnTo>
                    <a:pt x="415" y="677"/>
                  </a:lnTo>
                  <a:lnTo>
                    <a:pt x="413" y="677"/>
                  </a:lnTo>
                  <a:lnTo>
                    <a:pt x="410" y="677"/>
                  </a:lnTo>
                  <a:lnTo>
                    <a:pt x="408" y="677"/>
                  </a:lnTo>
                  <a:lnTo>
                    <a:pt x="405" y="677"/>
                  </a:lnTo>
                  <a:lnTo>
                    <a:pt x="405" y="675"/>
                  </a:lnTo>
                  <a:lnTo>
                    <a:pt x="405" y="677"/>
                  </a:lnTo>
                  <a:lnTo>
                    <a:pt x="408" y="675"/>
                  </a:lnTo>
                  <a:lnTo>
                    <a:pt x="410" y="675"/>
                  </a:lnTo>
                  <a:lnTo>
                    <a:pt x="413" y="675"/>
                  </a:lnTo>
                  <a:lnTo>
                    <a:pt x="415" y="675"/>
                  </a:lnTo>
                  <a:lnTo>
                    <a:pt x="413" y="675"/>
                  </a:lnTo>
                  <a:lnTo>
                    <a:pt x="415" y="675"/>
                  </a:lnTo>
                  <a:lnTo>
                    <a:pt x="415" y="673"/>
                  </a:lnTo>
                  <a:lnTo>
                    <a:pt x="415" y="675"/>
                  </a:lnTo>
                  <a:lnTo>
                    <a:pt x="415" y="673"/>
                  </a:lnTo>
                  <a:lnTo>
                    <a:pt x="415" y="675"/>
                  </a:lnTo>
                  <a:lnTo>
                    <a:pt x="417" y="675"/>
                  </a:lnTo>
                  <a:lnTo>
                    <a:pt x="417" y="673"/>
                  </a:lnTo>
                  <a:lnTo>
                    <a:pt x="417" y="675"/>
                  </a:lnTo>
                  <a:lnTo>
                    <a:pt x="420" y="675"/>
                  </a:lnTo>
                  <a:lnTo>
                    <a:pt x="422" y="675"/>
                  </a:lnTo>
                  <a:lnTo>
                    <a:pt x="422" y="677"/>
                  </a:lnTo>
                  <a:lnTo>
                    <a:pt x="422" y="675"/>
                  </a:lnTo>
                  <a:lnTo>
                    <a:pt x="420" y="675"/>
                  </a:lnTo>
                  <a:lnTo>
                    <a:pt x="420" y="673"/>
                  </a:lnTo>
                  <a:lnTo>
                    <a:pt x="420" y="675"/>
                  </a:lnTo>
                  <a:lnTo>
                    <a:pt x="422" y="675"/>
                  </a:lnTo>
                  <a:lnTo>
                    <a:pt x="422" y="673"/>
                  </a:lnTo>
                  <a:lnTo>
                    <a:pt x="424" y="673"/>
                  </a:lnTo>
                  <a:lnTo>
                    <a:pt x="427" y="673"/>
                  </a:lnTo>
                  <a:lnTo>
                    <a:pt x="424" y="673"/>
                  </a:lnTo>
                  <a:lnTo>
                    <a:pt x="422" y="673"/>
                  </a:lnTo>
                  <a:lnTo>
                    <a:pt x="420" y="673"/>
                  </a:lnTo>
                  <a:lnTo>
                    <a:pt x="417" y="673"/>
                  </a:lnTo>
                  <a:lnTo>
                    <a:pt x="417" y="670"/>
                  </a:lnTo>
                  <a:lnTo>
                    <a:pt x="415" y="668"/>
                  </a:lnTo>
                  <a:lnTo>
                    <a:pt x="417" y="668"/>
                  </a:lnTo>
                  <a:lnTo>
                    <a:pt x="417" y="670"/>
                  </a:lnTo>
                  <a:lnTo>
                    <a:pt x="420" y="670"/>
                  </a:lnTo>
                  <a:lnTo>
                    <a:pt x="420" y="673"/>
                  </a:lnTo>
                  <a:lnTo>
                    <a:pt x="422" y="670"/>
                  </a:lnTo>
                  <a:lnTo>
                    <a:pt x="420" y="670"/>
                  </a:lnTo>
                  <a:lnTo>
                    <a:pt x="422" y="670"/>
                  </a:lnTo>
                  <a:lnTo>
                    <a:pt x="422" y="668"/>
                  </a:lnTo>
                  <a:lnTo>
                    <a:pt x="420" y="668"/>
                  </a:lnTo>
                  <a:lnTo>
                    <a:pt x="420" y="666"/>
                  </a:lnTo>
                  <a:lnTo>
                    <a:pt x="422" y="666"/>
                  </a:lnTo>
                  <a:lnTo>
                    <a:pt x="422" y="668"/>
                  </a:lnTo>
                  <a:lnTo>
                    <a:pt x="424" y="668"/>
                  </a:lnTo>
                  <a:lnTo>
                    <a:pt x="427" y="668"/>
                  </a:lnTo>
                  <a:lnTo>
                    <a:pt x="424" y="670"/>
                  </a:lnTo>
                  <a:lnTo>
                    <a:pt x="427" y="670"/>
                  </a:lnTo>
                  <a:lnTo>
                    <a:pt x="427" y="668"/>
                  </a:lnTo>
                  <a:lnTo>
                    <a:pt x="427" y="670"/>
                  </a:lnTo>
                  <a:lnTo>
                    <a:pt x="429" y="670"/>
                  </a:lnTo>
                  <a:lnTo>
                    <a:pt x="432" y="670"/>
                  </a:lnTo>
                  <a:lnTo>
                    <a:pt x="429" y="670"/>
                  </a:lnTo>
                  <a:lnTo>
                    <a:pt x="429" y="668"/>
                  </a:lnTo>
                  <a:lnTo>
                    <a:pt x="427" y="668"/>
                  </a:lnTo>
                  <a:lnTo>
                    <a:pt x="427" y="666"/>
                  </a:lnTo>
                  <a:lnTo>
                    <a:pt x="424" y="666"/>
                  </a:lnTo>
                  <a:lnTo>
                    <a:pt x="424" y="663"/>
                  </a:lnTo>
                  <a:lnTo>
                    <a:pt x="427" y="663"/>
                  </a:lnTo>
                  <a:lnTo>
                    <a:pt x="424" y="663"/>
                  </a:lnTo>
                  <a:lnTo>
                    <a:pt x="427" y="663"/>
                  </a:lnTo>
                  <a:lnTo>
                    <a:pt x="427" y="666"/>
                  </a:lnTo>
                  <a:lnTo>
                    <a:pt x="429" y="666"/>
                  </a:lnTo>
                  <a:lnTo>
                    <a:pt x="429" y="668"/>
                  </a:lnTo>
                  <a:lnTo>
                    <a:pt x="432" y="668"/>
                  </a:lnTo>
                  <a:lnTo>
                    <a:pt x="429" y="668"/>
                  </a:lnTo>
                  <a:lnTo>
                    <a:pt x="432" y="668"/>
                  </a:lnTo>
                  <a:lnTo>
                    <a:pt x="432" y="670"/>
                  </a:lnTo>
                  <a:lnTo>
                    <a:pt x="432" y="668"/>
                  </a:lnTo>
                  <a:lnTo>
                    <a:pt x="434" y="668"/>
                  </a:lnTo>
                  <a:lnTo>
                    <a:pt x="432" y="668"/>
                  </a:lnTo>
                  <a:lnTo>
                    <a:pt x="432" y="666"/>
                  </a:lnTo>
                  <a:lnTo>
                    <a:pt x="432" y="663"/>
                  </a:lnTo>
                  <a:lnTo>
                    <a:pt x="429" y="663"/>
                  </a:lnTo>
                  <a:lnTo>
                    <a:pt x="432" y="663"/>
                  </a:lnTo>
                  <a:lnTo>
                    <a:pt x="434" y="663"/>
                  </a:lnTo>
                  <a:lnTo>
                    <a:pt x="434" y="666"/>
                  </a:lnTo>
                  <a:lnTo>
                    <a:pt x="436" y="668"/>
                  </a:lnTo>
                  <a:lnTo>
                    <a:pt x="436" y="666"/>
                  </a:lnTo>
                  <a:lnTo>
                    <a:pt x="439" y="666"/>
                  </a:lnTo>
                  <a:lnTo>
                    <a:pt x="439" y="663"/>
                  </a:lnTo>
                  <a:lnTo>
                    <a:pt x="436" y="663"/>
                  </a:lnTo>
                  <a:lnTo>
                    <a:pt x="439" y="663"/>
                  </a:lnTo>
                  <a:lnTo>
                    <a:pt x="439" y="666"/>
                  </a:lnTo>
                  <a:lnTo>
                    <a:pt x="441" y="666"/>
                  </a:lnTo>
                  <a:lnTo>
                    <a:pt x="439" y="666"/>
                  </a:lnTo>
                  <a:lnTo>
                    <a:pt x="439" y="668"/>
                  </a:lnTo>
                  <a:lnTo>
                    <a:pt x="441" y="668"/>
                  </a:lnTo>
                  <a:lnTo>
                    <a:pt x="439" y="668"/>
                  </a:lnTo>
                  <a:lnTo>
                    <a:pt x="439" y="670"/>
                  </a:lnTo>
                  <a:lnTo>
                    <a:pt x="436" y="670"/>
                  </a:lnTo>
                  <a:lnTo>
                    <a:pt x="439" y="670"/>
                  </a:lnTo>
                  <a:lnTo>
                    <a:pt x="436" y="670"/>
                  </a:lnTo>
                  <a:lnTo>
                    <a:pt x="436" y="673"/>
                  </a:lnTo>
                  <a:lnTo>
                    <a:pt x="436" y="670"/>
                  </a:lnTo>
                  <a:lnTo>
                    <a:pt x="436" y="673"/>
                  </a:lnTo>
                  <a:lnTo>
                    <a:pt x="439" y="673"/>
                  </a:lnTo>
                  <a:lnTo>
                    <a:pt x="439" y="670"/>
                  </a:lnTo>
                  <a:lnTo>
                    <a:pt x="439" y="668"/>
                  </a:lnTo>
                  <a:lnTo>
                    <a:pt x="441" y="668"/>
                  </a:lnTo>
                  <a:lnTo>
                    <a:pt x="443" y="668"/>
                  </a:lnTo>
                  <a:lnTo>
                    <a:pt x="443" y="670"/>
                  </a:lnTo>
                  <a:lnTo>
                    <a:pt x="446" y="670"/>
                  </a:lnTo>
                  <a:lnTo>
                    <a:pt x="443" y="670"/>
                  </a:lnTo>
                  <a:lnTo>
                    <a:pt x="443" y="673"/>
                  </a:lnTo>
                  <a:lnTo>
                    <a:pt x="441" y="673"/>
                  </a:lnTo>
                  <a:close/>
                  <a:moveTo>
                    <a:pt x="847" y="647"/>
                  </a:moveTo>
                  <a:lnTo>
                    <a:pt x="849" y="647"/>
                  </a:lnTo>
                  <a:lnTo>
                    <a:pt x="849" y="649"/>
                  </a:lnTo>
                  <a:lnTo>
                    <a:pt x="847" y="649"/>
                  </a:lnTo>
                  <a:lnTo>
                    <a:pt x="844" y="649"/>
                  </a:lnTo>
                  <a:lnTo>
                    <a:pt x="847" y="649"/>
                  </a:lnTo>
                  <a:lnTo>
                    <a:pt x="849" y="649"/>
                  </a:lnTo>
                  <a:lnTo>
                    <a:pt x="851" y="649"/>
                  </a:lnTo>
                  <a:lnTo>
                    <a:pt x="851" y="651"/>
                  </a:lnTo>
                  <a:lnTo>
                    <a:pt x="851" y="649"/>
                  </a:lnTo>
                  <a:lnTo>
                    <a:pt x="851" y="651"/>
                  </a:lnTo>
                  <a:lnTo>
                    <a:pt x="851" y="654"/>
                  </a:lnTo>
                  <a:lnTo>
                    <a:pt x="851" y="651"/>
                  </a:lnTo>
                  <a:lnTo>
                    <a:pt x="851" y="654"/>
                  </a:lnTo>
                  <a:lnTo>
                    <a:pt x="851" y="656"/>
                  </a:lnTo>
                  <a:lnTo>
                    <a:pt x="851" y="658"/>
                  </a:lnTo>
                  <a:lnTo>
                    <a:pt x="849" y="658"/>
                  </a:lnTo>
                  <a:lnTo>
                    <a:pt x="851" y="658"/>
                  </a:lnTo>
                  <a:lnTo>
                    <a:pt x="854" y="658"/>
                  </a:lnTo>
                  <a:lnTo>
                    <a:pt x="851" y="656"/>
                  </a:lnTo>
                  <a:lnTo>
                    <a:pt x="854" y="656"/>
                  </a:lnTo>
                  <a:lnTo>
                    <a:pt x="851" y="656"/>
                  </a:lnTo>
                  <a:lnTo>
                    <a:pt x="854" y="656"/>
                  </a:lnTo>
                  <a:lnTo>
                    <a:pt x="854" y="654"/>
                  </a:lnTo>
                  <a:lnTo>
                    <a:pt x="851" y="654"/>
                  </a:lnTo>
                  <a:lnTo>
                    <a:pt x="854" y="654"/>
                  </a:lnTo>
                  <a:lnTo>
                    <a:pt x="851" y="654"/>
                  </a:lnTo>
                  <a:lnTo>
                    <a:pt x="854" y="654"/>
                  </a:lnTo>
                  <a:lnTo>
                    <a:pt x="854" y="651"/>
                  </a:lnTo>
                  <a:lnTo>
                    <a:pt x="851" y="651"/>
                  </a:lnTo>
                  <a:lnTo>
                    <a:pt x="854" y="651"/>
                  </a:lnTo>
                  <a:lnTo>
                    <a:pt x="854" y="649"/>
                  </a:lnTo>
                  <a:lnTo>
                    <a:pt x="854" y="651"/>
                  </a:lnTo>
                  <a:lnTo>
                    <a:pt x="854" y="649"/>
                  </a:lnTo>
                  <a:lnTo>
                    <a:pt x="856" y="649"/>
                  </a:lnTo>
                  <a:lnTo>
                    <a:pt x="854" y="649"/>
                  </a:lnTo>
                  <a:lnTo>
                    <a:pt x="856" y="649"/>
                  </a:lnTo>
                  <a:lnTo>
                    <a:pt x="856" y="651"/>
                  </a:lnTo>
                  <a:lnTo>
                    <a:pt x="854" y="651"/>
                  </a:lnTo>
                  <a:lnTo>
                    <a:pt x="856" y="651"/>
                  </a:lnTo>
                  <a:lnTo>
                    <a:pt x="859" y="651"/>
                  </a:lnTo>
                  <a:lnTo>
                    <a:pt x="856" y="651"/>
                  </a:lnTo>
                  <a:lnTo>
                    <a:pt x="859" y="649"/>
                  </a:lnTo>
                  <a:lnTo>
                    <a:pt x="859" y="651"/>
                  </a:lnTo>
                  <a:lnTo>
                    <a:pt x="861" y="651"/>
                  </a:lnTo>
                  <a:lnTo>
                    <a:pt x="859" y="651"/>
                  </a:lnTo>
                  <a:lnTo>
                    <a:pt x="861" y="651"/>
                  </a:lnTo>
                  <a:lnTo>
                    <a:pt x="859" y="651"/>
                  </a:lnTo>
                  <a:lnTo>
                    <a:pt x="861" y="651"/>
                  </a:lnTo>
                  <a:lnTo>
                    <a:pt x="863" y="651"/>
                  </a:lnTo>
                  <a:lnTo>
                    <a:pt x="861" y="651"/>
                  </a:lnTo>
                  <a:lnTo>
                    <a:pt x="861" y="654"/>
                  </a:lnTo>
                  <a:lnTo>
                    <a:pt x="859" y="654"/>
                  </a:lnTo>
                  <a:lnTo>
                    <a:pt x="861" y="654"/>
                  </a:lnTo>
                  <a:lnTo>
                    <a:pt x="863" y="654"/>
                  </a:lnTo>
                  <a:lnTo>
                    <a:pt x="863" y="651"/>
                  </a:lnTo>
                  <a:lnTo>
                    <a:pt x="863" y="654"/>
                  </a:lnTo>
                  <a:lnTo>
                    <a:pt x="863" y="651"/>
                  </a:lnTo>
                  <a:lnTo>
                    <a:pt x="866" y="651"/>
                  </a:lnTo>
                  <a:lnTo>
                    <a:pt x="863" y="651"/>
                  </a:lnTo>
                  <a:lnTo>
                    <a:pt x="866" y="651"/>
                  </a:lnTo>
                  <a:lnTo>
                    <a:pt x="866" y="654"/>
                  </a:lnTo>
                  <a:lnTo>
                    <a:pt x="868" y="654"/>
                  </a:lnTo>
                  <a:lnTo>
                    <a:pt x="868" y="656"/>
                  </a:lnTo>
                  <a:lnTo>
                    <a:pt x="868" y="658"/>
                  </a:lnTo>
                  <a:lnTo>
                    <a:pt x="870" y="658"/>
                  </a:lnTo>
                  <a:lnTo>
                    <a:pt x="868" y="658"/>
                  </a:lnTo>
                  <a:lnTo>
                    <a:pt x="868" y="661"/>
                  </a:lnTo>
                  <a:lnTo>
                    <a:pt x="870" y="661"/>
                  </a:lnTo>
                  <a:lnTo>
                    <a:pt x="870" y="663"/>
                  </a:lnTo>
                  <a:lnTo>
                    <a:pt x="870" y="666"/>
                  </a:lnTo>
                  <a:lnTo>
                    <a:pt x="868" y="666"/>
                  </a:lnTo>
                  <a:lnTo>
                    <a:pt x="866" y="666"/>
                  </a:lnTo>
                  <a:lnTo>
                    <a:pt x="866" y="668"/>
                  </a:lnTo>
                  <a:lnTo>
                    <a:pt x="863" y="668"/>
                  </a:lnTo>
                  <a:lnTo>
                    <a:pt x="859" y="666"/>
                  </a:lnTo>
                  <a:lnTo>
                    <a:pt x="856" y="666"/>
                  </a:lnTo>
                  <a:lnTo>
                    <a:pt x="851" y="663"/>
                  </a:lnTo>
                  <a:lnTo>
                    <a:pt x="849" y="661"/>
                  </a:lnTo>
                  <a:lnTo>
                    <a:pt x="847" y="661"/>
                  </a:lnTo>
                  <a:lnTo>
                    <a:pt x="844" y="658"/>
                  </a:lnTo>
                  <a:lnTo>
                    <a:pt x="842" y="658"/>
                  </a:lnTo>
                  <a:lnTo>
                    <a:pt x="842" y="656"/>
                  </a:lnTo>
                  <a:lnTo>
                    <a:pt x="842" y="654"/>
                  </a:lnTo>
                  <a:lnTo>
                    <a:pt x="844" y="654"/>
                  </a:lnTo>
                  <a:lnTo>
                    <a:pt x="844" y="651"/>
                  </a:lnTo>
                  <a:lnTo>
                    <a:pt x="844" y="649"/>
                  </a:lnTo>
                  <a:lnTo>
                    <a:pt x="842" y="649"/>
                  </a:lnTo>
                  <a:lnTo>
                    <a:pt x="844" y="649"/>
                  </a:lnTo>
                  <a:lnTo>
                    <a:pt x="844" y="647"/>
                  </a:lnTo>
                  <a:lnTo>
                    <a:pt x="844" y="649"/>
                  </a:lnTo>
                  <a:lnTo>
                    <a:pt x="844" y="647"/>
                  </a:lnTo>
                  <a:lnTo>
                    <a:pt x="842" y="647"/>
                  </a:lnTo>
                  <a:lnTo>
                    <a:pt x="844" y="647"/>
                  </a:lnTo>
                  <a:lnTo>
                    <a:pt x="842" y="647"/>
                  </a:lnTo>
                  <a:lnTo>
                    <a:pt x="844" y="647"/>
                  </a:lnTo>
                  <a:lnTo>
                    <a:pt x="847" y="647"/>
                  </a:lnTo>
                  <a:lnTo>
                    <a:pt x="849" y="647"/>
                  </a:lnTo>
                  <a:lnTo>
                    <a:pt x="847" y="647"/>
                  </a:lnTo>
                  <a:close/>
                  <a:moveTo>
                    <a:pt x="837" y="649"/>
                  </a:moveTo>
                  <a:lnTo>
                    <a:pt x="835" y="649"/>
                  </a:lnTo>
                  <a:lnTo>
                    <a:pt x="835" y="651"/>
                  </a:lnTo>
                  <a:lnTo>
                    <a:pt x="837" y="649"/>
                  </a:lnTo>
                  <a:lnTo>
                    <a:pt x="840" y="649"/>
                  </a:lnTo>
                  <a:lnTo>
                    <a:pt x="840" y="651"/>
                  </a:lnTo>
                  <a:lnTo>
                    <a:pt x="840" y="649"/>
                  </a:lnTo>
                  <a:lnTo>
                    <a:pt x="842" y="649"/>
                  </a:lnTo>
                  <a:lnTo>
                    <a:pt x="842" y="651"/>
                  </a:lnTo>
                  <a:lnTo>
                    <a:pt x="840" y="651"/>
                  </a:lnTo>
                  <a:lnTo>
                    <a:pt x="837" y="651"/>
                  </a:lnTo>
                  <a:lnTo>
                    <a:pt x="835" y="654"/>
                  </a:lnTo>
                  <a:lnTo>
                    <a:pt x="832" y="654"/>
                  </a:lnTo>
                  <a:lnTo>
                    <a:pt x="830" y="654"/>
                  </a:lnTo>
                  <a:lnTo>
                    <a:pt x="828" y="654"/>
                  </a:lnTo>
                  <a:lnTo>
                    <a:pt x="830" y="654"/>
                  </a:lnTo>
                  <a:lnTo>
                    <a:pt x="830" y="651"/>
                  </a:lnTo>
                  <a:lnTo>
                    <a:pt x="832" y="651"/>
                  </a:lnTo>
                  <a:lnTo>
                    <a:pt x="832" y="649"/>
                  </a:lnTo>
                  <a:lnTo>
                    <a:pt x="832" y="647"/>
                  </a:lnTo>
                  <a:lnTo>
                    <a:pt x="832" y="644"/>
                  </a:lnTo>
                  <a:lnTo>
                    <a:pt x="835" y="644"/>
                  </a:lnTo>
                  <a:lnTo>
                    <a:pt x="837" y="644"/>
                  </a:lnTo>
                  <a:lnTo>
                    <a:pt x="837" y="647"/>
                  </a:lnTo>
                  <a:lnTo>
                    <a:pt x="837" y="649"/>
                  </a:lnTo>
                  <a:lnTo>
                    <a:pt x="840" y="649"/>
                  </a:lnTo>
                  <a:lnTo>
                    <a:pt x="837" y="649"/>
                  </a:lnTo>
                  <a:close/>
                  <a:moveTo>
                    <a:pt x="590" y="618"/>
                  </a:moveTo>
                  <a:lnTo>
                    <a:pt x="593" y="618"/>
                  </a:lnTo>
                  <a:lnTo>
                    <a:pt x="593" y="616"/>
                  </a:lnTo>
                  <a:lnTo>
                    <a:pt x="593" y="618"/>
                  </a:lnTo>
                  <a:lnTo>
                    <a:pt x="595" y="616"/>
                  </a:lnTo>
                  <a:lnTo>
                    <a:pt x="595" y="618"/>
                  </a:lnTo>
                  <a:lnTo>
                    <a:pt x="595" y="616"/>
                  </a:lnTo>
                  <a:lnTo>
                    <a:pt x="598" y="616"/>
                  </a:lnTo>
                  <a:lnTo>
                    <a:pt x="598" y="618"/>
                  </a:lnTo>
                  <a:lnTo>
                    <a:pt x="598" y="620"/>
                  </a:lnTo>
                  <a:lnTo>
                    <a:pt x="598" y="618"/>
                  </a:lnTo>
                  <a:lnTo>
                    <a:pt x="598" y="616"/>
                  </a:lnTo>
                  <a:lnTo>
                    <a:pt x="600" y="616"/>
                  </a:lnTo>
                  <a:lnTo>
                    <a:pt x="600" y="618"/>
                  </a:lnTo>
                  <a:lnTo>
                    <a:pt x="600" y="620"/>
                  </a:lnTo>
                  <a:lnTo>
                    <a:pt x="602" y="620"/>
                  </a:lnTo>
                  <a:lnTo>
                    <a:pt x="600" y="620"/>
                  </a:lnTo>
                  <a:lnTo>
                    <a:pt x="602" y="620"/>
                  </a:lnTo>
                  <a:lnTo>
                    <a:pt x="602" y="618"/>
                  </a:lnTo>
                  <a:lnTo>
                    <a:pt x="602" y="620"/>
                  </a:lnTo>
                  <a:lnTo>
                    <a:pt x="602" y="618"/>
                  </a:lnTo>
                  <a:lnTo>
                    <a:pt x="602" y="620"/>
                  </a:lnTo>
                  <a:lnTo>
                    <a:pt x="605" y="620"/>
                  </a:lnTo>
                  <a:lnTo>
                    <a:pt x="602" y="620"/>
                  </a:lnTo>
                  <a:lnTo>
                    <a:pt x="605" y="620"/>
                  </a:lnTo>
                  <a:lnTo>
                    <a:pt x="607" y="620"/>
                  </a:lnTo>
                  <a:lnTo>
                    <a:pt x="605" y="620"/>
                  </a:lnTo>
                  <a:lnTo>
                    <a:pt x="605" y="623"/>
                  </a:lnTo>
                  <a:lnTo>
                    <a:pt x="605" y="620"/>
                  </a:lnTo>
                  <a:lnTo>
                    <a:pt x="607" y="620"/>
                  </a:lnTo>
                  <a:lnTo>
                    <a:pt x="607" y="623"/>
                  </a:lnTo>
                  <a:lnTo>
                    <a:pt x="607" y="625"/>
                  </a:lnTo>
                  <a:lnTo>
                    <a:pt x="605" y="625"/>
                  </a:lnTo>
                  <a:lnTo>
                    <a:pt x="602" y="625"/>
                  </a:lnTo>
                  <a:lnTo>
                    <a:pt x="600" y="625"/>
                  </a:lnTo>
                  <a:lnTo>
                    <a:pt x="598" y="625"/>
                  </a:lnTo>
                  <a:lnTo>
                    <a:pt x="595" y="625"/>
                  </a:lnTo>
                  <a:lnTo>
                    <a:pt x="595" y="623"/>
                  </a:lnTo>
                  <a:lnTo>
                    <a:pt x="593" y="623"/>
                  </a:lnTo>
                  <a:lnTo>
                    <a:pt x="590" y="623"/>
                  </a:lnTo>
                  <a:lnTo>
                    <a:pt x="588" y="623"/>
                  </a:lnTo>
                  <a:lnTo>
                    <a:pt x="588" y="620"/>
                  </a:lnTo>
                  <a:lnTo>
                    <a:pt x="586" y="620"/>
                  </a:lnTo>
                  <a:lnTo>
                    <a:pt x="586" y="618"/>
                  </a:lnTo>
                  <a:lnTo>
                    <a:pt x="588" y="618"/>
                  </a:lnTo>
                  <a:lnTo>
                    <a:pt x="590" y="618"/>
                  </a:lnTo>
                  <a:lnTo>
                    <a:pt x="590" y="620"/>
                  </a:lnTo>
                  <a:lnTo>
                    <a:pt x="590" y="618"/>
                  </a:lnTo>
                  <a:lnTo>
                    <a:pt x="588" y="618"/>
                  </a:lnTo>
                  <a:lnTo>
                    <a:pt x="590" y="618"/>
                  </a:lnTo>
                  <a:close/>
                  <a:moveTo>
                    <a:pt x="579" y="609"/>
                  </a:moveTo>
                  <a:lnTo>
                    <a:pt x="581" y="609"/>
                  </a:lnTo>
                  <a:lnTo>
                    <a:pt x="581" y="606"/>
                  </a:lnTo>
                  <a:lnTo>
                    <a:pt x="583" y="606"/>
                  </a:lnTo>
                  <a:lnTo>
                    <a:pt x="581" y="606"/>
                  </a:lnTo>
                  <a:lnTo>
                    <a:pt x="581" y="604"/>
                  </a:lnTo>
                  <a:lnTo>
                    <a:pt x="583" y="604"/>
                  </a:lnTo>
                  <a:lnTo>
                    <a:pt x="586" y="604"/>
                  </a:lnTo>
                  <a:lnTo>
                    <a:pt x="583" y="604"/>
                  </a:lnTo>
                  <a:lnTo>
                    <a:pt x="581" y="604"/>
                  </a:lnTo>
                  <a:lnTo>
                    <a:pt x="579" y="604"/>
                  </a:lnTo>
                  <a:lnTo>
                    <a:pt x="576" y="604"/>
                  </a:lnTo>
                  <a:lnTo>
                    <a:pt x="574" y="604"/>
                  </a:lnTo>
                  <a:lnTo>
                    <a:pt x="574" y="601"/>
                  </a:lnTo>
                  <a:lnTo>
                    <a:pt x="576" y="604"/>
                  </a:lnTo>
                  <a:lnTo>
                    <a:pt x="576" y="601"/>
                  </a:lnTo>
                  <a:lnTo>
                    <a:pt x="574" y="601"/>
                  </a:lnTo>
                  <a:lnTo>
                    <a:pt x="572" y="601"/>
                  </a:lnTo>
                  <a:lnTo>
                    <a:pt x="574" y="601"/>
                  </a:lnTo>
                  <a:lnTo>
                    <a:pt x="572" y="601"/>
                  </a:lnTo>
                  <a:lnTo>
                    <a:pt x="572" y="599"/>
                  </a:lnTo>
                  <a:lnTo>
                    <a:pt x="574" y="599"/>
                  </a:lnTo>
                  <a:lnTo>
                    <a:pt x="574" y="601"/>
                  </a:lnTo>
                  <a:lnTo>
                    <a:pt x="576" y="601"/>
                  </a:lnTo>
                  <a:lnTo>
                    <a:pt x="579" y="601"/>
                  </a:lnTo>
                  <a:lnTo>
                    <a:pt x="581" y="601"/>
                  </a:lnTo>
                  <a:lnTo>
                    <a:pt x="583" y="601"/>
                  </a:lnTo>
                  <a:lnTo>
                    <a:pt x="581" y="601"/>
                  </a:lnTo>
                  <a:lnTo>
                    <a:pt x="581" y="599"/>
                  </a:lnTo>
                  <a:lnTo>
                    <a:pt x="583" y="599"/>
                  </a:lnTo>
                  <a:lnTo>
                    <a:pt x="583" y="601"/>
                  </a:lnTo>
                  <a:lnTo>
                    <a:pt x="586" y="601"/>
                  </a:lnTo>
                  <a:lnTo>
                    <a:pt x="588" y="601"/>
                  </a:lnTo>
                  <a:lnTo>
                    <a:pt x="586" y="601"/>
                  </a:lnTo>
                  <a:lnTo>
                    <a:pt x="586" y="599"/>
                  </a:lnTo>
                  <a:lnTo>
                    <a:pt x="588" y="599"/>
                  </a:lnTo>
                  <a:lnTo>
                    <a:pt x="586" y="599"/>
                  </a:lnTo>
                  <a:lnTo>
                    <a:pt x="586" y="597"/>
                  </a:lnTo>
                  <a:lnTo>
                    <a:pt x="588" y="597"/>
                  </a:lnTo>
                  <a:lnTo>
                    <a:pt x="586" y="597"/>
                  </a:lnTo>
                  <a:lnTo>
                    <a:pt x="588" y="597"/>
                  </a:lnTo>
                  <a:lnTo>
                    <a:pt x="588" y="599"/>
                  </a:lnTo>
                  <a:lnTo>
                    <a:pt x="590" y="599"/>
                  </a:lnTo>
                  <a:lnTo>
                    <a:pt x="590" y="597"/>
                  </a:lnTo>
                  <a:lnTo>
                    <a:pt x="593" y="597"/>
                  </a:lnTo>
                  <a:lnTo>
                    <a:pt x="595" y="597"/>
                  </a:lnTo>
                  <a:lnTo>
                    <a:pt x="595" y="599"/>
                  </a:lnTo>
                  <a:lnTo>
                    <a:pt x="593" y="599"/>
                  </a:lnTo>
                  <a:lnTo>
                    <a:pt x="595" y="599"/>
                  </a:lnTo>
                  <a:lnTo>
                    <a:pt x="593" y="599"/>
                  </a:lnTo>
                  <a:lnTo>
                    <a:pt x="593" y="601"/>
                  </a:lnTo>
                  <a:lnTo>
                    <a:pt x="595" y="601"/>
                  </a:lnTo>
                  <a:lnTo>
                    <a:pt x="593" y="601"/>
                  </a:lnTo>
                  <a:lnTo>
                    <a:pt x="595" y="601"/>
                  </a:lnTo>
                  <a:lnTo>
                    <a:pt x="598" y="599"/>
                  </a:lnTo>
                  <a:lnTo>
                    <a:pt x="598" y="601"/>
                  </a:lnTo>
                  <a:lnTo>
                    <a:pt x="600" y="601"/>
                  </a:lnTo>
                  <a:lnTo>
                    <a:pt x="602" y="601"/>
                  </a:lnTo>
                  <a:lnTo>
                    <a:pt x="602" y="599"/>
                  </a:lnTo>
                  <a:lnTo>
                    <a:pt x="600" y="599"/>
                  </a:lnTo>
                  <a:lnTo>
                    <a:pt x="600" y="597"/>
                  </a:lnTo>
                  <a:lnTo>
                    <a:pt x="598" y="597"/>
                  </a:lnTo>
                  <a:lnTo>
                    <a:pt x="600" y="597"/>
                  </a:lnTo>
                  <a:lnTo>
                    <a:pt x="598" y="597"/>
                  </a:lnTo>
                  <a:lnTo>
                    <a:pt x="600" y="597"/>
                  </a:lnTo>
                  <a:lnTo>
                    <a:pt x="598" y="597"/>
                  </a:lnTo>
                  <a:lnTo>
                    <a:pt x="598" y="594"/>
                  </a:lnTo>
                  <a:lnTo>
                    <a:pt x="600" y="594"/>
                  </a:lnTo>
                  <a:lnTo>
                    <a:pt x="602" y="594"/>
                  </a:lnTo>
                  <a:lnTo>
                    <a:pt x="600" y="594"/>
                  </a:lnTo>
                  <a:lnTo>
                    <a:pt x="600" y="597"/>
                  </a:lnTo>
                  <a:lnTo>
                    <a:pt x="602" y="594"/>
                  </a:lnTo>
                  <a:lnTo>
                    <a:pt x="602" y="597"/>
                  </a:lnTo>
                  <a:lnTo>
                    <a:pt x="605" y="597"/>
                  </a:lnTo>
                  <a:lnTo>
                    <a:pt x="602" y="599"/>
                  </a:lnTo>
                  <a:lnTo>
                    <a:pt x="605" y="599"/>
                  </a:lnTo>
                  <a:lnTo>
                    <a:pt x="607" y="599"/>
                  </a:lnTo>
                  <a:lnTo>
                    <a:pt x="607" y="601"/>
                  </a:lnTo>
                  <a:lnTo>
                    <a:pt x="607" y="599"/>
                  </a:lnTo>
                  <a:lnTo>
                    <a:pt x="609" y="599"/>
                  </a:lnTo>
                  <a:lnTo>
                    <a:pt x="607" y="597"/>
                  </a:lnTo>
                  <a:lnTo>
                    <a:pt x="609" y="597"/>
                  </a:lnTo>
                  <a:lnTo>
                    <a:pt x="612" y="597"/>
                  </a:lnTo>
                  <a:lnTo>
                    <a:pt x="609" y="597"/>
                  </a:lnTo>
                  <a:lnTo>
                    <a:pt x="612" y="597"/>
                  </a:lnTo>
                  <a:lnTo>
                    <a:pt x="612" y="594"/>
                  </a:lnTo>
                  <a:lnTo>
                    <a:pt x="614" y="594"/>
                  </a:lnTo>
                  <a:lnTo>
                    <a:pt x="612" y="594"/>
                  </a:lnTo>
                  <a:lnTo>
                    <a:pt x="609" y="594"/>
                  </a:lnTo>
                  <a:lnTo>
                    <a:pt x="609" y="592"/>
                  </a:lnTo>
                  <a:lnTo>
                    <a:pt x="607" y="592"/>
                  </a:lnTo>
                  <a:lnTo>
                    <a:pt x="609" y="592"/>
                  </a:lnTo>
                  <a:lnTo>
                    <a:pt x="612" y="592"/>
                  </a:lnTo>
                  <a:lnTo>
                    <a:pt x="609" y="592"/>
                  </a:lnTo>
                  <a:lnTo>
                    <a:pt x="609" y="590"/>
                  </a:lnTo>
                  <a:lnTo>
                    <a:pt x="612" y="592"/>
                  </a:lnTo>
                  <a:lnTo>
                    <a:pt x="614" y="592"/>
                  </a:lnTo>
                  <a:lnTo>
                    <a:pt x="614" y="590"/>
                  </a:lnTo>
                  <a:lnTo>
                    <a:pt x="612" y="590"/>
                  </a:lnTo>
                  <a:lnTo>
                    <a:pt x="614" y="590"/>
                  </a:lnTo>
                  <a:lnTo>
                    <a:pt x="614" y="592"/>
                  </a:lnTo>
                  <a:lnTo>
                    <a:pt x="617" y="592"/>
                  </a:lnTo>
                  <a:lnTo>
                    <a:pt x="617" y="594"/>
                  </a:lnTo>
                  <a:lnTo>
                    <a:pt x="617" y="592"/>
                  </a:lnTo>
                  <a:lnTo>
                    <a:pt x="619" y="592"/>
                  </a:lnTo>
                  <a:lnTo>
                    <a:pt x="617" y="592"/>
                  </a:lnTo>
                  <a:lnTo>
                    <a:pt x="619" y="592"/>
                  </a:lnTo>
                  <a:lnTo>
                    <a:pt x="617" y="590"/>
                  </a:lnTo>
                  <a:lnTo>
                    <a:pt x="619" y="590"/>
                  </a:lnTo>
                  <a:lnTo>
                    <a:pt x="617" y="590"/>
                  </a:lnTo>
                  <a:lnTo>
                    <a:pt x="617" y="587"/>
                  </a:lnTo>
                  <a:lnTo>
                    <a:pt x="619" y="587"/>
                  </a:lnTo>
                  <a:lnTo>
                    <a:pt x="617" y="587"/>
                  </a:lnTo>
                  <a:lnTo>
                    <a:pt x="619" y="587"/>
                  </a:lnTo>
                  <a:lnTo>
                    <a:pt x="619" y="590"/>
                  </a:lnTo>
                  <a:lnTo>
                    <a:pt x="621" y="590"/>
                  </a:lnTo>
                  <a:lnTo>
                    <a:pt x="624" y="590"/>
                  </a:lnTo>
                  <a:lnTo>
                    <a:pt x="624" y="592"/>
                  </a:lnTo>
                  <a:lnTo>
                    <a:pt x="621" y="592"/>
                  </a:lnTo>
                  <a:lnTo>
                    <a:pt x="624" y="592"/>
                  </a:lnTo>
                  <a:lnTo>
                    <a:pt x="621" y="592"/>
                  </a:lnTo>
                  <a:lnTo>
                    <a:pt x="619" y="592"/>
                  </a:lnTo>
                  <a:lnTo>
                    <a:pt x="621" y="592"/>
                  </a:lnTo>
                  <a:lnTo>
                    <a:pt x="621" y="594"/>
                  </a:lnTo>
                  <a:lnTo>
                    <a:pt x="621" y="597"/>
                  </a:lnTo>
                  <a:lnTo>
                    <a:pt x="619" y="597"/>
                  </a:lnTo>
                  <a:lnTo>
                    <a:pt x="619" y="594"/>
                  </a:lnTo>
                  <a:lnTo>
                    <a:pt x="617" y="594"/>
                  </a:lnTo>
                  <a:lnTo>
                    <a:pt x="619" y="594"/>
                  </a:lnTo>
                  <a:lnTo>
                    <a:pt x="619" y="597"/>
                  </a:lnTo>
                  <a:lnTo>
                    <a:pt x="617" y="597"/>
                  </a:lnTo>
                  <a:lnTo>
                    <a:pt x="617" y="599"/>
                  </a:lnTo>
                  <a:lnTo>
                    <a:pt x="614" y="599"/>
                  </a:lnTo>
                  <a:lnTo>
                    <a:pt x="612" y="599"/>
                  </a:lnTo>
                  <a:lnTo>
                    <a:pt x="612" y="597"/>
                  </a:lnTo>
                  <a:lnTo>
                    <a:pt x="612" y="599"/>
                  </a:lnTo>
                  <a:lnTo>
                    <a:pt x="614" y="599"/>
                  </a:lnTo>
                  <a:lnTo>
                    <a:pt x="612" y="601"/>
                  </a:lnTo>
                  <a:lnTo>
                    <a:pt x="609" y="601"/>
                  </a:lnTo>
                  <a:lnTo>
                    <a:pt x="612" y="601"/>
                  </a:lnTo>
                  <a:lnTo>
                    <a:pt x="612" y="604"/>
                  </a:lnTo>
                  <a:lnTo>
                    <a:pt x="609" y="604"/>
                  </a:lnTo>
                  <a:lnTo>
                    <a:pt x="612" y="604"/>
                  </a:lnTo>
                  <a:lnTo>
                    <a:pt x="609" y="604"/>
                  </a:lnTo>
                  <a:lnTo>
                    <a:pt x="609" y="606"/>
                  </a:lnTo>
                  <a:lnTo>
                    <a:pt x="609" y="604"/>
                  </a:lnTo>
                  <a:lnTo>
                    <a:pt x="607" y="604"/>
                  </a:lnTo>
                  <a:lnTo>
                    <a:pt x="607" y="606"/>
                  </a:lnTo>
                  <a:lnTo>
                    <a:pt x="605" y="606"/>
                  </a:lnTo>
                  <a:lnTo>
                    <a:pt x="605" y="604"/>
                  </a:lnTo>
                  <a:lnTo>
                    <a:pt x="605" y="606"/>
                  </a:lnTo>
                  <a:lnTo>
                    <a:pt x="602" y="606"/>
                  </a:lnTo>
                  <a:lnTo>
                    <a:pt x="605" y="606"/>
                  </a:lnTo>
                  <a:lnTo>
                    <a:pt x="605" y="609"/>
                  </a:lnTo>
                  <a:lnTo>
                    <a:pt x="602" y="609"/>
                  </a:lnTo>
                  <a:lnTo>
                    <a:pt x="600" y="609"/>
                  </a:lnTo>
                  <a:lnTo>
                    <a:pt x="600" y="606"/>
                  </a:lnTo>
                  <a:lnTo>
                    <a:pt x="598" y="606"/>
                  </a:lnTo>
                  <a:lnTo>
                    <a:pt x="598" y="609"/>
                  </a:lnTo>
                  <a:lnTo>
                    <a:pt x="598" y="606"/>
                  </a:lnTo>
                  <a:lnTo>
                    <a:pt x="598" y="609"/>
                  </a:lnTo>
                  <a:lnTo>
                    <a:pt x="598" y="606"/>
                  </a:lnTo>
                  <a:lnTo>
                    <a:pt x="595" y="606"/>
                  </a:lnTo>
                  <a:lnTo>
                    <a:pt x="595" y="609"/>
                  </a:lnTo>
                  <a:lnTo>
                    <a:pt x="593" y="609"/>
                  </a:lnTo>
                  <a:lnTo>
                    <a:pt x="593" y="611"/>
                  </a:lnTo>
                  <a:lnTo>
                    <a:pt x="593" y="609"/>
                  </a:lnTo>
                  <a:lnTo>
                    <a:pt x="590" y="611"/>
                  </a:lnTo>
                  <a:lnTo>
                    <a:pt x="590" y="609"/>
                  </a:lnTo>
                  <a:lnTo>
                    <a:pt x="590" y="611"/>
                  </a:lnTo>
                  <a:lnTo>
                    <a:pt x="588" y="611"/>
                  </a:lnTo>
                  <a:lnTo>
                    <a:pt x="588" y="609"/>
                  </a:lnTo>
                  <a:lnTo>
                    <a:pt x="586" y="609"/>
                  </a:lnTo>
                  <a:lnTo>
                    <a:pt x="586" y="611"/>
                  </a:lnTo>
                  <a:lnTo>
                    <a:pt x="586" y="609"/>
                  </a:lnTo>
                  <a:lnTo>
                    <a:pt x="586" y="611"/>
                  </a:lnTo>
                  <a:lnTo>
                    <a:pt x="583" y="611"/>
                  </a:lnTo>
                  <a:lnTo>
                    <a:pt x="583" y="609"/>
                  </a:lnTo>
                  <a:lnTo>
                    <a:pt x="583" y="606"/>
                  </a:lnTo>
                  <a:lnTo>
                    <a:pt x="583" y="609"/>
                  </a:lnTo>
                  <a:lnTo>
                    <a:pt x="583" y="611"/>
                  </a:lnTo>
                  <a:lnTo>
                    <a:pt x="581" y="611"/>
                  </a:lnTo>
                  <a:lnTo>
                    <a:pt x="579" y="611"/>
                  </a:lnTo>
                  <a:lnTo>
                    <a:pt x="581" y="611"/>
                  </a:lnTo>
                  <a:lnTo>
                    <a:pt x="579" y="611"/>
                  </a:lnTo>
                  <a:lnTo>
                    <a:pt x="576" y="611"/>
                  </a:lnTo>
                  <a:lnTo>
                    <a:pt x="579" y="611"/>
                  </a:lnTo>
                  <a:lnTo>
                    <a:pt x="579" y="609"/>
                  </a:lnTo>
                  <a:close/>
                  <a:moveTo>
                    <a:pt x="851" y="606"/>
                  </a:moveTo>
                  <a:lnTo>
                    <a:pt x="849" y="606"/>
                  </a:lnTo>
                  <a:lnTo>
                    <a:pt x="851" y="606"/>
                  </a:lnTo>
                  <a:lnTo>
                    <a:pt x="854" y="606"/>
                  </a:lnTo>
                  <a:lnTo>
                    <a:pt x="851" y="606"/>
                  </a:lnTo>
                  <a:lnTo>
                    <a:pt x="854" y="606"/>
                  </a:lnTo>
                  <a:lnTo>
                    <a:pt x="856" y="606"/>
                  </a:lnTo>
                  <a:lnTo>
                    <a:pt x="859" y="606"/>
                  </a:lnTo>
                  <a:lnTo>
                    <a:pt x="859" y="609"/>
                  </a:lnTo>
                  <a:lnTo>
                    <a:pt x="856" y="609"/>
                  </a:lnTo>
                  <a:lnTo>
                    <a:pt x="859" y="609"/>
                  </a:lnTo>
                  <a:lnTo>
                    <a:pt x="859" y="611"/>
                  </a:lnTo>
                  <a:lnTo>
                    <a:pt x="861" y="611"/>
                  </a:lnTo>
                  <a:lnTo>
                    <a:pt x="863" y="611"/>
                  </a:lnTo>
                  <a:lnTo>
                    <a:pt x="861" y="613"/>
                  </a:lnTo>
                  <a:lnTo>
                    <a:pt x="863" y="613"/>
                  </a:lnTo>
                  <a:lnTo>
                    <a:pt x="861" y="613"/>
                  </a:lnTo>
                  <a:lnTo>
                    <a:pt x="863" y="613"/>
                  </a:lnTo>
                  <a:lnTo>
                    <a:pt x="866" y="613"/>
                  </a:lnTo>
                  <a:lnTo>
                    <a:pt x="868" y="613"/>
                  </a:lnTo>
                  <a:lnTo>
                    <a:pt x="870" y="613"/>
                  </a:lnTo>
                  <a:lnTo>
                    <a:pt x="870" y="616"/>
                  </a:lnTo>
                  <a:lnTo>
                    <a:pt x="873" y="616"/>
                  </a:lnTo>
                  <a:lnTo>
                    <a:pt x="873" y="618"/>
                  </a:lnTo>
                  <a:lnTo>
                    <a:pt x="873" y="620"/>
                  </a:lnTo>
                  <a:lnTo>
                    <a:pt x="873" y="623"/>
                  </a:lnTo>
                  <a:lnTo>
                    <a:pt x="870" y="623"/>
                  </a:lnTo>
                  <a:lnTo>
                    <a:pt x="868" y="623"/>
                  </a:lnTo>
                  <a:lnTo>
                    <a:pt x="866" y="623"/>
                  </a:lnTo>
                  <a:lnTo>
                    <a:pt x="863" y="625"/>
                  </a:lnTo>
                  <a:lnTo>
                    <a:pt x="863" y="623"/>
                  </a:lnTo>
                  <a:lnTo>
                    <a:pt x="863" y="625"/>
                  </a:lnTo>
                  <a:lnTo>
                    <a:pt x="863" y="623"/>
                  </a:lnTo>
                  <a:lnTo>
                    <a:pt x="863" y="625"/>
                  </a:lnTo>
                  <a:lnTo>
                    <a:pt x="861" y="625"/>
                  </a:lnTo>
                  <a:lnTo>
                    <a:pt x="859" y="625"/>
                  </a:lnTo>
                  <a:lnTo>
                    <a:pt x="856" y="625"/>
                  </a:lnTo>
                  <a:lnTo>
                    <a:pt x="854" y="625"/>
                  </a:lnTo>
                  <a:lnTo>
                    <a:pt x="854" y="628"/>
                  </a:lnTo>
                  <a:lnTo>
                    <a:pt x="851" y="628"/>
                  </a:lnTo>
                  <a:lnTo>
                    <a:pt x="849" y="628"/>
                  </a:lnTo>
                  <a:lnTo>
                    <a:pt x="849" y="630"/>
                  </a:lnTo>
                  <a:lnTo>
                    <a:pt x="849" y="632"/>
                  </a:lnTo>
                  <a:lnTo>
                    <a:pt x="847" y="632"/>
                  </a:lnTo>
                  <a:lnTo>
                    <a:pt x="844" y="632"/>
                  </a:lnTo>
                  <a:lnTo>
                    <a:pt x="842" y="632"/>
                  </a:lnTo>
                  <a:lnTo>
                    <a:pt x="842" y="635"/>
                  </a:lnTo>
                  <a:lnTo>
                    <a:pt x="844" y="635"/>
                  </a:lnTo>
                  <a:lnTo>
                    <a:pt x="842" y="635"/>
                  </a:lnTo>
                  <a:lnTo>
                    <a:pt x="840" y="635"/>
                  </a:lnTo>
                  <a:lnTo>
                    <a:pt x="837" y="635"/>
                  </a:lnTo>
                  <a:lnTo>
                    <a:pt x="835" y="635"/>
                  </a:lnTo>
                  <a:lnTo>
                    <a:pt x="832" y="635"/>
                  </a:lnTo>
                  <a:lnTo>
                    <a:pt x="830" y="635"/>
                  </a:lnTo>
                  <a:lnTo>
                    <a:pt x="828" y="635"/>
                  </a:lnTo>
                  <a:lnTo>
                    <a:pt x="825" y="635"/>
                  </a:lnTo>
                  <a:lnTo>
                    <a:pt x="823" y="635"/>
                  </a:lnTo>
                  <a:lnTo>
                    <a:pt x="821" y="635"/>
                  </a:lnTo>
                  <a:lnTo>
                    <a:pt x="821" y="632"/>
                  </a:lnTo>
                  <a:lnTo>
                    <a:pt x="821" y="635"/>
                  </a:lnTo>
                  <a:lnTo>
                    <a:pt x="818" y="635"/>
                  </a:lnTo>
                  <a:lnTo>
                    <a:pt x="818" y="632"/>
                  </a:lnTo>
                  <a:lnTo>
                    <a:pt x="816" y="632"/>
                  </a:lnTo>
                  <a:lnTo>
                    <a:pt x="814" y="632"/>
                  </a:lnTo>
                  <a:lnTo>
                    <a:pt x="811" y="632"/>
                  </a:lnTo>
                  <a:lnTo>
                    <a:pt x="809" y="632"/>
                  </a:lnTo>
                  <a:lnTo>
                    <a:pt x="806" y="632"/>
                  </a:lnTo>
                  <a:lnTo>
                    <a:pt x="804" y="632"/>
                  </a:lnTo>
                  <a:lnTo>
                    <a:pt x="804" y="630"/>
                  </a:lnTo>
                  <a:lnTo>
                    <a:pt x="802" y="630"/>
                  </a:lnTo>
                  <a:lnTo>
                    <a:pt x="799" y="630"/>
                  </a:lnTo>
                  <a:lnTo>
                    <a:pt x="797" y="630"/>
                  </a:lnTo>
                  <a:lnTo>
                    <a:pt x="795" y="630"/>
                  </a:lnTo>
                  <a:lnTo>
                    <a:pt x="792" y="630"/>
                  </a:lnTo>
                  <a:lnTo>
                    <a:pt x="795" y="630"/>
                  </a:lnTo>
                  <a:lnTo>
                    <a:pt x="797" y="630"/>
                  </a:lnTo>
                  <a:lnTo>
                    <a:pt x="795" y="630"/>
                  </a:lnTo>
                  <a:lnTo>
                    <a:pt x="795" y="632"/>
                  </a:lnTo>
                  <a:lnTo>
                    <a:pt x="792" y="632"/>
                  </a:lnTo>
                  <a:lnTo>
                    <a:pt x="795" y="632"/>
                  </a:lnTo>
                  <a:lnTo>
                    <a:pt x="795" y="635"/>
                  </a:lnTo>
                  <a:lnTo>
                    <a:pt x="795" y="632"/>
                  </a:lnTo>
                  <a:lnTo>
                    <a:pt x="797" y="632"/>
                  </a:lnTo>
                  <a:lnTo>
                    <a:pt x="799" y="632"/>
                  </a:lnTo>
                  <a:lnTo>
                    <a:pt x="799" y="635"/>
                  </a:lnTo>
                  <a:lnTo>
                    <a:pt x="797" y="635"/>
                  </a:lnTo>
                  <a:lnTo>
                    <a:pt x="799" y="635"/>
                  </a:lnTo>
                  <a:lnTo>
                    <a:pt x="802" y="635"/>
                  </a:lnTo>
                  <a:lnTo>
                    <a:pt x="804" y="635"/>
                  </a:lnTo>
                  <a:lnTo>
                    <a:pt x="806" y="635"/>
                  </a:lnTo>
                  <a:lnTo>
                    <a:pt x="806" y="637"/>
                  </a:lnTo>
                  <a:lnTo>
                    <a:pt x="809" y="637"/>
                  </a:lnTo>
                  <a:lnTo>
                    <a:pt x="809" y="635"/>
                  </a:lnTo>
                  <a:lnTo>
                    <a:pt x="809" y="637"/>
                  </a:lnTo>
                  <a:lnTo>
                    <a:pt x="811" y="637"/>
                  </a:lnTo>
                  <a:lnTo>
                    <a:pt x="809" y="637"/>
                  </a:lnTo>
                  <a:lnTo>
                    <a:pt x="809" y="639"/>
                  </a:lnTo>
                  <a:lnTo>
                    <a:pt x="811" y="639"/>
                  </a:lnTo>
                  <a:lnTo>
                    <a:pt x="811" y="637"/>
                  </a:lnTo>
                  <a:lnTo>
                    <a:pt x="811" y="639"/>
                  </a:lnTo>
                  <a:lnTo>
                    <a:pt x="814" y="639"/>
                  </a:lnTo>
                  <a:lnTo>
                    <a:pt x="814" y="637"/>
                  </a:lnTo>
                  <a:lnTo>
                    <a:pt x="814" y="639"/>
                  </a:lnTo>
                  <a:lnTo>
                    <a:pt x="816" y="639"/>
                  </a:lnTo>
                  <a:lnTo>
                    <a:pt x="816" y="637"/>
                  </a:lnTo>
                  <a:lnTo>
                    <a:pt x="816" y="639"/>
                  </a:lnTo>
                  <a:lnTo>
                    <a:pt x="818" y="639"/>
                  </a:lnTo>
                  <a:lnTo>
                    <a:pt x="821" y="639"/>
                  </a:lnTo>
                  <a:lnTo>
                    <a:pt x="823" y="639"/>
                  </a:lnTo>
                  <a:lnTo>
                    <a:pt x="821" y="639"/>
                  </a:lnTo>
                  <a:lnTo>
                    <a:pt x="823" y="639"/>
                  </a:lnTo>
                  <a:lnTo>
                    <a:pt x="825" y="639"/>
                  </a:lnTo>
                  <a:lnTo>
                    <a:pt x="825" y="642"/>
                  </a:lnTo>
                  <a:lnTo>
                    <a:pt x="828" y="642"/>
                  </a:lnTo>
                  <a:lnTo>
                    <a:pt x="825" y="642"/>
                  </a:lnTo>
                  <a:lnTo>
                    <a:pt x="828" y="642"/>
                  </a:lnTo>
                  <a:lnTo>
                    <a:pt x="825" y="642"/>
                  </a:lnTo>
                  <a:lnTo>
                    <a:pt x="825" y="644"/>
                  </a:lnTo>
                  <a:lnTo>
                    <a:pt x="823" y="644"/>
                  </a:lnTo>
                  <a:lnTo>
                    <a:pt x="821" y="644"/>
                  </a:lnTo>
                  <a:lnTo>
                    <a:pt x="818" y="647"/>
                  </a:lnTo>
                  <a:lnTo>
                    <a:pt x="821" y="647"/>
                  </a:lnTo>
                  <a:lnTo>
                    <a:pt x="818" y="647"/>
                  </a:lnTo>
                  <a:lnTo>
                    <a:pt x="816" y="647"/>
                  </a:lnTo>
                  <a:lnTo>
                    <a:pt x="818" y="647"/>
                  </a:lnTo>
                  <a:lnTo>
                    <a:pt x="818" y="649"/>
                  </a:lnTo>
                  <a:lnTo>
                    <a:pt x="818" y="647"/>
                  </a:lnTo>
                  <a:lnTo>
                    <a:pt x="818" y="649"/>
                  </a:lnTo>
                  <a:lnTo>
                    <a:pt x="818" y="647"/>
                  </a:lnTo>
                  <a:lnTo>
                    <a:pt x="821" y="647"/>
                  </a:lnTo>
                  <a:lnTo>
                    <a:pt x="821" y="644"/>
                  </a:lnTo>
                  <a:lnTo>
                    <a:pt x="823" y="644"/>
                  </a:lnTo>
                  <a:lnTo>
                    <a:pt x="825" y="644"/>
                  </a:lnTo>
                  <a:lnTo>
                    <a:pt x="823" y="644"/>
                  </a:lnTo>
                  <a:lnTo>
                    <a:pt x="825" y="644"/>
                  </a:lnTo>
                  <a:lnTo>
                    <a:pt x="823" y="644"/>
                  </a:lnTo>
                  <a:lnTo>
                    <a:pt x="825" y="644"/>
                  </a:lnTo>
                  <a:lnTo>
                    <a:pt x="828" y="644"/>
                  </a:lnTo>
                  <a:lnTo>
                    <a:pt x="830" y="644"/>
                  </a:lnTo>
                  <a:lnTo>
                    <a:pt x="830" y="647"/>
                  </a:lnTo>
                  <a:lnTo>
                    <a:pt x="830" y="649"/>
                  </a:lnTo>
                  <a:lnTo>
                    <a:pt x="830" y="651"/>
                  </a:lnTo>
                  <a:lnTo>
                    <a:pt x="828" y="651"/>
                  </a:lnTo>
                  <a:lnTo>
                    <a:pt x="828" y="654"/>
                  </a:lnTo>
                  <a:lnTo>
                    <a:pt x="825" y="654"/>
                  </a:lnTo>
                  <a:lnTo>
                    <a:pt x="828" y="654"/>
                  </a:lnTo>
                  <a:lnTo>
                    <a:pt x="825" y="654"/>
                  </a:lnTo>
                  <a:lnTo>
                    <a:pt x="825" y="656"/>
                  </a:lnTo>
                  <a:lnTo>
                    <a:pt x="823" y="656"/>
                  </a:lnTo>
                  <a:lnTo>
                    <a:pt x="821" y="656"/>
                  </a:lnTo>
                  <a:lnTo>
                    <a:pt x="818" y="656"/>
                  </a:lnTo>
                  <a:lnTo>
                    <a:pt x="818" y="658"/>
                  </a:lnTo>
                  <a:lnTo>
                    <a:pt x="818" y="656"/>
                  </a:lnTo>
                  <a:lnTo>
                    <a:pt x="821" y="656"/>
                  </a:lnTo>
                  <a:lnTo>
                    <a:pt x="821" y="658"/>
                  </a:lnTo>
                  <a:lnTo>
                    <a:pt x="821" y="656"/>
                  </a:lnTo>
                  <a:lnTo>
                    <a:pt x="823" y="658"/>
                  </a:lnTo>
                  <a:lnTo>
                    <a:pt x="823" y="656"/>
                  </a:lnTo>
                  <a:lnTo>
                    <a:pt x="823" y="658"/>
                  </a:lnTo>
                  <a:lnTo>
                    <a:pt x="821" y="658"/>
                  </a:lnTo>
                  <a:lnTo>
                    <a:pt x="821" y="661"/>
                  </a:lnTo>
                  <a:lnTo>
                    <a:pt x="821" y="658"/>
                  </a:lnTo>
                  <a:lnTo>
                    <a:pt x="821" y="661"/>
                  </a:lnTo>
                  <a:lnTo>
                    <a:pt x="823" y="661"/>
                  </a:lnTo>
                  <a:lnTo>
                    <a:pt x="823" y="658"/>
                  </a:lnTo>
                  <a:lnTo>
                    <a:pt x="825" y="656"/>
                  </a:lnTo>
                  <a:lnTo>
                    <a:pt x="828" y="656"/>
                  </a:lnTo>
                  <a:lnTo>
                    <a:pt x="828" y="654"/>
                  </a:lnTo>
                  <a:lnTo>
                    <a:pt x="830" y="654"/>
                  </a:lnTo>
                  <a:lnTo>
                    <a:pt x="832" y="654"/>
                  </a:lnTo>
                  <a:lnTo>
                    <a:pt x="835" y="654"/>
                  </a:lnTo>
                  <a:lnTo>
                    <a:pt x="835" y="656"/>
                  </a:lnTo>
                  <a:lnTo>
                    <a:pt x="835" y="654"/>
                  </a:lnTo>
                  <a:lnTo>
                    <a:pt x="837" y="654"/>
                  </a:lnTo>
                  <a:lnTo>
                    <a:pt x="840" y="654"/>
                  </a:lnTo>
                  <a:lnTo>
                    <a:pt x="840" y="651"/>
                  </a:lnTo>
                  <a:lnTo>
                    <a:pt x="840" y="654"/>
                  </a:lnTo>
                  <a:lnTo>
                    <a:pt x="840" y="651"/>
                  </a:lnTo>
                  <a:lnTo>
                    <a:pt x="840" y="654"/>
                  </a:lnTo>
                  <a:lnTo>
                    <a:pt x="840" y="656"/>
                  </a:lnTo>
                  <a:lnTo>
                    <a:pt x="837" y="656"/>
                  </a:lnTo>
                  <a:lnTo>
                    <a:pt x="835" y="656"/>
                  </a:lnTo>
                  <a:lnTo>
                    <a:pt x="837" y="656"/>
                  </a:lnTo>
                  <a:lnTo>
                    <a:pt x="840" y="656"/>
                  </a:lnTo>
                  <a:lnTo>
                    <a:pt x="842" y="656"/>
                  </a:lnTo>
                  <a:lnTo>
                    <a:pt x="840" y="656"/>
                  </a:lnTo>
                  <a:lnTo>
                    <a:pt x="842" y="656"/>
                  </a:lnTo>
                  <a:lnTo>
                    <a:pt x="842" y="658"/>
                  </a:lnTo>
                  <a:lnTo>
                    <a:pt x="842" y="661"/>
                  </a:lnTo>
                  <a:lnTo>
                    <a:pt x="844" y="663"/>
                  </a:lnTo>
                  <a:lnTo>
                    <a:pt x="844" y="666"/>
                  </a:lnTo>
                  <a:lnTo>
                    <a:pt x="844" y="668"/>
                  </a:lnTo>
                  <a:lnTo>
                    <a:pt x="842" y="668"/>
                  </a:lnTo>
                  <a:lnTo>
                    <a:pt x="842" y="670"/>
                  </a:lnTo>
                  <a:lnTo>
                    <a:pt x="840" y="673"/>
                  </a:lnTo>
                  <a:lnTo>
                    <a:pt x="840" y="675"/>
                  </a:lnTo>
                  <a:lnTo>
                    <a:pt x="837" y="675"/>
                  </a:lnTo>
                  <a:lnTo>
                    <a:pt x="835" y="675"/>
                  </a:lnTo>
                  <a:lnTo>
                    <a:pt x="835" y="673"/>
                  </a:lnTo>
                  <a:lnTo>
                    <a:pt x="832" y="673"/>
                  </a:lnTo>
                  <a:lnTo>
                    <a:pt x="832" y="675"/>
                  </a:lnTo>
                  <a:lnTo>
                    <a:pt x="830" y="675"/>
                  </a:lnTo>
                  <a:lnTo>
                    <a:pt x="828" y="677"/>
                  </a:lnTo>
                  <a:lnTo>
                    <a:pt x="825" y="680"/>
                  </a:lnTo>
                  <a:lnTo>
                    <a:pt x="823" y="680"/>
                  </a:lnTo>
                  <a:lnTo>
                    <a:pt x="821" y="680"/>
                  </a:lnTo>
                  <a:lnTo>
                    <a:pt x="818" y="680"/>
                  </a:lnTo>
                  <a:lnTo>
                    <a:pt x="816" y="680"/>
                  </a:lnTo>
                  <a:lnTo>
                    <a:pt x="816" y="682"/>
                  </a:lnTo>
                  <a:lnTo>
                    <a:pt x="814" y="682"/>
                  </a:lnTo>
                  <a:lnTo>
                    <a:pt x="814" y="685"/>
                  </a:lnTo>
                  <a:lnTo>
                    <a:pt x="816" y="685"/>
                  </a:lnTo>
                  <a:lnTo>
                    <a:pt x="816" y="687"/>
                  </a:lnTo>
                  <a:lnTo>
                    <a:pt x="814" y="687"/>
                  </a:lnTo>
                  <a:lnTo>
                    <a:pt x="814" y="689"/>
                  </a:lnTo>
                  <a:lnTo>
                    <a:pt x="814" y="692"/>
                  </a:lnTo>
                  <a:lnTo>
                    <a:pt x="811" y="694"/>
                  </a:lnTo>
                  <a:lnTo>
                    <a:pt x="809" y="694"/>
                  </a:lnTo>
                  <a:lnTo>
                    <a:pt x="809" y="696"/>
                  </a:lnTo>
                  <a:lnTo>
                    <a:pt x="806" y="696"/>
                  </a:lnTo>
                  <a:lnTo>
                    <a:pt x="804" y="696"/>
                  </a:lnTo>
                  <a:lnTo>
                    <a:pt x="802" y="694"/>
                  </a:lnTo>
                  <a:lnTo>
                    <a:pt x="799" y="694"/>
                  </a:lnTo>
                  <a:lnTo>
                    <a:pt x="799" y="692"/>
                  </a:lnTo>
                  <a:lnTo>
                    <a:pt x="799" y="689"/>
                  </a:lnTo>
                  <a:lnTo>
                    <a:pt x="799" y="687"/>
                  </a:lnTo>
                  <a:lnTo>
                    <a:pt x="799" y="685"/>
                  </a:lnTo>
                  <a:lnTo>
                    <a:pt x="806" y="680"/>
                  </a:lnTo>
                  <a:lnTo>
                    <a:pt x="811" y="675"/>
                  </a:lnTo>
                  <a:lnTo>
                    <a:pt x="814" y="675"/>
                  </a:lnTo>
                  <a:lnTo>
                    <a:pt x="816" y="670"/>
                  </a:lnTo>
                  <a:lnTo>
                    <a:pt x="814" y="663"/>
                  </a:lnTo>
                  <a:lnTo>
                    <a:pt x="809" y="658"/>
                  </a:lnTo>
                  <a:lnTo>
                    <a:pt x="804" y="656"/>
                  </a:lnTo>
                  <a:lnTo>
                    <a:pt x="792" y="651"/>
                  </a:lnTo>
                  <a:lnTo>
                    <a:pt x="787" y="651"/>
                  </a:lnTo>
                  <a:lnTo>
                    <a:pt x="785" y="649"/>
                  </a:lnTo>
                  <a:lnTo>
                    <a:pt x="783" y="649"/>
                  </a:lnTo>
                  <a:lnTo>
                    <a:pt x="785" y="647"/>
                  </a:lnTo>
                  <a:lnTo>
                    <a:pt x="783" y="647"/>
                  </a:lnTo>
                  <a:lnTo>
                    <a:pt x="778" y="644"/>
                  </a:lnTo>
                  <a:lnTo>
                    <a:pt x="776" y="642"/>
                  </a:lnTo>
                  <a:lnTo>
                    <a:pt x="773" y="639"/>
                  </a:lnTo>
                  <a:lnTo>
                    <a:pt x="771" y="639"/>
                  </a:lnTo>
                  <a:lnTo>
                    <a:pt x="771" y="637"/>
                  </a:lnTo>
                  <a:lnTo>
                    <a:pt x="771" y="635"/>
                  </a:lnTo>
                  <a:lnTo>
                    <a:pt x="768" y="635"/>
                  </a:lnTo>
                  <a:lnTo>
                    <a:pt x="766" y="635"/>
                  </a:lnTo>
                  <a:lnTo>
                    <a:pt x="764" y="635"/>
                  </a:lnTo>
                  <a:lnTo>
                    <a:pt x="761" y="635"/>
                  </a:lnTo>
                  <a:lnTo>
                    <a:pt x="759" y="635"/>
                  </a:lnTo>
                  <a:lnTo>
                    <a:pt x="757" y="635"/>
                  </a:lnTo>
                  <a:lnTo>
                    <a:pt x="757" y="637"/>
                  </a:lnTo>
                  <a:lnTo>
                    <a:pt x="754" y="637"/>
                  </a:lnTo>
                  <a:lnTo>
                    <a:pt x="752" y="639"/>
                  </a:lnTo>
                  <a:lnTo>
                    <a:pt x="749" y="639"/>
                  </a:lnTo>
                  <a:lnTo>
                    <a:pt x="749" y="642"/>
                  </a:lnTo>
                  <a:lnTo>
                    <a:pt x="747" y="642"/>
                  </a:lnTo>
                  <a:lnTo>
                    <a:pt x="745" y="642"/>
                  </a:lnTo>
                  <a:lnTo>
                    <a:pt x="745" y="644"/>
                  </a:lnTo>
                  <a:lnTo>
                    <a:pt x="742" y="644"/>
                  </a:lnTo>
                  <a:lnTo>
                    <a:pt x="740" y="644"/>
                  </a:lnTo>
                  <a:lnTo>
                    <a:pt x="738" y="644"/>
                  </a:lnTo>
                  <a:lnTo>
                    <a:pt x="738" y="642"/>
                  </a:lnTo>
                  <a:lnTo>
                    <a:pt x="738" y="644"/>
                  </a:lnTo>
                  <a:lnTo>
                    <a:pt x="735" y="644"/>
                  </a:lnTo>
                  <a:lnTo>
                    <a:pt x="735" y="642"/>
                  </a:lnTo>
                  <a:lnTo>
                    <a:pt x="733" y="642"/>
                  </a:lnTo>
                  <a:lnTo>
                    <a:pt x="730" y="642"/>
                  </a:lnTo>
                  <a:lnTo>
                    <a:pt x="728" y="642"/>
                  </a:lnTo>
                  <a:lnTo>
                    <a:pt x="726" y="642"/>
                  </a:lnTo>
                  <a:lnTo>
                    <a:pt x="723" y="642"/>
                  </a:lnTo>
                  <a:lnTo>
                    <a:pt x="721" y="642"/>
                  </a:lnTo>
                  <a:lnTo>
                    <a:pt x="721" y="644"/>
                  </a:lnTo>
                  <a:lnTo>
                    <a:pt x="721" y="647"/>
                  </a:lnTo>
                  <a:lnTo>
                    <a:pt x="719" y="647"/>
                  </a:lnTo>
                  <a:lnTo>
                    <a:pt x="719" y="649"/>
                  </a:lnTo>
                  <a:lnTo>
                    <a:pt x="716" y="649"/>
                  </a:lnTo>
                  <a:lnTo>
                    <a:pt x="714" y="651"/>
                  </a:lnTo>
                  <a:lnTo>
                    <a:pt x="714" y="654"/>
                  </a:lnTo>
                  <a:lnTo>
                    <a:pt x="711" y="654"/>
                  </a:lnTo>
                  <a:lnTo>
                    <a:pt x="711" y="656"/>
                  </a:lnTo>
                  <a:lnTo>
                    <a:pt x="709" y="656"/>
                  </a:lnTo>
                  <a:lnTo>
                    <a:pt x="707" y="656"/>
                  </a:lnTo>
                  <a:lnTo>
                    <a:pt x="704" y="656"/>
                  </a:lnTo>
                  <a:lnTo>
                    <a:pt x="704" y="658"/>
                  </a:lnTo>
                  <a:lnTo>
                    <a:pt x="702" y="658"/>
                  </a:lnTo>
                  <a:lnTo>
                    <a:pt x="704" y="661"/>
                  </a:lnTo>
                  <a:lnTo>
                    <a:pt x="704" y="663"/>
                  </a:lnTo>
                  <a:lnTo>
                    <a:pt x="704" y="666"/>
                  </a:lnTo>
                  <a:lnTo>
                    <a:pt x="702" y="666"/>
                  </a:lnTo>
                  <a:lnTo>
                    <a:pt x="702" y="668"/>
                  </a:lnTo>
                  <a:lnTo>
                    <a:pt x="702" y="670"/>
                  </a:lnTo>
                  <a:lnTo>
                    <a:pt x="700" y="670"/>
                  </a:lnTo>
                  <a:lnTo>
                    <a:pt x="700" y="673"/>
                  </a:lnTo>
                  <a:lnTo>
                    <a:pt x="700" y="675"/>
                  </a:lnTo>
                  <a:lnTo>
                    <a:pt x="702" y="675"/>
                  </a:lnTo>
                  <a:lnTo>
                    <a:pt x="700" y="675"/>
                  </a:lnTo>
                  <a:lnTo>
                    <a:pt x="700" y="677"/>
                  </a:lnTo>
                  <a:lnTo>
                    <a:pt x="700" y="680"/>
                  </a:lnTo>
                  <a:lnTo>
                    <a:pt x="697" y="680"/>
                  </a:lnTo>
                  <a:lnTo>
                    <a:pt x="697" y="682"/>
                  </a:lnTo>
                  <a:lnTo>
                    <a:pt x="697" y="685"/>
                  </a:lnTo>
                  <a:lnTo>
                    <a:pt x="697" y="687"/>
                  </a:lnTo>
                  <a:lnTo>
                    <a:pt x="697" y="689"/>
                  </a:lnTo>
                  <a:lnTo>
                    <a:pt x="697" y="692"/>
                  </a:lnTo>
                  <a:lnTo>
                    <a:pt x="697" y="694"/>
                  </a:lnTo>
                  <a:lnTo>
                    <a:pt x="697" y="696"/>
                  </a:lnTo>
                  <a:lnTo>
                    <a:pt x="700" y="696"/>
                  </a:lnTo>
                  <a:lnTo>
                    <a:pt x="700" y="699"/>
                  </a:lnTo>
                  <a:lnTo>
                    <a:pt x="697" y="699"/>
                  </a:lnTo>
                  <a:lnTo>
                    <a:pt x="697" y="701"/>
                  </a:lnTo>
                  <a:lnTo>
                    <a:pt x="695" y="701"/>
                  </a:lnTo>
                  <a:lnTo>
                    <a:pt x="695" y="704"/>
                  </a:lnTo>
                  <a:lnTo>
                    <a:pt x="693" y="706"/>
                  </a:lnTo>
                  <a:lnTo>
                    <a:pt x="690" y="706"/>
                  </a:lnTo>
                  <a:lnTo>
                    <a:pt x="690" y="704"/>
                  </a:lnTo>
                  <a:lnTo>
                    <a:pt x="688" y="704"/>
                  </a:lnTo>
                  <a:lnTo>
                    <a:pt x="685" y="704"/>
                  </a:lnTo>
                  <a:lnTo>
                    <a:pt x="688" y="706"/>
                  </a:lnTo>
                  <a:lnTo>
                    <a:pt x="685" y="706"/>
                  </a:lnTo>
                  <a:lnTo>
                    <a:pt x="683" y="706"/>
                  </a:lnTo>
                  <a:lnTo>
                    <a:pt x="681" y="708"/>
                  </a:lnTo>
                  <a:lnTo>
                    <a:pt x="681" y="711"/>
                  </a:lnTo>
                  <a:lnTo>
                    <a:pt x="678" y="711"/>
                  </a:lnTo>
                  <a:lnTo>
                    <a:pt x="678" y="713"/>
                  </a:lnTo>
                  <a:lnTo>
                    <a:pt x="678" y="715"/>
                  </a:lnTo>
                  <a:lnTo>
                    <a:pt x="676" y="715"/>
                  </a:lnTo>
                  <a:lnTo>
                    <a:pt x="678" y="715"/>
                  </a:lnTo>
                  <a:lnTo>
                    <a:pt x="676" y="718"/>
                  </a:lnTo>
                  <a:lnTo>
                    <a:pt x="678" y="718"/>
                  </a:lnTo>
                  <a:lnTo>
                    <a:pt x="678" y="720"/>
                  </a:lnTo>
                  <a:lnTo>
                    <a:pt x="676" y="720"/>
                  </a:lnTo>
                  <a:lnTo>
                    <a:pt x="674" y="720"/>
                  </a:lnTo>
                  <a:lnTo>
                    <a:pt x="671" y="720"/>
                  </a:lnTo>
                  <a:lnTo>
                    <a:pt x="671" y="723"/>
                  </a:lnTo>
                  <a:lnTo>
                    <a:pt x="671" y="725"/>
                  </a:lnTo>
                  <a:lnTo>
                    <a:pt x="669" y="725"/>
                  </a:lnTo>
                  <a:lnTo>
                    <a:pt x="669" y="723"/>
                  </a:lnTo>
                  <a:lnTo>
                    <a:pt x="666" y="720"/>
                  </a:lnTo>
                  <a:lnTo>
                    <a:pt x="664" y="718"/>
                  </a:lnTo>
                  <a:lnTo>
                    <a:pt x="662" y="718"/>
                  </a:lnTo>
                  <a:lnTo>
                    <a:pt x="650" y="715"/>
                  </a:lnTo>
                  <a:lnTo>
                    <a:pt x="647" y="713"/>
                  </a:lnTo>
                  <a:lnTo>
                    <a:pt x="645" y="713"/>
                  </a:lnTo>
                  <a:lnTo>
                    <a:pt x="645" y="711"/>
                  </a:lnTo>
                  <a:lnTo>
                    <a:pt x="643" y="711"/>
                  </a:lnTo>
                  <a:lnTo>
                    <a:pt x="640" y="708"/>
                  </a:lnTo>
                  <a:lnTo>
                    <a:pt x="636" y="708"/>
                  </a:lnTo>
                  <a:lnTo>
                    <a:pt x="633" y="708"/>
                  </a:lnTo>
                  <a:lnTo>
                    <a:pt x="631" y="713"/>
                  </a:lnTo>
                  <a:lnTo>
                    <a:pt x="631" y="715"/>
                  </a:lnTo>
                  <a:lnTo>
                    <a:pt x="621" y="715"/>
                  </a:lnTo>
                  <a:lnTo>
                    <a:pt x="617" y="718"/>
                  </a:lnTo>
                  <a:lnTo>
                    <a:pt x="614" y="720"/>
                  </a:lnTo>
                  <a:lnTo>
                    <a:pt x="612" y="720"/>
                  </a:lnTo>
                  <a:lnTo>
                    <a:pt x="609" y="715"/>
                  </a:lnTo>
                  <a:lnTo>
                    <a:pt x="600" y="718"/>
                  </a:lnTo>
                  <a:lnTo>
                    <a:pt x="593" y="713"/>
                  </a:lnTo>
                  <a:lnTo>
                    <a:pt x="588" y="715"/>
                  </a:lnTo>
                  <a:lnTo>
                    <a:pt x="586" y="708"/>
                  </a:lnTo>
                  <a:lnTo>
                    <a:pt x="581" y="704"/>
                  </a:lnTo>
                  <a:lnTo>
                    <a:pt x="581" y="701"/>
                  </a:lnTo>
                  <a:lnTo>
                    <a:pt x="576" y="696"/>
                  </a:lnTo>
                  <a:lnTo>
                    <a:pt x="574" y="694"/>
                  </a:lnTo>
                  <a:lnTo>
                    <a:pt x="567" y="687"/>
                  </a:lnTo>
                  <a:lnTo>
                    <a:pt x="562" y="682"/>
                  </a:lnTo>
                  <a:lnTo>
                    <a:pt x="550" y="680"/>
                  </a:lnTo>
                  <a:lnTo>
                    <a:pt x="545" y="682"/>
                  </a:lnTo>
                  <a:lnTo>
                    <a:pt x="541" y="685"/>
                  </a:lnTo>
                  <a:lnTo>
                    <a:pt x="541" y="687"/>
                  </a:lnTo>
                  <a:lnTo>
                    <a:pt x="543" y="689"/>
                  </a:lnTo>
                  <a:lnTo>
                    <a:pt x="543" y="692"/>
                  </a:lnTo>
                  <a:lnTo>
                    <a:pt x="545" y="692"/>
                  </a:lnTo>
                  <a:lnTo>
                    <a:pt x="543" y="696"/>
                  </a:lnTo>
                  <a:lnTo>
                    <a:pt x="534" y="692"/>
                  </a:lnTo>
                  <a:lnTo>
                    <a:pt x="531" y="692"/>
                  </a:lnTo>
                  <a:lnTo>
                    <a:pt x="526" y="694"/>
                  </a:lnTo>
                  <a:lnTo>
                    <a:pt x="524" y="694"/>
                  </a:lnTo>
                  <a:lnTo>
                    <a:pt x="512" y="696"/>
                  </a:lnTo>
                  <a:lnTo>
                    <a:pt x="510" y="696"/>
                  </a:lnTo>
                  <a:lnTo>
                    <a:pt x="519" y="704"/>
                  </a:lnTo>
                  <a:lnTo>
                    <a:pt x="519" y="711"/>
                  </a:lnTo>
                  <a:lnTo>
                    <a:pt x="515" y="718"/>
                  </a:lnTo>
                  <a:lnTo>
                    <a:pt x="510" y="723"/>
                  </a:lnTo>
                  <a:lnTo>
                    <a:pt x="507" y="725"/>
                  </a:lnTo>
                  <a:lnTo>
                    <a:pt x="510" y="725"/>
                  </a:lnTo>
                  <a:lnTo>
                    <a:pt x="510" y="727"/>
                  </a:lnTo>
                  <a:lnTo>
                    <a:pt x="517" y="727"/>
                  </a:lnTo>
                  <a:lnTo>
                    <a:pt x="507" y="734"/>
                  </a:lnTo>
                  <a:lnTo>
                    <a:pt x="505" y="737"/>
                  </a:lnTo>
                  <a:lnTo>
                    <a:pt x="474" y="727"/>
                  </a:lnTo>
                  <a:lnTo>
                    <a:pt x="462" y="727"/>
                  </a:lnTo>
                  <a:lnTo>
                    <a:pt x="455" y="723"/>
                  </a:lnTo>
                  <a:lnTo>
                    <a:pt x="446" y="725"/>
                  </a:lnTo>
                  <a:lnTo>
                    <a:pt x="446" y="732"/>
                  </a:lnTo>
                  <a:lnTo>
                    <a:pt x="448" y="744"/>
                  </a:lnTo>
                  <a:lnTo>
                    <a:pt x="446" y="749"/>
                  </a:lnTo>
                  <a:lnTo>
                    <a:pt x="441" y="753"/>
                  </a:lnTo>
                  <a:lnTo>
                    <a:pt x="441" y="758"/>
                  </a:lnTo>
                  <a:lnTo>
                    <a:pt x="439" y="758"/>
                  </a:lnTo>
                  <a:lnTo>
                    <a:pt x="434" y="756"/>
                  </a:lnTo>
                  <a:lnTo>
                    <a:pt x="432" y="753"/>
                  </a:lnTo>
                  <a:lnTo>
                    <a:pt x="427" y="753"/>
                  </a:lnTo>
                  <a:lnTo>
                    <a:pt x="420" y="749"/>
                  </a:lnTo>
                  <a:lnTo>
                    <a:pt x="415" y="753"/>
                  </a:lnTo>
                  <a:lnTo>
                    <a:pt x="410" y="756"/>
                  </a:lnTo>
                  <a:lnTo>
                    <a:pt x="403" y="761"/>
                  </a:lnTo>
                  <a:lnTo>
                    <a:pt x="401" y="761"/>
                  </a:lnTo>
                  <a:lnTo>
                    <a:pt x="398" y="770"/>
                  </a:lnTo>
                  <a:lnTo>
                    <a:pt x="396" y="777"/>
                  </a:lnTo>
                  <a:lnTo>
                    <a:pt x="394" y="780"/>
                  </a:lnTo>
                  <a:lnTo>
                    <a:pt x="391" y="782"/>
                  </a:lnTo>
                  <a:lnTo>
                    <a:pt x="391" y="784"/>
                  </a:lnTo>
                  <a:lnTo>
                    <a:pt x="382" y="784"/>
                  </a:lnTo>
                  <a:lnTo>
                    <a:pt x="382" y="787"/>
                  </a:lnTo>
                  <a:lnTo>
                    <a:pt x="379" y="789"/>
                  </a:lnTo>
                  <a:lnTo>
                    <a:pt x="384" y="796"/>
                  </a:lnTo>
                  <a:lnTo>
                    <a:pt x="389" y="801"/>
                  </a:lnTo>
                  <a:lnTo>
                    <a:pt x="389" y="803"/>
                  </a:lnTo>
                  <a:lnTo>
                    <a:pt x="389" y="813"/>
                  </a:lnTo>
                  <a:lnTo>
                    <a:pt x="386" y="815"/>
                  </a:lnTo>
                  <a:lnTo>
                    <a:pt x="384" y="815"/>
                  </a:lnTo>
                  <a:lnTo>
                    <a:pt x="379" y="818"/>
                  </a:lnTo>
                  <a:lnTo>
                    <a:pt x="377" y="820"/>
                  </a:lnTo>
                  <a:lnTo>
                    <a:pt x="365" y="837"/>
                  </a:lnTo>
                  <a:lnTo>
                    <a:pt x="358" y="841"/>
                  </a:lnTo>
                  <a:lnTo>
                    <a:pt x="356" y="844"/>
                  </a:lnTo>
                  <a:lnTo>
                    <a:pt x="358" y="851"/>
                  </a:lnTo>
                  <a:lnTo>
                    <a:pt x="358" y="853"/>
                  </a:lnTo>
                  <a:lnTo>
                    <a:pt x="360" y="856"/>
                  </a:lnTo>
                  <a:lnTo>
                    <a:pt x="356" y="858"/>
                  </a:lnTo>
                  <a:lnTo>
                    <a:pt x="346" y="863"/>
                  </a:lnTo>
                  <a:lnTo>
                    <a:pt x="344" y="863"/>
                  </a:lnTo>
                  <a:lnTo>
                    <a:pt x="339" y="863"/>
                  </a:lnTo>
                  <a:lnTo>
                    <a:pt x="329" y="863"/>
                  </a:lnTo>
                  <a:lnTo>
                    <a:pt x="327" y="863"/>
                  </a:lnTo>
                  <a:lnTo>
                    <a:pt x="329" y="867"/>
                  </a:lnTo>
                  <a:lnTo>
                    <a:pt x="329" y="872"/>
                  </a:lnTo>
                  <a:lnTo>
                    <a:pt x="329" y="877"/>
                  </a:lnTo>
                  <a:lnTo>
                    <a:pt x="332" y="882"/>
                  </a:lnTo>
                  <a:lnTo>
                    <a:pt x="329" y="889"/>
                  </a:lnTo>
                  <a:lnTo>
                    <a:pt x="327" y="898"/>
                  </a:lnTo>
                  <a:lnTo>
                    <a:pt x="327" y="908"/>
                  </a:lnTo>
                  <a:lnTo>
                    <a:pt x="327" y="910"/>
                  </a:lnTo>
                  <a:lnTo>
                    <a:pt x="322" y="915"/>
                  </a:lnTo>
                  <a:lnTo>
                    <a:pt x="322" y="922"/>
                  </a:lnTo>
                  <a:lnTo>
                    <a:pt x="320" y="922"/>
                  </a:lnTo>
                  <a:lnTo>
                    <a:pt x="315" y="929"/>
                  </a:lnTo>
                  <a:lnTo>
                    <a:pt x="313" y="932"/>
                  </a:lnTo>
                  <a:lnTo>
                    <a:pt x="308" y="936"/>
                  </a:lnTo>
                  <a:lnTo>
                    <a:pt x="306" y="944"/>
                  </a:lnTo>
                  <a:lnTo>
                    <a:pt x="303" y="944"/>
                  </a:lnTo>
                  <a:lnTo>
                    <a:pt x="301" y="948"/>
                  </a:lnTo>
                  <a:lnTo>
                    <a:pt x="301" y="951"/>
                  </a:lnTo>
                  <a:lnTo>
                    <a:pt x="299" y="951"/>
                  </a:lnTo>
                  <a:lnTo>
                    <a:pt x="306" y="953"/>
                  </a:lnTo>
                  <a:lnTo>
                    <a:pt x="308" y="955"/>
                  </a:lnTo>
                  <a:lnTo>
                    <a:pt x="311" y="955"/>
                  </a:lnTo>
                  <a:lnTo>
                    <a:pt x="313" y="955"/>
                  </a:lnTo>
                  <a:lnTo>
                    <a:pt x="313" y="958"/>
                  </a:lnTo>
                  <a:lnTo>
                    <a:pt x="315" y="958"/>
                  </a:lnTo>
                  <a:lnTo>
                    <a:pt x="315" y="960"/>
                  </a:lnTo>
                  <a:lnTo>
                    <a:pt x="315" y="972"/>
                  </a:lnTo>
                  <a:lnTo>
                    <a:pt x="315" y="974"/>
                  </a:lnTo>
                  <a:lnTo>
                    <a:pt x="311" y="982"/>
                  </a:lnTo>
                  <a:lnTo>
                    <a:pt x="311" y="984"/>
                  </a:lnTo>
                  <a:lnTo>
                    <a:pt x="301" y="982"/>
                  </a:lnTo>
                  <a:lnTo>
                    <a:pt x="299" y="982"/>
                  </a:lnTo>
                  <a:lnTo>
                    <a:pt x="294" y="979"/>
                  </a:lnTo>
                  <a:lnTo>
                    <a:pt x="284" y="979"/>
                  </a:lnTo>
                  <a:lnTo>
                    <a:pt x="282" y="979"/>
                  </a:lnTo>
                  <a:lnTo>
                    <a:pt x="275" y="982"/>
                  </a:lnTo>
                  <a:lnTo>
                    <a:pt x="270" y="984"/>
                  </a:lnTo>
                  <a:lnTo>
                    <a:pt x="268" y="984"/>
                  </a:lnTo>
                  <a:lnTo>
                    <a:pt x="265" y="989"/>
                  </a:lnTo>
                  <a:lnTo>
                    <a:pt x="261" y="991"/>
                  </a:lnTo>
                  <a:lnTo>
                    <a:pt x="256" y="1001"/>
                  </a:lnTo>
                  <a:lnTo>
                    <a:pt x="254" y="1001"/>
                  </a:lnTo>
                  <a:lnTo>
                    <a:pt x="254" y="1003"/>
                  </a:lnTo>
                  <a:lnTo>
                    <a:pt x="249" y="1005"/>
                  </a:lnTo>
                  <a:lnTo>
                    <a:pt x="251" y="1012"/>
                  </a:lnTo>
                  <a:lnTo>
                    <a:pt x="246" y="1020"/>
                  </a:lnTo>
                  <a:lnTo>
                    <a:pt x="244" y="1022"/>
                  </a:lnTo>
                  <a:lnTo>
                    <a:pt x="244" y="1024"/>
                  </a:lnTo>
                  <a:lnTo>
                    <a:pt x="244" y="1027"/>
                  </a:lnTo>
                  <a:lnTo>
                    <a:pt x="246" y="1029"/>
                  </a:lnTo>
                  <a:lnTo>
                    <a:pt x="251" y="1036"/>
                  </a:lnTo>
                  <a:lnTo>
                    <a:pt x="251" y="1039"/>
                  </a:lnTo>
                  <a:lnTo>
                    <a:pt x="246" y="1043"/>
                  </a:lnTo>
                  <a:lnTo>
                    <a:pt x="249" y="1050"/>
                  </a:lnTo>
                  <a:lnTo>
                    <a:pt x="249" y="1053"/>
                  </a:lnTo>
                  <a:lnTo>
                    <a:pt x="246" y="1060"/>
                  </a:lnTo>
                  <a:lnTo>
                    <a:pt x="254" y="1074"/>
                  </a:lnTo>
                  <a:lnTo>
                    <a:pt x="254" y="1077"/>
                  </a:lnTo>
                  <a:lnTo>
                    <a:pt x="254" y="1079"/>
                  </a:lnTo>
                  <a:lnTo>
                    <a:pt x="254" y="1081"/>
                  </a:lnTo>
                  <a:lnTo>
                    <a:pt x="254" y="1088"/>
                  </a:lnTo>
                  <a:lnTo>
                    <a:pt x="251" y="1093"/>
                  </a:lnTo>
                  <a:lnTo>
                    <a:pt x="249" y="1105"/>
                  </a:lnTo>
                  <a:lnTo>
                    <a:pt x="249" y="1107"/>
                  </a:lnTo>
                  <a:lnTo>
                    <a:pt x="254" y="1112"/>
                  </a:lnTo>
                  <a:lnTo>
                    <a:pt x="256" y="1115"/>
                  </a:lnTo>
                  <a:lnTo>
                    <a:pt x="258" y="1117"/>
                  </a:lnTo>
                  <a:lnTo>
                    <a:pt x="263" y="1117"/>
                  </a:lnTo>
                  <a:lnTo>
                    <a:pt x="265" y="1119"/>
                  </a:lnTo>
                  <a:lnTo>
                    <a:pt x="268" y="1122"/>
                  </a:lnTo>
                  <a:lnTo>
                    <a:pt x="270" y="1124"/>
                  </a:lnTo>
                  <a:lnTo>
                    <a:pt x="273" y="1129"/>
                  </a:lnTo>
                  <a:lnTo>
                    <a:pt x="273" y="1131"/>
                  </a:lnTo>
                  <a:lnTo>
                    <a:pt x="270" y="1136"/>
                  </a:lnTo>
                  <a:lnTo>
                    <a:pt x="268" y="1138"/>
                  </a:lnTo>
                  <a:lnTo>
                    <a:pt x="268" y="1143"/>
                  </a:lnTo>
                  <a:lnTo>
                    <a:pt x="265" y="1145"/>
                  </a:lnTo>
                  <a:lnTo>
                    <a:pt x="261" y="1145"/>
                  </a:lnTo>
                  <a:lnTo>
                    <a:pt x="258" y="1145"/>
                  </a:lnTo>
                  <a:lnTo>
                    <a:pt x="251" y="1145"/>
                  </a:lnTo>
                  <a:lnTo>
                    <a:pt x="254" y="1150"/>
                  </a:lnTo>
                  <a:lnTo>
                    <a:pt x="256" y="1153"/>
                  </a:lnTo>
                  <a:lnTo>
                    <a:pt x="256" y="1155"/>
                  </a:lnTo>
                  <a:lnTo>
                    <a:pt x="258" y="1162"/>
                  </a:lnTo>
                  <a:lnTo>
                    <a:pt x="261" y="1167"/>
                  </a:lnTo>
                  <a:lnTo>
                    <a:pt x="261" y="1169"/>
                  </a:lnTo>
                  <a:lnTo>
                    <a:pt x="263" y="1172"/>
                  </a:lnTo>
                  <a:lnTo>
                    <a:pt x="265" y="1174"/>
                  </a:lnTo>
                  <a:lnTo>
                    <a:pt x="265" y="1179"/>
                  </a:lnTo>
                  <a:lnTo>
                    <a:pt x="263" y="1181"/>
                  </a:lnTo>
                  <a:lnTo>
                    <a:pt x="261" y="1183"/>
                  </a:lnTo>
                  <a:lnTo>
                    <a:pt x="261" y="1186"/>
                  </a:lnTo>
                  <a:lnTo>
                    <a:pt x="261" y="1188"/>
                  </a:lnTo>
                  <a:lnTo>
                    <a:pt x="263" y="1188"/>
                  </a:lnTo>
                  <a:lnTo>
                    <a:pt x="263" y="1191"/>
                  </a:lnTo>
                  <a:lnTo>
                    <a:pt x="261" y="1193"/>
                  </a:lnTo>
                  <a:lnTo>
                    <a:pt x="261" y="1195"/>
                  </a:lnTo>
                  <a:lnTo>
                    <a:pt x="261" y="1198"/>
                  </a:lnTo>
                  <a:lnTo>
                    <a:pt x="258" y="1198"/>
                  </a:lnTo>
                  <a:lnTo>
                    <a:pt x="258" y="1200"/>
                  </a:lnTo>
                  <a:lnTo>
                    <a:pt x="256" y="1200"/>
                  </a:lnTo>
                  <a:lnTo>
                    <a:pt x="256" y="1202"/>
                  </a:lnTo>
                  <a:lnTo>
                    <a:pt x="254" y="1202"/>
                  </a:lnTo>
                  <a:lnTo>
                    <a:pt x="251" y="1205"/>
                  </a:lnTo>
                  <a:lnTo>
                    <a:pt x="251" y="1207"/>
                  </a:lnTo>
                  <a:lnTo>
                    <a:pt x="249" y="1207"/>
                  </a:lnTo>
                  <a:lnTo>
                    <a:pt x="246" y="1207"/>
                  </a:lnTo>
                  <a:lnTo>
                    <a:pt x="244" y="1207"/>
                  </a:lnTo>
                  <a:lnTo>
                    <a:pt x="244" y="1205"/>
                  </a:lnTo>
                  <a:lnTo>
                    <a:pt x="244" y="1207"/>
                  </a:lnTo>
                  <a:lnTo>
                    <a:pt x="242" y="1207"/>
                  </a:lnTo>
                  <a:lnTo>
                    <a:pt x="239" y="1210"/>
                  </a:lnTo>
                  <a:lnTo>
                    <a:pt x="242" y="1210"/>
                  </a:lnTo>
                  <a:lnTo>
                    <a:pt x="242" y="1212"/>
                  </a:lnTo>
                  <a:lnTo>
                    <a:pt x="242" y="1214"/>
                  </a:lnTo>
                  <a:lnTo>
                    <a:pt x="242" y="1217"/>
                  </a:lnTo>
                  <a:lnTo>
                    <a:pt x="239" y="1219"/>
                  </a:lnTo>
                  <a:lnTo>
                    <a:pt x="237" y="1219"/>
                  </a:lnTo>
                  <a:lnTo>
                    <a:pt x="235" y="1219"/>
                  </a:lnTo>
                  <a:lnTo>
                    <a:pt x="235" y="1221"/>
                  </a:lnTo>
                  <a:lnTo>
                    <a:pt x="235" y="1226"/>
                  </a:lnTo>
                  <a:lnTo>
                    <a:pt x="237" y="1226"/>
                  </a:lnTo>
                  <a:lnTo>
                    <a:pt x="237" y="1229"/>
                  </a:lnTo>
                  <a:lnTo>
                    <a:pt x="237" y="1231"/>
                  </a:lnTo>
                  <a:lnTo>
                    <a:pt x="237" y="1233"/>
                  </a:lnTo>
                  <a:lnTo>
                    <a:pt x="239" y="1236"/>
                  </a:lnTo>
                  <a:lnTo>
                    <a:pt x="239" y="1240"/>
                  </a:lnTo>
                  <a:lnTo>
                    <a:pt x="237" y="1243"/>
                  </a:lnTo>
                  <a:lnTo>
                    <a:pt x="237" y="1245"/>
                  </a:lnTo>
                  <a:lnTo>
                    <a:pt x="237" y="1248"/>
                  </a:lnTo>
                  <a:lnTo>
                    <a:pt x="237" y="1250"/>
                  </a:lnTo>
                  <a:lnTo>
                    <a:pt x="235" y="1252"/>
                  </a:lnTo>
                  <a:lnTo>
                    <a:pt x="235" y="1255"/>
                  </a:lnTo>
                  <a:lnTo>
                    <a:pt x="235" y="1257"/>
                  </a:lnTo>
                  <a:lnTo>
                    <a:pt x="232" y="1257"/>
                  </a:lnTo>
                  <a:lnTo>
                    <a:pt x="235" y="1257"/>
                  </a:lnTo>
                  <a:lnTo>
                    <a:pt x="232" y="1257"/>
                  </a:lnTo>
                  <a:lnTo>
                    <a:pt x="232" y="1259"/>
                  </a:lnTo>
                  <a:lnTo>
                    <a:pt x="232" y="1257"/>
                  </a:lnTo>
                  <a:lnTo>
                    <a:pt x="232" y="1259"/>
                  </a:lnTo>
                  <a:lnTo>
                    <a:pt x="230" y="1259"/>
                  </a:lnTo>
                  <a:lnTo>
                    <a:pt x="227" y="1259"/>
                  </a:lnTo>
                  <a:lnTo>
                    <a:pt x="227" y="1257"/>
                  </a:lnTo>
                  <a:lnTo>
                    <a:pt x="227" y="1255"/>
                  </a:lnTo>
                  <a:lnTo>
                    <a:pt x="227" y="1252"/>
                  </a:lnTo>
                  <a:lnTo>
                    <a:pt x="225" y="1252"/>
                  </a:lnTo>
                  <a:lnTo>
                    <a:pt x="227" y="1252"/>
                  </a:lnTo>
                  <a:lnTo>
                    <a:pt x="225" y="1252"/>
                  </a:lnTo>
                  <a:lnTo>
                    <a:pt x="225" y="1250"/>
                  </a:lnTo>
                  <a:lnTo>
                    <a:pt x="225" y="1248"/>
                  </a:lnTo>
                  <a:lnTo>
                    <a:pt x="223" y="1248"/>
                  </a:lnTo>
                  <a:lnTo>
                    <a:pt x="220" y="1248"/>
                  </a:lnTo>
                  <a:lnTo>
                    <a:pt x="218" y="1248"/>
                  </a:lnTo>
                  <a:lnTo>
                    <a:pt x="218" y="1245"/>
                  </a:lnTo>
                  <a:lnTo>
                    <a:pt x="218" y="1243"/>
                  </a:lnTo>
                  <a:lnTo>
                    <a:pt x="216" y="1243"/>
                  </a:lnTo>
                  <a:lnTo>
                    <a:pt x="218" y="1243"/>
                  </a:lnTo>
                  <a:lnTo>
                    <a:pt x="216" y="1243"/>
                  </a:lnTo>
                  <a:lnTo>
                    <a:pt x="218" y="1243"/>
                  </a:lnTo>
                  <a:lnTo>
                    <a:pt x="218" y="1245"/>
                  </a:lnTo>
                  <a:lnTo>
                    <a:pt x="216" y="1245"/>
                  </a:lnTo>
                  <a:lnTo>
                    <a:pt x="218" y="1245"/>
                  </a:lnTo>
                  <a:lnTo>
                    <a:pt x="216" y="1245"/>
                  </a:lnTo>
                  <a:lnTo>
                    <a:pt x="216" y="1248"/>
                  </a:lnTo>
                  <a:lnTo>
                    <a:pt x="216" y="1245"/>
                  </a:lnTo>
                  <a:lnTo>
                    <a:pt x="216" y="1243"/>
                  </a:lnTo>
                  <a:lnTo>
                    <a:pt x="213" y="1243"/>
                  </a:lnTo>
                  <a:lnTo>
                    <a:pt x="216" y="1243"/>
                  </a:lnTo>
                  <a:lnTo>
                    <a:pt x="216" y="1245"/>
                  </a:lnTo>
                  <a:lnTo>
                    <a:pt x="216" y="1248"/>
                  </a:lnTo>
                  <a:lnTo>
                    <a:pt x="213" y="1248"/>
                  </a:lnTo>
                  <a:lnTo>
                    <a:pt x="213" y="1245"/>
                  </a:lnTo>
                  <a:lnTo>
                    <a:pt x="213" y="1248"/>
                  </a:lnTo>
                  <a:lnTo>
                    <a:pt x="213" y="1245"/>
                  </a:lnTo>
                  <a:lnTo>
                    <a:pt x="213" y="1248"/>
                  </a:lnTo>
                  <a:lnTo>
                    <a:pt x="213" y="1245"/>
                  </a:lnTo>
                  <a:lnTo>
                    <a:pt x="211" y="1245"/>
                  </a:lnTo>
                  <a:lnTo>
                    <a:pt x="213" y="1245"/>
                  </a:lnTo>
                  <a:lnTo>
                    <a:pt x="211" y="1245"/>
                  </a:lnTo>
                  <a:lnTo>
                    <a:pt x="211" y="1243"/>
                  </a:lnTo>
                  <a:lnTo>
                    <a:pt x="213" y="1243"/>
                  </a:lnTo>
                  <a:lnTo>
                    <a:pt x="211" y="1243"/>
                  </a:lnTo>
                  <a:lnTo>
                    <a:pt x="211" y="1245"/>
                  </a:lnTo>
                  <a:lnTo>
                    <a:pt x="211" y="1243"/>
                  </a:lnTo>
                  <a:lnTo>
                    <a:pt x="211" y="1245"/>
                  </a:lnTo>
                  <a:lnTo>
                    <a:pt x="211" y="1243"/>
                  </a:lnTo>
                  <a:lnTo>
                    <a:pt x="211" y="1245"/>
                  </a:lnTo>
                  <a:lnTo>
                    <a:pt x="208" y="1245"/>
                  </a:lnTo>
                  <a:lnTo>
                    <a:pt x="208" y="1243"/>
                  </a:lnTo>
                  <a:lnTo>
                    <a:pt x="208" y="1245"/>
                  </a:lnTo>
                  <a:lnTo>
                    <a:pt x="208" y="1243"/>
                  </a:lnTo>
                  <a:lnTo>
                    <a:pt x="206" y="1243"/>
                  </a:lnTo>
                  <a:lnTo>
                    <a:pt x="206" y="1245"/>
                  </a:lnTo>
                  <a:lnTo>
                    <a:pt x="206" y="1243"/>
                  </a:lnTo>
                  <a:lnTo>
                    <a:pt x="204" y="1243"/>
                  </a:lnTo>
                  <a:lnTo>
                    <a:pt x="206" y="1243"/>
                  </a:lnTo>
                  <a:lnTo>
                    <a:pt x="204" y="1243"/>
                  </a:lnTo>
                  <a:lnTo>
                    <a:pt x="204" y="1240"/>
                  </a:lnTo>
                  <a:lnTo>
                    <a:pt x="204" y="1238"/>
                  </a:lnTo>
                  <a:lnTo>
                    <a:pt x="204" y="1240"/>
                  </a:lnTo>
                  <a:lnTo>
                    <a:pt x="204" y="1238"/>
                  </a:lnTo>
                  <a:lnTo>
                    <a:pt x="204" y="1240"/>
                  </a:lnTo>
                  <a:lnTo>
                    <a:pt x="201" y="1240"/>
                  </a:lnTo>
                  <a:lnTo>
                    <a:pt x="204" y="1238"/>
                  </a:lnTo>
                  <a:lnTo>
                    <a:pt x="204" y="1236"/>
                  </a:lnTo>
                  <a:lnTo>
                    <a:pt x="206" y="1236"/>
                  </a:lnTo>
                  <a:lnTo>
                    <a:pt x="204" y="1236"/>
                  </a:lnTo>
                  <a:lnTo>
                    <a:pt x="204" y="1238"/>
                  </a:lnTo>
                  <a:lnTo>
                    <a:pt x="204" y="1236"/>
                  </a:lnTo>
                  <a:lnTo>
                    <a:pt x="204" y="1238"/>
                  </a:lnTo>
                  <a:lnTo>
                    <a:pt x="204" y="1236"/>
                  </a:lnTo>
                  <a:lnTo>
                    <a:pt x="204" y="1238"/>
                  </a:lnTo>
                  <a:lnTo>
                    <a:pt x="201" y="1238"/>
                  </a:lnTo>
                  <a:lnTo>
                    <a:pt x="204" y="1236"/>
                  </a:lnTo>
                  <a:lnTo>
                    <a:pt x="201" y="1236"/>
                  </a:lnTo>
                  <a:lnTo>
                    <a:pt x="204" y="1236"/>
                  </a:lnTo>
                  <a:lnTo>
                    <a:pt x="201" y="1236"/>
                  </a:lnTo>
                  <a:lnTo>
                    <a:pt x="201" y="1238"/>
                  </a:lnTo>
                  <a:lnTo>
                    <a:pt x="201" y="1236"/>
                  </a:lnTo>
                  <a:lnTo>
                    <a:pt x="201" y="1233"/>
                  </a:lnTo>
                  <a:lnTo>
                    <a:pt x="201" y="1236"/>
                  </a:lnTo>
                  <a:lnTo>
                    <a:pt x="201" y="1233"/>
                  </a:lnTo>
                  <a:lnTo>
                    <a:pt x="199" y="1233"/>
                  </a:lnTo>
                  <a:lnTo>
                    <a:pt x="199" y="1231"/>
                  </a:lnTo>
                  <a:lnTo>
                    <a:pt x="201" y="1231"/>
                  </a:lnTo>
                  <a:lnTo>
                    <a:pt x="199" y="1231"/>
                  </a:lnTo>
                  <a:lnTo>
                    <a:pt x="199" y="1229"/>
                  </a:lnTo>
                  <a:lnTo>
                    <a:pt x="201" y="1226"/>
                  </a:lnTo>
                  <a:lnTo>
                    <a:pt x="199" y="1226"/>
                  </a:lnTo>
                  <a:lnTo>
                    <a:pt x="201" y="1226"/>
                  </a:lnTo>
                  <a:lnTo>
                    <a:pt x="201" y="1229"/>
                  </a:lnTo>
                  <a:lnTo>
                    <a:pt x="201" y="1231"/>
                  </a:lnTo>
                  <a:lnTo>
                    <a:pt x="199" y="1231"/>
                  </a:lnTo>
                  <a:lnTo>
                    <a:pt x="201" y="1231"/>
                  </a:lnTo>
                  <a:lnTo>
                    <a:pt x="201" y="1229"/>
                  </a:lnTo>
                  <a:lnTo>
                    <a:pt x="201" y="1226"/>
                  </a:lnTo>
                  <a:lnTo>
                    <a:pt x="201" y="1224"/>
                  </a:lnTo>
                  <a:lnTo>
                    <a:pt x="199" y="1224"/>
                  </a:lnTo>
                  <a:lnTo>
                    <a:pt x="201" y="1224"/>
                  </a:lnTo>
                  <a:lnTo>
                    <a:pt x="201" y="1221"/>
                  </a:lnTo>
                  <a:lnTo>
                    <a:pt x="199" y="1221"/>
                  </a:lnTo>
                  <a:lnTo>
                    <a:pt x="201" y="1221"/>
                  </a:lnTo>
                  <a:lnTo>
                    <a:pt x="199" y="1221"/>
                  </a:lnTo>
                  <a:lnTo>
                    <a:pt x="201" y="1221"/>
                  </a:lnTo>
                  <a:lnTo>
                    <a:pt x="199" y="1221"/>
                  </a:lnTo>
                  <a:lnTo>
                    <a:pt x="199" y="1219"/>
                  </a:lnTo>
                  <a:lnTo>
                    <a:pt x="199" y="1217"/>
                  </a:lnTo>
                  <a:lnTo>
                    <a:pt x="199" y="1214"/>
                  </a:lnTo>
                  <a:lnTo>
                    <a:pt x="197" y="1214"/>
                  </a:lnTo>
                  <a:lnTo>
                    <a:pt x="199" y="1214"/>
                  </a:lnTo>
                  <a:lnTo>
                    <a:pt x="197" y="1214"/>
                  </a:lnTo>
                  <a:lnTo>
                    <a:pt x="199" y="1214"/>
                  </a:lnTo>
                  <a:lnTo>
                    <a:pt x="197" y="1212"/>
                  </a:lnTo>
                  <a:lnTo>
                    <a:pt x="199" y="1212"/>
                  </a:lnTo>
                  <a:lnTo>
                    <a:pt x="199" y="1210"/>
                  </a:lnTo>
                  <a:lnTo>
                    <a:pt x="199" y="1207"/>
                  </a:lnTo>
                  <a:lnTo>
                    <a:pt x="201" y="1207"/>
                  </a:lnTo>
                  <a:lnTo>
                    <a:pt x="201" y="1210"/>
                  </a:lnTo>
                  <a:lnTo>
                    <a:pt x="201" y="1212"/>
                  </a:lnTo>
                  <a:lnTo>
                    <a:pt x="201" y="1214"/>
                  </a:lnTo>
                  <a:lnTo>
                    <a:pt x="204" y="1214"/>
                  </a:lnTo>
                  <a:lnTo>
                    <a:pt x="201" y="1214"/>
                  </a:lnTo>
                  <a:lnTo>
                    <a:pt x="201" y="1217"/>
                  </a:lnTo>
                  <a:lnTo>
                    <a:pt x="201" y="1214"/>
                  </a:lnTo>
                  <a:lnTo>
                    <a:pt x="204" y="1214"/>
                  </a:lnTo>
                  <a:lnTo>
                    <a:pt x="201" y="1214"/>
                  </a:lnTo>
                  <a:lnTo>
                    <a:pt x="204" y="1214"/>
                  </a:lnTo>
                  <a:lnTo>
                    <a:pt x="201" y="1214"/>
                  </a:lnTo>
                  <a:lnTo>
                    <a:pt x="204" y="1214"/>
                  </a:lnTo>
                  <a:lnTo>
                    <a:pt x="204" y="1212"/>
                  </a:lnTo>
                  <a:lnTo>
                    <a:pt x="204" y="1210"/>
                  </a:lnTo>
                  <a:lnTo>
                    <a:pt x="204" y="1207"/>
                  </a:lnTo>
                  <a:lnTo>
                    <a:pt x="204" y="1205"/>
                  </a:lnTo>
                  <a:lnTo>
                    <a:pt x="201" y="1205"/>
                  </a:lnTo>
                  <a:lnTo>
                    <a:pt x="201" y="1207"/>
                  </a:lnTo>
                  <a:lnTo>
                    <a:pt x="201" y="1205"/>
                  </a:lnTo>
                  <a:lnTo>
                    <a:pt x="199" y="1205"/>
                  </a:lnTo>
                  <a:lnTo>
                    <a:pt x="199" y="1207"/>
                  </a:lnTo>
                  <a:lnTo>
                    <a:pt x="199" y="1205"/>
                  </a:lnTo>
                  <a:lnTo>
                    <a:pt x="199" y="1207"/>
                  </a:lnTo>
                  <a:lnTo>
                    <a:pt x="197" y="1207"/>
                  </a:lnTo>
                  <a:lnTo>
                    <a:pt x="194" y="1207"/>
                  </a:lnTo>
                  <a:lnTo>
                    <a:pt x="197" y="1207"/>
                  </a:lnTo>
                  <a:lnTo>
                    <a:pt x="194" y="1207"/>
                  </a:lnTo>
                  <a:lnTo>
                    <a:pt x="194" y="1210"/>
                  </a:lnTo>
                  <a:lnTo>
                    <a:pt x="197" y="1210"/>
                  </a:lnTo>
                  <a:lnTo>
                    <a:pt x="194" y="1210"/>
                  </a:lnTo>
                  <a:lnTo>
                    <a:pt x="194" y="1212"/>
                  </a:lnTo>
                  <a:lnTo>
                    <a:pt x="194" y="1214"/>
                  </a:lnTo>
                  <a:lnTo>
                    <a:pt x="197" y="1212"/>
                  </a:lnTo>
                  <a:lnTo>
                    <a:pt x="197" y="1214"/>
                  </a:lnTo>
                  <a:lnTo>
                    <a:pt x="197" y="1217"/>
                  </a:lnTo>
                  <a:lnTo>
                    <a:pt x="197" y="1219"/>
                  </a:lnTo>
                  <a:lnTo>
                    <a:pt x="199" y="1219"/>
                  </a:lnTo>
                  <a:lnTo>
                    <a:pt x="197" y="1219"/>
                  </a:lnTo>
                  <a:lnTo>
                    <a:pt x="199" y="1219"/>
                  </a:lnTo>
                  <a:lnTo>
                    <a:pt x="197" y="1219"/>
                  </a:lnTo>
                  <a:lnTo>
                    <a:pt x="199" y="1219"/>
                  </a:lnTo>
                  <a:lnTo>
                    <a:pt x="199" y="1221"/>
                  </a:lnTo>
                  <a:lnTo>
                    <a:pt x="199" y="1224"/>
                  </a:lnTo>
                  <a:lnTo>
                    <a:pt x="197" y="1224"/>
                  </a:lnTo>
                  <a:lnTo>
                    <a:pt x="197" y="1226"/>
                  </a:lnTo>
                  <a:lnTo>
                    <a:pt x="194" y="1226"/>
                  </a:lnTo>
                  <a:lnTo>
                    <a:pt x="192" y="1226"/>
                  </a:lnTo>
                  <a:lnTo>
                    <a:pt x="192" y="1224"/>
                  </a:lnTo>
                  <a:lnTo>
                    <a:pt x="192" y="1221"/>
                  </a:lnTo>
                  <a:lnTo>
                    <a:pt x="194" y="1221"/>
                  </a:lnTo>
                  <a:lnTo>
                    <a:pt x="192" y="1221"/>
                  </a:lnTo>
                  <a:lnTo>
                    <a:pt x="194" y="1221"/>
                  </a:lnTo>
                  <a:lnTo>
                    <a:pt x="192" y="1219"/>
                  </a:lnTo>
                  <a:lnTo>
                    <a:pt x="194" y="1219"/>
                  </a:lnTo>
                  <a:lnTo>
                    <a:pt x="192" y="1219"/>
                  </a:lnTo>
                  <a:lnTo>
                    <a:pt x="192" y="1217"/>
                  </a:lnTo>
                  <a:lnTo>
                    <a:pt x="189" y="1217"/>
                  </a:lnTo>
                  <a:lnTo>
                    <a:pt x="189" y="1214"/>
                  </a:lnTo>
                  <a:lnTo>
                    <a:pt x="187" y="1214"/>
                  </a:lnTo>
                  <a:lnTo>
                    <a:pt x="185" y="1214"/>
                  </a:lnTo>
                  <a:lnTo>
                    <a:pt x="187" y="1214"/>
                  </a:lnTo>
                  <a:lnTo>
                    <a:pt x="185" y="1214"/>
                  </a:lnTo>
                  <a:lnTo>
                    <a:pt x="182" y="1214"/>
                  </a:lnTo>
                  <a:lnTo>
                    <a:pt x="180" y="1214"/>
                  </a:lnTo>
                  <a:lnTo>
                    <a:pt x="178" y="1214"/>
                  </a:lnTo>
                  <a:lnTo>
                    <a:pt x="178" y="1212"/>
                  </a:lnTo>
                  <a:lnTo>
                    <a:pt x="178" y="1214"/>
                  </a:lnTo>
                  <a:lnTo>
                    <a:pt x="180" y="1214"/>
                  </a:lnTo>
                  <a:lnTo>
                    <a:pt x="182" y="1214"/>
                  </a:lnTo>
                  <a:lnTo>
                    <a:pt x="185" y="1214"/>
                  </a:lnTo>
                  <a:lnTo>
                    <a:pt x="187" y="1214"/>
                  </a:lnTo>
                  <a:lnTo>
                    <a:pt x="187" y="1217"/>
                  </a:lnTo>
                  <a:lnTo>
                    <a:pt x="189" y="1217"/>
                  </a:lnTo>
                  <a:lnTo>
                    <a:pt x="192" y="1217"/>
                  </a:lnTo>
                  <a:lnTo>
                    <a:pt x="192" y="1219"/>
                  </a:lnTo>
                  <a:lnTo>
                    <a:pt x="192" y="1221"/>
                  </a:lnTo>
                  <a:lnTo>
                    <a:pt x="192" y="1224"/>
                  </a:lnTo>
                  <a:lnTo>
                    <a:pt x="192" y="1226"/>
                  </a:lnTo>
                  <a:lnTo>
                    <a:pt x="189" y="1226"/>
                  </a:lnTo>
                  <a:lnTo>
                    <a:pt x="189" y="1224"/>
                  </a:lnTo>
                  <a:lnTo>
                    <a:pt x="187" y="1224"/>
                  </a:lnTo>
                  <a:lnTo>
                    <a:pt x="187" y="1226"/>
                  </a:lnTo>
                  <a:lnTo>
                    <a:pt x="189" y="1226"/>
                  </a:lnTo>
                  <a:lnTo>
                    <a:pt x="187" y="1226"/>
                  </a:lnTo>
                  <a:lnTo>
                    <a:pt x="189" y="1226"/>
                  </a:lnTo>
                  <a:lnTo>
                    <a:pt x="189" y="1229"/>
                  </a:lnTo>
                  <a:lnTo>
                    <a:pt x="192" y="1229"/>
                  </a:lnTo>
                  <a:lnTo>
                    <a:pt x="192" y="1231"/>
                  </a:lnTo>
                  <a:lnTo>
                    <a:pt x="192" y="1229"/>
                  </a:lnTo>
                  <a:lnTo>
                    <a:pt x="192" y="1231"/>
                  </a:lnTo>
                  <a:lnTo>
                    <a:pt x="192" y="1229"/>
                  </a:lnTo>
                  <a:lnTo>
                    <a:pt x="194" y="1229"/>
                  </a:lnTo>
                  <a:lnTo>
                    <a:pt x="194" y="1231"/>
                  </a:lnTo>
                  <a:lnTo>
                    <a:pt x="194" y="1229"/>
                  </a:lnTo>
                  <a:lnTo>
                    <a:pt x="194" y="1231"/>
                  </a:lnTo>
                  <a:lnTo>
                    <a:pt x="194" y="1233"/>
                  </a:lnTo>
                  <a:lnTo>
                    <a:pt x="194" y="1236"/>
                  </a:lnTo>
                  <a:lnTo>
                    <a:pt x="197" y="1236"/>
                  </a:lnTo>
                  <a:lnTo>
                    <a:pt x="197" y="1238"/>
                  </a:lnTo>
                  <a:lnTo>
                    <a:pt x="194" y="1238"/>
                  </a:lnTo>
                  <a:lnTo>
                    <a:pt x="194" y="1240"/>
                  </a:lnTo>
                  <a:lnTo>
                    <a:pt x="194" y="1238"/>
                  </a:lnTo>
                  <a:lnTo>
                    <a:pt x="192" y="1238"/>
                  </a:lnTo>
                  <a:lnTo>
                    <a:pt x="192" y="1240"/>
                  </a:lnTo>
                  <a:lnTo>
                    <a:pt x="194" y="1240"/>
                  </a:lnTo>
                  <a:lnTo>
                    <a:pt x="194" y="1243"/>
                  </a:lnTo>
                  <a:lnTo>
                    <a:pt x="194" y="1240"/>
                  </a:lnTo>
                  <a:lnTo>
                    <a:pt x="194" y="1243"/>
                  </a:lnTo>
                  <a:lnTo>
                    <a:pt x="194" y="1245"/>
                  </a:lnTo>
                  <a:lnTo>
                    <a:pt x="194" y="1243"/>
                  </a:lnTo>
                  <a:lnTo>
                    <a:pt x="194" y="1245"/>
                  </a:lnTo>
                  <a:lnTo>
                    <a:pt x="192" y="1245"/>
                  </a:lnTo>
                  <a:lnTo>
                    <a:pt x="189" y="1243"/>
                  </a:lnTo>
                  <a:lnTo>
                    <a:pt x="192" y="1243"/>
                  </a:lnTo>
                  <a:lnTo>
                    <a:pt x="189" y="1243"/>
                  </a:lnTo>
                  <a:lnTo>
                    <a:pt x="192" y="1243"/>
                  </a:lnTo>
                  <a:lnTo>
                    <a:pt x="192" y="1240"/>
                  </a:lnTo>
                  <a:lnTo>
                    <a:pt x="192" y="1238"/>
                  </a:lnTo>
                  <a:lnTo>
                    <a:pt x="192" y="1240"/>
                  </a:lnTo>
                  <a:lnTo>
                    <a:pt x="192" y="1238"/>
                  </a:lnTo>
                  <a:lnTo>
                    <a:pt x="192" y="1240"/>
                  </a:lnTo>
                  <a:lnTo>
                    <a:pt x="189" y="1240"/>
                  </a:lnTo>
                  <a:lnTo>
                    <a:pt x="192" y="1240"/>
                  </a:lnTo>
                  <a:lnTo>
                    <a:pt x="189" y="1243"/>
                  </a:lnTo>
                  <a:lnTo>
                    <a:pt x="189" y="1245"/>
                  </a:lnTo>
                  <a:lnTo>
                    <a:pt x="189" y="1248"/>
                  </a:lnTo>
                  <a:lnTo>
                    <a:pt x="189" y="1245"/>
                  </a:lnTo>
                  <a:lnTo>
                    <a:pt x="187" y="1245"/>
                  </a:lnTo>
                  <a:lnTo>
                    <a:pt x="187" y="1248"/>
                  </a:lnTo>
                  <a:lnTo>
                    <a:pt x="189" y="1248"/>
                  </a:lnTo>
                  <a:lnTo>
                    <a:pt x="187" y="1248"/>
                  </a:lnTo>
                  <a:lnTo>
                    <a:pt x="189" y="1248"/>
                  </a:lnTo>
                  <a:lnTo>
                    <a:pt x="189" y="1250"/>
                  </a:lnTo>
                  <a:lnTo>
                    <a:pt x="187" y="1250"/>
                  </a:lnTo>
                  <a:lnTo>
                    <a:pt x="187" y="1248"/>
                  </a:lnTo>
                  <a:lnTo>
                    <a:pt x="187" y="1250"/>
                  </a:lnTo>
                  <a:lnTo>
                    <a:pt x="187" y="1252"/>
                  </a:lnTo>
                  <a:lnTo>
                    <a:pt x="187" y="1250"/>
                  </a:lnTo>
                  <a:lnTo>
                    <a:pt x="187" y="1248"/>
                  </a:lnTo>
                  <a:lnTo>
                    <a:pt x="185" y="1248"/>
                  </a:lnTo>
                  <a:lnTo>
                    <a:pt x="187" y="1248"/>
                  </a:lnTo>
                  <a:lnTo>
                    <a:pt x="185" y="1248"/>
                  </a:lnTo>
                  <a:lnTo>
                    <a:pt x="187" y="1248"/>
                  </a:lnTo>
                  <a:lnTo>
                    <a:pt x="185" y="1248"/>
                  </a:lnTo>
                  <a:lnTo>
                    <a:pt x="187" y="1248"/>
                  </a:lnTo>
                  <a:lnTo>
                    <a:pt x="187" y="1250"/>
                  </a:lnTo>
                  <a:lnTo>
                    <a:pt x="185" y="1250"/>
                  </a:lnTo>
                  <a:lnTo>
                    <a:pt x="185" y="1248"/>
                  </a:lnTo>
                  <a:lnTo>
                    <a:pt x="185" y="1250"/>
                  </a:lnTo>
                  <a:lnTo>
                    <a:pt x="187" y="1250"/>
                  </a:lnTo>
                  <a:lnTo>
                    <a:pt x="187" y="1252"/>
                  </a:lnTo>
                  <a:lnTo>
                    <a:pt x="185" y="1252"/>
                  </a:lnTo>
                  <a:lnTo>
                    <a:pt x="182" y="1252"/>
                  </a:lnTo>
                  <a:lnTo>
                    <a:pt x="185" y="1252"/>
                  </a:lnTo>
                  <a:lnTo>
                    <a:pt x="182" y="1252"/>
                  </a:lnTo>
                  <a:lnTo>
                    <a:pt x="180" y="1252"/>
                  </a:lnTo>
                  <a:lnTo>
                    <a:pt x="180" y="1250"/>
                  </a:lnTo>
                  <a:lnTo>
                    <a:pt x="180" y="1252"/>
                  </a:lnTo>
                  <a:lnTo>
                    <a:pt x="180" y="1250"/>
                  </a:lnTo>
                  <a:lnTo>
                    <a:pt x="180" y="1252"/>
                  </a:lnTo>
                  <a:lnTo>
                    <a:pt x="180" y="1255"/>
                  </a:lnTo>
                  <a:lnTo>
                    <a:pt x="178" y="1255"/>
                  </a:lnTo>
                  <a:lnTo>
                    <a:pt x="175" y="1255"/>
                  </a:lnTo>
                  <a:lnTo>
                    <a:pt x="173" y="1255"/>
                  </a:lnTo>
                  <a:lnTo>
                    <a:pt x="175" y="1255"/>
                  </a:lnTo>
                  <a:lnTo>
                    <a:pt x="173" y="1255"/>
                  </a:lnTo>
                  <a:lnTo>
                    <a:pt x="173" y="1252"/>
                  </a:lnTo>
                  <a:lnTo>
                    <a:pt x="173" y="1250"/>
                  </a:lnTo>
                  <a:lnTo>
                    <a:pt x="173" y="1248"/>
                  </a:lnTo>
                  <a:lnTo>
                    <a:pt x="173" y="1250"/>
                  </a:lnTo>
                  <a:lnTo>
                    <a:pt x="171" y="1250"/>
                  </a:lnTo>
                  <a:lnTo>
                    <a:pt x="171" y="1252"/>
                  </a:lnTo>
                  <a:lnTo>
                    <a:pt x="171" y="1250"/>
                  </a:lnTo>
                  <a:lnTo>
                    <a:pt x="168" y="1250"/>
                  </a:lnTo>
                  <a:lnTo>
                    <a:pt x="171" y="1250"/>
                  </a:lnTo>
                  <a:lnTo>
                    <a:pt x="168" y="1250"/>
                  </a:lnTo>
                  <a:lnTo>
                    <a:pt x="168" y="1248"/>
                  </a:lnTo>
                  <a:lnTo>
                    <a:pt x="171" y="1248"/>
                  </a:lnTo>
                  <a:lnTo>
                    <a:pt x="168" y="1248"/>
                  </a:lnTo>
                  <a:lnTo>
                    <a:pt x="168" y="1250"/>
                  </a:lnTo>
                  <a:lnTo>
                    <a:pt x="166" y="1250"/>
                  </a:lnTo>
                  <a:lnTo>
                    <a:pt x="166" y="1248"/>
                  </a:lnTo>
                  <a:lnTo>
                    <a:pt x="168" y="1248"/>
                  </a:lnTo>
                  <a:lnTo>
                    <a:pt x="166" y="1248"/>
                  </a:lnTo>
                  <a:lnTo>
                    <a:pt x="166" y="1245"/>
                  </a:lnTo>
                  <a:lnTo>
                    <a:pt x="166" y="1248"/>
                  </a:lnTo>
                  <a:lnTo>
                    <a:pt x="163" y="1248"/>
                  </a:lnTo>
                  <a:lnTo>
                    <a:pt x="166" y="1248"/>
                  </a:lnTo>
                  <a:lnTo>
                    <a:pt x="166" y="1250"/>
                  </a:lnTo>
                  <a:lnTo>
                    <a:pt x="168" y="1250"/>
                  </a:lnTo>
                  <a:lnTo>
                    <a:pt x="166" y="1250"/>
                  </a:lnTo>
                  <a:lnTo>
                    <a:pt x="168" y="1250"/>
                  </a:lnTo>
                  <a:lnTo>
                    <a:pt x="168" y="1252"/>
                  </a:lnTo>
                  <a:lnTo>
                    <a:pt x="171" y="1252"/>
                  </a:lnTo>
                  <a:lnTo>
                    <a:pt x="171" y="1255"/>
                  </a:lnTo>
                  <a:lnTo>
                    <a:pt x="171" y="1252"/>
                  </a:lnTo>
                  <a:lnTo>
                    <a:pt x="168" y="1252"/>
                  </a:lnTo>
                  <a:lnTo>
                    <a:pt x="168" y="1255"/>
                  </a:lnTo>
                  <a:lnTo>
                    <a:pt x="166" y="1255"/>
                  </a:lnTo>
                  <a:lnTo>
                    <a:pt x="166" y="1257"/>
                  </a:lnTo>
                  <a:lnTo>
                    <a:pt x="166" y="1255"/>
                  </a:lnTo>
                  <a:lnTo>
                    <a:pt x="166" y="1257"/>
                  </a:lnTo>
                  <a:lnTo>
                    <a:pt x="163" y="1257"/>
                  </a:lnTo>
                  <a:lnTo>
                    <a:pt x="161" y="1257"/>
                  </a:lnTo>
                  <a:lnTo>
                    <a:pt x="163" y="1257"/>
                  </a:lnTo>
                  <a:lnTo>
                    <a:pt x="161" y="1257"/>
                  </a:lnTo>
                  <a:lnTo>
                    <a:pt x="163" y="1257"/>
                  </a:lnTo>
                  <a:lnTo>
                    <a:pt x="163" y="1259"/>
                  </a:lnTo>
                  <a:lnTo>
                    <a:pt x="163" y="1257"/>
                  </a:lnTo>
                  <a:lnTo>
                    <a:pt x="163" y="1259"/>
                  </a:lnTo>
                  <a:lnTo>
                    <a:pt x="166" y="1259"/>
                  </a:lnTo>
                  <a:lnTo>
                    <a:pt x="163" y="1259"/>
                  </a:lnTo>
                  <a:lnTo>
                    <a:pt x="166" y="1259"/>
                  </a:lnTo>
                  <a:lnTo>
                    <a:pt x="163" y="1259"/>
                  </a:lnTo>
                  <a:lnTo>
                    <a:pt x="161" y="1259"/>
                  </a:lnTo>
                  <a:lnTo>
                    <a:pt x="161" y="1257"/>
                  </a:lnTo>
                  <a:lnTo>
                    <a:pt x="161" y="1259"/>
                  </a:lnTo>
                  <a:lnTo>
                    <a:pt x="161" y="1257"/>
                  </a:lnTo>
                  <a:lnTo>
                    <a:pt x="161" y="1259"/>
                  </a:lnTo>
                  <a:lnTo>
                    <a:pt x="159" y="1259"/>
                  </a:lnTo>
                  <a:lnTo>
                    <a:pt x="159" y="1262"/>
                  </a:lnTo>
                  <a:lnTo>
                    <a:pt x="156" y="1259"/>
                  </a:lnTo>
                  <a:lnTo>
                    <a:pt x="156" y="1262"/>
                  </a:lnTo>
                  <a:lnTo>
                    <a:pt x="159" y="1262"/>
                  </a:lnTo>
                  <a:lnTo>
                    <a:pt x="161" y="1262"/>
                  </a:lnTo>
                  <a:lnTo>
                    <a:pt x="159" y="1262"/>
                  </a:lnTo>
                  <a:lnTo>
                    <a:pt x="159" y="1264"/>
                  </a:lnTo>
                  <a:lnTo>
                    <a:pt x="161" y="1264"/>
                  </a:lnTo>
                  <a:lnTo>
                    <a:pt x="159" y="1264"/>
                  </a:lnTo>
                  <a:lnTo>
                    <a:pt x="159" y="1267"/>
                  </a:lnTo>
                  <a:lnTo>
                    <a:pt x="159" y="1264"/>
                  </a:lnTo>
                  <a:lnTo>
                    <a:pt x="159" y="1267"/>
                  </a:lnTo>
                  <a:lnTo>
                    <a:pt x="156" y="1267"/>
                  </a:lnTo>
                  <a:lnTo>
                    <a:pt x="154" y="1267"/>
                  </a:lnTo>
                  <a:lnTo>
                    <a:pt x="152" y="1267"/>
                  </a:lnTo>
                  <a:lnTo>
                    <a:pt x="149" y="1267"/>
                  </a:lnTo>
                  <a:lnTo>
                    <a:pt x="147" y="1267"/>
                  </a:lnTo>
                  <a:lnTo>
                    <a:pt x="147" y="1269"/>
                  </a:lnTo>
                  <a:lnTo>
                    <a:pt x="147" y="1267"/>
                  </a:lnTo>
                  <a:lnTo>
                    <a:pt x="149" y="1267"/>
                  </a:lnTo>
                  <a:lnTo>
                    <a:pt x="149" y="1269"/>
                  </a:lnTo>
                  <a:lnTo>
                    <a:pt x="149" y="1267"/>
                  </a:lnTo>
                  <a:lnTo>
                    <a:pt x="149" y="1269"/>
                  </a:lnTo>
                  <a:lnTo>
                    <a:pt x="152" y="1269"/>
                  </a:lnTo>
                  <a:lnTo>
                    <a:pt x="152" y="1267"/>
                  </a:lnTo>
                  <a:lnTo>
                    <a:pt x="152" y="1269"/>
                  </a:lnTo>
                  <a:lnTo>
                    <a:pt x="149" y="1267"/>
                  </a:lnTo>
                  <a:lnTo>
                    <a:pt x="152" y="1267"/>
                  </a:lnTo>
                  <a:lnTo>
                    <a:pt x="154" y="1267"/>
                  </a:lnTo>
                  <a:lnTo>
                    <a:pt x="152" y="1269"/>
                  </a:lnTo>
                  <a:lnTo>
                    <a:pt x="154" y="1269"/>
                  </a:lnTo>
                  <a:lnTo>
                    <a:pt x="154" y="1267"/>
                  </a:lnTo>
                  <a:lnTo>
                    <a:pt x="154" y="1269"/>
                  </a:lnTo>
                  <a:lnTo>
                    <a:pt x="152" y="1269"/>
                  </a:lnTo>
                  <a:lnTo>
                    <a:pt x="149" y="1269"/>
                  </a:lnTo>
                  <a:lnTo>
                    <a:pt x="152" y="1269"/>
                  </a:lnTo>
                  <a:lnTo>
                    <a:pt x="154" y="1269"/>
                  </a:lnTo>
                  <a:lnTo>
                    <a:pt x="154" y="1271"/>
                  </a:lnTo>
                  <a:lnTo>
                    <a:pt x="152" y="1271"/>
                  </a:lnTo>
                  <a:lnTo>
                    <a:pt x="149" y="1271"/>
                  </a:lnTo>
                  <a:lnTo>
                    <a:pt x="149" y="1274"/>
                  </a:lnTo>
                  <a:lnTo>
                    <a:pt x="147" y="1274"/>
                  </a:lnTo>
                  <a:lnTo>
                    <a:pt x="147" y="1276"/>
                  </a:lnTo>
                  <a:lnTo>
                    <a:pt x="144" y="1276"/>
                  </a:lnTo>
                  <a:lnTo>
                    <a:pt x="147" y="1276"/>
                  </a:lnTo>
                  <a:lnTo>
                    <a:pt x="147" y="1274"/>
                  </a:lnTo>
                  <a:lnTo>
                    <a:pt x="144" y="1274"/>
                  </a:lnTo>
                  <a:lnTo>
                    <a:pt x="144" y="1276"/>
                  </a:lnTo>
                  <a:lnTo>
                    <a:pt x="144" y="1274"/>
                  </a:lnTo>
                  <a:lnTo>
                    <a:pt x="144" y="1276"/>
                  </a:lnTo>
                  <a:lnTo>
                    <a:pt x="147" y="1276"/>
                  </a:lnTo>
                  <a:lnTo>
                    <a:pt x="144" y="1276"/>
                  </a:lnTo>
                  <a:lnTo>
                    <a:pt x="147" y="1276"/>
                  </a:lnTo>
                  <a:lnTo>
                    <a:pt x="144" y="1276"/>
                  </a:lnTo>
                  <a:lnTo>
                    <a:pt x="144" y="1278"/>
                  </a:lnTo>
                  <a:lnTo>
                    <a:pt x="142" y="1278"/>
                  </a:lnTo>
                  <a:lnTo>
                    <a:pt x="142" y="1281"/>
                  </a:lnTo>
                  <a:lnTo>
                    <a:pt x="140" y="1281"/>
                  </a:lnTo>
                  <a:lnTo>
                    <a:pt x="137" y="1281"/>
                  </a:lnTo>
                  <a:lnTo>
                    <a:pt x="137" y="1283"/>
                  </a:lnTo>
                  <a:lnTo>
                    <a:pt x="137" y="1281"/>
                  </a:lnTo>
                  <a:lnTo>
                    <a:pt x="137" y="1283"/>
                  </a:lnTo>
                  <a:lnTo>
                    <a:pt x="140" y="1283"/>
                  </a:lnTo>
                  <a:lnTo>
                    <a:pt x="137" y="1283"/>
                  </a:lnTo>
                  <a:lnTo>
                    <a:pt x="137" y="1286"/>
                  </a:lnTo>
                  <a:lnTo>
                    <a:pt x="137" y="1283"/>
                  </a:lnTo>
                  <a:lnTo>
                    <a:pt x="137" y="1286"/>
                  </a:lnTo>
                  <a:lnTo>
                    <a:pt x="135" y="1286"/>
                  </a:lnTo>
                  <a:lnTo>
                    <a:pt x="137" y="1286"/>
                  </a:lnTo>
                  <a:lnTo>
                    <a:pt x="135" y="1286"/>
                  </a:lnTo>
                  <a:lnTo>
                    <a:pt x="137" y="1286"/>
                  </a:lnTo>
                  <a:lnTo>
                    <a:pt x="135" y="1286"/>
                  </a:lnTo>
                  <a:lnTo>
                    <a:pt x="135" y="1288"/>
                  </a:lnTo>
                  <a:lnTo>
                    <a:pt x="133" y="1288"/>
                  </a:lnTo>
                  <a:lnTo>
                    <a:pt x="135" y="1288"/>
                  </a:lnTo>
                  <a:lnTo>
                    <a:pt x="133" y="1288"/>
                  </a:lnTo>
                  <a:lnTo>
                    <a:pt x="133" y="1290"/>
                  </a:lnTo>
                  <a:lnTo>
                    <a:pt x="130" y="1290"/>
                  </a:lnTo>
                  <a:lnTo>
                    <a:pt x="130" y="1293"/>
                  </a:lnTo>
                  <a:lnTo>
                    <a:pt x="128" y="1293"/>
                  </a:lnTo>
                  <a:lnTo>
                    <a:pt x="130" y="1293"/>
                  </a:lnTo>
                  <a:lnTo>
                    <a:pt x="128" y="1293"/>
                  </a:lnTo>
                  <a:lnTo>
                    <a:pt x="128" y="1290"/>
                  </a:lnTo>
                  <a:lnTo>
                    <a:pt x="128" y="1293"/>
                  </a:lnTo>
                  <a:lnTo>
                    <a:pt x="128" y="1290"/>
                  </a:lnTo>
                  <a:lnTo>
                    <a:pt x="125" y="1293"/>
                  </a:lnTo>
                  <a:lnTo>
                    <a:pt x="128" y="1293"/>
                  </a:lnTo>
                  <a:lnTo>
                    <a:pt x="125" y="1293"/>
                  </a:lnTo>
                  <a:lnTo>
                    <a:pt x="123" y="1293"/>
                  </a:lnTo>
                  <a:lnTo>
                    <a:pt x="125" y="1293"/>
                  </a:lnTo>
                  <a:lnTo>
                    <a:pt x="125" y="1295"/>
                  </a:lnTo>
                  <a:lnTo>
                    <a:pt x="125" y="1293"/>
                  </a:lnTo>
                  <a:lnTo>
                    <a:pt x="125" y="1295"/>
                  </a:lnTo>
                  <a:lnTo>
                    <a:pt x="123" y="1295"/>
                  </a:lnTo>
                  <a:lnTo>
                    <a:pt x="121" y="1295"/>
                  </a:lnTo>
                  <a:lnTo>
                    <a:pt x="123" y="1295"/>
                  </a:lnTo>
                  <a:lnTo>
                    <a:pt x="121" y="1295"/>
                  </a:lnTo>
                  <a:lnTo>
                    <a:pt x="123" y="1295"/>
                  </a:lnTo>
                  <a:lnTo>
                    <a:pt x="123" y="1297"/>
                  </a:lnTo>
                  <a:lnTo>
                    <a:pt x="123" y="1295"/>
                  </a:lnTo>
                  <a:lnTo>
                    <a:pt x="123" y="1297"/>
                  </a:lnTo>
                  <a:lnTo>
                    <a:pt x="121" y="1297"/>
                  </a:lnTo>
                  <a:lnTo>
                    <a:pt x="123" y="1297"/>
                  </a:lnTo>
                  <a:lnTo>
                    <a:pt x="121" y="1297"/>
                  </a:lnTo>
                  <a:lnTo>
                    <a:pt x="123" y="1297"/>
                  </a:lnTo>
                  <a:lnTo>
                    <a:pt x="121" y="1297"/>
                  </a:lnTo>
                  <a:lnTo>
                    <a:pt x="121" y="1300"/>
                  </a:lnTo>
                  <a:lnTo>
                    <a:pt x="118" y="1300"/>
                  </a:lnTo>
                  <a:lnTo>
                    <a:pt x="121" y="1300"/>
                  </a:lnTo>
                  <a:lnTo>
                    <a:pt x="118" y="1300"/>
                  </a:lnTo>
                  <a:lnTo>
                    <a:pt x="121" y="1300"/>
                  </a:lnTo>
                  <a:lnTo>
                    <a:pt x="118" y="1300"/>
                  </a:lnTo>
                  <a:lnTo>
                    <a:pt x="121" y="1300"/>
                  </a:lnTo>
                  <a:lnTo>
                    <a:pt x="118" y="1300"/>
                  </a:lnTo>
                  <a:lnTo>
                    <a:pt x="118" y="1297"/>
                  </a:lnTo>
                  <a:lnTo>
                    <a:pt x="121" y="1297"/>
                  </a:lnTo>
                  <a:lnTo>
                    <a:pt x="118" y="1297"/>
                  </a:lnTo>
                  <a:lnTo>
                    <a:pt x="118" y="1300"/>
                  </a:lnTo>
                  <a:lnTo>
                    <a:pt x="116" y="1300"/>
                  </a:lnTo>
                  <a:lnTo>
                    <a:pt x="114" y="1300"/>
                  </a:lnTo>
                  <a:lnTo>
                    <a:pt x="116" y="1300"/>
                  </a:lnTo>
                  <a:lnTo>
                    <a:pt x="114" y="1300"/>
                  </a:lnTo>
                  <a:lnTo>
                    <a:pt x="116" y="1300"/>
                  </a:lnTo>
                  <a:lnTo>
                    <a:pt x="116" y="1297"/>
                  </a:lnTo>
                  <a:lnTo>
                    <a:pt x="114" y="1297"/>
                  </a:lnTo>
                  <a:lnTo>
                    <a:pt x="114" y="1300"/>
                  </a:lnTo>
                  <a:lnTo>
                    <a:pt x="114" y="1297"/>
                  </a:lnTo>
                  <a:lnTo>
                    <a:pt x="116" y="1297"/>
                  </a:lnTo>
                  <a:lnTo>
                    <a:pt x="116" y="1295"/>
                  </a:lnTo>
                  <a:lnTo>
                    <a:pt x="114" y="1295"/>
                  </a:lnTo>
                  <a:lnTo>
                    <a:pt x="114" y="1293"/>
                  </a:lnTo>
                  <a:lnTo>
                    <a:pt x="114" y="1295"/>
                  </a:lnTo>
                  <a:lnTo>
                    <a:pt x="114" y="1297"/>
                  </a:lnTo>
                  <a:lnTo>
                    <a:pt x="114" y="1295"/>
                  </a:lnTo>
                  <a:lnTo>
                    <a:pt x="114" y="1297"/>
                  </a:lnTo>
                  <a:lnTo>
                    <a:pt x="114" y="1300"/>
                  </a:lnTo>
                  <a:lnTo>
                    <a:pt x="114" y="1297"/>
                  </a:lnTo>
                  <a:lnTo>
                    <a:pt x="111" y="1297"/>
                  </a:lnTo>
                  <a:lnTo>
                    <a:pt x="111" y="1300"/>
                  </a:lnTo>
                  <a:lnTo>
                    <a:pt x="114" y="1300"/>
                  </a:lnTo>
                  <a:lnTo>
                    <a:pt x="111" y="1300"/>
                  </a:lnTo>
                  <a:lnTo>
                    <a:pt x="111" y="1302"/>
                  </a:lnTo>
                  <a:lnTo>
                    <a:pt x="111" y="1300"/>
                  </a:lnTo>
                  <a:lnTo>
                    <a:pt x="111" y="1302"/>
                  </a:lnTo>
                  <a:lnTo>
                    <a:pt x="109" y="1302"/>
                  </a:lnTo>
                  <a:lnTo>
                    <a:pt x="106" y="1302"/>
                  </a:lnTo>
                  <a:lnTo>
                    <a:pt x="104" y="1302"/>
                  </a:lnTo>
                  <a:lnTo>
                    <a:pt x="102" y="1302"/>
                  </a:lnTo>
                  <a:lnTo>
                    <a:pt x="104" y="1302"/>
                  </a:lnTo>
                  <a:lnTo>
                    <a:pt x="102" y="1302"/>
                  </a:lnTo>
                  <a:lnTo>
                    <a:pt x="102" y="1305"/>
                  </a:lnTo>
                  <a:lnTo>
                    <a:pt x="99" y="1305"/>
                  </a:lnTo>
                  <a:lnTo>
                    <a:pt x="102" y="1305"/>
                  </a:lnTo>
                  <a:lnTo>
                    <a:pt x="99" y="1305"/>
                  </a:lnTo>
                  <a:lnTo>
                    <a:pt x="102" y="1305"/>
                  </a:lnTo>
                  <a:lnTo>
                    <a:pt x="99" y="1305"/>
                  </a:lnTo>
                  <a:lnTo>
                    <a:pt x="97" y="1305"/>
                  </a:lnTo>
                  <a:lnTo>
                    <a:pt x="97" y="1307"/>
                  </a:lnTo>
                  <a:lnTo>
                    <a:pt x="97" y="1305"/>
                  </a:lnTo>
                  <a:lnTo>
                    <a:pt x="95" y="1305"/>
                  </a:lnTo>
                  <a:lnTo>
                    <a:pt x="92" y="1305"/>
                  </a:lnTo>
                  <a:lnTo>
                    <a:pt x="95" y="1305"/>
                  </a:lnTo>
                  <a:lnTo>
                    <a:pt x="92" y="1305"/>
                  </a:lnTo>
                  <a:lnTo>
                    <a:pt x="95" y="1305"/>
                  </a:lnTo>
                  <a:lnTo>
                    <a:pt x="92" y="1305"/>
                  </a:lnTo>
                  <a:lnTo>
                    <a:pt x="95" y="1305"/>
                  </a:lnTo>
                  <a:lnTo>
                    <a:pt x="92" y="1305"/>
                  </a:lnTo>
                  <a:lnTo>
                    <a:pt x="90" y="1305"/>
                  </a:lnTo>
                  <a:lnTo>
                    <a:pt x="90" y="1302"/>
                  </a:lnTo>
                  <a:lnTo>
                    <a:pt x="90" y="1305"/>
                  </a:lnTo>
                  <a:lnTo>
                    <a:pt x="90" y="1302"/>
                  </a:lnTo>
                  <a:lnTo>
                    <a:pt x="87" y="1302"/>
                  </a:lnTo>
                  <a:lnTo>
                    <a:pt x="87" y="1305"/>
                  </a:lnTo>
                  <a:lnTo>
                    <a:pt x="87" y="1302"/>
                  </a:lnTo>
                  <a:lnTo>
                    <a:pt x="87" y="1305"/>
                  </a:lnTo>
                  <a:lnTo>
                    <a:pt x="85" y="1305"/>
                  </a:lnTo>
                  <a:lnTo>
                    <a:pt x="87" y="1305"/>
                  </a:lnTo>
                  <a:lnTo>
                    <a:pt x="85" y="1305"/>
                  </a:lnTo>
                  <a:lnTo>
                    <a:pt x="85" y="1302"/>
                  </a:lnTo>
                  <a:lnTo>
                    <a:pt x="87" y="1302"/>
                  </a:lnTo>
                  <a:lnTo>
                    <a:pt x="85" y="1302"/>
                  </a:lnTo>
                  <a:lnTo>
                    <a:pt x="85" y="1305"/>
                  </a:lnTo>
                  <a:lnTo>
                    <a:pt x="85" y="1302"/>
                  </a:lnTo>
                  <a:lnTo>
                    <a:pt x="85" y="1305"/>
                  </a:lnTo>
                  <a:lnTo>
                    <a:pt x="83" y="1305"/>
                  </a:lnTo>
                  <a:lnTo>
                    <a:pt x="85" y="1305"/>
                  </a:lnTo>
                  <a:lnTo>
                    <a:pt x="83" y="1305"/>
                  </a:lnTo>
                  <a:lnTo>
                    <a:pt x="83" y="1307"/>
                  </a:lnTo>
                  <a:lnTo>
                    <a:pt x="80" y="1307"/>
                  </a:lnTo>
                  <a:lnTo>
                    <a:pt x="80" y="1305"/>
                  </a:lnTo>
                  <a:lnTo>
                    <a:pt x="83" y="1305"/>
                  </a:lnTo>
                  <a:lnTo>
                    <a:pt x="83" y="1302"/>
                  </a:lnTo>
                  <a:lnTo>
                    <a:pt x="85" y="1302"/>
                  </a:lnTo>
                  <a:lnTo>
                    <a:pt x="83" y="1302"/>
                  </a:lnTo>
                  <a:lnTo>
                    <a:pt x="85" y="1302"/>
                  </a:lnTo>
                  <a:lnTo>
                    <a:pt x="83" y="1302"/>
                  </a:lnTo>
                  <a:lnTo>
                    <a:pt x="80" y="1302"/>
                  </a:lnTo>
                  <a:lnTo>
                    <a:pt x="80" y="1305"/>
                  </a:lnTo>
                  <a:lnTo>
                    <a:pt x="78" y="1305"/>
                  </a:lnTo>
                  <a:lnTo>
                    <a:pt x="80" y="1305"/>
                  </a:lnTo>
                  <a:lnTo>
                    <a:pt x="78" y="1305"/>
                  </a:lnTo>
                  <a:lnTo>
                    <a:pt x="80" y="1305"/>
                  </a:lnTo>
                  <a:lnTo>
                    <a:pt x="78" y="1305"/>
                  </a:lnTo>
                  <a:lnTo>
                    <a:pt x="78" y="1302"/>
                  </a:lnTo>
                  <a:lnTo>
                    <a:pt x="80" y="1302"/>
                  </a:lnTo>
                  <a:lnTo>
                    <a:pt x="80" y="1300"/>
                  </a:lnTo>
                  <a:lnTo>
                    <a:pt x="80" y="1302"/>
                  </a:lnTo>
                  <a:lnTo>
                    <a:pt x="78" y="1302"/>
                  </a:lnTo>
                  <a:lnTo>
                    <a:pt x="78" y="1300"/>
                  </a:lnTo>
                  <a:lnTo>
                    <a:pt x="78" y="1302"/>
                  </a:lnTo>
                  <a:lnTo>
                    <a:pt x="76" y="1302"/>
                  </a:lnTo>
                  <a:lnTo>
                    <a:pt x="78" y="1302"/>
                  </a:lnTo>
                  <a:lnTo>
                    <a:pt x="76" y="1302"/>
                  </a:lnTo>
                  <a:lnTo>
                    <a:pt x="73" y="1302"/>
                  </a:lnTo>
                  <a:lnTo>
                    <a:pt x="73" y="1300"/>
                  </a:lnTo>
                  <a:lnTo>
                    <a:pt x="73" y="1302"/>
                  </a:lnTo>
                  <a:lnTo>
                    <a:pt x="73" y="1300"/>
                  </a:lnTo>
                  <a:lnTo>
                    <a:pt x="73" y="1302"/>
                  </a:lnTo>
                  <a:lnTo>
                    <a:pt x="71" y="1302"/>
                  </a:lnTo>
                  <a:lnTo>
                    <a:pt x="73" y="1302"/>
                  </a:lnTo>
                  <a:lnTo>
                    <a:pt x="71" y="1302"/>
                  </a:lnTo>
                  <a:lnTo>
                    <a:pt x="68" y="1302"/>
                  </a:lnTo>
                  <a:lnTo>
                    <a:pt x="66" y="1302"/>
                  </a:lnTo>
                  <a:lnTo>
                    <a:pt x="66" y="1300"/>
                  </a:lnTo>
                  <a:lnTo>
                    <a:pt x="64" y="1300"/>
                  </a:lnTo>
                  <a:lnTo>
                    <a:pt x="66" y="1300"/>
                  </a:lnTo>
                  <a:lnTo>
                    <a:pt x="66" y="1297"/>
                  </a:lnTo>
                  <a:lnTo>
                    <a:pt x="68" y="1297"/>
                  </a:lnTo>
                  <a:lnTo>
                    <a:pt x="68" y="1295"/>
                  </a:lnTo>
                  <a:lnTo>
                    <a:pt x="71" y="1295"/>
                  </a:lnTo>
                  <a:lnTo>
                    <a:pt x="71" y="1293"/>
                  </a:lnTo>
                  <a:lnTo>
                    <a:pt x="73" y="1293"/>
                  </a:lnTo>
                  <a:lnTo>
                    <a:pt x="76" y="1293"/>
                  </a:lnTo>
                  <a:lnTo>
                    <a:pt x="76" y="1290"/>
                  </a:lnTo>
                  <a:lnTo>
                    <a:pt x="78" y="1290"/>
                  </a:lnTo>
                  <a:lnTo>
                    <a:pt x="76" y="1290"/>
                  </a:lnTo>
                  <a:lnTo>
                    <a:pt x="76" y="1293"/>
                  </a:lnTo>
                  <a:lnTo>
                    <a:pt x="73" y="1293"/>
                  </a:lnTo>
                  <a:lnTo>
                    <a:pt x="71" y="1293"/>
                  </a:lnTo>
                  <a:lnTo>
                    <a:pt x="71" y="1295"/>
                  </a:lnTo>
                  <a:lnTo>
                    <a:pt x="71" y="1293"/>
                  </a:lnTo>
                  <a:lnTo>
                    <a:pt x="68" y="1293"/>
                  </a:lnTo>
                  <a:lnTo>
                    <a:pt x="68" y="1290"/>
                  </a:lnTo>
                  <a:lnTo>
                    <a:pt x="68" y="1293"/>
                  </a:lnTo>
                  <a:lnTo>
                    <a:pt x="66" y="1293"/>
                  </a:lnTo>
                  <a:lnTo>
                    <a:pt x="64" y="1293"/>
                  </a:lnTo>
                  <a:lnTo>
                    <a:pt x="61" y="1293"/>
                  </a:lnTo>
                  <a:lnTo>
                    <a:pt x="59" y="1293"/>
                  </a:lnTo>
                  <a:lnTo>
                    <a:pt x="59" y="1290"/>
                  </a:lnTo>
                  <a:lnTo>
                    <a:pt x="57" y="1290"/>
                  </a:lnTo>
                  <a:lnTo>
                    <a:pt x="59" y="1288"/>
                  </a:lnTo>
                  <a:lnTo>
                    <a:pt x="57" y="1288"/>
                  </a:lnTo>
                  <a:lnTo>
                    <a:pt x="57" y="1290"/>
                  </a:lnTo>
                  <a:lnTo>
                    <a:pt x="57" y="1288"/>
                  </a:lnTo>
                  <a:lnTo>
                    <a:pt x="54" y="1288"/>
                  </a:lnTo>
                  <a:lnTo>
                    <a:pt x="52" y="1288"/>
                  </a:lnTo>
                  <a:lnTo>
                    <a:pt x="50" y="1288"/>
                  </a:lnTo>
                  <a:lnTo>
                    <a:pt x="50" y="1286"/>
                  </a:lnTo>
                  <a:lnTo>
                    <a:pt x="47" y="1286"/>
                  </a:lnTo>
                  <a:lnTo>
                    <a:pt x="47" y="1283"/>
                  </a:lnTo>
                  <a:lnTo>
                    <a:pt x="47" y="1281"/>
                  </a:lnTo>
                  <a:lnTo>
                    <a:pt x="47" y="1283"/>
                  </a:lnTo>
                  <a:lnTo>
                    <a:pt x="47" y="1286"/>
                  </a:lnTo>
                  <a:lnTo>
                    <a:pt x="45" y="1283"/>
                  </a:lnTo>
                  <a:lnTo>
                    <a:pt x="45" y="1286"/>
                  </a:lnTo>
                  <a:lnTo>
                    <a:pt x="45" y="1283"/>
                  </a:lnTo>
                  <a:lnTo>
                    <a:pt x="45" y="1281"/>
                  </a:lnTo>
                  <a:lnTo>
                    <a:pt x="45" y="1283"/>
                  </a:lnTo>
                  <a:lnTo>
                    <a:pt x="45" y="1281"/>
                  </a:lnTo>
                  <a:lnTo>
                    <a:pt x="45" y="1283"/>
                  </a:lnTo>
                  <a:lnTo>
                    <a:pt x="42" y="1283"/>
                  </a:lnTo>
                  <a:lnTo>
                    <a:pt x="45" y="1283"/>
                  </a:lnTo>
                  <a:lnTo>
                    <a:pt x="42" y="1283"/>
                  </a:lnTo>
                  <a:lnTo>
                    <a:pt x="42" y="1281"/>
                  </a:lnTo>
                  <a:lnTo>
                    <a:pt x="45" y="1281"/>
                  </a:lnTo>
                  <a:lnTo>
                    <a:pt x="47" y="1281"/>
                  </a:lnTo>
                  <a:lnTo>
                    <a:pt x="45" y="1281"/>
                  </a:lnTo>
                  <a:lnTo>
                    <a:pt x="42" y="1281"/>
                  </a:lnTo>
                  <a:lnTo>
                    <a:pt x="40" y="1281"/>
                  </a:lnTo>
                  <a:lnTo>
                    <a:pt x="40" y="1278"/>
                  </a:lnTo>
                  <a:lnTo>
                    <a:pt x="38" y="1278"/>
                  </a:lnTo>
                  <a:lnTo>
                    <a:pt x="35" y="1278"/>
                  </a:lnTo>
                  <a:lnTo>
                    <a:pt x="35" y="1276"/>
                  </a:lnTo>
                  <a:lnTo>
                    <a:pt x="35" y="1274"/>
                  </a:lnTo>
                  <a:lnTo>
                    <a:pt x="33" y="1274"/>
                  </a:lnTo>
                  <a:lnTo>
                    <a:pt x="33" y="1271"/>
                  </a:lnTo>
                  <a:lnTo>
                    <a:pt x="31" y="1271"/>
                  </a:lnTo>
                  <a:lnTo>
                    <a:pt x="33" y="1271"/>
                  </a:lnTo>
                  <a:lnTo>
                    <a:pt x="31" y="1269"/>
                  </a:lnTo>
                  <a:lnTo>
                    <a:pt x="33" y="1269"/>
                  </a:lnTo>
                  <a:lnTo>
                    <a:pt x="31" y="1269"/>
                  </a:lnTo>
                  <a:lnTo>
                    <a:pt x="31" y="1267"/>
                  </a:lnTo>
                  <a:lnTo>
                    <a:pt x="31" y="1264"/>
                  </a:lnTo>
                  <a:lnTo>
                    <a:pt x="33" y="1264"/>
                  </a:lnTo>
                  <a:lnTo>
                    <a:pt x="31" y="1264"/>
                  </a:lnTo>
                  <a:lnTo>
                    <a:pt x="31" y="1262"/>
                  </a:lnTo>
                  <a:lnTo>
                    <a:pt x="33" y="1262"/>
                  </a:lnTo>
                  <a:lnTo>
                    <a:pt x="33" y="1259"/>
                  </a:lnTo>
                  <a:lnTo>
                    <a:pt x="33" y="1257"/>
                  </a:lnTo>
                  <a:lnTo>
                    <a:pt x="33" y="1255"/>
                  </a:lnTo>
                  <a:lnTo>
                    <a:pt x="33" y="1257"/>
                  </a:lnTo>
                  <a:lnTo>
                    <a:pt x="35" y="1257"/>
                  </a:lnTo>
                  <a:lnTo>
                    <a:pt x="33" y="1257"/>
                  </a:lnTo>
                  <a:lnTo>
                    <a:pt x="35" y="1257"/>
                  </a:lnTo>
                  <a:lnTo>
                    <a:pt x="33" y="1259"/>
                  </a:lnTo>
                  <a:lnTo>
                    <a:pt x="35" y="1259"/>
                  </a:lnTo>
                  <a:lnTo>
                    <a:pt x="35" y="1257"/>
                  </a:lnTo>
                  <a:lnTo>
                    <a:pt x="35" y="1255"/>
                  </a:lnTo>
                  <a:lnTo>
                    <a:pt x="33" y="1255"/>
                  </a:lnTo>
                  <a:lnTo>
                    <a:pt x="33" y="1252"/>
                  </a:lnTo>
                  <a:lnTo>
                    <a:pt x="35" y="1252"/>
                  </a:lnTo>
                  <a:lnTo>
                    <a:pt x="35" y="1255"/>
                  </a:lnTo>
                  <a:lnTo>
                    <a:pt x="35" y="1252"/>
                  </a:lnTo>
                  <a:lnTo>
                    <a:pt x="38" y="1255"/>
                  </a:lnTo>
                  <a:lnTo>
                    <a:pt x="40" y="1255"/>
                  </a:lnTo>
                  <a:lnTo>
                    <a:pt x="38" y="1257"/>
                  </a:lnTo>
                  <a:lnTo>
                    <a:pt x="38" y="1255"/>
                  </a:lnTo>
                  <a:lnTo>
                    <a:pt x="38" y="1257"/>
                  </a:lnTo>
                  <a:lnTo>
                    <a:pt x="38" y="1259"/>
                  </a:lnTo>
                  <a:lnTo>
                    <a:pt x="38" y="1262"/>
                  </a:lnTo>
                  <a:lnTo>
                    <a:pt x="38" y="1259"/>
                  </a:lnTo>
                  <a:lnTo>
                    <a:pt x="40" y="1259"/>
                  </a:lnTo>
                  <a:lnTo>
                    <a:pt x="40" y="1257"/>
                  </a:lnTo>
                  <a:lnTo>
                    <a:pt x="42" y="1257"/>
                  </a:lnTo>
                  <a:lnTo>
                    <a:pt x="42" y="1255"/>
                  </a:lnTo>
                  <a:lnTo>
                    <a:pt x="45" y="1255"/>
                  </a:lnTo>
                  <a:lnTo>
                    <a:pt x="45" y="1257"/>
                  </a:lnTo>
                  <a:lnTo>
                    <a:pt x="45" y="1255"/>
                  </a:lnTo>
                  <a:lnTo>
                    <a:pt x="45" y="1257"/>
                  </a:lnTo>
                  <a:lnTo>
                    <a:pt x="45" y="1255"/>
                  </a:lnTo>
                  <a:lnTo>
                    <a:pt x="45" y="1257"/>
                  </a:lnTo>
                  <a:lnTo>
                    <a:pt x="47" y="1257"/>
                  </a:lnTo>
                  <a:lnTo>
                    <a:pt x="45" y="1257"/>
                  </a:lnTo>
                  <a:lnTo>
                    <a:pt x="45" y="1259"/>
                  </a:lnTo>
                  <a:lnTo>
                    <a:pt x="47" y="1259"/>
                  </a:lnTo>
                  <a:lnTo>
                    <a:pt x="50" y="1259"/>
                  </a:lnTo>
                  <a:lnTo>
                    <a:pt x="50" y="1262"/>
                  </a:lnTo>
                  <a:lnTo>
                    <a:pt x="52" y="1262"/>
                  </a:lnTo>
                  <a:lnTo>
                    <a:pt x="54" y="1262"/>
                  </a:lnTo>
                  <a:lnTo>
                    <a:pt x="57" y="1262"/>
                  </a:lnTo>
                  <a:lnTo>
                    <a:pt x="54" y="1262"/>
                  </a:lnTo>
                  <a:lnTo>
                    <a:pt x="52" y="1262"/>
                  </a:lnTo>
                  <a:lnTo>
                    <a:pt x="52" y="1259"/>
                  </a:lnTo>
                  <a:lnTo>
                    <a:pt x="50" y="1259"/>
                  </a:lnTo>
                  <a:lnTo>
                    <a:pt x="50" y="1257"/>
                  </a:lnTo>
                  <a:lnTo>
                    <a:pt x="52" y="1257"/>
                  </a:lnTo>
                  <a:lnTo>
                    <a:pt x="52" y="1255"/>
                  </a:lnTo>
                  <a:lnTo>
                    <a:pt x="54" y="1255"/>
                  </a:lnTo>
                  <a:lnTo>
                    <a:pt x="57" y="1255"/>
                  </a:lnTo>
                  <a:lnTo>
                    <a:pt x="57" y="1252"/>
                  </a:lnTo>
                  <a:lnTo>
                    <a:pt x="59" y="1252"/>
                  </a:lnTo>
                  <a:lnTo>
                    <a:pt x="61" y="1252"/>
                  </a:lnTo>
                  <a:lnTo>
                    <a:pt x="64" y="1252"/>
                  </a:lnTo>
                  <a:lnTo>
                    <a:pt x="66" y="1252"/>
                  </a:lnTo>
                  <a:lnTo>
                    <a:pt x="66" y="1250"/>
                  </a:lnTo>
                  <a:lnTo>
                    <a:pt x="68" y="1250"/>
                  </a:lnTo>
                  <a:lnTo>
                    <a:pt x="66" y="1250"/>
                  </a:lnTo>
                  <a:lnTo>
                    <a:pt x="64" y="1250"/>
                  </a:lnTo>
                  <a:lnTo>
                    <a:pt x="64" y="1252"/>
                  </a:lnTo>
                  <a:lnTo>
                    <a:pt x="61" y="1252"/>
                  </a:lnTo>
                  <a:lnTo>
                    <a:pt x="59" y="1252"/>
                  </a:lnTo>
                  <a:lnTo>
                    <a:pt x="57" y="1252"/>
                  </a:lnTo>
                  <a:lnTo>
                    <a:pt x="54" y="1252"/>
                  </a:lnTo>
                  <a:lnTo>
                    <a:pt x="54" y="1255"/>
                  </a:lnTo>
                  <a:lnTo>
                    <a:pt x="52" y="1255"/>
                  </a:lnTo>
                  <a:lnTo>
                    <a:pt x="50" y="1257"/>
                  </a:lnTo>
                  <a:lnTo>
                    <a:pt x="50" y="1259"/>
                  </a:lnTo>
                  <a:lnTo>
                    <a:pt x="50" y="1257"/>
                  </a:lnTo>
                  <a:lnTo>
                    <a:pt x="47" y="1257"/>
                  </a:lnTo>
                  <a:lnTo>
                    <a:pt x="47" y="1255"/>
                  </a:lnTo>
                  <a:lnTo>
                    <a:pt x="50" y="1252"/>
                  </a:lnTo>
                  <a:lnTo>
                    <a:pt x="50" y="1255"/>
                  </a:lnTo>
                  <a:lnTo>
                    <a:pt x="50" y="1252"/>
                  </a:lnTo>
                  <a:lnTo>
                    <a:pt x="47" y="1252"/>
                  </a:lnTo>
                  <a:lnTo>
                    <a:pt x="45" y="1252"/>
                  </a:lnTo>
                  <a:lnTo>
                    <a:pt x="45" y="1250"/>
                  </a:lnTo>
                  <a:lnTo>
                    <a:pt x="42" y="1250"/>
                  </a:lnTo>
                  <a:lnTo>
                    <a:pt x="42" y="1248"/>
                  </a:lnTo>
                  <a:lnTo>
                    <a:pt x="45" y="1248"/>
                  </a:lnTo>
                  <a:lnTo>
                    <a:pt x="47" y="1248"/>
                  </a:lnTo>
                  <a:lnTo>
                    <a:pt x="50" y="1248"/>
                  </a:lnTo>
                  <a:lnTo>
                    <a:pt x="50" y="1245"/>
                  </a:lnTo>
                  <a:lnTo>
                    <a:pt x="50" y="1248"/>
                  </a:lnTo>
                  <a:lnTo>
                    <a:pt x="50" y="1245"/>
                  </a:lnTo>
                  <a:lnTo>
                    <a:pt x="52" y="1245"/>
                  </a:lnTo>
                  <a:lnTo>
                    <a:pt x="50" y="1245"/>
                  </a:lnTo>
                  <a:lnTo>
                    <a:pt x="47" y="1245"/>
                  </a:lnTo>
                  <a:lnTo>
                    <a:pt x="50" y="1245"/>
                  </a:lnTo>
                  <a:lnTo>
                    <a:pt x="50" y="1243"/>
                  </a:lnTo>
                  <a:lnTo>
                    <a:pt x="52" y="1243"/>
                  </a:lnTo>
                  <a:lnTo>
                    <a:pt x="52" y="1240"/>
                  </a:lnTo>
                  <a:lnTo>
                    <a:pt x="54" y="1240"/>
                  </a:lnTo>
                  <a:lnTo>
                    <a:pt x="54" y="1238"/>
                  </a:lnTo>
                  <a:lnTo>
                    <a:pt x="57" y="1238"/>
                  </a:lnTo>
                  <a:lnTo>
                    <a:pt x="59" y="1238"/>
                  </a:lnTo>
                  <a:lnTo>
                    <a:pt x="61" y="1238"/>
                  </a:lnTo>
                  <a:lnTo>
                    <a:pt x="61" y="1236"/>
                  </a:lnTo>
                  <a:lnTo>
                    <a:pt x="64" y="1236"/>
                  </a:lnTo>
                  <a:lnTo>
                    <a:pt x="66" y="1236"/>
                  </a:lnTo>
                  <a:lnTo>
                    <a:pt x="64" y="1236"/>
                  </a:lnTo>
                  <a:lnTo>
                    <a:pt x="61" y="1236"/>
                  </a:lnTo>
                  <a:lnTo>
                    <a:pt x="59" y="1236"/>
                  </a:lnTo>
                  <a:lnTo>
                    <a:pt x="59" y="1238"/>
                  </a:lnTo>
                  <a:lnTo>
                    <a:pt x="57" y="1238"/>
                  </a:lnTo>
                  <a:lnTo>
                    <a:pt x="54" y="1238"/>
                  </a:lnTo>
                  <a:lnTo>
                    <a:pt x="52" y="1238"/>
                  </a:lnTo>
                  <a:lnTo>
                    <a:pt x="52" y="1240"/>
                  </a:lnTo>
                  <a:lnTo>
                    <a:pt x="52" y="1238"/>
                  </a:lnTo>
                  <a:lnTo>
                    <a:pt x="50" y="1238"/>
                  </a:lnTo>
                  <a:lnTo>
                    <a:pt x="52" y="1238"/>
                  </a:lnTo>
                  <a:lnTo>
                    <a:pt x="54" y="1238"/>
                  </a:lnTo>
                  <a:lnTo>
                    <a:pt x="54" y="1236"/>
                  </a:lnTo>
                  <a:lnTo>
                    <a:pt x="54" y="1238"/>
                  </a:lnTo>
                  <a:lnTo>
                    <a:pt x="57" y="1238"/>
                  </a:lnTo>
                  <a:lnTo>
                    <a:pt x="57" y="1236"/>
                  </a:lnTo>
                  <a:lnTo>
                    <a:pt x="54" y="1236"/>
                  </a:lnTo>
                  <a:lnTo>
                    <a:pt x="54" y="1233"/>
                  </a:lnTo>
                  <a:lnTo>
                    <a:pt x="54" y="1236"/>
                  </a:lnTo>
                  <a:lnTo>
                    <a:pt x="52" y="1236"/>
                  </a:lnTo>
                  <a:lnTo>
                    <a:pt x="54" y="1236"/>
                  </a:lnTo>
                  <a:lnTo>
                    <a:pt x="52" y="1236"/>
                  </a:lnTo>
                  <a:lnTo>
                    <a:pt x="52" y="1238"/>
                  </a:lnTo>
                  <a:lnTo>
                    <a:pt x="52" y="1236"/>
                  </a:lnTo>
                  <a:lnTo>
                    <a:pt x="50" y="1236"/>
                  </a:lnTo>
                  <a:lnTo>
                    <a:pt x="50" y="1233"/>
                  </a:lnTo>
                  <a:lnTo>
                    <a:pt x="50" y="1236"/>
                  </a:lnTo>
                  <a:lnTo>
                    <a:pt x="47" y="1236"/>
                  </a:lnTo>
                  <a:lnTo>
                    <a:pt x="47" y="1233"/>
                  </a:lnTo>
                  <a:lnTo>
                    <a:pt x="50" y="1233"/>
                  </a:lnTo>
                  <a:lnTo>
                    <a:pt x="52" y="1233"/>
                  </a:lnTo>
                  <a:lnTo>
                    <a:pt x="52" y="1231"/>
                  </a:lnTo>
                  <a:lnTo>
                    <a:pt x="54" y="1231"/>
                  </a:lnTo>
                  <a:lnTo>
                    <a:pt x="54" y="1229"/>
                  </a:lnTo>
                  <a:lnTo>
                    <a:pt x="54" y="1226"/>
                  </a:lnTo>
                  <a:lnTo>
                    <a:pt x="57" y="1226"/>
                  </a:lnTo>
                  <a:lnTo>
                    <a:pt x="59" y="1226"/>
                  </a:lnTo>
                  <a:lnTo>
                    <a:pt x="61" y="1224"/>
                  </a:lnTo>
                  <a:lnTo>
                    <a:pt x="64" y="1224"/>
                  </a:lnTo>
                  <a:lnTo>
                    <a:pt x="66" y="1224"/>
                  </a:lnTo>
                  <a:lnTo>
                    <a:pt x="64" y="1224"/>
                  </a:lnTo>
                  <a:lnTo>
                    <a:pt x="61" y="1224"/>
                  </a:lnTo>
                  <a:lnTo>
                    <a:pt x="59" y="1224"/>
                  </a:lnTo>
                  <a:lnTo>
                    <a:pt x="59" y="1226"/>
                  </a:lnTo>
                  <a:lnTo>
                    <a:pt x="57" y="1226"/>
                  </a:lnTo>
                  <a:lnTo>
                    <a:pt x="57" y="1224"/>
                  </a:lnTo>
                  <a:lnTo>
                    <a:pt x="57" y="1221"/>
                  </a:lnTo>
                  <a:lnTo>
                    <a:pt x="57" y="1219"/>
                  </a:lnTo>
                  <a:lnTo>
                    <a:pt x="59" y="1219"/>
                  </a:lnTo>
                  <a:lnTo>
                    <a:pt x="57" y="1219"/>
                  </a:lnTo>
                  <a:lnTo>
                    <a:pt x="57" y="1221"/>
                  </a:lnTo>
                  <a:lnTo>
                    <a:pt x="57" y="1224"/>
                  </a:lnTo>
                  <a:lnTo>
                    <a:pt x="57" y="1226"/>
                  </a:lnTo>
                  <a:lnTo>
                    <a:pt x="54" y="1226"/>
                  </a:lnTo>
                  <a:lnTo>
                    <a:pt x="54" y="1229"/>
                  </a:lnTo>
                  <a:lnTo>
                    <a:pt x="52" y="1229"/>
                  </a:lnTo>
                  <a:lnTo>
                    <a:pt x="52" y="1231"/>
                  </a:lnTo>
                  <a:lnTo>
                    <a:pt x="50" y="1231"/>
                  </a:lnTo>
                  <a:lnTo>
                    <a:pt x="52" y="1231"/>
                  </a:lnTo>
                  <a:lnTo>
                    <a:pt x="50" y="1231"/>
                  </a:lnTo>
                  <a:lnTo>
                    <a:pt x="52" y="1231"/>
                  </a:lnTo>
                  <a:lnTo>
                    <a:pt x="50" y="1231"/>
                  </a:lnTo>
                  <a:lnTo>
                    <a:pt x="50" y="1233"/>
                  </a:lnTo>
                  <a:lnTo>
                    <a:pt x="47" y="1233"/>
                  </a:lnTo>
                  <a:lnTo>
                    <a:pt x="47" y="1231"/>
                  </a:lnTo>
                  <a:lnTo>
                    <a:pt x="47" y="1233"/>
                  </a:lnTo>
                  <a:lnTo>
                    <a:pt x="47" y="1231"/>
                  </a:lnTo>
                  <a:lnTo>
                    <a:pt x="47" y="1233"/>
                  </a:lnTo>
                  <a:lnTo>
                    <a:pt x="45" y="1233"/>
                  </a:lnTo>
                  <a:lnTo>
                    <a:pt x="47" y="1236"/>
                  </a:lnTo>
                  <a:lnTo>
                    <a:pt x="45" y="1236"/>
                  </a:lnTo>
                  <a:lnTo>
                    <a:pt x="45" y="1233"/>
                  </a:lnTo>
                  <a:lnTo>
                    <a:pt x="45" y="1231"/>
                  </a:lnTo>
                  <a:lnTo>
                    <a:pt x="45" y="1229"/>
                  </a:lnTo>
                  <a:lnTo>
                    <a:pt x="45" y="1231"/>
                  </a:lnTo>
                  <a:lnTo>
                    <a:pt x="47" y="1229"/>
                  </a:lnTo>
                  <a:lnTo>
                    <a:pt x="47" y="1231"/>
                  </a:lnTo>
                  <a:lnTo>
                    <a:pt x="47" y="1229"/>
                  </a:lnTo>
                  <a:lnTo>
                    <a:pt x="50" y="1229"/>
                  </a:lnTo>
                  <a:lnTo>
                    <a:pt x="52" y="1229"/>
                  </a:lnTo>
                  <a:lnTo>
                    <a:pt x="54" y="1229"/>
                  </a:lnTo>
                  <a:lnTo>
                    <a:pt x="52" y="1229"/>
                  </a:lnTo>
                  <a:lnTo>
                    <a:pt x="50" y="1229"/>
                  </a:lnTo>
                  <a:lnTo>
                    <a:pt x="47" y="1229"/>
                  </a:lnTo>
                  <a:lnTo>
                    <a:pt x="45" y="1229"/>
                  </a:lnTo>
                  <a:lnTo>
                    <a:pt x="42" y="1229"/>
                  </a:lnTo>
                  <a:lnTo>
                    <a:pt x="42" y="1226"/>
                  </a:lnTo>
                  <a:lnTo>
                    <a:pt x="42" y="1224"/>
                  </a:lnTo>
                  <a:lnTo>
                    <a:pt x="42" y="1226"/>
                  </a:lnTo>
                  <a:lnTo>
                    <a:pt x="40" y="1226"/>
                  </a:lnTo>
                  <a:lnTo>
                    <a:pt x="42" y="1229"/>
                  </a:lnTo>
                  <a:lnTo>
                    <a:pt x="40" y="1229"/>
                  </a:lnTo>
                  <a:lnTo>
                    <a:pt x="40" y="1231"/>
                  </a:lnTo>
                  <a:lnTo>
                    <a:pt x="38" y="1231"/>
                  </a:lnTo>
                  <a:lnTo>
                    <a:pt x="38" y="1229"/>
                  </a:lnTo>
                  <a:lnTo>
                    <a:pt x="38" y="1231"/>
                  </a:lnTo>
                  <a:lnTo>
                    <a:pt x="35" y="1231"/>
                  </a:lnTo>
                  <a:lnTo>
                    <a:pt x="35" y="1233"/>
                  </a:lnTo>
                  <a:lnTo>
                    <a:pt x="38" y="1233"/>
                  </a:lnTo>
                  <a:lnTo>
                    <a:pt x="38" y="1231"/>
                  </a:lnTo>
                  <a:lnTo>
                    <a:pt x="40" y="1231"/>
                  </a:lnTo>
                  <a:lnTo>
                    <a:pt x="42" y="1231"/>
                  </a:lnTo>
                  <a:lnTo>
                    <a:pt x="42" y="1233"/>
                  </a:lnTo>
                  <a:lnTo>
                    <a:pt x="42" y="1236"/>
                  </a:lnTo>
                  <a:lnTo>
                    <a:pt x="40" y="1236"/>
                  </a:lnTo>
                  <a:lnTo>
                    <a:pt x="38" y="1236"/>
                  </a:lnTo>
                  <a:lnTo>
                    <a:pt x="38" y="1238"/>
                  </a:lnTo>
                  <a:lnTo>
                    <a:pt x="35" y="1238"/>
                  </a:lnTo>
                  <a:lnTo>
                    <a:pt x="35" y="1240"/>
                  </a:lnTo>
                  <a:lnTo>
                    <a:pt x="35" y="1238"/>
                  </a:lnTo>
                  <a:lnTo>
                    <a:pt x="35" y="1240"/>
                  </a:lnTo>
                  <a:lnTo>
                    <a:pt x="35" y="1238"/>
                  </a:lnTo>
                  <a:lnTo>
                    <a:pt x="35" y="1240"/>
                  </a:lnTo>
                  <a:lnTo>
                    <a:pt x="35" y="1238"/>
                  </a:lnTo>
                  <a:lnTo>
                    <a:pt x="35" y="1236"/>
                  </a:lnTo>
                  <a:lnTo>
                    <a:pt x="35" y="1233"/>
                  </a:lnTo>
                  <a:lnTo>
                    <a:pt x="35" y="1231"/>
                  </a:lnTo>
                  <a:lnTo>
                    <a:pt x="33" y="1231"/>
                  </a:lnTo>
                  <a:lnTo>
                    <a:pt x="35" y="1231"/>
                  </a:lnTo>
                  <a:lnTo>
                    <a:pt x="33" y="1231"/>
                  </a:lnTo>
                  <a:lnTo>
                    <a:pt x="35" y="1233"/>
                  </a:lnTo>
                  <a:lnTo>
                    <a:pt x="33" y="1233"/>
                  </a:lnTo>
                  <a:lnTo>
                    <a:pt x="35" y="1233"/>
                  </a:lnTo>
                  <a:lnTo>
                    <a:pt x="33" y="1233"/>
                  </a:lnTo>
                  <a:lnTo>
                    <a:pt x="33" y="1236"/>
                  </a:lnTo>
                  <a:lnTo>
                    <a:pt x="33" y="1238"/>
                  </a:lnTo>
                  <a:lnTo>
                    <a:pt x="31" y="1238"/>
                  </a:lnTo>
                  <a:lnTo>
                    <a:pt x="33" y="1238"/>
                  </a:lnTo>
                  <a:lnTo>
                    <a:pt x="31" y="1238"/>
                  </a:lnTo>
                  <a:lnTo>
                    <a:pt x="28" y="1238"/>
                  </a:lnTo>
                  <a:lnTo>
                    <a:pt x="28" y="1236"/>
                  </a:lnTo>
                  <a:lnTo>
                    <a:pt x="28" y="1238"/>
                  </a:lnTo>
                  <a:lnTo>
                    <a:pt x="26" y="1238"/>
                  </a:lnTo>
                  <a:lnTo>
                    <a:pt x="26" y="1236"/>
                  </a:lnTo>
                  <a:lnTo>
                    <a:pt x="28" y="1236"/>
                  </a:lnTo>
                  <a:lnTo>
                    <a:pt x="26" y="1236"/>
                  </a:lnTo>
                  <a:lnTo>
                    <a:pt x="26" y="1233"/>
                  </a:lnTo>
                  <a:lnTo>
                    <a:pt x="28" y="1233"/>
                  </a:lnTo>
                  <a:lnTo>
                    <a:pt x="26" y="1233"/>
                  </a:lnTo>
                  <a:lnTo>
                    <a:pt x="26" y="1231"/>
                  </a:lnTo>
                  <a:lnTo>
                    <a:pt x="26" y="1233"/>
                  </a:lnTo>
                  <a:lnTo>
                    <a:pt x="26" y="1236"/>
                  </a:lnTo>
                  <a:lnTo>
                    <a:pt x="26" y="1238"/>
                  </a:lnTo>
                  <a:lnTo>
                    <a:pt x="26" y="1236"/>
                  </a:lnTo>
                  <a:lnTo>
                    <a:pt x="23" y="1236"/>
                  </a:lnTo>
                  <a:lnTo>
                    <a:pt x="23" y="1233"/>
                  </a:lnTo>
                  <a:lnTo>
                    <a:pt x="23" y="1231"/>
                  </a:lnTo>
                  <a:lnTo>
                    <a:pt x="21" y="1231"/>
                  </a:lnTo>
                  <a:lnTo>
                    <a:pt x="23" y="1231"/>
                  </a:lnTo>
                  <a:lnTo>
                    <a:pt x="21" y="1231"/>
                  </a:lnTo>
                  <a:lnTo>
                    <a:pt x="21" y="1229"/>
                  </a:lnTo>
                  <a:lnTo>
                    <a:pt x="21" y="1226"/>
                  </a:lnTo>
                  <a:lnTo>
                    <a:pt x="23" y="1226"/>
                  </a:lnTo>
                  <a:lnTo>
                    <a:pt x="21" y="1226"/>
                  </a:lnTo>
                  <a:lnTo>
                    <a:pt x="21" y="1224"/>
                  </a:lnTo>
                  <a:lnTo>
                    <a:pt x="23" y="1224"/>
                  </a:lnTo>
                  <a:lnTo>
                    <a:pt x="23" y="1221"/>
                  </a:lnTo>
                  <a:lnTo>
                    <a:pt x="26" y="1221"/>
                  </a:lnTo>
                  <a:lnTo>
                    <a:pt x="26" y="1219"/>
                  </a:lnTo>
                  <a:lnTo>
                    <a:pt x="28" y="1219"/>
                  </a:lnTo>
                  <a:lnTo>
                    <a:pt x="28" y="1221"/>
                  </a:lnTo>
                  <a:lnTo>
                    <a:pt x="28" y="1219"/>
                  </a:lnTo>
                  <a:lnTo>
                    <a:pt x="28" y="1221"/>
                  </a:lnTo>
                  <a:lnTo>
                    <a:pt x="31" y="1221"/>
                  </a:lnTo>
                  <a:lnTo>
                    <a:pt x="28" y="1219"/>
                  </a:lnTo>
                  <a:lnTo>
                    <a:pt x="28" y="1217"/>
                  </a:lnTo>
                  <a:lnTo>
                    <a:pt x="31" y="1217"/>
                  </a:lnTo>
                  <a:lnTo>
                    <a:pt x="31" y="1214"/>
                  </a:lnTo>
                  <a:lnTo>
                    <a:pt x="31" y="1217"/>
                  </a:lnTo>
                  <a:lnTo>
                    <a:pt x="31" y="1219"/>
                  </a:lnTo>
                  <a:lnTo>
                    <a:pt x="31" y="1221"/>
                  </a:lnTo>
                  <a:lnTo>
                    <a:pt x="31" y="1224"/>
                  </a:lnTo>
                  <a:lnTo>
                    <a:pt x="31" y="1226"/>
                  </a:lnTo>
                  <a:lnTo>
                    <a:pt x="28" y="1226"/>
                  </a:lnTo>
                  <a:lnTo>
                    <a:pt x="28" y="1224"/>
                  </a:lnTo>
                  <a:lnTo>
                    <a:pt x="28" y="1226"/>
                  </a:lnTo>
                  <a:lnTo>
                    <a:pt x="28" y="1229"/>
                  </a:lnTo>
                  <a:lnTo>
                    <a:pt x="28" y="1226"/>
                  </a:lnTo>
                  <a:lnTo>
                    <a:pt x="31" y="1226"/>
                  </a:lnTo>
                  <a:lnTo>
                    <a:pt x="33" y="1226"/>
                  </a:lnTo>
                  <a:lnTo>
                    <a:pt x="31" y="1226"/>
                  </a:lnTo>
                  <a:lnTo>
                    <a:pt x="33" y="1226"/>
                  </a:lnTo>
                  <a:lnTo>
                    <a:pt x="31" y="1224"/>
                  </a:lnTo>
                  <a:lnTo>
                    <a:pt x="33" y="1224"/>
                  </a:lnTo>
                  <a:lnTo>
                    <a:pt x="33" y="1221"/>
                  </a:lnTo>
                  <a:lnTo>
                    <a:pt x="33" y="1219"/>
                  </a:lnTo>
                  <a:lnTo>
                    <a:pt x="33" y="1217"/>
                  </a:lnTo>
                  <a:lnTo>
                    <a:pt x="35" y="1217"/>
                  </a:lnTo>
                  <a:lnTo>
                    <a:pt x="35" y="1219"/>
                  </a:lnTo>
                  <a:lnTo>
                    <a:pt x="38" y="1219"/>
                  </a:lnTo>
                  <a:lnTo>
                    <a:pt x="40" y="1219"/>
                  </a:lnTo>
                  <a:lnTo>
                    <a:pt x="40" y="1221"/>
                  </a:lnTo>
                  <a:lnTo>
                    <a:pt x="38" y="1221"/>
                  </a:lnTo>
                  <a:lnTo>
                    <a:pt x="40" y="1221"/>
                  </a:lnTo>
                  <a:lnTo>
                    <a:pt x="40" y="1219"/>
                  </a:lnTo>
                  <a:lnTo>
                    <a:pt x="42" y="1219"/>
                  </a:lnTo>
                  <a:lnTo>
                    <a:pt x="45" y="1219"/>
                  </a:lnTo>
                  <a:lnTo>
                    <a:pt x="42" y="1219"/>
                  </a:lnTo>
                  <a:lnTo>
                    <a:pt x="45" y="1219"/>
                  </a:lnTo>
                  <a:lnTo>
                    <a:pt x="45" y="1217"/>
                  </a:lnTo>
                  <a:lnTo>
                    <a:pt x="42" y="1219"/>
                  </a:lnTo>
                  <a:lnTo>
                    <a:pt x="40" y="1219"/>
                  </a:lnTo>
                  <a:lnTo>
                    <a:pt x="40" y="1217"/>
                  </a:lnTo>
                  <a:lnTo>
                    <a:pt x="42" y="1217"/>
                  </a:lnTo>
                  <a:lnTo>
                    <a:pt x="42" y="1214"/>
                  </a:lnTo>
                  <a:lnTo>
                    <a:pt x="45" y="1214"/>
                  </a:lnTo>
                  <a:lnTo>
                    <a:pt x="45" y="1212"/>
                  </a:lnTo>
                  <a:lnTo>
                    <a:pt x="45" y="1214"/>
                  </a:lnTo>
                  <a:lnTo>
                    <a:pt x="47" y="1214"/>
                  </a:lnTo>
                  <a:lnTo>
                    <a:pt x="50" y="1214"/>
                  </a:lnTo>
                  <a:lnTo>
                    <a:pt x="52" y="1214"/>
                  </a:lnTo>
                  <a:lnTo>
                    <a:pt x="52" y="1212"/>
                  </a:lnTo>
                  <a:lnTo>
                    <a:pt x="54" y="1212"/>
                  </a:lnTo>
                  <a:lnTo>
                    <a:pt x="54" y="1210"/>
                  </a:lnTo>
                  <a:lnTo>
                    <a:pt x="57" y="1210"/>
                  </a:lnTo>
                  <a:lnTo>
                    <a:pt x="59" y="1210"/>
                  </a:lnTo>
                  <a:lnTo>
                    <a:pt x="59" y="1207"/>
                  </a:lnTo>
                  <a:lnTo>
                    <a:pt x="57" y="1207"/>
                  </a:lnTo>
                  <a:lnTo>
                    <a:pt x="57" y="1210"/>
                  </a:lnTo>
                  <a:lnTo>
                    <a:pt x="54" y="1210"/>
                  </a:lnTo>
                  <a:lnTo>
                    <a:pt x="52" y="1210"/>
                  </a:lnTo>
                  <a:lnTo>
                    <a:pt x="52" y="1212"/>
                  </a:lnTo>
                  <a:lnTo>
                    <a:pt x="50" y="1212"/>
                  </a:lnTo>
                  <a:lnTo>
                    <a:pt x="50" y="1214"/>
                  </a:lnTo>
                  <a:lnTo>
                    <a:pt x="50" y="1212"/>
                  </a:lnTo>
                  <a:lnTo>
                    <a:pt x="50" y="1214"/>
                  </a:lnTo>
                  <a:lnTo>
                    <a:pt x="47" y="1214"/>
                  </a:lnTo>
                  <a:lnTo>
                    <a:pt x="47" y="1212"/>
                  </a:lnTo>
                  <a:lnTo>
                    <a:pt x="45" y="1212"/>
                  </a:lnTo>
                  <a:lnTo>
                    <a:pt x="47" y="1212"/>
                  </a:lnTo>
                  <a:lnTo>
                    <a:pt x="47" y="1210"/>
                  </a:lnTo>
                  <a:lnTo>
                    <a:pt x="47" y="1207"/>
                  </a:lnTo>
                  <a:lnTo>
                    <a:pt x="45" y="1207"/>
                  </a:lnTo>
                  <a:lnTo>
                    <a:pt x="45" y="1210"/>
                  </a:lnTo>
                  <a:lnTo>
                    <a:pt x="45" y="1212"/>
                  </a:lnTo>
                  <a:lnTo>
                    <a:pt x="42" y="1212"/>
                  </a:lnTo>
                  <a:lnTo>
                    <a:pt x="40" y="1212"/>
                  </a:lnTo>
                  <a:lnTo>
                    <a:pt x="40" y="1210"/>
                  </a:lnTo>
                  <a:lnTo>
                    <a:pt x="38" y="1210"/>
                  </a:lnTo>
                  <a:lnTo>
                    <a:pt x="35" y="1210"/>
                  </a:lnTo>
                  <a:lnTo>
                    <a:pt x="38" y="1210"/>
                  </a:lnTo>
                  <a:lnTo>
                    <a:pt x="38" y="1207"/>
                  </a:lnTo>
                  <a:lnTo>
                    <a:pt x="40" y="1207"/>
                  </a:lnTo>
                  <a:lnTo>
                    <a:pt x="40" y="1205"/>
                  </a:lnTo>
                  <a:lnTo>
                    <a:pt x="42" y="1205"/>
                  </a:lnTo>
                  <a:lnTo>
                    <a:pt x="42" y="1202"/>
                  </a:lnTo>
                  <a:lnTo>
                    <a:pt x="45" y="1202"/>
                  </a:lnTo>
                  <a:lnTo>
                    <a:pt x="47" y="1202"/>
                  </a:lnTo>
                  <a:lnTo>
                    <a:pt x="47" y="1200"/>
                  </a:lnTo>
                  <a:lnTo>
                    <a:pt x="47" y="1198"/>
                  </a:lnTo>
                  <a:lnTo>
                    <a:pt x="50" y="1198"/>
                  </a:lnTo>
                  <a:lnTo>
                    <a:pt x="50" y="1195"/>
                  </a:lnTo>
                  <a:lnTo>
                    <a:pt x="52" y="1195"/>
                  </a:lnTo>
                  <a:lnTo>
                    <a:pt x="54" y="1195"/>
                  </a:lnTo>
                  <a:lnTo>
                    <a:pt x="57" y="1195"/>
                  </a:lnTo>
                  <a:lnTo>
                    <a:pt x="57" y="1193"/>
                  </a:lnTo>
                  <a:lnTo>
                    <a:pt x="57" y="1191"/>
                  </a:lnTo>
                  <a:lnTo>
                    <a:pt x="57" y="1193"/>
                  </a:lnTo>
                  <a:lnTo>
                    <a:pt x="54" y="1193"/>
                  </a:lnTo>
                  <a:lnTo>
                    <a:pt x="54" y="1195"/>
                  </a:lnTo>
                  <a:lnTo>
                    <a:pt x="52" y="1195"/>
                  </a:lnTo>
                  <a:lnTo>
                    <a:pt x="52" y="1193"/>
                  </a:lnTo>
                  <a:lnTo>
                    <a:pt x="50" y="1193"/>
                  </a:lnTo>
                  <a:lnTo>
                    <a:pt x="50" y="1191"/>
                  </a:lnTo>
                  <a:lnTo>
                    <a:pt x="50" y="1188"/>
                  </a:lnTo>
                  <a:lnTo>
                    <a:pt x="52" y="1188"/>
                  </a:lnTo>
                  <a:lnTo>
                    <a:pt x="54" y="1188"/>
                  </a:lnTo>
                  <a:lnTo>
                    <a:pt x="52" y="1188"/>
                  </a:lnTo>
                  <a:lnTo>
                    <a:pt x="54" y="1188"/>
                  </a:lnTo>
                  <a:lnTo>
                    <a:pt x="54" y="1186"/>
                  </a:lnTo>
                  <a:lnTo>
                    <a:pt x="54" y="1183"/>
                  </a:lnTo>
                  <a:lnTo>
                    <a:pt x="57" y="1183"/>
                  </a:lnTo>
                  <a:lnTo>
                    <a:pt x="59" y="1183"/>
                  </a:lnTo>
                  <a:lnTo>
                    <a:pt x="59" y="1181"/>
                  </a:lnTo>
                  <a:lnTo>
                    <a:pt x="59" y="1183"/>
                  </a:lnTo>
                  <a:lnTo>
                    <a:pt x="59" y="1181"/>
                  </a:lnTo>
                  <a:lnTo>
                    <a:pt x="61" y="1181"/>
                  </a:lnTo>
                  <a:lnTo>
                    <a:pt x="64" y="1181"/>
                  </a:lnTo>
                  <a:lnTo>
                    <a:pt x="64" y="1179"/>
                  </a:lnTo>
                  <a:lnTo>
                    <a:pt x="66" y="1179"/>
                  </a:lnTo>
                  <a:lnTo>
                    <a:pt x="66" y="1176"/>
                  </a:lnTo>
                  <a:lnTo>
                    <a:pt x="66" y="1179"/>
                  </a:lnTo>
                  <a:lnTo>
                    <a:pt x="68" y="1179"/>
                  </a:lnTo>
                  <a:lnTo>
                    <a:pt x="68" y="1181"/>
                  </a:lnTo>
                  <a:lnTo>
                    <a:pt x="68" y="1183"/>
                  </a:lnTo>
                  <a:lnTo>
                    <a:pt x="66" y="1183"/>
                  </a:lnTo>
                  <a:lnTo>
                    <a:pt x="66" y="1186"/>
                  </a:lnTo>
                  <a:lnTo>
                    <a:pt x="66" y="1188"/>
                  </a:lnTo>
                  <a:lnTo>
                    <a:pt x="66" y="1191"/>
                  </a:lnTo>
                  <a:lnTo>
                    <a:pt x="64" y="1191"/>
                  </a:lnTo>
                  <a:lnTo>
                    <a:pt x="64" y="1193"/>
                  </a:lnTo>
                  <a:lnTo>
                    <a:pt x="64" y="1195"/>
                  </a:lnTo>
                  <a:lnTo>
                    <a:pt x="64" y="1198"/>
                  </a:lnTo>
                  <a:lnTo>
                    <a:pt x="64" y="1195"/>
                  </a:lnTo>
                  <a:lnTo>
                    <a:pt x="66" y="1195"/>
                  </a:lnTo>
                  <a:lnTo>
                    <a:pt x="66" y="1193"/>
                  </a:lnTo>
                  <a:lnTo>
                    <a:pt x="66" y="1191"/>
                  </a:lnTo>
                  <a:lnTo>
                    <a:pt x="66" y="1188"/>
                  </a:lnTo>
                  <a:lnTo>
                    <a:pt x="66" y="1186"/>
                  </a:lnTo>
                  <a:lnTo>
                    <a:pt x="68" y="1186"/>
                  </a:lnTo>
                  <a:lnTo>
                    <a:pt x="68" y="1183"/>
                  </a:lnTo>
                  <a:lnTo>
                    <a:pt x="68" y="1181"/>
                  </a:lnTo>
                  <a:lnTo>
                    <a:pt x="68" y="1179"/>
                  </a:lnTo>
                  <a:lnTo>
                    <a:pt x="71" y="1181"/>
                  </a:lnTo>
                  <a:lnTo>
                    <a:pt x="71" y="1179"/>
                  </a:lnTo>
                  <a:lnTo>
                    <a:pt x="71" y="1176"/>
                  </a:lnTo>
                  <a:lnTo>
                    <a:pt x="73" y="1176"/>
                  </a:lnTo>
                  <a:lnTo>
                    <a:pt x="76" y="1176"/>
                  </a:lnTo>
                  <a:lnTo>
                    <a:pt x="78" y="1176"/>
                  </a:lnTo>
                  <a:lnTo>
                    <a:pt x="78" y="1174"/>
                  </a:lnTo>
                  <a:lnTo>
                    <a:pt x="80" y="1174"/>
                  </a:lnTo>
                  <a:lnTo>
                    <a:pt x="80" y="1176"/>
                  </a:lnTo>
                  <a:lnTo>
                    <a:pt x="83" y="1176"/>
                  </a:lnTo>
                  <a:lnTo>
                    <a:pt x="83" y="1174"/>
                  </a:lnTo>
                  <a:lnTo>
                    <a:pt x="85" y="1174"/>
                  </a:lnTo>
                  <a:lnTo>
                    <a:pt x="83" y="1174"/>
                  </a:lnTo>
                  <a:lnTo>
                    <a:pt x="80" y="1174"/>
                  </a:lnTo>
                  <a:lnTo>
                    <a:pt x="78" y="1174"/>
                  </a:lnTo>
                  <a:lnTo>
                    <a:pt x="78" y="1172"/>
                  </a:lnTo>
                  <a:lnTo>
                    <a:pt x="80" y="1172"/>
                  </a:lnTo>
                  <a:lnTo>
                    <a:pt x="80" y="1169"/>
                  </a:lnTo>
                  <a:lnTo>
                    <a:pt x="78" y="1172"/>
                  </a:lnTo>
                  <a:lnTo>
                    <a:pt x="78" y="1169"/>
                  </a:lnTo>
                  <a:lnTo>
                    <a:pt x="76" y="1169"/>
                  </a:lnTo>
                  <a:lnTo>
                    <a:pt x="76" y="1172"/>
                  </a:lnTo>
                  <a:lnTo>
                    <a:pt x="78" y="1172"/>
                  </a:lnTo>
                  <a:lnTo>
                    <a:pt x="76" y="1172"/>
                  </a:lnTo>
                  <a:lnTo>
                    <a:pt x="78" y="1172"/>
                  </a:lnTo>
                  <a:lnTo>
                    <a:pt x="76" y="1172"/>
                  </a:lnTo>
                  <a:lnTo>
                    <a:pt x="78" y="1174"/>
                  </a:lnTo>
                  <a:lnTo>
                    <a:pt x="76" y="1174"/>
                  </a:lnTo>
                  <a:lnTo>
                    <a:pt x="73" y="1174"/>
                  </a:lnTo>
                  <a:lnTo>
                    <a:pt x="73" y="1176"/>
                  </a:lnTo>
                  <a:lnTo>
                    <a:pt x="71" y="1176"/>
                  </a:lnTo>
                  <a:lnTo>
                    <a:pt x="71" y="1179"/>
                  </a:lnTo>
                  <a:lnTo>
                    <a:pt x="68" y="1179"/>
                  </a:lnTo>
                  <a:lnTo>
                    <a:pt x="68" y="1176"/>
                  </a:lnTo>
                  <a:lnTo>
                    <a:pt x="68" y="1174"/>
                  </a:lnTo>
                  <a:lnTo>
                    <a:pt x="71" y="1174"/>
                  </a:lnTo>
                  <a:lnTo>
                    <a:pt x="71" y="1172"/>
                  </a:lnTo>
                  <a:lnTo>
                    <a:pt x="71" y="1174"/>
                  </a:lnTo>
                  <a:lnTo>
                    <a:pt x="68" y="1174"/>
                  </a:lnTo>
                  <a:lnTo>
                    <a:pt x="66" y="1176"/>
                  </a:lnTo>
                  <a:lnTo>
                    <a:pt x="64" y="1176"/>
                  </a:lnTo>
                  <a:lnTo>
                    <a:pt x="61" y="1176"/>
                  </a:lnTo>
                  <a:lnTo>
                    <a:pt x="61" y="1179"/>
                  </a:lnTo>
                  <a:lnTo>
                    <a:pt x="59" y="1179"/>
                  </a:lnTo>
                  <a:lnTo>
                    <a:pt x="57" y="1179"/>
                  </a:lnTo>
                  <a:lnTo>
                    <a:pt x="54" y="1179"/>
                  </a:lnTo>
                  <a:lnTo>
                    <a:pt x="54" y="1176"/>
                  </a:lnTo>
                  <a:lnTo>
                    <a:pt x="54" y="1179"/>
                  </a:lnTo>
                  <a:lnTo>
                    <a:pt x="57" y="1179"/>
                  </a:lnTo>
                  <a:lnTo>
                    <a:pt x="57" y="1181"/>
                  </a:lnTo>
                  <a:lnTo>
                    <a:pt x="54" y="1181"/>
                  </a:lnTo>
                  <a:lnTo>
                    <a:pt x="54" y="1179"/>
                  </a:lnTo>
                  <a:lnTo>
                    <a:pt x="54" y="1181"/>
                  </a:lnTo>
                  <a:lnTo>
                    <a:pt x="52" y="1181"/>
                  </a:lnTo>
                  <a:lnTo>
                    <a:pt x="54" y="1181"/>
                  </a:lnTo>
                  <a:lnTo>
                    <a:pt x="54" y="1183"/>
                  </a:lnTo>
                  <a:lnTo>
                    <a:pt x="52" y="1183"/>
                  </a:lnTo>
                  <a:lnTo>
                    <a:pt x="52" y="1186"/>
                  </a:lnTo>
                  <a:lnTo>
                    <a:pt x="54" y="1186"/>
                  </a:lnTo>
                  <a:lnTo>
                    <a:pt x="52" y="1186"/>
                  </a:lnTo>
                  <a:lnTo>
                    <a:pt x="52" y="1188"/>
                  </a:lnTo>
                  <a:lnTo>
                    <a:pt x="52" y="1186"/>
                  </a:lnTo>
                  <a:lnTo>
                    <a:pt x="52" y="1188"/>
                  </a:lnTo>
                  <a:lnTo>
                    <a:pt x="50" y="1186"/>
                  </a:lnTo>
                  <a:lnTo>
                    <a:pt x="50" y="1188"/>
                  </a:lnTo>
                  <a:lnTo>
                    <a:pt x="50" y="1186"/>
                  </a:lnTo>
                  <a:lnTo>
                    <a:pt x="47" y="1186"/>
                  </a:lnTo>
                  <a:lnTo>
                    <a:pt x="47" y="1188"/>
                  </a:lnTo>
                  <a:lnTo>
                    <a:pt x="45" y="1188"/>
                  </a:lnTo>
                  <a:lnTo>
                    <a:pt x="45" y="1191"/>
                  </a:lnTo>
                  <a:lnTo>
                    <a:pt x="45" y="1193"/>
                  </a:lnTo>
                  <a:lnTo>
                    <a:pt x="45" y="1191"/>
                  </a:lnTo>
                  <a:lnTo>
                    <a:pt x="45" y="1193"/>
                  </a:lnTo>
                  <a:lnTo>
                    <a:pt x="42" y="1193"/>
                  </a:lnTo>
                  <a:lnTo>
                    <a:pt x="45" y="1193"/>
                  </a:lnTo>
                  <a:lnTo>
                    <a:pt x="42" y="1193"/>
                  </a:lnTo>
                  <a:lnTo>
                    <a:pt x="45" y="1195"/>
                  </a:lnTo>
                  <a:lnTo>
                    <a:pt x="45" y="1198"/>
                  </a:lnTo>
                  <a:lnTo>
                    <a:pt x="42" y="1200"/>
                  </a:lnTo>
                  <a:lnTo>
                    <a:pt x="40" y="1202"/>
                  </a:lnTo>
                  <a:lnTo>
                    <a:pt x="40" y="1200"/>
                  </a:lnTo>
                  <a:lnTo>
                    <a:pt x="40" y="1202"/>
                  </a:lnTo>
                  <a:lnTo>
                    <a:pt x="38" y="1202"/>
                  </a:lnTo>
                  <a:lnTo>
                    <a:pt x="38" y="1200"/>
                  </a:lnTo>
                  <a:lnTo>
                    <a:pt x="40" y="1200"/>
                  </a:lnTo>
                  <a:lnTo>
                    <a:pt x="38" y="1200"/>
                  </a:lnTo>
                  <a:lnTo>
                    <a:pt x="38" y="1198"/>
                  </a:lnTo>
                  <a:lnTo>
                    <a:pt x="38" y="1195"/>
                  </a:lnTo>
                  <a:lnTo>
                    <a:pt x="38" y="1198"/>
                  </a:lnTo>
                  <a:lnTo>
                    <a:pt x="40" y="1198"/>
                  </a:lnTo>
                  <a:lnTo>
                    <a:pt x="40" y="1195"/>
                  </a:lnTo>
                  <a:lnTo>
                    <a:pt x="42" y="1195"/>
                  </a:lnTo>
                  <a:lnTo>
                    <a:pt x="40" y="1195"/>
                  </a:lnTo>
                  <a:lnTo>
                    <a:pt x="40" y="1198"/>
                  </a:lnTo>
                  <a:lnTo>
                    <a:pt x="38" y="1198"/>
                  </a:lnTo>
                  <a:lnTo>
                    <a:pt x="38" y="1195"/>
                  </a:lnTo>
                  <a:lnTo>
                    <a:pt x="38" y="1193"/>
                  </a:lnTo>
                  <a:lnTo>
                    <a:pt x="38" y="1195"/>
                  </a:lnTo>
                  <a:lnTo>
                    <a:pt x="38" y="1193"/>
                  </a:lnTo>
                  <a:lnTo>
                    <a:pt x="40" y="1193"/>
                  </a:lnTo>
                  <a:lnTo>
                    <a:pt x="38" y="1193"/>
                  </a:lnTo>
                  <a:lnTo>
                    <a:pt x="38" y="1191"/>
                  </a:lnTo>
                  <a:lnTo>
                    <a:pt x="40" y="1191"/>
                  </a:lnTo>
                  <a:lnTo>
                    <a:pt x="38" y="1191"/>
                  </a:lnTo>
                  <a:lnTo>
                    <a:pt x="35" y="1191"/>
                  </a:lnTo>
                  <a:lnTo>
                    <a:pt x="38" y="1191"/>
                  </a:lnTo>
                  <a:lnTo>
                    <a:pt x="35" y="1193"/>
                  </a:lnTo>
                  <a:lnTo>
                    <a:pt x="38" y="1193"/>
                  </a:lnTo>
                  <a:lnTo>
                    <a:pt x="35" y="1193"/>
                  </a:lnTo>
                  <a:lnTo>
                    <a:pt x="33" y="1193"/>
                  </a:lnTo>
                  <a:lnTo>
                    <a:pt x="33" y="1191"/>
                  </a:lnTo>
                  <a:lnTo>
                    <a:pt x="35" y="1191"/>
                  </a:lnTo>
                  <a:lnTo>
                    <a:pt x="35" y="1188"/>
                  </a:lnTo>
                  <a:lnTo>
                    <a:pt x="38" y="1188"/>
                  </a:lnTo>
                  <a:lnTo>
                    <a:pt x="35" y="1188"/>
                  </a:lnTo>
                  <a:lnTo>
                    <a:pt x="35" y="1186"/>
                  </a:lnTo>
                  <a:lnTo>
                    <a:pt x="33" y="1188"/>
                  </a:lnTo>
                  <a:lnTo>
                    <a:pt x="33" y="1186"/>
                  </a:lnTo>
                  <a:lnTo>
                    <a:pt x="35" y="1186"/>
                  </a:lnTo>
                  <a:lnTo>
                    <a:pt x="35" y="1183"/>
                  </a:lnTo>
                  <a:lnTo>
                    <a:pt x="35" y="1186"/>
                  </a:lnTo>
                  <a:lnTo>
                    <a:pt x="35" y="1183"/>
                  </a:lnTo>
                  <a:lnTo>
                    <a:pt x="35" y="1181"/>
                  </a:lnTo>
                  <a:lnTo>
                    <a:pt x="38" y="1181"/>
                  </a:lnTo>
                  <a:lnTo>
                    <a:pt x="40" y="1181"/>
                  </a:lnTo>
                  <a:lnTo>
                    <a:pt x="40" y="1179"/>
                  </a:lnTo>
                  <a:lnTo>
                    <a:pt x="38" y="1179"/>
                  </a:lnTo>
                  <a:lnTo>
                    <a:pt x="38" y="1181"/>
                  </a:lnTo>
                  <a:lnTo>
                    <a:pt x="35" y="1181"/>
                  </a:lnTo>
                  <a:lnTo>
                    <a:pt x="35" y="1183"/>
                  </a:lnTo>
                  <a:lnTo>
                    <a:pt x="33" y="1186"/>
                  </a:lnTo>
                  <a:lnTo>
                    <a:pt x="33" y="1188"/>
                  </a:lnTo>
                  <a:lnTo>
                    <a:pt x="31" y="1191"/>
                  </a:lnTo>
                  <a:lnTo>
                    <a:pt x="33" y="1188"/>
                  </a:lnTo>
                  <a:lnTo>
                    <a:pt x="31" y="1191"/>
                  </a:lnTo>
                  <a:lnTo>
                    <a:pt x="28" y="1191"/>
                  </a:lnTo>
                  <a:lnTo>
                    <a:pt x="28" y="1193"/>
                  </a:lnTo>
                  <a:lnTo>
                    <a:pt x="26" y="1193"/>
                  </a:lnTo>
                  <a:lnTo>
                    <a:pt x="28" y="1193"/>
                  </a:lnTo>
                  <a:lnTo>
                    <a:pt x="26" y="1193"/>
                  </a:lnTo>
                  <a:lnTo>
                    <a:pt x="26" y="1191"/>
                  </a:lnTo>
                  <a:lnTo>
                    <a:pt x="26" y="1193"/>
                  </a:lnTo>
                  <a:lnTo>
                    <a:pt x="28" y="1193"/>
                  </a:lnTo>
                  <a:lnTo>
                    <a:pt x="26" y="1191"/>
                  </a:lnTo>
                  <a:lnTo>
                    <a:pt x="28" y="1191"/>
                  </a:lnTo>
                  <a:lnTo>
                    <a:pt x="26" y="1191"/>
                  </a:lnTo>
                  <a:lnTo>
                    <a:pt x="23" y="1191"/>
                  </a:lnTo>
                  <a:lnTo>
                    <a:pt x="26" y="1191"/>
                  </a:lnTo>
                  <a:lnTo>
                    <a:pt x="23" y="1191"/>
                  </a:lnTo>
                  <a:lnTo>
                    <a:pt x="26" y="1191"/>
                  </a:lnTo>
                  <a:lnTo>
                    <a:pt x="26" y="1188"/>
                  </a:lnTo>
                  <a:lnTo>
                    <a:pt x="26" y="1191"/>
                  </a:lnTo>
                  <a:lnTo>
                    <a:pt x="26" y="1188"/>
                  </a:lnTo>
                  <a:lnTo>
                    <a:pt x="23" y="1188"/>
                  </a:lnTo>
                  <a:lnTo>
                    <a:pt x="23" y="1191"/>
                  </a:lnTo>
                  <a:lnTo>
                    <a:pt x="21" y="1191"/>
                  </a:lnTo>
                  <a:lnTo>
                    <a:pt x="21" y="1188"/>
                  </a:lnTo>
                  <a:lnTo>
                    <a:pt x="23" y="1188"/>
                  </a:lnTo>
                  <a:lnTo>
                    <a:pt x="23" y="1186"/>
                  </a:lnTo>
                  <a:lnTo>
                    <a:pt x="26" y="1186"/>
                  </a:lnTo>
                  <a:lnTo>
                    <a:pt x="23" y="1186"/>
                  </a:lnTo>
                  <a:lnTo>
                    <a:pt x="23" y="1188"/>
                  </a:lnTo>
                  <a:lnTo>
                    <a:pt x="21" y="1188"/>
                  </a:lnTo>
                  <a:lnTo>
                    <a:pt x="21" y="1186"/>
                  </a:lnTo>
                  <a:lnTo>
                    <a:pt x="21" y="1183"/>
                  </a:lnTo>
                  <a:lnTo>
                    <a:pt x="23" y="1183"/>
                  </a:lnTo>
                  <a:lnTo>
                    <a:pt x="21" y="1183"/>
                  </a:lnTo>
                  <a:lnTo>
                    <a:pt x="21" y="1181"/>
                  </a:lnTo>
                  <a:lnTo>
                    <a:pt x="21" y="1183"/>
                  </a:lnTo>
                  <a:lnTo>
                    <a:pt x="19" y="1183"/>
                  </a:lnTo>
                  <a:lnTo>
                    <a:pt x="19" y="1181"/>
                  </a:lnTo>
                  <a:lnTo>
                    <a:pt x="21" y="1181"/>
                  </a:lnTo>
                  <a:lnTo>
                    <a:pt x="19" y="1181"/>
                  </a:lnTo>
                  <a:lnTo>
                    <a:pt x="21" y="1181"/>
                  </a:lnTo>
                  <a:lnTo>
                    <a:pt x="21" y="1179"/>
                  </a:lnTo>
                  <a:lnTo>
                    <a:pt x="23" y="1179"/>
                  </a:lnTo>
                  <a:lnTo>
                    <a:pt x="23" y="1181"/>
                  </a:lnTo>
                  <a:lnTo>
                    <a:pt x="26" y="1181"/>
                  </a:lnTo>
                  <a:lnTo>
                    <a:pt x="23" y="1181"/>
                  </a:lnTo>
                  <a:lnTo>
                    <a:pt x="23" y="1179"/>
                  </a:lnTo>
                  <a:lnTo>
                    <a:pt x="23" y="1176"/>
                  </a:lnTo>
                  <a:lnTo>
                    <a:pt x="21" y="1174"/>
                  </a:lnTo>
                  <a:lnTo>
                    <a:pt x="23" y="1174"/>
                  </a:lnTo>
                  <a:lnTo>
                    <a:pt x="23" y="1172"/>
                  </a:lnTo>
                  <a:lnTo>
                    <a:pt x="23" y="1174"/>
                  </a:lnTo>
                  <a:lnTo>
                    <a:pt x="23" y="1172"/>
                  </a:lnTo>
                  <a:lnTo>
                    <a:pt x="23" y="1174"/>
                  </a:lnTo>
                  <a:lnTo>
                    <a:pt x="26" y="1174"/>
                  </a:lnTo>
                  <a:lnTo>
                    <a:pt x="28" y="1174"/>
                  </a:lnTo>
                  <a:lnTo>
                    <a:pt x="28" y="1176"/>
                  </a:lnTo>
                  <a:lnTo>
                    <a:pt x="28" y="1179"/>
                  </a:lnTo>
                  <a:lnTo>
                    <a:pt x="28" y="1176"/>
                  </a:lnTo>
                  <a:lnTo>
                    <a:pt x="31" y="1176"/>
                  </a:lnTo>
                  <a:lnTo>
                    <a:pt x="31" y="1179"/>
                  </a:lnTo>
                  <a:lnTo>
                    <a:pt x="33" y="1179"/>
                  </a:lnTo>
                  <a:lnTo>
                    <a:pt x="35" y="1179"/>
                  </a:lnTo>
                  <a:lnTo>
                    <a:pt x="35" y="1176"/>
                  </a:lnTo>
                  <a:lnTo>
                    <a:pt x="38" y="1176"/>
                  </a:lnTo>
                  <a:lnTo>
                    <a:pt x="38" y="1174"/>
                  </a:lnTo>
                  <a:lnTo>
                    <a:pt x="38" y="1172"/>
                  </a:lnTo>
                  <a:lnTo>
                    <a:pt x="38" y="1169"/>
                  </a:lnTo>
                  <a:lnTo>
                    <a:pt x="38" y="1167"/>
                  </a:lnTo>
                  <a:lnTo>
                    <a:pt x="38" y="1164"/>
                  </a:lnTo>
                  <a:lnTo>
                    <a:pt x="40" y="1162"/>
                  </a:lnTo>
                  <a:lnTo>
                    <a:pt x="38" y="1162"/>
                  </a:lnTo>
                  <a:lnTo>
                    <a:pt x="38" y="1164"/>
                  </a:lnTo>
                  <a:lnTo>
                    <a:pt x="38" y="1162"/>
                  </a:lnTo>
                  <a:lnTo>
                    <a:pt x="35" y="1162"/>
                  </a:lnTo>
                  <a:lnTo>
                    <a:pt x="38" y="1162"/>
                  </a:lnTo>
                  <a:lnTo>
                    <a:pt x="38" y="1160"/>
                  </a:lnTo>
                  <a:lnTo>
                    <a:pt x="35" y="1160"/>
                  </a:lnTo>
                  <a:lnTo>
                    <a:pt x="35" y="1162"/>
                  </a:lnTo>
                  <a:lnTo>
                    <a:pt x="33" y="1162"/>
                  </a:lnTo>
                  <a:lnTo>
                    <a:pt x="33" y="1164"/>
                  </a:lnTo>
                  <a:lnTo>
                    <a:pt x="33" y="1162"/>
                  </a:lnTo>
                  <a:lnTo>
                    <a:pt x="33" y="1164"/>
                  </a:lnTo>
                  <a:lnTo>
                    <a:pt x="33" y="1162"/>
                  </a:lnTo>
                  <a:lnTo>
                    <a:pt x="33" y="1164"/>
                  </a:lnTo>
                  <a:lnTo>
                    <a:pt x="33" y="1167"/>
                  </a:lnTo>
                  <a:lnTo>
                    <a:pt x="31" y="1167"/>
                  </a:lnTo>
                  <a:lnTo>
                    <a:pt x="28" y="1167"/>
                  </a:lnTo>
                  <a:lnTo>
                    <a:pt x="28" y="1169"/>
                  </a:lnTo>
                  <a:lnTo>
                    <a:pt x="26" y="1169"/>
                  </a:lnTo>
                  <a:lnTo>
                    <a:pt x="28" y="1169"/>
                  </a:lnTo>
                  <a:lnTo>
                    <a:pt x="26" y="1169"/>
                  </a:lnTo>
                  <a:lnTo>
                    <a:pt x="26" y="1172"/>
                  </a:lnTo>
                  <a:lnTo>
                    <a:pt x="23" y="1172"/>
                  </a:lnTo>
                  <a:lnTo>
                    <a:pt x="21" y="1172"/>
                  </a:lnTo>
                  <a:lnTo>
                    <a:pt x="21" y="1169"/>
                  </a:lnTo>
                  <a:lnTo>
                    <a:pt x="21" y="1172"/>
                  </a:lnTo>
                  <a:lnTo>
                    <a:pt x="21" y="1169"/>
                  </a:lnTo>
                  <a:lnTo>
                    <a:pt x="19" y="1169"/>
                  </a:lnTo>
                  <a:lnTo>
                    <a:pt x="16" y="1169"/>
                  </a:lnTo>
                  <a:lnTo>
                    <a:pt x="16" y="1167"/>
                  </a:lnTo>
                  <a:lnTo>
                    <a:pt x="14" y="1167"/>
                  </a:lnTo>
                  <a:lnTo>
                    <a:pt x="14" y="1164"/>
                  </a:lnTo>
                  <a:lnTo>
                    <a:pt x="12" y="1164"/>
                  </a:lnTo>
                  <a:lnTo>
                    <a:pt x="9" y="1162"/>
                  </a:lnTo>
                  <a:lnTo>
                    <a:pt x="12" y="1164"/>
                  </a:lnTo>
                  <a:lnTo>
                    <a:pt x="9" y="1164"/>
                  </a:lnTo>
                  <a:lnTo>
                    <a:pt x="9" y="1162"/>
                  </a:lnTo>
                  <a:lnTo>
                    <a:pt x="12" y="1162"/>
                  </a:lnTo>
                  <a:lnTo>
                    <a:pt x="9" y="1162"/>
                  </a:lnTo>
                  <a:lnTo>
                    <a:pt x="12" y="1162"/>
                  </a:lnTo>
                  <a:lnTo>
                    <a:pt x="9" y="1162"/>
                  </a:lnTo>
                  <a:lnTo>
                    <a:pt x="9" y="1160"/>
                  </a:lnTo>
                  <a:lnTo>
                    <a:pt x="9" y="1162"/>
                  </a:lnTo>
                  <a:lnTo>
                    <a:pt x="12" y="1162"/>
                  </a:lnTo>
                  <a:lnTo>
                    <a:pt x="9" y="1162"/>
                  </a:lnTo>
                  <a:lnTo>
                    <a:pt x="9" y="1160"/>
                  </a:lnTo>
                  <a:lnTo>
                    <a:pt x="12" y="1162"/>
                  </a:lnTo>
                  <a:lnTo>
                    <a:pt x="14" y="1162"/>
                  </a:lnTo>
                  <a:lnTo>
                    <a:pt x="16" y="1162"/>
                  </a:lnTo>
                  <a:lnTo>
                    <a:pt x="16" y="1164"/>
                  </a:lnTo>
                  <a:lnTo>
                    <a:pt x="16" y="1167"/>
                  </a:lnTo>
                  <a:lnTo>
                    <a:pt x="19" y="1167"/>
                  </a:lnTo>
                  <a:lnTo>
                    <a:pt x="16" y="1167"/>
                  </a:lnTo>
                  <a:lnTo>
                    <a:pt x="16" y="1164"/>
                  </a:lnTo>
                  <a:lnTo>
                    <a:pt x="16" y="1162"/>
                  </a:lnTo>
                  <a:lnTo>
                    <a:pt x="16" y="1164"/>
                  </a:lnTo>
                  <a:lnTo>
                    <a:pt x="19" y="1167"/>
                  </a:lnTo>
                  <a:lnTo>
                    <a:pt x="21" y="1167"/>
                  </a:lnTo>
                  <a:lnTo>
                    <a:pt x="21" y="1169"/>
                  </a:lnTo>
                  <a:lnTo>
                    <a:pt x="21" y="1167"/>
                  </a:lnTo>
                  <a:lnTo>
                    <a:pt x="19" y="1167"/>
                  </a:lnTo>
                  <a:lnTo>
                    <a:pt x="16" y="1164"/>
                  </a:lnTo>
                  <a:lnTo>
                    <a:pt x="19" y="1164"/>
                  </a:lnTo>
                  <a:lnTo>
                    <a:pt x="16" y="1164"/>
                  </a:lnTo>
                  <a:lnTo>
                    <a:pt x="19" y="1164"/>
                  </a:lnTo>
                  <a:lnTo>
                    <a:pt x="16" y="1164"/>
                  </a:lnTo>
                  <a:lnTo>
                    <a:pt x="19" y="1164"/>
                  </a:lnTo>
                  <a:lnTo>
                    <a:pt x="21" y="1164"/>
                  </a:lnTo>
                  <a:lnTo>
                    <a:pt x="21" y="1167"/>
                  </a:lnTo>
                  <a:lnTo>
                    <a:pt x="23" y="1167"/>
                  </a:lnTo>
                  <a:lnTo>
                    <a:pt x="21" y="1167"/>
                  </a:lnTo>
                  <a:lnTo>
                    <a:pt x="21" y="1164"/>
                  </a:lnTo>
                  <a:lnTo>
                    <a:pt x="19" y="1164"/>
                  </a:lnTo>
                  <a:lnTo>
                    <a:pt x="19" y="1162"/>
                  </a:lnTo>
                  <a:lnTo>
                    <a:pt x="16" y="1162"/>
                  </a:lnTo>
                  <a:lnTo>
                    <a:pt x="14" y="1160"/>
                  </a:lnTo>
                  <a:lnTo>
                    <a:pt x="16" y="1160"/>
                  </a:lnTo>
                  <a:lnTo>
                    <a:pt x="14" y="1160"/>
                  </a:lnTo>
                  <a:lnTo>
                    <a:pt x="16" y="1160"/>
                  </a:lnTo>
                  <a:lnTo>
                    <a:pt x="14" y="1160"/>
                  </a:lnTo>
                  <a:lnTo>
                    <a:pt x="16" y="1160"/>
                  </a:lnTo>
                  <a:lnTo>
                    <a:pt x="14" y="1160"/>
                  </a:lnTo>
                  <a:lnTo>
                    <a:pt x="12" y="1160"/>
                  </a:lnTo>
                  <a:lnTo>
                    <a:pt x="12" y="1157"/>
                  </a:lnTo>
                  <a:lnTo>
                    <a:pt x="14" y="1157"/>
                  </a:lnTo>
                  <a:lnTo>
                    <a:pt x="12" y="1157"/>
                  </a:lnTo>
                  <a:lnTo>
                    <a:pt x="14" y="1157"/>
                  </a:lnTo>
                  <a:lnTo>
                    <a:pt x="16" y="1157"/>
                  </a:lnTo>
                  <a:lnTo>
                    <a:pt x="16" y="1160"/>
                  </a:lnTo>
                  <a:lnTo>
                    <a:pt x="16" y="1157"/>
                  </a:lnTo>
                  <a:lnTo>
                    <a:pt x="16" y="1160"/>
                  </a:lnTo>
                  <a:lnTo>
                    <a:pt x="19" y="1160"/>
                  </a:lnTo>
                  <a:lnTo>
                    <a:pt x="21" y="1160"/>
                  </a:lnTo>
                  <a:lnTo>
                    <a:pt x="23" y="1160"/>
                  </a:lnTo>
                  <a:lnTo>
                    <a:pt x="23" y="1162"/>
                  </a:lnTo>
                  <a:lnTo>
                    <a:pt x="26" y="1162"/>
                  </a:lnTo>
                  <a:lnTo>
                    <a:pt x="26" y="1164"/>
                  </a:lnTo>
                  <a:lnTo>
                    <a:pt x="26" y="1167"/>
                  </a:lnTo>
                  <a:lnTo>
                    <a:pt x="26" y="1164"/>
                  </a:lnTo>
                  <a:lnTo>
                    <a:pt x="28" y="1164"/>
                  </a:lnTo>
                  <a:lnTo>
                    <a:pt x="28" y="1167"/>
                  </a:lnTo>
                  <a:lnTo>
                    <a:pt x="28" y="1164"/>
                  </a:lnTo>
                  <a:lnTo>
                    <a:pt x="26" y="1164"/>
                  </a:lnTo>
                  <a:lnTo>
                    <a:pt x="26" y="1162"/>
                  </a:lnTo>
                  <a:lnTo>
                    <a:pt x="26" y="1164"/>
                  </a:lnTo>
                  <a:lnTo>
                    <a:pt x="28" y="1164"/>
                  </a:lnTo>
                  <a:lnTo>
                    <a:pt x="28" y="1162"/>
                  </a:lnTo>
                  <a:lnTo>
                    <a:pt x="26" y="1162"/>
                  </a:lnTo>
                  <a:lnTo>
                    <a:pt x="26" y="1160"/>
                  </a:lnTo>
                  <a:lnTo>
                    <a:pt x="26" y="1162"/>
                  </a:lnTo>
                  <a:lnTo>
                    <a:pt x="26" y="1160"/>
                  </a:lnTo>
                  <a:lnTo>
                    <a:pt x="23" y="1160"/>
                  </a:lnTo>
                  <a:lnTo>
                    <a:pt x="23" y="1157"/>
                  </a:lnTo>
                  <a:lnTo>
                    <a:pt x="26" y="1157"/>
                  </a:lnTo>
                  <a:lnTo>
                    <a:pt x="23" y="1157"/>
                  </a:lnTo>
                  <a:lnTo>
                    <a:pt x="26" y="1157"/>
                  </a:lnTo>
                  <a:lnTo>
                    <a:pt x="23" y="1157"/>
                  </a:lnTo>
                  <a:lnTo>
                    <a:pt x="26" y="1157"/>
                  </a:lnTo>
                  <a:lnTo>
                    <a:pt x="26" y="1155"/>
                  </a:lnTo>
                  <a:lnTo>
                    <a:pt x="28" y="1155"/>
                  </a:lnTo>
                  <a:lnTo>
                    <a:pt x="28" y="1153"/>
                  </a:lnTo>
                  <a:lnTo>
                    <a:pt x="31" y="1155"/>
                  </a:lnTo>
                  <a:lnTo>
                    <a:pt x="33" y="1155"/>
                  </a:lnTo>
                  <a:lnTo>
                    <a:pt x="33" y="1153"/>
                  </a:lnTo>
                  <a:lnTo>
                    <a:pt x="33" y="1155"/>
                  </a:lnTo>
                  <a:lnTo>
                    <a:pt x="31" y="1155"/>
                  </a:lnTo>
                  <a:lnTo>
                    <a:pt x="31" y="1153"/>
                  </a:lnTo>
                  <a:lnTo>
                    <a:pt x="28" y="1153"/>
                  </a:lnTo>
                  <a:lnTo>
                    <a:pt x="31" y="1153"/>
                  </a:lnTo>
                  <a:lnTo>
                    <a:pt x="28" y="1153"/>
                  </a:lnTo>
                  <a:lnTo>
                    <a:pt x="26" y="1153"/>
                  </a:lnTo>
                  <a:lnTo>
                    <a:pt x="26" y="1155"/>
                  </a:lnTo>
                  <a:lnTo>
                    <a:pt x="26" y="1157"/>
                  </a:lnTo>
                  <a:lnTo>
                    <a:pt x="23" y="1157"/>
                  </a:lnTo>
                  <a:lnTo>
                    <a:pt x="23" y="1155"/>
                  </a:lnTo>
                  <a:lnTo>
                    <a:pt x="23" y="1157"/>
                  </a:lnTo>
                  <a:lnTo>
                    <a:pt x="23" y="1155"/>
                  </a:lnTo>
                  <a:lnTo>
                    <a:pt x="21" y="1155"/>
                  </a:lnTo>
                  <a:lnTo>
                    <a:pt x="21" y="1157"/>
                  </a:lnTo>
                  <a:lnTo>
                    <a:pt x="21" y="1155"/>
                  </a:lnTo>
                  <a:lnTo>
                    <a:pt x="21" y="1157"/>
                  </a:lnTo>
                  <a:lnTo>
                    <a:pt x="23" y="1157"/>
                  </a:lnTo>
                  <a:lnTo>
                    <a:pt x="21" y="1157"/>
                  </a:lnTo>
                  <a:lnTo>
                    <a:pt x="21" y="1155"/>
                  </a:lnTo>
                  <a:lnTo>
                    <a:pt x="21" y="1157"/>
                  </a:lnTo>
                  <a:lnTo>
                    <a:pt x="19" y="1157"/>
                  </a:lnTo>
                  <a:lnTo>
                    <a:pt x="21" y="1157"/>
                  </a:lnTo>
                  <a:lnTo>
                    <a:pt x="19" y="1157"/>
                  </a:lnTo>
                  <a:lnTo>
                    <a:pt x="19" y="1155"/>
                  </a:lnTo>
                  <a:lnTo>
                    <a:pt x="19" y="1157"/>
                  </a:lnTo>
                  <a:lnTo>
                    <a:pt x="19" y="1155"/>
                  </a:lnTo>
                  <a:lnTo>
                    <a:pt x="19" y="1157"/>
                  </a:lnTo>
                  <a:lnTo>
                    <a:pt x="19" y="1155"/>
                  </a:lnTo>
                  <a:lnTo>
                    <a:pt x="19" y="1157"/>
                  </a:lnTo>
                  <a:lnTo>
                    <a:pt x="19" y="1155"/>
                  </a:lnTo>
                  <a:lnTo>
                    <a:pt x="19" y="1157"/>
                  </a:lnTo>
                  <a:lnTo>
                    <a:pt x="19" y="1155"/>
                  </a:lnTo>
                  <a:lnTo>
                    <a:pt x="19" y="1157"/>
                  </a:lnTo>
                  <a:lnTo>
                    <a:pt x="16" y="1155"/>
                  </a:lnTo>
                  <a:lnTo>
                    <a:pt x="16" y="1157"/>
                  </a:lnTo>
                  <a:lnTo>
                    <a:pt x="16" y="1155"/>
                  </a:lnTo>
                  <a:lnTo>
                    <a:pt x="16" y="1153"/>
                  </a:lnTo>
                  <a:lnTo>
                    <a:pt x="14" y="1153"/>
                  </a:lnTo>
                  <a:lnTo>
                    <a:pt x="16" y="1153"/>
                  </a:lnTo>
                  <a:lnTo>
                    <a:pt x="14" y="1153"/>
                  </a:lnTo>
                  <a:lnTo>
                    <a:pt x="14" y="1150"/>
                  </a:lnTo>
                  <a:lnTo>
                    <a:pt x="14" y="1148"/>
                  </a:lnTo>
                  <a:lnTo>
                    <a:pt x="14" y="1150"/>
                  </a:lnTo>
                  <a:lnTo>
                    <a:pt x="14" y="1148"/>
                  </a:lnTo>
                  <a:lnTo>
                    <a:pt x="16" y="1150"/>
                  </a:lnTo>
                  <a:lnTo>
                    <a:pt x="19" y="1150"/>
                  </a:lnTo>
                  <a:lnTo>
                    <a:pt x="16" y="1150"/>
                  </a:lnTo>
                  <a:lnTo>
                    <a:pt x="19" y="1150"/>
                  </a:lnTo>
                  <a:lnTo>
                    <a:pt x="19" y="1153"/>
                  </a:lnTo>
                  <a:lnTo>
                    <a:pt x="16" y="1153"/>
                  </a:lnTo>
                  <a:lnTo>
                    <a:pt x="19" y="1153"/>
                  </a:lnTo>
                  <a:lnTo>
                    <a:pt x="16" y="1153"/>
                  </a:lnTo>
                  <a:lnTo>
                    <a:pt x="19" y="1153"/>
                  </a:lnTo>
                  <a:lnTo>
                    <a:pt x="16" y="1155"/>
                  </a:lnTo>
                  <a:lnTo>
                    <a:pt x="19" y="1155"/>
                  </a:lnTo>
                  <a:lnTo>
                    <a:pt x="19" y="1153"/>
                  </a:lnTo>
                  <a:lnTo>
                    <a:pt x="19" y="1150"/>
                  </a:lnTo>
                  <a:lnTo>
                    <a:pt x="19" y="1148"/>
                  </a:lnTo>
                  <a:lnTo>
                    <a:pt x="21" y="1148"/>
                  </a:lnTo>
                  <a:lnTo>
                    <a:pt x="19" y="1148"/>
                  </a:lnTo>
                  <a:lnTo>
                    <a:pt x="21" y="1148"/>
                  </a:lnTo>
                  <a:lnTo>
                    <a:pt x="19" y="1148"/>
                  </a:lnTo>
                  <a:lnTo>
                    <a:pt x="16" y="1148"/>
                  </a:lnTo>
                  <a:lnTo>
                    <a:pt x="14" y="1148"/>
                  </a:lnTo>
                  <a:lnTo>
                    <a:pt x="14" y="1145"/>
                  </a:lnTo>
                  <a:lnTo>
                    <a:pt x="16" y="1145"/>
                  </a:lnTo>
                  <a:lnTo>
                    <a:pt x="14" y="1145"/>
                  </a:lnTo>
                  <a:lnTo>
                    <a:pt x="16" y="1145"/>
                  </a:lnTo>
                  <a:lnTo>
                    <a:pt x="14" y="1143"/>
                  </a:lnTo>
                  <a:lnTo>
                    <a:pt x="16" y="1143"/>
                  </a:lnTo>
                  <a:lnTo>
                    <a:pt x="19" y="1143"/>
                  </a:lnTo>
                  <a:lnTo>
                    <a:pt x="21" y="1143"/>
                  </a:lnTo>
                  <a:lnTo>
                    <a:pt x="23" y="1143"/>
                  </a:lnTo>
                  <a:lnTo>
                    <a:pt x="23" y="1145"/>
                  </a:lnTo>
                  <a:lnTo>
                    <a:pt x="26" y="1145"/>
                  </a:lnTo>
                  <a:lnTo>
                    <a:pt x="28" y="1145"/>
                  </a:lnTo>
                  <a:lnTo>
                    <a:pt x="28" y="1148"/>
                  </a:lnTo>
                  <a:lnTo>
                    <a:pt x="31" y="1148"/>
                  </a:lnTo>
                  <a:lnTo>
                    <a:pt x="31" y="1145"/>
                  </a:lnTo>
                  <a:lnTo>
                    <a:pt x="31" y="1143"/>
                  </a:lnTo>
                  <a:lnTo>
                    <a:pt x="33" y="1143"/>
                  </a:lnTo>
                  <a:lnTo>
                    <a:pt x="35" y="1143"/>
                  </a:lnTo>
                  <a:lnTo>
                    <a:pt x="33" y="1143"/>
                  </a:lnTo>
                  <a:lnTo>
                    <a:pt x="35" y="1143"/>
                  </a:lnTo>
                  <a:lnTo>
                    <a:pt x="35" y="1141"/>
                  </a:lnTo>
                  <a:lnTo>
                    <a:pt x="35" y="1143"/>
                  </a:lnTo>
                  <a:lnTo>
                    <a:pt x="35" y="1141"/>
                  </a:lnTo>
                  <a:lnTo>
                    <a:pt x="38" y="1141"/>
                  </a:lnTo>
                  <a:lnTo>
                    <a:pt x="38" y="1143"/>
                  </a:lnTo>
                  <a:lnTo>
                    <a:pt x="38" y="1141"/>
                  </a:lnTo>
                  <a:lnTo>
                    <a:pt x="40" y="1141"/>
                  </a:lnTo>
                  <a:lnTo>
                    <a:pt x="40" y="1143"/>
                  </a:lnTo>
                  <a:lnTo>
                    <a:pt x="40" y="1145"/>
                  </a:lnTo>
                  <a:lnTo>
                    <a:pt x="40" y="1143"/>
                  </a:lnTo>
                  <a:lnTo>
                    <a:pt x="42" y="1143"/>
                  </a:lnTo>
                  <a:lnTo>
                    <a:pt x="42" y="1141"/>
                  </a:lnTo>
                  <a:lnTo>
                    <a:pt x="42" y="1143"/>
                  </a:lnTo>
                  <a:lnTo>
                    <a:pt x="42" y="1141"/>
                  </a:lnTo>
                  <a:lnTo>
                    <a:pt x="45" y="1141"/>
                  </a:lnTo>
                  <a:lnTo>
                    <a:pt x="47" y="1141"/>
                  </a:lnTo>
                  <a:lnTo>
                    <a:pt x="50" y="1141"/>
                  </a:lnTo>
                  <a:lnTo>
                    <a:pt x="52" y="1141"/>
                  </a:lnTo>
                  <a:lnTo>
                    <a:pt x="54" y="1141"/>
                  </a:lnTo>
                  <a:lnTo>
                    <a:pt x="57" y="1141"/>
                  </a:lnTo>
                  <a:lnTo>
                    <a:pt x="57" y="1143"/>
                  </a:lnTo>
                  <a:lnTo>
                    <a:pt x="57" y="1145"/>
                  </a:lnTo>
                  <a:lnTo>
                    <a:pt x="59" y="1143"/>
                  </a:lnTo>
                  <a:lnTo>
                    <a:pt x="61" y="1143"/>
                  </a:lnTo>
                  <a:lnTo>
                    <a:pt x="59" y="1145"/>
                  </a:lnTo>
                  <a:lnTo>
                    <a:pt x="59" y="1148"/>
                  </a:lnTo>
                  <a:lnTo>
                    <a:pt x="59" y="1145"/>
                  </a:lnTo>
                  <a:lnTo>
                    <a:pt x="59" y="1148"/>
                  </a:lnTo>
                  <a:lnTo>
                    <a:pt x="61" y="1148"/>
                  </a:lnTo>
                  <a:lnTo>
                    <a:pt x="61" y="1145"/>
                  </a:lnTo>
                  <a:lnTo>
                    <a:pt x="59" y="1145"/>
                  </a:lnTo>
                  <a:lnTo>
                    <a:pt x="61" y="1145"/>
                  </a:lnTo>
                  <a:lnTo>
                    <a:pt x="61" y="1143"/>
                  </a:lnTo>
                  <a:lnTo>
                    <a:pt x="64" y="1143"/>
                  </a:lnTo>
                  <a:lnTo>
                    <a:pt x="64" y="1141"/>
                  </a:lnTo>
                  <a:lnTo>
                    <a:pt x="66" y="1141"/>
                  </a:lnTo>
                  <a:lnTo>
                    <a:pt x="66" y="1143"/>
                  </a:lnTo>
                  <a:lnTo>
                    <a:pt x="66" y="1141"/>
                  </a:lnTo>
                  <a:lnTo>
                    <a:pt x="66" y="1138"/>
                  </a:lnTo>
                  <a:lnTo>
                    <a:pt x="68" y="1138"/>
                  </a:lnTo>
                  <a:lnTo>
                    <a:pt x="71" y="1138"/>
                  </a:lnTo>
                  <a:lnTo>
                    <a:pt x="73" y="1138"/>
                  </a:lnTo>
                  <a:lnTo>
                    <a:pt x="76" y="1138"/>
                  </a:lnTo>
                  <a:lnTo>
                    <a:pt x="76" y="1141"/>
                  </a:lnTo>
                  <a:lnTo>
                    <a:pt x="76" y="1143"/>
                  </a:lnTo>
                  <a:lnTo>
                    <a:pt x="78" y="1143"/>
                  </a:lnTo>
                  <a:lnTo>
                    <a:pt x="80" y="1143"/>
                  </a:lnTo>
                  <a:lnTo>
                    <a:pt x="80" y="1145"/>
                  </a:lnTo>
                  <a:lnTo>
                    <a:pt x="80" y="1148"/>
                  </a:lnTo>
                  <a:lnTo>
                    <a:pt x="78" y="1148"/>
                  </a:lnTo>
                  <a:lnTo>
                    <a:pt x="78" y="1150"/>
                  </a:lnTo>
                  <a:lnTo>
                    <a:pt x="76" y="1150"/>
                  </a:lnTo>
                  <a:lnTo>
                    <a:pt x="76" y="1153"/>
                  </a:lnTo>
                  <a:lnTo>
                    <a:pt x="76" y="1150"/>
                  </a:lnTo>
                  <a:lnTo>
                    <a:pt x="78" y="1150"/>
                  </a:lnTo>
                  <a:lnTo>
                    <a:pt x="80" y="1150"/>
                  </a:lnTo>
                  <a:lnTo>
                    <a:pt x="80" y="1148"/>
                  </a:lnTo>
                  <a:lnTo>
                    <a:pt x="83" y="1148"/>
                  </a:lnTo>
                  <a:lnTo>
                    <a:pt x="83" y="1150"/>
                  </a:lnTo>
                  <a:lnTo>
                    <a:pt x="85" y="1150"/>
                  </a:lnTo>
                  <a:lnTo>
                    <a:pt x="85" y="1153"/>
                  </a:lnTo>
                  <a:lnTo>
                    <a:pt x="83" y="1155"/>
                  </a:lnTo>
                  <a:lnTo>
                    <a:pt x="85" y="1155"/>
                  </a:lnTo>
                  <a:lnTo>
                    <a:pt x="85" y="1153"/>
                  </a:lnTo>
                  <a:lnTo>
                    <a:pt x="85" y="1150"/>
                  </a:lnTo>
                  <a:lnTo>
                    <a:pt x="83" y="1150"/>
                  </a:lnTo>
                  <a:lnTo>
                    <a:pt x="83" y="1148"/>
                  </a:lnTo>
                  <a:lnTo>
                    <a:pt x="80" y="1145"/>
                  </a:lnTo>
                  <a:lnTo>
                    <a:pt x="83" y="1145"/>
                  </a:lnTo>
                  <a:lnTo>
                    <a:pt x="80" y="1145"/>
                  </a:lnTo>
                  <a:lnTo>
                    <a:pt x="80" y="1143"/>
                  </a:lnTo>
                  <a:lnTo>
                    <a:pt x="80" y="1141"/>
                  </a:lnTo>
                  <a:lnTo>
                    <a:pt x="83" y="1141"/>
                  </a:lnTo>
                  <a:lnTo>
                    <a:pt x="85" y="1141"/>
                  </a:lnTo>
                  <a:lnTo>
                    <a:pt x="87" y="1141"/>
                  </a:lnTo>
                  <a:lnTo>
                    <a:pt x="87" y="1138"/>
                  </a:lnTo>
                  <a:lnTo>
                    <a:pt x="90" y="1138"/>
                  </a:lnTo>
                  <a:lnTo>
                    <a:pt x="90" y="1141"/>
                  </a:lnTo>
                  <a:lnTo>
                    <a:pt x="92" y="1141"/>
                  </a:lnTo>
                  <a:lnTo>
                    <a:pt x="95" y="1141"/>
                  </a:lnTo>
                  <a:lnTo>
                    <a:pt x="92" y="1141"/>
                  </a:lnTo>
                  <a:lnTo>
                    <a:pt x="92" y="1138"/>
                  </a:lnTo>
                  <a:lnTo>
                    <a:pt x="95" y="1138"/>
                  </a:lnTo>
                  <a:lnTo>
                    <a:pt x="97" y="1136"/>
                  </a:lnTo>
                  <a:lnTo>
                    <a:pt x="99" y="1136"/>
                  </a:lnTo>
                  <a:lnTo>
                    <a:pt x="102" y="1136"/>
                  </a:lnTo>
                  <a:lnTo>
                    <a:pt x="104" y="1136"/>
                  </a:lnTo>
                  <a:lnTo>
                    <a:pt x="104" y="1134"/>
                  </a:lnTo>
                  <a:lnTo>
                    <a:pt x="102" y="1134"/>
                  </a:lnTo>
                  <a:lnTo>
                    <a:pt x="102" y="1136"/>
                  </a:lnTo>
                  <a:lnTo>
                    <a:pt x="99" y="1136"/>
                  </a:lnTo>
                  <a:lnTo>
                    <a:pt x="97" y="1136"/>
                  </a:lnTo>
                  <a:lnTo>
                    <a:pt x="95" y="1136"/>
                  </a:lnTo>
                  <a:lnTo>
                    <a:pt x="92" y="1136"/>
                  </a:lnTo>
                  <a:lnTo>
                    <a:pt x="92" y="1134"/>
                  </a:lnTo>
                  <a:lnTo>
                    <a:pt x="92" y="1131"/>
                  </a:lnTo>
                  <a:lnTo>
                    <a:pt x="90" y="1131"/>
                  </a:lnTo>
                  <a:lnTo>
                    <a:pt x="92" y="1131"/>
                  </a:lnTo>
                  <a:lnTo>
                    <a:pt x="92" y="1129"/>
                  </a:lnTo>
                  <a:lnTo>
                    <a:pt x="92" y="1126"/>
                  </a:lnTo>
                  <a:lnTo>
                    <a:pt x="95" y="1126"/>
                  </a:lnTo>
                  <a:lnTo>
                    <a:pt x="95" y="1124"/>
                  </a:lnTo>
                  <a:lnTo>
                    <a:pt x="97" y="1124"/>
                  </a:lnTo>
                  <a:lnTo>
                    <a:pt x="97" y="1122"/>
                  </a:lnTo>
                  <a:lnTo>
                    <a:pt x="99" y="1122"/>
                  </a:lnTo>
                  <a:lnTo>
                    <a:pt x="99" y="1119"/>
                  </a:lnTo>
                  <a:lnTo>
                    <a:pt x="99" y="1122"/>
                  </a:lnTo>
                  <a:lnTo>
                    <a:pt x="97" y="1122"/>
                  </a:lnTo>
                  <a:lnTo>
                    <a:pt x="95" y="1124"/>
                  </a:lnTo>
                  <a:lnTo>
                    <a:pt x="92" y="1126"/>
                  </a:lnTo>
                  <a:lnTo>
                    <a:pt x="90" y="1126"/>
                  </a:lnTo>
                  <a:lnTo>
                    <a:pt x="92" y="1129"/>
                  </a:lnTo>
                  <a:lnTo>
                    <a:pt x="90" y="1129"/>
                  </a:lnTo>
                  <a:lnTo>
                    <a:pt x="90" y="1131"/>
                  </a:lnTo>
                  <a:lnTo>
                    <a:pt x="87" y="1131"/>
                  </a:lnTo>
                  <a:lnTo>
                    <a:pt x="90" y="1131"/>
                  </a:lnTo>
                  <a:lnTo>
                    <a:pt x="90" y="1134"/>
                  </a:lnTo>
                  <a:lnTo>
                    <a:pt x="92" y="1136"/>
                  </a:lnTo>
                  <a:lnTo>
                    <a:pt x="92" y="1138"/>
                  </a:lnTo>
                  <a:lnTo>
                    <a:pt x="90" y="1138"/>
                  </a:lnTo>
                  <a:lnTo>
                    <a:pt x="87" y="1138"/>
                  </a:lnTo>
                  <a:lnTo>
                    <a:pt x="85" y="1138"/>
                  </a:lnTo>
                  <a:lnTo>
                    <a:pt x="83" y="1141"/>
                  </a:lnTo>
                  <a:lnTo>
                    <a:pt x="80" y="1141"/>
                  </a:lnTo>
                  <a:lnTo>
                    <a:pt x="78" y="1141"/>
                  </a:lnTo>
                  <a:lnTo>
                    <a:pt x="78" y="1138"/>
                  </a:lnTo>
                  <a:lnTo>
                    <a:pt x="80" y="1138"/>
                  </a:lnTo>
                  <a:lnTo>
                    <a:pt x="80" y="1136"/>
                  </a:lnTo>
                  <a:lnTo>
                    <a:pt x="83" y="1136"/>
                  </a:lnTo>
                  <a:lnTo>
                    <a:pt x="85" y="1136"/>
                  </a:lnTo>
                  <a:lnTo>
                    <a:pt x="83" y="1136"/>
                  </a:lnTo>
                  <a:lnTo>
                    <a:pt x="83" y="1134"/>
                  </a:lnTo>
                  <a:lnTo>
                    <a:pt x="85" y="1134"/>
                  </a:lnTo>
                  <a:lnTo>
                    <a:pt x="83" y="1134"/>
                  </a:lnTo>
                  <a:lnTo>
                    <a:pt x="83" y="1136"/>
                  </a:lnTo>
                  <a:lnTo>
                    <a:pt x="80" y="1136"/>
                  </a:lnTo>
                  <a:lnTo>
                    <a:pt x="80" y="1138"/>
                  </a:lnTo>
                  <a:lnTo>
                    <a:pt x="78" y="1138"/>
                  </a:lnTo>
                  <a:lnTo>
                    <a:pt x="76" y="1138"/>
                  </a:lnTo>
                  <a:lnTo>
                    <a:pt x="76" y="1136"/>
                  </a:lnTo>
                  <a:lnTo>
                    <a:pt x="73" y="1136"/>
                  </a:lnTo>
                  <a:lnTo>
                    <a:pt x="73" y="1138"/>
                  </a:lnTo>
                  <a:lnTo>
                    <a:pt x="71" y="1138"/>
                  </a:lnTo>
                  <a:lnTo>
                    <a:pt x="71" y="1136"/>
                  </a:lnTo>
                  <a:lnTo>
                    <a:pt x="68" y="1136"/>
                  </a:lnTo>
                  <a:lnTo>
                    <a:pt x="66" y="1136"/>
                  </a:lnTo>
                  <a:lnTo>
                    <a:pt x="66" y="1134"/>
                  </a:lnTo>
                  <a:lnTo>
                    <a:pt x="68" y="1134"/>
                  </a:lnTo>
                  <a:lnTo>
                    <a:pt x="68" y="1131"/>
                  </a:lnTo>
                  <a:lnTo>
                    <a:pt x="71" y="1129"/>
                  </a:lnTo>
                  <a:lnTo>
                    <a:pt x="71" y="1126"/>
                  </a:lnTo>
                  <a:lnTo>
                    <a:pt x="71" y="1124"/>
                  </a:lnTo>
                  <a:lnTo>
                    <a:pt x="71" y="1126"/>
                  </a:lnTo>
                  <a:lnTo>
                    <a:pt x="71" y="1129"/>
                  </a:lnTo>
                  <a:lnTo>
                    <a:pt x="68" y="1129"/>
                  </a:lnTo>
                  <a:lnTo>
                    <a:pt x="68" y="1131"/>
                  </a:lnTo>
                  <a:lnTo>
                    <a:pt x="66" y="1134"/>
                  </a:lnTo>
                  <a:lnTo>
                    <a:pt x="66" y="1131"/>
                  </a:lnTo>
                  <a:lnTo>
                    <a:pt x="64" y="1131"/>
                  </a:lnTo>
                  <a:lnTo>
                    <a:pt x="64" y="1134"/>
                  </a:lnTo>
                  <a:lnTo>
                    <a:pt x="64" y="1131"/>
                  </a:lnTo>
                  <a:lnTo>
                    <a:pt x="64" y="1134"/>
                  </a:lnTo>
                  <a:lnTo>
                    <a:pt x="66" y="1134"/>
                  </a:lnTo>
                  <a:lnTo>
                    <a:pt x="64" y="1134"/>
                  </a:lnTo>
                  <a:lnTo>
                    <a:pt x="64" y="1136"/>
                  </a:lnTo>
                  <a:lnTo>
                    <a:pt x="66" y="1136"/>
                  </a:lnTo>
                  <a:lnTo>
                    <a:pt x="64" y="1136"/>
                  </a:lnTo>
                  <a:lnTo>
                    <a:pt x="64" y="1138"/>
                  </a:lnTo>
                  <a:lnTo>
                    <a:pt x="64" y="1141"/>
                  </a:lnTo>
                  <a:lnTo>
                    <a:pt x="61" y="1141"/>
                  </a:lnTo>
                  <a:lnTo>
                    <a:pt x="59" y="1141"/>
                  </a:lnTo>
                  <a:lnTo>
                    <a:pt x="57" y="1141"/>
                  </a:lnTo>
                  <a:lnTo>
                    <a:pt x="54" y="1138"/>
                  </a:lnTo>
                  <a:lnTo>
                    <a:pt x="54" y="1136"/>
                  </a:lnTo>
                  <a:lnTo>
                    <a:pt x="54" y="1138"/>
                  </a:lnTo>
                  <a:lnTo>
                    <a:pt x="52" y="1138"/>
                  </a:lnTo>
                  <a:lnTo>
                    <a:pt x="50" y="1138"/>
                  </a:lnTo>
                  <a:lnTo>
                    <a:pt x="47" y="1138"/>
                  </a:lnTo>
                  <a:lnTo>
                    <a:pt x="50" y="1138"/>
                  </a:lnTo>
                  <a:lnTo>
                    <a:pt x="50" y="1136"/>
                  </a:lnTo>
                  <a:lnTo>
                    <a:pt x="47" y="1136"/>
                  </a:lnTo>
                  <a:lnTo>
                    <a:pt x="47" y="1138"/>
                  </a:lnTo>
                  <a:lnTo>
                    <a:pt x="45" y="1138"/>
                  </a:lnTo>
                  <a:lnTo>
                    <a:pt x="42" y="1138"/>
                  </a:lnTo>
                  <a:lnTo>
                    <a:pt x="40" y="1138"/>
                  </a:lnTo>
                  <a:lnTo>
                    <a:pt x="40" y="1136"/>
                  </a:lnTo>
                  <a:lnTo>
                    <a:pt x="40" y="1138"/>
                  </a:lnTo>
                  <a:lnTo>
                    <a:pt x="38" y="1138"/>
                  </a:lnTo>
                  <a:lnTo>
                    <a:pt x="38" y="1141"/>
                  </a:lnTo>
                  <a:lnTo>
                    <a:pt x="35" y="1138"/>
                  </a:lnTo>
                  <a:lnTo>
                    <a:pt x="35" y="1141"/>
                  </a:lnTo>
                  <a:lnTo>
                    <a:pt x="35" y="1138"/>
                  </a:lnTo>
                  <a:lnTo>
                    <a:pt x="33" y="1138"/>
                  </a:lnTo>
                  <a:lnTo>
                    <a:pt x="33" y="1141"/>
                  </a:lnTo>
                  <a:lnTo>
                    <a:pt x="31" y="1141"/>
                  </a:lnTo>
                  <a:lnTo>
                    <a:pt x="31" y="1143"/>
                  </a:lnTo>
                  <a:lnTo>
                    <a:pt x="28" y="1143"/>
                  </a:lnTo>
                  <a:lnTo>
                    <a:pt x="26" y="1143"/>
                  </a:lnTo>
                  <a:lnTo>
                    <a:pt x="26" y="1141"/>
                  </a:lnTo>
                  <a:lnTo>
                    <a:pt x="23" y="1141"/>
                  </a:lnTo>
                  <a:lnTo>
                    <a:pt x="21" y="1141"/>
                  </a:lnTo>
                  <a:lnTo>
                    <a:pt x="23" y="1141"/>
                  </a:lnTo>
                  <a:lnTo>
                    <a:pt x="21" y="1141"/>
                  </a:lnTo>
                  <a:lnTo>
                    <a:pt x="21" y="1138"/>
                  </a:lnTo>
                  <a:lnTo>
                    <a:pt x="21" y="1141"/>
                  </a:lnTo>
                  <a:lnTo>
                    <a:pt x="19" y="1141"/>
                  </a:lnTo>
                  <a:lnTo>
                    <a:pt x="19" y="1138"/>
                  </a:lnTo>
                  <a:lnTo>
                    <a:pt x="16" y="1138"/>
                  </a:lnTo>
                  <a:lnTo>
                    <a:pt x="16" y="1136"/>
                  </a:lnTo>
                  <a:lnTo>
                    <a:pt x="19" y="1136"/>
                  </a:lnTo>
                  <a:lnTo>
                    <a:pt x="21" y="1136"/>
                  </a:lnTo>
                  <a:lnTo>
                    <a:pt x="21" y="1138"/>
                  </a:lnTo>
                  <a:lnTo>
                    <a:pt x="23" y="1138"/>
                  </a:lnTo>
                  <a:lnTo>
                    <a:pt x="21" y="1136"/>
                  </a:lnTo>
                  <a:lnTo>
                    <a:pt x="23" y="1136"/>
                  </a:lnTo>
                  <a:lnTo>
                    <a:pt x="21" y="1136"/>
                  </a:lnTo>
                  <a:lnTo>
                    <a:pt x="23" y="1136"/>
                  </a:lnTo>
                  <a:lnTo>
                    <a:pt x="23" y="1138"/>
                  </a:lnTo>
                  <a:lnTo>
                    <a:pt x="23" y="1136"/>
                  </a:lnTo>
                  <a:lnTo>
                    <a:pt x="21" y="1136"/>
                  </a:lnTo>
                  <a:lnTo>
                    <a:pt x="19" y="1136"/>
                  </a:lnTo>
                  <a:lnTo>
                    <a:pt x="16" y="1136"/>
                  </a:lnTo>
                  <a:lnTo>
                    <a:pt x="14" y="1136"/>
                  </a:lnTo>
                  <a:lnTo>
                    <a:pt x="14" y="1134"/>
                  </a:lnTo>
                  <a:lnTo>
                    <a:pt x="16" y="1134"/>
                  </a:lnTo>
                  <a:lnTo>
                    <a:pt x="14" y="1134"/>
                  </a:lnTo>
                  <a:lnTo>
                    <a:pt x="14" y="1131"/>
                  </a:lnTo>
                  <a:lnTo>
                    <a:pt x="14" y="1134"/>
                  </a:lnTo>
                  <a:lnTo>
                    <a:pt x="12" y="1134"/>
                  </a:lnTo>
                  <a:lnTo>
                    <a:pt x="14" y="1134"/>
                  </a:lnTo>
                  <a:lnTo>
                    <a:pt x="14" y="1131"/>
                  </a:lnTo>
                  <a:lnTo>
                    <a:pt x="16" y="1131"/>
                  </a:lnTo>
                  <a:lnTo>
                    <a:pt x="14" y="1131"/>
                  </a:lnTo>
                  <a:lnTo>
                    <a:pt x="16" y="1131"/>
                  </a:lnTo>
                  <a:lnTo>
                    <a:pt x="19" y="1131"/>
                  </a:lnTo>
                  <a:lnTo>
                    <a:pt x="19" y="1129"/>
                  </a:lnTo>
                  <a:lnTo>
                    <a:pt x="19" y="1131"/>
                  </a:lnTo>
                  <a:lnTo>
                    <a:pt x="21" y="1131"/>
                  </a:lnTo>
                  <a:lnTo>
                    <a:pt x="21" y="1129"/>
                  </a:lnTo>
                  <a:lnTo>
                    <a:pt x="23" y="1129"/>
                  </a:lnTo>
                  <a:lnTo>
                    <a:pt x="26" y="1129"/>
                  </a:lnTo>
                  <a:lnTo>
                    <a:pt x="26" y="1131"/>
                  </a:lnTo>
                  <a:lnTo>
                    <a:pt x="26" y="1129"/>
                  </a:lnTo>
                  <a:lnTo>
                    <a:pt x="26" y="1131"/>
                  </a:lnTo>
                  <a:lnTo>
                    <a:pt x="26" y="1129"/>
                  </a:lnTo>
                  <a:lnTo>
                    <a:pt x="23" y="1129"/>
                  </a:lnTo>
                  <a:lnTo>
                    <a:pt x="26" y="1129"/>
                  </a:lnTo>
                  <a:lnTo>
                    <a:pt x="23" y="1129"/>
                  </a:lnTo>
                  <a:lnTo>
                    <a:pt x="26" y="1129"/>
                  </a:lnTo>
                  <a:lnTo>
                    <a:pt x="26" y="1126"/>
                  </a:lnTo>
                  <a:lnTo>
                    <a:pt x="28" y="1126"/>
                  </a:lnTo>
                  <a:lnTo>
                    <a:pt x="26" y="1126"/>
                  </a:lnTo>
                  <a:lnTo>
                    <a:pt x="28" y="1126"/>
                  </a:lnTo>
                  <a:lnTo>
                    <a:pt x="31" y="1126"/>
                  </a:lnTo>
                  <a:lnTo>
                    <a:pt x="33" y="1126"/>
                  </a:lnTo>
                  <a:lnTo>
                    <a:pt x="35" y="1126"/>
                  </a:lnTo>
                  <a:lnTo>
                    <a:pt x="35" y="1129"/>
                  </a:lnTo>
                  <a:lnTo>
                    <a:pt x="35" y="1126"/>
                  </a:lnTo>
                  <a:lnTo>
                    <a:pt x="33" y="1126"/>
                  </a:lnTo>
                  <a:lnTo>
                    <a:pt x="31" y="1126"/>
                  </a:lnTo>
                  <a:lnTo>
                    <a:pt x="28" y="1126"/>
                  </a:lnTo>
                  <a:lnTo>
                    <a:pt x="26" y="1126"/>
                  </a:lnTo>
                  <a:lnTo>
                    <a:pt x="23" y="1126"/>
                  </a:lnTo>
                  <a:lnTo>
                    <a:pt x="23" y="1129"/>
                  </a:lnTo>
                  <a:lnTo>
                    <a:pt x="23" y="1126"/>
                  </a:lnTo>
                  <a:lnTo>
                    <a:pt x="21" y="1129"/>
                  </a:lnTo>
                  <a:lnTo>
                    <a:pt x="21" y="1126"/>
                  </a:lnTo>
                  <a:lnTo>
                    <a:pt x="21" y="1129"/>
                  </a:lnTo>
                  <a:lnTo>
                    <a:pt x="19" y="1129"/>
                  </a:lnTo>
                  <a:lnTo>
                    <a:pt x="16" y="1129"/>
                  </a:lnTo>
                  <a:lnTo>
                    <a:pt x="14" y="1129"/>
                  </a:lnTo>
                  <a:lnTo>
                    <a:pt x="14" y="1126"/>
                  </a:lnTo>
                  <a:lnTo>
                    <a:pt x="16" y="1126"/>
                  </a:lnTo>
                  <a:lnTo>
                    <a:pt x="16" y="1124"/>
                  </a:lnTo>
                  <a:lnTo>
                    <a:pt x="19" y="1124"/>
                  </a:lnTo>
                  <a:lnTo>
                    <a:pt x="16" y="1124"/>
                  </a:lnTo>
                  <a:lnTo>
                    <a:pt x="14" y="1124"/>
                  </a:lnTo>
                  <a:lnTo>
                    <a:pt x="14" y="1126"/>
                  </a:lnTo>
                  <a:lnTo>
                    <a:pt x="14" y="1124"/>
                  </a:lnTo>
                  <a:lnTo>
                    <a:pt x="16" y="1124"/>
                  </a:lnTo>
                  <a:lnTo>
                    <a:pt x="16" y="1122"/>
                  </a:lnTo>
                  <a:lnTo>
                    <a:pt x="19" y="1122"/>
                  </a:lnTo>
                  <a:lnTo>
                    <a:pt x="21" y="1122"/>
                  </a:lnTo>
                  <a:lnTo>
                    <a:pt x="23" y="1122"/>
                  </a:lnTo>
                  <a:lnTo>
                    <a:pt x="26" y="1122"/>
                  </a:lnTo>
                  <a:lnTo>
                    <a:pt x="23" y="1122"/>
                  </a:lnTo>
                  <a:lnTo>
                    <a:pt x="26" y="1122"/>
                  </a:lnTo>
                  <a:lnTo>
                    <a:pt x="28" y="1122"/>
                  </a:lnTo>
                  <a:lnTo>
                    <a:pt x="28" y="1124"/>
                  </a:lnTo>
                  <a:lnTo>
                    <a:pt x="31" y="1124"/>
                  </a:lnTo>
                  <a:lnTo>
                    <a:pt x="33" y="1124"/>
                  </a:lnTo>
                  <a:lnTo>
                    <a:pt x="33" y="1122"/>
                  </a:lnTo>
                  <a:lnTo>
                    <a:pt x="35" y="1122"/>
                  </a:lnTo>
                  <a:lnTo>
                    <a:pt x="38" y="1122"/>
                  </a:lnTo>
                  <a:lnTo>
                    <a:pt x="35" y="1122"/>
                  </a:lnTo>
                  <a:lnTo>
                    <a:pt x="38" y="1122"/>
                  </a:lnTo>
                  <a:lnTo>
                    <a:pt x="38" y="1119"/>
                  </a:lnTo>
                  <a:lnTo>
                    <a:pt x="38" y="1122"/>
                  </a:lnTo>
                  <a:lnTo>
                    <a:pt x="40" y="1122"/>
                  </a:lnTo>
                  <a:lnTo>
                    <a:pt x="42" y="1122"/>
                  </a:lnTo>
                  <a:lnTo>
                    <a:pt x="40" y="1122"/>
                  </a:lnTo>
                  <a:lnTo>
                    <a:pt x="40" y="1119"/>
                  </a:lnTo>
                  <a:lnTo>
                    <a:pt x="38" y="1119"/>
                  </a:lnTo>
                  <a:lnTo>
                    <a:pt x="35" y="1119"/>
                  </a:lnTo>
                  <a:lnTo>
                    <a:pt x="35" y="1122"/>
                  </a:lnTo>
                  <a:lnTo>
                    <a:pt x="33" y="1122"/>
                  </a:lnTo>
                  <a:lnTo>
                    <a:pt x="31" y="1122"/>
                  </a:lnTo>
                  <a:lnTo>
                    <a:pt x="28" y="1122"/>
                  </a:lnTo>
                  <a:lnTo>
                    <a:pt x="31" y="1122"/>
                  </a:lnTo>
                  <a:lnTo>
                    <a:pt x="28" y="1122"/>
                  </a:lnTo>
                  <a:lnTo>
                    <a:pt x="31" y="1122"/>
                  </a:lnTo>
                  <a:lnTo>
                    <a:pt x="31" y="1119"/>
                  </a:lnTo>
                  <a:lnTo>
                    <a:pt x="28" y="1119"/>
                  </a:lnTo>
                  <a:lnTo>
                    <a:pt x="28" y="1122"/>
                  </a:lnTo>
                  <a:lnTo>
                    <a:pt x="26" y="1122"/>
                  </a:lnTo>
                  <a:lnTo>
                    <a:pt x="23" y="1122"/>
                  </a:lnTo>
                  <a:lnTo>
                    <a:pt x="23" y="1119"/>
                  </a:lnTo>
                  <a:lnTo>
                    <a:pt x="21" y="1119"/>
                  </a:lnTo>
                  <a:lnTo>
                    <a:pt x="19" y="1119"/>
                  </a:lnTo>
                  <a:lnTo>
                    <a:pt x="19" y="1117"/>
                  </a:lnTo>
                  <a:lnTo>
                    <a:pt x="19" y="1119"/>
                  </a:lnTo>
                  <a:lnTo>
                    <a:pt x="19" y="1117"/>
                  </a:lnTo>
                  <a:lnTo>
                    <a:pt x="21" y="1117"/>
                  </a:lnTo>
                  <a:lnTo>
                    <a:pt x="23" y="1117"/>
                  </a:lnTo>
                  <a:lnTo>
                    <a:pt x="26" y="1117"/>
                  </a:lnTo>
                  <a:lnTo>
                    <a:pt x="23" y="1117"/>
                  </a:lnTo>
                  <a:lnTo>
                    <a:pt x="21" y="1117"/>
                  </a:lnTo>
                  <a:lnTo>
                    <a:pt x="23" y="1117"/>
                  </a:lnTo>
                  <a:lnTo>
                    <a:pt x="21" y="1117"/>
                  </a:lnTo>
                  <a:lnTo>
                    <a:pt x="21" y="1115"/>
                  </a:lnTo>
                  <a:lnTo>
                    <a:pt x="19" y="1115"/>
                  </a:lnTo>
                  <a:lnTo>
                    <a:pt x="21" y="1115"/>
                  </a:lnTo>
                  <a:lnTo>
                    <a:pt x="19" y="1115"/>
                  </a:lnTo>
                  <a:lnTo>
                    <a:pt x="21" y="1115"/>
                  </a:lnTo>
                  <a:lnTo>
                    <a:pt x="23" y="1115"/>
                  </a:lnTo>
                  <a:lnTo>
                    <a:pt x="26" y="1115"/>
                  </a:lnTo>
                  <a:lnTo>
                    <a:pt x="26" y="1117"/>
                  </a:lnTo>
                  <a:lnTo>
                    <a:pt x="28" y="1117"/>
                  </a:lnTo>
                  <a:lnTo>
                    <a:pt x="28" y="1115"/>
                  </a:lnTo>
                  <a:lnTo>
                    <a:pt x="26" y="1115"/>
                  </a:lnTo>
                  <a:lnTo>
                    <a:pt x="23" y="1115"/>
                  </a:lnTo>
                  <a:lnTo>
                    <a:pt x="21" y="1115"/>
                  </a:lnTo>
                  <a:lnTo>
                    <a:pt x="19" y="1115"/>
                  </a:lnTo>
                  <a:lnTo>
                    <a:pt x="16" y="1115"/>
                  </a:lnTo>
                  <a:lnTo>
                    <a:pt x="14" y="1115"/>
                  </a:lnTo>
                  <a:lnTo>
                    <a:pt x="16" y="1115"/>
                  </a:lnTo>
                  <a:lnTo>
                    <a:pt x="14" y="1115"/>
                  </a:lnTo>
                  <a:lnTo>
                    <a:pt x="14" y="1117"/>
                  </a:lnTo>
                  <a:lnTo>
                    <a:pt x="14" y="1115"/>
                  </a:lnTo>
                  <a:lnTo>
                    <a:pt x="16" y="1115"/>
                  </a:lnTo>
                  <a:lnTo>
                    <a:pt x="19" y="1115"/>
                  </a:lnTo>
                  <a:lnTo>
                    <a:pt x="21" y="1115"/>
                  </a:lnTo>
                  <a:lnTo>
                    <a:pt x="23" y="1115"/>
                  </a:lnTo>
                  <a:lnTo>
                    <a:pt x="23" y="1112"/>
                  </a:lnTo>
                  <a:lnTo>
                    <a:pt x="26" y="1112"/>
                  </a:lnTo>
                  <a:lnTo>
                    <a:pt x="28" y="1112"/>
                  </a:lnTo>
                  <a:lnTo>
                    <a:pt x="26" y="1112"/>
                  </a:lnTo>
                  <a:lnTo>
                    <a:pt x="23" y="1112"/>
                  </a:lnTo>
                  <a:lnTo>
                    <a:pt x="26" y="1112"/>
                  </a:lnTo>
                  <a:lnTo>
                    <a:pt x="23" y="1112"/>
                  </a:lnTo>
                  <a:lnTo>
                    <a:pt x="21" y="1112"/>
                  </a:lnTo>
                  <a:lnTo>
                    <a:pt x="21" y="1115"/>
                  </a:lnTo>
                  <a:lnTo>
                    <a:pt x="21" y="1112"/>
                  </a:lnTo>
                  <a:lnTo>
                    <a:pt x="19" y="1112"/>
                  </a:lnTo>
                  <a:lnTo>
                    <a:pt x="16" y="1112"/>
                  </a:lnTo>
                  <a:lnTo>
                    <a:pt x="14" y="1112"/>
                  </a:lnTo>
                  <a:lnTo>
                    <a:pt x="14" y="1110"/>
                  </a:lnTo>
                  <a:lnTo>
                    <a:pt x="12" y="1110"/>
                  </a:lnTo>
                  <a:lnTo>
                    <a:pt x="14" y="1110"/>
                  </a:lnTo>
                  <a:lnTo>
                    <a:pt x="12" y="1110"/>
                  </a:lnTo>
                  <a:lnTo>
                    <a:pt x="12" y="1107"/>
                  </a:lnTo>
                  <a:lnTo>
                    <a:pt x="14" y="1107"/>
                  </a:lnTo>
                  <a:lnTo>
                    <a:pt x="14" y="1105"/>
                  </a:lnTo>
                  <a:lnTo>
                    <a:pt x="16" y="1105"/>
                  </a:lnTo>
                  <a:lnTo>
                    <a:pt x="16" y="1107"/>
                  </a:lnTo>
                  <a:lnTo>
                    <a:pt x="16" y="1110"/>
                  </a:lnTo>
                  <a:lnTo>
                    <a:pt x="19" y="1110"/>
                  </a:lnTo>
                  <a:lnTo>
                    <a:pt x="19" y="1107"/>
                  </a:lnTo>
                  <a:lnTo>
                    <a:pt x="19" y="1110"/>
                  </a:lnTo>
                  <a:lnTo>
                    <a:pt x="19" y="1107"/>
                  </a:lnTo>
                  <a:lnTo>
                    <a:pt x="21" y="1107"/>
                  </a:lnTo>
                  <a:lnTo>
                    <a:pt x="19" y="1107"/>
                  </a:lnTo>
                  <a:lnTo>
                    <a:pt x="19" y="1105"/>
                  </a:lnTo>
                  <a:lnTo>
                    <a:pt x="21" y="1105"/>
                  </a:lnTo>
                  <a:lnTo>
                    <a:pt x="23" y="1105"/>
                  </a:lnTo>
                  <a:lnTo>
                    <a:pt x="21" y="1105"/>
                  </a:lnTo>
                  <a:lnTo>
                    <a:pt x="19" y="1105"/>
                  </a:lnTo>
                  <a:lnTo>
                    <a:pt x="16" y="1105"/>
                  </a:lnTo>
                  <a:lnTo>
                    <a:pt x="19" y="1105"/>
                  </a:lnTo>
                  <a:lnTo>
                    <a:pt x="19" y="1103"/>
                  </a:lnTo>
                  <a:lnTo>
                    <a:pt x="21" y="1103"/>
                  </a:lnTo>
                  <a:lnTo>
                    <a:pt x="23" y="1103"/>
                  </a:lnTo>
                  <a:lnTo>
                    <a:pt x="23" y="1100"/>
                  </a:lnTo>
                  <a:lnTo>
                    <a:pt x="26" y="1100"/>
                  </a:lnTo>
                  <a:lnTo>
                    <a:pt x="23" y="1100"/>
                  </a:lnTo>
                  <a:lnTo>
                    <a:pt x="26" y="1100"/>
                  </a:lnTo>
                  <a:lnTo>
                    <a:pt x="23" y="1100"/>
                  </a:lnTo>
                  <a:lnTo>
                    <a:pt x="21" y="1100"/>
                  </a:lnTo>
                  <a:lnTo>
                    <a:pt x="23" y="1098"/>
                  </a:lnTo>
                  <a:lnTo>
                    <a:pt x="26" y="1098"/>
                  </a:lnTo>
                  <a:lnTo>
                    <a:pt x="26" y="1100"/>
                  </a:lnTo>
                  <a:lnTo>
                    <a:pt x="23" y="1100"/>
                  </a:lnTo>
                  <a:lnTo>
                    <a:pt x="26" y="1100"/>
                  </a:lnTo>
                  <a:lnTo>
                    <a:pt x="26" y="1098"/>
                  </a:lnTo>
                  <a:lnTo>
                    <a:pt x="28" y="1098"/>
                  </a:lnTo>
                  <a:lnTo>
                    <a:pt x="31" y="1098"/>
                  </a:lnTo>
                  <a:lnTo>
                    <a:pt x="33" y="1098"/>
                  </a:lnTo>
                  <a:lnTo>
                    <a:pt x="35" y="1098"/>
                  </a:lnTo>
                  <a:lnTo>
                    <a:pt x="38" y="1100"/>
                  </a:lnTo>
                  <a:lnTo>
                    <a:pt x="40" y="1100"/>
                  </a:lnTo>
                  <a:lnTo>
                    <a:pt x="38" y="1100"/>
                  </a:lnTo>
                  <a:lnTo>
                    <a:pt x="38" y="1103"/>
                  </a:lnTo>
                  <a:lnTo>
                    <a:pt x="35" y="1103"/>
                  </a:lnTo>
                  <a:lnTo>
                    <a:pt x="38" y="1103"/>
                  </a:lnTo>
                  <a:lnTo>
                    <a:pt x="40" y="1103"/>
                  </a:lnTo>
                  <a:lnTo>
                    <a:pt x="42" y="1100"/>
                  </a:lnTo>
                  <a:lnTo>
                    <a:pt x="45" y="1100"/>
                  </a:lnTo>
                  <a:lnTo>
                    <a:pt x="47" y="1100"/>
                  </a:lnTo>
                  <a:lnTo>
                    <a:pt x="47" y="1103"/>
                  </a:lnTo>
                  <a:lnTo>
                    <a:pt x="45" y="1103"/>
                  </a:lnTo>
                  <a:lnTo>
                    <a:pt x="45" y="1105"/>
                  </a:lnTo>
                  <a:lnTo>
                    <a:pt x="45" y="1107"/>
                  </a:lnTo>
                  <a:lnTo>
                    <a:pt x="45" y="1105"/>
                  </a:lnTo>
                  <a:lnTo>
                    <a:pt x="47" y="1105"/>
                  </a:lnTo>
                  <a:lnTo>
                    <a:pt x="47" y="1103"/>
                  </a:lnTo>
                  <a:lnTo>
                    <a:pt x="47" y="1100"/>
                  </a:lnTo>
                  <a:lnTo>
                    <a:pt x="47" y="1103"/>
                  </a:lnTo>
                  <a:lnTo>
                    <a:pt x="50" y="1103"/>
                  </a:lnTo>
                  <a:lnTo>
                    <a:pt x="50" y="1105"/>
                  </a:lnTo>
                  <a:lnTo>
                    <a:pt x="52" y="1105"/>
                  </a:lnTo>
                  <a:lnTo>
                    <a:pt x="54" y="1105"/>
                  </a:lnTo>
                  <a:lnTo>
                    <a:pt x="52" y="1105"/>
                  </a:lnTo>
                  <a:lnTo>
                    <a:pt x="52" y="1103"/>
                  </a:lnTo>
                  <a:lnTo>
                    <a:pt x="50" y="1103"/>
                  </a:lnTo>
                  <a:lnTo>
                    <a:pt x="50" y="1100"/>
                  </a:lnTo>
                  <a:lnTo>
                    <a:pt x="50" y="1103"/>
                  </a:lnTo>
                  <a:lnTo>
                    <a:pt x="52" y="1103"/>
                  </a:lnTo>
                  <a:lnTo>
                    <a:pt x="54" y="1103"/>
                  </a:lnTo>
                  <a:lnTo>
                    <a:pt x="54" y="1100"/>
                  </a:lnTo>
                  <a:lnTo>
                    <a:pt x="57" y="1100"/>
                  </a:lnTo>
                  <a:lnTo>
                    <a:pt x="57" y="1103"/>
                  </a:lnTo>
                  <a:lnTo>
                    <a:pt x="59" y="1103"/>
                  </a:lnTo>
                  <a:lnTo>
                    <a:pt x="61" y="1103"/>
                  </a:lnTo>
                  <a:lnTo>
                    <a:pt x="64" y="1103"/>
                  </a:lnTo>
                  <a:lnTo>
                    <a:pt x="66" y="1103"/>
                  </a:lnTo>
                  <a:lnTo>
                    <a:pt x="66" y="1100"/>
                  </a:lnTo>
                  <a:lnTo>
                    <a:pt x="68" y="1100"/>
                  </a:lnTo>
                  <a:lnTo>
                    <a:pt x="71" y="1100"/>
                  </a:lnTo>
                  <a:lnTo>
                    <a:pt x="73" y="1100"/>
                  </a:lnTo>
                  <a:lnTo>
                    <a:pt x="73" y="1103"/>
                  </a:lnTo>
                  <a:lnTo>
                    <a:pt x="73" y="1100"/>
                  </a:lnTo>
                  <a:lnTo>
                    <a:pt x="76" y="1100"/>
                  </a:lnTo>
                  <a:lnTo>
                    <a:pt x="73" y="1100"/>
                  </a:lnTo>
                  <a:lnTo>
                    <a:pt x="71" y="1100"/>
                  </a:lnTo>
                  <a:lnTo>
                    <a:pt x="71" y="1098"/>
                  </a:lnTo>
                  <a:lnTo>
                    <a:pt x="68" y="1098"/>
                  </a:lnTo>
                  <a:lnTo>
                    <a:pt x="68" y="1100"/>
                  </a:lnTo>
                  <a:lnTo>
                    <a:pt x="68" y="1098"/>
                  </a:lnTo>
                  <a:lnTo>
                    <a:pt x="66" y="1100"/>
                  </a:lnTo>
                  <a:lnTo>
                    <a:pt x="64" y="1100"/>
                  </a:lnTo>
                  <a:lnTo>
                    <a:pt x="64" y="1103"/>
                  </a:lnTo>
                  <a:lnTo>
                    <a:pt x="61" y="1103"/>
                  </a:lnTo>
                  <a:lnTo>
                    <a:pt x="59" y="1103"/>
                  </a:lnTo>
                  <a:lnTo>
                    <a:pt x="59" y="1100"/>
                  </a:lnTo>
                  <a:lnTo>
                    <a:pt x="57" y="1100"/>
                  </a:lnTo>
                  <a:lnTo>
                    <a:pt x="54" y="1100"/>
                  </a:lnTo>
                  <a:lnTo>
                    <a:pt x="52" y="1100"/>
                  </a:lnTo>
                  <a:lnTo>
                    <a:pt x="50" y="1100"/>
                  </a:lnTo>
                  <a:lnTo>
                    <a:pt x="47" y="1100"/>
                  </a:lnTo>
                  <a:lnTo>
                    <a:pt x="45" y="1100"/>
                  </a:lnTo>
                  <a:lnTo>
                    <a:pt x="42" y="1100"/>
                  </a:lnTo>
                  <a:lnTo>
                    <a:pt x="40" y="1100"/>
                  </a:lnTo>
                  <a:lnTo>
                    <a:pt x="38" y="1100"/>
                  </a:lnTo>
                  <a:lnTo>
                    <a:pt x="38" y="1098"/>
                  </a:lnTo>
                  <a:lnTo>
                    <a:pt x="40" y="1098"/>
                  </a:lnTo>
                  <a:lnTo>
                    <a:pt x="42" y="1098"/>
                  </a:lnTo>
                  <a:lnTo>
                    <a:pt x="45" y="1098"/>
                  </a:lnTo>
                  <a:lnTo>
                    <a:pt x="47" y="1098"/>
                  </a:lnTo>
                  <a:lnTo>
                    <a:pt x="45" y="1098"/>
                  </a:lnTo>
                  <a:lnTo>
                    <a:pt x="42" y="1098"/>
                  </a:lnTo>
                  <a:lnTo>
                    <a:pt x="40" y="1098"/>
                  </a:lnTo>
                  <a:lnTo>
                    <a:pt x="38" y="1098"/>
                  </a:lnTo>
                  <a:lnTo>
                    <a:pt x="35" y="1098"/>
                  </a:lnTo>
                  <a:lnTo>
                    <a:pt x="33" y="1098"/>
                  </a:lnTo>
                  <a:lnTo>
                    <a:pt x="31" y="1098"/>
                  </a:lnTo>
                  <a:lnTo>
                    <a:pt x="31" y="1096"/>
                  </a:lnTo>
                  <a:lnTo>
                    <a:pt x="31" y="1098"/>
                  </a:lnTo>
                  <a:lnTo>
                    <a:pt x="28" y="1098"/>
                  </a:lnTo>
                  <a:lnTo>
                    <a:pt x="28" y="1096"/>
                  </a:lnTo>
                  <a:lnTo>
                    <a:pt x="26" y="1098"/>
                  </a:lnTo>
                  <a:lnTo>
                    <a:pt x="23" y="1098"/>
                  </a:lnTo>
                  <a:lnTo>
                    <a:pt x="21" y="1098"/>
                  </a:lnTo>
                  <a:lnTo>
                    <a:pt x="19" y="1098"/>
                  </a:lnTo>
                  <a:lnTo>
                    <a:pt x="19" y="1096"/>
                  </a:lnTo>
                  <a:lnTo>
                    <a:pt x="19" y="1093"/>
                  </a:lnTo>
                  <a:lnTo>
                    <a:pt x="21" y="1093"/>
                  </a:lnTo>
                  <a:lnTo>
                    <a:pt x="21" y="1096"/>
                  </a:lnTo>
                  <a:lnTo>
                    <a:pt x="21" y="1093"/>
                  </a:lnTo>
                  <a:lnTo>
                    <a:pt x="21" y="1096"/>
                  </a:lnTo>
                  <a:lnTo>
                    <a:pt x="21" y="1093"/>
                  </a:lnTo>
                  <a:lnTo>
                    <a:pt x="21" y="1096"/>
                  </a:lnTo>
                  <a:lnTo>
                    <a:pt x="23" y="1096"/>
                  </a:lnTo>
                  <a:lnTo>
                    <a:pt x="23" y="1093"/>
                  </a:lnTo>
                  <a:lnTo>
                    <a:pt x="21" y="1093"/>
                  </a:lnTo>
                  <a:lnTo>
                    <a:pt x="23" y="1093"/>
                  </a:lnTo>
                  <a:lnTo>
                    <a:pt x="26" y="1093"/>
                  </a:lnTo>
                  <a:lnTo>
                    <a:pt x="23" y="1093"/>
                  </a:lnTo>
                  <a:lnTo>
                    <a:pt x="26" y="1093"/>
                  </a:lnTo>
                  <a:lnTo>
                    <a:pt x="26" y="1091"/>
                  </a:lnTo>
                  <a:lnTo>
                    <a:pt x="26" y="1093"/>
                  </a:lnTo>
                  <a:lnTo>
                    <a:pt x="28" y="1093"/>
                  </a:lnTo>
                  <a:lnTo>
                    <a:pt x="28" y="1091"/>
                  </a:lnTo>
                  <a:lnTo>
                    <a:pt x="26" y="1091"/>
                  </a:lnTo>
                  <a:lnTo>
                    <a:pt x="23" y="1088"/>
                  </a:lnTo>
                  <a:lnTo>
                    <a:pt x="21" y="1088"/>
                  </a:lnTo>
                  <a:lnTo>
                    <a:pt x="19" y="1088"/>
                  </a:lnTo>
                  <a:lnTo>
                    <a:pt x="16" y="1088"/>
                  </a:lnTo>
                  <a:lnTo>
                    <a:pt x="19" y="1088"/>
                  </a:lnTo>
                  <a:lnTo>
                    <a:pt x="19" y="1086"/>
                  </a:lnTo>
                  <a:lnTo>
                    <a:pt x="16" y="1086"/>
                  </a:lnTo>
                  <a:lnTo>
                    <a:pt x="19" y="1086"/>
                  </a:lnTo>
                  <a:lnTo>
                    <a:pt x="16" y="1084"/>
                  </a:lnTo>
                  <a:lnTo>
                    <a:pt x="16" y="1086"/>
                  </a:lnTo>
                  <a:lnTo>
                    <a:pt x="16" y="1084"/>
                  </a:lnTo>
                  <a:lnTo>
                    <a:pt x="16" y="1081"/>
                  </a:lnTo>
                  <a:lnTo>
                    <a:pt x="19" y="1081"/>
                  </a:lnTo>
                  <a:lnTo>
                    <a:pt x="19" y="1084"/>
                  </a:lnTo>
                  <a:lnTo>
                    <a:pt x="19" y="1081"/>
                  </a:lnTo>
                  <a:lnTo>
                    <a:pt x="21" y="1084"/>
                  </a:lnTo>
                  <a:lnTo>
                    <a:pt x="21" y="1081"/>
                  </a:lnTo>
                  <a:lnTo>
                    <a:pt x="19" y="1081"/>
                  </a:lnTo>
                  <a:lnTo>
                    <a:pt x="21" y="1081"/>
                  </a:lnTo>
                  <a:lnTo>
                    <a:pt x="21" y="1084"/>
                  </a:lnTo>
                  <a:lnTo>
                    <a:pt x="23" y="1084"/>
                  </a:lnTo>
                  <a:lnTo>
                    <a:pt x="23" y="1086"/>
                  </a:lnTo>
                  <a:lnTo>
                    <a:pt x="26" y="1086"/>
                  </a:lnTo>
                  <a:lnTo>
                    <a:pt x="26" y="1088"/>
                  </a:lnTo>
                  <a:lnTo>
                    <a:pt x="28" y="1088"/>
                  </a:lnTo>
                  <a:lnTo>
                    <a:pt x="28" y="1091"/>
                  </a:lnTo>
                  <a:lnTo>
                    <a:pt x="31" y="1091"/>
                  </a:lnTo>
                  <a:lnTo>
                    <a:pt x="28" y="1091"/>
                  </a:lnTo>
                  <a:lnTo>
                    <a:pt x="31" y="1091"/>
                  </a:lnTo>
                  <a:lnTo>
                    <a:pt x="31" y="1093"/>
                  </a:lnTo>
                  <a:lnTo>
                    <a:pt x="28" y="1093"/>
                  </a:lnTo>
                  <a:lnTo>
                    <a:pt x="31" y="1093"/>
                  </a:lnTo>
                  <a:lnTo>
                    <a:pt x="31" y="1091"/>
                  </a:lnTo>
                  <a:lnTo>
                    <a:pt x="31" y="1088"/>
                  </a:lnTo>
                  <a:lnTo>
                    <a:pt x="33" y="1088"/>
                  </a:lnTo>
                  <a:lnTo>
                    <a:pt x="33" y="1091"/>
                  </a:lnTo>
                  <a:lnTo>
                    <a:pt x="35" y="1091"/>
                  </a:lnTo>
                  <a:lnTo>
                    <a:pt x="33" y="1091"/>
                  </a:lnTo>
                  <a:lnTo>
                    <a:pt x="35" y="1088"/>
                  </a:lnTo>
                  <a:lnTo>
                    <a:pt x="33" y="1088"/>
                  </a:lnTo>
                  <a:lnTo>
                    <a:pt x="31" y="1088"/>
                  </a:lnTo>
                  <a:lnTo>
                    <a:pt x="33" y="1088"/>
                  </a:lnTo>
                  <a:lnTo>
                    <a:pt x="31" y="1088"/>
                  </a:lnTo>
                  <a:lnTo>
                    <a:pt x="28" y="1088"/>
                  </a:lnTo>
                  <a:lnTo>
                    <a:pt x="28" y="1086"/>
                  </a:lnTo>
                  <a:lnTo>
                    <a:pt x="26" y="1086"/>
                  </a:lnTo>
                  <a:lnTo>
                    <a:pt x="28" y="1086"/>
                  </a:lnTo>
                  <a:lnTo>
                    <a:pt x="28" y="1084"/>
                  </a:lnTo>
                  <a:lnTo>
                    <a:pt x="31" y="1084"/>
                  </a:lnTo>
                  <a:lnTo>
                    <a:pt x="31" y="1081"/>
                  </a:lnTo>
                  <a:lnTo>
                    <a:pt x="31" y="1084"/>
                  </a:lnTo>
                  <a:lnTo>
                    <a:pt x="33" y="1084"/>
                  </a:lnTo>
                  <a:lnTo>
                    <a:pt x="35" y="1084"/>
                  </a:lnTo>
                  <a:lnTo>
                    <a:pt x="35" y="1086"/>
                  </a:lnTo>
                  <a:lnTo>
                    <a:pt x="38" y="1088"/>
                  </a:lnTo>
                  <a:lnTo>
                    <a:pt x="38" y="1086"/>
                  </a:lnTo>
                  <a:lnTo>
                    <a:pt x="35" y="1084"/>
                  </a:lnTo>
                  <a:lnTo>
                    <a:pt x="38" y="1084"/>
                  </a:lnTo>
                  <a:lnTo>
                    <a:pt x="40" y="1084"/>
                  </a:lnTo>
                  <a:lnTo>
                    <a:pt x="40" y="1081"/>
                  </a:lnTo>
                  <a:lnTo>
                    <a:pt x="42" y="1081"/>
                  </a:lnTo>
                  <a:lnTo>
                    <a:pt x="45" y="1084"/>
                  </a:lnTo>
                  <a:lnTo>
                    <a:pt x="45" y="1086"/>
                  </a:lnTo>
                  <a:lnTo>
                    <a:pt x="45" y="1088"/>
                  </a:lnTo>
                  <a:lnTo>
                    <a:pt x="42" y="1088"/>
                  </a:lnTo>
                  <a:lnTo>
                    <a:pt x="42" y="1091"/>
                  </a:lnTo>
                  <a:lnTo>
                    <a:pt x="42" y="1093"/>
                  </a:lnTo>
                  <a:lnTo>
                    <a:pt x="42" y="1091"/>
                  </a:lnTo>
                  <a:lnTo>
                    <a:pt x="45" y="1091"/>
                  </a:lnTo>
                  <a:lnTo>
                    <a:pt x="45" y="1088"/>
                  </a:lnTo>
                  <a:lnTo>
                    <a:pt x="45" y="1086"/>
                  </a:lnTo>
                  <a:lnTo>
                    <a:pt x="47" y="1086"/>
                  </a:lnTo>
                  <a:lnTo>
                    <a:pt x="50" y="1088"/>
                  </a:lnTo>
                  <a:lnTo>
                    <a:pt x="50" y="1091"/>
                  </a:lnTo>
                  <a:lnTo>
                    <a:pt x="50" y="1088"/>
                  </a:lnTo>
                  <a:lnTo>
                    <a:pt x="52" y="1088"/>
                  </a:lnTo>
                  <a:lnTo>
                    <a:pt x="54" y="1088"/>
                  </a:lnTo>
                  <a:lnTo>
                    <a:pt x="57" y="1088"/>
                  </a:lnTo>
                  <a:lnTo>
                    <a:pt x="57" y="1091"/>
                  </a:lnTo>
                  <a:lnTo>
                    <a:pt x="57" y="1088"/>
                  </a:lnTo>
                  <a:lnTo>
                    <a:pt x="54" y="1088"/>
                  </a:lnTo>
                  <a:lnTo>
                    <a:pt x="52" y="1088"/>
                  </a:lnTo>
                  <a:lnTo>
                    <a:pt x="52" y="1086"/>
                  </a:lnTo>
                  <a:lnTo>
                    <a:pt x="50" y="1086"/>
                  </a:lnTo>
                  <a:lnTo>
                    <a:pt x="47" y="1084"/>
                  </a:lnTo>
                  <a:lnTo>
                    <a:pt x="45" y="1081"/>
                  </a:lnTo>
                  <a:lnTo>
                    <a:pt x="47" y="1081"/>
                  </a:lnTo>
                  <a:lnTo>
                    <a:pt x="50" y="1081"/>
                  </a:lnTo>
                  <a:lnTo>
                    <a:pt x="50" y="1084"/>
                  </a:lnTo>
                  <a:lnTo>
                    <a:pt x="52" y="1081"/>
                  </a:lnTo>
                  <a:lnTo>
                    <a:pt x="50" y="1081"/>
                  </a:lnTo>
                  <a:lnTo>
                    <a:pt x="47" y="1081"/>
                  </a:lnTo>
                  <a:lnTo>
                    <a:pt x="47" y="1079"/>
                  </a:lnTo>
                  <a:lnTo>
                    <a:pt x="45" y="1079"/>
                  </a:lnTo>
                  <a:lnTo>
                    <a:pt x="47" y="1079"/>
                  </a:lnTo>
                  <a:lnTo>
                    <a:pt x="50" y="1077"/>
                  </a:lnTo>
                  <a:lnTo>
                    <a:pt x="52" y="1077"/>
                  </a:lnTo>
                  <a:lnTo>
                    <a:pt x="52" y="1074"/>
                  </a:lnTo>
                  <a:lnTo>
                    <a:pt x="54" y="1074"/>
                  </a:lnTo>
                  <a:lnTo>
                    <a:pt x="57" y="1074"/>
                  </a:lnTo>
                  <a:lnTo>
                    <a:pt x="57" y="1072"/>
                  </a:lnTo>
                  <a:lnTo>
                    <a:pt x="59" y="1072"/>
                  </a:lnTo>
                  <a:lnTo>
                    <a:pt x="59" y="1074"/>
                  </a:lnTo>
                  <a:lnTo>
                    <a:pt x="59" y="1077"/>
                  </a:lnTo>
                  <a:lnTo>
                    <a:pt x="61" y="1077"/>
                  </a:lnTo>
                  <a:lnTo>
                    <a:pt x="61" y="1079"/>
                  </a:lnTo>
                  <a:lnTo>
                    <a:pt x="61" y="1081"/>
                  </a:lnTo>
                  <a:lnTo>
                    <a:pt x="64" y="1081"/>
                  </a:lnTo>
                  <a:lnTo>
                    <a:pt x="61" y="1081"/>
                  </a:lnTo>
                  <a:lnTo>
                    <a:pt x="64" y="1081"/>
                  </a:lnTo>
                  <a:lnTo>
                    <a:pt x="64" y="1084"/>
                  </a:lnTo>
                  <a:lnTo>
                    <a:pt x="66" y="1084"/>
                  </a:lnTo>
                  <a:lnTo>
                    <a:pt x="66" y="1086"/>
                  </a:lnTo>
                  <a:lnTo>
                    <a:pt x="64" y="1086"/>
                  </a:lnTo>
                  <a:lnTo>
                    <a:pt x="64" y="1088"/>
                  </a:lnTo>
                  <a:lnTo>
                    <a:pt x="66" y="1086"/>
                  </a:lnTo>
                  <a:lnTo>
                    <a:pt x="66" y="1084"/>
                  </a:lnTo>
                  <a:lnTo>
                    <a:pt x="66" y="1081"/>
                  </a:lnTo>
                  <a:lnTo>
                    <a:pt x="68" y="1081"/>
                  </a:lnTo>
                  <a:lnTo>
                    <a:pt x="68" y="1084"/>
                  </a:lnTo>
                  <a:lnTo>
                    <a:pt x="68" y="1081"/>
                  </a:lnTo>
                  <a:lnTo>
                    <a:pt x="66" y="1081"/>
                  </a:lnTo>
                  <a:lnTo>
                    <a:pt x="64" y="1081"/>
                  </a:lnTo>
                  <a:lnTo>
                    <a:pt x="64" y="1079"/>
                  </a:lnTo>
                  <a:lnTo>
                    <a:pt x="61" y="1079"/>
                  </a:lnTo>
                  <a:lnTo>
                    <a:pt x="61" y="1077"/>
                  </a:lnTo>
                  <a:lnTo>
                    <a:pt x="61" y="1074"/>
                  </a:lnTo>
                  <a:lnTo>
                    <a:pt x="59" y="1074"/>
                  </a:lnTo>
                  <a:lnTo>
                    <a:pt x="61" y="1072"/>
                  </a:lnTo>
                  <a:lnTo>
                    <a:pt x="64" y="1072"/>
                  </a:lnTo>
                  <a:lnTo>
                    <a:pt x="66" y="1072"/>
                  </a:lnTo>
                  <a:lnTo>
                    <a:pt x="66" y="1074"/>
                  </a:lnTo>
                  <a:lnTo>
                    <a:pt x="66" y="1072"/>
                  </a:lnTo>
                  <a:lnTo>
                    <a:pt x="64" y="1072"/>
                  </a:lnTo>
                  <a:lnTo>
                    <a:pt x="66" y="1069"/>
                  </a:lnTo>
                  <a:lnTo>
                    <a:pt x="68" y="1069"/>
                  </a:lnTo>
                  <a:lnTo>
                    <a:pt x="71" y="1069"/>
                  </a:lnTo>
                  <a:lnTo>
                    <a:pt x="73" y="1069"/>
                  </a:lnTo>
                  <a:lnTo>
                    <a:pt x="76" y="1069"/>
                  </a:lnTo>
                  <a:lnTo>
                    <a:pt x="78" y="1072"/>
                  </a:lnTo>
                  <a:lnTo>
                    <a:pt x="76" y="1072"/>
                  </a:lnTo>
                  <a:lnTo>
                    <a:pt x="76" y="1074"/>
                  </a:lnTo>
                  <a:lnTo>
                    <a:pt x="78" y="1074"/>
                  </a:lnTo>
                  <a:lnTo>
                    <a:pt x="78" y="1077"/>
                  </a:lnTo>
                  <a:lnTo>
                    <a:pt x="80" y="1077"/>
                  </a:lnTo>
                  <a:lnTo>
                    <a:pt x="80" y="1079"/>
                  </a:lnTo>
                  <a:lnTo>
                    <a:pt x="80" y="1081"/>
                  </a:lnTo>
                  <a:lnTo>
                    <a:pt x="80" y="1084"/>
                  </a:lnTo>
                  <a:lnTo>
                    <a:pt x="78" y="1084"/>
                  </a:lnTo>
                  <a:lnTo>
                    <a:pt x="78" y="1086"/>
                  </a:lnTo>
                  <a:lnTo>
                    <a:pt x="76" y="1088"/>
                  </a:lnTo>
                  <a:lnTo>
                    <a:pt x="78" y="1088"/>
                  </a:lnTo>
                  <a:lnTo>
                    <a:pt x="80" y="1088"/>
                  </a:lnTo>
                  <a:lnTo>
                    <a:pt x="83" y="1088"/>
                  </a:lnTo>
                  <a:lnTo>
                    <a:pt x="83" y="1086"/>
                  </a:lnTo>
                  <a:lnTo>
                    <a:pt x="85" y="1086"/>
                  </a:lnTo>
                  <a:lnTo>
                    <a:pt x="85" y="1088"/>
                  </a:lnTo>
                  <a:lnTo>
                    <a:pt x="87" y="1088"/>
                  </a:lnTo>
                  <a:lnTo>
                    <a:pt x="85" y="1086"/>
                  </a:lnTo>
                  <a:lnTo>
                    <a:pt x="83" y="1086"/>
                  </a:lnTo>
                  <a:lnTo>
                    <a:pt x="83" y="1088"/>
                  </a:lnTo>
                  <a:lnTo>
                    <a:pt x="80" y="1088"/>
                  </a:lnTo>
                  <a:lnTo>
                    <a:pt x="80" y="1086"/>
                  </a:lnTo>
                  <a:lnTo>
                    <a:pt x="78" y="1086"/>
                  </a:lnTo>
                  <a:lnTo>
                    <a:pt x="80" y="1086"/>
                  </a:lnTo>
                  <a:lnTo>
                    <a:pt x="80" y="1084"/>
                  </a:lnTo>
                  <a:lnTo>
                    <a:pt x="80" y="1081"/>
                  </a:lnTo>
                  <a:lnTo>
                    <a:pt x="80" y="1079"/>
                  </a:lnTo>
                  <a:lnTo>
                    <a:pt x="83" y="1079"/>
                  </a:lnTo>
                  <a:lnTo>
                    <a:pt x="85" y="1079"/>
                  </a:lnTo>
                  <a:lnTo>
                    <a:pt x="87" y="1079"/>
                  </a:lnTo>
                  <a:lnTo>
                    <a:pt x="87" y="1077"/>
                  </a:lnTo>
                  <a:lnTo>
                    <a:pt x="90" y="1077"/>
                  </a:lnTo>
                  <a:lnTo>
                    <a:pt x="90" y="1079"/>
                  </a:lnTo>
                  <a:lnTo>
                    <a:pt x="90" y="1077"/>
                  </a:lnTo>
                  <a:lnTo>
                    <a:pt x="90" y="1079"/>
                  </a:lnTo>
                  <a:lnTo>
                    <a:pt x="92" y="1079"/>
                  </a:lnTo>
                  <a:lnTo>
                    <a:pt x="92" y="1081"/>
                  </a:lnTo>
                  <a:lnTo>
                    <a:pt x="95" y="1081"/>
                  </a:lnTo>
                  <a:lnTo>
                    <a:pt x="95" y="1079"/>
                  </a:lnTo>
                  <a:lnTo>
                    <a:pt x="92" y="1079"/>
                  </a:lnTo>
                  <a:lnTo>
                    <a:pt x="95" y="1079"/>
                  </a:lnTo>
                  <a:lnTo>
                    <a:pt x="92" y="1079"/>
                  </a:lnTo>
                  <a:lnTo>
                    <a:pt x="92" y="1077"/>
                  </a:lnTo>
                  <a:lnTo>
                    <a:pt x="90" y="1077"/>
                  </a:lnTo>
                  <a:lnTo>
                    <a:pt x="87" y="1077"/>
                  </a:lnTo>
                  <a:lnTo>
                    <a:pt x="85" y="1077"/>
                  </a:lnTo>
                  <a:lnTo>
                    <a:pt x="83" y="1077"/>
                  </a:lnTo>
                  <a:lnTo>
                    <a:pt x="80" y="1077"/>
                  </a:lnTo>
                  <a:lnTo>
                    <a:pt x="78" y="1077"/>
                  </a:lnTo>
                  <a:lnTo>
                    <a:pt x="78" y="1074"/>
                  </a:lnTo>
                  <a:lnTo>
                    <a:pt x="78" y="1072"/>
                  </a:lnTo>
                  <a:lnTo>
                    <a:pt x="80" y="1072"/>
                  </a:lnTo>
                  <a:lnTo>
                    <a:pt x="78" y="1072"/>
                  </a:lnTo>
                  <a:lnTo>
                    <a:pt x="78" y="1069"/>
                  </a:lnTo>
                  <a:lnTo>
                    <a:pt x="76" y="1069"/>
                  </a:lnTo>
                  <a:lnTo>
                    <a:pt x="76" y="1067"/>
                  </a:lnTo>
                  <a:lnTo>
                    <a:pt x="73" y="1067"/>
                  </a:lnTo>
                  <a:lnTo>
                    <a:pt x="71" y="1067"/>
                  </a:lnTo>
                  <a:lnTo>
                    <a:pt x="68" y="1067"/>
                  </a:lnTo>
                  <a:lnTo>
                    <a:pt x="66" y="1067"/>
                  </a:lnTo>
                  <a:lnTo>
                    <a:pt x="68" y="1067"/>
                  </a:lnTo>
                  <a:lnTo>
                    <a:pt x="66" y="1067"/>
                  </a:lnTo>
                  <a:lnTo>
                    <a:pt x="66" y="1069"/>
                  </a:lnTo>
                  <a:lnTo>
                    <a:pt x="64" y="1069"/>
                  </a:lnTo>
                  <a:lnTo>
                    <a:pt x="61" y="1069"/>
                  </a:lnTo>
                  <a:lnTo>
                    <a:pt x="59" y="1069"/>
                  </a:lnTo>
                  <a:lnTo>
                    <a:pt x="57" y="1069"/>
                  </a:lnTo>
                  <a:lnTo>
                    <a:pt x="57" y="1072"/>
                  </a:lnTo>
                  <a:lnTo>
                    <a:pt x="54" y="1072"/>
                  </a:lnTo>
                  <a:lnTo>
                    <a:pt x="52" y="1072"/>
                  </a:lnTo>
                  <a:lnTo>
                    <a:pt x="50" y="1072"/>
                  </a:lnTo>
                  <a:lnTo>
                    <a:pt x="50" y="1069"/>
                  </a:lnTo>
                  <a:lnTo>
                    <a:pt x="52" y="1069"/>
                  </a:lnTo>
                  <a:lnTo>
                    <a:pt x="54" y="1069"/>
                  </a:lnTo>
                  <a:lnTo>
                    <a:pt x="57" y="1069"/>
                  </a:lnTo>
                  <a:lnTo>
                    <a:pt x="59" y="1069"/>
                  </a:lnTo>
                  <a:lnTo>
                    <a:pt x="59" y="1067"/>
                  </a:lnTo>
                  <a:lnTo>
                    <a:pt x="57" y="1067"/>
                  </a:lnTo>
                  <a:lnTo>
                    <a:pt x="54" y="1069"/>
                  </a:lnTo>
                  <a:lnTo>
                    <a:pt x="54" y="1067"/>
                  </a:lnTo>
                  <a:lnTo>
                    <a:pt x="52" y="1067"/>
                  </a:lnTo>
                  <a:lnTo>
                    <a:pt x="50" y="1067"/>
                  </a:lnTo>
                  <a:lnTo>
                    <a:pt x="52" y="1067"/>
                  </a:lnTo>
                  <a:lnTo>
                    <a:pt x="50" y="1067"/>
                  </a:lnTo>
                  <a:lnTo>
                    <a:pt x="52" y="1067"/>
                  </a:lnTo>
                  <a:lnTo>
                    <a:pt x="50" y="1069"/>
                  </a:lnTo>
                  <a:lnTo>
                    <a:pt x="50" y="1067"/>
                  </a:lnTo>
                  <a:lnTo>
                    <a:pt x="52" y="1067"/>
                  </a:lnTo>
                  <a:lnTo>
                    <a:pt x="54" y="1067"/>
                  </a:lnTo>
                  <a:lnTo>
                    <a:pt x="57" y="1067"/>
                  </a:lnTo>
                  <a:lnTo>
                    <a:pt x="59" y="1067"/>
                  </a:lnTo>
                  <a:lnTo>
                    <a:pt x="61" y="1067"/>
                  </a:lnTo>
                  <a:lnTo>
                    <a:pt x="61" y="1065"/>
                  </a:lnTo>
                  <a:lnTo>
                    <a:pt x="64" y="1065"/>
                  </a:lnTo>
                  <a:lnTo>
                    <a:pt x="64" y="1067"/>
                  </a:lnTo>
                  <a:lnTo>
                    <a:pt x="64" y="1065"/>
                  </a:lnTo>
                  <a:lnTo>
                    <a:pt x="64" y="1067"/>
                  </a:lnTo>
                  <a:lnTo>
                    <a:pt x="66" y="1067"/>
                  </a:lnTo>
                  <a:lnTo>
                    <a:pt x="66" y="1065"/>
                  </a:lnTo>
                  <a:lnTo>
                    <a:pt x="66" y="1067"/>
                  </a:lnTo>
                  <a:lnTo>
                    <a:pt x="66" y="1065"/>
                  </a:lnTo>
                  <a:lnTo>
                    <a:pt x="68" y="1065"/>
                  </a:lnTo>
                  <a:lnTo>
                    <a:pt x="66" y="1065"/>
                  </a:lnTo>
                  <a:lnTo>
                    <a:pt x="64" y="1065"/>
                  </a:lnTo>
                  <a:lnTo>
                    <a:pt x="61" y="1065"/>
                  </a:lnTo>
                  <a:lnTo>
                    <a:pt x="64" y="1065"/>
                  </a:lnTo>
                  <a:lnTo>
                    <a:pt x="66" y="1065"/>
                  </a:lnTo>
                  <a:lnTo>
                    <a:pt x="64" y="1065"/>
                  </a:lnTo>
                  <a:lnTo>
                    <a:pt x="61" y="1065"/>
                  </a:lnTo>
                  <a:lnTo>
                    <a:pt x="59" y="1065"/>
                  </a:lnTo>
                  <a:lnTo>
                    <a:pt x="57" y="1065"/>
                  </a:lnTo>
                  <a:lnTo>
                    <a:pt x="54" y="1065"/>
                  </a:lnTo>
                  <a:lnTo>
                    <a:pt x="57" y="1065"/>
                  </a:lnTo>
                  <a:lnTo>
                    <a:pt x="57" y="1062"/>
                  </a:lnTo>
                  <a:lnTo>
                    <a:pt x="54" y="1062"/>
                  </a:lnTo>
                  <a:lnTo>
                    <a:pt x="57" y="1060"/>
                  </a:lnTo>
                  <a:lnTo>
                    <a:pt x="59" y="1060"/>
                  </a:lnTo>
                  <a:lnTo>
                    <a:pt x="61" y="1060"/>
                  </a:lnTo>
                  <a:lnTo>
                    <a:pt x="61" y="1062"/>
                  </a:lnTo>
                  <a:lnTo>
                    <a:pt x="61" y="1060"/>
                  </a:lnTo>
                  <a:lnTo>
                    <a:pt x="64" y="1060"/>
                  </a:lnTo>
                  <a:lnTo>
                    <a:pt x="66" y="1060"/>
                  </a:lnTo>
                  <a:lnTo>
                    <a:pt x="66" y="1062"/>
                  </a:lnTo>
                  <a:lnTo>
                    <a:pt x="68" y="1062"/>
                  </a:lnTo>
                  <a:lnTo>
                    <a:pt x="66" y="1062"/>
                  </a:lnTo>
                  <a:lnTo>
                    <a:pt x="68" y="1062"/>
                  </a:lnTo>
                  <a:lnTo>
                    <a:pt x="68" y="1060"/>
                  </a:lnTo>
                  <a:lnTo>
                    <a:pt x="66" y="1060"/>
                  </a:lnTo>
                  <a:lnTo>
                    <a:pt x="68" y="1060"/>
                  </a:lnTo>
                  <a:lnTo>
                    <a:pt x="68" y="1058"/>
                  </a:lnTo>
                  <a:lnTo>
                    <a:pt x="68" y="1060"/>
                  </a:lnTo>
                  <a:lnTo>
                    <a:pt x="68" y="1058"/>
                  </a:lnTo>
                  <a:lnTo>
                    <a:pt x="71" y="1058"/>
                  </a:lnTo>
                  <a:lnTo>
                    <a:pt x="73" y="1058"/>
                  </a:lnTo>
                  <a:lnTo>
                    <a:pt x="76" y="1060"/>
                  </a:lnTo>
                  <a:lnTo>
                    <a:pt x="78" y="1060"/>
                  </a:lnTo>
                  <a:lnTo>
                    <a:pt x="78" y="1062"/>
                  </a:lnTo>
                  <a:lnTo>
                    <a:pt x="78" y="1060"/>
                  </a:lnTo>
                  <a:lnTo>
                    <a:pt x="78" y="1058"/>
                  </a:lnTo>
                  <a:lnTo>
                    <a:pt x="76" y="1058"/>
                  </a:lnTo>
                  <a:lnTo>
                    <a:pt x="78" y="1058"/>
                  </a:lnTo>
                  <a:lnTo>
                    <a:pt x="76" y="1058"/>
                  </a:lnTo>
                  <a:lnTo>
                    <a:pt x="78" y="1058"/>
                  </a:lnTo>
                  <a:lnTo>
                    <a:pt x="80" y="1058"/>
                  </a:lnTo>
                  <a:lnTo>
                    <a:pt x="83" y="1058"/>
                  </a:lnTo>
                  <a:lnTo>
                    <a:pt x="83" y="1060"/>
                  </a:lnTo>
                  <a:lnTo>
                    <a:pt x="83" y="1062"/>
                  </a:lnTo>
                  <a:lnTo>
                    <a:pt x="85" y="1062"/>
                  </a:lnTo>
                  <a:lnTo>
                    <a:pt x="83" y="1062"/>
                  </a:lnTo>
                  <a:lnTo>
                    <a:pt x="83" y="1065"/>
                  </a:lnTo>
                  <a:lnTo>
                    <a:pt x="85" y="1065"/>
                  </a:lnTo>
                  <a:lnTo>
                    <a:pt x="85" y="1062"/>
                  </a:lnTo>
                  <a:lnTo>
                    <a:pt x="85" y="1060"/>
                  </a:lnTo>
                  <a:lnTo>
                    <a:pt x="85" y="1058"/>
                  </a:lnTo>
                  <a:lnTo>
                    <a:pt x="85" y="1060"/>
                  </a:lnTo>
                  <a:lnTo>
                    <a:pt x="87" y="1060"/>
                  </a:lnTo>
                  <a:lnTo>
                    <a:pt x="90" y="1060"/>
                  </a:lnTo>
                  <a:lnTo>
                    <a:pt x="92" y="1060"/>
                  </a:lnTo>
                  <a:lnTo>
                    <a:pt x="92" y="1062"/>
                  </a:lnTo>
                  <a:lnTo>
                    <a:pt x="95" y="1062"/>
                  </a:lnTo>
                  <a:lnTo>
                    <a:pt x="95" y="1065"/>
                  </a:lnTo>
                  <a:lnTo>
                    <a:pt x="95" y="1062"/>
                  </a:lnTo>
                  <a:lnTo>
                    <a:pt x="97" y="1065"/>
                  </a:lnTo>
                  <a:lnTo>
                    <a:pt x="97" y="1067"/>
                  </a:lnTo>
                  <a:lnTo>
                    <a:pt x="99" y="1067"/>
                  </a:lnTo>
                  <a:lnTo>
                    <a:pt x="99" y="1065"/>
                  </a:lnTo>
                  <a:lnTo>
                    <a:pt x="99" y="1062"/>
                  </a:lnTo>
                  <a:lnTo>
                    <a:pt x="102" y="1062"/>
                  </a:lnTo>
                  <a:lnTo>
                    <a:pt x="104" y="1062"/>
                  </a:lnTo>
                  <a:lnTo>
                    <a:pt x="102" y="1062"/>
                  </a:lnTo>
                  <a:lnTo>
                    <a:pt x="104" y="1062"/>
                  </a:lnTo>
                  <a:lnTo>
                    <a:pt x="106" y="1062"/>
                  </a:lnTo>
                  <a:lnTo>
                    <a:pt x="104" y="1062"/>
                  </a:lnTo>
                  <a:lnTo>
                    <a:pt x="102" y="1062"/>
                  </a:lnTo>
                  <a:lnTo>
                    <a:pt x="99" y="1062"/>
                  </a:lnTo>
                  <a:lnTo>
                    <a:pt x="97" y="1062"/>
                  </a:lnTo>
                  <a:lnTo>
                    <a:pt x="95" y="1062"/>
                  </a:lnTo>
                  <a:lnTo>
                    <a:pt x="95" y="1060"/>
                  </a:lnTo>
                  <a:lnTo>
                    <a:pt x="92" y="1060"/>
                  </a:lnTo>
                  <a:lnTo>
                    <a:pt x="92" y="1058"/>
                  </a:lnTo>
                  <a:lnTo>
                    <a:pt x="95" y="1058"/>
                  </a:lnTo>
                  <a:lnTo>
                    <a:pt x="97" y="1058"/>
                  </a:lnTo>
                  <a:lnTo>
                    <a:pt x="97" y="1060"/>
                  </a:lnTo>
                  <a:lnTo>
                    <a:pt x="97" y="1062"/>
                  </a:lnTo>
                  <a:lnTo>
                    <a:pt x="97" y="1060"/>
                  </a:lnTo>
                  <a:lnTo>
                    <a:pt x="97" y="1062"/>
                  </a:lnTo>
                  <a:lnTo>
                    <a:pt x="97" y="1060"/>
                  </a:lnTo>
                  <a:lnTo>
                    <a:pt x="97" y="1058"/>
                  </a:lnTo>
                  <a:lnTo>
                    <a:pt x="97" y="1055"/>
                  </a:lnTo>
                  <a:lnTo>
                    <a:pt x="99" y="1055"/>
                  </a:lnTo>
                  <a:lnTo>
                    <a:pt x="102" y="1055"/>
                  </a:lnTo>
                  <a:lnTo>
                    <a:pt x="104" y="1055"/>
                  </a:lnTo>
                  <a:lnTo>
                    <a:pt x="104" y="1053"/>
                  </a:lnTo>
                  <a:lnTo>
                    <a:pt x="106" y="1053"/>
                  </a:lnTo>
                  <a:lnTo>
                    <a:pt x="109" y="1053"/>
                  </a:lnTo>
                  <a:lnTo>
                    <a:pt x="111" y="1053"/>
                  </a:lnTo>
                  <a:lnTo>
                    <a:pt x="114" y="1053"/>
                  </a:lnTo>
                  <a:lnTo>
                    <a:pt x="116" y="1055"/>
                  </a:lnTo>
                  <a:lnTo>
                    <a:pt x="118" y="1055"/>
                  </a:lnTo>
                  <a:lnTo>
                    <a:pt x="116" y="1055"/>
                  </a:lnTo>
                  <a:lnTo>
                    <a:pt x="116" y="1053"/>
                  </a:lnTo>
                  <a:lnTo>
                    <a:pt x="114" y="1053"/>
                  </a:lnTo>
                  <a:lnTo>
                    <a:pt x="114" y="1050"/>
                  </a:lnTo>
                  <a:lnTo>
                    <a:pt x="116" y="1050"/>
                  </a:lnTo>
                  <a:lnTo>
                    <a:pt x="114" y="1050"/>
                  </a:lnTo>
                  <a:lnTo>
                    <a:pt x="111" y="1050"/>
                  </a:lnTo>
                  <a:lnTo>
                    <a:pt x="109" y="1050"/>
                  </a:lnTo>
                  <a:lnTo>
                    <a:pt x="106" y="1053"/>
                  </a:lnTo>
                  <a:lnTo>
                    <a:pt x="104" y="1053"/>
                  </a:lnTo>
                  <a:lnTo>
                    <a:pt x="102" y="1053"/>
                  </a:lnTo>
                  <a:lnTo>
                    <a:pt x="102" y="1055"/>
                  </a:lnTo>
                  <a:lnTo>
                    <a:pt x="99" y="1055"/>
                  </a:lnTo>
                  <a:lnTo>
                    <a:pt x="97" y="1055"/>
                  </a:lnTo>
                  <a:lnTo>
                    <a:pt x="95" y="1055"/>
                  </a:lnTo>
                  <a:lnTo>
                    <a:pt x="92" y="1055"/>
                  </a:lnTo>
                  <a:lnTo>
                    <a:pt x="95" y="1055"/>
                  </a:lnTo>
                  <a:lnTo>
                    <a:pt x="92" y="1055"/>
                  </a:lnTo>
                  <a:lnTo>
                    <a:pt x="95" y="1055"/>
                  </a:lnTo>
                  <a:lnTo>
                    <a:pt x="92" y="1055"/>
                  </a:lnTo>
                  <a:lnTo>
                    <a:pt x="92" y="1053"/>
                  </a:lnTo>
                  <a:lnTo>
                    <a:pt x="95" y="1053"/>
                  </a:lnTo>
                  <a:lnTo>
                    <a:pt x="92" y="1053"/>
                  </a:lnTo>
                  <a:lnTo>
                    <a:pt x="95" y="1053"/>
                  </a:lnTo>
                  <a:lnTo>
                    <a:pt x="92" y="1053"/>
                  </a:lnTo>
                  <a:lnTo>
                    <a:pt x="95" y="1053"/>
                  </a:lnTo>
                  <a:lnTo>
                    <a:pt x="95" y="1050"/>
                  </a:lnTo>
                  <a:lnTo>
                    <a:pt x="97" y="1050"/>
                  </a:lnTo>
                  <a:lnTo>
                    <a:pt x="99" y="1050"/>
                  </a:lnTo>
                  <a:lnTo>
                    <a:pt x="102" y="1050"/>
                  </a:lnTo>
                  <a:lnTo>
                    <a:pt x="104" y="1050"/>
                  </a:lnTo>
                  <a:lnTo>
                    <a:pt x="102" y="1050"/>
                  </a:lnTo>
                  <a:lnTo>
                    <a:pt x="99" y="1050"/>
                  </a:lnTo>
                  <a:lnTo>
                    <a:pt x="97" y="1050"/>
                  </a:lnTo>
                  <a:lnTo>
                    <a:pt x="95" y="1050"/>
                  </a:lnTo>
                  <a:lnTo>
                    <a:pt x="92" y="1053"/>
                  </a:lnTo>
                  <a:lnTo>
                    <a:pt x="90" y="1053"/>
                  </a:lnTo>
                  <a:lnTo>
                    <a:pt x="87" y="1053"/>
                  </a:lnTo>
                  <a:lnTo>
                    <a:pt x="85" y="1053"/>
                  </a:lnTo>
                  <a:lnTo>
                    <a:pt x="83" y="1053"/>
                  </a:lnTo>
                  <a:lnTo>
                    <a:pt x="80" y="1053"/>
                  </a:lnTo>
                  <a:lnTo>
                    <a:pt x="78" y="1053"/>
                  </a:lnTo>
                  <a:lnTo>
                    <a:pt x="80" y="1053"/>
                  </a:lnTo>
                  <a:lnTo>
                    <a:pt x="78" y="1053"/>
                  </a:lnTo>
                  <a:lnTo>
                    <a:pt x="80" y="1053"/>
                  </a:lnTo>
                  <a:lnTo>
                    <a:pt x="78" y="1053"/>
                  </a:lnTo>
                  <a:lnTo>
                    <a:pt x="80" y="1053"/>
                  </a:lnTo>
                  <a:lnTo>
                    <a:pt x="80" y="1050"/>
                  </a:lnTo>
                  <a:lnTo>
                    <a:pt x="78" y="1050"/>
                  </a:lnTo>
                  <a:lnTo>
                    <a:pt x="80" y="1050"/>
                  </a:lnTo>
                  <a:lnTo>
                    <a:pt x="78" y="1050"/>
                  </a:lnTo>
                  <a:lnTo>
                    <a:pt x="80" y="1050"/>
                  </a:lnTo>
                  <a:lnTo>
                    <a:pt x="78" y="1050"/>
                  </a:lnTo>
                  <a:lnTo>
                    <a:pt x="80" y="1050"/>
                  </a:lnTo>
                  <a:lnTo>
                    <a:pt x="80" y="1048"/>
                  </a:lnTo>
                  <a:lnTo>
                    <a:pt x="83" y="1048"/>
                  </a:lnTo>
                  <a:lnTo>
                    <a:pt x="85" y="1048"/>
                  </a:lnTo>
                  <a:lnTo>
                    <a:pt x="85" y="1050"/>
                  </a:lnTo>
                  <a:lnTo>
                    <a:pt x="87" y="1050"/>
                  </a:lnTo>
                  <a:lnTo>
                    <a:pt x="87" y="1048"/>
                  </a:lnTo>
                  <a:lnTo>
                    <a:pt x="87" y="1050"/>
                  </a:lnTo>
                  <a:lnTo>
                    <a:pt x="87" y="1048"/>
                  </a:lnTo>
                  <a:lnTo>
                    <a:pt x="85" y="1048"/>
                  </a:lnTo>
                  <a:lnTo>
                    <a:pt x="87" y="1048"/>
                  </a:lnTo>
                  <a:lnTo>
                    <a:pt x="85" y="1048"/>
                  </a:lnTo>
                  <a:lnTo>
                    <a:pt x="85" y="1046"/>
                  </a:lnTo>
                  <a:lnTo>
                    <a:pt x="83" y="1048"/>
                  </a:lnTo>
                  <a:lnTo>
                    <a:pt x="80" y="1048"/>
                  </a:lnTo>
                  <a:lnTo>
                    <a:pt x="80" y="1046"/>
                  </a:lnTo>
                  <a:lnTo>
                    <a:pt x="80" y="1048"/>
                  </a:lnTo>
                  <a:lnTo>
                    <a:pt x="80" y="1046"/>
                  </a:lnTo>
                  <a:lnTo>
                    <a:pt x="78" y="1046"/>
                  </a:lnTo>
                  <a:lnTo>
                    <a:pt x="78" y="1043"/>
                  </a:lnTo>
                  <a:lnTo>
                    <a:pt x="78" y="1046"/>
                  </a:lnTo>
                  <a:lnTo>
                    <a:pt x="78" y="1043"/>
                  </a:lnTo>
                  <a:lnTo>
                    <a:pt x="76" y="1043"/>
                  </a:lnTo>
                  <a:lnTo>
                    <a:pt x="78" y="1043"/>
                  </a:lnTo>
                  <a:lnTo>
                    <a:pt x="76" y="1043"/>
                  </a:lnTo>
                  <a:lnTo>
                    <a:pt x="78" y="1043"/>
                  </a:lnTo>
                  <a:lnTo>
                    <a:pt x="78" y="1041"/>
                  </a:lnTo>
                  <a:lnTo>
                    <a:pt x="78" y="1043"/>
                  </a:lnTo>
                  <a:lnTo>
                    <a:pt x="78" y="1041"/>
                  </a:lnTo>
                  <a:lnTo>
                    <a:pt x="80" y="1041"/>
                  </a:lnTo>
                  <a:lnTo>
                    <a:pt x="78" y="1041"/>
                  </a:lnTo>
                  <a:lnTo>
                    <a:pt x="80" y="1041"/>
                  </a:lnTo>
                  <a:lnTo>
                    <a:pt x="83" y="1041"/>
                  </a:lnTo>
                  <a:lnTo>
                    <a:pt x="80" y="1041"/>
                  </a:lnTo>
                  <a:lnTo>
                    <a:pt x="83" y="1041"/>
                  </a:lnTo>
                  <a:lnTo>
                    <a:pt x="83" y="1039"/>
                  </a:lnTo>
                  <a:lnTo>
                    <a:pt x="85" y="1039"/>
                  </a:lnTo>
                  <a:lnTo>
                    <a:pt x="87" y="1039"/>
                  </a:lnTo>
                  <a:lnTo>
                    <a:pt x="90" y="1039"/>
                  </a:lnTo>
                  <a:lnTo>
                    <a:pt x="92" y="1039"/>
                  </a:lnTo>
                  <a:lnTo>
                    <a:pt x="90" y="1039"/>
                  </a:lnTo>
                  <a:lnTo>
                    <a:pt x="90" y="1041"/>
                  </a:lnTo>
                  <a:lnTo>
                    <a:pt x="92" y="1041"/>
                  </a:lnTo>
                  <a:lnTo>
                    <a:pt x="95" y="1041"/>
                  </a:lnTo>
                  <a:lnTo>
                    <a:pt x="95" y="1043"/>
                  </a:lnTo>
                  <a:lnTo>
                    <a:pt x="97" y="1043"/>
                  </a:lnTo>
                  <a:lnTo>
                    <a:pt x="99" y="1043"/>
                  </a:lnTo>
                  <a:lnTo>
                    <a:pt x="99" y="1041"/>
                  </a:lnTo>
                  <a:lnTo>
                    <a:pt x="102" y="1041"/>
                  </a:lnTo>
                  <a:lnTo>
                    <a:pt x="104" y="1041"/>
                  </a:lnTo>
                  <a:lnTo>
                    <a:pt x="106" y="1041"/>
                  </a:lnTo>
                  <a:lnTo>
                    <a:pt x="104" y="1041"/>
                  </a:lnTo>
                  <a:lnTo>
                    <a:pt x="104" y="1043"/>
                  </a:lnTo>
                  <a:lnTo>
                    <a:pt x="102" y="1043"/>
                  </a:lnTo>
                  <a:lnTo>
                    <a:pt x="104" y="1043"/>
                  </a:lnTo>
                  <a:lnTo>
                    <a:pt x="106" y="1041"/>
                  </a:lnTo>
                  <a:lnTo>
                    <a:pt x="109" y="1041"/>
                  </a:lnTo>
                  <a:lnTo>
                    <a:pt x="111" y="1041"/>
                  </a:lnTo>
                  <a:lnTo>
                    <a:pt x="114" y="1041"/>
                  </a:lnTo>
                  <a:lnTo>
                    <a:pt x="116" y="1041"/>
                  </a:lnTo>
                  <a:lnTo>
                    <a:pt x="116" y="1043"/>
                  </a:lnTo>
                  <a:lnTo>
                    <a:pt x="116" y="1046"/>
                  </a:lnTo>
                  <a:lnTo>
                    <a:pt x="116" y="1048"/>
                  </a:lnTo>
                  <a:lnTo>
                    <a:pt x="118" y="1048"/>
                  </a:lnTo>
                  <a:lnTo>
                    <a:pt x="118" y="1050"/>
                  </a:lnTo>
                  <a:lnTo>
                    <a:pt x="121" y="1050"/>
                  </a:lnTo>
                  <a:lnTo>
                    <a:pt x="123" y="1050"/>
                  </a:lnTo>
                  <a:lnTo>
                    <a:pt x="125" y="1050"/>
                  </a:lnTo>
                  <a:lnTo>
                    <a:pt x="125" y="1053"/>
                  </a:lnTo>
                  <a:lnTo>
                    <a:pt x="128" y="1053"/>
                  </a:lnTo>
                  <a:lnTo>
                    <a:pt x="130" y="1053"/>
                  </a:lnTo>
                  <a:lnTo>
                    <a:pt x="130" y="1055"/>
                  </a:lnTo>
                  <a:lnTo>
                    <a:pt x="130" y="1058"/>
                  </a:lnTo>
                  <a:lnTo>
                    <a:pt x="130" y="1055"/>
                  </a:lnTo>
                  <a:lnTo>
                    <a:pt x="130" y="1053"/>
                  </a:lnTo>
                  <a:lnTo>
                    <a:pt x="128" y="1053"/>
                  </a:lnTo>
                  <a:lnTo>
                    <a:pt x="128" y="1050"/>
                  </a:lnTo>
                  <a:lnTo>
                    <a:pt x="125" y="1050"/>
                  </a:lnTo>
                  <a:lnTo>
                    <a:pt x="123" y="1050"/>
                  </a:lnTo>
                  <a:lnTo>
                    <a:pt x="123" y="1048"/>
                  </a:lnTo>
                  <a:lnTo>
                    <a:pt x="121" y="1048"/>
                  </a:lnTo>
                  <a:lnTo>
                    <a:pt x="118" y="1048"/>
                  </a:lnTo>
                  <a:lnTo>
                    <a:pt x="118" y="1046"/>
                  </a:lnTo>
                  <a:lnTo>
                    <a:pt x="118" y="1043"/>
                  </a:lnTo>
                  <a:lnTo>
                    <a:pt x="118" y="1041"/>
                  </a:lnTo>
                  <a:lnTo>
                    <a:pt x="116" y="1041"/>
                  </a:lnTo>
                  <a:lnTo>
                    <a:pt x="114" y="1041"/>
                  </a:lnTo>
                  <a:lnTo>
                    <a:pt x="114" y="1039"/>
                  </a:lnTo>
                  <a:lnTo>
                    <a:pt x="111" y="1039"/>
                  </a:lnTo>
                  <a:lnTo>
                    <a:pt x="114" y="1039"/>
                  </a:lnTo>
                  <a:lnTo>
                    <a:pt x="114" y="1036"/>
                  </a:lnTo>
                  <a:lnTo>
                    <a:pt x="111" y="1036"/>
                  </a:lnTo>
                  <a:lnTo>
                    <a:pt x="111" y="1039"/>
                  </a:lnTo>
                  <a:lnTo>
                    <a:pt x="111" y="1036"/>
                  </a:lnTo>
                  <a:lnTo>
                    <a:pt x="114" y="1036"/>
                  </a:lnTo>
                  <a:lnTo>
                    <a:pt x="114" y="1039"/>
                  </a:lnTo>
                  <a:lnTo>
                    <a:pt x="111" y="1039"/>
                  </a:lnTo>
                  <a:lnTo>
                    <a:pt x="114" y="1039"/>
                  </a:lnTo>
                  <a:lnTo>
                    <a:pt x="111" y="1039"/>
                  </a:lnTo>
                  <a:lnTo>
                    <a:pt x="109" y="1039"/>
                  </a:lnTo>
                  <a:lnTo>
                    <a:pt x="109" y="1036"/>
                  </a:lnTo>
                  <a:lnTo>
                    <a:pt x="111" y="1036"/>
                  </a:lnTo>
                  <a:lnTo>
                    <a:pt x="111" y="1034"/>
                  </a:lnTo>
                  <a:lnTo>
                    <a:pt x="114" y="1034"/>
                  </a:lnTo>
                  <a:lnTo>
                    <a:pt x="116" y="1031"/>
                  </a:lnTo>
                  <a:lnTo>
                    <a:pt x="116" y="1034"/>
                  </a:lnTo>
                  <a:lnTo>
                    <a:pt x="118" y="1034"/>
                  </a:lnTo>
                  <a:lnTo>
                    <a:pt x="116" y="1034"/>
                  </a:lnTo>
                  <a:lnTo>
                    <a:pt x="118" y="1034"/>
                  </a:lnTo>
                  <a:lnTo>
                    <a:pt x="116" y="1036"/>
                  </a:lnTo>
                  <a:lnTo>
                    <a:pt x="118" y="1036"/>
                  </a:lnTo>
                  <a:lnTo>
                    <a:pt x="118" y="1039"/>
                  </a:lnTo>
                  <a:lnTo>
                    <a:pt x="121" y="1039"/>
                  </a:lnTo>
                  <a:lnTo>
                    <a:pt x="121" y="1041"/>
                  </a:lnTo>
                  <a:lnTo>
                    <a:pt x="121" y="1039"/>
                  </a:lnTo>
                  <a:lnTo>
                    <a:pt x="123" y="1039"/>
                  </a:lnTo>
                  <a:lnTo>
                    <a:pt x="123" y="1041"/>
                  </a:lnTo>
                  <a:lnTo>
                    <a:pt x="123" y="1043"/>
                  </a:lnTo>
                  <a:lnTo>
                    <a:pt x="123" y="1046"/>
                  </a:lnTo>
                  <a:lnTo>
                    <a:pt x="125" y="1046"/>
                  </a:lnTo>
                  <a:lnTo>
                    <a:pt x="128" y="1046"/>
                  </a:lnTo>
                  <a:lnTo>
                    <a:pt x="128" y="1048"/>
                  </a:lnTo>
                  <a:lnTo>
                    <a:pt x="130" y="1048"/>
                  </a:lnTo>
                  <a:lnTo>
                    <a:pt x="130" y="1046"/>
                  </a:lnTo>
                  <a:lnTo>
                    <a:pt x="128" y="1046"/>
                  </a:lnTo>
                  <a:lnTo>
                    <a:pt x="128" y="1043"/>
                  </a:lnTo>
                  <a:lnTo>
                    <a:pt x="125" y="1043"/>
                  </a:lnTo>
                  <a:lnTo>
                    <a:pt x="128" y="1046"/>
                  </a:lnTo>
                  <a:lnTo>
                    <a:pt x="130" y="1046"/>
                  </a:lnTo>
                  <a:lnTo>
                    <a:pt x="133" y="1046"/>
                  </a:lnTo>
                  <a:lnTo>
                    <a:pt x="133" y="1048"/>
                  </a:lnTo>
                  <a:lnTo>
                    <a:pt x="135" y="1048"/>
                  </a:lnTo>
                  <a:lnTo>
                    <a:pt x="133" y="1048"/>
                  </a:lnTo>
                  <a:lnTo>
                    <a:pt x="133" y="1046"/>
                  </a:lnTo>
                  <a:lnTo>
                    <a:pt x="130" y="1046"/>
                  </a:lnTo>
                  <a:lnTo>
                    <a:pt x="130" y="1043"/>
                  </a:lnTo>
                  <a:lnTo>
                    <a:pt x="128" y="1043"/>
                  </a:lnTo>
                  <a:lnTo>
                    <a:pt x="128" y="1041"/>
                  </a:lnTo>
                  <a:lnTo>
                    <a:pt x="125" y="1041"/>
                  </a:lnTo>
                  <a:lnTo>
                    <a:pt x="128" y="1041"/>
                  </a:lnTo>
                  <a:lnTo>
                    <a:pt x="130" y="1041"/>
                  </a:lnTo>
                  <a:lnTo>
                    <a:pt x="133" y="1041"/>
                  </a:lnTo>
                  <a:lnTo>
                    <a:pt x="135" y="1041"/>
                  </a:lnTo>
                  <a:lnTo>
                    <a:pt x="135" y="1039"/>
                  </a:lnTo>
                  <a:lnTo>
                    <a:pt x="133" y="1039"/>
                  </a:lnTo>
                  <a:lnTo>
                    <a:pt x="130" y="1039"/>
                  </a:lnTo>
                  <a:lnTo>
                    <a:pt x="130" y="1041"/>
                  </a:lnTo>
                  <a:lnTo>
                    <a:pt x="128" y="1041"/>
                  </a:lnTo>
                  <a:lnTo>
                    <a:pt x="128" y="1039"/>
                  </a:lnTo>
                  <a:lnTo>
                    <a:pt x="130" y="1039"/>
                  </a:lnTo>
                  <a:lnTo>
                    <a:pt x="133" y="1039"/>
                  </a:lnTo>
                  <a:lnTo>
                    <a:pt x="133" y="1036"/>
                  </a:lnTo>
                  <a:lnTo>
                    <a:pt x="133" y="1039"/>
                  </a:lnTo>
                  <a:lnTo>
                    <a:pt x="130" y="1039"/>
                  </a:lnTo>
                  <a:lnTo>
                    <a:pt x="128" y="1039"/>
                  </a:lnTo>
                  <a:lnTo>
                    <a:pt x="125" y="1041"/>
                  </a:lnTo>
                  <a:lnTo>
                    <a:pt x="123" y="1039"/>
                  </a:lnTo>
                  <a:lnTo>
                    <a:pt x="125" y="1039"/>
                  </a:lnTo>
                  <a:lnTo>
                    <a:pt x="128" y="1039"/>
                  </a:lnTo>
                  <a:lnTo>
                    <a:pt x="128" y="1036"/>
                  </a:lnTo>
                  <a:lnTo>
                    <a:pt x="128" y="1039"/>
                  </a:lnTo>
                  <a:lnTo>
                    <a:pt x="125" y="1039"/>
                  </a:lnTo>
                  <a:lnTo>
                    <a:pt x="123" y="1039"/>
                  </a:lnTo>
                  <a:lnTo>
                    <a:pt x="121" y="1039"/>
                  </a:lnTo>
                  <a:lnTo>
                    <a:pt x="121" y="1036"/>
                  </a:lnTo>
                  <a:lnTo>
                    <a:pt x="121" y="1034"/>
                  </a:lnTo>
                  <a:lnTo>
                    <a:pt x="118" y="1034"/>
                  </a:lnTo>
                  <a:lnTo>
                    <a:pt x="118" y="1031"/>
                  </a:lnTo>
                  <a:lnTo>
                    <a:pt x="121" y="1031"/>
                  </a:lnTo>
                  <a:lnTo>
                    <a:pt x="121" y="1034"/>
                  </a:lnTo>
                  <a:lnTo>
                    <a:pt x="123" y="1034"/>
                  </a:lnTo>
                  <a:lnTo>
                    <a:pt x="123" y="1031"/>
                  </a:lnTo>
                  <a:lnTo>
                    <a:pt x="121" y="1031"/>
                  </a:lnTo>
                  <a:lnTo>
                    <a:pt x="123" y="1031"/>
                  </a:lnTo>
                  <a:lnTo>
                    <a:pt x="125" y="1031"/>
                  </a:lnTo>
                  <a:lnTo>
                    <a:pt x="128" y="1031"/>
                  </a:lnTo>
                  <a:lnTo>
                    <a:pt x="130" y="1031"/>
                  </a:lnTo>
                  <a:lnTo>
                    <a:pt x="133" y="1031"/>
                  </a:lnTo>
                  <a:lnTo>
                    <a:pt x="133" y="1034"/>
                  </a:lnTo>
                  <a:lnTo>
                    <a:pt x="133" y="1031"/>
                  </a:lnTo>
                  <a:lnTo>
                    <a:pt x="130" y="1031"/>
                  </a:lnTo>
                  <a:lnTo>
                    <a:pt x="133" y="1031"/>
                  </a:lnTo>
                  <a:lnTo>
                    <a:pt x="130" y="1031"/>
                  </a:lnTo>
                  <a:lnTo>
                    <a:pt x="133" y="1031"/>
                  </a:lnTo>
                  <a:lnTo>
                    <a:pt x="130" y="1031"/>
                  </a:lnTo>
                  <a:lnTo>
                    <a:pt x="130" y="1029"/>
                  </a:lnTo>
                  <a:lnTo>
                    <a:pt x="133" y="1029"/>
                  </a:lnTo>
                  <a:lnTo>
                    <a:pt x="135" y="1029"/>
                  </a:lnTo>
                  <a:lnTo>
                    <a:pt x="137" y="1029"/>
                  </a:lnTo>
                  <a:lnTo>
                    <a:pt x="140" y="1029"/>
                  </a:lnTo>
                  <a:lnTo>
                    <a:pt x="140" y="1027"/>
                  </a:lnTo>
                  <a:lnTo>
                    <a:pt x="142" y="1027"/>
                  </a:lnTo>
                  <a:lnTo>
                    <a:pt x="142" y="1029"/>
                  </a:lnTo>
                  <a:lnTo>
                    <a:pt x="142" y="1027"/>
                  </a:lnTo>
                  <a:lnTo>
                    <a:pt x="144" y="1027"/>
                  </a:lnTo>
                  <a:lnTo>
                    <a:pt x="142" y="1027"/>
                  </a:lnTo>
                  <a:lnTo>
                    <a:pt x="140" y="1027"/>
                  </a:lnTo>
                  <a:lnTo>
                    <a:pt x="137" y="1029"/>
                  </a:lnTo>
                  <a:lnTo>
                    <a:pt x="135" y="1029"/>
                  </a:lnTo>
                  <a:lnTo>
                    <a:pt x="135" y="1027"/>
                  </a:lnTo>
                  <a:lnTo>
                    <a:pt x="135" y="1029"/>
                  </a:lnTo>
                  <a:lnTo>
                    <a:pt x="133" y="1029"/>
                  </a:lnTo>
                  <a:lnTo>
                    <a:pt x="133" y="1027"/>
                  </a:lnTo>
                  <a:lnTo>
                    <a:pt x="130" y="1024"/>
                  </a:lnTo>
                  <a:lnTo>
                    <a:pt x="128" y="1024"/>
                  </a:lnTo>
                  <a:lnTo>
                    <a:pt x="130" y="1024"/>
                  </a:lnTo>
                  <a:lnTo>
                    <a:pt x="128" y="1024"/>
                  </a:lnTo>
                  <a:lnTo>
                    <a:pt x="130" y="1022"/>
                  </a:lnTo>
                  <a:lnTo>
                    <a:pt x="133" y="1022"/>
                  </a:lnTo>
                  <a:lnTo>
                    <a:pt x="135" y="1022"/>
                  </a:lnTo>
                  <a:lnTo>
                    <a:pt x="135" y="1020"/>
                  </a:lnTo>
                  <a:lnTo>
                    <a:pt x="137" y="1020"/>
                  </a:lnTo>
                  <a:lnTo>
                    <a:pt x="140" y="1020"/>
                  </a:lnTo>
                  <a:lnTo>
                    <a:pt x="137" y="1020"/>
                  </a:lnTo>
                  <a:lnTo>
                    <a:pt x="135" y="1020"/>
                  </a:lnTo>
                  <a:lnTo>
                    <a:pt x="137" y="1020"/>
                  </a:lnTo>
                  <a:lnTo>
                    <a:pt x="135" y="1020"/>
                  </a:lnTo>
                  <a:lnTo>
                    <a:pt x="135" y="1017"/>
                  </a:lnTo>
                  <a:lnTo>
                    <a:pt x="135" y="1015"/>
                  </a:lnTo>
                  <a:lnTo>
                    <a:pt x="137" y="1015"/>
                  </a:lnTo>
                  <a:lnTo>
                    <a:pt x="140" y="1015"/>
                  </a:lnTo>
                  <a:lnTo>
                    <a:pt x="142" y="1015"/>
                  </a:lnTo>
                  <a:lnTo>
                    <a:pt x="142" y="1017"/>
                  </a:lnTo>
                  <a:lnTo>
                    <a:pt x="142" y="1015"/>
                  </a:lnTo>
                  <a:lnTo>
                    <a:pt x="142" y="1017"/>
                  </a:lnTo>
                  <a:lnTo>
                    <a:pt x="142" y="1015"/>
                  </a:lnTo>
                  <a:lnTo>
                    <a:pt x="142" y="1017"/>
                  </a:lnTo>
                  <a:lnTo>
                    <a:pt x="142" y="1015"/>
                  </a:lnTo>
                  <a:lnTo>
                    <a:pt x="144" y="1015"/>
                  </a:lnTo>
                  <a:lnTo>
                    <a:pt x="144" y="1017"/>
                  </a:lnTo>
                  <a:lnTo>
                    <a:pt x="147" y="1017"/>
                  </a:lnTo>
                  <a:lnTo>
                    <a:pt x="147" y="1015"/>
                  </a:lnTo>
                  <a:lnTo>
                    <a:pt x="144" y="1015"/>
                  </a:lnTo>
                  <a:lnTo>
                    <a:pt x="147" y="1015"/>
                  </a:lnTo>
                  <a:lnTo>
                    <a:pt x="144" y="1015"/>
                  </a:lnTo>
                  <a:lnTo>
                    <a:pt x="147" y="1015"/>
                  </a:lnTo>
                  <a:lnTo>
                    <a:pt x="144" y="1015"/>
                  </a:lnTo>
                  <a:lnTo>
                    <a:pt x="147" y="1015"/>
                  </a:lnTo>
                  <a:lnTo>
                    <a:pt x="144" y="1012"/>
                  </a:lnTo>
                  <a:lnTo>
                    <a:pt x="147" y="1012"/>
                  </a:lnTo>
                  <a:lnTo>
                    <a:pt x="147" y="1015"/>
                  </a:lnTo>
                  <a:lnTo>
                    <a:pt x="149" y="1015"/>
                  </a:lnTo>
                  <a:lnTo>
                    <a:pt x="149" y="1017"/>
                  </a:lnTo>
                  <a:lnTo>
                    <a:pt x="152" y="1017"/>
                  </a:lnTo>
                  <a:lnTo>
                    <a:pt x="152" y="1020"/>
                  </a:lnTo>
                  <a:lnTo>
                    <a:pt x="149" y="1020"/>
                  </a:lnTo>
                  <a:lnTo>
                    <a:pt x="149" y="1022"/>
                  </a:lnTo>
                  <a:lnTo>
                    <a:pt x="152" y="1022"/>
                  </a:lnTo>
                  <a:lnTo>
                    <a:pt x="152" y="1020"/>
                  </a:lnTo>
                  <a:lnTo>
                    <a:pt x="154" y="1020"/>
                  </a:lnTo>
                  <a:lnTo>
                    <a:pt x="156" y="1020"/>
                  </a:lnTo>
                  <a:lnTo>
                    <a:pt x="159" y="1020"/>
                  </a:lnTo>
                  <a:lnTo>
                    <a:pt x="159" y="1017"/>
                  </a:lnTo>
                  <a:lnTo>
                    <a:pt x="161" y="1017"/>
                  </a:lnTo>
                  <a:lnTo>
                    <a:pt x="159" y="1017"/>
                  </a:lnTo>
                  <a:lnTo>
                    <a:pt x="156" y="1017"/>
                  </a:lnTo>
                  <a:lnTo>
                    <a:pt x="154" y="1017"/>
                  </a:lnTo>
                  <a:lnTo>
                    <a:pt x="154" y="1020"/>
                  </a:lnTo>
                  <a:lnTo>
                    <a:pt x="154" y="1017"/>
                  </a:lnTo>
                  <a:lnTo>
                    <a:pt x="152" y="1017"/>
                  </a:lnTo>
                  <a:lnTo>
                    <a:pt x="152" y="1015"/>
                  </a:lnTo>
                  <a:lnTo>
                    <a:pt x="154" y="1015"/>
                  </a:lnTo>
                  <a:lnTo>
                    <a:pt x="156" y="1015"/>
                  </a:lnTo>
                  <a:lnTo>
                    <a:pt x="159" y="1015"/>
                  </a:lnTo>
                  <a:lnTo>
                    <a:pt x="159" y="1012"/>
                  </a:lnTo>
                  <a:lnTo>
                    <a:pt x="161" y="1012"/>
                  </a:lnTo>
                  <a:lnTo>
                    <a:pt x="163" y="1012"/>
                  </a:lnTo>
                  <a:lnTo>
                    <a:pt x="161" y="1012"/>
                  </a:lnTo>
                  <a:lnTo>
                    <a:pt x="159" y="1012"/>
                  </a:lnTo>
                  <a:lnTo>
                    <a:pt x="156" y="1012"/>
                  </a:lnTo>
                  <a:lnTo>
                    <a:pt x="154" y="1012"/>
                  </a:lnTo>
                  <a:lnTo>
                    <a:pt x="156" y="1012"/>
                  </a:lnTo>
                  <a:lnTo>
                    <a:pt x="154" y="1012"/>
                  </a:lnTo>
                  <a:lnTo>
                    <a:pt x="156" y="1012"/>
                  </a:lnTo>
                  <a:lnTo>
                    <a:pt x="154" y="1012"/>
                  </a:lnTo>
                  <a:lnTo>
                    <a:pt x="156" y="1012"/>
                  </a:lnTo>
                  <a:lnTo>
                    <a:pt x="154" y="1012"/>
                  </a:lnTo>
                  <a:lnTo>
                    <a:pt x="156" y="1012"/>
                  </a:lnTo>
                  <a:lnTo>
                    <a:pt x="156" y="1015"/>
                  </a:lnTo>
                  <a:lnTo>
                    <a:pt x="156" y="1012"/>
                  </a:lnTo>
                  <a:lnTo>
                    <a:pt x="154" y="1015"/>
                  </a:lnTo>
                  <a:lnTo>
                    <a:pt x="154" y="1012"/>
                  </a:lnTo>
                  <a:lnTo>
                    <a:pt x="152" y="1012"/>
                  </a:lnTo>
                  <a:lnTo>
                    <a:pt x="152" y="1010"/>
                  </a:lnTo>
                  <a:lnTo>
                    <a:pt x="154" y="1010"/>
                  </a:lnTo>
                  <a:lnTo>
                    <a:pt x="154" y="1012"/>
                  </a:lnTo>
                  <a:lnTo>
                    <a:pt x="154" y="1010"/>
                  </a:lnTo>
                  <a:lnTo>
                    <a:pt x="156" y="1010"/>
                  </a:lnTo>
                  <a:lnTo>
                    <a:pt x="156" y="1008"/>
                  </a:lnTo>
                  <a:lnTo>
                    <a:pt x="159" y="1008"/>
                  </a:lnTo>
                  <a:lnTo>
                    <a:pt x="156" y="1008"/>
                  </a:lnTo>
                  <a:lnTo>
                    <a:pt x="159" y="1008"/>
                  </a:lnTo>
                  <a:lnTo>
                    <a:pt x="159" y="1010"/>
                  </a:lnTo>
                  <a:lnTo>
                    <a:pt x="161" y="1010"/>
                  </a:lnTo>
                  <a:lnTo>
                    <a:pt x="159" y="1010"/>
                  </a:lnTo>
                  <a:lnTo>
                    <a:pt x="161" y="1010"/>
                  </a:lnTo>
                  <a:lnTo>
                    <a:pt x="161" y="1008"/>
                  </a:lnTo>
                  <a:lnTo>
                    <a:pt x="163" y="1008"/>
                  </a:lnTo>
                  <a:lnTo>
                    <a:pt x="166" y="1010"/>
                  </a:lnTo>
                  <a:lnTo>
                    <a:pt x="166" y="1008"/>
                  </a:lnTo>
                  <a:lnTo>
                    <a:pt x="163" y="1008"/>
                  </a:lnTo>
                  <a:lnTo>
                    <a:pt x="166" y="1008"/>
                  </a:lnTo>
                  <a:lnTo>
                    <a:pt x="163" y="1008"/>
                  </a:lnTo>
                  <a:lnTo>
                    <a:pt x="163" y="1005"/>
                  </a:lnTo>
                  <a:lnTo>
                    <a:pt x="163" y="1008"/>
                  </a:lnTo>
                  <a:lnTo>
                    <a:pt x="161" y="1008"/>
                  </a:lnTo>
                  <a:lnTo>
                    <a:pt x="163" y="1005"/>
                  </a:lnTo>
                  <a:lnTo>
                    <a:pt x="166" y="1005"/>
                  </a:lnTo>
                  <a:lnTo>
                    <a:pt x="168" y="1005"/>
                  </a:lnTo>
                  <a:lnTo>
                    <a:pt x="168" y="1003"/>
                  </a:lnTo>
                  <a:lnTo>
                    <a:pt x="171" y="1003"/>
                  </a:lnTo>
                  <a:lnTo>
                    <a:pt x="171" y="1005"/>
                  </a:lnTo>
                  <a:lnTo>
                    <a:pt x="171" y="1008"/>
                  </a:lnTo>
                  <a:lnTo>
                    <a:pt x="173" y="1008"/>
                  </a:lnTo>
                  <a:lnTo>
                    <a:pt x="173" y="1010"/>
                  </a:lnTo>
                  <a:lnTo>
                    <a:pt x="173" y="1012"/>
                  </a:lnTo>
                  <a:lnTo>
                    <a:pt x="175" y="1012"/>
                  </a:lnTo>
                  <a:lnTo>
                    <a:pt x="178" y="1012"/>
                  </a:lnTo>
                  <a:lnTo>
                    <a:pt x="178" y="1015"/>
                  </a:lnTo>
                  <a:lnTo>
                    <a:pt x="178" y="1017"/>
                  </a:lnTo>
                  <a:lnTo>
                    <a:pt x="175" y="1020"/>
                  </a:lnTo>
                  <a:lnTo>
                    <a:pt x="173" y="1020"/>
                  </a:lnTo>
                  <a:lnTo>
                    <a:pt x="173" y="1022"/>
                  </a:lnTo>
                  <a:lnTo>
                    <a:pt x="175" y="1022"/>
                  </a:lnTo>
                  <a:lnTo>
                    <a:pt x="175" y="1020"/>
                  </a:lnTo>
                  <a:lnTo>
                    <a:pt x="178" y="1020"/>
                  </a:lnTo>
                  <a:lnTo>
                    <a:pt x="180" y="1020"/>
                  </a:lnTo>
                  <a:lnTo>
                    <a:pt x="182" y="1020"/>
                  </a:lnTo>
                  <a:lnTo>
                    <a:pt x="182" y="1022"/>
                  </a:lnTo>
                  <a:lnTo>
                    <a:pt x="182" y="1020"/>
                  </a:lnTo>
                  <a:lnTo>
                    <a:pt x="182" y="1022"/>
                  </a:lnTo>
                  <a:lnTo>
                    <a:pt x="185" y="1022"/>
                  </a:lnTo>
                  <a:lnTo>
                    <a:pt x="185" y="1020"/>
                  </a:lnTo>
                  <a:lnTo>
                    <a:pt x="187" y="1020"/>
                  </a:lnTo>
                  <a:lnTo>
                    <a:pt x="187" y="1022"/>
                  </a:lnTo>
                  <a:lnTo>
                    <a:pt x="187" y="1020"/>
                  </a:lnTo>
                  <a:lnTo>
                    <a:pt x="185" y="1020"/>
                  </a:lnTo>
                  <a:lnTo>
                    <a:pt x="182" y="1020"/>
                  </a:lnTo>
                  <a:lnTo>
                    <a:pt x="182" y="1017"/>
                  </a:lnTo>
                  <a:lnTo>
                    <a:pt x="180" y="1017"/>
                  </a:lnTo>
                  <a:lnTo>
                    <a:pt x="182" y="1017"/>
                  </a:lnTo>
                  <a:lnTo>
                    <a:pt x="182" y="1015"/>
                  </a:lnTo>
                  <a:lnTo>
                    <a:pt x="185" y="1015"/>
                  </a:lnTo>
                  <a:lnTo>
                    <a:pt x="187" y="1015"/>
                  </a:lnTo>
                  <a:lnTo>
                    <a:pt x="189" y="1015"/>
                  </a:lnTo>
                  <a:lnTo>
                    <a:pt x="192" y="1015"/>
                  </a:lnTo>
                  <a:lnTo>
                    <a:pt x="194" y="1012"/>
                  </a:lnTo>
                  <a:lnTo>
                    <a:pt x="194" y="1015"/>
                  </a:lnTo>
                  <a:lnTo>
                    <a:pt x="197" y="1015"/>
                  </a:lnTo>
                  <a:lnTo>
                    <a:pt x="199" y="1015"/>
                  </a:lnTo>
                  <a:lnTo>
                    <a:pt x="201" y="1015"/>
                  </a:lnTo>
                  <a:lnTo>
                    <a:pt x="204" y="1015"/>
                  </a:lnTo>
                  <a:lnTo>
                    <a:pt x="206" y="1015"/>
                  </a:lnTo>
                  <a:lnTo>
                    <a:pt x="208" y="1015"/>
                  </a:lnTo>
                  <a:lnTo>
                    <a:pt x="211" y="1015"/>
                  </a:lnTo>
                  <a:lnTo>
                    <a:pt x="208" y="1015"/>
                  </a:lnTo>
                  <a:lnTo>
                    <a:pt x="208" y="1012"/>
                  </a:lnTo>
                  <a:lnTo>
                    <a:pt x="208" y="1015"/>
                  </a:lnTo>
                  <a:lnTo>
                    <a:pt x="208" y="1012"/>
                  </a:lnTo>
                  <a:lnTo>
                    <a:pt x="206" y="1012"/>
                  </a:lnTo>
                  <a:lnTo>
                    <a:pt x="204" y="1012"/>
                  </a:lnTo>
                  <a:lnTo>
                    <a:pt x="204" y="1010"/>
                  </a:lnTo>
                  <a:lnTo>
                    <a:pt x="206" y="1010"/>
                  </a:lnTo>
                  <a:lnTo>
                    <a:pt x="206" y="1008"/>
                  </a:lnTo>
                  <a:lnTo>
                    <a:pt x="206" y="1010"/>
                  </a:lnTo>
                  <a:lnTo>
                    <a:pt x="206" y="1008"/>
                  </a:lnTo>
                  <a:lnTo>
                    <a:pt x="206" y="1010"/>
                  </a:lnTo>
                  <a:lnTo>
                    <a:pt x="206" y="1008"/>
                  </a:lnTo>
                  <a:lnTo>
                    <a:pt x="206" y="1010"/>
                  </a:lnTo>
                  <a:lnTo>
                    <a:pt x="206" y="1008"/>
                  </a:lnTo>
                  <a:lnTo>
                    <a:pt x="208" y="1008"/>
                  </a:lnTo>
                  <a:lnTo>
                    <a:pt x="206" y="1008"/>
                  </a:lnTo>
                  <a:lnTo>
                    <a:pt x="208" y="1008"/>
                  </a:lnTo>
                  <a:lnTo>
                    <a:pt x="206" y="1008"/>
                  </a:lnTo>
                  <a:lnTo>
                    <a:pt x="208" y="1005"/>
                  </a:lnTo>
                  <a:lnTo>
                    <a:pt x="206" y="1005"/>
                  </a:lnTo>
                  <a:lnTo>
                    <a:pt x="206" y="1008"/>
                  </a:lnTo>
                  <a:lnTo>
                    <a:pt x="204" y="1008"/>
                  </a:lnTo>
                  <a:lnTo>
                    <a:pt x="201" y="1008"/>
                  </a:lnTo>
                  <a:lnTo>
                    <a:pt x="201" y="1010"/>
                  </a:lnTo>
                  <a:lnTo>
                    <a:pt x="199" y="1010"/>
                  </a:lnTo>
                  <a:lnTo>
                    <a:pt x="199" y="1008"/>
                  </a:lnTo>
                  <a:lnTo>
                    <a:pt x="201" y="1008"/>
                  </a:lnTo>
                  <a:lnTo>
                    <a:pt x="201" y="1005"/>
                  </a:lnTo>
                  <a:lnTo>
                    <a:pt x="204" y="1005"/>
                  </a:lnTo>
                  <a:lnTo>
                    <a:pt x="204" y="1003"/>
                  </a:lnTo>
                  <a:lnTo>
                    <a:pt x="206" y="1003"/>
                  </a:lnTo>
                  <a:lnTo>
                    <a:pt x="208" y="1003"/>
                  </a:lnTo>
                  <a:lnTo>
                    <a:pt x="208" y="1001"/>
                  </a:lnTo>
                  <a:lnTo>
                    <a:pt x="211" y="1001"/>
                  </a:lnTo>
                  <a:lnTo>
                    <a:pt x="211" y="998"/>
                  </a:lnTo>
                  <a:lnTo>
                    <a:pt x="211" y="1001"/>
                  </a:lnTo>
                  <a:lnTo>
                    <a:pt x="213" y="998"/>
                  </a:lnTo>
                  <a:lnTo>
                    <a:pt x="213" y="1001"/>
                  </a:lnTo>
                  <a:lnTo>
                    <a:pt x="216" y="1001"/>
                  </a:lnTo>
                  <a:lnTo>
                    <a:pt x="213" y="1001"/>
                  </a:lnTo>
                  <a:lnTo>
                    <a:pt x="216" y="1001"/>
                  </a:lnTo>
                  <a:lnTo>
                    <a:pt x="216" y="998"/>
                  </a:lnTo>
                  <a:lnTo>
                    <a:pt x="218" y="998"/>
                  </a:lnTo>
                  <a:lnTo>
                    <a:pt x="218" y="1001"/>
                  </a:lnTo>
                  <a:lnTo>
                    <a:pt x="218" y="998"/>
                  </a:lnTo>
                  <a:lnTo>
                    <a:pt x="218" y="996"/>
                  </a:lnTo>
                  <a:lnTo>
                    <a:pt x="220" y="996"/>
                  </a:lnTo>
                  <a:lnTo>
                    <a:pt x="220" y="998"/>
                  </a:lnTo>
                  <a:lnTo>
                    <a:pt x="223" y="998"/>
                  </a:lnTo>
                  <a:lnTo>
                    <a:pt x="220" y="998"/>
                  </a:lnTo>
                  <a:lnTo>
                    <a:pt x="223" y="998"/>
                  </a:lnTo>
                  <a:lnTo>
                    <a:pt x="223" y="996"/>
                  </a:lnTo>
                  <a:lnTo>
                    <a:pt x="225" y="996"/>
                  </a:lnTo>
                  <a:lnTo>
                    <a:pt x="227" y="993"/>
                  </a:lnTo>
                  <a:lnTo>
                    <a:pt x="227" y="996"/>
                  </a:lnTo>
                  <a:lnTo>
                    <a:pt x="227" y="993"/>
                  </a:lnTo>
                  <a:lnTo>
                    <a:pt x="225" y="993"/>
                  </a:lnTo>
                  <a:lnTo>
                    <a:pt x="225" y="991"/>
                  </a:lnTo>
                  <a:lnTo>
                    <a:pt x="225" y="993"/>
                  </a:lnTo>
                  <a:lnTo>
                    <a:pt x="223" y="993"/>
                  </a:lnTo>
                  <a:lnTo>
                    <a:pt x="220" y="993"/>
                  </a:lnTo>
                  <a:lnTo>
                    <a:pt x="223" y="993"/>
                  </a:lnTo>
                  <a:lnTo>
                    <a:pt x="223" y="991"/>
                  </a:lnTo>
                  <a:lnTo>
                    <a:pt x="220" y="991"/>
                  </a:lnTo>
                  <a:lnTo>
                    <a:pt x="223" y="991"/>
                  </a:lnTo>
                  <a:lnTo>
                    <a:pt x="225" y="991"/>
                  </a:lnTo>
                  <a:lnTo>
                    <a:pt x="225" y="989"/>
                  </a:lnTo>
                  <a:lnTo>
                    <a:pt x="223" y="989"/>
                  </a:lnTo>
                  <a:lnTo>
                    <a:pt x="225" y="989"/>
                  </a:lnTo>
                  <a:lnTo>
                    <a:pt x="223" y="989"/>
                  </a:lnTo>
                  <a:lnTo>
                    <a:pt x="225" y="989"/>
                  </a:lnTo>
                  <a:lnTo>
                    <a:pt x="223" y="986"/>
                  </a:lnTo>
                  <a:lnTo>
                    <a:pt x="225" y="986"/>
                  </a:lnTo>
                  <a:lnTo>
                    <a:pt x="223" y="986"/>
                  </a:lnTo>
                  <a:lnTo>
                    <a:pt x="223" y="989"/>
                  </a:lnTo>
                  <a:lnTo>
                    <a:pt x="223" y="991"/>
                  </a:lnTo>
                  <a:lnTo>
                    <a:pt x="220" y="991"/>
                  </a:lnTo>
                  <a:lnTo>
                    <a:pt x="218" y="991"/>
                  </a:lnTo>
                  <a:lnTo>
                    <a:pt x="216" y="993"/>
                  </a:lnTo>
                  <a:lnTo>
                    <a:pt x="213" y="991"/>
                  </a:lnTo>
                  <a:lnTo>
                    <a:pt x="213" y="989"/>
                  </a:lnTo>
                  <a:lnTo>
                    <a:pt x="216" y="989"/>
                  </a:lnTo>
                  <a:lnTo>
                    <a:pt x="218" y="989"/>
                  </a:lnTo>
                  <a:lnTo>
                    <a:pt x="218" y="986"/>
                  </a:lnTo>
                  <a:lnTo>
                    <a:pt x="220" y="986"/>
                  </a:lnTo>
                  <a:lnTo>
                    <a:pt x="220" y="984"/>
                  </a:lnTo>
                  <a:lnTo>
                    <a:pt x="223" y="984"/>
                  </a:lnTo>
                  <a:lnTo>
                    <a:pt x="223" y="986"/>
                  </a:lnTo>
                  <a:lnTo>
                    <a:pt x="223" y="984"/>
                  </a:lnTo>
                  <a:lnTo>
                    <a:pt x="225" y="986"/>
                  </a:lnTo>
                  <a:lnTo>
                    <a:pt x="225" y="984"/>
                  </a:lnTo>
                  <a:lnTo>
                    <a:pt x="227" y="984"/>
                  </a:lnTo>
                  <a:lnTo>
                    <a:pt x="227" y="982"/>
                  </a:lnTo>
                  <a:lnTo>
                    <a:pt x="227" y="984"/>
                  </a:lnTo>
                  <a:lnTo>
                    <a:pt x="227" y="982"/>
                  </a:lnTo>
                  <a:lnTo>
                    <a:pt x="227" y="984"/>
                  </a:lnTo>
                  <a:lnTo>
                    <a:pt x="227" y="982"/>
                  </a:lnTo>
                  <a:lnTo>
                    <a:pt x="225" y="982"/>
                  </a:lnTo>
                  <a:lnTo>
                    <a:pt x="227" y="982"/>
                  </a:lnTo>
                  <a:lnTo>
                    <a:pt x="225" y="982"/>
                  </a:lnTo>
                  <a:lnTo>
                    <a:pt x="223" y="982"/>
                  </a:lnTo>
                  <a:lnTo>
                    <a:pt x="225" y="982"/>
                  </a:lnTo>
                  <a:lnTo>
                    <a:pt x="223" y="982"/>
                  </a:lnTo>
                  <a:lnTo>
                    <a:pt x="225" y="982"/>
                  </a:lnTo>
                  <a:lnTo>
                    <a:pt x="223" y="982"/>
                  </a:lnTo>
                  <a:lnTo>
                    <a:pt x="220" y="982"/>
                  </a:lnTo>
                  <a:lnTo>
                    <a:pt x="220" y="979"/>
                  </a:lnTo>
                  <a:lnTo>
                    <a:pt x="223" y="979"/>
                  </a:lnTo>
                  <a:lnTo>
                    <a:pt x="223" y="977"/>
                  </a:lnTo>
                  <a:lnTo>
                    <a:pt x="223" y="979"/>
                  </a:lnTo>
                  <a:lnTo>
                    <a:pt x="223" y="977"/>
                  </a:lnTo>
                  <a:lnTo>
                    <a:pt x="225" y="977"/>
                  </a:lnTo>
                  <a:lnTo>
                    <a:pt x="223" y="977"/>
                  </a:lnTo>
                  <a:lnTo>
                    <a:pt x="223" y="979"/>
                  </a:lnTo>
                  <a:lnTo>
                    <a:pt x="220" y="979"/>
                  </a:lnTo>
                  <a:lnTo>
                    <a:pt x="218" y="979"/>
                  </a:lnTo>
                  <a:lnTo>
                    <a:pt x="218" y="982"/>
                  </a:lnTo>
                  <a:lnTo>
                    <a:pt x="218" y="984"/>
                  </a:lnTo>
                  <a:lnTo>
                    <a:pt x="216" y="984"/>
                  </a:lnTo>
                  <a:lnTo>
                    <a:pt x="213" y="984"/>
                  </a:lnTo>
                  <a:lnTo>
                    <a:pt x="213" y="986"/>
                  </a:lnTo>
                  <a:lnTo>
                    <a:pt x="211" y="986"/>
                  </a:lnTo>
                  <a:lnTo>
                    <a:pt x="211" y="989"/>
                  </a:lnTo>
                  <a:lnTo>
                    <a:pt x="208" y="989"/>
                  </a:lnTo>
                  <a:lnTo>
                    <a:pt x="206" y="991"/>
                  </a:lnTo>
                  <a:lnTo>
                    <a:pt x="204" y="991"/>
                  </a:lnTo>
                  <a:lnTo>
                    <a:pt x="201" y="991"/>
                  </a:lnTo>
                  <a:lnTo>
                    <a:pt x="199" y="993"/>
                  </a:lnTo>
                  <a:lnTo>
                    <a:pt x="201" y="993"/>
                  </a:lnTo>
                  <a:lnTo>
                    <a:pt x="204" y="991"/>
                  </a:lnTo>
                  <a:lnTo>
                    <a:pt x="206" y="991"/>
                  </a:lnTo>
                  <a:lnTo>
                    <a:pt x="208" y="991"/>
                  </a:lnTo>
                  <a:lnTo>
                    <a:pt x="208" y="989"/>
                  </a:lnTo>
                  <a:lnTo>
                    <a:pt x="211" y="989"/>
                  </a:lnTo>
                  <a:lnTo>
                    <a:pt x="213" y="989"/>
                  </a:lnTo>
                  <a:lnTo>
                    <a:pt x="213" y="991"/>
                  </a:lnTo>
                  <a:lnTo>
                    <a:pt x="213" y="993"/>
                  </a:lnTo>
                  <a:lnTo>
                    <a:pt x="211" y="993"/>
                  </a:lnTo>
                  <a:lnTo>
                    <a:pt x="211" y="996"/>
                  </a:lnTo>
                  <a:lnTo>
                    <a:pt x="211" y="998"/>
                  </a:lnTo>
                  <a:lnTo>
                    <a:pt x="208" y="998"/>
                  </a:lnTo>
                  <a:lnTo>
                    <a:pt x="206" y="998"/>
                  </a:lnTo>
                  <a:lnTo>
                    <a:pt x="206" y="1001"/>
                  </a:lnTo>
                  <a:lnTo>
                    <a:pt x="204" y="1001"/>
                  </a:lnTo>
                  <a:lnTo>
                    <a:pt x="201" y="1001"/>
                  </a:lnTo>
                  <a:lnTo>
                    <a:pt x="199" y="1001"/>
                  </a:lnTo>
                  <a:lnTo>
                    <a:pt x="199" y="1003"/>
                  </a:lnTo>
                  <a:lnTo>
                    <a:pt x="197" y="1003"/>
                  </a:lnTo>
                  <a:lnTo>
                    <a:pt x="197" y="1005"/>
                  </a:lnTo>
                  <a:lnTo>
                    <a:pt x="194" y="1005"/>
                  </a:lnTo>
                  <a:lnTo>
                    <a:pt x="192" y="1005"/>
                  </a:lnTo>
                  <a:lnTo>
                    <a:pt x="194" y="1005"/>
                  </a:lnTo>
                  <a:lnTo>
                    <a:pt x="192" y="1005"/>
                  </a:lnTo>
                  <a:lnTo>
                    <a:pt x="192" y="1008"/>
                  </a:lnTo>
                  <a:lnTo>
                    <a:pt x="189" y="1008"/>
                  </a:lnTo>
                  <a:lnTo>
                    <a:pt x="187" y="1008"/>
                  </a:lnTo>
                  <a:lnTo>
                    <a:pt x="185" y="1008"/>
                  </a:lnTo>
                  <a:lnTo>
                    <a:pt x="185" y="1010"/>
                  </a:lnTo>
                  <a:lnTo>
                    <a:pt x="182" y="1010"/>
                  </a:lnTo>
                  <a:lnTo>
                    <a:pt x="182" y="1012"/>
                  </a:lnTo>
                  <a:lnTo>
                    <a:pt x="180" y="1012"/>
                  </a:lnTo>
                  <a:lnTo>
                    <a:pt x="178" y="1012"/>
                  </a:lnTo>
                  <a:lnTo>
                    <a:pt x="178" y="1010"/>
                  </a:lnTo>
                  <a:lnTo>
                    <a:pt x="175" y="1010"/>
                  </a:lnTo>
                  <a:lnTo>
                    <a:pt x="175" y="1008"/>
                  </a:lnTo>
                  <a:lnTo>
                    <a:pt x="175" y="1005"/>
                  </a:lnTo>
                  <a:lnTo>
                    <a:pt x="173" y="1005"/>
                  </a:lnTo>
                  <a:lnTo>
                    <a:pt x="173" y="1003"/>
                  </a:lnTo>
                  <a:lnTo>
                    <a:pt x="173" y="1001"/>
                  </a:lnTo>
                  <a:lnTo>
                    <a:pt x="175" y="1001"/>
                  </a:lnTo>
                  <a:lnTo>
                    <a:pt x="173" y="1001"/>
                  </a:lnTo>
                  <a:lnTo>
                    <a:pt x="175" y="1001"/>
                  </a:lnTo>
                  <a:lnTo>
                    <a:pt x="178" y="1001"/>
                  </a:lnTo>
                  <a:lnTo>
                    <a:pt x="178" y="998"/>
                  </a:lnTo>
                  <a:lnTo>
                    <a:pt x="178" y="1001"/>
                  </a:lnTo>
                  <a:lnTo>
                    <a:pt x="178" y="998"/>
                  </a:lnTo>
                  <a:lnTo>
                    <a:pt x="178" y="1001"/>
                  </a:lnTo>
                  <a:lnTo>
                    <a:pt x="180" y="998"/>
                  </a:lnTo>
                  <a:lnTo>
                    <a:pt x="182" y="998"/>
                  </a:lnTo>
                  <a:lnTo>
                    <a:pt x="180" y="998"/>
                  </a:lnTo>
                  <a:lnTo>
                    <a:pt x="182" y="998"/>
                  </a:lnTo>
                  <a:lnTo>
                    <a:pt x="180" y="998"/>
                  </a:lnTo>
                  <a:lnTo>
                    <a:pt x="180" y="996"/>
                  </a:lnTo>
                  <a:lnTo>
                    <a:pt x="182" y="996"/>
                  </a:lnTo>
                  <a:lnTo>
                    <a:pt x="180" y="996"/>
                  </a:lnTo>
                  <a:lnTo>
                    <a:pt x="178" y="996"/>
                  </a:lnTo>
                  <a:lnTo>
                    <a:pt x="178" y="998"/>
                  </a:lnTo>
                  <a:lnTo>
                    <a:pt x="175" y="998"/>
                  </a:lnTo>
                  <a:lnTo>
                    <a:pt x="173" y="998"/>
                  </a:lnTo>
                  <a:lnTo>
                    <a:pt x="173" y="1001"/>
                  </a:lnTo>
                  <a:lnTo>
                    <a:pt x="171" y="1001"/>
                  </a:lnTo>
                  <a:lnTo>
                    <a:pt x="168" y="1001"/>
                  </a:lnTo>
                  <a:lnTo>
                    <a:pt x="166" y="1001"/>
                  </a:lnTo>
                  <a:lnTo>
                    <a:pt x="166" y="1003"/>
                  </a:lnTo>
                  <a:lnTo>
                    <a:pt x="163" y="1003"/>
                  </a:lnTo>
                  <a:lnTo>
                    <a:pt x="166" y="1003"/>
                  </a:lnTo>
                  <a:lnTo>
                    <a:pt x="163" y="1003"/>
                  </a:lnTo>
                  <a:lnTo>
                    <a:pt x="163" y="1001"/>
                  </a:lnTo>
                  <a:lnTo>
                    <a:pt x="166" y="1001"/>
                  </a:lnTo>
                  <a:lnTo>
                    <a:pt x="163" y="1001"/>
                  </a:lnTo>
                  <a:lnTo>
                    <a:pt x="166" y="1001"/>
                  </a:lnTo>
                  <a:lnTo>
                    <a:pt x="163" y="1001"/>
                  </a:lnTo>
                  <a:lnTo>
                    <a:pt x="166" y="1001"/>
                  </a:lnTo>
                  <a:lnTo>
                    <a:pt x="163" y="1001"/>
                  </a:lnTo>
                  <a:lnTo>
                    <a:pt x="166" y="1001"/>
                  </a:lnTo>
                  <a:lnTo>
                    <a:pt x="163" y="1001"/>
                  </a:lnTo>
                  <a:lnTo>
                    <a:pt x="166" y="1001"/>
                  </a:lnTo>
                  <a:lnTo>
                    <a:pt x="163" y="1001"/>
                  </a:lnTo>
                  <a:lnTo>
                    <a:pt x="163" y="998"/>
                  </a:lnTo>
                  <a:lnTo>
                    <a:pt x="163" y="1001"/>
                  </a:lnTo>
                  <a:lnTo>
                    <a:pt x="163" y="998"/>
                  </a:lnTo>
                  <a:lnTo>
                    <a:pt x="166" y="998"/>
                  </a:lnTo>
                  <a:lnTo>
                    <a:pt x="168" y="998"/>
                  </a:lnTo>
                  <a:lnTo>
                    <a:pt x="168" y="996"/>
                  </a:lnTo>
                  <a:lnTo>
                    <a:pt x="171" y="998"/>
                  </a:lnTo>
                  <a:lnTo>
                    <a:pt x="171" y="996"/>
                  </a:lnTo>
                  <a:lnTo>
                    <a:pt x="173" y="996"/>
                  </a:lnTo>
                  <a:lnTo>
                    <a:pt x="171" y="996"/>
                  </a:lnTo>
                  <a:lnTo>
                    <a:pt x="168" y="996"/>
                  </a:lnTo>
                  <a:lnTo>
                    <a:pt x="166" y="996"/>
                  </a:lnTo>
                  <a:lnTo>
                    <a:pt x="163" y="996"/>
                  </a:lnTo>
                  <a:lnTo>
                    <a:pt x="166" y="996"/>
                  </a:lnTo>
                  <a:lnTo>
                    <a:pt x="166" y="993"/>
                  </a:lnTo>
                  <a:lnTo>
                    <a:pt x="168" y="993"/>
                  </a:lnTo>
                  <a:lnTo>
                    <a:pt x="166" y="993"/>
                  </a:lnTo>
                  <a:lnTo>
                    <a:pt x="168" y="993"/>
                  </a:lnTo>
                  <a:lnTo>
                    <a:pt x="168" y="991"/>
                  </a:lnTo>
                  <a:lnTo>
                    <a:pt x="171" y="991"/>
                  </a:lnTo>
                  <a:lnTo>
                    <a:pt x="168" y="991"/>
                  </a:lnTo>
                  <a:lnTo>
                    <a:pt x="171" y="991"/>
                  </a:lnTo>
                  <a:lnTo>
                    <a:pt x="173" y="991"/>
                  </a:lnTo>
                  <a:lnTo>
                    <a:pt x="173" y="993"/>
                  </a:lnTo>
                  <a:lnTo>
                    <a:pt x="173" y="991"/>
                  </a:lnTo>
                  <a:lnTo>
                    <a:pt x="173" y="993"/>
                  </a:lnTo>
                  <a:lnTo>
                    <a:pt x="173" y="991"/>
                  </a:lnTo>
                  <a:lnTo>
                    <a:pt x="171" y="993"/>
                  </a:lnTo>
                  <a:lnTo>
                    <a:pt x="168" y="993"/>
                  </a:lnTo>
                  <a:lnTo>
                    <a:pt x="171" y="993"/>
                  </a:lnTo>
                  <a:lnTo>
                    <a:pt x="173" y="993"/>
                  </a:lnTo>
                  <a:lnTo>
                    <a:pt x="173" y="991"/>
                  </a:lnTo>
                  <a:lnTo>
                    <a:pt x="175" y="991"/>
                  </a:lnTo>
                  <a:lnTo>
                    <a:pt x="173" y="991"/>
                  </a:lnTo>
                  <a:lnTo>
                    <a:pt x="175" y="991"/>
                  </a:lnTo>
                  <a:lnTo>
                    <a:pt x="173" y="991"/>
                  </a:lnTo>
                  <a:lnTo>
                    <a:pt x="173" y="989"/>
                  </a:lnTo>
                  <a:lnTo>
                    <a:pt x="175" y="989"/>
                  </a:lnTo>
                  <a:lnTo>
                    <a:pt x="178" y="989"/>
                  </a:lnTo>
                  <a:lnTo>
                    <a:pt x="175" y="991"/>
                  </a:lnTo>
                  <a:lnTo>
                    <a:pt x="178" y="991"/>
                  </a:lnTo>
                  <a:lnTo>
                    <a:pt x="178" y="989"/>
                  </a:lnTo>
                  <a:lnTo>
                    <a:pt x="180" y="989"/>
                  </a:lnTo>
                  <a:lnTo>
                    <a:pt x="182" y="989"/>
                  </a:lnTo>
                  <a:lnTo>
                    <a:pt x="182" y="986"/>
                  </a:lnTo>
                  <a:lnTo>
                    <a:pt x="185" y="986"/>
                  </a:lnTo>
                  <a:lnTo>
                    <a:pt x="185" y="989"/>
                  </a:lnTo>
                  <a:lnTo>
                    <a:pt x="187" y="989"/>
                  </a:lnTo>
                  <a:lnTo>
                    <a:pt x="187" y="986"/>
                  </a:lnTo>
                  <a:lnTo>
                    <a:pt x="185" y="986"/>
                  </a:lnTo>
                  <a:lnTo>
                    <a:pt x="187" y="986"/>
                  </a:lnTo>
                  <a:lnTo>
                    <a:pt x="185" y="986"/>
                  </a:lnTo>
                  <a:lnTo>
                    <a:pt x="182" y="986"/>
                  </a:lnTo>
                  <a:lnTo>
                    <a:pt x="182" y="989"/>
                  </a:lnTo>
                  <a:lnTo>
                    <a:pt x="180" y="989"/>
                  </a:lnTo>
                  <a:lnTo>
                    <a:pt x="180" y="986"/>
                  </a:lnTo>
                  <a:lnTo>
                    <a:pt x="180" y="989"/>
                  </a:lnTo>
                  <a:lnTo>
                    <a:pt x="178" y="989"/>
                  </a:lnTo>
                  <a:lnTo>
                    <a:pt x="180" y="989"/>
                  </a:lnTo>
                  <a:lnTo>
                    <a:pt x="178" y="989"/>
                  </a:lnTo>
                  <a:lnTo>
                    <a:pt x="175" y="989"/>
                  </a:lnTo>
                  <a:lnTo>
                    <a:pt x="178" y="989"/>
                  </a:lnTo>
                  <a:lnTo>
                    <a:pt x="178" y="986"/>
                  </a:lnTo>
                  <a:lnTo>
                    <a:pt x="180" y="986"/>
                  </a:lnTo>
                  <a:lnTo>
                    <a:pt x="182" y="986"/>
                  </a:lnTo>
                  <a:lnTo>
                    <a:pt x="180" y="986"/>
                  </a:lnTo>
                  <a:lnTo>
                    <a:pt x="182" y="986"/>
                  </a:lnTo>
                  <a:lnTo>
                    <a:pt x="182" y="984"/>
                  </a:lnTo>
                  <a:lnTo>
                    <a:pt x="182" y="986"/>
                  </a:lnTo>
                  <a:lnTo>
                    <a:pt x="180" y="986"/>
                  </a:lnTo>
                  <a:lnTo>
                    <a:pt x="182" y="986"/>
                  </a:lnTo>
                  <a:lnTo>
                    <a:pt x="182" y="984"/>
                  </a:lnTo>
                  <a:lnTo>
                    <a:pt x="180" y="986"/>
                  </a:lnTo>
                  <a:lnTo>
                    <a:pt x="180" y="984"/>
                  </a:lnTo>
                  <a:lnTo>
                    <a:pt x="180" y="986"/>
                  </a:lnTo>
                  <a:lnTo>
                    <a:pt x="178" y="986"/>
                  </a:lnTo>
                  <a:lnTo>
                    <a:pt x="178" y="984"/>
                  </a:lnTo>
                  <a:lnTo>
                    <a:pt x="180" y="984"/>
                  </a:lnTo>
                  <a:lnTo>
                    <a:pt x="178" y="984"/>
                  </a:lnTo>
                  <a:lnTo>
                    <a:pt x="180" y="984"/>
                  </a:lnTo>
                  <a:lnTo>
                    <a:pt x="178" y="984"/>
                  </a:lnTo>
                  <a:lnTo>
                    <a:pt x="180" y="984"/>
                  </a:lnTo>
                  <a:lnTo>
                    <a:pt x="178" y="984"/>
                  </a:lnTo>
                  <a:lnTo>
                    <a:pt x="178" y="982"/>
                  </a:lnTo>
                  <a:lnTo>
                    <a:pt x="180" y="982"/>
                  </a:lnTo>
                  <a:lnTo>
                    <a:pt x="180" y="984"/>
                  </a:lnTo>
                  <a:lnTo>
                    <a:pt x="180" y="982"/>
                  </a:lnTo>
                  <a:lnTo>
                    <a:pt x="178" y="982"/>
                  </a:lnTo>
                  <a:lnTo>
                    <a:pt x="180" y="982"/>
                  </a:lnTo>
                  <a:lnTo>
                    <a:pt x="182" y="982"/>
                  </a:lnTo>
                  <a:lnTo>
                    <a:pt x="180" y="982"/>
                  </a:lnTo>
                  <a:lnTo>
                    <a:pt x="180" y="979"/>
                  </a:lnTo>
                  <a:lnTo>
                    <a:pt x="180" y="982"/>
                  </a:lnTo>
                  <a:lnTo>
                    <a:pt x="180" y="979"/>
                  </a:lnTo>
                  <a:lnTo>
                    <a:pt x="180" y="977"/>
                  </a:lnTo>
                  <a:lnTo>
                    <a:pt x="182" y="977"/>
                  </a:lnTo>
                  <a:lnTo>
                    <a:pt x="182" y="979"/>
                  </a:lnTo>
                  <a:lnTo>
                    <a:pt x="185" y="979"/>
                  </a:lnTo>
                  <a:lnTo>
                    <a:pt x="187" y="979"/>
                  </a:lnTo>
                  <a:lnTo>
                    <a:pt x="187" y="977"/>
                  </a:lnTo>
                  <a:lnTo>
                    <a:pt x="185" y="977"/>
                  </a:lnTo>
                  <a:lnTo>
                    <a:pt x="182" y="977"/>
                  </a:lnTo>
                  <a:lnTo>
                    <a:pt x="185" y="974"/>
                  </a:lnTo>
                  <a:lnTo>
                    <a:pt x="187" y="974"/>
                  </a:lnTo>
                  <a:lnTo>
                    <a:pt x="185" y="974"/>
                  </a:lnTo>
                  <a:lnTo>
                    <a:pt x="187" y="974"/>
                  </a:lnTo>
                  <a:lnTo>
                    <a:pt x="185" y="974"/>
                  </a:lnTo>
                  <a:lnTo>
                    <a:pt x="187" y="974"/>
                  </a:lnTo>
                  <a:lnTo>
                    <a:pt x="185" y="974"/>
                  </a:lnTo>
                  <a:lnTo>
                    <a:pt x="185" y="972"/>
                  </a:lnTo>
                  <a:lnTo>
                    <a:pt x="187" y="972"/>
                  </a:lnTo>
                  <a:lnTo>
                    <a:pt x="189" y="972"/>
                  </a:lnTo>
                  <a:lnTo>
                    <a:pt x="187" y="972"/>
                  </a:lnTo>
                  <a:lnTo>
                    <a:pt x="189" y="972"/>
                  </a:lnTo>
                  <a:lnTo>
                    <a:pt x="192" y="972"/>
                  </a:lnTo>
                  <a:lnTo>
                    <a:pt x="189" y="974"/>
                  </a:lnTo>
                  <a:lnTo>
                    <a:pt x="192" y="974"/>
                  </a:lnTo>
                  <a:lnTo>
                    <a:pt x="189" y="974"/>
                  </a:lnTo>
                  <a:lnTo>
                    <a:pt x="192" y="974"/>
                  </a:lnTo>
                  <a:lnTo>
                    <a:pt x="192" y="972"/>
                  </a:lnTo>
                  <a:lnTo>
                    <a:pt x="189" y="972"/>
                  </a:lnTo>
                  <a:lnTo>
                    <a:pt x="187" y="972"/>
                  </a:lnTo>
                  <a:lnTo>
                    <a:pt x="187" y="970"/>
                  </a:lnTo>
                  <a:lnTo>
                    <a:pt x="189" y="970"/>
                  </a:lnTo>
                  <a:lnTo>
                    <a:pt x="189" y="967"/>
                  </a:lnTo>
                  <a:lnTo>
                    <a:pt x="192" y="967"/>
                  </a:lnTo>
                  <a:lnTo>
                    <a:pt x="192" y="970"/>
                  </a:lnTo>
                  <a:lnTo>
                    <a:pt x="192" y="967"/>
                  </a:lnTo>
                  <a:lnTo>
                    <a:pt x="194" y="967"/>
                  </a:lnTo>
                  <a:lnTo>
                    <a:pt x="194" y="965"/>
                  </a:lnTo>
                  <a:lnTo>
                    <a:pt x="197" y="965"/>
                  </a:lnTo>
                  <a:lnTo>
                    <a:pt x="194" y="965"/>
                  </a:lnTo>
                  <a:lnTo>
                    <a:pt x="194" y="963"/>
                  </a:lnTo>
                  <a:lnTo>
                    <a:pt x="194" y="965"/>
                  </a:lnTo>
                  <a:lnTo>
                    <a:pt x="197" y="965"/>
                  </a:lnTo>
                  <a:lnTo>
                    <a:pt x="197" y="963"/>
                  </a:lnTo>
                  <a:lnTo>
                    <a:pt x="199" y="963"/>
                  </a:lnTo>
                  <a:lnTo>
                    <a:pt x="199" y="965"/>
                  </a:lnTo>
                  <a:lnTo>
                    <a:pt x="201" y="965"/>
                  </a:lnTo>
                  <a:lnTo>
                    <a:pt x="201" y="963"/>
                  </a:lnTo>
                  <a:lnTo>
                    <a:pt x="199" y="963"/>
                  </a:lnTo>
                  <a:lnTo>
                    <a:pt x="197" y="963"/>
                  </a:lnTo>
                  <a:lnTo>
                    <a:pt x="199" y="963"/>
                  </a:lnTo>
                  <a:lnTo>
                    <a:pt x="197" y="960"/>
                  </a:lnTo>
                  <a:lnTo>
                    <a:pt x="197" y="963"/>
                  </a:lnTo>
                  <a:lnTo>
                    <a:pt x="194" y="963"/>
                  </a:lnTo>
                  <a:lnTo>
                    <a:pt x="194" y="960"/>
                  </a:lnTo>
                  <a:lnTo>
                    <a:pt x="197" y="960"/>
                  </a:lnTo>
                  <a:lnTo>
                    <a:pt x="199" y="960"/>
                  </a:lnTo>
                  <a:lnTo>
                    <a:pt x="199" y="963"/>
                  </a:lnTo>
                  <a:lnTo>
                    <a:pt x="199" y="960"/>
                  </a:lnTo>
                  <a:lnTo>
                    <a:pt x="197" y="960"/>
                  </a:lnTo>
                  <a:lnTo>
                    <a:pt x="197" y="958"/>
                  </a:lnTo>
                  <a:lnTo>
                    <a:pt x="197" y="960"/>
                  </a:lnTo>
                  <a:lnTo>
                    <a:pt x="199" y="960"/>
                  </a:lnTo>
                  <a:lnTo>
                    <a:pt x="199" y="958"/>
                  </a:lnTo>
                  <a:lnTo>
                    <a:pt x="199" y="960"/>
                  </a:lnTo>
                  <a:lnTo>
                    <a:pt x="201" y="960"/>
                  </a:lnTo>
                  <a:lnTo>
                    <a:pt x="204" y="960"/>
                  </a:lnTo>
                  <a:lnTo>
                    <a:pt x="204" y="963"/>
                  </a:lnTo>
                  <a:lnTo>
                    <a:pt x="206" y="963"/>
                  </a:lnTo>
                  <a:lnTo>
                    <a:pt x="204" y="960"/>
                  </a:lnTo>
                  <a:lnTo>
                    <a:pt x="206" y="960"/>
                  </a:lnTo>
                  <a:lnTo>
                    <a:pt x="204" y="960"/>
                  </a:lnTo>
                  <a:lnTo>
                    <a:pt x="206" y="960"/>
                  </a:lnTo>
                  <a:lnTo>
                    <a:pt x="204" y="960"/>
                  </a:lnTo>
                  <a:lnTo>
                    <a:pt x="204" y="958"/>
                  </a:lnTo>
                  <a:lnTo>
                    <a:pt x="204" y="960"/>
                  </a:lnTo>
                  <a:lnTo>
                    <a:pt x="201" y="960"/>
                  </a:lnTo>
                  <a:lnTo>
                    <a:pt x="201" y="958"/>
                  </a:lnTo>
                  <a:lnTo>
                    <a:pt x="204" y="958"/>
                  </a:lnTo>
                  <a:lnTo>
                    <a:pt x="204" y="955"/>
                  </a:lnTo>
                  <a:lnTo>
                    <a:pt x="206" y="955"/>
                  </a:lnTo>
                  <a:lnTo>
                    <a:pt x="208" y="955"/>
                  </a:lnTo>
                  <a:lnTo>
                    <a:pt x="208" y="958"/>
                  </a:lnTo>
                  <a:lnTo>
                    <a:pt x="208" y="955"/>
                  </a:lnTo>
                  <a:lnTo>
                    <a:pt x="211" y="955"/>
                  </a:lnTo>
                  <a:lnTo>
                    <a:pt x="211" y="953"/>
                  </a:lnTo>
                  <a:lnTo>
                    <a:pt x="208" y="953"/>
                  </a:lnTo>
                  <a:lnTo>
                    <a:pt x="208" y="951"/>
                  </a:lnTo>
                  <a:lnTo>
                    <a:pt x="211" y="951"/>
                  </a:lnTo>
                  <a:lnTo>
                    <a:pt x="213" y="951"/>
                  </a:lnTo>
                  <a:lnTo>
                    <a:pt x="213" y="953"/>
                  </a:lnTo>
                  <a:lnTo>
                    <a:pt x="213" y="951"/>
                  </a:lnTo>
                  <a:lnTo>
                    <a:pt x="216" y="951"/>
                  </a:lnTo>
                  <a:lnTo>
                    <a:pt x="216" y="953"/>
                  </a:lnTo>
                  <a:lnTo>
                    <a:pt x="213" y="953"/>
                  </a:lnTo>
                  <a:lnTo>
                    <a:pt x="216" y="953"/>
                  </a:lnTo>
                  <a:lnTo>
                    <a:pt x="213" y="953"/>
                  </a:lnTo>
                  <a:lnTo>
                    <a:pt x="213" y="955"/>
                  </a:lnTo>
                  <a:lnTo>
                    <a:pt x="216" y="955"/>
                  </a:lnTo>
                  <a:lnTo>
                    <a:pt x="216" y="953"/>
                  </a:lnTo>
                  <a:lnTo>
                    <a:pt x="216" y="955"/>
                  </a:lnTo>
                  <a:lnTo>
                    <a:pt x="218" y="955"/>
                  </a:lnTo>
                  <a:lnTo>
                    <a:pt x="218" y="958"/>
                  </a:lnTo>
                  <a:lnTo>
                    <a:pt x="218" y="960"/>
                  </a:lnTo>
                  <a:lnTo>
                    <a:pt x="218" y="958"/>
                  </a:lnTo>
                  <a:lnTo>
                    <a:pt x="218" y="960"/>
                  </a:lnTo>
                  <a:lnTo>
                    <a:pt x="218" y="958"/>
                  </a:lnTo>
                  <a:lnTo>
                    <a:pt x="220" y="958"/>
                  </a:lnTo>
                  <a:lnTo>
                    <a:pt x="223" y="958"/>
                  </a:lnTo>
                  <a:lnTo>
                    <a:pt x="220" y="958"/>
                  </a:lnTo>
                  <a:lnTo>
                    <a:pt x="220" y="960"/>
                  </a:lnTo>
                  <a:lnTo>
                    <a:pt x="223" y="958"/>
                  </a:lnTo>
                  <a:lnTo>
                    <a:pt x="223" y="960"/>
                  </a:lnTo>
                  <a:lnTo>
                    <a:pt x="223" y="958"/>
                  </a:lnTo>
                  <a:lnTo>
                    <a:pt x="220" y="958"/>
                  </a:lnTo>
                  <a:lnTo>
                    <a:pt x="223" y="958"/>
                  </a:lnTo>
                  <a:lnTo>
                    <a:pt x="223" y="960"/>
                  </a:lnTo>
                  <a:lnTo>
                    <a:pt x="223" y="963"/>
                  </a:lnTo>
                  <a:lnTo>
                    <a:pt x="220" y="963"/>
                  </a:lnTo>
                  <a:lnTo>
                    <a:pt x="220" y="965"/>
                  </a:lnTo>
                  <a:lnTo>
                    <a:pt x="218" y="965"/>
                  </a:lnTo>
                  <a:lnTo>
                    <a:pt x="218" y="967"/>
                  </a:lnTo>
                  <a:lnTo>
                    <a:pt x="220" y="965"/>
                  </a:lnTo>
                  <a:lnTo>
                    <a:pt x="220" y="963"/>
                  </a:lnTo>
                  <a:lnTo>
                    <a:pt x="223" y="963"/>
                  </a:lnTo>
                  <a:lnTo>
                    <a:pt x="223" y="960"/>
                  </a:lnTo>
                  <a:lnTo>
                    <a:pt x="225" y="960"/>
                  </a:lnTo>
                  <a:lnTo>
                    <a:pt x="225" y="963"/>
                  </a:lnTo>
                  <a:lnTo>
                    <a:pt x="225" y="960"/>
                  </a:lnTo>
                  <a:lnTo>
                    <a:pt x="223" y="960"/>
                  </a:lnTo>
                  <a:lnTo>
                    <a:pt x="225" y="960"/>
                  </a:lnTo>
                  <a:lnTo>
                    <a:pt x="225" y="958"/>
                  </a:lnTo>
                  <a:lnTo>
                    <a:pt x="225" y="960"/>
                  </a:lnTo>
                  <a:lnTo>
                    <a:pt x="225" y="958"/>
                  </a:lnTo>
                  <a:lnTo>
                    <a:pt x="225" y="960"/>
                  </a:lnTo>
                  <a:lnTo>
                    <a:pt x="227" y="960"/>
                  </a:lnTo>
                  <a:lnTo>
                    <a:pt x="227" y="958"/>
                  </a:lnTo>
                  <a:lnTo>
                    <a:pt x="230" y="958"/>
                  </a:lnTo>
                  <a:lnTo>
                    <a:pt x="227" y="958"/>
                  </a:lnTo>
                  <a:lnTo>
                    <a:pt x="230" y="958"/>
                  </a:lnTo>
                  <a:lnTo>
                    <a:pt x="232" y="958"/>
                  </a:lnTo>
                  <a:lnTo>
                    <a:pt x="235" y="958"/>
                  </a:lnTo>
                  <a:lnTo>
                    <a:pt x="237" y="958"/>
                  </a:lnTo>
                  <a:lnTo>
                    <a:pt x="237" y="960"/>
                  </a:lnTo>
                  <a:lnTo>
                    <a:pt x="239" y="958"/>
                  </a:lnTo>
                  <a:lnTo>
                    <a:pt x="242" y="958"/>
                  </a:lnTo>
                  <a:lnTo>
                    <a:pt x="242" y="955"/>
                  </a:lnTo>
                  <a:lnTo>
                    <a:pt x="244" y="955"/>
                  </a:lnTo>
                  <a:lnTo>
                    <a:pt x="242" y="955"/>
                  </a:lnTo>
                  <a:lnTo>
                    <a:pt x="242" y="958"/>
                  </a:lnTo>
                  <a:lnTo>
                    <a:pt x="239" y="958"/>
                  </a:lnTo>
                  <a:lnTo>
                    <a:pt x="237" y="958"/>
                  </a:lnTo>
                  <a:lnTo>
                    <a:pt x="235" y="958"/>
                  </a:lnTo>
                  <a:lnTo>
                    <a:pt x="232" y="958"/>
                  </a:lnTo>
                  <a:lnTo>
                    <a:pt x="230" y="958"/>
                  </a:lnTo>
                  <a:lnTo>
                    <a:pt x="227" y="958"/>
                  </a:lnTo>
                  <a:lnTo>
                    <a:pt x="225" y="958"/>
                  </a:lnTo>
                  <a:lnTo>
                    <a:pt x="227" y="958"/>
                  </a:lnTo>
                  <a:lnTo>
                    <a:pt x="225" y="958"/>
                  </a:lnTo>
                  <a:lnTo>
                    <a:pt x="225" y="955"/>
                  </a:lnTo>
                  <a:lnTo>
                    <a:pt x="227" y="955"/>
                  </a:lnTo>
                  <a:lnTo>
                    <a:pt x="225" y="955"/>
                  </a:lnTo>
                  <a:lnTo>
                    <a:pt x="227" y="955"/>
                  </a:lnTo>
                  <a:lnTo>
                    <a:pt x="230" y="955"/>
                  </a:lnTo>
                  <a:lnTo>
                    <a:pt x="230" y="953"/>
                  </a:lnTo>
                  <a:lnTo>
                    <a:pt x="230" y="955"/>
                  </a:lnTo>
                  <a:lnTo>
                    <a:pt x="230" y="953"/>
                  </a:lnTo>
                  <a:lnTo>
                    <a:pt x="227" y="953"/>
                  </a:lnTo>
                  <a:lnTo>
                    <a:pt x="230" y="953"/>
                  </a:lnTo>
                  <a:lnTo>
                    <a:pt x="227" y="953"/>
                  </a:lnTo>
                  <a:lnTo>
                    <a:pt x="225" y="953"/>
                  </a:lnTo>
                  <a:lnTo>
                    <a:pt x="223" y="953"/>
                  </a:lnTo>
                  <a:lnTo>
                    <a:pt x="223" y="951"/>
                  </a:lnTo>
                  <a:lnTo>
                    <a:pt x="225" y="951"/>
                  </a:lnTo>
                  <a:lnTo>
                    <a:pt x="223" y="951"/>
                  </a:lnTo>
                  <a:lnTo>
                    <a:pt x="225" y="951"/>
                  </a:lnTo>
                  <a:lnTo>
                    <a:pt x="223" y="948"/>
                  </a:lnTo>
                  <a:lnTo>
                    <a:pt x="225" y="948"/>
                  </a:lnTo>
                  <a:lnTo>
                    <a:pt x="225" y="951"/>
                  </a:lnTo>
                  <a:lnTo>
                    <a:pt x="225" y="948"/>
                  </a:lnTo>
                  <a:lnTo>
                    <a:pt x="225" y="951"/>
                  </a:lnTo>
                  <a:lnTo>
                    <a:pt x="227" y="951"/>
                  </a:lnTo>
                  <a:lnTo>
                    <a:pt x="227" y="953"/>
                  </a:lnTo>
                  <a:lnTo>
                    <a:pt x="227" y="951"/>
                  </a:lnTo>
                  <a:lnTo>
                    <a:pt x="227" y="953"/>
                  </a:lnTo>
                  <a:lnTo>
                    <a:pt x="230" y="953"/>
                  </a:lnTo>
                  <a:lnTo>
                    <a:pt x="232" y="953"/>
                  </a:lnTo>
                  <a:lnTo>
                    <a:pt x="232" y="951"/>
                  </a:lnTo>
                  <a:lnTo>
                    <a:pt x="235" y="951"/>
                  </a:lnTo>
                  <a:lnTo>
                    <a:pt x="237" y="951"/>
                  </a:lnTo>
                  <a:lnTo>
                    <a:pt x="235" y="951"/>
                  </a:lnTo>
                  <a:lnTo>
                    <a:pt x="232" y="951"/>
                  </a:lnTo>
                  <a:lnTo>
                    <a:pt x="232" y="948"/>
                  </a:lnTo>
                  <a:lnTo>
                    <a:pt x="230" y="948"/>
                  </a:lnTo>
                  <a:lnTo>
                    <a:pt x="230" y="951"/>
                  </a:lnTo>
                  <a:lnTo>
                    <a:pt x="232" y="951"/>
                  </a:lnTo>
                  <a:lnTo>
                    <a:pt x="230" y="951"/>
                  </a:lnTo>
                  <a:lnTo>
                    <a:pt x="230" y="953"/>
                  </a:lnTo>
                  <a:lnTo>
                    <a:pt x="230" y="951"/>
                  </a:lnTo>
                  <a:lnTo>
                    <a:pt x="230" y="953"/>
                  </a:lnTo>
                  <a:lnTo>
                    <a:pt x="227" y="953"/>
                  </a:lnTo>
                  <a:lnTo>
                    <a:pt x="227" y="951"/>
                  </a:lnTo>
                  <a:lnTo>
                    <a:pt x="225" y="951"/>
                  </a:lnTo>
                  <a:lnTo>
                    <a:pt x="225" y="948"/>
                  </a:lnTo>
                  <a:lnTo>
                    <a:pt x="225" y="951"/>
                  </a:lnTo>
                  <a:lnTo>
                    <a:pt x="225" y="948"/>
                  </a:lnTo>
                  <a:lnTo>
                    <a:pt x="225" y="946"/>
                  </a:lnTo>
                  <a:lnTo>
                    <a:pt x="225" y="944"/>
                  </a:lnTo>
                  <a:lnTo>
                    <a:pt x="227" y="944"/>
                  </a:lnTo>
                  <a:lnTo>
                    <a:pt x="230" y="944"/>
                  </a:lnTo>
                  <a:lnTo>
                    <a:pt x="230" y="941"/>
                  </a:lnTo>
                  <a:lnTo>
                    <a:pt x="232" y="941"/>
                  </a:lnTo>
                  <a:lnTo>
                    <a:pt x="232" y="944"/>
                  </a:lnTo>
                  <a:lnTo>
                    <a:pt x="232" y="941"/>
                  </a:lnTo>
                  <a:lnTo>
                    <a:pt x="230" y="941"/>
                  </a:lnTo>
                  <a:lnTo>
                    <a:pt x="232" y="941"/>
                  </a:lnTo>
                  <a:lnTo>
                    <a:pt x="235" y="941"/>
                  </a:lnTo>
                  <a:lnTo>
                    <a:pt x="232" y="941"/>
                  </a:lnTo>
                  <a:lnTo>
                    <a:pt x="235" y="941"/>
                  </a:lnTo>
                  <a:lnTo>
                    <a:pt x="235" y="939"/>
                  </a:lnTo>
                  <a:lnTo>
                    <a:pt x="237" y="939"/>
                  </a:lnTo>
                  <a:lnTo>
                    <a:pt x="237" y="941"/>
                  </a:lnTo>
                  <a:lnTo>
                    <a:pt x="235" y="941"/>
                  </a:lnTo>
                  <a:lnTo>
                    <a:pt x="237" y="941"/>
                  </a:lnTo>
                  <a:lnTo>
                    <a:pt x="239" y="941"/>
                  </a:lnTo>
                  <a:lnTo>
                    <a:pt x="239" y="939"/>
                  </a:lnTo>
                  <a:lnTo>
                    <a:pt x="237" y="939"/>
                  </a:lnTo>
                  <a:lnTo>
                    <a:pt x="235" y="939"/>
                  </a:lnTo>
                  <a:lnTo>
                    <a:pt x="232" y="939"/>
                  </a:lnTo>
                  <a:lnTo>
                    <a:pt x="235" y="936"/>
                  </a:lnTo>
                  <a:lnTo>
                    <a:pt x="237" y="936"/>
                  </a:lnTo>
                  <a:lnTo>
                    <a:pt x="239" y="936"/>
                  </a:lnTo>
                  <a:lnTo>
                    <a:pt x="237" y="936"/>
                  </a:lnTo>
                  <a:lnTo>
                    <a:pt x="239" y="936"/>
                  </a:lnTo>
                  <a:lnTo>
                    <a:pt x="237" y="936"/>
                  </a:lnTo>
                  <a:lnTo>
                    <a:pt x="235" y="936"/>
                  </a:lnTo>
                  <a:lnTo>
                    <a:pt x="232" y="936"/>
                  </a:lnTo>
                  <a:lnTo>
                    <a:pt x="235" y="936"/>
                  </a:lnTo>
                  <a:lnTo>
                    <a:pt x="235" y="934"/>
                  </a:lnTo>
                  <a:lnTo>
                    <a:pt x="237" y="934"/>
                  </a:lnTo>
                  <a:lnTo>
                    <a:pt x="239" y="934"/>
                  </a:lnTo>
                  <a:lnTo>
                    <a:pt x="239" y="932"/>
                  </a:lnTo>
                  <a:lnTo>
                    <a:pt x="239" y="934"/>
                  </a:lnTo>
                  <a:lnTo>
                    <a:pt x="239" y="932"/>
                  </a:lnTo>
                  <a:lnTo>
                    <a:pt x="242" y="932"/>
                  </a:lnTo>
                  <a:lnTo>
                    <a:pt x="244" y="932"/>
                  </a:lnTo>
                  <a:lnTo>
                    <a:pt x="246" y="932"/>
                  </a:lnTo>
                  <a:lnTo>
                    <a:pt x="246" y="929"/>
                  </a:lnTo>
                  <a:lnTo>
                    <a:pt x="249" y="929"/>
                  </a:lnTo>
                  <a:lnTo>
                    <a:pt x="251" y="929"/>
                  </a:lnTo>
                  <a:lnTo>
                    <a:pt x="251" y="932"/>
                  </a:lnTo>
                  <a:lnTo>
                    <a:pt x="254" y="932"/>
                  </a:lnTo>
                  <a:lnTo>
                    <a:pt x="256" y="932"/>
                  </a:lnTo>
                  <a:lnTo>
                    <a:pt x="258" y="932"/>
                  </a:lnTo>
                  <a:lnTo>
                    <a:pt x="258" y="934"/>
                  </a:lnTo>
                  <a:lnTo>
                    <a:pt x="261" y="934"/>
                  </a:lnTo>
                  <a:lnTo>
                    <a:pt x="258" y="934"/>
                  </a:lnTo>
                  <a:lnTo>
                    <a:pt x="258" y="932"/>
                  </a:lnTo>
                  <a:lnTo>
                    <a:pt x="256" y="932"/>
                  </a:lnTo>
                  <a:lnTo>
                    <a:pt x="254" y="932"/>
                  </a:lnTo>
                  <a:lnTo>
                    <a:pt x="251" y="932"/>
                  </a:lnTo>
                  <a:lnTo>
                    <a:pt x="251" y="929"/>
                  </a:lnTo>
                  <a:lnTo>
                    <a:pt x="249" y="929"/>
                  </a:lnTo>
                  <a:lnTo>
                    <a:pt x="246" y="929"/>
                  </a:lnTo>
                  <a:lnTo>
                    <a:pt x="244" y="932"/>
                  </a:lnTo>
                  <a:lnTo>
                    <a:pt x="242" y="932"/>
                  </a:lnTo>
                  <a:lnTo>
                    <a:pt x="239" y="932"/>
                  </a:lnTo>
                  <a:lnTo>
                    <a:pt x="237" y="934"/>
                  </a:lnTo>
                  <a:lnTo>
                    <a:pt x="235" y="934"/>
                  </a:lnTo>
                  <a:lnTo>
                    <a:pt x="232" y="934"/>
                  </a:lnTo>
                  <a:lnTo>
                    <a:pt x="232" y="936"/>
                  </a:lnTo>
                  <a:lnTo>
                    <a:pt x="230" y="939"/>
                  </a:lnTo>
                  <a:lnTo>
                    <a:pt x="227" y="939"/>
                  </a:lnTo>
                  <a:lnTo>
                    <a:pt x="225" y="939"/>
                  </a:lnTo>
                  <a:lnTo>
                    <a:pt x="227" y="939"/>
                  </a:lnTo>
                  <a:lnTo>
                    <a:pt x="227" y="941"/>
                  </a:lnTo>
                  <a:lnTo>
                    <a:pt x="225" y="941"/>
                  </a:lnTo>
                  <a:lnTo>
                    <a:pt x="223" y="941"/>
                  </a:lnTo>
                  <a:lnTo>
                    <a:pt x="220" y="944"/>
                  </a:lnTo>
                  <a:lnTo>
                    <a:pt x="218" y="944"/>
                  </a:lnTo>
                  <a:lnTo>
                    <a:pt x="220" y="944"/>
                  </a:lnTo>
                  <a:lnTo>
                    <a:pt x="220" y="941"/>
                  </a:lnTo>
                  <a:lnTo>
                    <a:pt x="220" y="944"/>
                  </a:lnTo>
                  <a:lnTo>
                    <a:pt x="218" y="944"/>
                  </a:lnTo>
                  <a:lnTo>
                    <a:pt x="218" y="941"/>
                  </a:lnTo>
                  <a:lnTo>
                    <a:pt x="220" y="941"/>
                  </a:lnTo>
                  <a:lnTo>
                    <a:pt x="223" y="941"/>
                  </a:lnTo>
                  <a:lnTo>
                    <a:pt x="225" y="941"/>
                  </a:lnTo>
                  <a:lnTo>
                    <a:pt x="225" y="939"/>
                  </a:lnTo>
                  <a:lnTo>
                    <a:pt x="223" y="939"/>
                  </a:lnTo>
                  <a:lnTo>
                    <a:pt x="220" y="939"/>
                  </a:lnTo>
                  <a:lnTo>
                    <a:pt x="223" y="939"/>
                  </a:lnTo>
                  <a:lnTo>
                    <a:pt x="220" y="939"/>
                  </a:lnTo>
                  <a:lnTo>
                    <a:pt x="220" y="936"/>
                  </a:lnTo>
                  <a:lnTo>
                    <a:pt x="223" y="936"/>
                  </a:lnTo>
                  <a:lnTo>
                    <a:pt x="220" y="936"/>
                  </a:lnTo>
                  <a:lnTo>
                    <a:pt x="220" y="934"/>
                  </a:lnTo>
                  <a:lnTo>
                    <a:pt x="223" y="934"/>
                  </a:lnTo>
                  <a:lnTo>
                    <a:pt x="225" y="934"/>
                  </a:lnTo>
                  <a:lnTo>
                    <a:pt x="225" y="932"/>
                  </a:lnTo>
                  <a:lnTo>
                    <a:pt x="227" y="932"/>
                  </a:lnTo>
                  <a:lnTo>
                    <a:pt x="227" y="934"/>
                  </a:lnTo>
                  <a:lnTo>
                    <a:pt x="230" y="934"/>
                  </a:lnTo>
                  <a:lnTo>
                    <a:pt x="230" y="932"/>
                  </a:lnTo>
                  <a:lnTo>
                    <a:pt x="230" y="934"/>
                  </a:lnTo>
                  <a:lnTo>
                    <a:pt x="232" y="934"/>
                  </a:lnTo>
                  <a:lnTo>
                    <a:pt x="230" y="934"/>
                  </a:lnTo>
                  <a:lnTo>
                    <a:pt x="230" y="932"/>
                  </a:lnTo>
                  <a:lnTo>
                    <a:pt x="232" y="932"/>
                  </a:lnTo>
                  <a:lnTo>
                    <a:pt x="230" y="932"/>
                  </a:lnTo>
                  <a:lnTo>
                    <a:pt x="230" y="934"/>
                  </a:lnTo>
                  <a:lnTo>
                    <a:pt x="230" y="932"/>
                  </a:lnTo>
                  <a:lnTo>
                    <a:pt x="227" y="932"/>
                  </a:lnTo>
                  <a:lnTo>
                    <a:pt x="230" y="929"/>
                  </a:lnTo>
                  <a:lnTo>
                    <a:pt x="230" y="932"/>
                  </a:lnTo>
                  <a:lnTo>
                    <a:pt x="230" y="929"/>
                  </a:lnTo>
                  <a:lnTo>
                    <a:pt x="232" y="929"/>
                  </a:lnTo>
                  <a:lnTo>
                    <a:pt x="232" y="932"/>
                  </a:lnTo>
                  <a:lnTo>
                    <a:pt x="232" y="929"/>
                  </a:lnTo>
                  <a:lnTo>
                    <a:pt x="235" y="929"/>
                  </a:lnTo>
                  <a:lnTo>
                    <a:pt x="237" y="929"/>
                  </a:lnTo>
                  <a:lnTo>
                    <a:pt x="235" y="929"/>
                  </a:lnTo>
                  <a:lnTo>
                    <a:pt x="232" y="929"/>
                  </a:lnTo>
                  <a:lnTo>
                    <a:pt x="232" y="927"/>
                  </a:lnTo>
                  <a:lnTo>
                    <a:pt x="235" y="927"/>
                  </a:lnTo>
                  <a:lnTo>
                    <a:pt x="237" y="927"/>
                  </a:lnTo>
                  <a:lnTo>
                    <a:pt x="237" y="929"/>
                  </a:lnTo>
                  <a:lnTo>
                    <a:pt x="237" y="927"/>
                  </a:lnTo>
                  <a:lnTo>
                    <a:pt x="239" y="927"/>
                  </a:lnTo>
                  <a:lnTo>
                    <a:pt x="239" y="925"/>
                  </a:lnTo>
                  <a:lnTo>
                    <a:pt x="242" y="925"/>
                  </a:lnTo>
                  <a:lnTo>
                    <a:pt x="244" y="925"/>
                  </a:lnTo>
                  <a:lnTo>
                    <a:pt x="242" y="925"/>
                  </a:lnTo>
                  <a:lnTo>
                    <a:pt x="244" y="925"/>
                  </a:lnTo>
                  <a:lnTo>
                    <a:pt x="242" y="925"/>
                  </a:lnTo>
                  <a:lnTo>
                    <a:pt x="239" y="925"/>
                  </a:lnTo>
                  <a:lnTo>
                    <a:pt x="239" y="927"/>
                  </a:lnTo>
                  <a:lnTo>
                    <a:pt x="237" y="927"/>
                  </a:lnTo>
                  <a:lnTo>
                    <a:pt x="237" y="925"/>
                  </a:lnTo>
                  <a:lnTo>
                    <a:pt x="239" y="925"/>
                  </a:lnTo>
                  <a:lnTo>
                    <a:pt x="239" y="922"/>
                  </a:lnTo>
                  <a:lnTo>
                    <a:pt x="242" y="920"/>
                  </a:lnTo>
                  <a:lnTo>
                    <a:pt x="244" y="920"/>
                  </a:lnTo>
                  <a:lnTo>
                    <a:pt x="244" y="917"/>
                  </a:lnTo>
                  <a:lnTo>
                    <a:pt x="246" y="920"/>
                  </a:lnTo>
                  <a:lnTo>
                    <a:pt x="244" y="920"/>
                  </a:lnTo>
                  <a:lnTo>
                    <a:pt x="246" y="920"/>
                  </a:lnTo>
                  <a:lnTo>
                    <a:pt x="244" y="920"/>
                  </a:lnTo>
                  <a:lnTo>
                    <a:pt x="244" y="922"/>
                  </a:lnTo>
                  <a:lnTo>
                    <a:pt x="246" y="922"/>
                  </a:lnTo>
                  <a:lnTo>
                    <a:pt x="244" y="922"/>
                  </a:lnTo>
                  <a:lnTo>
                    <a:pt x="246" y="922"/>
                  </a:lnTo>
                  <a:lnTo>
                    <a:pt x="246" y="925"/>
                  </a:lnTo>
                  <a:lnTo>
                    <a:pt x="246" y="922"/>
                  </a:lnTo>
                  <a:lnTo>
                    <a:pt x="246" y="920"/>
                  </a:lnTo>
                  <a:lnTo>
                    <a:pt x="246" y="922"/>
                  </a:lnTo>
                  <a:lnTo>
                    <a:pt x="249" y="922"/>
                  </a:lnTo>
                  <a:lnTo>
                    <a:pt x="249" y="920"/>
                  </a:lnTo>
                  <a:lnTo>
                    <a:pt x="251" y="920"/>
                  </a:lnTo>
                  <a:lnTo>
                    <a:pt x="249" y="920"/>
                  </a:lnTo>
                  <a:lnTo>
                    <a:pt x="249" y="917"/>
                  </a:lnTo>
                  <a:lnTo>
                    <a:pt x="251" y="915"/>
                  </a:lnTo>
                  <a:lnTo>
                    <a:pt x="254" y="917"/>
                  </a:lnTo>
                  <a:lnTo>
                    <a:pt x="254" y="920"/>
                  </a:lnTo>
                  <a:lnTo>
                    <a:pt x="254" y="922"/>
                  </a:lnTo>
                  <a:lnTo>
                    <a:pt x="251" y="922"/>
                  </a:lnTo>
                  <a:lnTo>
                    <a:pt x="254" y="922"/>
                  </a:lnTo>
                  <a:lnTo>
                    <a:pt x="256" y="922"/>
                  </a:lnTo>
                  <a:lnTo>
                    <a:pt x="254" y="922"/>
                  </a:lnTo>
                  <a:lnTo>
                    <a:pt x="254" y="925"/>
                  </a:lnTo>
                  <a:lnTo>
                    <a:pt x="251" y="925"/>
                  </a:lnTo>
                  <a:lnTo>
                    <a:pt x="249" y="925"/>
                  </a:lnTo>
                  <a:lnTo>
                    <a:pt x="246" y="925"/>
                  </a:lnTo>
                  <a:lnTo>
                    <a:pt x="244" y="925"/>
                  </a:lnTo>
                  <a:lnTo>
                    <a:pt x="246" y="925"/>
                  </a:lnTo>
                  <a:lnTo>
                    <a:pt x="249" y="925"/>
                  </a:lnTo>
                  <a:lnTo>
                    <a:pt x="251" y="925"/>
                  </a:lnTo>
                  <a:lnTo>
                    <a:pt x="249" y="925"/>
                  </a:lnTo>
                  <a:lnTo>
                    <a:pt x="251" y="925"/>
                  </a:lnTo>
                  <a:lnTo>
                    <a:pt x="254" y="925"/>
                  </a:lnTo>
                  <a:lnTo>
                    <a:pt x="256" y="925"/>
                  </a:lnTo>
                  <a:lnTo>
                    <a:pt x="256" y="922"/>
                  </a:lnTo>
                  <a:lnTo>
                    <a:pt x="258" y="922"/>
                  </a:lnTo>
                  <a:lnTo>
                    <a:pt x="258" y="925"/>
                  </a:lnTo>
                  <a:lnTo>
                    <a:pt x="258" y="922"/>
                  </a:lnTo>
                  <a:lnTo>
                    <a:pt x="261" y="922"/>
                  </a:lnTo>
                  <a:lnTo>
                    <a:pt x="261" y="925"/>
                  </a:lnTo>
                  <a:lnTo>
                    <a:pt x="261" y="922"/>
                  </a:lnTo>
                  <a:lnTo>
                    <a:pt x="258" y="922"/>
                  </a:lnTo>
                  <a:lnTo>
                    <a:pt x="261" y="922"/>
                  </a:lnTo>
                  <a:lnTo>
                    <a:pt x="261" y="920"/>
                  </a:lnTo>
                  <a:lnTo>
                    <a:pt x="261" y="922"/>
                  </a:lnTo>
                  <a:lnTo>
                    <a:pt x="263" y="920"/>
                  </a:lnTo>
                  <a:lnTo>
                    <a:pt x="265" y="920"/>
                  </a:lnTo>
                  <a:lnTo>
                    <a:pt x="265" y="917"/>
                  </a:lnTo>
                  <a:lnTo>
                    <a:pt x="268" y="917"/>
                  </a:lnTo>
                  <a:lnTo>
                    <a:pt x="270" y="917"/>
                  </a:lnTo>
                  <a:lnTo>
                    <a:pt x="270" y="915"/>
                  </a:lnTo>
                  <a:lnTo>
                    <a:pt x="273" y="915"/>
                  </a:lnTo>
                  <a:lnTo>
                    <a:pt x="273" y="913"/>
                  </a:lnTo>
                  <a:lnTo>
                    <a:pt x="275" y="913"/>
                  </a:lnTo>
                  <a:lnTo>
                    <a:pt x="275" y="910"/>
                  </a:lnTo>
                  <a:lnTo>
                    <a:pt x="277" y="910"/>
                  </a:lnTo>
                  <a:lnTo>
                    <a:pt x="275" y="910"/>
                  </a:lnTo>
                  <a:lnTo>
                    <a:pt x="275" y="908"/>
                  </a:lnTo>
                  <a:lnTo>
                    <a:pt x="275" y="910"/>
                  </a:lnTo>
                  <a:lnTo>
                    <a:pt x="273" y="910"/>
                  </a:lnTo>
                  <a:lnTo>
                    <a:pt x="273" y="913"/>
                  </a:lnTo>
                  <a:lnTo>
                    <a:pt x="270" y="913"/>
                  </a:lnTo>
                  <a:lnTo>
                    <a:pt x="270" y="915"/>
                  </a:lnTo>
                  <a:lnTo>
                    <a:pt x="268" y="915"/>
                  </a:lnTo>
                  <a:lnTo>
                    <a:pt x="268" y="917"/>
                  </a:lnTo>
                  <a:lnTo>
                    <a:pt x="265" y="917"/>
                  </a:lnTo>
                  <a:lnTo>
                    <a:pt x="263" y="917"/>
                  </a:lnTo>
                  <a:lnTo>
                    <a:pt x="263" y="920"/>
                  </a:lnTo>
                  <a:lnTo>
                    <a:pt x="261" y="920"/>
                  </a:lnTo>
                  <a:lnTo>
                    <a:pt x="258" y="920"/>
                  </a:lnTo>
                  <a:lnTo>
                    <a:pt x="256" y="920"/>
                  </a:lnTo>
                  <a:lnTo>
                    <a:pt x="256" y="917"/>
                  </a:lnTo>
                  <a:lnTo>
                    <a:pt x="258" y="917"/>
                  </a:lnTo>
                  <a:lnTo>
                    <a:pt x="261" y="917"/>
                  </a:lnTo>
                  <a:lnTo>
                    <a:pt x="261" y="915"/>
                  </a:lnTo>
                  <a:lnTo>
                    <a:pt x="258" y="915"/>
                  </a:lnTo>
                  <a:lnTo>
                    <a:pt x="256" y="915"/>
                  </a:lnTo>
                  <a:lnTo>
                    <a:pt x="258" y="915"/>
                  </a:lnTo>
                  <a:lnTo>
                    <a:pt x="258" y="913"/>
                  </a:lnTo>
                  <a:lnTo>
                    <a:pt x="261" y="913"/>
                  </a:lnTo>
                  <a:lnTo>
                    <a:pt x="258" y="913"/>
                  </a:lnTo>
                  <a:lnTo>
                    <a:pt x="256" y="913"/>
                  </a:lnTo>
                  <a:lnTo>
                    <a:pt x="258" y="913"/>
                  </a:lnTo>
                  <a:lnTo>
                    <a:pt x="256" y="913"/>
                  </a:lnTo>
                  <a:lnTo>
                    <a:pt x="254" y="913"/>
                  </a:lnTo>
                  <a:lnTo>
                    <a:pt x="256" y="913"/>
                  </a:lnTo>
                  <a:lnTo>
                    <a:pt x="254" y="913"/>
                  </a:lnTo>
                  <a:lnTo>
                    <a:pt x="254" y="915"/>
                  </a:lnTo>
                  <a:lnTo>
                    <a:pt x="254" y="913"/>
                  </a:lnTo>
                  <a:lnTo>
                    <a:pt x="256" y="913"/>
                  </a:lnTo>
                  <a:lnTo>
                    <a:pt x="256" y="910"/>
                  </a:lnTo>
                  <a:lnTo>
                    <a:pt x="258" y="910"/>
                  </a:lnTo>
                  <a:lnTo>
                    <a:pt x="261" y="910"/>
                  </a:lnTo>
                  <a:lnTo>
                    <a:pt x="261" y="908"/>
                  </a:lnTo>
                  <a:lnTo>
                    <a:pt x="258" y="910"/>
                  </a:lnTo>
                  <a:lnTo>
                    <a:pt x="258" y="908"/>
                  </a:lnTo>
                  <a:lnTo>
                    <a:pt x="261" y="908"/>
                  </a:lnTo>
                  <a:lnTo>
                    <a:pt x="258" y="908"/>
                  </a:lnTo>
                  <a:lnTo>
                    <a:pt x="261" y="908"/>
                  </a:lnTo>
                  <a:lnTo>
                    <a:pt x="258" y="908"/>
                  </a:lnTo>
                  <a:lnTo>
                    <a:pt x="256" y="908"/>
                  </a:lnTo>
                  <a:lnTo>
                    <a:pt x="256" y="910"/>
                  </a:lnTo>
                  <a:lnTo>
                    <a:pt x="254" y="910"/>
                  </a:lnTo>
                  <a:lnTo>
                    <a:pt x="251" y="910"/>
                  </a:lnTo>
                  <a:lnTo>
                    <a:pt x="254" y="910"/>
                  </a:lnTo>
                  <a:lnTo>
                    <a:pt x="254" y="913"/>
                  </a:lnTo>
                  <a:lnTo>
                    <a:pt x="251" y="913"/>
                  </a:lnTo>
                  <a:lnTo>
                    <a:pt x="251" y="915"/>
                  </a:lnTo>
                  <a:lnTo>
                    <a:pt x="249" y="915"/>
                  </a:lnTo>
                  <a:lnTo>
                    <a:pt x="246" y="915"/>
                  </a:lnTo>
                  <a:lnTo>
                    <a:pt x="249" y="915"/>
                  </a:lnTo>
                  <a:lnTo>
                    <a:pt x="246" y="915"/>
                  </a:lnTo>
                  <a:lnTo>
                    <a:pt x="249" y="915"/>
                  </a:lnTo>
                  <a:lnTo>
                    <a:pt x="249" y="913"/>
                  </a:lnTo>
                  <a:lnTo>
                    <a:pt x="249" y="910"/>
                  </a:lnTo>
                  <a:lnTo>
                    <a:pt x="246" y="910"/>
                  </a:lnTo>
                  <a:lnTo>
                    <a:pt x="249" y="910"/>
                  </a:lnTo>
                  <a:lnTo>
                    <a:pt x="246" y="910"/>
                  </a:lnTo>
                  <a:lnTo>
                    <a:pt x="249" y="910"/>
                  </a:lnTo>
                  <a:lnTo>
                    <a:pt x="249" y="908"/>
                  </a:lnTo>
                  <a:lnTo>
                    <a:pt x="251" y="908"/>
                  </a:lnTo>
                  <a:lnTo>
                    <a:pt x="251" y="906"/>
                  </a:lnTo>
                  <a:lnTo>
                    <a:pt x="251" y="908"/>
                  </a:lnTo>
                  <a:lnTo>
                    <a:pt x="251" y="906"/>
                  </a:lnTo>
                  <a:lnTo>
                    <a:pt x="254" y="906"/>
                  </a:lnTo>
                  <a:lnTo>
                    <a:pt x="251" y="908"/>
                  </a:lnTo>
                  <a:lnTo>
                    <a:pt x="254" y="908"/>
                  </a:lnTo>
                  <a:lnTo>
                    <a:pt x="254" y="906"/>
                  </a:lnTo>
                  <a:lnTo>
                    <a:pt x="251" y="906"/>
                  </a:lnTo>
                  <a:lnTo>
                    <a:pt x="249" y="906"/>
                  </a:lnTo>
                  <a:lnTo>
                    <a:pt x="251" y="906"/>
                  </a:lnTo>
                  <a:lnTo>
                    <a:pt x="251" y="903"/>
                  </a:lnTo>
                  <a:lnTo>
                    <a:pt x="254" y="903"/>
                  </a:lnTo>
                  <a:lnTo>
                    <a:pt x="256" y="903"/>
                  </a:lnTo>
                  <a:lnTo>
                    <a:pt x="256" y="901"/>
                  </a:lnTo>
                  <a:lnTo>
                    <a:pt x="254" y="901"/>
                  </a:lnTo>
                  <a:lnTo>
                    <a:pt x="256" y="901"/>
                  </a:lnTo>
                  <a:lnTo>
                    <a:pt x="254" y="901"/>
                  </a:lnTo>
                  <a:lnTo>
                    <a:pt x="256" y="901"/>
                  </a:lnTo>
                  <a:lnTo>
                    <a:pt x="254" y="901"/>
                  </a:lnTo>
                  <a:lnTo>
                    <a:pt x="254" y="898"/>
                  </a:lnTo>
                  <a:lnTo>
                    <a:pt x="254" y="901"/>
                  </a:lnTo>
                  <a:lnTo>
                    <a:pt x="251" y="901"/>
                  </a:lnTo>
                  <a:lnTo>
                    <a:pt x="251" y="903"/>
                  </a:lnTo>
                  <a:lnTo>
                    <a:pt x="251" y="901"/>
                  </a:lnTo>
                  <a:lnTo>
                    <a:pt x="251" y="903"/>
                  </a:lnTo>
                  <a:lnTo>
                    <a:pt x="251" y="901"/>
                  </a:lnTo>
                  <a:lnTo>
                    <a:pt x="254" y="901"/>
                  </a:lnTo>
                  <a:lnTo>
                    <a:pt x="251" y="898"/>
                  </a:lnTo>
                  <a:lnTo>
                    <a:pt x="254" y="898"/>
                  </a:lnTo>
                  <a:lnTo>
                    <a:pt x="254" y="896"/>
                  </a:lnTo>
                  <a:lnTo>
                    <a:pt x="254" y="898"/>
                  </a:lnTo>
                  <a:lnTo>
                    <a:pt x="254" y="896"/>
                  </a:lnTo>
                  <a:lnTo>
                    <a:pt x="251" y="896"/>
                  </a:lnTo>
                  <a:lnTo>
                    <a:pt x="254" y="896"/>
                  </a:lnTo>
                  <a:lnTo>
                    <a:pt x="251" y="896"/>
                  </a:lnTo>
                  <a:lnTo>
                    <a:pt x="254" y="896"/>
                  </a:lnTo>
                  <a:lnTo>
                    <a:pt x="254" y="894"/>
                  </a:lnTo>
                  <a:lnTo>
                    <a:pt x="254" y="896"/>
                  </a:lnTo>
                  <a:lnTo>
                    <a:pt x="256" y="896"/>
                  </a:lnTo>
                  <a:lnTo>
                    <a:pt x="256" y="898"/>
                  </a:lnTo>
                  <a:lnTo>
                    <a:pt x="258" y="898"/>
                  </a:lnTo>
                  <a:lnTo>
                    <a:pt x="258" y="901"/>
                  </a:lnTo>
                  <a:lnTo>
                    <a:pt x="261" y="901"/>
                  </a:lnTo>
                  <a:lnTo>
                    <a:pt x="258" y="903"/>
                  </a:lnTo>
                  <a:lnTo>
                    <a:pt x="258" y="906"/>
                  </a:lnTo>
                  <a:lnTo>
                    <a:pt x="258" y="903"/>
                  </a:lnTo>
                  <a:lnTo>
                    <a:pt x="261" y="903"/>
                  </a:lnTo>
                  <a:lnTo>
                    <a:pt x="261" y="906"/>
                  </a:lnTo>
                  <a:lnTo>
                    <a:pt x="261" y="903"/>
                  </a:lnTo>
                  <a:lnTo>
                    <a:pt x="261" y="901"/>
                  </a:lnTo>
                  <a:lnTo>
                    <a:pt x="261" y="903"/>
                  </a:lnTo>
                  <a:lnTo>
                    <a:pt x="261" y="901"/>
                  </a:lnTo>
                  <a:lnTo>
                    <a:pt x="261" y="903"/>
                  </a:lnTo>
                  <a:lnTo>
                    <a:pt x="261" y="901"/>
                  </a:lnTo>
                  <a:lnTo>
                    <a:pt x="261" y="903"/>
                  </a:lnTo>
                  <a:lnTo>
                    <a:pt x="263" y="903"/>
                  </a:lnTo>
                  <a:lnTo>
                    <a:pt x="261" y="903"/>
                  </a:lnTo>
                  <a:lnTo>
                    <a:pt x="263" y="903"/>
                  </a:lnTo>
                  <a:lnTo>
                    <a:pt x="263" y="906"/>
                  </a:lnTo>
                  <a:lnTo>
                    <a:pt x="263" y="903"/>
                  </a:lnTo>
                  <a:lnTo>
                    <a:pt x="265" y="903"/>
                  </a:lnTo>
                  <a:lnTo>
                    <a:pt x="265" y="906"/>
                  </a:lnTo>
                  <a:lnTo>
                    <a:pt x="268" y="906"/>
                  </a:lnTo>
                  <a:lnTo>
                    <a:pt x="268" y="908"/>
                  </a:lnTo>
                  <a:lnTo>
                    <a:pt x="268" y="906"/>
                  </a:lnTo>
                  <a:lnTo>
                    <a:pt x="265" y="906"/>
                  </a:lnTo>
                  <a:lnTo>
                    <a:pt x="265" y="903"/>
                  </a:lnTo>
                  <a:lnTo>
                    <a:pt x="268" y="903"/>
                  </a:lnTo>
                  <a:lnTo>
                    <a:pt x="270" y="901"/>
                  </a:lnTo>
                  <a:lnTo>
                    <a:pt x="270" y="903"/>
                  </a:lnTo>
                  <a:lnTo>
                    <a:pt x="270" y="901"/>
                  </a:lnTo>
                  <a:lnTo>
                    <a:pt x="270" y="903"/>
                  </a:lnTo>
                  <a:lnTo>
                    <a:pt x="270" y="901"/>
                  </a:lnTo>
                  <a:lnTo>
                    <a:pt x="268" y="901"/>
                  </a:lnTo>
                  <a:lnTo>
                    <a:pt x="265" y="901"/>
                  </a:lnTo>
                  <a:lnTo>
                    <a:pt x="265" y="903"/>
                  </a:lnTo>
                  <a:lnTo>
                    <a:pt x="265" y="901"/>
                  </a:lnTo>
                  <a:lnTo>
                    <a:pt x="263" y="901"/>
                  </a:lnTo>
                  <a:lnTo>
                    <a:pt x="263" y="898"/>
                  </a:lnTo>
                  <a:lnTo>
                    <a:pt x="265" y="898"/>
                  </a:lnTo>
                  <a:lnTo>
                    <a:pt x="263" y="898"/>
                  </a:lnTo>
                  <a:lnTo>
                    <a:pt x="263" y="896"/>
                  </a:lnTo>
                  <a:lnTo>
                    <a:pt x="263" y="894"/>
                  </a:lnTo>
                  <a:lnTo>
                    <a:pt x="263" y="896"/>
                  </a:lnTo>
                  <a:lnTo>
                    <a:pt x="263" y="898"/>
                  </a:lnTo>
                  <a:lnTo>
                    <a:pt x="261" y="898"/>
                  </a:lnTo>
                  <a:lnTo>
                    <a:pt x="261" y="896"/>
                  </a:lnTo>
                  <a:lnTo>
                    <a:pt x="263" y="896"/>
                  </a:lnTo>
                  <a:lnTo>
                    <a:pt x="261" y="896"/>
                  </a:lnTo>
                  <a:lnTo>
                    <a:pt x="261" y="898"/>
                  </a:lnTo>
                  <a:lnTo>
                    <a:pt x="258" y="898"/>
                  </a:lnTo>
                  <a:lnTo>
                    <a:pt x="258" y="896"/>
                  </a:lnTo>
                  <a:lnTo>
                    <a:pt x="258" y="894"/>
                  </a:lnTo>
                  <a:lnTo>
                    <a:pt x="258" y="896"/>
                  </a:lnTo>
                  <a:lnTo>
                    <a:pt x="256" y="896"/>
                  </a:lnTo>
                  <a:lnTo>
                    <a:pt x="256" y="894"/>
                  </a:lnTo>
                  <a:lnTo>
                    <a:pt x="256" y="891"/>
                  </a:lnTo>
                  <a:lnTo>
                    <a:pt x="258" y="891"/>
                  </a:lnTo>
                  <a:lnTo>
                    <a:pt x="258" y="889"/>
                  </a:lnTo>
                  <a:lnTo>
                    <a:pt x="261" y="887"/>
                  </a:lnTo>
                  <a:lnTo>
                    <a:pt x="263" y="887"/>
                  </a:lnTo>
                  <a:lnTo>
                    <a:pt x="263" y="889"/>
                  </a:lnTo>
                  <a:lnTo>
                    <a:pt x="265" y="889"/>
                  </a:lnTo>
                  <a:lnTo>
                    <a:pt x="265" y="891"/>
                  </a:lnTo>
                  <a:lnTo>
                    <a:pt x="265" y="889"/>
                  </a:lnTo>
                  <a:lnTo>
                    <a:pt x="265" y="891"/>
                  </a:lnTo>
                  <a:lnTo>
                    <a:pt x="265" y="889"/>
                  </a:lnTo>
                  <a:lnTo>
                    <a:pt x="265" y="891"/>
                  </a:lnTo>
                  <a:lnTo>
                    <a:pt x="268" y="891"/>
                  </a:lnTo>
                  <a:lnTo>
                    <a:pt x="270" y="891"/>
                  </a:lnTo>
                  <a:lnTo>
                    <a:pt x="268" y="891"/>
                  </a:lnTo>
                  <a:lnTo>
                    <a:pt x="265" y="891"/>
                  </a:lnTo>
                  <a:lnTo>
                    <a:pt x="265" y="889"/>
                  </a:lnTo>
                  <a:lnTo>
                    <a:pt x="268" y="889"/>
                  </a:lnTo>
                  <a:lnTo>
                    <a:pt x="265" y="889"/>
                  </a:lnTo>
                  <a:lnTo>
                    <a:pt x="265" y="887"/>
                  </a:lnTo>
                  <a:lnTo>
                    <a:pt x="265" y="889"/>
                  </a:lnTo>
                  <a:lnTo>
                    <a:pt x="265" y="887"/>
                  </a:lnTo>
                  <a:lnTo>
                    <a:pt x="263" y="887"/>
                  </a:lnTo>
                  <a:lnTo>
                    <a:pt x="263" y="884"/>
                  </a:lnTo>
                  <a:lnTo>
                    <a:pt x="265" y="884"/>
                  </a:lnTo>
                  <a:lnTo>
                    <a:pt x="265" y="882"/>
                  </a:lnTo>
                  <a:lnTo>
                    <a:pt x="268" y="882"/>
                  </a:lnTo>
                  <a:lnTo>
                    <a:pt x="268" y="884"/>
                  </a:lnTo>
                  <a:lnTo>
                    <a:pt x="268" y="882"/>
                  </a:lnTo>
                  <a:lnTo>
                    <a:pt x="268" y="879"/>
                  </a:lnTo>
                  <a:lnTo>
                    <a:pt x="268" y="882"/>
                  </a:lnTo>
                  <a:lnTo>
                    <a:pt x="265" y="882"/>
                  </a:lnTo>
                  <a:lnTo>
                    <a:pt x="265" y="879"/>
                  </a:lnTo>
                  <a:lnTo>
                    <a:pt x="265" y="877"/>
                  </a:lnTo>
                  <a:lnTo>
                    <a:pt x="265" y="875"/>
                  </a:lnTo>
                  <a:lnTo>
                    <a:pt x="268" y="875"/>
                  </a:lnTo>
                  <a:lnTo>
                    <a:pt x="270" y="875"/>
                  </a:lnTo>
                  <a:lnTo>
                    <a:pt x="270" y="872"/>
                  </a:lnTo>
                  <a:lnTo>
                    <a:pt x="273" y="872"/>
                  </a:lnTo>
                  <a:lnTo>
                    <a:pt x="273" y="875"/>
                  </a:lnTo>
                  <a:lnTo>
                    <a:pt x="275" y="875"/>
                  </a:lnTo>
                  <a:lnTo>
                    <a:pt x="277" y="875"/>
                  </a:lnTo>
                  <a:lnTo>
                    <a:pt x="280" y="875"/>
                  </a:lnTo>
                  <a:lnTo>
                    <a:pt x="280" y="877"/>
                  </a:lnTo>
                  <a:lnTo>
                    <a:pt x="282" y="877"/>
                  </a:lnTo>
                  <a:lnTo>
                    <a:pt x="282" y="879"/>
                  </a:lnTo>
                  <a:lnTo>
                    <a:pt x="284" y="879"/>
                  </a:lnTo>
                  <a:lnTo>
                    <a:pt x="284" y="882"/>
                  </a:lnTo>
                  <a:lnTo>
                    <a:pt x="284" y="884"/>
                  </a:lnTo>
                  <a:lnTo>
                    <a:pt x="284" y="882"/>
                  </a:lnTo>
                  <a:lnTo>
                    <a:pt x="284" y="879"/>
                  </a:lnTo>
                  <a:lnTo>
                    <a:pt x="282" y="879"/>
                  </a:lnTo>
                  <a:lnTo>
                    <a:pt x="282" y="877"/>
                  </a:lnTo>
                  <a:lnTo>
                    <a:pt x="282" y="875"/>
                  </a:lnTo>
                  <a:lnTo>
                    <a:pt x="280" y="875"/>
                  </a:lnTo>
                  <a:lnTo>
                    <a:pt x="277" y="875"/>
                  </a:lnTo>
                  <a:lnTo>
                    <a:pt x="277" y="872"/>
                  </a:lnTo>
                  <a:lnTo>
                    <a:pt x="275" y="872"/>
                  </a:lnTo>
                  <a:lnTo>
                    <a:pt x="275" y="870"/>
                  </a:lnTo>
                  <a:lnTo>
                    <a:pt x="275" y="867"/>
                  </a:lnTo>
                  <a:lnTo>
                    <a:pt x="277" y="867"/>
                  </a:lnTo>
                  <a:lnTo>
                    <a:pt x="280" y="867"/>
                  </a:lnTo>
                  <a:lnTo>
                    <a:pt x="277" y="867"/>
                  </a:lnTo>
                  <a:lnTo>
                    <a:pt x="275" y="867"/>
                  </a:lnTo>
                  <a:lnTo>
                    <a:pt x="273" y="867"/>
                  </a:lnTo>
                  <a:lnTo>
                    <a:pt x="270" y="867"/>
                  </a:lnTo>
                  <a:lnTo>
                    <a:pt x="268" y="870"/>
                  </a:lnTo>
                  <a:lnTo>
                    <a:pt x="265" y="870"/>
                  </a:lnTo>
                  <a:lnTo>
                    <a:pt x="268" y="870"/>
                  </a:lnTo>
                  <a:lnTo>
                    <a:pt x="265" y="870"/>
                  </a:lnTo>
                  <a:lnTo>
                    <a:pt x="268" y="870"/>
                  </a:lnTo>
                  <a:lnTo>
                    <a:pt x="268" y="867"/>
                  </a:lnTo>
                  <a:lnTo>
                    <a:pt x="273" y="867"/>
                  </a:lnTo>
                  <a:lnTo>
                    <a:pt x="270" y="867"/>
                  </a:lnTo>
                  <a:lnTo>
                    <a:pt x="268" y="867"/>
                  </a:lnTo>
                  <a:lnTo>
                    <a:pt x="265" y="870"/>
                  </a:lnTo>
                  <a:lnTo>
                    <a:pt x="268" y="870"/>
                  </a:lnTo>
                  <a:lnTo>
                    <a:pt x="268" y="867"/>
                  </a:lnTo>
                  <a:lnTo>
                    <a:pt x="270" y="867"/>
                  </a:lnTo>
                  <a:lnTo>
                    <a:pt x="268" y="867"/>
                  </a:lnTo>
                  <a:lnTo>
                    <a:pt x="268" y="865"/>
                  </a:lnTo>
                  <a:lnTo>
                    <a:pt x="270" y="865"/>
                  </a:lnTo>
                  <a:lnTo>
                    <a:pt x="273" y="865"/>
                  </a:lnTo>
                  <a:lnTo>
                    <a:pt x="273" y="863"/>
                  </a:lnTo>
                  <a:lnTo>
                    <a:pt x="275" y="863"/>
                  </a:lnTo>
                  <a:lnTo>
                    <a:pt x="277" y="863"/>
                  </a:lnTo>
                  <a:lnTo>
                    <a:pt x="280" y="863"/>
                  </a:lnTo>
                  <a:lnTo>
                    <a:pt x="282" y="863"/>
                  </a:lnTo>
                  <a:lnTo>
                    <a:pt x="282" y="860"/>
                  </a:lnTo>
                  <a:lnTo>
                    <a:pt x="284" y="860"/>
                  </a:lnTo>
                  <a:lnTo>
                    <a:pt x="287" y="860"/>
                  </a:lnTo>
                  <a:lnTo>
                    <a:pt x="287" y="858"/>
                  </a:lnTo>
                  <a:lnTo>
                    <a:pt x="289" y="858"/>
                  </a:lnTo>
                  <a:lnTo>
                    <a:pt x="292" y="858"/>
                  </a:lnTo>
                  <a:lnTo>
                    <a:pt x="294" y="858"/>
                  </a:lnTo>
                  <a:lnTo>
                    <a:pt x="296" y="858"/>
                  </a:lnTo>
                  <a:lnTo>
                    <a:pt x="296" y="860"/>
                  </a:lnTo>
                  <a:lnTo>
                    <a:pt x="294" y="860"/>
                  </a:lnTo>
                  <a:lnTo>
                    <a:pt x="296" y="860"/>
                  </a:lnTo>
                  <a:lnTo>
                    <a:pt x="299" y="860"/>
                  </a:lnTo>
                  <a:lnTo>
                    <a:pt x="296" y="860"/>
                  </a:lnTo>
                  <a:lnTo>
                    <a:pt x="296" y="863"/>
                  </a:lnTo>
                  <a:lnTo>
                    <a:pt x="296" y="865"/>
                  </a:lnTo>
                  <a:lnTo>
                    <a:pt x="296" y="863"/>
                  </a:lnTo>
                  <a:lnTo>
                    <a:pt x="299" y="863"/>
                  </a:lnTo>
                  <a:lnTo>
                    <a:pt x="301" y="863"/>
                  </a:lnTo>
                  <a:lnTo>
                    <a:pt x="303" y="860"/>
                  </a:lnTo>
                  <a:lnTo>
                    <a:pt x="303" y="863"/>
                  </a:lnTo>
                  <a:lnTo>
                    <a:pt x="303" y="865"/>
                  </a:lnTo>
                  <a:lnTo>
                    <a:pt x="303" y="863"/>
                  </a:lnTo>
                  <a:lnTo>
                    <a:pt x="306" y="863"/>
                  </a:lnTo>
                  <a:lnTo>
                    <a:pt x="303" y="860"/>
                  </a:lnTo>
                  <a:lnTo>
                    <a:pt x="301" y="860"/>
                  </a:lnTo>
                  <a:lnTo>
                    <a:pt x="299" y="860"/>
                  </a:lnTo>
                  <a:lnTo>
                    <a:pt x="299" y="858"/>
                  </a:lnTo>
                  <a:lnTo>
                    <a:pt x="296" y="858"/>
                  </a:lnTo>
                  <a:lnTo>
                    <a:pt x="299" y="858"/>
                  </a:lnTo>
                  <a:lnTo>
                    <a:pt x="301" y="858"/>
                  </a:lnTo>
                  <a:lnTo>
                    <a:pt x="303" y="858"/>
                  </a:lnTo>
                  <a:lnTo>
                    <a:pt x="306" y="858"/>
                  </a:lnTo>
                  <a:lnTo>
                    <a:pt x="303" y="858"/>
                  </a:lnTo>
                  <a:lnTo>
                    <a:pt x="303" y="860"/>
                  </a:lnTo>
                  <a:lnTo>
                    <a:pt x="306" y="858"/>
                  </a:lnTo>
                  <a:lnTo>
                    <a:pt x="308" y="858"/>
                  </a:lnTo>
                  <a:lnTo>
                    <a:pt x="311" y="858"/>
                  </a:lnTo>
                  <a:lnTo>
                    <a:pt x="311" y="856"/>
                  </a:lnTo>
                  <a:lnTo>
                    <a:pt x="313" y="856"/>
                  </a:lnTo>
                  <a:lnTo>
                    <a:pt x="313" y="853"/>
                  </a:lnTo>
                  <a:lnTo>
                    <a:pt x="315" y="853"/>
                  </a:lnTo>
                  <a:lnTo>
                    <a:pt x="318" y="853"/>
                  </a:lnTo>
                  <a:lnTo>
                    <a:pt x="315" y="853"/>
                  </a:lnTo>
                  <a:lnTo>
                    <a:pt x="315" y="851"/>
                  </a:lnTo>
                  <a:lnTo>
                    <a:pt x="315" y="853"/>
                  </a:lnTo>
                  <a:lnTo>
                    <a:pt x="313" y="853"/>
                  </a:lnTo>
                  <a:lnTo>
                    <a:pt x="311" y="853"/>
                  </a:lnTo>
                  <a:lnTo>
                    <a:pt x="308" y="853"/>
                  </a:lnTo>
                  <a:lnTo>
                    <a:pt x="308" y="856"/>
                  </a:lnTo>
                  <a:lnTo>
                    <a:pt x="306" y="856"/>
                  </a:lnTo>
                  <a:lnTo>
                    <a:pt x="303" y="856"/>
                  </a:lnTo>
                  <a:lnTo>
                    <a:pt x="301" y="856"/>
                  </a:lnTo>
                  <a:lnTo>
                    <a:pt x="303" y="856"/>
                  </a:lnTo>
                  <a:lnTo>
                    <a:pt x="301" y="856"/>
                  </a:lnTo>
                  <a:lnTo>
                    <a:pt x="303" y="856"/>
                  </a:lnTo>
                  <a:lnTo>
                    <a:pt x="301" y="856"/>
                  </a:lnTo>
                  <a:lnTo>
                    <a:pt x="301" y="858"/>
                  </a:lnTo>
                  <a:lnTo>
                    <a:pt x="301" y="856"/>
                  </a:lnTo>
                  <a:lnTo>
                    <a:pt x="301" y="858"/>
                  </a:lnTo>
                  <a:lnTo>
                    <a:pt x="299" y="858"/>
                  </a:lnTo>
                  <a:lnTo>
                    <a:pt x="296" y="858"/>
                  </a:lnTo>
                  <a:lnTo>
                    <a:pt x="296" y="856"/>
                  </a:lnTo>
                  <a:lnTo>
                    <a:pt x="299" y="856"/>
                  </a:lnTo>
                  <a:lnTo>
                    <a:pt x="296" y="856"/>
                  </a:lnTo>
                  <a:lnTo>
                    <a:pt x="294" y="856"/>
                  </a:lnTo>
                  <a:lnTo>
                    <a:pt x="294" y="858"/>
                  </a:lnTo>
                  <a:lnTo>
                    <a:pt x="292" y="858"/>
                  </a:lnTo>
                  <a:lnTo>
                    <a:pt x="289" y="858"/>
                  </a:lnTo>
                  <a:lnTo>
                    <a:pt x="287" y="858"/>
                  </a:lnTo>
                  <a:lnTo>
                    <a:pt x="284" y="858"/>
                  </a:lnTo>
                  <a:lnTo>
                    <a:pt x="284" y="860"/>
                  </a:lnTo>
                  <a:lnTo>
                    <a:pt x="284" y="858"/>
                  </a:lnTo>
                  <a:lnTo>
                    <a:pt x="284" y="860"/>
                  </a:lnTo>
                  <a:lnTo>
                    <a:pt x="282" y="860"/>
                  </a:lnTo>
                  <a:lnTo>
                    <a:pt x="280" y="860"/>
                  </a:lnTo>
                  <a:lnTo>
                    <a:pt x="277" y="860"/>
                  </a:lnTo>
                  <a:lnTo>
                    <a:pt x="280" y="860"/>
                  </a:lnTo>
                  <a:lnTo>
                    <a:pt x="280" y="858"/>
                  </a:lnTo>
                  <a:lnTo>
                    <a:pt x="282" y="858"/>
                  </a:lnTo>
                  <a:lnTo>
                    <a:pt x="284" y="856"/>
                  </a:lnTo>
                  <a:lnTo>
                    <a:pt x="282" y="856"/>
                  </a:lnTo>
                  <a:lnTo>
                    <a:pt x="282" y="858"/>
                  </a:lnTo>
                  <a:lnTo>
                    <a:pt x="282" y="856"/>
                  </a:lnTo>
                  <a:lnTo>
                    <a:pt x="282" y="858"/>
                  </a:lnTo>
                  <a:lnTo>
                    <a:pt x="282" y="856"/>
                  </a:lnTo>
                  <a:lnTo>
                    <a:pt x="282" y="858"/>
                  </a:lnTo>
                  <a:lnTo>
                    <a:pt x="282" y="856"/>
                  </a:lnTo>
                  <a:lnTo>
                    <a:pt x="282" y="858"/>
                  </a:lnTo>
                  <a:lnTo>
                    <a:pt x="282" y="856"/>
                  </a:lnTo>
                  <a:lnTo>
                    <a:pt x="284" y="856"/>
                  </a:lnTo>
                  <a:lnTo>
                    <a:pt x="287" y="856"/>
                  </a:lnTo>
                  <a:lnTo>
                    <a:pt x="289" y="853"/>
                  </a:lnTo>
                  <a:lnTo>
                    <a:pt x="292" y="853"/>
                  </a:lnTo>
                  <a:lnTo>
                    <a:pt x="294" y="853"/>
                  </a:lnTo>
                  <a:lnTo>
                    <a:pt x="296" y="853"/>
                  </a:lnTo>
                  <a:lnTo>
                    <a:pt x="294" y="853"/>
                  </a:lnTo>
                  <a:lnTo>
                    <a:pt x="292" y="853"/>
                  </a:lnTo>
                  <a:lnTo>
                    <a:pt x="294" y="851"/>
                  </a:lnTo>
                  <a:lnTo>
                    <a:pt x="292" y="851"/>
                  </a:lnTo>
                  <a:lnTo>
                    <a:pt x="294" y="851"/>
                  </a:lnTo>
                  <a:lnTo>
                    <a:pt x="292" y="851"/>
                  </a:lnTo>
                  <a:lnTo>
                    <a:pt x="292" y="853"/>
                  </a:lnTo>
                  <a:lnTo>
                    <a:pt x="289" y="853"/>
                  </a:lnTo>
                  <a:lnTo>
                    <a:pt x="284" y="853"/>
                  </a:lnTo>
                  <a:lnTo>
                    <a:pt x="282" y="853"/>
                  </a:lnTo>
                  <a:lnTo>
                    <a:pt x="280" y="853"/>
                  </a:lnTo>
                  <a:lnTo>
                    <a:pt x="277" y="853"/>
                  </a:lnTo>
                  <a:lnTo>
                    <a:pt x="277" y="851"/>
                  </a:lnTo>
                  <a:lnTo>
                    <a:pt x="277" y="853"/>
                  </a:lnTo>
                  <a:lnTo>
                    <a:pt x="277" y="851"/>
                  </a:lnTo>
                  <a:lnTo>
                    <a:pt x="280" y="851"/>
                  </a:lnTo>
                  <a:lnTo>
                    <a:pt x="282" y="848"/>
                  </a:lnTo>
                  <a:lnTo>
                    <a:pt x="282" y="846"/>
                  </a:lnTo>
                  <a:lnTo>
                    <a:pt x="280" y="846"/>
                  </a:lnTo>
                  <a:lnTo>
                    <a:pt x="280" y="844"/>
                  </a:lnTo>
                  <a:lnTo>
                    <a:pt x="280" y="846"/>
                  </a:lnTo>
                  <a:lnTo>
                    <a:pt x="282" y="846"/>
                  </a:lnTo>
                  <a:lnTo>
                    <a:pt x="284" y="844"/>
                  </a:lnTo>
                  <a:lnTo>
                    <a:pt x="282" y="844"/>
                  </a:lnTo>
                  <a:lnTo>
                    <a:pt x="280" y="844"/>
                  </a:lnTo>
                  <a:lnTo>
                    <a:pt x="282" y="844"/>
                  </a:lnTo>
                  <a:lnTo>
                    <a:pt x="280" y="844"/>
                  </a:lnTo>
                  <a:lnTo>
                    <a:pt x="277" y="844"/>
                  </a:lnTo>
                  <a:lnTo>
                    <a:pt x="280" y="841"/>
                  </a:lnTo>
                  <a:lnTo>
                    <a:pt x="277" y="841"/>
                  </a:lnTo>
                  <a:lnTo>
                    <a:pt x="280" y="841"/>
                  </a:lnTo>
                  <a:lnTo>
                    <a:pt x="282" y="841"/>
                  </a:lnTo>
                  <a:lnTo>
                    <a:pt x="282" y="839"/>
                  </a:lnTo>
                  <a:lnTo>
                    <a:pt x="282" y="841"/>
                  </a:lnTo>
                  <a:lnTo>
                    <a:pt x="284" y="841"/>
                  </a:lnTo>
                  <a:lnTo>
                    <a:pt x="284" y="844"/>
                  </a:lnTo>
                  <a:lnTo>
                    <a:pt x="287" y="844"/>
                  </a:lnTo>
                  <a:lnTo>
                    <a:pt x="284" y="844"/>
                  </a:lnTo>
                  <a:lnTo>
                    <a:pt x="287" y="844"/>
                  </a:lnTo>
                  <a:lnTo>
                    <a:pt x="284" y="844"/>
                  </a:lnTo>
                  <a:lnTo>
                    <a:pt x="287" y="844"/>
                  </a:lnTo>
                  <a:lnTo>
                    <a:pt x="284" y="846"/>
                  </a:lnTo>
                  <a:lnTo>
                    <a:pt x="287" y="846"/>
                  </a:lnTo>
                  <a:lnTo>
                    <a:pt x="289" y="846"/>
                  </a:lnTo>
                  <a:lnTo>
                    <a:pt x="289" y="844"/>
                  </a:lnTo>
                  <a:lnTo>
                    <a:pt x="292" y="844"/>
                  </a:lnTo>
                  <a:lnTo>
                    <a:pt x="289" y="844"/>
                  </a:lnTo>
                  <a:lnTo>
                    <a:pt x="292" y="844"/>
                  </a:lnTo>
                  <a:lnTo>
                    <a:pt x="289" y="844"/>
                  </a:lnTo>
                  <a:lnTo>
                    <a:pt x="287" y="846"/>
                  </a:lnTo>
                  <a:lnTo>
                    <a:pt x="287" y="844"/>
                  </a:lnTo>
                  <a:lnTo>
                    <a:pt x="287" y="841"/>
                  </a:lnTo>
                  <a:lnTo>
                    <a:pt x="289" y="841"/>
                  </a:lnTo>
                  <a:lnTo>
                    <a:pt x="292" y="841"/>
                  </a:lnTo>
                  <a:lnTo>
                    <a:pt x="292" y="839"/>
                  </a:lnTo>
                  <a:lnTo>
                    <a:pt x="294" y="841"/>
                  </a:lnTo>
                  <a:lnTo>
                    <a:pt x="296" y="841"/>
                  </a:lnTo>
                  <a:lnTo>
                    <a:pt x="299" y="841"/>
                  </a:lnTo>
                  <a:lnTo>
                    <a:pt x="296" y="839"/>
                  </a:lnTo>
                  <a:lnTo>
                    <a:pt x="294" y="839"/>
                  </a:lnTo>
                  <a:lnTo>
                    <a:pt x="296" y="839"/>
                  </a:lnTo>
                  <a:lnTo>
                    <a:pt x="296" y="837"/>
                  </a:lnTo>
                  <a:lnTo>
                    <a:pt x="299" y="837"/>
                  </a:lnTo>
                  <a:lnTo>
                    <a:pt x="301" y="837"/>
                  </a:lnTo>
                  <a:lnTo>
                    <a:pt x="299" y="837"/>
                  </a:lnTo>
                  <a:lnTo>
                    <a:pt x="296" y="837"/>
                  </a:lnTo>
                  <a:lnTo>
                    <a:pt x="294" y="837"/>
                  </a:lnTo>
                  <a:lnTo>
                    <a:pt x="294" y="839"/>
                  </a:lnTo>
                  <a:lnTo>
                    <a:pt x="292" y="839"/>
                  </a:lnTo>
                  <a:lnTo>
                    <a:pt x="289" y="839"/>
                  </a:lnTo>
                  <a:lnTo>
                    <a:pt x="287" y="839"/>
                  </a:lnTo>
                  <a:lnTo>
                    <a:pt x="284" y="839"/>
                  </a:lnTo>
                  <a:lnTo>
                    <a:pt x="284" y="837"/>
                  </a:lnTo>
                  <a:lnTo>
                    <a:pt x="287" y="837"/>
                  </a:lnTo>
                  <a:lnTo>
                    <a:pt x="284" y="837"/>
                  </a:lnTo>
                  <a:lnTo>
                    <a:pt x="287" y="837"/>
                  </a:lnTo>
                  <a:lnTo>
                    <a:pt x="289" y="837"/>
                  </a:lnTo>
                  <a:lnTo>
                    <a:pt x="287" y="837"/>
                  </a:lnTo>
                  <a:lnTo>
                    <a:pt x="289" y="837"/>
                  </a:lnTo>
                  <a:lnTo>
                    <a:pt x="287" y="837"/>
                  </a:lnTo>
                  <a:lnTo>
                    <a:pt x="287" y="834"/>
                  </a:lnTo>
                  <a:lnTo>
                    <a:pt x="289" y="834"/>
                  </a:lnTo>
                  <a:lnTo>
                    <a:pt x="287" y="834"/>
                  </a:lnTo>
                  <a:lnTo>
                    <a:pt x="284" y="834"/>
                  </a:lnTo>
                  <a:lnTo>
                    <a:pt x="284" y="837"/>
                  </a:lnTo>
                  <a:lnTo>
                    <a:pt x="284" y="834"/>
                  </a:lnTo>
                  <a:lnTo>
                    <a:pt x="282" y="834"/>
                  </a:lnTo>
                  <a:lnTo>
                    <a:pt x="284" y="834"/>
                  </a:lnTo>
                  <a:lnTo>
                    <a:pt x="284" y="832"/>
                  </a:lnTo>
                  <a:lnTo>
                    <a:pt x="284" y="834"/>
                  </a:lnTo>
                  <a:lnTo>
                    <a:pt x="287" y="834"/>
                  </a:lnTo>
                  <a:lnTo>
                    <a:pt x="289" y="834"/>
                  </a:lnTo>
                  <a:lnTo>
                    <a:pt x="292" y="834"/>
                  </a:lnTo>
                  <a:lnTo>
                    <a:pt x="294" y="834"/>
                  </a:lnTo>
                  <a:lnTo>
                    <a:pt x="296" y="834"/>
                  </a:lnTo>
                  <a:lnTo>
                    <a:pt x="294" y="834"/>
                  </a:lnTo>
                  <a:lnTo>
                    <a:pt x="296" y="834"/>
                  </a:lnTo>
                  <a:lnTo>
                    <a:pt x="294" y="834"/>
                  </a:lnTo>
                  <a:lnTo>
                    <a:pt x="294" y="832"/>
                  </a:lnTo>
                  <a:lnTo>
                    <a:pt x="292" y="832"/>
                  </a:lnTo>
                  <a:lnTo>
                    <a:pt x="289" y="832"/>
                  </a:lnTo>
                  <a:lnTo>
                    <a:pt x="287" y="832"/>
                  </a:lnTo>
                  <a:lnTo>
                    <a:pt x="287" y="829"/>
                  </a:lnTo>
                  <a:lnTo>
                    <a:pt x="284" y="829"/>
                  </a:lnTo>
                  <a:lnTo>
                    <a:pt x="287" y="829"/>
                  </a:lnTo>
                  <a:lnTo>
                    <a:pt x="284" y="829"/>
                  </a:lnTo>
                  <a:lnTo>
                    <a:pt x="284" y="832"/>
                  </a:lnTo>
                  <a:lnTo>
                    <a:pt x="284" y="829"/>
                  </a:lnTo>
                  <a:lnTo>
                    <a:pt x="287" y="829"/>
                  </a:lnTo>
                  <a:lnTo>
                    <a:pt x="289" y="829"/>
                  </a:lnTo>
                  <a:lnTo>
                    <a:pt x="292" y="829"/>
                  </a:lnTo>
                  <a:lnTo>
                    <a:pt x="294" y="829"/>
                  </a:lnTo>
                  <a:lnTo>
                    <a:pt x="294" y="832"/>
                  </a:lnTo>
                  <a:lnTo>
                    <a:pt x="294" y="829"/>
                  </a:lnTo>
                  <a:lnTo>
                    <a:pt x="294" y="832"/>
                  </a:lnTo>
                  <a:lnTo>
                    <a:pt x="296" y="832"/>
                  </a:lnTo>
                  <a:lnTo>
                    <a:pt x="299" y="832"/>
                  </a:lnTo>
                  <a:lnTo>
                    <a:pt x="301" y="832"/>
                  </a:lnTo>
                  <a:lnTo>
                    <a:pt x="301" y="829"/>
                  </a:lnTo>
                  <a:lnTo>
                    <a:pt x="303" y="829"/>
                  </a:lnTo>
                  <a:lnTo>
                    <a:pt x="306" y="829"/>
                  </a:lnTo>
                  <a:lnTo>
                    <a:pt x="308" y="829"/>
                  </a:lnTo>
                  <a:lnTo>
                    <a:pt x="306" y="829"/>
                  </a:lnTo>
                  <a:lnTo>
                    <a:pt x="303" y="829"/>
                  </a:lnTo>
                  <a:lnTo>
                    <a:pt x="301" y="829"/>
                  </a:lnTo>
                  <a:lnTo>
                    <a:pt x="299" y="829"/>
                  </a:lnTo>
                  <a:lnTo>
                    <a:pt x="299" y="832"/>
                  </a:lnTo>
                  <a:lnTo>
                    <a:pt x="296" y="832"/>
                  </a:lnTo>
                  <a:lnTo>
                    <a:pt x="296" y="829"/>
                  </a:lnTo>
                  <a:lnTo>
                    <a:pt x="294" y="829"/>
                  </a:lnTo>
                  <a:lnTo>
                    <a:pt x="296" y="829"/>
                  </a:lnTo>
                  <a:lnTo>
                    <a:pt x="296" y="827"/>
                  </a:lnTo>
                  <a:lnTo>
                    <a:pt x="299" y="827"/>
                  </a:lnTo>
                  <a:lnTo>
                    <a:pt x="301" y="827"/>
                  </a:lnTo>
                  <a:lnTo>
                    <a:pt x="301" y="829"/>
                  </a:lnTo>
                  <a:lnTo>
                    <a:pt x="303" y="829"/>
                  </a:lnTo>
                  <a:lnTo>
                    <a:pt x="303" y="827"/>
                  </a:lnTo>
                  <a:lnTo>
                    <a:pt x="301" y="827"/>
                  </a:lnTo>
                  <a:lnTo>
                    <a:pt x="299" y="827"/>
                  </a:lnTo>
                  <a:lnTo>
                    <a:pt x="296" y="827"/>
                  </a:lnTo>
                  <a:lnTo>
                    <a:pt x="294" y="827"/>
                  </a:lnTo>
                  <a:lnTo>
                    <a:pt x="294" y="825"/>
                  </a:lnTo>
                  <a:lnTo>
                    <a:pt x="296" y="825"/>
                  </a:lnTo>
                  <a:lnTo>
                    <a:pt x="299" y="825"/>
                  </a:lnTo>
                  <a:lnTo>
                    <a:pt x="301" y="825"/>
                  </a:lnTo>
                  <a:lnTo>
                    <a:pt x="303" y="825"/>
                  </a:lnTo>
                  <a:lnTo>
                    <a:pt x="303" y="827"/>
                  </a:lnTo>
                  <a:lnTo>
                    <a:pt x="306" y="825"/>
                  </a:lnTo>
                  <a:lnTo>
                    <a:pt x="308" y="827"/>
                  </a:lnTo>
                  <a:lnTo>
                    <a:pt x="308" y="825"/>
                  </a:lnTo>
                  <a:lnTo>
                    <a:pt x="311" y="827"/>
                  </a:lnTo>
                  <a:lnTo>
                    <a:pt x="311" y="825"/>
                  </a:lnTo>
                  <a:lnTo>
                    <a:pt x="308" y="825"/>
                  </a:lnTo>
                  <a:lnTo>
                    <a:pt x="306" y="825"/>
                  </a:lnTo>
                  <a:lnTo>
                    <a:pt x="303" y="825"/>
                  </a:lnTo>
                  <a:lnTo>
                    <a:pt x="301" y="825"/>
                  </a:lnTo>
                  <a:lnTo>
                    <a:pt x="303" y="825"/>
                  </a:lnTo>
                  <a:lnTo>
                    <a:pt x="303" y="822"/>
                  </a:lnTo>
                  <a:lnTo>
                    <a:pt x="301" y="822"/>
                  </a:lnTo>
                  <a:lnTo>
                    <a:pt x="301" y="825"/>
                  </a:lnTo>
                  <a:lnTo>
                    <a:pt x="299" y="825"/>
                  </a:lnTo>
                  <a:lnTo>
                    <a:pt x="301" y="825"/>
                  </a:lnTo>
                  <a:lnTo>
                    <a:pt x="301" y="822"/>
                  </a:lnTo>
                  <a:lnTo>
                    <a:pt x="299" y="820"/>
                  </a:lnTo>
                  <a:lnTo>
                    <a:pt x="296" y="820"/>
                  </a:lnTo>
                  <a:lnTo>
                    <a:pt x="296" y="818"/>
                  </a:lnTo>
                  <a:lnTo>
                    <a:pt x="294" y="818"/>
                  </a:lnTo>
                  <a:lnTo>
                    <a:pt x="296" y="818"/>
                  </a:lnTo>
                  <a:lnTo>
                    <a:pt x="294" y="818"/>
                  </a:lnTo>
                  <a:lnTo>
                    <a:pt x="296" y="818"/>
                  </a:lnTo>
                  <a:lnTo>
                    <a:pt x="299" y="818"/>
                  </a:lnTo>
                  <a:lnTo>
                    <a:pt x="301" y="818"/>
                  </a:lnTo>
                  <a:lnTo>
                    <a:pt x="303" y="818"/>
                  </a:lnTo>
                  <a:lnTo>
                    <a:pt x="303" y="815"/>
                  </a:lnTo>
                  <a:lnTo>
                    <a:pt x="301" y="815"/>
                  </a:lnTo>
                  <a:lnTo>
                    <a:pt x="303" y="815"/>
                  </a:lnTo>
                  <a:lnTo>
                    <a:pt x="306" y="815"/>
                  </a:lnTo>
                  <a:lnTo>
                    <a:pt x="308" y="815"/>
                  </a:lnTo>
                  <a:lnTo>
                    <a:pt x="308" y="813"/>
                  </a:lnTo>
                  <a:lnTo>
                    <a:pt x="311" y="813"/>
                  </a:lnTo>
                  <a:lnTo>
                    <a:pt x="311" y="815"/>
                  </a:lnTo>
                  <a:lnTo>
                    <a:pt x="308" y="815"/>
                  </a:lnTo>
                  <a:lnTo>
                    <a:pt x="308" y="818"/>
                  </a:lnTo>
                  <a:lnTo>
                    <a:pt x="311" y="815"/>
                  </a:lnTo>
                  <a:lnTo>
                    <a:pt x="311" y="818"/>
                  </a:lnTo>
                  <a:lnTo>
                    <a:pt x="311" y="815"/>
                  </a:lnTo>
                  <a:lnTo>
                    <a:pt x="313" y="815"/>
                  </a:lnTo>
                  <a:lnTo>
                    <a:pt x="311" y="815"/>
                  </a:lnTo>
                  <a:lnTo>
                    <a:pt x="313" y="815"/>
                  </a:lnTo>
                  <a:lnTo>
                    <a:pt x="313" y="813"/>
                  </a:lnTo>
                  <a:lnTo>
                    <a:pt x="311" y="813"/>
                  </a:lnTo>
                  <a:lnTo>
                    <a:pt x="311" y="810"/>
                  </a:lnTo>
                  <a:lnTo>
                    <a:pt x="311" y="813"/>
                  </a:lnTo>
                  <a:lnTo>
                    <a:pt x="311" y="810"/>
                  </a:lnTo>
                  <a:lnTo>
                    <a:pt x="313" y="810"/>
                  </a:lnTo>
                  <a:lnTo>
                    <a:pt x="313" y="813"/>
                  </a:lnTo>
                  <a:lnTo>
                    <a:pt x="313" y="810"/>
                  </a:lnTo>
                  <a:lnTo>
                    <a:pt x="315" y="813"/>
                  </a:lnTo>
                  <a:lnTo>
                    <a:pt x="315" y="815"/>
                  </a:lnTo>
                  <a:lnTo>
                    <a:pt x="315" y="813"/>
                  </a:lnTo>
                  <a:lnTo>
                    <a:pt x="315" y="815"/>
                  </a:lnTo>
                  <a:lnTo>
                    <a:pt x="318" y="815"/>
                  </a:lnTo>
                  <a:lnTo>
                    <a:pt x="318" y="813"/>
                  </a:lnTo>
                  <a:lnTo>
                    <a:pt x="320" y="813"/>
                  </a:lnTo>
                  <a:lnTo>
                    <a:pt x="320" y="810"/>
                  </a:lnTo>
                  <a:lnTo>
                    <a:pt x="318" y="810"/>
                  </a:lnTo>
                  <a:lnTo>
                    <a:pt x="320" y="810"/>
                  </a:lnTo>
                  <a:lnTo>
                    <a:pt x="322" y="810"/>
                  </a:lnTo>
                  <a:lnTo>
                    <a:pt x="325" y="808"/>
                  </a:lnTo>
                  <a:lnTo>
                    <a:pt x="325" y="810"/>
                  </a:lnTo>
                  <a:lnTo>
                    <a:pt x="327" y="810"/>
                  </a:lnTo>
                  <a:lnTo>
                    <a:pt x="329" y="810"/>
                  </a:lnTo>
                  <a:lnTo>
                    <a:pt x="329" y="813"/>
                  </a:lnTo>
                  <a:lnTo>
                    <a:pt x="332" y="813"/>
                  </a:lnTo>
                  <a:lnTo>
                    <a:pt x="329" y="813"/>
                  </a:lnTo>
                  <a:lnTo>
                    <a:pt x="329" y="810"/>
                  </a:lnTo>
                  <a:lnTo>
                    <a:pt x="327" y="810"/>
                  </a:lnTo>
                  <a:lnTo>
                    <a:pt x="325" y="810"/>
                  </a:lnTo>
                  <a:lnTo>
                    <a:pt x="325" y="808"/>
                  </a:lnTo>
                  <a:lnTo>
                    <a:pt x="322" y="810"/>
                  </a:lnTo>
                  <a:lnTo>
                    <a:pt x="320" y="810"/>
                  </a:lnTo>
                  <a:lnTo>
                    <a:pt x="322" y="810"/>
                  </a:lnTo>
                  <a:lnTo>
                    <a:pt x="320" y="810"/>
                  </a:lnTo>
                  <a:lnTo>
                    <a:pt x="320" y="808"/>
                  </a:lnTo>
                  <a:lnTo>
                    <a:pt x="320" y="810"/>
                  </a:lnTo>
                  <a:lnTo>
                    <a:pt x="320" y="808"/>
                  </a:lnTo>
                  <a:lnTo>
                    <a:pt x="320" y="810"/>
                  </a:lnTo>
                  <a:lnTo>
                    <a:pt x="318" y="808"/>
                  </a:lnTo>
                  <a:lnTo>
                    <a:pt x="320" y="808"/>
                  </a:lnTo>
                  <a:lnTo>
                    <a:pt x="320" y="806"/>
                  </a:lnTo>
                  <a:lnTo>
                    <a:pt x="322" y="806"/>
                  </a:lnTo>
                  <a:lnTo>
                    <a:pt x="320" y="806"/>
                  </a:lnTo>
                  <a:lnTo>
                    <a:pt x="322" y="806"/>
                  </a:lnTo>
                  <a:lnTo>
                    <a:pt x="322" y="803"/>
                  </a:lnTo>
                  <a:lnTo>
                    <a:pt x="325" y="803"/>
                  </a:lnTo>
                  <a:lnTo>
                    <a:pt x="327" y="803"/>
                  </a:lnTo>
                  <a:lnTo>
                    <a:pt x="325" y="803"/>
                  </a:lnTo>
                  <a:lnTo>
                    <a:pt x="327" y="803"/>
                  </a:lnTo>
                  <a:lnTo>
                    <a:pt x="329" y="803"/>
                  </a:lnTo>
                  <a:lnTo>
                    <a:pt x="332" y="803"/>
                  </a:lnTo>
                  <a:lnTo>
                    <a:pt x="334" y="803"/>
                  </a:lnTo>
                  <a:lnTo>
                    <a:pt x="332" y="803"/>
                  </a:lnTo>
                  <a:lnTo>
                    <a:pt x="329" y="803"/>
                  </a:lnTo>
                  <a:lnTo>
                    <a:pt x="327" y="803"/>
                  </a:lnTo>
                  <a:lnTo>
                    <a:pt x="325" y="803"/>
                  </a:lnTo>
                  <a:lnTo>
                    <a:pt x="322" y="803"/>
                  </a:lnTo>
                  <a:lnTo>
                    <a:pt x="322" y="801"/>
                  </a:lnTo>
                  <a:lnTo>
                    <a:pt x="325" y="801"/>
                  </a:lnTo>
                  <a:lnTo>
                    <a:pt x="327" y="801"/>
                  </a:lnTo>
                  <a:lnTo>
                    <a:pt x="329" y="801"/>
                  </a:lnTo>
                  <a:lnTo>
                    <a:pt x="332" y="801"/>
                  </a:lnTo>
                  <a:lnTo>
                    <a:pt x="329" y="801"/>
                  </a:lnTo>
                  <a:lnTo>
                    <a:pt x="327" y="803"/>
                  </a:lnTo>
                  <a:lnTo>
                    <a:pt x="329" y="801"/>
                  </a:lnTo>
                  <a:lnTo>
                    <a:pt x="332" y="801"/>
                  </a:lnTo>
                  <a:lnTo>
                    <a:pt x="334" y="801"/>
                  </a:lnTo>
                  <a:lnTo>
                    <a:pt x="332" y="801"/>
                  </a:lnTo>
                  <a:lnTo>
                    <a:pt x="332" y="803"/>
                  </a:lnTo>
                  <a:lnTo>
                    <a:pt x="334" y="801"/>
                  </a:lnTo>
                  <a:lnTo>
                    <a:pt x="334" y="803"/>
                  </a:lnTo>
                  <a:lnTo>
                    <a:pt x="334" y="801"/>
                  </a:lnTo>
                  <a:lnTo>
                    <a:pt x="337" y="801"/>
                  </a:lnTo>
                  <a:lnTo>
                    <a:pt x="334" y="801"/>
                  </a:lnTo>
                  <a:lnTo>
                    <a:pt x="337" y="801"/>
                  </a:lnTo>
                  <a:lnTo>
                    <a:pt x="339" y="801"/>
                  </a:lnTo>
                  <a:lnTo>
                    <a:pt x="341" y="801"/>
                  </a:lnTo>
                  <a:lnTo>
                    <a:pt x="344" y="801"/>
                  </a:lnTo>
                  <a:lnTo>
                    <a:pt x="341" y="801"/>
                  </a:lnTo>
                  <a:lnTo>
                    <a:pt x="341" y="803"/>
                  </a:lnTo>
                  <a:lnTo>
                    <a:pt x="344" y="803"/>
                  </a:lnTo>
                  <a:lnTo>
                    <a:pt x="341" y="803"/>
                  </a:lnTo>
                  <a:lnTo>
                    <a:pt x="339" y="803"/>
                  </a:lnTo>
                  <a:lnTo>
                    <a:pt x="339" y="806"/>
                  </a:lnTo>
                  <a:lnTo>
                    <a:pt x="341" y="806"/>
                  </a:lnTo>
                  <a:lnTo>
                    <a:pt x="341" y="808"/>
                  </a:lnTo>
                  <a:lnTo>
                    <a:pt x="344" y="808"/>
                  </a:lnTo>
                  <a:lnTo>
                    <a:pt x="344" y="806"/>
                  </a:lnTo>
                  <a:lnTo>
                    <a:pt x="341" y="806"/>
                  </a:lnTo>
                  <a:lnTo>
                    <a:pt x="341" y="803"/>
                  </a:lnTo>
                  <a:lnTo>
                    <a:pt x="344" y="803"/>
                  </a:lnTo>
                  <a:lnTo>
                    <a:pt x="344" y="801"/>
                  </a:lnTo>
                  <a:lnTo>
                    <a:pt x="346" y="801"/>
                  </a:lnTo>
                  <a:lnTo>
                    <a:pt x="348" y="801"/>
                  </a:lnTo>
                  <a:lnTo>
                    <a:pt x="348" y="803"/>
                  </a:lnTo>
                  <a:lnTo>
                    <a:pt x="348" y="801"/>
                  </a:lnTo>
                  <a:lnTo>
                    <a:pt x="351" y="801"/>
                  </a:lnTo>
                  <a:lnTo>
                    <a:pt x="351" y="803"/>
                  </a:lnTo>
                  <a:lnTo>
                    <a:pt x="353" y="803"/>
                  </a:lnTo>
                  <a:lnTo>
                    <a:pt x="356" y="803"/>
                  </a:lnTo>
                  <a:lnTo>
                    <a:pt x="358" y="803"/>
                  </a:lnTo>
                  <a:lnTo>
                    <a:pt x="358" y="806"/>
                  </a:lnTo>
                  <a:lnTo>
                    <a:pt x="356" y="806"/>
                  </a:lnTo>
                  <a:lnTo>
                    <a:pt x="356" y="808"/>
                  </a:lnTo>
                  <a:lnTo>
                    <a:pt x="358" y="806"/>
                  </a:lnTo>
                  <a:lnTo>
                    <a:pt x="358" y="808"/>
                  </a:lnTo>
                  <a:lnTo>
                    <a:pt x="356" y="808"/>
                  </a:lnTo>
                  <a:lnTo>
                    <a:pt x="358" y="808"/>
                  </a:lnTo>
                  <a:lnTo>
                    <a:pt x="356" y="808"/>
                  </a:lnTo>
                  <a:lnTo>
                    <a:pt x="356" y="810"/>
                  </a:lnTo>
                  <a:lnTo>
                    <a:pt x="358" y="808"/>
                  </a:lnTo>
                  <a:lnTo>
                    <a:pt x="358" y="806"/>
                  </a:lnTo>
                  <a:lnTo>
                    <a:pt x="360" y="806"/>
                  </a:lnTo>
                  <a:lnTo>
                    <a:pt x="358" y="803"/>
                  </a:lnTo>
                  <a:lnTo>
                    <a:pt x="360" y="803"/>
                  </a:lnTo>
                  <a:lnTo>
                    <a:pt x="358" y="803"/>
                  </a:lnTo>
                  <a:lnTo>
                    <a:pt x="358" y="801"/>
                  </a:lnTo>
                  <a:lnTo>
                    <a:pt x="356" y="801"/>
                  </a:lnTo>
                  <a:lnTo>
                    <a:pt x="358" y="801"/>
                  </a:lnTo>
                  <a:lnTo>
                    <a:pt x="356" y="801"/>
                  </a:lnTo>
                  <a:lnTo>
                    <a:pt x="358" y="801"/>
                  </a:lnTo>
                  <a:lnTo>
                    <a:pt x="358" y="799"/>
                  </a:lnTo>
                  <a:lnTo>
                    <a:pt x="356" y="799"/>
                  </a:lnTo>
                  <a:lnTo>
                    <a:pt x="356" y="801"/>
                  </a:lnTo>
                  <a:lnTo>
                    <a:pt x="353" y="801"/>
                  </a:lnTo>
                  <a:lnTo>
                    <a:pt x="351" y="801"/>
                  </a:lnTo>
                  <a:lnTo>
                    <a:pt x="353" y="801"/>
                  </a:lnTo>
                  <a:lnTo>
                    <a:pt x="356" y="801"/>
                  </a:lnTo>
                  <a:lnTo>
                    <a:pt x="356" y="799"/>
                  </a:lnTo>
                  <a:lnTo>
                    <a:pt x="353" y="799"/>
                  </a:lnTo>
                  <a:lnTo>
                    <a:pt x="351" y="799"/>
                  </a:lnTo>
                  <a:lnTo>
                    <a:pt x="348" y="799"/>
                  </a:lnTo>
                  <a:lnTo>
                    <a:pt x="348" y="801"/>
                  </a:lnTo>
                  <a:lnTo>
                    <a:pt x="348" y="799"/>
                  </a:lnTo>
                  <a:lnTo>
                    <a:pt x="346" y="799"/>
                  </a:lnTo>
                  <a:lnTo>
                    <a:pt x="344" y="799"/>
                  </a:lnTo>
                  <a:lnTo>
                    <a:pt x="346" y="799"/>
                  </a:lnTo>
                  <a:lnTo>
                    <a:pt x="348" y="799"/>
                  </a:lnTo>
                  <a:lnTo>
                    <a:pt x="348" y="796"/>
                  </a:lnTo>
                  <a:lnTo>
                    <a:pt x="348" y="799"/>
                  </a:lnTo>
                  <a:lnTo>
                    <a:pt x="348" y="796"/>
                  </a:lnTo>
                  <a:lnTo>
                    <a:pt x="346" y="796"/>
                  </a:lnTo>
                  <a:lnTo>
                    <a:pt x="344" y="796"/>
                  </a:lnTo>
                  <a:lnTo>
                    <a:pt x="344" y="799"/>
                  </a:lnTo>
                  <a:lnTo>
                    <a:pt x="344" y="796"/>
                  </a:lnTo>
                  <a:lnTo>
                    <a:pt x="344" y="799"/>
                  </a:lnTo>
                  <a:lnTo>
                    <a:pt x="341" y="799"/>
                  </a:lnTo>
                  <a:lnTo>
                    <a:pt x="339" y="796"/>
                  </a:lnTo>
                  <a:lnTo>
                    <a:pt x="339" y="799"/>
                  </a:lnTo>
                  <a:lnTo>
                    <a:pt x="337" y="799"/>
                  </a:lnTo>
                  <a:lnTo>
                    <a:pt x="339" y="799"/>
                  </a:lnTo>
                  <a:lnTo>
                    <a:pt x="337" y="799"/>
                  </a:lnTo>
                  <a:lnTo>
                    <a:pt x="334" y="801"/>
                  </a:lnTo>
                  <a:lnTo>
                    <a:pt x="332" y="801"/>
                  </a:lnTo>
                  <a:lnTo>
                    <a:pt x="334" y="801"/>
                  </a:lnTo>
                  <a:lnTo>
                    <a:pt x="334" y="799"/>
                  </a:lnTo>
                  <a:lnTo>
                    <a:pt x="334" y="796"/>
                  </a:lnTo>
                  <a:lnTo>
                    <a:pt x="332" y="799"/>
                  </a:lnTo>
                  <a:lnTo>
                    <a:pt x="329" y="799"/>
                  </a:lnTo>
                  <a:lnTo>
                    <a:pt x="332" y="799"/>
                  </a:lnTo>
                  <a:lnTo>
                    <a:pt x="329" y="799"/>
                  </a:lnTo>
                  <a:lnTo>
                    <a:pt x="327" y="799"/>
                  </a:lnTo>
                  <a:lnTo>
                    <a:pt x="325" y="799"/>
                  </a:lnTo>
                  <a:lnTo>
                    <a:pt x="322" y="799"/>
                  </a:lnTo>
                  <a:lnTo>
                    <a:pt x="320" y="801"/>
                  </a:lnTo>
                  <a:lnTo>
                    <a:pt x="320" y="799"/>
                  </a:lnTo>
                  <a:lnTo>
                    <a:pt x="322" y="799"/>
                  </a:lnTo>
                  <a:lnTo>
                    <a:pt x="320" y="799"/>
                  </a:lnTo>
                  <a:lnTo>
                    <a:pt x="322" y="799"/>
                  </a:lnTo>
                  <a:lnTo>
                    <a:pt x="325" y="799"/>
                  </a:lnTo>
                  <a:lnTo>
                    <a:pt x="325" y="796"/>
                  </a:lnTo>
                  <a:lnTo>
                    <a:pt x="322" y="796"/>
                  </a:lnTo>
                  <a:lnTo>
                    <a:pt x="322" y="799"/>
                  </a:lnTo>
                  <a:lnTo>
                    <a:pt x="322" y="796"/>
                  </a:lnTo>
                  <a:lnTo>
                    <a:pt x="325" y="796"/>
                  </a:lnTo>
                  <a:lnTo>
                    <a:pt x="322" y="796"/>
                  </a:lnTo>
                  <a:lnTo>
                    <a:pt x="325" y="796"/>
                  </a:lnTo>
                  <a:lnTo>
                    <a:pt x="327" y="796"/>
                  </a:lnTo>
                  <a:lnTo>
                    <a:pt x="327" y="794"/>
                  </a:lnTo>
                  <a:lnTo>
                    <a:pt x="329" y="794"/>
                  </a:lnTo>
                  <a:lnTo>
                    <a:pt x="329" y="791"/>
                  </a:lnTo>
                  <a:lnTo>
                    <a:pt x="329" y="794"/>
                  </a:lnTo>
                  <a:lnTo>
                    <a:pt x="329" y="791"/>
                  </a:lnTo>
                  <a:lnTo>
                    <a:pt x="332" y="791"/>
                  </a:lnTo>
                  <a:lnTo>
                    <a:pt x="329" y="791"/>
                  </a:lnTo>
                  <a:lnTo>
                    <a:pt x="332" y="791"/>
                  </a:lnTo>
                  <a:lnTo>
                    <a:pt x="332" y="789"/>
                  </a:lnTo>
                  <a:lnTo>
                    <a:pt x="332" y="791"/>
                  </a:lnTo>
                  <a:lnTo>
                    <a:pt x="332" y="789"/>
                  </a:lnTo>
                  <a:lnTo>
                    <a:pt x="334" y="789"/>
                  </a:lnTo>
                  <a:lnTo>
                    <a:pt x="337" y="789"/>
                  </a:lnTo>
                  <a:lnTo>
                    <a:pt x="334" y="789"/>
                  </a:lnTo>
                  <a:lnTo>
                    <a:pt x="337" y="789"/>
                  </a:lnTo>
                  <a:lnTo>
                    <a:pt x="334" y="789"/>
                  </a:lnTo>
                  <a:lnTo>
                    <a:pt x="337" y="789"/>
                  </a:lnTo>
                  <a:lnTo>
                    <a:pt x="339" y="789"/>
                  </a:lnTo>
                  <a:lnTo>
                    <a:pt x="339" y="791"/>
                  </a:lnTo>
                  <a:lnTo>
                    <a:pt x="337" y="791"/>
                  </a:lnTo>
                  <a:lnTo>
                    <a:pt x="339" y="791"/>
                  </a:lnTo>
                  <a:lnTo>
                    <a:pt x="339" y="789"/>
                  </a:lnTo>
                  <a:lnTo>
                    <a:pt x="341" y="789"/>
                  </a:lnTo>
                  <a:lnTo>
                    <a:pt x="344" y="789"/>
                  </a:lnTo>
                  <a:lnTo>
                    <a:pt x="346" y="789"/>
                  </a:lnTo>
                  <a:lnTo>
                    <a:pt x="344" y="789"/>
                  </a:lnTo>
                  <a:lnTo>
                    <a:pt x="341" y="789"/>
                  </a:lnTo>
                  <a:lnTo>
                    <a:pt x="339" y="789"/>
                  </a:lnTo>
                  <a:lnTo>
                    <a:pt x="337" y="787"/>
                  </a:lnTo>
                  <a:lnTo>
                    <a:pt x="337" y="789"/>
                  </a:lnTo>
                  <a:lnTo>
                    <a:pt x="334" y="789"/>
                  </a:lnTo>
                  <a:lnTo>
                    <a:pt x="332" y="787"/>
                  </a:lnTo>
                  <a:lnTo>
                    <a:pt x="334" y="787"/>
                  </a:lnTo>
                  <a:lnTo>
                    <a:pt x="332" y="787"/>
                  </a:lnTo>
                  <a:lnTo>
                    <a:pt x="334" y="787"/>
                  </a:lnTo>
                  <a:lnTo>
                    <a:pt x="334" y="784"/>
                  </a:lnTo>
                  <a:lnTo>
                    <a:pt x="337" y="784"/>
                  </a:lnTo>
                  <a:lnTo>
                    <a:pt x="334" y="784"/>
                  </a:lnTo>
                  <a:lnTo>
                    <a:pt x="337" y="784"/>
                  </a:lnTo>
                  <a:lnTo>
                    <a:pt x="334" y="784"/>
                  </a:lnTo>
                  <a:lnTo>
                    <a:pt x="337" y="784"/>
                  </a:lnTo>
                  <a:lnTo>
                    <a:pt x="339" y="784"/>
                  </a:lnTo>
                  <a:lnTo>
                    <a:pt x="339" y="782"/>
                  </a:lnTo>
                  <a:lnTo>
                    <a:pt x="341" y="782"/>
                  </a:lnTo>
                  <a:lnTo>
                    <a:pt x="344" y="780"/>
                  </a:lnTo>
                  <a:lnTo>
                    <a:pt x="346" y="780"/>
                  </a:lnTo>
                  <a:lnTo>
                    <a:pt x="346" y="782"/>
                  </a:lnTo>
                  <a:lnTo>
                    <a:pt x="348" y="782"/>
                  </a:lnTo>
                  <a:lnTo>
                    <a:pt x="346" y="784"/>
                  </a:lnTo>
                  <a:lnTo>
                    <a:pt x="346" y="782"/>
                  </a:lnTo>
                  <a:lnTo>
                    <a:pt x="346" y="784"/>
                  </a:lnTo>
                  <a:lnTo>
                    <a:pt x="346" y="782"/>
                  </a:lnTo>
                  <a:lnTo>
                    <a:pt x="344" y="782"/>
                  </a:lnTo>
                  <a:lnTo>
                    <a:pt x="344" y="784"/>
                  </a:lnTo>
                  <a:lnTo>
                    <a:pt x="346" y="784"/>
                  </a:lnTo>
                  <a:lnTo>
                    <a:pt x="344" y="784"/>
                  </a:lnTo>
                  <a:lnTo>
                    <a:pt x="344" y="787"/>
                  </a:lnTo>
                  <a:lnTo>
                    <a:pt x="341" y="787"/>
                  </a:lnTo>
                  <a:lnTo>
                    <a:pt x="344" y="787"/>
                  </a:lnTo>
                  <a:lnTo>
                    <a:pt x="344" y="784"/>
                  </a:lnTo>
                  <a:lnTo>
                    <a:pt x="346" y="784"/>
                  </a:lnTo>
                  <a:lnTo>
                    <a:pt x="348" y="784"/>
                  </a:lnTo>
                  <a:lnTo>
                    <a:pt x="351" y="784"/>
                  </a:lnTo>
                  <a:lnTo>
                    <a:pt x="351" y="787"/>
                  </a:lnTo>
                  <a:lnTo>
                    <a:pt x="348" y="787"/>
                  </a:lnTo>
                  <a:lnTo>
                    <a:pt x="348" y="789"/>
                  </a:lnTo>
                  <a:lnTo>
                    <a:pt x="351" y="787"/>
                  </a:lnTo>
                  <a:lnTo>
                    <a:pt x="353" y="787"/>
                  </a:lnTo>
                  <a:lnTo>
                    <a:pt x="353" y="784"/>
                  </a:lnTo>
                  <a:lnTo>
                    <a:pt x="353" y="787"/>
                  </a:lnTo>
                  <a:lnTo>
                    <a:pt x="353" y="784"/>
                  </a:lnTo>
                  <a:lnTo>
                    <a:pt x="356" y="784"/>
                  </a:lnTo>
                  <a:lnTo>
                    <a:pt x="356" y="787"/>
                  </a:lnTo>
                  <a:lnTo>
                    <a:pt x="356" y="784"/>
                  </a:lnTo>
                  <a:lnTo>
                    <a:pt x="356" y="787"/>
                  </a:lnTo>
                  <a:lnTo>
                    <a:pt x="356" y="784"/>
                  </a:lnTo>
                  <a:lnTo>
                    <a:pt x="356" y="787"/>
                  </a:lnTo>
                  <a:lnTo>
                    <a:pt x="358" y="787"/>
                  </a:lnTo>
                  <a:lnTo>
                    <a:pt x="360" y="787"/>
                  </a:lnTo>
                  <a:lnTo>
                    <a:pt x="360" y="789"/>
                  </a:lnTo>
                  <a:lnTo>
                    <a:pt x="360" y="791"/>
                  </a:lnTo>
                  <a:lnTo>
                    <a:pt x="363" y="791"/>
                  </a:lnTo>
                  <a:lnTo>
                    <a:pt x="360" y="791"/>
                  </a:lnTo>
                  <a:lnTo>
                    <a:pt x="363" y="794"/>
                  </a:lnTo>
                  <a:lnTo>
                    <a:pt x="365" y="794"/>
                  </a:lnTo>
                  <a:lnTo>
                    <a:pt x="363" y="794"/>
                  </a:lnTo>
                  <a:lnTo>
                    <a:pt x="363" y="791"/>
                  </a:lnTo>
                  <a:lnTo>
                    <a:pt x="365" y="791"/>
                  </a:lnTo>
                  <a:lnTo>
                    <a:pt x="365" y="789"/>
                  </a:lnTo>
                  <a:lnTo>
                    <a:pt x="365" y="791"/>
                  </a:lnTo>
                  <a:lnTo>
                    <a:pt x="363" y="791"/>
                  </a:lnTo>
                  <a:lnTo>
                    <a:pt x="363" y="789"/>
                  </a:lnTo>
                  <a:lnTo>
                    <a:pt x="360" y="789"/>
                  </a:lnTo>
                  <a:lnTo>
                    <a:pt x="360" y="787"/>
                  </a:lnTo>
                  <a:lnTo>
                    <a:pt x="363" y="787"/>
                  </a:lnTo>
                  <a:lnTo>
                    <a:pt x="360" y="787"/>
                  </a:lnTo>
                  <a:lnTo>
                    <a:pt x="363" y="787"/>
                  </a:lnTo>
                  <a:lnTo>
                    <a:pt x="363" y="784"/>
                  </a:lnTo>
                  <a:lnTo>
                    <a:pt x="365" y="784"/>
                  </a:lnTo>
                  <a:lnTo>
                    <a:pt x="365" y="782"/>
                  </a:lnTo>
                  <a:lnTo>
                    <a:pt x="367" y="782"/>
                  </a:lnTo>
                  <a:lnTo>
                    <a:pt x="370" y="782"/>
                  </a:lnTo>
                  <a:lnTo>
                    <a:pt x="372" y="782"/>
                  </a:lnTo>
                  <a:lnTo>
                    <a:pt x="372" y="780"/>
                  </a:lnTo>
                  <a:lnTo>
                    <a:pt x="370" y="780"/>
                  </a:lnTo>
                  <a:lnTo>
                    <a:pt x="370" y="782"/>
                  </a:lnTo>
                  <a:lnTo>
                    <a:pt x="367" y="782"/>
                  </a:lnTo>
                  <a:lnTo>
                    <a:pt x="365" y="782"/>
                  </a:lnTo>
                  <a:lnTo>
                    <a:pt x="363" y="782"/>
                  </a:lnTo>
                  <a:lnTo>
                    <a:pt x="363" y="784"/>
                  </a:lnTo>
                  <a:lnTo>
                    <a:pt x="360" y="784"/>
                  </a:lnTo>
                  <a:lnTo>
                    <a:pt x="358" y="784"/>
                  </a:lnTo>
                  <a:lnTo>
                    <a:pt x="356" y="784"/>
                  </a:lnTo>
                  <a:lnTo>
                    <a:pt x="353" y="784"/>
                  </a:lnTo>
                  <a:lnTo>
                    <a:pt x="353" y="782"/>
                  </a:lnTo>
                  <a:lnTo>
                    <a:pt x="351" y="782"/>
                  </a:lnTo>
                  <a:lnTo>
                    <a:pt x="351" y="780"/>
                  </a:lnTo>
                  <a:lnTo>
                    <a:pt x="353" y="780"/>
                  </a:lnTo>
                  <a:lnTo>
                    <a:pt x="356" y="780"/>
                  </a:lnTo>
                  <a:lnTo>
                    <a:pt x="358" y="780"/>
                  </a:lnTo>
                  <a:lnTo>
                    <a:pt x="356" y="780"/>
                  </a:lnTo>
                  <a:lnTo>
                    <a:pt x="353" y="777"/>
                  </a:lnTo>
                  <a:lnTo>
                    <a:pt x="351" y="777"/>
                  </a:lnTo>
                  <a:lnTo>
                    <a:pt x="348" y="777"/>
                  </a:lnTo>
                  <a:lnTo>
                    <a:pt x="351" y="777"/>
                  </a:lnTo>
                  <a:lnTo>
                    <a:pt x="351" y="775"/>
                  </a:lnTo>
                  <a:lnTo>
                    <a:pt x="353" y="775"/>
                  </a:lnTo>
                  <a:lnTo>
                    <a:pt x="356" y="775"/>
                  </a:lnTo>
                  <a:lnTo>
                    <a:pt x="353" y="775"/>
                  </a:lnTo>
                  <a:lnTo>
                    <a:pt x="351" y="775"/>
                  </a:lnTo>
                  <a:lnTo>
                    <a:pt x="353" y="772"/>
                  </a:lnTo>
                  <a:lnTo>
                    <a:pt x="356" y="772"/>
                  </a:lnTo>
                  <a:lnTo>
                    <a:pt x="358" y="772"/>
                  </a:lnTo>
                  <a:lnTo>
                    <a:pt x="358" y="775"/>
                  </a:lnTo>
                  <a:lnTo>
                    <a:pt x="360" y="775"/>
                  </a:lnTo>
                  <a:lnTo>
                    <a:pt x="360" y="772"/>
                  </a:lnTo>
                  <a:lnTo>
                    <a:pt x="363" y="772"/>
                  </a:lnTo>
                  <a:lnTo>
                    <a:pt x="363" y="775"/>
                  </a:lnTo>
                  <a:lnTo>
                    <a:pt x="365" y="775"/>
                  </a:lnTo>
                  <a:lnTo>
                    <a:pt x="363" y="775"/>
                  </a:lnTo>
                  <a:lnTo>
                    <a:pt x="363" y="772"/>
                  </a:lnTo>
                  <a:lnTo>
                    <a:pt x="360" y="772"/>
                  </a:lnTo>
                  <a:lnTo>
                    <a:pt x="358" y="772"/>
                  </a:lnTo>
                  <a:lnTo>
                    <a:pt x="358" y="770"/>
                  </a:lnTo>
                  <a:lnTo>
                    <a:pt x="360" y="770"/>
                  </a:lnTo>
                  <a:lnTo>
                    <a:pt x="363" y="770"/>
                  </a:lnTo>
                  <a:lnTo>
                    <a:pt x="365" y="770"/>
                  </a:lnTo>
                  <a:lnTo>
                    <a:pt x="365" y="772"/>
                  </a:lnTo>
                  <a:lnTo>
                    <a:pt x="367" y="772"/>
                  </a:lnTo>
                  <a:lnTo>
                    <a:pt x="370" y="775"/>
                  </a:lnTo>
                  <a:lnTo>
                    <a:pt x="372" y="775"/>
                  </a:lnTo>
                  <a:lnTo>
                    <a:pt x="370" y="775"/>
                  </a:lnTo>
                  <a:lnTo>
                    <a:pt x="372" y="775"/>
                  </a:lnTo>
                  <a:lnTo>
                    <a:pt x="372" y="772"/>
                  </a:lnTo>
                  <a:lnTo>
                    <a:pt x="370" y="775"/>
                  </a:lnTo>
                  <a:lnTo>
                    <a:pt x="370" y="772"/>
                  </a:lnTo>
                  <a:lnTo>
                    <a:pt x="367" y="772"/>
                  </a:lnTo>
                  <a:lnTo>
                    <a:pt x="367" y="770"/>
                  </a:lnTo>
                  <a:lnTo>
                    <a:pt x="365" y="770"/>
                  </a:lnTo>
                  <a:lnTo>
                    <a:pt x="363" y="770"/>
                  </a:lnTo>
                  <a:lnTo>
                    <a:pt x="360" y="768"/>
                  </a:lnTo>
                  <a:lnTo>
                    <a:pt x="358" y="768"/>
                  </a:lnTo>
                  <a:lnTo>
                    <a:pt x="358" y="765"/>
                  </a:lnTo>
                  <a:lnTo>
                    <a:pt x="358" y="768"/>
                  </a:lnTo>
                  <a:lnTo>
                    <a:pt x="358" y="765"/>
                  </a:lnTo>
                  <a:lnTo>
                    <a:pt x="358" y="763"/>
                  </a:lnTo>
                  <a:lnTo>
                    <a:pt x="358" y="765"/>
                  </a:lnTo>
                  <a:lnTo>
                    <a:pt x="356" y="765"/>
                  </a:lnTo>
                  <a:lnTo>
                    <a:pt x="356" y="763"/>
                  </a:lnTo>
                  <a:lnTo>
                    <a:pt x="356" y="765"/>
                  </a:lnTo>
                  <a:lnTo>
                    <a:pt x="356" y="768"/>
                  </a:lnTo>
                  <a:lnTo>
                    <a:pt x="353" y="768"/>
                  </a:lnTo>
                  <a:lnTo>
                    <a:pt x="353" y="770"/>
                  </a:lnTo>
                  <a:lnTo>
                    <a:pt x="351" y="770"/>
                  </a:lnTo>
                  <a:lnTo>
                    <a:pt x="351" y="772"/>
                  </a:lnTo>
                  <a:lnTo>
                    <a:pt x="348" y="772"/>
                  </a:lnTo>
                  <a:lnTo>
                    <a:pt x="348" y="775"/>
                  </a:lnTo>
                  <a:lnTo>
                    <a:pt x="346" y="775"/>
                  </a:lnTo>
                  <a:lnTo>
                    <a:pt x="346" y="772"/>
                  </a:lnTo>
                  <a:lnTo>
                    <a:pt x="346" y="775"/>
                  </a:lnTo>
                  <a:lnTo>
                    <a:pt x="344" y="775"/>
                  </a:lnTo>
                  <a:lnTo>
                    <a:pt x="341" y="775"/>
                  </a:lnTo>
                  <a:lnTo>
                    <a:pt x="341" y="777"/>
                  </a:lnTo>
                  <a:lnTo>
                    <a:pt x="339" y="777"/>
                  </a:lnTo>
                  <a:lnTo>
                    <a:pt x="337" y="777"/>
                  </a:lnTo>
                  <a:lnTo>
                    <a:pt x="337" y="775"/>
                  </a:lnTo>
                  <a:lnTo>
                    <a:pt x="337" y="777"/>
                  </a:lnTo>
                  <a:lnTo>
                    <a:pt x="337" y="775"/>
                  </a:lnTo>
                  <a:lnTo>
                    <a:pt x="334" y="775"/>
                  </a:lnTo>
                  <a:lnTo>
                    <a:pt x="337" y="775"/>
                  </a:lnTo>
                  <a:lnTo>
                    <a:pt x="339" y="775"/>
                  </a:lnTo>
                  <a:lnTo>
                    <a:pt x="339" y="772"/>
                  </a:lnTo>
                  <a:lnTo>
                    <a:pt x="337" y="772"/>
                  </a:lnTo>
                  <a:lnTo>
                    <a:pt x="339" y="772"/>
                  </a:lnTo>
                  <a:lnTo>
                    <a:pt x="341" y="772"/>
                  </a:lnTo>
                  <a:lnTo>
                    <a:pt x="344" y="770"/>
                  </a:lnTo>
                  <a:lnTo>
                    <a:pt x="344" y="772"/>
                  </a:lnTo>
                  <a:lnTo>
                    <a:pt x="346" y="772"/>
                  </a:lnTo>
                  <a:lnTo>
                    <a:pt x="346" y="770"/>
                  </a:lnTo>
                  <a:lnTo>
                    <a:pt x="348" y="770"/>
                  </a:lnTo>
                  <a:lnTo>
                    <a:pt x="346" y="770"/>
                  </a:lnTo>
                  <a:lnTo>
                    <a:pt x="344" y="770"/>
                  </a:lnTo>
                  <a:lnTo>
                    <a:pt x="344" y="768"/>
                  </a:lnTo>
                  <a:lnTo>
                    <a:pt x="344" y="770"/>
                  </a:lnTo>
                  <a:lnTo>
                    <a:pt x="341" y="770"/>
                  </a:lnTo>
                  <a:lnTo>
                    <a:pt x="344" y="770"/>
                  </a:lnTo>
                  <a:lnTo>
                    <a:pt x="341" y="770"/>
                  </a:lnTo>
                  <a:lnTo>
                    <a:pt x="339" y="770"/>
                  </a:lnTo>
                  <a:lnTo>
                    <a:pt x="337" y="770"/>
                  </a:lnTo>
                  <a:lnTo>
                    <a:pt x="339" y="770"/>
                  </a:lnTo>
                  <a:lnTo>
                    <a:pt x="339" y="768"/>
                  </a:lnTo>
                  <a:lnTo>
                    <a:pt x="339" y="770"/>
                  </a:lnTo>
                  <a:lnTo>
                    <a:pt x="339" y="768"/>
                  </a:lnTo>
                  <a:lnTo>
                    <a:pt x="337" y="768"/>
                  </a:lnTo>
                  <a:lnTo>
                    <a:pt x="339" y="768"/>
                  </a:lnTo>
                  <a:lnTo>
                    <a:pt x="337" y="768"/>
                  </a:lnTo>
                  <a:lnTo>
                    <a:pt x="339" y="768"/>
                  </a:lnTo>
                  <a:lnTo>
                    <a:pt x="337" y="768"/>
                  </a:lnTo>
                  <a:lnTo>
                    <a:pt x="334" y="768"/>
                  </a:lnTo>
                  <a:lnTo>
                    <a:pt x="337" y="768"/>
                  </a:lnTo>
                  <a:lnTo>
                    <a:pt x="334" y="768"/>
                  </a:lnTo>
                  <a:lnTo>
                    <a:pt x="337" y="768"/>
                  </a:lnTo>
                  <a:lnTo>
                    <a:pt x="337" y="765"/>
                  </a:lnTo>
                  <a:lnTo>
                    <a:pt x="337" y="768"/>
                  </a:lnTo>
                  <a:lnTo>
                    <a:pt x="337" y="765"/>
                  </a:lnTo>
                  <a:lnTo>
                    <a:pt x="339" y="765"/>
                  </a:lnTo>
                  <a:lnTo>
                    <a:pt x="341" y="765"/>
                  </a:lnTo>
                  <a:lnTo>
                    <a:pt x="344" y="765"/>
                  </a:lnTo>
                  <a:lnTo>
                    <a:pt x="346" y="765"/>
                  </a:lnTo>
                  <a:lnTo>
                    <a:pt x="346" y="763"/>
                  </a:lnTo>
                  <a:lnTo>
                    <a:pt x="344" y="765"/>
                  </a:lnTo>
                  <a:lnTo>
                    <a:pt x="341" y="765"/>
                  </a:lnTo>
                  <a:lnTo>
                    <a:pt x="339" y="765"/>
                  </a:lnTo>
                  <a:lnTo>
                    <a:pt x="339" y="763"/>
                  </a:lnTo>
                  <a:lnTo>
                    <a:pt x="341" y="763"/>
                  </a:lnTo>
                  <a:lnTo>
                    <a:pt x="344" y="763"/>
                  </a:lnTo>
                  <a:lnTo>
                    <a:pt x="346" y="763"/>
                  </a:lnTo>
                  <a:lnTo>
                    <a:pt x="348" y="763"/>
                  </a:lnTo>
                  <a:lnTo>
                    <a:pt x="351" y="763"/>
                  </a:lnTo>
                  <a:lnTo>
                    <a:pt x="351" y="765"/>
                  </a:lnTo>
                  <a:lnTo>
                    <a:pt x="348" y="765"/>
                  </a:lnTo>
                  <a:lnTo>
                    <a:pt x="351" y="765"/>
                  </a:lnTo>
                  <a:lnTo>
                    <a:pt x="353" y="763"/>
                  </a:lnTo>
                  <a:lnTo>
                    <a:pt x="353" y="761"/>
                  </a:lnTo>
                  <a:lnTo>
                    <a:pt x="356" y="761"/>
                  </a:lnTo>
                  <a:lnTo>
                    <a:pt x="356" y="763"/>
                  </a:lnTo>
                  <a:lnTo>
                    <a:pt x="356" y="761"/>
                  </a:lnTo>
                  <a:lnTo>
                    <a:pt x="358" y="761"/>
                  </a:lnTo>
                  <a:lnTo>
                    <a:pt x="360" y="761"/>
                  </a:lnTo>
                  <a:lnTo>
                    <a:pt x="363" y="761"/>
                  </a:lnTo>
                  <a:lnTo>
                    <a:pt x="365" y="761"/>
                  </a:lnTo>
                  <a:lnTo>
                    <a:pt x="365" y="758"/>
                  </a:lnTo>
                  <a:lnTo>
                    <a:pt x="367" y="758"/>
                  </a:lnTo>
                  <a:lnTo>
                    <a:pt x="370" y="758"/>
                  </a:lnTo>
                  <a:lnTo>
                    <a:pt x="370" y="761"/>
                  </a:lnTo>
                  <a:lnTo>
                    <a:pt x="372" y="761"/>
                  </a:lnTo>
                  <a:lnTo>
                    <a:pt x="372" y="763"/>
                  </a:lnTo>
                  <a:lnTo>
                    <a:pt x="372" y="761"/>
                  </a:lnTo>
                  <a:lnTo>
                    <a:pt x="372" y="763"/>
                  </a:lnTo>
                  <a:lnTo>
                    <a:pt x="372" y="761"/>
                  </a:lnTo>
                  <a:lnTo>
                    <a:pt x="375" y="758"/>
                  </a:lnTo>
                  <a:lnTo>
                    <a:pt x="372" y="758"/>
                  </a:lnTo>
                  <a:lnTo>
                    <a:pt x="375" y="758"/>
                  </a:lnTo>
                  <a:lnTo>
                    <a:pt x="377" y="758"/>
                  </a:lnTo>
                  <a:lnTo>
                    <a:pt x="377" y="756"/>
                  </a:lnTo>
                  <a:lnTo>
                    <a:pt x="375" y="756"/>
                  </a:lnTo>
                  <a:lnTo>
                    <a:pt x="377" y="756"/>
                  </a:lnTo>
                  <a:lnTo>
                    <a:pt x="375" y="756"/>
                  </a:lnTo>
                  <a:lnTo>
                    <a:pt x="372" y="753"/>
                  </a:lnTo>
                  <a:lnTo>
                    <a:pt x="370" y="753"/>
                  </a:lnTo>
                  <a:lnTo>
                    <a:pt x="367" y="753"/>
                  </a:lnTo>
                  <a:lnTo>
                    <a:pt x="370" y="753"/>
                  </a:lnTo>
                  <a:lnTo>
                    <a:pt x="370" y="756"/>
                  </a:lnTo>
                  <a:lnTo>
                    <a:pt x="367" y="756"/>
                  </a:lnTo>
                  <a:lnTo>
                    <a:pt x="367" y="753"/>
                  </a:lnTo>
                  <a:lnTo>
                    <a:pt x="365" y="753"/>
                  </a:lnTo>
                  <a:lnTo>
                    <a:pt x="363" y="753"/>
                  </a:lnTo>
                  <a:lnTo>
                    <a:pt x="363" y="751"/>
                  </a:lnTo>
                  <a:lnTo>
                    <a:pt x="360" y="751"/>
                  </a:lnTo>
                  <a:lnTo>
                    <a:pt x="360" y="753"/>
                  </a:lnTo>
                  <a:lnTo>
                    <a:pt x="358" y="753"/>
                  </a:lnTo>
                  <a:lnTo>
                    <a:pt x="358" y="756"/>
                  </a:lnTo>
                  <a:lnTo>
                    <a:pt x="358" y="753"/>
                  </a:lnTo>
                  <a:lnTo>
                    <a:pt x="358" y="756"/>
                  </a:lnTo>
                  <a:lnTo>
                    <a:pt x="356" y="756"/>
                  </a:lnTo>
                  <a:lnTo>
                    <a:pt x="353" y="756"/>
                  </a:lnTo>
                  <a:lnTo>
                    <a:pt x="353" y="753"/>
                  </a:lnTo>
                  <a:lnTo>
                    <a:pt x="356" y="753"/>
                  </a:lnTo>
                  <a:lnTo>
                    <a:pt x="353" y="753"/>
                  </a:lnTo>
                  <a:lnTo>
                    <a:pt x="356" y="753"/>
                  </a:lnTo>
                  <a:lnTo>
                    <a:pt x="353" y="753"/>
                  </a:lnTo>
                  <a:lnTo>
                    <a:pt x="356" y="753"/>
                  </a:lnTo>
                  <a:lnTo>
                    <a:pt x="353" y="751"/>
                  </a:lnTo>
                  <a:lnTo>
                    <a:pt x="356" y="751"/>
                  </a:lnTo>
                  <a:lnTo>
                    <a:pt x="358" y="749"/>
                  </a:lnTo>
                  <a:lnTo>
                    <a:pt x="356" y="749"/>
                  </a:lnTo>
                  <a:lnTo>
                    <a:pt x="358" y="749"/>
                  </a:lnTo>
                  <a:lnTo>
                    <a:pt x="360" y="749"/>
                  </a:lnTo>
                  <a:lnTo>
                    <a:pt x="360" y="746"/>
                  </a:lnTo>
                  <a:lnTo>
                    <a:pt x="360" y="749"/>
                  </a:lnTo>
                  <a:lnTo>
                    <a:pt x="360" y="751"/>
                  </a:lnTo>
                  <a:lnTo>
                    <a:pt x="360" y="749"/>
                  </a:lnTo>
                  <a:lnTo>
                    <a:pt x="363" y="749"/>
                  </a:lnTo>
                  <a:lnTo>
                    <a:pt x="360" y="749"/>
                  </a:lnTo>
                  <a:lnTo>
                    <a:pt x="363" y="749"/>
                  </a:lnTo>
                  <a:lnTo>
                    <a:pt x="365" y="749"/>
                  </a:lnTo>
                  <a:lnTo>
                    <a:pt x="365" y="746"/>
                  </a:lnTo>
                  <a:lnTo>
                    <a:pt x="363" y="746"/>
                  </a:lnTo>
                  <a:lnTo>
                    <a:pt x="365" y="746"/>
                  </a:lnTo>
                  <a:lnTo>
                    <a:pt x="363" y="746"/>
                  </a:lnTo>
                  <a:lnTo>
                    <a:pt x="365" y="746"/>
                  </a:lnTo>
                  <a:lnTo>
                    <a:pt x="363" y="746"/>
                  </a:lnTo>
                  <a:lnTo>
                    <a:pt x="365" y="746"/>
                  </a:lnTo>
                  <a:lnTo>
                    <a:pt x="367" y="746"/>
                  </a:lnTo>
                  <a:lnTo>
                    <a:pt x="367" y="749"/>
                  </a:lnTo>
                  <a:lnTo>
                    <a:pt x="365" y="749"/>
                  </a:lnTo>
                  <a:lnTo>
                    <a:pt x="367" y="749"/>
                  </a:lnTo>
                  <a:lnTo>
                    <a:pt x="367" y="751"/>
                  </a:lnTo>
                  <a:lnTo>
                    <a:pt x="365" y="751"/>
                  </a:lnTo>
                  <a:lnTo>
                    <a:pt x="363" y="751"/>
                  </a:lnTo>
                  <a:lnTo>
                    <a:pt x="365" y="751"/>
                  </a:lnTo>
                  <a:lnTo>
                    <a:pt x="363" y="751"/>
                  </a:lnTo>
                  <a:lnTo>
                    <a:pt x="363" y="753"/>
                  </a:lnTo>
                  <a:lnTo>
                    <a:pt x="365" y="753"/>
                  </a:lnTo>
                  <a:lnTo>
                    <a:pt x="365" y="751"/>
                  </a:lnTo>
                  <a:lnTo>
                    <a:pt x="367" y="751"/>
                  </a:lnTo>
                  <a:lnTo>
                    <a:pt x="370" y="751"/>
                  </a:lnTo>
                  <a:lnTo>
                    <a:pt x="370" y="749"/>
                  </a:lnTo>
                  <a:lnTo>
                    <a:pt x="370" y="751"/>
                  </a:lnTo>
                  <a:lnTo>
                    <a:pt x="372" y="751"/>
                  </a:lnTo>
                  <a:lnTo>
                    <a:pt x="372" y="749"/>
                  </a:lnTo>
                  <a:lnTo>
                    <a:pt x="375" y="749"/>
                  </a:lnTo>
                  <a:lnTo>
                    <a:pt x="375" y="746"/>
                  </a:lnTo>
                  <a:lnTo>
                    <a:pt x="372" y="749"/>
                  </a:lnTo>
                  <a:lnTo>
                    <a:pt x="372" y="746"/>
                  </a:lnTo>
                  <a:lnTo>
                    <a:pt x="372" y="744"/>
                  </a:lnTo>
                  <a:lnTo>
                    <a:pt x="372" y="746"/>
                  </a:lnTo>
                  <a:lnTo>
                    <a:pt x="375" y="746"/>
                  </a:lnTo>
                  <a:lnTo>
                    <a:pt x="375" y="744"/>
                  </a:lnTo>
                  <a:lnTo>
                    <a:pt x="375" y="746"/>
                  </a:lnTo>
                  <a:lnTo>
                    <a:pt x="375" y="744"/>
                  </a:lnTo>
                  <a:lnTo>
                    <a:pt x="375" y="742"/>
                  </a:lnTo>
                  <a:lnTo>
                    <a:pt x="377" y="742"/>
                  </a:lnTo>
                  <a:lnTo>
                    <a:pt x="379" y="742"/>
                  </a:lnTo>
                  <a:lnTo>
                    <a:pt x="379" y="744"/>
                  </a:lnTo>
                  <a:lnTo>
                    <a:pt x="382" y="744"/>
                  </a:lnTo>
                  <a:lnTo>
                    <a:pt x="379" y="744"/>
                  </a:lnTo>
                  <a:lnTo>
                    <a:pt x="379" y="746"/>
                  </a:lnTo>
                  <a:lnTo>
                    <a:pt x="377" y="746"/>
                  </a:lnTo>
                  <a:lnTo>
                    <a:pt x="379" y="746"/>
                  </a:lnTo>
                  <a:lnTo>
                    <a:pt x="379" y="744"/>
                  </a:lnTo>
                  <a:lnTo>
                    <a:pt x="379" y="746"/>
                  </a:lnTo>
                  <a:lnTo>
                    <a:pt x="382" y="746"/>
                  </a:lnTo>
                  <a:lnTo>
                    <a:pt x="382" y="749"/>
                  </a:lnTo>
                  <a:lnTo>
                    <a:pt x="379" y="749"/>
                  </a:lnTo>
                  <a:lnTo>
                    <a:pt x="382" y="749"/>
                  </a:lnTo>
                  <a:lnTo>
                    <a:pt x="379" y="749"/>
                  </a:lnTo>
                  <a:lnTo>
                    <a:pt x="379" y="751"/>
                  </a:lnTo>
                  <a:lnTo>
                    <a:pt x="379" y="753"/>
                  </a:lnTo>
                  <a:lnTo>
                    <a:pt x="379" y="756"/>
                  </a:lnTo>
                  <a:lnTo>
                    <a:pt x="382" y="756"/>
                  </a:lnTo>
                  <a:lnTo>
                    <a:pt x="382" y="758"/>
                  </a:lnTo>
                  <a:lnTo>
                    <a:pt x="384" y="758"/>
                  </a:lnTo>
                  <a:lnTo>
                    <a:pt x="384" y="761"/>
                  </a:lnTo>
                  <a:lnTo>
                    <a:pt x="384" y="763"/>
                  </a:lnTo>
                  <a:lnTo>
                    <a:pt x="386" y="763"/>
                  </a:lnTo>
                  <a:lnTo>
                    <a:pt x="386" y="765"/>
                  </a:lnTo>
                  <a:lnTo>
                    <a:pt x="389" y="765"/>
                  </a:lnTo>
                  <a:lnTo>
                    <a:pt x="391" y="765"/>
                  </a:lnTo>
                  <a:lnTo>
                    <a:pt x="391" y="768"/>
                  </a:lnTo>
                  <a:lnTo>
                    <a:pt x="394" y="768"/>
                  </a:lnTo>
                  <a:lnTo>
                    <a:pt x="391" y="768"/>
                  </a:lnTo>
                  <a:lnTo>
                    <a:pt x="391" y="765"/>
                  </a:lnTo>
                  <a:lnTo>
                    <a:pt x="389" y="765"/>
                  </a:lnTo>
                  <a:lnTo>
                    <a:pt x="389" y="763"/>
                  </a:lnTo>
                  <a:lnTo>
                    <a:pt x="386" y="763"/>
                  </a:lnTo>
                  <a:lnTo>
                    <a:pt x="384" y="763"/>
                  </a:lnTo>
                  <a:lnTo>
                    <a:pt x="384" y="761"/>
                  </a:lnTo>
                  <a:lnTo>
                    <a:pt x="386" y="761"/>
                  </a:lnTo>
                  <a:lnTo>
                    <a:pt x="386" y="758"/>
                  </a:lnTo>
                  <a:lnTo>
                    <a:pt x="384" y="758"/>
                  </a:lnTo>
                  <a:lnTo>
                    <a:pt x="386" y="758"/>
                  </a:lnTo>
                  <a:lnTo>
                    <a:pt x="384" y="756"/>
                  </a:lnTo>
                  <a:lnTo>
                    <a:pt x="382" y="756"/>
                  </a:lnTo>
                  <a:lnTo>
                    <a:pt x="384" y="756"/>
                  </a:lnTo>
                  <a:lnTo>
                    <a:pt x="384" y="753"/>
                  </a:lnTo>
                  <a:lnTo>
                    <a:pt x="384" y="756"/>
                  </a:lnTo>
                  <a:lnTo>
                    <a:pt x="386" y="756"/>
                  </a:lnTo>
                  <a:lnTo>
                    <a:pt x="386" y="758"/>
                  </a:lnTo>
                  <a:lnTo>
                    <a:pt x="389" y="758"/>
                  </a:lnTo>
                  <a:lnTo>
                    <a:pt x="389" y="761"/>
                  </a:lnTo>
                  <a:lnTo>
                    <a:pt x="391" y="761"/>
                  </a:lnTo>
                  <a:lnTo>
                    <a:pt x="391" y="758"/>
                  </a:lnTo>
                  <a:lnTo>
                    <a:pt x="391" y="761"/>
                  </a:lnTo>
                  <a:lnTo>
                    <a:pt x="391" y="758"/>
                  </a:lnTo>
                  <a:lnTo>
                    <a:pt x="389" y="761"/>
                  </a:lnTo>
                  <a:lnTo>
                    <a:pt x="389" y="758"/>
                  </a:lnTo>
                  <a:lnTo>
                    <a:pt x="386" y="756"/>
                  </a:lnTo>
                  <a:lnTo>
                    <a:pt x="389" y="756"/>
                  </a:lnTo>
                  <a:lnTo>
                    <a:pt x="386" y="756"/>
                  </a:lnTo>
                  <a:lnTo>
                    <a:pt x="389" y="756"/>
                  </a:lnTo>
                  <a:lnTo>
                    <a:pt x="391" y="756"/>
                  </a:lnTo>
                  <a:lnTo>
                    <a:pt x="391" y="758"/>
                  </a:lnTo>
                  <a:lnTo>
                    <a:pt x="394" y="758"/>
                  </a:lnTo>
                  <a:lnTo>
                    <a:pt x="391" y="758"/>
                  </a:lnTo>
                  <a:lnTo>
                    <a:pt x="394" y="758"/>
                  </a:lnTo>
                  <a:lnTo>
                    <a:pt x="391" y="758"/>
                  </a:lnTo>
                  <a:lnTo>
                    <a:pt x="394" y="758"/>
                  </a:lnTo>
                  <a:lnTo>
                    <a:pt x="391" y="758"/>
                  </a:lnTo>
                  <a:lnTo>
                    <a:pt x="391" y="756"/>
                  </a:lnTo>
                  <a:lnTo>
                    <a:pt x="394" y="756"/>
                  </a:lnTo>
                  <a:lnTo>
                    <a:pt x="391" y="756"/>
                  </a:lnTo>
                  <a:lnTo>
                    <a:pt x="391" y="753"/>
                  </a:lnTo>
                  <a:lnTo>
                    <a:pt x="389" y="753"/>
                  </a:lnTo>
                  <a:lnTo>
                    <a:pt x="389" y="756"/>
                  </a:lnTo>
                  <a:lnTo>
                    <a:pt x="389" y="753"/>
                  </a:lnTo>
                  <a:lnTo>
                    <a:pt x="389" y="751"/>
                  </a:lnTo>
                  <a:lnTo>
                    <a:pt x="391" y="751"/>
                  </a:lnTo>
                  <a:lnTo>
                    <a:pt x="391" y="749"/>
                  </a:lnTo>
                  <a:lnTo>
                    <a:pt x="394" y="749"/>
                  </a:lnTo>
                  <a:lnTo>
                    <a:pt x="394" y="751"/>
                  </a:lnTo>
                  <a:lnTo>
                    <a:pt x="396" y="751"/>
                  </a:lnTo>
                  <a:lnTo>
                    <a:pt x="398" y="751"/>
                  </a:lnTo>
                  <a:lnTo>
                    <a:pt x="398" y="753"/>
                  </a:lnTo>
                  <a:lnTo>
                    <a:pt x="398" y="751"/>
                  </a:lnTo>
                  <a:lnTo>
                    <a:pt x="401" y="751"/>
                  </a:lnTo>
                  <a:lnTo>
                    <a:pt x="398" y="751"/>
                  </a:lnTo>
                  <a:lnTo>
                    <a:pt x="396" y="751"/>
                  </a:lnTo>
                  <a:lnTo>
                    <a:pt x="394" y="751"/>
                  </a:lnTo>
                  <a:lnTo>
                    <a:pt x="394" y="749"/>
                  </a:lnTo>
                  <a:lnTo>
                    <a:pt x="391" y="749"/>
                  </a:lnTo>
                  <a:lnTo>
                    <a:pt x="391" y="751"/>
                  </a:lnTo>
                  <a:lnTo>
                    <a:pt x="389" y="751"/>
                  </a:lnTo>
                  <a:lnTo>
                    <a:pt x="386" y="751"/>
                  </a:lnTo>
                  <a:lnTo>
                    <a:pt x="386" y="749"/>
                  </a:lnTo>
                  <a:lnTo>
                    <a:pt x="384" y="749"/>
                  </a:lnTo>
                  <a:lnTo>
                    <a:pt x="386" y="749"/>
                  </a:lnTo>
                  <a:lnTo>
                    <a:pt x="384" y="749"/>
                  </a:lnTo>
                  <a:lnTo>
                    <a:pt x="386" y="749"/>
                  </a:lnTo>
                  <a:lnTo>
                    <a:pt x="389" y="749"/>
                  </a:lnTo>
                  <a:lnTo>
                    <a:pt x="386" y="749"/>
                  </a:lnTo>
                  <a:lnTo>
                    <a:pt x="389" y="749"/>
                  </a:lnTo>
                  <a:lnTo>
                    <a:pt x="389" y="746"/>
                  </a:lnTo>
                  <a:lnTo>
                    <a:pt x="389" y="749"/>
                  </a:lnTo>
                  <a:lnTo>
                    <a:pt x="391" y="749"/>
                  </a:lnTo>
                  <a:lnTo>
                    <a:pt x="389" y="749"/>
                  </a:lnTo>
                  <a:lnTo>
                    <a:pt x="389" y="746"/>
                  </a:lnTo>
                  <a:lnTo>
                    <a:pt x="391" y="746"/>
                  </a:lnTo>
                  <a:lnTo>
                    <a:pt x="389" y="746"/>
                  </a:lnTo>
                  <a:lnTo>
                    <a:pt x="391" y="746"/>
                  </a:lnTo>
                  <a:lnTo>
                    <a:pt x="394" y="746"/>
                  </a:lnTo>
                  <a:lnTo>
                    <a:pt x="391" y="746"/>
                  </a:lnTo>
                  <a:lnTo>
                    <a:pt x="394" y="746"/>
                  </a:lnTo>
                  <a:lnTo>
                    <a:pt x="391" y="746"/>
                  </a:lnTo>
                  <a:lnTo>
                    <a:pt x="391" y="744"/>
                  </a:lnTo>
                  <a:lnTo>
                    <a:pt x="389" y="744"/>
                  </a:lnTo>
                  <a:lnTo>
                    <a:pt x="391" y="744"/>
                  </a:lnTo>
                  <a:lnTo>
                    <a:pt x="391" y="746"/>
                  </a:lnTo>
                  <a:lnTo>
                    <a:pt x="394" y="746"/>
                  </a:lnTo>
                  <a:lnTo>
                    <a:pt x="396" y="746"/>
                  </a:lnTo>
                  <a:lnTo>
                    <a:pt x="394" y="746"/>
                  </a:lnTo>
                  <a:lnTo>
                    <a:pt x="394" y="744"/>
                  </a:lnTo>
                  <a:lnTo>
                    <a:pt x="391" y="744"/>
                  </a:lnTo>
                  <a:lnTo>
                    <a:pt x="394" y="742"/>
                  </a:lnTo>
                  <a:lnTo>
                    <a:pt x="391" y="742"/>
                  </a:lnTo>
                  <a:lnTo>
                    <a:pt x="391" y="744"/>
                  </a:lnTo>
                  <a:lnTo>
                    <a:pt x="389" y="744"/>
                  </a:lnTo>
                  <a:lnTo>
                    <a:pt x="386" y="744"/>
                  </a:lnTo>
                  <a:lnTo>
                    <a:pt x="384" y="744"/>
                  </a:lnTo>
                  <a:lnTo>
                    <a:pt x="382" y="744"/>
                  </a:lnTo>
                  <a:lnTo>
                    <a:pt x="384" y="744"/>
                  </a:lnTo>
                  <a:lnTo>
                    <a:pt x="386" y="744"/>
                  </a:lnTo>
                  <a:lnTo>
                    <a:pt x="386" y="742"/>
                  </a:lnTo>
                  <a:lnTo>
                    <a:pt x="389" y="742"/>
                  </a:lnTo>
                  <a:lnTo>
                    <a:pt x="386" y="742"/>
                  </a:lnTo>
                  <a:lnTo>
                    <a:pt x="384" y="742"/>
                  </a:lnTo>
                  <a:lnTo>
                    <a:pt x="382" y="739"/>
                  </a:lnTo>
                  <a:lnTo>
                    <a:pt x="382" y="737"/>
                  </a:lnTo>
                  <a:lnTo>
                    <a:pt x="384" y="739"/>
                  </a:lnTo>
                  <a:lnTo>
                    <a:pt x="384" y="737"/>
                  </a:lnTo>
                  <a:lnTo>
                    <a:pt x="386" y="737"/>
                  </a:lnTo>
                  <a:lnTo>
                    <a:pt x="384" y="737"/>
                  </a:lnTo>
                  <a:lnTo>
                    <a:pt x="384" y="739"/>
                  </a:lnTo>
                  <a:lnTo>
                    <a:pt x="386" y="739"/>
                  </a:lnTo>
                  <a:lnTo>
                    <a:pt x="389" y="739"/>
                  </a:lnTo>
                  <a:lnTo>
                    <a:pt x="391" y="739"/>
                  </a:lnTo>
                  <a:lnTo>
                    <a:pt x="389" y="739"/>
                  </a:lnTo>
                  <a:lnTo>
                    <a:pt x="391" y="739"/>
                  </a:lnTo>
                  <a:lnTo>
                    <a:pt x="394" y="739"/>
                  </a:lnTo>
                  <a:lnTo>
                    <a:pt x="394" y="742"/>
                  </a:lnTo>
                  <a:lnTo>
                    <a:pt x="396" y="742"/>
                  </a:lnTo>
                  <a:lnTo>
                    <a:pt x="396" y="744"/>
                  </a:lnTo>
                  <a:lnTo>
                    <a:pt x="398" y="746"/>
                  </a:lnTo>
                  <a:lnTo>
                    <a:pt x="401" y="746"/>
                  </a:lnTo>
                  <a:lnTo>
                    <a:pt x="403" y="749"/>
                  </a:lnTo>
                  <a:lnTo>
                    <a:pt x="403" y="746"/>
                  </a:lnTo>
                  <a:lnTo>
                    <a:pt x="401" y="746"/>
                  </a:lnTo>
                  <a:lnTo>
                    <a:pt x="398" y="744"/>
                  </a:lnTo>
                  <a:lnTo>
                    <a:pt x="396" y="742"/>
                  </a:lnTo>
                  <a:lnTo>
                    <a:pt x="398" y="742"/>
                  </a:lnTo>
                  <a:lnTo>
                    <a:pt x="396" y="742"/>
                  </a:lnTo>
                  <a:lnTo>
                    <a:pt x="396" y="739"/>
                  </a:lnTo>
                  <a:lnTo>
                    <a:pt x="394" y="739"/>
                  </a:lnTo>
                  <a:lnTo>
                    <a:pt x="391" y="739"/>
                  </a:lnTo>
                  <a:lnTo>
                    <a:pt x="389" y="739"/>
                  </a:lnTo>
                  <a:lnTo>
                    <a:pt x="389" y="737"/>
                  </a:lnTo>
                  <a:lnTo>
                    <a:pt x="386" y="737"/>
                  </a:lnTo>
                  <a:lnTo>
                    <a:pt x="386" y="734"/>
                  </a:lnTo>
                  <a:lnTo>
                    <a:pt x="389" y="734"/>
                  </a:lnTo>
                  <a:lnTo>
                    <a:pt x="391" y="734"/>
                  </a:lnTo>
                  <a:lnTo>
                    <a:pt x="391" y="732"/>
                  </a:lnTo>
                  <a:lnTo>
                    <a:pt x="394" y="732"/>
                  </a:lnTo>
                  <a:lnTo>
                    <a:pt x="396" y="732"/>
                  </a:lnTo>
                  <a:lnTo>
                    <a:pt x="398" y="732"/>
                  </a:lnTo>
                  <a:lnTo>
                    <a:pt x="401" y="732"/>
                  </a:lnTo>
                  <a:lnTo>
                    <a:pt x="403" y="732"/>
                  </a:lnTo>
                  <a:lnTo>
                    <a:pt x="403" y="734"/>
                  </a:lnTo>
                  <a:lnTo>
                    <a:pt x="403" y="732"/>
                  </a:lnTo>
                  <a:lnTo>
                    <a:pt x="403" y="734"/>
                  </a:lnTo>
                  <a:lnTo>
                    <a:pt x="405" y="734"/>
                  </a:lnTo>
                  <a:lnTo>
                    <a:pt x="405" y="737"/>
                  </a:lnTo>
                  <a:lnTo>
                    <a:pt x="403" y="737"/>
                  </a:lnTo>
                  <a:lnTo>
                    <a:pt x="405" y="737"/>
                  </a:lnTo>
                  <a:lnTo>
                    <a:pt x="408" y="737"/>
                  </a:lnTo>
                  <a:lnTo>
                    <a:pt x="410" y="737"/>
                  </a:lnTo>
                  <a:lnTo>
                    <a:pt x="410" y="734"/>
                  </a:lnTo>
                  <a:lnTo>
                    <a:pt x="413" y="734"/>
                  </a:lnTo>
                  <a:lnTo>
                    <a:pt x="415" y="734"/>
                  </a:lnTo>
                  <a:lnTo>
                    <a:pt x="417" y="734"/>
                  </a:lnTo>
                  <a:lnTo>
                    <a:pt x="417" y="737"/>
                  </a:lnTo>
                  <a:lnTo>
                    <a:pt x="417" y="739"/>
                  </a:lnTo>
                  <a:lnTo>
                    <a:pt x="420" y="739"/>
                  </a:lnTo>
                  <a:lnTo>
                    <a:pt x="420" y="742"/>
                  </a:lnTo>
                  <a:lnTo>
                    <a:pt x="420" y="744"/>
                  </a:lnTo>
                  <a:lnTo>
                    <a:pt x="420" y="746"/>
                  </a:lnTo>
                  <a:lnTo>
                    <a:pt x="422" y="744"/>
                  </a:lnTo>
                  <a:lnTo>
                    <a:pt x="420" y="744"/>
                  </a:lnTo>
                  <a:lnTo>
                    <a:pt x="422" y="744"/>
                  </a:lnTo>
                  <a:lnTo>
                    <a:pt x="422" y="742"/>
                  </a:lnTo>
                  <a:lnTo>
                    <a:pt x="422" y="739"/>
                  </a:lnTo>
                  <a:lnTo>
                    <a:pt x="420" y="739"/>
                  </a:lnTo>
                  <a:lnTo>
                    <a:pt x="417" y="739"/>
                  </a:lnTo>
                  <a:lnTo>
                    <a:pt x="417" y="737"/>
                  </a:lnTo>
                  <a:lnTo>
                    <a:pt x="420" y="737"/>
                  </a:lnTo>
                  <a:lnTo>
                    <a:pt x="417" y="737"/>
                  </a:lnTo>
                  <a:lnTo>
                    <a:pt x="417" y="734"/>
                  </a:lnTo>
                  <a:lnTo>
                    <a:pt x="420" y="732"/>
                  </a:lnTo>
                  <a:lnTo>
                    <a:pt x="422" y="732"/>
                  </a:lnTo>
                  <a:lnTo>
                    <a:pt x="424" y="732"/>
                  </a:lnTo>
                  <a:lnTo>
                    <a:pt x="424" y="734"/>
                  </a:lnTo>
                  <a:lnTo>
                    <a:pt x="427" y="734"/>
                  </a:lnTo>
                  <a:lnTo>
                    <a:pt x="429" y="734"/>
                  </a:lnTo>
                  <a:lnTo>
                    <a:pt x="427" y="734"/>
                  </a:lnTo>
                  <a:lnTo>
                    <a:pt x="424" y="734"/>
                  </a:lnTo>
                  <a:lnTo>
                    <a:pt x="424" y="732"/>
                  </a:lnTo>
                  <a:lnTo>
                    <a:pt x="422" y="732"/>
                  </a:lnTo>
                  <a:lnTo>
                    <a:pt x="422" y="730"/>
                  </a:lnTo>
                  <a:lnTo>
                    <a:pt x="424" y="730"/>
                  </a:lnTo>
                  <a:lnTo>
                    <a:pt x="427" y="730"/>
                  </a:lnTo>
                  <a:lnTo>
                    <a:pt x="429" y="730"/>
                  </a:lnTo>
                  <a:lnTo>
                    <a:pt x="432" y="730"/>
                  </a:lnTo>
                  <a:lnTo>
                    <a:pt x="432" y="732"/>
                  </a:lnTo>
                  <a:lnTo>
                    <a:pt x="434" y="732"/>
                  </a:lnTo>
                  <a:lnTo>
                    <a:pt x="436" y="732"/>
                  </a:lnTo>
                  <a:lnTo>
                    <a:pt x="439" y="732"/>
                  </a:lnTo>
                  <a:lnTo>
                    <a:pt x="436" y="732"/>
                  </a:lnTo>
                  <a:lnTo>
                    <a:pt x="434" y="732"/>
                  </a:lnTo>
                  <a:lnTo>
                    <a:pt x="434" y="730"/>
                  </a:lnTo>
                  <a:lnTo>
                    <a:pt x="434" y="732"/>
                  </a:lnTo>
                  <a:lnTo>
                    <a:pt x="432" y="732"/>
                  </a:lnTo>
                  <a:lnTo>
                    <a:pt x="432" y="730"/>
                  </a:lnTo>
                  <a:lnTo>
                    <a:pt x="434" y="730"/>
                  </a:lnTo>
                  <a:lnTo>
                    <a:pt x="432" y="730"/>
                  </a:lnTo>
                  <a:lnTo>
                    <a:pt x="429" y="730"/>
                  </a:lnTo>
                  <a:lnTo>
                    <a:pt x="427" y="730"/>
                  </a:lnTo>
                  <a:lnTo>
                    <a:pt x="424" y="730"/>
                  </a:lnTo>
                  <a:lnTo>
                    <a:pt x="424" y="727"/>
                  </a:lnTo>
                  <a:lnTo>
                    <a:pt x="427" y="727"/>
                  </a:lnTo>
                  <a:lnTo>
                    <a:pt x="429" y="727"/>
                  </a:lnTo>
                  <a:lnTo>
                    <a:pt x="429" y="725"/>
                  </a:lnTo>
                  <a:lnTo>
                    <a:pt x="427" y="725"/>
                  </a:lnTo>
                  <a:lnTo>
                    <a:pt x="424" y="725"/>
                  </a:lnTo>
                  <a:lnTo>
                    <a:pt x="424" y="727"/>
                  </a:lnTo>
                  <a:lnTo>
                    <a:pt x="422" y="727"/>
                  </a:lnTo>
                  <a:lnTo>
                    <a:pt x="420" y="727"/>
                  </a:lnTo>
                  <a:lnTo>
                    <a:pt x="420" y="730"/>
                  </a:lnTo>
                  <a:lnTo>
                    <a:pt x="417" y="730"/>
                  </a:lnTo>
                  <a:lnTo>
                    <a:pt x="415" y="730"/>
                  </a:lnTo>
                  <a:lnTo>
                    <a:pt x="413" y="730"/>
                  </a:lnTo>
                  <a:lnTo>
                    <a:pt x="410" y="730"/>
                  </a:lnTo>
                  <a:lnTo>
                    <a:pt x="413" y="730"/>
                  </a:lnTo>
                  <a:lnTo>
                    <a:pt x="413" y="727"/>
                  </a:lnTo>
                  <a:lnTo>
                    <a:pt x="410" y="727"/>
                  </a:lnTo>
                  <a:lnTo>
                    <a:pt x="408" y="727"/>
                  </a:lnTo>
                  <a:lnTo>
                    <a:pt x="405" y="730"/>
                  </a:lnTo>
                  <a:lnTo>
                    <a:pt x="403" y="730"/>
                  </a:lnTo>
                  <a:lnTo>
                    <a:pt x="401" y="730"/>
                  </a:lnTo>
                  <a:lnTo>
                    <a:pt x="398" y="730"/>
                  </a:lnTo>
                  <a:lnTo>
                    <a:pt x="396" y="730"/>
                  </a:lnTo>
                  <a:lnTo>
                    <a:pt x="394" y="730"/>
                  </a:lnTo>
                  <a:lnTo>
                    <a:pt x="394" y="727"/>
                  </a:lnTo>
                  <a:lnTo>
                    <a:pt x="391" y="727"/>
                  </a:lnTo>
                  <a:lnTo>
                    <a:pt x="391" y="725"/>
                  </a:lnTo>
                  <a:lnTo>
                    <a:pt x="394" y="725"/>
                  </a:lnTo>
                  <a:lnTo>
                    <a:pt x="391" y="725"/>
                  </a:lnTo>
                  <a:lnTo>
                    <a:pt x="394" y="725"/>
                  </a:lnTo>
                  <a:lnTo>
                    <a:pt x="396" y="725"/>
                  </a:lnTo>
                  <a:lnTo>
                    <a:pt x="398" y="725"/>
                  </a:lnTo>
                  <a:lnTo>
                    <a:pt x="398" y="723"/>
                  </a:lnTo>
                  <a:lnTo>
                    <a:pt x="398" y="725"/>
                  </a:lnTo>
                  <a:lnTo>
                    <a:pt x="396" y="723"/>
                  </a:lnTo>
                  <a:lnTo>
                    <a:pt x="396" y="720"/>
                  </a:lnTo>
                  <a:lnTo>
                    <a:pt x="398" y="720"/>
                  </a:lnTo>
                  <a:lnTo>
                    <a:pt x="398" y="718"/>
                  </a:lnTo>
                  <a:lnTo>
                    <a:pt x="401" y="718"/>
                  </a:lnTo>
                  <a:lnTo>
                    <a:pt x="403" y="718"/>
                  </a:lnTo>
                  <a:lnTo>
                    <a:pt x="405" y="718"/>
                  </a:lnTo>
                  <a:lnTo>
                    <a:pt x="408" y="715"/>
                  </a:lnTo>
                  <a:lnTo>
                    <a:pt x="410" y="715"/>
                  </a:lnTo>
                  <a:lnTo>
                    <a:pt x="413" y="718"/>
                  </a:lnTo>
                  <a:lnTo>
                    <a:pt x="413" y="715"/>
                  </a:lnTo>
                  <a:lnTo>
                    <a:pt x="415" y="715"/>
                  </a:lnTo>
                  <a:lnTo>
                    <a:pt x="417" y="713"/>
                  </a:lnTo>
                  <a:lnTo>
                    <a:pt x="420" y="713"/>
                  </a:lnTo>
                  <a:lnTo>
                    <a:pt x="420" y="715"/>
                  </a:lnTo>
                  <a:lnTo>
                    <a:pt x="422" y="713"/>
                  </a:lnTo>
                  <a:lnTo>
                    <a:pt x="422" y="715"/>
                  </a:lnTo>
                  <a:lnTo>
                    <a:pt x="424" y="715"/>
                  </a:lnTo>
                  <a:lnTo>
                    <a:pt x="424" y="718"/>
                  </a:lnTo>
                  <a:lnTo>
                    <a:pt x="424" y="715"/>
                  </a:lnTo>
                  <a:lnTo>
                    <a:pt x="424" y="718"/>
                  </a:lnTo>
                  <a:lnTo>
                    <a:pt x="427" y="718"/>
                  </a:lnTo>
                  <a:lnTo>
                    <a:pt x="429" y="718"/>
                  </a:lnTo>
                  <a:lnTo>
                    <a:pt x="429" y="715"/>
                  </a:lnTo>
                  <a:lnTo>
                    <a:pt x="432" y="718"/>
                  </a:lnTo>
                  <a:lnTo>
                    <a:pt x="429" y="715"/>
                  </a:lnTo>
                  <a:lnTo>
                    <a:pt x="427" y="715"/>
                  </a:lnTo>
                  <a:lnTo>
                    <a:pt x="427" y="718"/>
                  </a:lnTo>
                  <a:lnTo>
                    <a:pt x="424" y="715"/>
                  </a:lnTo>
                  <a:lnTo>
                    <a:pt x="424" y="713"/>
                  </a:lnTo>
                  <a:lnTo>
                    <a:pt x="422" y="713"/>
                  </a:lnTo>
                  <a:lnTo>
                    <a:pt x="420" y="713"/>
                  </a:lnTo>
                  <a:lnTo>
                    <a:pt x="417" y="713"/>
                  </a:lnTo>
                  <a:lnTo>
                    <a:pt x="417" y="711"/>
                  </a:lnTo>
                  <a:lnTo>
                    <a:pt x="420" y="711"/>
                  </a:lnTo>
                  <a:lnTo>
                    <a:pt x="422" y="711"/>
                  </a:lnTo>
                  <a:lnTo>
                    <a:pt x="424" y="708"/>
                  </a:lnTo>
                  <a:lnTo>
                    <a:pt x="427" y="708"/>
                  </a:lnTo>
                  <a:lnTo>
                    <a:pt x="427" y="711"/>
                  </a:lnTo>
                  <a:lnTo>
                    <a:pt x="429" y="711"/>
                  </a:lnTo>
                  <a:lnTo>
                    <a:pt x="432" y="711"/>
                  </a:lnTo>
                  <a:lnTo>
                    <a:pt x="434" y="711"/>
                  </a:lnTo>
                  <a:lnTo>
                    <a:pt x="434" y="713"/>
                  </a:lnTo>
                  <a:lnTo>
                    <a:pt x="436" y="713"/>
                  </a:lnTo>
                  <a:lnTo>
                    <a:pt x="436" y="711"/>
                  </a:lnTo>
                  <a:lnTo>
                    <a:pt x="434" y="711"/>
                  </a:lnTo>
                  <a:lnTo>
                    <a:pt x="432" y="711"/>
                  </a:lnTo>
                  <a:lnTo>
                    <a:pt x="429" y="711"/>
                  </a:lnTo>
                  <a:lnTo>
                    <a:pt x="429" y="708"/>
                  </a:lnTo>
                  <a:lnTo>
                    <a:pt x="427" y="708"/>
                  </a:lnTo>
                  <a:lnTo>
                    <a:pt x="424" y="708"/>
                  </a:lnTo>
                  <a:lnTo>
                    <a:pt x="427" y="708"/>
                  </a:lnTo>
                  <a:lnTo>
                    <a:pt x="427" y="706"/>
                  </a:lnTo>
                  <a:lnTo>
                    <a:pt x="429" y="706"/>
                  </a:lnTo>
                  <a:lnTo>
                    <a:pt x="429" y="704"/>
                  </a:lnTo>
                  <a:lnTo>
                    <a:pt x="432" y="704"/>
                  </a:lnTo>
                  <a:lnTo>
                    <a:pt x="434" y="704"/>
                  </a:lnTo>
                  <a:lnTo>
                    <a:pt x="434" y="706"/>
                  </a:lnTo>
                  <a:lnTo>
                    <a:pt x="432" y="706"/>
                  </a:lnTo>
                  <a:lnTo>
                    <a:pt x="434" y="706"/>
                  </a:lnTo>
                  <a:lnTo>
                    <a:pt x="436" y="706"/>
                  </a:lnTo>
                  <a:lnTo>
                    <a:pt x="439" y="706"/>
                  </a:lnTo>
                  <a:lnTo>
                    <a:pt x="436" y="706"/>
                  </a:lnTo>
                  <a:lnTo>
                    <a:pt x="436" y="704"/>
                  </a:lnTo>
                  <a:lnTo>
                    <a:pt x="434" y="704"/>
                  </a:lnTo>
                  <a:lnTo>
                    <a:pt x="434" y="701"/>
                  </a:lnTo>
                  <a:lnTo>
                    <a:pt x="432" y="701"/>
                  </a:lnTo>
                  <a:lnTo>
                    <a:pt x="432" y="704"/>
                  </a:lnTo>
                  <a:lnTo>
                    <a:pt x="429" y="704"/>
                  </a:lnTo>
                  <a:lnTo>
                    <a:pt x="427" y="704"/>
                  </a:lnTo>
                  <a:lnTo>
                    <a:pt x="424" y="704"/>
                  </a:lnTo>
                  <a:lnTo>
                    <a:pt x="424" y="701"/>
                  </a:lnTo>
                  <a:lnTo>
                    <a:pt x="427" y="701"/>
                  </a:lnTo>
                  <a:lnTo>
                    <a:pt x="427" y="699"/>
                  </a:lnTo>
                  <a:lnTo>
                    <a:pt x="424" y="699"/>
                  </a:lnTo>
                  <a:lnTo>
                    <a:pt x="427" y="699"/>
                  </a:lnTo>
                  <a:lnTo>
                    <a:pt x="427" y="696"/>
                  </a:lnTo>
                  <a:lnTo>
                    <a:pt x="429" y="696"/>
                  </a:lnTo>
                  <a:lnTo>
                    <a:pt x="429" y="694"/>
                  </a:lnTo>
                  <a:lnTo>
                    <a:pt x="432" y="694"/>
                  </a:lnTo>
                  <a:lnTo>
                    <a:pt x="432" y="692"/>
                  </a:lnTo>
                  <a:lnTo>
                    <a:pt x="429" y="694"/>
                  </a:lnTo>
                  <a:lnTo>
                    <a:pt x="432" y="692"/>
                  </a:lnTo>
                  <a:lnTo>
                    <a:pt x="434" y="692"/>
                  </a:lnTo>
                  <a:lnTo>
                    <a:pt x="436" y="692"/>
                  </a:lnTo>
                  <a:lnTo>
                    <a:pt x="439" y="692"/>
                  </a:lnTo>
                  <a:lnTo>
                    <a:pt x="439" y="689"/>
                  </a:lnTo>
                  <a:lnTo>
                    <a:pt x="441" y="689"/>
                  </a:lnTo>
                  <a:lnTo>
                    <a:pt x="443" y="689"/>
                  </a:lnTo>
                  <a:lnTo>
                    <a:pt x="443" y="692"/>
                  </a:lnTo>
                  <a:lnTo>
                    <a:pt x="443" y="689"/>
                  </a:lnTo>
                  <a:lnTo>
                    <a:pt x="446" y="689"/>
                  </a:lnTo>
                  <a:lnTo>
                    <a:pt x="446" y="692"/>
                  </a:lnTo>
                  <a:lnTo>
                    <a:pt x="446" y="689"/>
                  </a:lnTo>
                  <a:lnTo>
                    <a:pt x="448" y="689"/>
                  </a:lnTo>
                  <a:lnTo>
                    <a:pt x="446" y="689"/>
                  </a:lnTo>
                  <a:lnTo>
                    <a:pt x="446" y="687"/>
                  </a:lnTo>
                  <a:lnTo>
                    <a:pt x="443" y="687"/>
                  </a:lnTo>
                  <a:lnTo>
                    <a:pt x="446" y="687"/>
                  </a:lnTo>
                  <a:lnTo>
                    <a:pt x="443" y="687"/>
                  </a:lnTo>
                  <a:lnTo>
                    <a:pt x="446" y="687"/>
                  </a:lnTo>
                  <a:lnTo>
                    <a:pt x="446" y="685"/>
                  </a:lnTo>
                  <a:lnTo>
                    <a:pt x="443" y="685"/>
                  </a:lnTo>
                  <a:lnTo>
                    <a:pt x="441" y="685"/>
                  </a:lnTo>
                  <a:lnTo>
                    <a:pt x="443" y="685"/>
                  </a:lnTo>
                  <a:lnTo>
                    <a:pt x="443" y="682"/>
                  </a:lnTo>
                  <a:lnTo>
                    <a:pt x="441" y="682"/>
                  </a:lnTo>
                  <a:lnTo>
                    <a:pt x="443" y="682"/>
                  </a:lnTo>
                  <a:lnTo>
                    <a:pt x="443" y="680"/>
                  </a:lnTo>
                  <a:lnTo>
                    <a:pt x="441" y="680"/>
                  </a:lnTo>
                  <a:lnTo>
                    <a:pt x="443" y="680"/>
                  </a:lnTo>
                  <a:lnTo>
                    <a:pt x="446" y="680"/>
                  </a:lnTo>
                  <a:lnTo>
                    <a:pt x="446" y="677"/>
                  </a:lnTo>
                  <a:lnTo>
                    <a:pt x="446" y="675"/>
                  </a:lnTo>
                  <a:lnTo>
                    <a:pt x="448" y="675"/>
                  </a:lnTo>
                  <a:lnTo>
                    <a:pt x="448" y="673"/>
                  </a:lnTo>
                  <a:lnTo>
                    <a:pt x="446" y="673"/>
                  </a:lnTo>
                  <a:lnTo>
                    <a:pt x="446" y="670"/>
                  </a:lnTo>
                  <a:lnTo>
                    <a:pt x="448" y="670"/>
                  </a:lnTo>
                  <a:lnTo>
                    <a:pt x="450" y="670"/>
                  </a:lnTo>
                  <a:lnTo>
                    <a:pt x="453" y="670"/>
                  </a:lnTo>
                  <a:lnTo>
                    <a:pt x="455" y="670"/>
                  </a:lnTo>
                  <a:lnTo>
                    <a:pt x="455" y="673"/>
                  </a:lnTo>
                  <a:lnTo>
                    <a:pt x="455" y="675"/>
                  </a:lnTo>
                  <a:lnTo>
                    <a:pt x="453" y="675"/>
                  </a:lnTo>
                  <a:lnTo>
                    <a:pt x="453" y="677"/>
                  </a:lnTo>
                  <a:lnTo>
                    <a:pt x="453" y="675"/>
                  </a:lnTo>
                  <a:lnTo>
                    <a:pt x="455" y="675"/>
                  </a:lnTo>
                  <a:lnTo>
                    <a:pt x="458" y="675"/>
                  </a:lnTo>
                  <a:lnTo>
                    <a:pt x="458" y="677"/>
                  </a:lnTo>
                  <a:lnTo>
                    <a:pt x="460" y="677"/>
                  </a:lnTo>
                  <a:lnTo>
                    <a:pt x="458" y="677"/>
                  </a:lnTo>
                  <a:lnTo>
                    <a:pt x="458" y="680"/>
                  </a:lnTo>
                  <a:lnTo>
                    <a:pt x="460" y="680"/>
                  </a:lnTo>
                  <a:lnTo>
                    <a:pt x="460" y="682"/>
                  </a:lnTo>
                  <a:lnTo>
                    <a:pt x="458" y="682"/>
                  </a:lnTo>
                  <a:lnTo>
                    <a:pt x="460" y="682"/>
                  </a:lnTo>
                  <a:lnTo>
                    <a:pt x="460" y="685"/>
                  </a:lnTo>
                  <a:lnTo>
                    <a:pt x="458" y="685"/>
                  </a:lnTo>
                  <a:lnTo>
                    <a:pt x="458" y="687"/>
                  </a:lnTo>
                  <a:lnTo>
                    <a:pt x="460" y="687"/>
                  </a:lnTo>
                  <a:lnTo>
                    <a:pt x="460" y="689"/>
                  </a:lnTo>
                  <a:lnTo>
                    <a:pt x="462" y="689"/>
                  </a:lnTo>
                  <a:lnTo>
                    <a:pt x="462" y="692"/>
                  </a:lnTo>
                  <a:lnTo>
                    <a:pt x="462" y="694"/>
                  </a:lnTo>
                  <a:lnTo>
                    <a:pt x="460" y="694"/>
                  </a:lnTo>
                  <a:lnTo>
                    <a:pt x="462" y="694"/>
                  </a:lnTo>
                  <a:lnTo>
                    <a:pt x="462" y="692"/>
                  </a:lnTo>
                  <a:lnTo>
                    <a:pt x="462" y="689"/>
                  </a:lnTo>
                  <a:lnTo>
                    <a:pt x="460" y="689"/>
                  </a:lnTo>
                  <a:lnTo>
                    <a:pt x="462" y="689"/>
                  </a:lnTo>
                  <a:lnTo>
                    <a:pt x="462" y="687"/>
                  </a:lnTo>
                  <a:lnTo>
                    <a:pt x="460" y="687"/>
                  </a:lnTo>
                  <a:lnTo>
                    <a:pt x="458" y="687"/>
                  </a:lnTo>
                  <a:lnTo>
                    <a:pt x="458" y="685"/>
                  </a:lnTo>
                  <a:lnTo>
                    <a:pt x="460" y="685"/>
                  </a:lnTo>
                  <a:lnTo>
                    <a:pt x="460" y="682"/>
                  </a:lnTo>
                  <a:lnTo>
                    <a:pt x="460" y="680"/>
                  </a:lnTo>
                  <a:lnTo>
                    <a:pt x="460" y="677"/>
                  </a:lnTo>
                  <a:lnTo>
                    <a:pt x="462" y="677"/>
                  </a:lnTo>
                  <a:lnTo>
                    <a:pt x="462" y="680"/>
                  </a:lnTo>
                  <a:lnTo>
                    <a:pt x="462" y="682"/>
                  </a:lnTo>
                  <a:lnTo>
                    <a:pt x="465" y="682"/>
                  </a:lnTo>
                  <a:lnTo>
                    <a:pt x="465" y="685"/>
                  </a:lnTo>
                  <a:lnTo>
                    <a:pt x="467" y="682"/>
                  </a:lnTo>
                  <a:lnTo>
                    <a:pt x="465" y="682"/>
                  </a:lnTo>
                  <a:lnTo>
                    <a:pt x="465" y="680"/>
                  </a:lnTo>
                  <a:lnTo>
                    <a:pt x="467" y="680"/>
                  </a:lnTo>
                  <a:lnTo>
                    <a:pt x="469" y="680"/>
                  </a:lnTo>
                  <a:lnTo>
                    <a:pt x="472" y="680"/>
                  </a:lnTo>
                  <a:lnTo>
                    <a:pt x="474" y="680"/>
                  </a:lnTo>
                  <a:lnTo>
                    <a:pt x="474" y="682"/>
                  </a:lnTo>
                  <a:lnTo>
                    <a:pt x="477" y="682"/>
                  </a:lnTo>
                  <a:lnTo>
                    <a:pt x="474" y="682"/>
                  </a:lnTo>
                  <a:lnTo>
                    <a:pt x="474" y="680"/>
                  </a:lnTo>
                  <a:lnTo>
                    <a:pt x="472" y="680"/>
                  </a:lnTo>
                  <a:lnTo>
                    <a:pt x="469" y="680"/>
                  </a:lnTo>
                  <a:lnTo>
                    <a:pt x="469" y="677"/>
                  </a:lnTo>
                  <a:lnTo>
                    <a:pt x="469" y="680"/>
                  </a:lnTo>
                  <a:lnTo>
                    <a:pt x="469" y="677"/>
                  </a:lnTo>
                  <a:lnTo>
                    <a:pt x="467" y="677"/>
                  </a:lnTo>
                  <a:lnTo>
                    <a:pt x="465" y="677"/>
                  </a:lnTo>
                  <a:lnTo>
                    <a:pt x="462" y="675"/>
                  </a:lnTo>
                  <a:lnTo>
                    <a:pt x="462" y="673"/>
                  </a:lnTo>
                  <a:lnTo>
                    <a:pt x="460" y="673"/>
                  </a:lnTo>
                  <a:lnTo>
                    <a:pt x="458" y="673"/>
                  </a:lnTo>
                  <a:lnTo>
                    <a:pt x="458" y="670"/>
                  </a:lnTo>
                  <a:lnTo>
                    <a:pt x="458" y="668"/>
                  </a:lnTo>
                  <a:lnTo>
                    <a:pt x="460" y="668"/>
                  </a:lnTo>
                  <a:lnTo>
                    <a:pt x="462" y="668"/>
                  </a:lnTo>
                  <a:lnTo>
                    <a:pt x="465" y="668"/>
                  </a:lnTo>
                  <a:lnTo>
                    <a:pt x="465" y="666"/>
                  </a:lnTo>
                  <a:lnTo>
                    <a:pt x="467" y="666"/>
                  </a:lnTo>
                  <a:lnTo>
                    <a:pt x="469" y="666"/>
                  </a:lnTo>
                  <a:lnTo>
                    <a:pt x="472" y="666"/>
                  </a:lnTo>
                  <a:lnTo>
                    <a:pt x="472" y="668"/>
                  </a:lnTo>
                  <a:lnTo>
                    <a:pt x="469" y="668"/>
                  </a:lnTo>
                  <a:lnTo>
                    <a:pt x="469" y="670"/>
                  </a:lnTo>
                  <a:lnTo>
                    <a:pt x="472" y="670"/>
                  </a:lnTo>
                  <a:lnTo>
                    <a:pt x="472" y="673"/>
                  </a:lnTo>
                  <a:lnTo>
                    <a:pt x="474" y="673"/>
                  </a:lnTo>
                  <a:lnTo>
                    <a:pt x="477" y="675"/>
                  </a:lnTo>
                  <a:lnTo>
                    <a:pt x="474" y="675"/>
                  </a:lnTo>
                  <a:lnTo>
                    <a:pt x="477" y="675"/>
                  </a:lnTo>
                  <a:lnTo>
                    <a:pt x="477" y="677"/>
                  </a:lnTo>
                  <a:lnTo>
                    <a:pt x="479" y="677"/>
                  </a:lnTo>
                  <a:lnTo>
                    <a:pt x="481" y="677"/>
                  </a:lnTo>
                  <a:lnTo>
                    <a:pt x="484" y="677"/>
                  </a:lnTo>
                  <a:lnTo>
                    <a:pt x="486" y="677"/>
                  </a:lnTo>
                  <a:lnTo>
                    <a:pt x="486" y="680"/>
                  </a:lnTo>
                  <a:lnTo>
                    <a:pt x="486" y="682"/>
                  </a:lnTo>
                  <a:lnTo>
                    <a:pt x="484" y="682"/>
                  </a:lnTo>
                  <a:lnTo>
                    <a:pt x="484" y="685"/>
                  </a:lnTo>
                  <a:lnTo>
                    <a:pt x="486" y="685"/>
                  </a:lnTo>
                  <a:lnTo>
                    <a:pt x="488" y="685"/>
                  </a:lnTo>
                  <a:lnTo>
                    <a:pt x="491" y="685"/>
                  </a:lnTo>
                  <a:lnTo>
                    <a:pt x="493" y="685"/>
                  </a:lnTo>
                  <a:lnTo>
                    <a:pt x="493" y="687"/>
                  </a:lnTo>
                  <a:lnTo>
                    <a:pt x="493" y="685"/>
                  </a:lnTo>
                  <a:lnTo>
                    <a:pt x="493" y="687"/>
                  </a:lnTo>
                  <a:lnTo>
                    <a:pt x="493" y="685"/>
                  </a:lnTo>
                  <a:lnTo>
                    <a:pt x="491" y="685"/>
                  </a:lnTo>
                  <a:lnTo>
                    <a:pt x="488" y="685"/>
                  </a:lnTo>
                  <a:lnTo>
                    <a:pt x="488" y="682"/>
                  </a:lnTo>
                  <a:lnTo>
                    <a:pt x="488" y="680"/>
                  </a:lnTo>
                  <a:lnTo>
                    <a:pt x="488" y="677"/>
                  </a:lnTo>
                  <a:lnTo>
                    <a:pt x="486" y="677"/>
                  </a:lnTo>
                  <a:lnTo>
                    <a:pt x="488" y="677"/>
                  </a:lnTo>
                  <a:lnTo>
                    <a:pt x="486" y="677"/>
                  </a:lnTo>
                  <a:lnTo>
                    <a:pt x="484" y="675"/>
                  </a:lnTo>
                  <a:lnTo>
                    <a:pt x="481" y="675"/>
                  </a:lnTo>
                  <a:lnTo>
                    <a:pt x="481" y="677"/>
                  </a:lnTo>
                  <a:lnTo>
                    <a:pt x="479" y="677"/>
                  </a:lnTo>
                  <a:lnTo>
                    <a:pt x="479" y="675"/>
                  </a:lnTo>
                  <a:lnTo>
                    <a:pt x="477" y="675"/>
                  </a:lnTo>
                  <a:lnTo>
                    <a:pt x="477" y="673"/>
                  </a:lnTo>
                  <a:lnTo>
                    <a:pt x="474" y="673"/>
                  </a:lnTo>
                  <a:lnTo>
                    <a:pt x="474" y="670"/>
                  </a:lnTo>
                  <a:lnTo>
                    <a:pt x="474" y="668"/>
                  </a:lnTo>
                  <a:lnTo>
                    <a:pt x="477" y="668"/>
                  </a:lnTo>
                  <a:lnTo>
                    <a:pt x="477" y="666"/>
                  </a:lnTo>
                  <a:lnTo>
                    <a:pt x="479" y="666"/>
                  </a:lnTo>
                  <a:lnTo>
                    <a:pt x="481" y="666"/>
                  </a:lnTo>
                  <a:lnTo>
                    <a:pt x="481" y="668"/>
                  </a:lnTo>
                  <a:lnTo>
                    <a:pt x="484" y="668"/>
                  </a:lnTo>
                  <a:lnTo>
                    <a:pt x="481" y="666"/>
                  </a:lnTo>
                  <a:lnTo>
                    <a:pt x="479" y="666"/>
                  </a:lnTo>
                  <a:lnTo>
                    <a:pt x="477" y="666"/>
                  </a:lnTo>
                  <a:lnTo>
                    <a:pt x="477" y="668"/>
                  </a:lnTo>
                  <a:lnTo>
                    <a:pt x="474" y="666"/>
                  </a:lnTo>
                  <a:lnTo>
                    <a:pt x="474" y="663"/>
                  </a:lnTo>
                  <a:lnTo>
                    <a:pt x="474" y="661"/>
                  </a:lnTo>
                  <a:lnTo>
                    <a:pt x="477" y="661"/>
                  </a:lnTo>
                  <a:lnTo>
                    <a:pt x="477" y="658"/>
                  </a:lnTo>
                  <a:lnTo>
                    <a:pt x="479" y="656"/>
                  </a:lnTo>
                  <a:lnTo>
                    <a:pt x="479" y="654"/>
                  </a:lnTo>
                  <a:lnTo>
                    <a:pt x="481" y="654"/>
                  </a:lnTo>
                  <a:lnTo>
                    <a:pt x="484" y="654"/>
                  </a:lnTo>
                  <a:lnTo>
                    <a:pt x="484" y="651"/>
                  </a:lnTo>
                  <a:lnTo>
                    <a:pt x="486" y="654"/>
                  </a:lnTo>
                  <a:lnTo>
                    <a:pt x="486" y="651"/>
                  </a:lnTo>
                  <a:lnTo>
                    <a:pt x="486" y="654"/>
                  </a:lnTo>
                  <a:lnTo>
                    <a:pt x="488" y="654"/>
                  </a:lnTo>
                  <a:lnTo>
                    <a:pt x="488" y="651"/>
                  </a:lnTo>
                  <a:lnTo>
                    <a:pt x="488" y="654"/>
                  </a:lnTo>
                  <a:lnTo>
                    <a:pt x="488" y="651"/>
                  </a:lnTo>
                  <a:lnTo>
                    <a:pt x="491" y="651"/>
                  </a:lnTo>
                  <a:lnTo>
                    <a:pt x="493" y="651"/>
                  </a:lnTo>
                  <a:lnTo>
                    <a:pt x="496" y="651"/>
                  </a:lnTo>
                  <a:lnTo>
                    <a:pt x="498" y="651"/>
                  </a:lnTo>
                  <a:lnTo>
                    <a:pt x="500" y="651"/>
                  </a:lnTo>
                  <a:lnTo>
                    <a:pt x="500" y="654"/>
                  </a:lnTo>
                  <a:lnTo>
                    <a:pt x="498" y="654"/>
                  </a:lnTo>
                  <a:lnTo>
                    <a:pt x="498" y="656"/>
                  </a:lnTo>
                  <a:lnTo>
                    <a:pt x="498" y="658"/>
                  </a:lnTo>
                  <a:lnTo>
                    <a:pt x="496" y="658"/>
                  </a:lnTo>
                  <a:lnTo>
                    <a:pt x="496" y="661"/>
                  </a:lnTo>
                  <a:lnTo>
                    <a:pt x="496" y="658"/>
                  </a:lnTo>
                  <a:lnTo>
                    <a:pt x="496" y="661"/>
                  </a:lnTo>
                  <a:lnTo>
                    <a:pt x="496" y="658"/>
                  </a:lnTo>
                  <a:lnTo>
                    <a:pt x="498" y="658"/>
                  </a:lnTo>
                  <a:lnTo>
                    <a:pt x="498" y="661"/>
                  </a:lnTo>
                  <a:lnTo>
                    <a:pt x="500" y="661"/>
                  </a:lnTo>
                  <a:lnTo>
                    <a:pt x="498" y="661"/>
                  </a:lnTo>
                  <a:lnTo>
                    <a:pt x="498" y="663"/>
                  </a:lnTo>
                  <a:lnTo>
                    <a:pt x="500" y="663"/>
                  </a:lnTo>
                  <a:lnTo>
                    <a:pt x="498" y="663"/>
                  </a:lnTo>
                  <a:lnTo>
                    <a:pt x="498" y="666"/>
                  </a:lnTo>
                  <a:lnTo>
                    <a:pt x="496" y="666"/>
                  </a:lnTo>
                  <a:lnTo>
                    <a:pt x="496" y="668"/>
                  </a:lnTo>
                  <a:lnTo>
                    <a:pt x="498" y="670"/>
                  </a:lnTo>
                  <a:lnTo>
                    <a:pt x="496" y="670"/>
                  </a:lnTo>
                  <a:lnTo>
                    <a:pt x="496" y="673"/>
                  </a:lnTo>
                  <a:lnTo>
                    <a:pt x="493" y="673"/>
                  </a:lnTo>
                  <a:lnTo>
                    <a:pt x="493" y="675"/>
                  </a:lnTo>
                  <a:lnTo>
                    <a:pt x="491" y="675"/>
                  </a:lnTo>
                  <a:lnTo>
                    <a:pt x="493" y="675"/>
                  </a:lnTo>
                  <a:lnTo>
                    <a:pt x="496" y="673"/>
                  </a:lnTo>
                  <a:lnTo>
                    <a:pt x="498" y="673"/>
                  </a:lnTo>
                  <a:lnTo>
                    <a:pt x="496" y="675"/>
                  </a:lnTo>
                  <a:lnTo>
                    <a:pt x="498" y="675"/>
                  </a:lnTo>
                  <a:lnTo>
                    <a:pt x="498" y="673"/>
                  </a:lnTo>
                  <a:lnTo>
                    <a:pt x="496" y="673"/>
                  </a:lnTo>
                  <a:lnTo>
                    <a:pt x="498" y="673"/>
                  </a:lnTo>
                  <a:lnTo>
                    <a:pt x="498" y="670"/>
                  </a:lnTo>
                  <a:lnTo>
                    <a:pt x="500" y="670"/>
                  </a:lnTo>
                  <a:lnTo>
                    <a:pt x="498" y="668"/>
                  </a:lnTo>
                  <a:lnTo>
                    <a:pt x="500" y="668"/>
                  </a:lnTo>
                  <a:lnTo>
                    <a:pt x="500" y="666"/>
                  </a:lnTo>
                  <a:lnTo>
                    <a:pt x="498" y="666"/>
                  </a:lnTo>
                  <a:lnTo>
                    <a:pt x="500" y="666"/>
                  </a:lnTo>
                  <a:lnTo>
                    <a:pt x="500" y="663"/>
                  </a:lnTo>
                  <a:lnTo>
                    <a:pt x="503" y="663"/>
                  </a:lnTo>
                  <a:lnTo>
                    <a:pt x="505" y="663"/>
                  </a:lnTo>
                  <a:lnTo>
                    <a:pt x="507" y="663"/>
                  </a:lnTo>
                  <a:lnTo>
                    <a:pt x="510" y="663"/>
                  </a:lnTo>
                  <a:lnTo>
                    <a:pt x="512" y="663"/>
                  </a:lnTo>
                  <a:lnTo>
                    <a:pt x="510" y="663"/>
                  </a:lnTo>
                  <a:lnTo>
                    <a:pt x="507" y="663"/>
                  </a:lnTo>
                  <a:lnTo>
                    <a:pt x="505" y="663"/>
                  </a:lnTo>
                  <a:lnTo>
                    <a:pt x="503" y="663"/>
                  </a:lnTo>
                  <a:lnTo>
                    <a:pt x="503" y="661"/>
                  </a:lnTo>
                  <a:lnTo>
                    <a:pt x="503" y="658"/>
                  </a:lnTo>
                  <a:lnTo>
                    <a:pt x="500" y="658"/>
                  </a:lnTo>
                  <a:lnTo>
                    <a:pt x="503" y="656"/>
                  </a:lnTo>
                  <a:lnTo>
                    <a:pt x="503" y="654"/>
                  </a:lnTo>
                  <a:lnTo>
                    <a:pt x="505" y="651"/>
                  </a:lnTo>
                  <a:lnTo>
                    <a:pt x="507" y="649"/>
                  </a:lnTo>
                  <a:lnTo>
                    <a:pt x="507" y="651"/>
                  </a:lnTo>
                  <a:lnTo>
                    <a:pt x="507" y="654"/>
                  </a:lnTo>
                  <a:lnTo>
                    <a:pt x="507" y="651"/>
                  </a:lnTo>
                  <a:lnTo>
                    <a:pt x="510" y="651"/>
                  </a:lnTo>
                  <a:lnTo>
                    <a:pt x="510" y="649"/>
                  </a:lnTo>
                  <a:lnTo>
                    <a:pt x="512" y="647"/>
                  </a:lnTo>
                  <a:lnTo>
                    <a:pt x="512" y="644"/>
                  </a:lnTo>
                  <a:lnTo>
                    <a:pt x="512" y="642"/>
                  </a:lnTo>
                  <a:lnTo>
                    <a:pt x="515" y="642"/>
                  </a:lnTo>
                  <a:lnTo>
                    <a:pt x="515" y="644"/>
                  </a:lnTo>
                  <a:lnTo>
                    <a:pt x="515" y="647"/>
                  </a:lnTo>
                  <a:lnTo>
                    <a:pt x="515" y="649"/>
                  </a:lnTo>
                  <a:lnTo>
                    <a:pt x="515" y="647"/>
                  </a:lnTo>
                  <a:lnTo>
                    <a:pt x="515" y="644"/>
                  </a:lnTo>
                  <a:lnTo>
                    <a:pt x="515" y="642"/>
                  </a:lnTo>
                  <a:lnTo>
                    <a:pt x="517" y="642"/>
                  </a:lnTo>
                  <a:lnTo>
                    <a:pt x="519" y="642"/>
                  </a:lnTo>
                  <a:lnTo>
                    <a:pt x="519" y="644"/>
                  </a:lnTo>
                  <a:lnTo>
                    <a:pt x="522" y="644"/>
                  </a:lnTo>
                  <a:lnTo>
                    <a:pt x="522" y="647"/>
                  </a:lnTo>
                  <a:lnTo>
                    <a:pt x="522" y="649"/>
                  </a:lnTo>
                  <a:lnTo>
                    <a:pt x="519" y="649"/>
                  </a:lnTo>
                  <a:lnTo>
                    <a:pt x="519" y="651"/>
                  </a:lnTo>
                  <a:lnTo>
                    <a:pt x="519" y="654"/>
                  </a:lnTo>
                  <a:lnTo>
                    <a:pt x="517" y="656"/>
                  </a:lnTo>
                  <a:lnTo>
                    <a:pt x="517" y="658"/>
                  </a:lnTo>
                  <a:lnTo>
                    <a:pt x="517" y="661"/>
                  </a:lnTo>
                  <a:lnTo>
                    <a:pt x="519" y="661"/>
                  </a:lnTo>
                  <a:lnTo>
                    <a:pt x="519" y="663"/>
                  </a:lnTo>
                  <a:lnTo>
                    <a:pt x="517" y="663"/>
                  </a:lnTo>
                  <a:lnTo>
                    <a:pt x="517" y="666"/>
                  </a:lnTo>
                  <a:lnTo>
                    <a:pt x="517" y="668"/>
                  </a:lnTo>
                  <a:lnTo>
                    <a:pt x="515" y="668"/>
                  </a:lnTo>
                  <a:lnTo>
                    <a:pt x="517" y="668"/>
                  </a:lnTo>
                  <a:lnTo>
                    <a:pt x="515" y="668"/>
                  </a:lnTo>
                  <a:lnTo>
                    <a:pt x="517" y="668"/>
                  </a:lnTo>
                  <a:lnTo>
                    <a:pt x="515" y="668"/>
                  </a:lnTo>
                  <a:lnTo>
                    <a:pt x="515" y="670"/>
                  </a:lnTo>
                  <a:lnTo>
                    <a:pt x="517" y="668"/>
                  </a:lnTo>
                  <a:lnTo>
                    <a:pt x="517" y="670"/>
                  </a:lnTo>
                  <a:lnTo>
                    <a:pt x="515" y="670"/>
                  </a:lnTo>
                  <a:lnTo>
                    <a:pt x="515" y="673"/>
                  </a:lnTo>
                  <a:lnTo>
                    <a:pt x="515" y="670"/>
                  </a:lnTo>
                  <a:lnTo>
                    <a:pt x="515" y="673"/>
                  </a:lnTo>
                  <a:lnTo>
                    <a:pt x="515" y="675"/>
                  </a:lnTo>
                  <a:lnTo>
                    <a:pt x="512" y="675"/>
                  </a:lnTo>
                  <a:lnTo>
                    <a:pt x="510" y="675"/>
                  </a:lnTo>
                  <a:lnTo>
                    <a:pt x="510" y="677"/>
                  </a:lnTo>
                  <a:lnTo>
                    <a:pt x="507" y="677"/>
                  </a:lnTo>
                  <a:lnTo>
                    <a:pt x="507" y="680"/>
                  </a:lnTo>
                  <a:lnTo>
                    <a:pt x="505" y="680"/>
                  </a:lnTo>
                  <a:lnTo>
                    <a:pt x="505" y="682"/>
                  </a:lnTo>
                  <a:lnTo>
                    <a:pt x="507" y="682"/>
                  </a:lnTo>
                  <a:lnTo>
                    <a:pt x="507" y="680"/>
                  </a:lnTo>
                  <a:lnTo>
                    <a:pt x="510" y="680"/>
                  </a:lnTo>
                  <a:lnTo>
                    <a:pt x="510" y="677"/>
                  </a:lnTo>
                  <a:lnTo>
                    <a:pt x="512" y="677"/>
                  </a:lnTo>
                  <a:lnTo>
                    <a:pt x="515" y="675"/>
                  </a:lnTo>
                  <a:lnTo>
                    <a:pt x="517" y="675"/>
                  </a:lnTo>
                  <a:lnTo>
                    <a:pt x="517" y="673"/>
                  </a:lnTo>
                  <a:lnTo>
                    <a:pt x="519" y="673"/>
                  </a:lnTo>
                  <a:lnTo>
                    <a:pt x="519" y="670"/>
                  </a:lnTo>
                  <a:lnTo>
                    <a:pt x="519" y="668"/>
                  </a:lnTo>
                  <a:lnTo>
                    <a:pt x="522" y="668"/>
                  </a:lnTo>
                  <a:lnTo>
                    <a:pt x="522" y="666"/>
                  </a:lnTo>
                  <a:lnTo>
                    <a:pt x="522" y="663"/>
                  </a:lnTo>
                  <a:lnTo>
                    <a:pt x="524" y="663"/>
                  </a:lnTo>
                  <a:lnTo>
                    <a:pt x="526" y="666"/>
                  </a:lnTo>
                  <a:lnTo>
                    <a:pt x="529" y="666"/>
                  </a:lnTo>
                  <a:lnTo>
                    <a:pt x="529" y="668"/>
                  </a:lnTo>
                  <a:lnTo>
                    <a:pt x="531" y="668"/>
                  </a:lnTo>
                  <a:lnTo>
                    <a:pt x="534" y="668"/>
                  </a:lnTo>
                  <a:lnTo>
                    <a:pt x="536" y="670"/>
                  </a:lnTo>
                  <a:lnTo>
                    <a:pt x="536" y="668"/>
                  </a:lnTo>
                  <a:lnTo>
                    <a:pt x="534" y="668"/>
                  </a:lnTo>
                  <a:lnTo>
                    <a:pt x="531" y="668"/>
                  </a:lnTo>
                  <a:lnTo>
                    <a:pt x="529" y="666"/>
                  </a:lnTo>
                  <a:lnTo>
                    <a:pt x="529" y="663"/>
                  </a:lnTo>
                  <a:lnTo>
                    <a:pt x="526" y="663"/>
                  </a:lnTo>
                  <a:lnTo>
                    <a:pt x="524" y="663"/>
                  </a:lnTo>
                  <a:lnTo>
                    <a:pt x="524" y="661"/>
                  </a:lnTo>
                  <a:lnTo>
                    <a:pt x="524" y="658"/>
                  </a:lnTo>
                  <a:lnTo>
                    <a:pt x="526" y="658"/>
                  </a:lnTo>
                  <a:lnTo>
                    <a:pt x="526" y="656"/>
                  </a:lnTo>
                  <a:lnTo>
                    <a:pt x="526" y="654"/>
                  </a:lnTo>
                  <a:lnTo>
                    <a:pt x="524" y="654"/>
                  </a:lnTo>
                  <a:lnTo>
                    <a:pt x="526" y="654"/>
                  </a:lnTo>
                  <a:lnTo>
                    <a:pt x="529" y="651"/>
                  </a:lnTo>
                  <a:lnTo>
                    <a:pt x="531" y="651"/>
                  </a:lnTo>
                  <a:lnTo>
                    <a:pt x="534" y="651"/>
                  </a:lnTo>
                  <a:lnTo>
                    <a:pt x="534" y="649"/>
                  </a:lnTo>
                  <a:lnTo>
                    <a:pt x="534" y="647"/>
                  </a:lnTo>
                  <a:lnTo>
                    <a:pt x="536" y="647"/>
                  </a:lnTo>
                  <a:lnTo>
                    <a:pt x="536" y="644"/>
                  </a:lnTo>
                  <a:lnTo>
                    <a:pt x="538" y="644"/>
                  </a:lnTo>
                  <a:lnTo>
                    <a:pt x="541" y="644"/>
                  </a:lnTo>
                  <a:lnTo>
                    <a:pt x="541" y="642"/>
                  </a:lnTo>
                  <a:lnTo>
                    <a:pt x="543" y="642"/>
                  </a:lnTo>
                  <a:lnTo>
                    <a:pt x="545" y="642"/>
                  </a:lnTo>
                  <a:lnTo>
                    <a:pt x="543" y="642"/>
                  </a:lnTo>
                  <a:lnTo>
                    <a:pt x="543" y="644"/>
                  </a:lnTo>
                  <a:lnTo>
                    <a:pt x="541" y="644"/>
                  </a:lnTo>
                  <a:lnTo>
                    <a:pt x="538" y="644"/>
                  </a:lnTo>
                  <a:lnTo>
                    <a:pt x="538" y="647"/>
                  </a:lnTo>
                  <a:lnTo>
                    <a:pt x="536" y="649"/>
                  </a:lnTo>
                  <a:lnTo>
                    <a:pt x="538" y="649"/>
                  </a:lnTo>
                  <a:lnTo>
                    <a:pt x="541" y="649"/>
                  </a:lnTo>
                  <a:lnTo>
                    <a:pt x="538" y="649"/>
                  </a:lnTo>
                  <a:lnTo>
                    <a:pt x="541" y="649"/>
                  </a:lnTo>
                  <a:lnTo>
                    <a:pt x="538" y="649"/>
                  </a:lnTo>
                  <a:lnTo>
                    <a:pt x="538" y="651"/>
                  </a:lnTo>
                  <a:lnTo>
                    <a:pt x="541" y="651"/>
                  </a:lnTo>
                  <a:lnTo>
                    <a:pt x="541" y="654"/>
                  </a:lnTo>
                  <a:lnTo>
                    <a:pt x="541" y="651"/>
                  </a:lnTo>
                  <a:lnTo>
                    <a:pt x="543" y="654"/>
                  </a:lnTo>
                  <a:lnTo>
                    <a:pt x="543" y="651"/>
                  </a:lnTo>
                  <a:lnTo>
                    <a:pt x="541" y="651"/>
                  </a:lnTo>
                  <a:lnTo>
                    <a:pt x="543" y="651"/>
                  </a:lnTo>
                  <a:lnTo>
                    <a:pt x="541" y="651"/>
                  </a:lnTo>
                  <a:lnTo>
                    <a:pt x="541" y="649"/>
                  </a:lnTo>
                  <a:lnTo>
                    <a:pt x="543" y="649"/>
                  </a:lnTo>
                  <a:lnTo>
                    <a:pt x="543" y="647"/>
                  </a:lnTo>
                  <a:lnTo>
                    <a:pt x="545" y="647"/>
                  </a:lnTo>
                  <a:lnTo>
                    <a:pt x="548" y="647"/>
                  </a:lnTo>
                  <a:lnTo>
                    <a:pt x="548" y="649"/>
                  </a:lnTo>
                  <a:lnTo>
                    <a:pt x="545" y="649"/>
                  </a:lnTo>
                  <a:lnTo>
                    <a:pt x="548" y="649"/>
                  </a:lnTo>
                  <a:lnTo>
                    <a:pt x="545" y="649"/>
                  </a:lnTo>
                  <a:lnTo>
                    <a:pt x="545" y="651"/>
                  </a:lnTo>
                  <a:lnTo>
                    <a:pt x="545" y="649"/>
                  </a:lnTo>
                  <a:lnTo>
                    <a:pt x="548" y="649"/>
                  </a:lnTo>
                  <a:lnTo>
                    <a:pt x="548" y="647"/>
                  </a:lnTo>
                  <a:lnTo>
                    <a:pt x="548" y="644"/>
                  </a:lnTo>
                  <a:lnTo>
                    <a:pt x="550" y="644"/>
                  </a:lnTo>
                  <a:lnTo>
                    <a:pt x="553" y="644"/>
                  </a:lnTo>
                  <a:lnTo>
                    <a:pt x="550" y="644"/>
                  </a:lnTo>
                  <a:lnTo>
                    <a:pt x="548" y="644"/>
                  </a:lnTo>
                  <a:lnTo>
                    <a:pt x="548" y="642"/>
                  </a:lnTo>
                  <a:lnTo>
                    <a:pt x="548" y="639"/>
                  </a:lnTo>
                  <a:lnTo>
                    <a:pt x="550" y="639"/>
                  </a:lnTo>
                  <a:lnTo>
                    <a:pt x="553" y="639"/>
                  </a:lnTo>
                  <a:lnTo>
                    <a:pt x="553" y="637"/>
                  </a:lnTo>
                  <a:lnTo>
                    <a:pt x="553" y="639"/>
                  </a:lnTo>
                  <a:lnTo>
                    <a:pt x="553" y="637"/>
                  </a:lnTo>
                  <a:lnTo>
                    <a:pt x="555" y="637"/>
                  </a:lnTo>
                  <a:lnTo>
                    <a:pt x="555" y="639"/>
                  </a:lnTo>
                  <a:lnTo>
                    <a:pt x="557" y="639"/>
                  </a:lnTo>
                  <a:lnTo>
                    <a:pt x="555" y="639"/>
                  </a:lnTo>
                  <a:lnTo>
                    <a:pt x="557" y="639"/>
                  </a:lnTo>
                  <a:lnTo>
                    <a:pt x="560" y="639"/>
                  </a:lnTo>
                  <a:lnTo>
                    <a:pt x="560" y="642"/>
                  </a:lnTo>
                  <a:lnTo>
                    <a:pt x="557" y="642"/>
                  </a:lnTo>
                  <a:lnTo>
                    <a:pt x="560" y="642"/>
                  </a:lnTo>
                  <a:lnTo>
                    <a:pt x="560" y="644"/>
                  </a:lnTo>
                  <a:lnTo>
                    <a:pt x="562" y="644"/>
                  </a:lnTo>
                  <a:lnTo>
                    <a:pt x="564" y="647"/>
                  </a:lnTo>
                  <a:lnTo>
                    <a:pt x="567" y="647"/>
                  </a:lnTo>
                  <a:lnTo>
                    <a:pt x="569" y="647"/>
                  </a:lnTo>
                  <a:lnTo>
                    <a:pt x="569" y="649"/>
                  </a:lnTo>
                  <a:lnTo>
                    <a:pt x="572" y="649"/>
                  </a:lnTo>
                  <a:lnTo>
                    <a:pt x="569" y="649"/>
                  </a:lnTo>
                  <a:lnTo>
                    <a:pt x="572" y="651"/>
                  </a:lnTo>
                  <a:lnTo>
                    <a:pt x="574" y="654"/>
                  </a:lnTo>
                  <a:lnTo>
                    <a:pt x="576" y="654"/>
                  </a:lnTo>
                  <a:lnTo>
                    <a:pt x="574" y="654"/>
                  </a:lnTo>
                  <a:lnTo>
                    <a:pt x="576" y="654"/>
                  </a:lnTo>
                  <a:lnTo>
                    <a:pt x="574" y="656"/>
                  </a:lnTo>
                  <a:lnTo>
                    <a:pt x="574" y="654"/>
                  </a:lnTo>
                  <a:lnTo>
                    <a:pt x="574" y="656"/>
                  </a:lnTo>
                  <a:lnTo>
                    <a:pt x="576" y="656"/>
                  </a:lnTo>
                  <a:lnTo>
                    <a:pt x="576" y="654"/>
                  </a:lnTo>
                  <a:lnTo>
                    <a:pt x="579" y="654"/>
                  </a:lnTo>
                  <a:lnTo>
                    <a:pt x="579" y="656"/>
                  </a:lnTo>
                  <a:lnTo>
                    <a:pt x="579" y="654"/>
                  </a:lnTo>
                  <a:lnTo>
                    <a:pt x="576" y="654"/>
                  </a:lnTo>
                  <a:lnTo>
                    <a:pt x="576" y="651"/>
                  </a:lnTo>
                  <a:lnTo>
                    <a:pt x="574" y="651"/>
                  </a:lnTo>
                  <a:lnTo>
                    <a:pt x="574" y="649"/>
                  </a:lnTo>
                  <a:lnTo>
                    <a:pt x="574" y="651"/>
                  </a:lnTo>
                  <a:lnTo>
                    <a:pt x="572" y="651"/>
                  </a:lnTo>
                  <a:lnTo>
                    <a:pt x="572" y="649"/>
                  </a:lnTo>
                  <a:lnTo>
                    <a:pt x="574" y="649"/>
                  </a:lnTo>
                  <a:lnTo>
                    <a:pt x="576" y="649"/>
                  </a:lnTo>
                  <a:lnTo>
                    <a:pt x="574" y="647"/>
                  </a:lnTo>
                  <a:lnTo>
                    <a:pt x="572" y="647"/>
                  </a:lnTo>
                  <a:lnTo>
                    <a:pt x="572" y="644"/>
                  </a:lnTo>
                  <a:lnTo>
                    <a:pt x="569" y="644"/>
                  </a:lnTo>
                  <a:lnTo>
                    <a:pt x="572" y="644"/>
                  </a:lnTo>
                  <a:lnTo>
                    <a:pt x="569" y="644"/>
                  </a:lnTo>
                  <a:lnTo>
                    <a:pt x="569" y="642"/>
                  </a:lnTo>
                  <a:lnTo>
                    <a:pt x="572" y="642"/>
                  </a:lnTo>
                  <a:lnTo>
                    <a:pt x="569" y="642"/>
                  </a:lnTo>
                  <a:lnTo>
                    <a:pt x="569" y="639"/>
                  </a:lnTo>
                  <a:lnTo>
                    <a:pt x="572" y="639"/>
                  </a:lnTo>
                  <a:lnTo>
                    <a:pt x="574" y="639"/>
                  </a:lnTo>
                  <a:lnTo>
                    <a:pt x="574" y="642"/>
                  </a:lnTo>
                  <a:lnTo>
                    <a:pt x="576" y="642"/>
                  </a:lnTo>
                  <a:lnTo>
                    <a:pt x="576" y="644"/>
                  </a:lnTo>
                  <a:lnTo>
                    <a:pt x="576" y="642"/>
                  </a:lnTo>
                  <a:lnTo>
                    <a:pt x="576" y="639"/>
                  </a:lnTo>
                  <a:lnTo>
                    <a:pt x="574" y="639"/>
                  </a:lnTo>
                  <a:lnTo>
                    <a:pt x="576" y="637"/>
                  </a:lnTo>
                  <a:lnTo>
                    <a:pt x="574" y="637"/>
                  </a:lnTo>
                  <a:lnTo>
                    <a:pt x="574" y="639"/>
                  </a:lnTo>
                  <a:lnTo>
                    <a:pt x="572" y="639"/>
                  </a:lnTo>
                  <a:lnTo>
                    <a:pt x="569" y="639"/>
                  </a:lnTo>
                  <a:lnTo>
                    <a:pt x="569" y="637"/>
                  </a:lnTo>
                  <a:lnTo>
                    <a:pt x="567" y="637"/>
                  </a:lnTo>
                  <a:lnTo>
                    <a:pt x="569" y="637"/>
                  </a:lnTo>
                  <a:lnTo>
                    <a:pt x="569" y="635"/>
                  </a:lnTo>
                  <a:lnTo>
                    <a:pt x="572" y="635"/>
                  </a:lnTo>
                  <a:lnTo>
                    <a:pt x="574" y="635"/>
                  </a:lnTo>
                  <a:lnTo>
                    <a:pt x="576" y="635"/>
                  </a:lnTo>
                  <a:lnTo>
                    <a:pt x="576" y="632"/>
                  </a:lnTo>
                  <a:lnTo>
                    <a:pt x="574" y="632"/>
                  </a:lnTo>
                  <a:lnTo>
                    <a:pt x="574" y="635"/>
                  </a:lnTo>
                  <a:lnTo>
                    <a:pt x="572" y="635"/>
                  </a:lnTo>
                  <a:lnTo>
                    <a:pt x="569" y="635"/>
                  </a:lnTo>
                  <a:lnTo>
                    <a:pt x="567" y="635"/>
                  </a:lnTo>
                  <a:lnTo>
                    <a:pt x="569" y="635"/>
                  </a:lnTo>
                  <a:lnTo>
                    <a:pt x="567" y="635"/>
                  </a:lnTo>
                  <a:lnTo>
                    <a:pt x="567" y="637"/>
                  </a:lnTo>
                  <a:lnTo>
                    <a:pt x="564" y="637"/>
                  </a:lnTo>
                  <a:lnTo>
                    <a:pt x="564" y="635"/>
                  </a:lnTo>
                  <a:lnTo>
                    <a:pt x="562" y="635"/>
                  </a:lnTo>
                  <a:lnTo>
                    <a:pt x="562" y="632"/>
                  </a:lnTo>
                  <a:lnTo>
                    <a:pt x="560" y="632"/>
                  </a:lnTo>
                  <a:lnTo>
                    <a:pt x="560" y="635"/>
                  </a:lnTo>
                  <a:lnTo>
                    <a:pt x="557" y="635"/>
                  </a:lnTo>
                  <a:lnTo>
                    <a:pt x="557" y="632"/>
                  </a:lnTo>
                  <a:lnTo>
                    <a:pt x="555" y="632"/>
                  </a:lnTo>
                  <a:lnTo>
                    <a:pt x="555" y="630"/>
                  </a:lnTo>
                  <a:lnTo>
                    <a:pt x="557" y="630"/>
                  </a:lnTo>
                  <a:lnTo>
                    <a:pt x="555" y="630"/>
                  </a:lnTo>
                  <a:lnTo>
                    <a:pt x="553" y="630"/>
                  </a:lnTo>
                  <a:lnTo>
                    <a:pt x="550" y="630"/>
                  </a:lnTo>
                  <a:lnTo>
                    <a:pt x="550" y="628"/>
                  </a:lnTo>
                  <a:lnTo>
                    <a:pt x="548" y="628"/>
                  </a:lnTo>
                  <a:lnTo>
                    <a:pt x="548" y="625"/>
                  </a:lnTo>
                  <a:lnTo>
                    <a:pt x="550" y="625"/>
                  </a:lnTo>
                  <a:lnTo>
                    <a:pt x="553" y="625"/>
                  </a:lnTo>
                  <a:lnTo>
                    <a:pt x="553" y="623"/>
                  </a:lnTo>
                  <a:lnTo>
                    <a:pt x="555" y="623"/>
                  </a:lnTo>
                  <a:lnTo>
                    <a:pt x="555" y="625"/>
                  </a:lnTo>
                  <a:lnTo>
                    <a:pt x="555" y="628"/>
                  </a:lnTo>
                  <a:lnTo>
                    <a:pt x="557" y="628"/>
                  </a:lnTo>
                  <a:lnTo>
                    <a:pt x="557" y="625"/>
                  </a:lnTo>
                  <a:lnTo>
                    <a:pt x="557" y="623"/>
                  </a:lnTo>
                  <a:lnTo>
                    <a:pt x="557" y="620"/>
                  </a:lnTo>
                  <a:lnTo>
                    <a:pt x="560" y="620"/>
                  </a:lnTo>
                  <a:lnTo>
                    <a:pt x="560" y="623"/>
                  </a:lnTo>
                  <a:lnTo>
                    <a:pt x="562" y="623"/>
                  </a:lnTo>
                  <a:lnTo>
                    <a:pt x="564" y="625"/>
                  </a:lnTo>
                  <a:lnTo>
                    <a:pt x="564" y="628"/>
                  </a:lnTo>
                  <a:lnTo>
                    <a:pt x="567" y="625"/>
                  </a:lnTo>
                  <a:lnTo>
                    <a:pt x="567" y="628"/>
                  </a:lnTo>
                  <a:lnTo>
                    <a:pt x="567" y="630"/>
                  </a:lnTo>
                  <a:lnTo>
                    <a:pt x="569" y="630"/>
                  </a:lnTo>
                  <a:lnTo>
                    <a:pt x="569" y="628"/>
                  </a:lnTo>
                  <a:lnTo>
                    <a:pt x="569" y="625"/>
                  </a:lnTo>
                  <a:lnTo>
                    <a:pt x="567" y="625"/>
                  </a:lnTo>
                  <a:lnTo>
                    <a:pt x="567" y="623"/>
                  </a:lnTo>
                  <a:lnTo>
                    <a:pt x="569" y="623"/>
                  </a:lnTo>
                  <a:lnTo>
                    <a:pt x="572" y="620"/>
                  </a:lnTo>
                  <a:lnTo>
                    <a:pt x="574" y="620"/>
                  </a:lnTo>
                  <a:lnTo>
                    <a:pt x="574" y="623"/>
                  </a:lnTo>
                  <a:lnTo>
                    <a:pt x="576" y="620"/>
                  </a:lnTo>
                  <a:lnTo>
                    <a:pt x="579" y="620"/>
                  </a:lnTo>
                  <a:lnTo>
                    <a:pt x="576" y="623"/>
                  </a:lnTo>
                  <a:lnTo>
                    <a:pt x="579" y="623"/>
                  </a:lnTo>
                  <a:lnTo>
                    <a:pt x="576" y="623"/>
                  </a:lnTo>
                  <a:lnTo>
                    <a:pt x="576" y="625"/>
                  </a:lnTo>
                  <a:lnTo>
                    <a:pt x="579" y="625"/>
                  </a:lnTo>
                  <a:lnTo>
                    <a:pt x="579" y="623"/>
                  </a:lnTo>
                  <a:lnTo>
                    <a:pt x="581" y="623"/>
                  </a:lnTo>
                  <a:lnTo>
                    <a:pt x="583" y="623"/>
                  </a:lnTo>
                  <a:lnTo>
                    <a:pt x="583" y="625"/>
                  </a:lnTo>
                  <a:lnTo>
                    <a:pt x="581" y="625"/>
                  </a:lnTo>
                  <a:lnTo>
                    <a:pt x="581" y="628"/>
                  </a:lnTo>
                  <a:lnTo>
                    <a:pt x="583" y="625"/>
                  </a:lnTo>
                  <a:lnTo>
                    <a:pt x="583" y="628"/>
                  </a:lnTo>
                  <a:lnTo>
                    <a:pt x="583" y="630"/>
                  </a:lnTo>
                  <a:lnTo>
                    <a:pt x="581" y="630"/>
                  </a:lnTo>
                  <a:lnTo>
                    <a:pt x="583" y="630"/>
                  </a:lnTo>
                  <a:lnTo>
                    <a:pt x="581" y="630"/>
                  </a:lnTo>
                  <a:lnTo>
                    <a:pt x="581" y="632"/>
                  </a:lnTo>
                  <a:lnTo>
                    <a:pt x="583" y="632"/>
                  </a:lnTo>
                  <a:lnTo>
                    <a:pt x="586" y="632"/>
                  </a:lnTo>
                  <a:lnTo>
                    <a:pt x="586" y="630"/>
                  </a:lnTo>
                  <a:lnTo>
                    <a:pt x="586" y="632"/>
                  </a:lnTo>
                  <a:lnTo>
                    <a:pt x="586" y="630"/>
                  </a:lnTo>
                  <a:lnTo>
                    <a:pt x="588" y="630"/>
                  </a:lnTo>
                  <a:lnTo>
                    <a:pt x="588" y="632"/>
                  </a:lnTo>
                  <a:lnTo>
                    <a:pt x="590" y="632"/>
                  </a:lnTo>
                  <a:lnTo>
                    <a:pt x="593" y="632"/>
                  </a:lnTo>
                  <a:lnTo>
                    <a:pt x="590" y="632"/>
                  </a:lnTo>
                  <a:lnTo>
                    <a:pt x="590" y="630"/>
                  </a:lnTo>
                  <a:lnTo>
                    <a:pt x="588" y="630"/>
                  </a:lnTo>
                  <a:lnTo>
                    <a:pt x="586" y="630"/>
                  </a:lnTo>
                  <a:lnTo>
                    <a:pt x="583" y="630"/>
                  </a:lnTo>
                  <a:lnTo>
                    <a:pt x="586" y="630"/>
                  </a:lnTo>
                  <a:lnTo>
                    <a:pt x="586" y="628"/>
                  </a:lnTo>
                  <a:lnTo>
                    <a:pt x="586" y="625"/>
                  </a:lnTo>
                  <a:lnTo>
                    <a:pt x="586" y="623"/>
                  </a:lnTo>
                  <a:lnTo>
                    <a:pt x="588" y="625"/>
                  </a:lnTo>
                  <a:lnTo>
                    <a:pt x="590" y="625"/>
                  </a:lnTo>
                  <a:lnTo>
                    <a:pt x="593" y="625"/>
                  </a:lnTo>
                  <a:lnTo>
                    <a:pt x="595" y="625"/>
                  </a:lnTo>
                  <a:lnTo>
                    <a:pt x="595" y="628"/>
                  </a:lnTo>
                  <a:lnTo>
                    <a:pt x="593" y="628"/>
                  </a:lnTo>
                  <a:lnTo>
                    <a:pt x="595" y="628"/>
                  </a:lnTo>
                  <a:lnTo>
                    <a:pt x="595" y="625"/>
                  </a:lnTo>
                  <a:lnTo>
                    <a:pt x="598" y="625"/>
                  </a:lnTo>
                  <a:lnTo>
                    <a:pt x="598" y="628"/>
                  </a:lnTo>
                  <a:lnTo>
                    <a:pt x="600" y="628"/>
                  </a:lnTo>
                  <a:lnTo>
                    <a:pt x="605" y="628"/>
                  </a:lnTo>
                  <a:lnTo>
                    <a:pt x="607" y="628"/>
                  </a:lnTo>
                  <a:lnTo>
                    <a:pt x="607" y="630"/>
                  </a:lnTo>
                  <a:lnTo>
                    <a:pt x="605" y="630"/>
                  </a:lnTo>
                  <a:lnTo>
                    <a:pt x="602" y="632"/>
                  </a:lnTo>
                  <a:lnTo>
                    <a:pt x="600" y="632"/>
                  </a:lnTo>
                  <a:lnTo>
                    <a:pt x="602" y="632"/>
                  </a:lnTo>
                  <a:lnTo>
                    <a:pt x="600" y="632"/>
                  </a:lnTo>
                  <a:lnTo>
                    <a:pt x="598" y="635"/>
                  </a:lnTo>
                  <a:lnTo>
                    <a:pt x="595" y="635"/>
                  </a:lnTo>
                  <a:lnTo>
                    <a:pt x="593" y="635"/>
                  </a:lnTo>
                  <a:lnTo>
                    <a:pt x="590" y="635"/>
                  </a:lnTo>
                  <a:lnTo>
                    <a:pt x="588" y="635"/>
                  </a:lnTo>
                  <a:lnTo>
                    <a:pt x="586" y="635"/>
                  </a:lnTo>
                  <a:lnTo>
                    <a:pt x="586" y="637"/>
                  </a:lnTo>
                  <a:lnTo>
                    <a:pt x="583" y="637"/>
                  </a:lnTo>
                  <a:lnTo>
                    <a:pt x="586" y="637"/>
                  </a:lnTo>
                  <a:lnTo>
                    <a:pt x="588" y="637"/>
                  </a:lnTo>
                  <a:lnTo>
                    <a:pt x="590" y="637"/>
                  </a:lnTo>
                  <a:lnTo>
                    <a:pt x="590" y="635"/>
                  </a:lnTo>
                  <a:lnTo>
                    <a:pt x="593" y="635"/>
                  </a:lnTo>
                  <a:lnTo>
                    <a:pt x="595" y="635"/>
                  </a:lnTo>
                  <a:lnTo>
                    <a:pt x="598" y="635"/>
                  </a:lnTo>
                  <a:lnTo>
                    <a:pt x="600" y="635"/>
                  </a:lnTo>
                  <a:lnTo>
                    <a:pt x="602" y="635"/>
                  </a:lnTo>
                  <a:lnTo>
                    <a:pt x="602" y="632"/>
                  </a:lnTo>
                  <a:lnTo>
                    <a:pt x="605" y="632"/>
                  </a:lnTo>
                  <a:lnTo>
                    <a:pt x="607" y="632"/>
                  </a:lnTo>
                  <a:lnTo>
                    <a:pt x="607" y="630"/>
                  </a:lnTo>
                  <a:lnTo>
                    <a:pt x="607" y="632"/>
                  </a:lnTo>
                  <a:lnTo>
                    <a:pt x="607" y="630"/>
                  </a:lnTo>
                  <a:lnTo>
                    <a:pt x="607" y="632"/>
                  </a:lnTo>
                  <a:lnTo>
                    <a:pt x="607" y="630"/>
                  </a:lnTo>
                  <a:lnTo>
                    <a:pt x="607" y="632"/>
                  </a:lnTo>
                  <a:lnTo>
                    <a:pt x="607" y="635"/>
                  </a:lnTo>
                  <a:lnTo>
                    <a:pt x="607" y="637"/>
                  </a:lnTo>
                  <a:lnTo>
                    <a:pt x="605" y="637"/>
                  </a:lnTo>
                  <a:lnTo>
                    <a:pt x="607" y="637"/>
                  </a:lnTo>
                  <a:lnTo>
                    <a:pt x="607" y="639"/>
                  </a:lnTo>
                  <a:lnTo>
                    <a:pt x="609" y="639"/>
                  </a:lnTo>
                  <a:lnTo>
                    <a:pt x="609" y="637"/>
                  </a:lnTo>
                  <a:lnTo>
                    <a:pt x="612" y="639"/>
                  </a:lnTo>
                  <a:lnTo>
                    <a:pt x="609" y="639"/>
                  </a:lnTo>
                  <a:lnTo>
                    <a:pt x="612" y="642"/>
                  </a:lnTo>
                  <a:lnTo>
                    <a:pt x="612" y="639"/>
                  </a:lnTo>
                  <a:lnTo>
                    <a:pt x="612" y="642"/>
                  </a:lnTo>
                  <a:lnTo>
                    <a:pt x="609" y="642"/>
                  </a:lnTo>
                  <a:lnTo>
                    <a:pt x="609" y="644"/>
                  </a:lnTo>
                  <a:lnTo>
                    <a:pt x="607" y="644"/>
                  </a:lnTo>
                  <a:lnTo>
                    <a:pt x="609" y="644"/>
                  </a:lnTo>
                  <a:lnTo>
                    <a:pt x="609" y="642"/>
                  </a:lnTo>
                  <a:lnTo>
                    <a:pt x="612" y="642"/>
                  </a:lnTo>
                  <a:lnTo>
                    <a:pt x="612" y="644"/>
                  </a:lnTo>
                  <a:lnTo>
                    <a:pt x="609" y="644"/>
                  </a:lnTo>
                  <a:lnTo>
                    <a:pt x="612" y="644"/>
                  </a:lnTo>
                  <a:lnTo>
                    <a:pt x="612" y="642"/>
                  </a:lnTo>
                  <a:lnTo>
                    <a:pt x="614" y="642"/>
                  </a:lnTo>
                  <a:lnTo>
                    <a:pt x="617" y="642"/>
                  </a:lnTo>
                  <a:lnTo>
                    <a:pt x="614" y="642"/>
                  </a:lnTo>
                  <a:lnTo>
                    <a:pt x="617" y="642"/>
                  </a:lnTo>
                  <a:lnTo>
                    <a:pt x="617" y="639"/>
                  </a:lnTo>
                  <a:lnTo>
                    <a:pt x="617" y="642"/>
                  </a:lnTo>
                  <a:lnTo>
                    <a:pt x="619" y="642"/>
                  </a:lnTo>
                  <a:lnTo>
                    <a:pt x="619" y="639"/>
                  </a:lnTo>
                  <a:lnTo>
                    <a:pt x="621" y="639"/>
                  </a:lnTo>
                  <a:lnTo>
                    <a:pt x="619" y="639"/>
                  </a:lnTo>
                  <a:lnTo>
                    <a:pt x="619" y="642"/>
                  </a:lnTo>
                  <a:lnTo>
                    <a:pt x="621" y="642"/>
                  </a:lnTo>
                  <a:lnTo>
                    <a:pt x="619" y="642"/>
                  </a:lnTo>
                  <a:lnTo>
                    <a:pt x="621" y="642"/>
                  </a:lnTo>
                  <a:lnTo>
                    <a:pt x="621" y="639"/>
                  </a:lnTo>
                  <a:lnTo>
                    <a:pt x="621" y="642"/>
                  </a:lnTo>
                  <a:lnTo>
                    <a:pt x="621" y="639"/>
                  </a:lnTo>
                  <a:lnTo>
                    <a:pt x="624" y="639"/>
                  </a:lnTo>
                  <a:lnTo>
                    <a:pt x="624" y="637"/>
                  </a:lnTo>
                  <a:lnTo>
                    <a:pt x="621" y="637"/>
                  </a:lnTo>
                  <a:lnTo>
                    <a:pt x="619" y="637"/>
                  </a:lnTo>
                  <a:lnTo>
                    <a:pt x="617" y="637"/>
                  </a:lnTo>
                  <a:lnTo>
                    <a:pt x="614" y="637"/>
                  </a:lnTo>
                  <a:lnTo>
                    <a:pt x="614" y="635"/>
                  </a:lnTo>
                  <a:lnTo>
                    <a:pt x="612" y="635"/>
                  </a:lnTo>
                  <a:lnTo>
                    <a:pt x="614" y="635"/>
                  </a:lnTo>
                  <a:lnTo>
                    <a:pt x="614" y="632"/>
                  </a:lnTo>
                  <a:lnTo>
                    <a:pt x="617" y="632"/>
                  </a:lnTo>
                  <a:lnTo>
                    <a:pt x="619" y="632"/>
                  </a:lnTo>
                  <a:lnTo>
                    <a:pt x="619" y="630"/>
                  </a:lnTo>
                  <a:lnTo>
                    <a:pt x="617" y="630"/>
                  </a:lnTo>
                  <a:lnTo>
                    <a:pt x="619" y="630"/>
                  </a:lnTo>
                  <a:lnTo>
                    <a:pt x="619" y="628"/>
                  </a:lnTo>
                  <a:lnTo>
                    <a:pt x="619" y="630"/>
                  </a:lnTo>
                  <a:lnTo>
                    <a:pt x="619" y="628"/>
                  </a:lnTo>
                  <a:lnTo>
                    <a:pt x="617" y="628"/>
                  </a:lnTo>
                  <a:lnTo>
                    <a:pt x="614" y="628"/>
                  </a:lnTo>
                  <a:lnTo>
                    <a:pt x="614" y="625"/>
                  </a:lnTo>
                  <a:lnTo>
                    <a:pt x="617" y="625"/>
                  </a:lnTo>
                  <a:lnTo>
                    <a:pt x="619" y="625"/>
                  </a:lnTo>
                  <a:lnTo>
                    <a:pt x="621" y="625"/>
                  </a:lnTo>
                  <a:lnTo>
                    <a:pt x="624" y="625"/>
                  </a:lnTo>
                  <a:lnTo>
                    <a:pt x="621" y="625"/>
                  </a:lnTo>
                  <a:lnTo>
                    <a:pt x="619" y="625"/>
                  </a:lnTo>
                  <a:lnTo>
                    <a:pt x="617" y="625"/>
                  </a:lnTo>
                  <a:lnTo>
                    <a:pt x="617" y="623"/>
                  </a:lnTo>
                  <a:lnTo>
                    <a:pt x="619" y="623"/>
                  </a:lnTo>
                  <a:lnTo>
                    <a:pt x="621" y="623"/>
                  </a:lnTo>
                  <a:lnTo>
                    <a:pt x="619" y="623"/>
                  </a:lnTo>
                  <a:lnTo>
                    <a:pt x="621" y="623"/>
                  </a:lnTo>
                  <a:lnTo>
                    <a:pt x="624" y="623"/>
                  </a:lnTo>
                  <a:lnTo>
                    <a:pt x="626" y="623"/>
                  </a:lnTo>
                  <a:lnTo>
                    <a:pt x="628" y="623"/>
                  </a:lnTo>
                  <a:lnTo>
                    <a:pt x="628" y="620"/>
                  </a:lnTo>
                  <a:lnTo>
                    <a:pt x="626" y="623"/>
                  </a:lnTo>
                  <a:lnTo>
                    <a:pt x="624" y="623"/>
                  </a:lnTo>
                  <a:lnTo>
                    <a:pt x="626" y="623"/>
                  </a:lnTo>
                  <a:lnTo>
                    <a:pt x="624" y="623"/>
                  </a:lnTo>
                  <a:lnTo>
                    <a:pt x="624" y="620"/>
                  </a:lnTo>
                  <a:lnTo>
                    <a:pt x="621" y="620"/>
                  </a:lnTo>
                  <a:lnTo>
                    <a:pt x="624" y="620"/>
                  </a:lnTo>
                  <a:lnTo>
                    <a:pt x="624" y="618"/>
                  </a:lnTo>
                  <a:lnTo>
                    <a:pt x="626" y="618"/>
                  </a:lnTo>
                  <a:lnTo>
                    <a:pt x="626" y="616"/>
                  </a:lnTo>
                  <a:lnTo>
                    <a:pt x="628" y="616"/>
                  </a:lnTo>
                  <a:lnTo>
                    <a:pt x="628" y="613"/>
                  </a:lnTo>
                  <a:lnTo>
                    <a:pt x="631" y="613"/>
                  </a:lnTo>
                  <a:lnTo>
                    <a:pt x="633" y="613"/>
                  </a:lnTo>
                  <a:lnTo>
                    <a:pt x="633" y="611"/>
                  </a:lnTo>
                  <a:lnTo>
                    <a:pt x="636" y="611"/>
                  </a:lnTo>
                  <a:lnTo>
                    <a:pt x="636" y="609"/>
                  </a:lnTo>
                  <a:lnTo>
                    <a:pt x="638" y="609"/>
                  </a:lnTo>
                  <a:lnTo>
                    <a:pt x="640" y="609"/>
                  </a:lnTo>
                  <a:lnTo>
                    <a:pt x="643" y="609"/>
                  </a:lnTo>
                  <a:lnTo>
                    <a:pt x="643" y="611"/>
                  </a:lnTo>
                  <a:lnTo>
                    <a:pt x="645" y="611"/>
                  </a:lnTo>
                  <a:lnTo>
                    <a:pt x="647" y="611"/>
                  </a:lnTo>
                  <a:lnTo>
                    <a:pt x="650" y="611"/>
                  </a:lnTo>
                  <a:lnTo>
                    <a:pt x="650" y="613"/>
                  </a:lnTo>
                  <a:lnTo>
                    <a:pt x="652" y="613"/>
                  </a:lnTo>
                  <a:lnTo>
                    <a:pt x="650" y="613"/>
                  </a:lnTo>
                  <a:lnTo>
                    <a:pt x="650" y="611"/>
                  </a:lnTo>
                  <a:lnTo>
                    <a:pt x="650" y="609"/>
                  </a:lnTo>
                  <a:lnTo>
                    <a:pt x="647" y="609"/>
                  </a:lnTo>
                  <a:lnTo>
                    <a:pt x="645" y="609"/>
                  </a:lnTo>
                  <a:lnTo>
                    <a:pt x="643" y="609"/>
                  </a:lnTo>
                  <a:lnTo>
                    <a:pt x="643" y="606"/>
                  </a:lnTo>
                  <a:lnTo>
                    <a:pt x="645" y="606"/>
                  </a:lnTo>
                  <a:lnTo>
                    <a:pt x="645" y="604"/>
                  </a:lnTo>
                  <a:lnTo>
                    <a:pt x="647" y="604"/>
                  </a:lnTo>
                  <a:lnTo>
                    <a:pt x="647" y="601"/>
                  </a:lnTo>
                  <a:lnTo>
                    <a:pt x="647" y="599"/>
                  </a:lnTo>
                  <a:lnTo>
                    <a:pt x="650" y="599"/>
                  </a:lnTo>
                  <a:lnTo>
                    <a:pt x="652" y="599"/>
                  </a:lnTo>
                  <a:lnTo>
                    <a:pt x="650" y="599"/>
                  </a:lnTo>
                  <a:lnTo>
                    <a:pt x="652" y="599"/>
                  </a:lnTo>
                  <a:lnTo>
                    <a:pt x="652" y="597"/>
                  </a:lnTo>
                  <a:lnTo>
                    <a:pt x="652" y="599"/>
                  </a:lnTo>
                  <a:lnTo>
                    <a:pt x="655" y="599"/>
                  </a:lnTo>
                  <a:lnTo>
                    <a:pt x="657" y="599"/>
                  </a:lnTo>
                  <a:lnTo>
                    <a:pt x="657" y="601"/>
                  </a:lnTo>
                  <a:lnTo>
                    <a:pt x="659" y="601"/>
                  </a:lnTo>
                  <a:lnTo>
                    <a:pt x="659" y="604"/>
                  </a:lnTo>
                  <a:lnTo>
                    <a:pt x="662" y="604"/>
                  </a:lnTo>
                  <a:lnTo>
                    <a:pt x="662" y="601"/>
                  </a:lnTo>
                  <a:lnTo>
                    <a:pt x="664" y="601"/>
                  </a:lnTo>
                  <a:lnTo>
                    <a:pt x="662" y="601"/>
                  </a:lnTo>
                  <a:lnTo>
                    <a:pt x="664" y="601"/>
                  </a:lnTo>
                  <a:lnTo>
                    <a:pt x="662" y="601"/>
                  </a:lnTo>
                  <a:lnTo>
                    <a:pt x="664" y="601"/>
                  </a:lnTo>
                  <a:lnTo>
                    <a:pt x="662" y="601"/>
                  </a:lnTo>
                  <a:lnTo>
                    <a:pt x="662" y="599"/>
                  </a:lnTo>
                  <a:lnTo>
                    <a:pt x="659" y="599"/>
                  </a:lnTo>
                  <a:lnTo>
                    <a:pt x="662" y="597"/>
                  </a:lnTo>
                  <a:lnTo>
                    <a:pt x="662" y="599"/>
                  </a:lnTo>
                  <a:lnTo>
                    <a:pt x="662" y="597"/>
                  </a:lnTo>
                  <a:lnTo>
                    <a:pt x="659" y="597"/>
                  </a:lnTo>
                  <a:lnTo>
                    <a:pt x="657" y="597"/>
                  </a:lnTo>
                  <a:lnTo>
                    <a:pt x="657" y="594"/>
                  </a:lnTo>
                  <a:lnTo>
                    <a:pt x="655" y="594"/>
                  </a:lnTo>
                  <a:lnTo>
                    <a:pt x="652" y="594"/>
                  </a:lnTo>
                  <a:lnTo>
                    <a:pt x="650" y="594"/>
                  </a:lnTo>
                  <a:lnTo>
                    <a:pt x="652" y="594"/>
                  </a:lnTo>
                  <a:lnTo>
                    <a:pt x="650" y="594"/>
                  </a:lnTo>
                  <a:lnTo>
                    <a:pt x="647" y="592"/>
                  </a:lnTo>
                  <a:lnTo>
                    <a:pt x="650" y="592"/>
                  </a:lnTo>
                  <a:lnTo>
                    <a:pt x="650" y="590"/>
                  </a:lnTo>
                  <a:lnTo>
                    <a:pt x="647" y="590"/>
                  </a:lnTo>
                  <a:lnTo>
                    <a:pt x="650" y="590"/>
                  </a:lnTo>
                  <a:lnTo>
                    <a:pt x="650" y="587"/>
                  </a:lnTo>
                  <a:lnTo>
                    <a:pt x="652" y="587"/>
                  </a:lnTo>
                  <a:lnTo>
                    <a:pt x="650" y="587"/>
                  </a:lnTo>
                  <a:lnTo>
                    <a:pt x="652" y="587"/>
                  </a:lnTo>
                  <a:lnTo>
                    <a:pt x="655" y="587"/>
                  </a:lnTo>
                  <a:lnTo>
                    <a:pt x="652" y="587"/>
                  </a:lnTo>
                  <a:lnTo>
                    <a:pt x="652" y="590"/>
                  </a:lnTo>
                  <a:lnTo>
                    <a:pt x="655" y="590"/>
                  </a:lnTo>
                  <a:lnTo>
                    <a:pt x="657" y="592"/>
                  </a:lnTo>
                  <a:lnTo>
                    <a:pt x="659" y="592"/>
                  </a:lnTo>
                  <a:lnTo>
                    <a:pt x="662" y="592"/>
                  </a:lnTo>
                  <a:lnTo>
                    <a:pt x="662" y="590"/>
                  </a:lnTo>
                  <a:lnTo>
                    <a:pt x="659" y="590"/>
                  </a:lnTo>
                  <a:lnTo>
                    <a:pt x="659" y="587"/>
                  </a:lnTo>
                  <a:lnTo>
                    <a:pt x="662" y="587"/>
                  </a:lnTo>
                  <a:lnTo>
                    <a:pt x="664" y="587"/>
                  </a:lnTo>
                  <a:lnTo>
                    <a:pt x="662" y="587"/>
                  </a:lnTo>
                  <a:lnTo>
                    <a:pt x="659" y="585"/>
                  </a:lnTo>
                  <a:lnTo>
                    <a:pt x="662" y="585"/>
                  </a:lnTo>
                  <a:lnTo>
                    <a:pt x="659" y="585"/>
                  </a:lnTo>
                  <a:lnTo>
                    <a:pt x="659" y="582"/>
                  </a:lnTo>
                  <a:lnTo>
                    <a:pt x="662" y="582"/>
                  </a:lnTo>
                  <a:lnTo>
                    <a:pt x="659" y="582"/>
                  </a:lnTo>
                  <a:lnTo>
                    <a:pt x="657" y="582"/>
                  </a:lnTo>
                  <a:lnTo>
                    <a:pt x="659" y="580"/>
                  </a:lnTo>
                  <a:lnTo>
                    <a:pt x="662" y="580"/>
                  </a:lnTo>
                  <a:lnTo>
                    <a:pt x="659" y="580"/>
                  </a:lnTo>
                  <a:lnTo>
                    <a:pt x="659" y="578"/>
                  </a:lnTo>
                  <a:lnTo>
                    <a:pt x="662" y="578"/>
                  </a:lnTo>
                  <a:lnTo>
                    <a:pt x="662" y="580"/>
                  </a:lnTo>
                  <a:lnTo>
                    <a:pt x="664" y="580"/>
                  </a:lnTo>
                  <a:lnTo>
                    <a:pt x="662" y="580"/>
                  </a:lnTo>
                  <a:lnTo>
                    <a:pt x="664" y="580"/>
                  </a:lnTo>
                  <a:lnTo>
                    <a:pt x="662" y="580"/>
                  </a:lnTo>
                  <a:lnTo>
                    <a:pt x="664" y="580"/>
                  </a:lnTo>
                  <a:lnTo>
                    <a:pt x="662" y="580"/>
                  </a:lnTo>
                  <a:lnTo>
                    <a:pt x="662" y="582"/>
                  </a:lnTo>
                  <a:lnTo>
                    <a:pt x="664" y="582"/>
                  </a:lnTo>
                  <a:lnTo>
                    <a:pt x="664" y="580"/>
                  </a:lnTo>
                  <a:lnTo>
                    <a:pt x="666" y="580"/>
                  </a:lnTo>
                  <a:lnTo>
                    <a:pt x="666" y="582"/>
                  </a:lnTo>
                  <a:lnTo>
                    <a:pt x="669" y="582"/>
                  </a:lnTo>
                  <a:lnTo>
                    <a:pt x="669" y="585"/>
                  </a:lnTo>
                  <a:lnTo>
                    <a:pt x="666" y="585"/>
                  </a:lnTo>
                  <a:lnTo>
                    <a:pt x="669" y="585"/>
                  </a:lnTo>
                  <a:lnTo>
                    <a:pt x="671" y="585"/>
                  </a:lnTo>
                  <a:lnTo>
                    <a:pt x="671" y="582"/>
                  </a:lnTo>
                  <a:lnTo>
                    <a:pt x="671" y="580"/>
                  </a:lnTo>
                  <a:lnTo>
                    <a:pt x="674" y="580"/>
                  </a:lnTo>
                  <a:lnTo>
                    <a:pt x="674" y="582"/>
                  </a:lnTo>
                  <a:lnTo>
                    <a:pt x="676" y="582"/>
                  </a:lnTo>
                  <a:lnTo>
                    <a:pt x="674" y="585"/>
                  </a:lnTo>
                  <a:lnTo>
                    <a:pt x="671" y="585"/>
                  </a:lnTo>
                  <a:lnTo>
                    <a:pt x="671" y="587"/>
                  </a:lnTo>
                  <a:lnTo>
                    <a:pt x="669" y="587"/>
                  </a:lnTo>
                  <a:lnTo>
                    <a:pt x="671" y="587"/>
                  </a:lnTo>
                  <a:lnTo>
                    <a:pt x="674" y="587"/>
                  </a:lnTo>
                  <a:lnTo>
                    <a:pt x="676" y="585"/>
                  </a:lnTo>
                  <a:lnTo>
                    <a:pt x="678" y="585"/>
                  </a:lnTo>
                  <a:lnTo>
                    <a:pt x="681" y="585"/>
                  </a:lnTo>
                  <a:lnTo>
                    <a:pt x="681" y="587"/>
                  </a:lnTo>
                  <a:lnTo>
                    <a:pt x="681" y="590"/>
                  </a:lnTo>
                  <a:lnTo>
                    <a:pt x="681" y="592"/>
                  </a:lnTo>
                  <a:lnTo>
                    <a:pt x="683" y="590"/>
                  </a:lnTo>
                  <a:lnTo>
                    <a:pt x="683" y="592"/>
                  </a:lnTo>
                  <a:lnTo>
                    <a:pt x="683" y="590"/>
                  </a:lnTo>
                  <a:lnTo>
                    <a:pt x="683" y="592"/>
                  </a:lnTo>
                  <a:lnTo>
                    <a:pt x="685" y="590"/>
                  </a:lnTo>
                  <a:lnTo>
                    <a:pt x="683" y="590"/>
                  </a:lnTo>
                  <a:lnTo>
                    <a:pt x="685" y="590"/>
                  </a:lnTo>
                  <a:lnTo>
                    <a:pt x="685" y="587"/>
                  </a:lnTo>
                  <a:lnTo>
                    <a:pt x="683" y="587"/>
                  </a:lnTo>
                  <a:lnTo>
                    <a:pt x="685" y="587"/>
                  </a:lnTo>
                  <a:lnTo>
                    <a:pt x="685" y="585"/>
                  </a:lnTo>
                  <a:lnTo>
                    <a:pt x="685" y="582"/>
                  </a:lnTo>
                  <a:lnTo>
                    <a:pt x="683" y="582"/>
                  </a:lnTo>
                  <a:lnTo>
                    <a:pt x="683" y="580"/>
                  </a:lnTo>
                  <a:lnTo>
                    <a:pt x="685" y="580"/>
                  </a:lnTo>
                  <a:lnTo>
                    <a:pt x="685" y="582"/>
                  </a:lnTo>
                  <a:lnTo>
                    <a:pt x="688" y="582"/>
                  </a:lnTo>
                  <a:lnTo>
                    <a:pt x="690" y="582"/>
                  </a:lnTo>
                  <a:lnTo>
                    <a:pt x="690" y="585"/>
                  </a:lnTo>
                  <a:lnTo>
                    <a:pt x="693" y="585"/>
                  </a:lnTo>
                  <a:lnTo>
                    <a:pt x="690" y="585"/>
                  </a:lnTo>
                  <a:lnTo>
                    <a:pt x="688" y="587"/>
                  </a:lnTo>
                  <a:lnTo>
                    <a:pt x="688" y="590"/>
                  </a:lnTo>
                  <a:lnTo>
                    <a:pt x="690" y="587"/>
                  </a:lnTo>
                  <a:lnTo>
                    <a:pt x="693" y="587"/>
                  </a:lnTo>
                  <a:lnTo>
                    <a:pt x="693" y="585"/>
                  </a:lnTo>
                  <a:lnTo>
                    <a:pt x="695" y="585"/>
                  </a:lnTo>
                  <a:lnTo>
                    <a:pt x="697" y="585"/>
                  </a:lnTo>
                  <a:lnTo>
                    <a:pt x="695" y="587"/>
                  </a:lnTo>
                  <a:lnTo>
                    <a:pt x="697" y="587"/>
                  </a:lnTo>
                  <a:lnTo>
                    <a:pt x="700" y="587"/>
                  </a:lnTo>
                  <a:lnTo>
                    <a:pt x="700" y="585"/>
                  </a:lnTo>
                  <a:lnTo>
                    <a:pt x="702" y="585"/>
                  </a:lnTo>
                  <a:lnTo>
                    <a:pt x="702" y="587"/>
                  </a:lnTo>
                  <a:lnTo>
                    <a:pt x="700" y="587"/>
                  </a:lnTo>
                  <a:lnTo>
                    <a:pt x="702" y="587"/>
                  </a:lnTo>
                  <a:lnTo>
                    <a:pt x="704" y="587"/>
                  </a:lnTo>
                  <a:lnTo>
                    <a:pt x="702" y="587"/>
                  </a:lnTo>
                  <a:lnTo>
                    <a:pt x="702" y="590"/>
                  </a:lnTo>
                  <a:lnTo>
                    <a:pt x="700" y="590"/>
                  </a:lnTo>
                  <a:lnTo>
                    <a:pt x="702" y="590"/>
                  </a:lnTo>
                  <a:lnTo>
                    <a:pt x="700" y="590"/>
                  </a:lnTo>
                  <a:lnTo>
                    <a:pt x="700" y="592"/>
                  </a:lnTo>
                  <a:lnTo>
                    <a:pt x="697" y="592"/>
                  </a:lnTo>
                  <a:lnTo>
                    <a:pt x="700" y="592"/>
                  </a:lnTo>
                  <a:lnTo>
                    <a:pt x="697" y="592"/>
                  </a:lnTo>
                  <a:lnTo>
                    <a:pt x="695" y="592"/>
                  </a:lnTo>
                  <a:lnTo>
                    <a:pt x="695" y="594"/>
                  </a:lnTo>
                  <a:lnTo>
                    <a:pt x="693" y="594"/>
                  </a:lnTo>
                  <a:lnTo>
                    <a:pt x="695" y="594"/>
                  </a:lnTo>
                  <a:lnTo>
                    <a:pt x="693" y="594"/>
                  </a:lnTo>
                  <a:lnTo>
                    <a:pt x="695" y="594"/>
                  </a:lnTo>
                  <a:lnTo>
                    <a:pt x="693" y="594"/>
                  </a:lnTo>
                  <a:lnTo>
                    <a:pt x="695" y="594"/>
                  </a:lnTo>
                  <a:lnTo>
                    <a:pt x="697" y="594"/>
                  </a:lnTo>
                  <a:lnTo>
                    <a:pt x="695" y="594"/>
                  </a:lnTo>
                  <a:lnTo>
                    <a:pt x="697" y="594"/>
                  </a:lnTo>
                  <a:lnTo>
                    <a:pt x="695" y="597"/>
                  </a:lnTo>
                  <a:lnTo>
                    <a:pt x="695" y="594"/>
                  </a:lnTo>
                  <a:lnTo>
                    <a:pt x="693" y="597"/>
                  </a:lnTo>
                  <a:lnTo>
                    <a:pt x="690" y="597"/>
                  </a:lnTo>
                  <a:lnTo>
                    <a:pt x="690" y="599"/>
                  </a:lnTo>
                  <a:lnTo>
                    <a:pt x="688" y="599"/>
                  </a:lnTo>
                  <a:lnTo>
                    <a:pt x="685" y="599"/>
                  </a:lnTo>
                  <a:lnTo>
                    <a:pt x="688" y="599"/>
                  </a:lnTo>
                  <a:lnTo>
                    <a:pt x="685" y="601"/>
                  </a:lnTo>
                  <a:lnTo>
                    <a:pt x="685" y="604"/>
                  </a:lnTo>
                  <a:lnTo>
                    <a:pt x="683" y="604"/>
                  </a:lnTo>
                  <a:lnTo>
                    <a:pt x="681" y="604"/>
                  </a:lnTo>
                  <a:lnTo>
                    <a:pt x="681" y="606"/>
                  </a:lnTo>
                  <a:lnTo>
                    <a:pt x="678" y="606"/>
                  </a:lnTo>
                  <a:lnTo>
                    <a:pt x="676" y="609"/>
                  </a:lnTo>
                  <a:lnTo>
                    <a:pt x="678" y="609"/>
                  </a:lnTo>
                  <a:lnTo>
                    <a:pt x="681" y="609"/>
                  </a:lnTo>
                  <a:lnTo>
                    <a:pt x="678" y="611"/>
                  </a:lnTo>
                  <a:lnTo>
                    <a:pt x="676" y="611"/>
                  </a:lnTo>
                  <a:lnTo>
                    <a:pt x="676" y="609"/>
                  </a:lnTo>
                  <a:lnTo>
                    <a:pt x="676" y="611"/>
                  </a:lnTo>
                  <a:lnTo>
                    <a:pt x="678" y="611"/>
                  </a:lnTo>
                  <a:lnTo>
                    <a:pt x="681" y="611"/>
                  </a:lnTo>
                  <a:lnTo>
                    <a:pt x="683" y="611"/>
                  </a:lnTo>
                  <a:lnTo>
                    <a:pt x="681" y="611"/>
                  </a:lnTo>
                  <a:lnTo>
                    <a:pt x="681" y="613"/>
                  </a:lnTo>
                  <a:lnTo>
                    <a:pt x="678" y="613"/>
                  </a:lnTo>
                  <a:lnTo>
                    <a:pt x="681" y="616"/>
                  </a:lnTo>
                  <a:lnTo>
                    <a:pt x="681" y="613"/>
                  </a:lnTo>
                  <a:lnTo>
                    <a:pt x="681" y="616"/>
                  </a:lnTo>
                  <a:lnTo>
                    <a:pt x="678" y="616"/>
                  </a:lnTo>
                  <a:lnTo>
                    <a:pt x="681" y="616"/>
                  </a:lnTo>
                  <a:lnTo>
                    <a:pt x="678" y="616"/>
                  </a:lnTo>
                  <a:lnTo>
                    <a:pt x="676" y="616"/>
                  </a:lnTo>
                  <a:lnTo>
                    <a:pt x="676" y="618"/>
                  </a:lnTo>
                  <a:lnTo>
                    <a:pt x="674" y="618"/>
                  </a:lnTo>
                  <a:lnTo>
                    <a:pt x="676" y="618"/>
                  </a:lnTo>
                  <a:lnTo>
                    <a:pt x="678" y="618"/>
                  </a:lnTo>
                  <a:lnTo>
                    <a:pt x="676" y="618"/>
                  </a:lnTo>
                  <a:lnTo>
                    <a:pt x="678" y="618"/>
                  </a:lnTo>
                  <a:lnTo>
                    <a:pt x="676" y="618"/>
                  </a:lnTo>
                  <a:lnTo>
                    <a:pt x="676" y="620"/>
                  </a:lnTo>
                  <a:lnTo>
                    <a:pt x="678" y="620"/>
                  </a:lnTo>
                  <a:lnTo>
                    <a:pt x="678" y="623"/>
                  </a:lnTo>
                  <a:lnTo>
                    <a:pt x="676" y="623"/>
                  </a:lnTo>
                  <a:lnTo>
                    <a:pt x="678" y="623"/>
                  </a:lnTo>
                  <a:lnTo>
                    <a:pt x="676" y="623"/>
                  </a:lnTo>
                  <a:lnTo>
                    <a:pt x="674" y="623"/>
                  </a:lnTo>
                  <a:lnTo>
                    <a:pt x="674" y="625"/>
                  </a:lnTo>
                  <a:lnTo>
                    <a:pt x="671" y="625"/>
                  </a:lnTo>
                  <a:lnTo>
                    <a:pt x="671" y="628"/>
                  </a:lnTo>
                  <a:lnTo>
                    <a:pt x="671" y="630"/>
                  </a:lnTo>
                  <a:lnTo>
                    <a:pt x="671" y="632"/>
                  </a:lnTo>
                  <a:lnTo>
                    <a:pt x="671" y="635"/>
                  </a:lnTo>
                  <a:lnTo>
                    <a:pt x="674" y="635"/>
                  </a:lnTo>
                  <a:lnTo>
                    <a:pt x="671" y="635"/>
                  </a:lnTo>
                  <a:lnTo>
                    <a:pt x="674" y="635"/>
                  </a:lnTo>
                  <a:lnTo>
                    <a:pt x="674" y="637"/>
                  </a:lnTo>
                  <a:lnTo>
                    <a:pt x="674" y="635"/>
                  </a:lnTo>
                  <a:lnTo>
                    <a:pt x="674" y="632"/>
                  </a:lnTo>
                  <a:lnTo>
                    <a:pt x="674" y="630"/>
                  </a:lnTo>
                  <a:lnTo>
                    <a:pt x="676" y="630"/>
                  </a:lnTo>
                  <a:lnTo>
                    <a:pt x="676" y="628"/>
                  </a:lnTo>
                  <a:lnTo>
                    <a:pt x="676" y="630"/>
                  </a:lnTo>
                  <a:lnTo>
                    <a:pt x="678" y="630"/>
                  </a:lnTo>
                  <a:lnTo>
                    <a:pt x="676" y="630"/>
                  </a:lnTo>
                  <a:lnTo>
                    <a:pt x="676" y="632"/>
                  </a:lnTo>
                  <a:lnTo>
                    <a:pt x="678" y="630"/>
                  </a:lnTo>
                  <a:lnTo>
                    <a:pt x="678" y="632"/>
                  </a:lnTo>
                  <a:lnTo>
                    <a:pt x="678" y="630"/>
                  </a:lnTo>
                  <a:lnTo>
                    <a:pt x="678" y="632"/>
                  </a:lnTo>
                  <a:lnTo>
                    <a:pt x="676" y="632"/>
                  </a:lnTo>
                  <a:lnTo>
                    <a:pt x="676" y="635"/>
                  </a:lnTo>
                  <a:lnTo>
                    <a:pt x="678" y="635"/>
                  </a:lnTo>
                  <a:lnTo>
                    <a:pt x="681" y="635"/>
                  </a:lnTo>
                  <a:lnTo>
                    <a:pt x="681" y="632"/>
                  </a:lnTo>
                  <a:lnTo>
                    <a:pt x="681" y="630"/>
                  </a:lnTo>
                  <a:lnTo>
                    <a:pt x="683" y="630"/>
                  </a:lnTo>
                  <a:lnTo>
                    <a:pt x="683" y="628"/>
                  </a:lnTo>
                  <a:lnTo>
                    <a:pt x="685" y="628"/>
                  </a:lnTo>
                  <a:lnTo>
                    <a:pt x="685" y="625"/>
                  </a:lnTo>
                  <a:lnTo>
                    <a:pt x="688" y="625"/>
                  </a:lnTo>
                  <a:lnTo>
                    <a:pt x="688" y="623"/>
                  </a:lnTo>
                  <a:lnTo>
                    <a:pt x="690" y="623"/>
                  </a:lnTo>
                  <a:lnTo>
                    <a:pt x="690" y="620"/>
                  </a:lnTo>
                  <a:lnTo>
                    <a:pt x="688" y="620"/>
                  </a:lnTo>
                  <a:lnTo>
                    <a:pt x="685" y="620"/>
                  </a:lnTo>
                  <a:lnTo>
                    <a:pt x="688" y="620"/>
                  </a:lnTo>
                  <a:lnTo>
                    <a:pt x="685" y="620"/>
                  </a:lnTo>
                  <a:lnTo>
                    <a:pt x="685" y="618"/>
                  </a:lnTo>
                  <a:lnTo>
                    <a:pt x="685" y="620"/>
                  </a:lnTo>
                  <a:lnTo>
                    <a:pt x="688" y="618"/>
                  </a:lnTo>
                  <a:lnTo>
                    <a:pt x="690" y="616"/>
                  </a:lnTo>
                  <a:lnTo>
                    <a:pt x="693" y="616"/>
                  </a:lnTo>
                  <a:lnTo>
                    <a:pt x="690" y="616"/>
                  </a:lnTo>
                  <a:lnTo>
                    <a:pt x="693" y="616"/>
                  </a:lnTo>
                  <a:lnTo>
                    <a:pt x="693" y="613"/>
                  </a:lnTo>
                  <a:lnTo>
                    <a:pt x="695" y="611"/>
                  </a:lnTo>
                  <a:lnTo>
                    <a:pt x="697" y="609"/>
                  </a:lnTo>
                  <a:lnTo>
                    <a:pt x="700" y="609"/>
                  </a:lnTo>
                  <a:lnTo>
                    <a:pt x="700" y="606"/>
                  </a:lnTo>
                  <a:lnTo>
                    <a:pt x="702" y="606"/>
                  </a:lnTo>
                  <a:lnTo>
                    <a:pt x="702" y="604"/>
                  </a:lnTo>
                  <a:lnTo>
                    <a:pt x="704" y="604"/>
                  </a:lnTo>
                  <a:lnTo>
                    <a:pt x="707" y="604"/>
                  </a:lnTo>
                  <a:lnTo>
                    <a:pt x="704" y="601"/>
                  </a:lnTo>
                  <a:lnTo>
                    <a:pt x="707" y="601"/>
                  </a:lnTo>
                  <a:lnTo>
                    <a:pt x="707" y="599"/>
                  </a:lnTo>
                  <a:lnTo>
                    <a:pt x="707" y="597"/>
                  </a:lnTo>
                  <a:lnTo>
                    <a:pt x="709" y="597"/>
                  </a:lnTo>
                  <a:lnTo>
                    <a:pt x="711" y="594"/>
                  </a:lnTo>
                  <a:lnTo>
                    <a:pt x="711" y="592"/>
                  </a:lnTo>
                  <a:lnTo>
                    <a:pt x="714" y="592"/>
                  </a:lnTo>
                  <a:lnTo>
                    <a:pt x="714" y="590"/>
                  </a:lnTo>
                  <a:lnTo>
                    <a:pt x="716" y="590"/>
                  </a:lnTo>
                  <a:lnTo>
                    <a:pt x="719" y="587"/>
                  </a:lnTo>
                  <a:lnTo>
                    <a:pt x="721" y="587"/>
                  </a:lnTo>
                  <a:lnTo>
                    <a:pt x="721" y="585"/>
                  </a:lnTo>
                  <a:lnTo>
                    <a:pt x="723" y="585"/>
                  </a:lnTo>
                  <a:lnTo>
                    <a:pt x="723" y="582"/>
                  </a:lnTo>
                  <a:lnTo>
                    <a:pt x="726" y="582"/>
                  </a:lnTo>
                  <a:lnTo>
                    <a:pt x="728" y="582"/>
                  </a:lnTo>
                  <a:lnTo>
                    <a:pt x="730" y="582"/>
                  </a:lnTo>
                  <a:lnTo>
                    <a:pt x="728" y="582"/>
                  </a:lnTo>
                  <a:lnTo>
                    <a:pt x="730" y="582"/>
                  </a:lnTo>
                  <a:lnTo>
                    <a:pt x="730" y="585"/>
                  </a:lnTo>
                  <a:lnTo>
                    <a:pt x="730" y="587"/>
                  </a:lnTo>
                  <a:lnTo>
                    <a:pt x="728" y="587"/>
                  </a:lnTo>
                  <a:lnTo>
                    <a:pt x="728" y="590"/>
                  </a:lnTo>
                  <a:lnTo>
                    <a:pt x="728" y="587"/>
                  </a:lnTo>
                  <a:lnTo>
                    <a:pt x="728" y="590"/>
                  </a:lnTo>
                  <a:lnTo>
                    <a:pt x="730" y="590"/>
                  </a:lnTo>
                  <a:lnTo>
                    <a:pt x="730" y="592"/>
                  </a:lnTo>
                  <a:lnTo>
                    <a:pt x="728" y="592"/>
                  </a:lnTo>
                  <a:lnTo>
                    <a:pt x="728" y="594"/>
                  </a:lnTo>
                  <a:lnTo>
                    <a:pt x="728" y="597"/>
                  </a:lnTo>
                  <a:lnTo>
                    <a:pt x="726" y="597"/>
                  </a:lnTo>
                  <a:lnTo>
                    <a:pt x="723" y="597"/>
                  </a:lnTo>
                  <a:lnTo>
                    <a:pt x="723" y="599"/>
                  </a:lnTo>
                  <a:lnTo>
                    <a:pt x="721" y="599"/>
                  </a:lnTo>
                  <a:lnTo>
                    <a:pt x="719" y="599"/>
                  </a:lnTo>
                  <a:lnTo>
                    <a:pt x="716" y="601"/>
                  </a:lnTo>
                  <a:lnTo>
                    <a:pt x="719" y="599"/>
                  </a:lnTo>
                  <a:lnTo>
                    <a:pt x="719" y="601"/>
                  </a:lnTo>
                  <a:lnTo>
                    <a:pt x="719" y="599"/>
                  </a:lnTo>
                  <a:lnTo>
                    <a:pt x="721" y="599"/>
                  </a:lnTo>
                  <a:lnTo>
                    <a:pt x="723" y="599"/>
                  </a:lnTo>
                  <a:lnTo>
                    <a:pt x="726" y="599"/>
                  </a:lnTo>
                  <a:lnTo>
                    <a:pt x="728" y="599"/>
                  </a:lnTo>
                  <a:lnTo>
                    <a:pt x="726" y="599"/>
                  </a:lnTo>
                  <a:lnTo>
                    <a:pt x="726" y="601"/>
                  </a:lnTo>
                  <a:lnTo>
                    <a:pt x="728" y="601"/>
                  </a:lnTo>
                  <a:lnTo>
                    <a:pt x="726" y="601"/>
                  </a:lnTo>
                  <a:lnTo>
                    <a:pt x="728" y="601"/>
                  </a:lnTo>
                  <a:lnTo>
                    <a:pt x="726" y="604"/>
                  </a:lnTo>
                  <a:lnTo>
                    <a:pt x="728" y="604"/>
                  </a:lnTo>
                  <a:lnTo>
                    <a:pt x="726" y="604"/>
                  </a:lnTo>
                  <a:lnTo>
                    <a:pt x="728" y="604"/>
                  </a:lnTo>
                  <a:lnTo>
                    <a:pt x="726" y="604"/>
                  </a:lnTo>
                  <a:lnTo>
                    <a:pt x="726" y="606"/>
                  </a:lnTo>
                  <a:lnTo>
                    <a:pt x="726" y="609"/>
                  </a:lnTo>
                  <a:lnTo>
                    <a:pt x="723" y="609"/>
                  </a:lnTo>
                  <a:lnTo>
                    <a:pt x="726" y="609"/>
                  </a:lnTo>
                  <a:lnTo>
                    <a:pt x="723" y="609"/>
                  </a:lnTo>
                  <a:lnTo>
                    <a:pt x="726" y="609"/>
                  </a:lnTo>
                  <a:lnTo>
                    <a:pt x="723" y="611"/>
                  </a:lnTo>
                  <a:lnTo>
                    <a:pt x="726" y="611"/>
                  </a:lnTo>
                  <a:lnTo>
                    <a:pt x="723" y="613"/>
                  </a:lnTo>
                  <a:lnTo>
                    <a:pt x="723" y="616"/>
                  </a:lnTo>
                  <a:lnTo>
                    <a:pt x="723" y="618"/>
                  </a:lnTo>
                  <a:lnTo>
                    <a:pt x="721" y="618"/>
                  </a:lnTo>
                  <a:lnTo>
                    <a:pt x="723" y="618"/>
                  </a:lnTo>
                  <a:lnTo>
                    <a:pt x="721" y="618"/>
                  </a:lnTo>
                  <a:lnTo>
                    <a:pt x="723" y="618"/>
                  </a:lnTo>
                  <a:lnTo>
                    <a:pt x="723" y="616"/>
                  </a:lnTo>
                  <a:lnTo>
                    <a:pt x="726" y="616"/>
                  </a:lnTo>
                  <a:lnTo>
                    <a:pt x="728" y="616"/>
                  </a:lnTo>
                  <a:lnTo>
                    <a:pt x="726" y="616"/>
                  </a:lnTo>
                  <a:lnTo>
                    <a:pt x="728" y="616"/>
                  </a:lnTo>
                  <a:lnTo>
                    <a:pt x="726" y="616"/>
                  </a:lnTo>
                  <a:lnTo>
                    <a:pt x="726" y="613"/>
                  </a:lnTo>
                  <a:lnTo>
                    <a:pt x="728" y="613"/>
                  </a:lnTo>
                  <a:lnTo>
                    <a:pt x="728" y="616"/>
                  </a:lnTo>
                  <a:lnTo>
                    <a:pt x="730" y="616"/>
                  </a:lnTo>
                  <a:lnTo>
                    <a:pt x="730" y="613"/>
                  </a:lnTo>
                  <a:lnTo>
                    <a:pt x="730" y="616"/>
                  </a:lnTo>
                  <a:lnTo>
                    <a:pt x="730" y="613"/>
                  </a:lnTo>
                  <a:lnTo>
                    <a:pt x="730" y="611"/>
                  </a:lnTo>
                  <a:lnTo>
                    <a:pt x="733" y="611"/>
                  </a:lnTo>
                  <a:lnTo>
                    <a:pt x="730" y="611"/>
                  </a:lnTo>
                  <a:lnTo>
                    <a:pt x="733" y="611"/>
                  </a:lnTo>
                  <a:lnTo>
                    <a:pt x="735" y="611"/>
                  </a:lnTo>
                  <a:lnTo>
                    <a:pt x="738" y="611"/>
                  </a:lnTo>
                  <a:lnTo>
                    <a:pt x="738" y="613"/>
                  </a:lnTo>
                  <a:lnTo>
                    <a:pt x="738" y="611"/>
                  </a:lnTo>
                  <a:lnTo>
                    <a:pt x="740" y="611"/>
                  </a:lnTo>
                  <a:lnTo>
                    <a:pt x="742" y="611"/>
                  </a:lnTo>
                  <a:lnTo>
                    <a:pt x="740" y="611"/>
                  </a:lnTo>
                  <a:lnTo>
                    <a:pt x="742" y="611"/>
                  </a:lnTo>
                  <a:lnTo>
                    <a:pt x="740" y="611"/>
                  </a:lnTo>
                  <a:lnTo>
                    <a:pt x="740" y="609"/>
                  </a:lnTo>
                  <a:lnTo>
                    <a:pt x="738" y="609"/>
                  </a:lnTo>
                  <a:lnTo>
                    <a:pt x="738" y="606"/>
                  </a:lnTo>
                  <a:lnTo>
                    <a:pt x="740" y="606"/>
                  </a:lnTo>
                  <a:lnTo>
                    <a:pt x="738" y="606"/>
                  </a:lnTo>
                  <a:lnTo>
                    <a:pt x="738" y="604"/>
                  </a:lnTo>
                  <a:lnTo>
                    <a:pt x="740" y="604"/>
                  </a:lnTo>
                  <a:lnTo>
                    <a:pt x="740" y="601"/>
                  </a:lnTo>
                  <a:lnTo>
                    <a:pt x="742" y="601"/>
                  </a:lnTo>
                  <a:lnTo>
                    <a:pt x="742" y="604"/>
                  </a:lnTo>
                  <a:lnTo>
                    <a:pt x="745" y="604"/>
                  </a:lnTo>
                  <a:lnTo>
                    <a:pt x="747" y="604"/>
                  </a:lnTo>
                  <a:lnTo>
                    <a:pt x="749" y="604"/>
                  </a:lnTo>
                  <a:lnTo>
                    <a:pt x="747" y="604"/>
                  </a:lnTo>
                  <a:lnTo>
                    <a:pt x="745" y="601"/>
                  </a:lnTo>
                  <a:lnTo>
                    <a:pt x="742" y="601"/>
                  </a:lnTo>
                  <a:lnTo>
                    <a:pt x="742" y="599"/>
                  </a:lnTo>
                  <a:lnTo>
                    <a:pt x="745" y="599"/>
                  </a:lnTo>
                  <a:lnTo>
                    <a:pt x="742" y="599"/>
                  </a:lnTo>
                  <a:lnTo>
                    <a:pt x="745" y="599"/>
                  </a:lnTo>
                  <a:lnTo>
                    <a:pt x="747" y="599"/>
                  </a:lnTo>
                  <a:lnTo>
                    <a:pt x="745" y="599"/>
                  </a:lnTo>
                  <a:lnTo>
                    <a:pt x="742" y="597"/>
                  </a:lnTo>
                  <a:lnTo>
                    <a:pt x="742" y="594"/>
                  </a:lnTo>
                  <a:lnTo>
                    <a:pt x="745" y="594"/>
                  </a:lnTo>
                  <a:lnTo>
                    <a:pt x="747" y="594"/>
                  </a:lnTo>
                  <a:lnTo>
                    <a:pt x="749" y="594"/>
                  </a:lnTo>
                  <a:lnTo>
                    <a:pt x="749" y="597"/>
                  </a:lnTo>
                  <a:lnTo>
                    <a:pt x="749" y="594"/>
                  </a:lnTo>
                  <a:lnTo>
                    <a:pt x="752" y="594"/>
                  </a:lnTo>
                  <a:lnTo>
                    <a:pt x="749" y="594"/>
                  </a:lnTo>
                  <a:lnTo>
                    <a:pt x="747" y="594"/>
                  </a:lnTo>
                  <a:lnTo>
                    <a:pt x="749" y="594"/>
                  </a:lnTo>
                  <a:lnTo>
                    <a:pt x="749" y="592"/>
                  </a:lnTo>
                  <a:lnTo>
                    <a:pt x="749" y="590"/>
                  </a:lnTo>
                  <a:lnTo>
                    <a:pt x="752" y="590"/>
                  </a:lnTo>
                  <a:lnTo>
                    <a:pt x="754" y="590"/>
                  </a:lnTo>
                  <a:lnTo>
                    <a:pt x="757" y="590"/>
                  </a:lnTo>
                  <a:lnTo>
                    <a:pt x="757" y="592"/>
                  </a:lnTo>
                  <a:lnTo>
                    <a:pt x="759" y="592"/>
                  </a:lnTo>
                  <a:lnTo>
                    <a:pt x="761" y="592"/>
                  </a:lnTo>
                  <a:lnTo>
                    <a:pt x="759" y="592"/>
                  </a:lnTo>
                  <a:lnTo>
                    <a:pt x="759" y="590"/>
                  </a:lnTo>
                  <a:lnTo>
                    <a:pt x="757" y="590"/>
                  </a:lnTo>
                  <a:lnTo>
                    <a:pt x="754" y="590"/>
                  </a:lnTo>
                  <a:lnTo>
                    <a:pt x="757" y="590"/>
                  </a:lnTo>
                  <a:lnTo>
                    <a:pt x="757" y="587"/>
                  </a:lnTo>
                  <a:lnTo>
                    <a:pt x="754" y="587"/>
                  </a:lnTo>
                  <a:lnTo>
                    <a:pt x="752" y="587"/>
                  </a:lnTo>
                  <a:lnTo>
                    <a:pt x="754" y="587"/>
                  </a:lnTo>
                  <a:lnTo>
                    <a:pt x="752" y="587"/>
                  </a:lnTo>
                  <a:lnTo>
                    <a:pt x="752" y="585"/>
                  </a:lnTo>
                  <a:lnTo>
                    <a:pt x="754" y="585"/>
                  </a:lnTo>
                  <a:lnTo>
                    <a:pt x="752" y="585"/>
                  </a:lnTo>
                  <a:lnTo>
                    <a:pt x="749" y="587"/>
                  </a:lnTo>
                  <a:lnTo>
                    <a:pt x="749" y="585"/>
                  </a:lnTo>
                  <a:lnTo>
                    <a:pt x="747" y="585"/>
                  </a:lnTo>
                  <a:lnTo>
                    <a:pt x="745" y="585"/>
                  </a:lnTo>
                  <a:lnTo>
                    <a:pt x="742" y="585"/>
                  </a:lnTo>
                  <a:lnTo>
                    <a:pt x="742" y="582"/>
                  </a:lnTo>
                  <a:lnTo>
                    <a:pt x="745" y="582"/>
                  </a:lnTo>
                  <a:lnTo>
                    <a:pt x="745" y="580"/>
                  </a:lnTo>
                  <a:lnTo>
                    <a:pt x="747" y="580"/>
                  </a:lnTo>
                  <a:lnTo>
                    <a:pt x="747" y="582"/>
                  </a:lnTo>
                  <a:lnTo>
                    <a:pt x="749" y="582"/>
                  </a:lnTo>
                  <a:lnTo>
                    <a:pt x="752" y="582"/>
                  </a:lnTo>
                  <a:lnTo>
                    <a:pt x="749" y="582"/>
                  </a:lnTo>
                  <a:lnTo>
                    <a:pt x="749" y="580"/>
                  </a:lnTo>
                  <a:lnTo>
                    <a:pt x="747" y="580"/>
                  </a:lnTo>
                  <a:lnTo>
                    <a:pt x="747" y="578"/>
                  </a:lnTo>
                  <a:lnTo>
                    <a:pt x="745" y="578"/>
                  </a:lnTo>
                  <a:lnTo>
                    <a:pt x="747" y="578"/>
                  </a:lnTo>
                  <a:lnTo>
                    <a:pt x="749" y="578"/>
                  </a:lnTo>
                  <a:lnTo>
                    <a:pt x="752" y="578"/>
                  </a:lnTo>
                  <a:lnTo>
                    <a:pt x="754" y="578"/>
                  </a:lnTo>
                  <a:lnTo>
                    <a:pt x="757" y="580"/>
                  </a:lnTo>
                  <a:lnTo>
                    <a:pt x="757" y="582"/>
                  </a:lnTo>
                  <a:lnTo>
                    <a:pt x="759" y="582"/>
                  </a:lnTo>
                  <a:lnTo>
                    <a:pt x="757" y="582"/>
                  </a:lnTo>
                  <a:lnTo>
                    <a:pt x="757" y="580"/>
                  </a:lnTo>
                  <a:lnTo>
                    <a:pt x="759" y="580"/>
                  </a:lnTo>
                  <a:lnTo>
                    <a:pt x="757" y="580"/>
                  </a:lnTo>
                  <a:lnTo>
                    <a:pt x="759" y="580"/>
                  </a:lnTo>
                  <a:lnTo>
                    <a:pt x="759" y="578"/>
                  </a:lnTo>
                  <a:lnTo>
                    <a:pt x="757" y="578"/>
                  </a:lnTo>
                  <a:lnTo>
                    <a:pt x="757" y="575"/>
                  </a:lnTo>
                  <a:lnTo>
                    <a:pt x="754" y="575"/>
                  </a:lnTo>
                  <a:lnTo>
                    <a:pt x="757" y="575"/>
                  </a:lnTo>
                  <a:lnTo>
                    <a:pt x="757" y="573"/>
                  </a:lnTo>
                  <a:lnTo>
                    <a:pt x="759" y="573"/>
                  </a:lnTo>
                  <a:lnTo>
                    <a:pt x="761" y="573"/>
                  </a:lnTo>
                  <a:lnTo>
                    <a:pt x="759" y="573"/>
                  </a:lnTo>
                  <a:lnTo>
                    <a:pt x="761" y="571"/>
                  </a:lnTo>
                  <a:lnTo>
                    <a:pt x="761" y="573"/>
                  </a:lnTo>
                  <a:lnTo>
                    <a:pt x="764" y="573"/>
                  </a:lnTo>
                  <a:lnTo>
                    <a:pt x="764" y="575"/>
                  </a:lnTo>
                  <a:lnTo>
                    <a:pt x="761" y="575"/>
                  </a:lnTo>
                  <a:lnTo>
                    <a:pt x="764" y="575"/>
                  </a:lnTo>
                  <a:lnTo>
                    <a:pt x="764" y="578"/>
                  </a:lnTo>
                  <a:lnTo>
                    <a:pt x="764" y="575"/>
                  </a:lnTo>
                  <a:lnTo>
                    <a:pt x="766" y="575"/>
                  </a:lnTo>
                  <a:lnTo>
                    <a:pt x="766" y="578"/>
                  </a:lnTo>
                  <a:lnTo>
                    <a:pt x="766" y="575"/>
                  </a:lnTo>
                  <a:lnTo>
                    <a:pt x="766" y="578"/>
                  </a:lnTo>
                  <a:lnTo>
                    <a:pt x="768" y="578"/>
                  </a:lnTo>
                  <a:lnTo>
                    <a:pt x="766" y="578"/>
                  </a:lnTo>
                  <a:lnTo>
                    <a:pt x="768" y="578"/>
                  </a:lnTo>
                  <a:lnTo>
                    <a:pt x="768" y="575"/>
                  </a:lnTo>
                  <a:lnTo>
                    <a:pt x="768" y="578"/>
                  </a:lnTo>
                  <a:lnTo>
                    <a:pt x="768" y="575"/>
                  </a:lnTo>
                  <a:lnTo>
                    <a:pt x="771" y="575"/>
                  </a:lnTo>
                  <a:lnTo>
                    <a:pt x="773" y="575"/>
                  </a:lnTo>
                  <a:lnTo>
                    <a:pt x="776" y="575"/>
                  </a:lnTo>
                  <a:lnTo>
                    <a:pt x="773" y="575"/>
                  </a:lnTo>
                  <a:lnTo>
                    <a:pt x="776" y="575"/>
                  </a:lnTo>
                  <a:lnTo>
                    <a:pt x="773" y="575"/>
                  </a:lnTo>
                  <a:lnTo>
                    <a:pt x="776" y="575"/>
                  </a:lnTo>
                  <a:lnTo>
                    <a:pt x="773" y="575"/>
                  </a:lnTo>
                  <a:lnTo>
                    <a:pt x="776" y="575"/>
                  </a:lnTo>
                  <a:lnTo>
                    <a:pt x="773" y="575"/>
                  </a:lnTo>
                  <a:lnTo>
                    <a:pt x="773" y="578"/>
                  </a:lnTo>
                  <a:lnTo>
                    <a:pt x="776" y="578"/>
                  </a:lnTo>
                  <a:lnTo>
                    <a:pt x="776" y="575"/>
                  </a:lnTo>
                  <a:lnTo>
                    <a:pt x="778" y="575"/>
                  </a:lnTo>
                  <a:lnTo>
                    <a:pt x="778" y="573"/>
                  </a:lnTo>
                  <a:lnTo>
                    <a:pt x="780" y="573"/>
                  </a:lnTo>
                  <a:lnTo>
                    <a:pt x="780" y="575"/>
                  </a:lnTo>
                  <a:lnTo>
                    <a:pt x="780" y="578"/>
                  </a:lnTo>
                  <a:lnTo>
                    <a:pt x="778" y="578"/>
                  </a:lnTo>
                  <a:lnTo>
                    <a:pt x="780" y="578"/>
                  </a:lnTo>
                  <a:lnTo>
                    <a:pt x="778" y="578"/>
                  </a:lnTo>
                  <a:lnTo>
                    <a:pt x="778" y="580"/>
                  </a:lnTo>
                  <a:lnTo>
                    <a:pt x="780" y="580"/>
                  </a:lnTo>
                  <a:lnTo>
                    <a:pt x="778" y="580"/>
                  </a:lnTo>
                  <a:lnTo>
                    <a:pt x="778" y="582"/>
                  </a:lnTo>
                  <a:lnTo>
                    <a:pt x="780" y="582"/>
                  </a:lnTo>
                  <a:lnTo>
                    <a:pt x="780" y="580"/>
                  </a:lnTo>
                  <a:lnTo>
                    <a:pt x="783" y="580"/>
                  </a:lnTo>
                  <a:lnTo>
                    <a:pt x="785" y="580"/>
                  </a:lnTo>
                  <a:lnTo>
                    <a:pt x="787" y="580"/>
                  </a:lnTo>
                  <a:lnTo>
                    <a:pt x="790" y="580"/>
                  </a:lnTo>
                  <a:lnTo>
                    <a:pt x="790" y="582"/>
                  </a:lnTo>
                  <a:lnTo>
                    <a:pt x="790" y="585"/>
                  </a:lnTo>
                  <a:lnTo>
                    <a:pt x="787" y="585"/>
                  </a:lnTo>
                  <a:lnTo>
                    <a:pt x="787" y="587"/>
                  </a:lnTo>
                  <a:lnTo>
                    <a:pt x="785" y="587"/>
                  </a:lnTo>
                  <a:lnTo>
                    <a:pt x="783" y="587"/>
                  </a:lnTo>
                  <a:lnTo>
                    <a:pt x="785" y="587"/>
                  </a:lnTo>
                  <a:lnTo>
                    <a:pt x="787" y="587"/>
                  </a:lnTo>
                  <a:lnTo>
                    <a:pt x="785" y="587"/>
                  </a:lnTo>
                  <a:lnTo>
                    <a:pt x="785" y="590"/>
                  </a:lnTo>
                  <a:lnTo>
                    <a:pt x="783" y="587"/>
                  </a:lnTo>
                  <a:lnTo>
                    <a:pt x="783" y="590"/>
                  </a:lnTo>
                  <a:lnTo>
                    <a:pt x="785" y="590"/>
                  </a:lnTo>
                  <a:lnTo>
                    <a:pt x="783" y="590"/>
                  </a:lnTo>
                  <a:lnTo>
                    <a:pt x="780" y="590"/>
                  </a:lnTo>
                  <a:lnTo>
                    <a:pt x="783" y="590"/>
                  </a:lnTo>
                  <a:lnTo>
                    <a:pt x="783" y="592"/>
                  </a:lnTo>
                  <a:lnTo>
                    <a:pt x="780" y="592"/>
                  </a:lnTo>
                  <a:lnTo>
                    <a:pt x="778" y="592"/>
                  </a:lnTo>
                  <a:lnTo>
                    <a:pt x="776" y="592"/>
                  </a:lnTo>
                  <a:lnTo>
                    <a:pt x="773" y="592"/>
                  </a:lnTo>
                  <a:lnTo>
                    <a:pt x="773" y="590"/>
                  </a:lnTo>
                  <a:lnTo>
                    <a:pt x="771" y="590"/>
                  </a:lnTo>
                  <a:lnTo>
                    <a:pt x="771" y="592"/>
                  </a:lnTo>
                  <a:lnTo>
                    <a:pt x="768" y="592"/>
                  </a:lnTo>
                  <a:lnTo>
                    <a:pt x="766" y="592"/>
                  </a:lnTo>
                  <a:lnTo>
                    <a:pt x="764" y="592"/>
                  </a:lnTo>
                  <a:lnTo>
                    <a:pt x="766" y="592"/>
                  </a:lnTo>
                  <a:lnTo>
                    <a:pt x="766" y="594"/>
                  </a:lnTo>
                  <a:lnTo>
                    <a:pt x="764" y="594"/>
                  </a:lnTo>
                  <a:lnTo>
                    <a:pt x="766" y="594"/>
                  </a:lnTo>
                  <a:lnTo>
                    <a:pt x="768" y="594"/>
                  </a:lnTo>
                  <a:lnTo>
                    <a:pt x="768" y="592"/>
                  </a:lnTo>
                  <a:lnTo>
                    <a:pt x="768" y="594"/>
                  </a:lnTo>
                  <a:lnTo>
                    <a:pt x="771" y="594"/>
                  </a:lnTo>
                  <a:lnTo>
                    <a:pt x="773" y="594"/>
                  </a:lnTo>
                  <a:lnTo>
                    <a:pt x="776" y="594"/>
                  </a:lnTo>
                  <a:lnTo>
                    <a:pt x="778" y="594"/>
                  </a:lnTo>
                  <a:lnTo>
                    <a:pt x="778" y="597"/>
                  </a:lnTo>
                  <a:lnTo>
                    <a:pt x="776" y="597"/>
                  </a:lnTo>
                  <a:lnTo>
                    <a:pt x="773" y="597"/>
                  </a:lnTo>
                  <a:lnTo>
                    <a:pt x="773" y="599"/>
                  </a:lnTo>
                  <a:lnTo>
                    <a:pt x="771" y="599"/>
                  </a:lnTo>
                  <a:lnTo>
                    <a:pt x="768" y="599"/>
                  </a:lnTo>
                  <a:lnTo>
                    <a:pt x="768" y="601"/>
                  </a:lnTo>
                  <a:lnTo>
                    <a:pt x="766" y="601"/>
                  </a:lnTo>
                  <a:lnTo>
                    <a:pt x="764" y="601"/>
                  </a:lnTo>
                  <a:lnTo>
                    <a:pt x="761" y="601"/>
                  </a:lnTo>
                  <a:lnTo>
                    <a:pt x="764" y="601"/>
                  </a:lnTo>
                  <a:lnTo>
                    <a:pt x="766" y="601"/>
                  </a:lnTo>
                  <a:lnTo>
                    <a:pt x="768" y="601"/>
                  </a:lnTo>
                  <a:lnTo>
                    <a:pt x="771" y="601"/>
                  </a:lnTo>
                  <a:lnTo>
                    <a:pt x="773" y="599"/>
                  </a:lnTo>
                  <a:lnTo>
                    <a:pt x="776" y="599"/>
                  </a:lnTo>
                  <a:lnTo>
                    <a:pt x="778" y="599"/>
                  </a:lnTo>
                  <a:lnTo>
                    <a:pt x="778" y="597"/>
                  </a:lnTo>
                  <a:lnTo>
                    <a:pt x="780" y="597"/>
                  </a:lnTo>
                  <a:lnTo>
                    <a:pt x="783" y="597"/>
                  </a:lnTo>
                  <a:lnTo>
                    <a:pt x="783" y="599"/>
                  </a:lnTo>
                  <a:lnTo>
                    <a:pt x="783" y="601"/>
                  </a:lnTo>
                  <a:lnTo>
                    <a:pt x="780" y="601"/>
                  </a:lnTo>
                  <a:lnTo>
                    <a:pt x="780" y="604"/>
                  </a:lnTo>
                  <a:lnTo>
                    <a:pt x="778" y="604"/>
                  </a:lnTo>
                  <a:lnTo>
                    <a:pt x="776" y="606"/>
                  </a:lnTo>
                  <a:lnTo>
                    <a:pt x="773" y="606"/>
                  </a:lnTo>
                  <a:lnTo>
                    <a:pt x="771" y="609"/>
                  </a:lnTo>
                  <a:lnTo>
                    <a:pt x="768" y="609"/>
                  </a:lnTo>
                  <a:lnTo>
                    <a:pt x="766" y="611"/>
                  </a:lnTo>
                  <a:lnTo>
                    <a:pt x="768" y="611"/>
                  </a:lnTo>
                  <a:lnTo>
                    <a:pt x="766" y="611"/>
                  </a:lnTo>
                  <a:lnTo>
                    <a:pt x="766" y="613"/>
                  </a:lnTo>
                  <a:lnTo>
                    <a:pt x="768" y="613"/>
                  </a:lnTo>
                  <a:lnTo>
                    <a:pt x="768" y="611"/>
                  </a:lnTo>
                  <a:lnTo>
                    <a:pt x="771" y="611"/>
                  </a:lnTo>
                  <a:lnTo>
                    <a:pt x="771" y="609"/>
                  </a:lnTo>
                  <a:lnTo>
                    <a:pt x="773" y="609"/>
                  </a:lnTo>
                  <a:lnTo>
                    <a:pt x="771" y="609"/>
                  </a:lnTo>
                  <a:lnTo>
                    <a:pt x="771" y="611"/>
                  </a:lnTo>
                  <a:lnTo>
                    <a:pt x="768" y="611"/>
                  </a:lnTo>
                  <a:lnTo>
                    <a:pt x="771" y="611"/>
                  </a:lnTo>
                  <a:lnTo>
                    <a:pt x="773" y="611"/>
                  </a:lnTo>
                  <a:lnTo>
                    <a:pt x="771" y="611"/>
                  </a:lnTo>
                  <a:lnTo>
                    <a:pt x="773" y="611"/>
                  </a:lnTo>
                  <a:lnTo>
                    <a:pt x="776" y="609"/>
                  </a:lnTo>
                  <a:lnTo>
                    <a:pt x="778" y="609"/>
                  </a:lnTo>
                  <a:lnTo>
                    <a:pt x="778" y="611"/>
                  </a:lnTo>
                  <a:lnTo>
                    <a:pt x="776" y="611"/>
                  </a:lnTo>
                  <a:lnTo>
                    <a:pt x="773" y="613"/>
                  </a:lnTo>
                  <a:lnTo>
                    <a:pt x="776" y="613"/>
                  </a:lnTo>
                  <a:lnTo>
                    <a:pt x="776" y="611"/>
                  </a:lnTo>
                  <a:lnTo>
                    <a:pt x="778" y="611"/>
                  </a:lnTo>
                  <a:lnTo>
                    <a:pt x="780" y="611"/>
                  </a:lnTo>
                  <a:lnTo>
                    <a:pt x="780" y="609"/>
                  </a:lnTo>
                  <a:lnTo>
                    <a:pt x="783" y="609"/>
                  </a:lnTo>
                  <a:lnTo>
                    <a:pt x="785" y="609"/>
                  </a:lnTo>
                  <a:lnTo>
                    <a:pt x="785" y="611"/>
                  </a:lnTo>
                  <a:lnTo>
                    <a:pt x="783" y="611"/>
                  </a:lnTo>
                  <a:lnTo>
                    <a:pt x="783" y="613"/>
                  </a:lnTo>
                  <a:lnTo>
                    <a:pt x="780" y="613"/>
                  </a:lnTo>
                  <a:lnTo>
                    <a:pt x="780" y="616"/>
                  </a:lnTo>
                  <a:lnTo>
                    <a:pt x="778" y="616"/>
                  </a:lnTo>
                  <a:lnTo>
                    <a:pt x="780" y="616"/>
                  </a:lnTo>
                  <a:lnTo>
                    <a:pt x="778" y="616"/>
                  </a:lnTo>
                  <a:lnTo>
                    <a:pt x="778" y="618"/>
                  </a:lnTo>
                  <a:lnTo>
                    <a:pt x="778" y="620"/>
                  </a:lnTo>
                  <a:lnTo>
                    <a:pt x="778" y="623"/>
                  </a:lnTo>
                  <a:lnTo>
                    <a:pt x="778" y="625"/>
                  </a:lnTo>
                  <a:lnTo>
                    <a:pt x="778" y="628"/>
                  </a:lnTo>
                  <a:lnTo>
                    <a:pt x="780" y="630"/>
                  </a:lnTo>
                  <a:lnTo>
                    <a:pt x="778" y="630"/>
                  </a:lnTo>
                  <a:lnTo>
                    <a:pt x="778" y="632"/>
                  </a:lnTo>
                  <a:lnTo>
                    <a:pt x="776" y="635"/>
                  </a:lnTo>
                  <a:lnTo>
                    <a:pt x="773" y="635"/>
                  </a:lnTo>
                  <a:lnTo>
                    <a:pt x="776" y="635"/>
                  </a:lnTo>
                  <a:lnTo>
                    <a:pt x="776" y="632"/>
                  </a:lnTo>
                  <a:lnTo>
                    <a:pt x="778" y="632"/>
                  </a:lnTo>
                  <a:lnTo>
                    <a:pt x="778" y="630"/>
                  </a:lnTo>
                  <a:lnTo>
                    <a:pt x="780" y="630"/>
                  </a:lnTo>
                  <a:lnTo>
                    <a:pt x="778" y="628"/>
                  </a:lnTo>
                  <a:lnTo>
                    <a:pt x="778" y="625"/>
                  </a:lnTo>
                  <a:lnTo>
                    <a:pt x="778" y="623"/>
                  </a:lnTo>
                  <a:lnTo>
                    <a:pt x="778" y="620"/>
                  </a:lnTo>
                  <a:lnTo>
                    <a:pt x="778" y="618"/>
                  </a:lnTo>
                  <a:lnTo>
                    <a:pt x="780" y="616"/>
                  </a:lnTo>
                  <a:lnTo>
                    <a:pt x="780" y="618"/>
                  </a:lnTo>
                  <a:lnTo>
                    <a:pt x="780" y="616"/>
                  </a:lnTo>
                  <a:lnTo>
                    <a:pt x="783" y="613"/>
                  </a:lnTo>
                  <a:lnTo>
                    <a:pt x="783" y="611"/>
                  </a:lnTo>
                  <a:lnTo>
                    <a:pt x="785" y="611"/>
                  </a:lnTo>
                  <a:lnTo>
                    <a:pt x="785" y="609"/>
                  </a:lnTo>
                  <a:lnTo>
                    <a:pt x="787" y="609"/>
                  </a:lnTo>
                  <a:lnTo>
                    <a:pt x="785" y="609"/>
                  </a:lnTo>
                  <a:lnTo>
                    <a:pt x="787" y="609"/>
                  </a:lnTo>
                  <a:lnTo>
                    <a:pt x="787" y="611"/>
                  </a:lnTo>
                  <a:lnTo>
                    <a:pt x="787" y="613"/>
                  </a:lnTo>
                  <a:lnTo>
                    <a:pt x="790" y="613"/>
                  </a:lnTo>
                  <a:lnTo>
                    <a:pt x="790" y="611"/>
                  </a:lnTo>
                  <a:lnTo>
                    <a:pt x="787" y="611"/>
                  </a:lnTo>
                  <a:lnTo>
                    <a:pt x="790" y="611"/>
                  </a:lnTo>
                  <a:lnTo>
                    <a:pt x="790" y="609"/>
                  </a:lnTo>
                  <a:lnTo>
                    <a:pt x="787" y="609"/>
                  </a:lnTo>
                  <a:lnTo>
                    <a:pt x="785" y="606"/>
                  </a:lnTo>
                  <a:lnTo>
                    <a:pt x="787" y="604"/>
                  </a:lnTo>
                  <a:lnTo>
                    <a:pt x="787" y="601"/>
                  </a:lnTo>
                  <a:lnTo>
                    <a:pt x="790" y="599"/>
                  </a:lnTo>
                  <a:lnTo>
                    <a:pt x="792" y="599"/>
                  </a:lnTo>
                  <a:lnTo>
                    <a:pt x="790" y="599"/>
                  </a:lnTo>
                  <a:lnTo>
                    <a:pt x="790" y="597"/>
                  </a:lnTo>
                  <a:lnTo>
                    <a:pt x="790" y="594"/>
                  </a:lnTo>
                  <a:lnTo>
                    <a:pt x="792" y="594"/>
                  </a:lnTo>
                  <a:lnTo>
                    <a:pt x="795" y="592"/>
                  </a:lnTo>
                  <a:lnTo>
                    <a:pt x="795" y="590"/>
                  </a:lnTo>
                  <a:lnTo>
                    <a:pt x="797" y="590"/>
                  </a:lnTo>
                  <a:lnTo>
                    <a:pt x="797" y="587"/>
                  </a:lnTo>
                  <a:lnTo>
                    <a:pt x="799" y="587"/>
                  </a:lnTo>
                  <a:lnTo>
                    <a:pt x="802" y="587"/>
                  </a:lnTo>
                  <a:lnTo>
                    <a:pt x="804" y="587"/>
                  </a:lnTo>
                  <a:lnTo>
                    <a:pt x="806" y="587"/>
                  </a:lnTo>
                  <a:lnTo>
                    <a:pt x="809" y="587"/>
                  </a:lnTo>
                  <a:lnTo>
                    <a:pt x="809" y="590"/>
                  </a:lnTo>
                  <a:lnTo>
                    <a:pt x="811" y="590"/>
                  </a:lnTo>
                  <a:lnTo>
                    <a:pt x="811" y="587"/>
                  </a:lnTo>
                  <a:lnTo>
                    <a:pt x="811" y="590"/>
                  </a:lnTo>
                  <a:lnTo>
                    <a:pt x="811" y="587"/>
                  </a:lnTo>
                  <a:lnTo>
                    <a:pt x="814" y="587"/>
                  </a:lnTo>
                  <a:lnTo>
                    <a:pt x="814" y="590"/>
                  </a:lnTo>
                  <a:lnTo>
                    <a:pt x="814" y="587"/>
                  </a:lnTo>
                  <a:lnTo>
                    <a:pt x="814" y="590"/>
                  </a:lnTo>
                  <a:lnTo>
                    <a:pt x="814" y="592"/>
                  </a:lnTo>
                  <a:lnTo>
                    <a:pt x="816" y="592"/>
                  </a:lnTo>
                  <a:lnTo>
                    <a:pt x="818" y="592"/>
                  </a:lnTo>
                  <a:lnTo>
                    <a:pt x="818" y="594"/>
                  </a:lnTo>
                  <a:lnTo>
                    <a:pt x="816" y="594"/>
                  </a:lnTo>
                  <a:lnTo>
                    <a:pt x="818" y="594"/>
                  </a:lnTo>
                  <a:lnTo>
                    <a:pt x="816" y="594"/>
                  </a:lnTo>
                  <a:lnTo>
                    <a:pt x="814" y="594"/>
                  </a:lnTo>
                  <a:lnTo>
                    <a:pt x="814" y="597"/>
                  </a:lnTo>
                  <a:lnTo>
                    <a:pt x="816" y="597"/>
                  </a:lnTo>
                  <a:lnTo>
                    <a:pt x="818" y="597"/>
                  </a:lnTo>
                  <a:lnTo>
                    <a:pt x="816" y="597"/>
                  </a:lnTo>
                  <a:lnTo>
                    <a:pt x="814" y="597"/>
                  </a:lnTo>
                  <a:lnTo>
                    <a:pt x="816" y="597"/>
                  </a:lnTo>
                  <a:lnTo>
                    <a:pt x="818" y="597"/>
                  </a:lnTo>
                  <a:lnTo>
                    <a:pt x="816" y="599"/>
                  </a:lnTo>
                  <a:lnTo>
                    <a:pt x="814" y="599"/>
                  </a:lnTo>
                  <a:lnTo>
                    <a:pt x="816" y="599"/>
                  </a:lnTo>
                  <a:lnTo>
                    <a:pt x="814" y="599"/>
                  </a:lnTo>
                  <a:lnTo>
                    <a:pt x="814" y="601"/>
                  </a:lnTo>
                  <a:lnTo>
                    <a:pt x="816" y="601"/>
                  </a:lnTo>
                  <a:lnTo>
                    <a:pt x="816" y="599"/>
                  </a:lnTo>
                  <a:lnTo>
                    <a:pt x="818" y="599"/>
                  </a:lnTo>
                  <a:lnTo>
                    <a:pt x="818" y="597"/>
                  </a:lnTo>
                  <a:lnTo>
                    <a:pt x="818" y="599"/>
                  </a:lnTo>
                  <a:lnTo>
                    <a:pt x="821" y="597"/>
                  </a:lnTo>
                  <a:lnTo>
                    <a:pt x="823" y="597"/>
                  </a:lnTo>
                  <a:lnTo>
                    <a:pt x="825" y="597"/>
                  </a:lnTo>
                  <a:lnTo>
                    <a:pt x="828" y="597"/>
                  </a:lnTo>
                  <a:lnTo>
                    <a:pt x="828" y="594"/>
                  </a:lnTo>
                  <a:lnTo>
                    <a:pt x="830" y="594"/>
                  </a:lnTo>
                  <a:lnTo>
                    <a:pt x="830" y="597"/>
                  </a:lnTo>
                  <a:lnTo>
                    <a:pt x="832" y="597"/>
                  </a:lnTo>
                  <a:lnTo>
                    <a:pt x="832" y="599"/>
                  </a:lnTo>
                  <a:lnTo>
                    <a:pt x="830" y="599"/>
                  </a:lnTo>
                  <a:lnTo>
                    <a:pt x="832" y="599"/>
                  </a:lnTo>
                  <a:lnTo>
                    <a:pt x="830" y="601"/>
                  </a:lnTo>
                  <a:lnTo>
                    <a:pt x="828" y="601"/>
                  </a:lnTo>
                  <a:lnTo>
                    <a:pt x="830" y="601"/>
                  </a:lnTo>
                  <a:lnTo>
                    <a:pt x="832" y="601"/>
                  </a:lnTo>
                  <a:lnTo>
                    <a:pt x="835" y="599"/>
                  </a:lnTo>
                  <a:lnTo>
                    <a:pt x="837" y="599"/>
                  </a:lnTo>
                  <a:lnTo>
                    <a:pt x="837" y="597"/>
                  </a:lnTo>
                  <a:lnTo>
                    <a:pt x="840" y="597"/>
                  </a:lnTo>
                  <a:lnTo>
                    <a:pt x="837" y="597"/>
                  </a:lnTo>
                  <a:lnTo>
                    <a:pt x="840" y="597"/>
                  </a:lnTo>
                  <a:lnTo>
                    <a:pt x="842" y="597"/>
                  </a:lnTo>
                  <a:lnTo>
                    <a:pt x="842" y="599"/>
                  </a:lnTo>
                  <a:lnTo>
                    <a:pt x="844" y="599"/>
                  </a:lnTo>
                  <a:lnTo>
                    <a:pt x="842" y="599"/>
                  </a:lnTo>
                  <a:lnTo>
                    <a:pt x="844" y="599"/>
                  </a:lnTo>
                  <a:lnTo>
                    <a:pt x="842" y="599"/>
                  </a:lnTo>
                  <a:lnTo>
                    <a:pt x="842" y="601"/>
                  </a:lnTo>
                  <a:lnTo>
                    <a:pt x="844" y="601"/>
                  </a:lnTo>
                  <a:lnTo>
                    <a:pt x="847" y="601"/>
                  </a:lnTo>
                  <a:lnTo>
                    <a:pt x="849" y="601"/>
                  </a:lnTo>
                  <a:lnTo>
                    <a:pt x="849" y="604"/>
                  </a:lnTo>
                  <a:lnTo>
                    <a:pt x="847" y="604"/>
                  </a:lnTo>
                  <a:lnTo>
                    <a:pt x="847" y="606"/>
                  </a:lnTo>
                  <a:lnTo>
                    <a:pt x="844" y="606"/>
                  </a:lnTo>
                  <a:lnTo>
                    <a:pt x="847" y="606"/>
                  </a:lnTo>
                  <a:lnTo>
                    <a:pt x="844" y="606"/>
                  </a:lnTo>
                  <a:lnTo>
                    <a:pt x="842" y="606"/>
                  </a:lnTo>
                  <a:lnTo>
                    <a:pt x="842" y="609"/>
                  </a:lnTo>
                  <a:lnTo>
                    <a:pt x="840" y="609"/>
                  </a:lnTo>
                  <a:lnTo>
                    <a:pt x="840" y="606"/>
                  </a:lnTo>
                  <a:lnTo>
                    <a:pt x="837" y="606"/>
                  </a:lnTo>
                  <a:lnTo>
                    <a:pt x="840" y="606"/>
                  </a:lnTo>
                  <a:lnTo>
                    <a:pt x="840" y="609"/>
                  </a:lnTo>
                  <a:lnTo>
                    <a:pt x="840" y="606"/>
                  </a:lnTo>
                  <a:lnTo>
                    <a:pt x="840" y="609"/>
                  </a:lnTo>
                  <a:lnTo>
                    <a:pt x="842" y="609"/>
                  </a:lnTo>
                  <a:lnTo>
                    <a:pt x="844" y="609"/>
                  </a:lnTo>
                  <a:lnTo>
                    <a:pt x="847" y="609"/>
                  </a:lnTo>
                  <a:lnTo>
                    <a:pt x="847" y="606"/>
                  </a:lnTo>
                  <a:lnTo>
                    <a:pt x="847" y="609"/>
                  </a:lnTo>
                  <a:lnTo>
                    <a:pt x="849" y="609"/>
                  </a:lnTo>
                  <a:lnTo>
                    <a:pt x="849" y="606"/>
                  </a:lnTo>
                  <a:lnTo>
                    <a:pt x="851" y="606"/>
                  </a:lnTo>
                  <a:close/>
                  <a:moveTo>
                    <a:pt x="377" y="169"/>
                  </a:moveTo>
                  <a:lnTo>
                    <a:pt x="379" y="169"/>
                  </a:lnTo>
                  <a:lnTo>
                    <a:pt x="377" y="169"/>
                  </a:lnTo>
                  <a:lnTo>
                    <a:pt x="375" y="169"/>
                  </a:lnTo>
                  <a:lnTo>
                    <a:pt x="377" y="169"/>
                  </a:lnTo>
                  <a:lnTo>
                    <a:pt x="375" y="169"/>
                  </a:lnTo>
                  <a:lnTo>
                    <a:pt x="372" y="167"/>
                  </a:lnTo>
                  <a:lnTo>
                    <a:pt x="370" y="167"/>
                  </a:lnTo>
                  <a:lnTo>
                    <a:pt x="367" y="167"/>
                  </a:lnTo>
                  <a:lnTo>
                    <a:pt x="365" y="167"/>
                  </a:lnTo>
                  <a:lnTo>
                    <a:pt x="363" y="167"/>
                  </a:lnTo>
                  <a:lnTo>
                    <a:pt x="360" y="167"/>
                  </a:lnTo>
                  <a:lnTo>
                    <a:pt x="358" y="167"/>
                  </a:lnTo>
                  <a:lnTo>
                    <a:pt x="356" y="164"/>
                  </a:lnTo>
                  <a:lnTo>
                    <a:pt x="353" y="164"/>
                  </a:lnTo>
                  <a:lnTo>
                    <a:pt x="351" y="164"/>
                  </a:lnTo>
                  <a:lnTo>
                    <a:pt x="348" y="164"/>
                  </a:lnTo>
                  <a:lnTo>
                    <a:pt x="346" y="164"/>
                  </a:lnTo>
                  <a:lnTo>
                    <a:pt x="344" y="164"/>
                  </a:lnTo>
                  <a:lnTo>
                    <a:pt x="341" y="164"/>
                  </a:lnTo>
                  <a:lnTo>
                    <a:pt x="339" y="164"/>
                  </a:lnTo>
                  <a:lnTo>
                    <a:pt x="341" y="164"/>
                  </a:lnTo>
                  <a:lnTo>
                    <a:pt x="339" y="164"/>
                  </a:lnTo>
                  <a:lnTo>
                    <a:pt x="339" y="162"/>
                  </a:lnTo>
                  <a:lnTo>
                    <a:pt x="337" y="162"/>
                  </a:lnTo>
                  <a:lnTo>
                    <a:pt x="334" y="162"/>
                  </a:lnTo>
                  <a:lnTo>
                    <a:pt x="337" y="162"/>
                  </a:lnTo>
                  <a:lnTo>
                    <a:pt x="339" y="162"/>
                  </a:lnTo>
                  <a:lnTo>
                    <a:pt x="339" y="160"/>
                  </a:lnTo>
                  <a:lnTo>
                    <a:pt x="341" y="160"/>
                  </a:lnTo>
                  <a:lnTo>
                    <a:pt x="344" y="160"/>
                  </a:lnTo>
                  <a:lnTo>
                    <a:pt x="346" y="160"/>
                  </a:lnTo>
                  <a:lnTo>
                    <a:pt x="348" y="160"/>
                  </a:lnTo>
                  <a:lnTo>
                    <a:pt x="348" y="157"/>
                  </a:lnTo>
                  <a:lnTo>
                    <a:pt x="351" y="157"/>
                  </a:lnTo>
                  <a:lnTo>
                    <a:pt x="353" y="157"/>
                  </a:lnTo>
                  <a:lnTo>
                    <a:pt x="356" y="157"/>
                  </a:lnTo>
                  <a:lnTo>
                    <a:pt x="358" y="157"/>
                  </a:lnTo>
                  <a:lnTo>
                    <a:pt x="360" y="157"/>
                  </a:lnTo>
                  <a:lnTo>
                    <a:pt x="363" y="157"/>
                  </a:lnTo>
                  <a:lnTo>
                    <a:pt x="363" y="155"/>
                  </a:lnTo>
                  <a:lnTo>
                    <a:pt x="365" y="155"/>
                  </a:lnTo>
                  <a:lnTo>
                    <a:pt x="367" y="155"/>
                  </a:lnTo>
                  <a:lnTo>
                    <a:pt x="370" y="155"/>
                  </a:lnTo>
                  <a:lnTo>
                    <a:pt x="372" y="155"/>
                  </a:lnTo>
                  <a:lnTo>
                    <a:pt x="375" y="155"/>
                  </a:lnTo>
                  <a:lnTo>
                    <a:pt x="377" y="155"/>
                  </a:lnTo>
                  <a:lnTo>
                    <a:pt x="379" y="155"/>
                  </a:lnTo>
                  <a:lnTo>
                    <a:pt x="382" y="155"/>
                  </a:lnTo>
                  <a:lnTo>
                    <a:pt x="384" y="152"/>
                  </a:lnTo>
                  <a:lnTo>
                    <a:pt x="386" y="152"/>
                  </a:lnTo>
                  <a:lnTo>
                    <a:pt x="389" y="152"/>
                  </a:lnTo>
                  <a:lnTo>
                    <a:pt x="386" y="152"/>
                  </a:lnTo>
                  <a:lnTo>
                    <a:pt x="389" y="152"/>
                  </a:lnTo>
                  <a:lnTo>
                    <a:pt x="386" y="152"/>
                  </a:lnTo>
                  <a:lnTo>
                    <a:pt x="389" y="152"/>
                  </a:lnTo>
                  <a:lnTo>
                    <a:pt x="391" y="155"/>
                  </a:lnTo>
                  <a:lnTo>
                    <a:pt x="389" y="152"/>
                  </a:lnTo>
                  <a:lnTo>
                    <a:pt x="386" y="152"/>
                  </a:lnTo>
                  <a:lnTo>
                    <a:pt x="389" y="152"/>
                  </a:lnTo>
                  <a:lnTo>
                    <a:pt x="391" y="152"/>
                  </a:lnTo>
                  <a:lnTo>
                    <a:pt x="394" y="152"/>
                  </a:lnTo>
                  <a:lnTo>
                    <a:pt x="396" y="152"/>
                  </a:lnTo>
                  <a:lnTo>
                    <a:pt x="398" y="152"/>
                  </a:lnTo>
                  <a:lnTo>
                    <a:pt x="401" y="152"/>
                  </a:lnTo>
                  <a:lnTo>
                    <a:pt x="401" y="150"/>
                  </a:lnTo>
                  <a:lnTo>
                    <a:pt x="403" y="150"/>
                  </a:lnTo>
                  <a:lnTo>
                    <a:pt x="403" y="152"/>
                  </a:lnTo>
                  <a:lnTo>
                    <a:pt x="405" y="152"/>
                  </a:lnTo>
                  <a:lnTo>
                    <a:pt x="408" y="152"/>
                  </a:lnTo>
                  <a:lnTo>
                    <a:pt x="410" y="152"/>
                  </a:lnTo>
                  <a:lnTo>
                    <a:pt x="410" y="155"/>
                  </a:lnTo>
                  <a:lnTo>
                    <a:pt x="410" y="152"/>
                  </a:lnTo>
                  <a:lnTo>
                    <a:pt x="413" y="155"/>
                  </a:lnTo>
                  <a:lnTo>
                    <a:pt x="415" y="155"/>
                  </a:lnTo>
                  <a:lnTo>
                    <a:pt x="417" y="155"/>
                  </a:lnTo>
                  <a:lnTo>
                    <a:pt x="415" y="155"/>
                  </a:lnTo>
                  <a:lnTo>
                    <a:pt x="415" y="152"/>
                  </a:lnTo>
                  <a:lnTo>
                    <a:pt x="413" y="152"/>
                  </a:lnTo>
                  <a:lnTo>
                    <a:pt x="410" y="152"/>
                  </a:lnTo>
                  <a:lnTo>
                    <a:pt x="408" y="150"/>
                  </a:lnTo>
                  <a:lnTo>
                    <a:pt x="405" y="150"/>
                  </a:lnTo>
                  <a:lnTo>
                    <a:pt x="403" y="150"/>
                  </a:lnTo>
                  <a:lnTo>
                    <a:pt x="403" y="148"/>
                  </a:lnTo>
                  <a:lnTo>
                    <a:pt x="401" y="148"/>
                  </a:lnTo>
                  <a:lnTo>
                    <a:pt x="401" y="145"/>
                  </a:lnTo>
                  <a:lnTo>
                    <a:pt x="403" y="145"/>
                  </a:lnTo>
                  <a:lnTo>
                    <a:pt x="403" y="148"/>
                  </a:lnTo>
                  <a:lnTo>
                    <a:pt x="405" y="148"/>
                  </a:lnTo>
                  <a:lnTo>
                    <a:pt x="405" y="145"/>
                  </a:lnTo>
                  <a:lnTo>
                    <a:pt x="408" y="145"/>
                  </a:lnTo>
                  <a:lnTo>
                    <a:pt x="405" y="145"/>
                  </a:lnTo>
                  <a:lnTo>
                    <a:pt x="408" y="145"/>
                  </a:lnTo>
                  <a:lnTo>
                    <a:pt x="410" y="145"/>
                  </a:lnTo>
                  <a:lnTo>
                    <a:pt x="410" y="143"/>
                  </a:lnTo>
                  <a:lnTo>
                    <a:pt x="413" y="143"/>
                  </a:lnTo>
                  <a:lnTo>
                    <a:pt x="415" y="143"/>
                  </a:lnTo>
                  <a:lnTo>
                    <a:pt x="417" y="143"/>
                  </a:lnTo>
                  <a:lnTo>
                    <a:pt x="420" y="143"/>
                  </a:lnTo>
                  <a:lnTo>
                    <a:pt x="422" y="143"/>
                  </a:lnTo>
                  <a:lnTo>
                    <a:pt x="420" y="143"/>
                  </a:lnTo>
                  <a:lnTo>
                    <a:pt x="422" y="143"/>
                  </a:lnTo>
                  <a:lnTo>
                    <a:pt x="424" y="141"/>
                  </a:lnTo>
                  <a:lnTo>
                    <a:pt x="422" y="141"/>
                  </a:lnTo>
                  <a:lnTo>
                    <a:pt x="422" y="143"/>
                  </a:lnTo>
                  <a:lnTo>
                    <a:pt x="420" y="143"/>
                  </a:lnTo>
                  <a:lnTo>
                    <a:pt x="417" y="143"/>
                  </a:lnTo>
                  <a:lnTo>
                    <a:pt x="417" y="141"/>
                  </a:lnTo>
                  <a:lnTo>
                    <a:pt x="420" y="141"/>
                  </a:lnTo>
                  <a:lnTo>
                    <a:pt x="417" y="141"/>
                  </a:lnTo>
                  <a:lnTo>
                    <a:pt x="420" y="141"/>
                  </a:lnTo>
                  <a:lnTo>
                    <a:pt x="417" y="141"/>
                  </a:lnTo>
                  <a:lnTo>
                    <a:pt x="420" y="141"/>
                  </a:lnTo>
                  <a:lnTo>
                    <a:pt x="417" y="141"/>
                  </a:lnTo>
                  <a:lnTo>
                    <a:pt x="417" y="143"/>
                  </a:lnTo>
                  <a:lnTo>
                    <a:pt x="415" y="143"/>
                  </a:lnTo>
                  <a:lnTo>
                    <a:pt x="413" y="143"/>
                  </a:lnTo>
                  <a:lnTo>
                    <a:pt x="410" y="143"/>
                  </a:lnTo>
                  <a:lnTo>
                    <a:pt x="408" y="143"/>
                  </a:lnTo>
                  <a:lnTo>
                    <a:pt x="408" y="145"/>
                  </a:lnTo>
                  <a:lnTo>
                    <a:pt x="405" y="145"/>
                  </a:lnTo>
                  <a:lnTo>
                    <a:pt x="403" y="145"/>
                  </a:lnTo>
                  <a:lnTo>
                    <a:pt x="401" y="145"/>
                  </a:lnTo>
                  <a:lnTo>
                    <a:pt x="401" y="148"/>
                  </a:lnTo>
                  <a:lnTo>
                    <a:pt x="398" y="148"/>
                  </a:lnTo>
                  <a:lnTo>
                    <a:pt x="396" y="148"/>
                  </a:lnTo>
                  <a:lnTo>
                    <a:pt x="394" y="148"/>
                  </a:lnTo>
                  <a:lnTo>
                    <a:pt x="391" y="148"/>
                  </a:lnTo>
                  <a:lnTo>
                    <a:pt x="391" y="150"/>
                  </a:lnTo>
                  <a:lnTo>
                    <a:pt x="389" y="150"/>
                  </a:lnTo>
                  <a:lnTo>
                    <a:pt x="389" y="148"/>
                  </a:lnTo>
                  <a:lnTo>
                    <a:pt x="386" y="148"/>
                  </a:lnTo>
                  <a:lnTo>
                    <a:pt x="384" y="148"/>
                  </a:lnTo>
                  <a:lnTo>
                    <a:pt x="382" y="148"/>
                  </a:lnTo>
                  <a:lnTo>
                    <a:pt x="379" y="150"/>
                  </a:lnTo>
                  <a:lnTo>
                    <a:pt x="377" y="150"/>
                  </a:lnTo>
                  <a:lnTo>
                    <a:pt x="375" y="150"/>
                  </a:lnTo>
                  <a:lnTo>
                    <a:pt x="372" y="150"/>
                  </a:lnTo>
                  <a:lnTo>
                    <a:pt x="370" y="150"/>
                  </a:lnTo>
                  <a:lnTo>
                    <a:pt x="367" y="150"/>
                  </a:lnTo>
                  <a:lnTo>
                    <a:pt x="365" y="150"/>
                  </a:lnTo>
                  <a:lnTo>
                    <a:pt x="365" y="148"/>
                  </a:lnTo>
                  <a:lnTo>
                    <a:pt x="363" y="148"/>
                  </a:lnTo>
                  <a:lnTo>
                    <a:pt x="363" y="150"/>
                  </a:lnTo>
                  <a:lnTo>
                    <a:pt x="360" y="150"/>
                  </a:lnTo>
                  <a:lnTo>
                    <a:pt x="360" y="148"/>
                  </a:lnTo>
                  <a:lnTo>
                    <a:pt x="358" y="148"/>
                  </a:lnTo>
                  <a:lnTo>
                    <a:pt x="356" y="148"/>
                  </a:lnTo>
                  <a:lnTo>
                    <a:pt x="353" y="148"/>
                  </a:lnTo>
                  <a:lnTo>
                    <a:pt x="353" y="150"/>
                  </a:lnTo>
                  <a:lnTo>
                    <a:pt x="351" y="150"/>
                  </a:lnTo>
                  <a:lnTo>
                    <a:pt x="348" y="150"/>
                  </a:lnTo>
                  <a:lnTo>
                    <a:pt x="348" y="152"/>
                  </a:lnTo>
                  <a:lnTo>
                    <a:pt x="346" y="152"/>
                  </a:lnTo>
                  <a:lnTo>
                    <a:pt x="344" y="152"/>
                  </a:lnTo>
                  <a:lnTo>
                    <a:pt x="339" y="152"/>
                  </a:lnTo>
                  <a:lnTo>
                    <a:pt x="337" y="152"/>
                  </a:lnTo>
                  <a:lnTo>
                    <a:pt x="334" y="152"/>
                  </a:lnTo>
                  <a:lnTo>
                    <a:pt x="334" y="155"/>
                  </a:lnTo>
                  <a:lnTo>
                    <a:pt x="332" y="155"/>
                  </a:lnTo>
                  <a:lnTo>
                    <a:pt x="329" y="155"/>
                  </a:lnTo>
                  <a:lnTo>
                    <a:pt x="327" y="155"/>
                  </a:lnTo>
                  <a:lnTo>
                    <a:pt x="325" y="155"/>
                  </a:lnTo>
                  <a:lnTo>
                    <a:pt x="322" y="155"/>
                  </a:lnTo>
                  <a:lnTo>
                    <a:pt x="320" y="155"/>
                  </a:lnTo>
                  <a:lnTo>
                    <a:pt x="318" y="155"/>
                  </a:lnTo>
                  <a:lnTo>
                    <a:pt x="315" y="155"/>
                  </a:lnTo>
                  <a:lnTo>
                    <a:pt x="313" y="155"/>
                  </a:lnTo>
                  <a:lnTo>
                    <a:pt x="311" y="155"/>
                  </a:lnTo>
                  <a:lnTo>
                    <a:pt x="311" y="157"/>
                  </a:lnTo>
                  <a:lnTo>
                    <a:pt x="308" y="157"/>
                  </a:lnTo>
                  <a:lnTo>
                    <a:pt x="306" y="157"/>
                  </a:lnTo>
                  <a:lnTo>
                    <a:pt x="306" y="155"/>
                  </a:lnTo>
                  <a:lnTo>
                    <a:pt x="303" y="155"/>
                  </a:lnTo>
                  <a:lnTo>
                    <a:pt x="303" y="157"/>
                  </a:lnTo>
                  <a:lnTo>
                    <a:pt x="301" y="157"/>
                  </a:lnTo>
                  <a:lnTo>
                    <a:pt x="301" y="155"/>
                  </a:lnTo>
                  <a:lnTo>
                    <a:pt x="303" y="152"/>
                  </a:lnTo>
                  <a:lnTo>
                    <a:pt x="306" y="152"/>
                  </a:lnTo>
                  <a:lnTo>
                    <a:pt x="303" y="150"/>
                  </a:lnTo>
                  <a:lnTo>
                    <a:pt x="301" y="150"/>
                  </a:lnTo>
                  <a:lnTo>
                    <a:pt x="299" y="150"/>
                  </a:lnTo>
                  <a:lnTo>
                    <a:pt x="299" y="148"/>
                  </a:lnTo>
                  <a:lnTo>
                    <a:pt x="301" y="145"/>
                  </a:lnTo>
                  <a:lnTo>
                    <a:pt x="299" y="145"/>
                  </a:lnTo>
                  <a:lnTo>
                    <a:pt x="299" y="143"/>
                  </a:lnTo>
                  <a:lnTo>
                    <a:pt x="299" y="141"/>
                  </a:lnTo>
                  <a:lnTo>
                    <a:pt x="299" y="138"/>
                  </a:lnTo>
                  <a:lnTo>
                    <a:pt x="296" y="136"/>
                  </a:lnTo>
                  <a:lnTo>
                    <a:pt x="299" y="136"/>
                  </a:lnTo>
                  <a:lnTo>
                    <a:pt x="296" y="136"/>
                  </a:lnTo>
                  <a:lnTo>
                    <a:pt x="299" y="136"/>
                  </a:lnTo>
                  <a:lnTo>
                    <a:pt x="299" y="133"/>
                  </a:lnTo>
                  <a:lnTo>
                    <a:pt x="299" y="136"/>
                  </a:lnTo>
                  <a:lnTo>
                    <a:pt x="301" y="133"/>
                  </a:lnTo>
                  <a:lnTo>
                    <a:pt x="303" y="133"/>
                  </a:lnTo>
                  <a:lnTo>
                    <a:pt x="306" y="133"/>
                  </a:lnTo>
                  <a:lnTo>
                    <a:pt x="308" y="131"/>
                  </a:lnTo>
                  <a:lnTo>
                    <a:pt x="311" y="133"/>
                  </a:lnTo>
                  <a:lnTo>
                    <a:pt x="313" y="133"/>
                  </a:lnTo>
                  <a:lnTo>
                    <a:pt x="313" y="136"/>
                  </a:lnTo>
                  <a:lnTo>
                    <a:pt x="315" y="136"/>
                  </a:lnTo>
                  <a:lnTo>
                    <a:pt x="315" y="138"/>
                  </a:lnTo>
                  <a:lnTo>
                    <a:pt x="318" y="138"/>
                  </a:lnTo>
                  <a:lnTo>
                    <a:pt x="315" y="138"/>
                  </a:lnTo>
                  <a:lnTo>
                    <a:pt x="318" y="138"/>
                  </a:lnTo>
                  <a:lnTo>
                    <a:pt x="318" y="141"/>
                  </a:lnTo>
                  <a:lnTo>
                    <a:pt x="320" y="141"/>
                  </a:lnTo>
                  <a:lnTo>
                    <a:pt x="320" y="138"/>
                  </a:lnTo>
                  <a:lnTo>
                    <a:pt x="320" y="136"/>
                  </a:lnTo>
                  <a:lnTo>
                    <a:pt x="318" y="136"/>
                  </a:lnTo>
                  <a:lnTo>
                    <a:pt x="318" y="133"/>
                  </a:lnTo>
                  <a:lnTo>
                    <a:pt x="318" y="131"/>
                  </a:lnTo>
                  <a:lnTo>
                    <a:pt x="320" y="131"/>
                  </a:lnTo>
                  <a:lnTo>
                    <a:pt x="322" y="131"/>
                  </a:lnTo>
                  <a:lnTo>
                    <a:pt x="325" y="131"/>
                  </a:lnTo>
                  <a:lnTo>
                    <a:pt x="327" y="131"/>
                  </a:lnTo>
                  <a:lnTo>
                    <a:pt x="329" y="131"/>
                  </a:lnTo>
                  <a:lnTo>
                    <a:pt x="332" y="131"/>
                  </a:lnTo>
                  <a:lnTo>
                    <a:pt x="334" y="131"/>
                  </a:lnTo>
                  <a:lnTo>
                    <a:pt x="337" y="131"/>
                  </a:lnTo>
                  <a:lnTo>
                    <a:pt x="339" y="131"/>
                  </a:lnTo>
                  <a:lnTo>
                    <a:pt x="337" y="131"/>
                  </a:lnTo>
                  <a:lnTo>
                    <a:pt x="339" y="131"/>
                  </a:lnTo>
                  <a:lnTo>
                    <a:pt x="341" y="131"/>
                  </a:lnTo>
                  <a:lnTo>
                    <a:pt x="344" y="131"/>
                  </a:lnTo>
                  <a:lnTo>
                    <a:pt x="344" y="129"/>
                  </a:lnTo>
                  <a:lnTo>
                    <a:pt x="346" y="126"/>
                  </a:lnTo>
                  <a:lnTo>
                    <a:pt x="348" y="126"/>
                  </a:lnTo>
                  <a:lnTo>
                    <a:pt x="351" y="126"/>
                  </a:lnTo>
                  <a:lnTo>
                    <a:pt x="351" y="124"/>
                  </a:lnTo>
                  <a:lnTo>
                    <a:pt x="353" y="124"/>
                  </a:lnTo>
                  <a:lnTo>
                    <a:pt x="356" y="124"/>
                  </a:lnTo>
                  <a:lnTo>
                    <a:pt x="358" y="122"/>
                  </a:lnTo>
                  <a:lnTo>
                    <a:pt x="360" y="122"/>
                  </a:lnTo>
                  <a:lnTo>
                    <a:pt x="363" y="122"/>
                  </a:lnTo>
                  <a:lnTo>
                    <a:pt x="360" y="122"/>
                  </a:lnTo>
                  <a:lnTo>
                    <a:pt x="360" y="124"/>
                  </a:lnTo>
                  <a:lnTo>
                    <a:pt x="363" y="124"/>
                  </a:lnTo>
                  <a:lnTo>
                    <a:pt x="365" y="124"/>
                  </a:lnTo>
                  <a:lnTo>
                    <a:pt x="367" y="124"/>
                  </a:lnTo>
                  <a:lnTo>
                    <a:pt x="370" y="126"/>
                  </a:lnTo>
                  <a:lnTo>
                    <a:pt x="367" y="124"/>
                  </a:lnTo>
                  <a:lnTo>
                    <a:pt x="370" y="124"/>
                  </a:lnTo>
                  <a:lnTo>
                    <a:pt x="370" y="126"/>
                  </a:lnTo>
                  <a:lnTo>
                    <a:pt x="372" y="126"/>
                  </a:lnTo>
                  <a:lnTo>
                    <a:pt x="370" y="124"/>
                  </a:lnTo>
                  <a:lnTo>
                    <a:pt x="372" y="124"/>
                  </a:lnTo>
                  <a:lnTo>
                    <a:pt x="370" y="124"/>
                  </a:lnTo>
                  <a:lnTo>
                    <a:pt x="367" y="124"/>
                  </a:lnTo>
                  <a:lnTo>
                    <a:pt x="367" y="122"/>
                  </a:lnTo>
                  <a:lnTo>
                    <a:pt x="365" y="122"/>
                  </a:lnTo>
                  <a:lnTo>
                    <a:pt x="363" y="122"/>
                  </a:lnTo>
                  <a:lnTo>
                    <a:pt x="363" y="119"/>
                  </a:lnTo>
                  <a:lnTo>
                    <a:pt x="365" y="117"/>
                  </a:lnTo>
                  <a:lnTo>
                    <a:pt x="367" y="117"/>
                  </a:lnTo>
                  <a:lnTo>
                    <a:pt x="370" y="117"/>
                  </a:lnTo>
                  <a:lnTo>
                    <a:pt x="372" y="114"/>
                  </a:lnTo>
                  <a:lnTo>
                    <a:pt x="372" y="117"/>
                  </a:lnTo>
                  <a:lnTo>
                    <a:pt x="375" y="117"/>
                  </a:lnTo>
                  <a:lnTo>
                    <a:pt x="375" y="114"/>
                  </a:lnTo>
                  <a:lnTo>
                    <a:pt x="377" y="114"/>
                  </a:lnTo>
                  <a:lnTo>
                    <a:pt x="379" y="114"/>
                  </a:lnTo>
                  <a:lnTo>
                    <a:pt x="382" y="114"/>
                  </a:lnTo>
                  <a:lnTo>
                    <a:pt x="384" y="114"/>
                  </a:lnTo>
                  <a:lnTo>
                    <a:pt x="384" y="117"/>
                  </a:lnTo>
                  <a:lnTo>
                    <a:pt x="386" y="117"/>
                  </a:lnTo>
                  <a:lnTo>
                    <a:pt x="386" y="114"/>
                  </a:lnTo>
                  <a:lnTo>
                    <a:pt x="389" y="117"/>
                  </a:lnTo>
                  <a:lnTo>
                    <a:pt x="391" y="117"/>
                  </a:lnTo>
                  <a:lnTo>
                    <a:pt x="394" y="117"/>
                  </a:lnTo>
                  <a:lnTo>
                    <a:pt x="396" y="117"/>
                  </a:lnTo>
                  <a:lnTo>
                    <a:pt x="398" y="117"/>
                  </a:lnTo>
                  <a:lnTo>
                    <a:pt x="401" y="117"/>
                  </a:lnTo>
                  <a:lnTo>
                    <a:pt x="403" y="117"/>
                  </a:lnTo>
                  <a:lnTo>
                    <a:pt x="405" y="117"/>
                  </a:lnTo>
                  <a:lnTo>
                    <a:pt x="405" y="114"/>
                  </a:lnTo>
                  <a:lnTo>
                    <a:pt x="408" y="114"/>
                  </a:lnTo>
                  <a:lnTo>
                    <a:pt x="410" y="114"/>
                  </a:lnTo>
                  <a:lnTo>
                    <a:pt x="413" y="112"/>
                  </a:lnTo>
                  <a:lnTo>
                    <a:pt x="415" y="112"/>
                  </a:lnTo>
                  <a:lnTo>
                    <a:pt x="417" y="112"/>
                  </a:lnTo>
                  <a:lnTo>
                    <a:pt x="420" y="112"/>
                  </a:lnTo>
                  <a:lnTo>
                    <a:pt x="422" y="112"/>
                  </a:lnTo>
                  <a:lnTo>
                    <a:pt x="422" y="110"/>
                  </a:lnTo>
                  <a:lnTo>
                    <a:pt x="424" y="110"/>
                  </a:lnTo>
                  <a:lnTo>
                    <a:pt x="422" y="110"/>
                  </a:lnTo>
                  <a:lnTo>
                    <a:pt x="420" y="110"/>
                  </a:lnTo>
                  <a:lnTo>
                    <a:pt x="417" y="110"/>
                  </a:lnTo>
                  <a:lnTo>
                    <a:pt x="415" y="110"/>
                  </a:lnTo>
                  <a:lnTo>
                    <a:pt x="413" y="110"/>
                  </a:lnTo>
                  <a:lnTo>
                    <a:pt x="413" y="112"/>
                  </a:lnTo>
                  <a:lnTo>
                    <a:pt x="410" y="110"/>
                  </a:lnTo>
                  <a:lnTo>
                    <a:pt x="410" y="112"/>
                  </a:lnTo>
                  <a:lnTo>
                    <a:pt x="408" y="112"/>
                  </a:lnTo>
                  <a:lnTo>
                    <a:pt x="405" y="112"/>
                  </a:lnTo>
                  <a:lnTo>
                    <a:pt x="405" y="114"/>
                  </a:lnTo>
                  <a:lnTo>
                    <a:pt x="403" y="114"/>
                  </a:lnTo>
                  <a:lnTo>
                    <a:pt x="403" y="112"/>
                  </a:lnTo>
                  <a:lnTo>
                    <a:pt x="396" y="112"/>
                  </a:lnTo>
                  <a:lnTo>
                    <a:pt x="396" y="110"/>
                  </a:lnTo>
                  <a:lnTo>
                    <a:pt x="394" y="110"/>
                  </a:lnTo>
                  <a:lnTo>
                    <a:pt x="391" y="110"/>
                  </a:lnTo>
                  <a:lnTo>
                    <a:pt x="389" y="110"/>
                  </a:lnTo>
                  <a:lnTo>
                    <a:pt x="386" y="110"/>
                  </a:lnTo>
                  <a:lnTo>
                    <a:pt x="389" y="107"/>
                  </a:lnTo>
                  <a:lnTo>
                    <a:pt x="391" y="107"/>
                  </a:lnTo>
                  <a:lnTo>
                    <a:pt x="391" y="105"/>
                  </a:lnTo>
                  <a:lnTo>
                    <a:pt x="391" y="103"/>
                  </a:lnTo>
                  <a:lnTo>
                    <a:pt x="394" y="103"/>
                  </a:lnTo>
                  <a:lnTo>
                    <a:pt x="394" y="100"/>
                  </a:lnTo>
                  <a:lnTo>
                    <a:pt x="396" y="100"/>
                  </a:lnTo>
                  <a:lnTo>
                    <a:pt x="398" y="100"/>
                  </a:lnTo>
                  <a:lnTo>
                    <a:pt x="398" y="98"/>
                  </a:lnTo>
                  <a:lnTo>
                    <a:pt x="401" y="98"/>
                  </a:lnTo>
                  <a:lnTo>
                    <a:pt x="401" y="95"/>
                  </a:lnTo>
                  <a:lnTo>
                    <a:pt x="403" y="95"/>
                  </a:lnTo>
                  <a:lnTo>
                    <a:pt x="405" y="95"/>
                  </a:lnTo>
                  <a:lnTo>
                    <a:pt x="405" y="93"/>
                  </a:lnTo>
                  <a:lnTo>
                    <a:pt x="403" y="93"/>
                  </a:lnTo>
                  <a:lnTo>
                    <a:pt x="401" y="93"/>
                  </a:lnTo>
                  <a:lnTo>
                    <a:pt x="398" y="95"/>
                  </a:lnTo>
                  <a:lnTo>
                    <a:pt x="398" y="93"/>
                  </a:lnTo>
                  <a:lnTo>
                    <a:pt x="396" y="91"/>
                  </a:lnTo>
                  <a:lnTo>
                    <a:pt x="394" y="91"/>
                  </a:lnTo>
                  <a:lnTo>
                    <a:pt x="391" y="93"/>
                  </a:lnTo>
                  <a:lnTo>
                    <a:pt x="391" y="95"/>
                  </a:lnTo>
                  <a:lnTo>
                    <a:pt x="389" y="95"/>
                  </a:lnTo>
                  <a:lnTo>
                    <a:pt x="389" y="98"/>
                  </a:lnTo>
                  <a:lnTo>
                    <a:pt x="389" y="100"/>
                  </a:lnTo>
                  <a:lnTo>
                    <a:pt x="386" y="100"/>
                  </a:lnTo>
                  <a:lnTo>
                    <a:pt x="386" y="103"/>
                  </a:lnTo>
                  <a:lnTo>
                    <a:pt x="384" y="103"/>
                  </a:lnTo>
                  <a:lnTo>
                    <a:pt x="382" y="103"/>
                  </a:lnTo>
                  <a:lnTo>
                    <a:pt x="379" y="105"/>
                  </a:lnTo>
                  <a:lnTo>
                    <a:pt x="377" y="105"/>
                  </a:lnTo>
                  <a:lnTo>
                    <a:pt x="377" y="103"/>
                  </a:lnTo>
                  <a:lnTo>
                    <a:pt x="377" y="105"/>
                  </a:lnTo>
                  <a:lnTo>
                    <a:pt x="377" y="107"/>
                  </a:lnTo>
                  <a:lnTo>
                    <a:pt x="375" y="107"/>
                  </a:lnTo>
                  <a:lnTo>
                    <a:pt x="372" y="107"/>
                  </a:lnTo>
                  <a:lnTo>
                    <a:pt x="370" y="107"/>
                  </a:lnTo>
                  <a:lnTo>
                    <a:pt x="367" y="107"/>
                  </a:lnTo>
                  <a:lnTo>
                    <a:pt x="365" y="107"/>
                  </a:lnTo>
                  <a:lnTo>
                    <a:pt x="363" y="107"/>
                  </a:lnTo>
                  <a:lnTo>
                    <a:pt x="360" y="107"/>
                  </a:lnTo>
                  <a:lnTo>
                    <a:pt x="358" y="107"/>
                  </a:lnTo>
                  <a:lnTo>
                    <a:pt x="356" y="107"/>
                  </a:lnTo>
                  <a:lnTo>
                    <a:pt x="353" y="105"/>
                  </a:lnTo>
                  <a:lnTo>
                    <a:pt x="353" y="103"/>
                  </a:lnTo>
                  <a:lnTo>
                    <a:pt x="351" y="103"/>
                  </a:lnTo>
                  <a:lnTo>
                    <a:pt x="351" y="100"/>
                  </a:lnTo>
                  <a:lnTo>
                    <a:pt x="351" y="98"/>
                  </a:lnTo>
                  <a:lnTo>
                    <a:pt x="351" y="100"/>
                  </a:lnTo>
                  <a:lnTo>
                    <a:pt x="351" y="98"/>
                  </a:lnTo>
                  <a:lnTo>
                    <a:pt x="353" y="98"/>
                  </a:lnTo>
                  <a:lnTo>
                    <a:pt x="356" y="98"/>
                  </a:lnTo>
                  <a:lnTo>
                    <a:pt x="358" y="98"/>
                  </a:lnTo>
                  <a:lnTo>
                    <a:pt x="358" y="95"/>
                  </a:lnTo>
                  <a:lnTo>
                    <a:pt x="360" y="95"/>
                  </a:lnTo>
                  <a:lnTo>
                    <a:pt x="358" y="93"/>
                  </a:lnTo>
                  <a:lnTo>
                    <a:pt x="360" y="93"/>
                  </a:lnTo>
                  <a:lnTo>
                    <a:pt x="358" y="93"/>
                  </a:lnTo>
                  <a:lnTo>
                    <a:pt x="360" y="93"/>
                  </a:lnTo>
                  <a:lnTo>
                    <a:pt x="358" y="91"/>
                  </a:lnTo>
                  <a:lnTo>
                    <a:pt x="360" y="91"/>
                  </a:lnTo>
                  <a:lnTo>
                    <a:pt x="360" y="88"/>
                  </a:lnTo>
                  <a:lnTo>
                    <a:pt x="360" y="91"/>
                  </a:lnTo>
                  <a:lnTo>
                    <a:pt x="358" y="88"/>
                  </a:lnTo>
                  <a:lnTo>
                    <a:pt x="356" y="88"/>
                  </a:lnTo>
                  <a:lnTo>
                    <a:pt x="358" y="86"/>
                  </a:lnTo>
                  <a:lnTo>
                    <a:pt x="358" y="84"/>
                  </a:lnTo>
                  <a:lnTo>
                    <a:pt x="356" y="84"/>
                  </a:lnTo>
                  <a:lnTo>
                    <a:pt x="353" y="84"/>
                  </a:lnTo>
                  <a:lnTo>
                    <a:pt x="351" y="84"/>
                  </a:lnTo>
                  <a:lnTo>
                    <a:pt x="351" y="86"/>
                  </a:lnTo>
                  <a:lnTo>
                    <a:pt x="351" y="88"/>
                  </a:lnTo>
                  <a:lnTo>
                    <a:pt x="348" y="88"/>
                  </a:lnTo>
                  <a:lnTo>
                    <a:pt x="348" y="91"/>
                  </a:lnTo>
                  <a:lnTo>
                    <a:pt x="351" y="91"/>
                  </a:lnTo>
                  <a:lnTo>
                    <a:pt x="348" y="91"/>
                  </a:lnTo>
                  <a:lnTo>
                    <a:pt x="348" y="93"/>
                  </a:lnTo>
                  <a:lnTo>
                    <a:pt x="351" y="93"/>
                  </a:lnTo>
                  <a:lnTo>
                    <a:pt x="348" y="93"/>
                  </a:lnTo>
                  <a:lnTo>
                    <a:pt x="351" y="93"/>
                  </a:lnTo>
                  <a:lnTo>
                    <a:pt x="351" y="95"/>
                  </a:lnTo>
                  <a:lnTo>
                    <a:pt x="348" y="95"/>
                  </a:lnTo>
                  <a:lnTo>
                    <a:pt x="346" y="95"/>
                  </a:lnTo>
                  <a:lnTo>
                    <a:pt x="346" y="98"/>
                  </a:lnTo>
                  <a:lnTo>
                    <a:pt x="344" y="98"/>
                  </a:lnTo>
                  <a:lnTo>
                    <a:pt x="344" y="100"/>
                  </a:lnTo>
                  <a:lnTo>
                    <a:pt x="341" y="100"/>
                  </a:lnTo>
                  <a:lnTo>
                    <a:pt x="341" y="98"/>
                  </a:lnTo>
                  <a:lnTo>
                    <a:pt x="339" y="98"/>
                  </a:lnTo>
                  <a:lnTo>
                    <a:pt x="337" y="98"/>
                  </a:lnTo>
                  <a:lnTo>
                    <a:pt x="337" y="95"/>
                  </a:lnTo>
                  <a:lnTo>
                    <a:pt x="339" y="95"/>
                  </a:lnTo>
                  <a:lnTo>
                    <a:pt x="339" y="93"/>
                  </a:lnTo>
                  <a:lnTo>
                    <a:pt x="337" y="91"/>
                  </a:lnTo>
                  <a:lnTo>
                    <a:pt x="339" y="91"/>
                  </a:lnTo>
                  <a:lnTo>
                    <a:pt x="337" y="91"/>
                  </a:lnTo>
                  <a:lnTo>
                    <a:pt x="334" y="91"/>
                  </a:lnTo>
                  <a:lnTo>
                    <a:pt x="332" y="91"/>
                  </a:lnTo>
                  <a:lnTo>
                    <a:pt x="334" y="91"/>
                  </a:lnTo>
                  <a:lnTo>
                    <a:pt x="332" y="91"/>
                  </a:lnTo>
                  <a:lnTo>
                    <a:pt x="332" y="93"/>
                  </a:lnTo>
                  <a:lnTo>
                    <a:pt x="329" y="93"/>
                  </a:lnTo>
                  <a:lnTo>
                    <a:pt x="327" y="93"/>
                  </a:lnTo>
                  <a:lnTo>
                    <a:pt x="325" y="93"/>
                  </a:lnTo>
                  <a:lnTo>
                    <a:pt x="325" y="91"/>
                  </a:lnTo>
                  <a:lnTo>
                    <a:pt x="322" y="91"/>
                  </a:lnTo>
                  <a:lnTo>
                    <a:pt x="322" y="93"/>
                  </a:lnTo>
                  <a:lnTo>
                    <a:pt x="322" y="91"/>
                  </a:lnTo>
                  <a:lnTo>
                    <a:pt x="320" y="91"/>
                  </a:lnTo>
                  <a:lnTo>
                    <a:pt x="322" y="93"/>
                  </a:lnTo>
                  <a:lnTo>
                    <a:pt x="325" y="93"/>
                  </a:lnTo>
                  <a:lnTo>
                    <a:pt x="327" y="95"/>
                  </a:lnTo>
                  <a:lnTo>
                    <a:pt x="329" y="95"/>
                  </a:lnTo>
                  <a:lnTo>
                    <a:pt x="327" y="98"/>
                  </a:lnTo>
                  <a:lnTo>
                    <a:pt x="329" y="98"/>
                  </a:lnTo>
                  <a:lnTo>
                    <a:pt x="327" y="98"/>
                  </a:lnTo>
                  <a:lnTo>
                    <a:pt x="329" y="98"/>
                  </a:lnTo>
                  <a:lnTo>
                    <a:pt x="327" y="98"/>
                  </a:lnTo>
                  <a:lnTo>
                    <a:pt x="329" y="100"/>
                  </a:lnTo>
                  <a:lnTo>
                    <a:pt x="329" y="103"/>
                  </a:lnTo>
                  <a:lnTo>
                    <a:pt x="332" y="103"/>
                  </a:lnTo>
                  <a:lnTo>
                    <a:pt x="329" y="103"/>
                  </a:lnTo>
                  <a:lnTo>
                    <a:pt x="327" y="103"/>
                  </a:lnTo>
                  <a:lnTo>
                    <a:pt x="325" y="103"/>
                  </a:lnTo>
                  <a:lnTo>
                    <a:pt x="322" y="103"/>
                  </a:lnTo>
                  <a:lnTo>
                    <a:pt x="322" y="105"/>
                  </a:lnTo>
                  <a:lnTo>
                    <a:pt x="325" y="105"/>
                  </a:lnTo>
                  <a:lnTo>
                    <a:pt x="322" y="105"/>
                  </a:lnTo>
                  <a:lnTo>
                    <a:pt x="320" y="105"/>
                  </a:lnTo>
                  <a:lnTo>
                    <a:pt x="320" y="107"/>
                  </a:lnTo>
                  <a:lnTo>
                    <a:pt x="318" y="107"/>
                  </a:lnTo>
                  <a:lnTo>
                    <a:pt x="320" y="107"/>
                  </a:lnTo>
                  <a:lnTo>
                    <a:pt x="322" y="107"/>
                  </a:lnTo>
                  <a:lnTo>
                    <a:pt x="325" y="107"/>
                  </a:lnTo>
                  <a:lnTo>
                    <a:pt x="327" y="107"/>
                  </a:lnTo>
                  <a:lnTo>
                    <a:pt x="329" y="107"/>
                  </a:lnTo>
                  <a:lnTo>
                    <a:pt x="332" y="110"/>
                  </a:lnTo>
                  <a:lnTo>
                    <a:pt x="334" y="112"/>
                  </a:lnTo>
                  <a:lnTo>
                    <a:pt x="337" y="112"/>
                  </a:lnTo>
                  <a:lnTo>
                    <a:pt x="337" y="114"/>
                  </a:lnTo>
                  <a:lnTo>
                    <a:pt x="334" y="112"/>
                  </a:lnTo>
                  <a:lnTo>
                    <a:pt x="337" y="112"/>
                  </a:lnTo>
                  <a:lnTo>
                    <a:pt x="334" y="112"/>
                  </a:lnTo>
                  <a:lnTo>
                    <a:pt x="334" y="114"/>
                  </a:lnTo>
                  <a:lnTo>
                    <a:pt x="332" y="114"/>
                  </a:lnTo>
                  <a:lnTo>
                    <a:pt x="329" y="114"/>
                  </a:lnTo>
                  <a:lnTo>
                    <a:pt x="329" y="112"/>
                  </a:lnTo>
                  <a:lnTo>
                    <a:pt x="327" y="112"/>
                  </a:lnTo>
                  <a:lnTo>
                    <a:pt x="325" y="112"/>
                  </a:lnTo>
                  <a:lnTo>
                    <a:pt x="325" y="114"/>
                  </a:lnTo>
                  <a:lnTo>
                    <a:pt x="322" y="112"/>
                  </a:lnTo>
                  <a:lnTo>
                    <a:pt x="320" y="112"/>
                  </a:lnTo>
                  <a:lnTo>
                    <a:pt x="318" y="112"/>
                  </a:lnTo>
                  <a:lnTo>
                    <a:pt x="318" y="110"/>
                  </a:lnTo>
                  <a:lnTo>
                    <a:pt x="315" y="110"/>
                  </a:lnTo>
                  <a:lnTo>
                    <a:pt x="315" y="112"/>
                  </a:lnTo>
                  <a:lnTo>
                    <a:pt x="318" y="114"/>
                  </a:lnTo>
                  <a:lnTo>
                    <a:pt x="315" y="114"/>
                  </a:lnTo>
                  <a:lnTo>
                    <a:pt x="313" y="114"/>
                  </a:lnTo>
                  <a:lnTo>
                    <a:pt x="315" y="114"/>
                  </a:lnTo>
                  <a:lnTo>
                    <a:pt x="315" y="117"/>
                  </a:lnTo>
                  <a:lnTo>
                    <a:pt x="318" y="117"/>
                  </a:lnTo>
                  <a:lnTo>
                    <a:pt x="320" y="117"/>
                  </a:lnTo>
                  <a:lnTo>
                    <a:pt x="318" y="117"/>
                  </a:lnTo>
                  <a:lnTo>
                    <a:pt x="320" y="117"/>
                  </a:lnTo>
                  <a:lnTo>
                    <a:pt x="320" y="119"/>
                  </a:lnTo>
                  <a:lnTo>
                    <a:pt x="318" y="119"/>
                  </a:lnTo>
                  <a:lnTo>
                    <a:pt x="315" y="119"/>
                  </a:lnTo>
                  <a:lnTo>
                    <a:pt x="315" y="122"/>
                  </a:lnTo>
                  <a:lnTo>
                    <a:pt x="313" y="122"/>
                  </a:lnTo>
                  <a:lnTo>
                    <a:pt x="315" y="122"/>
                  </a:lnTo>
                  <a:lnTo>
                    <a:pt x="313" y="122"/>
                  </a:lnTo>
                  <a:lnTo>
                    <a:pt x="313" y="119"/>
                  </a:lnTo>
                  <a:lnTo>
                    <a:pt x="311" y="119"/>
                  </a:lnTo>
                  <a:lnTo>
                    <a:pt x="308" y="119"/>
                  </a:lnTo>
                  <a:lnTo>
                    <a:pt x="306" y="119"/>
                  </a:lnTo>
                  <a:lnTo>
                    <a:pt x="308" y="119"/>
                  </a:lnTo>
                  <a:lnTo>
                    <a:pt x="311" y="119"/>
                  </a:lnTo>
                  <a:lnTo>
                    <a:pt x="308" y="122"/>
                  </a:lnTo>
                  <a:lnTo>
                    <a:pt x="308" y="124"/>
                  </a:lnTo>
                  <a:lnTo>
                    <a:pt x="306" y="122"/>
                  </a:lnTo>
                  <a:lnTo>
                    <a:pt x="303" y="122"/>
                  </a:lnTo>
                  <a:lnTo>
                    <a:pt x="301" y="122"/>
                  </a:lnTo>
                  <a:lnTo>
                    <a:pt x="303" y="122"/>
                  </a:lnTo>
                  <a:lnTo>
                    <a:pt x="303" y="124"/>
                  </a:lnTo>
                  <a:lnTo>
                    <a:pt x="306" y="124"/>
                  </a:lnTo>
                  <a:lnTo>
                    <a:pt x="303" y="126"/>
                  </a:lnTo>
                  <a:lnTo>
                    <a:pt x="301" y="126"/>
                  </a:lnTo>
                  <a:lnTo>
                    <a:pt x="299" y="126"/>
                  </a:lnTo>
                  <a:lnTo>
                    <a:pt x="299" y="124"/>
                  </a:lnTo>
                  <a:lnTo>
                    <a:pt x="299" y="126"/>
                  </a:lnTo>
                  <a:lnTo>
                    <a:pt x="299" y="124"/>
                  </a:lnTo>
                  <a:lnTo>
                    <a:pt x="296" y="126"/>
                  </a:lnTo>
                  <a:lnTo>
                    <a:pt x="294" y="124"/>
                  </a:lnTo>
                  <a:lnTo>
                    <a:pt x="289" y="124"/>
                  </a:lnTo>
                  <a:lnTo>
                    <a:pt x="287" y="124"/>
                  </a:lnTo>
                  <a:lnTo>
                    <a:pt x="284" y="124"/>
                  </a:lnTo>
                  <a:lnTo>
                    <a:pt x="282" y="124"/>
                  </a:lnTo>
                  <a:lnTo>
                    <a:pt x="280" y="124"/>
                  </a:lnTo>
                  <a:lnTo>
                    <a:pt x="277" y="126"/>
                  </a:lnTo>
                  <a:lnTo>
                    <a:pt x="277" y="124"/>
                  </a:lnTo>
                  <a:lnTo>
                    <a:pt x="275" y="124"/>
                  </a:lnTo>
                  <a:lnTo>
                    <a:pt x="275" y="122"/>
                  </a:lnTo>
                  <a:lnTo>
                    <a:pt x="275" y="119"/>
                  </a:lnTo>
                  <a:lnTo>
                    <a:pt x="277" y="119"/>
                  </a:lnTo>
                  <a:lnTo>
                    <a:pt x="275" y="119"/>
                  </a:lnTo>
                  <a:lnTo>
                    <a:pt x="275" y="117"/>
                  </a:lnTo>
                  <a:lnTo>
                    <a:pt x="273" y="117"/>
                  </a:lnTo>
                  <a:lnTo>
                    <a:pt x="275" y="117"/>
                  </a:lnTo>
                  <a:lnTo>
                    <a:pt x="273" y="117"/>
                  </a:lnTo>
                  <a:lnTo>
                    <a:pt x="275" y="117"/>
                  </a:lnTo>
                  <a:lnTo>
                    <a:pt x="273" y="117"/>
                  </a:lnTo>
                  <a:lnTo>
                    <a:pt x="275" y="117"/>
                  </a:lnTo>
                  <a:lnTo>
                    <a:pt x="275" y="114"/>
                  </a:lnTo>
                  <a:lnTo>
                    <a:pt x="273" y="114"/>
                  </a:lnTo>
                  <a:lnTo>
                    <a:pt x="275" y="114"/>
                  </a:lnTo>
                  <a:lnTo>
                    <a:pt x="277" y="114"/>
                  </a:lnTo>
                  <a:lnTo>
                    <a:pt x="275" y="114"/>
                  </a:lnTo>
                  <a:lnTo>
                    <a:pt x="275" y="112"/>
                  </a:lnTo>
                  <a:lnTo>
                    <a:pt x="273" y="112"/>
                  </a:lnTo>
                  <a:lnTo>
                    <a:pt x="273" y="114"/>
                  </a:lnTo>
                  <a:lnTo>
                    <a:pt x="275" y="114"/>
                  </a:lnTo>
                  <a:lnTo>
                    <a:pt x="273" y="114"/>
                  </a:lnTo>
                  <a:lnTo>
                    <a:pt x="270" y="114"/>
                  </a:lnTo>
                  <a:lnTo>
                    <a:pt x="268" y="114"/>
                  </a:lnTo>
                  <a:lnTo>
                    <a:pt x="265" y="114"/>
                  </a:lnTo>
                  <a:lnTo>
                    <a:pt x="265" y="112"/>
                  </a:lnTo>
                  <a:lnTo>
                    <a:pt x="263" y="112"/>
                  </a:lnTo>
                  <a:lnTo>
                    <a:pt x="261" y="112"/>
                  </a:lnTo>
                  <a:lnTo>
                    <a:pt x="261" y="110"/>
                  </a:lnTo>
                  <a:lnTo>
                    <a:pt x="258" y="107"/>
                  </a:lnTo>
                  <a:lnTo>
                    <a:pt x="256" y="107"/>
                  </a:lnTo>
                  <a:lnTo>
                    <a:pt x="256" y="105"/>
                  </a:lnTo>
                  <a:lnTo>
                    <a:pt x="258" y="105"/>
                  </a:lnTo>
                  <a:lnTo>
                    <a:pt x="261" y="105"/>
                  </a:lnTo>
                  <a:lnTo>
                    <a:pt x="263" y="105"/>
                  </a:lnTo>
                  <a:lnTo>
                    <a:pt x="265" y="105"/>
                  </a:lnTo>
                  <a:lnTo>
                    <a:pt x="268" y="105"/>
                  </a:lnTo>
                  <a:lnTo>
                    <a:pt x="270" y="105"/>
                  </a:lnTo>
                  <a:lnTo>
                    <a:pt x="273" y="105"/>
                  </a:lnTo>
                  <a:lnTo>
                    <a:pt x="275" y="105"/>
                  </a:lnTo>
                  <a:lnTo>
                    <a:pt x="277" y="105"/>
                  </a:lnTo>
                  <a:lnTo>
                    <a:pt x="280" y="105"/>
                  </a:lnTo>
                  <a:lnTo>
                    <a:pt x="282" y="105"/>
                  </a:lnTo>
                  <a:lnTo>
                    <a:pt x="284" y="105"/>
                  </a:lnTo>
                  <a:lnTo>
                    <a:pt x="282" y="105"/>
                  </a:lnTo>
                  <a:lnTo>
                    <a:pt x="284" y="103"/>
                  </a:lnTo>
                  <a:lnTo>
                    <a:pt x="287" y="103"/>
                  </a:lnTo>
                  <a:lnTo>
                    <a:pt x="287" y="100"/>
                  </a:lnTo>
                  <a:lnTo>
                    <a:pt x="284" y="100"/>
                  </a:lnTo>
                  <a:lnTo>
                    <a:pt x="282" y="100"/>
                  </a:lnTo>
                  <a:lnTo>
                    <a:pt x="280" y="100"/>
                  </a:lnTo>
                  <a:lnTo>
                    <a:pt x="282" y="100"/>
                  </a:lnTo>
                  <a:lnTo>
                    <a:pt x="282" y="103"/>
                  </a:lnTo>
                  <a:lnTo>
                    <a:pt x="280" y="103"/>
                  </a:lnTo>
                  <a:lnTo>
                    <a:pt x="277" y="103"/>
                  </a:lnTo>
                  <a:lnTo>
                    <a:pt x="275" y="103"/>
                  </a:lnTo>
                  <a:lnTo>
                    <a:pt x="273" y="103"/>
                  </a:lnTo>
                  <a:lnTo>
                    <a:pt x="275" y="103"/>
                  </a:lnTo>
                  <a:lnTo>
                    <a:pt x="275" y="105"/>
                  </a:lnTo>
                  <a:lnTo>
                    <a:pt x="273" y="105"/>
                  </a:lnTo>
                  <a:lnTo>
                    <a:pt x="273" y="103"/>
                  </a:lnTo>
                  <a:lnTo>
                    <a:pt x="270" y="103"/>
                  </a:lnTo>
                  <a:lnTo>
                    <a:pt x="268" y="103"/>
                  </a:lnTo>
                  <a:lnTo>
                    <a:pt x="265" y="103"/>
                  </a:lnTo>
                  <a:lnTo>
                    <a:pt x="263" y="103"/>
                  </a:lnTo>
                  <a:lnTo>
                    <a:pt x="258" y="103"/>
                  </a:lnTo>
                  <a:lnTo>
                    <a:pt x="256" y="103"/>
                  </a:lnTo>
                  <a:lnTo>
                    <a:pt x="258" y="103"/>
                  </a:lnTo>
                  <a:lnTo>
                    <a:pt x="256" y="103"/>
                  </a:lnTo>
                  <a:lnTo>
                    <a:pt x="258" y="103"/>
                  </a:lnTo>
                  <a:lnTo>
                    <a:pt x="258" y="100"/>
                  </a:lnTo>
                  <a:lnTo>
                    <a:pt x="261" y="100"/>
                  </a:lnTo>
                  <a:lnTo>
                    <a:pt x="258" y="100"/>
                  </a:lnTo>
                  <a:lnTo>
                    <a:pt x="256" y="100"/>
                  </a:lnTo>
                  <a:lnTo>
                    <a:pt x="254" y="100"/>
                  </a:lnTo>
                  <a:lnTo>
                    <a:pt x="251" y="100"/>
                  </a:lnTo>
                  <a:lnTo>
                    <a:pt x="249" y="100"/>
                  </a:lnTo>
                  <a:lnTo>
                    <a:pt x="249" y="98"/>
                  </a:lnTo>
                  <a:lnTo>
                    <a:pt x="246" y="98"/>
                  </a:lnTo>
                  <a:lnTo>
                    <a:pt x="244" y="98"/>
                  </a:lnTo>
                  <a:lnTo>
                    <a:pt x="242" y="95"/>
                  </a:lnTo>
                  <a:lnTo>
                    <a:pt x="239" y="95"/>
                  </a:lnTo>
                  <a:lnTo>
                    <a:pt x="239" y="93"/>
                  </a:lnTo>
                  <a:lnTo>
                    <a:pt x="242" y="93"/>
                  </a:lnTo>
                  <a:lnTo>
                    <a:pt x="242" y="91"/>
                  </a:lnTo>
                  <a:lnTo>
                    <a:pt x="239" y="91"/>
                  </a:lnTo>
                  <a:lnTo>
                    <a:pt x="237" y="93"/>
                  </a:lnTo>
                  <a:lnTo>
                    <a:pt x="237" y="91"/>
                  </a:lnTo>
                  <a:lnTo>
                    <a:pt x="235" y="91"/>
                  </a:lnTo>
                  <a:lnTo>
                    <a:pt x="232" y="91"/>
                  </a:lnTo>
                  <a:lnTo>
                    <a:pt x="232" y="88"/>
                  </a:lnTo>
                  <a:lnTo>
                    <a:pt x="235" y="88"/>
                  </a:lnTo>
                  <a:lnTo>
                    <a:pt x="235" y="86"/>
                  </a:lnTo>
                  <a:lnTo>
                    <a:pt x="237" y="86"/>
                  </a:lnTo>
                  <a:lnTo>
                    <a:pt x="237" y="84"/>
                  </a:lnTo>
                  <a:lnTo>
                    <a:pt x="239" y="84"/>
                  </a:lnTo>
                  <a:lnTo>
                    <a:pt x="242" y="84"/>
                  </a:lnTo>
                  <a:lnTo>
                    <a:pt x="244" y="84"/>
                  </a:lnTo>
                  <a:lnTo>
                    <a:pt x="242" y="84"/>
                  </a:lnTo>
                  <a:lnTo>
                    <a:pt x="239" y="81"/>
                  </a:lnTo>
                  <a:lnTo>
                    <a:pt x="237" y="81"/>
                  </a:lnTo>
                  <a:lnTo>
                    <a:pt x="235" y="81"/>
                  </a:lnTo>
                  <a:lnTo>
                    <a:pt x="232" y="81"/>
                  </a:lnTo>
                  <a:lnTo>
                    <a:pt x="230" y="81"/>
                  </a:lnTo>
                  <a:lnTo>
                    <a:pt x="230" y="79"/>
                  </a:lnTo>
                  <a:lnTo>
                    <a:pt x="227" y="79"/>
                  </a:lnTo>
                  <a:lnTo>
                    <a:pt x="225" y="76"/>
                  </a:lnTo>
                  <a:lnTo>
                    <a:pt x="223" y="76"/>
                  </a:lnTo>
                  <a:lnTo>
                    <a:pt x="223" y="74"/>
                  </a:lnTo>
                  <a:lnTo>
                    <a:pt x="225" y="74"/>
                  </a:lnTo>
                  <a:lnTo>
                    <a:pt x="227" y="74"/>
                  </a:lnTo>
                  <a:lnTo>
                    <a:pt x="230" y="74"/>
                  </a:lnTo>
                  <a:lnTo>
                    <a:pt x="232" y="74"/>
                  </a:lnTo>
                  <a:lnTo>
                    <a:pt x="235" y="74"/>
                  </a:lnTo>
                  <a:lnTo>
                    <a:pt x="237" y="74"/>
                  </a:lnTo>
                  <a:lnTo>
                    <a:pt x="239" y="76"/>
                  </a:lnTo>
                  <a:lnTo>
                    <a:pt x="242" y="76"/>
                  </a:lnTo>
                  <a:lnTo>
                    <a:pt x="244" y="76"/>
                  </a:lnTo>
                  <a:lnTo>
                    <a:pt x="244" y="79"/>
                  </a:lnTo>
                  <a:lnTo>
                    <a:pt x="246" y="79"/>
                  </a:lnTo>
                  <a:lnTo>
                    <a:pt x="249" y="79"/>
                  </a:lnTo>
                  <a:lnTo>
                    <a:pt x="251" y="79"/>
                  </a:lnTo>
                  <a:lnTo>
                    <a:pt x="254" y="79"/>
                  </a:lnTo>
                  <a:lnTo>
                    <a:pt x="256" y="79"/>
                  </a:lnTo>
                  <a:lnTo>
                    <a:pt x="258" y="81"/>
                  </a:lnTo>
                  <a:lnTo>
                    <a:pt x="261" y="81"/>
                  </a:lnTo>
                  <a:lnTo>
                    <a:pt x="263" y="81"/>
                  </a:lnTo>
                  <a:lnTo>
                    <a:pt x="263" y="79"/>
                  </a:lnTo>
                  <a:lnTo>
                    <a:pt x="265" y="79"/>
                  </a:lnTo>
                  <a:lnTo>
                    <a:pt x="263" y="79"/>
                  </a:lnTo>
                  <a:lnTo>
                    <a:pt x="261" y="79"/>
                  </a:lnTo>
                  <a:lnTo>
                    <a:pt x="261" y="76"/>
                  </a:lnTo>
                  <a:lnTo>
                    <a:pt x="258" y="76"/>
                  </a:lnTo>
                  <a:lnTo>
                    <a:pt x="261" y="74"/>
                  </a:lnTo>
                  <a:lnTo>
                    <a:pt x="263" y="74"/>
                  </a:lnTo>
                  <a:lnTo>
                    <a:pt x="261" y="74"/>
                  </a:lnTo>
                  <a:lnTo>
                    <a:pt x="261" y="72"/>
                  </a:lnTo>
                  <a:lnTo>
                    <a:pt x="258" y="72"/>
                  </a:lnTo>
                  <a:lnTo>
                    <a:pt x="256" y="72"/>
                  </a:lnTo>
                  <a:lnTo>
                    <a:pt x="254" y="72"/>
                  </a:lnTo>
                  <a:lnTo>
                    <a:pt x="251" y="72"/>
                  </a:lnTo>
                  <a:lnTo>
                    <a:pt x="249" y="72"/>
                  </a:lnTo>
                  <a:lnTo>
                    <a:pt x="246" y="72"/>
                  </a:lnTo>
                  <a:lnTo>
                    <a:pt x="244" y="72"/>
                  </a:lnTo>
                  <a:lnTo>
                    <a:pt x="239" y="69"/>
                  </a:lnTo>
                  <a:lnTo>
                    <a:pt x="237" y="69"/>
                  </a:lnTo>
                  <a:lnTo>
                    <a:pt x="235" y="67"/>
                  </a:lnTo>
                  <a:lnTo>
                    <a:pt x="237" y="67"/>
                  </a:lnTo>
                  <a:lnTo>
                    <a:pt x="237" y="65"/>
                  </a:lnTo>
                  <a:lnTo>
                    <a:pt x="239" y="65"/>
                  </a:lnTo>
                  <a:lnTo>
                    <a:pt x="242" y="65"/>
                  </a:lnTo>
                  <a:lnTo>
                    <a:pt x="239" y="65"/>
                  </a:lnTo>
                  <a:lnTo>
                    <a:pt x="239" y="62"/>
                  </a:lnTo>
                  <a:lnTo>
                    <a:pt x="242" y="60"/>
                  </a:lnTo>
                  <a:lnTo>
                    <a:pt x="244" y="57"/>
                  </a:lnTo>
                  <a:lnTo>
                    <a:pt x="246" y="57"/>
                  </a:lnTo>
                  <a:lnTo>
                    <a:pt x="246" y="60"/>
                  </a:lnTo>
                  <a:lnTo>
                    <a:pt x="249" y="60"/>
                  </a:lnTo>
                  <a:lnTo>
                    <a:pt x="251" y="60"/>
                  </a:lnTo>
                  <a:lnTo>
                    <a:pt x="254" y="60"/>
                  </a:lnTo>
                  <a:lnTo>
                    <a:pt x="254" y="57"/>
                  </a:lnTo>
                  <a:lnTo>
                    <a:pt x="251" y="57"/>
                  </a:lnTo>
                  <a:lnTo>
                    <a:pt x="249" y="57"/>
                  </a:lnTo>
                  <a:lnTo>
                    <a:pt x="246" y="57"/>
                  </a:lnTo>
                  <a:lnTo>
                    <a:pt x="244" y="57"/>
                  </a:lnTo>
                  <a:lnTo>
                    <a:pt x="246" y="57"/>
                  </a:lnTo>
                  <a:lnTo>
                    <a:pt x="246" y="55"/>
                  </a:lnTo>
                  <a:lnTo>
                    <a:pt x="249" y="55"/>
                  </a:lnTo>
                  <a:lnTo>
                    <a:pt x="251" y="55"/>
                  </a:lnTo>
                  <a:lnTo>
                    <a:pt x="249" y="55"/>
                  </a:lnTo>
                  <a:lnTo>
                    <a:pt x="246" y="55"/>
                  </a:lnTo>
                  <a:lnTo>
                    <a:pt x="246" y="53"/>
                  </a:lnTo>
                  <a:lnTo>
                    <a:pt x="249" y="53"/>
                  </a:lnTo>
                  <a:lnTo>
                    <a:pt x="251" y="53"/>
                  </a:lnTo>
                  <a:lnTo>
                    <a:pt x="251" y="50"/>
                  </a:lnTo>
                  <a:lnTo>
                    <a:pt x="249" y="50"/>
                  </a:lnTo>
                  <a:lnTo>
                    <a:pt x="249" y="53"/>
                  </a:lnTo>
                  <a:lnTo>
                    <a:pt x="246" y="53"/>
                  </a:lnTo>
                  <a:lnTo>
                    <a:pt x="244" y="53"/>
                  </a:lnTo>
                  <a:lnTo>
                    <a:pt x="242" y="53"/>
                  </a:lnTo>
                  <a:lnTo>
                    <a:pt x="244" y="53"/>
                  </a:lnTo>
                  <a:lnTo>
                    <a:pt x="242" y="53"/>
                  </a:lnTo>
                  <a:lnTo>
                    <a:pt x="239" y="53"/>
                  </a:lnTo>
                  <a:lnTo>
                    <a:pt x="239" y="55"/>
                  </a:lnTo>
                  <a:lnTo>
                    <a:pt x="239" y="57"/>
                  </a:lnTo>
                  <a:lnTo>
                    <a:pt x="242" y="57"/>
                  </a:lnTo>
                  <a:lnTo>
                    <a:pt x="239" y="57"/>
                  </a:lnTo>
                  <a:lnTo>
                    <a:pt x="242" y="57"/>
                  </a:lnTo>
                  <a:lnTo>
                    <a:pt x="239" y="57"/>
                  </a:lnTo>
                  <a:lnTo>
                    <a:pt x="237" y="57"/>
                  </a:lnTo>
                  <a:lnTo>
                    <a:pt x="237" y="55"/>
                  </a:lnTo>
                  <a:lnTo>
                    <a:pt x="235" y="55"/>
                  </a:lnTo>
                  <a:lnTo>
                    <a:pt x="235" y="53"/>
                  </a:lnTo>
                  <a:lnTo>
                    <a:pt x="235" y="50"/>
                  </a:lnTo>
                  <a:lnTo>
                    <a:pt x="237" y="50"/>
                  </a:lnTo>
                  <a:lnTo>
                    <a:pt x="239" y="50"/>
                  </a:lnTo>
                  <a:lnTo>
                    <a:pt x="237" y="50"/>
                  </a:lnTo>
                  <a:lnTo>
                    <a:pt x="235" y="48"/>
                  </a:lnTo>
                  <a:lnTo>
                    <a:pt x="232" y="48"/>
                  </a:lnTo>
                  <a:lnTo>
                    <a:pt x="230" y="48"/>
                  </a:lnTo>
                  <a:lnTo>
                    <a:pt x="230" y="50"/>
                  </a:lnTo>
                  <a:lnTo>
                    <a:pt x="227" y="50"/>
                  </a:lnTo>
                  <a:lnTo>
                    <a:pt x="230" y="50"/>
                  </a:lnTo>
                  <a:lnTo>
                    <a:pt x="230" y="53"/>
                  </a:lnTo>
                  <a:lnTo>
                    <a:pt x="227" y="55"/>
                  </a:lnTo>
                  <a:lnTo>
                    <a:pt x="230" y="55"/>
                  </a:lnTo>
                  <a:lnTo>
                    <a:pt x="232" y="55"/>
                  </a:lnTo>
                  <a:lnTo>
                    <a:pt x="235" y="57"/>
                  </a:lnTo>
                  <a:lnTo>
                    <a:pt x="235" y="60"/>
                  </a:lnTo>
                  <a:lnTo>
                    <a:pt x="235" y="62"/>
                  </a:lnTo>
                  <a:lnTo>
                    <a:pt x="232" y="62"/>
                  </a:lnTo>
                  <a:lnTo>
                    <a:pt x="230" y="62"/>
                  </a:lnTo>
                  <a:lnTo>
                    <a:pt x="232" y="62"/>
                  </a:lnTo>
                  <a:lnTo>
                    <a:pt x="230" y="62"/>
                  </a:lnTo>
                  <a:lnTo>
                    <a:pt x="232" y="62"/>
                  </a:lnTo>
                  <a:lnTo>
                    <a:pt x="230" y="65"/>
                  </a:lnTo>
                  <a:lnTo>
                    <a:pt x="227" y="65"/>
                  </a:lnTo>
                  <a:lnTo>
                    <a:pt x="225" y="65"/>
                  </a:lnTo>
                  <a:lnTo>
                    <a:pt x="223" y="65"/>
                  </a:lnTo>
                  <a:lnTo>
                    <a:pt x="220" y="65"/>
                  </a:lnTo>
                  <a:lnTo>
                    <a:pt x="218" y="65"/>
                  </a:lnTo>
                  <a:lnTo>
                    <a:pt x="218" y="62"/>
                  </a:lnTo>
                  <a:lnTo>
                    <a:pt x="218" y="60"/>
                  </a:lnTo>
                  <a:lnTo>
                    <a:pt x="218" y="57"/>
                  </a:lnTo>
                  <a:lnTo>
                    <a:pt x="216" y="55"/>
                  </a:lnTo>
                  <a:lnTo>
                    <a:pt x="218" y="57"/>
                  </a:lnTo>
                  <a:lnTo>
                    <a:pt x="216" y="57"/>
                  </a:lnTo>
                  <a:lnTo>
                    <a:pt x="216" y="55"/>
                  </a:lnTo>
                  <a:lnTo>
                    <a:pt x="213" y="55"/>
                  </a:lnTo>
                  <a:lnTo>
                    <a:pt x="213" y="53"/>
                  </a:lnTo>
                  <a:lnTo>
                    <a:pt x="211" y="53"/>
                  </a:lnTo>
                  <a:lnTo>
                    <a:pt x="213" y="53"/>
                  </a:lnTo>
                  <a:lnTo>
                    <a:pt x="213" y="50"/>
                  </a:lnTo>
                  <a:lnTo>
                    <a:pt x="211" y="50"/>
                  </a:lnTo>
                  <a:lnTo>
                    <a:pt x="208" y="50"/>
                  </a:lnTo>
                  <a:lnTo>
                    <a:pt x="206" y="50"/>
                  </a:lnTo>
                  <a:lnTo>
                    <a:pt x="208" y="48"/>
                  </a:lnTo>
                  <a:lnTo>
                    <a:pt x="206" y="48"/>
                  </a:lnTo>
                  <a:lnTo>
                    <a:pt x="208" y="48"/>
                  </a:lnTo>
                  <a:lnTo>
                    <a:pt x="211" y="48"/>
                  </a:lnTo>
                  <a:lnTo>
                    <a:pt x="211" y="46"/>
                  </a:lnTo>
                  <a:lnTo>
                    <a:pt x="208" y="46"/>
                  </a:lnTo>
                  <a:lnTo>
                    <a:pt x="206" y="46"/>
                  </a:lnTo>
                  <a:lnTo>
                    <a:pt x="208" y="46"/>
                  </a:lnTo>
                  <a:lnTo>
                    <a:pt x="206" y="46"/>
                  </a:lnTo>
                  <a:lnTo>
                    <a:pt x="208" y="46"/>
                  </a:lnTo>
                  <a:lnTo>
                    <a:pt x="208" y="43"/>
                  </a:lnTo>
                  <a:lnTo>
                    <a:pt x="211" y="43"/>
                  </a:lnTo>
                  <a:lnTo>
                    <a:pt x="208" y="43"/>
                  </a:lnTo>
                  <a:lnTo>
                    <a:pt x="211" y="43"/>
                  </a:lnTo>
                  <a:lnTo>
                    <a:pt x="211" y="41"/>
                  </a:lnTo>
                  <a:lnTo>
                    <a:pt x="208" y="41"/>
                  </a:lnTo>
                  <a:lnTo>
                    <a:pt x="206" y="38"/>
                  </a:lnTo>
                  <a:lnTo>
                    <a:pt x="208" y="38"/>
                  </a:lnTo>
                  <a:lnTo>
                    <a:pt x="206" y="38"/>
                  </a:lnTo>
                  <a:lnTo>
                    <a:pt x="204" y="38"/>
                  </a:lnTo>
                  <a:lnTo>
                    <a:pt x="201" y="38"/>
                  </a:lnTo>
                  <a:lnTo>
                    <a:pt x="201" y="36"/>
                  </a:lnTo>
                  <a:lnTo>
                    <a:pt x="204" y="36"/>
                  </a:lnTo>
                  <a:lnTo>
                    <a:pt x="201" y="36"/>
                  </a:lnTo>
                  <a:lnTo>
                    <a:pt x="201" y="34"/>
                  </a:lnTo>
                  <a:lnTo>
                    <a:pt x="204" y="34"/>
                  </a:lnTo>
                  <a:lnTo>
                    <a:pt x="211" y="34"/>
                  </a:lnTo>
                  <a:lnTo>
                    <a:pt x="208" y="34"/>
                  </a:lnTo>
                  <a:lnTo>
                    <a:pt x="208" y="36"/>
                  </a:lnTo>
                  <a:lnTo>
                    <a:pt x="211" y="36"/>
                  </a:lnTo>
                  <a:lnTo>
                    <a:pt x="211" y="34"/>
                  </a:lnTo>
                  <a:lnTo>
                    <a:pt x="213" y="34"/>
                  </a:lnTo>
                  <a:lnTo>
                    <a:pt x="216" y="36"/>
                  </a:lnTo>
                  <a:lnTo>
                    <a:pt x="218" y="36"/>
                  </a:lnTo>
                  <a:lnTo>
                    <a:pt x="220" y="36"/>
                  </a:lnTo>
                  <a:lnTo>
                    <a:pt x="220" y="34"/>
                  </a:lnTo>
                  <a:lnTo>
                    <a:pt x="218" y="34"/>
                  </a:lnTo>
                  <a:lnTo>
                    <a:pt x="216" y="34"/>
                  </a:lnTo>
                  <a:lnTo>
                    <a:pt x="213" y="34"/>
                  </a:lnTo>
                  <a:lnTo>
                    <a:pt x="211" y="34"/>
                  </a:lnTo>
                  <a:lnTo>
                    <a:pt x="208" y="34"/>
                  </a:lnTo>
                  <a:lnTo>
                    <a:pt x="206" y="34"/>
                  </a:lnTo>
                  <a:lnTo>
                    <a:pt x="206" y="31"/>
                  </a:lnTo>
                  <a:lnTo>
                    <a:pt x="208" y="31"/>
                  </a:lnTo>
                  <a:lnTo>
                    <a:pt x="208" y="29"/>
                  </a:lnTo>
                  <a:lnTo>
                    <a:pt x="211" y="29"/>
                  </a:lnTo>
                  <a:lnTo>
                    <a:pt x="213" y="29"/>
                  </a:lnTo>
                  <a:lnTo>
                    <a:pt x="216" y="29"/>
                  </a:lnTo>
                  <a:lnTo>
                    <a:pt x="216" y="31"/>
                  </a:lnTo>
                  <a:lnTo>
                    <a:pt x="216" y="29"/>
                  </a:lnTo>
                  <a:lnTo>
                    <a:pt x="218" y="29"/>
                  </a:lnTo>
                  <a:lnTo>
                    <a:pt x="220" y="29"/>
                  </a:lnTo>
                  <a:lnTo>
                    <a:pt x="223" y="29"/>
                  </a:lnTo>
                  <a:lnTo>
                    <a:pt x="225" y="29"/>
                  </a:lnTo>
                  <a:lnTo>
                    <a:pt x="225" y="31"/>
                  </a:lnTo>
                  <a:lnTo>
                    <a:pt x="227" y="31"/>
                  </a:lnTo>
                  <a:lnTo>
                    <a:pt x="230" y="31"/>
                  </a:lnTo>
                  <a:lnTo>
                    <a:pt x="227" y="31"/>
                  </a:lnTo>
                  <a:lnTo>
                    <a:pt x="230" y="31"/>
                  </a:lnTo>
                  <a:lnTo>
                    <a:pt x="230" y="29"/>
                  </a:lnTo>
                  <a:lnTo>
                    <a:pt x="227" y="29"/>
                  </a:lnTo>
                  <a:lnTo>
                    <a:pt x="225" y="29"/>
                  </a:lnTo>
                  <a:lnTo>
                    <a:pt x="223" y="29"/>
                  </a:lnTo>
                  <a:lnTo>
                    <a:pt x="220" y="27"/>
                  </a:lnTo>
                  <a:lnTo>
                    <a:pt x="218" y="27"/>
                  </a:lnTo>
                  <a:lnTo>
                    <a:pt x="220" y="27"/>
                  </a:lnTo>
                  <a:lnTo>
                    <a:pt x="223" y="27"/>
                  </a:lnTo>
                  <a:lnTo>
                    <a:pt x="220" y="27"/>
                  </a:lnTo>
                  <a:lnTo>
                    <a:pt x="220" y="24"/>
                  </a:lnTo>
                  <a:lnTo>
                    <a:pt x="218" y="24"/>
                  </a:lnTo>
                  <a:lnTo>
                    <a:pt x="218" y="22"/>
                  </a:lnTo>
                  <a:lnTo>
                    <a:pt x="220" y="22"/>
                  </a:lnTo>
                  <a:lnTo>
                    <a:pt x="218" y="22"/>
                  </a:lnTo>
                  <a:lnTo>
                    <a:pt x="218" y="19"/>
                  </a:lnTo>
                  <a:lnTo>
                    <a:pt x="220" y="19"/>
                  </a:lnTo>
                  <a:lnTo>
                    <a:pt x="223" y="19"/>
                  </a:lnTo>
                  <a:lnTo>
                    <a:pt x="225" y="19"/>
                  </a:lnTo>
                  <a:lnTo>
                    <a:pt x="225" y="22"/>
                  </a:lnTo>
                  <a:lnTo>
                    <a:pt x="227" y="22"/>
                  </a:lnTo>
                  <a:lnTo>
                    <a:pt x="230" y="22"/>
                  </a:lnTo>
                  <a:lnTo>
                    <a:pt x="227" y="22"/>
                  </a:lnTo>
                  <a:lnTo>
                    <a:pt x="227" y="19"/>
                  </a:lnTo>
                  <a:lnTo>
                    <a:pt x="230" y="22"/>
                  </a:lnTo>
                  <a:lnTo>
                    <a:pt x="230" y="19"/>
                  </a:lnTo>
                  <a:lnTo>
                    <a:pt x="227" y="19"/>
                  </a:lnTo>
                  <a:lnTo>
                    <a:pt x="230" y="19"/>
                  </a:lnTo>
                  <a:lnTo>
                    <a:pt x="227" y="19"/>
                  </a:lnTo>
                  <a:lnTo>
                    <a:pt x="227" y="17"/>
                  </a:lnTo>
                  <a:lnTo>
                    <a:pt x="230" y="17"/>
                  </a:lnTo>
                  <a:lnTo>
                    <a:pt x="227" y="17"/>
                  </a:lnTo>
                  <a:lnTo>
                    <a:pt x="230" y="17"/>
                  </a:lnTo>
                  <a:lnTo>
                    <a:pt x="230" y="19"/>
                  </a:lnTo>
                  <a:lnTo>
                    <a:pt x="232" y="19"/>
                  </a:lnTo>
                  <a:lnTo>
                    <a:pt x="230" y="17"/>
                  </a:lnTo>
                  <a:lnTo>
                    <a:pt x="232" y="17"/>
                  </a:lnTo>
                  <a:lnTo>
                    <a:pt x="230" y="17"/>
                  </a:lnTo>
                  <a:lnTo>
                    <a:pt x="232" y="17"/>
                  </a:lnTo>
                  <a:lnTo>
                    <a:pt x="235" y="17"/>
                  </a:lnTo>
                  <a:lnTo>
                    <a:pt x="237" y="17"/>
                  </a:lnTo>
                  <a:lnTo>
                    <a:pt x="237" y="15"/>
                  </a:lnTo>
                  <a:lnTo>
                    <a:pt x="239" y="15"/>
                  </a:lnTo>
                  <a:lnTo>
                    <a:pt x="239" y="17"/>
                  </a:lnTo>
                  <a:lnTo>
                    <a:pt x="237" y="17"/>
                  </a:lnTo>
                  <a:lnTo>
                    <a:pt x="239" y="17"/>
                  </a:lnTo>
                  <a:lnTo>
                    <a:pt x="239" y="19"/>
                  </a:lnTo>
                  <a:lnTo>
                    <a:pt x="237" y="19"/>
                  </a:lnTo>
                  <a:lnTo>
                    <a:pt x="239" y="19"/>
                  </a:lnTo>
                  <a:lnTo>
                    <a:pt x="242" y="19"/>
                  </a:lnTo>
                  <a:lnTo>
                    <a:pt x="244" y="19"/>
                  </a:lnTo>
                  <a:lnTo>
                    <a:pt x="244" y="22"/>
                  </a:lnTo>
                  <a:lnTo>
                    <a:pt x="242" y="19"/>
                  </a:lnTo>
                  <a:lnTo>
                    <a:pt x="242" y="22"/>
                  </a:lnTo>
                  <a:lnTo>
                    <a:pt x="242" y="24"/>
                  </a:lnTo>
                  <a:lnTo>
                    <a:pt x="244" y="22"/>
                  </a:lnTo>
                  <a:lnTo>
                    <a:pt x="244" y="24"/>
                  </a:lnTo>
                  <a:lnTo>
                    <a:pt x="246" y="24"/>
                  </a:lnTo>
                  <a:lnTo>
                    <a:pt x="244" y="24"/>
                  </a:lnTo>
                  <a:lnTo>
                    <a:pt x="246" y="24"/>
                  </a:lnTo>
                  <a:lnTo>
                    <a:pt x="244" y="24"/>
                  </a:lnTo>
                  <a:lnTo>
                    <a:pt x="244" y="27"/>
                  </a:lnTo>
                  <a:lnTo>
                    <a:pt x="246" y="27"/>
                  </a:lnTo>
                  <a:lnTo>
                    <a:pt x="246" y="29"/>
                  </a:lnTo>
                  <a:lnTo>
                    <a:pt x="249" y="29"/>
                  </a:lnTo>
                  <a:lnTo>
                    <a:pt x="249" y="27"/>
                  </a:lnTo>
                  <a:lnTo>
                    <a:pt x="249" y="24"/>
                  </a:lnTo>
                  <a:lnTo>
                    <a:pt x="251" y="24"/>
                  </a:lnTo>
                  <a:lnTo>
                    <a:pt x="251" y="27"/>
                  </a:lnTo>
                  <a:lnTo>
                    <a:pt x="254" y="27"/>
                  </a:lnTo>
                  <a:lnTo>
                    <a:pt x="251" y="27"/>
                  </a:lnTo>
                  <a:lnTo>
                    <a:pt x="251" y="29"/>
                  </a:lnTo>
                  <a:lnTo>
                    <a:pt x="254" y="29"/>
                  </a:lnTo>
                  <a:lnTo>
                    <a:pt x="256" y="27"/>
                  </a:lnTo>
                  <a:lnTo>
                    <a:pt x="254" y="27"/>
                  </a:lnTo>
                  <a:lnTo>
                    <a:pt x="254" y="24"/>
                  </a:lnTo>
                  <a:lnTo>
                    <a:pt x="254" y="22"/>
                  </a:lnTo>
                  <a:lnTo>
                    <a:pt x="251" y="22"/>
                  </a:lnTo>
                  <a:lnTo>
                    <a:pt x="249" y="22"/>
                  </a:lnTo>
                  <a:lnTo>
                    <a:pt x="251" y="22"/>
                  </a:lnTo>
                  <a:lnTo>
                    <a:pt x="251" y="19"/>
                  </a:lnTo>
                  <a:lnTo>
                    <a:pt x="249" y="19"/>
                  </a:lnTo>
                  <a:lnTo>
                    <a:pt x="249" y="17"/>
                  </a:lnTo>
                  <a:lnTo>
                    <a:pt x="251" y="17"/>
                  </a:lnTo>
                  <a:lnTo>
                    <a:pt x="251" y="15"/>
                  </a:lnTo>
                  <a:lnTo>
                    <a:pt x="251" y="17"/>
                  </a:lnTo>
                  <a:lnTo>
                    <a:pt x="254" y="17"/>
                  </a:lnTo>
                  <a:lnTo>
                    <a:pt x="256" y="17"/>
                  </a:lnTo>
                  <a:lnTo>
                    <a:pt x="258" y="17"/>
                  </a:lnTo>
                  <a:lnTo>
                    <a:pt x="258" y="15"/>
                  </a:lnTo>
                  <a:lnTo>
                    <a:pt x="258" y="17"/>
                  </a:lnTo>
                  <a:lnTo>
                    <a:pt x="261" y="17"/>
                  </a:lnTo>
                  <a:lnTo>
                    <a:pt x="261" y="19"/>
                  </a:lnTo>
                  <a:lnTo>
                    <a:pt x="261" y="17"/>
                  </a:lnTo>
                  <a:lnTo>
                    <a:pt x="258" y="19"/>
                  </a:lnTo>
                  <a:lnTo>
                    <a:pt x="261" y="19"/>
                  </a:lnTo>
                  <a:lnTo>
                    <a:pt x="258" y="19"/>
                  </a:lnTo>
                  <a:lnTo>
                    <a:pt x="261" y="19"/>
                  </a:lnTo>
                  <a:lnTo>
                    <a:pt x="263" y="19"/>
                  </a:lnTo>
                  <a:lnTo>
                    <a:pt x="263" y="22"/>
                  </a:lnTo>
                  <a:lnTo>
                    <a:pt x="265" y="22"/>
                  </a:lnTo>
                  <a:lnTo>
                    <a:pt x="265" y="19"/>
                  </a:lnTo>
                  <a:lnTo>
                    <a:pt x="268" y="19"/>
                  </a:lnTo>
                  <a:lnTo>
                    <a:pt x="270" y="19"/>
                  </a:lnTo>
                  <a:lnTo>
                    <a:pt x="270" y="22"/>
                  </a:lnTo>
                  <a:lnTo>
                    <a:pt x="270" y="19"/>
                  </a:lnTo>
                  <a:lnTo>
                    <a:pt x="273" y="19"/>
                  </a:lnTo>
                  <a:lnTo>
                    <a:pt x="275" y="19"/>
                  </a:lnTo>
                  <a:lnTo>
                    <a:pt x="275" y="17"/>
                  </a:lnTo>
                  <a:lnTo>
                    <a:pt x="277" y="17"/>
                  </a:lnTo>
                  <a:lnTo>
                    <a:pt x="280" y="17"/>
                  </a:lnTo>
                  <a:lnTo>
                    <a:pt x="282" y="17"/>
                  </a:lnTo>
                  <a:lnTo>
                    <a:pt x="284" y="17"/>
                  </a:lnTo>
                  <a:lnTo>
                    <a:pt x="287" y="17"/>
                  </a:lnTo>
                  <a:lnTo>
                    <a:pt x="287" y="15"/>
                  </a:lnTo>
                  <a:lnTo>
                    <a:pt x="289" y="15"/>
                  </a:lnTo>
                  <a:lnTo>
                    <a:pt x="292" y="15"/>
                  </a:lnTo>
                  <a:lnTo>
                    <a:pt x="294" y="15"/>
                  </a:lnTo>
                  <a:lnTo>
                    <a:pt x="296" y="15"/>
                  </a:lnTo>
                  <a:lnTo>
                    <a:pt x="299" y="15"/>
                  </a:lnTo>
                  <a:lnTo>
                    <a:pt x="301" y="15"/>
                  </a:lnTo>
                  <a:lnTo>
                    <a:pt x="301" y="12"/>
                  </a:lnTo>
                  <a:lnTo>
                    <a:pt x="303" y="12"/>
                  </a:lnTo>
                  <a:lnTo>
                    <a:pt x="303" y="15"/>
                  </a:lnTo>
                  <a:lnTo>
                    <a:pt x="306" y="15"/>
                  </a:lnTo>
                  <a:lnTo>
                    <a:pt x="308" y="17"/>
                  </a:lnTo>
                  <a:lnTo>
                    <a:pt x="306" y="17"/>
                  </a:lnTo>
                  <a:lnTo>
                    <a:pt x="308" y="17"/>
                  </a:lnTo>
                  <a:lnTo>
                    <a:pt x="308" y="19"/>
                  </a:lnTo>
                  <a:lnTo>
                    <a:pt x="308" y="22"/>
                  </a:lnTo>
                  <a:lnTo>
                    <a:pt x="306" y="22"/>
                  </a:lnTo>
                  <a:lnTo>
                    <a:pt x="306" y="24"/>
                  </a:lnTo>
                  <a:lnTo>
                    <a:pt x="303" y="24"/>
                  </a:lnTo>
                  <a:lnTo>
                    <a:pt x="301" y="24"/>
                  </a:lnTo>
                  <a:lnTo>
                    <a:pt x="299" y="27"/>
                  </a:lnTo>
                  <a:lnTo>
                    <a:pt x="299" y="24"/>
                  </a:lnTo>
                  <a:lnTo>
                    <a:pt x="299" y="27"/>
                  </a:lnTo>
                  <a:lnTo>
                    <a:pt x="301" y="27"/>
                  </a:lnTo>
                  <a:lnTo>
                    <a:pt x="301" y="24"/>
                  </a:lnTo>
                  <a:lnTo>
                    <a:pt x="301" y="27"/>
                  </a:lnTo>
                  <a:lnTo>
                    <a:pt x="299" y="27"/>
                  </a:lnTo>
                  <a:lnTo>
                    <a:pt x="296" y="27"/>
                  </a:lnTo>
                  <a:lnTo>
                    <a:pt x="294" y="27"/>
                  </a:lnTo>
                  <a:lnTo>
                    <a:pt x="292" y="27"/>
                  </a:lnTo>
                  <a:lnTo>
                    <a:pt x="289" y="24"/>
                  </a:lnTo>
                  <a:lnTo>
                    <a:pt x="289" y="27"/>
                  </a:lnTo>
                  <a:lnTo>
                    <a:pt x="289" y="24"/>
                  </a:lnTo>
                  <a:lnTo>
                    <a:pt x="287" y="24"/>
                  </a:lnTo>
                  <a:lnTo>
                    <a:pt x="287" y="27"/>
                  </a:lnTo>
                  <a:lnTo>
                    <a:pt x="287" y="24"/>
                  </a:lnTo>
                  <a:lnTo>
                    <a:pt x="284" y="24"/>
                  </a:lnTo>
                  <a:lnTo>
                    <a:pt x="282" y="27"/>
                  </a:lnTo>
                  <a:lnTo>
                    <a:pt x="280" y="27"/>
                  </a:lnTo>
                  <a:lnTo>
                    <a:pt x="277" y="27"/>
                  </a:lnTo>
                  <a:lnTo>
                    <a:pt x="275" y="29"/>
                  </a:lnTo>
                  <a:lnTo>
                    <a:pt x="273" y="29"/>
                  </a:lnTo>
                  <a:lnTo>
                    <a:pt x="270" y="29"/>
                  </a:lnTo>
                  <a:lnTo>
                    <a:pt x="270" y="31"/>
                  </a:lnTo>
                  <a:lnTo>
                    <a:pt x="270" y="29"/>
                  </a:lnTo>
                  <a:lnTo>
                    <a:pt x="270" y="31"/>
                  </a:lnTo>
                  <a:lnTo>
                    <a:pt x="268" y="31"/>
                  </a:lnTo>
                  <a:lnTo>
                    <a:pt x="265" y="31"/>
                  </a:lnTo>
                  <a:lnTo>
                    <a:pt x="268" y="31"/>
                  </a:lnTo>
                  <a:lnTo>
                    <a:pt x="265" y="31"/>
                  </a:lnTo>
                  <a:lnTo>
                    <a:pt x="265" y="34"/>
                  </a:lnTo>
                  <a:lnTo>
                    <a:pt x="263" y="34"/>
                  </a:lnTo>
                  <a:lnTo>
                    <a:pt x="261" y="34"/>
                  </a:lnTo>
                  <a:lnTo>
                    <a:pt x="258" y="34"/>
                  </a:lnTo>
                  <a:lnTo>
                    <a:pt x="256" y="31"/>
                  </a:lnTo>
                  <a:lnTo>
                    <a:pt x="256" y="34"/>
                  </a:lnTo>
                  <a:lnTo>
                    <a:pt x="258" y="34"/>
                  </a:lnTo>
                  <a:lnTo>
                    <a:pt x="258" y="36"/>
                  </a:lnTo>
                  <a:lnTo>
                    <a:pt x="256" y="36"/>
                  </a:lnTo>
                  <a:lnTo>
                    <a:pt x="258" y="36"/>
                  </a:lnTo>
                  <a:lnTo>
                    <a:pt x="256" y="36"/>
                  </a:lnTo>
                  <a:lnTo>
                    <a:pt x="258" y="36"/>
                  </a:lnTo>
                  <a:lnTo>
                    <a:pt x="261" y="36"/>
                  </a:lnTo>
                  <a:lnTo>
                    <a:pt x="263" y="36"/>
                  </a:lnTo>
                  <a:lnTo>
                    <a:pt x="265" y="36"/>
                  </a:lnTo>
                  <a:lnTo>
                    <a:pt x="268" y="36"/>
                  </a:lnTo>
                  <a:lnTo>
                    <a:pt x="268" y="34"/>
                  </a:lnTo>
                  <a:lnTo>
                    <a:pt x="270" y="34"/>
                  </a:lnTo>
                  <a:lnTo>
                    <a:pt x="268" y="34"/>
                  </a:lnTo>
                  <a:lnTo>
                    <a:pt x="268" y="36"/>
                  </a:lnTo>
                  <a:lnTo>
                    <a:pt x="268" y="34"/>
                  </a:lnTo>
                  <a:lnTo>
                    <a:pt x="270" y="34"/>
                  </a:lnTo>
                  <a:lnTo>
                    <a:pt x="273" y="34"/>
                  </a:lnTo>
                  <a:lnTo>
                    <a:pt x="275" y="34"/>
                  </a:lnTo>
                  <a:lnTo>
                    <a:pt x="277" y="34"/>
                  </a:lnTo>
                  <a:lnTo>
                    <a:pt x="280" y="34"/>
                  </a:lnTo>
                  <a:lnTo>
                    <a:pt x="284" y="31"/>
                  </a:lnTo>
                  <a:lnTo>
                    <a:pt x="284" y="34"/>
                  </a:lnTo>
                  <a:lnTo>
                    <a:pt x="292" y="34"/>
                  </a:lnTo>
                  <a:lnTo>
                    <a:pt x="294" y="34"/>
                  </a:lnTo>
                  <a:lnTo>
                    <a:pt x="294" y="36"/>
                  </a:lnTo>
                  <a:lnTo>
                    <a:pt x="292" y="36"/>
                  </a:lnTo>
                  <a:lnTo>
                    <a:pt x="289" y="36"/>
                  </a:lnTo>
                  <a:lnTo>
                    <a:pt x="289" y="38"/>
                  </a:lnTo>
                  <a:lnTo>
                    <a:pt x="287" y="38"/>
                  </a:lnTo>
                  <a:lnTo>
                    <a:pt x="284" y="38"/>
                  </a:lnTo>
                  <a:lnTo>
                    <a:pt x="287" y="38"/>
                  </a:lnTo>
                  <a:lnTo>
                    <a:pt x="287" y="41"/>
                  </a:lnTo>
                  <a:lnTo>
                    <a:pt x="284" y="41"/>
                  </a:lnTo>
                  <a:lnTo>
                    <a:pt x="287" y="41"/>
                  </a:lnTo>
                  <a:lnTo>
                    <a:pt x="289" y="41"/>
                  </a:lnTo>
                  <a:lnTo>
                    <a:pt x="292" y="43"/>
                  </a:lnTo>
                  <a:lnTo>
                    <a:pt x="294" y="43"/>
                  </a:lnTo>
                  <a:lnTo>
                    <a:pt x="294" y="46"/>
                  </a:lnTo>
                  <a:lnTo>
                    <a:pt x="294" y="43"/>
                  </a:lnTo>
                  <a:lnTo>
                    <a:pt x="292" y="43"/>
                  </a:lnTo>
                  <a:lnTo>
                    <a:pt x="294" y="43"/>
                  </a:lnTo>
                  <a:lnTo>
                    <a:pt x="294" y="41"/>
                  </a:lnTo>
                  <a:lnTo>
                    <a:pt x="292" y="41"/>
                  </a:lnTo>
                  <a:lnTo>
                    <a:pt x="296" y="41"/>
                  </a:lnTo>
                  <a:lnTo>
                    <a:pt x="299" y="41"/>
                  </a:lnTo>
                  <a:lnTo>
                    <a:pt x="301" y="41"/>
                  </a:lnTo>
                  <a:lnTo>
                    <a:pt x="301" y="43"/>
                  </a:lnTo>
                  <a:lnTo>
                    <a:pt x="303" y="43"/>
                  </a:lnTo>
                  <a:lnTo>
                    <a:pt x="301" y="43"/>
                  </a:lnTo>
                  <a:lnTo>
                    <a:pt x="306" y="46"/>
                  </a:lnTo>
                  <a:lnTo>
                    <a:pt x="306" y="48"/>
                  </a:lnTo>
                  <a:lnTo>
                    <a:pt x="308" y="48"/>
                  </a:lnTo>
                  <a:lnTo>
                    <a:pt x="306" y="48"/>
                  </a:lnTo>
                  <a:lnTo>
                    <a:pt x="308" y="48"/>
                  </a:lnTo>
                  <a:lnTo>
                    <a:pt x="306" y="50"/>
                  </a:lnTo>
                  <a:lnTo>
                    <a:pt x="308" y="50"/>
                  </a:lnTo>
                  <a:lnTo>
                    <a:pt x="306" y="50"/>
                  </a:lnTo>
                  <a:lnTo>
                    <a:pt x="308" y="53"/>
                  </a:lnTo>
                  <a:lnTo>
                    <a:pt x="306" y="53"/>
                  </a:lnTo>
                  <a:lnTo>
                    <a:pt x="308" y="53"/>
                  </a:lnTo>
                  <a:lnTo>
                    <a:pt x="311" y="53"/>
                  </a:lnTo>
                  <a:lnTo>
                    <a:pt x="311" y="55"/>
                  </a:lnTo>
                  <a:lnTo>
                    <a:pt x="313" y="55"/>
                  </a:lnTo>
                  <a:lnTo>
                    <a:pt x="311" y="55"/>
                  </a:lnTo>
                  <a:lnTo>
                    <a:pt x="311" y="53"/>
                  </a:lnTo>
                  <a:lnTo>
                    <a:pt x="313" y="53"/>
                  </a:lnTo>
                  <a:lnTo>
                    <a:pt x="313" y="50"/>
                  </a:lnTo>
                  <a:lnTo>
                    <a:pt x="315" y="50"/>
                  </a:lnTo>
                  <a:lnTo>
                    <a:pt x="315" y="48"/>
                  </a:lnTo>
                  <a:lnTo>
                    <a:pt x="313" y="48"/>
                  </a:lnTo>
                  <a:lnTo>
                    <a:pt x="311" y="46"/>
                  </a:lnTo>
                  <a:lnTo>
                    <a:pt x="308" y="46"/>
                  </a:lnTo>
                  <a:lnTo>
                    <a:pt x="311" y="46"/>
                  </a:lnTo>
                  <a:lnTo>
                    <a:pt x="311" y="43"/>
                  </a:lnTo>
                  <a:lnTo>
                    <a:pt x="308" y="43"/>
                  </a:lnTo>
                  <a:lnTo>
                    <a:pt x="311" y="43"/>
                  </a:lnTo>
                  <a:lnTo>
                    <a:pt x="311" y="41"/>
                  </a:lnTo>
                  <a:lnTo>
                    <a:pt x="308" y="41"/>
                  </a:lnTo>
                  <a:lnTo>
                    <a:pt x="306" y="38"/>
                  </a:lnTo>
                  <a:lnTo>
                    <a:pt x="308" y="38"/>
                  </a:lnTo>
                  <a:lnTo>
                    <a:pt x="306" y="38"/>
                  </a:lnTo>
                  <a:lnTo>
                    <a:pt x="306" y="36"/>
                  </a:lnTo>
                  <a:lnTo>
                    <a:pt x="308" y="34"/>
                  </a:lnTo>
                  <a:lnTo>
                    <a:pt x="306" y="34"/>
                  </a:lnTo>
                  <a:lnTo>
                    <a:pt x="308" y="34"/>
                  </a:lnTo>
                  <a:lnTo>
                    <a:pt x="311" y="34"/>
                  </a:lnTo>
                  <a:lnTo>
                    <a:pt x="311" y="31"/>
                  </a:lnTo>
                  <a:lnTo>
                    <a:pt x="313" y="31"/>
                  </a:lnTo>
                  <a:lnTo>
                    <a:pt x="315" y="31"/>
                  </a:lnTo>
                  <a:lnTo>
                    <a:pt x="318" y="31"/>
                  </a:lnTo>
                  <a:lnTo>
                    <a:pt x="315" y="31"/>
                  </a:lnTo>
                  <a:lnTo>
                    <a:pt x="315" y="29"/>
                  </a:lnTo>
                  <a:lnTo>
                    <a:pt x="318" y="29"/>
                  </a:lnTo>
                  <a:lnTo>
                    <a:pt x="320" y="29"/>
                  </a:lnTo>
                  <a:lnTo>
                    <a:pt x="322" y="29"/>
                  </a:lnTo>
                  <a:lnTo>
                    <a:pt x="322" y="27"/>
                  </a:lnTo>
                  <a:lnTo>
                    <a:pt x="320" y="27"/>
                  </a:lnTo>
                  <a:lnTo>
                    <a:pt x="318" y="27"/>
                  </a:lnTo>
                  <a:lnTo>
                    <a:pt x="320" y="27"/>
                  </a:lnTo>
                  <a:lnTo>
                    <a:pt x="320" y="24"/>
                  </a:lnTo>
                  <a:lnTo>
                    <a:pt x="322" y="24"/>
                  </a:lnTo>
                  <a:lnTo>
                    <a:pt x="322" y="22"/>
                  </a:lnTo>
                  <a:lnTo>
                    <a:pt x="325" y="22"/>
                  </a:lnTo>
                  <a:lnTo>
                    <a:pt x="325" y="19"/>
                  </a:lnTo>
                  <a:lnTo>
                    <a:pt x="327" y="19"/>
                  </a:lnTo>
                  <a:lnTo>
                    <a:pt x="329" y="17"/>
                  </a:lnTo>
                  <a:lnTo>
                    <a:pt x="329" y="19"/>
                  </a:lnTo>
                  <a:lnTo>
                    <a:pt x="334" y="19"/>
                  </a:lnTo>
                  <a:lnTo>
                    <a:pt x="337" y="19"/>
                  </a:lnTo>
                  <a:lnTo>
                    <a:pt x="339" y="22"/>
                  </a:lnTo>
                  <a:lnTo>
                    <a:pt x="341" y="22"/>
                  </a:lnTo>
                  <a:lnTo>
                    <a:pt x="341" y="24"/>
                  </a:lnTo>
                  <a:lnTo>
                    <a:pt x="339" y="24"/>
                  </a:lnTo>
                  <a:lnTo>
                    <a:pt x="337" y="24"/>
                  </a:lnTo>
                  <a:lnTo>
                    <a:pt x="339" y="24"/>
                  </a:lnTo>
                  <a:lnTo>
                    <a:pt x="341" y="24"/>
                  </a:lnTo>
                  <a:lnTo>
                    <a:pt x="344" y="24"/>
                  </a:lnTo>
                  <a:lnTo>
                    <a:pt x="346" y="27"/>
                  </a:lnTo>
                  <a:lnTo>
                    <a:pt x="344" y="27"/>
                  </a:lnTo>
                  <a:lnTo>
                    <a:pt x="346" y="29"/>
                  </a:lnTo>
                  <a:lnTo>
                    <a:pt x="348" y="29"/>
                  </a:lnTo>
                  <a:lnTo>
                    <a:pt x="348" y="31"/>
                  </a:lnTo>
                  <a:lnTo>
                    <a:pt x="351" y="31"/>
                  </a:lnTo>
                  <a:lnTo>
                    <a:pt x="353" y="31"/>
                  </a:lnTo>
                  <a:lnTo>
                    <a:pt x="351" y="31"/>
                  </a:lnTo>
                  <a:lnTo>
                    <a:pt x="351" y="34"/>
                  </a:lnTo>
                  <a:lnTo>
                    <a:pt x="351" y="36"/>
                  </a:lnTo>
                  <a:lnTo>
                    <a:pt x="351" y="38"/>
                  </a:lnTo>
                  <a:lnTo>
                    <a:pt x="353" y="38"/>
                  </a:lnTo>
                  <a:lnTo>
                    <a:pt x="356" y="38"/>
                  </a:lnTo>
                  <a:lnTo>
                    <a:pt x="356" y="41"/>
                  </a:lnTo>
                  <a:lnTo>
                    <a:pt x="358" y="41"/>
                  </a:lnTo>
                  <a:lnTo>
                    <a:pt x="356" y="41"/>
                  </a:lnTo>
                  <a:lnTo>
                    <a:pt x="356" y="43"/>
                  </a:lnTo>
                  <a:lnTo>
                    <a:pt x="358" y="43"/>
                  </a:lnTo>
                  <a:lnTo>
                    <a:pt x="356" y="43"/>
                  </a:lnTo>
                  <a:lnTo>
                    <a:pt x="356" y="46"/>
                  </a:lnTo>
                  <a:lnTo>
                    <a:pt x="358" y="46"/>
                  </a:lnTo>
                  <a:lnTo>
                    <a:pt x="358" y="48"/>
                  </a:lnTo>
                  <a:lnTo>
                    <a:pt x="356" y="48"/>
                  </a:lnTo>
                  <a:lnTo>
                    <a:pt x="358" y="48"/>
                  </a:lnTo>
                  <a:lnTo>
                    <a:pt x="360" y="48"/>
                  </a:lnTo>
                  <a:lnTo>
                    <a:pt x="360" y="50"/>
                  </a:lnTo>
                  <a:lnTo>
                    <a:pt x="363" y="53"/>
                  </a:lnTo>
                  <a:lnTo>
                    <a:pt x="363" y="55"/>
                  </a:lnTo>
                  <a:lnTo>
                    <a:pt x="365" y="55"/>
                  </a:lnTo>
                  <a:lnTo>
                    <a:pt x="367" y="55"/>
                  </a:lnTo>
                  <a:lnTo>
                    <a:pt x="367" y="57"/>
                  </a:lnTo>
                  <a:lnTo>
                    <a:pt x="367" y="60"/>
                  </a:lnTo>
                  <a:lnTo>
                    <a:pt x="365" y="60"/>
                  </a:lnTo>
                  <a:lnTo>
                    <a:pt x="363" y="62"/>
                  </a:lnTo>
                  <a:lnTo>
                    <a:pt x="365" y="62"/>
                  </a:lnTo>
                  <a:lnTo>
                    <a:pt x="363" y="62"/>
                  </a:lnTo>
                  <a:lnTo>
                    <a:pt x="365" y="62"/>
                  </a:lnTo>
                  <a:lnTo>
                    <a:pt x="363" y="62"/>
                  </a:lnTo>
                  <a:lnTo>
                    <a:pt x="363" y="65"/>
                  </a:lnTo>
                  <a:lnTo>
                    <a:pt x="365" y="65"/>
                  </a:lnTo>
                  <a:lnTo>
                    <a:pt x="367" y="67"/>
                  </a:lnTo>
                  <a:lnTo>
                    <a:pt x="365" y="65"/>
                  </a:lnTo>
                  <a:lnTo>
                    <a:pt x="367" y="65"/>
                  </a:lnTo>
                  <a:lnTo>
                    <a:pt x="367" y="62"/>
                  </a:lnTo>
                  <a:lnTo>
                    <a:pt x="370" y="62"/>
                  </a:lnTo>
                  <a:lnTo>
                    <a:pt x="372" y="62"/>
                  </a:lnTo>
                  <a:lnTo>
                    <a:pt x="375" y="62"/>
                  </a:lnTo>
                  <a:lnTo>
                    <a:pt x="375" y="65"/>
                  </a:lnTo>
                  <a:lnTo>
                    <a:pt x="377" y="65"/>
                  </a:lnTo>
                  <a:lnTo>
                    <a:pt x="377" y="67"/>
                  </a:lnTo>
                  <a:lnTo>
                    <a:pt x="379" y="69"/>
                  </a:lnTo>
                  <a:lnTo>
                    <a:pt x="379" y="72"/>
                  </a:lnTo>
                  <a:lnTo>
                    <a:pt x="382" y="72"/>
                  </a:lnTo>
                  <a:lnTo>
                    <a:pt x="382" y="74"/>
                  </a:lnTo>
                  <a:lnTo>
                    <a:pt x="384" y="76"/>
                  </a:lnTo>
                  <a:lnTo>
                    <a:pt x="386" y="76"/>
                  </a:lnTo>
                  <a:lnTo>
                    <a:pt x="386" y="79"/>
                  </a:lnTo>
                  <a:lnTo>
                    <a:pt x="389" y="79"/>
                  </a:lnTo>
                  <a:lnTo>
                    <a:pt x="389" y="81"/>
                  </a:lnTo>
                  <a:lnTo>
                    <a:pt x="389" y="79"/>
                  </a:lnTo>
                  <a:lnTo>
                    <a:pt x="389" y="81"/>
                  </a:lnTo>
                  <a:lnTo>
                    <a:pt x="391" y="79"/>
                  </a:lnTo>
                  <a:lnTo>
                    <a:pt x="394" y="79"/>
                  </a:lnTo>
                  <a:lnTo>
                    <a:pt x="394" y="76"/>
                  </a:lnTo>
                  <a:lnTo>
                    <a:pt x="391" y="76"/>
                  </a:lnTo>
                  <a:lnTo>
                    <a:pt x="391" y="74"/>
                  </a:lnTo>
                  <a:lnTo>
                    <a:pt x="389" y="74"/>
                  </a:lnTo>
                  <a:lnTo>
                    <a:pt x="391" y="74"/>
                  </a:lnTo>
                  <a:lnTo>
                    <a:pt x="389" y="74"/>
                  </a:lnTo>
                  <a:lnTo>
                    <a:pt x="389" y="72"/>
                  </a:lnTo>
                  <a:lnTo>
                    <a:pt x="386" y="72"/>
                  </a:lnTo>
                  <a:lnTo>
                    <a:pt x="389" y="69"/>
                  </a:lnTo>
                  <a:lnTo>
                    <a:pt x="386" y="69"/>
                  </a:lnTo>
                  <a:lnTo>
                    <a:pt x="386" y="67"/>
                  </a:lnTo>
                  <a:lnTo>
                    <a:pt x="384" y="67"/>
                  </a:lnTo>
                  <a:lnTo>
                    <a:pt x="384" y="65"/>
                  </a:lnTo>
                  <a:lnTo>
                    <a:pt x="382" y="65"/>
                  </a:lnTo>
                  <a:lnTo>
                    <a:pt x="382" y="62"/>
                  </a:lnTo>
                  <a:lnTo>
                    <a:pt x="379" y="60"/>
                  </a:lnTo>
                  <a:lnTo>
                    <a:pt x="379" y="57"/>
                  </a:lnTo>
                  <a:lnTo>
                    <a:pt x="379" y="55"/>
                  </a:lnTo>
                  <a:lnTo>
                    <a:pt x="377" y="55"/>
                  </a:lnTo>
                  <a:lnTo>
                    <a:pt x="375" y="53"/>
                  </a:lnTo>
                  <a:lnTo>
                    <a:pt x="375" y="50"/>
                  </a:lnTo>
                  <a:lnTo>
                    <a:pt x="375" y="48"/>
                  </a:lnTo>
                  <a:lnTo>
                    <a:pt x="375" y="46"/>
                  </a:lnTo>
                  <a:lnTo>
                    <a:pt x="375" y="43"/>
                  </a:lnTo>
                  <a:lnTo>
                    <a:pt x="372" y="43"/>
                  </a:lnTo>
                  <a:lnTo>
                    <a:pt x="372" y="41"/>
                  </a:lnTo>
                  <a:lnTo>
                    <a:pt x="372" y="38"/>
                  </a:lnTo>
                  <a:lnTo>
                    <a:pt x="372" y="36"/>
                  </a:lnTo>
                  <a:lnTo>
                    <a:pt x="370" y="34"/>
                  </a:lnTo>
                  <a:lnTo>
                    <a:pt x="370" y="31"/>
                  </a:lnTo>
                  <a:lnTo>
                    <a:pt x="370" y="29"/>
                  </a:lnTo>
                  <a:lnTo>
                    <a:pt x="367" y="29"/>
                  </a:lnTo>
                  <a:lnTo>
                    <a:pt x="367" y="27"/>
                  </a:lnTo>
                  <a:lnTo>
                    <a:pt x="365" y="27"/>
                  </a:lnTo>
                  <a:lnTo>
                    <a:pt x="367" y="24"/>
                  </a:lnTo>
                  <a:lnTo>
                    <a:pt x="365" y="24"/>
                  </a:lnTo>
                  <a:lnTo>
                    <a:pt x="365" y="22"/>
                  </a:lnTo>
                  <a:lnTo>
                    <a:pt x="365" y="19"/>
                  </a:lnTo>
                  <a:lnTo>
                    <a:pt x="367" y="19"/>
                  </a:lnTo>
                  <a:lnTo>
                    <a:pt x="365" y="19"/>
                  </a:lnTo>
                  <a:lnTo>
                    <a:pt x="365" y="17"/>
                  </a:lnTo>
                  <a:lnTo>
                    <a:pt x="365" y="15"/>
                  </a:lnTo>
                  <a:lnTo>
                    <a:pt x="367" y="12"/>
                  </a:lnTo>
                  <a:lnTo>
                    <a:pt x="370" y="12"/>
                  </a:lnTo>
                  <a:lnTo>
                    <a:pt x="372" y="15"/>
                  </a:lnTo>
                  <a:lnTo>
                    <a:pt x="377" y="15"/>
                  </a:lnTo>
                  <a:lnTo>
                    <a:pt x="379" y="15"/>
                  </a:lnTo>
                  <a:lnTo>
                    <a:pt x="377" y="15"/>
                  </a:lnTo>
                  <a:lnTo>
                    <a:pt x="379" y="15"/>
                  </a:lnTo>
                  <a:lnTo>
                    <a:pt x="382" y="15"/>
                  </a:lnTo>
                  <a:lnTo>
                    <a:pt x="379" y="12"/>
                  </a:lnTo>
                  <a:lnTo>
                    <a:pt x="377" y="12"/>
                  </a:lnTo>
                  <a:lnTo>
                    <a:pt x="377" y="10"/>
                  </a:lnTo>
                  <a:lnTo>
                    <a:pt x="375" y="10"/>
                  </a:lnTo>
                  <a:lnTo>
                    <a:pt x="377" y="10"/>
                  </a:lnTo>
                  <a:lnTo>
                    <a:pt x="375" y="10"/>
                  </a:lnTo>
                  <a:lnTo>
                    <a:pt x="375" y="7"/>
                  </a:lnTo>
                  <a:lnTo>
                    <a:pt x="377" y="7"/>
                  </a:lnTo>
                  <a:lnTo>
                    <a:pt x="375" y="7"/>
                  </a:lnTo>
                  <a:lnTo>
                    <a:pt x="377" y="7"/>
                  </a:lnTo>
                  <a:lnTo>
                    <a:pt x="377" y="5"/>
                  </a:lnTo>
                  <a:lnTo>
                    <a:pt x="379" y="3"/>
                  </a:lnTo>
                  <a:lnTo>
                    <a:pt x="382" y="3"/>
                  </a:lnTo>
                  <a:lnTo>
                    <a:pt x="382" y="0"/>
                  </a:lnTo>
                  <a:lnTo>
                    <a:pt x="384" y="0"/>
                  </a:lnTo>
                  <a:lnTo>
                    <a:pt x="386" y="0"/>
                  </a:lnTo>
                  <a:lnTo>
                    <a:pt x="389" y="0"/>
                  </a:lnTo>
                  <a:lnTo>
                    <a:pt x="389" y="3"/>
                  </a:lnTo>
                  <a:lnTo>
                    <a:pt x="391" y="3"/>
                  </a:lnTo>
                  <a:lnTo>
                    <a:pt x="394" y="3"/>
                  </a:lnTo>
                  <a:lnTo>
                    <a:pt x="396" y="3"/>
                  </a:lnTo>
                  <a:lnTo>
                    <a:pt x="396" y="5"/>
                  </a:lnTo>
                  <a:lnTo>
                    <a:pt x="396" y="7"/>
                  </a:lnTo>
                  <a:lnTo>
                    <a:pt x="398" y="7"/>
                  </a:lnTo>
                  <a:lnTo>
                    <a:pt x="401" y="7"/>
                  </a:lnTo>
                  <a:lnTo>
                    <a:pt x="401" y="10"/>
                  </a:lnTo>
                  <a:lnTo>
                    <a:pt x="398" y="10"/>
                  </a:lnTo>
                  <a:lnTo>
                    <a:pt x="401" y="12"/>
                  </a:lnTo>
                  <a:lnTo>
                    <a:pt x="403" y="12"/>
                  </a:lnTo>
                  <a:lnTo>
                    <a:pt x="403" y="15"/>
                  </a:lnTo>
                  <a:lnTo>
                    <a:pt x="405" y="15"/>
                  </a:lnTo>
                  <a:lnTo>
                    <a:pt x="408" y="15"/>
                  </a:lnTo>
                  <a:lnTo>
                    <a:pt x="408" y="12"/>
                  </a:lnTo>
                  <a:lnTo>
                    <a:pt x="405" y="12"/>
                  </a:lnTo>
                  <a:lnTo>
                    <a:pt x="405" y="10"/>
                  </a:lnTo>
                  <a:lnTo>
                    <a:pt x="403" y="10"/>
                  </a:lnTo>
                  <a:lnTo>
                    <a:pt x="405" y="10"/>
                  </a:lnTo>
                  <a:lnTo>
                    <a:pt x="408" y="7"/>
                  </a:lnTo>
                  <a:lnTo>
                    <a:pt x="410" y="7"/>
                  </a:lnTo>
                  <a:lnTo>
                    <a:pt x="413" y="7"/>
                  </a:lnTo>
                  <a:lnTo>
                    <a:pt x="415" y="7"/>
                  </a:lnTo>
                  <a:lnTo>
                    <a:pt x="417" y="10"/>
                  </a:lnTo>
                  <a:lnTo>
                    <a:pt x="420" y="10"/>
                  </a:lnTo>
                  <a:lnTo>
                    <a:pt x="422" y="10"/>
                  </a:lnTo>
                  <a:lnTo>
                    <a:pt x="422" y="12"/>
                  </a:lnTo>
                  <a:lnTo>
                    <a:pt x="424" y="12"/>
                  </a:lnTo>
                  <a:lnTo>
                    <a:pt x="427" y="12"/>
                  </a:lnTo>
                  <a:lnTo>
                    <a:pt x="429" y="12"/>
                  </a:lnTo>
                  <a:lnTo>
                    <a:pt x="432" y="15"/>
                  </a:lnTo>
                  <a:lnTo>
                    <a:pt x="434" y="15"/>
                  </a:lnTo>
                  <a:lnTo>
                    <a:pt x="434" y="17"/>
                  </a:lnTo>
                  <a:lnTo>
                    <a:pt x="436" y="17"/>
                  </a:lnTo>
                  <a:lnTo>
                    <a:pt x="436" y="19"/>
                  </a:lnTo>
                  <a:lnTo>
                    <a:pt x="439" y="19"/>
                  </a:lnTo>
                  <a:lnTo>
                    <a:pt x="441" y="22"/>
                  </a:lnTo>
                  <a:lnTo>
                    <a:pt x="443" y="22"/>
                  </a:lnTo>
                  <a:lnTo>
                    <a:pt x="443" y="24"/>
                  </a:lnTo>
                  <a:lnTo>
                    <a:pt x="443" y="27"/>
                  </a:lnTo>
                  <a:lnTo>
                    <a:pt x="441" y="27"/>
                  </a:lnTo>
                  <a:lnTo>
                    <a:pt x="439" y="27"/>
                  </a:lnTo>
                  <a:lnTo>
                    <a:pt x="439" y="29"/>
                  </a:lnTo>
                  <a:lnTo>
                    <a:pt x="436" y="31"/>
                  </a:lnTo>
                  <a:lnTo>
                    <a:pt x="434" y="31"/>
                  </a:lnTo>
                  <a:lnTo>
                    <a:pt x="432" y="31"/>
                  </a:lnTo>
                  <a:lnTo>
                    <a:pt x="434" y="34"/>
                  </a:lnTo>
                  <a:lnTo>
                    <a:pt x="432" y="36"/>
                  </a:lnTo>
                  <a:lnTo>
                    <a:pt x="429" y="36"/>
                  </a:lnTo>
                  <a:lnTo>
                    <a:pt x="432" y="36"/>
                  </a:lnTo>
                  <a:lnTo>
                    <a:pt x="429" y="36"/>
                  </a:lnTo>
                  <a:lnTo>
                    <a:pt x="432" y="36"/>
                  </a:lnTo>
                  <a:lnTo>
                    <a:pt x="429" y="36"/>
                  </a:lnTo>
                  <a:lnTo>
                    <a:pt x="432" y="36"/>
                  </a:lnTo>
                  <a:lnTo>
                    <a:pt x="434" y="36"/>
                  </a:lnTo>
                  <a:lnTo>
                    <a:pt x="434" y="38"/>
                  </a:lnTo>
                  <a:lnTo>
                    <a:pt x="434" y="41"/>
                  </a:lnTo>
                  <a:lnTo>
                    <a:pt x="436" y="41"/>
                  </a:lnTo>
                  <a:lnTo>
                    <a:pt x="436" y="43"/>
                  </a:lnTo>
                  <a:lnTo>
                    <a:pt x="434" y="43"/>
                  </a:lnTo>
                  <a:lnTo>
                    <a:pt x="434" y="46"/>
                  </a:lnTo>
                  <a:lnTo>
                    <a:pt x="432" y="46"/>
                  </a:lnTo>
                  <a:lnTo>
                    <a:pt x="432" y="48"/>
                  </a:lnTo>
                  <a:lnTo>
                    <a:pt x="429" y="48"/>
                  </a:lnTo>
                  <a:lnTo>
                    <a:pt x="432" y="48"/>
                  </a:lnTo>
                  <a:lnTo>
                    <a:pt x="434" y="48"/>
                  </a:lnTo>
                  <a:lnTo>
                    <a:pt x="436" y="46"/>
                  </a:lnTo>
                  <a:lnTo>
                    <a:pt x="439" y="46"/>
                  </a:lnTo>
                  <a:lnTo>
                    <a:pt x="441" y="46"/>
                  </a:lnTo>
                  <a:lnTo>
                    <a:pt x="441" y="43"/>
                  </a:lnTo>
                  <a:lnTo>
                    <a:pt x="443" y="43"/>
                  </a:lnTo>
                  <a:lnTo>
                    <a:pt x="443" y="41"/>
                  </a:lnTo>
                  <a:lnTo>
                    <a:pt x="443" y="38"/>
                  </a:lnTo>
                  <a:lnTo>
                    <a:pt x="443" y="36"/>
                  </a:lnTo>
                  <a:lnTo>
                    <a:pt x="446" y="34"/>
                  </a:lnTo>
                  <a:lnTo>
                    <a:pt x="446" y="31"/>
                  </a:lnTo>
                  <a:lnTo>
                    <a:pt x="448" y="31"/>
                  </a:lnTo>
                  <a:lnTo>
                    <a:pt x="450" y="31"/>
                  </a:lnTo>
                  <a:lnTo>
                    <a:pt x="453" y="31"/>
                  </a:lnTo>
                  <a:lnTo>
                    <a:pt x="455" y="31"/>
                  </a:lnTo>
                  <a:lnTo>
                    <a:pt x="455" y="34"/>
                  </a:lnTo>
                  <a:lnTo>
                    <a:pt x="458" y="34"/>
                  </a:lnTo>
                  <a:lnTo>
                    <a:pt x="460" y="34"/>
                  </a:lnTo>
                  <a:lnTo>
                    <a:pt x="462" y="34"/>
                  </a:lnTo>
                  <a:lnTo>
                    <a:pt x="462" y="36"/>
                  </a:lnTo>
                  <a:lnTo>
                    <a:pt x="465" y="36"/>
                  </a:lnTo>
                  <a:lnTo>
                    <a:pt x="467" y="36"/>
                  </a:lnTo>
                  <a:lnTo>
                    <a:pt x="465" y="36"/>
                  </a:lnTo>
                  <a:lnTo>
                    <a:pt x="465" y="38"/>
                  </a:lnTo>
                  <a:lnTo>
                    <a:pt x="467" y="38"/>
                  </a:lnTo>
                  <a:lnTo>
                    <a:pt x="465" y="38"/>
                  </a:lnTo>
                  <a:lnTo>
                    <a:pt x="467" y="38"/>
                  </a:lnTo>
                  <a:lnTo>
                    <a:pt x="469" y="41"/>
                  </a:lnTo>
                  <a:lnTo>
                    <a:pt x="467" y="41"/>
                  </a:lnTo>
                  <a:lnTo>
                    <a:pt x="469" y="41"/>
                  </a:lnTo>
                  <a:lnTo>
                    <a:pt x="469" y="43"/>
                  </a:lnTo>
                  <a:lnTo>
                    <a:pt x="472" y="43"/>
                  </a:lnTo>
                  <a:lnTo>
                    <a:pt x="469" y="43"/>
                  </a:lnTo>
                  <a:lnTo>
                    <a:pt x="469" y="46"/>
                  </a:lnTo>
                  <a:lnTo>
                    <a:pt x="472" y="46"/>
                  </a:lnTo>
                  <a:lnTo>
                    <a:pt x="469" y="46"/>
                  </a:lnTo>
                  <a:lnTo>
                    <a:pt x="472" y="46"/>
                  </a:lnTo>
                  <a:lnTo>
                    <a:pt x="469" y="48"/>
                  </a:lnTo>
                  <a:lnTo>
                    <a:pt x="472" y="48"/>
                  </a:lnTo>
                  <a:lnTo>
                    <a:pt x="469" y="48"/>
                  </a:lnTo>
                  <a:lnTo>
                    <a:pt x="472" y="48"/>
                  </a:lnTo>
                  <a:lnTo>
                    <a:pt x="469" y="48"/>
                  </a:lnTo>
                  <a:lnTo>
                    <a:pt x="472" y="48"/>
                  </a:lnTo>
                  <a:lnTo>
                    <a:pt x="469" y="48"/>
                  </a:lnTo>
                  <a:lnTo>
                    <a:pt x="472" y="50"/>
                  </a:lnTo>
                  <a:lnTo>
                    <a:pt x="469" y="50"/>
                  </a:lnTo>
                  <a:lnTo>
                    <a:pt x="472" y="50"/>
                  </a:lnTo>
                  <a:lnTo>
                    <a:pt x="469" y="50"/>
                  </a:lnTo>
                  <a:lnTo>
                    <a:pt x="469" y="53"/>
                  </a:lnTo>
                  <a:lnTo>
                    <a:pt x="467" y="53"/>
                  </a:lnTo>
                  <a:lnTo>
                    <a:pt x="467" y="55"/>
                  </a:lnTo>
                  <a:lnTo>
                    <a:pt x="465" y="55"/>
                  </a:lnTo>
                  <a:lnTo>
                    <a:pt x="462" y="55"/>
                  </a:lnTo>
                  <a:lnTo>
                    <a:pt x="462" y="57"/>
                  </a:lnTo>
                  <a:lnTo>
                    <a:pt x="465" y="57"/>
                  </a:lnTo>
                  <a:lnTo>
                    <a:pt x="469" y="55"/>
                  </a:lnTo>
                  <a:lnTo>
                    <a:pt x="469" y="57"/>
                  </a:lnTo>
                  <a:lnTo>
                    <a:pt x="472" y="57"/>
                  </a:lnTo>
                  <a:lnTo>
                    <a:pt x="472" y="60"/>
                  </a:lnTo>
                  <a:lnTo>
                    <a:pt x="472" y="62"/>
                  </a:lnTo>
                  <a:lnTo>
                    <a:pt x="474" y="62"/>
                  </a:lnTo>
                  <a:lnTo>
                    <a:pt x="474" y="65"/>
                  </a:lnTo>
                  <a:lnTo>
                    <a:pt x="477" y="65"/>
                  </a:lnTo>
                  <a:lnTo>
                    <a:pt x="479" y="65"/>
                  </a:lnTo>
                  <a:lnTo>
                    <a:pt x="479" y="62"/>
                  </a:lnTo>
                  <a:lnTo>
                    <a:pt x="481" y="62"/>
                  </a:lnTo>
                  <a:lnTo>
                    <a:pt x="484" y="62"/>
                  </a:lnTo>
                  <a:lnTo>
                    <a:pt x="484" y="60"/>
                  </a:lnTo>
                  <a:lnTo>
                    <a:pt x="486" y="60"/>
                  </a:lnTo>
                  <a:lnTo>
                    <a:pt x="488" y="60"/>
                  </a:lnTo>
                  <a:lnTo>
                    <a:pt x="491" y="62"/>
                  </a:lnTo>
                  <a:lnTo>
                    <a:pt x="493" y="62"/>
                  </a:lnTo>
                  <a:lnTo>
                    <a:pt x="496" y="62"/>
                  </a:lnTo>
                  <a:lnTo>
                    <a:pt x="498" y="62"/>
                  </a:lnTo>
                  <a:lnTo>
                    <a:pt x="500" y="62"/>
                  </a:lnTo>
                  <a:lnTo>
                    <a:pt x="503" y="62"/>
                  </a:lnTo>
                  <a:lnTo>
                    <a:pt x="500" y="62"/>
                  </a:lnTo>
                  <a:lnTo>
                    <a:pt x="500" y="65"/>
                  </a:lnTo>
                  <a:lnTo>
                    <a:pt x="500" y="67"/>
                  </a:lnTo>
                  <a:lnTo>
                    <a:pt x="500" y="69"/>
                  </a:lnTo>
                  <a:lnTo>
                    <a:pt x="503" y="69"/>
                  </a:lnTo>
                  <a:lnTo>
                    <a:pt x="505" y="69"/>
                  </a:lnTo>
                  <a:lnTo>
                    <a:pt x="505" y="72"/>
                  </a:lnTo>
                  <a:lnTo>
                    <a:pt x="503" y="72"/>
                  </a:lnTo>
                  <a:lnTo>
                    <a:pt x="505" y="72"/>
                  </a:lnTo>
                  <a:lnTo>
                    <a:pt x="507" y="72"/>
                  </a:lnTo>
                  <a:lnTo>
                    <a:pt x="507" y="74"/>
                  </a:lnTo>
                  <a:lnTo>
                    <a:pt x="510" y="74"/>
                  </a:lnTo>
                  <a:lnTo>
                    <a:pt x="512" y="74"/>
                  </a:lnTo>
                  <a:lnTo>
                    <a:pt x="512" y="72"/>
                  </a:lnTo>
                  <a:lnTo>
                    <a:pt x="515" y="72"/>
                  </a:lnTo>
                  <a:lnTo>
                    <a:pt x="512" y="72"/>
                  </a:lnTo>
                  <a:lnTo>
                    <a:pt x="515" y="72"/>
                  </a:lnTo>
                  <a:lnTo>
                    <a:pt x="517" y="74"/>
                  </a:lnTo>
                  <a:lnTo>
                    <a:pt x="519" y="74"/>
                  </a:lnTo>
                  <a:lnTo>
                    <a:pt x="522" y="74"/>
                  </a:lnTo>
                  <a:lnTo>
                    <a:pt x="524" y="76"/>
                  </a:lnTo>
                  <a:lnTo>
                    <a:pt x="526" y="76"/>
                  </a:lnTo>
                  <a:lnTo>
                    <a:pt x="529" y="76"/>
                  </a:lnTo>
                  <a:lnTo>
                    <a:pt x="531" y="79"/>
                  </a:lnTo>
                  <a:lnTo>
                    <a:pt x="534" y="79"/>
                  </a:lnTo>
                  <a:lnTo>
                    <a:pt x="536" y="79"/>
                  </a:lnTo>
                  <a:lnTo>
                    <a:pt x="538" y="79"/>
                  </a:lnTo>
                  <a:lnTo>
                    <a:pt x="541" y="79"/>
                  </a:lnTo>
                  <a:lnTo>
                    <a:pt x="543" y="81"/>
                  </a:lnTo>
                  <a:lnTo>
                    <a:pt x="545" y="81"/>
                  </a:lnTo>
                  <a:lnTo>
                    <a:pt x="548" y="84"/>
                  </a:lnTo>
                  <a:lnTo>
                    <a:pt x="550" y="84"/>
                  </a:lnTo>
                  <a:lnTo>
                    <a:pt x="553" y="84"/>
                  </a:lnTo>
                  <a:lnTo>
                    <a:pt x="555" y="84"/>
                  </a:lnTo>
                  <a:lnTo>
                    <a:pt x="557" y="84"/>
                  </a:lnTo>
                  <a:lnTo>
                    <a:pt x="557" y="86"/>
                  </a:lnTo>
                  <a:lnTo>
                    <a:pt x="555" y="86"/>
                  </a:lnTo>
                  <a:lnTo>
                    <a:pt x="555" y="88"/>
                  </a:lnTo>
                  <a:lnTo>
                    <a:pt x="553" y="88"/>
                  </a:lnTo>
                  <a:lnTo>
                    <a:pt x="553" y="91"/>
                  </a:lnTo>
                  <a:lnTo>
                    <a:pt x="553" y="93"/>
                  </a:lnTo>
                  <a:lnTo>
                    <a:pt x="555" y="93"/>
                  </a:lnTo>
                  <a:lnTo>
                    <a:pt x="553" y="93"/>
                  </a:lnTo>
                  <a:lnTo>
                    <a:pt x="553" y="95"/>
                  </a:lnTo>
                  <a:lnTo>
                    <a:pt x="550" y="95"/>
                  </a:lnTo>
                  <a:lnTo>
                    <a:pt x="550" y="93"/>
                  </a:lnTo>
                  <a:lnTo>
                    <a:pt x="550" y="95"/>
                  </a:lnTo>
                  <a:lnTo>
                    <a:pt x="548" y="95"/>
                  </a:lnTo>
                  <a:lnTo>
                    <a:pt x="548" y="93"/>
                  </a:lnTo>
                  <a:lnTo>
                    <a:pt x="545" y="93"/>
                  </a:lnTo>
                  <a:lnTo>
                    <a:pt x="543" y="93"/>
                  </a:lnTo>
                  <a:lnTo>
                    <a:pt x="545" y="93"/>
                  </a:lnTo>
                  <a:lnTo>
                    <a:pt x="545" y="95"/>
                  </a:lnTo>
                  <a:lnTo>
                    <a:pt x="543" y="95"/>
                  </a:lnTo>
                  <a:lnTo>
                    <a:pt x="541" y="95"/>
                  </a:lnTo>
                  <a:lnTo>
                    <a:pt x="541" y="93"/>
                  </a:lnTo>
                  <a:lnTo>
                    <a:pt x="538" y="93"/>
                  </a:lnTo>
                  <a:lnTo>
                    <a:pt x="541" y="93"/>
                  </a:lnTo>
                  <a:lnTo>
                    <a:pt x="538" y="93"/>
                  </a:lnTo>
                  <a:lnTo>
                    <a:pt x="536" y="93"/>
                  </a:lnTo>
                  <a:lnTo>
                    <a:pt x="536" y="91"/>
                  </a:lnTo>
                  <a:lnTo>
                    <a:pt x="534" y="91"/>
                  </a:lnTo>
                  <a:lnTo>
                    <a:pt x="534" y="93"/>
                  </a:lnTo>
                  <a:lnTo>
                    <a:pt x="531" y="93"/>
                  </a:lnTo>
                  <a:lnTo>
                    <a:pt x="529" y="93"/>
                  </a:lnTo>
                  <a:lnTo>
                    <a:pt x="529" y="91"/>
                  </a:lnTo>
                  <a:lnTo>
                    <a:pt x="526" y="91"/>
                  </a:lnTo>
                  <a:lnTo>
                    <a:pt x="524" y="91"/>
                  </a:lnTo>
                  <a:lnTo>
                    <a:pt x="524" y="93"/>
                  </a:lnTo>
                  <a:lnTo>
                    <a:pt x="522" y="93"/>
                  </a:lnTo>
                  <a:lnTo>
                    <a:pt x="519" y="93"/>
                  </a:lnTo>
                  <a:lnTo>
                    <a:pt x="517" y="93"/>
                  </a:lnTo>
                  <a:lnTo>
                    <a:pt x="515" y="93"/>
                  </a:lnTo>
                  <a:lnTo>
                    <a:pt x="515" y="95"/>
                  </a:lnTo>
                  <a:lnTo>
                    <a:pt x="517" y="95"/>
                  </a:lnTo>
                  <a:lnTo>
                    <a:pt x="515" y="95"/>
                  </a:lnTo>
                  <a:lnTo>
                    <a:pt x="512" y="95"/>
                  </a:lnTo>
                  <a:lnTo>
                    <a:pt x="510" y="95"/>
                  </a:lnTo>
                  <a:lnTo>
                    <a:pt x="512" y="95"/>
                  </a:lnTo>
                  <a:lnTo>
                    <a:pt x="510" y="95"/>
                  </a:lnTo>
                  <a:lnTo>
                    <a:pt x="510" y="98"/>
                  </a:lnTo>
                  <a:lnTo>
                    <a:pt x="507" y="98"/>
                  </a:lnTo>
                  <a:lnTo>
                    <a:pt x="510" y="98"/>
                  </a:lnTo>
                  <a:lnTo>
                    <a:pt x="507" y="98"/>
                  </a:lnTo>
                  <a:lnTo>
                    <a:pt x="505" y="98"/>
                  </a:lnTo>
                  <a:lnTo>
                    <a:pt x="503" y="98"/>
                  </a:lnTo>
                  <a:lnTo>
                    <a:pt x="500" y="98"/>
                  </a:lnTo>
                  <a:lnTo>
                    <a:pt x="498" y="98"/>
                  </a:lnTo>
                  <a:lnTo>
                    <a:pt x="496" y="98"/>
                  </a:lnTo>
                  <a:lnTo>
                    <a:pt x="498" y="98"/>
                  </a:lnTo>
                  <a:lnTo>
                    <a:pt x="496" y="98"/>
                  </a:lnTo>
                  <a:lnTo>
                    <a:pt x="496" y="100"/>
                  </a:lnTo>
                  <a:lnTo>
                    <a:pt x="498" y="100"/>
                  </a:lnTo>
                  <a:lnTo>
                    <a:pt x="498" y="98"/>
                  </a:lnTo>
                  <a:lnTo>
                    <a:pt x="498" y="100"/>
                  </a:lnTo>
                  <a:lnTo>
                    <a:pt x="496" y="100"/>
                  </a:lnTo>
                  <a:lnTo>
                    <a:pt x="493" y="100"/>
                  </a:lnTo>
                  <a:lnTo>
                    <a:pt x="491" y="100"/>
                  </a:lnTo>
                  <a:lnTo>
                    <a:pt x="488" y="103"/>
                  </a:lnTo>
                  <a:lnTo>
                    <a:pt x="486" y="103"/>
                  </a:lnTo>
                  <a:lnTo>
                    <a:pt x="481" y="103"/>
                  </a:lnTo>
                  <a:lnTo>
                    <a:pt x="481" y="105"/>
                  </a:lnTo>
                  <a:lnTo>
                    <a:pt x="479" y="105"/>
                  </a:lnTo>
                  <a:lnTo>
                    <a:pt x="474" y="103"/>
                  </a:lnTo>
                  <a:lnTo>
                    <a:pt x="474" y="105"/>
                  </a:lnTo>
                  <a:lnTo>
                    <a:pt x="472" y="105"/>
                  </a:lnTo>
                  <a:lnTo>
                    <a:pt x="472" y="107"/>
                  </a:lnTo>
                  <a:lnTo>
                    <a:pt x="474" y="107"/>
                  </a:lnTo>
                  <a:lnTo>
                    <a:pt x="477" y="110"/>
                  </a:lnTo>
                  <a:lnTo>
                    <a:pt x="477" y="112"/>
                  </a:lnTo>
                  <a:lnTo>
                    <a:pt x="477" y="114"/>
                  </a:lnTo>
                  <a:lnTo>
                    <a:pt x="479" y="117"/>
                  </a:lnTo>
                  <a:lnTo>
                    <a:pt x="477" y="117"/>
                  </a:lnTo>
                  <a:lnTo>
                    <a:pt x="474" y="117"/>
                  </a:lnTo>
                  <a:lnTo>
                    <a:pt x="472" y="117"/>
                  </a:lnTo>
                  <a:lnTo>
                    <a:pt x="469" y="117"/>
                  </a:lnTo>
                  <a:lnTo>
                    <a:pt x="469" y="119"/>
                  </a:lnTo>
                  <a:lnTo>
                    <a:pt x="474" y="119"/>
                  </a:lnTo>
                  <a:lnTo>
                    <a:pt x="474" y="122"/>
                  </a:lnTo>
                  <a:lnTo>
                    <a:pt x="477" y="122"/>
                  </a:lnTo>
                  <a:lnTo>
                    <a:pt x="477" y="124"/>
                  </a:lnTo>
                  <a:lnTo>
                    <a:pt x="479" y="124"/>
                  </a:lnTo>
                  <a:lnTo>
                    <a:pt x="477" y="126"/>
                  </a:lnTo>
                  <a:lnTo>
                    <a:pt x="472" y="126"/>
                  </a:lnTo>
                  <a:lnTo>
                    <a:pt x="469" y="126"/>
                  </a:lnTo>
                  <a:lnTo>
                    <a:pt x="472" y="126"/>
                  </a:lnTo>
                  <a:lnTo>
                    <a:pt x="474" y="129"/>
                  </a:lnTo>
                  <a:lnTo>
                    <a:pt x="474" y="131"/>
                  </a:lnTo>
                  <a:lnTo>
                    <a:pt x="477" y="131"/>
                  </a:lnTo>
                  <a:lnTo>
                    <a:pt x="477" y="133"/>
                  </a:lnTo>
                  <a:lnTo>
                    <a:pt x="474" y="133"/>
                  </a:lnTo>
                  <a:lnTo>
                    <a:pt x="474" y="136"/>
                  </a:lnTo>
                  <a:lnTo>
                    <a:pt x="472" y="136"/>
                  </a:lnTo>
                  <a:lnTo>
                    <a:pt x="469" y="136"/>
                  </a:lnTo>
                  <a:lnTo>
                    <a:pt x="467" y="136"/>
                  </a:lnTo>
                  <a:lnTo>
                    <a:pt x="465" y="136"/>
                  </a:lnTo>
                  <a:lnTo>
                    <a:pt x="462" y="136"/>
                  </a:lnTo>
                  <a:lnTo>
                    <a:pt x="460" y="136"/>
                  </a:lnTo>
                  <a:lnTo>
                    <a:pt x="458" y="136"/>
                  </a:lnTo>
                  <a:lnTo>
                    <a:pt x="455" y="136"/>
                  </a:lnTo>
                  <a:lnTo>
                    <a:pt x="455" y="138"/>
                  </a:lnTo>
                  <a:lnTo>
                    <a:pt x="458" y="141"/>
                  </a:lnTo>
                  <a:lnTo>
                    <a:pt x="458" y="143"/>
                  </a:lnTo>
                  <a:lnTo>
                    <a:pt x="455" y="143"/>
                  </a:lnTo>
                  <a:lnTo>
                    <a:pt x="453" y="145"/>
                  </a:lnTo>
                  <a:lnTo>
                    <a:pt x="450" y="145"/>
                  </a:lnTo>
                  <a:lnTo>
                    <a:pt x="448" y="145"/>
                  </a:lnTo>
                  <a:lnTo>
                    <a:pt x="448" y="148"/>
                  </a:lnTo>
                  <a:lnTo>
                    <a:pt x="450" y="148"/>
                  </a:lnTo>
                  <a:lnTo>
                    <a:pt x="450" y="145"/>
                  </a:lnTo>
                  <a:lnTo>
                    <a:pt x="453" y="145"/>
                  </a:lnTo>
                  <a:lnTo>
                    <a:pt x="455" y="148"/>
                  </a:lnTo>
                  <a:lnTo>
                    <a:pt x="453" y="148"/>
                  </a:lnTo>
                  <a:lnTo>
                    <a:pt x="450" y="148"/>
                  </a:lnTo>
                  <a:lnTo>
                    <a:pt x="448" y="148"/>
                  </a:lnTo>
                  <a:lnTo>
                    <a:pt x="448" y="150"/>
                  </a:lnTo>
                  <a:lnTo>
                    <a:pt x="450" y="150"/>
                  </a:lnTo>
                  <a:lnTo>
                    <a:pt x="453" y="150"/>
                  </a:lnTo>
                  <a:lnTo>
                    <a:pt x="455" y="150"/>
                  </a:lnTo>
                  <a:lnTo>
                    <a:pt x="458" y="150"/>
                  </a:lnTo>
                  <a:lnTo>
                    <a:pt x="458" y="152"/>
                  </a:lnTo>
                  <a:lnTo>
                    <a:pt x="458" y="155"/>
                  </a:lnTo>
                  <a:lnTo>
                    <a:pt x="455" y="157"/>
                  </a:lnTo>
                  <a:lnTo>
                    <a:pt x="453" y="157"/>
                  </a:lnTo>
                  <a:lnTo>
                    <a:pt x="450" y="160"/>
                  </a:lnTo>
                  <a:lnTo>
                    <a:pt x="453" y="160"/>
                  </a:lnTo>
                  <a:lnTo>
                    <a:pt x="453" y="162"/>
                  </a:lnTo>
                  <a:lnTo>
                    <a:pt x="455" y="162"/>
                  </a:lnTo>
                  <a:lnTo>
                    <a:pt x="453" y="164"/>
                  </a:lnTo>
                  <a:lnTo>
                    <a:pt x="453" y="167"/>
                  </a:lnTo>
                  <a:lnTo>
                    <a:pt x="450" y="167"/>
                  </a:lnTo>
                  <a:lnTo>
                    <a:pt x="453" y="169"/>
                  </a:lnTo>
                  <a:lnTo>
                    <a:pt x="450" y="169"/>
                  </a:lnTo>
                  <a:lnTo>
                    <a:pt x="450" y="171"/>
                  </a:lnTo>
                  <a:lnTo>
                    <a:pt x="448" y="171"/>
                  </a:lnTo>
                  <a:lnTo>
                    <a:pt x="446" y="171"/>
                  </a:lnTo>
                  <a:lnTo>
                    <a:pt x="443" y="171"/>
                  </a:lnTo>
                  <a:lnTo>
                    <a:pt x="441" y="171"/>
                  </a:lnTo>
                  <a:lnTo>
                    <a:pt x="439" y="169"/>
                  </a:lnTo>
                  <a:lnTo>
                    <a:pt x="436" y="169"/>
                  </a:lnTo>
                  <a:lnTo>
                    <a:pt x="436" y="167"/>
                  </a:lnTo>
                  <a:lnTo>
                    <a:pt x="436" y="169"/>
                  </a:lnTo>
                  <a:lnTo>
                    <a:pt x="434" y="169"/>
                  </a:lnTo>
                  <a:lnTo>
                    <a:pt x="434" y="167"/>
                  </a:lnTo>
                  <a:lnTo>
                    <a:pt x="432" y="167"/>
                  </a:lnTo>
                  <a:lnTo>
                    <a:pt x="429" y="167"/>
                  </a:lnTo>
                  <a:lnTo>
                    <a:pt x="432" y="167"/>
                  </a:lnTo>
                  <a:lnTo>
                    <a:pt x="429" y="169"/>
                  </a:lnTo>
                  <a:lnTo>
                    <a:pt x="427" y="169"/>
                  </a:lnTo>
                  <a:lnTo>
                    <a:pt x="429" y="169"/>
                  </a:lnTo>
                  <a:lnTo>
                    <a:pt x="432" y="171"/>
                  </a:lnTo>
                  <a:lnTo>
                    <a:pt x="429" y="171"/>
                  </a:lnTo>
                  <a:lnTo>
                    <a:pt x="432" y="171"/>
                  </a:lnTo>
                  <a:lnTo>
                    <a:pt x="432" y="169"/>
                  </a:lnTo>
                  <a:lnTo>
                    <a:pt x="432" y="171"/>
                  </a:lnTo>
                  <a:lnTo>
                    <a:pt x="432" y="174"/>
                  </a:lnTo>
                  <a:lnTo>
                    <a:pt x="429" y="174"/>
                  </a:lnTo>
                  <a:lnTo>
                    <a:pt x="432" y="174"/>
                  </a:lnTo>
                  <a:lnTo>
                    <a:pt x="429" y="174"/>
                  </a:lnTo>
                  <a:lnTo>
                    <a:pt x="429" y="176"/>
                  </a:lnTo>
                  <a:lnTo>
                    <a:pt x="427" y="176"/>
                  </a:lnTo>
                  <a:lnTo>
                    <a:pt x="427" y="179"/>
                  </a:lnTo>
                  <a:lnTo>
                    <a:pt x="424" y="179"/>
                  </a:lnTo>
                  <a:lnTo>
                    <a:pt x="427" y="179"/>
                  </a:lnTo>
                  <a:lnTo>
                    <a:pt x="429" y="181"/>
                  </a:lnTo>
                  <a:lnTo>
                    <a:pt x="427" y="181"/>
                  </a:lnTo>
                  <a:lnTo>
                    <a:pt x="424" y="183"/>
                  </a:lnTo>
                  <a:lnTo>
                    <a:pt x="424" y="186"/>
                  </a:lnTo>
                  <a:lnTo>
                    <a:pt x="424" y="183"/>
                  </a:lnTo>
                  <a:lnTo>
                    <a:pt x="422" y="183"/>
                  </a:lnTo>
                  <a:lnTo>
                    <a:pt x="422" y="186"/>
                  </a:lnTo>
                  <a:lnTo>
                    <a:pt x="420" y="186"/>
                  </a:lnTo>
                  <a:lnTo>
                    <a:pt x="422" y="186"/>
                  </a:lnTo>
                  <a:lnTo>
                    <a:pt x="420" y="186"/>
                  </a:lnTo>
                  <a:lnTo>
                    <a:pt x="420" y="188"/>
                  </a:lnTo>
                  <a:lnTo>
                    <a:pt x="422" y="188"/>
                  </a:lnTo>
                  <a:lnTo>
                    <a:pt x="424" y="188"/>
                  </a:lnTo>
                  <a:lnTo>
                    <a:pt x="424" y="190"/>
                  </a:lnTo>
                  <a:lnTo>
                    <a:pt x="422" y="190"/>
                  </a:lnTo>
                  <a:lnTo>
                    <a:pt x="420" y="190"/>
                  </a:lnTo>
                  <a:lnTo>
                    <a:pt x="422" y="190"/>
                  </a:lnTo>
                  <a:lnTo>
                    <a:pt x="422" y="193"/>
                  </a:lnTo>
                  <a:lnTo>
                    <a:pt x="420" y="195"/>
                  </a:lnTo>
                  <a:lnTo>
                    <a:pt x="422" y="195"/>
                  </a:lnTo>
                  <a:lnTo>
                    <a:pt x="422" y="198"/>
                  </a:lnTo>
                  <a:lnTo>
                    <a:pt x="420" y="198"/>
                  </a:lnTo>
                  <a:lnTo>
                    <a:pt x="420" y="200"/>
                  </a:lnTo>
                  <a:lnTo>
                    <a:pt x="417" y="202"/>
                  </a:lnTo>
                  <a:lnTo>
                    <a:pt x="417" y="200"/>
                  </a:lnTo>
                  <a:lnTo>
                    <a:pt x="415" y="200"/>
                  </a:lnTo>
                  <a:lnTo>
                    <a:pt x="413" y="200"/>
                  </a:lnTo>
                  <a:lnTo>
                    <a:pt x="410" y="200"/>
                  </a:lnTo>
                  <a:lnTo>
                    <a:pt x="410" y="202"/>
                  </a:lnTo>
                  <a:lnTo>
                    <a:pt x="413" y="202"/>
                  </a:lnTo>
                  <a:lnTo>
                    <a:pt x="415" y="202"/>
                  </a:lnTo>
                  <a:lnTo>
                    <a:pt x="417" y="205"/>
                  </a:lnTo>
                  <a:lnTo>
                    <a:pt x="420" y="205"/>
                  </a:lnTo>
                  <a:lnTo>
                    <a:pt x="420" y="207"/>
                  </a:lnTo>
                  <a:lnTo>
                    <a:pt x="417" y="207"/>
                  </a:lnTo>
                  <a:lnTo>
                    <a:pt x="420" y="207"/>
                  </a:lnTo>
                  <a:lnTo>
                    <a:pt x="417" y="209"/>
                  </a:lnTo>
                  <a:lnTo>
                    <a:pt x="415" y="209"/>
                  </a:lnTo>
                  <a:lnTo>
                    <a:pt x="413" y="212"/>
                  </a:lnTo>
                  <a:lnTo>
                    <a:pt x="413" y="214"/>
                  </a:lnTo>
                  <a:lnTo>
                    <a:pt x="410" y="214"/>
                  </a:lnTo>
                  <a:lnTo>
                    <a:pt x="408" y="214"/>
                  </a:lnTo>
                  <a:lnTo>
                    <a:pt x="405" y="214"/>
                  </a:lnTo>
                  <a:lnTo>
                    <a:pt x="403" y="214"/>
                  </a:lnTo>
                  <a:lnTo>
                    <a:pt x="403" y="217"/>
                  </a:lnTo>
                  <a:lnTo>
                    <a:pt x="401" y="217"/>
                  </a:lnTo>
                  <a:lnTo>
                    <a:pt x="403" y="217"/>
                  </a:lnTo>
                  <a:lnTo>
                    <a:pt x="403" y="219"/>
                  </a:lnTo>
                  <a:lnTo>
                    <a:pt x="405" y="219"/>
                  </a:lnTo>
                  <a:lnTo>
                    <a:pt x="408" y="219"/>
                  </a:lnTo>
                  <a:lnTo>
                    <a:pt x="410" y="219"/>
                  </a:lnTo>
                  <a:lnTo>
                    <a:pt x="413" y="219"/>
                  </a:lnTo>
                  <a:lnTo>
                    <a:pt x="413" y="221"/>
                  </a:lnTo>
                  <a:lnTo>
                    <a:pt x="415" y="221"/>
                  </a:lnTo>
                  <a:lnTo>
                    <a:pt x="415" y="224"/>
                  </a:lnTo>
                  <a:lnTo>
                    <a:pt x="413" y="224"/>
                  </a:lnTo>
                  <a:lnTo>
                    <a:pt x="413" y="226"/>
                  </a:lnTo>
                  <a:lnTo>
                    <a:pt x="410" y="226"/>
                  </a:lnTo>
                  <a:lnTo>
                    <a:pt x="413" y="226"/>
                  </a:lnTo>
                  <a:lnTo>
                    <a:pt x="413" y="228"/>
                  </a:lnTo>
                  <a:lnTo>
                    <a:pt x="410" y="228"/>
                  </a:lnTo>
                  <a:lnTo>
                    <a:pt x="408" y="228"/>
                  </a:lnTo>
                  <a:lnTo>
                    <a:pt x="408" y="231"/>
                  </a:lnTo>
                  <a:lnTo>
                    <a:pt x="405" y="231"/>
                  </a:lnTo>
                  <a:lnTo>
                    <a:pt x="403" y="231"/>
                  </a:lnTo>
                  <a:lnTo>
                    <a:pt x="403" y="233"/>
                  </a:lnTo>
                  <a:lnTo>
                    <a:pt x="401" y="233"/>
                  </a:lnTo>
                  <a:lnTo>
                    <a:pt x="398" y="233"/>
                  </a:lnTo>
                  <a:lnTo>
                    <a:pt x="396" y="233"/>
                  </a:lnTo>
                  <a:lnTo>
                    <a:pt x="394" y="231"/>
                  </a:lnTo>
                  <a:lnTo>
                    <a:pt x="394" y="228"/>
                  </a:lnTo>
                  <a:lnTo>
                    <a:pt x="391" y="231"/>
                  </a:lnTo>
                  <a:lnTo>
                    <a:pt x="389" y="231"/>
                  </a:lnTo>
                  <a:lnTo>
                    <a:pt x="389" y="233"/>
                  </a:lnTo>
                  <a:lnTo>
                    <a:pt x="386" y="233"/>
                  </a:lnTo>
                  <a:lnTo>
                    <a:pt x="384" y="233"/>
                  </a:lnTo>
                  <a:lnTo>
                    <a:pt x="386" y="233"/>
                  </a:lnTo>
                  <a:lnTo>
                    <a:pt x="386" y="231"/>
                  </a:lnTo>
                  <a:lnTo>
                    <a:pt x="384" y="231"/>
                  </a:lnTo>
                  <a:lnTo>
                    <a:pt x="386" y="231"/>
                  </a:lnTo>
                  <a:lnTo>
                    <a:pt x="386" y="228"/>
                  </a:lnTo>
                  <a:lnTo>
                    <a:pt x="386" y="226"/>
                  </a:lnTo>
                  <a:lnTo>
                    <a:pt x="389" y="226"/>
                  </a:lnTo>
                  <a:lnTo>
                    <a:pt x="391" y="226"/>
                  </a:lnTo>
                  <a:lnTo>
                    <a:pt x="391" y="224"/>
                  </a:lnTo>
                  <a:lnTo>
                    <a:pt x="389" y="224"/>
                  </a:lnTo>
                  <a:lnTo>
                    <a:pt x="386" y="224"/>
                  </a:lnTo>
                  <a:lnTo>
                    <a:pt x="384" y="224"/>
                  </a:lnTo>
                  <a:lnTo>
                    <a:pt x="382" y="224"/>
                  </a:lnTo>
                  <a:lnTo>
                    <a:pt x="382" y="221"/>
                  </a:lnTo>
                  <a:lnTo>
                    <a:pt x="379" y="221"/>
                  </a:lnTo>
                  <a:lnTo>
                    <a:pt x="377" y="221"/>
                  </a:lnTo>
                  <a:lnTo>
                    <a:pt x="375" y="219"/>
                  </a:lnTo>
                  <a:lnTo>
                    <a:pt x="372" y="219"/>
                  </a:lnTo>
                  <a:lnTo>
                    <a:pt x="372" y="217"/>
                  </a:lnTo>
                  <a:lnTo>
                    <a:pt x="370" y="217"/>
                  </a:lnTo>
                  <a:lnTo>
                    <a:pt x="367" y="217"/>
                  </a:lnTo>
                  <a:lnTo>
                    <a:pt x="367" y="214"/>
                  </a:lnTo>
                  <a:lnTo>
                    <a:pt x="365" y="214"/>
                  </a:lnTo>
                  <a:lnTo>
                    <a:pt x="363" y="214"/>
                  </a:lnTo>
                  <a:lnTo>
                    <a:pt x="360" y="212"/>
                  </a:lnTo>
                  <a:lnTo>
                    <a:pt x="360" y="209"/>
                  </a:lnTo>
                  <a:lnTo>
                    <a:pt x="363" y="209"/>
                  </a:lnTo>
                  <a:lnTo>
                    <a:pt x="365" y="209"/>
                  </a:lnTo>
                  <a:lnTo>
                    <a:pt x="367" y="209"/>
                  </a:lnTo>
                  <a:lnTo>
                    <a:pt x="370" y="209"/>
                  </a:lnTo>
                  <a:lnTo>
                    <a:pt x="370" y="207"/>
                  </a:lnTo>
                  <a:lnTo>
                    <a:pt x="372" y="209"/>
                  </a:lnTo>
                  <a:lnTo>
                    <a:pt x="372" y="207"/>
                  </a:lnTo>
                  <a:lnTo>
                    <a:pt x="375" y="207"/>
                  </a:lnTo>
                  <a:lnTo>
                    <a:pt x="377" y="207"/>
                  </a:lnTo>
                  <a:lnTo>
                    <a:pt x="379" y="207"/>
                  </a:lnTo>
                  <a:lnTo>
                    <a:pt x="379" y="205"/>
                  </a:lnTo>
                  <a:lnTo>
                    <a:pt x="379" y="207"/>
                  </a:lnTo>
                  <a:lnTo>
                    <a:pt x="382" y="207"/>
                  </a:lnTo>
                  <a:lnTo>
                    <a:pt x="384" y="207"/>
                  </a:lnTo>
                  <a:lnTo>
                    <a:pt x="384" y="209"/>
                  </a:lnTo>
                  <a:lnTo>
                    <a:pt x="386" y="209"/>
                  </a:lnTo>
                  <a:lnTo>
                    <a:pt x="389" y="209"/>
                  </a:lnTo>
                  <a:lnTo>
                    <a:pt x="386" y="209"/>
                  </a:lnTo>
                  <a:lnTo>
                    <a:pt x="386" y="207"/>
                  </a:lnTo>
                  <a:lnTo>
                    <a:pt x="386" y="205"/>
                  </a:lnTo>
                  <a:lnTo>
                    <a:pt x="386" y="207"/>
                  </a:lnTo>
                  <a:lnTo>
                    <a:pt x="389" y="207"/>
                  </a:lnTo>
                  <a:lnTo>
                    <a:pt x="389" y="205"/>
                  </a:lnTo>
                  <a:lnTo>
                    <a:pt x="391" y="205"/>
                  </a:lnTo>
                  <a:lnTo>
                    <a:pt x="394" y="205"/>
                  </a:lnTo>
                  <a:lnTo>
                    <a:pt x="394" y="207"/>
                  </a:lnTo>
                  <a:lnTo>
                    <a:pt x="396" y="205"/>
                  </a:lnTo>
                  <a:lnTo>
                    <a:pt x="398" y="205"/>
                  </a:lnTo>
                  <a:lnTo>
                    <a:pt x="396" y="205"/>
                  </a:lnTo>
                  <a:lnTo>
                    <a:pt x="394" y="205"/>
                  </a:lnTo>
                  <a:lnTo>
                    <a:pt x="396" y="202"/>
                  </a:lnTo>
                  <a:lnTo>
                    <a:pt x="398" y="202"/>
                  </a:lnTo>
                  <a:lnTo>
                    <a:pt x="398" y="200"/>
                  </a:lnTo>
                  <a:lnTo>
                    <a:pt x="396" y="200"/>
                  </a:lnTo>
                  <a:lnTo>
                    <a:pt x="394" y="200"/>
                  </a:lnTo>
                  <a:lnTo>
                    <a:pt x="391" y="200"/>
                  </a:lnTo>
                  <a:lnTo>
                    <a:pt x="389" y="200"/>
                  </a:lnTo>
                  <a:lnTo>
                    <a:pt x="389" y="202"/>
                  </a:lnTo>
                  <a:lnTo>
                    <a:pt x="386" y="202"/>
                  </a:lnTo>
                  <a:lnTo>
                    <a:pt x="384" y="202"/>
                  </a:lnTo>
                  <a:lnTo>
                    <a:pt x="386" y="202"/>
                  </a:lnTo>
                  <a:lnTo>
                    <a:pt x="384" y="202"/>
                  </a:lnTo>
                  <a:lnTo>
                    <a:pt x="384" y="205"/>
                  </a:lnTo>
                  <a:lnTo>
                    <a:pt x="384" y="202"/>
                  </a:lnTo>
                  <a:lnTo>
                    <a:pt x="382" y="202"/>
                  </a:lnTo>
                  <a:lnTo>
                    <a:pt x="379" y="202"/>
                  </a:lnTo>
                  <a:lnTo>
                    <a:pt x="377" y="202"/>
                  </a:lnTo>
                  <a:lnTo>
                    <a:pt x="377" y="200"/>
                  </a:lnTo>
                  <a:lnTo>
                    <a:pt x="379" y="200"/>
                  </a:lnTo>
                  <a:lnTo>
                    <a:pt x="377" y="200"/>
                  </a:lnTo>
                  <a:lnTo>
                    <a:pt x="377" y="198"/>
                  </a:lnTo>
                  <a:lnTo>
                    <a:pt x="375" y="198"/>
                  </a:lnTo>
                  <a:lnTo>
                    <a:pt x="375" y="200"/>
                  </a:lnTo>
                  <a:lnTo>
                    <a:pt x="372" y="200"/>
                  </a:lnTo>
                  <a:lnTo>
                    <a:pt x="370" y="200"/>
                  </a:lnTo>
                  <a:lnTo>
                    <a:pt x="372" y="202"/>
                  </a:lnTo>
                  <a:lnTo>
                    <a:pt x="375" y="202"/>
                  </a:lnTo>
                  <a:lnTo>
                    <a:pt x="372" y="202"/>
                  </a:lnTo>
                  <a:lnTo>
                    <a:pt x="370" y="202"/>
                  </a:lnTo>
                  <a:lnTo>
                    <a:pt x="367" y="202"/>
                  </a:lnTo>
                  <a:lnTo>
                    <a:pt x="367" y="205"/>
                  </a:lnTo>
                  <a:lnTo>
                    <a:pt x="365" y="205"/>
                  </a:lnTo>
                  <a:lnTo>
                    <a:pt x="365" y="202"/>
                  </a:lnTo>
                  <a:lnTo>
                    <a:pt x="363" y="202"/>
                  </a:lnTo>
                  <a:lnTo>
                    <a:pt x="363" y="205"/>
                  </a:lnTo>
                  <a:lnTo>
                    <a:pt x="360" y="205"/>
                  </a:lnTo>
                  <a:lnTo>
                    <a:pt x="358" y="205"/>
                  </a:lnTo>
                  <a:lnTo>
                    <a:pt x="356" y="205"/>
                  </a:lnTo>
                  <a:lnTo>
                    <a:pt x="353" y="205"/>
                  </a:lnTo>
                  <a:lnTo>
                    <a:pt x="353" y="202"/>
                  </a:lnTo>
                  <a:lnTo>
                    <a:pt x="351" y="202"/>
                  </a:lnTo>
                  <a:lnTo>
                    <a:pt x="348" y="202"/>
                  </a:lnTo>
                  <a:lnTo>
                    <a:pt x="348" y="200"/>
                  </a:lnTo>
                  <a:lnTo>
                    <a:pt x="346" y="200"/>
                  </a:lnTo>
                  <a:lnTo>
                    <a:pt x="348" y="200"/>
                  </a:lnTo>
                  <a:lnTo>
                    <a:pt x="346" y="198"/>
                  </a:lnTo>
                  <a:lnTo>
                    <a:pt x="344" y="198"/>
                  </a:lnTo>
                  <a:lnTo>
                    <a:pt x="346" y="198"/>
                  </a:lnTo>
                  <a:lnTo>
                    <a:pt x="344" y="198"/>
                  </a:lnTo>
                  <a:lnTo>
                    <a:pt x="346" y="198"/>
                  </a:lnTo>
                  <a:lnTo>
                    <a:pt x="346" y="195"/>
                  </a:lnTo>
                  <a:lnTo>
                    <a:pt x="344" y="195"/>
                  </a:lnTo>
                  <a:lnTo>
                    <a:pt x="341" y="195"/>
                  </a:lnTo>
                  <a:lnTo>
                    <a:pt x="339" y="195"/>
                  </a:lnTo>
                  <a:lnTo>
                    <a:pt x="337" y="193"/>
                  </a:lnTo>
                  <a:lnTo>
                    <a:pt x="334" y="193"/>
                  </a:lnTo>
                  <a:lnTo>
                    <a:pt x="332" y="193"/>
                  </a:lnTo>
                  <a:lnTo>
                    <a:pt x="329" y="193"/>
                  </a:lnTo>
                  <a:lnTo>
                    <a:pt x="327" y="193"/>
                  </a:lnTo>
                  <a:lnTo>
                    <a:pt x="325" y="193"/>
                  </a:lnTo>
                  <a:lnTo>
                    <a:pt x="327" y="193"/>
                  </a:lnTo>
                  <a:lnTo>
                    <a:pt x="325" y="193"/>
                  </a:lnTo>
                  <a:lnTo>
                    <a:pt x="322" y="190"/>
                  </a:lnTo>
                  <a:lnTo>
                    <a:pt x="322" y="188"/>
                  </a:lnTo>
                  <a:lnTo>
                    <a:pt x="320" y="188"/>
                  </a:lnTo>
                  <a:lnTo>
                    <a:pt x="320" y="186"/>
                  </a:lnTo>
                  <a:lnTo>
                    <a:pt x="318" y="186"/>
                  </a:lnTo>
                  <a:lnTo>
                    <a:pt x="315" y="186"/>
                  </a:lnTo>
                  <a:lnTo>
                    <a:pt x="315" y="183"/>
                  </a:lnTo>
                  <a:lnTo>
                    <a:pt x="315" y="181"/>
                  </a:lnTo>
                  <a:lnTo>
                    <a:pt x="313" y="181"/>
                  </a:lnTo>
                  <a:lnTo>
                    <a:pt x="313" y="179"/>
                  </a:lnTo>
                  <a:lnTo>
                    <a:pt x="311" y="179"/>
                  </a:lnTo>
                  <a:lnTo>
                    <a:pt x="308" y="176"/>
                  </a:lnTo>
                  <a:lnTo>
                    <a:pt x="311" y="176"/>
                  </a:lnTo>
                  <a:lnTo>
                    <a:pt x="311" y="174"/>
                  </a:lnTo>
                  <a:lnTo>
                    <a:pt x="313" y="176"/>
                  </a:lnTo>
                  <a:lnTo>
                    <a:pt x="313" y="174"/>
                  </a:lnTo>
                  <a:lnTo>
                    <a:pt x="311" y="174"/>
                  </a:lnTo>
                  <a:lnTo>
                    <a:pt x="308" y="174"/>
                  </a:lnTo>
                  <a:lnTo>
                    <a:pt x="308" y="171"/>
                  </a:lnTo>
                  <a:lnTo>
                    <a:pt x="306" y="171"/>
                  </a:lnTo>
                  <a:lnTo>
                    <a:pt x="308" y="171"/>
                  </a:lnTo>
                  <a:lnTo>
                    <a:pt x="308" y="169"/>
                  </a:lnTo>
                  <a:lnTo>
                    <a:pt x="311" y="169"/>
                  </a:lnTo>
                  <a:lnTo>
                    <a:pt x="313" y="167"/>
                  </a:lnTo>
                  <a:lnTo>
                    <a:pt x="315" y="167"/>
                  </a:lnTo>
                  <a:lnTo>
                    <a:pt x="318" y="167"/>
                  </a:lnTo>
                  <a:lnTo>
                    <a:pt x="320" y="167"/>
                  </a:lnTo>
                  <a:lnTo>
                    <a:pt x="322" y="167"/>
                  </a:lnTo>
                  <a:lnTo>
                    <a:pt x="325" y="167"/>
                  </a:lnTo>
                  <a:lnTo>
                    <a:pt x="327" y="167"/>
                  </a:lnTo>
                  <a:lnTo>
                    <a:pt x="327" y="169"/>
                  </a:lnTo>
                  <a:lnTo>
                    <a:pt x="329" y="169"/>
                  </a:lnTo>
                  <a:lnTo>
                    <a:pt x="327" y="169"/>
                  </a:lnTo>
                  <a:lnTo>
                    <a:pt x="327" y="171"/>
                  </a:lnTo>
                  <a:lnTo>
                    <a:pt x="329" y="171"/>
                  </a:lnTo>
                  <a:lnTo>
                    <a:pt x="327" y="171"/>
                  </a:lnTo>
                  <a:lnTo>
                    <a:pt x="329" y="171"/>
                  </a:lnTo>
                  <a:lnTo>
                    <a:pt x="332" y="171"/>
                  </a:lnTo>
                  <a:lnTo>
                    <a:pt x="334" y="171"/>
                  </a:lnTo>
                  <a:lnTo>
                    <a:pt x="337" y="171"/>
                  </a:lnTo>
                  <a:lnTo>
                    <a:pt x="334" y="169"/>
                  </a:lnTo>
                  <a:lnTo>
                    <a:pt x="337" y="169"/>
                  </a:lnTo>
                  <a:lnTo>
                    <a:pt x="339" y="169"/>
                  </a:lnTo>
                  <a:lnTo>
                    <a:pt x="341" y="169"/>
                  </a:lnTo>
                  <a:lnTo>
                    <a:pt x="341" y="167"/>
                  </a:lnTo>
                  <a:lnTo>
                    <a:pt x="344" y="167"/>
                  </a:lnTo>
                  <a:lnTo>
                    <a:pt x="344" y="169"/>
                  </a:lnTo>
                  <a:lnTo>
                    <a:pt x="346" y="169"/>
                  </a:lnTo>
                  <a:lnTo>
                    <a:pt x="348" y="169"/>
                  </a:lnTo>
                  <a:lnTo>
                    <a:pt x="351" y="169"/>
                  </a:lnTo>
                  <a:lnTo>
                    <a:pt x="353" y="169"/>
                  </a:lnTo>
                  <a:lnTo>
                    <a:pt x="356" y="169"/>
                  </a:lnTo>
                  <a:lnTo>
                    <a:pt x="358" y="169"/>
                  </a:lnTo>
                  <a:lnTo>
                    <a:pt x="358" y="171"/>
                  </a:lnTo>
                  <a:lnTo>
                    <a:pt x="360" y="171"/>
                  </a:lnTo>
                  <a:lnTo>
                    <a:pt x="363" y="169"/>
                  </a:lnTo>
                  <a:lnTo>
                    <a:pt x="365" y="169"/>
                  </a:lnTo>
                  <a:lnTo>
                    <a:pt x="367" y="169"/>
                  </a:lnTo>
                  <a:lnTo>
                    <a:pt x="370" y="169"/>
                  </a:lnTo>
                  <a:lnTo>
                    <a:pt x="370" y="171"/>
                  </a:lnTo>
                  <a:lnTo>
                    <a:pt x="372" y="171"/>
                  </a:lnTo>
                  <a:lnTo>
                    <a:pt x="375" y="171"/>
                  </a:lnTo>
                  <a:lnTo>
                    <a:pt x="375" y="174"/>
                  </a:lnTo>
                  <a:lnTo>
                    <a:pt x="377" y="174"/>
                  </a:lnTo>
                  <a:lnTo>
                    <a:pt x="379" y="174"/>
                  </a:lnTo>
                  <a:lnTo>
                    <a:pt x="379" y="176"/>
                  </a:lnTo>
                  <a:lnTo>
                    <a:pt x="382" y="176"/>
                  </a:lnTo>
                  <a:lnTo>
                    <a:pt x="382" y="179"/>
                  </a:lnTo>
                  <a:lnTo>
                    <a:pt x="384" y="179"/>
                  </a:lnTo>
                  <a:lnTo>
                    <a:pt x="386" y="179"/>
                  </a:lnTo>
                  <a:lnTo>
                    <a:pt x="386" y="176"/>
                  </a:lnTo>
                  <a:lnTo>
                    <a:pt x="389" y="174"/>
                  </a:lnTo>
                  <a:lnTo>
                    <a:pt x="386" y="174"/>
                  </a:lnTo>
                  <a:lnTo>
                    <a:pt x="384" y="171"/>
                  </a:lnTo>
                  <a:lnTo>
                    <a:pt x="384" y="174"/>
                  </a:lnTo>
                  <a:lnTo>
                    <a:pt x="382" y="174"/>
                  </a:lnTo>
                  <a:lnTo>
                    <a:pt x="382" y="171"/>
                  </a:lnTo>
                  <a:lnTo>
                    <a:pt x="379" y="171"/>
                  </a:lnTo>
                  <a:lnTo>
                    <a:pt x="377" y="171"/>
                  </a:lnTo>
                  <a:lnTo>
                    <a:pt x="379" y="171"/>
                  </a:lnTo>
                  <a:lnTo>
                    <a:pt x="377" y="171"/>
                  </a:lnTo>
                  <a:lnTo>
                    <a:pt x="375" y="169"/>
                  </a:lnTo>
                  <a:lnTo>
                    <a:pt x="377" y="169"/>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7" name="Freeform 52570"/>
            <p:cNvSpPr>
              <a:spLocks noEditPoints="1"/>
            </p:cNvSpPr>
            <p:nvPr/>
          </p:nvSpPr>
          <p:spPr bwMode="auto">
            <a:xfrm>
              <a:off x="2266948" y="1906595"/>
              <a:ext cx="1393824" cy="2157419"/>
            </a:xfrm>
            <a:custGeom>
              <a:avLst/>
              <a:gdLst>
                <a:gd name="T0" fmla="*/ 64 w 878"/>
                <a:gd name="T1" fmla="*/ 1345 h 1359"/>
                <a:gd name="T2" fmla="*/ 42 w 878"/>
                <a:gd name="T3" fmla="*/ 1307 h 1359"/>
                <a:gd name="T4" fmla="*/ 35 w 878"/>
                <a:gd name="T5" fmla="*/ 1300 h 1359"/>
                <a:gd name="T6" fmla="*/ 194 w 878"/>
                <a:gd name="T7" fmla="*/ 1297 h 1359"/>
                <a:gd name="T8" fmla="*/ 26 w 878"/>
                <a:gd name="T9" fmla="*/ 1290 h 1359"/>
                <a:gd name="T10" fmla="*/ 38 w 878"/>
                <a:gd name="T11" fmla="*/ 1271 h 1359"/>
                <a:gd name="T12" fmla="*/ 23 w 878"/>
                <a:gd name="T13" fmla="*/ 1262 h 1359"/>
                <a:gd name="T14" fmla="*/ 19 w 878"/>
                <a:gd name="T15" fmla="*/ 1257 h 1359"/>
                <a:gd name="T16" fmla="*/ 31 w 878"/>
                <a:gd name="T17" fmla="*/ 1252 h 1359"/>
                <a:gd name="T18" fmla="*/ 19 w 878"/>
                <a:gd name="T19" fmla="*/ 1240 h 1359"/>
                <a:gd name="T20" fmla="*/ 21 w 878"/>
                <a:gd name="T21" fmla="*/ 1224 h 1359"/>
                <a:gd name="T22" fmla="*/ 9 w 878"/>
                <a:gd name="T23" fmla="*/ 1209 h 1359"/>
                <a:gd name="T24" fmla="*/ 9 w 878"/>
                <a:gd name="T25" fmla="*/ 1202 h 1359"/>
                <a:gd name="T26" fmla="*/ 4 w 878"/>
                <a:gd name="T27" fmla="*/ 1181 h 1359"/>
                <a:gd name="T28" fmla="*/ 14 w 878"/>
                <a:gd name="T29" fmla="*/ 1167 h 1359"/>
                <a:gd name="T30" fmla="*/ 14 w 878"/>
                <a:gd name="T31" fmla="*/ 1150 h 1359"/>
                <a:gd name="T32" fmla="*/ 35 w 878"/>
                <a:gd name="T33" fmla="*/ 1126 h 1359"/>
                <a:gd name="T34" fmla="*/ 52 w 878"/>
                <a:gd name="T35" fmla="*/ 1114 h 1359"/>
                <a:gd name="T36" fmla="*/ 71 w 878"/>
                <a:gd name="T37" fmla="*/ 1107 h 1359"/>
                <a:gd name="T38" fmla="*/ 102 w 878"/>
                <a:gd name="T39" fmla="*/ 1091 h 1359"/>
                <a:gd name="T40" fmla="*/ 109 w 878"/>
                <a:gd name="T41" fmla="*/ 1081 h 1359"/>
                <a:gd name="T42" fmla="*/ 111 w 878"/>
                <a:gd name="T43" fmla="*/ 1072 h 1359"/>
                <a:gd name="T44" fmla="*/ 121 w 878"/>
                <a:gd name="T45" fmla="*/ 1062 h 1359"/>
                <a:gd name="T46" fmla="*/ 149 w 878"/>
                <a:gd name="T47" fmla="*/ 1055 h 1359"/>
                <a:gd name="T48" fmla="*/ 128 w 878"/>
                <a:gd name="T49" fmla="*/ 1053 h 1359"/>
                <a:gd name="T50" fmla="*/ 159 w 878"/>
                <a:gd name="T51" fmla="*/ 1048 h 1359"/>
                <a:gd name="T52" fmla="*/ 180 w 878"/>
                <a:gd name="T53" fmla="*/ 1034 h 1359"/>
                <a:gd name="T54" fmla="*/ 204 w 878"/>
                <a:gd name="T55" fmla="*/ 1005 h 1359"/>
                <a:gd name="T56" fmla="*/ 218 w 878"/>
                <a:gd name="T57" fmla="*/ 993 h 1359"/>
                <a:gd name="T58" fmla="*/ 204 w 878"/>
                <a:gd name="T59" fmla="*/ 984 h 1359"/>
                <a:gd name="T60" fmla="*/ 237 w 878"/>
                <a:gd name="T61" fmla="*/ 972 h 1359"/>
                <a:gd name="T62" fmla="*/ 251 w 878"/>
                <a:gd name="T63" fmla="*/ 953 h 1359"/>
                <a:gd name="T64" fmla="*/ 254 w 878"/>
                <a:gd name="T65" fmla="*/ 936 h 1359"/>
                <a:gd name="T66" fmla="*/ 254 w 878"/>
                <a:gd name="T67" fmla="*/ 929 h 1359"/>
                <a:gd name="T68" fmla="*/ 254 w 878"/>
                <a:gd name="T69" fmla="*/ 915 h 1359"/>
                <a:gd name="T70" fmla="*/ 251 w 878"/>
                <a:gd name="T71" fmla="*/ 910 h 1359"/>
                <a:gd name="T72" fmla="*/ 256 w 878"/>
                <a:gd name="T73" fmla="*/ 903 h 1359"/>
                <a:gd name="T74" fmla="*/ 263 w 878"/>
                <a:gd name="T75" fmla="*/ 891 h 1359"/>
                <a:gd name="T76" fmla="*/ 277 w 878"/>
                <a:gd name="T77" fmla="*/ 884 h 1359"/>
                <a:gd name="T78" fmla="*/ 292 w 878"/>
                <a:gd name="T79" fmla="*/ 872 h 1359"/>
                <a:gd name="T80" fmla="*/ 311 w 878"/>
                <a:gd name="T81" fmla="*/ 851 h 1359"/>
                <a:gd name="T82" fmla="*/ 265 w 878"/>
                <a:gd name="T83" fmla="*/ 827 h 1359"/>
                <a:gd name="T84" fmla="*/ 346 w 878"/>
                <a:gd name="T85" fmla="*/ 810 h 1359"/>
                <a:gd name="T86" fmla="*/ 273 w 878"/>
                <a:gd name="T87" fmla="*/ 817 h 1359"/>
                <a:gd name="T88" fmla="*/ 356 w 878"/>
                <a:gd name="T89" fmla="*/ 791 h 1359"/>
                <a:gd name="T90" fmla="*/ 384 w 878"/>
                <a:gd name="T91" fmla="*/ 784 h 1359"/>
                <a:gd name="T92" fmla="*/ 337 w 878"/>
                <a:gd name="T93" fmla="*/ 758 h 1359"/>
                <a:gd name="T94" fmla="*/ 384 w 878"/>
                <a:gd name="T95" fmla="*/ 753 h 1359"/>
                <a:gd name="T96" fmla="*/ 446 w 878"/>
                <a:gd name="T97" fmla="*/ 710 h 1359"/>
                <a:gd name="T98" fmla="*/ 460 w 878"/>
                <a:gd name="T99" fmla="*/ 691 h 1359"/>
                <a:gd name="T100" fmla="*/ 488 w 878"/>
                <a:gd name="T101" fmla="*/ 689 h 1359"/>
                <a:gd name="T102" fmla="*/ 488 w 878"/>
                <a:gd name="T103" fmla="*/ 682 h 1359"/>
                <a:gd name="T104" fmla="*/ 688 w 878"/>
                <a:gd name="T105" fmla="*/ 672 h 1359"/>
                <a:gd name="T106" fmla="*/ 702 w 878"/>
                <a:gd name="T107" fmla="*/ 651 h 1359"/>
                <a:gd name="T108" fmla="*/ 704 w 878"/>
                <a:gd name="T109" fmla="*/ 627 h 1359"/>
                <a:gd name="T110" fmla="*/ 344 w 878"/>
                <a:gd name="T111" fmla="*/ 252 h 1359"/>
                <a:gd name="T112" fmla="*/ 524 w 878"/>
                <a:gd name="T113" fmla="*/ 178 h 1359"/>
                <a:gd name="T114" fmla="*/ 254 w 878"/>
                <a:gd name="T115" fmla="*/ 124 h 1359"/>
                <a:gd name="T116" fmla="*/ 507 w 878"/>
                <a:gd name="T117" fmla="*/ 105 h 1359"/>
                <a:gd name="T118" fmla="*/ 498 w 878"/>
                <a:gd name="T119" fmla="*/ 79 h 1359"/>
                <a:gd name="T120" fmla="*/ 455 w 878"/>
                <a:gd name="T121" fmla="*/ 59 h 1359"/>
                <a:gd name="T122" fmla="*/ 702 w 878"/>
                <a:gd name="T123" fmla="*/ 40 h 1359"/>
                <a:gd name="T124" fmla="*/ 711 w 878"/>
                <a:gd name="T125" fmla="*/ 26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8" h="1359">
                  <a:moveTo>
                    <a:pt x="97" y="1359"/>
                  </a:moveTo>
                  <a:lnTo>
                    <a:pt x="95" y="1359"/>
                  </a:lnTo>
                  <a:lnTo>
                    <a:pt x="97" y="1359"/>
                  </a:lnTo>
                  <a:close/>
                  <a:moveTo>
                    <a:pt x="99" y="1359"/>
                  </a:moveTo>
                  <a:lnTo>
                    <a:pt x="97" y="1359"/>
                  </a:lnTo>
                  <a:lnTo>
                    <a:pt x="99" y="1359"/>
                  </a:lnTo>
                  <a:lnTo>
                    <a:pt x="97" y="1359"/>
                  </a:lnTo>
                  <a:lnTo>
                    <a:pt x="99" y="1359"/>
                  </a:lnTo>
                  <a:close/>
                  <a:moveTo>
                    <a:pt x="99" y="1359"/>
                  </a:moveTo>
                  <a:lnTo>
                    <a:pt x="97" y="1359"/>
                  </a:lnTo>
                  <a:lnTo>
                    <a:pt x="99" y="1359"/>
                  </a:lnTo>
                  <a:close/>
                  <a:moveTo>
                    <a:pt x="97" y="1359"/>
                  </a:moveTo>
                  <a:lnTo>
                    <a:pt x="95" y="1359"/>
                  </a:lnTo>
                  <a:lnTo>
                    <a:pt x="97" y="1359"/>
                  </a:lnTo>
                  <a:close/>
                  <a:moveTo>
                    <a:pt x="99" y="1357"/>
                  </a:moveTo>
                  <a:lnTo>
                    <a:pt x="99" y="1359"/>
                  </a:lnTo>
                  <a:lnTo>
                    <a:pt x="99" y="1357"/>
                  </a:lnTo>
                  <a:lnTo>
                    <a:pt x="99" y="1359"/>
                  </a:lnTo>
                  <a:lnTo>
                    <a:pt x="97" y="1359"/>
                  </a:lnTo>
                  <a:lnTo>
                    <a:pt x="99" y="1357"/>
                  </a:lnTo>
                  <a:close/>
                  <a:moveTo>
                    <a:pt x="80" y="1359"/>
                  </a:moveTo>
                  <a:lnTo>
                    <a:pt x="78" y="1359"/>
                  </a:lnTo>
                  <a:lnTo>
                    <a:pt x="78" y="1357"/>
                  </a:lnTo>
                  <a:lnTo>
                    <a:pt x="80" y="1357"/>
                  </a:lnTo>
                  <a:lnTo>
                    <a:pt x="80" y="1359"/>
                  </a:lnTo>
                  <a:close/>
                  <a:moveTo>
                    <a:pt x="97" y="1357"/>
                  </a:moveTo>
                  <a:lnTo>
                    <a:pt x="95" y="1357"/>
                  </a:lnTo>
                  <a:lnTo>
                    <a:pt x="97" y="1357"/>
                  </a:lnTo>
                  <a:lnTo>
                    <a:pt x="95" y="1357"/>
                  </a:lnTo>
                  <a:lnTo>
                    <a:pt x="97" y="1357"/>
                  </a:lnTo>
                  <a:close/>
                  <a:moveTo>
                    <a:pt x="80" y="1357"/>
                  </a:moveTo>
                  <a:lnTo>
                    <a:pt x="80" y="1359"/>
                  </a:lnTo>
                  <a:lnTo>
                    <a:pt x="80" y="1357"/>
                  </a:lnTo>
                  <a:close/>
                  <a:moveTo>
                    <a:pt x="87" y="1357"/>
                  </a:moveTo>
                  <a:lnTo>
                    <a:pt x="85" y="1357"/>
                  </a:lnTo>
                  <a:lnTo>
                    <a:pt x="85" y="1359"/>
                  </a:lnTo>
                  <a:lnTo>
                    <a:pt x="85" y="1357"/>
                  </a:lnTo>
                  <a:lnTo>
                    <a:pt x="87" y="1357"/>
                  </a:lnTo>
                  <a:close/>
                  <a:moveTo>
                    <a:pt x="90" y="1357"/>
                  </a:moveTo>
                  <a:lnTo>
                    <a:pt x="92" y="1357"/>
                  </a:lnTo>
                  <a:lnTo>
                    <a:pt x="92" y="1359"/>
                  </a:lnTo>
                  <a:lnTo>
                    <a:pt x="92" y="1357"/>
                  </a:lnTo>
                  <a:lnTo>
                    <a:pt x="92" y="1359"/>
                  </a:lnTo>
                  <a:lnTo>
                    <a:pt x="90" y="1359"/>
                  </a:lnTo>
                  <a:lnTo>
                    <a:pt x="92" y="1359"/>
                  </a:lnTo>
                  <a:lnTo>
                    <a:pt x="90" y="1359"/>
                  </a:lnTo>
                  <a:lnTo>
                    <a:pt x="90" y="1357"/>
                  </a:lnTo>
                  <a:lnTo>
                    <a:pt x="90" y="1359"/>
                  </a:lnTo>
                  <a:lnTo>
                    <a:pt x="90" y="1357"/>
                  </a:lnTo>
                  <a:lnTo>
                    <a:pt x="92" y="1357"/>
                  </a:lnTo>
                  <a:lnTo>
                    <a:pt x="90" y="1357"/>
                  </a:lnTo>
                  <a:close/>
                  <a:moveTo>
                    <a:pt x="78" y="1354"/>
                  </a:moveTo>
                  <a:lnTo>
                    <a:pt x="78" y="1357"/>
                  </a:lnTo>
                  <a:lnTo>
                    <a:pt x="78" y="1354"/>
                  </a:lnTo>
                  <a:lnTo>
                    <a:pt x="76" y="1357"/>
                  </a:lnTo>
                  <a:lnTo>
                    <a:pt x="78" y="1357"/>
                  </a:lnTo>
                  <a:lnTo>
                    <a:pt x="76" y="1357"/>
                  </a:lnTo>
                  <a:lnTo>
                    <a:pt x="76" y="1354"/>
                  </a:lnTo>
                  <a:lnTo>
                    <a:pt x="78" y="1354"/>
                  </a:lnTo>
                  <a:close/>
                  <a:moveTo>
                    <a:pt x="106" y="1354"/>
                  </a:moveTo>
                  <a:lnTo>
                    <a:pt x="104" y="1354"/>
                  </a:lnTo>
                  <a:lnTo>
                    <a:pt x="106" y="1354"/>
                  </a:lnTo>
                  <a:close/>
                  <a:moveTo>
                    <a:pt x="106" y="1354"/>
                  </a:moveTo>
                  <a:lnTo>
                    <a:pt x="109" y="1354"/>
                  </a:lnTo>
                  <a:lnTo>
                    <a:pt x="106" y="1354"/>
                  </a:lnTo>
                  <a:close/>
                  <a:moveTo>
                    <a:pt x="78" y="1354"/>
                  </a:moveTo>
                  <a:lnTo>
                    <a:pt x="76" y="1354"/>
                  </a:lnTo>
                  <a:lnTo>
                    <a:pt x="78" y="1354"/>
                  </a:lnTo>
                  <a:close/>
                  <a:moveTo>
                    <a:pt x="114" y="1352"/>
                  </a:moveTo>
                  <a:lnTo>
                    <a:pt x="114" y="1354"/>
                  </a:lnTo>
                  <a:lnTo>
                    <a:pt x="111" y="1354"/>
                  </a:lnTo>
                  <a:lnTo>
                    <a:pt x="114" y="1354"/>
                  </a:lnTo>
                  <a:lnTo>
                    <a:pt x="111" y="1354"/>
                  </a:lnTo>
                  <a:lnTo>
                    <a:pt x="114" y="1352"/>
                  </a:lnTo>
                  <a:close/>
                  <a:moveTo>
                    <a:pt x="118" y="1352"/>
                  </a:moveTo>
                  <a:lnTo>
                    <a:pt x="116" y="1352"/>
                  </a:lnTo>
                  <a:lnTo>
                    <a:pt x="118" y="1352"/>
                  </a:lnTo>
                  <a:close/>
                  <a:moveTo>
                    <a:pt x="116" y="1352"/>
                  </a:moveTo>
                  <a:lnTo>
                    <a:pt x="116" y="1354"/>
                  </a:lnTo>
                  <a:lnTo>
                    <a:pt x="116" y="1352"/>
                  </a:lnTo>
                  <a:close/>
                  <a:moveTo>
                    <a:pt x="111" y="1352"/>
                  </a:moveTo>
                  <a:lnTo>
                    <a:pt x="114" y="1352"/>
                  </a:lnTo>
                  <a:lnTo>
                    <a:pt x="111" y="1352"/>
                  </a:lnTo>
                  <a:close/>
                  <a:moveTo>
                    <a:pt x="123" y="1347"/>
                  </a:moveTo>
                  <a:lnTo>
                    <a:pt x="123" y="1349"/>
                  </a:lnTo>
                  <a:lnTo>
                    <a:pt x="123" y="1347"/>
                  </a:lnTo>
                  <a:close/>
                  <a:moveTo>
                    <a:pt x="68" y="1345"/>
                  </a:moveTo>
                  <a:lnTo>
                    <a:pt x="68" y="1347"/>
                  </a:lnTo>
                  <a:lnTo>
                    <a:pt x="68" y="1345"/>
                  </a:lnTo>
                  <a:close/>
                  <a:moveTo>
                    <a:pt x="64" y="1345"/>
                  </a:moveTo>
                  <a:lnTo>
                    <a:pt x="66" y="1345"/>
                  </a:lnTo>
                  <a:lnTo>
                    <a:pt x="68" y="1345"/>
                  </a:lnTo>
                  <a:lnTo>
                    <a:pt x="68" y="1347"/>
                  </a:lnTo>
                  <a:lnTo>
                    <a:pt x="66" y="1347"/>
                  </a:lnTo>
                  <a:lnTo>
                    <a:pt x="66" y="1345"/>
                  </a:lnTo>
                  <a:lnTo>
                    <a:pt x="66" y="1347"/>
                  </a:lnTo>
                  <a:lnTo>
                    <a:pt x="64" y="1347"/>
                  </a:lnTo>
                  <a:lnTo>
                    <a:pt x="64" y="1345"/>
                  </a:lnTo>
                  <a:lnTo>
                    <a:pt x="64" y="1347"/>
                  </a:lnTo>
                  <a:lnTo>
                    <a:pt x="64" y="1345"/>
                  </a:lnTo>
                  <a:close/>
                  <a:moveTo>
                    <a:pt x="144" y="1330"/>
                  </a:moveTo>
                  <a:lnTo>
                    <a:pt x="144" y="1333"/>
                  </a:lnTo>
                  <a:lnTo>
                    <a:pt x="144" y="1330"/>
                  </a:lnTo>
                  <a:lnTo>
                    <a:pt x="144" y="1333"/>
                  </a:lnTo>
                  <a:lnTo>
                    <a:pt x="142" y="1333"/>
                  </a:lnTo>
                  <a:lnTo>
                    <a:pt x="142" y="1335"/>
                  </a:lnTo>
                  <a:lnTo>
                    <a:pt x="140" y="1335"/>
                  </a:lnTo>
                  <a:lnTo>
                    <a:pt x="140" y="1333"/>
                  </a:lnTo>
                  <a:lnTo>
                    <a:pt x="137" y="1333"/>
                  </a:lnTo>
                  <a:lnTo>
                    <a:pt x="140" y="1333"/>
                  </a:lnTo>
                  <a:lnTo>
                    <a:pt x="142" y="1333"/>
                  </a:lnTo>
                  <a:lnTo>
                    <a:pt x="142" y="1330"/>
                  </a:lnTo>
                  <a:lnTo>
                    <a:pt x="144" y="1330"/>
                  </a:lnTo>
                  <a:close/>
                  <a:moveTo>
                    <a:pt x="149" y="1326"/>
                  </a:moveTo>
                  <a:lnTo>
                    <a:pt x="149" y="1328"/>
                  </a:lnTo>
                  <a:lnTo>
                    <a:pt x="147" y="1328"/>
                  </a:lnTo>
                  <a:lnTo>
                    <a:pt x="149" y="1328"/>
                  </a:lnTo>
                  <a:lnTo>
                    <a:pt x="147" y="1328"/>
                  </a:lnTo>
                  <a:lnTo>
                    <a:pt x="147" y="1326"/>
                  </a:lnTo>
                  <a:lnTo>
                    <a:pt x="149" y="1326"/>
                  </a:lnTo>
                  <a:close/>
                  <a:moveTo>
                    <a:pt x="149" y="1323"/>
                  </a:moveTo>
                  <a:lnTo>
                    <a:pt x="152" y="1323"/>
                  </a:lnTo>
                  <a:lnTo>
                    <a:pt x="152" y="1326"/>
                  </a:lnTo>
                  <a:lnTo>
                    <a:pt x="149" y="1326"/>
                  </a:lnTo>
                  <a:lnTo>
                    <a:pt x="152" y="1326"/>
                  </a:lnTo>
                  <a:lnTo>
                    <a:pt x="149" y="1326"/>
                  </a:lnTo>
                  <a:lnTo>
                    <a:pt x="147" y="1326"/>
                  </a:lnTo>
                  <a:lnTo>
                    <a:pt x="149" y="1326"/>
                  </a:lnTo>
                  <a:lnTo>
                    <a:pt x="149" y="1323"/>
                  </a:lnTo>
                  <a:close/>
                  <a:moveTo>
                    <a:pt x="154" y="1321"/>
                  </a:moveTo>
                  <a:lnTo>
                    <a:pt x="152" y="1321"/>
                  </a:lnTo>
                  <a:lnTo>
                    <a:pt x="154" y="1321"/>
                  </a:lnTo>
                  <a:close/>
                  <a:moveTo>
                    <a:pt x="154" y="1319"/>
                  </a:moveTo>
                  <a:lnTo>
                    <a:pt x="154" y="1321"/>
                  </a:lnTo>
                  <a:lnTo>
                    <a:pt x="154" y="1319"/>
                  </a:lnTo>
                  <a:close/>
                  <a:moveTo>
                    <a:pt x="156" y="1319"/>
                  </a:moveTo>
                  <a:lnTo>
                    <a:pt x="156" y="1321"/>
                  </a:lnTo>
                  <a:lnTo>
                    <a:pt x="156" y="1319"/>
                  </a:lnTo>
                  <a:lnTo>
                    <a:pt x="154" y="1319"/>
                  </a:lnTo>
                  <a:lnTo>
                    <a:pt x="156" y="1319"/>
                  </a:lnTo>
                  <a:close/>
                  <a:moveTo>
                    <a:pt x="161" y="1314"/>
                  </a:moveTo>
                  <a:lnTo>
                    <a:pt x="163" y="1314"/>
                  </a:lnTo>
                  <a:lnTo>
                    <a:pt x="161" y="1314"/>
                  </a:lnTo>
                  <a:close/>
                  <a:moveTo>
                    <a:pt x="159" y="1314"/>
                  </a:moveTo>
                  <a:lnTo>
                    <a:pt x="159" y="1311"/>
                  </a:lnTo>
                  <a:lnTo>
                    <a:pt x="159" y="1314"/>
                  </a:lnTo>
                  <a:close/>
                  <a:moveTo>
                    <a:pt x="156" y="1314"/>
                  </a:moveTo>
                  <a:lnTo>
                    <a:pt x="156" y="1311"/>
                  </a:lnTo>
                  <a:lnTo>
                    <a:pt x="156" y="1314"/>
                  </a:lnTo>
                  <a:close/>
                  <a:moveTo>
                    <a:pt x="161" y="1311"/>
                  </a:moveTo>
                  <a:lnTo>
                    <a:pt x="163" y="1311"/>
                  </a:lnTo>
                  <a:lnTo>
                    <a:pt x="163" y="1314"/>
                  </a:lnTo>
                  <a:lnTo>
                    <a:pt x="163" y="1311"/>
                  </a:lnTo>
                  <a:lnTo>
                    <a:pt x="163" y="1314"/>
                  </a:lnTo>
                  <a:lnTo>
                    <a:pt x="163" y="1311"/>
                  </a:lnTo>
                  <a:lnTo>
                    <a:pt x="163" y="1314"/>
                  </a:lnTo>
                  <a:lnTo>
                    <a:pt x="161" y="1314"/>
                  </a:lnTo>
                  <a:lnTo>
                    <a:pt x="163" y="1314"/>
                  </a:lnTo>
                  <a:lnTo>
                    <a:pt x="161" y="1314"/>
                  </a:lnTo>
                  <a:lnTo>
                    <a:pt x="161" y="1311"/>
                  </a:lnTo>
                  <a:lnTo>
                    <a:pt x="161" y="1314"/>
                  </a:lnTo>
                  <a:lnTo>
                    <a:pt x="161" y="1311"/>
                  </a:lnTo>
                  <a:close/>
                  <a:moveTo>
                    <a:pt x="163" y="1314"/>
                  </a:moveTo>
                  <a:lnTo>
                    <a:pt x="166" y="1314"/>
                  </a:lnTo>
                  <a:lnTo>
                    <a:pt x="163" y="1314"/>
                  </a:lnTo>
                  <a:lnTo>
                    <a:pt x="166" y="1311"/>
                  </a:lnTo>
                  <a:lnTo>
                    <a:pt x="166" y="1314"/>
                  </a:lnTo>
                  <a:lnTo>
                    <a:pt x="163" y="1314"/>
                  </a:lnTo>
                  <a:close/>
                  <a:moveTo>
                    <a:pt x="168" y="1311"/>
                  </a:moveTo>
                  <a:lnTo>
                    <a:pt x="166" y="1311"/>
                  </a:lnTo>
                  <a:lnTo>
                    <a:pt x="168" y="1311"/>
                  </a:lnTo>
                  <a:lnTo>
                    <a:pt x="168" y="1309"/>
                  </a:lnTo>
                  <a:lnTo>
                    <a:pt x="168" y="1311"/>
                  </a:lnTo>
                  <a:close/>
                  <a:moveTo>
                    <a:pt x="166" y="1311"/>
                  </a:moveTo>
                  <a:lnTo>
                    <a:pt x="163" y="1311"/>
                  </a:lnTo>
                  <a:lnTo>
                    <a:pt x="166" y="1311"/>
                  </a:lnTo>
                  <a:lnTo>
                    <a:pt x="166" y="1309"/>
                  </a:lnTo>
                  <a:lnTo>
                    <a:pt x="166" y="1311"/>
                  </a:lnTo>
                  <a:close/>
                  <a:moveTo>
                    <a:pt x="166" y="1309"/>
                  </a:moveTo>
                  <a:lnTo>
                    <a:pt x="163" y="1309"/>
                  </a:lnTo>
                  <a:lnTo>
                    <a:pt x="166" y="1309"/>
                  </a:lnTo>
                  <a:close/>
                  <a:moveTo>
                    <a:pt x="47" y="1309"/>
                  </a:moveTo>
                  <a:lnTo>
                    <a:pt x="47" y="1311"/>
                  </a:lnTo>
                  <a:lnTo>
                    <a:pt x="47" y="1309"/>
                  </a:lnTo>
                  <a:close/>
                  <a:moveTo>
                    <a:pt x="168" y="1309"/>
                  </a:moveTo>
                  <a:lnTo>
                    <a:pt x="166" y="1309"/>
                  </a:lnTo>
                  <a:lnTo>
                    <a:pt x="168" y="1309"/>
                  </a:lnTo>
                  <a:close/>
                  <a:moveTo>
                    <a:pt x="42" y="1307"/>
                  </a:moveTo>
                  <a:lnTo>
                    <a:pt x="42" y="1309"/>
                  </a:lnTo>
                  <a:lnTo>
                    <a:pt x="40" y="1309"/>
                  </a:lnTo>
                  <a:lnTo>
                    <a:pt x="40" y="1307"/>
                  </a:lnTo>
                  <a:lnTo>
                    <a:pt x="42" y="1307"/>
                  </a:lnTo>
                  <a:close/>
                  <a:moveTo>
                    <a:pt x="182" y="1307"/>
                  </a:moveTo>
                  <a:lnTo>
                    <a:pt x="185" y="1307"/>
                  </a:lnTo>
                  <a:lnTo>
                    <a:pt x="182" y="1307"/>
                  </a:lnTo>
                  <a:close/>
                  <a:moveTo>
                    <a:pt x="42" y="1307"/>
                  </a:moveTo>
                  <a:lnTo>
                    <a:pt x="40" y="1307"/>
                  </a:lnTo>
                  <a:lnTo>
                    <a:pt x="42" y="1307"/>
                  </a:lnTo>
                  <a:lnTo>
                    <a:pt x="40" y="1307"/>
                  </a:lnTo>
                  <a:lnTo>
                    <a:pt x="42" y="1307"/>
                  </a:lnTo>
                  <a:close/>
                  <a:moveTo>
                    <a:pt x="42" y="1307"/>
                  </a:moveTo>
                  <a:lnTo>
                    <a:pt x="40" y="1307"/>
                  </a:lnTo>
                  <a:lnTo>
                    <a:pt x="42" y="1307"/>
                  </a:lnTo>
                  <a:close/>
                  <a:moveTo>
                    <a:pt x="47" y="1307"/>
                  </a:moveTo>
                  <a:lnTo>
                    <a:pt x="45" y="1307"/>
                  </a:lnTo>
                  <a:lnTo>
                    <a:pt x="47" y="1307"/>
                  </a:lnTo>
                  <a:close/>
                  <a:moveTo>
                    <a:pt x="45" y="1307"/>
                  </a:moveTo>
                  <a:lnTo>
                    <a:pt x="42" y="1307"/>
                  </a:lnTo>
                  <a:lnTo>
                    <a:pt x="45" y="1307"/>
                  </a:lnTo>
                  <a:lnTo>
                    <a:pt x="45" y="1304"/>
                  </a:lnTo>
                  <a:lnTo>
                    <a:pt x="45" y="1307"/>
                  </a:lnTo>
                  <a:close/>
                  <a:moveTo>
                    <a:pt x="180" y="1307"/>
                  </a:moveTo>
                  <a:lnTo>
                    <a:pt x="180" y="1304"/>
                  </a:lnTo>
                  <a:lnTo>
                    <a:pt x="180" y="1307"/>
                  </a:lnTo>
                  <a:close/>
                  <a:moveTo>
                    <a:pt x="40" y="1307"/>
                  </a:moveTo>
                  <a:lnTo>
                    <a:pt x="40" y="1304"/>
                  </a:lnTo>
                  <a:lnTo>
                    <a:pt x="40" y="1307"/>
                  </a:lnTo>
                  <a:close/>
                  <a:moveTo>
                    <a:pt x="171" y="1307"/>
                  </a:moveTo>
                  <a:lnTo>
                    <a:pt x="171" y="1304"/>
                  </a:lnTo>
                  <a:lnTo>
                    <a:pt x="171" y="1307"/>
                  </a:lnTo>
                  <a:close/>
                  <a:moveTo>
                    <a:pt x="213" y="1304"/>
                  </a:moveTo>
                  <a:lnTo>
                    <a:pt x="213" y="1307"/>
                  </a:lnTo>
                  <a:lnTo>
                    <a:pt x="213" y="1304"/>
                  </a:lnTo>
                  <a:close/>
                  <a:moveTo>
                    <a:pt x="171" y="1307"/>
                  </a:moveTo>
                  <a:lnTo>
                    <a:pt x="171" y="1304"/>
                  </a:lnTo>
                  <a:lnTo>
                    <a:pt x="171" y="1307"/>
                  </a:lnTo>
                  <a:close/>
                  <a:moveTo>
                    <a:pt x="38" y="1304"/>
                  </a:moveTo>
                  <a:lnTo>
                    <a:pt x="38" y="1307"/>
                  </a:lnTo>
                  <a:lnTo>
                    <a:pt x="38" y="1304"/>
                  </a:lnTo>
                  <a:lnTo>
                    <a:pt x="38" y="1307"/>
                  </a:lnTo>
                  <a:lnTo>
                    <a:pt x="40" y="1307"/>
                  </a:lnTo>
                  <a:lnTo>
                    <a:pt x="38" y="1307"/>
                  </a:lnTo>
                  <a:lnTo>
                    <a:pt x="38" y="1304"/>
                  </a:lnTo>
                  <a:close/>
                  <a:moveTo>
                    <a:pt x="213" y="1304"/>
                  </a:moveTo>
                  <a:lnTo>
                    <a:pt x="211" y="1304"/>
                  </a:lnTo>
                  <a:lnTo>
                    <a:pt x="213" y="1304"/>
                  </a:lnTo>
                  <a:close/>
                  <a:moveTo>
                    <a:pt x="173" y="1304"/>
                  </a:moveTo>
                  <a:lnTo>
                    <a:pt x="173" y="1307"/>
                  </a:lnTo>
                  <a:lnTo>
                    <a:pt x="173" y="1304"/>
                  </a:lnTo>
                  <a:lnTo>
                    <a:pt x="171" y="1304"/>
                  </a:lnTo>
                  <a:lnTo>
                    <a:pt x="173" y="1304"/>
                  </a:lnTo>
                  <a:close/>
                  <a:moveTo>
                    <a:pt x="216" y="1304"/>
                  </a:moveTo>
                  <a:lnTo>
                    <a:pt x="213" y="1304"/>
                  </a:lnTo>
                  <a:lnTo>
                    <a:pt x="216" y="1304"/>
                  </a:lnTo>
                  <a:lnTo>
                    <a:pt x="213" y="1304"/>
                  </a:lnTo>
                  <a:lnTo>
                    <a:pt x="216" y="1304"/>
                  </a:lnTo>
                  <a:lnTo>
                    <a:pt x="213" y="1307"/>
                  </a:lnTo>
                  <a:lnTo>
                    <a:pt x="213" y="1304"/>
                  </a:lnTo>
                  <a:lnTo>
                    <a:pt x="216" y="1304"/>
                  </a:lnTo>
                  <a:close/>
                  <a:moveTo>
                    <a:pt x="40" y="1304"/>
                  </a:moveTo>
                  <a:lnTo>
                    <a:pt x="40" y="1302"/>
                  </a:lnTo>
                  <a:lnTo>
                    <a:pt x="42" y="1302"/>
                  </a:lnTo>
                  <a:lnTo>
                    <a:pt x="42" y="1304"/>
                  </a:lnTo>
                  <a:lnTo>
                    <a:pt x="40" y="1304"/>
                  </a:lnTo>
                  <a:close/>
                  <a:moveTo>
                    <a:pt x="216" y="1302"/>
                  </a:moveTo>
                  <a:lnTo>
                    <a:pt x="216" y="1304"/>
                  </a:lnTo>
                  <a:lnTo>
                    <a:pt x="213" y="1304"/>
                  </a:lnTo>
                  <a:lnTo>
                    <a:pt x="216" y="1304"/>
                  </a:lnTo>
                  <a:lnTo>
                    <a:pt x="216" y="1302"/>
                  </a:lnTo>
                  <a:close/>
                  <a:moveTo>
                    <a:pt x="208" y="1304"/>
                  </a:moveTo>
                  <a:lnTo>
                    <a:pt x="208" y="1302"/>
                  </a:lnTo>
                  <a:lnTo>
                    <a:pt x="208" y="1304"/>
                  </a:lnTo>
                  <a:close/>
                  <a:moveTo>
                    <a:pt x="173" y="1302"/>
                  </a:moveTo>
                  <a:lnTo>
                    <a:pt x="171" y="1302"/>
                  </a:lnTo>
                  <a:lnTo>
                    <a:pt x="173" y="1302"/>
                  </a:lnTo>
                  <a:close/>
                  <a:moveTo>
                    <a:pt x="28" y="1302"/>
                  </a:moveTo>
                  <a:lnTo>
                    <a:pt x="26" y="1302"/>
                  </a:lnTo>
                  <a:lnTo>
                    <a:pt x="28" y="1302"/>
                  </a:lnTo>
                  <a:lnTo>
                    <a:pt x="26" y="1302"/>
                  </a:lnTo>
                  <a:lnTo>
                    <a:pt x="28" y="1302"/>
                  </a:lnTo>
                  <a:close/>
                  <a:moveTo>
                    <a:pt x="40" y="1302"/>
                  </a:moveTo>
                  <a:lnTo>
                    <a:pt x="40" y="1300"/>
                  </a:lnTo>
                  <a:lnTo>
                    <a:pt x="40" y="1302"/>
                  </a:lnTo>
                  <a:close/>
                  <a:moveTo>
                    <a:pt x="213" y="1300"/>
                  </a:moveTo>
                  <a:lnTo>
                    <a:pt x="213" y="1302"/>
                  </a:lnTo>
                  <a:lnTo>
                    <a:pt x="213" y="1300"/>
                  </a:lnTo>
                  <a:lnTo>
                    <a:pt x="213" y="1302"/>
                  </a:lnTo>
                  <a:lnTo>
                    <a:pt x="216" y="1302"/>
                  </a:lnTo>
                  <a:lnTo>
                    <a:pt x="213" y="1302"/>
                  </a:lnTo>
                  <a:lnTo>
                    <a:pt x="216" y="1302"/>
                  </a:lnTo>
                  <a:lnTo>
                    <a:pt x="213" y="1302"/>
                  </a:lnTo>
                  <a:lnTo>
                    <a:pt x="213" y="1304"/>
                  </a:lnTo>
                  <a:lnTo>
                    <a:pt x="213" y="1302"/>
                  </a:lnTo>
                  <a:lnTo>
                    <a:pt x="213" y="1304"/>
                  </a:lnTo>
                  <a:lnTo>
                    <a:pt x="211" y="1304"/>
                  </a:lnTo>
                  <a:lnTo>
                    <a:pt x="213" y="1304"/>
                  </a:lnTo>
                  <a:lnTo>
                    <a:pt x="211" y="1304"/>
                  </a:lnTo>
                  <a:lnTo>
                    <a:pt x="213" y="1304"/>
                  </a:lnTo>
                  <a:lnTo>
                    <a:pt x="211" y="1304"/>
                  </a:lnTo>
                  <a:lnTo>
                    <a:pt x="211" y="1302"/>
                  </a:lnTo>
                  <a:lnTo>
                    <a:pt x="211" y="1300"/>
                  </a:lnTo>
                  <a:lnTo>
                    <a:pt x="213" y="1300"/>
                  </a:lnTo>
                  <a:close/>
                  <a:moveTo>
                    <a:pt x="33" y="1300"/>
                  </a:moveTo>
                  <a:lnTo>
                    <a:pt x="35" y="1300"/>
                  </a:lnTo>
                  <a:lnTo>
                    <a:pt x="35" y="1302"/>
                  </a:lnTo>
                  <a:lnTo>
                    <a:pt x="38" y="1302"/>
                  </a:lnTo>
                  <a:lnTo>
                    <a:pt x="35" y="1302"/>
                  </a:lnTo>
                  <a:lnTo>
                    <a:pt x="38" y="1302"/>
                  </a:lnTo>
                  <a:lnTo>
                    <a:pt x="38" y="1304"/>
                  </a:lnTo>
                  <a:lnTo>
                    <a:pt x="38" y="1302"/>
                  </a:lnTo>
                  <a:lnTo>
                    <a:pt x="40" y="1302"/>
                  </a:lnTo>
                  <a:lnTo>
                    <a:pt x="40" y="1304"/>
                  </a:lnTo>
                  <a:lnTo>
                    <a:pt x="38" y="1304"/>
                  </a:lnTo>
                  <a:lnTo>
                    <a:pt x="35" y="1304"/>
                  </a:lnTo>
                  <a:lnTo>
                    <a:pt x="35" y="1302"/>
                  </a:lnTo>
                  <a:lnTo>
                    <a:pt x="35" y="1304"/>
                  </a:lnTo>
                  <a:lnTo>
                    <a:pt x="35" y="1302"/>
                  </a:lnTo>
                  <a:lnTo>
                    <a:pt x="33" y="1302"/>
                  </a:lnTo>
                  <a:lnTo>
                    <a:pt x="33" y="1300"/>
                  </a:lnTo>
                  <a:lnTo>
                    <a:pt x="33" y="1302"/>
                  </a:lnTo>
                  <a:lnTo>
                    <a:pt x="33" y="1300"/>
                  </a:lnTo>
                  <a:lnTo>
                    <a:pt x="33" y="1302"/>
                  </a:lnTo>
                  <a:lnTo>
                    <a:pt x="33" y="1300"/>
                  </a:lnTo>
                  <a:close/>
                  <a:moveTo>
                    <a:pt x="211" y="1300"/>
                  </a:moveTo>
                  <a:lnTo>
                    <a:pt x="208" y="1300"/>
                  </a:lnTo>
                  <a:lnTo>
                    <a:pt x="211" y="1300"/>
                  </a:lnTo>
                  <a:close/>
                  <a:moveTo>
                    <a:pt x="192" y="1300"/>
                  </a:moveTo>
                  <a:lnTo>
                    <a:pt x="194" y="1300"/>
                  </a:lnTo>
                  <a:lnTo>
                    <a:pt x="192" y="1302"/>
                  </a:lnTo>
                  <a:lnTo>
                    <a:pt x="192" y="1300"/>
                  </a:lnTo>
                  <a:lnTo>
                    <a:pt x="192" y="1302"/>
                  </a:lnTo>
                  <a:lnTo>
                    <a:pt x="194" y="1302"/>
                  </a:lnTo>
                  <a:lnTo>
                    <a:pt x="194" y="1300"/>
                  </a:lnTo>
                  <a:lnTo>
                    <a:pt x="194" y="1302"/>
                  </a:lnTo>
                  <a:lnTo>
                    <a:pt x="192" y="1302"/>
                  </a:lnTo>
                  <a:lnTo>
                    <a:pt x="192" y="1300"/>
                  </a:lnTo>
                  <a:close/>
                  <a:moveTo>
                    <a:pt x="40" y="1300"/>
                  </a:moveTo>
                  <a:lnTo>
                    <a:pt x="42" y="1300"/>
                  </a:lnTo>
                  <a:lnTo>
                    <a:pt x="40" y="1300"/>
                  </a:lnTo>
                  <a:close/>
                  <a:moveTo>
                    <a:pt x="206" y="1300"/>
                  </a:moveTo>
                  <a:lnTo>
                    <a:pt x="208" y="1300"/>
                  </a:lnTo>
                  <a:lnTo>
                    <a:pt x="211" y="1300"/>
                  </a:lnTo>
                  <a:lnTo>
                    <a:pt x="208" y="1302"/>
                  </a:lnTo>
                  <a:lnTo>
                    <a:pt x="211" y="1302"/>
                  </a:lnTo>
                  <a:lnTo>
                    <a:pt x="211" y="1300"/>
                  </a:lnTo>
                  <a:lnTo>
                    <a:pt x="211" y="1302"/>
                  </a:lnTo>
                  <a:lnTo>
                    <a:pt x="211" y="1304"/>
                  </a:lnTo>
                  <a:lnTo>
                    <a:pt x="208" y="1304"/>
                  </a:lnTo>
                  <a:lnTo>
                    <a:pt x="208" y="1302"/>
                  </a:lnTo>
                  <a:lnTo>
                    <a:pt x="206" y="1302"/>
                  </a:lnTo>
                  <a:lnTo>
                    <a:pt x="208" y="1302"/>
                  </a:lnTo>
                  <a:lnTo>
                    <a:pt x="206" y="1302"/>
                  </a:lnTo>
                  <a:lnTo>
                    <a:pt x="206" y="1300"/>
                  </a:lnTo>
                  <a:close/>
                  <a:moveTo>
                    <a:pt x="192" y="1300"/>
                  </a:moveTo>
                  <a:lnTo>
                    <a:pt x="189" y="1300"/>
                  </a:lnTo>
                  <a:lnTo>
                    <a:pt x="192" y="1300"/>
                  </a:lnTo>
                  <a:lnTo>
                    <a:pt x="189" y="1300"/>
                  </a:lnTo>
                  <a:lnTo>
                    <a:pt x="192" y="1300"/>
                  </a:lnTo>
                  <a:close/>
                  <a:moveTo>
                    <a:pt x="211" y="1300"/>
                  </a:moveTo>
                  <a:lnTo>
                    <a:pt x="208" y="1300"/>
                  </a:lnTo>
                  <a:lnTo>
                    <a:pt x="211" y="1300"/>
                  </a:lnTo>
                  <a:close/>
                  <a:moveTo>
                    <a:pt x="21" y="1300"/>
                  </a:moveTo>
                  <a:lnTo>
                    <a:pt x="21" y="1297"/>
                  </a:lnTo>
                  <a:lnTo>
                    <a:pt x="21" y="1300"/>
                  </a:lnTo>
                  <a:close/>
                  <a:moveTo>
                    <a:pt x="194" y="1300"/>
                  </a:moveTo>
                  <a:lnTo>
                    <a:pt x="194" y="1297"/>
                  </a:lnTo>
                  <a:lnTo>
                    <a:pt x="194" y="1300"/>
                  </a:lnTo>
                  <a:close/>
                  <a:moveTo>
                    <a:pt x="33" y="1297"/>
                  </a:moveTo>
                  <a:lnTo>
                    <a:pt x="35" y="1300"/>
                  </a:lnTo>
                  <a:lnTo>
                    <a:pt x="35" y="1297"/>
                  </a:lnTo>
                  <a:lnTo>
                    <a:pt x="35" y="1300"/>
                  </a:lnTo>
                  <a:lnTo>
                    <a:pt x="38" y="1300"/>
                  </a:lnTo>
                  <a:lnTo>
                    <a:pt x="40" y="1300"/>
                  </a:lnTo>
                  <a:lnTo>
                    <a:pt x="40" y="1302"/>
                  </a:lnTo>
                  <a:lnTo>
                    <a:pt x="38" y="1302"/>
                  </a:lnTo>
                  <a:lnTo>
                    <a:pt x="38" y="1300"/>
                  </a:lnTo>
                  <a:lnTo>
                    <a:pt x="35" y="1300"/>
                  </a:lnTo>
                  <a:lnTo>
                    <a:pt x="33" y="1300"/>
                  </a:lnTo>
                  <a:lnTo>
                    <a:pt x="33" y="1297"/>
                  </a:lnTo>
                  <a:close/>
                  <a:moveTo>
                    <a:pt x="211" y="1297"/>
                  </a:moveTo>
                  <a:lnTo>
                    <a:pt x="211" y="1300"/>
                  </a:lnTo>
                  <a:lnTo>
                    <a:pt x="208" y="1300"/>
                  </a:lnTo>
                  <a:lnTo>
                    <a:pt x="208" y="1297"/>
                  </a:lnTo>
                  <a:lnTo>
                    <a:pt x="211" y="1297"/>
                  </a:lnTo>
                  <a:close/>
                  <a:moveTo>
                    <a:pt x="47" y="1297"/>
                  </a:moveTo>
                  <a:lnTo>
                    <a:pt x="45" y="1297"/>
                  </a:lnTo>
                  <a:lnTo>
                    <a:pt x="47" y="1297"/>
                  </a:lnTo>
                  <a:close/>
                  <a:moveTo>
                    <a:pt x="45" y="1297"/>
                  </a:moveTo>
                  <a:lnTo>
                    <a:pt x="45" y="1300"/>
                  </a:lnTo>
                  <a:lnTo>
                    <a:pt x="45" y="1297"/>
                  </a:lnTo>
                  <a:lnTo>
                    <a:pt x="45" y="1300"/>
                  </a:lnTo>
                  <a:lnTo>
                    <a:pt x="42" y="1300"/>
                  </a:lnTo>
                  <a:lnTo>
                    <a:pt x="42" y="1297"/>
                  </a:lnTo>
                  <a:lnTo>
                    <a:pt x="45" y="1297"/>
                  </a:lnTo>
                  <a:close/>
                  <a:moveTo>
                    <a:pt x="47" y="1297"/>
                  </a:moveTo>
                  <a:lnTo>
                    <a:pt x="45" y="1297"/>
                  </a:lnTo>
                  <a:lnTo>
                    <a:pt x="47" y="1297"/>
                  </a:lnTo>
                  <a:close/>
                  <a:moveTo>
                    <a:pt x="189" y="1297"/>
                  </a:moveTo>
                  <a:lnTo>
                    <a:pt x="192" y="1297"/>
                  </a:lnTo>
                  <a:lnTo>
                    <a:pt x="189" y="1297"/>
                  </a:lnTo>
                  <a:close/>
                  <a:moveTo>
                    <a:pt x="192" y="1297"/>
                  </a:moveTo>
                  <a:lnTo>
                    <a:pt x="194" y="1297"/>
                  </a:lnTo>
                  <a:lnTo>
                    <a:pt x="192" y="1297"/>
                  </a:lnTo>
                  <a:lnTo>
                    <a:pt x="192" y="1300"/>
                  </a:lnTo>
                  <a:lnTo>
                    <a:pt x="192" y="1297"/>
                  </a:lnTo>
                  <a:lnTo>
                    <a:pt x="192" y="1300"/>
                  </a:lnTo>
                  <a:lnTo>
                    <a:pt x="192" y="1302"/>
                  </a:lnTo>
                  <a:lnTo>
                    <a:pt x="192" y="1300"/>
                  </a:lnTo>
                  <a:lnTo>
                    <a:pt x="192" y="1297"/>
                  </a:lnTo>
                  <a:close/>
                  <a:moveTo>
                    <a:pt x="194" y="1297"/>
                  </a:moveTo>
                  <a:lnTo>
                    <a:pt x="194" y="1295"/>
                  </a:lnTo>
                  <a:lnTo>
                    <a:pt x="194" y="1297"/>
                  </a:lnTo>
                  <a:close/>
                  <a:moveTo>
                    <a:pt x="189" y="1297"/>
                  </a:moveTo>
                  <a:lnTo>
                    <a:pt x="189" y="1295"/>
                  </a:lnTo>
                  <a:lnTo>
                    <a:pt x="189" y="1297"/>
                  </a:lnTo>
                  <a:close/>
                  <a:moveTo>
                    <a:pt x="42" y="1297"/>
                  </a:moveTo>
                  <a:lnTo>
                    <a:pt x="40" y="1297"/>
                  </a:lnTo>
                  <a:lnTo>
                    <a:pt x="40" y="1295"/>
                  </a:lnTo>
                  <a:lnTo>
                    <a:pt x="42" y="1295"/>
                  </a:lnTo>
                  <a:lnTo>
                    <a:pt x="42" y="1297"/>
                  </a:lnTo>
                  <a:close/>
                  <a:moveTo>
                    <a:pt x="197" y="1295"/>
                  </a:moveTo>
                  <a:lnTo>
                    <a:pt x="194" y="1295"/>
                  </a:lnTo>
                  <a:lnTo>
                    <a:pt x="197" y="1295"/>
                  </a:lnTo>
                  <a:close/>
                  <a:moveTo>
                    <a:pt x="45" y="1295"/>
                  </a:moveTo>
                  <a:lnTo>
                    <a:pt x="45" y="1297"/>
                  </a:lnTo>
                  <a:lnTo>
                    <a:pt x="45" y="1295"/>
                  </a:lnTo>
                  <a:lnTo>
                    <a:pt x="45" y="1297"/>
                  </a:lnTo>
                  <a:lnTo>
                    <a:pt x="45" y="1295"/>
                  </a:lnTo>
                  <a:close/>
                  <a:moveTo>
                    <a:pt x="204" y="1295"/>
                  </a:moveTo>
                  <a:lnTo>
                    <a:pt x="204" y="1292"/>
                  </a:lnTo>
                  <a:lnTo>
                    <a:pt x="204" y="1295"/>
                  </a:lnTo>
                  <a:close/>
                  <a:moveTo>
                    <a:pt x="204" y="1292"/>
                  </a:moveTo>
                  <a:lnTo>
                    <a:pt x="204" y="1295"/>
                  </a:lnTo>
                  <a:lnTo>
                    <a:pt x="204" y="1292"/>
                  </a:lnTo>
                  <a:close/>
                  <a:moveTo>
                    <a:pt x="50" y="1292"/>
                  </a:moveTo>
                  <a:lnTo>
                    <a:pt x="50" y="1295"/>
                  </a:lnTo>
                  <a:lnTo>
                    <a:pt x="47" y="1295"/>
                  </a:lnTo>
                  <a:lnTo>
                    <a:pt x="47" y="1297"/>
                  </a:lnTo>
                  <a:lnTo>
                    <a:pt x="47" y="1295"/>
                  </a:lnTo>
                  <a:lnTo>
                    <a:pt x="50" y="1292"/>
                  </a:lnTo>
                  <a:close/>
                  <a:moveTo>
                    <a:pt x="42" y="1292"/>
                  </a:moveTo>
                  <a:lnTo>
                    <a:pt x="42" y="1295"/>
                  </a:lnTo>
                  <a:lnTo>
                    <a:pt x="42" y="1292"/>
                  </a:lnTo>
                  <a:lnTo>
                    <a:pt x="42" y="1295"/>
                  </a:lnTo>
                  <a:lnTo>
                    <a:pt x="40" y="1295"/>
                  </a:lnTo>
                  <a:lnTo>
                    <a:pt x="40" y="1292"/>
                  </a:lnTo>
                  <a:lnTo>
                    <a:pt x="42" y="1292"/>
                  </a:lnTo>
                  <a:close/>
                  <a:moveTo>
                    <a:pt x="197" y="1292"/>
                  </a:moveTo>
                  <a:lnTo>
                    <a:pt x="194" y="1292"/>
                  </a:lnTo>
                  <a:lnTo>
                    <a:pt x="197" y="1292"/>
                  </a:lnTo>
                  <a:close/>
                  <a:moveTo>
                    <a:pt x="201" y="1295"/>
                  </a:moveTo>
                  <a:lnTo>
                    <a:pt x="201" y="1292"/>
                  </a:lnTo>
                  <a:lnTo>
                    <a:pt x="201" y="1295"/>
                  </a:lnTo>
                  <a:close/>
                  <a:moveTo>
                    <a:pt x="28" y="1292"/>
                  </a:moveTo>
                  <a:lnTo>
                    <a:pt x="31" y="1292"/>
                  </a:lnTo>
                  <a:lnTo>
                    <a:pt x="31" y="1295"/>
                  </a:lnTo>
                  <a:lnTo>
                    <a:pt x="28" y="1295"/>
                  </a:lnTo>
                  <a:lnTo>
                    <a:pt x="31" y="1295"/>
                  </a:lnTo>
                  <a:lnTo>
                    <a:pt x="28" y="1295"/>
                  </a:lnTo>
                  <a:lnTo>
                    <a:pt x="28" y="1297"/>
                  </a:lnTo>
                  <a:lnTo>
                    <a:pt x="28" y="1295"/>
                  </a:lnTo>
                  <a:lnTo>
                    <a:pt x="28" y="1297"/>
                  </a:lnTo>
                  <a:lnTo>
                    <a:pt x="26" y="1297"/>
                  </a:lnTo>
                  <a:lnTo>
                    <a:pt x="28" y="1297"/>
                  </a:lnTo>
                  <a:lnTo>
                    <a:pt x="26" y="1297"/>
                  </a:lnTo>
                  <a:lnTo>
                    <a:pt x="26" y="1295"/>
                  </a:lnTo>
                  <a:lnTo>
                    <a:pt x="26" y="1292"/>
                  </a:lnTo>
                  <a:lnTo>
                    <a:pt x="28" y="1292"/>
                  </a:lnTo>
                  <a:close/>
                  <a:moveTo>
                    <a:pt x="28" y="1292"/>
                  </a:moveTo>
                  <a:lnTo>
                    <a:pt x="26" y="1292"/>
                  </a:lnTo>
                  <a:lnTo>
                    <a:pt x="28" y="1292"/>
                  </a:lnTo>
                  <a:close/>
                  <a:moveTo>
                    <a:pt x="31" y="1292"/>
                  </a:moveTo>
                  <a:lnTo>
                    <a:pt x="33" y="1292"/>
                  </a:lnTo>
                  <a:lnTo>
                    <a:pt x="31" y="1292"/>
                  </a:lnTo>
                  <a:close/>
                  <a:moveTo>
                    <a:pt x="26" y="1292"/>
                  </a:moveTo>
                  <a:lnTo>
                    <a:pt x="26" y="1290"/>
                  </a:lnTo>
                  <a:lnTo>
                    <a:pt x="26" y="1292"/>
                  </a:lnTo>
                  <a:close/>
                  <a:moveTo>
                    <a:pt x="42" y="1292"/>
                  </a:moveTo>
                  <a:lnTo>
                    <a:pt x="40" y="1292"/>
                  </a:lnTo>
                  <a:lnTo>
                    <a:pt x="42" y="1292"/>
                  </a:lnTo>
                  <a:lnTo>
                    <a:pt x="40" y="1292"/>
                  </a:lnTo>
                  <a:lnTo>
                    <a:pt x="40" y="1290"/>
                  </a:lnTo>
                  <a:lnTo>
                    <a:pt x="42" y="1290"/>
                  </a:lnTo>
                  <a:lnTo>
                    <a:pt x="42" y="1292"/>
                  </a:lnTo>
                  <a:close/>
                  <a:moveTo>
                    <a:pt x="28" y="1290"/>
                  </a:moveTo>
                  <a:lnTo>
                    <a:pt x="31" y="1290"/>
                  </a:lnTo>
                  <a:lnTo>
                    <a:pt x="31" y="1292"/>
                  </a:lnTo>
                  <a:lnTo>
                    <a:pt x="31" y="1290"/>
                  </a:lnTo>
                  <a:lnTo>
                    <a:pt x="31" y="1292"/>
                  </a:lnTo>
                  <a:lnTo>
                    <a:pt x="28" y="1292"/>
                  </a:lnTo>
                  <a:lnTo>
                    <a:pt x="28" y="1290"/>
                  </a:lnTo>
                  <a:close/>
                  <a:moveTo>
                    <a:pt x="42" y="1290"/>
                  </a:moveTo>
                  <a:lnTo>
                    <a:pt x="42" y="1292"/>
                  </a:lnTo>
                  <a:lnTo>
                    <a:pt x="42" y="1290"/>
                  </a:lnTo>
                  <a:close/>
                  <a:moveTo>
                    <a:pt x="28" y="1290"/>
                  </a:moveTo>
                  <a:lnTo>
                    <a:pt x="28" y="1292"/>
                  </a:lnTo>
                  <a:lnTo>
                    <a:pt x="26" y="1292"/>
                  </a:lnTo>
                  <a:lnTo>
                    <a:pt x="26" y="1290"/>
                  </a:lnTo>
                  <a:lnTo>
                    <a:pt x="28" y="1290"/>
                  </a:lnTo>
                  <a:lnTo>
                    <a:pt x="26" y="1290"/>
                  </a:lnTo>
                  <a:lnTo>
                    <a:pt x="28" y="1290"/>
                  </a:lnTo>
                  <a:close/>
                  <a:moveTo>
                    <a:pt x="50" y="1290"/>
                  </a:moveTo>
                  <a:lnTo>
                    <a:pt x="50" y="1292"/>
                  </a:lnTo>
                  <a:lnTo>
                    <a:pt x="47" y="1292"/>
                  </a:lnTo>
                  <a:lnTo>
                    <a:pt x="45" y="1292"/>
                  </a:lnTo>
                  <a:lnTo>
                    <a:pt x="45" y="1290"/>
                  </a:lnTo>
                  <a:lnTo>
                    <a:pt x="47" y="1290"/>
                  </a:lnTo>
                  <a:lnTo>
                    <a:pt x="50" y="1290"/>
                  </a:lnTo>
                  <a:close/>
                  <a:moveTo>
                    <a:pt x="12" y="1288"/>
                  </a:moveTo>
                  <a:lnTo>
                    <a:pt x="12" y="1290"/>
                  </a:lnTo>
                  <a:lnTo>
                    <a:pt x="9" y="1290"/>
                  </a:lnTo>
                  <a:lnTo>
                    <a:pt x="12" y="1290"/>
                  </a:lnTo>
                  <a:lnTo>
                    <a:pt x="9" y="1290"/>
                  </a:lnTo>
                  <a:lnTo>
                    <a:pt x="9" y="1288"/>
                  </a:lnTo>
                  <a:lnTo>
                    <a:pt x="12" y="1288"/>
                  </a:lnTo>
                  <a:close/>
                  <a:moveTo>
                    <a:pt x="201" y="1288"/>
                  </a:moveTo>
                  <a:lnTo>
                    <a:pt x="199" y="1288"/>
                  </a:lnTo>
                  <a:lnTo>
                    <a:pt x="201" y="1288"/>
                  </a:lnTo>
                  <a:close/>
                  <a:moveTo>
                    <a:pt x="47" y="1288"/>
                  </a:moveTo>
                  <a:lnTo>
                    <a:pt x="45" y="1288"/>
                  </a:lnTo>
                  <a:lnTo>
                    <a:pt x="47" y="1288"/>
                  </a:lnTo>
                  <a:close/>
                  <a:moveTo>
                    <a:pt x="35" y="1285"/>
                  </a:moveTo>
                  <a:lnTo>
                    <a:pt x="35" y="1288"/>
                  </a:lnTo>
                  <a:lnTo>
                    <a:pt x="35" y="1285"/>
                  </a:lnTo>
                  <a:close/>
                  <a:moveTo>
                    <a:pt x="50" y="1285"/>
                  </a:moveTo>
                  <a:lnTo>
                    <a:pt x="47" y="1285"/>
                  </a:lnTo>
                  <a:lnTo>
                    <a:pt x="50" y="1285"/>
                  </a:lnTo>
                  <a:close/>
                  <a:moveTo>
                    <a:pt x="19" y="1285"/>
                  </a:moveTo>
                  <a:lnTo>
                    <a:pt x="21" y="1285"/>
                  </a:lnTo>
                  <a:lnTo>
                    <a:pt x="19" y="1285"/>
                  </a:lnTo>
                  <a:lnTo>
                    <a:pt x="19" y="1283"/>
                  </a:lnTo>
                  <a:lnTo>
                    <a:pt x="19" y="1285"/>
                  </a:lnTo>
                  <a:close/>
                  <a:moveTo>
                    <a:pt x="50" y="1285"/>
                  </a:moveTo>
                  <a:lnTo>
                    <a:pt x="50" y="1283"/>
                  </a:lnTo>
                  <a:lnTo>
                    <a:pt x="50" y="1285"/>
                  </a:lnTo>
                  <a:close/>
                  <a:moveTo>
                    <a:pt x="21" y="1283"/>
                  </a:moveTo>
                  <a:lnTo>
                    <a:pt x="23" y="1285"/>
                  </a:lnTo>
                  <a:lnTo>
                    <a:pt x="23" y="1288"/>
                  </a:lnTo>
                  <a:lnTo>
                    <a:pt x="23" y="1285"/>
                  </a:lnTo>
                  <a:lnTo>
                    <a:pt x="23" y="1288"/>
                  </a:lnTo>
                  <a:lnTo>
                    <a:pt x="23" y="1290"/>
                  </a:lnTo>
                  <a:lnTo>
                    <a:pt x="26" y="1290"/>
                  </a:lnTo>
                  <a:lnTo>
                    <a:pt x="23" y="1292"/>
                  </a:lnTo>
                  <a:lnTo>
                    <a:pt x="23" y="1295"/>
                  </a:lnTo>
                  <a:lnTo>
                    <a:pt x="23" y="1297"/>
                  </a:lnTo>
                  <a:lnTo>
                    <a:pt x="21" y="1297"/>
                  </a:lnTo>
                  <a:lnTo>
                    <a:pt x="23" y="1297"/>
                  </a:lnTo>
                  <a:lnTo>
                    <a:pt x="21" y="1297"/>
                  </a:lnTo>
                  <a:lnTo>
                    <a:pt x="19" y="1297"/>
                  </a:lnTo>
                  <a:lnTo>
                    <a:pt x="19" y="1295"/>
                  </a:lnTo>
                  <a:lnTo>
                    <a:pt x="19" y="1292"/>
                  </a:lnTo>
                  <a:lnTo>
                    <a:pt x="21" y="1292"/>
                  </a:lnTo>
                  <a:lnTo>
                    <a:pt x="19" y="1292"/>
                  </a:lnTo>
                  <a:lnTo>
                    <a:pt x="21" y="1290"/>
                  </a:lnTo>
                  <a:lnTo>
                    <a:pt x="19" y="1290"/>
                  </a:lnTo>
                  <a:lnTo>
                    <a:pt x="21" y="1290"/>
                  </a:lnTo>
                  <a:lnTo>
                    <a:pt x="19" y="1290"/>
                  </a:lnTo>
                  <a:lnTo>
                    <a:pt x="21" y="1290"/>
                  </a:lnTo>
                  <a:lnTo>
                    <a:pt x="21" y="1288"/>
                  </a:lnTo>
                  <a:lnTo>
                    <a:pt x="21" y="1290"/>
                  </a:lnTo>
                  <a:lnTo>
                    <a:pt x="21" y="1288"/>
                  </a:lnTo>
                  <a:lnTo>
                    <a:pt x="19" y="1288"/>
                  </a:lnTo>
                  <a:lnTo>
                    <a:pt x="21" y="1288"/>
                  </a:lnTo>
                  <a:lnTo>
                    <a:pt x="21" y="1285"/>
                  </a:lnTo>
                  <a:lnTo>
                    <a:pt x="21" y="1283"/>
                  </a:lnTo>
                  <a:lnTo>
                    <a:pt x="21" y="1285"/>
                  </a:lnTo>
                  <a:lnTo>
                    <a:pt x="21" y="1283"/>
                  </a:lnTo>
                  <a:lnTo>
                    <a:pt x="21" y="1285"/>
                  </a:lnTo>
                  <a:lnTo>
                    <a:pt x="21" y="1283"/>
                  </a:lnTo>
                  <a:close/>
                  <a:moveTo>
                    <a:pt x="19" y="1283"/>
                  </a:moveTo>
                  <a:lnTo>
                    <a:pt x="16" y="1283"/>
                  </a:lnTo>
                  <a:lnTo>
                    <a:pt x="19" y="1283"/>
                  </a:lnTo>
                  <a:close/>
                  <a:moveTo>
                    <a:pt x="19" y="1283"/>
                  </a:moveTo>
                  <a:lnTo>
                    <a:pt x="16" y="1283"/>
                  </a:lnTo>
                  <a:lnTo>
                    <a:pt x="16" y="1281"/>
                  </a:lnTo>
                  <a:lnTo>
                    <a:pt x="16" y="1283"/>
                  </a:lnTo>
                  <a:lnTo>
                    <a:pt x="19" y="1283"/>
                  </a:lnTo>
                  <a:close/>
                  <a:moveTo>
                    <a:pt x="192" y="1281"/>
                  </a:moveTo>
                  <a:lnTo>
                    <a:pt x="192" y="1278"/>
                  </a:lnTo>
                  <a:lnTo>
                    <a:pt x="189" y="1278"/>
                  </a:lnTo>
                  <a:lnTo>
                    <a:pt x="192" y="1278"/>
                  </a:lnTo>
                  <a:lnTo>
                    <a:pt x="192" y="1281"/>
                  </a:lnTo>
                  <a:close/>
                  <a:moveTo>
                    <a:pt x="19" y="1273"/>
                  </a:moveTo>
                  <a:lnTo>
                    <a:pt x="19" y="1276"/>
                  </a:lnTo>
                  <a:lnTo>
                    <a:pt x="19" y="1273"/>
                  </a:lnTo>
                  <a:lnTo>
                    <a:pt x="19" y="1276"/>
                  </a:lnTo>
                  <a:lnTo>
                    <a:pt x="19" y="1273"/>
                  </a:lnTo>
                  <a:close/>
                  <a:moveTo>
                    <a:pt x="19" y="1271"/>
                  </a:moveTo>
                  <a:lnTo>
                    <a:pt x="19" y="1273"/>
                  </a:lnTo>
                  <a:lnTo>
                    <a:pt x="19" y="1271"/>
                  </a:lnTo>
                  <a:close/>
                  <a:moveTo>
                    <a:pt x="38" y="1271"/>
                  </a:moveTo>
                  <a:lnTo>
                    <a:pt x="40" y="1271"/>
                  </a:lnTo>
                  <a:lnTo>
                    <a:pt x="38" y="1271"/>
                  </a:lnTo>
                  <a:close/>
                  <a:moveTo>
                    <a:pt x="19" y="1271"/>
                  </a:moveTo>
                  <a:lnTo>
                    <a:pt x="19" y="1269"/>
                  </a:lnTo>
                  <a:lnTo>
                    <a:pt x="19" y="1271"/>
                  </a:lnTo>
                  <a:close/>
                  <a:moveTo>
                    <a:pt x="38" y="1269"/>
                  </a:moveTo>
                  <a:lnTo>
                    <a:pt x="38" y="1271"/>
                  </a:lnTo>
                  <a:lnTo>
                    <a:pt x="38" y="1269"/>
                  </a:lnTo>
                  <a:close/>
                  <a:moveTo>
                    <a:pt x="19" y="1269"/>
                  </a:moveTo>
                  <a:lnTo>
                    <a:pt x="16" y="1269"/>
                  </a:lnTo>
                  <a:lnTo>
                    <a:pt x="19" y="1269"/>
                  </a:lnTo>
                  <a:lnTo>
                    <a:pt x="16" y="1269"/>
                  </a:lnTo>
                  <a:lnTo>
                    <a:pt x="19" y="1269"/>
                  </a:lnTo>
                  <a:close/>
                  <a:moveTo>
                    <a:pt x="197" y="1266"/>
                  </a:moveTo>
                  <a:lnTo>
                    <a:pt x="197" y="1269"/>
                  </a:lnTo>
                  <a:lnTo>
                    <a:pt x="199" y="1269"/>
                  </a:lnTo>
                  <a:lnTo>
                    <a:pt x="197" y="1269"/>
                  </a:lnTo>
                  <a:lnTo>
                    <a:pt x="197" y="1266"/>
                  </a:lnTo>
                  <a:close/>
                  <a:moveTo>
                    <a:pt x="42" y="1266"/>
                  </a:moveTo>
                  <a:lnTo>
                    <a:pt x="42" y="1269"/>
                  </a:lnTo>
                  <a:lnTo>
                    <a:pt x="42" y="1266"/>
                  </a:lnTo>
                  <a:close/>
                  <a:moveTo>
                    <a:pt x="23" y="1266"/>
                  </a:moveTo>
                  <a:lnTo>
                    <a:pt x="21" y="1266"/>
                  </a:lnTo>
                  <a:lnTo>
                    <a:pt x="23" y="1266"/>
                  </a:lnTo>
                  <a:lnTo>
                    <a:pt x="21" y="1266"/>
                  </a:lnTo>
                  <a:lnTo>
                    <a:pt x="23" y="1266"/>
                  </a:lnTo>
                  <a:close/>
                  <a:moveTo>
                    <a:pt x="26" y="1266"/>
                  </a:moveTo>
                  <a:lnTo>
                    <a:pt x="28" y="1266"/>
                  </a:lnTo>
                  <a:lnTo>
                    <a:pt x="26" y="1266"/>
                  </a:lnTo>
                  <a:close/>
                  <a:moveTo>
                    <a:pt x="35" y="1266"/>
                  </a:moveTo>
                  <a:lnTo>
                    <a:pt x="38" y="1266"/>
                  </a:lnTo>
                  <a:lnTo>
                    <a:pt x="38" y="1269"/>
                  </a:lnTo>
                  <a:lnTo>
                    <a:pt x="38" y="1266"/>
                  </a:lnTo>
                  <a:lnTo>
                    <a:pt x="38" y="1269"/>
                  </a:lnTo>
                  <a:lnTo>
                    <a:pt x="35" y="1269"/>
                  </a:lnTo>
                  <a:lnTo>
                    <a:pt x="35" y="1266"/>
                  </a:lnTo>
                  <a:close/>
                  <a:moveTo>
                    <a:pt x="38" y="1266"/>
                  </a:moveTo>
                  <a:lnTo>
                    <a:pt x="35" y="1266"/>
                  </a:lnTo>
                  <a:lnTo>
                    <a:pt x="38" y="1266"/>
                  </a:lnTo>
                  <a:close/>
                  <a:moveTo>
                    <a:pt x="35" y="1262"/>
                  </a:moveTo>
                  <a:lnTo>
                    <a:pt x="35" y="1264"/>
                  </a:lnTo>
                  <a:lnTo>
                    <a:pt x="35" y="1262"/>
                  </a:lnTo>
                  <a:close/>
                  <a:moveTo>
                    <a:pt x="35" y="1264"/>
                  </a:moveTo>
                  <a:lnTo>
                    <a:pt x="38" y="1264"/>
                  </a:lnTo>
                  <a:lnTo>
                    <a:pt x="38" y="1262"/>
                  </a:lnTo>
                  <a:lnTo>
                    <a:pt x="38" y="1264"/>
                  </a:lnTo>
                  <a:lnTo>
                    <a:pt x="40" y="1264"/>
                  </a:lnTo>
                  <a:lnTo>
                    <a:pt x="42" y="1264"/>
                  </a:lnTo>
                  <a:lnTo>
                    <a:pt x="42" y="1266"/>
                  </a:lnTo>
                  <a:lnTo>
                    <a:pt x="40" y="1266"/>
                  </a:lnTo>
                  <a:lnTo>
                    <a:pt x="38" y="1266"/>
                  </a:lnTo>
                  <a:lnTo>
                    <a:pt x="38" y="1264"/>
                  </a:lnTo>
                  <a:lnTo>
                    <a:pt x="35" y="1264"/>
                  </a:lnTo>
                  <a:lnTo>
                    <a:pt x="35" y="1262"/>
                  </a:lnTo>
                  <a:lnTo>
                    <a:pt x="35" y="1264"/>
                  </a:lnTo>
                  <a:close/>
                  <a:moveTo>
                    <a:pt x="16" y="1262"/>
                  </a:moveTo>
                  <a:lnTo>
                    <a:pt x="16" y="1264"/>
                  </a:lnTo>
                  <a:lnTo>
                    <a:pt x="16" y="1262"/>
                  </a:lnTo>
                  <a:lnTo>
                    <a:pt x="16" y="1264"/>
                  </a:lnTo>
                  <a:lnTo>
                    <a:pt x="16" y="1262"/>
                  </a:lnTo>
                  <a:lnTo>
                    <a:pt x="16" y="1264"/>
                  </a:lnTo>
                  <a:lnTo>
                    <a:pt x="16" y="1262"/>
                  </a:lnTo>
                  <a:close/>
                  <a:moveTo>
                    <a:pt x="197" y="1262"/>
                  </a:moveTo>
                  <a:lnTo>
                    <a:pt x="194" y="1262"/>
                  </a:lnTo>
                  <a:lnTo>
                    <a:pt x="197" y="1262"/>
                  </a:lnTo>
                  <a:close/>
                  <a:moveTo>
                    <a:pt x="199" y="1259"/>
                  </a:moveTo>
                  <a:lnTo>
                    <a:pt x="199" y="1262"/>
                  </a:lnTo>
                  <a:lnTo>
                    <a:pt x="197" y="1262"/>
                  </a:lnTo>
                  <a:lnTo>
                    <a:pt x="199" y="1259"/>
                  </a:lnTo>
                  <a:lnTo>
                    <a:pt x="197" y="1259"/>
                  </a:lnTo>
                  <a:lnTo>
                    <a:pt x="199" y="1259"/>
                  </a:lnTo>
                  <a:close/>
                  <a:moveTo>
                    <a:pt x="197" y="1259"/>
                  </a:moveTo>
                  <a:lnTo>
                    <a:pt x="197" y="1262"/>
                  </a:lnTo>
                  <a:lnTo>
                    <a:pt x="197" y="1259"/>
                  </a:lnTo>
                  <a:close/>
                  <a:moveTo>
                    <a:pt x="204" y="1259"/>
                  </a:moveTo>
                  <a:lnTo>
                    <a:pt x="201" y="1259"/>
                  </a:lnTo>
                  <a:lnTo>
                    <a:pt x="204" y="1259"/>
                  </a:lnTo>
                  <a:close/>
                  <a:moveTo>
                    <a:pt x="33" y="1259"/>
                  </a:moveTo>
                  <a:lnTo>
                    <a:pt x="35" y="1259"/>
                  </a:lnTo>
                  <a:lnTo>
                    <a:pt x="33" y="1262"/>
                  </a:lnTo>
                  <a:lnTo>
                    <a:pt x="33" y="1259"/>
                  </a:lnTo>
                  <a:close/>
                  <a:moveTo>
                    <a:pt x="199" y="1259"/>
                  </a:moveTo>
                  <a:lnTo>
                    <a:pt x="197" y="1259"/>
                  </a:lnTo>
                  <a:lnTo>
                    <a:pt x="199" y="1259"/>
                  </a:lnTo>
                  <a:lnTo>
                    <a:pt x="197" y="1259"/>
                  </a:lnTo>
                  <a:lnTo>
                    <a:pt x="199" y="1259"/>
                  </a:lnTo>
                  <a:close/>
                  <a:moveTo>
                    <a:pt x="21" y="1259"/>
                  </a:moveTo>
                  <a:lnTo>
                    <a:pt x="19" y="1259"/>
                  </a:lnTo>
                  <a:lnTo>
                    <a:pt x="21" y="1259"/>
                  </a:lnTo>
                  <a:close/>
                  <a:moveTo>
                    <a:pt x="19" y="1259"/>
                  </a:moveTo>
                  <a:lnTo>
                    <a:pt x="16" y="1259"/>
                  </a:lnTo>
                  <a:lnTo>
                    <a:pt x="19" y="1259"/>
                  </a:lnTo>
                  <a:lnTo>
                    <a:pt x="19" y="1262"/>
                  </a:lnTo>
                  <a:lnTo>
                    <a:pt x="21" y="1262"/>
                  </a:lnTo>
                  <a:lnTo>
                    <a:pt x="19" y="1262"/>
                  </a:lnTo>
                  <a:lnTo>
                    <a:pt x="19" y="1259"/>
                  </a:lnTo>
                  <a:lnTo>
                    <a:pt x="21" y="1259"/>
                  </a:lnTo>
                  <a:lnTo>
                    <a:pt x="21" y="1262"/>
                  </a:lnTo>
                  <a:lnTo>
                    <a:pt x="21" y="1259"/>
                  </a:lnTo>
                  <a:lnTo>
                    <a:pt x="21" y="1262"/>
                  </a:lnTo>
                  <a:lnTo>
                    <a:pt x="23" y="1262"/>
                  </a:lnTo>
                  <a:lnTo>
                    <a:pt x="21" y="1262"/>
                  </a:lnTo>
                  <a:lnTo>
                    <a:pt x="23" y="1262"/>
                  </a:lnTo>
                  <a:lnTo>
                    <a:pt x="21" y="1262"/>
                  </a:lnTo>
                  <a:lnTo>
                    <a:pt x="23" y="1262"/>
                  </a:lnTo>
                  <a:lnTo>
                    <a:pt x="23" y="1264"/>
                  </a:lnTo>
                  <a:lnTo>
                    <a:pt x="23" y="1262"/>
                  </a:lnTo>
                  <a:lnTo>
                    <a:pt x="21" y="1262"/>
                  </a:lnTo>
                  <a:lnTo>
                    <a:pt x="21" y="1264"/>
                  </a:lnTo>
                  <a:lnTo>
                    <a:pt x="23" y="1264"/>
                  </a:lnTo>
                  <a:lnTo>
                    <a:pt x="23" y="1262"/>
                  </a:lnTo>
                  <a:lnTo>
                    <a:pt x="23" y="1264"/>
                  </a:lnTo>
                  <a:lnTo>
                    <a:pt x="26" y="1264"/>
                  </a:lnTo>
                  <a:lnTo>
                    <a:pt x="26" y="1266"/>
                  </a:lnTo>
                  <a:lnTo>
                    <a:pt x="26" y="1269"/>
                  </a:lnTo>
                  <a:lnTo>
                    <a:pt x="23" y="1269"/>
                  </a:lnTo>
                  <a:lnTo>
                    <a:pt x="26" y="1269"/>
                  </a:lnTo>
                  <a:lnTo>
                    <a:pt x="23" y="1269"/>
                  </a:lnTo>
                  <a:lnTo>
                    <a:pt x="26" y="1269"/>
                  </a:lnTo>
                  <a:lnTo>
                    <a:pt x="23" y="1266"/>
                  </a:lnTo>
                  <a:lnTo>
                    <a:pt x="21" y="1266"/>
                  </a:lnTo>
                  <a:lnTo>
                    <a:pt x="21" y="1269"/>
                  </a:lnTo>
                  <a:lnTo>
                    <a:pt x="23" y="1266"/>
                  </a:lnTo>
                  <a:lnTo>
                    <a:pt x="23" y="1269"/>
                  </a:lnTo>
                  <a:lnTo>
                    <a:pt x="21" y="1269"/>
                  </a:lnTo>
                  <a:lnTo>
                    <a:pt x="23" y="1269"/>
                  </a:lnTo>
                  <a:lnTo>
                    <a:pt x="21" y="1269"/>
                  </a:lnTo>
                  <a:lnTo>
                    <a:pt x="23" y="1269"/>
                  </a:lnTo>
                  <a:lnTo>
                    <a:pt x="23" y="1271"/>
                  </a:lnTo>
                  <a:lnTo>
                    <a:pt x="21" y="1271"/>
                  </a:lnTo>
                  <a:lnTo>
                    <a:pt x="21" y="1273"/>
                  </a:lnTo>
                  <a:lnTo>
                    <a:pt x="21" y="1276"/>
                  </a:lnTo>
                  <a:lnTo>
                    <a:pt x="19" y="1276"/>
                  </a:lnTo>
                  <a:lnTo>
                    <a:pt x="19" y="1273"/>
                  </a:lnTo>
                  <a:lnTo>
                    <a:pt x="21" y="1273"/>
                  </a:lnTo>
                  <a:lnTo>
                    <a:pt x="19" y="1273"/>
                  </a:lnTo>
                  <a:lnTo>
                    <a:pt x="19" y="1271"/>
                  </a:lnTo>
                  <a:lnTo>
                    <a:pt x="19" y="1273"/>
                  </a:lnTo>
                  <a:lnTo>
                    <a:pt x="19" y="1271"/>
                  </a:lnTo>
                  <a:lnTo>
                    <a:pt x="19" y="1269"/>
                  </a:lnTo>
                  <a:lnTo>
                    <a:pt x="19" y="1271"/>
                  </a:lnTo>
                  <a:lnTo>
                    <a:pt x="19" y="1269"/>
                  </a:lnTo>
                  <a:lnTo>
                    <a:pt x="19" y="1266"/>
                  </a:lnTo>
                  <a:lnTo>
                    <a:pt x="21" y="1266"/>
                  </a:lnTo>
                  <a:lnTo>
                    <a:pt x="19" y="1266"/>
                  </a:lnTo>
                  <a:lnTo>
                    <a:pt x="19" y="1264"/>
                  </a:lnTo>
                  <a:lnTo>
                    <a:pt x="19" y="1266"/>
                  </a:lnTo>
                  <a:lnTo>
                    <a:pt x="19" y="1264"/>
                  </a:lnTo>
                  <a:lnTo>
                    <a:pt x="19" y="1266"/>
                  </a:lnTo>
                  <a:lnTo>
                    <a:pt x="19" y="1264"/>
                  </a:lnTo>
                  <a:lnTo>
                    <a:pt x="19" y="1266"/>
                  </a:lnTo>
                  <a:lnTo>
                    <a:pt x="16" y="1266"/>
                  </a:lnTo>
                  <a:lnTo>
                    <a:pt x="19" y="1266"/>
                  </a:lnTo>
                  <a:lnTo>
                    <a:pt x="19" y="1264"/>
                  </a:lnTo>
                  <a:lnTo>
                    <a:pt x="19" y="1266"/>
                  </a:lnTo>
                  <a:lnTo>
                    <a:pt x="16" y="1266"/>
                  </a:lnTo>
                  <a:lnTo>
                    <a:pt x="16" y="1264"/>
                  </a:lnTo>
                  <a:lnTo>
                    <a:pt x="16" y="1266"/>
                  </a:lnTo>
                  <a:lnTo>
                    <a:pt x="16" y="1264"/>
                  </a:lnTo>
                  <a:lnTo>
                    <a:pt x="19" y="1264"/>
                  </a:lnTo>
                  <a:lnTo>
                    <a:pt x="16" y="1264"/>
                  </a:lnTo>
                  <a:lnTo>
                    <a:pt x="19" y="1264"/>
                  </a:lnTo>
                  <a:lnTo>
                    <a:pt x="19" y="1262"/>
                  </a:lnTo>
                  <a:lnTo>
                    <a:pt x="19" y="1264"/>
                  </a:lnTo>
                  <a:lnTo>
                    <a:pt x="19" y="1262"/>
                  </a:lnTo>
                  <a:lnTo>
                    <a:pt x="16" y="1262"/>
                  </a:lnTo>
                  <a:lnTo>
                    <a:pt x="16" y="1259"/>
                  </a:lnTo>
                  <a:lnTo>
                    <a:pt x="16" y="1262"/>
                  </a:lnTo>
                  <a:lnTo>
                    <a:pt x="16" y="1259"/>
                  </a:lnTo>
                  <a:lnTo>
                    <a:pt x="19" y="1259"/>
                  </a:lnTo>
                  <a:lnTo>
                    <a:pt x="16" y="1259"/>
                  </a:lnTo>
                  <a:lnTo>
                    <a:pt x="19" y="1259"/>
                  </a:lnTo>
                  <a:close/>
                  <a:moveTo>
                    <a:pt x="204" y="1257"/>
                  </a:moveTo>
                  <a:lnTo>
                    <a:pt x="204" y="1259"/>
                  </a:lnTo>
                  <a:lnTo>
                    <a:pt x="204" y="1257"/>
                  </a:lnTo>
                  <a:lnTo>
                    <a:pt x="204" y="1259"/>
                  </a:lnTo>
                  <a:lnTo>
                    <a:pt x="201" y="1259"/>
                  </a:lnTo>
                  <a:lnTo>
                    <a:pt x="201" y="1257"/>
                  </a:lnTo>
                  <a:lnTo>
                    <a:pt x="204" y="1257"/>
                  </a:lnTo>
                  <a:close/>
                  <a:moveTo>
                    <a:pt x="19" y="1257"/>
                  </a:moveTo>
                  <a:lnTo>
                    <a:pt x="21" y="1257"/>
                  </a:lnTo>
                  <a:lnTo>
                    <a:pt x="21" y="1259"/>
                  </a:lnTo>
                  <a:lnTo>
                    <a:pt x="19" y="1259"/>
                  </a:lnTo>
                  <a:lnTo>
                    <a:pt x="19" y="1257"/>
                  </a:lnTo>
                  <a:close/>
                  <a:moveTo>
                    <a:pt x="21" y="1257"/>
                  </a:moveTo>
                  <a:lnTo>
                    <a:pt x="21" y="1259"/>
                  </a:lnTo>
                  <a:lnTo>
                    <a:pt x="21" y="1257"/>
                  </a:lnTo>
                  <a:lnTo>
                    <a:pt x="21" y="1259"/>
                  </a:lnTo>
                  <a:lnTo>
                    <a:pt x="23" y="1259"/>
                  </a:lnTo>
                  <a:lnTo>
                    <a:pt x="21" y="1259"/>
                  </a:lnTo>
                  <a:lnTo>
                    <a:pt x="21" y="1257"/>
                  </a:lnTo>
                  <a:close/>
                  <a:moveTo>
                    <a:pt x="19" y="1257"/>
                  </a:moveTo>
                  <a:lnTo>
                    <a:pt x="19" y="1259"/>
                  </a:lnTo>
                  <a:lnTo>
                    <a:pt x="19" y="1257"/>
                  </a:lnTo>
                  <a:close/>
                  <a:moveTo>
                    <a:pt x="16" y="1257"/>
                  </a:moveTo>
                  <a:lnTo>
                    <a:pt x="19" y="1257"/>
                  </a:lnTo>
                  <a:lnTo>
                    <a:pt x="16" y="1259"/>
                  </a:lnTo>
                  <a:lnTo>
                    <a:pt x="16" y="1257"/>
                  </a:lnTo>
                  <a:lnTo>
                    <a:pt x="16" y="1259"/>
                  </a:lnTo>
                  <a:lnTo>
                    <a:pt x="16" y="1257"/>
                  </a:lnTo>
                  <a:lnTo>
                    <a:pt x="16" y="1259"/>
                  </a:lnTo>
                  <a:lnTo>
                    <a:pt x="16" y="1257"/>
                  </a:lnTo>
                  <a:close/>
                  <a:moveTo>
                    <a:pt x="19" y="1257"/>
                  </a:moveTo>
                  <a:lnTo>
                    <a:pt x="21" y="1257"/>
                  </a:lnTo>
                  <a:lnTo>
                    <a:pt x="19" y="1257"/>
                  </a:lnTo>
                  <a:close/>
                  <a:moveTo>
                    <a:pt x="21" y="1257"/>
                  </a:moveTo>
                  <a:lnTo>
                    <a:pt x="23" y="1257"/>
                  </a:lnTo>
                  <a:lnTo>
                    <a:pt x="23" y="1259"/>
                  </a:lnTo>
                  <a:lnTo>
                    <a:pt x="21" y="1257"/>
                  </a:lnTo>
                  <a:close/>
                  <a:moveTo>
                    <a:pt x="35" y="1257"/>
                  </a:moveTo>
                  <a:lnTo>
                    <a:pt x="38" y="1257"/>
                  </a:lnTo>
                  <a:lnTo>
                    <a:pt x="35" y="1257"/>
                  </a:lnTo>
                  <a:close/>
                  <a:moveTo>
                    <a:pt x="23" y="1257"/>
                  </a:moveTo>
                  <a:lnTo>
                    <a:pt x="21" y="1257"/>
                  </a:lnTo>
                  <a:lnTo>
                    <a:pt x="23" y="1257"/>
                  </a:lnTo>
                  <a:lnTo>
                    <a:pt x="21" y="1257"/>
                  </a:lnTo>
                  <a:lnTo>
                    <a:pt x="23" y="1257"/>
                  </a:lnTo>
                  <a:lnTo>
                    <a:pt x="21" y="1257"/>
                  </a:lnTo>
                  <a:lnTo>
                    <a:pt x="23" y="1257"/>
                  </a:lnTo>
                  <a:close/>
                  <a:moveTo>
                    <a:pt x="21" y="1257"/>
                  </a:moveTo>
                  <a:lnTo>
                    <a:pt x="19" y="1257"/>
                  </a:lnTo>
                  <a:lnTo>
                    <a:pt x="21" y="1257"/>
                  </a:lnTo>
                  <a:close/>
                  <a:moveTo>
                    <a:pt x="23" y="1254"/>
                  </a:moveTo>
                  <a:lnTo>
                    <a:pt x="23" y="1257"/>
                  </a:lnTo>
                  <a:lnTo>
                    <a:pt x="21" y="1257"/>
                  </a:lnTo>
                  <a:lnTo>
                    <a:pt x="21" y="1254"/>
                  </a:lnTo>
                  <a:lnTo>
                    <a:pt x="23" y="1254"/>
                  </a:lnTo>
                  <a:lnTo>
                    <a:pt x="21" y="1254"/>
                  </a:lnTo>
                  <a:lnTo>
                    <a:pt x="23" y="1254"/>
                  </a:lnTo>
                  <a:close/>
                  <a:moveTo>
                    <a:pt x="23" y="1254"/>
                  </a:moveTo>
                  <a:lnTo>
                    <a:pt x="26" y="1254"/>
                  </a:lnTo>
                  <a:lnTo>
                    <a:pt x="28" y="1254"/>
                  </a:lnTo>
                  <a:lnTo>
                    <a:pt x="28" y="1257"/>
                  </a:lnTo>
                  <a:lnTo>
                    <a:pt x="31" y="1257"/>
                  </a:lnTo>
                  <a:lnTo>
                    <a:pt x="31" y="1259"/>
                  </a:lnTo>
                  <a:lnTo>
                    <a:pt x="31" y="1262"/>
                  </a:lnTo>
                  <a:lnTo>
                    <a:pt x="31" y="1264"/>
                  </a:lnTo>
                  <a:lnTo>
                    <a:pt x="31" y="1266"/>
                  </a:lnTo>
                  <a:lnTo>
                    <a:pt x="31" y="1264"/>
                  </a:lnTo>
                  <a:lnTo>
                    <a:pt x="31" y="1266"/>
                  </a:lnTo>
                  <a:lnTo>
                    <a:pt x="28" y="1266"/>
                  </a:lnTo>
                  <a:lnTo>
                    <a:pt x="26" y="1266"/>
                  </a:lnTo>
                  <a:lnTo>
                    <a:pt x="28" y="1266"/>
                  </a:lnTo>
                  <a:lnTo>
                    <a:pt x="26" y="1266"/>
                  </a:lnTo>
                  <a:lnTo>
                    <a:pt x="28" y="1266"/>
                  </a:lnTo>
                  <a:lnTo>
                    <a:pt x="26" y="1264"/>
                  </a:lnTo>
                  <a:lnTo>
                    <a:pt x="26" y="1262"/>
                  </a:lnTo>
                  <a:lnTo>
                    <a:pt x="23" y="1262"/>
                  </a:lnTo>
                  <a:lnTo>
                    <a:pt x="23" y="1259"/>
                  </a:lnTo>
                  <a:lnTo>
                    <a:pt x="23" y="1262"/>
                  </a:lnTo>
                  <a:lnTo>
                    <a:pt x="23" y="1259"/>
                  </a:lnTo>
                  <a:lnTo>
                    <a:pt x="23" y="1257"/>
                  </a:lnTo>
                  <a:lnTo>
                    <a:pt x="26" y="1257"/>
                  </a:lnTo>
                  <a:lnTo>
                    <a:pt x="23" y="1254"/>
                  </a:lnTo>
                  <a:close/>
                  <a:moveTo>
                    <a:pt x="45" y="1254"/>
                  </a:moveTo>
                  <a:lnTo>
                    <a:pt x="42" y="1254"/>
                  </a:lnTo>
                  <a:lnTo>
                    <a:pt x="40" y="1257"/>
                  </a:lnTo>
                  <a:lnTo>
                    <a:pt x="40" y="1254"/>
                  </a:lnTo>
                  <a:lnTo>
                    <a:pt x="42" y="1254"/>
                  </a:lnTo>
                  <a:lnTo>
                    <a:pt x="45" y="1254"/>
                  </a:lnTo>
                  <a:lnTo>
                    <a:pt x="45" y="1252"/>
                  </a:lnTo>
                  <a:lnTo>
                    <a:pt x="45" y="1254"/>
                  </a:lnTo>
                  <a:close/>
                  <a:moveTo>
                    <a:pt x="45" y="1254"/>
                  </a:moveTo>
                  <a:lnTo>
                    <a:pt x="45" y="1252"/>
                  </a:lnTo>
                  <a:lnTo>
                    <a:pt x="45" y="1254"/>
                  </a:lnTo>
                  <a:close/>
                  <a:moveTo>
                    <a:pt x="19" y="1252"/>
                  </a:moveTo>
                  <a:lnTo>
                    <a:pt x="21" y="1252"/>
                  </a:lnTo>
                  <a:lnTo>
                    <a:pt x="21" y="1254"/>
                  </a:lnTo>
                  <a:lnTo>
                    <a:pt x="19" y="1254"/>
                  </a:lnTo>
                  <a:lnTo>
                    <a:pt x="16" y="1254"/>
                  </a:lnTo>
                  <a:lnTo>
                    <a:pt x="16" y="1252"/>
                  </a:lnTo>
                  <a:lnTo>
                    <a:pt x="19" y="1252"/>
                  </a:lnTo>
                  <a:close/>
                  <a:moveTo>
                    <a:pt x="14" y="1252"/>
                  </a:moveTo>
                  <a:lnTo>
                    <a:pt x="16" y="1252"/>
                  </a:lnTo>
                  <a:lnTo>
                    <a:pt x="16" y="1254"/>
                  </a:lnTo>
                  <a:lnTo>
                    <a:pt x="16" y="1252"/>
                  </a:lnTo>
                  <a:lnTo>
                    <a:pt x="16" y="1254"/>
                  </a:lnTo>
                  <a:lnTo>
                    <a:pt x="16" y="1252"/>
                  </a:lnTo>
                  <a:lnTo>
                    <a:pt x="14" y="1252"/>
                  </a:lnTo>
                  <a:close/>
                  <a:moveTo>
                    <a:pt x="35" y="1247"/>
                  </a:moveTo>
                  <a:lnTo>
                    <a:pt x="35" y="1250"/>
                  </a:lnTo>
                  <a:lnTo>
                    <a:pt x="38" y="1250"/>
                  </a:lnTo>
                  <a:lnTo>
                    <a:pt x="38" y="1252"/>
                  </a:lnTo>
                  <a:lnTo>
                    <a:pt x="35" y="1254"/>
                  </a:lnTo>
                  <a:lnTo>
                    <a:pt x="35" y="1257"/>
                  </a:lnTo>
                  <a:lnTo>
                    <a:pt x="35" y="1259"/>
                  </a:lnTo>
                  <a:lnTo>
                    <a:pt x="33" y="1259"/>
                  </a:lnTo>
                  <a:lnTo>
                    <a:pt x="33" y="1257"/>
                  </a:lnTo>
                  <a:lnTo>
                    <a:pt x="33" y="1259"/>
                  </a:lnTo>
                  <a:lnTo>
                    <a:pt x="31" y="1259"/>
                  </a:lnTo>
                  <a:lnTo>
                    <a:pt x="31" y="1257"/>
                  </a:lnTo>
                  <a:lnTo>
                    <a:pt x="31" y="1254"/>
                  </a:lnTo>
                  <a:lnTo>
                    <a:pt x="31" y="1257"/>
                  </a:lnTo>
                  <a:lnTo>
                    <a:pt x="31" y="1254"/>
                  </a:lnTo>
                  <a:lnTo>
                    <a:pt x="28" y="1254"/>
                  </a:lnTo>
                  <a:lnTo>
                    <a:pt x="26" y="1254"/>
                  </a:lnTo>
                  <a:lnTo>
                    <a:pt x="26" y="1252"/>
                  </a:lnTo>
                  <a:lnTo>
                    <a:pt x="28" y="1252"/>
                  </a:lnTo>
                  <a:lnTo>
                    <a:pt x="31" y="1252"/>
                  </a:lnTo>
                  <a:lnTo>
                    <a:pt x="28" y="1252"/>
                  </a:lnTo>
                  <a:lnTo>
                    <a:pt x="31" y="1252"/>
                  </a:lnTo>
                  <a:lnTo>
                    <a:pt x="28" y="1252"/>
                  </a:lnTo>
                  <a:lnTo>
                    <a:pt x="31" y="1252"/>
                  </a:lnTo>
                  <a:lnTo>
                    <a:pt x="28" y="1252"/>
                  </a:lnTo>
                  <a:lnTo>
                    <a:pt x="28" y="1250"/>
                  </a:lnTo>
                  <a:lnTo>
                    <a:pt x="31" y="1250"/>
                  </a:lnTo>
                  <a:lnTo>
                    <a:pt x="33" y="1250"/>
                  </a:lnTo>
                  <a:lnTo>
                    <a:pt x="31" y="1250"/>
                  </a:lnTo>
                  <a:lnTo>
                    <a:pt x="33" y="1250"/>
                  </a:lnTo>
                  <a:lnTo>
                    <a:pt x="33" y="1247"/>
                  </a:lnTo>
                  <a:lnTo>
                    <a:pt x="33" y="1250"/>
                  </a:lnTo>
                  <a:lnTo>
                    <a:pt x="33" y="1247"/>
                  </a:lnTo>
                  <a:lnTo>
                    <a:pt x="33" y="1250"/>
                  </a:lnTo>
                  <a:lnTo>
                    <a:pt x="33" y="1247"/>
                  </a:lnTo>
                  <a:lnTo>
                    <a:pt x="33" y="1250"/>
                  </a:lnTo>
                  <a:lnTo>
                    <a:pt x="35" y="1250"/>
                  </a:lnTo>
                  <a:lnTo>
                    <a:pt x="35" y="1247"/>
                  </a:lnTo>
                  <a:lnTo>
                    <a:pt x="35" y="1250"/>
                  </a:lnTo>
                  <a:lnTo>
                    <a:pt x="35" y="1247"/>
                  </a:lnTo>
                  <a:close/>
                  <a:moveTo>
                    <a:pt x="28" y="1247"/>
                  </a:moveTo>
                  <a:lnTo>
                    <a:pt x="28" y="1250"/>
                  </a:lnTo>
                  <a:lnTo>
                    <a:pt x="28" y="1247"/>
                  </a:lnTo>
                  <a:lnTo>
                    <a:pt x="28" y="1250"/>
                  </a:lnTo>
                  <a:lnTo>
                    <a:pt x="28" y="1247"/>
                  </a:lnTo>
                  <a:lnTo>
                    <a:pt x="28" y="1250"/>
                  </a:lnTo>
                  <a:lnTo>
                    <a:pt x="28" y="1252"/>
                  </a:lnTo>
                  <a:lnTo>
                    <a:pt x="26" y="1252"/>
                  </a:lnTo>
                  <a:lnTo>
                    <a:pt x="26" y="1250"/>
                  </a:lnTo>
                  <a:lnTo>
                    <a:pt x="26" y="1247"/>
                  </a:lnTo>
                  <a:lnTo>
                    <a:pt x="28" y="1247"/>
                  </a:lnTo>
                  <a:close/>
                  <a:moveTo>
                    <a:pt x="16" y="1247"/>
                  </a:moveTo>
                  <a:lnTo>
                    <a:pt x="19" y="1247"/>
                  </a:lnTo>
                  <a:lnTo>
                    <a:pt x="16" y="1247"/>
                  </a:lnTo>
                  <a:lnTo>
                    <a:pt x="19" y="1247"/>
                  </a:lnTo>
                  <a:lnTo>
                    <a:pt x="16" y="1247"/>
                  </a:lnTo>
                  <a:close/>
                  <a:moveTo>
                    <a:pt x="50" y="1247"/>
                  </a:moveTo>
                  <a:lnTo>
                    <a:pt x="50" y="1245"/>
                  </a:lnTo>
                  <a:lnTo>
                    <a:pt x="50" y="1247"/>
                  </a:lnTo>
                  <a:close/>
                  <a:moveTo>
                    <a:pt x="21" y="1245"/>
                  </a:moveTo>
                  <a:lnTo>
                    <a:pt x="21" y="1247"/>
                  </a:lnTo>
                  <a:lnTo>
                    <a:pt x="23" y="1247"/>
                  </a:lnTo>
                  <a:lnTo>
                    <a:pt x="21" y="1247"/>
                  </a:lnTo>
                  <a:lnTo>
                    <a:pt x="23" y="1247"/>
                  </a:lnTo>
                  <a:lnTo>
                    <a:pt x="23" y="1250"/>
                  </a:lnTo>
                  <a:lnTo>
                    <a:pt x="23" y="1252"/>
                  </a:lnTo>
                  <a:lnTo>
                    <a:pt x="21" y="1252"/>
                  </a:lnTo>
                  <a:lnTo>
                    <a:pt x="21" y="1250"/>
                  </a:lnTo>
                  <a:lnTo>
                    <a:pt x="19" y="1250"/>
                  </a:lnTo>
                  <a:lnTo>
                    <a:pt x="21" y="1247"/>
                  </a:lnTo>
                  <a:lnTo>
                    <a:pt x="21" y="1250"/>
                  </a:lnTo>
                  <a:lnTo>
                    <a:pt x="21" y="1247"/>
                  </a:lnTo>
                  <a:lnTo>
                    <a:pt x="21" y="1250"/>
                  </a:lnTo>
                  <a:lnTo>
                    <a:pt x="21" y="1247"/>
                  </a:lnTo>
                  <a:lnTo>
                    <a:pt x="21" y="1245"/>
                  </a:lnTo>
                  <a:close/>
                  <a:moveTo>
                    <a:pt x="21" y="1245"/>
                  </a:moveTo>
                  <a:lnTo>
                    <a:pt x="23" y="1245"/>
                  </a:lnTo>
                  <a:lnTo>
                    <a:pt x="21" y="1245"/>
                  </a:lnTo>
                  <a:close/>
                  <a:moveTo>
                    <a:pt x="16" y="1245"/>
                  </a:moveTo>
                  <a:lnTo>
                    <a:pt x="16" y="1247"/>
                  </a:lnTo>
                  <a:lnTo>
                    <a:pt x="14" y="1247"/>
                  </a:lnTo>
                  <a:lnTo>
                    <a:pt x="16" y="1245"/>
                  </a:lnTo>
                  <a:lnTo>
                    <a:pt x="14" y="1245"/>
                  </a:lnTo>
                  <a:lnTo>
                    <a:pt x="16" y="1245"/>
                  </a:lnTo>
                  <a:close/>
                  <a:moveTo>
                    <a:pt x="19" y="1245"/>
                  </a:moveTo>
                  <a:lnTo>
                    <a:pt x="21" y="1245"/>
                  </a:lnTo>
                  <a:lnTo>
                    <a:pt x="19" y="1245"/>
                  </a:lnTo>
                  <a:lnTo>
                    <a:pt x="19" y="1247"/>
                  </a:lnTo>
                  <a:lnTo>
                    <a:pt x="19" y="1245"/>
                  </a:lnTo>
                  <a:lnTo>
                    <a:pt x="16" y="1245"/>
                  </a:lnTo>
                  <a:lnTo>
                    <a:pt x="19" y="1245"/>
                  </a:lnTo>
                  <a:lnTo>
                    <a:pt x="16" y="1245"/>
                  </a:lnTo>
                  <a:lnTo>
                    <a:pt x="19" y="1245"/>
                  </a:lnTo>
                  <a:close/>
                  <a:moveTo>
                    <a:pt x="47" y="1245"/>
                  </a:moveTo>
                  <a:lnTo>
                    <a:pt x="50" y="1245"/>
                  </a:lnTo>
                  <a:lnTo>
                    <a:pt x="47" y="1247"/>
                  </a:lnTo>
                  <a:lnTo>
                    <a:pt x="45" y="1250"/>
                  </a:lnTo>
                  <a:lnTo>
                    <a:pt x="45" y="1247"/>
                  </a:lnTo>
                  <a:lnTo>
                    <a:pt x="45" y="1245"/>
                  </a:lnTo>
                  <a:lnTo>
                    <a:pt x="47" y="1245"/>
                  </a:lnTo>
                  <a:lnTo>
                    <a:pt x="47" y="1243"/>
                  </a:lnTo>
                  <a:lnTo>
                    <a:pt x="47" y="1245"/>
                  </a:lnTo>
                  <a:lnTo>
                    <a:pt x="47" y="1243"/>
                  </a:lnTo>
                  <a:lnTo>
                    <a:pt x="47" y="1245"/>
                  </a:lnTo>
                  <a:close/>
                  <a:moveTo>
                    <a:pt x="14" y="1243"/>
                  </a:moveTo>
                  <a:lnTo>
                    <a:pt x="14" y="1245"/>
                  </a:lnTo>
                  <a:lnTo>
                    <a:pt x="14" y="1243"/>
                  </a:lnTo>
                  <a:close/>
                  <a:moveTo>
                    <a:pt x="23" y="1243"/>
                  </a:moveTo>
                  <a:lnTo>
                    <a:pt x="23" y="1245"/>
                  </a:lnTo>
                  <a:lnTo>
                    <a:pt x="23" y="1243"/>
                  </a:lnTo>
                  <a:close/>
                  <a:moveTo>
                    <a:pt x="26" y="1243"/>
                  </a:moveTo>
                  <a:lnTo>
                    <a:pt x="26" y="1245"/>
                  </a:lnTo>
                  <a:lnTo>
                    <a:pt x="23" y="1245"/>
                  </a:lnTo>
                  <a:lnTo>
                    <a:pt x="26" y="1245"/>
                  </a:lnTo>
                  <a:lnTo>
                    <a:pt x="26" y="1243"/>
                  </a:lnTo>
                  <a:close/>
                  <a:moveTo>
                    <a:pt x="26" y="1240"/>
                  </a:moveTo>
                  <a:lnTo>
                    <a:pt x="26" y="1243"/>
                  </a:lnTo>
                  <a:lnTo>
                    <a:pt x="26" y="1240"/>
                  </a:lnTo>
                  <a:close/>
                  <a:moveTo>
                    <a:pt x="21" y="1240"/>
                  </a:moveTo>
                  <a:lnTo>
                    <a:pt x="19" y="1240"/>
                  </a:lnTo>
                  <a:lnTo>
                    <a:pt x="21" y="1240"/>
                  </a:lnTo>
                  <a:lnTo>
                    <a:pt x="19" y="1240"/>
                  </a:lnTo>
                  <a:lnTo>
                    <a:pt x="21" y="1240"/>
                  </a:lnTo>
                  <a:close/>
                  <a:moveTo>
                    <a:pt x="21" y="1240"/>
                  </a:moveTo>
                  <a:lnTo>
                    <a:pt x="19" y="1240"/>
                  </a:lnTo>
                  <a:lnTo>
                    <a:pt x="21" y="1240"/>
                  </a:lnTo>
                  <a:close/>
                  <a:moveTo>
                    <a:pt x="21" y="1238"/>
                  </a:moveTo>
                  <a:lnTo>
                    <a:pt x="21" y="1240"/>
                  </a:lnTo>
                  <a:lnTo>
                    <a:pt x="21" y="1238"/>
                  </a:lnTo>
                  <a:close/>
                  <a:moveTo>
                    <a:pt x="19" y="1238"/>
                  </a:moveTo>
                  <a:lnTo>
                    <a:pt x="19" y="1235"/>
                  </a:lnTo>
                  <a:lnTo>
                    <a:pt x="19" y="1238"/>
                  </a:lnTo>
                  <a:close/>
                  <a:moveTo>
                    <a:pt x="12" y="1235"/>
                  </a:moveTo>
                  <a:lnTo>
                    <a:pt x="9" y="1235"/>
                  </a:lnTo>
                  <a:lnTo>
                    <a:pt x="12" y="1235"/>
                  </a:lnTo>
                  <a:close/>
                  <a:moveTo>
                    <a:pt x="21" y="1235"/>
                  </a:moveTo>
                  <a:lnTo>
                    <a:pt x="19" y="1235"/>
                  </a:lnTo>
                  <a:lnTo>
                    <a:pt x="21" y="1235"/>
                  </a:lnTo>
                  <a:lnTo>
                    <a:pt x="19" y="1235"/>
                  </a:lnTo>
                  <a:lnTo>
                    <a:pt x="21" y="1235"/>
                  </a:lnTo>
                  <a:lnTo>
                    <a:pt x="19" y="1235"/>
                  </a:lnTo>
                  <a:lnTo>
                    <a:pt x="21" y="1235"/>
                  </a:lnTo>
                  <a:close/>
                  <a:moveTo>
                    <a:pt x="14" y="1233"/>
                  </a:moveTo>
                  <a:lnTo>
                    <a:pt x="14" y="1235"/>
                  </a:lnTo>
                  <a:lnTo>
                    <a:pt x="12" y="1235"/>
                  </a:lnTo>
                  <a:lnTo>
                    <a:pt x="12" y="1233"/>
                  </a:lnTo>
                  <a:lnTo>
                    <a:pt x="14" y="1233"/>
                  </a:lnTo>
                  <a:close/>
                  <a:moveTo>
                    <a:pt x="12" y="1233"/>
                  </a:moveTo>
                  <a:lnTo>
                    <a:pt x="14" y="1233"/>
                  </a:lnTo>
                  <a:lnTo>
                    <a:pt x="12" y="1233"/>
                  </a:lnTo>
                  <a:lnTo>
                    <a:pt x="12" y="1235"/>
                  </a:lnTo>
                  <a:lnTo>
                    <a:pt x="14" y="1235"/>
                  </a:lnTo>
                  <a:lnTo>
                    <a:pt x="12" y="1235"/>
                  </a:lnTo>
                  <a:lnTo>
                    <a:pt x="14" y="1235"/>
                  </a:lnTo>
                  <a:lnTo>
                    <a:pt x="12" y="1235"/>
                  </a:lnTo>
                  <a:lnTo>
                    <a:pt x="12" y="1233"/>
                  </a:lnTo>
                  <a:lnTo>
                    <a:pt x="12" y="1235"/>
                  </a:lnTo>
                  <a:lnTo>
                    <a:pt x="12" y="1233"/>
                  </a:lnTo>
                  <a:close/>
                  <a:moveTo>
                    <a:pt x="12" y="1231"/>
                  </a:moveTo>
                  <a:lnTo>
                    <a:pt x="9" y="1231"/>
                  </a:lnTo>
                  <a:lnTo>
                    <a:pt x="12" y="1231"/>
                  </a:lnTo>
                  <a:close/>
                  <a:moveTo>
                    <a:pt x="14" y="1226"/>
                  </a:moveTo>
                  <a:lnTo>
                    <a:pt x="16" y="1226"/>
                  </a:lnTo>
                  <a:lnTo>
                    <a:pt x="14" y="1226"/>
                  </a:lnTo>
                  <a:close/>
                  <a:moveTo>
                    <a:pt x="12" y="1226"/>
                  </a:moveTo>
                  <a:lnTo>
                    <a:pt x="12" y="1228"/>
                  </a:lnTo>
                  <a:lnTo>
                    <a:pt x="14" y="1228"/>
                  </a:lnTo>
                  <a:lnTo>
                    <a:pt x="12" y="1228"/>
                  </a:lnTo>
                  <a:lnTo>
                    <a:pt x="12" y="1226"/>
                  </a:lnTo>
                  <a:close/>
                  <a:moveTo>
                    <a:pt x="14" y="1224"/>
                  </a:moveTo>
                  <a:lnTo>
                    <a:pt x="14" y="1226"/>
                  </a:lnTo>
                  <a:lnTo>
                    <a:pt x="16" y="1226"/>
                  </a:lnTo>
                  <a:lnTo>
                    <a:pt x="14" y="1226"/>
                  </a:lnTo>
                  <a:lnTo>
                    <a:pt x="14" y="1224"/>
                  </a:lnTo>
                  <a:lnTo>
                    <a:pt x="16" y="1224"/>
                  </a:lnTo>
                  <a:lnTo>
                    <a:pt x="14" y="1224"/>
                  </a:lnTo>
                  <a:lnTo>
                    <a:pt x="16" y="1224"/>
                  </a:lnTo>
                  <a:lnTo>
                    <a:pt x="16" y="1226"/>
                  </a:lnTo>
                  <a:lnTo>
                    <a:pt x="16" y="1224"/>
                  </a:lnTo>
                  <a:lnTo>
                    <a:pt x="16" y="1226"/>
                  </a:lnTo>
                  <a:lnTo>
                    <a:pt x="19" y="1226"/>
                  </a:lnTo>
                  <a:lnTo>
                    <a:pt x="21" y="1226"/>
                  </a:lnTo>
                  <a:lnTo>
                    <a:pt x="21" y="1228"/>
                  </a:lnTo>
                  <a:lnTo>
                    <a:pt x="21" y="1231"/>
                  </a:lnTo>
                  <a:lnTo>
                    <a:pt x="19" y="1231"/>
                  </a:lnTo>
                  <a:lnTo>
                    <a:pt x="19" y="1228"/>
                  </a:lnTo>
                  <a:lnTo>
                    <a:pt x="19" y="1231"/>
                  </a:lnTo>
                  <a:lnTo>
                    <a:pt x="19" y="1228"/>
                  </a:lnTo>
                  <a:lnTo>
                    <a:pt x="16" y="1228"/>
                  </a:lnTo>
                  <a:lnTo>
                    <a:pt x="16" y="1231"/>
                  </a:lnTo>
                  <a:lnTo>
                    <a:pt x="16" y="1228"/>
                  </a:lnTo>
                  <a:lnTo>
                    <a:pt x="19" y="1228"/>
                  </a:lnTo>
                  <a:lnTo>
                    <a:pt x="16" y="1228"/>
                  </a:lnTo>
                  <a:lnTo>
                    <a:pt x="16" y="1226"/>
                  </a:lnTo>
                  <a:lnTo>
                    <a:pt x="14" y="1226"/>
                  </a:lnTo>
                  <a:lnTo>
                    <a:pt x="16" y="1226"/>
                  </a:lnTo>
                  <a:lnTo>
                    <a:pt x="14" y="1226"/>
                  </a:lnTo>
                  <a:lnTo>
                    <a:pt x="14" y="1224"/>
                  </a:lnTo>
                  <a:lnTo>
                    <a:pt x="12" y="1224"/>
                  </a:lnTo>
                  <a:lnTo>
                    <a:pt x="14" y="1224"/>
                  </a:lnTo>
                  <a:close/>
                  <a:moveTo>
                    <a:pt x="12" y="1221"/>
                  </a:moveTo>
                  <a:lnTo>
                    <a:pt x="14" y="1221"/>
                  </a:lnTo>
                  <a:lnTo>
                    <a:pt x="12" y="1221"/>
                  </a:lnTo>
                  <a:lnTo>
                    <a:pt x="12" y="1224"/>
                  </a:lnTo>
                  <a:lnTo>
                    <a:pt x="12" y="1221"/>
                  </a:lnTo>
                  <a:close/>
                  <a:moveTo>
                    <a:pt x="16" y="1219"/>
                  </a:moveTo>
                  <a:lnTo>
                    <a:pt x="16" y="1221"/>
                  </a:lnTo>
                  <a:lnTo>
                    <a:pt x="16" y="1219"/>
                  </a:lnTo>
                  <a:close/>
                  <a:moveTo>
                    <a:pt x="12" y="1219"/>
                  </a:moveTo>
                  <a:lnTo>
                    <a:pt x="14" y="1219"/>
                  </a:lnTo>
                  <a:lnTo>
                    <a:pt x="14" y="1221"/>
                  </a:lnTo>
                  <a:lnTo>
                    <a:pt x="14" y="1219"/>
                  </a:lnTo>
                  <a:lnTo>
                    <a:pt x="16" y="1219"/>
                  </a:lnTo>
                  <a:lnTo>
                    <a:pt x="16" y="1221"/>
                  </a:lnTo>
                  <a:lnTo>
                    <a:pt x="19" y="1221"/>
                  </a:lnTo>
                  <a:lnTo>
                    <a:pt x="21" y="1224"/>
                  </a:lnTo>
                  <a:lnTo>
                    <a:pt x="23" y="1224"/>
                  </a:lnTo>
                  <a:lnTo>
                    <a:pt x="21" y="1224"/>
                  </a:lnTo>
                  <a:lnTo>
                    <a:pt x="21" y="1226"/>
                  </a:lnTo>
                  <a:lnTo>
                    <a:pt x="19" y="1226"/>
                  </a:lnTo>
                  <a:lnTo>
                    <a:pt x="19" y="1224"/>
                  </a:lnTo>
                  <a:lnTo>
                    <a:pt x="16" y="1224"/>
                  </a:lnTo>
                  <a:lnTo>
                    <a:pt x="14" y="1224"/>
                  </a:lnTo>
                  <a:lnTo>
                    <a:pt x="14" y="1221"/>
                  </a:lnTo>
                  <a:lnTo>
                    <a:pt x="14" y="1224"/>
                  </a:lnTo>
                  <a:lnTo>
                    <a:pt x="14" y="1221"/>
                  </a:lnTo>
                  <a:lnTo>
                    <a:pt x="12" y="1221"/>
                  </a:lnTo>
                  <a:lnTo>
                    <a:pt x="12" y="1219"/>
                  </a:lnTo>
                  <a:close/>
                  <a:moveTo>
                    <a:pt x="12" y="1216"/>
                  </a:moveTo>
                  <a:lnTo>
                    <a:pt x="12" y="1219"/>
                  </a:lnTo>
                  <a:lnTo>
                    <a:pt x="14" y="1219"/>
                  </a:lnTo>
                  <a:lnTo>
                    <a:pt x="12" y="1216"/>
                  </a:lnTo>
                  <a:lnTo>
                    <a:pt x="14" y="1219"/>
                  </a:lnTo>
                  <a:lnTo>
                    <a:pt x="12" y="1219"/>
                  </a:lnTo>
                  <a:lnTo>
                    <a:pt x="12" y="1216"/>
                  </a:lnTo>
                  <a:lnTo>
                    <a:pt x="12" y="1219"/>
                  </a:lnTo>
                  <a:lnTo>
                    <a:pt x="12" y="1216"/>
                  </a:lnTo>
                  <a:close/>
                  <a:moveTo>
                    <a:pt x="7" y="1216"/>
                  </a:moveTo>
                  <a:lnTo>
                    <a:pt x="4" y="1216"/>
                  </a:lnTo>
                  <a:lnTo>
                    <a:pt x="7" y="1216"/>
                  </a:lnTo>
                  <a:close/>
                  <a:moveTo>
                    <a:pt x="7" y="1216"/>
                  </a:moveTo>
                  <a:lnTo>
                    <a:pt x="9" y="1219"/>
                  </a:lnTo>
                  <a:lnTo>
                    <a:pt x="9" y="1221"/>
                  </a:lnTo>
                  <a:lnTo>
                    <a:pt x="9" y="1224"/>
                  </a:lnTo>
                  <a:lnTo>
                    <a:pt x="9" y="1221"/>
                  </a:lnTo>
                  <a:lnTo>
                    <a:pt x="9" y="1224"/>
                  </a:lnTo>
                  <a:lnTo>
                    <a:pt x="12" y="1224"/>
                  </a:lnTo>
                  <a:lnTo>
                    <a:pt x="12" y="1226"/>
                  </a:lnTo>
                  <a:lnTo>
                    <a:pt x="9" y="1226"/>
                  </a:lnTo>
                  <a:lnTo>
                    <a:pt x="12" y="1226"/>
                  </a:lnTo>
                  <a:lnTo>
                    <a:pt x="9" y="1226"/>
                  </a:lnTo>
                  <a:lnTo>
                    <a:pt x="12" y="1226"/>
                  </a:lnTo>
                  <a:lnTo>
                    <a:pt x="9" y="1226"/>
                  </a:lnTo>
                  <a:lnTo>
                    <a:pt x="9" y="1224"/>
                  </a:lnTo>
                  <a:lnTo>
                    <a:pt x="9" y="1226"/>
                  </a:lnTo>
                  <a:lnTo>
                    <a:pt x="9" y="1224"/>
                  </a:lnTo>
                  <a:lnTo>
                    <a:pt x="7" y="1224"/>
                  </a:lnTo>
                  <a:lnTo>
                    <a:pt x="7" y="1221"/>
                  </a:lnTo>
                  <a:lnTo>
                    <a:pt x="7" y="1224"/>
                  </a:lnTo>
                  <a:lnTo>
                    <a:pt x="7" y="1221"/>
                  </a:lnTo>
                  <a:lnTo>
                    <a:pt x="9" y="1221"/>
                  </a:lnTo>
                  <a:lnTo>
                    <a:pt x="7" y="1221"/>
                  </a:lnTo>
                  <a:lnTo>
                    <a:pt x="9" y="1221"/>
                  </a:lnTo>
                  <a:lnTo>
                    <a:pt x="7" y="1221"/>
                  </a:lnTo>
                  <a:lnTo>
                    <a:pt x="7" y="1219"/>
                  </a:lnTo>
                  <a:lnTo>
                    <a:pt x="7" y="1216"/>
                  </a:lnTo>
                  <a:close/>
                  <a:moveTo>
                    <a:pt x="4" y="1216"/>
                  </a:moveTo>
                  <a:lnTo>
                    <a:pt x="7" y="1216"/>
                  </a:lnTo>
                  <a:lnTo>
                    <a:pt x="4" y="1216"/>
                  </a:lnTo>
                  <a:close/>
                  <a:moveTo>
                    <a:pt x="33" y="1216"/>
                  </a:moveTo>
                  <a:lnTo>
                    <a:pt x="33" y="1219"/>
                  </a:lnTo>
                  <a:lnTo>
                    <a:pt x="33" y="1216"/>
                  </a:lnTo>
                  <a:close/>
                  <a:moveTo>
                    <a:pt x="4" y="1214"/>
                  </a:moveTo>
                  <a:lnTo>
                    <a:pt x="4" y="1216"/>
                  </a:lnTo>
                  <a:lnTo>
                    <a:pt x="4" y="1214"/>
                  </a:lnTo>
                  <a:close/>
                  <a:moveTo>
                    <a:pt x="16" y="1214"/>
                  </a:moveTo>
                  <a:lnTo>
                    <a:pt x="16" y="1216"/>
                  </a:lnTo>
                  <a:lnTo>
                    <a:pt x="19" y="1216"/>
                  </a:lnTo>
                  <a:lnTo>
                    <a:pt x="16" y="1216"/>
                  </a:lnTo>
                  <a:lnTo>
                    <a:pt x="16" y="1214"/>
                  </a:lnTo>
                  <a:close/>
                  <a:moveTo>
                    <a:pt x="23" y="1212"/>
                  </a:moveTo>
                  <a:lnTo>
                    <a:pt x="21" y="1212"/>
                  </a:lnTo>
                  <a:lnTo>
                    <a:pt x="23" y="1212"/>
                  </a:lnTo>
                  <a:close/>
                  <a:moveTo>
                    <a:pt x="4" y="1212"/>
                  </a:moveTo>
                  <a:lnTo>
                    <a:pt x="4" y="1209"/>
                  </a:lnTo>
                  <a:lnTo>
                    <a:pt x="4" y="1212"/>
                  </a:lnTo>
                  <a:close/>
                  <a:moveTo>
                    <a:pt x="9" y="1212"/>
                  </a:moveTo>
                  <a:lnTo>
                    <a:pt x="7" y="1212"/>
                  </a:lnTo>
                  <a:lnTo>
                    <a:pt x="7" y="1209"/>
                  </a:lnTo>
                  <a:lnTo>
                    <a:pt x="9" y="1212"/>
                  </a:lnTo>
                  <a:close/>
                  <a:moveTo>
                    <a:pt x="21" y="1209"/>
                  </a:moveTo>
                  <a:lnTo>
                    <a:pt x="21" y="1212"/>
                  </a:lnTo>
                  <a:lnTo>
                    <a:pt x="21" y="1209"/>
                  </a:lnTo>
                  <a:close/>
                  <a:moveTo>
                    <a:pt x="4" y="1209"/>
                  </a:moveTo>
                  <a:lnTo>
                    <a:pt x="2" y="1209"/>
                  </a:lnTo>
                  <a:lnTo>
                    <a:pt x="4" y="1209"/>
                  </a:lnTo>
                  <a:close/>
                  <a:moveTo>
                    <a:pt x="12" y="1209"/>
                  </a:moveTo>
                  <a:lnTo>
                    <a:pt x="12" y="1212"/>
                  </a:lnTo>
                  <a:lnTo>
                    <a:pt x="12" y="1209"/>
                  </a:lnTo>
                  <a:lnTo>
                    <a:pt x="12" y="1212"/>
                  </a:lnTo>
                  <a:lnTo>
                    <a:pt x="14" y="1212"/>
                  </a:lnTo>
                  <a:lnTo>
                    <a:pt x="14" y="1214"/>
                  </a:lnTo>
                  <a:lnTo>
                    <a:pt x="14" y="1212"/>
                  </a:lnTo>
                  <a:lnTo>
                    <a:pt x="12" y="1212"/>
                  </a:lnTo>
                  <a:lnTo>
                    <a:pt x="14" y="1212"/>
                  </a:lnTo>
                  <a:lnTo>
                    <a:pt x="12" y="1212"/>
                  </a:lnTo>
                  <a:lnTo>
                    <a:pt x="14" y="1212"/>
                  </a:lnTo>
                  <a:lnTo>
                    <a:pt x="14" y="1214"/>
                  </a:lnTo>
                  <a:lnTo>
                    <a:pt x="12" y="1214"/>
                  </a:lnTo>
                  <a:lnTo>
                    <a:pt x="12" y="1212"/>
                  </a:lnTo>
                  <a:lnTo>
                    <a:pt x="9" y="1212"/>
                  </a:lnTo>
                  <a:lnTo>
                    <a:pt x="12" y="1212"/>
                  </a:lnTo>
                  <a:lnTo>
                    <a:pt x="9" y="1212"/>
                  </a:lnTo>
                  <a:lnTo>
                    <a:pt x="9" y="1209"/>
                  </a:lnTo>
                  <a:lnTo>
                    <a:pt x="9" y="1212"/>
                  </a:lnTo>
                  <a:lnTo>
                    <a:pt x="9" y="1209"/>
                  </a:lnTo>
                  <a:lnTo>
                    <a:pt x="9" y="1212"/>
                  </a:lnTo>
                  <a:lnTo>
                    <a:pt x="9" y="1209"/>
                  </a:lnTo>
                  <a:lnTo>
                    <a:pt x="7" y="1209"/>
                  </a:lnTo>
                  <a:lnTo>
                    <a:pt x="9" y="1209"/>
                  </a:lnTo>
                  <a:lnTo>
                    <a:pt x="7" y="1209"/>
                  </a:lnTo>
                  <a:lnTo>
                    <a:pt x="9" y="1209"/>
                  </a:lnTo>
                  <a:lnTo>
                    <a:pt x="9" y="1212"/>
                  </a:lnTo>
                  <a:lnTo>
                    <a:pt x="9" y="1209"/>
                  </a:lnTo>
                  <a:lnTo>
                    <a:pt x="12" y="1212"/>
                  </a:lnTo>
                  <a:lnTo>
                    <a:pt x="12" y="1209"/>
                  </a:lnTo>
                  <a:close/>
                  <a:moveTo>
                    <a:pt x="9" y="1207"/>
                  </a:moveTo>
                  <a:lnTo>
                    <a:pt x="9" y="1209"/>
                  </a:lnTo>
                  <a:lnTo>
                    <a:pt x="9" y="1207"/>
                  </a:lnTo>
                  <a:lnTo>
                    <a:pt x="9" y="1209"/>
                  </a:lnTo>
                  <a:lnTo>
                    <a:pt x="9" y="1207"/>
                  </a:lnTo>
                  <a:close/>
                  <a:moveTo>
                    <a:pt x="12" y="1207"/>
                  </a:moveTo>
                  <a:lnTo>
                    <a:pt x="12" y="1209"/>
                  </a:lnTo>
                  <a:lnTo>
                    <a:pt x="9" y="1209"/>
                  </a:lnTo>
                  <a:lnTo>
                    <a:pt x="12" y="1209"/>
                  </a:lnTo>
                  <a:lnTo>
                    <a:pt x="9" y="1209"/>
                  </a:lnTo>
                  <a:lnTo>
                    <a:pt x="12" y="1209"/>
                  </a:lnTo>
                  <a:lnTo>
                    <a:pt x="9" y="1209"/>
                  </a:lnTo>
                  <a:lnTo>
                    <a:pt x="9" y="1207"/>
                  </a:lnTo>
                  <a:lnTo>
                    <a:pt x="9" y="1209"/>
                  </a:lnTo>
                  <a:lnTo>
                    <a:pt x="9" y="1207"/>
                  </a:lnTo>
                  <a:lnTo>
                    <a:pt x="12" y="1207"/>
                  </a:lnTo>
                  <a:close/>
                  <a:moveTo>
                    <a:pt x="16" y="1205"/>
                  </a:moveTo>
                  <a:lnTo>
                    <a:pt x="16" y="1207"/>
                  </a:lnTo>
                  <a:lnTo>
                    <a:pt x="16" y="1205"/>
                  </a:lnTo>
                  <a:close/>
                  <a:moveTo>
                    <a:pt x="7" y="1207"/>
                  </a:moveTo>
                  <a:lnTo>
                    <a:pt x="7" y="1205"/>
                  </a:lnTo>
                  <a:lnTo>
                    <a:pt x="7" y="1207"/>
                  </a:lnTo>
                  <a:close/>
                  <a:moveTo>
                    <a:pt x="9" y="1205"/>
                  </a:moveTo>
                  <a:lnTo>
                    <a:pt x="9" y="1207"/>
                  </a:lnTo>
                  <a:lnTo>
                    <a:pt x="9" y="1205"/>
                  </a:lnTo>
                  <a:lnTo>
                    <a:pt x="9" y="1207"/>
                  </a:lnTo>
                  <a:lnTo>
                    <a:pt x="9" y="1205"/>
                  </a:lnTo>
                  <a:close/>
                  <a:moveTo>
                    <a:pt x="7" y="1205"/>
                  </a:moveTo>
                  <a:lnTo>
                    <a:pt x="7" y="1207"/>
                  </a:lnTo>
                  <a:lnTo>
                    <a:pt x="7" y="1205"/>
                  </a:lnTo>
                  <a:lnTo>
                    <a:pt x="4" y="1205"/>
                  </a:lnTo>
                  <a:lnTo>
                    <a:pt x="7" y="1205"/>
                  </a:lnTo>
                  <a:close/>
                  <a:moveTo>
                    <a:pt x="4" y="1205"/>
                  </a:moveTo>
                  <a:lnTo>
                    <a:pt x="4" y="1207"/>
                  </a:lnTo>
                  <a:lnTo>
                    <a:pt x="4" y="1205"/>
                  </a:lnTo>
                  <a:close/>
                  <a:moveTo>
                    <a:pt x="12" y="1202"/>
                  </a:moveTo>
                  <a:lnTo>
                    <a:pt x="12" y="1205"/>
                  </a:lnTo>
                  <a:lnTo>
                    <a:pt x="12" y="1202"/>
                  </a:lnTo>
                  <a:lnTo>
                    <a:pt x="9" y="1202"/>
                  </a:lnTo>
                  <a:lnTo>
                    <a:pt x="12" y="1202"/>
                  </a:lnTo>
                  <a:lnTo>
                    <a:pt x="9" y="1202"/>
                  </a:lnTo>
                  <a:lnTo>
                    <a:pt x="12" y="1202"/>
                  </a:lnTo>
                  <a:close/>
                  <a:moveTo>
                    <a:pt x="9" y="1202"/>
                  </a:moveTo>
                  <a:lnTo>
                    <a:pt x="9" y="1205"/>
                  </a:lnTo>
                  <a:lnTo>
                    <a:pt x="12" y="1205"/>
                  </a:lnTo>
                  <a:lnTo>
                    <a:pt x="12" y="1207"/>
                  </a:lnTo>
                  <a:lnTo>
                    <a:pt x="9" y="1207"/>
                  </a:lnTo>
                  <a:lnTo>
                    <a:pt x="9" y="1205"/>
                  </a:lnTo>
                  <a:lnTo>
                    <a:pt x="7" y="1205"/>
                  </a:lnTo>
                  <a:lnTo>
                    <a:pt x="9" y="1205"/>
                  </a:lnTo>
                  <a:lnTo>
                    <a:pt x="7" y="1205"/>
                  </a:lnTo>
                  <a:lnTo>
                    <a:pt x="9" y="1205"/>
                  </a:lnTo>
                  <a:lnTo>
                    <a:pt x="7" y="1205"/>
                  </a:lnTo>
                  <a:lnTo>
                    <a:pt x="9" y="1205"/>
                  </a:lnTo>
                  <a:lnTo>
                    <a:pt x="9" y="1202"/>
                  </a:lnTo>
                  <a:lnTo>
                    <a:pt x="7" y="1202"/>
                  </a:lnTo>
                  <a:lnTo>
                    <a:pt x="7" y="1205"/>
                  </a:lnTo>
                  <a:lnTo>
                    <a:pt x="7" y="1202"/>
                  </a:lnTo>
                  <a:lnTo>
                    <a:pt x="7" y="1205"/>
                  </a:lnTo>
                  <a:lnTo>
                    <a:pt x="7" y="1202"/>
                  </a:lnTo>
                  <a:lnTo>
                    <a:pt x="9" y="1202"/>
                  </a:lnTo>
                  <a:close/>
                  <a:moveTo>
                    <a:pt x="14" y="1202"/>
                  </a:moveTo>
                  <a:lnTo>
                    <a:pt x="14" y="1205"/>
                  </a:lnTo>
                  <a:lnTo>
                    <a:pt x="14" y="1207"/>
                  </a:lnTo>
                  <a:lnTo>
                    <a:pt x="12" y="1207"/>
                  </a:lnTo>
                  <a:lnTo>
                    <a:pt x="12" y="1205"/>
                  </a:lnTo>
                  <a:lnTo>
                    <a:pt x="14" y="1205"/>
                  </a:lnTo>
                  <a:lnTo>
                    <a:pt x="12" y="1205"/>
                  </a:lnTo>
                  <a:lnTo>
                    <a:pt x="12" y="1202"/>
                  </a:lnTo>
                  <a:lnTo>
                    <a:pt x="14" y="1202"/>
                  </a:lnTo>
                  <a:close/>
                  <a:moveTo>
                    <a:pt x="14" y="1202"/>
                  </a:moveTo>
                  <a:lnTo>
                    <a:pt x="12" y="1202"/>
                  </a:lnTo>
                  <a:lnTo>
                    <a:pt x="14" y="1202"/>
                  </a:lnTo>
                  <a:close/>
                  <a:moveTo>
                    <a:pt x="7" y="1202"/>
                  </a:moveTo>
                  <a:lnTo>
                    <a:pt x="9" y="1202"/>
                  </a:lnTo>
                  <a:lnTo>
                    <a:pt x="7" y="1202"/>
                  </a:lnTo>
                  <a:close/>
                  <a:moveTo>
                    <a:pt x="9" y="1200"/>
                  </a:moveTo>
                  <a:lnTo>
                    <a:pt x="9" y="1202"/>
                  </a:lnTo>
                  <a:lnTo>
                    <a:pt x="12" y="1200"/>
                  </a:lnTo>
                  <a:lnTo>
                    <a:pt x="12" y="1202"/>
                  </a:lnTo>
                  <a:lnTo>
                    <a:pt x="9" y="1202"/>
                  </a:lnTo>
                  <a:lnTo>
                    <a:pt x="9" y="1200"/>
                  </a:lnTo>
                  <a:close/>
                  <a:moveTo>
                    <a:pt x="9" y="1202"/>
                  </a:moveTo>
                  <a:lnTo>
                    <a:pt x="9" y="1200"/>
                  </a:lnTo>
                  <a:lnTo>
                    <a:pt x="9" y="1202"/>
                  </a:lnTo>
                  <a:close/>
                  <a:moveTo>
                    <a:pt x="9" y="1202"/>
                  </a:moveTo>
                  <a:lnTo>
                    <a:pt x="9" y="1200"/>
                  </a:lnTo>
                  <a:lnTo>
                    <a:pt x="9" y="1202"/>
                  </a:lnTo>
                  <a:close/>
                  <a:moveTo>
                    <a:pt x="14" y="1202"/>
                  </a:moveTo>
                  <a:lnTo>
                    <a:pt x="14" y="1200"/>
                  </a:lnTo>
                  <a:lnTo>
                    <a:pt x="14" y="1202"/>
                  </a:lnTo>
                  <a:close/>
                  <a:moveTo>
                    <a:pt x="12" y="1200"/>
                  </a:moveTo>
                  <a:lnTo>
                    <a:pt x="14" y="1202"/>
                  </a:lnTo>
                  <a:lnTo>
                    <a:pt x="12" y="1202"/>
                  </a:lnTo>
                  <a:lnTo>
                    <a:pt x="12" y="1200"/>
                  </a:lnTo>
                  <a:close/>
                  <a:moveTo>
                    <a:pt x="9" y="1200"/>
                  </a:moveTo>
                  <a:lnTo>
                    <a:pt x="9" y="1202"/>
                  </a:lnTo>
                  <a:lnTo>
                    <a:pt x="9" y="1200"/>
                  </a:lnTo>
                  <a:close/>
                  <a:moveTo>
                    <a:pt x="12" y="1200"/>
                  </a:moveTo>
                  <a:lnTo>
                    <a:pt x="9" y="1200"/>
                  </a:lnTo>
                  <a:lnTo>
                    <a:pt x="12" y="1200"/>
                  </a:lnTo>
                  <a:lnTo>
                    <a:pt x="9" y="1200"/>
                  </a:lnTo>
                  <a:lnTo>
                    <a:pt x="12" y="1200"/>
                  </a:lnTo>
                  <a:lnTo>
                    <a:pt x="9" y="1200"/>
                  </a:lnTo>
                  <a:lnTo>
                    <a:pt x="12" y="1200"/>
                  </a:lnTo>
                  <a:close/>
                  <a:moveTo>
                    <a:pt x="16" y="1200"/>
                  </a:moveTo>
                  <a:lnTo>
                    <a:pt x="14" y="1200"/>
                  </a:lnTo>
                  <a:lnTo>
                    <a:pt x="16" y="1200"/>
                  </a:lnTo>
                  <a:close/>
                  <a:moveTo>
                    <a:pt x="9" y="1200"/>
                  </a:moveTo>
                  <a:lnTo>
                    <a:pt x="7" y="1200"/>
                  </a:lnTo>
                  <a:lnTo>
                    <a:pt x="9" y="1200"/>
                  </a:lnTo>
                  <a:close/>
                  <a:moveTo>
                    <a:pt x="14" y="1197"/>
                  </a:moveTo>
                  <a:lnTo>
                    <a:pt x="14" y="1200"/>
                  </a:lnTo>
                  <a:lnTo>
                    <a:pt x="12" y="1200"/>
                  </a:lnTo>
                  <a:lnTo>
                    <a:pt x="12" y="1197"/>
                  </a:lnTo>
                  <a:lnTo>
                    <a:pt x="12" y="1200"/>
                  </a:lnTo>
                  <a:lnTo>
                    <a:pt x="12" y="1197"/>
                  </a:lnTo>
                  <a:lnTo>
                    <a:pt x="12" y="1200"/>
                  </a:lnTo>
                  <a:lnTo>
                    <a:pt x="14" y="1200"/>
                  </a:lnTo>
                  <a:lnTo>
                    <a:pt x="14" y="1197"/>
                  </a:lnTo>
                  <a:close/>
                  <a:moveTo>
                    <a:pt x="0" y="1197"/>
                  </a:moveTo>
                  <a:lnTo>
                    <a:pt x="2" y="1197"/>
                  </a:lnTo>
                  <a:lnTo>
                    <a:pt x="2" y="1200"/>
                  </a:lnTo>
                  <a:lnTo>
                    <a:pt x="0" y="1200"/>
                  </a:lnTo>
                  <a:lnTo>
                    <a:pt x="0" y="1197"/>
                  </a:lnTo>
                  <a:close/>
                  <a:moveTo>
                    <a:pt x="9" y="1195"/>
                  </a:moveTo>
                  <a:lnTo>
                    <a:pt x="12" y="1195"/>
                  </a:lnTo>
                  <a:lnTo>
                    <a:pt x="12" y="1197"/>
                  </a:lnTo>
                  <a:lnTo>
                    <a:pt x="9" y="1197"/>
                  </a:lnTo>
                  <a:lnTo>
                    <a:pt x="9" y="1195"/>
                  </a:lnTo>
                  <a:close/>
                  <a:moveTo>
                    <a:pt x="4" y="1193"/>
                  </a:moveTo>
                  <a:lnTo>
                    <a:pt x="4" y="1195"/>
                  </a:lnTo>
                  <a:lnTo>
                    <a:pt x="4" y="1197"/>
                  </a:lnTo>
                  <a:lnTo>
                    <a:pt x="4" y="1200"/>
                  </a:lnTo>
                  <a:lnTo>
                    <a:pt x="4" y="1197"/>
                  </a:lnTo>
                  <a:lnTo>
                    <a:pt x="4" y="1200"/>
                  </a:lnTo>
                  <a:lnTo>
                    <a:pt x="2" y="1200"/>
                  </a:lnTo>
                  <a:lnTo>
                    <a:pt x="4" y="1200"/>
                  </a:lnTo>
                  <a:lnTo>
                    <a:pt x="2" y="1200"/>
                  </a:lnTo>
                  <a:lnTo>
                    <a:pt x="2" y="1197"/>
                  </a:lnTo>
                  <a:lnTo>
                    <a:pt x="2" y="1195"/>
                  </a:lnTo>
                  <a:lnTo>
                    <a:pt x="4" y="1195"/>
                  </a:lnTo>
                  <a:lnTo>
                    <a:pt x="2" y="1195"/>
                  </a:lnTo>
                  <a:lnTo>
                    <a:pt x="4" y="1195"/>
                  </a:lnTo>
                  <a:lnTo>
                    <a:pt x="2" y="1195"/>
                  </a:lnTo>
                  <a:lnTo>
                    <a:pt x="4" y="1193"/>
                  </a:lnTo>
                  <a:close/>
                  <a:moveTo>
                    <a:pt x="4" y="1193"/>
                  </a:moveTo>
                  <a:lnTo>
                    <a:pt x="4" y="1195"/>
                  </a:lnTo>
                  <a:lnTo>
                    <a:pt x="4" y="1193"/>
                  </a:lnTo>
                  <a:close/>
                  <a:moveTo>
                    <a:pt x="7" y="1190"/>
                  </a:moveTo>
                  <a:lnTo>
                    <a:pt x="7" y="1193"/>
                  </a:lnTo>
                  <a:lnTo>
                    <a:pt x="7" y="1190"/>
                  </a:lnTo>
                  <a:close/>
                  <a:moveTo>
                    <a:pt x="16" y="1193"/>
                  </a:moveTo>
                  <a:lnTo>
                    <a:pt x="14" y="1193"/>
                  </a:lnTo>
                  <a:lnTo>
                    <a:pt x="14" y="1190"/>
                  </a:lnTo>
                  <a:lnTo>
                    <a:pt x="16" y="1190"/>
                  </a:lnTo>
                  <a:lnTo>
                    <a:pt x="16" y="1193"/>
                  </a:lnTo>
                  <a:close/>
                  <a:moveTo>
                    <a:pt x="14" y="1188"/>
                  </a:moveTo>
                  <a:lnTo>
                    <a:pt x="16" y="1188"/>
                  </a:lnTo>
                  <a:lnTo>
                    <a:pt x="16" y="1190"/>
                  </a:lnTo>
                  <a:lnTo>
                    <a:pt x="14" y="1190"/>
                  </a:lnTo>
                  <a:lnTo>
                    <a:pt x="14" y="1188"/>
                  </a:lnTo>
                  <a:close/>
                  <a:moveTo>
                    <a:pt x="9" y="1188"/>
                  </a:moveTo>
                  <a:lnTo>
                    <a:pt x="7" y="1188"/>
                  </a:lnTo>
                  <a:lnTo>
                    <a:pt x="9" y="1188"/>
                  </a:lnTo>
                  <a:close/>
                  <a:moveTo>
                    <a:pt x="14" y="1186"/>
                  </a:moveTo>
                  <a:lnTo>
                    <a:pt x="14" y="1188"/>
                  </a:lnTo>
                  <a:lnTo>
                    <a:pt x="12" y="1186"/>
                  </a:lnTo>
                  <a:lnTo>
                    <a:pt x="14" y="1186"/>
                  </a:lnTo>
                  <a:close/>
                  <a:moveTo>
                    <a:pt x="12" y="1183"/>
                  </a:moveTo>
                  <a:lnTo>
                    <a:pt x="14" y="1186"/>
                  </a:lnTo>
                  <a:lnTo>
                    <a:pt x="12" y="1186"/>
                  </a:lnTo>
                  <a:lnTo>
                    <a:pt x="12" y="1183"/>
                  </a:lnTo>
                  <a:close/>
                  <a:moveTo>
                    <a:pt x="19" y="1183"/>
                  </a:moveTo>
                  <a:lnTo>
                    <a:pt x="16" y="1183"/>
                  </a:lnTo>
                  <a:lnTo>
                    <a:pt x="19" y="1183"/>
                  </a:lnTo>
                  <a:close/>
                  <a:moveTo>
                    <a:pt x="2" y="1183"/>
                  </a:moveTo>
                  <a:lnTo>
                    <a:pt x="4" y="1183"/>
                  </a:lnTo>
                  <a:lnTo>
                    <a:pt x="2" y="1183"/>
                  </a:lnTo>
                  <a:close/>
                  <a:moveTo>
                    <a:pt x="4" y="1181"/>
                  </a:moveTo>
                  <a:lnTo>
                    <a:pt x="4" y="1183"/>
                  </a:lnTo>
                  <a:lnTo>
                    <a:pt x="7" y="1183"/>
                  </a:lnTo>
                  <a:lnTo>
                    <a:pt x="4" y="1183"/>
                  </a:lnTo>
                  <a:lnTo>
                    <a:pt x="4" y="1181"/>
                  </a:lnTo>
                  <a:lnTo>
                    <a:pt x="4" y="1183"/>
                  </a:lnTo>
                  <a:lnTo>
                    <a:pt x="4" y="1181"/>
                  </a:lnTo>
                  <a:close/>
                  <a:moveTo>
                    <a:pt x="7" y="1181"/>
                  </a:moveTo>
                  <a:lnTo>
                    <a:pt x="7" y="1183"/>
                  </a:lnTo>
                  <a:lnTo>
                    <a:pt x="4" y="1183"/>
                  </a:lnTo>
                  <a:lnTo>
                    <a:pt x="4" y="1181"/>
                  </a:lnTo>
                  <a:lnTo>
                    <a:pt x="7" y="1181"/>
                  </a:lnTo>
                  <a:close/>
                  <a:moveTo>
                    <a:pt x="9" y="1181"/>
                  </a:moveTo>
                  <a:lnTo>
                    <a:pt x="7" y="1181"/>
                  </a:lnTo>
                  <a:lnTo>
                    <a:pt x="9" y="1181"/>
                  </a:lnTo>
                  <a:close/>
                  <a:moveTo>
                    <a:pt x="26" y="1181"/>
                  </a:moveTo>
                  <a:lnTo>
                    <a:pt x="23" y="1181"/>
                  </a:lnTo>
                  <a:lnTo>
                    <a:pt x="23" y="1178"/>
                  </a:lnTo>
                  <a:lnTo>
                    <a:pt x="26" y="1178"/>
                  </a:lnTo>
                  <a:lnTo>
                    <a:pt x="26" y="1181"/>
                  </a:lnTo>
                  <a:close/>
                  <a:moveTo>
                    <a:pt x="12" y="1178"/>
                  </a:moveTo>
                  <a:lnTo>
                    <a:pt x="14" y="1178"/>
                  </a:lnTo>
                  <a:lnTo>
                    <a:pt x="14" y="1181"/>
                  </a:lnTo>
                  <a:lnTo>
                    <a:pt x="16" y="1181"/>
                  </a:lnTo>
                  <a:lnTo>
                    <a:pt x="14" y="1181"/>
                  </a:lnTo>
                  <a:lnTo>
                    <a:pt x="12" y="1181"/>
                  </a:lnTo>
                  <a:lnTo>
                    <a:pt x="12" y="1183"/>
                  </a:lnTo>
                  <a:lnTo>
                    <a:pt x="12" y="1181"/>
                  </a:lnTo>
                  <a:lnTo>
                    <a:pt x="12" y="1183"/>
                  </a:lnTo>
                  <a:lnTo>
                    <a:pt x="12" y="1181"/>
                  </a:lnTo>
                  <a:lnTo>
                    <a:pt x="9" y="1181"/>
                  </a:lnTo>
                  <a:lnTo>
                    <a:pt x="12" y="1181"/>
                  </a:lnTo>
                  <a:lnTo>
                    <a:pt x="12" y="1178"/>
                  </a:lnTo>
                  <a:close/>
                  <a:moveTo>
                    <a:pt x="14" y="1178"/>
                  </a:moveTo>
                  <a:lnTo>
                    <a:pt x="12" y="1178"/>
                  </a:lnTo>
                  <a:lnTo>
                    <a:pt x="14" y="1178"/>
                  </a:lnTo>
                  <a:close/>
                  <a:moveTo>
                    <a:pt x="12" y="1176"/>
                  </a:moveTo>
                  <a:lnTo>
                    <a:pt x="9" y="1176"/>
                  </a:lnTo>
                  <a:lnTo>
                    <a:pt x="12" y="1176"/>
                  </a:lnTo>
                  <a:lnTo>
                    <a:pt x="9" y="1176"/>
                  </a:lnTo>
                  <a:lnTo>
                    <a:pt x="12" y="1176"/>
                  </a:lnTo>
                  <a:lnTo>
                    <a:pt x="9" y="1176"/>
                  </a:lnTo>
                  <a:lnTo>
                    <a:pt x="12" y="1176"/>
                  </a:lnTo>
                  <a:close/>
                  <a:moveTo>
                    <a:pt x="12" y="1171"/>
                  </a:moveTo>
                  <a:lnTo>
                    <a:pt x="12" y="1174"/>
                  </a:lnTo>
                  <a:lnTo>
                    <a:pt x="12" y="1171"/>
                  </a:lnTo>
                  <a:lnTo>
                    <a:pt x="12" y="1174"/>
                  </a:lnTo>
                  <a:lnTo>
                    <a:pt x="12" y="1171"/>
                  </a:lnTo>
                  <a:close/>
                  <a:moveTo>
                    <a:pt x="12" y="1171"/>
                  </a:moveTo>
                  <a:lnTo>
                    <a:pt x="12" y="1174"/>
                  </a:lnTo>
                  <a:lnTo>
                    <a:pt x="12" y="1171"/>
                  </a:lnTo>
                  <a:close/>
                  <a:moveTo>
                    <a:pt x="16" y="1171"/>
                  </a:moveTo>
                  <a:lnTo>
                    <a:pt x="19" y="1171"/>
                  </a:lnTo>
                  <a:lnTo>
                    <a:pt x="19" y="1174"/>
                  </a:lnTo>
                  <a:lnTo>
                    <a:pt x="16" y="1174"/>
                  </a:lnTo>
                  <a:lnTo>
                    <a:pt x="16" y="1171"/>
                  </a:lnTo>
                  <a:close/>
                  <a:moveTo>
                    <a:pt x="12" y="1171"/>
                  </a:moveTo>
                  <a:lnTo>
                    <a:pt x="14" y="1171"/>
                  </a:lnTo>
                  <a:lnTo>
                    <a:pt x="12" y="1171"/>
                  </a:lnTo>
                  <a:lnTo>
                    <a:pt x="12" y="1169"/>
                  </a:lnTo>
                  <a:lnTo>
                    <a:pt x="12" y="1171"/>
                  </a:lnTo>
                  <a:close/>
                  <a:moveTo>
                    <a:pt x="14" y="1169"/>
                  </a:moveTo>
                  <a:lnTo>
                    <a:pt x="12" y="1169"/>
                  </a:lnTo>
                  <a:lnTo>
                    <a:pt x="14" y="1169"/>
                  </a:lnTo>
                  <a:close/>
                  <a:moveTo>
                    <a:pt x="7" y="1169"/>
                  </a:moveTo>
                  <a:lnTo>
                    <a:pt x="4" y="1169"/>
                  </a:lnTo>
                  <a:lnTo>
                    <a:pt x="7" y="1169"/>
                  </a:lnTo>
                  <a:close/>
                  <a:moveTo>
                    <a:pt x="23" y="1169"/>
                  </a:moveTo>
                  <a:lnTo>
                    <a:pt x="21" y="1169"/>
                  </a:lnTo>
                  <a:lnTo>
                    <a:pt x="23" y="1169"/>
                  </a:lnTo>
                  <a:close/>
                  <a:moveTo>
                    <a:pt x="19" y="1169"/>
                  </a:moveTo>
                  <a:lnTo>
                    <a:pt x="21" y="1169"/>
                  </a:lnTo>
                  <a:lnTo>
                    <a:pt x="19" y="1169"/>
                  </a:lnTo>
                  <a:close/>
                  <a:moveTo>
                    <a:pt x="9" y="1169"/>
                  </a:moveTo>
                  <a:lnTo>
                    <a:pt x="7" y="1169"/>
                  </a:lnTo>
                  <a:lnTo>
                    <a:pt x="9" y="1169"/>
                  </a:lnTo>
                  <a:close/>
                  <a:moveTo>
                    <a:pt x="16" y="1169"/>
                  </a:moveTo>
                  <a:lnTo>
                    <a:pt x="19" y="1169"/>
                  </a:lnTo>
                  <a:lnTo>
                    <a:pt x="16" y="1169"/>
                  </a:lnTo>
                  <a:lnTo>
                    <a:pt x="19" y="1169"/>
                  </a:lnTo>
                  <a:lnTo>
                    <a:pt x="16" y="1169"/>
                  </a:lnTo>
                  <a:lnTo>
                    <a:pt x="14" y="1169"/>
                  </a:lnTo>
                  <a:lnTo>
                    <a:pt x="16" y="1169"/>
                  </a:lnTo>
                  <a:close/>
                  <a:moveTo>
                    <a:pt x="14" y="1169"/>
                  </a:moveTo>
                  <a:lnTo>
                    <a:pt x="14" y="1167"/>
                  </a:lnTo>
                  <a:lnTo>
                    <a:pt x="14" y="1169"/>
                  </a:lnTo>
                  <a:lnTo>
                    <a:pt x="14" y="1167"/>
                  </a:lnTo>
                  <a:lnTo>
                    <a:pt x="14" y="1169"/>
                  </a:lnTo>
                  <a:close/>
                  <a:moveTo>
                    <a:pt x="19" y="1167"/>
                  </a:moveTo>
                  <a:lnTo>
                    <a:pt x="19" y="1169"/>
                  </a:lnTo>
                  <a:lnTo>
                    <a:pt x="16" y="1169"/>
                  </a:lnTo>
                  <a:lnTo>
                    <a:pt x="19" y="1167"/>
                  </a:lnTo>
                  <a:close/>
                  <a:moveTo>
                    <a:pt x="12" y="1167"/>
                  </a:moveTo>
                  <a:lnTo>
                    <a:pt x="12" y="1169"/>
                  </a:lnTo>
                  <a:lnTo>
                    <a:pt x="12" y="1167"/>
                  </a:lnTo>
                  <a:close/>
                  <a:moveTo>
                    <a:pt x="12" y="1167"/>
                  </a:moveTo>
                  <a:lnTo>
                    <a:pt x="14" y="1167"/>
                  </a:lnTo>
                  <a:lnTo>
                    <a:pt x="14" y="1169"/>
                  </a:lnTo>
                  <a:lnTo>
                    <a:pt x="12" y="1169"/>
                  </a:lnTo>
                  <a:lnTo>
                    <a:pt x="14" y="1169"/>
                  </a:lnTo>
                  <a:lnTo>
                    <a:pt x="12" y="1169"/>
                  </a:lnTo>
                  <a:lnTo>
                    <a:pt x="12" y="1167"/>
                  </a:lnTo>
                  <a:close/>
                  <a:moveTo>
                    <a:pt x="14" y="1167"/>
                  </a:moveTo>
                  <a:lnTo>
                    <a:pt x="16" y="1167"/>
                  </a:lnTo>
                  <a:lnTo>
                    <a:pt x="14" y="1167"/>
                  </a:lnTo>
                  <a:close/>
                  <a:moveTo>
                    <a:pt x="19" y="1167"/>
                  </a:moveTo>
                  <a:lnTo>
                    <a:pt x="21" y="1167"/>
                  </a:lnTo>
                  <a:lnTo>
                    <a:pt x="19" y="1167"/>
                  </a:lnTo>
                  <a:close/>
                  <a:moveTo>
                    <a:pt x="9" y="1167"/>
                  </a:moveTo>
                  <a:lnTo>
                    <a:pt x="9" y="1164"/>
                  </a:lnTo>
                  <a:lnTo>
                    <a:pt x="9" y="1167"/>
                  </a:lnTo>
                  <a:close/>
                  <a:moveTo>
                    <a:pt x="12" y="1167"/>
                  </a:moveTo>
                  <a:lnTo>
                    <a:pt x="12" y="1164"/>
                  </a:lnTo>
                  <a:lnTo>
                    <a:pt x="12" y="1167"/>
                  </a:lnTo>
                  <a:close/>
                  <a:moveTo>
                    <a:pt x="7" y="1164"/>
                  </a:moveTo>
                  <a:lnTo>
                    <a:pt x="7" y="1167"/>
                  </a:lnTo>
                  <a:lnTo>
                    <a:pt x="7" y="1164"/>
                  </a:lnTo>
                  <a:lnTo>
                    <a:pt x="7" y="1167"/>
                  </a:lnTo>
                  <a:lnTo>
                    <a:pt x="9" y="1167"/>
                  </a:lnTo>
                  <a:lnTo>
                    <a:pt x="7" y="1167"/>
                  </a:lnTo>
                  <a:lnTo>
                    <a:pt x="9" y="1167"/>
                  </a:lnTo>
                  <a:lnTo>
                    <a:pt x="7" y="1167"/>
                  </a:lnTo>
                  <a:lnTo>
                    <a:pt x="7" y="1164"/>
                  </a:lnTo>
                  <a:close/>
                  <a:moveTo>
                    <a:pt x="14" y="1164"/>
                  </a:moveTo>
                  <a:lnTo>
                    <a:pt x="14" y="1167"/>
                  </a:lnTo>
                  <a:lnTo>
                    <a:pt x="12" y="1167"/>
                  </a:lnTo>
                  <a:lnTo>
                    <a:pt x="12" y="1164"/>
                  </a:lnTo>
                  <a:lnTo>
                    <a:pt x="14" y="1164"/>
                  </a:lnTo>
                  <a:close/>
                  <a:moveTo>
                    <a:pt x="16" y="1164"/>
                  </a:moveTo>
                  <a:lnTo>
                    <a:pt x="19" y="1164"/>
                  </a:lnTo>
                  <a:lnTo>
                    <a:pt x="16" y="1164"/>
                  </a:lnTo>
                  <a:lnTo>
                    <a:pt x="16" y="1167"/>
                  </a:lnTo>
                  <a:lnTo>
                    <a:pt x="16" y="1164"/>
                  </a:lnTo>
                  <a:close/>
                  <a:moveTo>
                    <a:pt x="9" y="1164"/>
                  </a:moveTo>
                  <a:lnTo>
                    <a:pt x="9" y="1167"/>
                  </a:lnTo>
                  <a:lnTo>
                    <a:pt x="7" y="1167"/>
                  </a:lnTo>
                  <a:lnTo>
                    <a:pt x="9" y="1167"/>
                  </a:lnTo>
                  <a:lnTo>
                    <a:pt x="7" y="1167"/>
                  </a:lnTo>
                  <a:lnTo>
                    <a:pt x="9" y="1167"/>
                  </a:lnTo>
                  <a:lnTo>
                    <a:pt x="7" y="1167"/>
                  </a:lnTo>
                  <a:lnTo>
                    <a:pt x="9" y="1167"/>
                  </a:lnTo>
                  <a:lnTo>
                    <a:pt x="9" y="1164"/>
                  </a:lnTo>
                  <a:close/>
                  <a:moveTo>
                    <a:pt x="12" y="1164"/>
                  </a:moveTo>
                  <a:lnTo>
                    <a:pt x="14" y="1164"/>
                  </a:lnTo>
                  <a:lnTo>
                    <a:pt x="12" y="1164"/>
                  </a:lnTo>
                  <a:close/>
                  <a:moveTo>
                    <a:pt x="9" y="1159"/>
                  </a:moveTo>
                  <a:lnTo>
                    <a:pt x="9" y="1162"/>
                  </a:lnTo>
                  <a:lnTo>
                    <a:pt x="12" y="1162"/>
                  </a:lnTo>
                  <a:lnTo>
                    <a:pt x="9" y="1162"/>
                  </a:lnTo>
                  <a:lnTo>
                    <a:pt x="12" y="1162"/>
                  </a:lnTo>
                  <a:lnTo>
                    <a:pt x="12" y="1164"/>
                  </a:lnTo>
                  <a:lnTo>
                    <a:pt x="9" y="1164"/>
                  </a:lnTo>
                  <a:lnTo>
                    <a:pt x="9" y="1162"/>
                  </a:lnTo>
                  <a:lnTo>
                    <a:pt x="7" y="1162"/>
                  </a:lnTo>
                  <a:lnTo>
                    <a:pt x="9" y="1162"/>
                  </a:lnTo>
                  <a:lnTo>
                    <a:pt x="7" y="1162"/>
                  </a:lnTo>
                  <a:lnTo>
                    <a:pt x="9" y="1162"/>
                  </a:lnTo>
                  <a:lnTo>
                    <a:pt x="9" y="1159"/>
                  </a:lnTo>
                  <a:close/>
                  <a:moveTo>
                    <a:pt x="9" y="1155"/>
                  </a:moveTo>
                  <a:lnTo>
                    <a:pt x="9" y="1157"/>
                  </a:lnTo>
                  <a:lnTo>
                    <a:pt x="12" y="1157"/>
                  </a:lnTo>
                  <a:lnTo>
                    <a:pt x="9" y="1157"/>
                  </a:lnTo>
                  <a:lnTo>
                    <a:pt x="9" y="1159"/>
                  </a:lnTo>
                  <a:lnTo>
                    <a:pt x="9" y="1157"/>
                  </a:lnTo>
                  <a:lnTo>
                    <a:pt x="7" y="1157"/>
                  </a:lnTo>
                  <a:lnTo>
                    <a:pt x="7" y="1155"/>
                  </a:lnTo>
                  <a:lnTo>
                    <a:pt x="9" y="1155"/>
                  </a:lnTo>
                  <a:close/>
                  <a:moveTo>
                    <a:pt x="23" y="1155"/>
                  </a:moveTo>
                  <a:lnTo>
                    <a:pt x="23" y="1152"/>
                  </a:lnTo>
                  <a:lnTo>
                    <a:pt x="23" y="1155"/>
                  </a:lnTo>
                  <a:close/>
                  <a:moveTo>
                    <a:pt x="19" y="1150"/>
                  </a:moveTo>
                  <a:lnTo>
                    <a:pt x="19" y="1152"/>
                  </a:lnTo>
                  <a:lnTo>
                    <a:pt x="19" y="1150"/>
                  </a:lnTo>
                  <a:lnTo>
                    <a:pt x="19" y="1152"/>
                  </a:lnTo>
                  <a:lnTo>
                    <a:pt x="19" y="1150"/>
                  </a:lnTo>
                  <a:close/>
                  <a:moveTo>
                    <a:pt x="14" y="1150"/>
                  </a:moveTo>
                  <a:lnTo>
                    <a:pt x="16" y="1152"/>
                  </a:lnTo>
                  <a:lnTo>
                    <a:pt x="19" y="1152"/>
                  </a:lnTo>
                  <a:lnTo>
                    <a:pt x="21" y="1152"/>
                  </a:lnTo>
                  <a:lnTo>
                    <a:pt x="23" y="1152"/>
                  </a:lnTo>
                  <a:lnTo>
                    <a:pt x="21" y="1152"/>
                  </a:lnTo>
                  <a:lnTo>
                    <a:pt x="21" y="1155"/>
                  </a:lnTo>
                  <a:lnTo>
                    <a:pt x="19" y="1155"/>
                  </a:lnTo>
                  <a:lnTo>
                    <a:pt x="19" y="1152"/>
                  </a:lnTo>
                  <a:lnTo>
                    <a:pt x="19" y="1155"/>
                  </a:lnTo>
                  <a:lnTo>
                    <a:pt x="16" y="1155"/>
                  </a:lnTo>
                  <a:lnTo>
                    <a:pt x="16" y="1157"/>
                  </a:lnTo>
                  <a:lnTo>
                    <a:pt x="16" y="1155"/>
                  </a:lnTo>
                  <a:lnTo>
                    <a:pt x="14" y="1157"/>
                  </a:lnTo>
                  <a:lnTo>
                    <a:pt x="12" y="1157"/>
                  </a:lnTo>
                  <a:lnTo>
                    <a:pt x="12" y="1155"/>
                  </a:lnTo>
                  <a:lnTo>
                    <a:pt x="14" y="1155"/>
                  </a:lnTo>
                  <a:lnTo>
                    <a:pt x="12" y="1155"/>
                  </a:lnTo>
                  <a:lnTo>
                    <a:pt x="9" y="1155"/>
                  </a:lnTo>
                  <a:lnTo>
                    <a:pt x="9" y="1152"/>
                  </a:lnTo>
                  <a:lnTo>
                    <a:pt x="7" y="1152"/>
                  </a:lnTo>
                  <a:lnTo>
                    <a:pt x="9" y="1152"/>
                  </a:lnTo>
                  <a:lnTo>
                    <a:pt x="12" y="1152"/>
                  </a:lnTo>
                  <a:lnTo>
                    <a:pt x="12" y="1150"/>
                  </a:lnTo>
                  <a:lnTo>
                    <a:pt x="9" y="1150"/>
                  </a:lnTo>
                  <a:lnTo>
                    <a:pt x="12" y="1150"/>
                  </a:lnTo>
                  <a:lnTo>
                    <a:pt x="14" y="1150"/>
                  </a:lnTo>
                  <a:close/>
                  <a:moveTo>
                    <a:pt x="14" y="1150"/>
                  </a:moveTo>
                  <a:lnTo>
                    <a:pt x="16" y="1150"/>
                  </a:lnTo>
                  <a:lnTo>
                    <a:pt x="19" y="1150"/>
                  </a:lnTo>
                  <a:lnTo>
                    <a:pt x="16" y="1150"/>
                  </a:lnTo>
                  <a:lnTo>
                    <a:pt x="14" y="1150"/>
                  </a:lnTo>
                  <a:close/>
                  <a:moveTo>
                    <a:pt x="21" y="1145"/>
                  </a:moveTo>
                  <a:lnTo>
                    <a:pt x="19" y="1145"/>
                  </a:lnTo>
                  <a:lnTo>
                    <a:pt x="21" y="1143"/>
                  </a:lnTo>
                  <a:lnTo>
                    <a:pt x="21" y="1145"/>
                  </a:lnTo>
                  <a:lnTo>
                    <a:pt x="21" y="1143"/>
                  </a:lnTo>
                  <a:lnTo>
                    <a:pt x="21" y="1145"/>
                  </a:lnTo>
                  <a:close/>
                  <a:moveTo>
                    <a:pt x="23" y="1145"/>
                  </a:moveTo>
                  <a:lnTo>
                    <a:pt x="21" y="1145"/>
                  </a:lnTo>
                  <a:lnTo>
                    <a:pt x="23" y="1145"/>
                  </a:lnTo>
                  <a:lnTo>
                    <a:pt x="23" y="1143"/>
                  </a:lnTo>
                  <a:lnTo>
                    <a:pt x="23" y="1145"/>
                  </a:lnTo>
                  <a:close/>
                  <a:moveTo>
                    <a:pt x="14" y="1143"/>
                  </a:moveTo>
                  <a:lnTo>
                    <a:pt x="16" y="1143"/>
                  </a:lnTo>
                  <a:lnTo>
                    <a:pt x="16" y="1145"/>
                  </a:lnTo>
                  <a:lnTo>
                    <a:pt x="16" y="1143"/>
                  </a:lnTo>
                  <a:lnTo>
                    <a:pt x="19" y="1143"/>
                  </a:lnTo>
                  <a:lnTo>
                    <a:pt x="19" y="1145"/>
                  </a:lnTo>
                  <a:lnTo>
                    <a:pt x="19" y="1148"/>
                  </a:lnTo>
                  <a:lnTo>
                    <a:pt x="16" y="1148"/>
                  </a:lnTo>
                  <a:lnTo>
                    <a:pt x="16" y="1150"/>
                  </a:lnTo>
                  <a:lnTo>
                    <a:pt x="16" y="1148"/>
                  </a:lnTo>
                  <a:lnTo>
                    <a:pt x="14" y="1148"/>
                  </a:lnTo>
                  <a:lnTo>
                    <a:pt x="16" y="1148"/>
                  </a:lnTo>
                  <a:lnTo>
                    <a:pt x="14" y="1148"/>
                  </a:lnTo>
                  <a:lnTo>
                    <a:pt x="16" y="1148"/>
                  </a:lnTo>
                  <a:lnTo>
                    <a:pt x="16" y="1145"/>
                  </a:lnTo>
                  <a:lnTo>
                    <a:pt x="14" y="1145"/>
                  </a:lnTo>
                  <a:lnTo>
                    <a:pt x="14" y="1143"/>
                  </a:lnTo>
                  <a:close/>
                  <a:moveTo>
                    <a:pt x="26" y="1133"/>
                  </a:moveTo>
                  <a:lnTo>
                    <a:pt x="28" y="1133"/>
                  </a:lnTo>
                  <a:lnTo>
                    <a:pt x="28" y="1136"/>
                  </a:lnTo>
                  <a:lnTo>
                    <a:pt x="26" y="1133"/>
                  </a:lnTo>
                  <a:close/>
                  <a:moveTo>
                    <a:pt x="31" y="1133"/>
                  </a:moveTo>
                  <a:lnTo>
                    <a:pt x="28" y="1133"/>
                  </a:lnTo>
                  <a:lnTo>
                    <a:pt x="31" y="1133"/>
                  </a:lnTo>
                  <a:lnTo>
                    <a:pt x="28" y="1133"/>
                  </a:lnTo>
                  <a:lnTo>
                    <a:pt x="31" y="1133"/>
                  </a:lnTo>
                  <a:lnTo>
                    <a:pt x="28" y="1133"/>
                  </a:lnTo>
                  <a:lnTo>
                    <a:pt x="31" y="1133"/>
                  </a:lnTo>
                  <a:close/>
                  <a:moveTo>
                    <a:pt x="42" y="1133"/>
                  </a:moveTo>
                  <a:lnTo>
                    <a:pt x="40" y="1133"/>
                  </a:lnTo>
                  <a:lnTo>
                    <a:pt x="42" y="1133"/>
                  </a:lnTo>
                  <a:close/>
                  <a:moveTo>
                    <a:pt x="26" y="1131"/>
                  </a:moveTo>
                  <a:lnTo>
                    <a:pt x="26" y="1133"/>
                  </a:lnTo>
                  <a:lnTo>
                    <a:pt x="26" y="1131"/>
                  </a:lnTo>
                  <a:close/>
                  <a:moveTo>
                    <a:pt x="45" y="1131"/>
                  </a:moveTo>
                  <a:lnTo>
                    <a:pt x="45" y="1133"/>
                  </a:lnTo>
                  <a:lnTo>
                    <a:pt x="45" y="1131"/>
                  </a:lnTo>
                  <a:lnTo>
                    <a:pt x="47" y="1131"/>
                  </a:lnTo>
                  <a:lnTo>
                    <a:pt x="45" y="1133"/>
                  </a:lnTo>
                  <a:lnTo>
                    <a:pt x="45" y="1131"/>
                  </a:lnTo>
                  <a:close/>
                  <a:moveTo>
                    <a:pt x="45" y="1131"/>
                  </a:moveTo>
                  <a:lnTo>
                    <a:pt x="42" y="1133"/>
                  </a:lnTo>
                  <a:lnTo>
                    <a:pt x="42" y="1131"/>
                  </a:lnTo>
                  <a:lnTo>
                    <a:pt x="45" y="1131"/>
                  </a:lnTo>
                  <a:close/>
                  <a:moveTo>
                    <a:pt x="40" y="1129"/>
                  </a:moveTo>
                  <a:lnTo>
                    <a:pt x="38" y="1129"/>
                  </a:lnTo>
                  <a:lnTo>
                    <a:pt x="40" y="1129"/>
                  </a:lnTo>
                  <a:close/>
                  <a:moveTo>
                    <a:pt x="38" y="1129"/>
                  </a:moveTo>
                  <a:lnTo>
                    <a:pt x="40" y="1129"/>
                  </a:lnTo>
                  <a:lnTo>
                    <a:pt x="38" y="1129"/>
                  </a:lnTo>
                  <a:lnTo>
                    <a:pt x="40" y="1129"/>
                  </a:lnTo>
                  <a:lnTo>
                    <a:pt x="40" y="1131"/>
                  </a:lnTo>
                  <a:lnTo>
                    <a:pt x="40" y="1133"/>
                  </a:lnTo>
                  <a:lnTo>
                    <a:pt x="38" y="1133"/>
                  </a:lnTo>
                  <a:lnTo>
                    <a:pt x="35" y="1133"/>
                  </a:lnTo>
                  <a:lnTo>
                    <a:pt x="35" y="1136"/>
                  </a:lnTo>
                  <a:lnTo>
                    <a:pt x="33" y="1136"/>
                  </a:lnTo>
                  <a:lnTo>
                    <a:pt x="33" y="1133"/>
                  </a:lnTo>
                  <a:lnTo>
                    <a:pt x="31" y="1133"/>
                  </a:lnTo>
                  <a:lnTo>
                    <a:pt x="33" y="1133"/>
                  </a:lnTo>
                  <a:lnTo>
                    <a:pt x="35" y="1133"/>
                  </a:lnTo>
                  <a:lnTo>
                    <a:pt x="33" y="1133"/>
                  </a:lnTo>
                  <a:lnTo>
                    <a:pt x="31" y="1131"/>
                  </a:lnTo>
                  <a:lnTo>
                    <a:pt x="33" y="1131"/>
                  </a:lnTo>
                  <a:lnTo>
                    <a:pt x="31" y="1131"/>
                  </a:lnTo>
                  <a:lnTo>
                    <a:pt x="33" y="1131"/>
                  </a:lnTo>
                  <a:lnTo>
                    <a:pt x="31" y="1129"/>
                  </a:lnTo>
                  <a:lnTo>
                    <a:pt x="33" y="1129"/>
                  </a:lnTo>
                  <a:lnTo>
                    <a:pt x="35" y="1129"/>
                  </a:lnTo>
                  <a:lnTo>
                    <a:pt x="38" y="1129"/>
                  </a:lnTo>
                  <a:close/>
                  <a:moveTo>
                    <a:pt x="38" y="1129"/>
                  </a:moveTo>
                  <a:lnTo>
                    <a:pt x="35" y="1129"/>
                  </a:lnTo>
                  <a:lnTo>
                    <a:pt x="38" y="1129"/>
                  </a:lnTo>
                  <a:close/>
                  <a:moveTo>
                    <a:pt x="31" y="1129"/>
                  </a:moveTo>
                  <a:lnTo>
                    <a:pt x="28" y="1129"/>
                  </a:lnTo>
                  <a:lnTo>
                    <a:pt x="31" y="1129"/>
                  </a:lnTo>
                  <a:lnTo>
                    <a:pt x="31" y="1126"/>
                  </a:lnTo>
                  <a:lnTo>
                    <a:pt x="31" y="1129"/>
                  </a:lnTo>
                  <a:close/>
                  <a:moveTo>
                    <a:pt x="38" y="1126"/>
                  </a:moveTo>
                  <a:lnTo>
                    <a:pt x="38" y="1129"/>
                  </a:lnTo>
                  <a:lnTo>
                    <a:pt x="35" y="1129"/>
                  </a:lnTo>
                  <a:lnTo>
                    <a:pt x="38" y="1126"/>
                  </a:lnTo>
                  <a:lnTo>
                    <a:pt x="35" y="1126"/>
                  </a:lnTo>
                  <a:lnTo>
                    <a:pt x="35" y="1129"/>
                  </a:lnTo>
                  <a:lnTo>
                    <a:pt x="35" y="1126"/>
                  </a:lnTo>
                  <a:lnTo>
                    <a:pt x="35" y="1129"/>
                  </a:lnTo>
                  <a:lnTo>
                    <a:pt x="33" y="1126"/>
                  </a:lnTo>
                  <a:lnTo>
                    <a:pt x="35" y="1126"/>
                  </a:lnTo>
                  <a:lnTo>
                    <a:pt x="38" y="1126"/>
                  </a:lnTo>
                  <a:close/>
                  <a:moveTo>
                    <a:pt x="33" y="1124"/>
                  </a:moveTo>
                  <a:lnTo>
                    <a:pt x="33" y="1126"/>
                  </a:lnTo>
                  <a:lnTo>
                    <a:pt x="31" y="1126"/>
                  </a:lnTo>
                  <a:lnTo>
                    <a:pt x="31" y="1124"/>
                  </a:lnTo>
                  <a:lnTo>
                    <a:pt x="33" y="1124"/>
                  </a:lnTo>
                  <a:close/>
                  <a:moveTo>
                    <a:pt x="40" y="1124"/>
                  </a:moveTo>
                  <a:lnTo>
                    <a:pt x="40" y="1126"/>
                  </a:lnTo>
                  <a:lnTo>
                    <a:pt x="40" y="1124"/>
                  </a:lnTo>
                  <a:close/>
                  <a:moveTo>
                    <a:pt x="35" y="1124"/>
                  </a:moveTo>
                  <a:lnTo>
                    <a:pt x="35" y="1126"/>
                  </a:lnTo>
                  <a:lnTo>
                    <a:pt x="33" y="1126"/>
                  </a:lnTo>
                  <a:lnTo>
                    <a:pt x="33" y="1124"/>
                  </a:lnTo>
                  <a:lnTo>
                    <a:pt x="35" y="1124"/>
                  </a:lnTo>
                  <a:close/>
                  <a:moveTo>
                    <a:pt x="33" y="1124"/>
                  </a:moveTo>
                  <a:lnTo>
                    <a:pt x="35" y="1124"/>
                  </a:lnTo>
                  <a:lnTo>
                    <a:pt x="33" y="1124"/>
                  </a:lnTo>
                  <a:lnTo>
                    <a:pt x="33" y="1121"/>
                  </a:lnTo>
                  <a:lnTo>
                    <a:pt x="33" y="1124"/>
                  </a:lnTo>
                  <a:close/>
                  <a:moveTo>
                    <a:pt x="45" y="1121"/>
                  </a:moveTo>
                  <a:lnTo>
                    <a:pt x="47" y="1121"/>
                  </a:lnTo>
                  <a:lnTo>
                    <a:pt x="47" y="1124"/>
                  </a:lnTo>
                  <a:lnTo>
                    <a:pt x="47" y="1126"/>
                  </a:lnTo>
                  <a:lnTo>
                    <a:pt x="50" y="1126"/>
                  </a:lnTo>
                  <a:lnTo>
                    <a:pt x="47" y="1129"/>
                  </a:lnTo>
                  <a:lnTo>
                    <a:pt x="45" y="1129"/>
                  </a:lnTo>
                  <a:lnTo>
                    <a:pt x="45" y="1131"/>
                  </a:lnTo>
                  <a:lnTo>
                    <a:pt x="42" y="1131"/>
                  </a:lnTo>
                  <a:lnTo>
                    <a:pt x="40" y="1131"/>
                  </a:lnTo>
                  <a:lnTo>
                    <a:pt x="42" y="1131"/>
                  </a:lnTo>
                  <a:lnTo>
                    <a:pt x="40" y="1131"/>
                  </a:lnTo>
                  <a:lnTo>
                    <a:pt x="42" y="1131"/>
                  </a:lnTo>
                  <a:lnTo>
                    <a:pt x="42" y="1129"/>
                  </a:lnTo>
                  <a:lnTo>
                    <a:pt x="40" y="1129"/>
                  </a:lnTo>
                  <a:lnTo>
                    <a:pt x="42" y="1129"/>
                  </a:lnTo>
                  <a:lnTo>
                    <a:pt x="40" y="1129"/>
                  </a:lnTo>
                  <a:lnTo>
                    <a:pt x="42" y="1129"/>
                  </a:lnTo>
                  <a:lnTo>
                    <a:pt x="40" y="1129"/>
                  </a:lnTo>
                  <a:lnTo>
                    <a:pt x="42" y="1129"/>
                  </a:lnTo>
                  <a:lnTo>
                    <a:pt x="40" y="1129"/>
                  </a:lnTo>
                  <a:lnTo>
                    <a:pt x="40" y="1126"/>
                  </a:lnTo>
                  <a:lnTo>
                    <a:pt x="42" y="1126"/>
                  </a:lnTo>
                  <a:lnTo>
                    <a:pt x="40" y="1126"/>
                  </a:lnTo>
                  <a:lnTo>
                    <a:pt x="42" y="1129"/>
                  </a:lnTo>
                  <a:lnTo>
                    <a:pt x="42" y="1126"/>
                  </a:lnTo>
                  <a:lnTo>
                    <a:pt x="40" y="1126"/>
                  </a:lnTo>
                  <a:lnTo>
                    <a:pt x="40" y="1124"/>
                  </a:lnTo>
                  <a:lnTo>
                    <a:pt x="42" y="1124"/>
                  </a:lnTo>
                  <a:lnTo>
                    <a:pt x="42" y="1121"/>
                  </a:lnTo>
                  <a:lnTo>
                    <a:pt x="45" y="1121"/>
                  </a:lnTo>
                  <a:close/>
                  <a:moveTo>
                    <a:pt x="57" y="1121"/>
                  </a:moveTo>
                  <a:lnTo>
                    <a:pt x="59" y="1121"/>
                  </a:lnTo>
                  <a:lnTo>
                    <a:pt x="57" y="1121"/>
                  </a:lnTo>
                  <a:close/>
                  <a:moveTo>
                    <a:pt x="45" y="1119"/>
                  </a:moveTo>
                  <a:lnTo>
                    <a:pt x="47" y="1119"/>
                  </a:lnTo>
                  <a:lnTo>
                    <a:pt x="45" y="1119"/>
                  </a:lnTo>
                  <a:close/>
                  <a:moveTo>
                    <a:pt x="59" y="1119"/>
                  </a:moveTo>
                  <a:lnTo>
                    <a:pt x="57" y="1119"/>
                  </a:lnTo>
                  <a:lnTo>
                    <a:pt x="59" y="1119"/>
                  </a:lnTo>
                  <a:close/>
                  <a:moveTo>
                    <a:pt x="50" y="1117"/>
                  </a:moveTo>
                  <a:lnTo>
                    <a:pt x="50" y="1119"/>
                  </a:lnTo>
                  <a:lnTo>
                    <a:pt x="47" y="1119"/>
                  </a:lnTo>
                  <a:lnTo>
                    <a:pt x="47" y="1117"/>
                  </a:lnTo>
                  <a:lnTo>
                    <a:pt x="50" y="1117"/>
                  </a:lnTo>
                  <a:close/>
                  <a:moveTo>
                    <a:pt x="61" y="1117"/>
                  </a:moveTo>
                  <a:lnTo>
                    <a:pt x="59" y="1117"/>
                  </a:lnTo>
                  <a:lnTo>
                    <a:pt x="59" y="1119"/>
                  </a:lnTo>
                  <a:lnTo>
                    <a:pt x="57" y="1119"/>
                  </a:lnTo>
                  <a:lnTo>
                    <a:pt x="54" y="1119"/>
                  </a:lnTo>
                  <a:lnTo>
                    <a:pt x="52" y="1119"/>
                  </a:lnTo>
                  <a:lnTo>
                    <a:pt x="52" y="1117"/>
                  </a:lnTo>
                  <a:lnTo>
                    <a:pt x="54" y="1117"/>
                  </a:lnTo>
                  <a:lnTo>
                    <a:pt x="57" y="1117"/>
                  </a:lnTo>
                  <a:lnTo>
                    <a:pt x="59" y="1117"/>
                  </a:lnTo>
                  <a:lnTo>
                    <a:pt x="61" y="1117"/>
                  </a:lnTo>
                  <a:close/>
                  <a:moveTo>
                    <a:pt x="52" y="1117"/>
                  </a:moveTo>
                  <a:lnTo>
                    <a:pt x="52" y="1119"/>
                  </a:lnTo>
                  <a:lnTo>
                    <a:pt x="50" y="1119"/>
                  </a:lnTo>
                  <a:lnTo>
                    <a:pt x="50" y="1117"/>
                  </a:lnTo>
                  <a:lnTo>
                    <a:pt x="52" y="1117"/>
                  </a:lnTo>
                  <a:close/>
                  <a:moveTo>
                    <a:pt x="54" y="1117"/>
                  </a:moveTo>
                  <a:lnTo>
                    <a:pt x="52" y="1117"/>
                  </a:lnTo>
                  <a:lnTo>
                    <a:pt x="54" y="1117"/>
                  </a:lnTo>
                  <a:close/>
                  <a:moveTo>
                    <a:pt x="52" y="1117"/>
                  </a:moveTo>
                  <a:lnTo>
                    <a:pt x="54" y="1114"/>
                  </a:lnTo>
                  <a:lnTo>
                    <a:pt x="54" y="1117"/>
                  </a:lnTo>
                  <a:lnTo>
                    <a:pt x="52" y="1117"/>
                  </a:lnTo>
                  <a:close/>
                  <a:moveTo>
                    <a:pt x="57" y="1114"/>
                  </a:moveTo>
                  <a:lnTo>
                    <a:pt x="54" y="1114"/>
                  </a:lnTo>
                  <a:lnTo>
                    <a:pt x="57" y="1114"/>
                  </a:lnTo>
                  <a:close/>
                  <a:moveTo>
                    <a:pt x="50" y="1112"/>
                  </a:moveTo>
                  <a:lnTo>
                    <a:pt x="52" y="1112"/>
                  </a:lnTo>
                  <a:lnTo>
                    <a:pt x="52" y="1114"/>
                  </a:lnTo>
                  <a:lnTo>
                    <a:pt x="50" y="1114"/>
                  </a:lnTo>
                  <a:lnTo>
                    <a:pt x="52" y="1114"/>
                  </a:lnTo>
                  <a:lnTo>
                    <a:pt x="52" y="1117"/>
                  </a:lnTo>
                  <a:lnTo>
                    <a:pt x="50" y="1117"/>
                  </a:lnTo>
                  <a:lnTo>
                    <a:pt x="50" y="1114"/>
                  </a:lnTo>
                  <a:lnTo>
                    <a:pt x="50" y="1117"/>
                  </a:lnTo>
                  <a:lnTo>
                    <a:pt x="47" y="1117"/>
                  </a:lnTo>
                  <a:lnTo>
                    <a:pt x="47" y="1114"/>
                  </a:lnTo>
                  <a:lnTo>
                    <a:pt x="50" y="1114"/>
                  </a:lnTo>
                  <a:lnTo>
                    <a:pt x="50" y="1112"/>
                  </a:lnTo>
                  <a:close/>
                  <a:moveTo>
                    <a:pt x="66" y="1112"/>
                  </a:moveTo>
                  <a:lnTo>
                    <a:pt x="66" y="1110"/>
                  </a:lnTo>
                  <a:lnTo>
                    <a:pt x="66" y="1112"/>
                  </a:lnTo>
                  <a:close/>
                  <a:moveTo>
                    <a:pt x="52" y="1110"/>
                  </a:moveTo>
                  <a:lnTo>
                    <a:pt x="54" y="1110"/>
                  </a:lnTo>
                  <a:lnTo>
                    <a:pt x="54" y="1112"/>
                  </a:lnTo>
                  <a:lnTo>
                    <a:pt x="52" y="1112"/>
                  </a:lnTo>
                  <a:lnTo>
                    <a:pt x="52" y="1110"/>
                  </a:lnTo>
                  <a:close/>
                  <a:moveTo>
                    <a:pt x="95" y="1107"/>
                  </a:moveTo>
                  <a:lnTo>
                    <a:pt x="95" y="1110"/>
                  </a:lnTo>
                  <a:lnTo>
                    <a:pt x="95" y="1107"/>
                  </a:lnTo>
                  <a:lnTo>
                    <a:pt x="95" y="1110"/>
                  </a:lnTo>
                  <a:lnTo>
                    <a:pt x="92" y="1110"/>
                  </a:lnTo>
                  <a:lnTo>
                    <a:pt x="95" y="1110"/>
                  </a:lnTo>
                  <a:lnTo>
                    <a:pt x="95" y="1107"/>
                  </a:lnTo>
                  <a:close/>
                  <a:moveTo>
                    <a:pt x="87" y="1107"/>
                  </a:moveTo>
                  <a:lnTo>
                    <a:pt x="90" y="1107"/>
                  </a:lnTo>
                  <a:lnTo>
                    <a:pt x="90" y="1110"/>
                  </a:lnTo>
                  <a:lnTo>
                    <a:pt x="92" y="1110"/>
                  </a:lnTo>
                  <a:lnTo>
                    <a:pt x="90" y="1110"/>
                  </a:lnTo>
                  <a:lnTo>
                    <a:pt x="87" y="1110"/>
                  </a:lnTo>
                  <a:lnTo>
                    <a:pt x="87" y="1107"/>
                  </a:lnTo>
                  <a:close/>
                  <a:moveTo>
                    <a:pt x="78" y="1107"/>
                  </a:moveTo>
                  <a:lnTo>
                    <a:pt x="76" y="1110"/>
                  </a:lnTo>
                  <a:lnTo>
                    <a:pt x="76" y="1107"/>
                  </a:lnTo>
                  <a:lnTo>
                    <a:pt x="78" y="1107"/>
                  </a:lnTo>
                  <a:close/>
                  <a:moveTo>
                    <a:pt x="52" y="1107"/>
                  </a:moveTo>
                  <a:lnTo>
                    <a:pt x="54" y="1107"/>
                  </a:lnTo>
                  <a:lnTo>
                    <a:pt x="54" y="1110"/>
                  </a:lnTo>
                  <a:lnTo>
                    <a:pt x="57" y="1110"/>
                  </a:lnTo>
                  <a:lnTo>
                    <a:pt x="57" y="1112"/>
                  </a:lnTo>
                  <a:lnTo>
                    <a:pt x="54" y="1112"/>
                  </a:lnTo>
                  <a:lnTo>
                    <a:pt x="54" y="1110"/>
                  </a:lnTo>
                  <a:lnTo>
                    <a:pt x="52" y="1110"/>
                  </a:lnTo>
                  <a:lnTo>
                    <a:pt x="52" y="1107"/>
                  </a:lnTo>
                  <a:close/>
                  <a:moveTo>
                    <a:pt x="54" y="1107"/>
                  </a:moveTo>
                  <a:lnTo>
                    <a:pt x="52" y="1107"/>
                  </a:lnTo>
                  <a:lnTo>
                    <a:pt x="54" y="1107"/>
                  </a:lnTo>
                  <a:close/>
                  <a:moveTo>
                    <a:pt x="54" y="1107"/>
                  </a:moveTo>
                  <a:lnTo>
                    <a:pt x="57" y="1107"/>
                  </a:lnTo>
                  <a:lnTo>
                    <a:pt x="59" y="1110"/>
                  </a:lnTo>
                  <a:lnTo>
                    <a:pt x="57" y="1110"/>
                  </a:lnTo>
                  <a:lnTo>
                    <a:pt x="54" y="1110"/>
                  </a:lnTo>
                  <a:lnTo>
                    <a:pt x="54" y="1107"/>
                  </a:lnTo>
                  <a:close/>
                  <a:moveTo>
                    <a:pt x="68" y="1107"/>
                  </a:moveTo>
                  <a:lnTo>
                    <a:pt x="68" y="1110"/>
                  </a:lnTo>
                  <a:lnTo>
                    <a:pt x="66" y="1110"/>
                  </a:lnTo>
                  <a:lnTo>
                    <a:pt x="64" y="1110"/>
                  </a:lnTo>
                  <a:lnTo>
                    <a:pt x="66" y="1110"/>
                  </a:lnTo>
                  <a:lnTo>
                    <a:pt x="66" y="1107"/>
                  </a:lnTo>
                  <a:lnTo>
                    <a:pt x="68" y="1107"/>
                  </a:lnTo>
                  <a:close/>
                  <a:moveTo>
                    <a:pt x="59" y="1107"/>
                  </a:moveTo>
                  <a:lnTo>
                    <a:pt x="61" y="1107"/>
                  </a:lnTo>
                  <a:lnTo>
                    <a:pt x="59" y="1107"/>
                  </a:lnTo>
                  <a:lnTo>
                    <a:pt x="57" y="1107"/>
                  </a:lnTo>
                  <a:lnTo>
                    <a:pt x="59" y="1107"/>
                  </a:lnTo>
                  <a:lnTo>
                    <a:pt x="57" y="1107"/>
                  </a:lnTo>
                  <a:lnTo>
                    <a:pt x="59" y="1107"/>
                  </a:lnTo>
                  <a:close/>
                  <a:moveTo>
                    <a:pt x="85" y="1105"/>
                  </a:moveTo>
                  <a:lnTo>
                    <a:pt x="85" y="1107"/>
                  </a:lnTo>
                  <a:lnTo>
                    <a:pt x="83" y="1107"/>
                  </a:lnTo>
                  <a:lnTo>
                    <a:pt x="85" y="1107"/>
                  </a:lnTo>
                  <a:lnTo>
                    <a:pt x="85" y="1105"/>
                  </a:lnTo>
                  <a:close/>
                  <a:moveTo>
                    <a:pt x="68" y="1107"/>
                  </a:moveTo>
                  <a:lnTo>
                    <a:pt x="68" y="1105"/>
                  </a:lnTo>
                  <a:lnTo>
                    <a:pt x="68" y="1107"/>
                  </a:lnTo>
                  <a:close/>
                  <a:moveTo>
                    <a:pt x="87" y="1105"/>
                  </a:moveTo>
                  <a:lnTo>
                    <a:pt x="85" y="1107"/>
                  </a:lnTo>
                  <a:lnTo>
                    <a:pt x="85" y="1105"/>
                  </a:lnTo>
                  <a:lnTo>
                    <a:pt x="87" y="1105"/>
                  </a:lnTo>
                  <a:close/>
                  <a:moveTo>
                    <a:pt x="90" y="1105"/>
                  </a:moveTo>
                  <a:lnTo>
                    <a:pt x="92" y="1105"/>
                  </a:lnTo>
                  <a:lnTo>
                    <a:pt x="90" y="1105"/>
                  </a:lnTo>
                  <a:lnTo>
                    <a:pt x="87" y="1107"/>
                  </a:lnTo>
                  <a:lnTo>
                    <a:pt x="85" y="1107"/>
                  </a:lnTo>
                  <a:lnTo>
                    <a:pt x="87" y="1107"/>
                  </a:lnTo>
                  <a:lnTo>
                    <a:pt x="90" y="1105"/>
                  </a:lnTo>
                  <a:lnTo>
                    <a:pt x="87" y="1105"/>
                  </a:lnTo>
                  <a:lnTo>
                    <a:pt x="90" y="1105"/>
                  </a:lnTo>
                  <a:close/>
                  <a:moveTo>
                    <a:pt x="78" y="1105"/>
                  </a:moveTo>
                  <a:lnTo>
                    <a:pt x="78" y="1107"/>
                  </a:lnTo>
                  <a:lnTo>
                    <a:pt x="76" y="1107"/>
                  </a:lnTo>
                  <a:lnTo>
                    <a:pt x="73" y="1107"/>
                  </a:lnTo>
                  <a:lnTo>
                    <a:pt x="71" y="1107"/>
                  </a:lnTo>
                  <a:lnTo>
                    <a:pt x="71" y="1110"/>
                  </a:lnTo>
                  <a:lnTo>
                    <a:pt x="68" y="1110"/>
                  </a:lnTo>
                  <a:lnTo>
                    <a:pt x="68" y="1107"/>
                  </a:lnTo>
                  <a:lnTo>
                    <a:pt x="71" y="1107"/>
                  </a:lnTo>
                  <a:lnTo>
                    <a:pt x="68" y="1107"/>
                  </a:lnTo>
                  <a:lnTo>
                    <a:pt x="68" y="1105"/>
                  </a:lnTo>
                  <a:lnTo>
                    <a:pt x="71" y="1105"/>
                  </a:lnTo>
                  <a:lnTo>
                    <a:pt x="68" y="1105"/>
                  </a:lnTo>
                  <a:lnTo>
                    <a:pt x="71" y="1105"/>
                  </a:lnTo>
                  <a:lnTo>
                    <a:pt x="71" y="1107"/>
                  </a:lnTo>
                  <a:lnTo>
                    <a:pt x="71" y="1105"/>
                  </a:lnTo>
                  <a:lnTo>
                    <a:pt x="73" y="1105"/>
                  </a:lnTo>
                  <a:lnTo>
                    <a:pt x="76" y="1105"/>
                  </a:lnTo>
                  <a:lnTo>
                    <a:pt x="78" y="1105"/>
                  </a:lnTo>
                  <a:close/>
                  <a:moveTo>
                    <a:pt x="59" y="1105"/>
                  </a:moveTo>
                  <a:lnTo>
                    <a:pt x="61" y="1105"/>
                  </a:lnTo>
                  <a:lnTo>
                    <a:pt x="59" y="1105"/>
                  </a:lnTo>
                  <a:close/>
                  <a:moveTo>
                    <a:pt x="78" y="1105"/>
                  </a:moveTo>
                  <a:lnTo>
                    <a:pt x="76" y="1105"/>
                  </a:lnTo>
                  <a:lnTo>
                    <a:pt x="78" y="1105"/>
                  </a:lnTo>
                  <a:lnTo>
                    <a:pt x="78" y="1102"/>
                  </a:lnTo>
                  <a:lnTo>
                    <a:pt x="78" y="1105"/>
                  </a:lnTo>
                  <a:close/>
                  <a:moveTo>
                    <a:pt x="61" y="1102"/>
                  </a:moveTo>
                  <a:lnTo>
                    <a:pt x="64" y="1105"/>
                  </a:lnTo>
                  <a:lnTo>
                    <a:pt x="61" y="1105"/>
                  </a:lnTo>
                  <a:lnTo>
                    <a:pt x="61" y="1102"/>
                  </a:lnTo>
                  <a:close/>
                  <a:moveTo>
                    <a:pt x="71" y="1100"/>
                  </a:moveTo>
                  <a:lnTo>
                    <a:pt x="68" y="1100"/>
                  </a:lnTo>
                  <a:lnTo>
                    <a:pt x="71" y="1100"/>
                  </a:lnTo>
                  <a:lnTo>
                    <a:pt x="68" y="1100"/>
                  </a:lnTo>
                  <a:lnTo>
                    <a:pt x="71" y="1100"/>
                  </a:lnTo>
                  <a:close/>
                  <a:moveTo>
                    <a:pt x="85" y="1100"/>
                  </a:moveTo>
                  <a:lnTo>
                    <a:pt x="83" y="1100"/>
                  </a:lnTo>
                  <a:lnTo>
                    <a:pt x="85" y="1100"/>
                  </a:lnTo>
                  <a:close/>
                  <a:moveTo>
                    <a:pt x="85" y="1100"/>
                  </a:moveTo>
                  <a:lnTo>
                    <a:pt x="83" y="1100"/>
                  </a:lnTo>
                  <a:lnTo>
                    <a:pt x="85" y="1100"/>
                  </a:lnTo>
                  <a:lnTo>
                    <a:pt x="83" y="1100"/>
                  </a:lnTo>
                  <a:lnTo>
                    <a:pt x="85" y="1100"/>
                  </a:lnTo>
                  <a:close/>
                  <a:moveTo>
                    <a:pt x="78" y="1098"/>
                  </a:moveTo>
                  <a:lnTo>
                    <a:pt x="78" y="1100"/>
                  </a:lnTo>
                  <a:lnTo>
                    <a:pt x="76" y="1100"/>
                  </a:lnTo>
                  <a:lnTo>
                    <a:pt x="78" y="1100"/>
                  </a:lnTo>
                  <a:lnTo>
                    <a:pt x="76" y="1100"/>
                  </a:lnTo>
                  <a:lnTo>
                    <a:pt x="76" y="1102"/>
                  </a:lnTo>
                  <a:lnTo>
                    <a:pt x="78" y="1102"/>
                  </a:lnTo>
                  <a:lnTo>
                    <a:pt x="76" y="1102"/>
                  </a:lnTo>
                  <a:lnTo>
                    <a:pt x="73" y="1102"/>
                  </a:lnTo>
                  <a:lnTo>
                    <a:pt x="73" y="1100"/>
                  </a:lnTo>
                  <a:lnTo>
                    <a:pt x="73" y="1102"/>
                  </a:lnTo>
                  <a:lnTo>
                    <a:pt x="73" y="1100"/>
                  </a:lnTo>
                  <a:lnTo>
                    <a:pt x="73" y="1102"/>
                  </a:lnTo>
                  <a:lnTo>
                    <a:pt x="73" y="1100"/>
                  </a:lnTo>
                  <a:lnTo>
                    <a:pt x="71" y="1100"/>
                  </a:lnTo>
                  <a:lnTo>
                    <a:pt x="73" y="1100"/>
                  </a:lnTo>
                  <a:lnTo>
                    <a:pt x="73" y="1098"/>
                  </a:lnTo>
                  <a:lnTo>
                    <a:pt x="73" y="1100"/>
                  </a:lnTo>
                  <a:lnTo>
                    <a:pt x="73" y="1098"/>
                  </a:lnTo>
                  <a:lnTo>
                    <a:pt x="73" y="1100"/>
                  </a:lnTo>
                  <a:lnTo>
                    <a:pt x="76" y="1098"/>
                  </a:lnTo>
                  <a:lnTo>
                    <a:pt x="76" y="1100"/>
                  </a:lnTo>
                  <a:lnTo>
                    <a:pt x="76" y="1098"/>
                  </a:lnTo>
                  <a:lnTo>
                    <a:pt x="78" y="1098"/>
                  </a:lnTo>
                  <a:close/>
                  <a:moveTo>
                    <a:pt x="64" y="1098"/>
                  </a:moveTo>
                  <a:lnTo>
                    <a:pt x="66" y="1098"/>
                  </a:lnTo>
                  <a:lnTo>
                    <a:pt x="64" y="1098"/>
                  </a:lnTo>
                  <a:close/>
                  <a:moveTo>
                    <a:pt x="106" y="1091"/>
                  </a:moveTo>
                  <a:lnTo>
                    <a:pt x="109" y="1091"/>
                  </a:lnTo>
                  <a:lnTo>
                    <a:pt x="106" y="1091"/>
                  </a:lnTo>
                  <a:lnTo>
                    <a:pt x="109" y="1091"/>
                  </a:lnTo>
                  <a:lnTo>
                    <a:pt x="109" y="1093"/>
                  </a:lnTo>
                  <a:lnTo>
                    <a:pt x="106" y="1093"/>
                  </a:lnTo>
                  <a:lnTo>
                    <a:pt x="106" y="1091"/>
                  </a:lnTo>
                  <a:close/>
                  <a:moveTo>
                    <a:pt x="92" y="1088"/>
                  </a:moveTo>
                  <a:lnTo>
                    <a:pt x="92" y="1091"/>
                  </a:lnTo>
                  <a:lnTo>
                    <a:pt x="92" y="1088"/>
                  </a:lnTo>
                  <a:lnTo>
                    <a:pt x="92" y="1091"/>
                  </a:lnTo>
                  <a:lnTo>
                    <a:pt x="92" y="1088"/>
                  </a:lnTo>
                  <a:close/>
                  <a:moveTo>
                    <a:pt x="99" y="1086"/>
                  </a:moveTo>
                  <a:lnTo>
                    <a:pt x="99" y="1088"/>
                  </a:lnTo>
                  <a:lnTo>
                    <a:pt x="97" y="1088"/>
                  </a:lnTo>
                  <a:lnTo>
                    <a:pt x="99" y="1086"/>
                  </a:lnTo>
                  <a:lnTo>
                    <a:pt x="97" y="1086"/>
                  </a:lnTo>
                  <a:lnTo>
                    <a:pt x="99" y="1086"/>
                  </a:lnTo>
                  <a:lnTo>
                    <a:pt x="97" y="1086"/>
                  </a:lnTo>
                  <a:lnTo>
                    <a:pt x="99" y="1086"/>
                  </a:lnTo>
                  <a:close/>
                  <a:moveTo>
                    <a:pt x="111" y="1086"/>
                  </a:moveTo>
                  <a:lnTo>
                    <a:pt x="114" y="1086"/>
                  </a:lnTo>
                  <a:lnTo>
                    <a:pt x="114" y="1083"/>
                  </a:lnTo>
                  <a:lnTo>
                    <a:pt x="114" y="1086"/>
                  </a:lnTo>
                  <a:lnTo>
                    <a:pt x="111" y="1086"/>
                  </a:lnTo>
                  <a:close/>
                  <a:moveTo>
                    <a:pt x="104" y="1086"/>
                  </a:moveTo>
                  <a:lnTo>
                    <a:pt x="104" y="1083"/>
                  </a:lnTo>
                  <a:lnTo>
                    <a:pt x="104" y="1086"/>
                  </a:lnTo>
                  <a:close/>
                  <a:moveTo>
                    <a:pt x="121" y="1086"/>
                  </a:moveTo>
                  <a:lnTo>
                    <a:pt x="121" y="1083"/>
                  </a:lnTo>
                  <a:lnTo>
                    <a:pt x="123" y="1083"/>
                  </a:lnTo>
                  <a:lnTo>
                    <a:pt x="121" y="1086"/>
                  </a:lnTo>
                  <a:close/>
                  <a:moveTo>
                    <a:pt x="102" y="1083"/>
                  </a:moveTo>
                  <a:lnTo>
                    <a:pt x="102" y="1086"/>
                  </a:lnTo>
                  <a:lnTo>
                    <a:pt x="102" y="1088"/>
                  </a:lnTo>
                  <a:lnTo>
                    <a:pt x="102" y="1091"/>
                  </a:lnTo>
                  <a:lnTo>
                    <a:pt x="104" y="1091"/>
                  </a:lnTo>
                  <a:lnTo>
                    <a:pt x="102" y="1091"/>
                  </a:lnTo>
                  <a:lnTo>
                    <a:pt x="102" y="1093"/>
                  </a:lnTo>
                  <a:lnTo>
                    <a:pt x="99" y="1093"/>
                  </a:lnTo>
                  <a:lnTo>
                    <a:pt x="97" y="1093"/>
                  </a:lnTo>
                  <a:lnTo>
                    <a:pt x="95" y="1093"/>
                  </a:lnTo>
                  <a:lnTo>
                    <a:pt x="92" y="1093"/>
                  </a:lnTo>
                  <a:lnTo>
                    <a:pt x="92" y="1091"/>
                  </a:lnTo>
                  <a:lnTo>
                    <a:pt x="95" y="1091"/>
                  </a:lnTo>
                  <a:lnTo>
                    <a:pt x="95" y="1088"/>
                  </a:lnTo>
                  <a:lnTo>
                    <a:pt x="95" y="1091"/>
                  </a:lnTo>
                  <a:lnTo>
                    <a:pt x="95" y="1088"/>
                  </a:lnTo>
                  <a:lnTo>
                    <a:pt x="92" y="1088"/>
                  </a:lnTo>
                  <a:lnTo>
                    <a:pt x="95" y="1088"/>
                  </a:lnTo>
                  <a:lnTo>
                    <a:pt x="92" y="1088"/>
                  </a:lnTo>
                  <a:lnTo>
                    <a:pt x="95" y="1088"/>
                  </a:lnTo>
                  <a:lnTo>
                    <a:pt x="95" y="1086"/>
                  </a:lnTo>
                  <a:lnTo>
                    <a:pt x="95" y="1088"/>
                  </a:lnTo>
                  <a:lnTo>
                    <a:pt x="95" y="1086"/>
                  </a:lnTo>
                  <a:lnTo>
                    <a:pt x="95" y="1088"/>
                  </a:lnTo>
                  <a:lnTo>
                    <a:pt x="95" y="1086"/>
                  </a:lnTo>
                  <a:lnTo>
                    <a:pt x="97" y="1086"/>
                  </a:lnTo>
                  <a:lnTo>
                    <a:pt x="95" y="1086"/>
                  </a:lnTo>
                  <a:lnTo>
                    <a:pt x="95" y="1088"/>
                  </a:lnTo>
                  <a:lnTo>
                    <a:pt x="97" y="1086"/>
                  </a:lnTo>
                  <a:lnTo>
                    <a:pt x="97" y="1088"/>
                  </a:lnTo>
                  <a:lnTo>
                    <a:pt x="95" y="1088"/>
                  </a:lnTo>
                  <a:lnTo>
                    <a:pt x="97" y="1088"/>
                  </a:lnTo>
                  <a:lnTo>
                    <a:pt x="95" y="1088"/>
                  </a:lnTo>
                  <a:lnTo>
                    <a:pt x="97" y="1088"/>
                  </a:lnTo>
                  <a:lnTo>
                    <a:pt x="99" y="1088"/>
                  </a:lnTo>
                  <a:lnTo>
                    <a:pt x="97" y="1088"/>
                  </a:lnTo>
                  <a:lnTo>
                    <a:pt x="99" y="1088"/>
                  </a:lnTo>
                  <a:lnTo>
                    <a:pt x="97" y="1088"/>
                  </a:lnTo>
                  <a:lnTo>
                    <a:pt x="99" y="1088"/>
                  </a:lnTo>
                  <a:lnTo>
                    <a:pt x="102" y="1086"/>
                  </a:lnTo>
                  <a:lnTo>
                    <a:pt x="99" y="1086"/>
                  </a:lnTo>
                  <a:lnTo>
                    <a:pt x="102" y="1086"/>
                  </a:lnTo>
                  <a:lnTo>
                    <a:pt x="99" y="1086"/>
                  </a:lnTo>
                  <a:lnTo>
                    <a:pt x="102" y="1086"/>
                  </a:lnTo>
                  <a:lnTo>
                    <a:pt x="99" y="1086"/>
                  </a:lnTo>
                  <a:lnTo>
                    <a:pt x="99" y="1083"/>
                  </a:lnTo>
                  <a:lnTo>
                    <a:pt x="99" y="1086"/>
                  </a:lnTo>
                  <a:lnTo>
                    <a:pt x="99" y="1083"/>
                  </a:lnTo>
                  <a:lnTo>
                    <a:pt x="102" y="1083"/>
                  </a:lnTo>
                  <a:close/>
                  <a:moveTo>
                    <a:pt x="106" y="1083"/>
                  </a:moveTo>
                  <a:lnTo>
                    <a:pt x="109" y="1083"/>
                  </a:lnTo>
                  <a:lnTo>
                    <a:pt x="106" y="1086"/>
                  </a:lnTo>
                  <a:lnTo>
                    <a:pt x="109" y="1086"/>
                  </a:lnTo>
                  <a:lnTo>
                    <a:pt x="109" y="1088"/>
                  </a:lnTo>
                  <a:lnTo>
                    <a:pt x="106" y="1088"/>
                  </a:lnTo>
                  <a:lnTo>
                    <a:pt x="104" y="1088"/>
                  </a:lnTo>
                  <a:lnTo>
                    <a:pt x="106" y="1088"/>
                  </a:lnTo>
                  <a:lnTo>
                    <a:pt x="106" y="1091"/>
                  </a:lnTo>
                  <a:lnTo>
                    <a:pt x="104" y="1091"/>
                  </a:lnTo>
                  <a:lnTo>
                    <a:pt x="104" y="1088"/>
                  </a:lnTo>
                  <a:lnTo>
                    <a:pt x="102" y="1088"/>
                  </a:lnTo>
                  <a:lnTo>
                    <a:pt x="104" y="1088"/>
                  </a:lnTo>
                  <a:lnTo>
                    <a:pt x="102" y="1088"/>
                  </a:lnTo>
                  <a:lnTo>
                    <a:pt x="104" y="1088"/>
                  </a:lnTo>
                  <a:lnTo>
                    <a:pt x="102" y="1088"/>
                  </a:lnTo>
                  <a:lnTo>
                    <a:pt x="104" y="1088"/>
                  </a:lnTo>
                  <a:lnTo>
                    <a:pt x="102" y="1088"/>
                  </a:lnTo>
                  <a:lnTo>
                    <a:pt x="104" y="1088"/>
                  </a:lnTo>
                  <a:lnTo>
                    <a:pt x="104" y="1086"/>
                  </a:lnTo>
                  <a:lnTo>
                    <a:pt x="106" y="1086"/>
                  </a:lnTo>
                  <a:lnTo>
                    <a:pt x="104" y="1086"/>
                  </a:lnTo>
                  <a:lnTo>
                    <a:pt x="106" y="1086"/>
                  </a:lnTo>
                  <a:lnTo>
                    <a:pt x="104" y="1086"/>
                  </a:lnTo>
                  <a:lnTo>
                    <a:pt x="104" y="1083"/>
                  </a:lnTo>
                  <a:lnTo>
                    <a:pt x="104" y="1086"/>
                  </a:lnTo>
                  <a:lnTo>
                    <a:pt x="104" y="1083"/>
                  </a:lnTo>
                  <a:lnTo>
                    <a:pt x="102" y="1083"/>
                  </a:lnTo>
                  <a:lnTo>
                    <a:pt x="104" y="1083"/>
                  </a:lnTo>
                  <a:lnTo>
                    <a:pt x="102" y="1083"/>
                  </a:lnTo>
                  <a:lnTo>
                    <a:pt x="104" y="1083"/>
                  </a:lnTo>
                  <a:lnTo>
                    <a:pt x="106" y="1083"/>
                  </a:lnTo>
                  <a:lnTo>
                    <a:pt x="104" y="1083"/>
                  </a:lnTo>
                  <a:lnTo>
                    <a:pt x="106" y="1083"/>
                  </a:lnTo>
                  <a:close/>
                  <a:moveTo>
                    <a:pt x="130" y="1081"/>
                  </a:moveTo>
                  <a:lnTo>
                    <a:pt x="130" y="1083"/>
                  </a:lnTo>
                  <a:lnTo>
                    <a:pt x="130" y="1081"/>
                  </a:lnTo>
                  <a:close/>
                  <a:moveTo>
                    <a:pt x="109" y="1081"/>
                  </a:moveTo>
                  <a:lnTo>
                    <a:pt x="106" y="1081"/>
                  </a:lnTo>
                  <a:lnTo>
                    <a:pt x="109" y="1081"/>
                  </a:lnTo>
                  <a:close/>
                  <a:moveTo>
                    <a:pt x="121" y="1079"/>
                  </a:moveTo>
                  <a:lnTo>
                    <a:pt x="123" y="1079"/>
                  </a:lnTo>
                  <a:lnTo>
                    <a:pt x="123" y="1081"/>
                  </a:lnTo>
                  <a:lnTo>
                    <a:pt x="121" y="1081"/>
                  </a:lnTo>
                  <a:lnTo>
                    <a:pt x="118" y="1081"/>
                  </a:lnTo>
                  <a:lnTo>
                    <a:pt x="118" y="1079"/>
                  </a:lnTo>
                  <a:lnTo>
                    <a:pt x="121" y="1079"/>
                  </a:lnTo>
                  <a:close/>
                  <a:moveTo>
                    <a:pt x="111" y="1083"/>
                  </a:moveTo>
                  <a:lnTo>
                    <a:pt x="111" y="1081"/>
                  </a:lnTo>
                  <a:lnTo>
                    <a:pt x="111" y="1083"/>
                  </a:lnTo>
                  <a:lnTo>
                    <a:pt x="111" y="1081"/>
                  </a:lnTo>
                  <a:lnTo>
                    <a:pt x="109" y="1083"/>
                  </a:lnTo>
                  <a:lnTo>
                    <a:pt x="109" y="1081"/>
                  </a:lnTo>
                  <a:lnTo>
                    <a:pt x="111" y="1081"/>
                  </a:lnTo>
                  <a:lnTo>
                    <a:pt x="109" y="1081"/>
                  </a:lnTo>
                  <a:lnTo>
                    <a:pt x="111" y="1081"/>
                  </a:lnTo>
                  <a:lnTo>
                    <a:pt x="109" y="1081"/>
                  </a:lnTo>
                  <a:lnTo>
                    <a:pt x="111" y="1081"/>
                  </a:lnTo>
                  <a:lnTo>
                    <a:pt x="111" y="1079"/>
                  </a:lnTo>
                  <a:lnTo>
                    <a:pt x="114" y="1079"/>
                  </a:lnTo>
                  <a:lnTo>
                    <a:pt x="111" y="1079"/>
                  </a:lnTo>
                  <a:lnTo>
                    <a:pt x="114" y="1079"/>
                  </a:lnTo>
                  <a:lnTo>
                    <a:pt x="116" y="1079"/>
                  </a:lnTo>
                  <a:lnTo>
                    <a:pt x="118" y="1079"/>
                  </a:lnTo>
                  <a:lnTo>
                    <a:pt x="118" y="1081"/>
                  </a:lnTo>
                  <a:lnTo>
                    <a:pt x="116" y="1081"/>
                  </a:lnTo>
                  <a:lnTo>
                    <a:pt x="116" y="1083"/>
                  </a:lnTo>
                  <a:lnTo>
                    <a:pt x="114" y="1083"/>
                  </a:lnTo>
                  <a:lnTo>
                    <a:pt x="111" y="1083"/>
                  </a:lnTo>
                  <a:close/>
                  <a:moveTo>
                    <a:pt x="118" y="1076"/>
                  </a:moveTo>
                  <a:lnTo>
                    <a:pt x="118" y="1079"/>
                  </a:lnTo>
                  <a:lnTo>
                    <a:pt x="121" y="1076"/>
                  </a:lnTo>
                  <a:lnTo>
                    <a:pt x="121" y="1079"/>
                  </a:lnTo>
                  <a:lnTo>
                    <a:pt x="118" y="1079"/>
                  </a:lnTo>
                  <a:lnTo>
                    <a:pt x="121" y="1079"/>
                  </a:lnTo>
                  <a:lnTo>
                    <a:pt x="118" y="1079"/>
                  </a:lnTo>
                  <a:lnTo>
                    <a:pt x="118" y="1076"/>
                  </a:lnTo>
                  <a:close/>
                  <a:moveTo>
                    <a:pt x="130" y="1076"/>
                  </a:moveTo>
                  <a:lnTo>
                    <a:pt x="128" y="1076"/>
                  </a:lnTo>
                  <a:lnTo>
                    <a:pt x="130" y="1076"/>
                  </a:lnTo>
                  <a:lnTo>
                    <a:pt x="128" y="1076"/>
                  </a:lnTo>
                  <a:lnTo>
                    <a:pt x="130" y="1076"/>
                  </a:lnTo>
                  <a:close/>
                  <a:moveTo>
                    <a:pt x="125" y="1074"/>
                  </a:moveTo>
                  <a:lnTo>
                    <a:pt x="125" y="1076"/>
                  </a:lnTo>
                  <a:lnTo>
                    <a:pt x="123" y="1076"/>
                  </a:lnTo>
                  <a:lnTo>
                    <a:pt x="125" y="1076"/>
                  </a:lnTo>
                  <a:lnTo>
                    <a:pt x="125" y="1074"/>
                  </a:lnTo>
                  <a:close/>
                  <a:moveTo>
                    <a:pt x="128" y="1076"/>
                  </a:moveTo>
                  <a:lnTo>
                    <a:pt x="128" y="1079"/>
                  </a:lnTo>
                  <a:lnTo>
                    <a:pt x="130" y="1079"/>
                  </a:lnTo>
                  <a:lnTo>
                    <a:pt x="130" y="1076"/>
                  </a:lnTo>
                  <a:lnTo>
                    <a:pt x="128" y="1076"/>
                  </a:lnTo>
                  <a:lnTo>
                    <a:pt x="130" y="1076"/>
                  </a:lnTo>
                  <a:lnTo>
                    <a:pt x="130" y="1079"/>
                  </a:lnTo>
                  <a:lnTo>
                    <a:pt x="133" y="1079"/>
                  </a:lnTo>
                  <a:lnTo>
                    <a:pt x="133" y="1081"/>
                  </a:lnTo>
                  <a:lnTo>
                    <a:pt x="130" y="1081"/>
                  </a:lnTo>
                  <a:lnTo>
                    <a:pt x="128" y="1081"/>
                  </a:lnTo>
                  <a:lnTo>
                    <a:pt x="125" y="1081"/>
                  </a:lnTo>
                  <a:lnTo>
                    <a:pt x="123" y="1081"/>
                  </a:lnTo>
                  <a:lnTo>
                    <a:pt x="123" y="1079"/>
                  </a:lnTo>
                  <a:lnTo>
                    <a:pt x="121" y="1079"/>
                  </a:lnTo>
                  <a:lnTo>
                    <a:pt x="123" y="1076"/>
                  </a:lnTo>
                  <a:lnTo>
                    <a:pt x="121" y="1076"/>
                  </a:lnTo>
                  <a:lnTo>
                    <a:pt x="123" y="1076"/>
                  </a:lnTo>
                  <a:lnTo>
                    <a:pt x="125" y="1076"/>
                  </a:lnTo>
                  <a:lnTo>
                    <a:pt x="128" y="1076"/>
                  </a:lnTo>
                  <a:lnTo>
                    <a:pt x="128" y="1074"/>
                  </a:lnTo>
                  <a:lnTo>
                    <a:pt x="128" y="1076"/>
                  </a:lnTo>
                  <a:close/>
                  <a:moveTo>
                    <a:pt x="109" y="1074"/>
                  </a:moveTo>
                  <a:lnTo>
                    <a:pt x="109" y="1076"/>
                  </a:lnTo>
                  <a:lnTo>
                    <a:pt x="109" y="1074"/>
                  </a:lnTo>
                  <a:lnTo>
                    <a:pt x="109" y="1076"/>
                  </a:lnTo>
                  <a:lnTo>
                    <a:pt x="109" y="1074"/>
                  </a:lnTo>
                  <a:close/>
                  <a:moveTo>
                    <a:pt x="114" y="1074"/>
                  </a:moveTo>
                  <a:lnTo>
                    <a:pt x="111" y="1074"/>
                  </a:lnTo>
                  <a:lnTo>
                    <a:pt x="114" y="1074"/>
                  </a:lnTo>
                  <a:close/>
                  <a:moveTo>
                    <a:pt x="116" y="1074"/>
                  </a:moveTo>
                  <a:lnTo>
                    <a:pt x="114" y="1074"/>
                  </a:lnTo>
                  <a:lnTo>
                    <a:pt x="114" y="1076"/>
                  </a:lnTo>
                  <a:lnTo>
                    <a:pt x="114" y="1074"/>
                  </a:lnTo>
                  <a:lnTo>
                    <a:pt x="116" y="1074"/>
                  </a:lnTo>
                  <a:close/>
                  <a:moveTo>
                    <a:pt x="121" y="1074"/>
                  </a:moveTo>
                  <a:lnTo>
                    <a:pt x="118" y="1074"/>
                  </a:lnTo>
                  <a:lnTo>
                    <a:pt x="116" y="1076"/>
                  </a:lnTo>
                  <a:lnTo>
                    <a:pt x="116" y="1074"/>
                  </a:lnTo>
                  <a:lnTo>
                    <a:pt x="118" y="1074"/>
                  </a:lnTo>
                  <a:lnTo>
                    <a:pt x="121" y="1072"/>
                  </a:lnTo>
                  <a:lnTo>
                    <a:pt x="121" y="1074"/>
                  </a:lnTo>
                  <a:close/>
                  <a:moveTo>
                    <a:pt x="118" y="1074"/>
                  </a:moveTo>
                  <a:lnTo>
                    <a:pt x="118" y="1072"/>
                  </a:lnTo>
                  <a:lnTo>
                    <a:pt x="118" y="1074"/>
                  </a:lnTo>
                  <a:close/>
                  <a:moveTo>
                    <a:pt x="106" y="1074"/>
                  </a:moveTo>
                  <a:lnTo>
                    <a:pt x="109" y="1074"/>
                  </a:lnTo>
                  <a:lnTo>
                    <a:pt x="106" y="1074"/>
                  </a:lnTo>
                  <a:lnTo>
                    <a:pt x="106" y="1072"/>
                  </a:lnTo>
                  <a:lnTo>
                    <a:pt x="109" y="1072"/>
                  </a:lnTo>
                  <a:lnTo>
                    <a:pt x="109" y="1074"/>
                  </a:lnTo>
                  <a:lnTo>
                    <a:pt x="106" y="1074"/>
                  </a:lnTo>
                  <a:lnTo>
                    <a:pt x="106" y="1072"/>
                  </a:lnTo>
                  <a:lnTo>
                    <a:pt x="106" y="1074"/>
                  </a:lnTo>
                  <a:close/>
                  <a:moveTo>
                    <a:pt x="106" y="1072"/>
                  </a:moveTo>
                  <a:lnTo>
                    <a:pt x="106" y="1074"/>
                  </a:lnTo>
                  <a:lnTo>
                    <a:pt x="106" y="1072"/>
                  </a:lnTo>
                  <a:lnTo>
                    <a:pt x="106" y="1074"/>
                  </a:lnTo>
                  <a:lnTo>
                    <a:pt x="106" y="1072"/>
                  </a:lnTo>
                  <a:lnTo>
                    <a:pt x="106" y="1074"/>
                  </a:lnTo>
                  <a:lnTo>
                    <a:pt x="104" y="1074"/>
                  </a:lnTo>
                  <a:lnTo>
                    <a:pt x="106" y="1072"/>
                  </a:lnTo>
                  <a:close/>
                  <a:moveTo>
                    <a:pt x="109" y="1072"/>
                  </a:moveTo>
                  <a:lnTo>
                    <a:pt x="111" y="1072"/>
                  </a:lnTo>
                  <a:lnTo>
                    <a:pt x="109" y="1072"/>
                  </a:lnTo>
                  <a:lnTo>
                    <a:pt x="111" y="1072"/>
                  </a:lnTo>
                  <a:lnTo>
                    <a:pt x="109" y="1072"/>
                  </a:lnTo>
                  <a:close/>
                  <a:moveTo>
                    <a:pt x="128" y="1072"/>
                  </a:moveTo>
                  <a:lnTo>
                    <a:pt x="128" y="1074"/>
                  </a:lnTo>
                  <a:lnTo>
                    <a:pt x="125" y="1074"/>
                  </a:lnTo>
                  <a:lnTo>
                    <a:pt x="125" y="1072"/>
                  </a:lnTo>
                  <a:lnTo>
                    <a:pt x="125" y="1074"/>
                  </a:lnTo>
                  <a:lnTo>
                    <a:pt x="125" y="1072"/>
                  </a:lnTo>
                  <a:lnTo>
                    <a:pt x="125" y="1074"/>
                  </a:lnTo>
                  <a:lnTo>
                    <a:pt x="125" y="1072"/>
                  </a:lnTo>
                  <a:lnTo>
                    <a:pt x="125" y="1074"/>
                  </a:lnTo>
                  <a:lnTo>
                    <a:pt x="125" y="1072"/>
                  </a:lnTo>
                  <a:lnTo>
                    <a:pt x="128" y="1072"/>
                  </a:lnTo>
                  <a:close/>
                  <a:moveTo>
                    <a:pt x="121" y="1072"/>
                  </a:moveTo>
                  <a:lnTo>
                    <a:pt x="118" y="1072"/>
                  </a:lnTo>
                  <a:lnTo>
                    <a:pt x="121" y="1072"/>
                  </a:lnTo>
                  <a:close/>
                  <a:moveTo>
                    <a:pt x="104" y="1072"/>
                  </a:moveTo>
                  <a:lnTo>
                    <a:pt x="106" y="1072"/>
                  </a:lnTo>
                  <a:lnTo>
                    <a:pt x="104" y="1072"/>
                  </a:lnTo>
                  <a:close/>
                  <a:moveTo>
                    <a:pt x="133" y="1069"/>
                  </a:moveTo>
                  <a:lnTo>
                    <a:pt x="135" y="1069"/>
                  </a:lnTo>
                  <a:lnTo>
                    <a:pt x="135" y="1072"/>
                  </a:lnTo>
                  <a:lnTo>
                    <a:pt x="133" y="1074"/>
                  </a:lnTo>
                  <a:lnTo>
                    <a:pt x="130" y="1074"/>
                  </a:lnTo>
                  <a:lnTo>
                    <a:pt x="133" y="1074"/>
                  </a:lnTo>
                  <a:lnTo>
                    <a:pt x="130" y="1074"/>
                  </a:lnTo>
                  <a:lnTo>
                    <a:pt x="133" y="1072"/>
                  </a:lnTo>
                  <a:lnTo>
                    <a:pt x="130" y="1072"/>
                  </a:lnTo>
                  <a:lnTo>
                    <a:pt x="133" y="1072"/>
                  </a:lnTo>
                  <a:lnTo>
                    <a:pt x="130" y="1072"/>
                  </a:lnTo>
                  <a:lnTo>
                    <a:pt x="130" y="1074"/>
                  </a:lnTo>
                  <a:lnTo>
                    <a:pt x="130" y="1072"/>
                  </a:lnTo>
                  <a:lnTo>
                    <a:pt x="128" y="1072"/>
                  </a:lnTo>
                  <a:lnTo>
                    <a:pt x="130" y="1072"/>
                  </a:lnTo>
                  <a:lnTo>
                    <a:pt x="128" y="1072"/>
                  </a:lnTo>
                  <a:lnTo>
                    <a:pt x="130" y="1072"/>
                  </a:lnTo>
                  <a:lnTo>
                    <a:pt x="130" y="1069"/>
                  </a:lnTo>
                  <a:lnTo>
                    <a:pt x="133" y="1069"/>
                  </a:lnTo>
                  <a:close/>
                  <a:moveTo>
                    <a:pt x="128" y="1067"/>
                  </a:moveTo>
                  <a:lnTo>
                    <a:pt x="128" y="1069"/>
                  </a:lnTo>
                  <a:lnTo>
                    <a:pt x="128" y="1067"/>
                  </a:lnTo>
                  <a:close/>
                  <a:moveTo>
                    <a:pt x="154" y="1067"/>
                  </a:moveTo>
                  <a:lnTo>
                    <a:pt x="152" y="1067"/>
                  </a:lnTo>
                  <a:lnTo>
                    <a:pt x="154" y="1064"/>
                  </a:lnTo>
                  <a:lnTo>
                    <a:pt x="154" y="1067"/>
                  </a:lnTo>
                  <a:close/>
                  <a:moveTo>
                    <a:pt x="144" y="1067"/>
                  </a:moveTo>
                  <a:lnTo>
                    <a:pt x="144" y="1064"/>
                  </a:lnTo>
                  <a:lnTo>
                    <a:pt x="144" y="1067"/>
                  </a:lnTo>
                  <a:close/>
                  <a:moveTo>
                    <a:pt x="144" y="1064"/>
                  </a:moveTo>
                  <a:lnTo>
                    <a:pt x="144" y="1067"/>
                  </a:lnTo>
                  <a:lnTo>
                    <a:pt x="142" y="1067"/>
                  </a:lnTo>
                  <a:lnTo>
                    <a:pt x="144" y="1067"/>
                  </a:lnTo>
                  <a:lnTo>
                    <a:pt x="142" y="1067"/>
                  </a:lnTo>
                  <a:lnTo>
                    <a:pt x="144" y="1067"/>
                  </a:lnTo>
                  <a:lnTo>
                    <a:pt x="142" y="1067"/>
                  </a:lnTo>
                  <a:lnTo>
                    <a:pt x="144" y="1067"/>
                  </a:lnTo>
                  <a:lnTo>
                    <a:pt x="142" y="1067"/>
                  </a:lnTo>
                  <a:lnTo>
                    <a:pt x="144" y="1064"/>
                  </a:lnTo>
                  <a:close/>
                  <a:moveTo>
                    <a:pt x="109" y="1064"/>
                  </a:moveTo>
                  <a:lnTo>
                    <a:pt x="109" y="1067"/>
                  </a:lnTo>
                  <a:lnTo>
                    <a:pt x="109" y="1064"/>
                  </a:lnTo>
                  <a:close/>
                  <a:moveTo>
                    <a:pt x="152" y="1067"/>
                  </a:moveTo>
                  <a:lnTo>
                    <a:pt x="149" y="1067"/>
                  </a:lnTo>
                  <a:lnTo>
                    <a:pt x="152" y="1067"/>
                  </a:lnTo>
                  <a:lnTo>
                    <a:pt x="152" y="1064"/>
                  </a:lnTo>
                  <a:lnTo>
                    <a:pt x="152" y="1067"/>
                  </a:lnTo>
                  <a:close/>
                  <a:moveTo>
                    <a:pt x="147" y="1064"/>
                  </a:moveTo>
                  <a:lnTo>
                    <a:pt x="147" y="1067"/>
                  </a:lnTo>
                  <a:lnTo>
                    <a:pt x="147" y="1064"/>
                  </a:lnTo>
                  <a:close/>
                  <a:moveTo>
                    <a:pt x="149" y="1064"/>
                  </a:moveTo>
                  <a:lnTo>
                    <a:pt x="152" y="1064"/>
                  </a:lnTo>
                  <a:lnTo>
                    <a:pt x="149" y="1064"/>
                  </a:lnTo>
                  <a:lnTo>
                    <a:pt x="152" y="1064"/>
                  </a:lnTo>
                  <a:lnTo>
                    <a:pt x="149" y="1064"/>
                  </a:lnTo>
                  <a:close/>
                  <a:moveTo>
                    <a:pt x="123" y="1064"/>
                  </a:moveTo>
                  <a:lnTo>
                    <a:pt x="121" y="1064"/>
                  </a:lnTo>
                  <a:lnTo>
                    <a:pt x="123" y="1064"/>
                  </a:lnTo>
                  <a:lnTo>
                    <a:pt x="121" y="1064"/>
                  </a:lnTo>
                  <a:lnTo>
                    <a:pt x="123" y="1064"/>
                  </a:lnTo>
                  <a:close/>
                  <a:moveTo>
                    <a:pt x="114" y="1064"/>
                  </a:moveTo>
                  <a:lnTo>
                    <a:pt x="111" y="1064"/>
                  </a:lnTo>
                  <a:lnTo>
                    <a:pt x="114" y="1064"/>
                  </a:lnTo>
                  <a:lnTo>
                    <a:pt x="111" y="1064"/>
                  </a:lnTo>
                  <a:lnTo>
                    <a:pt x="114" y="1064"/>
                  </a:lnTo>
                  <a:close/>
                  <a:moveTo>
                    <a:pt x="152" y="1062"/>
                  </a:moveTo>
                  <a:lnTo>
                    <a:pt x="152" y="1064"/>
                  </a:lnTo>
                  <a:lnTo>
                    <a:pt x="149" y="1064"/>
                  </a:lnTo>
                  <a:lnTo>
                    <a:pt x="149" y="1062"/>
                  </a:lnTo>
                  <a:lnTo>
                    <a:pt x="152" y="1062"/>
                  </a:lnTo>
                  <a:close/>
                  <a:moveTo>
                    <a:pt x="123" y="1062"/>
                  </a:moveTo>
                  <a:lnTo>
                    <a:pt x="121" y="1062"/>
                  </a:lnTo>
                  <a:lnTo>
                    <a:pt x="123" y="1062"/>
                  </a:lnTo>
                  <a:lnTo>
                    <a:pt x="121" y="1062"/>
                  </a:lnTo>
                  <a:lnTo>
                    <a:pt x="123" y="1062"/>
                  </a:lnTo>
                  <a:close/>
                  <a:moveTo>
                    <a:pt x="123" y="1062"/>
                  </a:moveTo>
                  <a:lnTo>
                    <a:pt x="121" y="1064"/>
                  </a:lnTo>
                  <a:lnTo>
                    <a:pt x="121" y="1062"/>
                  </a:lnTo>
                  <a:lnTo>
                    <a:pt x="121" y="1064"/>
                  </a:lnTo>
                  <a:lnTo>
                    <a:pt x="121" y="1062"/>
                  </a:lnTo>
                  <a:lnTo>
                    <a:pt x="123" y="1062"/>
                  </a:lnTo>
                  <a:close/>
                  <a:moveTo>
                    <a:pt x="125" y="1062"/>
                  </a:moveTo>
                  <a:lnTo>
                    <a:pt x="125" y="1060"/>
                  </a:lnTo>
                  <a:lnTo>
                    <a:pt x="125" y="1062"/>
                  </a:lnTo>
                  <a:lnTo>
                    <a:pt x="123" y="1062"/>
                  </a:lnTo>
                  <a:lnTo>
                    <a:pt x="125" y="1062"/>
                  </a:lnTo>
                  <a:lnTo>
                    <a:pt x="123" y="1062"/>
                  </a:lnTo>
                  <a:lnTo>
                    <a:pt x="125" y="1062"/>
                  </a:lnTo>
                  <a:lnTo>
                    <a:pt x="125" y="1060"/>
                  </a:lnTo>
                  <a:lnTo>
                    <a:pt x="125" y="1062"/>
                  </a:lnTo>
                  <a:close/>
                  <a:moveTo>
                    <a:pt x="161" y="1060"/>
                  </a:moveTo>
                  <a:lnTo>
                    <a:pt x="159" y="1062"/>
                  </a:lnTo>
                  <a:lnTo>
                    <a:pt x="159" y="1060"/>
                  </a:lnTo>
                  <a:lnTo>
                    <a:pt x="161" y="1060"/>
                  </a:lnTo>
                  <a:lnTo>
                    <a:pt x="159" y="1060"/>
                  </a:lnTo>
                  <a:lnTo>
                    <a:pt x="161" y="1060"/>
                  </a:lnTo>
                  <a:close/>
                  <a:moveTo>
                    <a:pt x="154" y="1060"/>
                  </a:moveTo>
                  <a:lnTo>
                    <a:pt x="152" y="1060"/>
                  </a:lnTo>
                  <a:lnTo>
                    <a:pt x="154" y="1060"/>
                  </a:lnTo>
                  <a:close/>
                  <a:moveTo>
                    <a:pt x="125" y="1060"/>
                  </a:moveTo>
                  <a:lnTo>
                    <a:pt x="123" y="1060"/>
                  </a:lnTo>
                  <a:lnTo>
                    <a:pt x="125" y="1060"/>
                  </a:lnTo>
                  <a:close/>
                  <a:moveTo>
                    <a:pt x="152" y="1060"/>
                  </a:moveTo>
                  <a:lnTo>
                    <a:pt x="154" y="1060"/>
                  </a:lnTo>
                  <a:lnTo>
                    <a:pt x="152" y="1060"/>
                  </a:lnTo>
                  <a:close/>
                  <a:moveTo>
                    <a:pt x="199" y="1060"/>
                  </a:moveTo>
                  <a:lnTo>
                    <a:pt x="199" y="1057"/>
                  </a:lnTo>
                  <a:lnTo>
                    <a:pt x="199" y="1060"/>
                  </a:lnTo>
                  <a:close/>
                  <a:moveTo>
                    <a:pt x="128" y="1060"/>
                  </a:moveTo>
                  <a:lnTo>
                    <a:pt x="130" y="1060"/>
                  </a:lnTo>
                  <a:lnTo>
                    <a:pt x="128" y="1060"/>
                  </a:lnTo>
                  <a:lnTo>
                    <a:pt x="128" y="1057"/>
                  </a:lnTo>
                  <a:lnTo>
                    <a:pt x="128" y="1060"/>
                  </a:lnTo>
                  <a:close/>
                  <a:moveTo>
                    <a:pt x="130" y="1057"/>
                  </a:moveTo>
                  <a:lnTo>
                    <a:pt x="133" y="1057"/>
                  </a:lnTo>
                  <a:lnTo>
                    <a:pt x="133" y="1060"/>
                  </a:lnTo>
                  <a:lnTo>
                    <a:pt x="130" y="1060"/>
                  </a:lnTo>
                  <a:lnTo>
                    <a:pt x="130" y="1057"/>
                  </a:lnTo>
                  <a:close/>
                  <a:moveTo>
                    <a:pt x="130" y="1060"/>
                  </a:moveTo>
                  <a:lnTo>
                    <a:pt x="130" y="1057"/>
                  </a:lnTo>
                  <a:lnTo>
                    <a:pt x="128" y="1057"/>
                  </a:lnTo>
                  <a:lnTo>
                    <a:pt x="130" y="1057"/>
                  </a:lnTo>
                  <a:lnTo>
                    <a:pt x="130" y="1060"/>
                  </a:lnTo>
                  <a:close/>
                  <a:moveTo>
                    <a:pt x="128" y="1060"/>
                  </a:moveTo>
                  <a:lnTo>
                    <a:pt x="128" y="1057"/>
                  </a:lnTo>
                  <a:lnTo>
                    <a:pt x="128" y="1060"/>
                  </a:lnTo>
                  <a:close/>
                  <a:moveTo>
                    <a:pt x="159" y="1057"/>
                  </a:moveTo>
                  <a:lnTo>
                    <a:pt x="159" y="1060"/>
                  </a:lnTo>
                  <a:lnTo>
                    <a:pt x="156" y="1060"/>
                  </a:lnTo>
                  <a:lnTo>
                    <a:pt x="156" y="1057"/>
                  </a:lnTo>
                  <a:lnTo>
                    <a:pt x="156" y="1060"/>
                  </a:lnTo>
                  <a:lnTo>
                    <a:pt x="156" y="1057"/>
                  </a:lnTo>
                  <a:lnTo>
                    <a:pt x="159" y="1057"/>
                  </a:lnTo>
                  <a:close/>
                  <a:moveTo>
                    <a:pt x="152" y="1060"/>
                  </a:moveTo>
                  <a:lnTo>
                    <a:pt x="152" y="1057"/>
                  </a:lnTo>
                  <a:lnTo>
                    <a:pt x="152" y="1060"/>
                  </a:lnTo>
                  <a:close/>
                  <a:moveTo>
                    <a:pt x="125" y="1057"/>
                  </a:moveTo>
                  <a:lnTo>
                    <a:pt x="128" y="1057"/>
                  </a:lnTo>
                  <a:lnTo>
                    <a:pt x="128" y="1060"/>
                  </a:lnTo>
                  <a:lnTo>
                    <a:pt x="125" y="1060"/>
                  </a:lnTo>
                  <a:lnTo>
                    <a:pt x="128" y="1060"/>
                  </a:lnTo>
                  <a:lnTo>
                    <a:pt x="128" y="1057"/>
                  </a:lnTo>
                  <a:lnTo>
                    <a:pt x="128" y="1060"/>
                  </a:lnTo>
                  <a:lnTo>
                    <a:pt x="125" y="1060"/>
                  </a:lnTo>
                  <a:lnTo>
                    <a:pt x="125" y="1057"/>
                  </a:lnTo>
                  <a:close/>
                  <a:moveTo>
                    <a:pt x="130" y="1057"/>
                  </a:moveTo>
                  <a:lnTo>
                    <a:pt x="128" y="1057"/>
                  </a:lnTo>
                  <a:lnTo>
                    <a:pt x="130" y="1057"/>
                  </a:lnTo>
                  <a:close/>
                  <a:moveTo>
                    <a:pt x="128" y="1057"/>
                  </a:moveTo>
                  <a:lnTo>
                    <a:pt x="125" y="1057"/>
                  </a:lnTo>
                  <a:lnTo>
                    <a:pt x="128" y="1057"/>
                  </a:lnTo>
                  <a:close/>
                  <a:moveTo>
                    <a:pt x="159" y="1057"/>
                  </a:moveTo>
                  <a:lnTo>
                    <a:pt x="159" y="1060"/>
                  </a:lnTo>
                  <a:lnTo>
                    <a:pt x="159" y="1057"/>
                  </a:lnTo>
                  <a:close/>
                  <a:moveTo>
                    <a:pt x="133" y="1057"/>
                  </a:moveTo>
                  <a:lnTo>
                    <a:pt x="130" y="1057"/>
                  </a:lnTo>
                  <a:lnTo>
                    <a:pt x="133" y="1057"/>
                  </a:lnTo>
                  <a:lnTo>
                    <a:pt x="130" y="1057"/>
                  </a:lnTo>
                  <a:lnTo>
                    <a:pt x="133" y="1057"/>
                  </a:lnTo>
                  <a:close/>
                  <a:moveTo>
                    <a:pt x="133" y="1057"/>
                  </a:moveTo>
                  <a:lnTo>
                    <a:pt x="130" y="1057"/>
                  </a:lnTo>
                  <a:lnTo>
                    <a:pt x="133" y="1057"/>
                  </a:lnTo>
                  <a:close/>
                  <a:moveTo>
                    <a:pt x="135" y="1055"/>
                  </a:moveTo>
                  <a:lnTo>
                    <a:pt x="135" y="1057"/>
                  </a:lnTo>
                  <a:lnTo>
                    <a:pt x="133" y="1057"/>
                  </a:lnTo>
                  <a:lnTo>
                    <a:pt x="133" y="1055"/>
                  </a:lnTo>
                  <a:lnTo>
                    <a:pt x="135" y="1055"/>
                  </a:lnTo>
                  <a:close/>
                  <a:moveTo>
                    <a:pt x="163" y="1055"/>
                  </a:moveTo>
                  <a:lnTo>
                    <a:pt x="161" y="1055"/>
                  </a:lnTo>
                  <a:lnTo>
                    <a:pt x="163" y="1055"/>
                  </a:lnTo>
                  <a:close/>
                  <a:moveTo>
                    <a:pt x="133" y="1055"/>
                  </a:moveTo>
                  <a:lnTo>
                    <a:pt x="135" y="1055"/>
                  </a:lnTo>
                  <a:lnTo>
                    <a:pt x="133" y="1055"/>
                  </a:lnTo>
                  <a:close/>
                  <a:moveTo>
                    <a:pt x="149" y="1055"/>
                  </a:moveTo>
                  <a:lnTo>
                    <a:pt x="152" y="1055"/>
                  </a:lnTo>
                  <a:lnTo>
                    <a:pt x="149" y="1055"/>
                  </a:lnTo>
                  <a:lnTo>
                    <a:pt x="149" y="1057"/>
                  </a:lnTo>
                  <a:lnTo>
                    <a:pt x="149" y="1055"/>
                  </a:lnTo>
                  <a:lnTo>
                    <a:pt x="149" y="1057"/>
                  </a:lnTo>
                  <a:lnTo>
                    <a:pt x="147" y="1057"/>
                  </a:lnTo>
                  <a:lnTo>
                    <a:pt x="147" y="1055"/>
                  </a:lnTo>
                  <a:lnTo>
                    <a:pt x="149" y="1055"/>
                  </a:lnTo>
                  <a:close/>
                  <a:moveTo>
                    <a:pt x="128" y="1055"/>
                  </a:moveTo>
                  <a:lnTo>
                    <a:pt x="125" y="1055"/>
                  </a:lnTo>
                  <a:lnTo>
                    <a:pt x="128" y="1055"/>
                  </a:lnTo>
                  <a:close/>
                  <a:moveTo>
                    <a:pt x="125" y="1053"/>
                  </a:moveTo>
                  <a:lnTo>
                    <a:pt x="125" y="1055"/>
                  </a:lnTo>
                  <a:lnTo>
                    <a:pt x="125" y="1053"/>
                  </a:lnTo>
                  <a:lnTo>
                    <a:pt x="125" y="1055"/>
                  </a:lnTo>
                  <a:lnTo>
                    <a:pt x="125" y="1053"/>
                  </a:lnTo>
                  <a:close/>
                  <a:moveTo>
                    <a:pt x="152" y="1053"/>
                  </a:moveTo>
                  <a:lnTo>
                    <a:pt x="152" y="1055"/>
                  </a:lnTo>
                  <a:lnTo>
                    <a:pt x="149" y="1055"/>
                  </a:lnTo>
                  <a:lnTo>
                    <a:pt x="149" y="1053"/>
                  </a:lnTo>
                  <a:lnTo>
                    <a:pt x="152" y="1053"/>
                  </a:lnTo>
                  <a:close/>
                  <a:moveTo>
                    <a:pt x="149" y="1055"/>
                  </a:moveTo>
                  <a:lnTo>
                    <a:pt x="147" y="1055"/>
                  </a:lnTo>
                  <a:lnTo>
                    <a:pt x="147" y="1053"/>
                  </a:lnTo>
                  <a:lnTo>
                    <a:pt x="149" y="1053"/>
                  </a:lnTo>
                  <a:lnTo>
                    <a:pt x="149" y="1055"/>
                  </a:lnTo>
                  <a:close/>
                  <a:moveTo>
                    <a:pt x="161" y="1053"/>
                  </a:moveTo>
                  <a:lnTo>
                    <a:pt x="161" y="1055"/>
                  </a:lnTo>
                  <a:lnTo>
                    <a:pt x="159" y="1055"/>
                  </a:lnTo>
                  <a:lnTo>
                    <a:pt x="161" y="1055"/>
                  </a:lnTo>
                  <a:lnTo>
                    <a:pt x="159" y="1055"/>
                  </a:lnTo>
                  <a:lnTo>
                    <a:pt x="159" y="1053"/>
                  </a:lnTo>
                  <a:lnTo>
                    <a:pt x="161" y="1053"/>
                  </a:lnTo>
                  <a:close/>
                  <a:moveTo>
                    <a:pt x="180" y="1050"/>
                  </a:moveTo>
                  <a:lnTo>
                    <a:pt x="178" y="1050"/>
                  </a:lnTo>
                  <a:lnTo>
                    <a:pt x="180" y="1050"/>
                  </a:lnTo>
                  <a:close/>
                  <a:moveTo>
                    <a:pt x="142" y="1050"/>
                  </a:moveTo>
                  <a:lnTo>
                    <a:pt x="144" y="1050"/>
                  </a:lnTo>
                  <a:lnTo>
                    <a:pt x="142" y="1050"/>
                  </a:lnTo>
                  <a:close/>
                  <a:moveTo>
                    <a:pt x="168" y="1050"/>
                  </a:moveTo>
                  <a:lnTo>
                    <a:pt x="168" y="1048"/>
                  </a:lnTo>
                  <a:lnTo>
                    <a:pt x="168" y="1050"/>
                  </a:lnTo>
                  <a:close/>
                  <a:moveTo>
                    <a:pt x="125" y="1048"/>
                  </a:moveTo>
                  <a:lnTo>
                    <a:pt x="125" y="1050"/>
                  </a:lnTo>
                  <a:lnTo>
                    <a:pt x="125" y="1048"/>
                  </a:lnTo>
                  <a:close/>
                  <a:moveTo>
                    <a:pt x="133" y="1050"/>
                  </a:moveTo>
                  <a:lnTo>
                    <a:pt x="133" y="1048"/>
                  </a:lnTo>
                  <a:lnTo>
                    <a:pt x="133" y="1050"/>
                  </a:lnTo>
                  <a:close/>
                  <a:moveTo>
                    <a:pt x="133" y="1048"/>
                  </a:moveTo>
                  <a:lnTo>
                    <a:pt x="133" y="1050"/>
                  </a:lnTo>
                  <a:lnTo>
                    <a:pt x="133" y="1048"/>
                  </a:lnTo>
                  <a:close/>
                  <a:moveTo>
                    <a:pt x="135" y="1048"/>
                  </a:moveTo>
                  <a:lnTo>
                    <a:pt x="135" y="1050"/>
                  </a:lnTo>
                  <a:lnTo>
                    <a:pt x="133" y="1050"/>
                  </a:lnTo>
                  <a:lnTo>
                    <a:pt x="133" y="1048"/>
                  </a:lnTo>
                  <a:lnTo>
                    <a:pt x="135" y="1048"/>
                  </a:lnTo>
                  <a:close/>
                  <a:moveTo>
                    <a:pt x="142" y="1048"/>
                  </a:moveTo>
                  <a:lnTo>
                    <a:pt x="140" y="1048"/>
                  </a:lnTo>
                  <a:lnTo>
                    <a:pt x="142" y="1048"/>
                  </a:lnTo>
                  <a:lnTo>
                    <a:pt x="140" y="1048"/>
                  </a:lnTo>
                  <a:lnTo>
                    <a:pt x="142" y="1048"/>
                  </a:lnTo>
                  <a:lnTo>
                    <a:pt x="140" y="1048"/>
                  </a:lnTo>
                  <a:lnTo>
                    <a:pt x="142" y="1048"/>
                  </a:lnTo>
                  <a:close/>
                  <a:moveTo>
                    <a:pt x="135" y="1048"/>
                  </a:moveTo>
                  <a:lnTo>
                    <a:pt x="133" y="1048"/>
                  </a:lnTo>
                  <a:lnTo>
                    <a:pt x="135" y="1048"/>
                  </a:lnTo>
                  <a:close/>
                  <a:moveTo>
                    <a:pt x="128" y="1045"/>
                  </a:moveTo>
                  <a:lnTo>
                    <a:pt x="128" y="1048"/>
                  </a:lnTo>
                  <a:lnTo>
                    <a:pt x="125" y="1048"/>
                  </a:lnTo>
                  <a:lnTo>
                    <a:pt x="125" y="1045"/>
                  </a:lnTo>
                  <a:lnTo>
                    <a:pt x="128" y="1045"/>
                  </a:lnTo>
                  <a:lnTo>
                    <a:pt x="125" y="1045"/>
                  </a:lnTo>
                  <a:lnTo>
                    <a:pt x="128" y="1045"/>
                  </a:lnTo>
                  <a:close/>
                  <a:moveTo>
                    <a:pt x="130" y="1045"/>
                  </a:moveTo>
                  <a:lnTo>
                    <a:pt x="130" y="1048"/>
                  </a:lnTo>
                  <a:lnTo>
                    <a:pt x="130" y="1045"/>
                  </a:lnTo>
                  <a:lnTo>
                    <a:pt x="130" y="1048"/>
                  </a:lnTo>
                  <a:lnTo>
                    <a:pt x="130" y="1045"/>
                  </a:lnTo>
                  <a:close/>
                  <a:moveTo>
                    <a:pt x="140" y="1045"/>
                  </a:moveTo>
                  <a:lnTo>
                    <a:pt x="140" y="1048"/>
                  </a:lnTo>
                  <a:lnTo>
                    <a:pt x="140" y="1045"/>
                  </a:lnTo>
                  <a:lnTo>
                    <a:pt x="140" y="1048"/>
                  </a:lnTo>
                  <a:lnTo>
                    <a:pt x="140" y="1045"/>
                  </a:lnTo>
                  <a:lnTo>
                    <a:pt x="140" y="1048"/>
                  </a:lnTo>
                  <a:lnTo>
                    <a:pt x="140" y="1045"/>
                  </a:lnTo>
                  <a:lnTo>
                    <a:pt x="140" y="1048"/>
                  </a:lnTo>
                  <a:lnTo>
                    <a:pt x="140" y="1050"/>
                  </a:lnTo>
                  <a:lnTo>
                    <a:pt x="140" y="1053"/>
                  </a:lnTo>
                  <a:lnTo>
                    <a:pt x="137" y="1053"/>
                  </a:lnTo>
                  <a:lnTo>
                    <a:pt x="135" y="1053"/>
                  </a:lnTo>
                  <a:lnTo>
                    <a:pt x="133" y="1053"/>
                  </a:lnTo>
                  <a:lnTo>
                    <a:pt x="133" y="1055"/>
                  </a:lnTo>
                  <a:lnTo>
                    <a:pt x="130" y="1055"/>
                  </a:lnTo>
                  <a:lnTo>
                    <a:pt x="133" y="1055"/>
                  </a:lnTo>
                  <a:lnTo>
                    <a:pt x="133" y="1053"/>
                  </a:lnTo>
                  <a:lnTo>
                    <a:pt x="130" y="1055"/>
                  </a:lnTo>
                  <a:lnTo>
                    <a:pt x="130" y="1053"/>
                  </a:lnTo>
                  <a:lnTo>
                    <a:pt x="130" y="1055"/>
                  </a:lnTo>
                  <a:lnTo>
                    <a:pt x="128" y="1055"/>
                  </a:lnTo>
                  <a:lnTo>
                    <a:pt x="128" y="1053"/>
                  </a:lnTo>
                  <a:lnTo>
                    <a:pt x="130" y="1053"/>
                  </a:lnTo>
                  <a:lnTo>
                    <a:pt x="133" y="1053"/>
                  </a:lnTo>
                  <a:lnTo>
                    <a:pt x="130" y="1053"/>
                  </a:lnTo>
                  <a:lnTo>
                    <a:pt x="128" y="1053"/>
                  </a:lnTo>
                  <a:lnTo>
                    <a:pt x="125" y="1053"/>
                  </a:lnTo>
                  <a:lnTo>
                    <a:pt x="128" y="1053"/>
                  </a:lnTo>
                  <a:lnTo>
                    <a:pt x="125" y="1055"/>
                  </a:lnTo>
                  <a:lnTo>
                    <a:pt x="125" y="1053"/>
                  </a:lnTo>
                  <a:lnTo>
                    <a:pt x="125" y="1055"/>
                  </a:lnTo>
                  <a:lnTo>
                    <a:pt x="123" y="1055"/>
                  </a:lnTo>
                  <a:lnTo>
                    <a:pt x="123" y="1053"/>
                  </a:lnTo>
                  <a:lnTo>
                    <a:pt x="123" y="1055"/>
                  </a:lnTo>
                  <a:lnTo>
                    <a:pt x="123" y="1053"/>
                  </a:lnTo>
                  <a:lnTo>
                    <a:pt x="121" y="1055"/>
                  </a:lnTo>
                  <a:lnTo>
                    <a:pt x="121" y="1053"/>
                  </a:lnTo>
                  <a:lnTo>
                    <a:pt x="123" y="1053"/>
                  </a:lnTo>
                  <a:lnTo>
                    <a:pt x="121" y="1053"/>
                  </a:lnTo>
                  <a:lnTo>
                    <a:pt x="123" y="1053"/>
                  </a:lnTo>
                  <a:lnTo>
                    <a:pt x="125" y="1053"/>
                  </a:lnTo>
                  <a:lnTo>
                    <a:pt x="128" y="1053"/>
                  </a:lnTo>
                  <a:lnTo>
                    <a:pt x="130" y="1053"/>
                  </a:lnTo>
                  <a:lnTo>
                    <a:pt x="130" y="1050"/>
                  </a:lnTo>
                  <a:lnTo>
                    <a:pt x="130" y="1053"/>
                  </a:lnTo>
                  <a:lnTo>
                    <a:pt x="130" y="1050"/>
                  </a:lnTo>
                  <a:lnTo>
                    <a:pt x="130" y="1053"/>
                  </a:lnTo>
                  <a:lnTo>
                    <a:pt x="133" y="1053"/>
                  </a:lnTo>
                  <a:lnTo>
                    <a:pt x="133" y="1050"/>
                  </a:lnTo>
                  <a:lnTo>
                    <a:pt x="130" y="1050"/>
                  </a:lnTo>
                  <a:lnTo>
                    <a:pt x="133" y="1050"/>
                  </a:lnTo>
                  <a:lnTo>
                    <a:pt x="135" y="1050"/>
                  </a:lnTo>
                  <a:lnTo>
                    <a:pt x="133" y="1050"/>
                  </a:lnTo>
                  <a:lnTo>
                    <a:pt x="135" y="1050"/>
                  </a:lnTo>
                  <a:lnTo>
                    <a:pt x="135" y="1048"/>
                  </a:lnTo>
                  <a:lnTo>
                    <a:pt x="137" y="1048"/>
                  </a:lnTo>
                  <a:lnTo>
                    <a:pt x="140" y="1048"/>
                  </a:lnTo>
                  <a:lnTo>
                    <a:pt x="137" y="1048"/>
                  </a:lnTo>
                  <a:lnTo>
                    <a:pt x="135" y="1048"/>
                  </a:lnTo>
                  <a:lnTo>
                    <a:pt x="137" y="1048"/>
                  </a:lnTo>
                  <a:lnTo>
                    <a:pt x="135" y="1048"/>
                  </a:lnTo>
                  <a:lnTo>
                    <a:pt x="137" y="1048"/>
                  </a:lnTo>
                  <a:lnTo>
                    <a:pt x="135" y="1048"/>
                  </a:lnTo>
                  <a:lnTo>
                    <a:pt x="133" y="1048"/>
                  </a:lnTo>
                  <a:lnTo>
                    <a:pt x="135" y="1048"/>
                  </a:lnTo>
                  <a:lnTo>
                    <a:pt x="133" y="1048"/>
                  </a:lnTo>
                  <a:lnTo>
                    <a:pt x="135" y="1048"/>
                  </a:lnTo>
                  <a:lnTo>
                    <a:pt x="135" y="1045"/>
                  </a:lnTo>
                  <a:lnTo>
                    <a:pt x="135" y="1048"/>
                  </a:lnTo>
                  <a:lnTo>
                    <a:pt x="135" y="1045"/>
                  </a:lnTo>
                  <a:lnTo>
                    <a:pt x="135" y="1048"/>
                  </a:lnTo>
                  <a:lnTo>
                    <a:pt x="135" y="1045"/>
                  </a:lnTo>
                  <a:lnTo>
                    <a:pt x="135" y="1048"/>
                  </a:lnTo>
                  <a:lnTo>
                    <a:pt x="135" y="1045"/>
                  </a:lnTo>
                  <a:lnTo>
                    <a:pt x="137" y="1045"/>
                  </a:lnTo>
                  <a:lnTo>
                    <a:pt x="137" y="1048"/>
                  </a:lnTo>
                  <a:lnTo>
                    <a:pt x="135" y="1048"/>
                  </a:lnTo>
                  <a:lnTo>
                    <a:pt x="137" y="1048"/>
                  </a:lnTo>
                  <a:lnTo>
                    <a:pt x="135" y="1048"/>
                  </a:lnTo>
                  <a:lnTo>
                    <a:pt x="137" y="1048"/>
                  </a:lnTo>
                  <a:lnTo>
                    <a:pt x="137" y="1045"/>
                  </a:lnTo>
                  <a:lnTo>
                    <a:pt x="137" y="1048"/>
                  </a:lnTo>
                  <a:lnTo>
                    <a:pt x="137" y="1045"/>
                  </a:lnTo>
                  <a:lnTo>
                    <a:pt x="140" y="1045"/>
                  </a:lnTo>
                  <a:lnTo>
                    <a:pt x="137" y="1045"/>
                  </a:lnTo>
                  <a:lnTo>
                    <a:pt x="140" y="1045"/>
                  </a:lnTo>
                  <a:close/>
                  <a:moveTo>
                    <a:pt x="218" y="1045"/>
                  </a:moveTo>
                  <a:lnTo>
                    <a:pt x="220" y="1045"/>
                  </a:lnTo>
                  <a:lnTo>
                    <a:pt x="218" y="1048"/>
                  </a:lnTo>
                  <a:lnTo>
                    <a:pt x="216" y="1048"/>
                  </a:lnTo>
                  <a:lnTo>
                    <a:pt x="216" y="1045"/>
                  </a:lnTo>
                  <a:lnTo>
                    <a:pt x="216" y="1048"/>
                  </a:lnTo>
                  <a:lnTo>
                    <a:pt x="213" y="1048"/>
                  </a:lnTo>
                  <a:lnTo>
                    <a:pt x="213" y="1050"/>
                  </a:lnTo>
                  <a:lnTo>
                    <a:pt x="211" y="1050"/>
                  </a:lnTo>
                  <a:lnTo>
                    <a:pt x="211" y="1048"/>
                  </a:lnTo>
                  <a:lnTo>
                    <a:pt x="213" y="1048"/>
                  </a:lnTo>
                  <a:lnTo>
                    <a:pt x="213" y="1045"/>
                  </a:lnTo>
                  <a:lnTo>
                    <a:pt x="213" y="1048"/>
                  </a:lnTo>
                  <a:lnTo>
                    <a:pt x="213" y="1045"/>
                  </a:lnTo>
                  <a:lnTo>
                    <a:pt x="213" y="1048"/>
                  </a:lnTo>
                  <a:lnTo>
                    <a:pt x="216" y="1045"/>
                  </a:lnTo>
                  <a:lnTo>
                    <a:pt x="218" y="1045"/>
                  </a:lnTo>
                  <a:close/>
                  <a:moveTo>
                    <a:pt x="135" y="1045"/>
                  </a:moveTo>
                  <a:lnTo>
                    <a:pt x="137" y="1045"/>
                  </a:lnTo>
                  <a:lnTo>
                    <a:pt x="135" y="1045"/>
                  </a:lnTo>
                  <a:close/>
                  <a:moveTo>
                    <a:pt x="159" y="1045"/>
                  </a:moveTo>
                  <a:lnTo>
                    <a:pt x="161" y="1045"/>
                  </a:lnTo>
                  <a:lnTo>
                    <a:pt x="159" y="1045"/>
                  </a:lnTo>
                  <a:lnTo>
                    <a:pt x="161" y="1045"/>
                  </a:lnTo>
                  <a:lnTo>
                    <a:pt x="159" y="1045"/>
                  </a:lnTo>
                  <a:lnTo>
                    <a:pt x="161" y="1045"/>
                  </a:lnTo>
                  <a:lnTo>
                    <a:pt x="161" y="1048"/>
                  </a:lnTo>
                  <a:lnTo>
                    <a:pt x="159" y="1048"/>
                  </a:lnTo>
                  <a:lnTo>
                    <a:pt x="161" y="1048"/>
                  </a:lnTo>
                  <a:lnTo>
                    <a:pt x="159" y="1048"/>
                  </a:lnTo>
                  <a:lnTo>
                    <a:pt x="156" y="1048"/>
                  </a:lnTo>
                  <a:lnTo>
                    <a:pt x="159" y="1048"/>
                  </a:lnTo>
                  <a:lnTo>
                    <a:pt x="159" y="1045"/>
                  </a:lnTo>
                  <a:lnTo>
                    <a:pt x="159" y="1048"/>
                  </a:lnTo>
                  <a:lnTo>
                    <a:pt x="159" y="1045"/>
                  </a:lnTo>
                  <a:close/>
                  <a:moveTo>
                    <a:pt x="161" y="1045"/>
                  </a:moveTo>
                  <a:lnTo>
                    <a:pt x="163" y="1045"/>
                  </a:lnTo>
                  <a:lnTo>
                    <a:pt x="161" y="1045"/>
                  </a:lnTo>
                  <a:close/>
                  <a:moveTo>
                    <a:pt x="128" y="1045"/>
                  </a:moveTo>
                  <a:lnTo>
                    <a:pt x="128" y="1043"/>
                  </a:lnTo>
                  <a:lnTo>
                    <a:pt x="128" y="1045"/>
                  </a:lnTo>
                  <a:close/>
                  <a:moveTo>
                    <a:pt x="135" y="1043"/>
                  </a:moveTo>
                  <a:lnTo>
                    <a:pt x="133" y="1043"/>
                  </a:lnTo>
                  <a:lnTo>
                    <a:pt x="135" y="1043"/>
                  </a:lnTo>
                  <a:lnTo>
                    <a:pt x="133" y="1043"/>
                  </a:lnTo>
                  <a:lnTo>
                    <a:pt x="135" y="1043"/>
                  </a:lnTo>
                  <a:close/>
                  <a:moveTo>
                    <a:pt x="135" y="1043"/>
                  </a:moveTo>
                  <a:lnTo>
                    <a:pt x="133" y="1043"/>
                  </a:lnTo>
                  <a:lnTo>
                    <a:pt x="135" y="1043"/>
                  </a:lnTo>
                  <a:lnTo>
                    <a:pt x="133" y="1043"/>
                  </a:lnTo>
                  <a:lnTo>
                    <a:pt x="135" y="1043"/>
                  </a:lnTo>
                  <a:close/>
                  <a:moveTo>
                    <a:pt x="171" y="1043"/>
                  </a:moveTo>
                  <a:lnTo>
                    <a:pt x="168" y="1043"/>
                  </a:lnTo>
                  <a:lnTo>
                    <a:pt x="171" y="1043"/>
                  </a:lnTo>
                  <a:close/>
                  <a:moveTo>
                    <a:pt x="135" y="1043"/>
                  </a:moveTo>
                  <a:lnTo>
                    <a:pt x="133" y="1043"/>
                  </a:lnTo>
                  <a:lnTo>
                    <a:pt x="135" y="1043"/>
                  </a:lnTo>
                  <a:close/>
                  <a:moveTo>
                    <a:pt x="178" y="1043"/>
                  </a:moveTo>
                  <a:lnTo>
                    <a:pt x="175" y="1043"/>
                  </a:lnTo>
                  <a:lnTo>
                    <a:pt x="178" y="1043"/>
                  </a:lnTo>
                  <a:lnTo>
                    <a:pt x="178" y="1041"/>
                  </a:lnTo>
                  <a:lnTo>
                    <a:pt x="178" y="1043"/>
                  </a:lnTo>
                  <a:close/>
                  <a:moveTo>
                    <a:pt x="173" y="1041"/>
                  </a:moveTo>
                  <a:lnTo>
                    <a:pt x="171" y="1043"/>
                  </a:lnTo>
                  <a:lnTo>
                    <a:pt x="171" y="1041"/>
                  </a:lnTo>
                  <a:lnTo>
                    <a:pt x="173" y="1041"/>
                  </a:lnTo>
                  <a:close/>
                  <a:moveTo>
                    <a:pt x="175" y="1041"/>
                  </a:moveTo>
                  <a:lnTo>
                    <a:pt x="173" y="1041"/>
                  </a:lnTo>
                  <a:lnTo>
                    <a:pt x="173" y="1043"/>
                  </a:lnTo>
                  <a:lnTo>
                    <a:pt x="173" y="1041"/>
                  </a:lnTo>
                  <a:lnTo>
                    <a:pt x="175" y="1041"/>
                  </a:lnTo>
                  <a:close/>
                  <a:moveTo>
                    <a:pt x="171" y="1038"/>
                  </a:moveTo>
                  <a:lnTo>
                    <a:pt x="171" y="1041"/>
                  </a:lnTo>
                  <a:lnTo>
                    <a:pt x="171" y="1038"/>
                  </a:lnTo>
                  <a:close/>
                  <a:moveTo>
                    <a:pt x="142" y="1038"/>
                  </a:moveTo>
                  <a:lnTo>
                    <a:pt x="142" y="1041"/>
                  </a:lnTo>
                  <a:lnTo>
                    <a:pt x="142" y="1038"/>
                  </a:lnTo>
                  <a:lnTo>
                    <a:pt x="142" y="1041"/>
                  </a:lnTo>
                  <a:lnTo>
                    <a:pt x="142" y="1038"/>
                  </a:lnTo>
                  <a:close/>
                  <a:moveTo>
                    <a:pt x="175" y="1038"/>
                  </a:moveTo>
                  <a:lnTo>
                    <a:pt x="178" y="1038"/>
                  </a:lnTo>
                  <a:lnTo>
                    <a:pt x="178" y="1041"/>
                  </a:lnTo>
                  <a:lnTo>
                    <a:pt x="175" y="1041"/>
                  </a:lnTo>
                  <a:lnTo>
                    <a:pt x="175" y="1038"/>
                  </a:lnTo>
                  <a:close/>
                  <a:moveTo>
                    <a:pt x="147" y="1036"/>
                  </a:moveTo>
                  <a:lnTo>
                    <a:pt x="147" y="1038"/>
                  </a:lnTo>
                  <a:lnTo>
                    <a:pt x="147" y="1036"/>
                  </a:lnTo>
                  <a:close/>
                  <a:moveTo>
                    <a:pt x="149" y="1036"/>
                  </a:moveTo>
                  <a:lnTo>
                    <a:pt x="149" y="1038"/>
                  </a:lnTo>
                  <a:lnTo>
                    <a:pt x="149" y="1036"/>
                  </a:lnTo>
                  <a:close/>
                  <a:moveTo>
                    <a:pt x="149" y="1036"/>
                  </a:moveTo>
                  <a:lnTo>
                    <a:pt x="147" y="1036"/>
                  </a:lnTo>
                  <a:lnTo>
                    <a:pt x="149" y="1038"/>
                  </a:lnTo>
                  <a:lnTo>
                    <a:pt x="147" y="1038"/>
                  </a:lnTo>
                  <a:lnTo>
                    <a:pt x="147" y="1036"/>
                  </a:lnTo>
                  <a:lnTo>
                    <a:pt x="149" y="1036"/>
                  </a:lnTo>
                  <a:lnTo>
                    <a:pt x="147" y="1036"/>
                  </a:lnTo>
                  <a:lnTo>
                    <a:pt x="149" y="1036"/>
                  </a:lnTo>
                  <a:close/>
                  <a:moveTo>
                    <a:pt x="152" y="1036"/>
                  </a:moveTo>
                  <a:lnTo>
                    <a:pt x="149" y="1036"/>
                  </a:lnTo>
                  <a:lnTo>
                    <a:pt x="152" y="1036"/>
                  </a:lnTo>
                  <a:close/>
                  <a:moveTo>
                    <a:pt x="152" y="1036"/>
                  </a:moveTo>
                  <a:lnTo>
                    <a:pt x="149" y="1036"/>
                  </a:lnTo>
                  <a:lnTo>
                    <a:pt x="152" y="1036"/>
                  </a:lnTo>
                  <a:close/>
                  <a:moveTo>
                    <a:pt x="175" y="1036"/>
                  </a:moveTo>
                  <a:lnTo>
                    <a:pt x="173" y="1036"/>
                  </a:lnTo>
                  <a:lnTo>
                    <a:pt x="175" y="1036"/>
                  </a:lnTo>
                  <a:lnTo>
                    <a:pt x="173" y="1036"/>
                  </a:lnTo>
                  <a:lnTo>
                    <a:pt x="175" y="1036"/>
                  </a:lnTo>
                  <a:close/>
                  <a:moveTo>
                    <a:pt x="154" y="1034"/>
                  </a:moveTo>
                  <a:lnTo>
                    <a:pt x="152" y="1034"/>
                  </a:lnTo>
                  <a:lnTo>
                    <a:pt x="154" y="1034"/>
                  </a:lnTo>
                  <a:lnTo>
                    <a:pt x="152" y="1034"/>
                  </a:lnTo>
                  <a:lnTo>
                    <a:pt x="154" y="1034"/>
                  </a:lnTo>
                  <a:close/>
                  <a:moveTo>
                    <a:pt x="152" y="1034"/>
                  </a:moveTo>
                  <a:lnTo>
                    <a:pt x="149" y="1034"/>
                  </a:lnTo>
                  <a:lnTo>
                    <a:pt x="152" y="1034"/>
                  </a:lnTo>
                  <a:close/>
                  <a:moveTo>
                    <a:pt x="175" y="1034"/>
                  </a:moveTo>
                  <a:lnTo>
                    <a:pt x="178" y="1034"/>
                  </a:lnTo>
                  <a:lnTo>
                    <a:pt x="178" y="1036"/>
                  </a:lnTo>
                  <a:lnTo>
                    <a:pt x="175" y="1036"/>
                  </a:lnTo>
                  <a:lnTo>
                    <a:pt x="173" y="1036"/>
                  </a:lnTo>
                  <a:lnTo>
                    <a:pt x="173" y="1034"/>
                  </a:lnTo>
                  <a:lnTo>
                    <a:pt x="173" y="1036"/>
                  </a:lnTo>
                  <a:lnTo>
                    <a:pt x="175" y="1034"/>
                  </a:lnTo>
                  <a:lnTo>
                    <a:pt x="175" y="1036"/>
                  </a:lnTo>
                  <a:lnTo>
                    <a:pt x="175" y="1034"/>
                  </a:lnTo>
                  <a:lnTo>
                    <a:pt x="173" y="1034"/>
                  </a:lnTo>
                  <a:lnTo>
                    <a:pt x="175" y="1034"/>
                  </a:lnTo>
                  <a:close/>
                  <a:moveTo>
                    <a:pt x="178" y="1031"/>
                  </a:moveTo>
                  <a:lnTo>
                    <a:pt x="180" y="1031"/>
                  </a:lnTo>
                  <a:lnTo>
                    <a:pt x="180" y="1034"/>
                  </a:lnTo>
                  <a:lnTo>
                    <a:pt x="178" y="1034"/>
                  </a:lnTo>
                  <a:lnTo>
                    <a:pt x="178" y="1031"/>
                  </a:lnTo>
                  <a:lnTo>
                    <a:pt x="175" y="1031"/>
                  </a:lnTo>
                  <a:lnTo>
                    <a:pt x="178" y="1031"/>
                  </a:lnTo>
                  <a:lnTo>
                    <a:pt x="175" y="1031"/>
                  </a:lnTo>
                  <a:lnTo>
                    <a:pt x="178" y="1031"/>
                  </a:lnTo>
                  <a:close/>
                  <a:moveTo>
                    <a:pt x="182" y="1029"/>
                  </a:moveTo>
                  <a:lnTo>
                    <a:pt x="180" y="1029"/>
                  </a:lnTo>
                  <a:lnTo>
                    <a:pt x="182" y="1029"/>
                  </a:lnTo>
                  <a:lnTo>
                    <a:pt x="182" y="1026"/>
                  </a:lnTo>
                  <a:lnTo>
                    <a:pt x="182" y="1029"/>
                  </a:lnTo>
                  <a:close/>
                  <a:moveTo>
                    <a:pt x="180" y="1026"/>
                  </a:moveTo>
                  <a:lnTo>
                    <a:pt x="180" y="1029"/>
                  </a:lnTo>
                  <a:lnTo>
                    <a:pt x="180" y="1026"/>
                  </a:lnTo>
                  <a:lnTo>
                    <a:pt x="180" y="1029"/>
                  </a:lnTo>
                  <a:lnTo>
                    <a:pt x="180" y="1026"/>
                  </a:lnTo>
                  <a:close/>
                  <a:moveTo>
                    <a:pt x="185" y="1026"/>
                  </a:moveTo>
                  <a:lnTo>
                    <a:pt x="182" y="1026"/>
                  </a:lnTo>
                  <a:lnTo>
                    <a:pt x="185" y="1026"/>
                  </a:lnTo>
                  <a:close/>
                  <a:moveTo>
                    <a:pt x="180" y="1024"/>
                  </a:moveTo>
                  <a:lnTo>
                    <a:pt x="180" y="1026"/>
                  </a:lnTo>
                  <a:lnTo>
                    <a:pt x="178" y="1026"/>
                  </a:lnTo>
                  <a:lnTo>
                    <a:pt x="180" y="1026"/>
                  </a:lnTo>
                  <a:lnTo>
                    <a:pt x="180" y="1024"/>
                  </a:lnTo>
                  <a:close/>
                  <a:moveTo>
                    <a:pt x="182" y="1024"/>
                  </a:moveTo>
                  <a:lnTo>
                    <a:pt x="180" y="1024"/>
                  </a:lnTo>
                  <a:lnTo>
                    <a:pt x="182" y="1024"/>
                  </a:lnTo>
                  <a:close/>
                  <a:moveTo>
                    <a:pt x="182" y="1024"/>
                  </a:moveTo>
                  <a:lnTo>
                    <a:pt x="180" y="1024"/>
                  </a:lnTo>
                  <a:lnTo>
                    <a:pt x="182" y="1024"/>
                  </a:lnTo>
                  <a:close/>
                  <a:moveTo>
                    <a:pt x="187" y="1022"/>
                  </a:moveTo>
                  <a:lnTo>
                    <a:pt x="185" y="1022"/>
                  </a:lnTo>
                  <a:lnTo>
                    <a:pt x="187" y="1022"/>
                  </a:lnTo>
                  <a:close/>
                  <a:moveTo>
                    <a:pt x="189" y="1022"/>
                  </a:moveTo>
                  <a:lnTo>
                    <a:pt x="187" y="1022"/>
                  </a:lnTo>
                  <a:lnTo>
                    <a:pt x="189" y="1019"/>
                  </a:lnTo>
                  <a:lnTo>
                    <a:pt x="189" y="1022"/>
                  </a:lnTo>
                  <a:close/>
                  <a:moveTo>
                    <a:pt x="187" y="1019"/>
                  </a:moveTo>
                  <a:lnTo>
                    <a:pt x="185" y="1019"/>
                  </a:lnTo>
                  <a:lnTo>
                    <a:pt x="187" y="1019"/>
                  </a:lnTo>
                  <a:close/>
                  <a:moveTo>
                    <a:pt x="189" y="1019"/>
                  </a:moveTo>
                  <a:lnTo>
                    <a:pt x="187" y="1019"/>
                  </a:lnTo>
                  <a:lnTo>
                    <a:pt x="189" y="1019"/>
                  </a:lnTo>
                  <a:lnTo>
                    <a:pt x="187" y="1019"/>
                  </a:lnTo>
                  <a:lnTo>
                    <a:pt x="189" y="1019"/>
                  </a:lnTo>
                  <a:close/>
                  <a:moveTo>
                    <a:pt x="189" y="1017"/>
                  </a:moveTo>
                  <a:lnTo>
                    <a:pt x="187" y="1017"/>
                  </a:lnTo>
                  <a:lnTo>
                    <a:pt x="189" y="1017"/>
                  </a:lnTo>
                  <a:close/>
                  <a:moveTo>
                    <a:pt x="192" y="1017"/>
                  </a:moveTo>
                  <a:lnTo>
                    <a:pt x="189" y="1017"/>
                  </a:lnTo>
                  <a:lnTo>
                    <a:pt x="192" y="1017"/>
                  </a:lnTo>
                  <a:lnTo>
                    <a:pt x="189" y="1017"/>
                  </a:lnTo>
                  <a:lnTo>
                    <a:pt x="192" y="1017"/>
                  </a:lnTo>
                  <a:close/>
                  <a:moveTo>
                    <a:pt x="192" y="1017"/>
                  </a:moveTo>
                  <a:lnTo>
                    <a:pt x="194" y="1017"/>
                  </a:lnTo>
                  <a:lnTo>
                    <a:pt x="192" y="1017"/>
                  </a:lnTo>
                  <a:close/>
                  <a:moveTo>
                    <a:pt x="194" y="1015"/>
                  </a:moveTo>
                  <a:lnTo>
                    <a:pt x="192" y="1015"/>
                  </a:lnTo>
                  <a:lnTo>
                    <a:pt x="194" y="1015"/>
                  </a:lnTo>
                  <a:close/>
                  <a:moveTo>
                    <a:pt x="223" y="1012"/>
                  </a:moveTo>
                  <a:lnTo>
                    <a:pt x="223" y="1015"/>
                  </a:lnTo>
                  <a:lnTo>
                    <a:pt x="223" y="1012"/>
                  </a:lnTo>
                  <a:close/>
                  <a:moveTo>
                    <a:pt x="220" y="1007"/>
                  </a:moveTo>
                  <a:lnTo>
                    <a:pt x="220" y="1010"/>
                  </a:lnTo>
                  <a:lnTo>
                    <a:pt x="220" y="1007"/>
                  </a:lnTo>
                  <a:lnTo>
                    <a:pt x="220" y="1010"/>
                  </a:lnTo>
                  <a:lnTo>
                    <a:pt x="218" y="1010"/>
                  </a:lnTo>
                  <a:lnTo>
                    <a:pt x="218" y="1007"/>
                  </a:lnTo>
                  <a:lnTo>
                    <a:pt x="220" y="1007"/>
                  </a:lnTo>
                  <a:close/>
                  <a:moveTo>
                    <a:pt x="204" y="1007"/>
                  </a:moveTo>
                  <a:lnTo>
                    <a:pt x="201" y="1007"/>
                  </a:lnTo>
                  <a:lnTo>
                    <a:pt x="204" y="1007"/>
                  </a:lnTo>
                  <a:close/>
                  <a:moveTo>
                    <a:pt x="204" y="1007"/>
                  </a:moveTo>
                  <a:lnTo>
                    <a:pt x="201" y="1007"/>
                  </a:lnTo>
                  <a:lnTo>
                    <a:pt x="204" y="1007"/>
                  </a:lnTo>
                  <a:close/>
                  <a:moveTo>
                    <a:pt x="208" y="1005"/>
                  </a:moveTo>
                  <a:lnTo>
                    <a:pt x="208" y="1007"/>
                  </a:lnTo>
                  <a:lnTo>
                    <a:pt x="206" y="1007"/>
                  </a:lnTo>
                  <a:lnTo>
                    <a:pt x="206" y="1005"/>
                  </a:lnTo>
                  <a:lnTo>
                    <a:pt x="208" y="1005"/>
                  </a:lnTo>
                  <a:close/>
                  <a:moveTo>
                    <a:pt x="199" y="1007"/>
                  </a:moveTo>
                  <a:lnTo>
                    <a:pt x="199" y="1005"/>
                  </a:lnTo>
                  <a:lnTo>
                    <a:pt x="201" y="1007"/>
                  </a:lnTo>
                  <a:lnTo>
                    <a:pt x="199" y="1007"/>
                  </a:lnTo>
                  <a:close/>
                  <a:moveTo>
                    <a:pt x="204" y="1005"/>
                  </a:moveTo>
                  <a:lnTo>
                    <a:pt x="204" y="1007"/>
                  </a:lnTo>
                  <a:lnTo>
                    <a:pt x="201" y="1007"/>
                  </a:lnTo>
                  <a:lnTo>
                    <a:pt x="201" y="1005"/>
                  </a:lnTo>
                  <a:lnTo>
                    <a:pt x="201" y="1007"/>
                  </a:lnTo>
                  <a:lnTo>
                    <a:pt x="201" y="1005"/>
                  </a:lnTo>
                  <a:lnTo>
                    <a:pt x="201" y="1007"/>
                  </a:lnTo>
                  <a:lnTo>
                    <a:pt x="201" y="1005"/>
                  </a:lnTo>
                  <a:lnTo>
                    <a:pt x="204" y="1005"/>
                  </a:lnTo>
                  <a:lnTo>
                    <a:pt x="201" y="1005"/>
                  </a:lnTo>
                  <a:lnTo>
                    <a:pt x="204" y="1005"/>
                  </a:lnTo>
                  <a:close/>
                  <a:moveTo>
                    <a:pt x="206" y="1007"/>
                  </a:moveTo>
                  <a:lnTo>
                    <a:pt x="204" y="1007"/>
                  </a:lnTo>
                  <a:lnTo>
                    <a:pt x="204" y="1005"/>
                  </a:lnTo>
                  <a:lnTo>
                    <a:pt x="206" y="1005"/>
                  </a:lnTo>
                  <a:lnTo>
                    <a:pt x="206" y="1007"/>
                  </a:lnTo>
                  <a:close/>
                  <a:moveTo>
                    <a:pt x="208" y="1005"/>
                  </a:moveTo>
                  <a:lnTo>
                    <a:pt x="206" y="1005"/>
                  </a:lnTo>
                  <a:lnTo>
                    <a:pt x="208" y="1005"/>
                  </a:lnTo>
                  <a:close/>
                  <a:moveTo>
                    <a:pt x="206" y="1003"/>
                  </a:moveTo>
                  <a:lnTo>
                    <a:pt x="206" y="1005"/>
                  </a:lnTo>
                  <a:lnTo>
                    <a:pt x="206" y="1003"/>
                  </a:lnTo>
                  <a:lnTo>
                    <a:pt x="208" y="1003"/>
                  </a:lnTo>
                  <a:lnTo>
                    <a:pt x="208" y="1005"/>
                  </a:lnTo>
                  <a:lnTo>
                    <a:pt x="206" y="1005"/>
                  </a:lnTo>
                  <a:lnTo>
                    <a:pt x="204" y="1005"/>
                  </a:lnTo>
                  <a:lnTo>
                    <a:pt x="204" y="1003"/>
                  </a:lnTo>
                  <a:lnTo>
                    <a:pt x="204" y="1005"/>
                  </a:lnTo>
                  <a:lnTo>
                    <a:pt x="204" y="1003"/>
                  </a:lnTo>
                  <a:lnTo>
                    <a:pt x="206" y="1003"/>
                  </a:lnTo>
                  <a:close/>
                  <a:moveTo>
                    <a:pt x="206" y="1003"/>
                  </a:moveTo>
                  <a:lnTo>
                    <a:pt x="204" y="1003"/>
                  </a:lnTo>
                  <a:lnTo>
                    <a:pt x="206" y="1003"/>
                  </a:lnTo>
                  <a:close/>
                  <a:moveTo>
                    <a:pt x="206" y="1003"/>
                  </a:moveTo>
                  <a:lnTo>
                    <a:pt x="204" y="1003"/>
                  </a:lnTo>
                  <a:lnTo>
                    <a:pt x="206" y="1003"/>
                  </a:lnTo>
                  <a:close/>
                  <a:moveTo>
                    <a:pt x="208" y="1000"/>
                  </a:moveTo>
                  <a:lnTo>
                    <a:pt x="208" y="1003"/>
                  </a:lnTo>
                  <a:lnTo>
                    <a:pt x="206" y="1003"/>
                  </a:lnTo>
                  <a:lnTo>
                    <a:pt x="208" y="1003"/>
                  </a:lnTo>
                  <a:lnTo>
                    <a:pt x="208" y="1000"/>
                  </a:lnTo>
                  <a:lnTo>
                    <a:pt x="208" y="1003"/>
                  </a:lnTo>
                  <a:lnTo>
                    <a:pt x="208" y="1000"/>
                  </a:lnTo>
                  <a:lnTo>
                    <a:pt x="208" y="1003"/>
                  </a:lnTo>
                  <a:lnTo>
                    <a:pt x="208" y="1000"/>
                  </a:lnTo>
                  <a:close/>
                  <a:moveTo>
                    <a:pt x="208" y="1003"/>
                  </a:moveTo>
                  <a:lnTo>
                    <a:pt x="208" y="1000"/>
                  </a:lnTo>
                  <a:lnTo>
                    <a:pt x="208" y="1003"/>
                  </a:lnTo>
                  <a:close/>
                  <a:moveTo>
                    <a:pt x="216" y="1000"/>
                  </a:moveTo>
                  <a:lnTo>
                    <a:pt x="218" y="1000"/>
                  </a:lnTo>
                  <a:lnTo>
                    <a:pt x="216" y="1000"/>
                  </a:lnTo>
                  <a:lnTo>
                    <a:pt x="218" y="1000"/>
                  </a:lnTo>
                  <a:lnTo>
                    <a:pt x="220" y="1000"/>
                  </a:lnTo>
                  <a:lnTo>
                    <a:pt x="218" y="1000"/>
                  </a:lnTo>
                  <a:lnTo>
                    <a:pt x="220" y="1000"/>
                  </a:lnTo>
                  <a:lnTo>
                    <a:pt x="220" y="1003"/>
                  </a:lnTo>
                  <a:lnTo>
                    <a:pt x="220" y="1005"/>
                  </a:lnTo>
                  <a:lnTo>
                    <a:pt x="223" y="1005"/>
                  </a:lnTo>
                  <a:lnTo>
                    <a:pt x="225" y="1005"/>
                  </a:lnTo>
                  <a:lnTo>
                    <a:pt x="227" y="1005"/>
                  </a:lnTo>
                  <a:lnTo>
                    <a:pt x="227" y="1007"/>
                  </a:lnTo>
                  <a:lnTo>
                    <a:pt x="225" y="1007"/>
                  </a:lnTo>
                  <a:lnTo>
                    <a:pt x="225" y="1010"/>
                  </a:lnTo>
                  <a:lnTo>
                    <a:pt x="225" y="1007"/>
                  </a:lnTo>
                  <a:lnTo>
                    <a:pt x="223" y="1010"/>
                  </a:lnTo>
                  <a:lnTo>
                    <a:pt x="223" y="1007"/>
                  </a:lnTo>
                  <a:lnTo>
                    <a:pt x="223" y="1010"/>
                  </a:lnTo>
                  <a:lnTo>
                    <a:pt x="223" y="1007"/>
                  </a:lnTo>
                  <a:lnTo>
                    <a:pt x="223" y="1010"/>
                  </a:lnTo>
                  <a:lnTo>
                    <a:pt x="223" y="1007"/>
                  </a:lnTo>
                  <a:lnTo>
                    <a:pt x="220" y="1007"/>
                  </a:lnTo>
                  <a:lnTo>
                    <a:pt x="218" y="1007"/>
                  </a:lnTo>
                  <a:lnTo>
                    <a:pt x="216" y="1005"/>
                  </a:lnTo>
                  <a:lnTo>
                    <a:pt x="216" y="1003"/>
                  </a:lnTo>
                  <a:lnTo>
                    <a:pt x="218" y="1003"/>
                  </a:lnTo>
                  <a:lnTo>
                    <a:pt x="218" y="1005"/>
                  </a:lnTo>
                  <a:lnTo>
                    <a:pt x="220" y="1003"/>
                  </a:lnTo>
                  <a:lnTo>
                    <a:pt x="218" y="1003"/>
                  </a:lnTo>
                  <a:lnTo>
                    <a:pt x="220" y="1003"/>
                  </a:lnTo>
                  <a:lnTo>
                    <a:pt x="218" y="1003"/>
                  </a:lnTo>
                  <a:lnTo>
                    <a:pt x="216" y="1003"/>
                  </a:lnTo>
                  <a:lnTo>
                    <a:pt x="213" y="1003"/>
                  </a:lnTo>
                  <a:lnTo>
                    <a:pt x="213" y="1000"/>
                  </a:lnTo>
                  <a:lnTo>
                    <a:pt x="216" y="1000"/>
                  </a:lnTo>
                  <a:lnTo>
                    <a:pt x="216" y="998"/>
                  </a:lnTo>
                  <a:lnTo>
                    <a:pt x="216" y="1000"/>
                  </a:lnTo>
                  <a:close/>
                  <a:moveTo>
                    <a:pt x="223" y="998"/>
                  </a:moveTo>
                  <a:lnTo>
                    <a:pt x="220" y="998"/>
                  </a:lnTo>
                  <a:lnTo>
                    <a:pt x="223" y="998"/>
                  </a:lnTo>
                  <a:lnTo>
                    <a:pt x="223" y="1000"/>
                  </a:lnTo>
                  <a:lnTo>
                    <a:pt x="223" y="1003"/>
                  </a:lnTo>
                  <a:lnTo>
                    <a:pt x="220" y="1003"/>
                  </a:lnTo>
                  <a:lnTo>
                    <a:pt x="220" y="1000"/>
                  </a:lnTo>
                  <a:lnTo>
                    <a:pt x="218" y="1000"/>
                  </a:lnTo>
                  <a:lnTo>
                    <a:pt x="218" y="998"/>
                  </a:lnTo>
                  <a:lnTo>
                    <a:pt x="216" y="998"/>
                  </a:lnTo>
                  <a:lnTo>
                    <a:pt x="218" y="998"/>
                  </a:lnTo>
                  <a:lnTo>
                    <a:pt x="220" y="998"/>
                  </a:lnTo>
                  <a:lnTo>
                    <a:pt x="223" y="998"/>
                  </a:lnTo>
                  <a:close/>
                  <a:moveTo>
                    <a:pt x="218" y="996"/>
                  </a:moveTo>
                  <a:lnTo>
                    <a:pt x="216" y="996"/>
                  </a:lnTo>
                  <a:lnTo>
                    <a:pt x="218" y="996"/>
                  </a:lnTo>
                  <a:close/>
                  <a:moveTo>
                    <a:pt x="218" y="993"/>
                  </a:moveTo>
                  <a:lnTo>
                    <a:pt x="218" y="996"/>
                  </a:lnTo>
                  <a:lnTo>
                    <a:pt x="216" y="996"/>
                  </a:lnTo>
                  <a:lnTo>
                    <a:pt x="216" y="993"/>
                  </a:lnTo>
                  <a:lnTo>
                    <a:pt x="216" y="996"/>
                  </a:lnTo>
                  <a:lnTo>
                    <a:pt x="218" y="993"/>
                  </a:lnTo>
                  <a:close/>
                  <a:moveTo>
                    <a:pt x="232" y="993"/>
                  </a:moveTo>
                  <a:lnTo>
                    <a:pt x="230" y="993"/>
                  </a:lnTo>
                  <a:lnTo>
                    <a:pt x="232" y="993"/>
                  </a:lnTo>
                  <a:close/>
                  <a:moveTo>
                    <a:pt x="218" y="993"/>
                  </a:moveTo>
                  <a:lnTo>
                    <a:pt x="216" y="993"/>
                  </a:lnTo>
                  <a:lnTo>
                    <a:pt x="216" y="996"/>
                  </a:lnTo>
                  <a:lnTo>
                    <a:pt x="216" y="993"/>
                  </a:lnTo>
                  <a:lnTo>
                    <a:pt x="216" y="996"/>
                  </a:lnTo>
                  <a:lnTo>
                    <a:pt x="216" y="993"/>
                  </a:lnTo>
                  <a:lnTo>
                    <a:pt x="218" y="993"/>
                  </a:lnTo>
                  <a:close/>
                  <a:moveTo>
                    <a:pt x="208" y="993"/>
                  </a:moveTo>
                  <a:lnTo>
                    <a:pt x="206" y="993"/>
                  </a:lnTo>
                  <a:lnTo>
                    <a:pt x="208" y="993"/>
                  </a:lnTo>
                  <a:close/>
                  <a:moveTo>
                    <a:pt x="220" y="993"/>
                  </a:moveTo>
                  <a:lnTo>
                    <a:pt x="218" y="993"/>
                  </a:lnTo>
                  <a:lnTo>
                    <a:pt x="220" y="993"/>
                  </a:lnTo>
                  <a:close/>
                  <a:moveTo>
                    <a:pt x="220" y="993"/>
                  </a:moveTo>
                  <a:lnTo>
                    <a:pt x="218" y="993"/>
                  </a:lnTo>
                  <a:lnTo>
                    <a:pt x="220" y="993"/>
                  </a:lnTo>
                  <a:close/>
                  <a:moveTo>
                    <a:pt x="220" y="993"/>
                  </a:moveTo>
                  <a:lnTo>
                    <a:pt x="220" y="991"/>
                  </a:lnTo>
                  <a:lnTo>
                    <a:pt x="220" y="993"/>
                  </a:lnTo>
                  <a:close/>
                  <a:moveTo>
                    <a:pt x="237" y="991"/>
                  </a:moveTo>
                  <a:lnTo>
                    <a:pt x="239" y="991"/>
                  </a:lnTo>
                  <a:lnTo>
                    <a:pt x="237" y="991"/>
                  </a:lnTo>
                  <a:close/>
                  <a:moveTo>
                    <a:pt x="218" y="991"/>
                  </a:moveTo>
                  <a:lnTo>
                    <a:pt x="220" y="991"/>
                  </a:lnTo>
                  <a:lnTo>
                    <a:pt x="218" y="991"/>
                  </a:lnTo>
                  <a:close/>
                  <a:moveTo>
                    <a:pt x="237" y="991"/>
                  </a:moveTo>
                  <a:lnTo>
                    <a:pt x="237" y="993"/>
                  </a:lnTo>
                  <a:lnTo>
                    <a:pt x="237" y="991"/>
                  </a:lnTo>
                  <a:lnTo>
                    <a:pt x="237" y="993"/>
                  </a:lnTo>
                  <a:lnTo>
                    <a:pt x="237" y="991"/>
                  </a:lnTo>
                  <a:close/>
                  <a:moveTo>
                    <a:pt x="225" y="991"/>
                  </a:moveTo>
                  <a:lnTo>
                    <a:pt x="223" y="991"/>
                  </a:lnTo>
                  <a:lnTo>
                    <a:pt x="225" y="991"/>
                  </a:lnTo>
                  <a:close/>
                  <a:moveTo>
                    <a:pt x="220" y="991"/>
                  </a:moveTo>
                  <a:lnTo>
                    <a:pt x="223" y="991"/>
                  </a:lnTo>
                  <a:lnTo>
                    <a:pt x="220" y="991"/>
                  </a:lnTo>
                  <a:close/>
                  <a:moveTo>
                    <a:pt x="235" y="991"/>
                  </a:moveTo>
                  <a:lnTo>
                    <a:pt x="232" y="991"/>
                  </a:lnTo>
                  <a:lnTo>
                    <a:pt x="235" y="991"/>
                  </a:lnTo>
                  <a:close/>
                  <a:moveTo>
                    <a:pt x="227" y="991"/>
                  </a:moveTo>
                  <a:lnTo>
                    <a:pt x="230" y="991"/>
                  </a:lnTo>
                  <a:lnTo>
                    <a:pt x="227" y="991"/>
                  </a:lnTo>
                  <a:close/>
                  <a:moveTo>
                    <a:pt x="235" y="991"/>
                  </a:moveTo>
                  <a:lnTo>
                    <a:pt x="232" y="991"/>
                  </a:lnTo>
                  <a:lnTo>
                    <a:pt x="235" y="991"/>
                  </a:lnTo>
                  <a:lnTo>
                    <a:pt x="232" y="991"/>
                  </a:lnTo>
                  <a:lnTo>
                    <a:pt x="235" y="991"/>
                  </a:lnTo>
                  <a:close/>
                  <a:moveTo>
                    <a:pt x="204" y="991"/>
                  </a:moveTo>
                  <a:lnTo>
                    <a:pt x="201" y="991"/>
                  </a:lnTo>
                  <a:lnTo>
                    <a:pt x="204" y="991"/>
                  </a:lnTo>
                  <a:close/>
                  <a:moveTo>
                    <a:pt x="211" y="991"/>
                  </a:moveTo>
                  <a:lnTo>
                    <a:pt x="211" y="988"/>
                  </a:lnTo>
                  <a:lnTo>
                    <a:pt x="211" y="991"/>
                  </a:lnTo>
                  <a:close/>
                  <a:moveTo>
                    <a:pt x="201" y="991"/>
                  </a:moveTo>
                  <a:lnTo>
                    <a:pt x="199" y="991"/>
                  </a:lnTo>
                  <a:lnTo>
                    <a:pt x="199" y="988"/>
                  </a:lnTo>
                  <a:lnTo>
                    <a:pt x="201" y="988"/>
                  </a:lnTo>
                  <a:lnTo>
                    <a:pt x="201" y="991"/>
                  </a:lnTo>
                  <a:close/>
                  <a:moveTo>
                    <a:pt x="218" y="991"/>
                  </a:moveTo>
                  <a:lnTo>
                    <a:pt x="218" y="988"/>
                  </a:lnTo>
                  <a:lnTo>
                    <a:pt x="220" y="988"/>
                  </a:lnTo>
                  <a:lnTo>
                    <a:pt x="218" y="988"/>
                  </a:lnTo>
                  <a:lnTo>
                    <a:pt x="218" y="991"/>
                  </a:lnTo>
                  <a:close/>
                  <a:moveTo>
                    <a:pt x="213" y="988"/>
                  </a:moveTo>
                  <a:lnTo>
                    <a:pt x="213" y="991"/>
                  </a:lnTo>
                  <a:lnTo>
                    <a:pt x="213" y="988"/>
                  </a:lnTo>
                  <a:close/>
                  <a:moveTo>
                    <a:pt x="220" y="988"/>
                  </a:moveTo>
                  <a:lnTo>
                    <a:pt x="218" y="988"/>
                  </a:lnTo>
                  <a:lnTo>
                    <a:pt x="220" y="988"/>
                  </a:lnTo>
                  <a:close/>
                  <a:moveTo>
                    <a:pt x="199" y="988"/>
                  </a:moveTo>
                  <a:lnTo>
                    <a:pt x="197" y="988"/>
                  </a:lnTo>
                  <a:lnTo>
                    <a:pt x="199" y="988"/>
                  </a:lnTo>
                  <a:lnTo>
                    <a:pt x="197" y="988"/>
                  </a:lnTo>
                  <a:lnTo>
                    <a:pt x="199" y="988"/>
                  </a:lnTo>
                  <a:close/>
                  <a:moveTo>
                    <a:pt x="211" y="988"/>
                  </a:moveTo>
                  <a:lnTo>
                    <a:pt x="208" y="988"/>
                  </a:lnTo>
                  <a:lnTo>
                    <a:pt x="211" y="988"/>
                  </a:lnTo>
                  <a:lnTo>
                    <a:pt x="208" y="988"/>
                  </a:lnTo>
                  <a:lnTo>
                    <a:pt x="211" y="988"/>
                  </a:lnTo>
                  <a:close/>
                  <a:moveTo>
                    <a:pt x="220" y="988"/>
                  </a:moveTo>
                  <a:lnTo>
                    <a:pt x="220" y="986"/>
                  </a:lnTo>
                  <a:lnTo>
                    <a:pt x="220" y="988"/>
                  </a:lnTo>
                  <a:close/>
                  <a:moveTo>
                    <a:pt x="213" y="986"/>
                  </a:moveTo>
                  <a:lnTo>
                    <a:pt x="211" y="986"/>
                  </a:lnTo>
                  <a:lnTo>
                    <a:pt x="211" y="988"/>
                  </a:lnTo>
                  <a:lnTo>
                    <a:pt x="211" y="986"/>
                  </a:lnTo>
                  <a:lnTo>
                    <a:pt x="213" y="986"/>
                  </a:lnTo>
                  <a:close/>
                  <a:moveTo>
                    <a:pt x="213" y="986"/>
                  </a:moveTo>
                  <a:lnTo>
                    <a:pt x="213" y="988"/>
                  </a:lnTo>
                  <a:lnTo>
                    <a:pt x="213" y="986"/>
                  </a:lnTo>
                  <a:close/>
                  <a:moveTo>
                    <a:pt x="223" y="986"/>
                  </a:moveTo>
                  <a:lnTo>
                    <a:pt x="220" y="986"/>
                  </a:lnTo>
                  <a:lnTo>
                    <a:pt x="223" y="986"/>
                  </a:lnTo>
                  <a:close/>
                  <a:moveTo>
                    <a:pt x="225" y="984"/>
                  </a:moveTo>
                  <a:lnTo>
                    <a:pt x="223" y="984"/>
                  </a:lnTo>
                  <a:lnTo>
                    <a:pt x="225" y="984"/>
                  </a:lnTo>
                  <a:close/>
                  <a:moveTo>
                    <a:pt x="204" y="984"/>
                  </a:moveTo>
                  <a:lnTo>
                    <a:pt x="201" y="984"/>
                  </a:lnTo>
                  <a:lnTo>
                    <a:pt x="204" y="984"/>
                  </a:lnTo>
                  <a:close/>
                  <a:moveTo>
                    <a:pt x="223" y="984"/>
                  </a:moveTo>
                  <a:lnTo>
                    <a:pt x="220" y="984"/>
                  </a:lnTo>
                  <a:lnTo>
                    <a:pt x="223" y="984"/>
                  </a:lnTo>
                  <a:lnTo>
                    <a:pt x="220" y="986"/>
                  </a:lnTo>
                  <a:lnTo>
                    <a:pt x="220" y="984"/>
                  </a:lnTo>
                  <a:lnTo>
                    <a:pt x="220" y="986"/>
                  </a:lnTo>
                  <a:lnTo>
                    <a:pt x="220" y="984"/>
                  </a:lnTo>
                  <a:lnTo>
                    <a:pt x="223" y="984"/>
                  </a:lnTo>
                  <a:close/>
                  <a:moveTo>
                    <a:pt x="208" y="981"/>
                  </a:moveTo>
                  <a:lnTo>
                    <a:pt x="208" y="984"/>
                  </a:lnTo>
                  <a:lnTo>
                    <a:pt x="208" y="981"/>
                  </a:lnTo>
                  <a:close/>
                  <a:moveTo>
                    <a:pt x="204" y="981"/>
                  </a:moveTo>
                  <a:lnTo>
                    <a:pt x="204" y="984"/>
                  </a:lnTo>
                  <a:lnTo>
                    <a:pt x="201" y="984"/>
                  </a:lnTo>
                  <a:lnTo>
                    <a:pt x="204" y="984"/>
                  </a:lnTo>
                  <a:lnTo>
                    <a:pt x="201" y="984"/>
                  </a:lnTo>
                  <a:lnTo>
                    <a:pt x="204" y="984"/>
                  </a:lnTo>
                  <a:lnTo>
                    <a:pt x="204" y="981"/>
                  </a:lnTo>
                  <a:close/>
                  <a:moveTo>
                    <a:pt x="216" y="984"/>
                  </a:moveTo>
                  <a:lnTo>
                    <a:pt x="213" y="984"/>
                  </a:lnTo>
                  <a:lnTo>
                    <a:pt x="213" y="981"/>
                  </a:lnTo>
                  <a:lnTo>
                    <a:pt x="216" y="981"/>
                  </a:lnTo>
                  <a:lnTo>
                    <a:pt x="216" y="984"/>
                  </a:lnTo>
                  <a:close/>
                  <a:moveTo>
                    <a:pt x="227" y="984"/>
                  </a:moveTo>
                  <a:lnTo>
                    <a:pt x="225" y="984"/>
                  </a:lnTo>
                  <a:lnTo>
                    <a:pt x="225" y="981"/>
                  </a:lnTo>
                  <a:lnTo>
                    <a:pt x="225" y="984"/>
                  </a:lnTo>
                  <a:lnTo>
                    <a:pt x="225" y="981"/>
                  </a:lnTo>
                  <a:lnTo>
                    <a:pt x="227" y="981"/>
                  </a:lnTo>
                  <a:lnTo>
                    <a:pt x="227" y="984"/>
                  </a:lnTo>
                  <a:close/>
                  <a:moveTo>
                    <a:pt x="213" y="981"/>
                  </a:moveTo>
                  <a:lnTo>
                    <a:pt x="216" y="981"/>
                  </a:lnTo>
                  <a:lnTo>
                    <a:pt x="218" y="981"/>
                  </a:lnTo>
                  <a:lnTo>
                    <a:pt x="216" y="981"/>
                  </a:lnTo>
                  <a:lnTo>
                    <a:pt x="213" y="981"/>
                  </a:lnTo>
                  <a:lnTo>
                    <a:pt x="213" y="984"/>
                  </a:lnTo>
                  <a:lnTo>
                    <a:pt x="211" y="984"/>
                  </a:lnTo>
                  <a:lnTo>
                    <a:pt x="211" y="986"/>
                  </a:lnTo>
                  <a:lnTo>
                    <a:pt x="211" y="984"/>
                  </a:lnTo>
                  <a:lnTo>
                    <a:pt x="208" y="984"/>
                  </a:lnTo>
                  <a:lnTo>
                    <a:pt x="211" y="984"/>
                  </a:lnTo>
                  <a:lnTo>
                    <a:pt x="208" y="984"/>
                  </a:lnTo>
                  <a:lnTo>
                    <a:pt x="208" y="986"/>
                  </a:lnTo>
                  <a:lnTo>
                    <a:pt x="206" y="988"/>
                  </a:lnTo>
                  <a:lnTo>
                    <a:pt x="206" y="986"/>
                  </a:lnTo>
                  <a:lnTo>
                    <a:pt x="206" y="988"/>
                  </a:lnTo>
                  <a:lnTo>
                    <a:pt x="204" y="988"/>
                  </a:lnTo>
                  <a:lnTo>
                    <a:pt x="206" y="988"/>
                  </a:lnTo>
                  <a:lnTo>
                    <a:pt x="204" y="988"/>
                  </a:lnTo>
                  <a:lnTo>
                    <a:pt x="201" y="988"/>
                  </a:lnTo>
                  <a:lnTo>
                    <a:pt x="204" y="988"/>
                  </a:lnTo>
                  <a:lnTo>
                    <a:pt x="201" y="988"/>
                  </a:lnTo>
                  <a:lnTo>
                    <a:pt x="204" y="988"/>
                  </a:lnTo>
                  <a:lnTo>
                    <a:pt x="201" y="988"/>
                  </a:lnTo>
                  <a:lnTo>
                    <a:pt x="204" y="988"/>
                  </a:lnTo>
                  <a:lnTo>
                    <a:pt x="201" y="988"/>
                  </a:lnTo>
                  <a:lnTo>
                    <a:pt x="204" y="988"/>
                  </a:lnTo>
                  <a:lnTo>
                    <a:pt x="204" y="986"/>
                  </a:lnTo>
                  <a:lnTo>
                    <a:pt x="204" y="988"/>
                  </a:lnTo>
                  <a:lnTo>
                    <a:pt x="201" y="988"/>
                  </a:lnTo>
                  <a:lnTo>
                    <a:pt x="201" y="986"/>
                  </a:lnTo>
                  <a:lnTo>
                    <a:pt x="204" y="986"/>
                  </a:lnTo>
                  <a:lnTo>
                    <a:pt x="204" y="988"/>
                  </a:lnTo>
                  <a:lnTo>
                    <a:pt x="204" y="986"/>
                  </a:lnTo>
                  <a:lnTo>
                    <a:pt x="201" y="986"/>
                  </a:lnTo>
                  <a:lnTo>
                    <a:pt x="201" y="988"/>
                  </a:lnTo>
                  <a:lnTo>
                    <a:pt x="201" y="986"/>
                  </a:lnTo>
                  <a:lnTo>
                    <a:pt x="204" y="986"/>
                  </a:lnTo>
                  <a:lnTo>
                    <a:pt x="204" y="984"/>
                  </a:lnTo>
                  <a:lnTo>
                    <a:pt x="206" y="984"/>
                  </a:lnTo>
                  <a:lnTo>
                    <a:pt x="208" y="984"/>
                  </a:lnTo>
                  <a:lnTo>
                    <a:pt x="211" y="984"/>
                  </a:lnTo>
                  <a:lnTo>
                    <a:pt x="208" y="981"/>
                  </a:lnTo>
                  <a:lnTo>
                    <a:pt x="211" y="981"/>
                  </a:lnTo>
                  <a:lnTo>
                    <a:pt x="208" y="981"/>
                  </a:lnTo>
                  <a:lnTo>
                    <a:pt x="211" y="981"/>
                  </a:lnTo>
                  <a:lnTo>
                    <a:pt x="211" y="984"/>
                  </a:lnTo>
                  <a:lnTo>
                    <a:pt x="211" y="981"/>
                  </a:lnTo>
                  <a:lnTo>
                    <a:pt x="213" y="981"/>
                  </a:lnTo>
                  <a:lnTo>
                    <a:pt x="211" y="981"/>
                  </a:lnTo>
                  <a:lnTo>
                    <a:pt x="213" y="981"/>
                  </a:lnTo>
                  <a:close/>
                  <a:moveTo>
                    <a:pt x="208" y="979"/>
                  </a:moveTo>
                  <a:lnTo>
                    <a:pt x="211" y="979"/>
                  </a:lnTo>
                  <a:lnTo>
                    <a:pt x="208" y="979"/>
                  </a:lnTo>
                  <a:lnTo>
                    <a:pt x="208" y="981"/>
                  </a:lnTo>
                  <a:lnTo>
                    <a:pt x="208" y="979"/>
                  </a:lnTo>
                  <a:close/>
                  <a:moveTo>
                    <a:pt x="206" y="979"/>
                  </a:moveTo>
                  <a:lnTo>
                    <a:pt x="208" y="979"/>
                  </a:lnTo>
                  <a:lnTo>
                    <a:pt x="206" y="979"/>
                  </a:lnTo>
                  <a:lnTo>
                    <a:pt x="208" y="979"/>
                  </a:lnTo>
                  <a:lnTo>
                    <a:pt x="206" y="979"/>
                  </a:lnTo>
                  <a:close/>
                  <a:moveTo>
                    <a:pt x="235" y="979"/>
                  </a:moveTo>
                  <a:lnTo>
                    <a:pt x="232" y="979"/>
                  </a:lnTo>
                  <a:lnTo>
                    <a:pt x="235" y="979"/>
                  </a:lnTo>
                  <a:close/>
                  <a:moveTo>
                    <a:pt x="235" y="972"/>
                  </a:moveTo>
                  <a:lnTo>
                    <a:pt x="235" y="974"/>
                  </a:lnTo>
                  <a:lnTo>
                    <a:pt x="237" y="974"/>
                  </a:lnTo>
                  <a:lnTo>
                    <a:pt x="237" y="972"/>
                  </a:lnTo>
                  <a:lnTo>
                    <a:pt x="237" y="974"/>
                  </a:lnTo>
                  <a:lnTo>
                    <a:pt x="235" y="974"/>
                  </a:lnTo>
                  <a:lnTo>
                    <a:pt x="235" y="977"/>
                  </a:lnTo>
                  <a:lnTo>
                    <a:pt x="232" y="977"/>
                  </a:lnTo>
                  <a:lnTo>
                    <a:pt x="235" y="977"/>
                  </a:lnTo>
                  <a:lnTo>
                    <a:pt x="232" y="977"/>
                  </a:lnTo>
                  <a:lnTo>
                    <a:pt x="235" y="977"/>
                  </a:lnTo>
                  <a:lnTo>
                    <a:pt x="232" y="977"/>
                  </a:lnTo>
                  <a:lnTo>
                    <a:pt x="230" y="977"/>
                  </a:lnTo>
                  <a:lnTo>
                    <a:pt x="227" y="977"/>
                  </a:lnTo>
                  <a:lnTo>
                    <a:pt x="230" y="977"/>
                  </a:lnTo>
                  <a:lnTo>
                    <a:pt x="227" y="977"/>
                  </a:lnTo>
                  <a:lnTo>
                    <a:pt x="230" y="977"/>
                  </a:lnTo>
                  <a:lnTo>
                    <a:pt x="227" y="977"/>
                  </a:lnTo>
                  <a:lnTo>
                    <a:pt x="230" y="977"/>
                  </a:lnTo>
                  <a:lnTo>
                    <a:pt x="230" y="974"/>
                  </a:lnTo>
                  <a:lnTo>
                    <a:pt x="230" y="977"/>
                  </a:lnTo>
                  <a:lnTo>
                    <a:pt x="227" y="977"/>
                  </a:lnTo>
                  <a:lnTo>
                    <a:pt x="230" y="977"/>
                  </a:lnTo>
                  <a:lnTo>
                    <a:pt x="230" y="974"/>
                  </a:lnTo>
                  <a:lnTo>
                    <a:pt x="232" y="974"/>
                  </a:lnTo>
                  <a:lnTo>
                    <a:pt x="235" y="974"/>
                  </a:lnTo>
                  <a:lnTo>
                    <a:pt x="235" y="972"/>
                  </a:lnTo>
                  <a:lnTo>
                    <a:pt x="235" y="974"/>
                  </a:lnTo>
                  <a:lnTo>
                    <a:pt x="235" y="972"/>
                  </a:lnTo>
                  <a:close/>
                  <a:moveTo>
                    <a:pt x="237" y="972"/>
                  </a:moveTo>
                  <a:lnTo>
                    <a:pt x="235" y="972"/>
                  </a:lnTo>
                  <a:lnTo>
                    <a:pt x="237" y="972"/>
                  </a:lnTo>
                  <a:close/>
                  <a:moveTo>
                    <a:pt x="256" y="972"/>
                  </a:moveTo>
                  <a:lnTo>
                    <a:pt x="258" y="972"/>
                  </a:lnTo>
                  <a:lnTo>
                    <a:pt x="261" y="972"/>
                  </a:lnTo>
                  <a:lnTo>
                    <a:pt x="258" y="972"/>
                  </a:lnTo>
                  <a:lnTo>
                    <a:pt x="258" y="974"/>
                  </a:lnTo>
                  <a:lnTo>
                    <a:pt x="256" y="974"/>
                  </a:lnTo>
                  <a:lnTo>
                    <a:pt x="256" y="972"/>
                  </a:lnTo>
                  <a:lnTo>
                    <a:pt x="254" y="972"/>
                  </a:lnTo>
                  <a:lnTo>
                    <a:pt x="256" y="972"/>
                  </a:lnTo>
                  <a:close/>
                  <a:moveTo>
                    <a:pt x="256" y="969"/>
                  </a:moveTo>
                  <a:lnTo>
                    <a:pt x="258" y="969"/>
                  </a:lnTo>
                  <a:lnTo>
                    <a:pt x="256" y="969"/>
                  </a:lnTo>
                  <a:close/>
                  <a:moveTo>
                    <a:pt x="244" y="969"/>
                  </a:moveTo>
                  <a:lnTo>
                    <a:pt x="242" y="969"/>
                  </a:lnTo>
                  <a:lnTo>
                    <a:pt x="244" y="967"/>
                  </a:lnTo>
                  <a:lnTo>
                    <a:pt x="244" y="969"/>
                  </a:lnTo>
                  <a:close/>
                  <a:moveTo>
                    <a:pt x="211" y="967"/>
                  </a:moveTo>
                  <a:lnTo>
                    <a:pt x="211" y="969"/>
                  </a:lnTo>
                  <a:lnTo>
                    <a:pt x="211" y="967"/>
                  </a:lnTo>
                  <a:lnTo>
                    <a:pt x="211" y="969"/>
                  </a:lnTo>
                  <a:lnTo>
                    <a:pt x="211" y="967"/>
                  </a:lnTo>
                  <a:close/>
                  <a:moveTo>
                    <a:pt x="256" y="969"/>
                  </a:moveTo>
                  <a:lnTo>
                    <a:pt x="256" y="967"/>
                  </a:lnTo>
                  <a:lnTo>
                    <a:pt x="256" y="969"/>
                  </a:lnTo>
                  <a:close/>
                  <a:moveTo>
                    <a:pt x="244" y="967"/>
                  </a:moveTo>
                  <a:lnTo>
                    <a:pt x="246" y="967"/>
                  </a:lnTo>
                  <a:lnTo>
                    <a:pt x="244" y="969"/>
                  </a:lnTo>
                  <a:lnTo>
                    <a:pt x="244" y="967"/>
                  </a:lnTo>
                  <a:close/>
                  <a:moveTo>
                    <a:pt x="256" y="967"/>
                  </a:moveTo>
                  <a:lnTo>
                    <a:pt x="256" y="965"/>
                  </a:lnTo>
                  <a:lnTo>
                    <a:pt x="256" y="967"/>
                  </a:lnTo>
                  <a:lnTo>
                    <a:pt x="256" y="965"/>
                  </a:lnTo>
                  <a:lnTo>
                    <a:pt x="256" y="967"/>
                  </a:lnTo>
                  <a:close/>
                  <a:moveTo>
                    <a:pt x="256" y="965"/>
                  </a:moveTo>
                  <a:lnTo>
                    <a:pt x="258" y="965"/>
                  </a:lnTo>
                  <a:lnTo>
                    <a:pt x="256" y="965"/>
                  </a:lnTo>
                  <a:close/>
                  <a:moveTo>
                    <a:pt x="246" y="965"/>
                  </a:moveTo>
                  <a:lnTo>
                    <a:pt x="244" y="965"/>
                  </a:lnTo>
                  <a:lnTo>
                    <a:pt x="246" y="965"/>
                  </a:lnTo>
                  <a:close/>
                  <a:moveTo>
                    <a:pt x="249" y="960"/>
                  </a:moveTo>
                  <a:lnTo>
                    <a:pt x="249" y="958"/>
                  </a:lnTo>
                  <a:lnTo>
                    <a:pt x="249" y="960"/>
                  </a:lnTo>
                  <a:close/>
                  <a:moveTo>
                    <a:pt x="246" y="958"/>
                  </a:moveTo>
                  <a:lnTo>
                    <a:pt x="244" y="958"/>
                  </a:lnTo>
                  <a:lnTo>
                    <a:pt x="246" y="958"/>
                  </a:lnTo>
                  <a:close/>
                  <a:moveTo>
                    <a:pt x="246" y="958"/>
                  </a:moveTo>
                  <a:lnTo>
                    <a:pt x="244" y="958"/>
                  </a:lnTo>
                  <a:lnTo>
                    <a:pt x="246" y="958"/>
                  </a:lnTo>
                  <a:close/>
                  <a:moveTo>
                    <a:pt x="246" y="958"/>
                  </a:moveTo>
                  <a:lnTo>
                    <a:pt x="244" y="958"/>
                  </a:lnTo>
                  <a:lnTo>
                    <a:pt x="246" y="955"/>
                  </a:lnTo>
                  <a:lnTo>
                    <a:pt x="246" y="958"/>
                  </a:lnTo>
                  <a:close/>
                  <a:moveTo>
                    <a:pt x="249" y="958"/>
                  </a:moveTo>
                  <a:lnTo>
                    <a:pt x="249" y="955"/>
                  </a:lnTo>
                  <a:lnTo>
                    <a:pt x="249" y="958"/>
                  </a:lnTo>
                  <a:close/>
                  <a:moveTo>
                    <a:pt x="254" y="955"/>
                  </a:moveTo>
                  <a:lnTo>
                    <a:pt x="251" y="955"/>
                  </a:lnTo>
                  <a:lnTo>
                    <a:pt x="254" y="955"/>
                  </a:lnTo>
                  <a:close/>
                  <a:moveTo>
                    <a:pt x="246" y="955"/>
                  </a:moveTo>
                  <a:lnTo>
                    <a:pt x="246" y="953"/>
                  </a:lnTo>
                  <a:lnTo>
                    <a:pt x="246" y="955"/>
                  </a:lnTo>
                  <a:close/>
                  <a:moveTo>
                    <a:pt x="246" y="953"/>
                  </a:moveTo>
                  <a:lnTo>
                    <a:pt x="246" y="955"/>
                  </a:lnTo>
                  <a:lnTo>
                    <a:pt x="244" y="955"/>
                  </a:lnTo>
                  <a:lnTo>
                    <a:pt x="246" y="953"/>
                  </a:lnTo>
                  <a:lnTo>
                    <a:pt x="244" y="955"/>
                  </a:lnTo>
                  <a:lnTo>
                    <a:pt x="244" y="953"/>
                  </a:lnTo>
                  <a:lnTo>
                    <a:pt x="246" y="953"/>
                  </a:lnTo>
                  <a:close/>
                  <a:moveTo>
                    <a:pt x="249" y="953"/>
                  </a:moveTo>
                  <a:lnTo>
                    <a:pt x="251" y="953"/>
                  </a:lnTo>
                  <a:lnTo>
                    <a:pt x="251" y="955"/>
                  </a:lnTo>
                  <a:lnTo>
                    <a:pt x="251" y="953"/>
                  </a:lnTo>
                  <a:lnTo>
                    <a:pt x="251" y="955"/>
                  </a:lnTo>
                  <a:lnTo>
                    <a:pt x="251" y="953"/>
                  </a:lnTo>
                  <a:lnTo>
                    <a:pt x="249" y="955"/>
                  </a:lnTo>
                  <a:lnTo>
                    <a:pt x="249" y="953"/>
                  </a:lnTo>
                  <a:lnTo>
                    <a:pt x="251" y="953"/>
                  </a:lnTo>
                  <a:lnTo>
                    <a:pt x="249" y="953"/>
                  </a:lnTo>
                  <a:lnTo>
                    <a:pt x="251" y="953"/>
                  </a:lnTo>
                  <a:lnTo>
                    <a:pt x="249" y="953"/>
                  </a:lnTo>
                  <a:lnTo>
                    <a:pt x="249" y="955"/>
                  </a:lnTo>
                  <a:lnTo>
                    <a:pt x="249" y="958"/>
                  </a:lnTo>
                  <a:lnTo>
                    <a:pt x="246" y="958"/>
                  </a:lnTo>
                  <a:lnTo>
                    <a:pt x="246" y="955"/>
                  </a:lnTo>
                  <a:lnTo>
                    <a:pt x="246" y="958"/>
                  </a:lnTo>
                  <a:lnTo>
                    <a:pt x="246" y="955"/>
                  </a:lnTo>
                  <a:lnTo>
                    <a:pt x="246" y="958"/>
                  </a:lnTo>
                  <a:lnTo>
                    <a:pt x="246" y="955"/>
                  </a:lnTo>
                  <a:lnTo>
                    <a:pt x="249" y="955"/>
                  </a:lnTo>
                  <a:lnTo>
                    <a:pt x="246" y="955"/>
                  </a:lnTo>
                  <a:lnTo>
                    <a:pt x="249" y="955"/>
                  </a:lnTo>
                  <a:lnTo>
                    <a:pt x="249" y="953"/>
                  </a:lnTo>
                  <a:lnTo>
                    <a:pt x="249" y="955"/>
                  </a:lnTo>
                  <a:lnTo>
                    <a:pt x="249" y="953"/>
                  </a:lnTo>
                  <a:close/>
                  <a:moveTo>
                    <a:pt x="249" y="953"/>
                  </a:moveTo>
                  <a:lnTo>
                    <a:pt x="249" y="955"/>
                  </a:lnTo>
                  <a:lnTo>
                    <a:pt x="249" y="953"/>
                  </a:lnTo>
                  <a:lnTo>
                    <a:pt x="246" y="955"/>
                  </a:lnTo>
                  <a:lnTo>
                    <a:pt x="246" y="953"/>
                  </a:lnTo>
                  <a:lnTo>
                    <a:pt x="249" y="953"/>
                  </a:lnTo>
                  <a:lnTo>
                    <a:pt x="246" y="953"/>
                  </a:lnTo>
                  <a:lnTo>
                    <a:pt x="249" y="953"/>
                  </a:lnTo>
                  <a:lnTo>
                    <a:pt x="249" y="950"/>
                  </a:lnTo>
                  <a:lnTo>
                    <a:pt x="249" y="953"/>
                  </a:lnTo>
                  <a:close/>
                  <a:moveTo>
                    <a:pt x="249" y="950"/>
                  </a:moveTo>
                  <a:lnTo>
                    <a:pt x="249" y="953"/>
                  </a:lnTo>
                  <a:lnTo>
                    <a:pt x="246" y="953"/>
                  </a:lnTo>
                  <a:lnTo>
                    <a:pt x="249" y="953"/>
                  </a:lnTo>
                  <a:lnTo>
                    <a:pt x="246" y="953"/>
                  </a:lnTo>
                  <a:lnTo>
                    <a:pt x="249" y="950"/>
                  </a:lnTo>
                  <a:close/>
                  <a:moveTo>
                    <a:pt x="251" y="943"/>
                  </a:moveTo>
                  <a:lnTo>
                    <a:pt x="251" y="946"/>
                  </a:lnTo>
                  <a:lnTo>
                    <a:pt x="249" y="946"/>
                  </a:lnTo>
                  <a:lnTo>
                    <a:pt x="249" y="943"/>
                  </a:lnTo>
                  <a:lnTo>
                    <a:pt x="251" y="943"/>
                  </a:lnTo>
                  <a:close/>
                  <a:moveTo>
                    <a:pt x="235" y="941"/>
                  </a:moveTo>
                  <a:lnTo>
                    <a:pt x="237" y="941"/>
                  </a:lnTo>
                  <a:lnTo>
                    <a:pt x="237" y="943"/>
                  </a:lnTo>
                  <a:lnTo>
                    <a:pt x="235" y="943"/>
                  </a:lnTo>
                  <a:lnTo>
                    <a:pt x="235" y="941"/>
                  </a:lnTo>
                  <a:close/>
                  <a:moveTo>
                    <a:pt x="239" y="941"/>
                  </a:moveTo>
                  <a:lnTo>
                    <a:pt x="237" y="941"/>
                  </a:lnTo>
                  <a:lnTo>
                    <a:pt x="239" y="941"/>
                  </a:lnTo>
                  <a:lnTo>
                    <a:pt x="237" y="941"/>
                  </a:lnTo>
                  <a:lnTo>
                    <a:pt x="239" y="941"/>
                  </a:lnTo>
                  <a:close/>
                  <a:moveTo>
                    <a:pt x="249" y="941"/>
                  </a:moveTo>
                  <a:lnTo>
                    <a:pt x="249" y="943"/>
                  </a:lnTo>
                  <a:lnTo>
                    <a:pt x="246" y="943"/>
                  </a:lnTo>
                  <a:lnTo>
                    <a:pt x="246" y="941"/>
                  </a:lnTo>
                  <a:lnTo>
                    <a:pt x="246" y="943"/>
                  </a:lnTo>
                  <a:lnTo>
                    <a:pt x="246" y="941"/>
                  </a:lnTo>
                  <a:lnTo>
                    <a:pt x="246" y="943"/>
                  </a:lnTo>
                  <a:lnTo>
                    <a:pt x="246" y="941"/>
                  </a:lnTo>
                  <a:lnTo>
                    <a:pt x="246" y="943"/>
                  </a:lnTo>
                  <a:lnTo>
                    <a:pt x="246" y="941"/>
                  </a:lnTo>
                  <a:lnTo>
                    <a:pt x="249" y="941"/>
                  </a:lnTo>
                  <a:close/>
                  <a:moveTo>
                    <a:pt x="246" y="941"/>
                  </a:moveTo>
                  <a:lnTo>
                    <a:pt x="244" y="941"/>
                  </a:lnTo>
                  <a:lnTo>
                    <a:pt x="244" y="939"/>
                  </a:lnTo>
                  <a:lnTo>
                    <a:pt x="246" y="941"/>
                  </a:lnTo>
                  <a:close/>
                  <a:moveTo>
                    <a:pt x="244" y="939"/>
                  </a:moveTo>
                  <a:lnTo>
                    <a:pt x="244" y="941"/>
                  </a:lnTo>
                  <a:lnTo>
                    <a:pt x="244" y="939"/>
                  </a:lnTo>
                  <a:close/>
                  <a:moveTo>
                    <a:pt x="244" y="939"/>
                  </a:moveTo>
                  <a:lnTo>
                    <a:pt x="242" y="939"/>
                  </a:lnTo>
                  <a:lnTo>
                    <a:pt x="244" y="939"/>
                  </a:lnTo>
                  <a:lnTo>
                    <a:pt x="242" y="939"/>
                  </a:lnTo>
                  <a:lnTo>
                    <a:pt x="244" y="939"/>
                  </a:lnTo>
                  <a:close/>
                  <a:moveTo>
                    <a:pt x="258" y="941"/>
                  </a:moveTo>
                  <a:lnTo>
                    <a:pt x="256" y="941"/>
                  </a:lnTo>
                  <a:lnTo>
                    <a:pt x="256" y="943"/>
                  </a:lnTo>
                  <a:lnTo>
                    <a:pt x="254" y="943"/>
                  </a:lnTo>
                  <a:lnTo>
                    <a:pt x="256" y="943"/>
                  </a:lnTo>
                  <a:lnTo>
                    <a:pt x="256" y="941"/>
                  </a:lnTo>
                  <a:lnTo>
                    <a:pt x="258" y="941"/>
                  </a:lnTo>
                  <a:lnTo>
                    <a:pt x="258" y="939"/>
                  </a:lnTo>
                  <a:lnTo>
                    <a:pt x="261" y="939"/>
                  </a:lnTo>
                  <a:lnTo>
                    <a:pt x="258" y="939"/>
                  </a:lnTo>
                  <a:lnTo>
                    <a:pt x="261" y="939"/>
                  </a:lnTo>
                  <a:lnTo>
                    <a:pt x="258" y="939"/>
                  </a:lnTo>
                  <a:lnTo>
                    <a:pt x="258" y="941"/>
                  </a:lnTo>
                  <a:close/>
                  <a:moveTo>
                    <a:pt x="246" y="939"/>
                  </a:moveTo>
                  <a:lnTo>
                    <a:pt x="246" y="936"/>
                  </a:lnTo>
                  <a:lnTo>
                    <a:pt x="246" y="939"/>
                  </a:lnTo>
                  <a:close/>
                  <a:moveTo>
                    <a:pt x="254" y="934"/>
                  </a:moveTo>
                  <a:lnTo>
                    <a:pt x="254" y="936"/>
                  </a:lnTo>
                  <a:lnTo>
                    <a:pt x="251" y="936"/>
                  </a:lnTo>
                  <a:lnTo>
                    <a:pt x="254" y="936"/>
                  </a:lnTo>
                  <a:lnTo>
                    <a:pt x="251" y="934"/>
                  </a:lnTo>
                  <a:lnTo>
                    <a:pt x="254" y="934"/>
                  </a:lnTo>
                  <a:close/>
                  <a:moveTo>
                    <a:pt x="261" y="934"/>
                  </a:moveTo>
                  <a:lnTo>
                    <a:pt x="261" y="936"/>
                  </a:lnTo>
                  <a:lnTo>
                    <a:pt x="258" y="936"/>
                  </a:lnTo>
                  <a:lnTo>
                    <a:pt x="258" y="939"/>
                  </a:lnTo>
                  <a:lnTo>
                    <a:pt x="256" y="939"/>
                  </a:lnTo>
                  <a:lnTo>
                    <a:pt x="258" y="939"/>
                  </a:lnTo>
                  <a:lnTo>
                    <a:pt x="256" y="939"/>
                  </a:lnTo>
                  <a:lnTo>
                    <a:pt x="258" y="939"/>
                  </a:lnTo>
                  <a:lnTo>
                    <a:pt x="258" y="936"/>
                  </a:lnTo>
                  <a:lnTo>
                    <a:pt x="261" y="936"/>
                  </a:lnTo>
                  <a:lnTo>
                    <a:pt x="261" y="934"/>
                  </a:lnTo>
                  <a:close/>
                  <a:moveTo>
                    <a:pt x="251" y="934"/>
                  </a:moveTo>
                  <a:lnTo>
                    <a:pt x="251" y="936"/>
                  </a:lnTo>
                  <a:lnTo>
                    <a:pt x="251" y="934"/>
                  </a:lnTo>
                  <a:close/>
                  <a:moveTo>
                    <a:pt x="249" y="934"/>
                  </a:moveTo>
                  <a:lnTo>
                    <a:pt x="246" y="934"/>
                  </a:lnTo>
                  <a:lnTo>
                    <a:pt x="249" y="934"/>
                  </a:lnTo>
                  <a:close/>
                  <a:moveTo>
                    <a:pt x="263" y="931"/>
                  </a:moveTo>
                  <a:lnTo>
                    <a:pt x="263" y="934"/>
                  </a:lnTo>
                  <a:lnTo>
                    <a:pt x="263" y="936"/>
                  </a:lnTo>
                  <a:lnTo>
                    <a:pt x="263" y="934"/>
                  </a:lnTo>
                  <a:lnTo>
                    <a:pt x="263" y="936"/>
                  </a:lnTo>
                  <a:lnTo>
                    <a:pt x="263" y="934"/>
                  </a:lnTo>
                  <a:lnTo>
                    <a:pt x="263" y="936"/>
                  </a:lnTo>
                  <a:lnTo>
                    <a:pt x="261" y="936"/>
                  </a:lnTo>
                  <a:lnTo>
                    <a:pt x="263" y="934"/>
                  </a:lnTo>
                  <a:lnTo>
                    <a:pt x="263" y="931"/>
                  </a:lnTo>
                  <a:close/>
                  <a:moveTo>
                    <a:pt x="249" y="934"/>
                  </a:moveTo>
                  <a:lnTo>
                    <a:pt x="249" y="931"/>
                  </a:lnTo>
                  <a:lnTo>
                    <a:pt x="249" y="934"/>
                  </a:lnTo>
                  <a:close/>
                  <a:moveTo>
                    <a:pt x="251" y="931"/>
                  </a:moveTo>
                  <a:lnTo>
                    <a:pt x="251" y="934"/>
                  </a:lnTo>
                  <a:lnTo>
                    <a:pt x="251" y="931"/>
                  </a:lnTo>
                  <a:close/>
                  <a:moveTo>
                    <a:pt x="254" y="934"/>
                  </a:moveTo>
                  <a:lnTo>
                    <a:pt x="254" y="931"/>
                  </a:lnTo>
                  <a:lnTo>
                    <a:pt x="254" y="934"/>
                  </a:lnTo>
                  <a:close/>
                  <a:moveTo>
                    <a:pt x="237" y="931"/>
                  </a:moveTo>
                  <a:lnTo>
                    <a:pt x="235" y="931"/>
                  </a:lnTo>
                  <a:lnTo>
                    <a:pt x="237" y="931"/>
                  </a:lnTo>
                  <a:close/>
                  <a:moveTo>
                    <a:pt x="261" y="931"/>
                  </a:moveTo>
                  <a:lnTo>
                    <a:pt x="261" y="934"/>
                  </a:lnTo>
                  <a:lnTo>
                    <a:pt x="258" y="934"/>
                  </a:lnTo>
                  <a:lnTo>
                    <a:pt x="261" y="934"/>
                  </a:lnTo>
                  <a:lnTo>
                    <a:pt x="258" y="934"/>
                  </a:lnTo>
                  <a:lnTo>
                    <a:pt x="258" y="931"/>
                  </a:lnTo>
                  <a:lnTo>
                    <a:pt x="258" y="934"/>
                  </a:lnTo>
                  <a:lnTo>
                    <a:pt x="258" y="931"/>
                  </a:lnTo>
                  <a:lnTo>
                    <a:pt x="261" y="931"/>
                  </a:lnTo>
                  <a:close/>
                  <a:moveTo>
                    <a:pt x="251" y="931"/>
                  </a:moveTo>
                  <a:lnTo>
                    <a:pt x="249" y="931"/>
                  </a:lnTo>
                  <a:lnTo>
                    <a:pt x="251" y="931"/>
                  </a:lnTo>
                  <a:lnTo>
                    <a:pt x="249" y="931"/>
                  </a:lnTo>
                  <a:lnTo>
                    <a:pt x="251" y="931"/>
                  </a:lnTo>
                  <a:close/>
                  <a:moveTo>
                    <a:pt x="256" y="934"/>
                  </a:moveTo>
                  <a:lnTo>
                    <a:pt x="256" y="931"/>
                  </a:lnTo>
                  <a:lnTo>
                    <a:pt x="256" y="934"/>
                  </a:lnTo>
                  <a:close/>
                  <a:moveTo>
                    <a:pt x="265" y="931"/>
                  </a:moveTo>
                  <a:lnTo>
                    <a:pt x="263" y="931"/>
                  </a:lnTo>
                  <a:lnTo>
                    <a:pt x="265" y="931"/>
                  </a:lnTo>
                  <a:close/>
                  <a:moveTo>
                    <a:pt x="237" y="931"/>
                  </a:moveTo>
                  <a:lnTo>
                    <a:pt x="239" y="929"/>
                  </a:lnTo>
                  <a:lnTo>
                    <a:pt x="239" y="931"/>
                  </a:lnTo>
                  <a:lnTo>
                    <a:pt x="237" y="931"/>
                  </a:lnTo>
                  <a:close/>
                  <a:moveTo>
                    <a:pt x="256" y="931"/>
                  </a:moveTo>
                  <a:lnTo>
                    <a:pt x="256" y="929"/>
                  </a:lnTo>
                  <a:lnTo>
                    <a:pt x="256" y="931"/>
                  </a:lnTo>
                  <a:close/>
                  <a:moveTo>
                    <a:pt x="265" y="931"/>
                  </a:moveTo>
                  <a:lnTo>
                    <a:pt x="263" y="931"/>
                  </a:lnTo>
                  <a:lnTo>
                    <a:pt x="265" y="931"/>
                  </a:lnTo>
                  <a:lnTo>
                    <a:pt x="265" y="929"/>
                  </a:lnTo>
                  <a:lnTo>
                    <a:pt x="265" y="931"/>
                  </a:lnTo>
                  <a:close/>
                  <a:moveTo>
                    <a:pt x="237" y="931"/>
                  </a:moveTo>
                  <a:lnTo>
                    <a:pt x="237" y="929"/>
                  </a:lnTo>
                  <a:lnTo>
                    <a:pt x="239" y="929"/>
                  </a:lnTo>
                  <a:lnTo>
                    <a:pt x="237" y="931"/>
                  </a:lnTo>
                  <a:close/>
                  <a:moveTo>
                    <a:pt x="254" y="929"/>
                  </a:moveTo>
                  <a:lnTo>
                    <a:pt x="251" y="929"/>
                  </a:lnTo>
                  <a:lnTo>
                    <a:pt x="254" y="929"/>
                  </a:lnTo>
                  <a:close/>
                  <a:moveTo>
                    <a:pt x="249" y="929"/>
                  </a:moveTo>
                  <a:lnTo>
                    <a:pt x="246" y="929"/>
                  </a:lnTo>
                  <a:lnTo>
                    <a:pt x="249" y="929"/>
                  </a:lnTo>
                  <a:close/>
                  <a:moveTo>
                    <a:pt x="254" y="929"/>
                  </a:moveTo>
                  <a:lnTo>
                    <a:pt x="254" y="927"/>
                  </a:lnTo>
                  <a:lnTo>
                    <a:pt x="254" y="929"/>
                  </a:lnTo>
                  <a:close/>
                  <a:moveTo>
                    <a:pt x="249" y="927"/>
                  </a:moveTo>
                  <a:lnTo>
                    <a:pt x="249" y="929"/>
                  </a:lnTo>
                  <a:lnTo>
                    <a:pt x="249" y="927"/>
                  </a:lnTo>
                  <a:close/>
                  <a:moveTo>
                    <a:pt x="251" y="927"/>
                  </a:moveTo>
                  <a:lnTo>
                    <a:pt x="251" y="929"/>
                  </a:lnTo>
                  <a:lnTo>
                    <a:pt x="251" y="927"/>
                  </a:lnTo>
                  <a:lnTo>
                    <a:pt x="251" y="929"/>
                  </a:lnTo>
                  <a:lnTo>
                    <a:pt x="251" y="927"/>
                  </a:lnTo>
                  <a:close/>
                  <a:moveTo>
                    <a:pt x="249" y="927"/>
                  </a:moveTo>
                  <a:lnTo>
                    <a:pt x="249" y="929"/>
                  </a:lnTo>
                  <a:lnTo>
                    <a:pt x="249" y="927"/>
                  </a:lnTo>
                  <a:close/>
                  <a:moveTo>
                    <a:pt x="254" y="929"/>
                  </a:moveTo>
                  <a:lnTo>
                    <a:pt x="254" y="927"/>
                  </a:lnTo>
                  <a:lnTo>
                    <a:pt x="254" y="929"/>
                  </a:lnTo>
                  <a:close/>
                  <a:moveTo>
                    <a:pt x="254" y="931"/>
                  </a:moveTo>
                  <a:lnTo>
                    <a:pt x="251" y="934"/>
                  </a:lnTo>
                  <a:lnTo>
                    <a:pt x="251" y="931"/>
                  </a:lnTo>
                  <a:lnTo>
                    <a:pt x="254" y="931"/>
                  </a:lnTo>
                  <a:lnTo>
                    <a:pt x="254" y="929"/>
                  </a:lnTo>
                  <a:lnTo>
                    <a:pt x="254" y="931"/>
                  </a:lnTo>
                  <a:lnTo>
                    <a:pt x="254" y="929"/>
                  </a:lnTo>
                  <a:lnTo>
                    <a:pt x="256" y="929"/>
                  </a:lnTo>
                  <a:lnTo>
                    <a:pt x="254" y="929"/>
                  </a:lnTo>
                  <a:lnTo>
                    <a:pt x="256" y="929"/>
                  </a:lnTo>
                  <a:lnTo>
                    <a:pt x="256" y="927"/>
                  </a:lnTo>
                  <a:lnTo>
                    <a:pt x="254" y="929"/>
                  </a:lnTo>
                  <a:lnTo>
                    <a:pt x="254" y="927"/>
                  </a:lnTo>
                  <a:lnTo>
                    <a:pt x="256" y="927"/>
                  </a:lnTo>
                  <a:lnTo>
                    <a:pt x="256" y="929"/>
                  </a:lnTo>
                  <a:lnTo>
                    <a:pt x="256" y="927"/>
                  </a:lnTo>
                  <a:lnTo>
                    <a:pt x="256" y="929"/>
                  </a:lnTo>
                  <a:lnTo>
                    <a:pt x="254" y="929"/>
                  </a:lnTo>
                  <a:lnTo>
                    <a:pt x="254" y="931"/>
                  </a:lnTo>
                  <a:close/>
                  <a:moveTo>
                    <a:pt x="254" y="927"/>
                  </a:moveTo>
                  <a:lnTo>
                    <a:pt x="251" y="927"/>
                  </a:lnTo>
                  <a:lnTo>
                    <a:pt x="254" y="927"/>
                  </a:lnTo>
                  <a:close/>
                  <a:moveTo>
                    <a:pt x="254" y="924"/>
                  </a:moveTo>
                  <a:lnTo>
                    <a:pt x="254" y="927"/>
                  </a:lnTo>
                  <a:lnTo>
                    <a:pt x="254" y="924"/>
                  </a:lnTo>
                  <a:lnTo>
                    <a:pt x="254" y="927"/>
                  </a:lnTo>
                  <a:lnTo>
                    <a:pt x="251" y="927"/>
                  </a:lnTo>
                  <a:lnTo>
                    <a:pt x="254" y="927"/>
                  </a:lnTo>
                  <a:lnTo>
                    <a:pt x="254" y="924"/>
                  </a:lnTo>
                  <a:lnTo>
                    <a:pt x="251" y="924"/>
                  </a:lnTo>
                  <a:lnTo>
                    <a:pt x="251" y="927"/>
                  </a:lnTo>
                  <a:lnTo>
                    <a:pt x="254" y="924"/>
                  </a:lnTo>
                  <a:lnTo>
                    <a:pt x="251" y="927"/>
                  </a:lnTo>
                  <a:lnTo>
                    <a:pt x="254" y="924"/>
                  </a:lnTo>
                  <a:close/>
                  <a:moveTo>
                    <a:pt x="254" y="924"/>
                  </a:moveTo>
                  <a:lnTo>
                    <a:pt x="254" y="922"/>
                  </a:lnTo>
                  <a:lnTo>
                    <a:pt x="254" y="924"/>
                  </a:lnTo>
                  <a:close/>
                  <a:moveTo>
                    <a:pt x="258" y="922"/>
                  </a:moveTo>
                  <a:lnTo>
                    <a:pt x="258" y="924"/>
                  </a:lnTo>
                  <a:lnTo>
                    <a:pt x="258" y="922"/>
                  </a:lnTo>
                  <a:lnTo>
                    <a:pt x="258" y="924"/>
                  </a:lnTo>
                  <a:lnTo>
                    <a:pt x="258" y="922"/>
                  </a:lnTo>
                  <a:close/>
                  <a:moveTo>
                    <a:pt x="251" y="922"/>
                  </a:moveTo>
                  <a:lnTo>
                    <a:pt x="254" y="924"/>
                  </a:lnTo>
                  <a:lnTo>
                    <a:pt x="251" y="924"/>
                  </a:lnTo>
                  <a:lnTo>
                    <a:pt x="254" y="924"/>
                  </a:lnTo>
                  <a:lnTo>
                    <a:pt x="251" y="924"/>
                  </a:lnTo>
                  <a:lnTo>
                    <a:pt x="254" y="924"/>
                  </a:lnTo>
                  <a:lnTo>
                    <a:pt x="251" y="924"/>
                  </a:lnTo>
                  <a:lnTo>
                    <a:pt x="251" y="922"/>
                  </a:lnTo>
                  <a:close/>
                  <a:moveTo>
                    <a:pt x="249" y="922"/>
                  </a:moveTo>
                  <a:lnTo>
                    <a:pt x="251" y="922"/>
                  </a:lnTo>
                  <a:lnTo>
                    <a:pt x="249" y="924"/>
                  </a:lnTo>
                  <a:lnTo>
                    <a:pt x="249" y="922"/>
                  </a:lnTo>
                  <a:lnTo>
                    <a:pt x="249" y="924"/>
                  </a:lnTo>
                  <a:lnTo>
                    <a:pt x="249" y="922"/>
                  </a:lnTo>
                  <a:lnTo>
                    <a:pt x="249" y="924"/>
                  </a:lnTo>
                  <a:lnTo>
                    <a:pt x="249" y="922"/>
                  </a:lnTo>
                  <a:close/>
                  <a:moveTo>
                    <a:pt x="254" y="922"/>
                  </a:moveTo>
                  <a:lnTo>
                    <a:pt x="251" y="922"/>
                  </a:lnTo>
                  <a:lnTo>
                    <a:pt x="254" y="922"/>
                  </a:lnTo>
                  <a:close/>
                  <a:moveTo>
                    <a:pt x="263" y="922"/>
                  </a:moveTo>
                  <a:lnTo>
                    <a:pt x="261" y="922"/>
                  </a:lnTo>
                  <a:lnTo>
                    <a:pt x="263" y="922"/>
                  </a:lnTo>
                  <a:close/>
                  <a:moveTo>
                    <a:pt x="263" y="919"/>
                  </a:moveTo>
                  <a:lnTo>
                    <a:pt x="263" y="922"/>
                  </a:lnTo>
                  <a:lnTo>
                    <a:pt x="261" y="922"/>
                  </a:lnTo>
                  <a:lnTo>
                    <a:pt x="263" y="919"/>
                  </a:lnTo>
                  <a:close/>
                  <a:moveTo>
                    <a:pt x="254" y="919"/>
                  </a:moveTo>
                  <a:lnTo>
                    <a:pt x="251" y="919"/>
                  </a:lnTo>
                  <a:lnTo>
                    <a:pt x="254" y="919"/>
                  </a:lnTo>
                  <a:close/>
                  <a:moveTo>
                    <a:pt x="246" y="919"/>
                  </a:moveTo>
                  <a:lnTo>
                    <a:pt x="246" y="922"/>
                  </a:lnTo>
                  <a:lnTo>
                    <a:pt x="246" y="919"/>
                  </a:lnTo>
                  <a:lnTo>
                    <a:pt x="244" y="922"/>
                  </a:lnTo>
                  <a:lnTo>
                    <a:pt x="246" y="919"/>
                  </a:lnTo>
                  <a:close/>
                  <a:moveTo>
                    <a:pt x="246" y="919"/>
                  </a:moveTo>
                  <a:lnTo>
                    <a:pt x="244" y="919"/>
                  </a:lnTo>
                  <a:lnTo>
                    <a:pt x="246" y="919"/>
                  </a:lnTo>
                  <a:close/>
                  <a:moveTo>
                    <a:pt x="256" y="917"/>
                  </a:moveTo>
                  <a:lnTo>
                    <a:pt x="256" y="915"/>
                  </a:lnTo>
                  <a:lnTo>
                    <a:pt x="256" y="917"/>
                  </a:lnTo>
                  <a:close/>
                  <a:moveTo>
                    <a:pt x="258" y="915"/>
                  </a:moveTo>
                  <a:lnTo>
                    <a:pt x="256" y="915"/>
                  </a:lnTo>
                  <a:lnTo>
                    <a:pt x="256" y="917"/>
                  </a:lnTo>
                  <a:lnTo>
                    <a:pt x="256" y="915"/>
                  </a:lnTo>
                  <a:lnTo>
                    <a:pt x="258" y="915"/>
                  </a:lnTo>
                  <a:close/>
                  <a:moveTo>
                    <a:pt x="277" y="915"/>
                  </a:moveTo>
                  <a:lnTo>
                    <a:pt x="275" y="915"/>
                  </a:lnTo>
                  <a:lnTo>
                    <a:pt x="277" y="915"/>
                  </a:lnTo>
                  <a:close/>
                  <a:moveTo>
                    <a:pt x="256" y="915"/>
                  </a:moveTo>
                  <a:lnTo>
                    <a:pt x="254" y="915"/>
                  </a:lnTo>
                  <a:lnTo>
                    <a:pt x="254" y="917"/>
                  </a:lnTo>
                  <a:lnTo>
                    <a:pt x="254" y="915"/>
                  </a:lnTo>
                  <a:lnTo>
                    <a:pt x="254" y="917"/>
                  </a:lnTo>
                  <a:lnTo>
                    <a:pt x="254" y="915"/>
                  </a:lnTo>
                  <a:lnTo>
                    <a:pt x="256" y="915"/>
                  </a:lnTo>
                  <a:lnTo>
                    <a:pt x="256" y="912"/>
                  </a:lnTo>
                  <a:lnTo>
                    <a:pt x="256" y="915"/>
                  </a:lnTo>
                  <a:close/>
                  <a:moveTo>
                    <a:pt x="258" y="915"/>
                  </a:moveTo>
                  <a:lnTo>
                    <a:pt x="256" y="915"/>
                  </a:lnTo>
                  <a:lnTo>
                    <a:pt x="256" y="912"/>
                  </a:lnTo>
                  <a:lnTo>
                    <a:pt x="258" y="912"/>
                  </a:lnTo>
                  <a:lnTo>
                    <a:pt x="258" y="915"/>
                  </a:lnTo>
                  <a:close/>
                  <a:moveTo>
                    <a:pt x="268" y="912"/>
                  </a:moveTo>
                  <a:lnTo>
                    <a:pt x="270" y="912"/>
                  </a:lnTo>
                  <a:lnTo>
                    <a:pt x="268" y="912"/>
                  </a:lnTo>
                  <a:lnTo>
                    <a:pt x="268" y="915"/>
                  </a:lnTo>
                  <a:lnTo>
                    <a:pt x="270" y="915"/>
                  </a:lnTo>
                  <a:lnTo>
                    <a:pt x="268" y="915"/>
                  </a:lnTo>
                  <a:lnTo>
                    <a:pt x="268" y="912"/>
                  </a:lnTo>
                  <a:lnTo>
                    <a:pt x="268" y="915"/>
                  </a:lnTo>
                  <a:lnTo>
                    <a:pt x="268" y="912"/>
                  </a:lnTo>
                  <a:close/>
                  <a:moveTo>
                    <a:pt x="277" y="912"/>
                  </a:moveTo>
                  <a:lnTo>
                    <a:pt x="275" y="912"/>
                  </a:lnTo>
                  <a:lnTo>
                    <a:pt x="275" y="915"/>
                  </a:lnTo>
                  <a:lnTo>
                    <a:pt x="273" y="915"/>
                  </a:lnTo>
                  <a:lnTo>
                    <a:pt x="273" y="912"/>
                  </a:lnTo>
                  <a:lnTo>
                    <a:pt x="275" y="912"/>
                  </a:lnTo>
                  <a:lnTo>
                    <a:pt x="277" y="912"/>
                  </a:lnTo>
                  <a:close/>
                  <a:moveTo>
                    <a:pt x="251" y="910"/>
                  </a:moveTo>
                  <a:lnTo>
                    <a:pt x="251" y="912"/>
                  </a:lnTo>
                  <a:lnTo>
                    <a:pt x="251" y="910"/>
                  </a:lnTo>
                  <a:lnTo>
                    <a:pt x="251" y="912"/>
                  </a:lnTo>
                  <a:lnTo>
                    <a:pt x="251" y="910"/>
                  </a:lnTo>
                  <a:close/>
                  <a:moveTo>
                    <a:pt x="254" y="910"/>
                  </a:moveTo>
                  <a:lnTo>
                    <a:pt x="251" y="910"/>
                  </a:lnTo>
                  <a:lnTo>
                    <a:pt x="254" y="910"/>
                  </a:lnTo>
                  <a:close/>
                  <a:moveTo>
                    <a:pt x="265" y="910"/>
                  </a:moveTo>
                  <a:lnTo>
                    <a:pt x="263" y="910"/>
                  </a:lnTo>
                  <a:lnTo>
                    <a:pt x="265" y="910"/>
                  </a:lnTo>
                  <a:lnTo>
                    <a:pt x="265" y="912"/>
                  </a:lnTo>
                  <a:lnTo>
                    <a:pt x="265" y="915"/>
                  </a:lnTo>
                  <a:lnTo>
                    <a:pt x="263" y="915"/>
                  </a:lnTo>
                  <a:lnTo>
                    <a:pt x="263" y="917"/>
                  </a:lnTo>
                  <a:lnTo>
                    <a:pt x="263" y="915"/>
                  </a:lnTo>
                  <a:lnTo>
                    <a:pt x="263" y="917"/>
                  </a:lnTo>
                  <a:lnTo>
                    <a:pt x="263" y="915"/>
                  </a:lnTo>
                  <a:lnTo>
                    <a:pt x="265" y="915"/>
                  </a:lnTo>
                  <a:lnTo>
                    <a:pt x="263" y="915"/>
                  </a:lnTo>
                  <a:lnTo>
                    <a:pt x="265" y="915"/>
                  </a:lnTo>
                  <a:lnTo>
                    <a:pt x="263" y="915"/>
                  </a:lnTo>
                  <a:lnTo>
                    <a:pt x="265" y="917"/>
                  </a:lnTo>
                  <a:lnTo>
                    <a:pt x="265" y="915"/>
                  </a:lnTo>
                  <a:lnTo>
                    <a:pt x="265" y="917"/>
                  </a:lnTo>
                  <a:lnTo>
                    <a:pt x="268" y="917"/>
                  </a:lnTo>
                  <a:lnTo>
                    <a:pt x="265" y="917"/>
                  </a:lnTo>
                  <a:lnTo>
                    <a:pt x="263" y="919"/>
                  </a:lnTo>
                  <a:lnTo>
                    <a:pt x="261" y="919"/>
                  </a:lnTo>
                  <a:lnTo>
                    <a:pt x="261" y="922"/>
                  </a:lnTo>
                  <a:lnTo>
                    <a:pt x="258" y="922"/>
                  </a:lnTo>
                  <a:lnTo>
                    <a:pt x="256" y="922"/>
                  </a:lnTo>
                  <a:lnTo>
                    <a:pt x="254" y="922"/>
                  </a:lnTo>
                  <a:lnTo>
                    <a:pt x="256" y="922"/>
                  </a:lnTo>
                  <a:lnTo>
                    <a:pt x="256" y="919"/>
                  </a:lnTo>
                  <a:lnTo>
                    <a:pt x="258" y="919"/>
                  </a:lnTo>
                  <a:lnTo>
                    <a:pt x="256" y="919"/>
                  </a:lnTo>
                  <a:lnTo>
                    <a:pt x="258" y="919"/>
                  </a:lnTo>
                  <a:lnTo>
                    <a:pt x="261" y="919"/>
                  </a:lnTo>
                  <a:lnTo>
                    <a:pt x="261" y="917"/>
                  </a:lnTo>
                  <a:lnTo>
                    <a:pt x="258" y="919"/>
                  </a:lnTo>
                  <a:lnTo>
                    <a:pt x="261" y="917"/>
                  </a:lnTo>
                  <a:lnTo>
                    <a:pt x="258" y="919"/>
                  </a:lnTo>
                  <a:lnTo>
                    <a:pt x="258" y="917"/>
                  </a:lnTo>
                  <a:lnTo>
                    <a:pt x="258" y="919"/>
                  </a:lnTo>
                  <a:lnTo>
                    <a:pt x="256" y="919"/>
                  </a:lnTo>
                  <a:lnTo>
                    <a:pt x="256" y="917"/>
                  </a:lnTo>
                  <a:lnTo>
                    <a:pt x="258" y="917"/>
                  </a:lnTo>
                  <a:lnTo>
                    <a:pt x="261" y="917"/>
                  </a:lnTo>
                  <a:lnTo>
                    <a:pt x="261" y="915"/>
                  </a:lnTo>
                  <a:lnTo>
                    <a:pt x="263" y="915"/>
                  </a:lnTo>
                  <a:lnTo>
                    <a:pt x="263" y="912"/>
                  </a:lnTo>
                  <a:lnTo>
                    <a:pt x="261" y="912"/>
                  </a:lnTo>
                  <a:lnTo>
                    <a:pt x="261" y="915"/>
                  </a:lnTo>
                  <a:lnTo>
                    <a:pt x="258" y="915"/>
                  </a:lnTo>
                  <a:lnTo>
                    <a:pt x="261" y="915"/>
                  </a:lnTo>
                  <a:lnTo>
                    <a:pt x="261" y="912"/>
                  </a:lnTo>
                  <a:lnTo>
                    <a:pt x="258" y="915"/>
                  </a:lnTo>
                  <a:lnTo>
                    <a:pt x="261" y="912"/>
                  </a:lnTo>
                  <a:lnTo>
                    <a:pt x="258" y="912"/>
                  </a:lnTo>
                  <a:lnTo>
                    <a:pt x="261" y="912"/>
                  </a:lnTo>
                  <a:lnTo>
                    <a:pt x="258" y="912"/>
                  </a:lnTo>
                  <a:lnTo>
                    <a:pt x="261" y="912"/>
                  </a:lnTo>
                  <a:lnTo>
                    <a:pt x="258" y="912"/>
                  </a:lnTo>
                  <a:lnTo>
                    <a:pt x="261" y="912"/>
                  </a:lnTo>
                  <a:lnTo>
                    <a:pt x="258" y="912"/>
                  </a:lnTo>
                  <a:lnTo>
                    <a:pt x="261" y="912"/>
                  </a:lnTo>
                  <a:lnTo>
                    <a:pt x="263" y="912"/>
                  </a:lnTo>
                  <a:lnTo>
                    <a:pt x="263" y="910"/>
                  </a:lnTo>
                  <a:lnTo>
                    <a:pt x="265" y="910"/>
                  </a:lnTo>
                  <a:close/>
                  <a:moveTo>
                    <a:pt x="254" y="910"/>
                  </a:moveTo>
                  <a:lnTo>
                    <a:pt x="251" y="910"/>
                  </a:lnTo>
                  <a:lnTo>
                    <a:pt x="254" y="910"/>
                  </a:lnTo>
                  <a:lnTo>
                    <a:pt x="251" y="910"/>
                  </a:lnTo>
                  <a:lnTo>
                    <a:pt x="254" y="910"/>
                  </a:lnTo>
                  <a:close/>
                  <a:moveTo>
                    <a:pt x="254" y="910"/>
                  </a:moveTo>
                  <a:lnTo>
                    <a:pt x="254" y="908"/>
                  </a:lnTo>
                  <a:lnTo>
                    <a:pt x="254" y="910"/>
                  </a:lnTo>
                  <a:close/>
                  <a:moveTo>
                    <a:pt x="282" y="908"/>
                  </a:moveTo>
                  <a:lnTo>
                    <a:pt x="284" y="908"/>
                  </a:lnTo>
                  <a:lnTo>
                    <a:pt x="282" y="908"/>
                  </a:lnTo>
                  <a:lnTo>
                    <a:pt x="280" y="908"/>
                  </a:lnTo>
                  <a:lnTo>
                    <a:pt x="280" y="910"/>
                  </a:lnTo>
                  <a:lnTo>
                    <a:pt x="277" y="910"/>
                  </a:lnTo>
                  <a:lnTo>
                    <a:pt x="275" y="910"/>
                  </a:lnTo>
                  <a:lnTo>
                    <a:pt x="277" y="910"/>
                  </a:lnTo>
                  <a:lnTo>
                    <a:pt x="277" y="908"/>
                  </a:lnTo>
                  <a:lnTo>
                    <a:pt x="280" y="908"/>
                  </a:lnTo>
                  <a:lnTo>
                    <a:pt x="282" y="908"/>
                  </a:lnTo>
                  <a:close/>
                  <a:moveTo>
                    <a:pt x="273" y="908"/>
                  </a:moveTo>
                  <a:lnTo>
                    <a:pt x="275" y="908"/>
                  </a:lnTo>
                  <a:lnTo>
                    <a:pt x="275" y="910"/>
                  </a:lnTo>
                  <a:lnTo>
                    <a:pt x="273" y="910"/>
                  </a:lnTo>
                  <a:lnTo>
                    <a:pt x="273" y="912"/>
                  </a:lnTo>
                  <a:lnTo>
                    <a:pt x="270" y="912"/>
                  </a:lnTo>
                  <a:lnTo>
                    <a:pt x="273" y="910"/>
                  </a:lnTo>
                  <a:lnTo>
                    <a:pt x="270" y="912"/>
                  </a:lnTo>
                  <a:lnTo>
                    <a:pt x="273" y="910"/>
                  </a:lnTo>
                  <a:lnTo>
                    <a:pt x="270" y="910"/>
                  </a:lnTo>
                  <a:lnTo>
                    <a:pt x="270" y="912"/>
                  </a:lnTo>
                  <a:lnTo>
                    <a:pt x="270" y="910"/>
                  </a:lnTo>
                  <a:lnTo>
                    <a:pt x="270" y="912"/>
                  </a:lnTo>
                  <a:lnTo>
                    <a:pt x="270" y="910"/>
                  </a:lnTo>
                  <a:lnTo>
                    <a:pt x="268" y="910"/>
                  </a:lnTo>
                  <a:lnTo>
                    <a:pt x="268" y="908"/>
                  </a:lnTo>
                  <a:lnTo>
                    <a:pt x="270" y="908"/>
                  </a:lnTo>
                  <a:lnTo>
                    <a:pt x="270" y="905"/>
                  </a:lnTo>
                  <a:lnTo>
                    <a:pt x="270" y="908"/>
                  </a:lnTo>
                  <a:lnTo>
                    <a:pt x="273" y="908"/>
                  </a:lnTo>
                  <a:lnTo>
                    <a:pt x="273" y="905"/>
                  </a:lnTo>
                  <a:lnTo>
                    <a:pt x="273" y="908"/>
                  </a:lnTo>
                  <a:close/>
                  <a:moveTo>
                    <a:pt x="270" y="908"/>
                  </a:moveTo>
                  <a:lnTo>
                    <a:pt x="270" y="905"/>
                  </a:lnTo>
                  <a:lnTo>
                    <a:pt x="270" y="908"/>
                  </a:lnTo>
                  <a:close/>
                  <a:moveTo>
                    <a:pt x="265" y="905"/>
                  </a:moveTo>
                  <a:lnTo>
                    <a:pt x="265" y="908"/>
                  </a:lnTo>
                  <a:lnTo>
                    <a:pt x="265" y="905"/>
                  </a:lnTo>
                  <a:close/>
                  <a:moveTo>
                    <a:pt x="265" y="905"/>
                  </a:moveTo>
                  <a:lnTo>
                    <a:pt x="263" y="905"/>
                  </a:lnTo>
                  <a:lnTo>
                    <a:pt x="265" y="905"/>
                  </a:lnTo>
                  <a:close/>
                  <a:moveTo>
                    <a:pt x="258" y="903"/>
                  </a:moveTo>
                  <a:lnTo>
                    <a:pt x="258" y="905"/>
                  </a:lnTo>
                  <a:lnTo>
                    <a:pt x="258" y="903"/>
                  </a:lnTo>
                  <a:lnTo>
                    <a:pt x="258" y="905"/>
                  </a:lnTo>
                  <a:lnTo>
                    <a:pt x="258" y="903"/>
                  </a:lnTo>
                  <a:close/>
                  <a:moveTo>
                    <a:pt x="268" y="903"/>
                  </a:moveTo>
                  <a:lnTo>
                    <a:pt x="270" y="903"/>
                  </a:lnTo>
                  <a:lnTo>
                    <a:pt x="268" y="905"/>
                  </a:lnTo>
                  <a:lnTo>
                    <a:pt x="268" y="903"/>
                  </a:lnTo>
                  <a:close/>
                  <a:moveTo>
                    <a:pt x="265" y="903"/>
                  </a:moveTo>
                  <a:lnTo>
                    <a:pt x="265" y="905"/>
                  </a:lnTo>
                  <a:lnTo>
                    <a:pt x="263" y="905"/>
                  </a:lnTo>
                  <a:lnTo>
                    <a:pt x="263" y="903"/>
                  </a:lnTo>
                  <a:lnTo>
                    <a:pt x="263" y="905"/>
                  </a:lnTo>
                  <a:lnTo>
                    <a:pt x="263" y="903"/>
                  </a:lnTo>
                  <a:lnTo>
                    <a:pt x="265" y="903"/>
                  </a:lnTo>
                  <a:lnTo>
                    <a:pt x="263" y="903"/>
                  </a:lnTo>
                  <a:lnTo>
                    <a:pt x="263" y="905"/>
                  </a:lnTo>
                  <a:lnTo>
                    <a:pt x="263" y="903"/>
                  </a:lnTo>
                  <a:lnTo>
                    <a:pt x="265" y="903"/>
                  </a:lnTo>
                  <a:lnTo>
                    <a:pt x="263" y="903"/>
                  </a:lnTo>
                  <a:lnTo>
                    <a:pt x="265" y="903"/>
                  </a:lnTo>
                  <a:close/>
                  <a:moveTo>
                    <a:pt x="268" y="903"/>
                  </a:moveTo>
                  <a:lnTo>
                    <a:pt x="265" y="903"/>
                  </a:lnTo>
                  <a:lnTo>
                    <a:pt x="268" y="903"/>
                  </a:lnTo>
                  <a:lnTo>
                    <a:pt x="265" y="903"/>
                  </a:lnTo>
                  <a:lnTo>
                    <a:pt x="268" y="903"/>
                  </a:lnTo>
                  <a:close/>
                  <a:moveTo>
                    <a:pt x="273" y="903"/>
                  </a:moveTo>
                  <a:lnTo>
                    <a:pt x="275" y="903"/>
                  </a:lnTo>
                  <a:lnTo>
                    <a:pt x="273" y="903"/>
                  </a:lnTo>
                  <a:close/>
                  <a:moveTo>
                    <a:pt x="265" y="903"/>
                  </a:moveTo>
                  <a:lnTo>
                    <a:pt x="263" y="903"/>
                  </a:lnTo>
                  <a:lnTo>
                    <a:pt x="263" y="905"/>
                  </a:lnTo>
                  <a:lnTo>
                    <a:pt x="263" y="903"/>
                  </a:lnTo>
                  <a:lnTo>
                    <a:pt x="263" y="905"/>
                  </a:lnTo>
                  <a:lnTo>
                    <a:pt x="263" y="903"/>
                  </a:lnTo>
                  <a:lnTo>
                    <a:pt x="263" y="905"/>
                  </a:lnTo>
                  <a:lnTo>
                    <a:pt x="263" y="903"/>
                  </a:lnTo>
                  <a:lnTo>
                    <a:pt x="263" y="905"/>
                  </a:lnTo>
                  <a:lnTo>
                    <a:pt x="261" y="905"/>
                  </a:lnTo>
                  <a:lnTo>
                    <a:pt x="263" y="903"/>
                  </a:lnTo>
                  <a:lnTo>
                    <a:pt x="261" y="905"/>
                  </a:lnTo>
                  <a:lnTo>
                    <a:pt x="263" y="903"/>
                  </a:lnTo>
                  <a:lnTo>
                    <a:pt x="261" y="905"/>
                  </a:lnTo>
                  <a:lnTo>
                    <a:pt x="261" y="903"/>
                  </a:lnTo>
                  <a:lnTo>
                    <a:pt x="263" y="903"/>
                  </a:lnTo>
                  <a:lnTo>
                    <a:pt x="261" y="903"/>
                  </a:lnTo>
                  <a:lnTo>
                    <a:pt x="263" y="903"/>
                  </a:lnTo>
                  <a:lnTo>
                    <a:pt x="265" y="903"/>
                  </a:lnTo>
                  <a:close/>
                  <a:moveTo>
                    <a:pt x="256" y="903"/>
                  </a:moveTo>
                  <a:lnTo>
                    <a:pt x="254" y="903"/>
                  </a:lnTo>
                  <a:lnTo>
                    <a:pt x="256" y="903"/>
                  </a:lnTo>
                  <a:close/>
                  <a:moveTo>
                    <a:pt x="265" y="903"/>
                  </a:moveTo>
                  <a:lnTo>
                    <a:pt x="265" y="900"/>
                  </a:lnTo>
                  <a:lnTo>
                    <a:pt x="265" y="903"/>
                  </a:lnTo>
                  <a:close/>
                  <a:moveTo>
                    <a:pt x="263" y="900"/>
                  </a:moveTo>
                  <a:lnTo>
                    <a:pt x="263" y="903"/>
                  </a:lnTo>
                  <a:lnTo>
                    <a:pt x="263" y="900"/>
                  </a:lnTo>
                  <a:close/>
                  <a:moveTo>
                    <a:pt x="258" y="900"/>
                  </a:moveTo>
                  <a:lnTo>
                    <a:pt x="258" y="903"/>
                  </a:lnTo>
                  <a:lnTo>
                    <a:pt x="258" y="900"/>
                  </a:lnTo>
                  <a:close/>
                  <a:moveTo>
                    <a:pt x="263" y="900"/>
                  </a:moveTo>
                  <a:lnTo>
                    <a:pt x="261" y="900"/>
                  </a:lnTo>
                  <a:lnTo>
                    <a:pt x="263" y="900"/>
                  </a:lnTo>
                  <a:close/>
                  <a:moveTo>
                    <a:pt x="273" y="900"/>
                  </a:moveTo>
                  <a:lnTo>
                    <a:pt x="270" y="900"/>
                  </a:lnTo>
                  <a:lnTo>
                    <a:pt x="273" y="900"/>
                  </a:lnTo>
                  <a:lnTo>
                    <a:pt x="270" y="900"/>
                  </a:lnTo>
                  <a:lnTo>
                    <a:pt x="273" y="900"/>
                  </a:lnTo>
                  <a:close/>
                  <a:moveTo>
                    <a:pt x="261" y="900"/>
                  </a:moveTo>
                  <a:lnTo>
                    <a:pt x="258" y="900"/>
                  </a:lnTo>
                  <a:lnTo>
                    <a:pt x="261" y="900"/>
                  </a:lnTo>
                  <a:close/>
                  <a:moveTo>
                    <a:pt x="261" y="900"/>
                  </a:moveTo>
                  <a:lnTo>
                    <a:pt x="258" y="900"/>
                  </a:lnTo>
                  <a:lnTo>
                    <a:pt x="261" y="900"/>
                  </a:lnTo>
                  <a:close/>
                  <a:moveTo>
                    <a:pt x="277" y="903"/>
                  </a:moveTo>
                  <a:lnTo>
                    <a:pt x="277" y="900"/>
                  </a:lnTo>
                  <a:lnTo>
                    <a:pt x="280" y="898"/>
                  </a:lnTo>
                  <a:lnTo>
                    <a:pt x="282" y="898"/>
                  </a:lnTo>
                  <a:lnTo>
                    <a:pt x="282" y="900"/>
                  </a:lnTo>
                  <a:lnTo>
                    <a:pt x="280" y="900"/>
                  </a:lnTo>
                  <a:lnTo>
                    <a:pt x="277" y="903"/>
                  </a:lnTo>
                  <a:close/>
                  <a:moveTo>
                    <a:pt x="275" y="898"/>
                  </a:moveTo>
                  <a:lnTo>
                    <a:pt x="275" y="900"/>
                  </a:lnTo>
                  <a:lnTo>
                    <a:pt x="273" y="900"/>
                  </a:lnTo>
                  <a:lnTo>
                    <a:pt x="275" y="900"/>
                  </a:lnTo>
                  <a:lnTo>
                    <a:pt x="273" y="900"/>
                  </a:lnTo>
                  <a:lnTo>
                    <a:pt x="275" y="900"/>
                  </a:lnTo>
                  <a:lnTo>
                    <a:pt x="273" y="900"/>
                  </a:lnTo>
                  <a:lnTo>
                    <a:pt x="275" y="903"/>
                  </a:lnTo>
                  <a:lnTo>
                    <a:pt x="273" y="903"/>
                  </a:lnTo>
                  <a:lnTo>
                    <a:pt x="273" y="900"/>
                  </a:lnTo>
                  <a:lnTo>
                    <a:pt x="270" y="903"/>
                  </a:lnTo>
                  <a:lnTo>
                    <a:pt x="270" y="900"/>
                  </a:lnTo>
                  <a:lnTo>
                    <a:pt x="273" y="900"/>
                  </a:lnTo>
                  <a:lnTo>
                    <a:pt x="273" y="898"/>
                  </a:lnTo>
                  <a:lnTo>
                    <a:pt x="273" y="900"/>
                  </a:lnTo>
                  <a:lnTo>
                    <a:pt x="273" y="898"/>
                  </a:lnTo>
                  <a:lnTo>
                    <a:pt x="275" y="898"/>
                  </a:lnTo>
                  <a:close/>
                  <a:moveTo>
                    <a:pt x="277" y="898"/>
                  </a:moveTo>
                  <a:lnTo>
                    <a:pt x="275" y="898"/>
                  </a:lnTo>
                  <a:lnTo>
                    <a:pt x="275" y="900"/>
                  </a:lnTo>
                  <a:lnTo>
                    <a:pt x="277" y="900"/>
                  </a:lnTo>
                  <a:lnTo>
                    <a:pt x="275" y="900"/>
                  </a:lnTo>
                  <a:lnTo>
                    <a:pt x="275" y="898"/>
                  </a:lnTo>
                  <a:lnTo>
                    <a:pt x="277" y="898"/>
                  </a:lnTo>
                  <a:lnTo>
                    <a:pt x="277" y="896"/>
                  </a:lnTo>
                  <a:lnTo>
                    <a:pt x="277" y="898"/>
                  </a:lnTo>
                  <a:close/>
                  <a:moveTo>
                    <a:pt x="277" y="896"/>
                  </a:moveTo>
                  <a:lnTo>
                    <a:pt x="275" y="896"/>
                  </a:lnTo>
                  <a:lnTo>
                    <a:pt x="277" y="896"/>
                  </a:lnTo>
                  <a:close/>
                  <a:moveTo>
                    <a:pt x="275" y="896"/>
                  </a:moveTo>
                  <a:lnTo>
                    <a:pt x="273" y="896"/>
                  </a:lnTo>
                  <a:lnTo>
                    <a:pt x="275" y="896"/>
                  </a:lnTo>
                  <a:lnTo>
                    <a:pt x="273" y="896"/>
                  </a:lnTo>
                  <a:lnTo>
                    <a:pt x="275" y="896"/>
                  </a:lnTo>
                  <a:close/>
                  <a:moveTo>
                    <a:pt x="249" y="896"/>
                  </a:moveTo>
                  <a:lnTo>
                    <a:pt x="246" y="896"/>
                  </a:lnTo>
                  <a:lnTo>
                    <a:pt x="249" y="896"/>
                  </a:lnTo>
                  <a:close/>
                  <a:moveTo>
                    <a:pt x="249" y="893"/>
                  </a:moveTo>
                  <a:lnTo>
                    <a:pt x="249" y="896"/>
                  </a:lnTo>
                  <a:lnTo>
                    <a:pt x="246" y="896"/>
                  </a:lnTo>
                  <a:lnTo>
                    <a:pt x="246" y="893"/>
                  </a:lnTo>
                  <a:lnTo>
                    <a:pt x="249" y="893"/>
                  </a:lnTo>
                  <a:close/>
                  <a:moveTo>
                    <a:pt x="246" y="893"/>
                  </a:moveTo>
                  <a:lnTo>
                    <a:pt x="246" y="896"/>
                  </a:lnTo>
                  <a:lnTo>
                    <a:pt x="244" y="896"/>
                  </a:lnTo>
                  <a:lnTo>
                    <a:pt x="244" y="893"/>
                  </a:lnTo>
                  <a:lnTo>
                    <a:pt x="246" y="896"/>
                  </a:lnTo>
                  <a:lnTo>
                    <a:pt x="246" y="893"/>
                  </a:lnTo>
                  <a:close/>
                  <a:moveTo>
                    <a:pt x="251" y="893"/>
                  </a:moveTo>
                  <a:lnTo>
                    <a:pt x="249" y="893"/>
                  </a:lnTo>
                  <a:lnTo>
                    <a:pt x="251" y="893"/>
                  </a:lnTo>
                  <a:close/>
                  <a:moveTo>
                    <a:pt x="246" y="893"/>
                  </a:moveTo>
                  <a:lnTo>
                    <a:pt x="244" y="893"/>
                  </a:lnTo>
                  <a:lnTo>
                    <a:pt x="246" y="893"/>
                  </a:lnTo>
                  <a:close/>
                  <a:moveTo>
                    <a:pt x="251" y="893"/>
                  </a:moveTo>
                  <a:lnTo>
                    <a:pt x="249" y="893"/>
                  </a:lnTo>
                  <a:lnTo>
                    <a:pt x="251" y="893"/>
                  </a:lnTo>
                  <a:lnTo>
                    <a:pt x="249" y="893"/>
                  </a:lnTo>
                  <a:lnTo>
                    <a:pt x="251" y="893"/>
                  </a:lnTo>
                  <a:close/>
                  <a:moveTo>
                    <a:pt x="251" y="893"/>
                  </a:moveTo>
                  <a:lnTo>
                    <a:pt x="254" y="893"/>
                  </a:lnTo>
                  <a:lnTo>
                    <a:pt x="251" y="893"/>
                  </a:lnTo>
                  <a:close/>
                  <a:moveTo>
                    <a:pt x="249" y="893"/>
                  </a:moveTo>
                  <a:lnTo>
                    <a:pt x="251" y="893"/>
                  </a:lnTo>
                  <a:lnTo>
                    <a:pt x="249" y="893"/>
                  </a:lnTo>
                  <a:lnTo>
                    <a:pt x="251" y="893"/>
                  </a:lnTo>
                  <a:lnTo>
                    <a:pt x="249" y="893"/>
                  </a:lnTo>
                  <a:close/>
                  <a:moveTo>
                    <a:pt x="263" y="891"/>
                  </a:moveTo>
                  <a:lnTo>
                    <a:pt x="263" y="893"/>
                  </a:lnTo>
                  <a:lnTo>
                    <a:pt x="263" y="891"/>
                  </a:lnTo>
                  <a:close/>
                  <a:moveTo>
                    <a:pt x="254" y="891"/>
                  </a:moveTo>
                  <a:lnTo>
                    <a:pt x="254" y="893"/>
                  </a:lnTo>
                  <a:lnTo>
                    <a:pt x="254" y="891"/>
                  </a:lnTo>
                  <a:close/>
                  <a:moveTo>
                    <a:pt x="273" y="891"/>
                  </a:moveTo>
                  <a:lnTo>
                    <a:pt x="273" y="893"/>
                  </a:lnTo>
                  <a:lnTo>
                    <a:pt x="275" y="893"/>
                  </a:lnTo>
                  <a:lnTo>
                    <a:pt x="273" y="893"/>
                  </a:lnTo>
                  <a:lnTo>
                    <a:pt x="270" y="893"/>
                  </a:lnTo>
                  <a:lnTo>
                    <a:pt x="273" y="893"/>
                  </a:lnTo>
                  <a:lnTo>
                    <a:pt x="270" y="893"/>
                  </a:lnTo>
                  <a:lnTo>
                    <a:pt x="273" y="893"/>
                  </a:lnTo>
                  <a:lnTo>
                    <a:pt x="273" y="891"/>
                  </a:lnTo>
                  <a:lnTo>
                    <a:pt x="270" y="893"/>
                  </a:lnTo>
                  <a:lnTo>
                    <a:pt x="270" y="891"/>
                  </a:lnTo>
                  <a:lnTo>
                    <a:pt x="273" y="891"/>
                  </a:lnTo>
                  <a:close/>
                  <a:moveTo>
                    <a:pt x="265" y="891"/>
                  </a:moveTo>
                  <a:lnTo>
                    <a:pt x="263" y="891"/>
                  </a:lnTo>
                  <a:lnTo>
                    <a:pt x="265" y="891"/>
                  </a:lnTo>
                  <a:close/>
                  <a:moveTo>
                    <a:pt x="280" y="891"/>
                  </a:moveTo>
                  <a:lnTo>
                    <a:pt x="277" y="891"/>
                  </a:lnTo>
                  <a:lnTo>
                    <a:pt x="280" y="891"/>
                  </a:lnTo>
                  <a:close/>
                  <a:moveTo>
                    <a:pt x="270" y="891"/>
                  </a:moveTo>
                  <a:lnTo>
                    <a:pt x="270" y="889"/>
                  </a:lnTo>
                  <a:lnTo>
                    <a:pt x="270" y="891"/>
                  </a:lnTo>
                  <a:close/>
                  <a:moveTo>
                    <a:pt x="275" y="889"/>
                  </a:moveTo>
                  <a:lnTo>
                    <a:pt x="275" y="891"/>
                  </a:lnTo>
                  <a:lnTo>
                    <a:pt x="275" y="889"/>
                  </a:lnTo>
                  <a:close/>
                  <a:moveTo>
                    <a:pt x="265" y="889"/>
                  </a:moveTo>
                  <a:lnTo>
                    <a:pt x="263" y="891"/>
                  </a:lnTo>
                  <a:lnTo>
                    <a:pt x="263" y="889"/>
                  </a:lnTo>
                  <a:lnTo>
                    <a:pt x="265" y="889"/>
                  </a:lnTo>
                  <a:close/>
                  <a:moveTo>
                    <a:pt x="254" y="889"/>
                  </a:moveTo>
                  <a:lnTo>
                    <a:pt x="251" y="889"/>
                  </a:lnTo>
                  <a:lnTo>
                    <a:pt x="254" y="889"/>
                  </a:lnTo>
                  <a:lnTo>
                    <a:pt x="251" y="889"/>
                  </a:lnTo>
                  <a:lnTo>
                    <a:pt x="254" y="889"/>
                  </a:lnTo>
                  <a:close/>
                  <a:moveTo>
                    <a:pt x="280" y="889"/>
                  </a:moveTo>
                  <a:lnTo>
                    <a:pt x="277" y="889"/>
                  </a:lnTo>
                  <a:lnTo>
                    <a:pt x="280" y="889"/>
                  </a:lnTo>
                  <a:close/>
                  <a:moveTo>
                    <a:pt x="265" y="889"/>
                  </a:moveTo>
                  <a:lnTo>
                    <a:pt x="268" y="889"/>
                  </a:lnTo>
                  <a:lnTo>
                    <a:pt x="265" y="889"/>
                  </a:lnTo>
                  <a:lnTo>
                    <a:pt x="265" y="891"/>
                  </a:lnTo>
                  <a:lnTo>
                    <a:pt x="265" y="889"/>
                  </a:lnTo>
                  <a:lnTo>
                    <a:pt x="268" y="889"/>
                  </a:lnTo>
                  <a:lnTo>
                    <a:pt x="268" y="891"/>
                  </a:lnTo>
                  <a:lnTo>
                    <a:pt x="265" y="891"/>
                  </a:lnTo>
                  <a:lnTo>
                    <a:pt x="268" y="891"/>
                  </a:lnTo>
                  <a:lnTo>
                    <a:pt x="265" y="891"/>
                  </a:lnTo>
                  <a:lnTo>
                    <a:pt x="268" y="891"/>
                  </a:lnTo>
                  <a:lnTo>
                    <a:pt x="265" y="891"/>
                  </a:lnTo>
                  <a:lnTo>
                    <a:pt x="265" y="893"/>
                  </a:lnTo>
                  <a:lnTo>
                    <a:pt x="265" y="891"/>
                  </a:lnTo>
                  <a:lnTo>
                    <a:pt x="265" y="889"/>
                  </a:lnTo>
                  <a:close/>
                  <a:moveTo>
                    <a:pt x="270" y="889"/>
                  </a:moveTo>
                  <a:lnTo>
                    <a:pt x="268" y="889"/>
                  </a:lnTo>
                  <a:lnTo>
                    <a:pt x="270" y="889"/>
                  </a:lnTo>
                  <a:close/>
                  <a:moveTo>
                    <a:pt x="275" y="889"/>
                  </a:moveTo>
                  <a:lnTo>
                    <a:pt x="275" y="886"/>
                  </a:lnTo>
                  <a:lnTo>
                    <a:pt x="275" y="889"/>
                  </a:lnTo>
                  <a:close/>
                  <a:moveTo>
                    <a:pt x="282" y="889"/>
                  </a:moveTo>
                  <a:lnTo>
                    <a:pt x="282" y="891"/>
                  </a:lnTo>
                  <a:lnTo>
                    <a:pt x="282" y="889"/>
                  </a:lnTo>
                  <a:lnTo>
                    <a:pt x="282" y="891"/>
                  </a:lnTo>
                  <a:lnTo>
                    <a:pt x="280" y="889"/>
                  </a:lnTo>
                  <a:lnTo>
                    <a:pt x="282" y="889"/>
                  </a:lnTo>
                  <a:lnTo>
                    <a:pt x="280" y="889"/>
                  </a:lnTo>
                  <a:lnTo>
                    <a:pt x="282" y="889"/>
                  </a:lnTo>
                  <a:lnTo>
                    <a:pt x="280" y="889"/>
                  </a:lnTo>
                  <a:lnTo>
                    <a:pt x="282" y="889"/>
                  </a:lnTo>
                  <a:lnTo>
                    <a:pt x="282" y="886"/>
                  </a:lnTo>
                  <a:lnTo>
                    <a:pt x="282" y="889"/>
                  </a:lnTo>
                  <a:lnTo>
                    <a:pt x="282" y="886"/>
                  </a:lnTo>
                  <a:lnTo>
                    <a:pt x="282" y="889"/>
                  </a:lnTo>
                  <a:close/>
                  <a:moveTo>
                    <a:pt x="277" y="886"/>
                  </a:moveTo>
                  <a:lnTo>
                    <a:pt x="277" y="889"/>
                  </a:lnTo>
                  <a:lnTo>
                    <a:pt x="277" y="886"/>
                  </a:lnTo>
                  <a:close/>
                  <a:moveTo>
                    <a:pt x="280" y="889"/>
                  </a:moveTo>
                  <a:lnTo>
                    <a:pt x="277" y="889"/>
                  </a:lnTo>
                  <a:lnTo>
                    <a:pt x="277" y="886"/>
                  </a:lnTo>
                  <a:lnTo>
                    <a:pt x="280" y="886"/>
                  </a:lnTo>
                  <a:lnTo>
                    <a:pt x="280" y="889"/>
                  </a:lnTo>
                  <a:close/>
                  <a:moveTo>
                    <a:pt x="277" y="886"/>
                  </a:moveTo>
                  <a:lnTo>
                    <a:pt x="280" y="886"/>
                  </a:lnTo>
                  <a:lnTo>
                    <a:pt x="277" y="886"/>
                  </a:lnTo>
                  <a:close/>
                  <a:moveTo>
                    <a:pt x="277" y="886"/>
                  </a:moveTo>
                  <a:lnTo>
                    <a:pt x="277" y="884"/>
                  </a:lnTo>
                  <a:lnTo>
                    <a:pt x="277" y="886"/>
                  </a:lnTo>
                  <a:close/>
                  <a:moveTo>
                    <a:pt x="275" y="884"/>
                  </a:moveTo>
                  <a:lnTo>
                    <a:pt x="275" y="886"/>
                  </a:lnTo>
                  <a:lnTo>
                    <a:pt x="275" y="884"/>
                  </a:lnTo>
                  <a:lnTo>
                    <a:pt x="275" y="886"/>
                  </a:lnTo>
                  <a:lnTo>
                    <a:pt x="275" y="884"/>
                  </a:lnTo>
                  <a:close/>
                  <a:moveTo>
                    <a:pt x="277" y="884"/>
                  </a:moveTo>
                  <a:lnTo>
                    <a:pt x="275" y="884"/>
                  </a:lnTo>
                  <a:lnTo>
                    <a:pt x="277" y="884"/>
                  </a:lnTo>
                  <a:lnTo>
                    <a:pt x="275" y="884"/>
                  </a:lnTo>
                  <a:lnTo>
                    <a:pt x="277" y="884"/>
                  </a:lnTo>
                  <a:close/>
                  <a:moveTo>
                    <a:pt x="282" y="884"/>
                  </a:moveTo>
                  <a:lnTo>
                    <a:pt x="280" y="884"/>
                  </a:lnTo>
                  <a:lnTo>
                    <a:pt x="282" y="884"/>
                  </a:lnTo>
                  <a:lnTo>
                    <a:pt x="280" y="884"/>
                  </a:lnTo>
                  <a:lnTo>
                    <a:pt x="280" y="886"/>
                  </a:lnTo>
                  <a:lnTo>
                    <a:pt x="280" y="884"/>
                  </a:lnTo>
                  <a:lnTo>
                    <a:pt x="282" y="884"/>
                  </a:lnTo>
                  <a:close/>
                  <a:moveTo>
                    <a:pt x="261" y="879"/>
                  </a:moveTo>
                  <a:lnTo>
                    <a:pt x="261" y="881"/>
                  </a:lnTo>
                  <a:lnTo>
                    <a:pt x="261" y="879"/>
                  </a:lnTo>
                  <a:lnTo>
                    <a:pt x="261" y="881"/>
                  </a:lnTo>
                  <a:lnTo>
                    <a:pt x="261" y="879"/>
                  </a:lnTo>
                  <a:close/>
                  <a:moveTo>
                    <a:pt x="282" y="879"/>
                  </a:moveTo>
                  <a:lnTo>
                    <a:pt x="282" y="881"/>
                  </a:lnTo>
                  <a:lnTo>
                    <a:pt x="282" y="879"/>
                  </a:lnTo>
                  <a:lnTo>
                    <a:pt x="282" y="881"/>
                  </a:lnTo>
                  <a:lnTo>
                    <a:pt x="282" y="879"/>
                  </a:lnTo>
                  <a:lnTo>
                    <a:pt x="282" y="881"/>
                  </a:lnTo>
                  <a:lnTo>
                    <a:pt x="282" y="879"/>
                  </a:lnTo>
                  <a:lnTo>
                    <a:pt x="282" y="881"/>
                  </a:lnTo>
                  <a:lnTo>
                    <a:pt x="282" y="879"/>
                  </a:lnTo>
                  <a:close/>
                  <a:moveTo>
                    <a:pt x="265" y="879"/>
                  </a:moveTo>
                  <a:lnTo>
                    <a:pt x="263" y="879"/>
                  </a:lnTo>
                  <a:lnTo>
                    <a:pt x="265" y="879"/>
                  </a:lnTo>
                  <a:close/>
                  <a:moveTo>
                    <a:pt x="289" y="879"/>
                  </a:moveTo>
                  <a:lnTo>
                    <a:pt x="292" y="879"/>
                  </a:lnTo>
                  <a:lnTo>
                    <a:pt x="294" y="879"/>
                  </a:lnTo>
                  <a:lnTo>
                    <a:pt x="292" y="881"/>
                  </a:lnTo>
                  <a:lnTo>
                    <a:pt x="289" y="881"/>
                  </a:lnTo>
                  <a:lnTo>
                    <a:pt x="287" y="881"/>
                  </a:lnTo>
                  <a:lnTo>
                    <a:pt x="287" y="879"/>
                  </a:lnTo>
                  <a:lnTo>
                    <a:pt x="289" y="879"/>
                  </a:lnTo>
                  <a:close/>
                  <a:moveTo>
                    <a:pt x="282" y="879"/>
                  </a:moveTo>
                  <a:lnTo>
                    <a:pt x="280" y="879"/>
                  </a:lnTo>
                  <a:lnTo>
                    <a:pt x="282" y="879"/>
                  </a:lnTo>
                  <a:close/>
                  <a:moveTo>
                    <a:pt x="292" y="879"/>
                  </a:moveTo>
                  <a:lnTo>
                    <a:pt x="294" y="879"/>
                  </a:lnTo>
                  <a:lnTo>
                    <a:pt x="292" y="879"/>
                  </a:lnTo>
                  <a:close/>
                  <a:moveTo>
                    <a:pt x="280" y="877"/>
                  </a:moveTo>
                  <a:lnTo>
                    <a:pt x="280" y="879"/>
                  </a:lnTo>
                  <a:lnTo>
                    <a:pt x="280" y="877"/>
                  </a:lnTo>
                  <a:close/>
                  <a:moveTo>
                    <a:pt x="284" y="877"/>
                  </a:moveTo>
                  <a:lnTo>
                    <a:pt x="284" y="879"/>
                  </a:lnTo>
                  <a:lnTo>
                    <a:pt x="284" y="877"/>
                  </a:lnTo>
                  <a:close/>
                  <a:moveTo>
                    <a:pt x="299" y="877"/>
                  </a:moveTo>
                  <a:lnTo>
                    <a:pt x="296" y="877"/>
                  </a:lnTo>
                  <a:lnTo>
                    <a:pt x="299" y="877"/>
                  </a:lnTo>
                  <a:close/>
                  <a:moveTo>
                    <a:pt x="287" y="874"/>
                  </a:moveTo>
                  <a:lnTo>
                    <a:pt x="287" y="877"/>
                  </a:lnTo>
                  <a:lnTo>
                    <a:pt x="287" y="874"/>
                  </a:lnTo>
                  <a:lnTo>
                    <a:pt x="287" y="877"/>
                  </a:lnTo>
                  <a:lnTo>
                    <a:pt x="284" y="877"/>
                  </a:lnTo>
                  <a:lnTo>
                    <a:pt x="287" y="874"/>
                  </a:lnTo>
                  <a:lnTo>
                    <a:pt x="284" y="874"/>
                  </a:lnTo>
                  <a:lnTo>
                    <a:pt x="287" y="874"/>
                  </a:lnTo>
                  <a:close/>
                  <a:moveTo>
                    <a:pt x="292" y="874"/>
                  </a:moveTo>
                  <a:lnTo>
                    <a:pt x="294" y="874"/>
                  </a:lnTo>
                  <a:lnTo>
                    <a:pt x="296" y="874"/>
                  </a:lnTo>
                  <a:lnTo>
                    <a:pt x="296" y="877"/>
                  </a:lnTo>
                  <a:lnTo>
                    <a:pt x="294" y="877"/>
                  </a:lnTo>
                  <a:lnTo>
                    <a:pt x="292" y="877"/>
                  </a:lnTo>
                  <a:lnTo>
                    <a:pt x="289" y="877"/>
                  </a:lnTo>
                  <a:lnTo>
                    <a:pt x="292" y="874"/>
                  </a:lnTo>
                  <a:lnTo>
                    <a:pt x="292" y="877"/>
                  </a:lnTo>
                  <a:lnTo>
                    <a:pt x="292" y="874"/>
                  </a:lnTo>
                  <a:lnTo>
                    <a:pt x="292" y="877"/>
                  </a:lnTo>
                  <a:lnTo>
                    <a:pt x="292" y="874"/>
                  </a:lnTo>
                  <a:close/>
                  <a:moveTo>
                    <a:pt x="287" y="874"/>
                  </a:moveTo>
                  <a:lnTo>
                    <a:pt x="284" y="874"/>
                  </a:lnTo>
                  <a:lnTo>
                    <a:pt x="287" y="874"/>
                  </a:lnTo>
                  <a:close/>
                  <a:moveTo>
                    <a:pt x="301" y="874"/>
                  </a:moveTo>
                  <a:lnTo>
                    <a:pt x="299" y="874"/>
                  </a:lnTo>
                  <a:lnTo>
                    <a:pt x="301" y="874"/>
                  </a:lnTo>
                  <a:lnTo>
                    <a:pt x="299" y="874"/>
                  </a:lnTo>
                  <a:lnTo>
                    <a:pt x="301" y="874"/>
                  </a:lnTo>
                  <a:lnTo>
                    <a:pt x="299" y="877"/>
                  </a:lnTo>
                  <a:lnTo>
                    <a:pt x="299" y="874"/>
                  </a:lnTo>
                  <a:lnTo>
                    <a:pt x="301" y="874"/>
                  </a:lnTo>
                  <a:close/>
                  <a:moveTo>
                    <a:pt x="294" y="872"/>
                  </a:moveTo>
                  <a:lnTo>
                    <a:pt x="294" y="874"/>
                  </a:lnTo>
                  <a:lnTo>
                    <a:pt x="294" y="872"/>
                  </a:lnTo>
                  <a:lnTo>
                    <a:pt x="294" y="874"/>
                  </a:lnTo>
                  <a:lnTo>
                    <a:pt x="292" y="874"/>
                  </a:lnTo>
                  <a:lnTo>
                    <a:pt x="294" y="874"/>
                  </a:lnTo>
                  <a:lnTo>
                    <a:pt x="294" y="872"/>
                  </a:lnTo>
                  <a:close/>
                  <a:moveTo>
                    <a:pt x="292" y="872"/>
                  </a:moveTo>
                  <a:lnTo>
                    <a:pt x="292" y="874"/>
                  </a:lnTo>
                  <a:lnTo>
                    <a:pt x="292" y="872"/>
                  </a:lnTo>
                  <a:lnTo>
                    <a:pt x="292" y="874"/>
                  </a:lnTo>
                  <a:lnTo>
                    <a:pt x="292" y="872"/>
                  </a:lnTo>
                  <a:close/>
                  <a:moveTo>
                    <a:pt x="299" y="874"/>
                  </a:moveTo>
                  <a:lnTo>
                    <a:pt x="296" y="874"/>
                  </a:lnTo>
                  <a:lnTo>
                    <a:pt x="296" y="872"/>
                  </a:lnTo>
                  <a:lnTo>
                    <a:pt x="299" y="872"/>
                  </a:lnTo>
                  <a:lnTo>
                    <a:pt x="299" y="874"/>
                  </a:lnTo>
                  <a:close/>
                  <a:moveTo>
                    <a:pt x="292" y="872"/>
                  </a:moveTo>
                  <a:lnTo>
                    <a:pt x="289" y="872"/>
                  </a:lnTo>
                  <a:lnTo>
                    <a:pt x="292" y="872"/>
                  </a:lnTo>
                  <a:close/>
                  <a:moveTo>
                    <a:pt x="294" y="870"/>
                  </a:moveTo>
                  <a:lnTo>
                    <a:pt x="294" y="872"/>
                  </a:lnTo>
                  <a:lnTo>
                    <a:pt x="294" y="870"/>
                  </a:lnTo>
                  <a:lnTo>
                    <a:pt x="294" y="872"/>
                  </a:lnTo>
                  <a:lnTo>
                    <a:pt x="292" y="872"/>
                  </a:lnTo>
                  <a:lnTo>
                    <a:pt x="292" y="870"/>
                  </a:lnTo>
                  <a:lnTo>
                    <a:pt x="294" y="870"/>
                  </a:lnTo>
                  <a:close/>
                  <a:moveTo>
                    <a:pt x="292" y="870"/>
                  </a:moveTo>
                  <a:lnTo>
                    <a:pt x="292" y="872"/>
                  </a:lnTo>
                  <a:lnTo>
                    <a:pt x="292" y="870"/>
                  </a:lnTo>
                  <a:close/>
                  <a:moveTo>
                    <a:pt x="299" y="865"/>
                  </a:moveTo>
                  <a:lnTo>
                    <a:pt x="296" y="865"/>
                  </a:lnTo>
                  <a:lnTo>
                    <a:pt x="299" y="865"/>
                  </a:lnTo>
                  <a:lnTo>
                    <a:pt x="299" y="862"/>
                  </a:lnTo>
                  <a:lnTo>
                    <a:pt x="299" y="865"/>
                  </a:lnTo>
                  <a:close/>
                  <a:moveTo>
                    <a:pt x="299" y="865"/>
                  </a:moveTo>
                  <a:lnTo>
                    <a:pt x="299" y="862"/>
                  </a:lnTo>
                  <a:lnTo>
                    <a:pt x="299" y="865"/>
                  </a:lnTo>
                  <a:close/>
                  <a:moveTo>
                    <a:pt x="299" y="862"/>
                  </a:moveTo>
                  <a:lnTo>
                    <a:pt x="299" y="865"/>
                  </a:lnTo>
                  <a:lnTo>
                    <a:pt x="299" y="862"/>
                  </a:lnTo>
                  <a:close/>
                  <a:moveTo>
                    <a:pt x="301" y="862"/>
                  </a:moveTo>
                  <a:lnTo>
                    <a:pt x="301" y="865"/>
                  </a:lnTo>
                  <a:lnTo>
                    <a:pt x="301" y="862"/>
                  </a:lnTo>
                  <a:lnTo>
                    <a:pt x="301" y="865"/>
                  </a:lnTo>
                  <a:lnTo>
                    <a:pt x="301" y="862"/>
                  </a:lnTo>
                  <a:close/>
                  <a:moveTo>
                    <a:pt x="308" y="862"/>
                  </a:moveTo>
                  <a:lnTo>
                    <a:pt x="311" y="862"/>
                  </a:lnTo>
                  <a:lnTo>
                    <a:pt x="311" y="865"/>
                  </a:lnTo>
                  <a:lnTo>
                    <a:pt x="308" y="865"/>
                  </a:lnTo>
                  <a:lnTo>
                    <a:pt x="311" y="865"/>
                  </a:lnTo>
                  <a:lnTo>
                    <a:pt x="308" y="865"/>
                  </a:lnTo>
                  <a:lnTo>
                    <a:pt x="308" y="862"/>
                  </a:lnTo>
                  <a:lnTo>
                    <a:pt x="308" y="865"/>
                  </a:lnTo>
                  <a:lnTo>
                    <a:pt x="308" y="862"/>
                  </a:lnTo>
                  <a:close/>
                  <a:moveTo>
                    <a:pt x="306" y="862"/>
                  </a:moveTo>
                  <a:lnTo>
                    <a:pt x="303" y="862"/>
                  </a:lnTo>
                  <a:lnTo>
                    <a:pt x="303" y="865"/>
                  </a:lnTo>
                  <a:lnTo>
                    <a:pt x="303" y="862"/>
                  </a:lnTo>
                  <a:lnTo>
                    <a:pt x="306" y="862"/>
                  </a:lnTo>
                  <a:close/>
                  <a:moveTo>
                    <a:pt x="306" y="860"/>
                  </a:moveTo>
                  <a:lnTo>
                    <a:pt x="308" y="860"/>
                  </a:lnTo>
                  <a:lnTo>
                    <a:pt x="306" y="860"/>
                  </a:lnTo>
                  <a:close/>
                  <a:moveTo>
                    <a:pt x="311" y="858"/>
                  </a:moveTo>
                  <a:lnTo>
                    <a:pt x="311" y="860"/>
                  </a:lnTo>
                  <a:lnTo>
                    <a:pt x="311" y="858"/>
                  </a:lnTo>
                  <a:lnTo>
                    <a:pt x="308" y="860"/>
                  </a:lnTo>
                  <a:lnTo>
                    <a:pt x="308" y="858"/>
                  </a:lnTo>
                  <a:lnTo>
                    <a:pt x="311" y="858"/>
                  </a:lnTo>
                  <a:close/>
                  <a:moveTo>
                    <a:pt x="303" y="858"/>
                  </a:moveTo>
                  <a:lnTo>
                    <a:pt x="301" y="858"/>
                  </a:lnTo>
                  <a:lnTo>
                    <a:pt x="303" y="858"/>
                  </a:lnTo>
                  <a:close/>
                  <a:moveTo>
                    <a:pt x="318" y="855"/>
                  </a:moveTo>
                  <a:lnTo>
                    <a:pt x="318" y="858"/>
                  </a:lnTo>
                  <a:lnTo>
                    <a:pt x="318" y="855"/>
                  </a:lnTo>
                  <a:lnTo>
                    <a:pt x="318" y="858"/>
                  </a:lnTo>
                  <a:lnTo>
                    <a:pt x="315" y="858"/>
                  </a:lnTo>
                  <a:lnTo>
                    <a:pt x="318" y="858"/>
                  </a:lnTo>
                  <a:lnTo>
                    <a:pt x="315" y="858"/>
                  </a:lnTo>
                  <a:lnTo>
                    <a:pt x="318" y="855"/>
                  </a:lnTo>
                  <a:close/>
                  <a:moveTo>
                    <a:pt x="303" y="855"/>
                  </a:moveTo>
                  <a:lnTo>
                    <a:pt x="301" y="855"/>
                  </a:lnTo>
                  <a:lnTo>
                    <a:pt x="303" y="855"/>
                  </a:lnTo>
                  <a:close/>
                  <a:moveTo>
                    <a:pt x="320" y="855"/>
                  </a:moveTo>
                  <a:lnTo>
                    <a:pt x="320" y="858"/>
                  </a:lnTo>
                  <a:lnTo>
                    <a:pt x="320" y="860"/>
                  </a:lnTo>
                  <a:lnTo>
                    <a:pt x="318" y="860"/>
                  </a:lnTo>
                  <a:lnTo>
                    <a:pt x="318" y="862"/>
                  </a:lnTo>
                  <a:lnTo>
                    <a:pt x="318" y="865"/>
                  </a:lnTo>
                  <a:lnTo>
                    <a:pt x="318" y="867"/>
                  </a:lnTo>
                  <a:lnTo>
                    <a:pt x="315" y="867"/>
                  </a:lnTo>
                  <a:lnTo>
                    <a:pt x="318" y="865"/>
                  </a:lnTo>
                  <a:lnTo>
                    <a:pt x="315" y="865"/>
                  </a:lnTo>
                  <a:lnTo>
                    <a:pt x="315" y="862"/>
                  </a:lnTo>
                  <a:lnTo>
                    <a:pt x="313" y="862"/>
                  </a:lnTo>
                  <a:lnTo>
                    <a:pt x="313" y="860"/>
                  </a:lnTo>
                  <a:lnTo>
                    <a:pt x="311" y="860"/>
                  </a:lnTo>
                  <a:lnTo>
                    <a:pt x="311" y="862"/>
                  </a:lnTo>
                  <a:lnTo>
                    <a:pt x="311" y="860"/>
                  </a:lnTo>
                  <a:lnTo>
                    <a:pt x="313" y="860"/>
                  </a:lnTo>
                  <a:lnTo>
                    <a:pt x="313" y="858"/>
                  </a:lnTo>
                  <a:lnTo>
                    <a:pt x="313" y="860"/>
                  </a:lnTo>
                  <a:lnTo>
                    <a:pt x="313" y="858"/>
                  </a:lnTo>
                  <a:lnTo>
                    <a:pt x="315" y="858"/>
                  </a:lnTo>
                  <a:lnTo>
                    <a:pt x="315" y="860"/>
                  </a:lnTo>
                  <a:lnTo>
                    <a:pt x="315" y="858"/>
                  </a:lnTo>
                  <a:lnTo>
                    <a:pt x="315" y="860"/>
                  </a:lnTo>
                  <a:lnTo>
                    <a:pt x="318" y="858"/>
                  </a:lnTo>
                  <a:lnTo>
                    <a:pt x="318" y="855"/>
                  </a:lnTo>
                  <a:lnTo>
                    <a:pt x="320" y="855"/>
                  </a:lnTo>
                  <a:close/>
                  <a:moveTo>
                    <a:pt x="341" y="853"/>
                  </a:moveTo>
                  <a:lnTo>
                    <a:pt x="341" y="851"/>
                  </a:lnTo>
                  <a:lnTo>
                    <a:pt x="341" y="853"/>
                  </a:lnTo>
                  <a:close/>
                  <a:moveTo>
                    <a:pt x="311" y="851"/>
                  </a:moveTo>
                  <a:lnTo>
                    <a:pt x="308" y="851"/>
                  </a:lnTo>
                  <a:lnTo>
                    <a:pt x="311" y="851"/>
                  </a:lnTo>
                  <a:close/>
                  <a:moveTo>
                    <a:pt x="311" y="851"/>
                  </a:moveTo>
                  <a:lnTo>
                    <a:pt x="308" y="851"/>
                  </a:lnTo>
                  <a:lnTo>
                    <a:pt x="311" y="851"/>
                  </a:lnTo>
                  <a:close/>
                  <a:moveTo>
                    <a:pt x="322" y="851"/>
                  </a:moveTo>
                  <a:lnTo>
                    <a:pt x="322" y="848"/>
                  </a:lnTo>
                  <a:lnTo>
                    <a:pt x="322" y="851"/>
                  </a:lnTo>
                  <a:close/>
                  <a:moveTo>
                    <a:pt x="322" y="848"/>
                  </a:moveTo>
                  <a:lnTo>
                    <a:pt x="322" y="851"/>
                  </a:lnTo>
                  <a:lnTo>
                    <a:pt x="320" y="851"/>
                  </a:lnTo>
                  <a:lnTo>
                    <a:pt x="322" y="848"/>
                  </a:lnTo>
                  <a:close/>
                  <a:moveTo>
                    <a:pt x="329" y="843"/>
                  </a:moveTo>
                  <a:lnTo>
                    <a:pt x="329" y="846"/>
                  </a:lnTo>
                  <a:lnTo>
                    <a:pt x="327" y="846"/>
                  </a:lnTo>
                  <a:lnTo>
                    <a:pt x="329" y="843"/>
                  </a:lnTo>
                  <a:close/>
                  <a:moveTo>
                    <a:pt x="318" y="843"/>
                  </a:moveTo>
                  <a:lnTo>
                    <a:pt x="318" y="846"/>
                  </a:lnTo>
                  <a:lnTo>
                    <a:pt x="318" y="843"/>
                  </a:lnTo>
                  <a:close/>
                  <a:moveTo>
                    <a:pt x="308" y="843"/>
                  </a:moveTo>
                  <a:lnTo>
                    <a:pt x="306" y="843"/>
                  </a:lnTo>
                  <a:lnTo>
                    <a:pt x="308" y="843"/>
                  </a:lnTo>
                  <a:close/>
                  <a:moveTo>
                    <a:pt x="308" y="843"/>
                  </a:moveTo>
                  <a:lnTo>
                    <a:pt x="311" y="843"/>
                  </a:lnTo>
                  <a:lnTo>
                    <a:pt x="308" y="843"/>
                  </a:lnTo>
                  <a:close/>
                  <a:moveTo>
                    <a:pt x="313" y="841"/>
                  </a:moveTo>
                  <a:lnTo>
                    <a:pt x="313" y="843"/>
                  </a:lnTo>
                  <a:lnTo>
                    <a:pt x="313" y="841"/>
                  </a:lnTo>
                  <a:close/>
                  <a:moveTo>
                    <a:pt x="308" y="841"/>
                  </a:moveTo>
                  <a:lnTo>
                    <a:pt x="308" y="843"/>
                  </a:lnTo>
                  <a:lnTo>
                    <a:pt x="306" y="843"/>
                  </a:lnTo>
                  <a:lnTo>
                    <a:pt x="308" y="843"/>
                  </a:lnTo>
                  <a:lnTo>
                    <a:pt x="306" y="843"/>
                  </a:lnTo>
                  <a:lnTo>
                    <a:pt x="308" y="841"/>
                  </a:lnTo>
                  <a:close/>
                  <a:moveTo>
                    <a:pt x="311" y="841"/>
                  </a:moveTo>
                  <a:lnTo>
                    <a:pt x="311" y="843"/>
                  </a:lnTo>
                  <a:lnTo>
                    <a:pt x="308" y="843"/>
                  </a:lnTo>
                  <a:lnTo>
                    <a:pt x="311" y="841"/>
                  </a:lnTo>
                  <a:lnTo>
                    <a:pt x="311" y="843"/>
                  </a:lnTo>
                  <a:lnTo>
                    <a:pt x="308" y="843"/>
                  </a:lnTo>
                  <a:lnTo>
                    <a:pt x="308" y="841"/>
                  </a:lnTo>
                  <a:lnTo>
                    <a:pt x="311" y="841"/>
                  </a:lnTo>
                  <a:close/>
                  <a:moveTo>
                    <a:pt x="322" y="841"/>
                  </a:moveTo>
                  <a:lnTo>
                    <a:pt x="325" y="841"/>
                  </a:lnTo>
                  <a:lnTo>
                    <a:pt x="322" y="841"/>
                  </a:lnTo>
                  <a:lnTo>
                    <a:pt x="325" y="841"/>
                  </a:lnTo>
                  <a:lnTo>
                    <a:pt x="325" y="843"/>
                  </a:lnTo>
                  <a:lnTo>
                    <a:pt x="322" y="843"/>
                  </a:lnTo>
                  <a:lnTo>
                    <a:pt x="325" y="843"/>
                  </a:lnTo>
                  <a:lnTo>
                    <a:pt x="322" y="843"/>
                  </a:lnTo>
                  <a:lnTo>
                    <a:pt x="320" y="843"/>
                  </a:lnTo>
                  <a:lnTo>
                    <a:pt x="320" y="846"/>
                  </a:lnTo>
                  <a:lnTo>
                    <a:pt x="318" y="846"/>
                  </a:lnTo>
                  <a:lnTo>
                    <a:pt x="318" y="843"/>
                  </a:lnTo>
                  <a:lnTo>
                    <a:pt x="320" y="843"/>
                  </a:lnTo>
                  <a:lnTo>
                    <a:pt x="318" y="843"/>
                  </a:lnTo>
                  <a:lnTo>
                    <a:pt x="320" y="843"/>
                  </a:lnTo>
                  <a:lnTo>
                    <a:pt x="320" y="841"/>
                  </a:lnTo>
                  <a:lnTo>
                    <a:pt x="322" y="841"/>
                  </a:lnTo>
                  <a:close/>
                  <a:moveTo>
                    <a:pt x="332" y="841"/>
                  </a:moveTo>
                  <a:lnTo>
                    <a:pt x="332" y="839"/>
                  </a:lnTo>
                  <a:lnTo>
                    <a:pt x="332" y="841"/>
                  </a:lnTo>
                  <a:close/>
                  <a:moveTo>
                    <a:pt x="334" y="836"/>
                  </a:moveTo>
                  <a:lnTo>
                    <a:pt x="337" y="836"/>
                  </a:lnTo>
                  <a:lnTo>
                    <a:pt x="334" y="836"/>
                  </a:lnTo>
                  <a:close/>
                  <a:moveTo>
                    <a:pt x="251" y="836"/>
                  </a:moveTo>
                  <a:lnTo>
                    <a:pt x="249" y="836"/>
                  </a:lnTo>
                  <a:lnTo>
                    <a:pt x="251" y="836"/>
                  </a:lnTo>
                  <a:close/>
                  <a:moveTo>
                    <a:pt x="332" y="834"/>
                  </a:moveTo>
                  <a:lnTo>
                    <a:pt x="334" y="834"/>
                  </a:lnTo>
                  <a:lnTo>
                    <a:pt x="332" y="834"/>
                  </a:lnTo>
                  <a:close/>
                  <a:moveTo>
                    <a:pt x="334" y="832"/>
                  </a:moveTo>
                  <a:lnTo>
                    <a:pt x="337" y="832"/>
                  </a:lnTo>
                  <a:lnTo>
                    <a:pt x="334" y="832"/>
                  </a:lnTo>
                  <a:close/>
                  <a:moveTo>
                    <a:pt x="332" y="832"/>
                  </a:moveTo>
                  <a:lnTo>
                    <a:pt x="334" y="832"/>
                  </a:lnTo>
                  <a:lnTo>
                    <a:pt x="332" y="832"/>
                  </a:lnTo>
                  <a:close/>
                  <a:moveTo>
                    <a:pt x="351" y="832"/>
                  </a:moveTo>
                  <a:lnTo>
                    <a:pt x="348" y="832"/>
                  </a:lnTo>
                  <a:lnTo>
                    <a:pt x="351" y="832"/>
                  </a:lnTo>
                  <a:close/>
                  <a:moveTo>
                    <a:pt x="348" y="827"/>
                  </a:moveTo>
                  <a:lnTo>
                    <a:pt x="348" y="829"/>
                  </a:lnTo>
                  <a:lnTo>
                    <a:pt x="346" y="829"/>
                  </a:lnTo>
                  <a:lnTo>
                    <a:pt x="344" y="829"/>
                  </a:lnTo>
                  <a:lnTo>
                    <a:pt x="346" y="829"/>
                  </a:lnTo>
                  <a:lnTo>
                    <a:pt x="344" y="829"/>
                  </a:lnTo>
                  <a:lnTo>
                    <a:pt x="346" y="829"/>
                  </a:lnTo>
                  <a:lnTo>
                    <a:pt x="346" y="827"/>
                  </a:lnTo>
                  <a:lnTo>
                    <a:pt x="348" y="827"/>
                  </a:lnTo>
                  <a:close/>
                  <a:moveTo>
                    <a:pt x="268" y="827"/>
                  </a:moveTo>
                  <a:lnTo>
                    <a:pt x="268" y="829"/>
                  </a:lnTo>
                  <a:lnTo>
                    <a:pt x="268" y="827"/>
                  </a:lnTo>
                  <a:lnTo>
                    <a:pt x="268" y="829"/>
                  </a:lnTo>
                  <a:lnTo>
                    <a:pt x="268" y="827"/>
                  </a:lnTo>
                  <a:lnTo>
                    <a:pt x="265" y="829"/>
                  </a:lnTo>
                  <a:lnTo>
                    <a:pt x="265" y="827"/>
                  </a:lnTo>
                  <a:lnTo>
                    <a:pt x="265" y="829"/>
                  </a:lnTo>
                  <a:lnTo>
                    <a:pt x="263" y="829"/>
                  </a:lnTo>
                  <a:lnTo>
                    <a:pt x="265" y="829"/>
                  </a:lnTo>
                  <a:lnTo>
                    <a:pt x="265" y="827"/>
                  </a:lnTo>
                  <a:lnTo>
                    <a:pt x="268" y="827"/>
                  </a:lnTo>
                  <a:close/>
                  <a:moveTo>
                    <a:pt x="337" y="824"/>
                  </a:moveTo>
                  <a:lnTo>
                    <a:pt x="334" y="824"/>
                  </a:lnTo>
                  <a:lnTo>
                    <a:pt x="337" y="824"/>
                  </a:lnTo>
                  <a:close/>
                  <a:moveTo>
                    <a:pt x="329" y="822"/>
                  </a:moveTo>
                  <a:lnTo>
                    <a:pt x="329" y="824"/>
                  </a:lnTo>
                  <a:lnTo>
                    <a:pt x="329" y="822"/>
                  </a:lnTo>
                  <a:close/>
                  <a:moveTo>
                    <a:pt x="270" y="822"/>
                  </a:moveTo>
                  <a:lnTo>
                    <a:pt x="270" y="824"/>
                  </a:lnTo>
                  <a:lnTo>
                    <a:pt x="268" y="824"/>
                  </a:lnTo>
                  <a:lnTo>
                    <a:pt x="270" y="824"/>
                  </a:lnTo>
                  <a:lnTo>
                    <a:pt x="270" y="822"/>
                  </a:lnTo>
                  <a:close/>
                  <a:moveTo>
                    <a:pt x="337" y="822"/>
                  </a:moveTo>
                  <a:lnTo>
                    <a:pt x="334" y="822"/>
                  </a:lnTo>
                  <a:lnTo>
                    <a:pt x="337" y="822"/>
                  </a:lnTo>
                  <a:close/>
                  <a:moveTo>
                    <a:pt x="334" y="820"/>
                  </a:moveTo>
                  <a:lnTo>
                    <a:pt x="332" y="820"/>
                  </a:lnTo>
                  <a:lnTo>
                    <a:pt x="334" y="820"/>
                  </a:lnTo>
                  <a:close/>
                  <a:moveTo>
                    <a:pt x="337" y="817"/>
                  </a:moveTo>
                  <a:lnTo>
                    <a:pt x="334" y="820"/>
                  </a:lnTo>
                  <a:lnTo>
                    <a:pt x="334" y="817"/>
                  </a:lnTo>
                  <a:lnTo>
                    <a:pt x="337" y="817"/>
                  </a:lnTo>
                  <a:close/>
                  <a:moveTo>
                    <a:pt x="334" y="817"/>
                  </a:moveTo>
                  <a:lnTo>
                    <a:pt x="334" y="820"/>
                  </a:lnTo>
                  <a:lnTo>
                    <a:pt x="334" y="817"/>
                  </a:lnTo>
                  <a:lnTo>
                    <a:pt x="334" y="820"/>
                  </a:lnTo>
                  <a:lnTo>
                    <a:pt x="334" y="817"/>
                  </a:lnTo>
                  <a:lnTo>
                    <a:pt x="334" y="820"/>
                  </a:lnTo>
                  <a:lnTo>
                    <a:pt x="334" y="817"/>
                  </a:lnTo>
                  <a:lnTo>
                    <a:pt x="337" y="817"/>
                  </a:lnTo>
                  <a:lnTo>
                    <a:pt x="334" y="817"/>
                  </a:lnTo>
                  <a:close/>
                  <a:moveTo>
                    <a:pt x="341" y="813"/>
                  </a:moveTo>
                  <a:lnTo>
                    <a:pt x="341" y="815"/>
                  </a:lnTo>
                  <a:lnTo>
                    <a:pt x="339" y="813"/>
                  </a:lnTo>
                  <a:lnTo>
                    <a:pt x="339" y="815"/>
                  </a:lnTo>
                  <a:lnTo>
                    <a:pt x="339" y="813"/>
                  </a:lnTo>
                  <a:lnTo>
                    <a:pt x="341" y="813"/>
                  </a:lnTo>
                  <a:close/>
                  <a:moveTo>
                    <a:pt x="337" y="815"/>
                  </a:moveTo>
                  <a:lnTo>
                    <a:pt x="339" y="813"/>
                  </a:lnTo>
                  <a:lnTo>
                    <a:pt x="337" y="815"/>
                  </a:lnTo>
                  <a:close/>
                  <a:moveTo>
                    <a:pt x="339" y="815"/>
                  </a:moveTo>
                  <a:lnTo>
                    <a:pt x="339" y="813"/>
                  </a:lnTo>
                  <a:lnTo>
                    <a:pt x="339" y="815"/>
                  </a:lnTo>
                  <a:close/>
                  <a:moveTo>
                    <a:pt x="282" y="813"/>
                  </a:moveTo>
                  <a:lnTo>
                    <a:pt x="280" y="813"/>
                  </a:lnTo>
                  <a:lnTo>
                    <a:pt x="282" y="813"/>
                  </a:lnTo>
                  <a:close/>
                  <a:moveTo>
                    <a:pt x="356" y="810"/>
                  </a:moveTo>
                  <a:lnTo>
                    <a:pt x="358" y="810"/>
                  </a:lnTo>
                  <a:lnTo>
                    <a:pt x="356" y="810"/>
                  </a:lnTo>
                  <a:close/>
                  <a:moveTo>
                    <a:pt x="358" y="810"/>
                  </a:moveTo>
                  <a:lnTo>
                    <a:pt x="360" y="810"/>
                  </a:lnTo>
                  <a:lnTo>
                    <a:pt x="358" y="810"/>
                  </a:lnTo>
                  <a:lnTo>
                    <a:pt x="360" y="810"/>
                  </a:lnTo>
                  <a:lnTo>
                    <a:pt x="358" y="810"/>
                  </a:lnTo>
                  <a:close/>
                  <a:moveTo>
                    <a:pt x="358" y="808"/>
                  </a:moveTo>
                  <a:lnTo>
                    <a:pt x="358" y="810"/>
                  </a:lnTo>
                  <a:lnTo>
                    <a:pt x="358" y="808"/>
                  </a:lnTo>
                  <a:close/>
                  <a:moveTo>
                    <a:pt x="360" y="808"/>
                  </a:moveTo>
                  <a:lnTo>
                    <a:pt x="360" y="810"/>
                  </a:lnTo>
                  <a:lnTo>
                    <a:pt x="360" y="808"/>
                  </a:lnTo>
                  <a:close/>
                  <a:moveTo>
                    <a:pt x="346" y="808"/>
                  </a:moveTo>
                  <a:lnTo>
                    <a:pt x="348" y="808"/>
                  </a:lnTo>
                  <a:lnTo>
                    <a:pt x="348" y="810"/>
                  </a:lnTo>
                  <a:lnTo>
                    <a:pt x="346" y="810"/>
                  </a:lnTo>
                  <a:lnTo>
                    <a:pt x="348" y="810"/>
                  </a:lnTo>
                  <a:lnTo>
                    <a:pt x="348" y="813"/>
                  </a:lnTo>
                  <a:lnTo>
                    <a:pt x="348" y="810"/>
                  </a:lnTo>
                  <a:lnTo>
                    <a:pt x="348" y="813"/>
                  </a:lnTo>
                  <a:lnTo>
                    <a:pt x="348" y="810"/>
                  </a:lnTo>
                  <a:lnTo>
                    <a:pt x="351" y="810"/>
                  </a:lnTo>
                  <a:lnTo>
                    <a:pt x="351" y="813"/>
                  </a:lnTo>
                  <a:lnTo>
                    <a:pt x="353" y="813"/>
                  </a:lnTo>
                  <a:lnTo>
                    <a:pt x="351" y="813"/>
                  </a:lnTo>
                  <a:lnTo>
                    <a:pt x="353" y="813"/>
                  </a:lnTo>
                  <a:lnTo>
                    <a:pt x="351" y="813"/>
                  </a:lnTo>
                  <a:lnTo>
                    <a:pt x="348" y="813"/>
                  </a:lnTo>
                  <a:lnTo>
                    <a:pt x="348" y="815"/>
                  </a:lnTo>
                  <a:lnTo>
                    <a:pt x="348" y="813"/>
                  </a:lnTo>
                  <a:lnTo>
                    <a:pt x="348" y="815"/>
                  </a:lnTo>
                  <a:lnTo>
                    <a:pt x="348" y="813"/>
                  </a:lnTo>
                  <a:lnTo>
                    <a:pt x="346" y="813"/>
                  </a:lnTo>
                  <a:lnTo>
                    <a:pt x="344" y="813"/>
                  </a:lnTo>
                  <a:lnTo>
                    <a:pt x="341" y="813"/>
                  </a:lnTo>
                  <a:lnTo>
                    <a:pt x="344" y="813"/>
                  </a:lnTo>
                  <a:lnTo>
                    <a:pt x="341" y="813"/>
                  </a:lnTo>
                  <a:lnTo>
                    <a:pt x="344" y="813"/>
                  </a:lnTo>
                  <a:lnTo>
                    <a:pt x="341" y="813"/>
                  </a:lnTo>
                  <a:lnTo>
                    <a:pt x="341" y="815"/>
                  </a:lnTo>
                  <a:lnTo>
                    <a:pt x="341" y="813"/>
                  </a:lnTo>
                  <a:lnTo>
                    <a:pt x="341" y="810"/>
                  </a:lnTo>
                  <a:lnTo>
                    <a:pt x="344" y="810"/>
                  </a:lnTo>
                  <a:lnTo>
                    <a:pt x="344" y="813"/>
                  </a:lnTo>
                  <a:lnTo>
                    <a:pt x="344" y="810"/>
                  </a:lnTo>
                  <a:lnTo>
                    <a:pt x="341" y="810"/>
                  </a:lnTo>
                  <a:lnTo>
                    <a:pt x="344" y="810"/>
                  </a:lnTo>
                  <a:lnTo>
                    <a:pt x="346" y="810"/>
                  </a:lnTo>
                  <a:lnTo>
                    <a:pt x="346" y="808"/>
                  </a:lnTo>
                  <a:lnTo>
                    <a:pt x="346" y="810"/>
                  </a:lnTo>
                  <a:lnTo>
                    <a:pt x="346" y="808"/>
                  </a:lnTo>
                  <a:close/>
                  <a:moveTo>
                    <a:pt x="284" y="808"/>
                  </a:moveTo>
                  <a:lnTo>
                    <a:pt x="284" y="810"/>
                  </a:lnTo>
                  <a:lnTo>
                    <a:pt x="284" y="808"/>
                  </a:lnTo>
                  <a:close/>
                  <a:moveTo>
                    <a:pt x="365" y="805"/>
                  </a:moveTo>
                  <a:lnTo>
                    <a:pt x="367" y="808"/>
                  </a:lnTo>
                  <a:lnTo>
                    <a:pt x="370" y="808"/>
                  </a:lnTo>
                  <a:lnTo>
                    <a:pt x="372" y="808"/>
                  </a:lnTo>
                  <a:lnTo>
                    <a:pt x="375" y="808"/>
                  </a:lnTo>
                  <a:lnTo>
                    <a:pt x="375" y="810"/>
                  </a:lnTo>
                  <a:lnTo>
                    <a:pt x="375" y="808"/>
                  </a:lnTo>
                  <a:lnTo>
                    <a:pt x="375" y="810"/>
                  </a:lnTo>
                  <a:lnTo>
                    <a:pt x="372" y="810"/>
                  </a:lnTo>
                  <a:lnTo>
                    <a:pt x="370" y="810"/>
                  </a:lnTo>
                  <a:lnTo>
                    <a:pt x="370" y="808"/>
                  </a:lnTo>
                  <a:lnTo>
                    <a:pt x="367" y="808"/>
                  </a:lnTo>
                  <a:lnTo>
                    <a:pt x="370" y="808"/>
                  </a:lnTo>
                  <a:lnTo>
                    <a:pt x="367" y="808"/>
                  </a:lnTo>
                  <a:lnTo>
                    <a:pt x="365" y="808"/>
                  </a:lnTo>
                  <a:lnTo>
                    <a:pt x="367" y="808"/>
                  </a:lnTo>
                  <a:lnTo>
                    <a:pt x="367" y="810"/>
                  </a:lnTo>
                  <a:lnTo>
                    <a:pt x="365" y="810"/>
                  </a:lnTo>
                  <a:lnTo>
                    <a:pt x="363" y="810"/>
                  </a:lnTo>
                  <a:lnTo>
                    <a:pt x="360" y="810"/>
                  </a:lnTo>
                  <a:lnTo>
                    <a:pt x="360" y="808"/>
                  </a:lnTo>
                  <a:lnTo>
                    <a:pt x="358" y="808"/>
                  </a:lnTo>
                  <a:lnTo>
                    <a:pt x="360" y="808"/>
                  </a:lnTo>
                  <a:lnTo>
                    <a:pt x="358" y="808"/>
                  </a:lnTo>
                  <a:lnTo>
                    <a:pt x="360" y="808"/>
                  </a:lnTo>
                  <a:lnTo>
                    <a:pt x="363" y="808"/>
                  </a:lnTo>
                  <a:lnTo>
                    <a:pt x="365" y="808"/>
                  </a:lnTo>
                  <a:lnTo>
                    <a:pt x="365" y="805"/>
                  </a:lnTo>
                  <a:close/>
                  <a:moveTo>
                    <a:pt x="360" y="805"/>
                  </a:moveTo>
                  <a:lnTo>
                    <a:pt x="360" y="808"/>
                  </a:lnTo>
                  <a:lnTo>
                    <a:pt x="360" y="805"/>
                  </a:lnTo>
                  <a:close/>
                  <a:moveTo>
                    <a:pt x="351" y="805"/>
                  </a:moveTo>
                  <a:lnTo>
                    <a:pt x="351" y="808"/>
                  </a:lnTo>
                  <a:lnTo>
                    <a:pt x="353" y="808"/>
                  </a:lnTo>
                  <a:lnTo>
                    <a:pt x="353" y="810"/>
                  </a:lnTo>
                  <a:lnTo>
                    <a:pt x="351" y="810"/>
                  </a:lnTo>
                  <a:lnTo>
                    <a:pt x="348" y="810"/>
                  </a:lnTo>
                  <a:lnTo>
                    <a:pt x="348" y="808"/>
                  </a:lnTo>
                  <a:lnTo>
                    <a:pt x="351" y="808"/>
                  </a:lnTo>
                  <a:lnTo>
                    <a:pt x="351" y="805"/>
                  </a:lnTo>
                  <a:close/>
                  <a:moveTo>
                    <a:pt x="299" y="805"/>
                  </a:moveTo>
                  <a:lnTo>
                    <a:pt x="299" y="803"/>
                  </a:lnTo>
                  <a:lnTo>
                    <a:pt x="299" y="805"/>
                  </a:lnTo>
                  <a:close/>
                  <a:moveTo>
                    <a:pt x="386" y="803"/>
                  </a:moveTo>
                  <a:lnTo>
                    <a:pt x="386" y="805"/>
                  </a:lnTo>
                  <a:lnTo>
                    <a:pt x="384" y="805"/>
                  </a:lnTo>
                  <a:lnTo>
                    <a:pt x="382" y="805"/>
                  </a:lnTo>
                  <a:lnTo>
                    <a:pt x="384" y="805"/>
                  </a:lnTo>
                  <a:lnTo>
                    <a:pt x="384" y="803"/>
                  </a:lnTo>
                  <a:lnTo>
                    <a:pt x="386" y="803"/>
                  </a:lnTo>
                  <a:close/>
                  <a:moveTo>
                    <a:pt x="282" y="803"/>
                  </a:moveTo>
                  <a:lnTo>
                    <a:pt x="284" y="803"/>
                  </a:lnTo>
                  <a:lnTo>
                    <a:pt x="282" y="803"/>
                  </a:lnTo>
                  <a:lnTo>
                    <a:pt x="282" y="805"/>
                  </a:lnTo>
                  <a:lnTo>
                    <a:pt x="280" y="805"/>
                  </a:lnTo>
                  <a:lnTo>
                    <a:pt x="280" y="808"/>
                  </a:lnTo>
                  <a:lnTo>
                    <a:pt x="280" y="805"/>
                  </a:lnTo>
                  <a:lnTo>
                    <a:pt x="280" y="808"/>
                  </a:lnTo>
                  <a:lnTo>
                    <a:pt x="282" y="808"/>
                  </a:lnTo>
                  <a:lnTo>
                    <a:pt x="282" y="805"/>
                  </a:lnTo>
                  <a:lnTo>
                    <a:pt x="282" y="808"/>
                  </a:lnTo>
                  <a:lnTo>
                    <a:pt x="284" y="808"/>
                  </a:lnTo>
                  <a:lnTo>
                    <a:pt x="282" y="808"/>
                  </a:lnTo>
                  <a:lnTo>
                    <a:pt x="284" y="808"/>
                  </a:lnTo>
                  <a:lnTo>
                    <a:pt x="282" y="808"/>
                  </a:lnTo>
                  <a:lnTo>
                    <a:pt x="284" y="808"/>
                  </a:lnTo>
                  <a:lnTo>
                    <a:pt x="282" y="808"/>
                  </a:lnTo>
                  <a:lnTo>
                    <a:pt x="284" y="808"/>
                  </a:lnTo>
                  <a:lnTo>
                    <a:pt x="282" y="810"/>
                  </a:lnTo>
                  <a:lnTo>
                    <a:pt x="284" y="810"/>
                  </a:lnTo>
                  <a:lnTo>
                    <a:pt x="282" y="810"/>
                  </a:lnTo>
                  <a:lnTo>
                    <a:pt x="282" y="813"/>
                  </a:lnTo>
                  <a:lnTo>
                    <a:pt x="282" y="810"/>
                  </a:lnTo>
                  <a:lnTo>
                    <a:pt x="280" y="810"/>
                  </a:lnTo>
                  <a:lnTo>
                    <a:pt x="280" y="813"/>
                  </a:lnTo>
                  <a:lnTo>
                    <a:pt x="280" y="810"/>
                  </a:lnTo>
                  <a:lnTo>
                    <a:pt x="277" y="810"/>
                  </a:lnTo>
                  <a:lnTo>
                    <a:pt x="280" y="810"/>
                  </a:lnTo>
                  <a:lnTo>
                    <a:pt x="277" y="810"/>
                  </a:lnTo>
                  <a:lnTo>
                    <a:pt x="277" y="813"/>
                  </a:lnTo>
                  <a:lnTo>
                    <a:pt x="280" y="813"/>
                  </a:lnTo>
                  <a:lnTo>
                    <a:pt x="280" y="815"/>
                  </a:lnTo>
                  <a:lnTo>
                    <a:pt x="277" y="815"/>
                  </a:lnTo>
                  <a:lnTo>
                    <a:pt x="280" y="815"/>
                  </a:lnTo>
                  <a:lnTo>
                    <a:pt x="277" y="815"/>
                  </a:lnTo>
                  <a:lnTo>
                    <a:pt x="275" y="815"/>
                  </a:lnTo>
                  <a:lnTo>
                    <a:pt x="275" y="817"/>
                  </a:lnTo>
                  <a:lnTo>
                    <a:pt x="273" y="817"/>
                  </a:lnTo>
                  <a:lnTo>
                    <a:pt x="273" y="820"/>
                  </a:lnTo>
                  <a:lnTo>
                    <a:pt x="270" y="820"/>
                  </a:lnTo>
                  <a:lnTo>
                    <a:pt x="270" y="817"/>
                  </a:lnTo>
                  <a:lnTo>
                    <a:pt x="273" y="817"/>
                  </a:lnTo>
                  <a:lnTo>
                    <a:pt x="270" y="817"/>
                  </a:lnTo>
                  <a:lnTo>
                    <a:pt x="273" y="817"/>
                  </a:lnTo>
                  <a:lnTo>
                    <a:pt x="273" y="815"/>
                  </a:lnTo>
                  <a:lnTo>
                    <a:pt x="273" y="813"/>
                  </a:lnTo>
                  <a:lnTo>
                    <a:pt x="275" y="813"/>
                  </a:lnTo>
                  <a:lnTo>
                    <a:pt x="275" y="810"/>
                  </a:lnTo>
                  <a:lnTo>
                    <a:pt x="277" y="810"/>
                  </a:lnTo>
                  <a:lnTo>
                    <a:pt x="275" y="808"/>
                  </a:lnTo>
                  <a:lnTo>
                    <a:pt x="277" y="808"/>
                  </a:lnTo>
                  <a:lnTo>
                    <a:pt x="275" y="808"/>
                  </a:lnTo>
                  <a:lnTo>
                    <a:pt x="277" y="808"/>
                  </a:lnTo>
                  <a:lnTo>
                    <a:pt x="277" y="805"/>
                  </a:lnTo>
                  <a:lnTo>
                    <a:pt x="280" y="805"/>
                  </a:lnTo>
                  <a:lnTo>
                    <a:pt x="280" y="803"/>
                  </a:lnTo>
                  <a:lnTo>
                    <a:pt x="282" y="803"/>
                  </a:lnTo>
                  <a:close/>
                  <a:moveTo>
                    <a:pt x="318" y="798"/>
                  </a:moveTo>
                  <a:lnTo>
                    <a:pt x="318" y="801"/>
                  </a:lnTo>
                  <a:lnTo>
                    <a:pt x="318" y="798"/>
                  </a:lnTo>
                  <a:close/>
                  <a:moveTo>
                    <a:pt x="370" y="798"/>
                  </a:moveTo>
                  <a:lnTo>
                    <a:pt x="370" y="801"/>
                  </a:lnTo>
                  <a:lnTo>
                    <a:pt x="372" y="798"/>
                  </a:lnTo>
                  <a:lnTo>
                    <a:pt x="372" y="801"/>
                  </a:lnTo>
                  <a:lnTo>
                    <a:pt x="370" y="801"/>
                  </a:lnTo>
                  <a:lnTo>
                    <a:pt x="372" y="801"/>
                  </a:lnTo>
                  <a:lnTo>
                    <a:pt x="370" y="801"/>
                  </a:lnTo>
                  <a:lnTo>
                    <a:pt x="372" y="801"/>
                  </a:lnTo>
                  <a:lnTo>
                    <a:pt x="370" y="801"/>
                  </a:lnTo>
                  <a:lnTo>
                    <a:pt x="367" y="801"/>
                  </a:lnTo>
                  <a:lnTo>
                    <a:pt x="370" y="801"/>
                  </a:lnTo>
                  <a:lnTo>
                    <a:pt x="370" y="798"/>
                  </a:lnTo>
                  <a:close/>
                  <a:moveTo>
                    <a:pt x="292" y="798"/>
                  </a:moveTo>
                  <a:lnTo>
                    <a:pt x="292" y="801"/>
                  </a:lnTo>
                  <a:lnTo>
                    <a:pt x="294" y="801"/>
                  </a:lnTo>
                  <a:lnTo>
                    <a:pt x="292" y="801"/>
                  </a:lnTo>
                  <a:lnTo>
                    <a:pt x="292" y="803"/>
                  </a:lnTo>
                  <a:lnTo>
                    <a:pt x="292" y="805"/>
                  </a:lnTo>
                  <a:lnTo>
                    <a:pt x="292" y="808"/>
                  </a:lnTo>
                  <a:lnTo>
                    <a:pt x="289" y="808"/>
                  </a:lnTo>
                  <a:lnTo>
                    <a:pt x="289" y="805"/>
                  </a:lnTo>
                  <a:lnTo>
                    <a:pt x="289" y="808"/>
                  </a:lnTo>
                  <a:lnTo>
                    <a:pt x="287" y="808"/>
                  </a:lnTo>
                  <a:lnTo>
                    <a:pt x="287" y="805"/>
                  </a:lnTo>
                  <a:lnTo>
                    <a:pt x="284" y="805"/>
                  </a:lnTo>
                  <a:lnTo>
                    <a:pt x="284" y="808"/>
                  </a:lnTo>
                  <a:lnTo>
                    <a:pt x="284" y="805"/>
                  </a:lnTo>
                  <a:lnTo>
                    <a:pt x="282" y="805"/>
                  </a:lnTo>
                  <a:lnTo>
                    <a:pt x="284" y="805"/>
                  </a:lnTo>
                  <a:lnTo>
                    <a:pt x="284" y="803"/>
                  </a:lnTo>
                  <a:lnTo>
                    <a:pt x="284" y="805"/>
                  </a:lnTo>
                  <a:lnTo>
                    <a:pt x="284" y="803"/>
                  </a:lnTo>
                  <a:lnTo>
                    <a:pt x="287" y="803"/>
                  </a:lnTo>
                  <a:lnTo>
                    <a:pt x="284" y="803"/>
                  </a:lnTo>
                  <a:lnTo>
                    <a:pt x="287" y="803"/>
                  </a:lnTo>
                  <a:lnTo>
                    <a:pt x="289" y="803"/>
                  </a:lnTo>
                  <a:lnTo>
                    <a:pt x="287" y="803"/>
                  </a:lnTo>
                  <a:lnTo>
                    <a:pt x="289" y="803"/>
                  </a:lnTo>
                  <a:lnTo>
                    <a:pt x="289" y="805"/>
                  </a:lnTo>
                  <a:lnTo>
                    <a:pt x="289" y="803"/>
                  </a:lnTo>
                  <a:lnTo>
                    <a:pt x="289" y="805"/>
                  </a:lnTo>
                  <a:lnTo>
                    <a:pt x="289" y="803"/>
                  </a:lnTo>
                  <a:lnTo>
                    <a:pt x="289" y="801"/>
                  </a:lnTo>
                  <a:lnTo>
                    <a:pt x="287" y="801"/>
                  </a:lnTo>
                  <a:lnTo>
                    <a:pt x="289" y="801"/>
                  </a:lnTo>
                  <a:lnTo>
                    <a:pt x="287" y="798"/>
                  </a:lnTo>
                  <a:lnTo>
                    <a:pt x="289" y="798"/>
                  </a:lnTo>
                  <a:lnTo>
                    <a:pt x="292" y="798"/>
                  </a:lnTo>
                  <a:close/>
                  <a:moveTo>
                    <a:pt x="308" y="798"/>
                  </a:moveTo>
                  <a:lnTo>
                    <a:pt x="306" y="798"/>
                  </a:lnTo>
                  <a:lnTo>
                    <a:pt x="308" y="798"/>
                  </a:lnTo>
                  <a:close/>
                  <a:moveTo>
                    <a:pt x="334" y="798"/>
                  </a:moveTo>
                  <a:lnTo>
                    <a:pt x="337" y="798"/>
                  </a:lnTo>
                  <a:lnTo>
                    <a:pt x="334" y="798"/>
                  </a:lnTo>
                  <a:close/>
                  <a:moveTo>
                    <a:pt x="379" y="798"/>
                  </a:moveTo>
                  <a:lnTo>
                    <a:pt x="377" y="798"/>
                  </a:lnTo>
                  <a:lnTo>
                    <a:pt x="379" y="798"/>
                  </a:lnTo>
                  <a:lnTo>
                    <a:pt x="379" y="796"/>
                  </a:lnTo>
                  <a:lnTo>
                    <a:pt x="379" y="798"/>
                  </a:lnTo>
                  <a:close/>
                  <a:moveTo>
                    <a:pt x="389" y="798"/>
                  </a:moveTo>
                  <a:lnTo>
                    <a:pt x="386" y="798"/>
                  </a:lnTo>
                  <a:lnTo>
                    <a:pt x="389" y="798"/>
                  </a:lnTo>
                  <a:lnTo>
                    <a:pt x="389" y="796"/>
                  </a:lnTo>
                  <a:lnTo>
                    <a:pt x="389" y="798"/>
                  </a:lnTo>
                  <a:close/>
                  <a:moveTo>
                    <a:pt x="337" y="796"/>
                  </a:moveTo>
                  <a:lnTo>
                    <a:pt x="339" y="796"/>
                  </a:lnTo>
                  <a:lnTo>
                    <a:pt x="337" y="796"/>
                  </a:lnTo>
                  <a:lnTo>
                    <a:pt x="337" y="798"/>
                  </a:lnTo>
                  <a:lnTo>
                    <a:pt x="334" y="798"/>
                  </a:lnTo>
                  <a:lnTo>
                    <a:pt x="334" y="796"/>
                  </a:lnTo>
                  <a:lnTo>
                    <a:pt x="337" y="796"/>
                  </a:lnTo>
                  <a:close/>
                  <a:moveTo>
                    <a:pt x="320" y="794"/>
                  </a:moveTo>
                  <a:lnTo>
                    <a:pt x="318" y="794"/>
                  </a:lnTo>
                  <a:lnTo>
                    <a:pt x="320" y="794"/>
                  </a:lnTo>
                  <a:close/>
                  <a:moveTo>
                    <a:pt x="348" y="794"/>
                  </a:moveTo>
                  <a:lnTo>
                    <a:pt x="346" y="794"/>
                  </a:lnTo>
                  <a:lnTo>
                    <a:pt x="348" y="794"/>
                  </a:lnTo>
                  <a:close/>
                  <a:moveTo>
                    <a:pt x="360" y="791"/>
                  </a:moveTo>
                  <a:lnTo>
                    <a:pt x="358" y="791"/>
                  </a:lnTo>
                  <a:lnTo>
                    <a:pt x="360" y="791"/>
                  </a:lnTo>
                  <a:close/>
                  <a:moveTo>
                    <a:pt x="353" y="791"/>
                  </a:moveTo>
                  <a:lnTo>
                    <a:pt x="356" y="791"/>
                  </a:lnTo>
                  <a:lnTo>
                    <a:pt x="353" y="791"/>
                  </a:lnTo>
                  <a:close/>
                  <a:moveTo>
                    <a:pt x="394" y="791"/>
                  </a:moveTo>
                  <a:lnTo>
                    <a:pt x="391" y="791"/>
                  </a:lnTo>
                  <a:lnTo>
                    <a:pt x="394" y="791"/>
                  </a:lnTo>
                  <a:close/>
                  <a:moveTo>
                    <a:pt x="341" y="791"/>
                  </a:moveTo>
                  <a:lnTo>
                    <a:pt x="341" y="794"/>
                  </a:lnTo>
                  <a:lnTo>
                    <a:pt x="339" y="794"/>
                  </a:lnTo>
                  <a:lnTo>
                    <a:pt x="341" y="794"/>
                  </a:lnTo>
                  <a:lnTo>
                    <a:pt x="339" y="794"/>
                  </a:lnTo>
                  <a:lnTo>
                    <a:pt x="339" y="796"/>
                  </a:lnTo>
                  <a:lnTo>
                    <a:pt x="337" y="796"/>
                  </a:lnTo>
                  <a:lnTo>
                    <a:pt x="339" y="796"/>
                  </a:lnTo>
                  <a:lnTo>
                    <a:pt x="337" y="796"/>
                  </a:lnTo>
                  <a:lnTo>
                    <a:pt x="337" y="794"/>
                  </a:lnTo>
                  <a:lnTo>
                    <a:pt x="339" y="791"/>
                  </a:lnTo>
                  <a:lnTo>
                    <a:pt x="341" y="791"/>
                  </a:lnTo>
                  <a:close/>
                  <a:moveTo>
                    <a:pt x="367" y="791"/>
                  </a:moveTo>
                  <a:lnTo>
                    <a:pt x="365" y="791"/>
                  </a:lnTo>
                  <a:lnTo>
                    <a:pt x="367" y="791"/>
                  </a:lnTo>
                  <a:close/>
                  <a:moveTo>
                    <a:pt x="356" y="791"/>
                  </a:moveTo>
                  <a:lnTo>
                    <a:pt x="353" y="791"/>
                  </a:lnTo>
                  <a:lnTo>
                    <a:pt x="353" y="789"/>
                  </a:lnTo>
                  <a:lnTo>
                    <a:pt x="356" y="789"/>
                  </a:lnTo>
                  <a:lnTo>
                    <a:pt x="353" y="789"/>
                  </a:lnTo>
                  <a:lnTo>
                    <a:pt x="356" y="791"/>
                  </a:lnTo>
                  <a:close/>
                  <a:moveTo>
                    <a:pt x="363" y="791"/>
                  </a:moveTo>
                  <a:lnTo>
                    <a:pt x="360" y="791"/>
                  </a:lnTo>
                  <a:lnTo>
                    <a:pt x="363" y="791"/>
                  </a:lnTo>
                  <a:lnTo>
                    <a:pt x="360" y="791"/>
                  </a:lnTo>
                  <a:lnTo>
                    <a:pt x="360" y="789"/>
                  </a:lnTo>
                  <a:lnTo>
                    <a:pt x="363" y="789"/>
                  </a:lnTo>
                  <a:lnTo>
                    <a:pt x="363" y="791"/>
                  </a:lnTo>
                  <a:close/>
                  <a:moveTo>
                    <a:pt x="353" y="789"/>
                  </a:moveTo>
                  <a:lnTo>
                    <a:pt x="353" y="791"/>
                  </a:lnTo>
                  <a:lnTo>
                    <a:pt x="351" y="791"/>
                  </a:lnTo>
                  <a:lnTo>
                    <a:pt x="353" y="791"/>
                  </a:lnTo>
                  <a:lnTo>
                    <a:pt x="353" y="789"/>
                  </a:lnTo>
                  <a:lnTo>
                    <a:pt x="353" y="791"/>
                  </a:lnTo>
                  <a:lnTo>
                    <a:pt x="353" y="789"/>
                  </a:lnTo>
                  <a:close/>
                  <a:moveTo>
                    <a:pt x="318" y="789"/>
                  </a:moveTo>
                  <a:lnTo>
                    <a:pt x="320" y="789"/>
                  </a:lnTo>
                  <a:lnTo>
                    <a:pt x="318" y="789"/>
                  </a:lnTo>
                  <a:close/>
                  <a:moveTo>
                    <a:pt x="386" y="789"/>
                  </a:moveTo>
                  <a:lnTo>
                    <a:pt x="384" y="789"/>
                  </a:lnTo>
                  <a:lnTo>
                    <a:pt x="386" y="789"/>
                  </a:lnTo>
                  <a:close/>
                  <a:moveTo>
                    <a:pt x="384" y="789"/>
                  </a:moveTo>
                  <a:lnTo>
                    <a:pt x="382" y="789"/>
                  </a:lnTo>
                  <a:lnTo>
                    <a:pt x="384" y="789"/>
                  </a:lnTo>
                  <a:close/>
                  <a:moveTo>
                    <a:pt x="382" y="789"/>
                  </a:moveTo>
                  <a:lnTo>
                    <a:pt x="379" y="789"/>
                  </a:lnTo>
                  <a:lnTo>
                    <a:pt x="377" y="789"/>
                  </a:lnTo>
                  <a:lnTo>
                    <a:pt x="379" y="789"/>
                  </a:lnTo>
                  <a:lnTo>
                    <a:pt x="382" y="789"/>
                  </a:lnTo>
                  <a:close/>
                  <a:moveTo>
                    <a:pt x="325" y="789"/>
                  </a:moveTo>
                  <a:lnTo>
                    <a:pt x="322" y="789"/>
                  </a:lnTo>
                  <a:lnTo>
                    <a:pt x="325" y="789"/>
                  </a:lnTo>
                  <a:lnTo>
                    <a:pt x="322" y="789"/>
                  </a:lnTo>
                  <a:lnTo>
                    <a:pt x="322" y="786"/>
                  </a:lnTo>
                  <a:lnTo>
                    <a:pt x="322" y="789"/>
                  </a:lnTo>
                  <a:lnTo>
                    <a:pt x="325" y="786"/>
                  </a:lnTo>
                  <a:lnTo>
                    <a:pt x="325" y="789"/>
                  </a:lnTo>
                  <a:close/>
                  <a:moveTo>
                    <a:pt x="344" y="789"/>
                  </a:moveTo>
                  <a:lnTo>
                    <a:pt x="344" y="786"/>
                  </a:lnTo>
                  <a:lnTo>
                    <a:pt x="346" y="786"/>
                  </a:lnTo>
                  <a:lnTo>
                    <a:pt x="346" y="789"/>
                  </a:lnTo>
                  <a:lnTo>
                    <a:pt x="344" y="789"/>
                  </a:lnTo>
                  <a:close/>
                  <a:moveTo>
                    <a:pt x="325" y="786"/>
                  </a:moveTo>
                  <a:lnTo>
                    <a:pt x="325" y="789"/>
                  </a:lnTo>
                  <a:lnTo>
                    <a:pt x="325" y="786"/>
                  </a:lnTo>
                  <a:close/>
                  <a:moveTo>
                    <a:pt x="325" y="786"/>
                  </a:moveTo>
                  <a:lnTo>
                    <a:pt x="322" y="786"/>
                  </a:lnTo>
                  <a:lnTo>
                    <a:pt x="325" y="786"/>
                  </a:lnTo>
                  <a:close/>
                  <a:moveTo>
                    <a:pt x="356" y="786"/>
                  </a:moveTo>
                  <a:lnTo>
                    <a:pt x="353" y="786"/>
                  </a:lnTo>
                  <a:lnTo>
                    <a:pt x="356" y="786"/>
                  </a:lnTo>
                  <a:lnTo>
                    <a:pt x="353" y="786"/>
                  </a:lnTo>
                  <a:lnTo>
                    <a:pt x="356" y="786"/>
                  </a:lnTo>
                  <a:close/>
                  <a:moveTo>
                    <a:pt x="351" y="779"/>
                  </a:moveTo>
                  <a:lnTo>
                    <a:pt x="351" y="782"/>
                  </a:lnTo>
                  <a:lnTo>
                    <a:pt x="348" y="782"/>
                  </a:lnTo>
                  <a:lnTo>
                    <a:pt x="348" y="779"/>
                  </a:lnTo>
                  <a:lnTo>
                    <a:pt x="348" y="782"/>
                  </a:lnTo>
                  <a:lnTo>
                    <a:pt x="348" y="779"/>
                  </a:lnTo>
                  <a:lnTo>
                    <a:pt x="351" y="779"/>
                  </a:lnTo>
                  <a:close/>
                  <a:moveTo>
                    <a:pt x="408" y="782"/>
                  </a:moveTo>
                  <a:lnTo>
                    <a:pt x="405" y="782"/>
                  </a:lnTo>
                  <a:lnTo>
                    <a:pt x="408" y="779"/>
                  </a:lnTo>
                  <a:lnTo>
                    <a:pt x="408" y="782"/>
                  </a:lnTo>
                  <a:close/>
                  <a:moveTo>
                    <a:pt x="389" y="777"/>
                  </a:moveTo>
                  <a:lnTo>
                    <a:pt x="391" y="777"/>
                  </a:lnTo>
                  <a:lnTo>
                    <a:pt x="391" y="779"/>
                  </a:lnTo>
                  <a:lnTo>
                    <a:pt x="394" y="779"/>
                  </a:lnTo>
                  <a:lnTo>
                    <a:pt x="394" y="782"/>
                  </a:lnTo>
                  <a:lnTo>
                    <a:pt x="391" y="782"/>
                  </a:lnTo>
                  <a:lnTo>
                    <a:pt x="391" y="784"/>
                  </a:lnTo>
                  <a:lnTo>
                    <a:pt x="389" y="784"/>
                  </a:lnTo>
                  <a:lnTo>
                    <a:pt x="386" y="784"/>
                  </a:lnTo>
                  <a:lnTo>
                    <a:pt x="384" y="784"/>
                  </a:lnTo>
                  <a:lnTo>
                    <a:pt x="384" y="786"/>
                  </a:lnTo>
                  <a:lnTo>
                    <a:pt x="382" y="786"/>
                  </a:lnTo>
                  <a:lnTo>
                    <a:pt x="379" y="786"/>
                  </a:lnTo>
                  <a:lnTo>
                    <a:pt x="379" y="784"/>
                  </a:lnTo>
                  <a:lnTo>
                    <a:pt x="379" y="786"/>
                  </a:lnTo>
                  <a:lnTo>
                    <a:pt x="379" y="784"/>
                  </a:lnTo>
                  <a:lnTo>
                    <a:pt x="382" y="784"/>
                  </a:lnTo>
                  <a:lnTo>
                    <a:pt x="382" y="782"/>
                  </a:lnTo>
                  <a:lnTo>
                    <a:pt x="384" y="784"/>
                  </a:lnTo>
                  <a:lnTo>
                    <a:pt x="384" y="782"/>
                  </a:lnTo>
                  <a:lnTo>
                    <a:pt x="382" y="782"/>
                  </a:lnTo>
                  <a:lnTo>
                    <a:pt x="379" y="782"/>
                  </a:lnTo>
                  <a:lnTo>
                    <a:pt x="382" y="782"/>
                  </a:lnTo>
                  <a:lnTo>
                    <a:pt x="382" y="779"/>
                  </a:lnTo>
                  <a:lnTo>
                    <a:pt x="384" y="779"/>
                  </a:lnTo>
                  <a:lnTo>
                    <a:pt x="384" y="777"/>
                  </a:lnTo>
                  <a:lnTo>
                    <a:pt x="386" y="777"/>
                  </a:lnTo>
                  <a:lnTo>
                    <a:pt x="389" y="777"/>
                  </a:lnTo>
                  <a:close/>
                  <a:moveTo>
                    <a:pt x="341" y="775"/>
                  </a:moveTo>
                  <a:lnTo>
                    <a:pt x="341" y="777"/>
                  </a:lnTo>
                  <a:lnTo>
                    <a:pt x="341" y="775"/>
                  </a:lnTo>
                  <a:close/>
                  <a:moveTo>
                    <a:pt x="334" y="775"/>
                  </a:moveTo>
                  <a:lnTo>
                    <a:pt x="337" y="775"/>
                  </a:lnTo>
                  <a:lnTo>
                    <a:pt x="339" y="775"/>
                  </a:lnTo>
                  <a:lnTo>
                    <a:pt x="341" y="775"/>
                  </a:lnTo>
                  <a:lnTo>
                    <a:pt x="341" y="777"/>
                  </a:lnTo>
                  <a:lnTo>
                    <a:pt x="344" y="777"/>
                  </a:lnTo>
                  <a:lnTo>
                    <a:pt x="341" y="777"/>
                  </a:lnTo>
                  <a:lnTo>
                    <a:pt x="341" y="779"/>
                  </a:lnTo>
                  <a:lnTo>
                    <a:pt x="339" y="779"/>
                  </a:lnTo>
                  <a:lnTo>
                    <a:pt x="337" y="779"/>
                  </a:lnTo>
                  <a:lnTo>
                    <a:pt x="334" y="779"/>
                  </a:lnTo>
                  <a:lnTo>
                    <a:pt x="334" y="777"/>
                  </a:lnTo>
                  <a:lnTo>
                    <a:pt x="334" y="779"/>
                  </a:lnTo>
                  <a:lnTo>
                    <a:pt x="332" y="777"/>
                  </a:lnTo>
                  <a:lnTo>
                    <a:pt x="332" y="779"/>
                  </a:lnTo>
                  <a:lnTo>
                    <a:pt x="332" y="777"/>
                  </a:lnTo>
                  <a:lnTo>
                    <a:pt x="332" y="775"/>
                  </a:lnTo>
                  <a:lnTo>
                    <a:pt x="334" y="775"/>
                  </a:lnTo>
                  <a:close/>
                  <a:moveTo>
                    <a:pt x="337" y="775"/>
                  </a:moveTo>
                  <a:lnTo>
                    <a:pt x="339" y="775"/>
                  </a:lnTo>
                  <a:lnTo>
                    <a:pt x="337" y="775"/>
                  </a:lnTo>
                  <a:close/>
                  <a:moveTo>
                    <a:pt x="322" y="775"/>
                  </a:moveTo>
                  <a:lnTo>
                    <a:pt x="320" y="775"/>
                  </a:lnTo>
                  <a:lnTo>
                    <a:pt x="322" y="775"/>
                  </a:lnTo>
                  <a:close/>
                  <a:moveTo>
                    <a:pt x="322" y="772"/>
                  </a:moveTo>
                  <a:lnTo>
                    <a:pt x="322" y="775"/>
                  </a:lnTo>
                  <a:lnTo>
                    <a:pt x="320" y="775"/>
                  </a:lnTo>
                  <a:lnTo>
                    <a:pt x="320" y="772"/>
                  </a:lnTo>
                  <a:lnTo>
                    <a:pt x="322" y="772"/>
                  </a:lnTo>
                  <a:lnTo>
                    <a:pt x="320" y="772"/>
                  </a:lnTo>
                  <a:lnTo>
                    <a:pt x="322" y="772"/>
                  </a:lnTo>
                  <a:close/>
                  <a:moveTo>
                    <a:pt x="372" y="772"/>
                  </a:moveTo>
                  <a:lnTo>
                    <a:pt x="370" y="772"/>
                  </a:lnTo>
                  <a:lnTo>
                    <a:pt x="372" y="772"/>
                  </a:lnTo>
                  <a:close/>
                  <a:moveTo>
                    <a:pt x="360" y="772"/>
                  </a:moveTo>
                  <a:lnTo>
                    <a:pt x="358" y="772"/>
                  </a:lnTo>
                  <a:lnTo>
                    <a:pt x="358" y="770"/>
                  </a:lnTo>
                  <a:lnTo>
                    <a:pt x="360" y="772"/>
                  </a:lnTo>
                  <a:close/>
                  <a:moveTo>
                    <a:pt x="332" y="770"/>
                  </a:moveTo>
                  <a:lnTo>
                    <a:pt x="334" y="770"/>
                  </a:lnTo>
                  <a:lnTo>
                    <a:pt x="332" y="770"/>
                  </a:lnTo>
                  <a:close/>
                  <a:moveTo>
                    <a:pt x="396" y="770"/>
                  </a:moveTo>
                  <a:lnTo>
                    <a:pt x="398" y="770"/>
                  </a:lnTo>
                  <a:lnTo>
                    <a:pt x="396" y="770"/>
                  </a:lnTo>
                  <a:close/>
                  <a:moveTo>
                    <a:pt x="398" y="765"/>
                  </a:moveTo>
                  <a:lnTo>
                    <a:pt x="398" y="767"/>
                  </a:lnTo>
                  <a:lnTo>
                    <a:pt x="398" y="765"/>
                  </a:lnTo>
                  <a:close/>
                  <a:moveTo>
                    <a:pt x="382" y="765"/>
                  </a:moveTo>
                  <a:lnTo>
                    <a:pt x="379" y="765"/>
                  </a:lnTo>
                  <a:lnTo>
                    <a:pt x="379" y="763"/>
                  </a:lnTo>
                  <a:lnTo>
                    <a:pt x="382" y="765"/>
                  </a:lnTo>
                  <a:close/>
                  <a:moveTo>
                    <a:pt x="337" y="763"/>
                  </a:moveTo>
                  <a:lnTo>
                    <a:pt x="334" y="763"/>
                  </a:lnTo>
                  <a:lnTo>
                    <a:pt x="337" y="763"/>
                  </a:lnTo>
                  <a:lnTo>
                    <a:pt x="337" y="760"/>
                  </a:lnTo>
                  <a:lnTo>
                    <a:pt x="337" y="763"/>
                  </a:lnTo>
                  <a:close/>
                  <a:moveTo>
                    <a:pt x="341" y="760"/>
                  </a:moveTo>
                  <a:lnTo>
                    <a:pt x="339" y="763"/>
                  </a:lnTo>
                  <a:lnTo>
                    <a:pt x="339" y="760"/>
                  </a:lnTo>
                  <a:lnTo>
                    <a:pt x="341" y="760"/>
                  </a:lnTo>
                  <a:lnTo>
                    <a:pt x="339" y="760"/>
                  </a:lnTo>
                  <a:lnTo>
                    <a:pt x="341" y="760"/>
                  </a:lnTo>
                  <a:close/>
                  <a:moveTo>
                    <a:pt x="339" y="760"/>
                  </a:moveTo>
                  <a:lnTo>
                    <a:pt x="339" y="763"/>
                  </a:lnTo>
                  <a:lnTo>
                    <a:pt x="337" y="763"/>
                  </a:lnTo>
                  <a:lnTo>
                    <a:pt x="337" y="760"/>
                  </a:lnTo>
                  <a:lnTo>
                    <a:pt x="339" y="760"/>
                  </a:lnTo>
                  <a:close/>
                  <a:moveTo>
                    <a:pt x="339" y="760"/>
                  </a:moveTo>
                  <a:lnTo>
                    <a:pt x="337" y="760"/>
                  </a:lnTo>
                  <a:lnTo>
                    <a:pt x="339" y="760"/>
                  </a:lnTo>
                  <a:close/>
                  <a:moveTo>
                    <a:pt x="337" y="760"/>
                  </a:moveTo>
                  <a:lnTo>
                    <a:pt x="334" y="760"/>
                  </a:lnTo>
                  <a:lnTo>
                    <a:pt x="337" y="760"/>
                  </a:lnTo>
                  <a:lnTo>
                    <a:pt x="334" y="760"/>
                  </a:lnTo>
                  <a:lnTo>
                    <a:pt x="337" y="760"/>
                  </a:lnTo>
                  <a:lnTo>
                    <a:pt x="334" y="760"/>
                  </a:lnTo>
                  <a:lnTo>
                    <a:pt x="337" y="758"/>
                  </a:lnTo>
                  <a:lnTo>
                    <a:pt x="337" y="760"/>
                  </a:lnTo>
                  <a:close/>
                  <a:moveTo>
                    <a:pt x="410" y="758"/>
                  </a:moveTo>
                  <a:lnTo>
                    <a:pt x="410" y="760"/>
                  </a:lnTo>
                  <a:lnTo>
                    <a:pt x="413" y="760"/>
                  </a:lnTo>
                  <a:lnTo>
                    <a:pt x="413" y="763"/>
                  </a:lnTo>
                  <a:lnTo>
                    <a:pt x="415" y="763"/>
                  </a:lnTo>
                  <a:lnTo>
                    <a:pt x="415" y="765"/>
                  </a:lnTo>
                  <a:lnTo>
                    <a:pt x="413" y="765"/>
                  </a:lnTo>
                  <a:lnTo>
                    <a:pt x="410" y="765"/>
                  </a:lnTo>
                  <a:lnTo>
                    <a:pt x="408" y="765"/>
                  </a:lnTo>
                  <a:lnTo>
                    <a:pt x="405" y="765"/>
                  </a:lnTo>
                  <a:lnTo>
                    <a:pt x="405" y="767"/>
                  </a:lnTo>
                  <a:lnTo>
                    <a:pt x="403" y="767"/>
                  </a:lnTo>
                  <a:lnTo>
                    <a:pt x="403" y="765"/>
                  </a:lnTo>
                  <a:lnTo>
                    <a:pt x="405" y="765"/>
                  </a:lnTo>
                  <a:lnTo>
                    <a:pt x="405" y="763"/>
                  </a:lnTo>
                  <a:lnTo>
                    <a:pt x="408" y="763"/>
                  </a:lnTo>
                  <a:lnTo>
                    <a:pt x="408" y="760"/>
                  </a:lnTo>
                  <a:lnTo>
                    <a:pt x="410" y="760"/>
                  </a:lnTo>
                  <a:lnTo>
                    <a:pt x="410" y="758"/>
                  </a:lnTo>
                  <a:close/>
                  <a:moveTo>
                    <a:pt x="375" y="760"/>
                  </a:moveTo>
                  <a:lnTo>
                    <a:pt x="377" y="758"/>
                  </a:lnTo>
                  <a:lnTo>
                    <a:pt x="377" y="760"/>
                  </a:lnTo>
                  <a:lnTo>
                    <a:pt x="375" y="760"/>
                  </a:lnTo>
                  <a:close/>
                  <a:moveTo>
                    <a:pt x="401" y="758"/>
                  </a:moveTo>
                  <a:lnTo>
                    <a:pt x="398" y="758"/>
                  </a:lnTo>
                  <a:lnTo>
                    <a:pt x="401" y="758"/>
                  </a:lnTo>
                  <a:close/>
                  <a:moveTo>
                    <a:pt x="398" y="758"/>
                  </a:moveTo>
                  <a:lnTo>
                    <a:pt x="398" y="756"/>
                  </a:lnTo>
                  <a:lnTo>
                    <a:pt x="401" y="756"/>
                  </a:lnTo>
                  <a:lnTo>
                    <a:pt x="398" y="758"/>
                  </a:lnTo>
                  <a:close/>
                  <a:moveTo>
                    <a:pt x="434" y="758"/>
                  </a:moveTo>
                  <a:lnTo>
                    <a:pt x="434" y="756"/>
                  </a:lnTo>
                  <a:lnTo>
                    <a:pt x="434" y="758"/>
                  </a:lnTo>
                  <a:close/>
                  <a:moveTo>
                    <a:pt x="353" y="756"/>
                  </a:moveTo>
                  <a:lnTo>
                    <a:pt x="356" y="756"/>
                  </a:lnTo>
                  <a:lnTo>
                    <a:pt x="353" y="756"/>
                  </a:lnTo>
                  <a:lnTo>
                    <a:pt x="356" y="756"/>
                  </a:lnTo>
                  <a:lnTo>
                    <a:pt x="353" y="756"/>
                  </a:lnTo>
                  <a:close/>
                  <a:moveTo>
                    <a:pt x="417" y="756"/>
                  </a:moveTo>
                  <a:lnTo>
                    <a:pt x="420" y="756"/>
                  </a:lnTo>
                  <a:lnTo>
                    <a:pt x="422" y="756"/>
                  </a:lnTo>
                  <a:lnTo>
                    <a:pt x="424" y="758"/>
                  </a:lnTo>
                  <a:lnTo>
                    <a:pt x="427" y="758"/>
                  </a:lnTo>
                  <a:lnTo>
                    <a:pt x="424" y="758"/>
                  </a:lnTo>
                  <a:lnTo>
                    <a:pt x="424" y="760"/>
                  </a:lnTo>
                  <a:lnTo>
                    <a:pt x="422" y="760"/>
                  </a:lnTo>
                  <a:lnTo>
                    <a:pt x="420" y="760"/>
                  </a:lnTo>
                  <a:lnTo>
                    <a:pt x="420" y="763"/>
                  </a:lnTo>
                  <a:lnTo>
                    <a:pt x="417" y="763"/>
                  </a:lnTo>
                  <a:lnTo>
                    <a:pt x="415" y="763"/>
                  </a:lnTo>
                  <a:lnTo>
                    <a:pt x="415" y="760"/>
                  </a:lnTo>
                  <a:lnTo>
                    <a:pt x="415" y="758"/>
                  </a:lnTo>
                  <a:lnTo>
                    <a:pt x="413" y="758"/>
                  </a:lnTo>
                  <a:lnTo>
                    <a:pt x="413" y="756"/>
                  </a:lnTo>
                  <a:lnTo>
                    <a:pt x="415" y="756"/>
                  </a:lnTo>
                  <a:lnTo>
                    <a:pt x="417" y="758"/>
                  </a:lnTo>
                  <a:lnTo>
                    <a:pt x="420" y="758"/>
                  </a:lnTo>
                  <a:lnTo>
                    <a:pt x="417" y="758"/>
                  </a:lnTo>
                  <a:lnTo>
                    <a:pt x="417" y="756"/>
                  </a:lnTo>
                  <a:lnTo>
                    <a:pt x="415" y="756"/>
                  </a:lnTo>
                  <a:lnTo>
                    <a:pt x="417" y="756"/>
                  </a:lnTo>
                  <a:close/>
                  <a:moveTo>
                    <a:pt x="341" y="756"/>
                  </a:moveTo>
                  <a:lnTo>
                    <a:pt x="344" y="756"/>
                  </a:lnTo>
                  <a:lnTo>
                    <a:pt x="344" y="758"/>
                  </a:lnTo>
                  <a:lnTo>
                    <a:pt x="341" y="758"/>
                  </a:lnTo>
                  <a:lnTo>
                    <a:pt x="339" y="758"/>
                  </a:lnTo>
                  <a:lnTo>
                    <a:pt x="339" y="756"/>
                  </a:lnTo>
                  <a:lnTo>
                    <a:pt x="339" y="753"/>
                  </a:lnTo>
                  <a:lnTo>
                    <a:pt x="341" y="756"/>
                  </a:lnTo>
                  <a:close/>
                  <a:moveTo>
                    <a:pt x="401" y="753"/>
                  </a:moveTo>
                  <a:lnTo>
                    <a:pt x="398" y="756"/>
                  </a:lnTo>
                  <a:lnTo>
                    <a:pt x="398" y="753"/>
                  </a:lnTo>
                  <a:lnTo>
                    <a:pt x="401" y="751"/>
                  </a:lnTo>
                  <a:lnTo>
                    <a:pt x="401" y="753"/>
                  </a:lnTo>
                  <a:close/>
                  <a:moveTo>
                    <a:pt x="351" y="753"/>
                  </a:moveTo>
                  <a:lnTo>
                    <a:pt x="351" y="751"/>
                  </a:lnTo>
                  <a:lnTo>
                    <a:pt x="351" y="753"/>
                  </a:lnTo>
                  <a:close/>
                  <a:moveTo>
                    <a:pt x="386" y="751"/>
                  </a:moveTo>
                  <a:lnTo>
                    <a:pt x="389" y="751"/>
                  </a:lnTo>
                  <a:lnTo>
                    <a:pt x="391" y="751"/>
                  </a:lnTo>
                  <a:lnTo>
                    <a:pt x="391" y="753"/>
                  </a:lnTo>
                  <a:lnTo>
                    <a:pt x="394" y="753"/>
                  </a:lnTo>
                  <a:lnTo>
                    <a:pt x="396" y="753"/>
                  </a:lnTo>
                  <a:lnTo>
                    <a:pt x="398" y="753"/>
                  </a:lnTo>
                  <a:lnTo>
                    <a:pt x="398" y="756"/>
                  </a:lnTo>
                  <a:lnTo>
                    <a:pt x="398" y="753"/>
                  </a:lnTo>
                  <a:lnTo>
                    <a:pt x="396" y="756"/>
                  </a:lnTo>
                  <a:lnTo>
                    <a:pt x="398" y="756"/>
                  </a:lnTo>
                  <a:lnTo>
                    <a:pt x="396" y="756"/>
                  </a:lnTo>
                  <a:lnTo>
                    <a:pt x="396" y="758"/>
                  </a:lnTo>
                  <a:lnTo>
                    <a:pt x="394" y="758"/>
                  </a:lnTo>
                  <a:lnTo>
                    <a:pt x="391" y="758"/>
                  </a:lnTo>
                  <a:lnTo>
                    <a:pt x="391" y="756"/>
                  </a:lnTo>
                  <a:lnTo>
                    <a:pt x="389" y="756"/>
                  </a:lnTo>
                  <a:lnTo>
                    <a:pt x="389" y="753"/>
                  </a:lnTo>
                  <a:lnTo>
                    <a:pt x="386" y="753"/>
                  </a:lnTo>
                  <a:lnTo>
                    <a:pt x="384" y="753"/>
                  </a:lnTo>
                  <a:lnTo>
                    <a:pt x="384" y="751"/>
                  </a:lnTo>
                  <a:lnTo>
                    <a:pt x="386" y="751"/>
                  </a:lnTo>
                  <a:close/>
                  <a:moveTo>
                    <a:pt x="389" y="751"/>
                  </a:moveTo>
                  <a:lnTo>
                    <a:pt x="389" y="748"/>
                  </a:lnTo>
                  <a:lnTo>
                    <a:pt x="389" y="751"/>
                  </a:lnTo>
                  <a:close/>
                  <a:moveTo>
                    <a:pt x="394" y="748"/>
                  </a:moveTo>
                  <a:lnTo>
                    <a:pt x="394" y="751"/>
                  </a:lnTo>
                  <a:lnTo>
                    <a:pt x="396" y="751"/>
                  </a:lnTo>
                  <a:lnTo>
                    <a:pt x="394" y="751"/>
                  </a:lnTo>
                  <a:lnTo>
                    <a:pt x="391" y="751"/>
                  </a:lnTo>
                  <a:lnTo>
                    <a:pt x="391" y="748"/>
                  </a:lnTo>
                  <a:lnTo>
                    <a:pt x="394" y="748"/>
                  </a:lnTo>
                  <a:close/>
                  <a:moveTo>
                    <a:pt x="394" y="748"/>
                  </a:moveTo>
                  <a:lnTo>
                    <a:pt x="391" y="748"/>
                  </a:lnTo>
                  <a:lnTo>
                    <a:pt x="394" y="748"/>
                  </a:lnTo>
                  <a:close/>
                  <a:moveTo>
                    <a:pt x="348" y="748"/>
                  </a:moveTo>
                  <a:lnTo>
                    <a:pt x="346" y="748"/>
                  </a:lnTo>
                  <a:lnTo>
                    <a:pt x="348" y="748"/>
                  </a:lnTo>
                  <a:close/>
                  <a:moveTo>
                    <a:pt x="408" y="748"/>
                  </a:moveTo>
                  <a:lnTo>
                    <a:pt x="405" y="748"/>
                  </a:lnTo>
                  <a:lnTo>
                    <a:pt x="408" y="748"/>
                  </a:lnTo>
                  <a:close/>
                  <a:moveTo>
                    <a:pt x="394" y="748"/>
                  </a:moveTo>
                  <a:lnTo>
                    <a:pt x="396" y="748"/>
                  </a:lnTo>
                  <a:lnTo>
                    <a:pt x="394" y="748"/>
                  </a:lnTo>
                  <a:close/>
                  <a:moveTo>
                    <a:pt x="394" y="748"/>
                  </a:moveTo>
                  <a:lnTo>
                    <a:pt x="391" y="748"/>
                  </a:lnTo>
                  <a:lnTo>
                    <a:pt x="394" y="748"/>
                  </a:lnTo>
                  <a:lnTo>
                    <a:pt x="391" y="748"/>
                  </a:lnTo>
                  <a:lnTo>
                    <a:pt x="394" y="748"/>
                  </a:lnTo>
                  <a:lnTo>
                    <a:pt x="394" y="746"/>
                  </a:lnTo>
                  <a:lnTo>
                    <a:pt x="394" y="748"/>
                  </a:lnTo>
                  <a:close/>
                  <a:moveTo>
                    <a:pt x="394" y="746"/>
                  </a:moveTo>
                  <a:lnTo>
                    <a:pt x="394" y="748"/>
                  </a:lnTo>
                  <a:lnTo>
                    <a:pt x="394" y="746"/>
                  </a:lnTo>
                  <a:close/>
                  <a:moveTo>
                    <a:pt x="429" y="744"/>
                  </a:moveTo>
                  <a:lnTo>
                    <a:pt x="429" y="746"/>
                  </a:lnTo>
                  <a:lnTo>
                    <a:pt x="427" y="746"/>
                  </a:lnTo>
                  <a:lnTo>
                    <a:pt x="427" y="748"/>
                  </a:lnTo>
                  <a:lnTo>
                    <a:pt x="424" y="748"/>
                  </a:lnTo>
                  <a:lnTo>
                    <a:pt x="424" y="751"/>
                  </a:lnTo>
                  <a:lnTo>
                    <a:pt x="422" y="751"/>
                  </a:lnTo>
                  <a:lnTo>
                    <a:pt x="420" y="751"/>
                  </a:lnTo>
                  <a:lnTo>
                    <a:pt x="422" y="751"/>
                  </a:lnTo>
                  <a:lnTo>
                    <a:pt x="422" y="748"/>
                  </a:lnTo>
                  <a:lnTo>
                    <a:pt x="422" y="746"/>
                  </a:lnTo>
                  <a:lnTo>
                    <a:pt x="424" y="746"/>
                  </a:lnTo>
                  <a:lnTo>
                    <a:pt x="427" y="746"/>
                  </a:lnTo>
                  <a:lnTo>
                    <a:pt x="429" y="746"/>
                  </a:lnTo>
                  <a:lnTo>
                    <a:pt x="429" y="744"/>
                  </a:lnTo>
                  <a:close/>
                  <a:moveTo>
                    <a:pt x="424" y="741"/>
                  </a:moveTo>
                  <a:lnTo>
                    <a:pt x="422" y="741"/>
                  </a:lnTo>
                  <a:lnTo>
                    <a:pt x="424" y="741"/>
                  </a:lnTo>
                  <a:close/>
                  <a:moveTo>
                    <a:pt x="427" y="741"/>
                  </a:moveTo>
                  <a:lnTo>
                    <a:pt x="424" y="741"/>
                  </a:lnTo>
                  <a:lnTo>
                    <a:pt x="427" y="741"/>
                  </a:lnTo>
                  <a:close/>
                  <a:moveTo>
                    <a:pt x="458" y="737"/>
                  </a:moveTo>
                  <a:lnTo>
                    <a:pt x="460" y="737"/>
                  </a:lnTo>
                  <a:lnTo>
                    <a:pt x="458" y="737"/>
                  </a:lnTo>
                  <a:close/>
                  <a:moveTo>
                    <a:pt x="474" y="732"/>
                  </a:moveTo>
                  <a:lnTo>
                    <a:pt x="472" y="732"/>
                  </a:lnTo>
                  <a:lnTo>
                    <a:pt x="474" y="732"/>
                  </a:lnTo>
                  <a:close/>
                  <a:moveTo>
                    <a:pt x="413" y="725"/>
                  </a:moveTo>
                  <a:lnTo>
                    <a:pt x="415" y="725"/>
                  </a:lnTo>
                  <a:lnTo>
                    <a:pt x="413" y="725"/>
                  </a:lnTo>
                  <a:close/>
                  <a:moveTo>
                    <a:pt x="467" y="718"/>
                  </a:moveTo>
                  <a:lnTo>
                    <a:pt x="465" y="718"/>
                  </a:lnTo>
                  <a:lnTo>
                    <a:pt x="467" y="718"/>
                  </a:lnTo>
                  <a:close/>
                  <a:moveTo>
                    <a:pt x="436" y="715"/>
                  </a:moveTo>
                  <a:lnTo>
                    <a:pt x="439" y="715"/>
                  </a:lnTo>
                  <a:lnTo>
                    <a:pt x="436" y="715"/>
                  </a:lnTo>
                  <a:close/>
                  <a:moveTo>
                    <a:pt x="443" y="713"/>
                  </a:moveTo>
                  <a:lnTo>
                    <a:pt x="443" y="715"/>
                  </a:lnTo>
                  <a:lnTo>
                    <a:pt x="443" y="713"/>
                  </a:lnTo>
                  <a:close/>
                  <a:moveTo>
                    <a:pt x="439" y="713"/>
                  </a:moveTo>
                  <a:lnTo>
                    <a:pt x="441" y="713"/>
                  </a:lnTo>
                  <a:lnTo>
                    <a:pt x="441" y="715"/>
                  </a:lnTo>
                  <a:lnTo>
                    <a:pt x="439" y="715"/>
                  </a:lnTo>
                  <a:lnTo>
                    <a:pt x="439" y="713"/>
                  </a:lnTo>
                  <a:close/>
                  <a:moveTo>
                    <a:pt x="472" y="713"/>
                  </a:moveTo>
                  <a:lnTo>
                    <a:pt x="469" y="713"/>
                  </a:lnTo>
                  <a:lnTo>
                    <a:pt x="472" y="713"/>
                  </a:lnTo>
                  <a:lnTo>
                    <a:pt x="469" y="713"/>
                  </a:lnTo>
                  <a:lnTo>
                    <a:pt x="472" y="713"/>
                  </a:lnTo>
                  <a:close/>
                  <a:moveTo>
                    <a:pt x="441" y="713"/>
                  </a:moveTo>
                  <a:lnTo>
                    <a:pt x="443" y="713"/>
                  </a:lnTo>
                  <a:lnTo>
                    <a:pt x="441" y="713"/>
                  </a:lnTo>
                  <a:lnTo>
                    <a:pt x="443" y="713"/>
                  </a:lnTo>
                  <a:lnTo>
                    <a:pt x="441" y="713"/>
                  </a:lnTo>
                  <a:close/>
                  <a:moveTo>
                    <a:pt x="469" y="710"/>
                  </a:moveTo>
                  <a:lnTo>
                    <a:pt x="469" y="713"/>
                  </a:lnTo>
                  <a:lnTo>
                    <a:pt x="467" y="713"/>
                  </a:lnTo>
                  <a:lnTo>
                    <a:pt x="467" y="710"/>
                  </a:lnTo>
                  <a:lnTo>
                    <a:pt x="469" y="710"/>
                  </a:lnTo>
                  <a:close/>
                  <a:moveTo>
                    <a:pt x="519" y="710"/>
                  </a:moveTo>
                  <a:lnTo>
                    <a:pt x="522" y="710"/>
                  </a:lnTo>
                  <a:lnTo>
                    <a:pt x="519" y="713"/>
                  </a:lnTo>
                  <a:lnTo>
                    <a:pt x="519" y="710"/>
                  </a:lnTo>
                  <a:close/>
                  <a:moveTo>
                    <a:pt x="446" y="710"/>
                  </a:moveTo>
                  <a:lnTo>
                    <a:pt x="448" y="710"/>
                  </a:lnTo>
                  <a:lnTo>
                    <a:pt x="448" y="713"/>
                  </a:lnTo>
                  <a:lnTo>
                    <a:pt x="446" y="713"/>
                  </a:lnTo>
                  <a:lnTo>
                    <a:pt x="446" y="710"/>
                  </a:lnTo>
                  <a:lnTo>
                    <a:pt x="448" y="710"/>
                  </a:lnTo>
                  <a:lnTo>
                    <a:pt x="446" y="710"/>
                  </a:lnTo>
                  <a:close/>
                  <a:moveTo>
                    <a:pt x="448" y="710"/>
                  </a:moveTo>
                  <a:lnTo>
                    <a:pt x="448" y="708"/>
                  </a:lnTo>
                  <a:lnTo>
                    <a:pt x="448" y="710"/>
                  </a:lnTo>
                  <a:close/>
                  <a:moveTo>
                    <a:pt x="477" y="708"/>
                  </a:moveTo>
                  <a:lnTo>
                    <a:pt x="477" y="710"/>
                  </a:lnTo>
                  <a:lnTo>
                    <a:pt x="474" y="710"/>
                  </a:lnTo>
                  <a:lnTo>
                    <a:pt x="474" y="713"/>
                  </a:lnTo>
                  <a:lnTo>
                    <a:pt x="472" y="713"/>
                  </a:lnTo>
                  <a:lnTo>
                    <a:pt x="472" y="710"/>
                  </a:lnTo>
                  <a:lnTo>
                    <a:pt x="474" y="710"/>
                  </a:lnTo>
                  <a:lnTo>
                    <a:pt x="474" y="708"/>
                  </a:lnTo>
                  <a:lnTo>
                    <a:pt x="477" y="708"/>
                  </a:lnTo>
                  <a:close/>
                  <a:moveTo>
                    <a:pt x="446" y="706"/>
                  </a:moveTo>
                  <a:lnTo>
                    <a:pt x="446" y="708"/>
                  </a:lnTo>
                  <a:lnTo>
                    <a:pt x="443" y="708"/>
                  </a:lnTo>
                  <a:lnTo>
                    <a:pt x="443" y="706"/>
                  </a:lnTo>
                  <a:lnTo>
                    <a:pt x="446" y="706"/>
                  </a:lnTo>
                  <a:close/>
                  <a:moveTo>
                    <a:pt x="854" y="706"/>
                  </a:moveTo>
                  <a:lnTo>
                    <a:pt x="851" y="706"/>
                  </a:lnTo>
                  <a:lnTo>
                    <a:pt x="854" y="706"/>
                  </a:lnTo>
                  <a:lnTo>
                    <a:pt x="851" y="706"/>
                  </a:lnTo>
                  <a:lnTo>
                    <a:pt x="854" y="706"/>
                  </a:lnTo>
                  <a:close/>
                  <a:moveTo>
                    <a:pt x="450" y="708"/>
                  </a:moveTo>
                  <a:lnTo>
                    <a:pt x="448" y="708"/>
                  </a:lnTo>
                  <a:lnTo>
                    <a:pt x="448" y="706"/>
                  </a:lnTo>
                  <a:lnTo>
                    <a:pt x="450" y="706"/>
                  </a:lnTo>
                  <a:lnTo>
                    <a:pt x="450" y="708"/>
                  </a:lnTo>
                  <a:close/>
                  <a:moveTo>
                    <a:pt x="448" y="706"/>
                  </a:moveTo>
                  <a:lnTo>
                    <a:pt x="446" y="706"/>
                  </a:lnTo>
                  <a:lnTo>
                    <a:pt x="448" y="706"/>
                  </a:lnTo>
                  <a:close/>
                  <a:moveTo>
                    <a:pt x="842" y="703"/>
                  </a:moveTo>
                  <a:lnTo>
                    <a:pt x="844" y="703"/>
                  </a:lnTo>
                  <a:lnTo>
                    <a:pt x="842" y="703"/>
                  </a:lnTo>
                  <a:close/>
                  <a:moveTo>
                    <a:pt x="488" y="703"/>
                  </a:moveTo>
                  <a:lnTo>
                    <a:pt x="488" y="701"/>
                  </a:lnTo>
                  <a:lnTo>
                    <a:pt x="488" y="703"/>
                  </a:lnTo>
                  <a:close/>
                  <a:moveTo>
                    <a:pt x="455" y="701"/>
                  </a:moveTo>
                  <a:lnTo>
                    <a:pt x="458" y="701"/>
                  </a:lnTo>
                  <a:lnTo>
                    <a:pt x="455" y="701"/>
                  </a:lnTo>
                  <a:close/>
                  <a:moveTo>
                    <a:pt x="460" y="701"/>
                  </a:moveTo>
                  <a:lnTo>
                    <a:pt x="462" y="701"/>
                  </a:lnTo>
                  <a:lnTo>
                    <a:pt x="460" y="701"/>
                  </a:lnTo>
                  <a:lnTo>
                    <a:pt x="458" y="701"/>
                  </a:lnTo>
                  <a:lnTo>
                    <a:pt x="460" y="701"/>
                  </a:lnTo>
                  <a:lnTo>
                    <a:pt x="460" y="699"/>
                  </a:lnTo>
                  <a:lnTo>
                    <a:pt x="460" y="701"/>
                  </a:lnTo>
                  <a:close/>
                  <a:moveTo>
                    <a:pt x="462" y="699"/>
                  </a:moveTo>
                  <a:lnTo>
                    <a:pt x="460" y="699"/>
                  </a:lnTo>
                  <a:lnTo>
                    <a:pt x="462" y="699"/>
                  </a:lnTo>
                  <a:close/>
                  <a:moveTo>
                    <a:pt x="840" y="699"/>
                  </a:moveTo>
                  <a:lnTo>
                    <a:pt x="842" y="699"/>
                  </a:lnTo>
                  <a:lnTo>
                    <a:pt x="840" y="699"/>
                  </a:lnTo>
                  <a:lnTo>
                    <a:pt x="842" y="699"/>
                  </a:lnTo>
                  <a:lnTo>
                    <a:pt x="842" y="701"/>
                  </a:lnTo>
                  <a:lnTo>
                    <a:pt x="840" y="701"/>
                  </a:lnTo>
                  <a:lnTo>
                    <a:pt x="840" y="699"/>
                  </a:lnTo>
                  <a:close/>
                  <a:moveTo>
                    <a:pt x="462" y="699"/>
                  </a:moveTo>
                  <a:lnTo>
                    <a:pt x="460" y="699"/>
                  </a:lnTo>
                  <a:lnTo>
                    <a:pt x="462" y="699"/>
                  </a:lnTo>
                  <a:close/>
                  <a:moveTo>
                    <a:pt x="534" y="696"/>
                  </a:moveTo>
                  <a:lnTo>
                    <a:pt x="531" y="699"/>
                  </a:lnTo>
                  <a:lnTo>
                    <a:pt x="531" y="701"/>
                  </a:lnTo>
                  <a:lnTo>
                    <a:pt x="534" y="701"/>
                  </a:lnTo>
                  <a:lnTo>
                    <a:pt x="531" y="701"/>
                  </a:lnTo>
                  <a:lnTo>
                    <a:pt x="531" y="703"/>
                  </a:lnTo>
                  <a:lnTo>
                    <a:pt x="529" y="703"/>
                  </a:lnTo>
                  <a:lnTo>
                    <a:pt x="526" y="703"/>
                  </a:lnTo>
                  <a:lnTo>
                    <a:pt x="526" y="701"/>
                  </a:lnTo>
                  <a:lnTo>
                    <a:pt x="526" y="699"/>
                  </a:lnTo>
                  <a:lnTo>
                    <a:pt x="526" y="696"/>
                  </a:lnTo>
                  <a:lnTo>
                    <a:pt x="529" y="696"/>
                  </a:lnTo>
                  <a:lnTo>
                    <a:pt x="531" y="696"/>
                  </a:lnTo>
                  <a:lnTo>
                    <a:pt x="534" y="696"/>
                  </a:lnTo>
                  <a:close/>
                  <a:moveTo>
                    <a:pt x="567" y="696"/>
                  </a:moveTo>
                  <a:lnTo>
                    <a:pt x="569" y="696"/>
                  </a:lnTo>
                  <a:lnTo>
                    <a:pt x="569" y="699"/>
                  </a:lnTo>
                  <a:lnTo>
                    <a:pt x="567" y="696"/>
                  </a:lnTo>
                  <a:close/>
                  <a:moveTo>
                    <a:pt x="460" y="696"/>
                  </a:moveTo>
                  <a:lnTo>
                    <a:pt x="458" y="696"/>
                  </a:lnTo>
                  <a:lnTo>
                    <a:pt x="460" y="696"/>
                  </a:lnTo>
                  <a:close/>
                  <a:moveTo>
                    <a:pt x="564" y="694"/>
                  </a:moveTo>
                  <a:lnTo>
                    <a:pt x="564" y="696"/>
                  </a:lnTo>
                  <a:lnTo>
                    <a:pt x="567" y="696"/>
                  </a:lnTo>
                  <a:lnTo>
                    <a:pt x="564" y="696"/>
                  </a:lnTo>
                  <a:lnTo>
                    <a:pt x="562" y="696"/>
                  </a:lnTo>
                  <a:lnTo>
                    <a:pt x="564" y="694"/>
                  </a:lnTo>
                  <a:close/>
                  <a:moveTo>
                    <a:pt x="465" y="691"/>
                  </a:moveTo>
                  <a:lnTo>
                    <a:pt x="465" y="694"/>
                  </a:lnTo>
                  <a:lnTo>
                    <a:pt x="465" y="691"/>
                  </a:lnTo>
                  <a:close/>
                  <a:moveTo>
                    <a:pt x="460" y="691"/>
                  </a:moveTo>
                  <a:lnTo>
                    <a:pt x="458" y="691"/>
                  </a:lnTo>
                  <a:lnTo>
                    <a:pt x="460" y="691"/>
                  </a:lnTo>
                  <a:close/>
                  <a:moveTo>
                    <a:pt x="460" y="691"/>
                  </a:moveTo>
                  <a:lnTo>
                    <a:pt x="460" y="694"/>
                  </a:lnTo>
                  <a:lnTo>
                    <a:pt x="460" y="691"/>
                  </a:lnTo>
                  <a:close/>
                  <a:moveTo>
                    <a:pt x="531" y="696"/>
                  </a:moveTo>
                  <a:lnTo>
                    <a:pt x="529" y="696"/>
                  </a:lnTo>
                  <a:lnTo>
                    <a:pt x="529" y="694"/>
                  </a:lnTo>
                  <a:lnTo>
                    <a:pt x="529" y="691"/>
                  </a:lnTo>
                  <a:lnTo>
                    <a:pt x="531" y="691"/>
                  </a:lnTo>
                  <a:lnTo>
                    <a:pt x="531" y="694"/>
                  </a:lnTo>
                  <a:lnTo>
                    <a:pt x="531" y="696"/>
                  </a:lnTo>
                  <a:close/>
                  <a:moveTo>
                    <a:pt x="505" y="694"/>
                  </a:moveTo>
                  <a:lnTo>
                    <a:pt x="503" y="694"/>
                  </a:lnTo>
                  <a:lnTo>
                    <a:pt x="503" y="696"/>
                  </a:lnTo>
                  <a:lnTo>
                    <a:pt x="500" y="696"/>
                  </a:lnTo>
                  <a:lnTo>
                    <a:pt x="500" y="699"/>
                  </a:lnTo>
                  <a:lnTo>
                    <a:pt x="500" y="701"/>
                  </a:lnTo>
                  <a:lnTo>
                    <a:pt x="498" y="701"/>
                  </a:lnTo>
                  <a:lnTo>
                    <a:pt x="496" y="701"/>
                  </a:lnTo>
                  <a:lnTo>
                    <a:pt x="493" y="701"/>
                  </a:lnTo>
                  <a:lnTo>
                    <a:pt x="491" y="701"/>
                  </a:lnTo>
                  <a:lnTo>
                    <a:pt x="488" y="701"/>
                  </a:lnTo>
                  <a:lnTo>
                    <a:pt x="491" y="699"/>
                  </a:lnTo>
                  <a:lnTo>
                    <a:pt x="491" y="696"/>
                  </a:lnTo>
                  <a:lnTo>
                    <a:pt x="493" y="696"/>
                  </a:lnTo>
                  <a:lnTo>
                    <a:pt x="496" y="696"/>
                  </a:lnTo>
                  <a:lnTo>
                    <a:pt x="498" y="694"/>
                  </a:lnTo>
                  <a:lnTo>
                    <a:pt x="500" y="694"/>
                  </a:lnTo>
                  <a:lnTo>
                    <a:pt x="500" y="691"/>
                  </a:lnTo>
                  <a:lnTo>
                    <a:pt x="503" y="691"/>
                  </a:lnTo>
                  <a:lnTo>
                    <a:pt x="505" y="691"/>
                  </a:lnTo>
                  <a:lnTo>
                    <a:pt x="505" y="694"/>
                  </a:lnTo>
                  <a:close/>
                  <a:moveTo>
                    <a:pt x="543" y="691"/>
                  </a:moveTo>
                  <a:lnTo>
                    <a:pt x="543" y="689"/>
                  </a:lnTo>
                  <a:lnTo>
                    <a:pt x="545" y="689"/>
                  </a:lnTo>
                  <a:lnTo>
                    <a:pt x="545" y="691"/>
                  </a:lnTo>
                  <a:lnTo>
                    <a:pt x="543" y="691"/>
                  </a:lnTo>
                  <a:close/>
                  <a:moveTo>
                    <a:pt x="505" y="689"/>
                  </a:moveTo>
                  <a:lnTo>
                    <a:pt x="505" y="691"/>
                  </a:lnTo>
                  <a:lnTo>
                    <a:pt x="507" y="691"/>
                  </a:lnTo>
                  <a:lnTo>
                    <a:pt x="505" y="691"/>
                  </a:lnTo>
                  <a:lnTo>
                    <a:pt x="503" y="691"/>
                  </a:lnTo>
                  <a:lnTo>
                    <a:pt x="505" y="691"/>
                  </a:lnTo>
                  <a:lnTo>
                    <a:pt x="503" y="691"/>
                  </a:lnTo>
                  <a:lnTo>
                    <a:pt x="503" y="689"/>
                  </a:lnTo>
                  <a:lnTo>
                    <a:pt x="505" y="689"/>
                  </a:lnTo>
                  <a:close/>
                  <a:moveTo>
                    <a:pt x="538" y="691"/>
                  </a:moveTo>
                  <a:lnTo>
                    <a:pt x="541" y="691"/>
                  </a:lnTo>
                  <a:lnTo>
                    <a:pt x="543" y="691"/>
                  </a:lnTo>
                  <a:lnTo>
                    <a:pt x="541" y="691"/>
                  </a:lnTo>
                  <a:lnTo>
                    <a:pt x="541" y="694"/>
                  </a:lnTo>
                  <a:lnTo>
                    <a:pt x="538" y="694"/>
                  </a:lnTo>
                  <a:lnTo>
                    <a:pt x="541" y="694"/>
                  </a:lnTo>
                  <a:lnTo>
                    <a:pt x="538" y="694"/>
                  </a:lnTo>
                  <a:lnTo>
                    <a:pt x="538" y="696"/>
                  </a:lnTo>
                  <a:lnTo>
                    <a:pt x="536" y="696"/>
                  </a:lnTo>
                  <a:lnTo>
                    <a:pt x="534" y="696"/>
                  </a:lnTo>
                  <a:lnTo>
                    <a:pt x="534" y="694"/>
                  </a:lnTo>
                  <a:lnTo>
                    <a:pt x="534" y="691"/>
                  </a:lnTo>
                  <a:lnTo>
                    <a:pt x="531" y="691"/>
                  </a:lnTo>
                  <a:lnTo>
                    <a:pt x="531" y="689"/>
                  </a:lnTo>
                  <a:lnTo>
                    <a:pt x="534" y="689"/>
                  </a:lnTo>
                  <a:lnTo>
                    <a:pt x="536" y="689"/>
                  </a:lnTo>
                  <a:lnTo>
                    <a:pt x="538" y="691"/>
                  </a:lnTo>
                  <a:close/>
                  <a:moveTo>
                    <a:pt x="465" y="689"/>
                  </a:moveTo>
                  <a:lnTo>
                    <a:pt x="462" y="689"/>
                  </a:lnTo>
                  <a:lnTo>
                    <a:pt x="465" y="689"/>
                  </a:lnTo>
                  <a:close/>
                  <a:moveTo>
                    <a:pt x="562" y="689"/>
                  </a:moveTo>
                  <a:lnTo>
                    <a:pt x="564" y="689"/>
                  </a:lnTo>
                  <a:lnTo>
                    <a:pt x="567" y="691"/>
                  </a:lnTo>
                  <a:lnTo>
                    <a:pt x="564" y="691"/>
                  </a:lnTo>
                  <a:lnTo>
                    <a:pt x="562" y="691"/>
                  </a:lnTo>
                  <a:lnTo>
                    <a:pt x="560" y="691"/>
                  </a:lnTo>
                  <a:lnTo>
                    <a:pt x="560" y="689"/>
                  </a:lnTo>
                  <a:lnTo>
                    <a:pt x="560" y="691"/>
                  </a:lnTo>
                  <a:lnTo>
                    <a:pt x="560" y="689"/>
                  </a:lnTo>
                  <a:lnTo>
                    <a:pt x="562" y="689"/>
                  </a:lnTo>
                  <a:lnTo>
                    <a:pt x="560" y="689"/>
                  </a:lnTo>
                  <a:lnTo>
                    <a:pt x="562" y="689"/>
                  </a:lnTo>
                  <a:close/>
                  <a:moveTo>
                    <a:pt x="460" y="689"/>
                  </a:moveTo>
                  <a:lnTo>
                    <a:pt x="462" y="689"/>
                  </a:lnTo>
                  <a:lnTo>
                    <a:pt x="460" y="689"/>
                  </a:lnTo>
                  <a:close/>
                  <a:moveTo>
                    <a:pt x="550" y="689"/>
                  </a:moveTo>
                  <a:lnTo>
                    <a:pt x="548" y="689"/>
                  </a:lnTo>
                  <a:lnTo>
                    <a:pt x="550" y="689"/>
                  </a:lnTo>
                  <a:close/>
                  <a:moveTo>
                    <a:pt x="541" y="687"/>
                  </a:moveTo>
                  <a:lnTo>
                    <a:pt x="541" y="689"/>
                  </a:lnTo>
                  <a:lnTo>
                    <a:pt x="543" y="689"/>
                  </a:lnTo>
                  <a:lnTo>
                    <a:pt x="541" y="689"/>
                  </a:lnTo>
                  <a:lnTo>
                    <a:pt x="541" y="691"/>
                  </a:lnTo>
                  <a:lnTo>
                    <a:pt x="538" y="691"/>
                  </a:lnTo>
                  <a:lnTo>
                    <a:pt x="538" y="689"/>
                  </a:lnTo>
                  <a:lnTo>
                    <a:pt x="541" y="689"/>
                  </a:lnTo>
                  <a:lnTo>
                    <a:pt x="541" y="687"/>
                  </a:lnTo>
                  <a:close/>
                  <a:moveTo>
                    <a:pt x="830" y="687"/>
                  </a:moveTo>
                  <a:lnTo>
                    <a:pt x="828" y="687"/>
                  </a:lnTo>
                  <a:lnTo>
                    <a:pt x="830" y="687"/>
                  </a:lnTo>
                  <a:close/>
                  <a:moveTo>
                    <a:pt x="488" y="687"/>
                  </a:moveTo>
                  <a:lnTo>
                    <a:pt x="488" y="689"/>
                  </a:lnTo>
                  <a:lnTo>
                    <a:pt x="486" y="687"/>
                  </a:lnTo>
                  <a:lnTo>
                    <a:pt x="488" y="687"/>
                  </a:lnTo>
                  <a:close/>
                  <a:moveTo>
                    <a:pt x="460" y="684"/>
                  </a:moveTo>
                  <a:lnTo>
                    <a:pt x="460" y="687"/>
                  </a:lnTo>
                  <a:lnTo>
                    <a:pt x="458" y="684"/>
                  </a:lnTo>
                  <a:lnTo>
                    <a:pt x="458" y="687"/>
                  </a:lnTo>
                  <a:lnTo>
                    <a:pt x="458" y="684"/>
                  </a:lnTo>
                  <a:lnTo>
                    <a:pt x="460" y="684"/>
                  </a:lnTo>
                  <a:close/>
                  <a:moveTo>
                    <a:pt x="553" y="687"/>
                  </a:moveTo>
                  <a:lnTo>
                    <a:pt x="553" y="684"/>
                  </a:lnTo>
                  <a:lnTo>
                    <a:pt x="550" y="684"/>
                  </a:lnTo>
                  <a:lnTo>
                    <a:pt x="553" y="684"/>
                  </a:lnTo>
                  <a:lnTo>
                    <a:pt x="550" y="684"/>
                  </a:lnTo>
                  <a:lnTo>
                    <a:pt x="553" y="684"/>
                  </a:lnTo>
                  <a:lnTo>
                    <a:pt x="553" y="687"/>
                  </a:lnTo>
                  <a:close/>
                  <a:moveTo>
                    <a:pt x="467" y="684"/>
                  </a:moveTo>
                  <a:lnTo>
                    <a:pt x="469" y="684"/>
                  </a:lnTo>
                  <a:lnTo>
                    <a:pt x="469" y="687"/>
                  </a:lnTo>
                  <a:lnTo>
                    <a:pt x="469" y="689"/>
                  </a:lnTo>
                  <a:lnTo>
                    <a:pt x="469" y="687"/>
                  </a:lnTo>
                  <a:lnTo>
                    <a:pt x="472" y="687"/>
                  </a:lnTo>
                  <a:lnTo>
                    <a:pt x="472" y="684"/>
                  </a:lnTo>
                  <a:lnTo>
                    <a:pt x="472" y="687"/>
                  </a:lnTo>
                  <a:lnTo>
                    <a:pt x="474" y="687"/>
                  </a:lnTo>
                  <a:lnTo>
                    <a:pt x="472" y="687"/>
                  </a:lnTo>
                  <a:lnTo>
                    <a:pt x="474" y="687"/>
                  </a:lnTo>
                  <a:lnTo>
                    <a:pt x="474" y="689"/>
                  </a:lnTo>
                  <a:lnTo>
                    <a:pt x="472" y="689"/>
                  </a:lnTo>
                  <a:lnTo>
                    <a:pt x="469" y="689"/>
                  </a:lnTo>
                  <a:lnTo>
                    <a:pt x="467" y="689"/>
                  </a:lnTo>
                  <a:lnTo>
                    <a:pt x="467" y="691"/>
                  </a:lnTo>
                  <a:lnTo>
                    <a:pt x="465" y="691"/>
                  </a:lnTo>
                  <a:lnTo>
                    <a:pt x="465" y="689"/>
                  </a:lnTo>
                  <a:lnTo>
                    <a:pt x="467" y="689"/>
                  </a:lnTo>
                  <a:lnTo>
                    <a:pt x="465" y="689"/>
                  </a:lnTo>
                  <a:lnTo>
                    <a:pt x="465" y="687"/>
                  </a:lnTo>
                  <a:lnTo>
                    <a:pt x="467" y="687"/>
                  </a:lnTo>
                  <a:lnTo>
                    <a:pt x="465" y="687"/>
                  </a:lnTo>
                  <a:lnTo>
                    <a:pt x="467" y="687"/>
                  </a:lnTo>
                  <a:lnTo>
                    <a:pt x="465" y="684"/>
                  </a:lnTo>
                  <a:lnTo>
                    <a:pt x="467" y="684"/>
                  </a:lnTo>
                  <a:close/>
                  <a:moveTo>
                    <a:pt x="474" y="684"/>
                  </a:moveTo>
                  <a:lnTo>
                    <a:pt x="477" y="684"/>
                  </a:lnTo>
                  <a:lnTo>
                    <a:pt x="477" y="687"/>
                  </a:lnTo>
                  <a:lnTo>
                    <a:pt x="477" y="684"/>
                  </a:lnTo>
                  <a:lnTo>
                    <a:pt x="477" y="687"/>
                  </a:lnTo>
                  <a:lnTo>
                    <a:pt x="477" y="684"/>
                  </a:lnTo>
                  <a:lnTo>
                    <a:pt x="477" y="687"/>
                  </a:lnTo>
                  <a:lnTo>
                    <a:pt x="474" y="687"/>
                  </a:lnTo>
                  <a:lnTo>
                    <a:pt x="477" y="687"/>
                  </a:lnTo>
                  <a:lnTo>
                    <a:pt x="474" y="687"/>
                  </a:lnTo>
                  <a:lnTo>
                    <a:pt x="474" y="684"/>
                  </a:lnTo>
                  <a:lnTo>
                    <a:pt x="474" y="687"/>
                  </a:lnTo>
                  <a:lnTo>
                    <a:pt x="474" y="684"/>
                  </a:lnTo>
                  <a:close/>
                  <a:moveTo>
                    <a:pt x="469" y="684"/>
                  </a:moveTo>
                  <a:lnTo>
                    <a:pt x="472" y="684"/>
                  </a:lnTo>
                  <a:lnTo>
                    <a:pt x="469" y="684"/>
                  </a:lnTo>
                  <a:lnTo>
                    <a:pt x="469" y="687"/>
                  </a:lnTo>
                  <a:lnTo>
                    <a:pt x="469" y="684"/>
                  </a:lnTo>
                  <a:close/>
                  <a:moveTo>
                    <a:pt x="799" y="684"/>
                  </a:moveTo>
                  <a:lnTo>
                    <a:pt x="797" y="684"/>
                  </a:lnTo>
                  <a:lnTo>
                    <a:pt x="797" y="682"/>
                  </a:lnTo>
                  <a:lnTo>
                    <a:pt x="799" y="682"/>
                  </a:lnTo>
                  <a:lnTo>
                    <a:pt x="799" y="684"/>
                  </a:lnTo>
                  <a:close/>
                  <a:moveTo>
                    <a:pt x="778" y="684"/>
                  </a:moveTo>
                  <a:lnTo>
                    <a:pt x="778" y="682"/>
                  </a:lnTo>
                  <a:lnTo>
                    <a:pt x="778" y="684"/>
                  </a:lnTo>
                  <a:close/>
                  <a:moveTo>
                    <a:pt x="676" y="682"/>
                  </a:moveTo>
                  <a:lnTo>
                    <a:pt x="678" y="682"/>
                  </a:lnTo>
                  <a:lnTo>
                    <a:pt x="676" y="682"/>
                  </a:lnTo>
                  <a:close/>
                  <a:moveTo>
                    <a:pt x="614" y="682"/>
                  </a:moveTo>
                  <a:lnTo>
                    <a:pt x="617" y="682"/>
                  </a:lnTo>
                  <a:lnTo>
                    <a:pt x="614" y="682"/>
                  </a:lnTo>
                  <a:lnTo>
                    <a:pt x="614" y="684"/>
                  </a:lnTo>
                  <a:lnTo>
                    <a:pt x="612" y="682"/>
                  </a:lnTo>
                  <a:lnTo>
                    <a:pt x="614" y="682"/>
                  </a:lnTo>
                  <a:lnTo>
                    <a:pt x="612" y="682"/>
                  </a:lnTo>
                  <a:lnTo>
                    <a:pt x="614" y="682"/>
                  </a:lnTo>
                  <a:close/>
                  <a:moveTo>
                    <a:pt x="536" y="687"/>
                  </a:moveTo>
                  <a:lnTo>
                    <a:pt x="534" y="687"/>
                  </a:lnTo>
                  <a:lnTo>
                    <a:pt x="534" y="684"/>
                  </a:lnTo>
                  <a:lnTo>
                    <a:pt x="536" y="682"/>
                  </a:lnTo>
                  <a:lnTo>
                    <a:pt x="538" y="684"/>
                  </a:lnTo>
                  <a:lnTo>
                    <a:pt x="538" y="687"/>
                  </a:lnTo>
                  <a:lnTo>
                    <a:pt x="536" y="687"/>
                  </a:lnTo>
                  <a:close/>
                  <a:moveTo>
                    <a:pt x="678" y="682"/>
                  </a:moveTo>
                  <a:lnTo>
                    <a:pt x="681" y="682"/>
                  </a:lnTo>
                  <a:lnTo>
                    <a:pt x="678" y="682"/>
                  </a:lnTo>
                  <a:close/>
                  <a:moveTo>
                    <a:pt x="493" y="684"/>
                  </a:moveTo>
                  <a:lnTo>
                    <a:pt x="496" y="684"/>
                  </a:lnTo>
                  <a:lnTo>
                    <a:pt x="493" y="684"/>
                  </a:lnTo>
                  <a:lnTo>
                    <a:pt x="493" y="687"/>
                  </a:lnTo>
                  <a:lnTo>
                    <a:pt x="491" y="687"/>
                  </a:lnTo>
                  <a:lnTo>
                    <a:pt x="491" y="684"/>
                  </a:lnTo>
                  <a:lnTo>
                    <a:pt x="488" y="684"/>
                  </a:lnTo>
                  <a:lnTo>
                    <a:pt x="486" y="684"/>
                  </a:lnTo>
                  <a:lnTo>
                    <a:pt x="486" y="682"/>
                  </a:lnTo>
                  <a:lnTo>
                    <a:pt x="488" y="682"/>
                  </a:lnTo>
                  <a:lnTo>
                    <a:pt x="491" y="682"/>
                  </a:lnTo>
                  <a:lnTo>
                    <a:pt x="493" y="684"/>
                  </a:lnTo>
                  <a:close/>
                  <a:moveTo>
                    <a:pt x="681" y="682"/>
                  </a:moveTo>
                  <a:lnTo>
                    <a:pt x="678" y="682"/>
                  </a:lnTo>
                  <a:lnTo>
                    <a:pt x="681" y="682"/>
                  </a:lnTo>
                  <a:close/>
                  <a:moveTo>
                    <a:pt x="477" y="680"/>
                  </a:moveTo>
                  <a:lnTo>
                    <a:pt x="477" y="682"/>
                  </a:lnTo>
                  <a:lnTo>
                    <a:pt x="477" y="680"/>
                  </a:lnTo>
                  <a:lnTo>
                    <a:pt x="477" y="682"/>
                  </a:lnTo>
                  <a:lnTo>
                    <a:pt x="474" y="682"/>
                  </a:lnTo>
                  <a:lnTo>
                    <a:pt x="477" y="680"/>
                  </a:lnTo>
                  <a:lnTo>
                    <a:pt x="474" y="682"/>
                  </a:lnTo>
                  <a:lnTo>
                    <a:pt x="477" y="682"/>
                  </a:lnTo>
                  <a:lnTo>
                    <a:pt x="477" y="680"/>
                  </a:lnTo>
                  <a:lnTo>
                    <a:pt x="477" y="682"/>
                  </a:lnTo>
                  <a:lnTo>
                    <a:pt x="477" y="680"/>
                  </a:lnTo>
                  <a:close/>
                  <a:moveTo>
                    <a:pt x="507" y="682"/>
                  </a:moveTo>
                  <a:lnTo>
                    <a:pt x="510" y="682"/>
                  </a:lnTo>
                  <a:lnTo>
                    <a:pt x="507" y="682"/>
                  </a:lnTo>
                  <a:lnTo>
                    <a:pt x="507" y="680"/>
                  </a:lnTo>
                  <a:lnTo>
                    <a:pt x="507" y="682"/>
                  </a:lnTo>
                  <a:close/>
                  <a:moveTo>
                    <a:pt x="474" y="680"/>
                  </a:moveTo>
                  <a:lnTo>
                    <a:pt x="474" y="682"/>
                  </a:lnTo>
                  <a:lnTo>
                    <a:pt x="474" y="680"/>
                  </a:lnTo>
                  <a:close/>
                  <a:moveTo>
                    <a:pt x="469" y="680"/>
                  </a:moveTo>
                  <a:lnTo>
                    <a:pt x="472" y="680"/>
                  </a:lnTo>
                  <a:lnTo>
                    <a:pt x="472" y="682"/>
                  </a:lnTo>
                  <a:lnTo>
                    <a:pt x="469" y="682"/>
                  </a:lnTo>
                  <a:lnTo>
                    <a:pt x="467" y="682"/>
                  </a:lnTo>
                  <a:lnTo>
                    <a:pt x="469" y="682"/>
                  </a:lnTo>
                  <a:lnTo>
                    <a:pt x="467" y="682"/>
                  </a:lnTo>
                  <a:lnTo>
                    <a:pt x="469" y="682"/>
                  </a:lnTo>
                  <a:lnTo>
                    <a:pt x="469" y="680"/>
                  </a:lnTo>
                  <a:close/>
                  <a:moveTo>
                    <a:pt x="681" y="680"/>
                  </a:moveTo>
                  <a:lnTo>
                    <a:pt x="678" y="680"/>
                  </a:lnTo>
                  <a:lnTo>
                    <a:pt x="681" y="680"/>
                  </a:lnTo>
                  <a:lnTo>
                    <a:pt x="678" y="680"/>
                  </a:lnTo>
                  <a:lnTo>
                    <a:pt x="681" y="680"/>
                  </a:lnTo>
                  <a:close/>
                  <a:moveTo>
                    <a:pt x="778" y="680"/>
                  </a:moveTo>
                  <a:lnTo>
                    <a:pt x="778" y="677"/>
                  </a:lnTo>
                  <a:lnTo>
                    <a:pt x="778" y="680"/>
                  </a:lnTo>
                  <a:close/>
                  <a:moveTo>
                    <a:pt x="681" y="677"/>
                  </a:moveTo>
                  <a:lnTo>
                    <a:pt x="678" y="677"/>
                  </a:lnTo>
                  <a:lnTo>
                    <a:pt x="678" y="680"/>
                  </a:lnTo>
                  <a:lnTo>
                    <a:pt x="678" y="677"/>
                  </a:lnTo>
                  <a:lnTo>
                    <a:pt x="681" y="677"/>
                  </a:lnTo>
                  <a:close/>
                  <a:moveTo>
                    <a:pt x="493" y="677"/>
                  </a:moveTo>
                  <a:lnTo>
                    <a:pt x="491" y="677"/>
                  </a:lnTo>
                  <a:lnTo>
                    <a:pt x="493" y="677"/>
                  </a:lnTo>
                  <a:close/>
                  <a:moveTo>
                    <a:pt x="678" y="677"/>
                  </a:moveTo>
                  <a:lnTo>
                    <a:pt x="676" y="677"/>
                  </a:lnTo>
                  <a:lnTo>
                    <a:pt x="678" y="677"/>
                  </a:lnTo>
                  <a:close/>
                  <a:moveTo>
                    <a:pt x="564" y="677"/>
                  </a:moveTo>
                  <a:lnTo>
                    <a:pt x="564" y="675"/>
                  </a:lnTo>
                  <a:lnTo>
                    <a:pt x="564" y="677"/>
                  </a:lnTo>
                  <a:close/>
                  <a:moveTo>
                    <a:pt x="481" y="675"/>
                  </a:moveTo>
                  <a:lnTo>
                    <a:pt x="481" y="677"/>
                  </a:lnTo>
                  <a:lnTo>
                    <a:pt x="484" y="677"/>
                  </a:lnTo>
                  <a:lnTo>
                    <a:pt x="484" y="680"/>
                  </a:lnTo>
                  <a:lnTo>
                    <a:pt x="484" y="682"/>
                  </a:lnTo>
                  <a:lnTo>
                    <a:pt x="484" y="684"/>
                  </a:lnTo>
                  <a:lnTo>
                    <a:pt x="481" y="684"/>
                  </a:lnTo>
                  <a:lnTo>
                    <a:pt x="479" y="684"/>
                  </a:lnTo>
                  <a:lnTo>
                    <a:pt x="477" y="684"/>
                  </a:lnTo>
                  <a:lnTo>
                    <a:pt x="477" y="682"/>
                  </a:lnTo>
                  <a:lnTo>
                    <a:pt x="474" y="682"/>
                  </a:lnTo>
                  <a:lnTo>
                    <a:pt x="477" y="682"/>
                  </a:lnTo>
                  <a:lnTo>
                    <a:pt x="479" y="682"/>
                  </a:lnTo>
                  <a:lnTo>
                    <a:pt x="479" y="680"/>
                  </a:lnTo>
                  <a:lnTo>
                    <a:pt x="481" y="680"/>
                  </a:lnTo>
                  <a:lnTo>
                    <a:pt x="479" y="680"/>
                  </a:lnTo>
                  <a:lnTo>
                    <a:pt x="479" y="677"/>
                  </a:lnTo>
                  <a:lnTo>
                    <a:pt x="481" y="677"/>
                  </a:lnTo>
                  <a:lnTo>
                    <a:pt x="481" y="675"/>
                  </a:lnTo>
                  <a:lnTo>
                    <a:pt x="481" y="677"/>
                  </a:lnTo>
                  <a:lnTo>
                    <a:pt x="481" y="675"/>
                  </a:lnTo>
                  <a:close/>
                  <a:moveTo>
                    <a:pt x="685" y="677"/>
                  </a:moveTo>
                  <a:lnTo>
                    <a:pt x="685" y="675"/>
                  </a:lnTo>
                  <a:lnTo>
                    <a:pt x="685" y="677"/>
                  </a:lnTo>
                  <a:close/>
                  <a:moveTo>
                    <a:pt x="500" y="677"/>
                  </a:moveTo>
                  <a:lnTo>
                    <a:pt x="498" y="677"/>
                  </a:lnTo>
                  <a:lnTo>
                    <a:pt x="500" y="677"/>
                  </a:lnTo>
                  <a:lnTo>
                    <a:pt x="500" y="675"/>
                  </a:lnTo>
                  <a:lnTo>
                    <a:pt x="500" y="677"/>
                  </a:lnTo>
                  <a:close/>
                  <a:moveTo>
                    <a:pt x="498" y="675"/>
                  </a:moveTo>
                  <a:lnTo>
                    <a:pt x="498" y="677"/>
                  </a:lnTo>
                  <a:lnTo>
                    <a:pt x="498" y="675"/>
                  </a:lnTo>
                  <a:close/>
                  <a:moveTo>
                    <a:pt x="688" y="675"/>
                  </a:moveTo>
                  <a:lnTo>
                    <a:pt x="685" y="675"/>
                  </a:lnTo>
                  <a:lnTo>
                    <a:pt x="688" y="675"/>
                  </a:lnTo>
                  <a:close/>
                  <a:moveTo>
                    <a:pt x="500" y="675"/>
                  </a:moveTo>
                  <a:lnTo>
                    <a:pt x="500" y="672"/>
                  </a:lnTo>
                  <a:lnTo>
                    <a:pt x="500" y="675"/>
                  </a:lnTo>
                  <a:close/>
                  <a:moveTo>
                    <a:pt x="688" y="675"/>
                  </a:moveTo>
                  <a:lnTo>
                    <a:pt x="685" y="675"/>
                  </a:lnTo>
                  <a:lnTo>
                    <a:pt x="685" y="672"/>
                  </a:lnTo>
                  <a:lnTo>
                    <a:pt x="685" y="675"/>
                  </a:lnTo>
                  <a:lnTo>
                    <a:pt x="688" y="672"/>
                  </a:lnTo>
                  <a:lnTo>
                    <a:pt x="688" y="675"/>
                  </a:lnTo>
                  <a:close/>
                  <a:moveTo>
                    <a:pt x="683" y="675"/>
                  </a:moveTo>
                  <a:lnTo>
                    <a:pt x="685" y="675"/>
                  </a:lnTo>
                  <a:lnTo>
                    <a:pt x="683" y="675"/>
                  </a:lnTo>
                  <a:lnTo>
                    <a:pt x="683" y="677"/>
                  </a:lnTo>
                  <a:lnTo>
                    <a:pt x="681" y="677"/>
                  </a:lnTo>
                  <a:lnTo>
                    <a:pt x="681" y="675"/>
                  </a:lnTo>
                  <a:lnTo>
                    <a:pt x="683" y="675"/>
                  </a:lnTo>
                  <a:lnTo>
                    <a:pt x="683" y="672"/>
                  </a:lnTo>
                  <a:lnTo>
                    <a:pt x="683" y="675"/>
                  </a:lnTo>
                  <a:close/>
                  <a:moveTo>
                    <a:pt x="517" y="677"/>
                  </a:moveTo>
                  <a:lnTo>
                    <a:pt x="515" y="680"/>
                  </a:lnTo>
                  <a:lnTo>
                    <a:pt x="515" y="677"/>
                  </a:lnTo>
                  <a:lnTo>
                    <a:pt x="515" y="675"/>
                  </a:lnTo>
                  <a:lnTo>
                    <a:pt x="515" y="672"/>
                  </a:lnTo>
                  <a:lnTo>
                    <a:pt x="517" y="675"/>
                  </a:lnTo>
                  <a:lnTo>
                    <a:pt x="519" y="675"/>
                  </a:lnTo>
                  <a:lnTo>
                    <a:pt x="517" y="675"/>
                  </a:lnTo>
                  <a:lnTo>
                    <a:pt x="517" y="677"/>
                  </a:lnTo>
                  <a:close/>
                  <a:moveTo>
                    <a:pt x="685" y="672"/>
                  </a:moveTo>
                  <a:lnTo>
                    <a:pt x="683" y="672"/>
                  </a:lnTo>
                  <a:lnTo>
                    <a:pt x="685" y="672"/>
                  </a:lnTo>
                  <a:close/>
                  <a:moveTo>
                    <a:pt x="681" y="672"/>
                  </a:moveTo>
                  <a:lnTo>
                    <a:pt x="678" y="672"/>
                  </a:lnTo>
                  <a:lnTo>
                    <a:pt x="681" y="672"/>
                  </a:lnTo>
                  <a:close/>
                  <a:moveTo>
                    <a:pt x="555" y="672"/>
                  </a:moveTo>
                  <a:lnTo>
                    <a:pt x="553" y="672"/>
                  </a:lnTo>
                  <a:lnTo>
                    <a:pt x="555" y="672"/>
                  </a:lnTo>
                  <a:close/>
                  <a:moveTo>
                    <a:pt x="555" y="668"/>
                  </a:moveTo>
                  <a:lnTo>
                    <a:pt x="555" y="670"/>
                  </a:lnTo>
                  <a:lnTo>
                    <a:pt x="557" y="670"/>
                  </a:lnTo>
                  <a:lnTo>
                    <a:pt x="555" y="670"/>
                  </a:lnTo>
                  <a:lnTo>
                    <a:pt x="557" y="670"/>
                  </a:lnTo>
                  <a:lnTo>
                    <a:pt x="557" y="672"/>
                  </a:lnTo>
                  <a:lnTo>
                    <a:pt x="555" y="672"/>
                  </a:lnTo>
                  <a:lnTo>
                    <a:pt x="555" y="670"/>
                  </a:lnTo>
                  <a:lnTo>
                    <a:pt x="555" y="668"/>
                  </a:lnTo>
                  <a:close/>
                  <a:moveTo>
                    <a:pt x="567" y="670"/>
                  </a:moveTo>
                  <a:lnTo>
                    <a:pt x="569" y="670"/>
                  </a:lnTo>
                  <a:lnTo>
                    <a:pt x="567" y="672"/>
                  </a:lnTo>
                  <a:lnTo>
                    <a:pt x="567" y="675"/>
                  </a:lnTo>
                  <a:lnTo>
                    <a:pt x="564" y="675"/>
                  </a:lnTo>
                  <a:lnTo>
                    <a:pt x="564" y="672"/>
                  </a:lnTo>
                  <a:lnTo>
                    <a:pt x="564" y="670"/>
                  </a:lnTo>
                  <a:lnTo>
                    <a:pt x="564" y="668"/>
                  </a:lnTo>
                  <a:lnTo>
                    <a:pt x="564" y="670"/>
                  </a:lnTo>
                  <a:lnTo>
                    <a:pt x="567" y="670"/>
                  </a:lnTo>
                  <a:close/>
                  <a:moveTo>
                    <a:pt x="875" y="668"/>
                  </a:moveTo>
                  <a:lnTo>
                    <a:pt x="878" y="668"/>
                  </a:lnTo>
                  <a:lnTo>
                    <a:pt x="875" y="668"/>
                  </a:lnTo>
                  <a:close/>
                  <a:moveTo>
                    <a:pt x="875" y="670"/>
                  </a:moveTo>
                  <a:lnTo>
                    <a:pt x="875" y="668"/>
                  </a:lnTo>
                  <a:lnTo>
                    <a:pt x="875" y="670"/>
                  </a:lnTo>
                  <a:lnTo>
                    <a:pt x="873" y="668"/>
                  </a:lnTo>
                  <a:lnTo>
                    <a:pt x="875" y="668"/>
                  </a:lnTo>
                  <a:lnTo>
                    <a:pt x="875" y="670"/>
                  </a:lnTo>
                  <a:close/>
                  <a:moveTo>
                    <a:pt x="685" y="668"/>
                  </a:moveTo>
                  <a:lnTo>
                    <a:pt x="683" y="668"/>
                  </a:lnTo>
                  <a:lnTo>
                    <a:pt x="685" y="668"/>
                  </a:lnTo>
                  <a:close/>
                  <a:moveTo>
                    <a:pt x="726" y="665"/>
                  </a:moveTo>
                  <a:lnTo>
                    <a:pt x="728" y="665"/>
                  </a:lnTo>
                  <a:lnTo>
                    <a:pt x="726" y="665"/>
                  </a:lnTo>
                  <a:lnTo>
                    <a:pt x="726" y="668"/>
                  </a:lnTo>
                  <a:lnTo>
                    <a:pt x="723" y="665"/>
                  </a:lnTo>
                  <a:lnTo>
                    <a:pt x="726" y="665"/>
                  </a:lnTo>
                  <a:close/>
                  <a:moveTo>
                    <a:pt x="783" y="665"/>
                  </a:moveTo>
                  <a:lnTo>
                    <a:pt x="783" y="663"/>
                  </a:lnTo>
                  <a:lnTo>
                    <a:pt x="783" y="665"/>
                  </a:lnTo>
                  <a:close/>
                  <a:moveTo>
                    <a:pt x="685" y="661"/>
                  </a:moveTo>
                  <a:lnTo>
                    <a:pt x="685" y="663"/>
                  </a:lnTo>
                  <a:lnTo>
                    <a:pt x="683" y="663"/>
                  </a:lnTo>
                  <a:lnTo>
                    <a:pt x="683" y="661"/>
                  </a:lnTo>
                  <a:lnTo>
                    <a:pt x="685" y="661"/>
                  </a:lnTo>
                  <a:close/>
                  <a:moveTo>
                    <a:pt x="730" y="661"/>
                  </a:moveTo>
                  <a:lnTo>
                    <a:pt x="733" y="661"/>
                  </a:lnTo>
                  <a:lnTo>
                    <a:pt x="733" y="663"/>
                  </a:lnTo>
                  <a:lnTo>
                    <a:pt x="730" y="663"/>
                  </a:lnTo>
                  <a:lnTo>
                    <a:pt x="730" y="661"/>
                  </a:lnTo>
                  <a:close/>
                  <a:moveTo>
                    <a:pt x="598" y="661"/>
                  </a:moveTo>
                  <a:lnTo>
                    <a:pt x="595" y="661"/>
                  </a:lnTo>
                  <a:lnTo>
                    <a:pt x="598" y="661"/>
                  </a:lnTo>
                  <a:close/>
                  <a:moveTo>
                    <a:pt x="619" y="658"/>
                  </a:moveTo>
                  <a:lnTo>
                    <a:pt x="619" y="656"/>
                  </a:lnTo>
                  <a:lnTo>
                    <a:pt x="621" y="656"/>
                  </a:lnTo>
                  <a:lnTo>
                    <a:pt x="619" y="658"/>
                  </a:lnTo>
                  <a:close/>
                  <a:moveTo>
                    <a:pt x="735" y="656"/>
                  </a:moveTo>
                  <a:lnTo>
                    <a:pt x="738" y="656"/>
                  </a:lnTo>
                  <a:lnTo>
                    <a:pt x="735" y="656"/>
                  </a:lnTo>
                  <a:close/>
                  <a:moveTo>
                    <a:pt x="621" y="653"/>
                  </a:moveTo>
                  <a:lnTo>
                    <a:pt x="621" y="651"/>
                  </a:lnTo>
                  <a:lnTo>
                    <a:pt x="624" y="651"/>
                  </a:lnTo>
                  <a:lnTo>
                    <a:pt x="624" y="653"/>
                  </a:lnTo>
                  <a:lnTo>
                    <a:pt x="621" y="653"/>
                  </a:lnTo>
                  <a:close/>
                  <a:moveTo>
                    <a:pt x="628" y="651"/>
                  </a:moveTo>
                  <a:lnTo>
                    <a:pt x="626" y="651"/>
                  </a:lnTo>
                  <a:lnTo>
                    <a:pt x="628" y="651"/>
                  </a:lnTo>
                  <a:close/>
                  <a:moveTo>
                    <a:pt x="702" y="649"/>
                  </a:moveTo>
                  <a:lnTo>
                    <a:pt x="702" y="651"/>
                  </a:lnTo>
                  <a:lnTo>
                    <a:pt x="700" y="651"/>
                  </a:lnTo>
                  <a:lnTo>
                    <a:pt x="700" y="649"/>
                  </a:lnTo>
                  <a:lnTo>
                    <a:pt x="702" y="649"/>
                  </a:lnTo>
                  <a:close/>
                  <a:moveTo>
                    <a:pt x="702" y="646"/>
                  </a:moveTo>
                  <a:lnTo>
                    <a:pt x="700" y="646"/>
                  </a:lnTo>
                  <a:lnTo>
                    <a:pt x="702" y="646"/>
                  </a:lnTo>
                  <a:close/>
                  <a:moveTo>
                    <a:pt x="605" y="646"/>
                  </a:moveTo>
                  <a:lnTo>
                    <a:pt x="607" y="646"/>
                  </a:lnTo>
                  <a:lnTo>
                    <a:pt x="605" y="646"/>
                  </a:lnTo>
                  <a:close/>
                  <a:moveTo>
                    <a:pt x="730" y="644"/>
                  </a:moveTo>
                  <a:lnTo>
                    <a:pt x="730" y="646"/>
                  </a:lnTo>
                  <a:lnTo>
                    <a:pt x="730" y="644"/>
                  </a:lnTo>
                  <a:close/>
                  <a:moveTo>
                    <a:pt x="647" y="644"/>
                  </a:moveTo>
                  <a:lnTo>
                    <a:pt x="645" y="644"/>
                  </a:lnTo>
                  <a:lnTo>
                    <a:pt x="647" y="644"/>
                  </a:lnTo>
                  <a:close/>
                  <a:moveTo>
                    <a:pt x="745" y="644"/>
                  </a:moveTo>
                  <a:lnTo>
                    <a:pt x="747" y="644"/>
                  </a:lnTo>
                  <a:lnTo>
                    <a:pt x="745" y="644"/>
                  </a:lnTo>
                  <a:close/>
                  <a:moveTo>
                    <a:pt x="700" y="642"/>
                  </a:moveTo>
                  <a:lnTo>
                    <a:pt x="702" y="644"/>
                  </a:lnTo>
                  <a:lnTo>
                    <a:pt x="700" y="644"/>
                  </a:lnTo>
                  <a:lnTo>
                    <a:pt x="700" y="642"/>
                  </a:lnTo>
                  <a:close/>
                  <a:moveTo>
                    <a:pt x="733" y="642"/>
                  </a:moveTo>
                  <a:lnTo>
                    <a:pt x="730" y="642"/>
                  </a:lnTo>
                  <a:lnTo>
                    <a:pt x="733" y="642"/>
                  </a:lnTo>
                  <a:close/>
                  <a:moveTo>
                    <a:pt x="609" y="639"/>
                  </a:moveTo>
                  <a:lnTo>
                    <a:pt x="609" y="642"/>
                  </a:lnTo>
                  <a:lnTo>
                    <a:pt x="607" y="642"/>
                  </a:lnTo>
                  <a:lnTo>
                    <a:pt x="609" y="642"/>
                  </a:lnTo>
                  <a:lnTo>
                    <a:pt x="609" y="639"/>
                  </a:lnTo>
                  <a:close/>
                  <a:moveTo>
                    <a:pt x="647" y="642"/>
                  </a:moveTo>
                  <a:lnTo>
                    <a:pt x="647" y="639"/>
                  </a:lnTo>
                  <a:lnTo>
                    <a:pt x="650" y="639"/>
                  </a:lnTo>
                  <a:lnTo>
                    <a:pt x="647" y="639"/>
                  </a:lnTo>
                  <a:lnTo>
                    <a:pt x="647" y="642"/>
                  </a:lnTo>
                  <a:close/>
                  <a:moveTo>
                    <a:pt x="650" y="639"/>
                  </a:moveTo>
                  <a:lnTo>
                    <a:pt x="647" y="639"/>
                  </a:lnTo>
                  <a:lnTo>
                    <a:pt x="650" y="639"/>
                  </a:lnTo>
                  <a:close/>
                  <a:moveTo>
                    <a:pt x="657" y="637"/>
                  </a:moveTo>
                  <a:lnTo>
                    <a:pt x="655" y="637"/>
                  </a:lnTo>
                  <a:lnTo>
                    <a:pt x="657" y="637"/>
                  </a:lnTo>
                  <a:close/>
                  <a:moveTo>
                    <a:pt x="655" y="637"/>
                  </a:moveTo>
                  <a:lnTo>
                    <a:pt x="655" y="634"/>
                  </a:lnTo>
                  <a:lnTo>
                    <a:pt x="655" y="637"/>
                  </a:lnTo>
                  <a:close/>
                  <a:moveTo>
                    <a:pt x="700" y="634"/>
                  </a:moveTo>
                  <a:lnTo>
                    <a:pt x="702" y="634"/>
                  </a:lnTo>
                  <a:lnTo>
                    <a:pt x="700" y="634"/>
                  </a:lnTo>
                  <a:close/>
                  <a:moveTo>
                    <a:pt x="640" y="630"/>
                  </a:moveTo>
                  <a:lnTo>
                    <a:pt x="643" y="630"/>
                  </a:lnTo>
                  <a:lnTo>
                    <a:pt x="643" y="632"/>
                  </a:lnTo>
                  <a:lnTo>
                    <a:pt x="645" y="632"/>
                  </a:lnTo>
                  <a:lnTo>
                    <a:pt x="647" y="632"/>
                  </a:lnTo>
                  <a:lnTo>
                    <a:pt x="645" y="632"/>
                  </a:lnTo>
                  <a:lnTo>
                    <a:pt x="643" y="632"/>
                  </a:lnTo>
                  <a:lnTo>
                    <a:pt x="643" y="634"/>
                  </a:lnTo>
                  <a:lnTo>
                    <a:pt x="643" y="632"/>
                  </a:lnTo>
                  <a:lnTo>
                    <a:pt x="645" y="634"/>
                  </a:lnTo>
                  <a:lnTo>
                    <a:pt x="645" y="632"/>
                  </a:lnTo>
                  <a:lnTo>
                    <a:pt x="645" y="634"/>
                  </a:lnTo>
                  <a:lnTo>
                    <a:pt x="647" y="634"/>
                  </a:lnTo>
                  <a:lnTo>
                    <a:pt x="645" y="634"/>
                  </a:lnTo>
                  <a:lnTo>
                    <a:pt x="645" y="637"/>
                  </a:lnTo>
                  <a:lnTo>
                    <a:pt x="643" y="634"/>
                  </a:lnTo>
                  <a:lnTo>
                    <a:pt x="643" y="637"/>
                  </a:lnTo>
                  <a:lnTo>
                    <a:pt x="640" y="637"/>
                  </a:lnTo>
                  <a:lnTo>
                    <a:pt x="638" y="637"/>
                  </a:lnTo>
                  <a:lnTo>
                    <a:pt x="638" y="634"/>
                  </a:lnTo>
                  <a:lnTo>
                    <a:pt x="640" y="634"/>
                  </a:lnTo>
                  <a:lnTo>
                    <a:pt x="638" y="634"/>
                  </a:lnTo>
                  <a:lnTo>
                    <a:pt x="636" y="634"/>
                  </a:lnTo>
                  <a:lnTo>
                    <a:pt x="638" y="634"/>
                  </a:lnTo>
                  <a:lnTo>
                    <a:pt x="638" y="632"/>
                  </a:lnTo>
                  <a:lnTo>
                    <a:pt x="640" y="632"/>
                  </a:lnTo>
                  <a:lnTo>
                    <a:pt x="638" y="632"/>
                  </a:lnTo>
                  <a:lnTo>
                    <a:pt x="636" y="632"/>
                  </a:lnTo>
                  <a:lnTo>
                    <a:pt x="638" y="632"/>
                  </a:lnTo>
                  <a:lnTo>
                    <a:pt x="636" y="632"/>
                  </a:lnTo>
                  <a:lnTo>
                    <a:pt x="638" y="632"/>
                  </a:lnTo>
                  <a:lnTo>
                    <a:pt x="636" y="632"/>
                  </a:lnTo>
                  <a:lnTo>
                    <a:pt x="638" y="630"/>
                  </a:lnTo>
                  <a:lnTo>
                    <a:pt x="636" y="630"/>
                  </a:lnTo>
                  <a:lnTo>
                    <a:pt x="638" y="630"/>
                  </a:lnTo>
                  <a:lnTo>
                    <a:pt x="636" y="630"/>
                  </a:lnTo>
                  <a:lnTo>
                    <a:pt x="638" y="630"/>
                  </a:lnTo>
                  <a:lnTo>
                    <a:pt x="640" y="630"/>
                  </a:lnTo>
                  <a:close/>
                  <a:moveTo>
                    <a:pt x="674" y="630"/>
                  </a:moveTo>
                  <a:lnTo>
                    <a:pt x="676" y="630"/>
                  </a:lnTo>
                  <a:lnTo>
                    <a:pt x="674" y="630"/>
                  </a:lnTo>
                  <a:lnTo>
                    <a:pt x="674" y="632"/>
                  </a:lnTo>
                  <a:lnTo>
                    <a:pt x="671" y="632"/>
                  </a:lnTo>
                  <a:lnTo>
                    <a:pt x="674" y="632"/>
                  </a:lnTo>
                  <a:lnTo>
                    <a:pt x="671" y="632"/>
                  </a:lnTo>
                  <a:lnTo>
                    <a:pt x="671" y="630"/>
                  </a:lnTo>
                  <a:lnTo>
                    <a:pt x="674" y="630"/>
                  </a:lnTo>
                  <a:close/>
                  <a:moveTo>
                    <a:pt x="704" y="627"/>
                  </a:moveTo>
                  <a:lnTo>
                    <a:pt x="707" y="627"/>
                  </a:lnTo>
                  <a:lnTo>
                    <a:pt x="704" y="630"/>
                  </a:lnTo>
                  <a:lnTo>
                    <a:pt x="704" y="627"/>
                  </a:lnTo>
                  <a:close/>
                  <a:moveTo>
                    <a:pt x="647" y="627"/>
                  </a:moveTo>
                  <a:lnTo>
                    <a:pt x="645" y="627"/>
                  </a:lnTo>
                  <a:lnTo>
                    <a:pt x="647" y="627"/>
                  </a:lnTo>
                  <a:close/>
                  <a:moveTo>
                    <a:pt x="643" y="627"/>
                  </a:moveTo>
                  <a:lnTo>
                    <a:pt x="645" y="627"/>
                  </a:lnTo>
                  <a:lnTo>
                    <a:pt x="643" y="627"/>
                  </a:lnTo>
                  <a:lnTo>
                    <a:pt x="645" y="627"/>
                  </a:lnTo>
                  <a:lnTo>
                    <a:pt x="645" y="630"/>
                  </a:lnTo>
                  <a:lnTo>
                    <a:pt x="643" y="630"/>
                  </a:lnTo>
                  <a:lnTo>
                    <a:pt x="640" y="630"/>
                  </a:lnTo>
                  <a:lnTo>
                    <a:pt x="638" y="630"/>
                  </a:lnTo>
                  <a:lnTo>
                    <a:pt x="638" y="627"/>
                  </a:lnTo>
                  <a:lnTo>
                    <a:pt x="640" y="627"/>
                  </a:lnTo>
                  <a:lnTo>
                    <a:pt x="643" y="627"/>
                  </a:lnTo>
                  <a:lnTo>
                    <a:pt x="640" y="627"/>
                  </a:lnTo>
                  <a:lnTo>
                    <a:pt x="643" y="627"/>
                  </a:lnTo>
                  <a:lnTo>
                    <a:pt x="640" y="627"/>
                  </a:lnTo>
                  <a:lnTo>
                    <a:pt x="643" y="627"/>
                  </a:lnTo>
                  <a:lnTo>
                    <a:pt x="640" y="627"/>
                  </a:lnTo>
                  <a:lnTo>
                    <a:pt x="643" y="627"/>
                  </a:lnTo>
                  <a:close/>
                  <a:moveTo>
                    <a:pt x="643" y="627"/>
                  </a:moveTo>
                  <a:lnTo>
                    <a:pt x="643" y="625"/>
                  </a:lnTo>
                  <a:lnTo>
                    <a:pt x="643" y="627"/>
                  </a:lnTo>
                  <a:close/>
                  <a:moveTo>
                    <a:pt x="664" y="625"/>
                  </a:moveTo>
                  <a:lnTo>
                    <a:pt x="666" y="625"/>
                  </a:lnTo>
                  <a:lnTo>
                    <a:pt x="669" y="625"/>
                  </a:lnTo>
                  <a:lnTo>
                    <a:pt x="666" y="627"/>
                  </a:lnTo>
                  <a:lnTo>
                    <a:pt x="669" y="627"/>
                  </a:lnTo>
                  <a:lnTo>
                    <a:pt x="666" y="627"/>
                  </a:lnTo>
                  <a:lnTo>
                    <a:pt x="666" y="630"/>
                  </a:lnTo>
                  <a:lnTo>
                    <a:pt x="664" y="630"/>
                  </a:lnTo>
                  <a:lnTo>
                    <a:pt x="662" y="630"/>
                  </a:lnTo>
                  <a:lnTo>
                    <a:pt x="662" y="627"/>
                  </a:lnTo>
                  <a:lnTo>
                    <a:pt x="659" y="627"/>
                  </a:lnTo>
                  <a:lnTo>
                    <a:pt x="662" y="627"/>
                  </a:lnTo>
                  <a:lnTo>
                    <a:pt x="662" y="625"/>
                  </a:lnTo>
                  <a:lnTo>
                    <a:pt x="664" y="627"/>
                  </a:lnTo>
                  <a:lnTo>
                    <a:pt x="664" y="625"/>
                  </a:lnTo>
                  <a:close/>
                  <a:moveTo>
                    <a:pt x="685" y="625"/>
                  </a:moveTo>
                  <a:lnTo>
                    <a:pt x="685" y="623"/>
                  </a:lnTo>
                  <a:lnTo>
                    <a:pt x="685" y="625"/>
                  </a:lnTo>
                  <a:close/>
                  <a:moveTo>
                    <a:pt x="685" y="623"/>
                  </a:moveTo>
                  <a:lnTo>
                    <a:pt x="683" y="623"/>
                  </a:lnTo>
                  <a:lnTo>
                    <a:pt x="685" y="623"/>
                  </a:lnTo>
                  <a:close/>
                  <a:moveTo>
                    <a:pt x="394" y="288"/>
                  </a:moveTo>
                  <a:lnTo>
                    <a:pt x="396" y="290"/>
                  </a:lnTo>
                  <a:lnTo>
                    <a:pt x="394" y="290"/>
                  </a:lnTo>
                  <a:lnTo>
                    <a:pt x="394" y="288"/>
                  </a:lnTo>
                  <a:lnTo>
                    <a:pt x="394" y="290"/>
                  </a:lnTo>
                  <a:lnTo>
                    <a:pt x="394" y="288"/>
                  </a:lnTo>
                  <a:lnTo>
                    <a:pt x="391" y="288"/>
                  </a:lnTo>
                  <a:lnTo>
                    <a:pt x="394" y="288"/>
                  </a:lnTo>
                  <a:close/>
                  <a:moveTo>
                    <a:pt x="674" y="292"/>
                  </a:moveTo>
                  <a:lnTo>
                    <a:pt x="671" y="292"/>
                  </a:lnTo>
                  <a:lnTo>
                    <a:pt x="674" y="290"/>
                  </a:lnTo>
                  <a:lnTo>
                    <a:pt x="674" y="288"/>
                  </a:lnTo>
                  <a:lnTo>
                    <a:pt x="676" y="288"/>
                  </a:lnTo>
                  <a:lnTo>
                    <a:pt x="676" y="285"/>
                  </a:lnTo>
                  <a:lnTo>
                    <a:pt x="678" y="285"/>
                  </a:lnTo>
                  <a:lnTo>
                    <a:pt x="681" y="283"/>
                  </a:lnTo>
                  <a:lnTo>
                    <a:pt x="683" y="283"/>
                  </a:lnTo>
                  <a:lnTo>
                    <a:pt x="683" y="280"/>
                  </a:lnTo>
                  <a:lnTo>
                    <a:pt x="685" y="280"/>
                  </a:lnTo>
                  <a:lnTo>
                    <a:pt x="688" y="278"/>
                  </a:lnTo>
                  <a:lnTo>
                    <a:pt x="688" y="276"/>
                  </a:lnTo>
                  <a:lnTo>
                    <a:pt x="693" y="276"/>
                  </a:lnTo>
                  <a:lnTo>
                    <a:pt x="688" y="278"/>
                  </a:lnTo>
                  <a:lnTo>
                    <a:pt x="688" y="280"/>
                  </a:lnTo>
                  <a:lnTo>
                    <a:pt x="685" y="280"/>
                  </a:lnTo>
                  <a:lnTo>
                    <a:pt x="683" y="283"/>
                  </a:lnTo>
                  <a:lnTo>
                    <a:pt x="681" y="283"/>
                  </a:lnTo>
                  <a:lnTo>
                    <a:pt x="681" y="285"/>
                  </a:lnTo>
                  <a:lnTo>
                    <a:pt x="678" y="288"/>
                  </a:lnTo>
                  <a:lnTo>
                    <a:pt x="676" y="288"/>
                  </a:lnTo>
                  <a:lnTo>
                    <a:pt x="676" y="290"/>
                  </a:lnTo>
                  <a:lnTo>
                    <a:pt x="674" y="290"/>
                  </a:lnTo>
                  <a:lnTo>
                    <a:pt x="674" y="292"/>
                  </a:lnTo>
                  <a:close/>
                  <a:moveTo>
                    <a:pt x="408" y="266"/>
                  </a:moveTo>
                  <a:lnTo>
                    <a:pt x="408" y="269"/>
                  </a:lnTo>
                  <a:lnTo>
                    <a:pt x="408" y="266"/>
                  </a:lnTo>
                  <a:close/>
                  <a:moveTo>
                    <a:pt x="572" y="257"/>
                  </a:moveTo>
                  <a:lnTo>
                    <a:pt x="574" y="257"/>
                  </a:lnTo>
                  <a:lnTo>
                    <a:pt x="572" y="257"/>
                  </a:lnTo>
                  <a:close/>
                  <a:moveTo>
                    <a:pt x="569" y="257"/>
                  </a:moveTo>
                  <a:lnTo>
                    <a:pt x="572" y="257"/>
                  </a:lnTo>
                  <a:lnTo>
                    <a:pt x="569" y="257"/>
                  </a:lnTo>
                  <a:close/>
                  <a:moveTo>
                    <a:pt x="389" y="257"/>
                  </a:moveTo>
                  <a:lnTo>
                    <a:pt x="389" y="254"/>
                  </a:lnTo>
                  <a:lnTo>
                    <a:pt x="389" y="257"/>
                  </a:lnTo>
                  <a:close/>
                  <a:moveTo>
                    <a:pt x="389" y="254"/>
                  </a:moveTo>
                  <a:lnTo>
                    <a:pt x="386" y="254"/>
                  </a:lnTo>
                  <a:lnTo>
                    <a:pt x="389" y="254"/>
                  </a:lnTo>
                  <a:close/>
                  <a:moveTo>
                    <a:pt x="341" y="252"/>
                  </a:moveTo>
                  <a:lnTo>
                    <a:pt x="344" y="252"/>
                  </a:lnTo>
                  <a:lnTo>
                    <a:pt x="341" y="252"/>
                  </a:lnTo>
                  <a:close/>
                  <a:moveTo>
                    <a:pt x="344" y="252"/>
                  </a:moveTo>
                  <a:lnTo>
                    <a:pt x="341" y="252"/>
                  </a:lnTo>
                  <a:lnTo>
                    <a:pt x="344" y="252"/>
                  </a:lnTo>
                  <a:close/>
                  <a:moveTo>
                    <a:pt x="590" y="252"/>
                  </a:moveTo>
                  <a:lnTo>
                    <a:pt x="588" y="252"/>
                  </a:lnTo>
                  <a:lnTo>
                    <a:pt x="590" y="252"/>
                  </a:lnTo>
                  <a:close/>
                  <a:moveTo>
                    <a:pt x="600" y="247"/>
                  </a:moveTo>
                  <a:lnTo>
                    <a:pt x="598" y="247"/>
                  </a:lnTo>
                  <a:lnTo>
                    <a:pt x="598" y="245"/>
                  </a:lnTo>
                  <a:lnTo>
                    <a:pt x="600" y="247"/>
                  </a:lnTo>
                  <a:close/>
                  <a:moveTo>
                    <a:pt x="602" y="247"/>
                  </a:moveTo>
                  <a:lnTo>
                    <a:pt x="602" y="245"/>
                  </a:lnTo>
                  <a:lnTo>
                    <a:pt x="602" y="247"/>
                  </a:lnTo>
                  <a:close/>
                  <a:moveTo>
                    <a:pt x="602" y="247"/>
                  </a:moveTo>
                  <a:lnTo>
                    <a:pt x="600" y="247"/>
                  </a:lnTo>
                  <a:lnTo>
                    <a:pt x="602" y="247"/>
                  </a:lnTo>
                  <a:lnTo>
                    <a:pt x="602" y="245"/>
                  </a:lnTo>
                  <a:lnTo>
                    <a:pt x="602" y="247"/>
                  </a:lnTo>
                  <a:close/>
                  <a:moveTo>
                    <a:pt x="605" y="245"/>
                  </a:moveTo>
                  <a:lnTo>
                    <a:pt x="602" y="245"/>
                  </a:lnTo>
                  <a:lnTo>
                    <a:pt x="605" y="245"/>
                  </a:lnTo>
                  <a:lnTo>
                    <a:pt x="602" y="245"/>
                  </a:lnTo>
                  <a:lnTo>
                    <a:pt x="605" y="245"/>
                  </a:lnTo>
                  <a:close/>
                  <a:moveTo>
                    <a:pt x="576" y="242"/>
                  </a:moveTo>
                  <a:lnTo>
                    <a:pt x="574" y="242"/>
                  </a:lnTo>
                  <a:lnTo>
                    <a:pt x="576" y="242"/>
                  </a:lnTo>
                  <a:close/>
                  <a:moveTo>
                    <a:pt x="564" y="238"/>
                  </a:moveTo>
                  <a:lnTo>
                    <a:pt x="562" y="238"/>
                  </a:lnTo>
                  <a:lnTo>
                    <a:pt x="564" y="238"/>
                  </a:lnTo>
                  <a:close/>
                  <a:moveTo>
                    <a:pt x="555" y="238"/>
                  </a:moveTo>
                  <a:lnTo>
                    <a:pt x="553" y="238"/>
                  </a:lnTo>
                  <a:lnTo>
                    <a:pt x="555" y="238"/>
                  </a:lnTo>
                  <a:close/>
                  <a:moveTo>
                    <a:pt x="617" y="238"/>
                  </a:moveTo>
                  <a:lnTo>
                    <a:pt x="614" y="238"/>
                  </a:lnTo>
                  <a:lnTo>
                    <a:pt x="612" y="238"/>
                  </a:lnTo>
                  <a:lnTo>
                    <a:pt x="612" y="240"/>
                  </a:lnTo>
                  <a:lnTo>
                    <a:pt x="609" y="240"/>
                  </a:lnTo>
                  <a:lnTo>
                    <a:pt x="609" y="238"/>
                  </a:lnTo>
                  <a:lnTo>
                    <a:pt x="612" y="238"/>
                  </a:lnTo>
                  <a:lnTo>
                    <a:pt x="614" y="238"/>
                  </a:lnTo>
                  <a:lnTo>
                    <a:pt x="617" y="238"/>
                  </a:lnTo>
                  <a:close/>
                  <a:moveTo>
                    <a:pt x="590" y="231"/>
                  </a:moveTo>
                  <a:lnTo>
                    <a:pt x="593" y="231"/>
                  </a:lnTo>
                  <a:lnTo>
                    <a:pt x="590" y="233"/>
                  </a:lnTo>
                  <a:lnTo>
                    <a:pt x="590" y="231"/>
                  </a:lnTo>
                  <a:close/>
                  <a:moveTo>
                    <a:pt x="588" y="231"/>
                  </a:moveTo>
                  <a:lnTo>
                    <a:pt x="586" y="231"/>
                  </a:lnTo>
                  <a:lnTo>
                    <a:pt x="588" y="231"/>
                  </a:lnTo>
                  <a:lnTo>
                    <a:pt x="590" y="231"/>
                  </a:lnTo>
                  <a:lnTo>
                    <a:pt x="588" y="231"/>
                  </a:lnTo>
                  <a:close/>
                  <a:moveTo>
                    <a:pt x="536" y="219"/>
                  </a:moveTo>
                  <a:lnTo>
                    <a:pt x="538" y="219"/>
                  </a:lnTo>
                  <a:lnTo>
                    <a:pt x="536" y="219"/>
                  </a:lnTo>
                  <a:close/>
                  <a:moveTo>
                    <a:pt x="341" y="219"/>
                  </a:moveTo>
                  <a:lnTo>
                    <a:pt x="341" y="216"/>
                  </a:lnTo>
                  <a:lnTo>
                    <a:pt x="341" y="219"/>
                  </a:lnTo>
                  <a:close/>
                  <a:moveTo>
                    <a:pt x="595" y="219"/>
                  </a:moveTo>
                  <a:lnTo>
                    <a:pt x="593" y="216"/>
                  </a:lnTo>
                  <a:lnTo>
                    <a:pt x="595" y="216"/>
                  </a:lnTo>
                  <a:lnTo>
                    <a:pt x="595" y="219"/>
                  </a:lnTo>
                  <a:close/>
                  <a:moveTo>
                    <a:pt x="595" y="216"/>
                  </a:moveTo>
                  <a:lnTo>
                    <a:pt x="593" y="216"/>
                  </a:lnTo>
                  <a:lnTo>
                    <a:pt x="595" y="216"/>
                  </a:lnTo>
                  <a:close/>
                  <a:moveTo>
                    <a:pt x="595" y="216"/>
                  </a:moveTo>
                  <a:lnTo>
                    <a:pt x="593" y="216"/>
                  </a:lnTo>
                  <a:lnTo>
                    <a:pt x="595" y="216"/>
                  </a:lnTo>
                  <a:close/>
                  <a:moveTo>
                    <a:pt x="337" y="209"/>
                  </a:moveTo>
                  <a:lnTo>
                    <a:pt x="337" y="212"/>
                  </a:lnTo>
                  <a:lnTo>
                    <a:pt x="337" y="209"/>
                  </a:lnTo>
                  <a:lnTo>
                    <a:pt x="334" y="209"/>
                  </a:lnTo>
                  <a:lnTo>
                    <a:pt x="334" y="212"/>
                  </a:lnTo>
                  <a:lnTo>
                    <a:pt x="337" y="212"/>
                  </a:lnTo>
                  <a:lnTo>
                    <a:pt x="334" y="212"/>
                  </a:lnTo>
                  <a:lnTo>
                    <a:pt x="334" y="209"/>
                  </a:lnTo>
                  <a:lnTo>
                    <a:pt x="332" y="209"/>
                  </a:lnTo>
                  <a:lnTo>
                    <a:pt x="329" y="207"/>
                  </a:lnTo>
                  <a:lnTo>
                    <a:pt x="332" y="209"/>
                  </a:lnTo>
                  <a:lnTo>
                    <a:pt x="334" y="209"/>
                  </a:lnTo>
                  <a:lnTo>
                    <a:pt x="337" y="209"/>
                  </a:lnTo>
                  <a:close/>
                  <a:moveTo>
                    <a:pt x="678" y="204"/>
                  </a:moveTo>
                  <a:lnTo>
                    <a:pt x="676" y="204"/>
                  </a:lnTo>
                  <a:lnTo>
                    <a:pt x="678" y="204"/>
                  </a:lnTo>
                  <a:close/>
                  <a:moveTo>
                    <a:pt x="676" y="204"/>
                  </a:moveTo>
                  <a:lnTo>
                    <a:pt x="676" y="202"/>
                  </a:lnTo>
                  <a:lnTo>
                    <a:pt x="676" y="204"/>
                  </a:lnTo>
                  <a:close/>
                  <a:moveTo>
                    <a:pt x="678" y="202"/>
                  </a:moveTo>
                  <a:lnTo>
                    <a:pt x="676" y="202"/>
                  </a:lnTo>
                  <a:lnTo>
                    <a:pt x="678" y="202"/>
                  </a:lnTo>
                  <a:close/>
                  <a:moveTo>
                    <a:pt x="534" y="181"/>
                  </a:moveTo>
                  <a:lnTo>
                    <a:pt x="536" y="181"/>
                  </a:lnTo>
                  <a:lnTo>
                    <a:pt x="534" y="181"/>
                  </a:lnTo>
                  <a:close/>
                  <a:moveTo>
                    <a:pt x="524" y="178"/>
                  </a:moveTo>
                  <a:lnTo>
                    <a:pt x="522" y="178"/>
                  </a:lnTo>
                  <a:lnTo>
                    <a:pt x="524" y="178"/>
                  </a:lnTo>
                  <a:lnTo>
                    <a:pt x="522" y="178"/>
                  </a:lnTo>
                  <a:lnTo>
                    <a:pt x="524" y="178"/>
                  </a:lnTo>
                  <a:close/>
                  <a:moveTo>
                    <a:pt x="524" y="176"/>
                  </a:moveTo>
                  <a:lnTo>
                    <a:pt x="524" y="178"/>
                  </a:lnTo>
                  <a:lnTo>
                    <a:pt x="522" y="178"/>
                  </a:lnTo>
                  <a:lnTo>
                    <a:pt x="524" y="176"/>
                  </a:lnTo>
                  <a:lnTo>
                    <a:pt x="524" y="178"/>
                  </a:lnTo>
                  <a:lnTo>
                    <a:pt x="524" y="176"/>
                  </a:lnTo>
                  <a:close/>
                  <a:moveTo>
                    <a:pt x="534" y="178"/>
                  </a:moveTo>
                  <a:lnTo>
                    <a:pt x="531" y="178"/>
                  </a:lnTo>
                  <a:lnTo>
                    <a:pt x="529" y="178"/>
                  </a:lnTo>
                  <a:lnTo>
                    <a:pt x="529" y="176"/>
                  </a:lnTo>
                  <a:lnTo>
                    <a:pt x="531" y="178"/>
                  </a:lnTo>
                  <a:lnTo>
                    <a:pt x="531" y="176"/>
                  </a:lnTo>
                  <a:lnTo>
                    <a:pt x="534" y="176"/>
                  </a:lnTo>
                  <a:lnTo>
                    <a:pt x="534" y="178"/>
                  </a:lnTo>
                  <a:close/>
                  <a:moveTo>
                    <a:pt x="367" y="176"/>
                  </a:moveTo>
                  <a:lnTo>
                    <a:pt x="370" y="176"/>
                  </a:lnTo>
                  <a:lnTo>
                    <a:pt x="367" y="176"/>
                  </a:lnTo>
                  <a:close/>
                  <a:moveTo>
                    <a:pt x="230" y="169"/>
                  </a:moveTo>
                  <a:lnTo>
                    <a:pt x="232" y="169"/>
                  </a:lnTo>
                  <a:lnTo>
                    <a:pt x="230" y="169"/>
                  </a:lnTo>
                  <a:close/>
                  <a:moveTo>
                    <a:pt x="275" y="166"/>
                  </a:moveTo>
                  <a:lnTo>
                    <a:pt x="273" y="166"/>
                  </a:lnTo>
                  <a:lnTo>
                    <a:pt x="275" y="166"/>
                  </a:lnTo>
                  <a:close/>
                  <a:moveTo>
                    <a:pt x="273" y="166"/>
                  </a:moveTo>
                  <a:lnTo>
                    <a:pt x="273" y="164"/>
                  </a:lnTo>
                  <a:lnTo>
                    <a:pt x="273" y="166"/>
                  </a:lnTo>
                  <a:close/>
                  <a:moveTo>
                    <a:pt x="318" y="164"/>
                  </a:moveTo>
                  <a:lnTo>
                    <a:pt x="315" y="164"/>
                  </a:lnTo>
                  <a:lnTo>
                    <a:pt x="318" y="164"/>
                  </a:lnTo>
                  <a:close/>
                  <a:moveTo>
                    <a:pt x="384" y="162"/>
                  </a:moveTo>
                  <a:lnTo>
                    <a:pt x="384" y="159"/>
                  </a:lnTo>
                  <a:lnTo>
                    <a:pt x="384" y="162"/>
                  </a:lnTo>
                  <a:close/>
                  <a:moveTo>
                    <a:pt x="496" y="157"/>
                  </a:moveTo>
                  <a:lnTo>
                    <a:pt x="498" y="157"/>
                  </a:lnTo>
                  <a:lnTo>
                    <a:pt x="496" y="157"/>
                  </a:lnTo>
                  <a:close/>
                  <a:moveTo>
                    <a:pt x="251" y="155"/>
                  </a:moveTo>
                  <a:lnTo>
                    <a:pt x="254" y="155"/>
                  </a:lnTo>
                  <a:lnTo>
                    <a:pt x="251" y="155"/>
                  </a:lnTo>
                  <a:close/>
                  <a:moveTo>
                    <a:pt x="536" y="152"/>
                  </a:moveTo>
                  <a:lnTo>
                    <a:pt x="536" y="155"/>
                  </a:lnTo>
                  <a:lnTo>
                    <a:pt x="536" y="152"/>
                  </a:lnTo>
                  <a:close/>
                  <a:moveTo>
                    <a:pt x="351" y="152"/>
                  </a:moveTo>
                  <a:lnTo>
                    <a:pt x="348" y="152"/>
                  </a:lnTo>
                  <a:lnTo>
                    <a:pt x="348" y="150"/>
                  </a:lnTo>
                  <a:lnTo>
                    <a:pt x="348" y="152"/>
                  </a:lnTo>
                  <a:lnTo>
                    <a:pt x="351" y="152"/>
                  </a:lnTo>
                  <a:close/>
                  <a:moveTo>
                    <a:pt x="515" y="150"/>
                  </a:moveTo>
                  <a:lnTo>
                    <a:pt x="512" y="150"/>
                  </a:lnTo>
                  <a:lnTo>
                    <a:pt x="515" y="150"/>
                  </a:lnTo>
                  <a:close/>
                  <a:moveTo>
                    <a:pt x="553" y="150"/>
                  </a:moveTo>
                  <a:lnTo>
                    <a:pt x="550" y="150"/>
                  </a:lnTo>
                  <a:lnTo>
                    <a:pt x="550" y="147"/>
                  </a:lnTo>
                  <a:lnTo>
                    <a:pt x="553" y="150"/>
                  </a:lnTo>
                  <a:close/>
                  <a:moveTo>
                    <a:pt x="329" y="147"/>
                  </a:moveTo>
                  <a:lnTo>
                    <a:pt x="332" y="147"/>
                  </a:lnTo>
                  <a:lnTo>
                    <a:pt x="329" y="147"/>
                  </a:lnTo>
                  <a:close/>
                  <a:moveTo>
                    <a:pt x="550" y="147"/>
                  </a:moveTo>
                  <a:lnTo>
                    <a:pt x="548" y="147"/>
                  </a:lnTo>
                  <a:lnTo>
                    <a:pt x="550" y="147"/>
                  </a:lnTo>
                  <a:close/>
                  <a:moveTo>
                    <a:pt x="337" y="145"/>
                  </a:moveTo>
                  <a:lnTo>
                    <a:pt x="334" y="145"/>
                  </a:lnTo>
                  <a:lnTo>
                    <a:pt x="334" y="147"/>
                  </a:lnTo>
                  <a:lnTo>
                    <a:pt x="334" y="145"/>
                  </a:lnTo>
                  <a:lnTo>
                    <a:pt x="337" y="145"/>
                  </a:lnTo>
                  <a:close/>
                  <a:moveTo>
                    <a:pt x="227" y="143"/>
                  </a:moveTo>
                  <a:lnTo>
                    <a:pt x="230" y="143"/>
                  </a:lnTo>
                  <a:lnTo>
                    <a:pt x="232" y="140"/>
                  </a:lnTo>
                  <a:lnTo>
                    <a:pt x="230" y="143"/>
                  </a:lnTo>
                  <a:lnTo>
                    <a:pt x="227" y="143"/>
                  </a:lnTo>
                  <a:close/>
                  <a:moveTo>
                    <a:pt x="797" y="140"/>
                  </a:moveTo>
                  <a:lnTo>
                    <a:pt x="795" y="140"/>
                  </a:lnTo>
                  <a:lnTo>
                    <a:pt x="792" y="140"/>
                  </a:lnTo>
                  <a:lnTo>
                    <a:pt x="795" y="140"/>
                  </a:lnTo>
                  <a:lnTo>
                    <a:pt x="797" y="140"/>
                  </a:lnTo>
                  <a:close/>
                  <a:moveTo>
                    <a:pt x="795" y="138"/>
                  </a:moveTo>
                  <a:lnTo>
                    <a:pt x="792" y="138"/>
                  </a:lnTo>
                  <a:lnTo>
                    <a:pt x="795" y="138"/>
                  </a:lnTo>
                  <a:close/>
                  <a:moveTo>
                    <a:pt x="799" y="133"/>
                  </a:moveTo>
                  <a:lnTo>
                    <a:pt x="797" y="133"/>
                  </a:lnTo>
                  <a:lnTo>
                    <a:pt x="799" y="133"/>
                  </a:lnTo>
                  <a:close/>
                  <a:moveTo>
                    <a:pt x="256" y="128"/>
                  </a:moveTo>
                  <a:lnTo>
                    <a:pt x="254" y="128"/>
                  </a:lnTo>
                  <a:lnTo>
                    <a:pt x="256" y="128"/>
                  </a:lnTo>
                  <a:close/>
                  <a:moveTo>
                    <a:pt x="254" y="128"/>
                  </a:moveTo>
                  <a:lnTo>
                    <a:pt x="251" y="128"/>
                  </a:lnTo>
                  <a:lnTo>
                    <a:pt x="254" y="128"/>
                  </a:lnTo>
                  <a:close/>
                  <a:moveTo>
                    <a:pt x="567" y="128"/>
                  </a:moveTo>
                  <a:lnTo>
                    <a:pt x="564" y="128"/>
                  </a:lnTo>
                  <a:lnTo>
                    <a:pt x="567" y="128"/>
                  </a:lnTo>
                  <a:close/>
                  <a:moveTo>
                    <a:pt x="847" y="126"/>
                  </a:moveTo>
                  <a:lnTo>
                    <a:pt x="844" y="126"/>
                  </a:lnTo>
                  <a:lnTo>
                    <a:pt x="847" y="126"/>
                  </a:lnTo>
                  <a:close/>
                  <a:moveTo>
                    <a:pt x="564" y="126"/>
                  </a:moveTo>
                  <a:lnTo>
                    <a:pt x="567" y="126"/>
                  </a:lnTo>
                  <a:lnTo>
                    <a:pt x="569" y="126"/>
                  </a:lnTo>
                  <a:lnTo>
                    <a:pt x="567" y="126"/>
                  </a:lnTo>
                  <a:lnTo>
                    <a:pt x="564" y="126"/>
                  </a:lnTo>
                  <a:lnTo>
                    <a:pt x="562" y="126"/>
                  </a:lnTo>
                  <a:lnTo>
                    <a:pt x="564" y="126"/>
                  </a:lnTo>
                  <a:lnTo>
                    <a:pt x="562" y="126"/>
                  </a:lnTo>
                  <a:lnTo>
                    <a:pt x="564" y="126"/>
                  </a:lnTo>
                  <a:close/>
                  <a:moveTo>
                    <a:pt x="254" y="126"/>
                  </a:moveTo>
                  <a:lnTo>
                    <a:pt x="254" y="124"/>
                  </a:lnTo>
                  <a:lnTo>
                    <a:pt x="254" y="126"/>
                  </a:lnTo>
                  <a:close/>
                  <a:moveTo>
                    <a:pt x="557" y="126"/>
                  </a:moveTo>
                  <a:lnTo>
                    <a:pt x="555" y="126"/>
                  </a:lnTo>
                  <a:lnTo>
                    <a:pt x="555" y="124"/>
                  </a:lnTo>
                  <a:lnTo>
                    <a:pt x="557" y="124"/>
                  </a:lnTo>
                  <a:lnTo>
                    <a:pt x="557" y="126"/>
                  </a:lnTo>
                  <a:close/>
                  <a:moveTo>
                    <a:pt x="251" y="124"/>
                  </a:moveTo>
                  <a:lnTo>
                    <a:pt x="254" y="126"/>
                  </a:lnTo>
                  <a:lnTo>
                    <a:pt x="251" y="126"/>
                  </a:lnTo>
                  <a:lnTo>
                    <a:pt x="249" y="126"/>
                  </a:lnTo>
                  <a:lnTo>
                    <a:pt x="246" y="126"/>
                  </a:lnTo>
                  <a:lnTo>
                    <a:pt x="244" y="126"/>
                  </a:lnTo>
                  <a:lnTo>
                    <a:pt x="244" y="124"/>
                  </a:lnTo>
                  <a:lnTo>
                    <a:pt x="246" y="124"/>
                  </a:lnTo>
                  <a:lnTo>
                    <a:pt x="249" y="124"/>
                  </a:lnTo>
                  <a:lnTo>
                    <a:pt x="251" y="124"/>
                  </a:lnTo>
                  <a:close/>
                  <a:moveTo>
                    <a:pt x="386" y="124"/>
                  </a:moveTo>
                  <a:lnTo>
                    <a:pt x="384" y="124"/>
                  </a:lnTo>
                  <a:lnTo>
                    <a:pt x="386" y="124"/>
                  </a:lnTo>
                  <a:close/>
                  <a:moveTo>
                    <a:pt x="538" y="124"/>
                  </a:moveTo>
                  <a:lnTo>
                    <a:pt x="541" y="124"/>
                  </a:lnTo>
                  <a:lnTo>
                    <a:pt x="538" y="124"/>
                  </a:lnTo>
                  <a:close/>
                  <a:moveTo>
                    <a:pt x="851" y="124"/>
                  </a:moveTo>
                  <a:lnTo>
                    <a:pt x="849" y="124"/>
                  </a:lnTo>
                  <a:lnTo>
                    <a:pt x="851" y="124"/>
                  </a:lnTo>
                  <a:lnTo>
                    <a:pt x="849" y="124"/>
                  </a:lnTo>
                  <a:lnTo>
                    <a:pt x="847" y="124"/>
                  </a:lnTo>
                  <a:lnTo>
                    <a:pt x="844" y="124"/>
                  </a:lnTo>
                  <a:lnTo>
                    <a:pt x="844" y="126"/>
                  </a:lnTo>
                  <a:lnTo>
                    <a:pt x="847" y="126"/>
                  </a:lnTo>
                  <a:lnTo>
                    <a:pt x="844" y="126"/>
                  </a:lnTo>
                  <a:lnTo>
                    <a:pt x="847" y="126"/>
                  </a:lnTo>
                  <a:lnTo>
                    <a:pt x="844" y="126"/>
                  </a:lnTo>
                  <a:lnTo>
                    <a:pt x="842" y="126"/>
                  </a:lnTo>
                  <a:lnTo>
                    <a:pt x="842" y="124"/>
                  </a:lnTo>
                  <a:lnTo>
                    <a:pt x="840" y="124"/>
                  </a:lnTo>
                  <a:lnTo>
                    <a:pt x="842" y="124"/>
                  </a:lnTo>
                  <a:lnTo>
                    <a:pt x="844" y="124"/>
                  </a:lnTo>
                  <a:lnTo>
                    <a:pt x="849" y="124"/>
                  </a:lnTo>
                  <a:lnTo>
                    <a:pt x="851" y="124"/>
                  </a:lnTo>
                  <a:close/>
                  <a:moveTo>
                    <a:pt x="541" y="121"/>
                  </a:moveTo>
                  <a:lnTo>
                    <a:pt x="543" y="121"/>
                  </a:lnTo>
                  <a:lnTo>
                    <a:pt x="541" y="121"/>
                  </a:lnTo>
                  <a:lnTo>
                    <a:pt x="541" y="124"/>
                  </a:lnTo>
                  <a:lnTo>
                    <a:pt x="538" y="124"/>
                  </a:lnTo>
                  <a:lnTo>
                    <a:pt x="541" y="124"/>
                  </a:lnTo>
                  <a:lnTo>
                    <a:pt x="541" y="121"/>
                  </a:lnTo>
                  <a:lnTo>
                    <a:pt x="538" y="121"/>
                  </a:lnTo>
                  <a:lnTo>
                    <a:pt x="541" y="121"/>
                  </a:lnTo>
                  <a:close/>
                  <a:moveTo>
                    <a:pt x="548" y="121"/>
                  </a:moveTo>
                  <a:lnTo>
                    <a:pt x="545" y="121"/>
                  </a:lnTo>
                  <a:lnTo>
                    <a:pt x="545" y="124"/>
                  </a:lnTo>
                  <a:lnTo>
                    <a:pt x="545" y="121"/>
                  </a:lnTo>
                  <a:lnTo>
                    <a:pt x="545" y="124"/>
                  </a:lnTo>
                  <a:lnTo>
                    <a:pt x="545" y="121"/>
                  </a:lnTo>
                  <a:lnTo>
                    <a:pt x="545" y="124"/>
                  </a:lnTo>
                  <a:lnTo>
                    <a:pt x="543" y="121"/>
                  </a:lnTo>
                  <a:lnTo>
                    <a:pt x="543" y="124"/>
                  </a:lnTo>
                  <a:lnTo>
                    <a:pt x="543" y="121"/>
                  </a:lnTo>
                  <a:lnTo>
                    <a:pt x="545" y="121"/>
                  </a:lnTo>
                  <a:lnTo>
                    <a:pt x="548" y="121"/>
                  </a:lnTo>
                  <a:close/>
                  <a:moveTo>
                    <a:pt x="505" y="119"/>
                  </a:moveTo>
                  <a:lnTo>
                    <a:pt x="503" y="119"/>
                  </a:lnTo>
                  <a:lnTo>
                    <a:pt x="505" y="119"/>
                  </a:lnTo>
                  <a:close/>
                  <a:moveTo>
                    <a:pt x="498" y="109"/>
                  </a:moveTo>
                  <a:lnTo>
                    <a:pt x="500" y="109"/>
                  </a:lnTo>
                  <a:lnTo>
                    <a:pt x="498" y="109"/>
                  </a:lnTo>
                  <a:close/>
                  <a:moveTo>
                    <a:pt x="493" y="109"/>
                  </a:moveTo>
                  <a:lnTo>
                    <a:pt x="491" y="109"/>
                  </a:lnTo>
                  <a:lnTo>
                    <a:pt x="488" y="109"/>
                  </a:lnTo>
                  <a:lnTo>
                    <a:pt x="486" y="109"/>
                  </a:lnTo>
                  <a:lnTo>
                    <a:pt x="488" y="109"/>
                  </a:lnTo>
                  <a:lnTo>
                    <a:pt x="491" y="109"/>
                  </a:lnTo>
                  <a:lnTo>
                    <a:pt x="493" y="109"/>
                  </a:lnTo>
                  <a:close/>
                  <a:moveTo>
                    <a:pt x="515" y="107"/>
                  </a:moveTo>
                  <a:lnTo>
                    <a:pt x="517" y="107"/>
                  </a:lnTo>
                  <a:lnTo>
                    <a:pt x="515" y="107"/>
                  </a:lnTo>
                  <a:lnTo>
                    <a:pt x="512" y="107"/>
                  </a:lnTo>
                  <a:lnTo>
                    <a:pt x="515" y="107"/>
                  </a:lnTo>
                  <a:close/>
                  <a:moveTo>
                    <a:pt x="510" y="105"/>
                  </a:moveTo>
                  <a:lnTo>
                    <a:pt x="512" y="105"/>
                  </a:lnTo>
                  <a:lnTo>
                    <a:pt x="512" y="107"/>
                  </a:lnTo>
                  <a:lnTo>
                    <a:pt x="510" y="107"/>
                  </a:lnTo>
                  <a:lnTo>
                    <a:pt x="512" y="107"/>
                  </a:lnTo>
                  <a:lnTo>
                    <a:pt x="510" y="107"/>
                  </a:lnTo>
                  <a:lnTo>
                    <a:pt x="510" y="109"/>
                  </a:lnTo>
                  <a:lnTo>
                    <a:pt x="512" y="109"/>
                  </a:lnTo>
                  <a:lnTo>
                    <a:pt x="510" y="109"/>
                  </a:lnTo>
                  <a:lnTo>
                    <a:pt x="507" y="107"/>
                  </a:lnTo>
                  <a:lnTo>
                    <a:pt x="507" y="109"/>
                  </a:lnTo>
                  <a:lnTo>
                    <a:pt x="505" y="109"/>
                  </a:lnTo>
                  <a:lnTo>
                    <a:pt x="505" y="107"/>
                  </a:lnTo>
                  <a:lnTo>
                    <a:pt x="507" y="107"/>
                  </a:lnTo>
                  <a:lnTo>
                    <a:pt x="505" y="107"/>
                  </a:lnTo>
                  <a:lnTo>
                    <a:pt x="507" y="107"/>
                  </a:lnTo>
                  <a:lnTo>
                    <a:pt x="510" y="107"/>
                  </a:lnTo>
                  <a:lnTo>
                    <a:pt x="510" y="105"/>
                  </a:lnTo>
                  <a:lnTo>
                    <a:pt x="507" y="105"/>
                  </a:lnTo>
                  <a:lnTo>
                    <a:pt x="507" y="107"/>
                  </a:lnTo>
                  <a:lnTo>
                    <a:pt x="507" y="105"/>
                  </a:lnTo>
                  <a:lnTo>
                    <a:pt x="507" y="107"/>
                  </a:lnTo>
                  <a:lnTo>
                    <a:pt x="505" y="107"/>
                  </a:lnTo>
                  <a:lnTo>
                    <a:pt x="505" y="105"/>
                  </a:lnTo>
                  <a:lnTo>
                    <a:pt x="507" y="105"/>
                  </a:lnTo>
                  <a:lnTo>
                    <a:pt x="510" y="105"/>
                  </a:lnTo>
                  <a:lnTo>
                    <a:pt x="507" y="105"/>
                  </a:lnTo>
                  <a:lnTo>
                    <a:pt x="510" y="105"/>
                  </a:lnTo>
                  <a:close/>
                  <a:moveTo>
                    <a:pt x="498" y="105"/>
                  </a:moveTo>
                  <a:lnTo>
                    <a:pt x="500" y="105"/>
                  </a:lnTo>
                  <a:lnTo>
                    <a:pt x="498" y="105"/>
                  </a:lnTo>
                  <a:close/>
                  <a:moveTo>
                    <a:pt x="543" y="105"/>
                  </a:moveTo>
                  <a:lnTo>
                    <a:pt x="545" y="105"/>
                  </a:lnTo>
                  <a:lnTo>
                    <a:pt x="548" y="105"/>
                  </a:lnTo>
                  <a:lnTo>
                    <a:pt x="545" y="105"/>
                  </a:lnTo>
                  <a:lnTo>
                    <a:pt x="543" y="105"/>
                  </a:lnTo>
                  <a:close/>
                  <a:moveTo>
                    <a:pt x="496" y="105"/>
                  </a:moveTo>
                  <a:lnTo>
                    <a:pt x="493" y="105"/>
                  </a:lnTo>
                  <a:lnTo>
                    <a:pt x="496" y="105"/>
                  </a:lnTo>
                  <a:close/>
                  <a:moveTo>
                    <a:pt x="545" y="105"/>
                  </a:moveTo>
                  <a:lnTo>
                    <a:pt x="545" y="102"/>
                  </a:lnTo>
                  <a:lnTo>
                    <a:pt x="545" y="105"/>
                  </a:lnTo>
                  <a:close/>
                  <a:moveTo>
                    <a:pt x="481" y="102"/>
                  </a:moveTo>
                  <a:lnTo>
                    <a:pt x="479" y="102"/>
                  </a:lnTo>
                  <a:lnTo>
                    <a:pt x="481" y="102"/>
                  </a:lnTo>
                  <a:close/>
                  <a:moveTo>
                    <a:pt x="493" y="102"/>
                  </a:moveTo>
                  <a:lnTo>
                    <a:pt x="496" y="102"/>
                  </a:lnTo>
                  <a:lnTo>
                    <a:pt x="493" y="102"/>
                  </a:lnTo>
                  <a:close/>
                  <a:moveTo>
                    <a:pt x="529" y="102"/>
                  </a:moveTo>
                  <a:lnTo>
                    <a:pt x="531" y="102"/>
                  </a:lnTo>
                  <a:lnTo>
                    <a:pt x="529" y="102"/>
                  </a:lnTo>
                  <a:lnTo>
                    <a:pt x="526" y="100"/>
                  </a:lnTo>
                  <a:lnTo>
                    <a:pt x="529" y="100"/>
                  </a:lnTo>
                  <a:lnTo>
                    <a:pt x="529" y="102"/>
                  </a:lnTo>
                  <a:close/>
                  <a:moveTo>
                    <a:pt x="486" y="100"/>
                  </a:moveTo>
                  <a:lnTo>
                    <a:pt x="484" y="100"/>
                  </a:lnTo>
                  <a:lnTo>
                    <a:pt x="486" y="100"/>
                  </a:lnTo>
                  <a:close/>
                  <a:moveTo>
                    <a:pt x="500" y="98"/>
                  </a:moveTo>
                  <a:lnTo>
                    <a:pt x="503" y="98"/>
                  </a:lnTo>
                  <a:lnTo>
                    <a:pt x="505" y="98"/>
                  </a:lnTo>
                  <a:lnTo>
                    <a:pt x="507" y="100"/>
                  </a:lnTo>
                  <a:lnTo>
                    <a:pt x="510" y="100"/>
                  </a:lnTo>
                  <a:lnTo>
                    <a:pt x="512" y="100"/>
                  </a:lnTo>
                  <a:lnTo>
                    <a:pt x="512" y="102"/>
                  </a:lnTo>
                  <a:lnTo>
                    <a:pt x="512" y="100"/>
                  </a:lnTo>
                  <a:lnTo>
                    <a:pt x="512" y="102"/>
                  </a:lnTo>
                  <a:lnTo>
                    <a:pt x="515" y="102"/>
                  </a:lnTo>
                  <a:lnTo>
                    <a:pt x="512" y="102"/>
                  </a:lnTo>
                  <a:lnTo>
                    <a:pt x="510" y="102"/>
                  </a:lnTo>
                  <a:lnTo>
                    <a:pt x="507" y="102"/>
                  </a:lnTo>
                  <a:lnTo>
                    <a:pt x="507" y="100"/>
                  </a:lnTo>
                  <a:lnTo>
                    <a:pt x="505" y="102"/>
                  </a:lnTo>
                  <a:lnTo>
                    <a:pt x="500" y="102"/>
                  </a:lnTo>
                  <a:lnTo>
                    <a:pt x="498" y="102"/>
                  </a:lnTo>
                  <a:lnTo>
                    <a:pt x="496" y="102"/>
                  </a:lnTo>
                  <a:lnTo>
                    <a:pt x="496" y="100"/>
                  </a:lnTo>
                  <a:lnTo>
                    <a:pt x="498" y="100"/>
                  </a:lnTo>
                  <a:lnTo>
                    <a:pt x="498" y="98"/>
                  </a:lnTo>
                  <a:lnTo>
                    <a:pt x="496" y="98"/>
                  </a:lnTo>
                  <a:lnTo>
                    <a:pt x="498" y="98"/>
                  </a:lnTo>
                  <a:lnTo>
                    <a:pt x="500" y="98"/>
                  </a:lnTo>
                  <a:close/>
                  <a:moveTo>
                    <a:pt x="493" y="98"/>
                  </a:moveTo>
                  <a:lnTo>
                    <a:pt x="491" y="98"/>
                  </a:lnTo>
                  <a:lnTo>
                    <a:pt x="493" y="98"/>
                  </a:lnTo>
                  <a:close/>
                  <a:moveTo>
                    <a:pt x="493" y="95"/>
                  </a:moveTo>
                  <a:lnTo>
                    <a:pt x="496" y="95"/>
                  </a:lnTo>
                  <a:lnTo>
                    <a:pt x="498" y="95"/>
                  </a:lnTo>
                  <a:lnTo>
                    <a:pt x="496" y="95"/>
                  </a:lnTo>
                  <a:lnTo>
                    <a:pt x="493" y="95"/>
                  </a:lnTo>
                  <a:close/>
                  <a:moveTo>
                    <a:pt x="441" y="88"/>
                  </a:moveTo>
                  <a:lnTo>
                    <a:pt x="439" y="88"/>
                  </a:lnTo>
                  <a:lnTo>
                    <a:pt x="441" y="88"/>
                  </a:lnTo>
                  <a:close/>
                  <a:moveTo>
                    <a:pt x="474" y="88"/>
                  </a:moveTo>
                  <a:lnTo>
                    <a:pt x="472" y="88"/>
                  </a:lnTo>
                  <a:lnTo>
                    <a:pt x="474" y="88"/>
                  </a:lnTo>
                  <a:close/>
                  <a:moveTo>
                    <a:pt x="268" y="86"/>
                  </a:moveTo>
                  <a:lnTo>
                    <a:pt x="265" y="86"/>
                  </a:lnTo>
                  <a:lnTo>
                    <a:pt x="268" y="86"/>
                  </a:lnTo>
                  <a:close/>
                  <a:moveTo>
                    <a:pt x="273" y="86"/>
                  </a:moveTo>
                  <a:lnTo>
                    <a:pt x="270" y="86"/>
                  </a:lnTo>
                  <a:lnTo>
                    <a:pt x="273" y="86"/>
                  </a:lnTo>
                  <a:close/>
                  <a:moveTo>
                    <a:pt x="270" y="86"/>
                  </a:moveTo>
                  <a:lnTo>
                    <a:pt x="268" y="86"/>
                  </a:lnTo>
                  <a:lnTo>
                    <a:pt x="270" y="86"/>
                  </a:lnTo>
                  <a:close/>
                  <a:moveTo>
                    <a:pt x="486" y="86"/>
                  </a:moveTo>
                  <a:lnTo>
                    <a:pt x="484" y="86"/>
                  </a:lnTo>
                  <a:lnTo>
                    <a:pt x="486" y="86"/>
                  </a:lnTo>
                  <a:close/>
                  <a:moveTo>
                    <a:pt x="481" y="86"/>
                  </a:moveTo>
                  <a:lnTo>
                    <a:pt x="484" y="86"/>
                  </a:lnTo>
                  <a:lnTo>
                    <a:pt x="481" y="86"/>
                  </a:lnTo>
                  <a:close/>
                  <a:moveTo>
                    <a:pt x="268" y="86"/>
                  </a:moveTo>
                  <a:lnTo>
                    <a:pt x="270" y="86"/>
                  </a:lnTo>
                  <a:lnTo>
                    <a:pt x="268" y="86"/>
                  </a:lnTo>
                  <a:close/>
                  <a:moveTo>
                    <a:pt x="294" y="83"/>
                  </a:moveTo>
                  <a:lnTo>
                    <a:pt x="292" y="83"/>
                  </a:lnTo>
                  <a:lnTo>
                    <a:pt x="294" y="83"/>
                  </a:lnTo>
                  <a:close/>
                  <a:moveTo>
                    <a:pt x="498" y="79"/>
                  </a:moveTo>
                  <a:lnTo>
                    <a:pt x="500" y="79"/>
                  </a:lnTo>
                  <a:lnTo>
                    <a:pt x="498" y="79"/>
                  </a:lnTo>
                  <a:close/>
                  <a:moveTo>
                    <a:pt x="287" y="79"/>
                  </a:moveTo>
                  <a:lnTo>
                    <a:pt x="284" y="79"/>
                  </a:lnTo>
                  <a:lnTo>
                    <a:pt x="287" y="79"/>
                  </a:lnTo>
                  <a:close/>
                  <a:moveTo>
                    <a:pt x="289" y="79"/>
                  </a:moveTo>
                  <a:lnTo>
                    <a:pt x="292" y="79"/>
                  </a:lnTo>
                  <a:lnTo>
                    <a:pt x="289" y="79"/>
                  </a:lnTo>
                  <a:lnTo>
                    <a:pt x="292" y="79"/>
                  </a:lnTo>
                  <a:lnTo>
                    <a:pt x="289" y="79"/>
                  </a:lnTo>
                  <a:close/>
                  <a:moveTo>
                    <a:pt x="500" y="79"/>
                  </a:moveTo>
                  <a:lnTo>
                    <a:pt x="503" y="79"/>
                  </a:lnTo>
                  <a:lnTo>
                    <a:pt x="500" y="79"/>
                  </a:lnTo>
                  <a:lnTo>
                    <a:pt x="498" y="79"/>
                  </a:lnTo>
                  <a:lnTo>
                    <a:pt x="500" y="79"/>
                  </a:lnTo>
                  <a:close/>
                  <a:moveTo>
                    <a:pt x="208" y="76"/>
                  </a:moveTo>
                  <a:lnTo>
                    <a:pt x="211" y="76"/>
                  </a:lnTo>
                  <a:lnTo>
                    <a:pt x="213" y="76"/>
                  </a:lnTo>
                  <a:lnTo>
                    <a:pt x="213" y="79"/>
                  </a:lnTo>
                  <a:lnTo>
                    <a:pt x="211" y="79"/>
                  </a:lnTo>
                  <a:lnTo>
                    <a:pt x="213" y="79"/>
                  </a:lnTo>
                  <a:lnTo>
                    <a:pt x="211" y="79"/>
                  </a:lnTo>
                  <a:lnTo>
                    <a:pt x="213" y="79"/>
                  </a:lnTo>
                  <a:lnTo>
                    <a:pt x="213" y="81"/>
                  </a:lnTo>
                  <a:lnTo>
                    <a:pt x="213" y="79"/>
                  </a:lnTo>
                  <a:lnTo>
                    <a:pt x="211" y="81"/>
                  </a:lnTo>
                  <a:lnTo>
                    <a:pt x="208" y="81"/>
                  </a:lnTo>
                  <a:lnTo>
                    <a:pt x="206" y="81"/>
                  </a:lnTo>
                  <a:lnTo>
                    <a:pt x="204" y="81"/>
                  </a:lnTo>
                  <a:lnTo>
                    <a:pt x="204" y="79"/>
                  </a:lnTo>
                  <a:lnTo>
                    <a:pt x="206" y="79"/>
                  </a:lnTo>
                  <a:lnTo>
                    <a:pt x="208" y="79"/>
                  </a:lnTo>
                  <a:lnTo>
                    <a:pt x="206" y="79"/>
                  </a:lnTo>
                  <a:lnTo>
                    <a:pt x="206" y="76"/>
                  </a:lnTo>
                  <a:lnTo>
                    <a:pt x="206" y="79"/>
                  </a:lnTo>
                  <a:lnTo>
                    <a:pt x="204" y="76"/>
                  </a:lnTo>
                  <a:lnTo>
                    <a:pt x="201" y="76"/>
                  </a:lnTo>
                  <a:lnTo>
                    <a:pt x="204" y="76"/>
                  </a:lnTo>
                  <a:lnTo>
                    <a:pt x="206" y="76"/>
                  </a:lnTo>
                  <a:lnTo>
                    <a:pt x="208" y="76"/>
                  </a:lnTo>
                  <a:close/>
                  <a:moveTo>
                    <a:pt x="465" y="74"/>
                  </a:moveTo>
                  <a:lnTo>
                    <a:pt x="462" y="74"/>
                  </a:lnTo>
                  <a:lnTo>
                    <a:pt x="465" y="74"/>
                  </a:lnTo>
                  <a:close/>
                  <a:moveTo>
                    <a:pt x="460" y="71"/>
                  </a:moveTo>
                  <a:lnTo>
                    <a:pt x="458" y="71"/>
                  </a:lnTo>
                  <a:lnTo>
                    <a:pt x="460" y="71"/>
                  </a:lnTo>
                  <a:close/>
                  <a:moveTo>
                    <a:pt x="206" y="71"/>
                  </a:moveTo>
                  <a:lnTo>
                    <a:pt x="206" y="74"/>
                  </a:lnTo>
                  <a:lnTo>
                    <a:pt x="208" y="74"/>
                  </a:lnTo>
                  <a:lnTo>
                    <a:pt x="208" y="71"/>
                  </a:lnTo>
                  <a:lnTo>
                    <a:pt x="208" y="74"/>
                  </a:lnTo>
                  <a:lnTo>
                    <a:pt x="211" y="74"/>
                  </a:lnTo>
                  <a:lnTo>
                    <a:pt x="211" y="76"/>
                  </a:lnTo>
                  <a:lnTo>
                    <a:pt x="211" y="74"/>
                  </a:lnTo>
                  <a:lnTo>
                    <a:pt x="208" y="74"/>
                  </a:lnTo>
                  <a:lnTo>
                    <a:pt x="206" y="74"/>
                  </a:lnTo>
                  <a:lnTo>
                    <a:pt x="204" y="74"/>
                  </a:lnTo>
                  <a:lnTo>
                    <a:pt x="201" y="74"/>
                  </a:lnTo>
                  <a:lnTo>
                    <a:pt x="201" y="71"/>
                  </a:lnTo>
                  <a:lnTo>
                    <a:pt x="204" y="71"/>
                  </a:lnTo>
                  <a:lnTo>
                    <a:pt x="206" y="71"/>
                  </a:lnTo>
                  <a:close/>
                  <a:moveTo>
                    <a:pt x="223" y="69"/>
                  </a:moveTo>
                  <a:lnTo>
                    <a:pt x="225" y="71"/>
                  </a:lnTo>
                  <a:lnTo>
                    <a:pt x="223" y="71"/>
                  </a:lnTo>
                  <a:lnTo>
                    <a:pt x="220" y="71"/>
                  </a:lnTo>
                  <a:lnTo>
                    <a:pt x="220" y="69"/>
                  </a:lnTo>
                  <a:lnTo>
                    <a:pt x="223" y="69"/>
                  </a:lnTo>
                  <a:close/>
                  <a:moveTo>
                    <a:pt x="230" y="69"/>
                  </a:moveTo>
                  <a:lnTo>
                    <a:pt x="230" y="67"/>
                  </a:lnTo>
                  <a:lnTo>
                    <a:pt x="232" y="67"/>
                  </a:lnTo>
                  <a:lnTo>
                    <a:pt x="232" y="69"/>
                  </a:lnTo>
                  <a:lnTo>
                    <a:pt x="230" y="69"/>
                  </a:lnTo>
                  <a:close/>
                  <a:moveTo>
                    <a:pt x="232" y="67"/>
                  </a:moveTo>
                  <a:lnTo>
                    <a:pt x="230" y="67"/>
                  </a:lnTo>
                  <a:lnTo>
                    <a:pt x="232" y="67"/>
                  </a:lnTo>
                  <a:close/>
                  <a:moveTo>
                    <a:pt x="223" y="69"/>
                  </a:moveTo>
                  <a:lnTo>
                    <a:pt x="220" y="67"/>
                  </a:lnTo>
                  <a:lnTo>
                    <a:pt x="223" y="67"/>
                  </a:lnTo>
                  <a:lnTo>
                    <a:pt x="223" y="69"/>
                  </a:lnTo>
                  <a:close/>
                  <a:moveTo>
                    <a:pt x="227" y="67"/>
                  </a:moveTo>
                  <a:lnTo>
                    <a:pt x="225" y="67"/>
                  </a:lnTo>
                  <a:lnTo>
                    <a:pt x="227" y="67"/>
                  </a:lnTo>
                  <a:close/>
                  <a:moveTo>
                    <a:pt x="453" y="59"/>
                  </a:moveTo>
                  <a:lnTo>
                    <a:pt x="455" y="59"/>
                  </a:lnTo>
                  <a:lnTo>
                    <a:pt x="453" y="59"/>
                  </a:lnTo>
                  <a:lnTo>
                    <a:pt x="450" y="59"/>
                  </a:lnTo>
                  <a:lnTo>
                    <a:pt x="448" y="59"/>
                  </a:lnTo>
                  <a:lnTo>
                    <a:pt x="446" y="62"/>
                  </a:lnTo>
                  <a:lnTo>
                    <a:pt x="446" y="59"/>
                  </a:lnTo>
                  <a:lnTo>
                    <a:pt x="448" y="59"/>
                  </a:lnTo>
                  <a:lnTo>
                    <a:pt x="450" y="59"/>
                  </a:lnTo>
                  <a:lnTo>
                    <a:pt x="453" y="59"/>
                  </a:lnTo>
                  <a:lnTo>
                    <a:pt x="453" y="57"/>
                  </a:lnTo>
                  <a:lnTo>
                    <a:pt x="453" y="59"/>
                  </a:lnTo>
                  <a:close/>
                  <a:moveTo>
                    <a:pt x="455" y="57"/>
                  </a:moveTo>
                  <a:lnTo>
                    <a:pt x="458" y="57"/>
                  </a:lnTo>
                  <a:lnTo>
                    <a:pt x="458" y="59"/>
                  </a:lnTo>
                  <a:lnTo>
                    <a:pt x="455" y="59"/>
                  </a:lnTo>
                  <a:lnTo>
                    <a:pt x="455" y="57"/>
                  </a:lnTo>
                  <a:lnTo>
                    <a:pt x="453" y="57"/>
                  </a:lnTo>
                  <a:lnTo>
                    <a:pt x="455" y="57"/>
                  </a:lnTo>
                  <a:lnTo>
                    <a:pt x="453" y="57"/>
                  </a:lnTo>
                  <a:lnTo>
                    <a:pt x="455" y="57"/>
                  </a:lnTo>
                  <a:close/>
                  <a:moveTo>
                    <a:pt x="448" y="57"/>
                  </a:moveTo>
                  <a:lnTo>
                    <a:pt x="446" y="57"/>
                  </a:lnTo>
                  <a:lnTo>
                    <a:pt x="448" y="57"/>
                  </a:lnTo>
                  <a:close/>
                  <a:moveTo>
                    <a:pt x="450" y="57"/>
                  </a:moveTo>
                  <a:lnTo>
                    <a:pt x="448" y="57"/>
                  </a:lnTo>
                  <a:lnTo>
                    <a:pt x="450" y="55"/>
                  </a:lnTo>
                  <a:lnTo>
                    <a:pt x="450" y="57"/>
                  </a:lnTo>
                  <a:close/>
                  <a:moveTo>
                    <a:pt x="458" y="57"/>
                  </a:moveTo>
                  <a:lnTo>
                    <a:pt x="458" y="55"/>
                  </a:lnTo>
                  <a:lnTo>
                    <a:pt x="458" y="57"/>
                  </a:lnTo>
                  <a:close/>
                  <a:moveTo>
                    <a:pt x="455" y="57"/>
                  </a:moveTo>
                  <a:lnTo>
                    <a:pt x="455" y="55"/>
                  </a:lnTo>
                  <a:lnTo>
                    <a:pt x="455" y="57"/>
                  </a:lnTo>
                  <a:close/>
                  <a:moveTo>
                    <a:pt x="460" y="55"/>
                  </a:moveTo>
                  <a:lnTo>
                    <a:pt x="458" y="55"/>
                  </a:lnTo>
                  <a:lnTo>
                    <a:pt x="460" y="55"/>
                  </a:lnTo>
                  <a:close/>
                  <a:moveTo>
                    <a:pt x="329" y="55"/>
                  </a:moveTo>
                  <a:lnTo>
                    <a:pt x="327" y="55"/>
                  </a:lnTo>
                  <a:lnTo>
                    <a:pt x="327" y="57"/>
                  </a:lnTo>
                  <a:lnTo>
                    <a:pt x="327" y="55"/>
                  </a:lnTo>
                  <a:lnTo>
                    <a:pt x="329" y="55"/>
                  </a:lnTo>
                  <a:close/>
                  <a:moveTo>
                    <a:pt x="446" y="55"/>
                  </a:moveTo>
                  <a:lnTo>
                    <a:pt x="443" y="55"/>
                  </a:lnTo>
                  <a:lnTo>
                    <a:pt x="443" y="52"/>
                  </a:lnTo>
                  <a:lnTo>
                    <a:pt x="446" y="55"/>
                  </a:lnTo>
                  <a:close/>
                  <a:moveTo>
                    <a:pt x="586" y="55"/>
                  </a:moveTo>
                  <a:lnTo>
                    <a:pt x="586" y="52"/>
                  </a:lnTo>
                  <a:lnTo>
                    <a:pt x="583" y="52"/>
                  </a:lnTo>
                  <a:lnTo>
                    <a:pt x="586" y="52"/>
                  </a:lnTo>
                  <a:lnTo>
                    <a:pt x="588" y="52"/>
                  </a:lnTo>
                  <a:lnTo>
                    <a:pt x="588" y="55"/>
                  </a:lnTo>
                  <a:lnTo>
                    <a:pt x="586" y="55"/>
                  </a:lnTo>
                  <a:close/>
                  <a:moveTo>
                    <a:pt x="588" y="52"/>
                  </a:moveTo>
                  <a:lnTo>
                    <a:pt x="586" y="52"/>
                  </a:lnTo>
                  <a:lnTo>
                    <a:pt x="586" y="50"/>
                  </a:lnTo>
                  <a:lnTo>
                    <a:pt x="588" y="52"/>
                  </a:lnTo>
                  <a:close/>
                  <a:moveTo>
                    <a:pt x="773" y="48"/>
                  </a:moveTo>
                  <a:lnTo>
                    <a:pt x="776" y="48"/>
                  </a:lnTo>
                  <a:lnTo>
                    <a:pt x="778" y="50"/>
                  </a:lnTo>
                  <a:lnTo>
                    <a:pt x="780" y="50"/>
                  </a:lnTo>
                  <a:lnTo>
                    <a:pt x="780" y="52"/>
                  </a:lnTo>
                  <a:lnTo>
                    <a:pt x="780" y="50"/>
                  </a:lnTo>
                  <a:lnTo>
                    <a:pt x="780" y="52"/>
                  </a:lnTo>
                  <a:lnTo>
                    <a:pt x="778" y="52"/>
                  </a:lnTo>
                  <a:lnTo>
                    <a:pt x="780" y="52"/>
                  </a:lnTo>
                  <a:lnTo>
                    <a:pt x="778" y="52"/>
                  </a:lnTo>
                  <a:lnTo>
                    <a:pt x="776" y="52"/>
                  </a:lnTo>
                  <a:lnTo>
                    <a:pt x="776" y="55"/>
                  </a:lnTo>
                  <a:lnTo>
                    <a:pt x="776" y="52"/>
                  </a:lnTo>
                  <a:lnTo>
                    <a:pt x="776" y="55"/>
                  </a:lnTo>
                  <a:lnTo>
                    <a:pt x="773" y="52"/>
                  </a:lnTo>
                  <a:lnTo>
                    <a:pt x="773" y="55"/>
                  </a:lnTo>
                  <a:lnTo>
                    <a:pt x="773" y="52"/>
                  </a:lnTo>
                  <a:lnTo>
                    <a:pt x="771" y="52"/>
                  </a:lnTo>
                  <a:lnTo>
                    <a:pt x="771" y="50"/>
                  </a:lnTo>
                  <a:lnTo>
                    <a:pt x="768" y="50"/>
                  </a:lnTo>
                  <a:lnTo>
                    <a:pt x="768" y="48"/>
                  </a:lnTo>
                  <a:lnTo>
                    <a:pt x="771" y="48"/>
                  </a:lnTo>
                  <a:lnTo>
                    <a:pt x="773" y="48"/>
                  </a:lnTo>
                  <a:close/>
                  <a:moveTo>
                    <a:pt x="576" y="48"/>
                  </a:moveTo>
                  <a:lnTo>
                    <a:pt x="574" y="48"/>
                  </a:lnTo>
                  <a:lnTo>
                    <a:pt x="576" y="48"/>
                  </a:lnTo>
                  <a:close/>
                  <a:moveTo>
                    <a:pt x="586" y="48"/>
                  </a:moveTo>
                  <a:lnTo>
                    <a:pt x="583" y="48"/>
                  </a:lnTo>
                  <a:lnTo>
                    <a:pt x="586" y="48"/>
                  </a:lnTo>
                  <a:close/>
                  <a:moveTo>
                    <a:pt x="488" y="45"/>
                  </a:moveTo>
                  <a:lnTo>
                    <a:pt x="488" y="48"/>
                  </a:lnTo>
                  <a:lnTo>
                    <a:pt x="486" y="48"/>
                  </a:lnTo>
                  <a:lnTo>
                    <a:pt x="488" y="48"/>
                  </a:lnTo>
                  <a:lnTo>
                    <a:pt x="488" y="45"/>
                  </a:lnTo>
                  <a:close/>
                  <a:moveTo>
                    <a:pt x="709" y="43"/>
                  </a:moveTo>
                  <a:lnTo>
                    <a:pt x="711" y="43"/>
                  </a:lnTo>
                  <a:lnTo>
                    <a:pt x="709" y="45"/>
                  </a:lnTo>
                  <a:lnTo>
                    <a:pt x="711" y="45"/>
                  </a:lnTo>
                  <a:lnTo>
                    <a:pt x="709" y="45"/>
                  </a:lnTo>
                  <a:lnTo>
                    <a:pt x="707" y="45"/>
                  </a:lnTo>
                  <a:lnTo>
                    <a:pt x="709" y="45"/>
                  </a:lnTo>
                  <a:lnTo>
                    <a:pt x="709" y="43"/>
                  </a:lnTo>
                  <a:close/>
                  <a:moveTo>
                    <a:pt x="619" y="43"/>
                  </a:moveTo>
                  <a:lnTo>
                    <a:pt x="617" y="43"/>
                  </a:lnTo>
                  <a:lnTo>
                    <a:pt x="619" y="43"/>
                  </a:lnTo>
                  <a:close/>
                  <a:moveTo>
                    <a:pt x="619" y="43"/>
                  </a:moveTo>
                  <a:lnTo>
                    <a:pt x="617" y="43"/>
                  </a:lnTo>
                  <a:lnTo>
                    <a:pt x="619" y="43"/>
                  </a:lnTo>
                  <a:lnTo>
                    <a:pt x="617" y="43"/>
                  </a:lnTo>
                  <a:lnTo>
                    <a:pt x="619" y="43"/>
                  </a:lnTo>
                  <a:close/>
                  <a:moveTo>
                    <a:pt x="697" y="43"/>
                  </a:moveTo>
                  <a:lnTo>
                    <a:pt x="695" y="43"/>
                  </a:lnTo>
                  <a:lnTo>
                    <a:pt x="697" y="43"/>
                  </a:lnTo>
                  <a:close/>
                  <a:moveTo>
                    <a:pt x="543" y="40"/>
                  </a:moveTo>
                  <a:lnTo>
                    <a:pt x="541" y="40"/>
                  </a:lnTo>
                  <a:lnTo>
                    <a:pt x="543" y="40"/>
                  </a:lnTo>
                  <a:close/>
                  <a:moveTo>
                    <a:pt x="702" y="40"/>
                  </a:moveTo>
                  <a:lnTo>
                    <a:pt x="700" y="40"/>
                  </a:lnTo>
                  <a:lnTo>
                    <a:pt x="702" y="40"/>
                  </a:lnTo>
                  <a:close/>
                  <a:moveTo>
                    <a:pt x="695" y="40"/>
                  </a:moveTo>
                  <a:lnTo>
                    <a:pt x="697" y="40"/>
                  </a:lnTo>
                  <a:lnTo>
                    <a:pt x="695" y="40"/>
                  </a:lnTo>
                  <a:close/>
                  <a:moveTo>
                    <a:pt x="548" y="40"/>
                  </a:moveTo>
                  <a:lnTo>
                    <a:pt x="548" y="38"/>
                  </a:lnTo>
                  <a:lnTo>
                    <a:pt x="548" y="40"/>
                  </a:lnTo>
                  <a:close/>
                  <a:moveTo>
                    <a:pt x="548" y="38"/>
                  </a:moveTo>
                  <a:lnTo>
                    <a:pt x="550" y="38"/>
                  </a:lnTo>
                  <a:lnTo>
                    <a:pt x="548" y="38"/>
                  </a:lnTo>
                  <a:close/>
                  <a:moveTo>
                    <a:pt x="550" y="38"/>
                  </a:moveTo>
                  <a:lnTo>
                    <a:pt x="548" y="38"/>
                  </a:lnTo>
                  <a:lnTo>
                    <a:pt x="550" y="36"/>
                  </a:lnTo>
                  <a:lnTo>
                    <a:pt x="550" y="38"/>
                  </a:lnTo>
                  <a:close/>
                  <a:moveTo>
                    <a:pt x="638" y="36"/>
                  </a:moveTo>
                  <a:lnTo>
                    <a:pt x="638" y="38"/>
                  </a:lnTo>
                  <a:lnTo>
                    <a:pt x="636" y="36"/>
                  </a:lnTo>
                  <a:lnTo>
                    <a:pt x="638" y="36"/>
                  </a:lnTo>
                  <a:close/>
                  <a:moveTo>
                    <a:pt x="467" y="36"/>
                  </a:moveTo>
                  <a:lnTo>
                    <a:pt x="467" y="33"/>
                  </a:lnTo>
                  <a:lnTo>
                    <a:pt x="467" y="36"/>
                  </a:lnTo>
                  <a:close/>
                  <a:moveTo>
                    <a:pt x="469" y="33"/>
                  </a:moveTo>
                  <a:lnTo>
                    <a:pt x="467" y="33"/>
                  </a:lnTo>
                  <a:lnTo>
                    <a:pt x="469" y="33"/>
                  </a:lnTo>
                  <a:close/>
                  <a:moveTo>
                    <a:pt x="666" y="33"/>
                  </a:moveTo>
                  <a:lnTo>
                    <a:pt x="664" y="33"/>
                  </a:lnTo>
                  <a:lnTo>
                    <a:pt x="666" y="33"/>
                  </a:lnTo>
                  <a:close/>
                  <a:moveTo>
                    <a:pt x="453" y="38"/>
                  </a:moveTo>
                  <a:lnTo>
                    <a:pt x="455" y="38"/>
                  </a:lnTo>
                  <a:lnTo>
                    <a:pt x="453" y="38"/>
                  </a:lnTo>
                  <a:lnTo>
                    <a:pt x="450" y="38"/>
                  </a:lnTo>
                  <a:lnTo>
                    <a:pt x="453" y="38"/>
                  </a:lnTo>
                  <a:lnTo>
                    <a:pt x="450" y="38"/>
                  </a:lnTo>
                  <a:lnTo>
                    <a:pt x="448" y="38"/>
                  </a:lnTo>
                  <a:lnTo>
                    <a:pt x="450" y="38"/>
                  </a:lnTo>
                  <a:lnTo>
                    <a:pt x="448" y="38"/>
                  </a:lnTo>
                  <a:lnTo>
                    <a:pt x="446" y="38"/>
                  </a:lnTo>
                  <a:lnTo>
                    <a:pt x="446" y="36"/>
                  </a:lnTo>
                  <a:lnTo>
                    <a:pt x="446" y="38"/>
                  </a:lnTo>
                  <a:lnTo>
                    <a:pt x="446" y="36"/>
                  </a:lnTo>
                  <a:lnTo>
                    <a:pt x="448" y="36"/>
                  </a:lnTo>
                  <a:lnTo>
                    <a:pt x="446" y="36"/>
                  </a:lnTo>
                  <a:lnTo>
                    <a:pt x="448" y="36"/>
                  </a:lnTo>
                  <a:lnTo>
                    <a:pt x="448" y="33"/>
                  </a:lnTo>
                  <a:lnTo>
                    <a:pt x="450" y="33"/>
                  </a:lnTo>
                  <a:lnTo>
                    <a:pt x="448" y="33"/>
                  </a:lnTo>
                  <a:lnTo>
                    <a:pt x="448" y="36"/>
                  </a:lnTo>
                  <a:lnTo>
                    <a:pt x="450" y="36"/>
                  </a:lnTo>
                  <a:lnTo>
                    <a:pt x="450" y="33"/>
                  </a:lnTo>
                  <a:lnTo>
                    <a:pt x="453" y="33"/>
                  </a:lnTo>
                  <a:lnTo>
                    <a:pt x="453" y="31"/>
                  </a:lnTo>
                  <a:lnTo>
                    <a:pt x="453" y="33"/>
                  </a:lnTo>
                  <a:lnTo>
                    <a:pt x="453" y="31"/>
                  </a:lnTo>
                  <a:lnTo>
                    <a:pt x="453" y="33"/>
                  </a:lnTo>
                  <a:lnTo>
                    <a:pt x="455" y="33"/>
                  </a:lnTo>
                  <a:lnTo>
                    <a:pt x="458" y="33"/>
                  </a:lnTo>
                  <a:lnTo>
                    <a:pt x="460" y="33"/>
                  </a:lnTo>
                  <a:lnTo>
                    <a:pt x="462" y="33"/>
                  </a:lnTo>
                  <a:lnTo>
                    <a:pt x="460" y="33"/>
                  </a:lnTo>
                  <a:lnTo>
                    <a:pt x="460" y="36"/>
                  </a:lnTo>
                  <a:lnTo>
                    <a:pt x="462" y="36"/>
                  </a:lnTo>
                  <a:lnTo>
                    <a:pt x="465" y="36"/>
                  </a:lnTo>
                  <a:lnTo>
                    <a:pt x="462" y="36"/>
                  </a:lnTo>
                  <a:lnTo>
                    <a:pt x="465" y="36"/>
                  </a:lnTo>
                  <a:lnTo>
                    <a:pt x="467" y="36"/>
                  </a:lnTo>
                  <a:lnTo>
                    <a:pt x="467" y="38"/>
                  </a:lnTo>
                  <a:lnTo>
                    <a:pt x="465" y="38"/>
                  </a:lnTo>
                  <a:lnTo>
                    <a:pt x="462" y="38"/>
                  </a:lnTo>
                  <a:lnTo>
                    <a:pt x="462" y="40"/>
                  </a:lnTo>
                  <a:lnTo>
                    <a:pt x="460" y="40"/>
                  </a:lnTo>
                  <a:lnTo>
                    <a:pt x="458" y="40"/>
                  </a:lnTo>
                  <a:lnTo>
                    <a:pt x="455" y="40"/>
                  </a:lnTo>
                  <a:lnTo>
                    <a:pt x="458" y="40"/>
                  </a:lnTo>
                  <a:lnTo>
                    <a:pt x="455" y="40"/>
                  </a:lnTo>
                  <a:lnTo>
                    <a:pt x="455" y="38"/>
                  </a:lnTo>
                  <a:lnTo>
                    <a:pt x="455" y="40"/>
                  </a:lnTo>
                  <a:lnTo>
                    <a:pt x="455" y="38"/>
                  </a:lnTo>
                  <a:lnTo>
                    <a:pt x="453" y="38"/>
                  </a:lnTo>
                  <a:close/>
                  <a:moveTo>
                    <a:pt x="555" y="33"/>
                  </a:moveTo>
                  <a:lnTo>
                    <a:pt x="553" y="33"/>
                  </a:lnTo>
                  <a:lnTo>
                    <a:pt x="555" y="33"/>
                  </a:lnTo>
                  <a:lnTo>
                    <a:pt x="555" y="31"/>
                  </a:lnTo>
                  <a:lnTo>
                    <a:pt x="557" y="31"/>
                  </a:lnTo>
                  <a:lnTo>
                    <a:pt x="557" y="33"/>
                  </a:lnTo>
                  <a:lnTo>
                    <a:pt x="555" y="33"/>
                  </a:lnTo>
                  <a:close/>
                  <a:moveTo>
                    <a:pt x="652" y="31"/>
                  </a:moveTo>
                  <a:lnTo>
                    <a:pt x="650" y="31"/>
                  </a:lnTo>
                  <a:lnTo>
                    <a:pt x="647" y="31"/>
                  </a:lnTo>
                  <a:lnTo>
                    <a:pt x="645" y="31"/>
                  </a:lnTo>
                  <a:lnTo>
                    <a:pt x="645" y="29"/>
                  </a:lnTo>
                  <a:lnTo>
                    <a:pt x="645" y="26"/>
                  </a:lnTo>
                  <a:lnTo>
                    <a:pt x="647" y="26"/>
                  </a:lnTo>
                  <a:lnTo>
                    <a:pt x="650" y="26"/>
                  </a:lnTo>
                  <a:lnTo>
                    <a:pt x="650" y="29"/>
                  </a:lnTo>
                  <a:lnTo>
                    <a:pt x="652" y="29"/>
                  </a:lnTo>
                  <a:lnTo>
                    <a:pt x="652" y="31"/>
                  </a:lnTo>
                  <a:close/>
                  <a:moveTo>
                    <a:pt x="711" y="26"/>
                  </a:moveTo>
                  <a:lnTo>
                    <a:pt x="714" y="26"/>
                  </a:lnTo>
                  <a:lnTo>
                    <a:pt x="711" y="26"/>
                  </a:lnTo>
                  <a:close/>
                  <a:moveTo>
                    <a:pt x="707" y="26"/>
                  </a:moveTo>
                  <a:lnTo>
                    <a:pt x="704" y="26"/>
                  </a:lnTo>
                  <a:lnTo>
                    <a:pt x="707" y="26"/>
                  </a:lnTo>
                  <a:close/>
                  <a:moveTo>
                    <a:pt x="515" y="24"/>
                  </a:moveTo>
                  <a:lnTo>
                    <a:pt x="517" y="24"/>
                  </a:lnTo>
                  <a:lnTo>
                    <a:pt x="515" y="24"/>
                  </a:lnTo>
                  <a:close/>
                  <a:moveTo>
                    <a:pt x="647" y="24"/>
                  </a:moveTo>
                  <a:lnTo>
                    <a:pt x="645" y="24"/>
                  </a:lnTo>
                  <a:lnTo>
                    <a:pt x="643" y="24"/>
                  </a:lnTo>
                  <a:lnTo>
                    <a:pt x="640" y="24"/>
                  </a:lnTo>
                  <a:lnTo>
                    <a:pt x="643" y="24"/>
                  </a:lnTo>
                  <a:lnTo>
                    <a:pt x="645" y="24"/>
                  </a:lnTo>
                  <a:lnTo>
                    <a:pt x="647" y="24"/>
                  </a:lnTo>
                  <a:close/>
                  <a:moveTo>
                    <a:pt x="519" y="24"/>
                  </a:moveTo>
                  <a:lnTo>
                    <a:pt x="517" y="24"/>
                  </a:lnTo>
                  <a:lnTo>
                    <a:pt x="517" y="21"/>
                  </a:lnTo>
                  <a:lnTo>
                    <a:pt x="519" y="21"/>
                  </a:lnTo>
                  <a:lnTo>
                    <a:pt x="519" y="24"/>
                  </a:lnTo>
                  <a:close/>
                  <a:moveTo>
                    <a:pt x="510" y="21"/>
                  </a:moveTo>
                  <a:lnTo>
                    <a:pt x="512" y="21"/>
                  </a:lnTo>
                  <a:lnTo>
                    <a:pt x="512" y="24"/>
                  </a:lnTo>
                  <a:lnTo>
                    <a:pt x="510" y="24"/>
                  </a:lnTo>
                  <a:lnTo>
                    <a:pt x="507" y="24"/>
                  </a:lnTo>
                  <a:lnTo>
                    <a:pt x="505" y="24"/>
                  </a:lnTo>
                  <a:lnTo>
                    <a:pt x="505" y="21"/>
                  </a:lnTo>
                  <a:lnTo>
                    <a:pt x="507" y="21"/>
                  </a:lnTo>
                  <a:lnTo>
                    <a:pt x="505" y="21"/>
                  </a:lnTo>
                  <a:lnTo>
                    <a:pt x="507" y="21"/>
                  </a:lnTo>
                  <a:lnTo>
                    <a:pt x="510" y="21"/>
                  </a:lnTo>
                  <a:close/>
                  <a:moveTo>
                    <a:pt x="503" y="14"/>
                  </a:moveTo>
                  <a:lnTo>
                    <a:pt x="500" y="14"/>
                  </a:lnTo>
                  <a:lnTo>
                    <a:pt x="503" y="14"/>
                  </a:lnTo>
                  <a:close/>
                  <a:moveTo>
                    <a:pt x="531" y="12"/>
                  </a:moveTo>
                  <a:lnTo>
                    <a:pt x="534" y="12"/>
                  </a:lnTo>
                  <a:lnTo>
                    <a:pt x="536" y="12"/>
                  </a:lnTo>
                  <a:lnTo>
                    <a:pt x="536" y="14"/>
                  </a:lnTo>
                  <a:lnTo>
                    <a:pt x="534" y="14"/>
                  </a:lnTo>
                  <a:lnTo>
                    <a:pt x="531" y="14"/>
                  </a:lnTo>
                  <a:lnTo>
                    <a:pt x="534" y="14"/>
                  </a:lnTo>
                  <a:lnTo>
                    <a:pt x="531" y="14"/>
                  </a:lnTo>
                  <a:lnTo>
                    <a:pt x="529" y="14"/>
                  </a:lnTo>
                  <a:lnTo>
                    <a:pt x="526" y="12"/>
                  </a:lnTo>
                  <a:lnTo>
                    <a:pt x="524" y="12"/>
                  </a:lnTo>
                  <a:lnTo>
                    <a:pt x="526" y="12"/>
                  </a:lnTo>
                  <a:lnTo>
                    <a:pt x="529" y="12"/>
                  </a:lnTo>
                  <a:lnTo>
                    <a:pt x="531" y="12"/>
                  </a:lnTo>
                  <a:close/>
                  <a:moveTo>
                    <a:pt x="553" y="10"/>
                  </a:moveTo>
                  <a:lnTo>
                    <a:pt x="555" y="12"/>
                  </a:lnTo>
                  <a:lnTo>
                    <a:pt x="553" y="12"/>
                  </a:lnTo>
                  <a:lnTo>
                    <a:pt x="550" y="12"/>
                  </a:lnTo>
                  <a:lnTo>
                    <a:pt x="548" y="12"/>
                  </a:lnTo>
                  <a:lnTo>
                    <a:pt x="545" y="12"/>
                  </a:lnTo>
                  <a:lnTo>
                    <a:pt x="543" y="12"/>
                  </a:lnTo>
                  <a:lnTo>
                    <a:pt x="545" y="10"/>
                  </a:lnTo>
                  <a:lnTo>
                    <a:pt x="545" y="12"/>
                  </a:lnTo>
                  <a:lnTo>
                    <a:pt x="545" y="10"/>
                  </a:lnTo>
                  <a:lnTo>
                    <a:pt x="543" y="10"/>
                  </a:lnTo>
                  <a:lnTo>
                    <a:pt x="545" y="10"/>
                  </a:lnTo>
                  <a:lnTo>
                    <a:pt x="548" y="10"/>
                  </a:lnTo>
                  <a:lnTo>
                    <a:pt x="550" y="10"/>
                  </a:lnTo>
                  <a:lnTo>
                    <a:pt x="553" y="10"/>
                  </a:lnTo>
                  <a:lnTo>
                    <a:pt x="555" y="10"/>
                  </a:lnTo>
                  <a:lnTo>
                    <a:pt x="553" y="10"/>
                  </a:lnTo>
                  <a:close/>
                  <a:moveTo>
                    <a:pt x="524" y="5"/>
                  </a:moveTo>
                  <a:lnTo>
                    <a:pt x="522" y="5"/>
                  </a:lnTo>
                  <a:lnTo>
                    <a:pt x="524" y="5"/>
                  </a:lnTo>
                  <a:lnTo>
                    <a:pt x="522" y="5"/>
                  </a:lnTo>
                  <a:lnTo>
                    <a:pt x="524" y="5"/>
                  </a:lnTo>
                  <a:close/>
                  <a:moveTo>
                    <a:pt x="529" y="5"/>
                  </a:moveTo>
                  <a:lnTo>
                    <a:pt x="531" y="5"/>
                  </a:lnTo>
                  <a:lnTo>
                    <a:pt x="531" y="7"/>
                  </a:lnTo>
                  <a:lnTo>
                    <a:pt x="534" y="7"/>
                  </a:lnTo>
                  <a:lnTo>
                    <a:pt x="536" y="7"/>
                  </a:lnTo>
                  <a:lnTo>
                    <a:pt x="536" y="10"/>
                  </a:lnTo>
                  <a:lnTo>
                    <a:pt x="538" y="10"/>
                  </a:lnTo>
                  <a:lnTo>
                    <a:pt x="541" y="7"/>
                  </a:lnTo>
                  <a:lnTo>
                    <a:pt x="541" y="10"/>
                  </a:lnTo>
                  <a:lnTo>
                    <a:pt x="543" y="10"/>
                  </a:lnTo>
                  <a:lnTo>
                    <a:pt x="545" y="10"/>
                  </a:lnTo>
                  <a:lnTo>
                    <a:pt x="541" y="10"/>
                  </a:lnTo>
                  <a:lnTo>
                    <a:pt x="538" y="10"/>
                  </a:lnTo>
                  <a:lnTo>
                    <a:pt x="538" y="12"/>
                  </a:lnTo>
                  <a:lnTo>
                    <a:pt x="536" y="12"/>
                  </a:lnTo>
                  <a:lnTo>
                    <a:pt x="536" y="10"/>
                  </a:lnTo>
                  <a:lnTo>
                    <a:pt x="534" y="10"/>
                  </a:lnTo>
                  <a:lnTo>
                    <a:pt x="531" y="10"/>
                  </a:lnTo>
                  <a:lnTo>
                    <a:pt x="531" y="7"/>
                  </a:lnTo>
                  <a:lnTo>
                    <a:pt x="529" y="7"/>
                  </a:lnTo>
                  <a:lnTo>
                    <a:pt x="526" y="7"/>
                  </a:lnTo>
                  <a:lnTo>
                    <a:pt x="526" y="5"/>
                  </a:lnTo>
                  <a:lnTo>
                    <a:pt x="529" y="5"/>
                  </a:lnTo>
                  <a:close/>
                  <a:moveTo>
                    <a:pt x="522" y="0"/>
                  </a:moveTo>
                  <a:lnTo>
                    <a:pt x="519" y="0"/>
                  </a:lnTo>
                  <a:lnTo>
                    <a:pt x="52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8" name="Freeform 53598"/>
            <p:cNvSpPr>
              <a:spLocks noEditPoints="1"/>
            </p:cNvSpPr>
            <p:nvPr/>
          </p:nvSpPr>
          <p:spPr bwMode="auto">
            <a:xfrm>
              <a:off x="2262185" y="1955808"/>
              <a:ext cx="1393824" cy="2108207"/>
            </a:xfrm>
            <a:custGeom>
              <a:avLst/>
              <a:gdLst>
                <a:gd name="T0" fmla="*/ 79 w 878"/>
                <a:gd name="T1" fmla="*/ 1323 h 1328"/>
                <a:gd name="T2" fmla="*/ 29 w 878"/>
                <a:gd name="T3" fmla="*/ 1273 h 1328"/>
                <a:gd name="T4" fmla="*/ 200 w 878"/>
                <a:gd name="T5" fmla="*/ 1264 h 1328"/>
                <a:gd name="T6" fmla="*/ 19 w 878"/>
                <a:gd name="T7" fmla="*/ 1240 h 1328"/>
                <a:gd name="T8" fmla="*/ 17 w 878"/>
                <a:gd name="T9" fmla="*/ 1219 h 1328"/>
                <a:gd name="T10" fmla="*/ 19 w 878"/>
                <a:gd name="T11" fmla="*/ 1200 h 1328"/>
                <a:gd name="T12" fmla="*/ 12 w 878"/>
                <a:gd name="T13" fmla="*/ 1181 h 1328"/>
                <a:gd name="T14" fmla="*/ 5 w 878"/>
                <a:gd name="T15" fmla="*/ 1169 h 1328"/>
                <a:gd name="T16" fmla="*/ 7 w 878"/>
                <a:gd name="T17" fmla="*/ 1145 h 1328"/>
                <a:gd name="T18" fmla="*/ 19 w 878"/>
                <a:gd name="T19" fmla="*/ 1133 h 1328"/>
                <a:gd name="T20" fmla="*/ 55 w 878"/>
                <a:gd name="T21" fmla="*/ 1090 h 1328"/>
                <a:gd name="T22" fmla="*/ 67 w 878"/>
                <a:gd name="T23" fmla="*/ 1069 h 1328"/>
                <a:gd name="T24" fmla="*/ 138 w 878"/>
                <a:gd name="T25" fmla="*/ 1062 h 1328"/>
                <a:gd name="T26" fmla="*/ 114 w 878"/>
                <a:gd name="T27" fmla="*/ 1048 h 1328"/>
                <a:gd name="T28" fmla="*/ 119 w 878"/>
                <a:gd name="T29" fmla="*/ 1043 h 1328"/>
                <a:gd name="T30" fmla="*/ 109 w 878"/>
                <a:gd name="T31" fmla="*/ 1038 h 1328"/>
                <a:gd name="T32" fmla="*/ 124 w 878"/>
                <a:gd name="T33" fmla="*/ 1031 h 1328"/>
                <a:gd name="T34" fmla="*/ 155 w 878"/>
                <a:gd name="T35" fmla="*/ 1024 h 1328"/>
                <a:gd name="T36" fmla="*/ 133 w 878"/>
                <a:gd name="T37" fmla="*/ 1022 h 1328"/>
                <a:gd name="T38" fmla="*/ 138 w 878"/>
                <a:gd name="T39" fmla="*/ 1017 h 1328"/>
                <a:gd name="T40" fmla="*/ 128 w 878"/>
                <a:gd name="T41" fmla="*/ 1014 h 1328"/>
                <a:gd name="T42" fmla="*/ 133 w 878"/>
                <a:gd name="T43" fmla="*/ 1010 h 1328"/>
                <a:gd name="T44" fmla="*/ 152 w 878"/>
                <a:gd name="T45" fmla="*/ 1003 h 1328"/>
                <a:gd name="T46" fmla="*/ 226 w 878"/>
                <a:gd name="T47" fmla="*/ 979 h 1328"/>
                <a:gd name="T48" fmla="*/ 209 w 878"/>
                <a:gd name="T49" fmla="*/ 969 h 1328"/>
                <a:gd name="T50" fmla="*/ 221 w 878"/>
                <a:gd name="T51" fmla="*/ 960 h 1328"/>
                <a:gd name="T52" fmla="*/ 216 w 878"/>
                <a:gd name="T53" fmla="*/ 957 h 1328"/>
                <a:gd name="T54" fmla="*/ 226 w 878"/>
                <a:gd name="T55" fmla="*/ 953 h 1328"/>
                <a:gd name="T56" fmla="*/ 216 w 878"/>
                <a:gd name="T57" fmla="*/ 948 h 1328"/>
                <a:gd name="T58" fmla="*/ 247 w 878"/>
                <a:gd name="T59" fmla="*/ 934 h 1328"/>
                <a:gd name="T60" fmla="*/ 238 w 878"/>
                <a:gd name="T61" fmla="*/ 915 h 1328"/>
                <a:gd name="T62" fmla="*/ 249 w 878"/>
                <a:gd name="T63" fmla="*/ 910 h 1328"/>
                <a:gd name="T64" fmla="*/ 247 w 878"/>
                <a:gd name="T65" fmla="*/ 903 h 1328"/>
                <a:gd name="T66" fmla="*/ 266 w 878"/>
                <a:gd name="T67" fmla="*/ 900 h 1328"/>
                <a:gd name="T68" fmla="*/ 252 w 878"/>
                <a:gd name="T69" fmla="*/ 898 h 1328"/>
                <a:gd name="T70" fmla="*/ 240 w 878"/>
                <a:gd name="T71" fmla="*/ 891 h 1328"/>
                <a:gd name="T72" fmla="*/ 266 w 878"/>
                <a:gd name="T73" fmla="*/ 886 h 1328"/>
                <a:gd name="T74" fmla="*/ 254 w 878"/>
                <a:gd name="T75" fmla="*/ 879 h 1328"/>
                <a:gd name="T76" fmla="*/ 273 w 878"/>
                <a:gd name="T77" fmla="*/ 874 h 1328"/>
                <a:gd name="T78" fmla="*/ 283 w 878"/>
                <a:gd name="T79" fmla="*/ 867 h 1328"/>
                <a:gd name="T80" fmla="*/ 268 w 878"/>
                <a:gd name="T81" fmla="*/ 860 h 1328"/>
                <a:gd name="T82" fmla="*/ 273 w 878"/>
                <a:gd name="T83" fmla="*/ 855 h 1328"/>
                <a:gd name="T84" fmla="*/ 268 w 878"/>
                <a:gd name="T85" fmla="*/ 848 h 1328"/>
                <a:gd name="T86" fmla="*/ 280 w 878"/>
                <a:gd name="T87" fmla="*/ 846 h 1328"/>
                <a:gd name="T88" fmla="*/ 306 w 878"/>
                <a:gd name="T89" fmla="*/ 829 h 1328"/>
                <a:gd name="T90" fmla="*/ 314 w 878"/>
                <a:gd name="T91" fmla="*/ 822 h 1328"/>
                <a:gd name="T92" fmla="*/ 328 w 878"/>
                <a:gd name="T93" fmla="*/ 812 h 1328"/>
                <a:gd name="T94" fmla="*/ 335 w 878"/>
                <a:gd name="T95" fmla="*/ 805 h 1328"/>
                <a:gd name="T96" fmla="*/ 342 w 878"/>
                <a:gd name="T97" fmla="*/ 791 h 1328"/>
                <a:gd name="T98" fmla="*/ 354 w 878"/>
                <a:gd name="T99" fmla="*/ 784 h 1328"/>
                <a:gd name="T100" fmla="*/ 302 w 878"/>
                <a:gd name="T101" fmla="*/ 772 h 1328"/>
                <a:gd name="T102" fmla="*/ 337 w 878"/>
                <a:gd name="T103" fmla="*/ 767 h 1328"/>
                <a:gd name="T104" fmla="*/ 304 w 878"/>
                <a:gd name="T105" fmla="*/ 760 h 1328"/>
                <a:gd name="T106" fmla="*/ 368 w 878"/>
                <a:gd name="T107" fmla="*/ 755 h 1328"/>
                <a:gd name="T108" fmla="*/ 399 w 878"/>
                <a:gd name="T109" fmla="*/ 732 h 1328"/>
                <a:gd name="T110" fmla="*/ 394 w 878"/>
                <a:gd name="T111" fmla="*/ 715 h 1328"/>
                <a:gd name="T112" fmla="*/ 582 w 878"/>
                <a:gd name="T113" fmla="*/ 675 h 1328"/>
                <a:gd name="T114" fmla="*/ 679 w 878"/>
                <a:gd name="T115" fmla="*/ 653 h 1328"/>
                <a:gd name="T116" fmla="*/ 786 w 878"/>
                <a:gd name="T117" fmla="*/ 634 h 1328"/>
                <a:gd name="T118" fmla="*/ 684 w 878"/>
                <a:gd name="T119" fmla="*/ 599 h 1328"/>
                <a:gd name="T120" fmla="*/ 425 w 878"/>
                <a:gd name="T121" fmla="*/ 164 h 1328"/>
                <a:gd name="T122" fmla="*/ 779 w 878"/>
                <a:gd name="T123" fmla="*/ 105 h 1328"/>
                <a:gd name="T124" fmla="*/ 461 w 878"/>
                <a:gd name="T125" fmla="*/ 43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8" h="1328">
                  <a:moveTo>
                    <a:pt x="105" y="1328"/>
                  </a:moveTo>
                  <a:lnTo>
                    <a:pt x="102" y="1328"/>
                  </a:lnTo>
                  <a:lnTo>
                    <a:pt x="105" y="1328"/>
                  </a:lnTo>
                  <a:close/>
                  <a:moveTo>
                    <a:pt x="98" y="1328"/>
                  </a:moveTo>
                  <a:lnTo>
                    <a:pt x="98" y="1326"/>
                  </a:lnTo>
                  <a:lnTo>
                    <a:pt x="98" y="1328"/>
                  </a:lnTo>
                  <a:close/>
                  <a:moveTo>
                    <a:pt x="105" y="1328"/>
                  </a:moveTo>
                  <a:lnTo>
                    <a:pt x="105" y="1326"/>
                  </a:lnTo>
                  <a:lnTo>
                    <a:pt x="105" y="1328"/>
                  </a:lnTo>
                  <a:close/>
                  <a:moveTo>
                    <a:pt x="105" y="1328"/>
                  </a:moveTo>
                  <a:lnTo>
                    <a:pt x="105" y="1326"/>
                  </a:lnTo>
                  <a:lnTo>
                    <a:pt x="105" y="1328"/>
                  </a:lnTo>
                  <a:close/>
                  <a:moveTo>
                    <a:pt x="102" y="1326"/>
                  </a:moveTo>
                  <a:lnTo>
                    <a:pt x="102" y="1328"/>
                  </a:lnTo>
                  <a:lnTo>
                    <a:pt x="102" y="1326"/>
                  </a:lnTo>
                  <a:close/>
                  <a:moveTo>
                    <a:pt x="90" y="1328"/>
                  </a:moveTo>
                  <a:lnTo>
                    <a:pt x="88" y="1328"/>
                  </a:lnTo>
                  <a:lnTo>
                    <a:pt x="90" y="1326"/>
                  </a:lnTo>
                  <a:lnTo>
                    <a:pt x="90" y="1328"/>
                  </a:lnTo>
                  <a:close/>
                  <a:moveTo>
                    <a:pt x="100" y="1326"/>
                  </a:moveTo>
                  <a:lnTo>
                    <a:pt x="100" y="1328"/>
                  </a:lnTo>
                  <a:lnTo>
                    <a:pt x="100" y="1326"/>
                  </a:lnTo>
                  <a:close/>
                  <a:moveTo>
                    <a:pt x="107" y="1326"/>
                  </a:moveTo>
                  <a:lnTo>
                    <a:pt x="105" y="1326"/>
                  </a:lnTo>
                  <a:lnTo>
                    <a:pt x="107" y="1326"/>
                  </a:lnTo>
                  <a:close/>
                  <a:moveTo>
                    <a:pt x="109" y="1326"/>
                  </a:moveTo>
                  <a:lnTo>
                    <a:pt x="109" y="1323"/>
                  </a:lnTo>
                  <a:lnTo>
                    <a:pt x="109" y="1326"/>
                  </a:lnTo>
                  <a:close/>
                  <a:moveTo>
                    <a:pt x="105" y="1323"/>
                  </a:moveTo>
                  <a:lnTo>
                    <a:pt x="105" y="1326"/>
                  </a:lnTo>
                  <a:lnTo>
                    <a:pt x="105" y="1323"/>
                  </a:lnTo>
                  <a:close/>
                  <a:moveTo>
                    <a:pt x="109" y="1326"/>
                  </a:moveTo>
                  <a:lnTo>
                    <a:pt x="109" y="1323"/>
                  </a:lnTo>
                  <a:lnTo>
                    <a:pt x="109" y="1326"/>
                  </a:lnTo>
                  <a:close/>
                  <a:moveTo>
                    <a:pt x="107" y="1326"/>
                  </a:moveTo>
                  <a:lnTo>
                    <a:pt x="107" y="1323"/>
                  </a:lnTo>
                  <a:lnTo>
                    <a:pt x="107" y="1326"/>
                  </a:lnTo>
                  <a:close/>
                  <a:moveTo>
                    <a:pt x="109" y="1326"/>
                  </a:moveTo>
                  <a:lnTo>
                    <a:pt x="109" y="1323"/>
                  </a:lnTo>
                  <a:lnTo>
                    <a:pt x="109" y="1326"/>
                  </a:lnTo>
                  <a:close/>
                  <a:moveTo>
                    <a:pt x="107" y="1326"/>
                  </a:moveTo>
                  <a:lnTo>
                    <a:pt x="105" y="1323"/>
                  </a:lnTo>
                  <a:lnTo>
                    <a:pt x="107" y="1323"/>
                  </a:lnTo>
                  <a:lnTo>
                    <a:pt x="107" y="1326"/>
                  </a:lnTo>
                  <a:close/>
                  <a:moveTo>
                    <a:pt x="107" y="1323"/>
                  </a:moveTo>
                  <a:lnTo>
                    <a:pt x="107" y="1326"/>
                  </a:lnTo>
                  <a:lnTo>
                    <a:pt x="107" y="1323"/>
                  </a:lnTo>
                  <a:close/>
                  <a:moveTo>
                    <a:pt x="107" y="1326"/>
                  </a:moveTo>
                  <a:lnTo>
                    <a:pt x="107" y="1323"/>
                  </a:lnTo>
                  <a:lnTo>
                    <a:pt x="107" y="1326"/>
                  </a:lnTo>
                  <a:close/>
                  <a:moveTo>
                    <a:pt x="109" y="1323"/>
                  </a:moveTo>
                  <a:lnTo>
                    <a:pt x="109" y="1326"/>
                  </a:lnTo>
                  <a:lnTo>
                    <a:pt x="109" y="1323"/>
                  </a:lnTo>
                  <a:close/>
                  <a:moveTo>
                    <a:pt x="83" y="1323"/>
                  </a:moveTo>
                  <a:lnTo>
                    <a:pt x="86" y="1323"/>
                  </a:lnTo>
                  <a:lnTo>
                    <a:pt x="83" y="1323"/>
                  </a:lnTo>
                  <a:close/>
                  <a:moveTo>
                    <a:pt x="114" y="1323"/>
                  </a:moveTo>
                  <a:lnTo>
                    <a:pt x="112" y="1323"/>
                  </a:lnTo>
                  <a:lnTo>
                    <a:pt x="114" y="1323"/>
                  </a:lnTo>
                  <a:close/>
                  <a:moveTo>
                    <a:pt x="79" y="1323"/>
                  </a:moveTo>
                  <a:lnTo>
                    <a:pt x="76" y="1323"/>
                  </a:lnTo>
                  <a:lnTo>
                    <a:pt x="79" y="1323"/>
                  </a:lnTo>
                  <a:close/>
                  <a:moveTo>
                    <a:pt x="114" y="1323"/>
                  </a:moveTo>
                  <a:lnTo>
                    <a:pt x="112" y="1323"/>
                  </a:lnTo>
                  <a:lnTo>
                    <a:pt x="114" y="1323"/>
                  </a:lnTo>
                  <a:close/>
                  <a:moveTo>
                    <a:pt x="76" y="1323"/>
                  </a:moveTo>
                  <a:lnTo>
                    <a:pt x="79" y="1323"/>
                  </a:lnTo>
                  <a:lnTo>
                    <a:pt x="76" y="1323"/>
                  </a:lnTo>
                  <a:close/>
                  <a:moveTo>
                    <a:pt x="79" y="1323"/>
                  </a:moveTo>
                  <a:lnTo>
                    <a:pt x="76" y="1323"/>
                  </a:lnTo>
                  <a:lnTo>
                    <a:pt x="79" y="1323"/>
                  </a:lnTo>
                  <a:close/>
                  <a:moveTo>
                    <a:pt x="119" y="1321"/>
                  </a:moveTo>
                  <a:lnTo>
                    <a:pt x="119" y="1323"/>
                  </a:lnTo>
                  <a:lnTo>
                    <a:pt x="119" y="1321"/>
                  </a:lnTo>
                  <a:close/>
                  <a:moveTo>
                    <a:pt x="119" y="1321"/>
                  </a:moveTo>
                  <a:lnTo>
                    <a:pt x="117" y="1321"/>
                  </a:lnTo>
                  <a:lnTo>
                    <a:pt x="119" y="1321"/>
                  </a:lnTo>
                  <a:close/>
                  <a:moveTo>
                    <a:pt x="124" y="1321"/>
                  </a:moveTo>
                  <a:lnTo>
                    <a:pt x="126" y="1321"/>
                  </a:lnTo>
                  <a:lnTo>
                    <a:pt x="124" y="1321"/>
                  </a:lnTo>
                  <a:close/>
                  <a:moveTo>
                    <a:pt x="117" y="1318"/>
                  </a:moveTo>
                  <a:lnTo>
                    <a:pt x="117" y="1321"/>
                  </a:lnTo>
                  <a:lnTo>
                    <a:pt x="117" y="1318"/>
                  </a:lnTo>
                  <a:close/>
                  <a:moveTo>
                    <a:pt x="128" y="1316"/>
                  </a:moveTo>
                  <a:lnTo>
                    <a:pt x="126" y="1316"/>
                  </a:lnTo>
                  <a:lnTo>
                    <a:pt x="128" y="1316"/>
                  </a:lnTo>
                  <a:close/>
                  <a:moveTo>
                    <a:pt x="128" y="1316"/>
                  </a:moveTo>
                  <a:lnTo>
                    <a:pt x="128" y="1314"/>
                  </a:lnTo>
                  <a:lnTo>
                    <a:pt x="128" y="1316"/>
                  </a:lnTo>
                  <a:close/>
                  <a:moveTo>
                    <a:pt x="136" y="1309"/>
                  </a:moveTo>
                  <a:lnTo>
                    <a:pt x="136" y="1311"/>
                  </a:lnTo>
                  <a:lnTo>
                    <a:pt x="136" y="1309"/>
                  </a:lnTo>
                  <a:close/>
                  <a:moveTo>
                    <a:pt x="143" y="1307"/>
                  </a:moveTo>
                  <a:lnTo>
                    <a:pt x="140" y="1307"/>
                  </a:lnTo>
                  <a:lnTo>
                    <a:pt x="143" y="1307"/>
                  </a:lnTo>
                  <a:close/>
                  <a:moveTo>
                    <a:pt x="50" y="1307"/>
                  </a:moveTo>
                  <a:lnTo>
                    <a:pt x="50" y="1304"/>
                  </a:lnTo>
                  <a:lnTo>
                    <a:pt x="50" y="1307"/>
                  </a:lnTo>
                  <a:close/>
                  <a:moveTo>
                    <a:pt x="147" y="1299"/>
                  </a:moveTo>
                  <a:lnTo>
                    <a:pt x="147" y="1297"/>
                  </a:lnTo>
                  <a:lnTo>
                    <a:pt x="147" y="1299"/>
                  </a:lnTo>
                  <a:close/>
                  <a:moveTo>
                    <a:pt x="155" y="1292"/>
                  </a:moveTo>
                  <a:lnTo>
                    <a:pt x="155" y="1295"/>
                  </a:lnTo>
                  <a:lnTo>
                    <a:pt x="155" y="1292"/>
                  </a:lnTo>
                  <a:close/>
                  <a:moveTo>
                    <a:pt x="162" y="1280"/>
                  </a:moveTo>
                  <a:lnTo>
                    <a:pt x="162" y="1283"/>
                  </a:lnTo>
                  <a:lnTo>
                    <a:pt x="162" y="1280"/>
                  </a:lnTo>
                  <a:close/>
                  <a:moveTo>
                    <a:pt x="169" y="1280"/>
                  </a:moveTo>
                  <a:lnTo>
                    <a:pt x="169" y="1278"/>
                  </a:lnTo>
                  <a:lnTo>
                    <a:pt x="169" y="1280"/>
                  </a:lnTo>
                  <a:close/>
                  <a:moveTo>
                    <a:pt x="181" y="1278"/>
                  </a:moveTo>
                  <a:lnTo>
                    <a:pt x="178" y="1278"/>
                  </a:lnTo>
                  <a:lnTo>
                    <a:pt x="181" y="1278"/>
                  </a:lnTo>
                  <a:close/>
                  <a:moveTo>
                    <a:pt x="171" y="1278"/>
                  </a:moveTo>
                  <a:lnTo>
                    <a:pt x="171" y="1276"/>
                  </a:lnTo>
                  <a:lnTo>
                    <a:pt x="171" y="1278"/>
                  </a:lnTo>
                  <a:close/>
                  <a:moveTo>
                    <a:pt x="31" y="1276"/>
                  </a:moveTo>
                  <a:lnTo>
                    <a:pt x="31" y="1278"/>
                  </a:lnTo>
                  <a:lnTo>
                    <a:pt x="31" y="1276"/>
                  </a:lnTo>
                  <a:close/>
                  <a:moveTo>
                    <a:pt x="178" y="1276"/>
                  </a:moveTo>
                  <a:lnTo>
                    <a:pt x="176" y="1276"/>
                  </a:lnTo>
                  <a:lnTo>
                    <a:pt x="178" y="1276"/>
                  </a:lnTo>
                  <a:close/>
                  <a:moveTo>
                    <a:pt x="178" y="1276"/>
                  </a:moveTo>
                  <a:lnTo>
                    <a:pt x="178" y="1278"/>
                  </a:lnTo>
                  <a:lnTo>
                    <a:pt x="178" y="1276"/>
                  </a:lnTo>
                  <a:close/>
                  <a:moveTo>
                    <a:pt x="188" y="1276"/>
                  </a:moveTo>
                  <a:lnTo>
                    <a:pt x="190" y="1276"/>
                  </a:lnTo>
                  <a:lnTo>
                    <a:pt x="188" y="1276"/>
                  </a:lnTo>
                  <a:close/>
                  <a:moveTo>
                    <a:pt x="45" y="1276"/>
                  </a:moveTo>
                  <a:lnTo>
                    <a:pt x="45" y="1273"/>
                  </a:lnTo>
                  <a:lnTo>
                    <a:pt x="45" y="1276"/>
                  </a:lnTo>
                  <a:close/>
                  <a:moveTo>
                    <a:pt x="45" y="1273"/>
                  </a:moveTo>
                  <a:lnTo>
                    <a:pt x="43" y="1273"/>
                  </a:lnTo>
                  <a:lnTo>
                    <a:pt x="45" y="1273"/>
                  </a:lnTo>
                  <a:close/>
                  <a:moveTo>
                    <a:pt x="43" y="1273"/>
                  </a:moveTo>
                  <a:lnTo>
                    <a:pt x="41" y="1273"/>
                  </a:lnTo>
                  <a:lnTo>
                    <a:pt x="43" y="1273"/>
                  </a:lnTo>
                  <a:close/>
                  <a:moveTo>
                    <a:pt x="29" y="1273"/>
                  </a:moveTo>
                  <a:lnTo>
                    <a:pt x="31" y="1273"/>
                  </a:lnTo>
                  <a:lnTo>
                    <a:pt x="29" y="1273"/>
                  </a:lnTo>
                  <a:close/>
                  <a:moveTo>
                    <a:pt x="219" y="1271"/>
                  </a:moveTo>
                  <a:lnTo>
                    <a:pt x="216" y="1273"/>
                  </a:lnTo>
                  <a:lnTo>
                    <a:pt x="216" y="1271"/>
                  </a:lnTo>
                  <a:lnTo>
                    <a:pt x="219" y="1271"/>
                  </a:lnTo>
                  <a:close/>
                  <a:moveTo>
                    <a:pt x="31" y="1271"/>
                  </a:moveTo>
                  <a:lnTo>
                    <a:pt x="31" y="1273"/>
                  </a:lnTo>
                  <a:lnTo>
                    <a:pt x="29" y="1273"/>
                  </a:lnTo>
                  <a:lnTo>
                    <a:pt x="29" y="1271"/>
                  </a:lnTo>
                  <a:lnTo>
                    <a:pt x="31" y="1271"/>
                  </a:lnTo>
                  <a:close/>
                  <a:moveTo>
                    <a:pt x="31" y="1271"/>
                  </a:moveTo>
                  <a:lnTo>
                    <a:pt x="31" y="1273"/>
                  </a:lnTo>
                  <a:lnTo>
                    <a:pt x="31" y="1271"/>
                  </a:lnTo>
                  <a:close/>
                  <a:moveTo>
                    <a:pt x="219" y="1273"/>
                  </a:moveTo>
                  <a:lnTo>
                    <a:pt x="219" y="1271"/>
                  </a:lnTo>
                  <a:lnTo>
                    <a:pt x="219" y="1273"/>
                  </a:lnTo>
                  <a:close/>
                  <a:moveTo>
                    <a:pt x="176" y="1271"/>
                  </a:moveTo>
                  <a:lnTo>
                    <a:pt x="174" y="1271"/>
                  </a:lnTo>
                  <a:lnTo>
                    <a:pt x="176" y="1271"/>
                  </a:lnTo>
                  <a:close/>
                  <a:moveTo>
                    <a:pt x="38" y="1271"/>
                  </a:moveTo>
                  <a:lnTo>
                    <a:pt x="36" y="1271"/>
                  </a:lnTo>
                  <a:lnTo>
                    <a:pt x="38" y="1271"/>
                  </a:lnTo>
                  <a:close/>
                  <a:moveTo>
                    <a:pt x="197" y="1271"/>
                  </a:moveTo>
                  <a:lnTo>
                    <a:pt x="195" y="1271"/>
                  </a:lnTo>
                  <a:lnTo>
                    <a:pt x="197" y="1271"/>
                  </a:lnTo>
                  <a:close/>
                  <a:moveTo>
                    <a:pt x="34" y="1271"/>
                  </a:moveTo>
                  <a:lnTo>
                    <a:pt x="31" y="1271"/>
                  </a:lnTo>
                  <a:lnTo>
                    <a:pt x="34" y="1271"/>
                  </a:lnTo>
                  <a:close/>
                  <a:moveTo>
                    <a:pt x="188" y="1271"/>
                  </a:moveTo>
                  <a:lnTo>
                    <a:pt x="190" y="1271"/>
                  </a:lnTo>
                  <a:lnTo>
                    <a:pt x="188" y="1271"/>
                  </a:lnTo>
                  <a:close/>
                  <a:moveTo>
                    <a:pt x="34" y="1271"/>
                  </a:moveTo>
                  <a:lnTo>
                    <a:pt x="34" y="1269"/>
                  </a:lnTo>
                  <a:lnTo>
                    <a:pt x="34" y="1271"/>
                  </a:lnTo>
                  <a:close/>
                  <a:moveTo>
                    <a:pt x="36" y="1269"/>
                  </a:moveTo>
                  <a:lnTo>
                    <a:pt x="36" y="1271"/>
                  </a:lnTo>
                  <a:lnTo>
                    <a:pt x="36" y="1269"/>
                  </a:lnTo>
                  <a:close/>
                  <a:moveTo>
                    <a:pt x="219" y="1269"/>
                  </a:moveTo>
                  <a:lnTo>
                    <a:pt x="216" y="1269"/>
                  </a:lnTo>
                  <a:lnTo>
                    <a:pt x="219" y="1269"/>
                  </a:lnTo>
                  <a:close/>
                  <a:moveTo>
                    <a:pt x="216" y="1269"/>
                  </a:moveTo>
                  <a:lnTo>
                    <a:pt x="214" y="1269"/>
                  </a:lnTo>
                  <a:lnTo>
                    <a:pt x="216" y="1269"/>
                  </a:lnTo>
                  <a:close/>
                  <a:moveTo>
                    <a:pt x="45" y="1269"/>
                  </a:moveTo>
                  <a:lnTo>
                    <a:pt x="45" y="1266"/>
                  </a:lnTo>
                  <a:lnTo>
                    <a:pt x="45" y="1269"/>
                  </a:lnTo>
                  <a:close/>
                  <a:moveTo>
                    <a:pt x="211" y="1266"/>
                  </a:moveTo>
                  <a:lnTo>
                    <a:pt x="211" y="1269"/>
                  </a:lnTo>
                  <a:lnTo>
                    <a:pt x="211" y="1266"/>
                  </a:lnTo>
                  <a:close/>
                  <a:moveTo>
                    <a:pt x="195" y="1269"/>
                  </a:moveTo>
                  <a:lnTo>
                    <a:pt x="195" y="1266"/>
                  </a:lnTo>
                  <a:lnTo>
                    <a:pt x="195" y="1269"/>
                  </a:lnTo>
                  <a:close/>
                  <a:moveTo>
                    <a:pt x="24" y="1266"/>
                  </a:moveTo>
                  <a:lnTo>
                    <a:pt x="24" y="1269"/>
                  </a:lnTo>
                  <a:lnTo>
                    <a:pt x="24" y="1266"/>
                  </a:lnTo>
                  <a:close/>
                  <a:moveTo>
                    <a:pt x="219" y="1266"/>
                  </a:moveTo>
                  <a:lnTo>
                    <a:pt x="219" y="1269"/>
                  </a:lnTo>
                  <a:lnTo>
                    <a:pt x="219" y="1266"/>
                  </a:lnTo>
                  <a:close/>
                  <a:moveTo>
                    <a:pt x="202" y="1266"/>
                  </a:moveTo>
                  <a:lnTo>
                    <a:pt x="202" y="1264"/>
                  </a:lnTo>
                  <a:lnTo>
                    <a:pt x="202" y="1266"/>
                  </a:lnTo>
                  <a:close/>
                  <a:moveTo>
                    <a:pt x="221" y="1266"/>
                  </a:moveTo>
                  <a:lnTo>
                    <a:pt x="221" y="1264"/>
                  </a:lnTo>
                  <a:lnTo>
                    <a:pt x="221" y="1266"/>
                  </a:lnTo>
                  <a:close/>
                  <a:moveTo>
                    <a:pt x="31" y="1266"/>
                  </a:moveTo>
                  <a:lnTo>
                    <a:pt x="31" y="1264"/>
                  </a:lnTo>
                  <a:lnTo>
                    <a:pt x="31" y="1266"/>
                  </a:lnTo>
                  <a:close/>
                  <a:moveTo>
                    <a:pt x="200" y="1264"/>
                  </a:moveTo>
                  <a:lnTo>
                    <a:pt x="200" y="1266"/>
                  </a:lnTo>
                  <a:lnTo>
                    <a:pt x="200" y="1264"/>
                  </a:lnTo>
                  <a:close/>
                  <a:moveTo>
                    <a:pt x="204" y="1264"/>
                  </a:moveTo>
                  <a:lnTo>
                    <a:pt x="207" y="1264"/>
                  </a:lnTo>
                  <a:lnTo>
                    <a:pt x="204" y="1264"/>
                  </a:lnTo>
                  <a:close/>
                  <a:moveTo>
                    <a:pt x="200" y="1264"/>
                  </a:moveTo>
                  <a:lnTo>
                    <a:pt x="200" y="1266"/>
                  </a:lnTo>
                  <a:lnTo>
                    <a:pt x="200" y="1264"/>
                  </a:lnTo>
                  <a:close/>
                  <a:moveTo>
                    <a:pt x="202" y="1264"/>
                  </a:moveTo>
                  <a:lnTo>
                    <a:pt x="200" y="1264"/>
                  </a:lnTo>
                  <a:lnTo>
                    <a:pt x="202" y="1264"/>
                  </a:lnTo>
                  <a:close/>
                  <a:moveTo>
                    <a:pt x="200" y="1264"/>
                  </a:moveTo>
                  <a:lnTo>
                    <a:pt x="200" y="1261"/>
                  </a:lnTo>
                  <a:lnTo>
                    <a:pt x="200" y="1264"/>
                  </a:lnTo>
                  <a:close/>
                  <a:moveTo>
                    <a:pt x="207" y="1264"/>
                  </a:moveTo>
                  <a:lnTo>
                    <a:pt x="207" y="1261"/>
                  </a:lnTo>
                  <a:lnTo>
                    <a:pt x="207" y="1264"/>
                  </a:lnTo>
                  <a:close/>
                  <a:moveTo>
                    <a:pt x="200" y="1264"/>
                  </a:moveTo>
                  <a:lnTo>
                    <a:pt x="197" y="1264"/>
                  </a:lnTo>
                  <a:lnTo>
                    <a:pt x="197" y="1261"/>
                  </a:lnTo>
                  <a:lnTo>
                    <a:pt x="200" y="1261"/>
                  </a:lnTo>
                  <a:lnTo>
                    <a:pt x="200" y="1264"/>
                  </a:lnTo>
                  <a:close/>
                  <a:moveTo>
                    <a:pt x="197" y="1261"/>
                  </a:moveTo>
                  <a:lnTo>
                    <a:pt x="197" y="1264"/>
                  </a:lnTo>
                  <a:lnTo>
                    <a:pt x="197" y="1261"/>
                  </a:lnTo>
                  <a:close/>
                  <a:moveTo>
                    <a:pt x="200" y="1261"/>
                  </a:moveTo>
                  <a:lnTo>
                    <a:pt x="197" y="1261"/>
                  </a:lnTo>
                  <a:lnTo>
                    <a:pt x="200" y="1261"/>
                  </a:lnTo>
                  <a:close/>
                  <a:moveTo>
                    <a:pt x="43" y="1261"/>
                  </a:moveTo>
                  <a:lnTo>
                    <a:pt x="43" y="1259"/>
                  </a:lnTo>
                  <a:lnTo>
                    <a:pt x="43" y="1261"/>
                  </a:lnTo>
                  <a:close/>
                  <a:moveTo>
                    <a:pt x="31" y="1261"/>
                  </a:moveTo>
                  <a:lnTo>
                    <a:pt x="31" y="1259"/>
                  </a:lnTo>
                  <a:lnTo>
                    <a:pt x="31" y="1261"/>
                  </a:lnTo>
                  <a:close/>
                  <a:moveTo>
                    <a:pt x="29" y="1259"/>
                  </a:moveTo>
                  <a:lnTo>
                    <a:pt x="29" y="1261"/>
                  </a:lnTo>
                  <a:lnTo>
                    <a:pt x="29" y="1259"/>
                  </a:lnTo>
                  <a:close/>
                  <a:moveTo>
                    <a:pt x="24" y="1259"/>
                  </a:moveTo>
                  <a:lnTo>
                    <a:pt x="22" y="1259"/>
                  </a:lnTo>
                  <a:lnTo>
                    <a:pt x="24" y="1259"/>
                  </a:lnTo>
                  <a:close/>
                  <a:moveTo>
                    <a:pt x="24" y="1259"/>
                  </a:moveTo>
                  <a:lnTo>
                    <a:pt x="22" y="1259"/>
                  </a:lnTo>
                  <a:lnTo>
                    <a:pt x="24" y="1259"/>
                  </a:lnTo>
                  <a:close/>
                  <a:moveTo>
                    <a:pt x="24" y="1257"/>
                  </a:moveTo>
                  <a:lnTo>
                    <a:pt x="22" y="1257"/>
                  </a:lnTo>
                  <a:lnTo>
                    <a:pt x="24" y="1257"/>
                  </a:lnTo>
                  <a:close/>
                  <a:moveTo>
                    <a:pt x="204" y="1257"/>
                  </a:moveTo>
                  <a:lnTo>
                    <a:pt x="202" y="1257"/>
                  </a:lnTo>
                  <a:lnTo>
                    <a:pt x="204" y="1257"/>
                  </a:lnTo>
                  <a:close/>
                  <a:moveTo>
                    <a:pt x="22" y="1254"/>
                  </a:moveTo>
                  <a:lnTo>
                    <a:pt x="24" y="1254"/>
                  </a:lnTo>
                  <a:lnTo>
                    <a:pt x="22" y="1254"/>
                  </a:lnTo>
                  <a:close/>
                  <a:moveTo>
                    <a:pt x="202" y="1252"/>
                  </a:moveTo>
                  <a:lnTo>
                    <a:pt x="200" y="1252"/>
                  </a:lnTo>
                  <a:lnTo>
                    <a:pt x="202" y="1252"/>
                  </a:lnTo>
                  <a:close/>
                  <a:moveTo>
                    <a:pt x="19" y="1242"/>
                  </a:moveTo>
                  <a:lnTo>
                    <a:pt x="22" y="1242"/>
                  </a:lnTo>
                  <a:lnTo>
                    <a:pt x="19" y="1242"/>
                  </a:lnTo>
                  <a:close/>
                  <a:moveTo>
                    <a:pt x="22" y="1242"/>
                  </a:moveTo>
                  <a:lnTo>
                    <a:pt x="19" y="1242"/>
                  </a:lnTo>
                  <a:lnTo>
                    <a:pt x="22" y="1242"/>
                  </a:lnTo>
                  <a:close/>
                  <a:moveTo>
                    <a:pt x="22" y="1242"/>
                  </a:moveTo>
                  <a:lnTo>
                    <a:pt x="19" y="1242"/>
                  </a:lnTo>
                  <a:lnTo>
                    <a:pt x="22" y="1242"/>
                  </a:lnTo>
                  <a:close/>
                  <a:moveTo>
                    <a:pt x="31" y="1242"/>
                  </a:moveTo>
                  <a:lnTo>
                    <a:pt x="31" y="1240"/>
                  </a:lnTo>
                  <a:lnTo>
                    <a:pt x="31" y="1242"/>
                  </a:lnTo>
                  <a:close/>
                  <a:moveTo>
                    <a:pt x="22" y="1240"/>
                  </a:moveTo>
                  <a:lnTo>
                    <a:pt x="19" y="1240"/>
                  </a:lnTo>
                  <a:lnTo>
                    <a:pt x="22" y="1240"/>
                  </a:lnTo>
                  <a:close/>
                  <a:moveTo>
                    <a:pt x="22" y="1240"/>
                  </a:moveTo>
                  <a:lnTo>
                    <a:pt x="19" y="1240"/>
                  </a:lnTo>
                  <a:lnTo>
                    <a:pt x="22" y="1240"/>
                  </a:lnTo>
                  <a:close/>
                  <a:moveTo>
                    <a:pt x="31" y="1240"/>
                  </a:moveTo>
                  <a:lnTo>
                    <a:pt x="31" y="1238"/>
                  </a:lnTo>
                  <a:lnTo>
                    <a:pt x="31" y="1240"/>
                  </a:lnTo>
                  <a:close/>
                  <a:moveTo>
                    <a:pt x="202" y="1240"/>
                  </a:moveTo>
                  <a:lnTo>
                    <a:pt x="202" y="1238"/>
                  </a:lnTo>
                  <a:lnTo>
                    <a:pt x="202" y="1240"/>
                  </a:lnTo>
                  <a:close/>
                  <a:moveTo>
                    <a:pt x="22" y="1238"/>
                  </a:moveTo>
                  <a:lnTo>
                    <a:pt x="19" y="1238"/>
                  </a:lnTo>
                  <a:lnTo>
                    <a:pt x="22" y="1238"/>
                  </a:lnTo>
                  <a:close/>
                  <a:moveTo>
                    <a:pt x="24" y="1235"/>
                  </a:moveTo>
                  <a:lnTo>
                    <a:pt x="22" y="1235"/>
                  </a:lnTo>
                  <a:lnTo>
                    <a:pt x="24" y="1235"/>
                  </a:lnTo>
                  <a:close/>
                  <a:moveTo>
                    <a:pt x="24" y="1235"/>
                  </a:moveTo>
                  <a:lnTo>
                    <a:pt x="22" y="1235"/>
                  </a:lnTo>
                  <a:lnTo>
                    <a:pt x="24" y="1235"/>
                  </a:lnTo>
                  <a:close/>
                  <a:moveTo>
                    <a:pt x="45" y="1235"/>
                  </a:moveTo>
                  <a:lnTo>
                    <a:pt x="43" y="1235"/>
                  </a:lnTo>
                  <a:lnTo>
                    <a:pt x="45" y="1235"/>
                  </a:lnTo>
                  <a:close/>
                  <a:moveTo>
                    <a:pt x="22" y="1233"/>
                  </a:moveTo>
                  <a:lnTo>
                    <a:pt x="19" y="1233"/>
                  </a:lnTo>
                  <a:lnTo>
                    <a:pt x="22" y="1233"/>
                  </a:lnTo>
                  <a:close/>
                  <a:moveTo>
                    <a:pt x="22" y="1231"/>
                  </a:moveTo>
                  <a:lnTo>
                    <a:pt x="19" y="1231"/>
                  </a:lnTo>
                  <a:lnTo>
                    <a:pt x="22" y="1231"/>
                  </a:lnTo>
                  <a:close/>
                  <a:moveTo>
                    <a:pt x="36" y="1231"/>
                  </a:moveTo>
                  <a:lnTo>
                    <a:pt x="38" y="1231"/>
                  </a:lnTo>
                  <a:lnTo>
                    <a:pt x="36" y="1231"/>
                  </a:lnTo>
                  <a:close/>
                  <a:moveTo>
                    <a:pt x="200" y="1228"/>
                  </a:moveTo>
                  <a:lnTo>
                    <a:pt x="200" y="1231"/>
                  </a:lnTo>
                  <a:lnTo>
                    <a:pt x="200" y="1228"/>
                  </a:lnTo>
                  <a:close/>
                  <a:moveTo>
                    <a:pt x="200" y="1231"/>
                  </a:moveTo>
                  <a:lnTo>
                    <a:pt x="200" y="1228"/>
                  </a:lnTo>
                  <a:lnTo>
                    <a:pt x="200" y="1231"/>
                  </a:lnTo>
                  <a:close/>
                  <a:moveTo>
                    <a:pt x="204" y="1228"/>
                  </a:moveTo>
                  <a:lnTo>
                    <a:pt x="207" y="1228"/>
                  </a:lnTo>
                  <a:lnTo>
                    <a:pt x="204" y="1228"/>
                  </a:lnTo>
                  <a:lnTo>
                    <a:pt x="207" y="1228"/>
                  </a:lnTo>
                  <a:lnTo>
                    <a:pt x="204" y="1228"/>
                  </a:lnTo>
                  <a:close/>
                  <a:moveTo>
                    <a:pt x="19" y="1228"/>
                  </a:moveTo>
                  <a:lnTo>
                    <a:pt x="17" y="1228"/>
                  </a:lnTo>
                  <a:lnTo>
                    <a:pt x="19" y="1228"/>
                  </a:lnTo>
                  <a:close/>
                  <a:moveTo>
                    <a:pt x="22" y="1226"/>
                  </a:moveTo>
                  <a:lnTo>
                    <a:pt x="22" y="1228"/>
                  </a:lnTo>
                  <a:lnTo>
                    <a:pt x="22" y="1226"/>
                  </a:lnTo>
                  <a:close/>
                  <a:moveTo>
                    <a:pt x="24" y="1226"/>
                  </a:moveTo>
                  <a:lnTo>
                    <a:pt x="24" y="1228"/>
                  </a:lnTo>
                  <a:lnTo>
                    <a:pt x="24" y="1226"/>
                  </a:lnTo>
                  <a:close/>
                  <a:moveTo>
                    <a:pt x="19" y="1226"/>
                  </a:moveTo>
                  <a:lnTo>
                    <a:pt x="22" y="1226"/>
                  </a:lnTo>
                  <a:lnTo>
                    <a:pt x="19" y="1226"/>
                  </a:lnTo>
                  <a:close/>
                  <a:moveTo>
                    <a:pt x="24" y="1223"/>
                  </a:moveTo>
                  <a:lnTo>
                    <a:pt x="24" y="1226"/>
                  </a:lnTo>
                  <a:lnTo>
                    <a:pt x="24" y="1223"/>
                  </a:lnTo>
                  <a:close/>
                  <a:moveTo>
                    <a:pt x="29" y="1223"/>
                  </a:moveTo>
                  <a:lnTo>
                    <a:pt x="26" y="1223"/>
                  </a:lnTo>
                  <a:lnTo>
                    <a:pt x="29" y="1223"/>
                  </a:lnTo>
                  <a:close/>
                  <a:moveTo>
                    <a:pt x="41" y="1223"/>
                  </a:moveTo>
                  <a:lnTo>
                    <a:pt x="41" y="1221"/>
                  </a:lnTo>
                  <a:lnTo>
                    <a:pt x="41" y="1223"/>
                  </a:lnTo>
                  <a:close/>
                  <a:moveTo>
                    <a:pt x="17" y="1221"/>
                  </a:moveTo>
                  <a:lnTo>
                    <a:pt x="17" y="1219"/>
                  </a:lnTo>
                  <a:lnTo>
                    <a:pt x="17" y="1221"/>
                  </a:lnTo>
                  <a:close/>
                  <a:moveTo>
                    <a:pt x="17" y="1219"/>
                  </a:moveTo>
                  <a:lnTo>
                    <a:pt x="19" y="1219"/>
                  </a:lnTo>
                  <a:lnTo>
                    <a:pt x="17" y="1219"/>
                  </a:lnTo>
                  <a:close/>
                  <a:moveTo>
                    <a:pt x="22" y="1216"/>
                  </a:moveTo>
                  <a:lnTo>
                    <a:pt x="22" y="1219"/>
                  </a:lnTo>
                  <a:lnTo>
                    <a:pt x="22" y="1216"/>
                  </a:lnTo>
                  <a:close/>
                  <a:moveTo>
                    <a:pt x="24" y="1216"/>
                  </a:moveTo>
                  <a:lnTo>
                    <a:pt x="22" y="1216"/>
                  </a:lnTo>
                  <a:lnTo>
                    <a:pt x="24" y="1216"/>
                  </a:lnTo>
                  <a:close/>
                  <a:moveTo>
                    <a:pt x="24" y="1216"/>
                  </a:moveTo>
                  <a:lnTo>
                    <a:pt x="22" y="1216"/>
                  </a:lnTo>
                  <a:lnTo>
                    <a:pt x="24" y="1216"/>
                  </a:lnTo>
                  <a:close/>
                  <a:moveTo>
                    <a:pt x="24" y="1216"/>
                  </a:moveTo>
                  <a:lnTo>
                    <a:pt x="22" y="1216"/>
                  </a:lnTo>
                  <a:lnTo>
                    <a:pt x="24" y="1216"/>
                  </a:lnTo>
                  <a:close/>
                  <a:moveTo>
                    <a:pt x="24" y="1216"/>
                  </a:moveTo>
                  <a:lnTo>
                    <a:pt x="26" y="1216"/>
                  </a:lnTo>
                  <a:lnTo>
                    <a:pt x="24" y="1216"/>
                  </a:lnTo>
                  <a:close/>
                  <a:moveTo>
                    <a:pt x="26" y="1216"/>
                  </a:moveTo>
                  <a:lnTo>
                    <a:pt x="24" y="1216"/>
                  </a:lnTo>
                  <a:lnTo>
                    <a:pt x="26" y="1216"/>
                  </a:lnTo>
                  <a:close/>
                  <a:moveTo>
                    <a:pt x="26" y="1216"/>
                  </a:moveTo>
                  <a:lnTo>
                    <a:pt x="24" y="1216"/>
                  </a:lnTo>
                  <a:lnTo>
                    <a:pt x="26" y="1216"/>
                  </a:lnTo>
                  <a:close/>
                  <a:moveTo>
                    <a:pt x="43" y="1214"/>
                  </a:moveTo>
                  <a:lnTo>
                    <a:pt x="41" y="1214"/>
                  </a:lnTo>
                  <a:lnTo>
                    <a:pt x="43" y="1214"/>
                  </a:lnTo>
                  <a:close/>
                  <a:moveTo>
                    <a:pt x="36" y="1214"/>
                  </a:moveTo>
                  <a:lnTo>
                    <a:pt x="36" y="1212"/>
                  </a:lnTo>
                  <a:lnTo>
                    <a:pt x="36" y="1214"/>
                  </a:lnTo>
                  <a:close/>
                  <a:moveTo>
                    <a:pt x="29" y="1212"/>
                  </a:moveTo>
                  <a:lnTo>
                    <a:pt x="29" y="1214"/>
                  </a:lnTo>
                  <a:lnTo>
                    <a:pt x="29" y="1212"/>
                  </a:lnTo>
                  <a:close/>
                  <a:moveTo>
                    <a:pt x="17" y="1214"/>
                  </a:moveTo>
                  <a:lnTo>
                    <a:pt x="17" y="1212"/>
                  </a:lnTo>
                  <a:lnTo>
                    <a:pt x="17" y="1214"/>
                  </a:lnTo>
                  <a:close/>
                  <a:moveTo>
                    <a:pt x="29" y="1212"/>
                  </a:moveTo>
                  <a:lnTo>
                    <a:pt x="26" y="1212"/>
                  </a:lnTo>
                  <a:lnTo>
                    <a:pt x="29" y="1212"/>
                  </a:lnTo>
                  <a:close/>
                  <a:moveTo>
                    <a:pt x="29" y="1212"/>
                  </a:moveTo>
                  <a:lnTo>
                    <a:pt x="26" y="1212"/>
                  </a:lnTo>
                  <a:lnTo>
                    <a:pt x="29" y="1212"/>
                  </a:lnTo>
                  <a:close/>
                  <a:moveTo>
                    <a:pt x="29" y="1209"/>
                  </a:moveTo>
                  <a:lnTo>
                    <a:pt x="26" y="1209"/>
                  </a:lnTo>
                  <a:lnTo>
                    <a:pt x="29" y="1209"/>
                  </a:lnTo>
                  <a:close/>
                  <a:moveTo>
                    <a:pt x="17" y="1209"/>
                  </a:moveTo>
                  <a:lnTo>
                    <a:pt x="15" y="1209"/>
                  </a:lnTo>
                  <a:lnTo>
                    <a:pt x="17" y="1209"/>
                  </a:lnTo>
                  <a:close/>
                  <a:moveTo>
                    <a:pt x="29" y="1207"/>
                  </a:moveTo>
                  <a:lnTo>
                    <a:pt x="26" y="1207"/>
                  </a:lnTo>
                  <a:lnTo>
                    <a:pt x="29" y="1207"/>
                  </a:lnTo>
                  <a:close/>
                  <a:moveTo>
                    <a:pt x="24" y="1207"/>
                  </a:moveTo>
                  <a:lnTo>
                    <a:pt x="22" y="1207"/>
                  </a:lnTo>
                  <a:lnTo>
                    <a:pt x="24" y="1207"/>
                  </a:lnTo>
                  <a:close/>
                  <a:moveTo>
                    <a:pt x="22" y="1207"/>
                  </a:moveTo>
                  <a:lnTo>
                    <a:pt x="22" y="1204"/>
                  </a:lnTo>
                  <a:lnTo>
                    <a:pt x="22" y="1207"/>
                  </a:lnTo>
                  <a:close/>
                  <a:moveTo>
                    <a:pt x="17" y="1204"/>
                  </a:moveTo>
                  <a:lnTo>
                    <a:pt x="15" y="1204"/>
                  </a:lnTo>
                  <a:lnTo>
                    <a:pt x="17" y="1204"/>
                  </a:lnTo>
                  <a:close/>
                  <a:moveTo>
                    <a:pt x="60" y="1202"/>
                  </a:moveTo>
                  <a:lnTo>
                    <a:pt x="57" y="1202"/>
                  </a:lnTo>
                  <a:lnTo>
                    <a:pt x="60" y="1202"/>
                  </a:lnTo>
                  <a:close/>
                  <a:moveTo>
                    <a:pt x="15" y="1202"/>
                  </a:moveTo>
                  <a:lnTo>
                    <a:pt x="17" y="1202"/>
                  </a:lnTo>
                  <a:lnTo>
                    <a:pt x="15" y="1202"/>
                  </a:lnTo>
                  <a:close/>
                  <a:moveTo>
                    <a:pt x="15" y="1200"/>
                  </a:moveTo>
                  <a:lnTo>
                    <a:pt x="15" y="1202"/>
                  </a:lnTo>
                  <a:lnTo>
                    <a:pt x="15" y="1200"/>
                  </a:lnTo>
                  <a:close/>
                  <a:moveTo>
                    <a:pt x="19" y="1200"/>
                  </a:moveTo>
                  <a:lnTo>
                    <a:pt x="19" y="1202"/>
                  </a:lnTo>
                  <a:lnTo>
                    <a:pt x="19" y="1200"/>
                  </a:lnTo>
                  <a:close/>
                  <a:moveTo>
                    <a:pt x="15" y="1200"/>
                  </a:moveTo>
                  <a:lnTo>
                    <a:pt x="12" y="1200"/>
                  </a:lnTo>
                  <a:lnTo>
                    <a:pt x="15" y="1200"/>
                  </a:lnTo>
                  <a:close/>
                  <a:moveTo>
                    <a:pt x="15" y="1197"/>
                  </a:moveTo>
                  <a:lnTo>
                    <a:pt x="15" y="1200"/>
                  </a:lnTo>
                  <a:lnTo>
                    <a:pt x="15" y="1197"/>
                  </a:lnTo>
                  <a:close/>
                  <a:moveTo>
                    <a:pt x="19" y="1197"/>
                  </a:moveTo>
                  <a:lnTo>
                    <a:pt x="19" y="1200"/>
                  </a:lnTo>
                  <a:lnTo>
                    <a:pt x="19" y="1197"/>
                  </a:lnTo>
                  <a:close/>
                  <a:moveTo>
                    <a:pt x="15" y="1200"/>
                  </a:moveTo>
                  <a:lnTo>
                    <a:pt x="15" y="1197"/>
                  </a:lnTo>
                  <a:lnTo>
                    <a:pt x="15" y="1200"/>
                  </a:lnTo>
                  <a:close/>
                  <a:moveTo>
                    <a:pt x="15" y="1197"/>
                  </a:moveTo>
                  <a:lnTo>
                    <a:pt x="12" y="1197"/>
                  </a:lnTo>
                  <a:lnTo>
                    <a:pt x="15" y="1197"/>
                  </a:lnTo>
                  <a:close/>
                  <a:moveTo>
                    <a:pt x="19" y="1197"/>
                  </a:moveTo>
                  <a:lnTo>
                    <a:pt x="17" y="1197"/>
                  </a:lnTo>
                  <a:lnTo>
                    <a:pt x="19" y="1197"/>
                  </a:lnTo>
                  <a:close/>
                  <a:moveTo>
                    <a:pt x="15" y="1195"/>
                  </a:moveTo>
                  <a:lnTo>
                    <a:pt x="12" y="1195"/>
                  </a:lnTo>
                  <a:lnTo>
                    <a:pt x="15" y="1195"/>
                  </a:lnTo>
                  <a:close/>
                  <a:moveTo>
                    <a:pt x="12" y="1195"/>
                  </a:moveTo>
                  <a:lnTo>
                    <a:pt x="10" y="1195"/>
                  </a:lnTo>
                  <a:lnTo>
                    <a:pt x="12" y="1195"/>
                  </a:lnTo>
                  <a:close/>
                  <a:moveTo>
                    <a:pt x="15" y="1195"/>
                  </a:moveTo>
                  <a:lnTo>
                    <a:pt x="15" y="1193"/>
                  </a:lnTo>
                  <a:lnTo>
                    <a:pt x="15" y="1195"/>
                  </a:lnTo>
                  <a:close/>
                  <a:moveTo>
                    <a:pt x="17" y="1193"/>
                  </a:moveTo>
                  <a:lnTo>
                    <a:pt x="15" y="1193"/>
                  </a:lnTo>
                  <a:lnTo>
                    <a:pt x="17" y="1193"/>
                  </a:lnTo>
                  <a:close/>
                  <a:moveTo>
                    <a:pt x="10" y="1190"/>
                  </a:moveTo>
                  <a:lnTo>
                    <a:pt x="10" y="1193"/>
                  </a:lnTo>
                  <a:lnTo>
                    <a:pt x="10" y="1190"/>
                  </a:lnTo>
                  <a:lnTo>
                    <a:pt x="10" y="1193"/>
                  </a:lnTo>
                  <a:lnTo>
                    <a:pt x="10" y="1190"/>
                  </a:lnTo>
                  <a:close/>
                  <a:moveTo>
                    <a:pt x="17" y="1190"/>
                  </a:moveTo>
                  <a:lnTo>
                    <a:pt x="15" y="1190"/>
                  </a:lnTo>
                  <a:lnTo>
                    <a:pt x="17" y="1190"/>
                  </a:lnTo>
                  <a:close/>
                  <a:moveTo>
                    <a:pt x="10" y="1190"/>
                  </a:moveTo>
                  <a:lnTo>
                    <a:pt x="7" y="1190"/>
                  </a:lnTo>
                  <a:lnTo>
                    <a:pt x="10" y="1190"/>
                  </a:lnTo>
                  <a:close/>
                  <a:moveTo>
                    <a:pt x="12" y="1190"/>
                  </a:moveTo>
                  <a:lnTo>
                    <a:pt x="12" y="1188"/>
                  </a:lnTo>
                  <a:lnTo>
                    <a:pt x="12" y="1190"/>
                  </a:lnTo>
                  <a:close/>
                  <a:moveTo>
                    <a:pt x="10" y="1188"/>
                  </a:moveTo>
                  <a:lnTo>
                    <a:pt x="7" y="1188"/>
                  </a:lnTo>
                  <a:lnTo>
                    <a:pt x="10" y="1188"/>
                  </a:lnTo>
                  <a:close/>
                  <a:moveTo>
                    <a:pt x="15" y="1185"/>
                  </a:moveTo>
                  <a:lnTo>
                    <a:pt x="15" y="1188"/>
                  </a:lnTo>
                  <a:lnTo>
                    <a:pt x="15" y="1185"/>
                  </a:lnTo>
                  <a:close/>
                  <a:moveTo>
                    <a:pt x="22" y="1185"/>
                  </a:moveTo>
                  <a:lnTo>
                    <a:pt x="19" y="1185"/>
                  </a:lnTo>
                  <a:lnTo>
                    <a:pt x="22" y="1185"/>
                  </a:lnTo>
                  <a:close/>
                  <a:moveTo>
                    <a:pt x="10" y="1185"/>
                  </a:moveTo>
                  <a:lnTo>
                    <a:pt x="7" y="1185"/>
                  </a:lnTo>
                  <a:lnTo>
                    <a:pt x="10" y="1185"/>
                  </a:lnTo>
                  <a:close/>
                  <a:moveTo>
                    <a:pt x="7" y="1185"/>
                  </a:moveTo>
                  <a:lnTo>
                    <a:pt x="7" y="1183"/>
                  </a:lnTo>
                  <a:lnTo>
                    <a:pt x="7" y="1185"/>
                  </a:lnTo>
                  <a:close/>
                  <a:moveTo>
                    <a:pt x="12" y="1183"/>
                  </a:moveTo>
                  <a:lnTo>
                    <a:pt x="12" y="1181"/>
                  </a:lnTo>
                  <a:lnTo>
                    <a:pt x="12" y="1183"/>
                  </a:lnTo>
                  <a:close/>
                  <a:moveTo>
                    <a:pt x="17" y="1181"/>
                  </a:moveTo>
                  <a:lnTo>
                    <a:pt x="17" y="1183"/>
                  </a:lnTo>
                  <a:lnTo>
                    <a:pt x="17" y="1181"/>
                  </a:lnTo>
                  <a:close/>
                  <a:moveTo>
                    <a:pt x="15" y="1181"/>
                  </a:moveTo>
                  <a:lnTo>
                    <a:pt x="12" y="1181"/>
                  </a:lnTo>
                  <a:lnTo>
                    <a:pt x="15" y="1181"/>
                  </a:lnTo>
                  <a:close/>
                  <a:moveTo>
                    <a:pt x="12" y="1181"/>
                  </a:moveTo>
                  <a:lnTo>
                    <a:pt x="10" y="1181"/>
                  </a:lnTo>
                  <a:lnTo>
                    <a:pt x="12" y="1181"/>
                  </a:lnTo>
                  <a:close/>
                  <a:moveTo>
                    <a:pt x="17" y="1181"/>
                  </a:moveTo>
                  <a:lnTo>
                    <a:pt x="15" y="1181"/>
                  </a:lnTo>
                  <a:lnTo>
                    <a:pt x="17" y="1181"/>
                  </a:lnTo>
                  <a:close/>
                  <a:moveTo>
                    <a:pt x="17" y="1181"/>
                  </a:moveTo>
                  <a:lnTo>
                    <a:pt x="15" y="1181"/>
                  </a:lnTo>
                  <a:lnTo>
                    <a:pt x="17" y="1181"/>
                  </a:lnTo>
                  <a:close/>
                  <a:moveTo>
                    <a:pt x="10" y="1178"/>
                  </a:moveTo>
                  <a:lnTo>
                    <a:pt x="10" y="1181"/>
                  </a:lnTo>
                  <a:lnTo>
                    <a:pt x="10" y="1178"/>
                  </a:lnTo>
                  <a:close/>
                  <a:moveTo>
                    <a:pt x="10" y="1181"/>
                  </a:moveTo>
                  <a:lnTo>
                    <a:pt x="10" y="1178"/>
                  </a:lnTo>
                  <a:lnTo>
                    <a:pt x="10" y="1181"/>
                  </a:lnTo>
                  <a:close/>
                  <a:moveTo>
                    <a:pt x="7" y="1181"/>
                  </a:moveTo>
                  <a:lnTo>
                    <a:pt x="7" y="1178"/>
                  </a:lnTo>
                  <a:lnTo>
                    <a:pt x="7" y="1181"/>
                  </a:lnTo>
                  <a:close/>
                  <a:moveTo>
                    <a:pt x="5" y="1178"/>
                  </a:moveTo>
                  <a:lnTo>
                    <a:pt x="5" y="1181"/>
                  </a:lnTo>
                  <a:lnTo>
                    <a:pt x="5" y="1178"/>
                  </a:lnTo>
                  <a:close/>
                  <a:moveTo>
                    <a:pt x="10" y="1178"/>
                  </a:moveTo>
                  <a:lnTo>
                    <a:pt x="10" y="1181"/>
                  </a:lnTo>
                  <a:lnTo>
                    <a:pt x="10" y="1178"/>
                  </a:lnTo>
                  <a:close/>
                  <a:moveTo>
                    <a:pt x="5" y="1178"/>
                  </a:moveTo>
                  <a:lnTo>
                    <a:pt x="5" y="1181"/>
                  </a:lnTo>
                  <a:lnTo>
                    <a:pt x="5" y="1178"/>
                  </a:lnTo>
                  <a:close/>
                  <a:moveTo>
                    <a:pt x="7" y="1181"/>
                  </a:moveTo>
                  <a:lnTo>
                    <a:pt x="7" y="1178"/>
                  </a:lnTo>
                  <a:lnTo>
                    <a:pt x="7" y="1181"/>
                  </a:lnTo>
                  <a:close/>
                  <a:moveTo>
                    <a:pt x="12" y="1178"/>
                  </a:moveTo>
                  <a:lnTo>
                    <a:pt x="10" y="1178"/>
                  </a:lnTo>
                  <a:lnTo>
                    <a:pt x="12" y="1178"/>
                  </a:lnTo>
                  <a:close/>
                  <a:moveTo>
                    <a:pt x="15" y="1178"/>
                  </a:moveTo>
                  <a:lnTo>
                    <a:pt x="12" y="1178"/>
                  </a:lnTo>
                  <a:lnTo>
                    <a:pt x="15" y="1178"/>
                  </a:lnTo>
                  <a:close/>
                  <a:moveTo>
                    <a:pt x="24" y="1176"/>
                  </a:moveTo>
                  <a:lnTo>
                    <a:pt x="24" y="1178"/>
                  </a:lnTo>
                  <a:lnTo>
                    <a:pt x="24" y="1176"/>
                  </a:lnTo>
                  <a:close/>
                  <a:moveTo>
                    <a:pt x="12" y="1176"/>
                  </a:moveTo>
                  <a:lnTo>
                    <a:pt x="10" y="1176"/>
                  </a:lnTo>
                  <a:lnTo>
                    <a:pt x="12" y="1176"/>
                  </a:lnTo>
                  <a:close/>
                  <a:moveTo>
                    <a:pt x="10" y="1176"/>
                  </a:moveTo>
                  <a:lnTo>
                    <a:pt x="10" y="1174"/>
                  </a:lnTo>
                  <a:lnTo>
                    <a:pt x="10" y="1176"/>
                  </a:lnTo>
                  <a:close/>
                  <a:moveTo>
                    <a:pt x="7" y="1176"/>
                  </a:moveTo>
                  <a:lnTo>
                    <a:pt x="7" y="1174"/>
                  </a:lnTo>
                  <a:lnTo>
                    <a:pt x="7" y="1176"/>
                  </a:lnTo>
                  <a:close/>
                  <a:moveTo>
                    <a:pt x="15" y="1174"/>
                  </a:moveTo>
                  <a:lnTo>
                    <a:pt x="15" y="1176"/>
                  </a:lnTo>
                  <a:lnTo>
                    <a:pt x="15" y="1174"/>
                  </a:lnTo>
                  <a:close/>
                  <a:moveTo>
                    <a:pt x="12" y="1176"/>
                  </a:moveTo>
                  <a:lnTo>
                    <a:pt x="12" y="1174"/>
                  </a:lnTo>
                  <a:lnTo>
                    <a:pt x="12" y="1176"/>
                  </a:lnTo>
                  <a:close/>
                  <a:moveTo>
                    <a:pt x="12" y="1174"/>
                  </a:moveTo>
                  <a:lnTo>
                    <a:pt x="10" y="1174"/>
                  </a:lnTo>
                  <a:lnTo>
                    <a:pt x="12" y="1174"/>
                  </a:lnTo>
                  <a:close/>
                  <a:moveTo>
                    <a:pt x="12" y="1169"/>
                  </a:moveTo>
                  <a:lnTo>
                    <a:pt x="15" y="1169"/>
                  </a:lnTo>
                  <a:lnTo>
                    <a:pt x="12" y="1169"/>
                  </a:lnTo>
                  <a:close/>
                  <a:moveTo>
                    <a:pt x="3" y="1169"/>
                  </a:moveTo>
                  <a:lnTo>
                    <a:pt x="5" y="1169"/>
                  </a:lnTo>
                  <a:lnTo>
                    <a:pt x="3" y="1169"/>
                  </a:lnTo>
                  <a:close/>
                  <a:moveTo>
                    <a:pt x="5" y="1169"/>
                  </a:moveTo>
                  <a:lnTo>
                    <a:pt x="3" y="1169"/>
                  </a:lnTo>
                  <a:lnTo>
                    <a:pt x="5" y="1169"/>
                  </a:lnTo>
                  <a:close/>
                  <a:moveTo>
                    <a:pt x="17" y="1166"/>
                  </a:moveTo>
                  <a:lnTo>
                    <a:pt x="15" y="1166"/>
                  </a:lnTo>
                  <a:lnTo>
                    <a:pt x="17" y="1166"/>
                  </a:lnTo>
                  <a:close/>
                  <a:moveTo>
                    <a:pt x="5" y="1169"/>
                  </a:moveTo>
                  <a:lnTo>
                    <a:pt x="5" y="1166"/>
                  </a:lnTo>
                  <a:lnTo>
                    <a:pt x="5" y="1169"/>
                  </a:lnTo>
                  <a:close/>
                  <a:moveTo>
                    <a:pt x="3" y="1166"/>
                  </a:moveTo>
                  <a:lnTo>
                    <a:pt x="0" y="1166"/>
                  </a:lnTo>
                  <a:lnTo>
                    <a:pt x="3" y="1166"/>
                  </a:lnTo>
                  <a:close/>
                  <a:moveTo>
                    <a:pt x="15" y="1166"/>
                  </a:moveTo>
                  <a:lnTo>
                    <a:pt x="12" y="1166"/>
                  </a:lnTo>
                  <a:lnTo>
                    <a:pt x="15" y="1166"/>
                  </a:lnTo>
                  <a:close/>
                  <a:moveTo>
                    <a:pt x="10" y="1166"/>
                  </a:moveTo>
                  <a:lnTo>
                    <a:pt x="10" y="1164"/>
                  </a:lnTo>
                  <a:lnTo>
                    <a:pt x="10" y="1166"/>
                  </a:lnTo>
                  <a:close/>
                  <a:moveTo>
                    <a:pt x="10" y="1166"/>
                  </a:moveTo>
                  <a:lnTo>
                    <a:pt x="10" y="1164"/>
                  </a:lnTo>
                  <a:lnTo>
                    <a:pt x="10" y="1166"/>
                  </a:lnTo>
                  <a:close/>
                  <a:moveTo>
                    <a:pt x="7" y="1166"/>
                  </a:moveTo>
                  <a:lnTo>
                    <a:pt x="7" y="1164"/>
                  </a:lnTo>
                  <a:lnTo>
                    <a:pt x="7" y="1166"/>
                  </a:lnTo>
                  <a:close/>
                  <a:moveTo>
                    <a:pt x="5" y="1164"/>
                  </a:moveTo>
                  <a:lnTo>
                    <a:pt x="5" y="1162"/>
                  </a:lnTo>
                  <a:lnTo>
                    <a:pt x="5" y="1164"/>
                  </a:lnTo>
                  <a:close/>
                  <a:moveTo>
                    <a:pt x="10" y="1162"/>
                  </a:moveTo>
                  <a:lnTo>
                    <a:pt x="10" y="1164"/>
                  </a:lnTo>
                  <a:lnTo>
                    <a:pt x="10" y="1162"/>
                  </a:lnTo>
                  <a:close/>
                  <a:moveTo>
                    <a:pt x="7" y="1162"/>
                  </a:moveTo>
                  <a:lnTo>
                    <a:pt x="5" y="1162"/>
                  </a:lnTo>
                  <a:lnTo>
                    <a:pt x="7" y="1162"/>
                  </a:lnTo>
                  <a:close/>
                  <a:moveTo>
                    <a:pt x="10" y="1162"/>
                  </a:moveTo>
                  <a:lnTo>
                    <a:pt x="7" y="1162"/>
                  </a:lnTo>
                  <a:lnTo>
                    <a:pt x="10" y="1162"/>
                  </a:lnTo>
                  <a:close/>
                  <a:moveTo>
                    <a:pt x="15" y="1157"/>
                  </a:moveTo>
                  <a:lnTo>
                    <a:pt x="15" y="1159"/>
                  </a:lnTo>
                  <a:lnTo>
                    <a:pt x="15" y="1157"/>
                  </a:lnTo>
                  <a:close/>
                  <a:moveTo>
                    <a:pt x="15" y="1157"/>
                  </a:moveTo>
                  <a:lnTo>
                    <a:pt x="15" y="1159"/>
                  </a:lnTo>
                  <a:lnTo>
                    <a:pt x="15" y="1157"/>
                  </a:lnTo>
                  <a:close/>
                  <a:moveTo>
                    <a:pt x="10" y="1157"/>
                  </a:moveTo>
                  <a:lnTo>
                    <a:pt x="7" y="1157"/>
                  </a:lnTo>
                  <a:lnTo>
                    <a:pt x="10" y="1157"/>
                  </a:lnTo>
                  <a:close/>
                  <a:moveTo>
                    <a:pt x="15" y="1155"/>
                  </a:moveTo>
                  <a:lnTo>
                    <a:pt x="15" y="1157"/>
                  </a:lnTo>
                  <a:lnTo>
                    <a:pt x="15" y="1155"/>
                  </a:lnTo>
                  <a:close/>
                  <a:moveTo>
                    <a:pt x="7" y="1155"/>
                  </a:moveTo>
                  <a:lnTo>
                    <a:pt x="7" y="1152"/>
                  </a:lnTo>
                  <a:lnTo>
                    <a:pt x="7" y="1155"/>
                  </a:lnTo>
                  <a:close/>
                  <a:moveTo>
                    <a:pt x="15" y="1152"/>
                  </a:moveTo>
                  <a:lnTo>
                    <a:pt x="15" y="1155"/>
                  </a:lnTo>
                  <a:lnTo>
                    <a:pt x="15" y="1152"/>
                  </a:lnTo>
                  <a:close/>
                  <a:moveTo>
                    <a:pt x="10" y="1155"/>
                  </a:moveTo>
                  <a:lnTo>
                    <a:pt x="10" y="1152"/>
                  </a:lnTo>
                  <a:lnTo>
                    <a:pt x="10" y="1155"/>
                  </a:lnTo>
                  <a:close/>
                  <a:moveTo>
                    <a:pt x="7" y="1152"/>
                  </a:moveTo>
                  <a:lnTo>
                    <a:pt x="7" y="1155"/>
                  </a:lnTo>
                  <a:lnTo>
                    <a:pt x="7" y="1152"/>
                  </a:lnTo>
                  <a:close/>
                  <a:moveTo>
                    <a:pt x="5" y="1152"/>
                  </a:moveTo>
                  <a:lnTo>
                    <a:pt x="3" y="1152"/>
                  </a:lnTo>
                  <a:lnTo>
                    <a:pt x="5" y="1152"/>
                  </a:lnTo>
                  <a:close/>
                  <a:moveTo>
                    <a:pt x="7" y="1152"/>
                  </a:moveTo>
                  <a:lnTo>
                    <a:pt x="7" y="1150"/>
                  </a:lnTo>
                  <a:lnTo>
                    <a:pt x="7" y="1152"/>
                  </a:lnTo>
                  <a:close/>
                  <a:moveTo>
                    <a:pt x="29" y="1150"/>
                  </a:moveTo>
                  <a:lnTo>
                    <a:pt x="29" y="1147"/>
                  </a:lnTo>
                  <a:lnTo>
                    <a:pt x="29" y="1150"/>
                  </a:lnTo>
                  <a:close/>
                  <a:moveTo>
                    <a:pt x="12" y="1147"/>
                  </a:moveTo>
                  <a:lnTo>
                    <a:pt x="12" y="1150"/>
                  </a:lnTo>
                  <a:lnTo>
                    <a:pt x="12" y="1147"/>
                  </a:lnTo>
                  <a:close/>
                  <a:moveTo>
                    <a:pt x="15" y="1147"/>
                  </a:moveTo>
                  <a:lnTo>
                    <a:pt x="12" y="1147"/>
                  </a:lnTo>
                  <a:lnTo>
                    <a:pt x="15" y="1147"/>
                  </a:lnTo>
                  <a:close/>
                  <a:moveTo>
                    <a:pt x="7" y="1145"/>
                  </a:moveTo>
                  <a:lnTo>
                    <a:pt x="5" y="1145"/>
                  </a:lnTo>
                  <a:lnTo>
                    <a:pt x="7" y="1145"/>
                  </a:lnTo>
                  <a:close/>
                  <a:moveTo>
                    <a:pt x="15" y="1145"/>
                  </a:moveTo>
                  <a:lnTo>
                    <a:pt x="12" y="1145"/>
                  </a:lnTo>
                  <a:lnTo>
                    <a:pt x="12" y="1147"/>
                  </a:lnTo>
                  <a:lnTo>
                    <a:pt x="12" y="1145"/>
                  </a:lnTo>
                  <a:lnTo>
                    <a:pt x="15" y="1145"/>
                  </a:lnTo>
                  <a:close/>
                  <a:moveTo>
                    <a:pt x="34" y="1143"/>
                  </a:moveTo>
                  <a:lnTo>
                    <a:pt x="34" y="1145"/>
                  </a:lnTo>
                  <a:lnTo>
                    <a:pt x="34" y="1143"/>
                  </a:lnTo>
                  <a:close/>
                  <a:moveTo>
                    <a:pt x="17" y="1143"/>
                  </a:moveTo>
                  <a:lnTo>
                    <a:pt x="17" y="1140"/>
                  </a:lnTo>
                  <a:lnTo>
                    <a:pt x="17" y="1143"/>
                  </a:lnTo>
                  <a:close/>
                  <a:moveTo>
                    <a:pt x="12" y="1143"/>
                  </a:moveTo>
                  <a:lnTo>
                    <a:pt x="12" y="1140"/>
                  </a:lnTo>
                  <a:lnTo>
                    <a:pt x="12" y="1143"/>
                  </a:lnTo>
                  <a:close/>
                  <a:moveTo>
                    <a:pt x="22" y="1143"/>
                  </a:moveTo>
                  <a:lnTo>
                    <a:pt x="22" y="1140"/>
                  </a:lnTo>
                  <a:lnTo>
                    <a:pt x="22" y="1143"/>
                  </a:lnTo>
                  <a:close/>
                  <a:moveTo>
                    <a:pt x="17" y="1140"/>
                  </a:moveTo>
                  <a:lnTo>
                    <a:pt x="17" y="1143"/>
                  </a:lnTo>
                  <a:lnTo>
                    <a:pt x="17" y="1140"/>
                  </a:lnTo>
                  <a:close/>
                  <a:moveTo>
                    <a:pt x="17" y="1138"/>
                  </a:moveTo>
                  <a:lnTo>
                    <a:pt x="15" y="1138"/>
                  </a:lnTo>
                  <a:lnTo>
                    <a:pt x="17" y="1138"/>
                  </a:lnTo>
                  <a:close/>
                  <a:moveTo>
                    <a:pt x="17" y="1138"/>
                  </a:moveTo>
                  <a:lnTo>
                    <a:pt x="19" y="1138"/>
                  </a:lnTo>
                  <a:lnTo>
                    <a:pt x="17" y="1138"/>
                  </a:lnTo>
                  <a:close/>
                  <a:moveTo>
                    <a:pt x="5" y="1138"/>
                  </a:moveTo>
                  <a:lnTo>
                    <a:pt x="7" y="1138"/>
                  </a:lnTo>
                  <a:lnTo>
                    <a:pt x="5" y="1138"/>
                  </a:lnTo>
                  <a:close/>
                  <a:moveTo>
                    <a:pt x="12" y="1138"/>
                  </a:moveTo>
                  <a:lnTo>
                    <a:pt x="12" y="1136"/>
                  </a:lnTo>
                  <a:lnTo>
                    <a:pt x="12" y="1138"/>
                  </a:lnTo>
                  <a:close/>
                  <a:moveTo>
                    <a:pt x="15" y="1138"/>
                  </a:moveTo>
                  <a:lnTo>
                    <a:pt x="15" y="1136"/>
                  </a:lnTo>
                  <a:lnTo>
                    <a:pt x="15" y="1138"/>
                  </a:lnTo>
                  <a:close/>
                  <a:moveTo>
                    <a:pt x="12" y="1136"/>
                  </a:moveTo>
                  <a:lnTo>
                    <a:pt x="12" y="1138"/>
                  </a:lnTo>
                  <a:lnTo>
                    <a:pt x="12" y="1136"/>
                  </a:lnTo>
                  <a:close/>
                  <a:moveTo>
                    <a:pt x="12" y="1136"/>
                  </a:moveTo>
                  <a:lnTo>
                    <a:pt x="12" y="1138"/>
                  </a:lnTo>
                  <a:lnTo>
                    <a:pt x="12" y="1136"/>
                  </a:lnTo>
                  <a:close/>
                  <a:moveTo>
                    <a:pt x="7" y="1136"/>
                  </a:moveTo>
                  <a:lnTo>
                    <a:pt x="7" y="1138"/>
                  </a:lnTo>
                  <a:lnTo>
                    <a:pt x="7" y="1136"/>
                  </a:lnTo>
                  <a:close/>
                  <a:moveTo>
                    <a:pt x="26" y="1136"/>
                  </a:moveTo>
                  <a:lnTo>
                    <a:pt x="24" y="1136"/>
                  </a:lnTo>
                  <a:lnTo>
                    <a:pt x="26" y="1136"/>
                  </a:lnTo>
                  <a:close/>
                  <a:moveTo>
                    <a:pt x="12" y="1136"/>
                  </a:moveTo>
                  <a:lnTo>
                    <a:pt x="15" y="1136"/>
                  </a:lnTo>
                  <a:lnTo>
                    <a:pt x="12" y="1136"/>
                  </a:lnTo>
                  <a:close/>
                  <a:moveTo>
                    <a:pt x="24" y="1136"/>
                  </a:moveTo>
                  <a:lnTo>
                    <a:pt x="22" y="1136"/>
                  </a:lnTo>
                  <a:lnTo>
                    <a:pt x="24" y="1136"/>
                  </a:lnTo>
                  <a:close/>
                  <a:moveTo>
                    <a:pt x="22" y="1136"/>
                  </a:moveTo>
                  <a:lnTo>
                    <a:pt x="19" y="1136"/>
                  </a:lnTo>
                  <a:lnTo>
                    <a:pt x="22" y="1133"/>
                  </a:lnTo>
                  <a:lnTo>
                    <a:pt x="19" y="1136"/>
                  </a:lnTo>
                  <a:lnTo>
                    <a:pt x="22" y="1136"/>
                  </a:lnTo>
                  <a:close/>
                  <a:moveTo>
                    <a:pt x="10" y="1133"/>
                  </a:moveTo>
                  <a:lnTo>
                    <a:pt x="12" y="1136"/>
                  </a:lnTo>
                  <a:lnTo>
                    <a:pt x="10" y="1136"/>
                  </a:lnTo>
                  <a:lnTo>
                    <a:pt x="10" y="1133"/>
                  </a:lnTo>
                  <a:close/>
                  <a:moveTo>
                    <a:pt x="12" y="1133"/>
                  </a:moveTo>
                  <a:lnTo>
                    <a:pt x="12" y="1136"/>
                  </a:lnTo>
                  <a:lnTo>
                    <a:pt x="12" y="1133"/>
                  </a:lnTo>
                  <a:close/>
                  <a:moveTo>
                    <a:pt x="19" y="1136"/>
                  </a:moveTo>
                  <a:lnTo>
                    <a:pt x="19" y="1133"/>
                  </a:lnTo>
                  <a:lnTo>
                    <a:pt x="19" y="1136"/>
                  </a:lnTo>
                  <a:close/>
                  <a:moveTo>
                    <a:pt x="12" y="1136"/>
                  </a:moveTo>
                  <a:lnTo>
                    <a:pt x="12" y="1133"/>
                  </a:lnTo>
                  <a:lnTo>
                    <a:pt x="12" y="1136"/>
                  </a:lnTo>
                  <a:close/>
                  <a:moveTo>
                    <a:pt x="15" y="1133"/>
                  </a:moveTo>
                  <a:lnTo>
                    <a:pt x="15" y="1131"/>
                  </a:lnTo>
                  <a:lnTo>
                    <a:pt x="15" y="1133"/>
                  </a:lnTo>
                  <a:close/>
                  <a:moveTo>
                    <a:pt x="12" y="1128"/>
                  </a:moveTo>
                  <a:lnTo>
                    <a:pt x="10" y="1128"/>
                  </a:lnTo>
                  <a:lnTo>
                    <a:pt x="12" y="1128"/>
                  </a:lnTo>
                  <a:close/>
                  <a:moveTo>
                    <a:pt x="10" y="1128"/>
                  </a:moveTo>
                  <a:lnTo>
                    <a:pt x="12" y="1128"/>
                  </a:lnTo>
                  <a:lnTo>
                    <a:pt x="10" y="1128"/>
                  </a:lnTo>
                  <a:close/>
                  <a:moveTo>
                    <a:pt x="10" y="1128"/>
                  </a:moveTo>
                  <a:lnTo>
                    <a:pt x="10" y="1126"/>
                  </a:lnTo>
                  <a:lnTo>
                    <a:pt x="10" y="1128"/>
                  </a:lnTo>
                  <a:close/>
                  <a:moveTo>
                    <a:pt x="22" y="1121"/>
                  </a:moveTo>
                  <a:lnTo>
                    <a:pt x="19" y="1121"/>
                  </a:lnTo>
                  <a:lnTo>
                    <a:pt x="22" y="1121"/>
                  </a:lnTo>
                  <a:close/>
                  <a:moveTo>
                    <a:pt x="22" y="1119"/>
                  </a:moveTo>
                  <a:lnTo>
                    <a:pt x="19" y="1119"/>
                  </a:lnTo>
                  <a:lnTo>
                    <a:pt x="22" y="1119"/>
                  </a:lnTo>
                  <a:close/>
                  <a:moveTo>
                    <a:pt x="31" y="1119"/>
                  </a:moveTo>
                  <a:lnTo>
                    <a:pt x="29" y="1119"/>
                  </a:lnTo>
                  <a:lnTo>
                    <a:pt x="31" y="1119"/>
                  </a:lnTo>
                  <a:close/>
                  <a:moveTo>
                    <a:pt x="15" y="1119"/>
                  </a:moveTo>
                  <a:lnTo>
                    <a:pt x="15" y="1117"/>
                  </a:lnTo>
                  <a:lnTo>
                    <a:pt x="15" y="1119"/>
                  </a:lnTo>
                  <a:close/>
                  <a:moveTo>
                    <a:pt x="29" y="1112"/>
                  </a:moveTo>
                  <a:lnTo>
                    <a:pt x="26" y="1112"/>
                  </a:lnTo>
                  <a:lnTo>
                    <a:pt x="29" y="1112"/>
                  </a:lnTo>
                  <a:close/>
                  <a:moveTo>
                    <a:pt x="26" y="1107"/>
                  </a:moveTo>
                  <a:lnTo>
                    <a:pt x="26" y="1105"/>
                  </a:lnTo>
                  <a:lnTo>
                    <a:pt x="26" y="1107"/>
                  </a:lnTo>
                  <a:close/>
                  <a:moveTo>
                    <a:pt x="31" y="1105"/>
                  </a:moveTo>
                  <a:lnTo>
                    <a:pt x="29" y="1105"/>
                  </a:lnTo>
                  <a:lnTo>
                    <a:pt x="31" y="1105"/>
                  </a:lnTo>
                  <a:close/>
                  <a:moveTo>
                    <a:pt x="29" y="1105"/>
                  </a:moveTo>
                  <a:lnTo>
                    <a:pt x="29" y="1102"/>
                  </a:lnTo>
                  <a:lnTo>
                    <a:pt x="29" y="1105"/>
                  </a:lnTo>
                  <a:close/>
                  <a:moveTo>
                    <a:pt x="45" y="1102"/>
                  </a:moveTo>
                  <a:lnTo>
                    <a:pt x="45" y="1100"/>
                  </a:lnTo>
                  <a:lnTo>
                    <a:pt x="45" y="1102"/>
                  </a:lnTo>
                  <a:close/>
                  <a:moveTo>
                    <a:pt x="50" y="1100"/>
                  </a:moveTo>
                  <a:lnTo>
                    <a:pt x="48" y="1100"/>
                  </a:lnTo>
                  <a:lnTo>
                    <a:pt x="50" y="1100"/>
                  </a:lnTo>
                  <a:close/>
                  <a:moveTo>
                    <a:pt x="43" y="1100"/>
                  </a:moveTo>
                  <a:lnTo>
                    <a:pt x="45" y="1100"/>
                  </a:lnTo>
                  <a:lnTo>
                    <a:pt x="43" y="1100"/>
                  </a:lnTo>
                  <a:close/>
                  <a:moveTo>
                    <a:pt x="45" y="1100"/>
                  </a:moveTo>
                  <a:lnTo>
                    <a:pt x="43" y="1100"/>
                  </a:lnTo>
                  <a:lnTo>
                    <a:pt x="45" y="1100"/>
                  </a:lnTo>
                  <a:close/>
                  <a:moveTo>
                    <a:pt x="45" y="1100"/>
                  </a:moveTo>
                  <a:lnTo>
                    <a:pt x="43" y="1100"/>
                  </a:lnTo>
                  <a:lnTo>
                    <a:pt x="45" y="1100"/>
                  </a:lnTo>
                  <a:close/>
                  <a:moveTo>
                    <a:pt x="43" y="1100"/>
                  </a:moveTo>
                  <a:lnTo>
                    <a:pt x="45" y="1100"/>
                  </a:lnTo>
                  <a:lnTo>
                    <a:pt x="43" y="1100"/>
                  </a:lnTo>
                  <a:close/>
                  <a:moveTo>
                    <a:pt x="43" y="1098"/>
                  </a:moveTo>
                  <a:lnTo>
                    <a:pt x="41" y="1098"/>
                  </a:lnTo>
                  <a:lnTo>
                    <a:pt x="43" y="1098"/>
                  </a:lnTo>
                  <a:close/>
                  <a:moveTo>
                    <a:pt x="41" y="1098"/>
                  </a:moveTo>
                  <a:lnTo>
                    <a:pt x="38" y="1098"/>
                  </a:lnTo>
                  <a:lnTo>
                    <a:pt x="41" y="1098"/>
                  </a:lnTo>
                  <a:close/>
                  <a:moveTo>
                    <a:pt x="45" y="1090"/>
                  </a:moveTo>
                  <a:lnTo>
                    <a:pt x="43" y="1090"/>
                  </a:lnTo>
                  <a:lnTo>
                    <a:pt x="45" y="1090"/>
                  </a:lnTo>
                  <a:close/>
                  <a:moveTo>
                    <a:pt x="57" y="1090"/>
                  </a:moveTo>
                  <a:lnTo>
                    <a:pt x="55" y="1090"/>
                  </a:lnTo>
                  <a:lnTo>
                    <a:pt x="57" y="1090"/>
                  </a:lnTo>
                  <a:close/>
                  <a:moveTo>
                    <a:pt x="74" y="1088"/>
                  </a:moveTo>
                  <a:lnTo>
                    <a:pt x="71" y="1088"/>
                  </a:lnTo>
                  <a:lnTo>
                    <a:pt x="74" y="1088"/>
                  </a:lnTo>
                  <a:close/>
                  <a:moveTo>
                    <a:pt x="62" y="1088"/>
                  </a:moveTo>
                  <a:lnTo>
                    <a:pt x="60" y="1088"/>
                  </a:lnTo>
                  <a:lnTo>
                    <a:pt x="62" y="1088"/>
                  </a:lnTo>
                  <a:close/>
                  <a:moveTo>
                    <a:pt x="64" y="1088"/>
                  </a:moveTo>
                  <a:lnTo>
                    <a:pt x="64" y="1086"/>
                  </a:lnTo>
                  <a:lnTo>
                    <a:pt x="64" y="1088"/>
                  </a:lnTo>
                  <a:close/>
                  <a:moveTo>
                    <a:pt x="64" y="1086"/>
                  </a:moveTo>
                  <a:lnTo>
                    <a:pt x="64" y="1088"/>
                  </a:lnTo>
                  <a:lnTo>
                    <a:pt x="64" y="1086"/>
                  </a:lnTo>
                  <a:close/>
                  <a:moveTo>
                    <a:pt x="69" y="1088"/>
                  </a:moveTo>
                  <a:lnTo>
                    <a:pt x="69" y="1086"/>
                  </a:lnTo>
                  <a:lnTo>
                    <a:pt x="69" y="1088"/>
                  </a:lnTo>
                  <a:close/>
                  <a:moveTo>
                    <a:pt x="60" y="1086"/>
                  </a:moveTo>
                  <a:lnTo>
                    <a:pt x="57" y="1086"/>
                  </a:lnTo>
                  <a:lnTo>
                    <a:pt x="60" y="1086"/>
                  </a:lnTo>
                  <a:close/>
                  <a:moveTo>
                    <a:pt x="50" y="1083"/>
                  </a:moveTo>
                  <a:lnTo>
                    <a:pt x="50" y="1086"/>
                  </a:lnTo>
                  <a:lnTo>
                    <a:pt x="50" y="1083"/>
                  </a:lnTo>
                  <a:close/>
                  <a:moveTo>
                    <a:pt x="71" y="1081"/>
                  </a:moveTo>
                  <a:lnTo>
                    <a:pt x="69" y="1081"/>
                  </a:lnTo>
                  <a:lnTo>
                    <a:pt x="71" y="1081"/>
                  </a:lnTo>
                  <a:close/>
                  <a:moveTo>
                    <a:pt x="53" y="1081"/>
                  </a:moveTo>
                  <a:lnTo>
                    <a:pt x="55" y="1081"/>
                  </a:lnTo>
                  <a:lnTo>
                    <a:pt x="53" y="1081"/>
                  </a:lnTo>
                  <a:close/>
                  <a:moveTo>
                    <a:pt x="86" y="1081"/>
                  </a:moveTo>
                  <a:lnTo>
                    <a:pt x="86" y="1079"/>
                  </a:lnTo>
                  <a:lnTo>
                    <a:pt x="86" y="1081"/>
                  </a:lnTo>
                  <a:close/>
                  <a:moveTo>
                    <a:pt x="64" y="1079"/>
                  </a:moveTo>
                  <a:lnTo>
                    <a:pt x="62" y="1079"/>
                  </a:lnTo>
                  <a:lnTo>
                    <a:pt x="64" y="1079"/>
                  </a:lnTo>
                  <a:close/>
                  <a:moveTo>
                    <a:pt x="71" y="1079"/>
                  </a:moveTo>
                  <a:lnTo>
                    <a:pt x="71" y="1076"/>
                  </a:lnTo>
                  <a:lnTo>
                    <a:pt x="71" y="1079"/>
                  </a:lnTo>
                  <a:close/>
                  <a:moveTo>
                    <a:pt x="57" y="1079"/>
                  </a:moveTo>
                  <a:lnTo>
                    <a:pt x="57" y="1076"/>
                  </a:lnTo>
                  <a:lnTo>
                    <a:pt x="57" y="1079"/>
                  </a:lnTo>
                  <a:close/>
                  <a:moveTo>
                    <a:pt x="88" y="1076"/>
                  </a:moveTo>
                  <a:lnTo>
                    <a:pt x="88" y="1074"/>
                  </a:lnTo>
                  <a:lnTo>
                    <a:pt x="88" y="1076"/>
                  </a:lnTo>
                  <a:close/>
                  <a:moveTo>
                    <a:pt x="81" y="1074"/>
                  </a:moveTo>
                  <a:lnTo>
                    <a:pt x="79" y="1074"/>
                  </a:lnTo>
                  <a:lnTo>
                    <a:pt x="81" y="1074"/>
                  </a:lnTo>
                  <a:close/>
                  <a:moveTo>
                    <a:pt x="64" y="1074"/>
                  </a:moveTo>
                  <a:lnTo>
                    <a:pt x="62" y="1074"/>
                  </a:lnTo>
                  <a:lnTo>
                    <a:pt x="64" y="1074"/>
                  </a:lnTo>
                  <a:close/>
                  <a:moveTo>
                    <a:pt x="79" y="1071"/>
                  </a:moveTo>
                  <a:lnTo>
                    <a:pt x="76" y="1071"/>
                  </a:lnTo>
                  <a:lnTo>
                    <a:pt x="79" y="1071"/>
                  </a:lnTo>
                  <a:close/>
                  <a:moveTo>
                    <a:pt x="71" y="1071"/>
                  </a:moveTo>
                  <a:lnTo>
                    <a:pt x="69" y="1071"/>
                  </a:lnTo>
                  <a:lnTo>
                    <a:pt x="71" y="1071"/>
                  </a:lnTo>
                  <a:close/>
                  <a:moveTo>
                    <a:pt x="76" y="1071"/>
                  </a:moveTo>
                  <a:lnTo>
                    <a:pt x="74" y="1071"/>
                  </a:lnTo>
                  <a:lnTo>
                    <a:pt x="76" y="1071"/>
                  </a:lnTo>
                  <a:close/>
                  <a:moveTo>
                    <a:pt x="74" y="1071"/>
                  </a:moveTo>
                  <a:lnTo>
                    <a:pt x="71" y="1071"/>
                  </a:lnTo>
                  <a:lnTo>
                    <a:pt x="74" y="1071"/>
                  </a:lnTo>
                  <a:close/>
                  <a:moveTo>
                    <a:pt x="74" y="1071"/>
                  </a:moveTo>
                  <a:lnTo>
                    <a:pt x="76" y="1071"/>
                  </a:lnTo>
                  <a:lnTo>
                    <a:pt x="74" y="1071"/>
                  </a:lnTo>
                  <a:close/>
                  <a:moveTo>
                    <a:pt x="76" y="1069"/>
                  </a:moveTo>
                  <a:lnTo>
                    <a:pt x="74" y="1071"/>
                  </a:lnTo>
                  <a:lnTo>
                    <a:pt x="74" y="1069"/>
                  </a:lnTo>
                  <a:lnTo>
                    <a:pt x="76" y="1069"/>
                  </a:lnTo>
                  <a:close/>
                  <a:moveTo>
                    <a:pt x="67" y="1069"/>
                  </a:moveTo>
                  <a:lnTo>
                    <a:pt x="67" y="1071"/>
                  </a:lnTo>
                  <a:lnTo>
                    <a:pt x="67" y="1069"/>
                  </a:lnTo>
                  <a:close/>
                  <a:moveTo>
                    <a:pt x="64" y="1069"/>
                  </a:moveTo>
                  <a:lnTo>
                    <a:pt x="62" y="1069"/>
                  </a:lnTo>
                  <a:lnTo>
                    <a:pt x="64" y="1069"/>
                  </a:lnTo>
                  <a:close/>
                  <a:moveTo>
                    <a:pt x="74" y="1069"/>
                  </a:moveTo>
                  <a:lnTo>
                    <a:pt x="76" y="1069"/>
                  </a:lnTo>
                  <a:lnTo>
                    <a:pt x="74" y="1069"/>
                  </a:lnTo>
                  <a:close/>
                  <a:moveTo>
                    <a:pt x="69" y="1069"/>
                  </a:moveTo>
                  <a:lnTo>
                    <a:pt x="67" y="1069"/>
                  </a:lnTo>
                  <a:lnTo>
                    <a:pt x="69" y="1069"/>
                  </a:lnTo>
                  <a:close/>
                  <a:moveTo>
                    <a:pt x="88" y="1069"/>
                  </a:moveTo>
                  <a:lnTo>
                    <a:pt x="86" y="1069"/>
                  </a:lnTo>
                  <a:lnTo>
                    <a:pt x="88" y="1069"/>
                  </a:lnTo>
                  <a:close/>
                  <a:moveTo>
                    <a:pt x="76" y="1069"/>
                  </a:moveTo>
                  <a:lnTo>
                    <a:pt x="74" y="1069"/>
                  </a:lnTo>
                  <a:lnTo>
                    <a:pt x="76" y="1069"/>
                  </a:lnTo>
                  <a:lnTo>
                    <a:pt x="76" y="1067"/>
                  </a:lnTo>
                  <a:lnTo>
                    <a:pt x="76" y="1069"/>
                  </a:lnTo>
                  <a:close/>
                  <a:moveTo>
                    <a:pt x="67" y="1069"/>
                  </a:moveTo>
                  <a:lnTo>
                    <a:pt x="67" y="1067"/>
                  </a:lnTo>
                  <a:lnTo>
                    <a:pt x="67" y="1069"/>
                  </a:lnTo>
                  <a:close/>
                  <a:moveTo>
                    <a:pt x="79" y="1069"/>
                  </a:moveTo>
                  <a:lnTo>
                    <a:pt x="79" y="1067"/>
                  </a:lnTo>
                  <a:lnTo>
                    <a:pt x="79" y="1069"/>
                  </a:lnTo>
                  <a:close/>
                  <a:moveTo>
                    <a:pt x="81" y="1067"/>
                  </a:moveTo>
                  <a:lnTo>
                    <a:pt x="79" y="1067"/>
                  </a:lnTo>
                  <a:lnTo>
                    <a:pt x="81" y="1067"/>
                  </a:lnTo>
                  <a:close/>
                  <a:moveTo>
                    <a:pt x="79" y="1067"/>
                  </a:moveTo>
                  <a:lnTo>
                    <a:pt x="76" y="1067"/>
                  </a:lnTo>
                  <a:lnTo>
                    <a:pt x="79" y="1067"/>
                  </a:lnTo>
                  <a:close/>
                  <a:moveTo>
                    <a:pt x="76" y="1067"/>
                  </a:moveTo>
                  <a:lnTo>
                    <a:pt x="74" y="1067"/>
                  </a:lnTo>
                  <a:lnTo>
                    <a:pt x="76" y="1067"/>
                  </a:lnTo>
                  <a:close/>
                  <a:moveTo>
                    <a:pt x="79" y="1067"/>
                  </a:moveTo>
                  <a:lnTo>
                    <a:pt x="76" y="1067"/>
                  </a:lnTo>
                  <a:lnTo>
                    <a:pt x="79" y="1067"/>
                  </a:lnTo>
                  <a:close/>
                  <a:moveTo>
                    <a:pt x="79" y="1067"/>
                  </a:moveTo>
                  <a:lnTo>
                    <a:pt x="79" y="1064"/>
                  </a:lnTo>
                  <a:lnTo>
                    <a:pt x="79" y="1067"/>
                  </a:lnTo>
                  <a:close/>
                  <a:moveTo>
                    <a:pt x="81" y="1064"/>
                  </a:moveTo>
                  <a:lnTo>
                    <a:pt x="81" y="1067"/>
                  </a:lnTo>
                  <a:lnTo>
                    <a:pt x="81" y="1064"/>
                  </a:lnTo>
                  <a:close/>
                  <a:moveTo>
                    <a:pt x="76" y="1067"/>
                  </a:moveTo>
                  <a:lnTo>
                    <a:pt x="76" y="1064"/>
                  </a:lnTo>
                  <a:lnTo>
                    <a:pt x="76" y="1067"/>
                  </a:lnTo>
                  <a:close/>
                  <a:moveTo>
                    <a:pt x="76" y="1064"/>
                  </a:moveTo>
                  <a:lnTo>
                    <a:pt x="76" y="1067"/>
                  </a:lnTo>
                  <a:lnTo>
                    <a:pt x="76" y="1064"/>
                  </a:lnTo>
                  <a:close/>
                  <a:moveTo>
                    <a:pt x="81" y="1064"/>
                  </a:moveTo>
                  <a:lnTo>
                    <a:pt x="79" y="1064"/>
                  </a:lnTo>
                  <a:lnTo>
                    <a:pt x="81" y="1064"/>
                  </a:lnTo>
                  <a:close/>
                  <a:moveTo>
                    <a:pt x="81" y="1062"/>
                  </a:moveTo>
                  <a:lnTo>
                    <a:pt x="81" y="1064"/>
                  </a:lnTo>
                  <a:lnTo>
                    <a:pt x="81" y="1062"/>
                  </a:lnTo>
                  <a:close/>
                  <a:moveTo>
                    <a:pt x="109" y="1062"/>
                  </a:moveTo>
                  <a:lnTo>
                    <a:pt x="107" y="1062"/>
                  </a:lnTo>
                  <a:lnTo>
                    <a:pt x="109" y="1062"/>
                  </a:lnTo>
                  <a:close/>
                  <a:moveTo>
                    <a:pt x="117" y="1062"/>
                  </a:moveTo>
                  <a:lnTo>
                    <a:pt x="114" y="1062"/>
                  </a:lnTo>
                  <a:lnTo>
                    <a:pt x="117" y="1062"/>
                  </a:lnTo>
                  <a:close/>
                  <a:moveTo>
                    <a:pt x="81" y="1062"/>
                  </a:moveTo>
                  <a:lnTo>
                    <a:pt x="81" y="1060"/>
                  </a:lnTo>
                  <a:lnTo>
                    <a:pt x="81" y="1062"/>
                  </a:lnTo>
                  <a:close/>
                  <a:moveTo>
                    <a:pt x="83" y="1062"/>
                  </a:moveTo>
                  <a:lnTo>
                    <a:pt x="83" y="1060"/>
                  </a:lnTo>
                  <a:lnTo>
                    <a:pt x="83" y="1062"/>
                  </a:lnTo>
                  <a:close/>
                  <a:moveTo>
                    <a:pt x="138" y="1060"/>
                  </a:moveTo>
                  <a:lnTo>
                    <a:pt x="138" y="1062"/>
                  </a:lnTo>
                  <a:lnTo>
                    <a:pt x="138" y="1060"/>
                  </a:lnTo>
                  <a:close/>
                  <a:moveTo>
                    <a:pt x="90" y="1060"/>
                  </a:moveTo>
                  <a:lnTo>
                    <a:pt x="88" y="1060"/>
                  </a:lnTo>
                  <a:lnTo>
                    <a:pt x="90" y="1060"/>
                  </a:lnTo>
                  <a:close/>
                  <a:moveTo>
                    <a:pt x="93" y="1060"/>
                  </a:moveTo>
                  <a:lnTo>
                    <a:pt x="90" y="1060"/>
                  </a:lnTo>
                  <a:lnTo>
                    <a:pt x="93" y="1060"/>
                  </a:lnTo>
                  <a:close/>
                  <a:moveTo>
                    <a:pt x="98" y="1060"/>
                  </a:moveTo>
                  <a:lnTo>
                    <a:pt x="95" y="1060"/>
                  </a:lnTo>
                  <a:lnTo>
                    <a:pt x="98" y="1060"/>
                  </a:lnTo>
                  <a:close/>
                  <a:moveTo>
                    <a:pt x="98" y="1060"/>
                  </a:moveTo>
                  <a:lnTo>
                    <a:pt x="95" y="1060"/>
                  </a:lnTo>
                  <a:lnTo>
                    <a:pt x="98" y="1060"/>
                  </a:lnTo>
                  <a:close/>
                  <a:moveTo>
                    <a:pt x="90" y="1060"/>
                  </a:moveTo>
                  <a:lnTo>
                    <a:pt x="90" y="1057"/>
                  </a:lnTo>
                  <a:lnTo>
                    <a:pt x="90" y="1060"/>
                  </a:lnTo>
                  <a:close/>
                  <a:moveTo>
                    <a:pt x="102" y="1057"/>
                  </a:moveTo>
                  <a:lnTo>
                    <a:pt x="100" y="1057"/>
                  </a:lnTo>
                  <a:lnTo>
                    <a:pt x="102" y="1057"/>
                  </a:lnTo>
                  <a:close/>
                  <a:moveTo>
                    <a:pt x="98" y="1057"/>
                  </a:moveTo>
                  <a:lnTo>
                    <a:pt x="95" y="1057"/>
                  </a:lnTo>
                  <a:lnTo>
                    <a:pt x="98" y="1057"/>
                  </a:lnTo>
                  <a:close/>
                  <a:moveTo>
                    <a:pt x="100" y="1055"/>
                  </a:moveTo>
                  <a:lnTo>
                    <a:pt x="100" y="1057"/>
                  </a:lnTo>
                  <a:lnTo>
                    <a:pt x="100" y="1055"/>
                  </a:lnTo>
                  <a:close/>
                  <a:moveTo>
                    <a:pt x="100" y="1055"/>
                  </a:moveTo>
                  <a:lnTo>
                    <a:pt x="100" y="1057"/>
                  </a:lnTo>
                  <a:lnTo>
                    <a:pt x="100" y="1055"/>
                  </a:lnTo>
                  <a:close/>
                  <a:moveTo>
                    <a:pt x="105" y="1057"/>
                  </a:moveTo>
                  <a:lnTo>
                    <a:pt x="105" y="1055"/>
                  </a:lnTo>
                  <a:lnTo>
                    <a:pt x="105" y="1057"/>
                  </a:lnTo>
                  <a:close/>
                  <a:moveTo>
                    <a:pt x="100" y="1057"/>
                  </a:moveTo>
                  <a:lnTo>
                    <a:pt x="100" y="1055"/>
                  </a:lnTo>
                  <a:lnTo>
                    <a:pt x="100" y="1057"/>
                  </a:lnTo>
                  <a:close/>
                  <a:moveTo>
                    <a:pt x="100" y="1055"/>
                  </a:moveTo>
                  <a:lnTo>
                    <a:pt x="98" y="1055"/>
                  </a:lnTo>
                  <a:lnTo>
                    <a:pt x="100" y="1055"/>
                  </a:lnTo>
                  <a:close/>
                  <a:moveTo>
                    <a:pt x="98" y="1055"/>
                  </a:moveTo>
                  <a:lnTo>
                    <a:pt x="95" y="1055"/>
                  </a:lnTo>
                  <a:lnTo>
                    <a:pt x="98" y="1055"/>
                  </a:lnTo>
                  <a:close/>
                  <a:moveTo>
                    <a:pt x="102" y="1055"/>
                  </a:moveTo>
                  <a:lnTo>
                    <a:pt x="100" y="1055"/>
                  </a:lnTo>
                  <a:lnTo>
                    <a:pt x="102" y="1055"/>
                  </a:lnTo>
                  <a:close/>
                  <a:moveTo>
                    <a:pt x="93" y="1055"/>
                  </a:moveTo>
                  <a:lnTo>
                    <a:pt x="90" y="1055"/>
                  </a:lnTo>
                  <a:lnTo>
                    <a:pt x="93" y="1055"/>
                  </a:lnTo>
                  <a:close/>
                  <a:moveTo>
                    <a:pt x="90" y="1052"/>
                  </a:moveTo>
                  <a:lnTo>
                    <a:pt x="90" y="1055"/>
                  </a:lnTo>
                  <a:lnTo>
                    <a:pt x="90" y="1052"/>
                  </a:lnTo>
                  <a:close/>
                  <a:moveTo>
                    <a:pt x="117" y="1052"/>
                  </a:moveTo>
                  <a:lnTo>
                    <a:pt x="117" y="1055"/>
                  </a:lnTo>
                  <a:lnTo>
                    <a:pt x="117" y="1052"/>
                  </a:lnTo>
                  <a:close/>
                  <a:moveTo>
                    <a:pt x="114" y="1052"/>
                  </a:moveTo>
                  <a:lnTo>
                    <a:pt x="114" y="1050"/>
                  </a:lnTo>
                  <a:lnTo>
                    <a:pt x="114" y="1052"/>
                  </a:lnTo>
                  <a:close/>
                  <a:moveTo>
                    <a:pt x="114" y="1050"/>
                  </a:moveTo>
                  <a:lnTo>
                    <a:pt x="112" y="1050"/>
                  </a:lnTo>
                  <a:lnTo>
                    <a:pt x="114" y="1050"/>
                  </a:lnTo>
                  <a:close/>
                  <a:moveTo>
                    <a:pt x="114" y="1050"/>
                  </a:moveTo>
                  <a:lnTo>
                    <a:pt x="112" y="1050"/>
                  </a:lnTo>
                  <a:lnTo>
                    <a:pt x="114" y="1050"/>
                  </a:lnTo>
                  <a:close/>
                  <a:moveTo>
                    <a:pt x="105" y="1048"/>
                  </a:moveTo>
                  <a:lnTo>
                    <a:pt x="105" y="1050"/>
                  </a:lnTo>
                  <a:lnTo>
                    <a:pt x="105" y="1048"/>
                  </a:lnTo>
                  <a:close/>
                  <a:moveTo>
                    <a:pt x="114" y="1050"/>
                  </a:moveTo>
                  <a:lnTo>
                    <a:pt x="114" y="1048"/>
                  </a:lnTo>
                  <a:lnTo>
                    <a:pt x="114" y="1050"/>
                  </a:lnTo>
                  <a:close/>
                  <a:moveTo>
                    <a:pt x="114" y="1050"/>
                  </a:moveTo>
                  <a:lnTo>
                    <a:pt x="114" y="1048"/>
                  </a:lnTo>
                  <a:lnTo>
                    <a:pt x="114" y="1050"/>
                  </a:lnTo>
                  <a:close/>
                  <a:moveTo>
                    <a:pt x="114" y="1048"/>
                  </a:moveTo>
                  <a:lnTo>
                    <a:pt x="112" y="1050"/>
                  </a:lnTo>
                  <a:lnTo>
                    <a:pt x="114" y="1048"/>
                  </a:lnTo>
                  <a:close/>
                  <a:moveTo>
                    <a:pt x="119" y="1045"/>
                  </a:moveTo>
                  <a:lnTo>
                    <a:pt x="119" y="1048"/>
                  </a:lnTo>
                  <a:lnTo>
                    <a:pt x="119" y="1045"/>
                  </a:lnTo>
                  <a:close/>
                  <a:moveTo>
                    <a:pt x="112" y="1045"/>
                  </a:moveTo>
                  <a:lnTo>
                    <a:pt x="109" y="1045"/>
                  </a:lnTo>
                  <a:lnTo>
                    <a:pt x="112" y="1045"/>
                  </a:lnTo>
                  <a:close/>
                  <a:moveTo>
                    <a:pt x="112" y="1045"/>
                  </a:moveTo>
                  <a:lnTo>
                    <a:pt x="109" y="1045"/>
                  </a:lnTo>
                  <a:lnTo>
                    <a:pt x="112" y="1045"/>
                  </a:lnTo>
                  <a:close/>
                  <a:moveTo>
                    <a:pt x="107" y="1045"/>
                  </a:moveTo>
                  <a:lnTo>
                    <a:pt x="109" y="1045"/>
                  </a:lnTo>
                  <a:lnTo>
                    <a:pt x="107" y="1045"/>
                  </a:lnTo>
                  <a:close/>
                  <a:moveTo>
                    <a:pt x="126" y="1045"/>
                  </a:moveTo>
                  <a:lnTo>
                    <a:pt x="124" y="1045"/>
                  </a:lnTo>
                  <a:lnTo>
                    <a:pt x="126" y="1045"/>
                  </a:lnTo>
                  <a:close/>
                  <a:moveTo>
                    <a:pt x="128" y="1043"/>
                  </a:moveTo>
                  <a:lnTo>
                    <a:pt x="128" y="1045"/>
                  </a:lnTo>
                  <a:lnTo>
                    <a:pt x="128" y="1043"/>
                  </a:lnTo>
                  <a:close/>
                  <a:moveTo>
                    <a:pt x="109" y="1045"/>
                  </a:moveTo>
                  <a:lnTo>
                    <a:pt x="109" y="1043"/>
                  </a:lnTo>
                  <a:lnTo>
                    <a:pt x="109" y="1045"/>
                  </a:lnTo>
                  <a:close/>
                  <a:moveTo>
                    <a:pt x="117" y="1045"/>
                  </a:moveTo>
                  <a:lnTo>
                    <a:pt x="117" y="1043"/>
                  </a:lnTo>
                  <a:lnTo>
                    <a:pt x="117" y="1045"/>
                  </a:lnTo>
                  <a:close/>
                  <a:moveTo>
                    <a:pt x="117" y="1043"/>
                  </a:moveTo>
                  <a:lnTo>
                    <a:pt x="117" y="1045"/>
                  </a:lnTo>
                  <a:lnTo>
                    <a:pt x="117" y="1043"/>
                  </a:lnTo>
                  <a:close/>
                  <a:moveTo>
                    <a:pt x="119" y="1045"/>
                  </a:moveTo>
                  <a:lnTo>
                    <a:pt x="119" y="1043"/>
                  </a:lnTo>
                  <a:lnTo>
                    <a:pt x="119" y="1045"/>
                  </a:lnTo>
                  <a:close/>
                  <a:moveTo>
                    <a:pt x="126" y="1045"/>
                  </a:moveTo>
                  <a:lnTo>
                    <a:pt x="126" y="1043"/>
                  </a:lnTo>
                  <a:lnTo>
                    <a:pt x="126" y="1045"/>
                  </a:lnTo>
                  <a:close/>
                  <a:moveTo>
                    <a:pt x="109" y="1043"/>
                  </a:moveTo>
                  <a:lnTo>
                    <a:pt x="109" y="1045"/>
                  </a:lnTo>
                  <a:lnTo>
                    <a:pt x="109" y="1043"/>
                  </a:lnTo>
                  <a:close/>
                  <a:moveTo>
                    <a:pt x="131" y="1043"/>
                  </a:moveTo>
                  <a:lnTo>
                    <a:pt x="131" y="1045"/>
                  </a:lnTo>
                  <a:lnTo>
                    <a:pt x="131" y="1043"/>
                  </a:lnTo>
                  <a:close/>
                  <a:moveTo>
                    <a:pt x="112" y="1043"/>
                  </a:moveTo>
                  <a:lnTo>
                    <a:pt x="109" y="1043"/>
                  </a:lnTo>
                  <a:lnTo>
                    <a:pt x="112" y="1043"/>
                  </a:lnTo>
                  <a:lnTo>
                    <a:pt x="109" y="1043"/>
                  </a:lnTo>
                  <a:lnTo>
                    <a:pt x="112" y="1043"/>
                  </a:lnTo>
                  <a:close/>
                  <a:moveTo>
                    <a:pt x="112" y="1043"/>
                  </a:moveTo>
                  <a:lnTo>
                    <a:pt x="109" y="1043"/>
                  </a:lnTo>
                  <a:lnTo>
                    <a:pt x="112" y="1043"/>
                  </a:lnTo>
                  <a:close/>
                  <a:moveTo>
                    <a:pt x="117" y="1043"/>
                  </a:moveTo>
                  <a:lnTo>
                    <a:pt x="114" y="1043"/>
                  </a:lnTo>
                  <a:lnTo>
                    <a:pt x="117" y="1043"/>
                  </a:lnTo>
                  <a:close/>
                  <a:moveTo>
                    <a:pt x="112" y="1043"/>
                  </a:moveTo>
                  <a:lnTo>
                    <a:pt x="109" y="1043"/>
                  </a:lnTo>
                  <a:lnTo>
                    <a:pt x="112" y="1043"/>
                  </a:lnTo>
                  <a:close/>
                  <a:moveTo>
                    <a:pt x="131" y="1043"/>
                  </a:moveTo>
                  <a:lnTo>
                    <a:pt x="133" y="1043"/>
                  </a:lnTo>
                  <a:lnTo>
                    <a:pt x="131" y="1043"/>
                  </a:lnTo>
                  <a:close/>
                  <a:moveTo>
                    <a:pt x="119" y="1043"/>
                  </a:moveTo>
                  <a:lnTo>
                    <a:pt x="117" y="1043"/>
                  </a:lnTo>
                  <a:lnTo>
                    <a:pt x="119" y="1043"/>
                  </a:lnTo>
                  <a:close/>
                  <a:moveTo>
                    <a:pt x="121" y="1043"/>
                  </a:moveTo>
                  <a:lnTo>
                    <a:pt x="119" y="1043"/>
                  </a:lnTo>
                  <a:lnTo>
                    <a:pt x="121" y="1043"/>
                  </a:lnTo>
                  <a:close/>
                  <a:moveTo>
                    <a:pt x="119" y="1043"/>
                  </a:moveTo>
                  <a:lnTo>
                    <a:pt x="117" y="1043"/>
                  </a:lnTo>
                  <a:lnTo>
                    <a:pt x="119" y="1043"/>
                  </a:lnTo>
                  <a:close/>
                  <a:moveTo>
                    <a:pt x="133" y="1043"/>
                  </a:moveTo>
                  <a:lnTo>
                    <a:pt x="131" y="1043"/>
                  </a:lnTo>
                  <a:lnTo>
                    <a:pt x="133" y="1043"/>
                  </a:lnTo>
                  <a:close/>
                  <a:moveTo>
                    <a:pt x="121" y="1043"/>
                  </a:moveTo>
                  <a:lnTo>
                    <a:pt x="119" y="1043"/>
                  </a:lnTo>
                  <a:lnTo>
                    <a:pt x="121" y="1043"/>
                  </a:lnTo>
                  <a:close/>
                  <a:moveTo>
                    <a:pt x="121" y="1043"/>
                  </a:moveTo>
                  <a:lnTo>
                    <a:pt x="119" y="1043"/>
                  </a:lnTo>
                  <a:lnTo>
                    <a:pt x="121" y="1043"/>
                  </a:lnTo>
                  <a:close/>
                  <a:moveTo>
                    <a:pt x="114" y="1041"/>
                  </a:moveTo>
                  <a:lnTo>
                    <a:pt x="114" y="1043"/>
                  </a:lnTo>
                  <a:lnTo>
                    <a:pt x="114" y="1041"/>
                  </a:lnTo>
                  <a:close/>
                  <a:moveTo>
                    <a:pt x="114" y="1043"/>
                  </a:moveTo>
                  <a:lnTo>
                    <a:pt x="114" y="1041"/>
                  </a:lnTo>
                  <a:lnTo>
                    <a:pt x="114" y="1043"/>
                  </a:lnTo>
                  <a:close/>
                  <a:moveTo>
                    <a:pt x="114" y="1043"/>
                  </a:moveTo>
                  <a:lnTo>
                    <a:pt x="114" y="1041"/>
                  </a:lnTo>
                  <a:lnTo>
                    <a:pt x="114" y="1043"/>
                  </a:lnTo>
                  <a:close/>
                  <a:moveTo>
                    <a:pt x="121" y="1041"/>
                  </a:moveTo>
                  <a:lnTo>
                    <a:pt x="121" y="1043"/>
                  </a:lnTo>
                  <a:lnTo>
                    <a:pt x="121" y="1041"/>
                  </a:lnTo>
                  <a:close/>
                  <a:moveTo>
                    <a:pt x="112" y="1041"/>
                  </a:moveTo>
                  <a:lnTo>
                    <a:pt x="109" y="1041"/>
                  </a:lnTo>
                  <a:lnTo>
                    <a:pt x="112" y="1041"/>
                  </a:lnTo>
                  <a:close/>
                  <a:moveTo>
                    <a:pt x="121" y="1041"/>
                  </a:moveTo>
                  <a:lnTo>
                    <a:pt x="119" y="1041"/>
                  </a:lnTo>
                  <a:lnTo>
                    <a:pt x="121" y="1041"/>
                  </a:lnTo>
                  <a:close/>
                  <a:moveTo>
                    <a:pt x="109" y="1041"/>
                  </a:moveTo>
                  <a:lnTo>
                    <a:pt x="107" y="1041"/>
                  </a:lnTo>
                  <a:lnTo>
                    <a:pt x="109" y="1041"/>
                  </a:lnTo>
                  <a:close/>
                  <a:moveTo>
                    <a:pt x="124" y="1041"/>
                  </a:moveTo>
                  <a:lnTo>
                    <a:pt x="121" y="1041"/>
                  </a:lnTo>
                  <a:lnTo>
                    <a:pt x="124" y="1041"/>
                  </a:lnTo>
                  <a:close/>
                  <a:moveTo>
                    <a:pt x="109" y="1041"/>
                  </a:moveTo>
                  <a:lnTo>
                    <a:pt x="107" y="1041"/>
                  </a:lnTo>
                  <a:lnTo>
                    <a:pt x="109" y="1041"/>
                  </a:lnTo>
                  <a:close/>
                  <a:moveTo>
                    <a:pt x="109" y="1041"/>
                  </a:moveTo>
                  <a:lnTo>
                    <a:pt x="107" y="1041"/>
                  </a:lnTo>
                  <a:lnTo>
                    <a:pt x="109" y="1041"/>
                  </a:lnTo>
                  <a:close/>
                  <a:moveTo>
                    <a:pt x="190" y="1041"/>
                  </a:moveTo>
                  <a:lnTo>
                    <a:pt x="188" y="1041"/>
                  </a:lnTo>
                  <a:lnTo>
                    <a:pt x="190" y="1041"/>
                  </a:lnTo>
                  <a:close/>
                  <a:moveTo>
                    <a:pt x="124" y="1041"/>
                  </a:moveTo>
                  <a:lnTo>
                    <a:pt x="121" y="1041"/>
                  </a:lnTo>
                  <a:lnTo>
                    <a:pt x="124" y="1041"/>
                  </a:lnTo>
                  <a:close/>
                  <a:moveTo>
                    <a:pt x="107" y="1041"/>
                  </a:moveTo>
                  <a:lnTo>
                    <a:pt x="109" y="1041"/>
                  </a:lnTo>
                  <a:lnTo>
                    <a:pt x="107" y="1041"/>
                  </a:lnTo>
                  <a:close/>
                  <a:moveTo>
                    <a:pt x="124" y="1041"/>
                  </a:moveTo>
                  <a:lnTo>
                    <a:pt x="121" y="1041"/>
                  </a:lnTo>
                  <a:lnTo>
                    <a:pt x="124" y="1041"/>
                  </a:lnTo>
                  <a:close/>
                  <a:moveTo>
                    <a:pt x="107" y="1038"/>
                  </a:moveTo>
                  <a:lnTo>
                    <a:pt x="107" y="1041"/>
                  </a:lnTo>
                  <a:lnTo>
                    <a:pt x="107" y="1038"/>
                  </a:lnTo>
                  <a:close/>
                  <a:moveTo>
                    <a:pt x="107" y="1041"/>
                  </a:moveTo>
                  <a:lnTo>
                    <a:pt x="107" y="1038"/>
                  </a:lnTo>
                  <a:lnTo>
                    <a:pt x="107" y="1041"/>
                  </a:lnTo>
                  <a:close/>
                  <a:moveTo>
                    <a:pt x="109" y="1038"/>
                  </a:moveTo>
                  <a:lnTo>
                    <a:pt x="107" y="1038"/>
                  </a:lnTo>
                  <a:lnTo>
                    <a:pt x="109" y="1038"/>
                  </a:lnTo>
                  <a:close/>
                  <a:moveTo>
                    <a:pt x="109" y="1038"/>
                  </a:moveTo>
                  <a:lnTo>
                    <a:pt x="107" y="1038"/>
                  </a:lnTo>
                  <a:lnTo>
                    <a:pt x="109" y="1038"/>
                  </a:lnTo>
                  <a:close/>
                  <a:moveTo>
                    <a:pt x="109" y="1038"/>
                  </a:moveTo>
                  <a:lnTo>
                    <a:pt x="107" y="1038"/>
                  </a:lnTo>
                  <a:lnTo>
                    <a:pt x="109" y="1038"/>
                  </a:lnTo>
                  <a:close/>
                  <a:moveTo>
                    <a:pt x="109" y="1038"/>
                  </a:moveTo>
                  <a:lnTo>
                    <a:pt x="107" y="1038"/>
                  </a:lnTo>
                  <a:lnTo>
                    <a:pt x="109" y="1038"/>
                  </a:lnTo>
                  <a:close/>
                  <a:moveTo>
                    <a:pt x="107" y="1038"/>
                  </a:moveTo>
                  <a:lnTo>
                    <a:pt x="107" y="1036"/>
                  </a:lnTo>
                  <a:lnTo>
                    <a:pt x="107" y="1038"/>
                  </a:lnTo>
                  <a:close/>
                  <a:moveTo>
                    <a:pt x="109" y="1036"/>
                  </a:moveTo>
                  <a:lnTo>
                    <a:pt x="109" y="1038"/>
                  </a:lnTo>
                  <a:lnTo>
                    <a:pt x="109" y="1036"/>
                  </a:lnTo>
                  <a:close/>
                  <a:moveTo>
                    <a:pt x="147" y="1036"/>
                  </a:moveTo>
                  <a:lnTo>
                    <a:pt x="145" y="1036"/>
                  </a:lnTo>
                  <a:lnTo>
                    <a:pt x="147" y="1036"/>
                  </a:lnTo>
                  <a:close/>
                  <a:moveTo>
                    <a:pt x="124" y="1036"/>
                  </a:moveTo>
                  <a:lnTo>
                    <a:pt x="126" y="1036"/>
                  </a:lnTo>
                  <a:lnTo>
                    <a:pt x="124" y="1036"/>
                  </a:lnTo>
                  <a:close/>
                  <a:moveTo>
                    <a:pt x="112" y="1036"/>
                  </a:moveTo>
                  <a:lnTo>
                    <a:pt x="109" y="1036"/>
                  </a:lnTo>
                  <a:lnTo>
                    <a:pt x="112" y="1036"/>
                  </a:lnTo>
                  <a:close/>
                  <a:moveTo>
                    <a:pt x="109" y="1036"/>
                  </a:moveTo>
                  <a:lnTo>
                    <a:pt x="109" y="1033"/>
                  </a:lnTo>
                  <a:lnTo>
                    <a:pt x="109" y="1036"/>
                  </a:lnTo>
                  <a:close/>
                  <a:moveTo>
                    <a:pt x="109" y="1036"/>
                  </a:moveTo>
                  <a:lnTo>
                    <a:pt x="109" y="1033"/>
                  </a:lnTo>
                  <a:lnTo>
                    <a:pt x="109" y="1036"/>
                  </a:lnTo>
                  <a:close/>
                  <a:moveTo>
                    <a:pt x="147" y="1033"/>
                  </a:moveTo>
                  <a:lnTo>
                    <a:pt x="145" y="1033"/>
                  </a:lnTo>
                  <a:lnTo>
                    <a:pt x="147" y="1033"/>
                  </a:lnTo>
                  <a:close/>
                  <a:moveTo>
                    <a:pt x="109" y="1036"/>
                  </a:moveTo>
                  <a:lnTo>
                    <a:pt x="109" y="1033"/>
                  </a:lnTo>
                  <a:lnTo>
                    <a:pt x="109" y="1036"/>
                  </a:lnTo>
                  <a:close/>
                  <a:moveTo>
                    <a:pt x="155" y="1033"/>
                  </a:moveTo>
                  <a:lnTo>
                    <a:pt x="155" y="1036"/>
                  </a:lnTo>
                  <a:lnTo>
                    <a:pt x="155" y="1033"/>
                  </a:lnTo>
                  <a:close/>
                  <a:moveTo>
                    <a:pt x="112" y="1033"/>
                  </a:moveTo>
                  <a:lnTo>
                    <a:pt x="112" y="1036"/>
                  </a:lnTo>
                  <a:lnTo>
                    <a:pt x="112" y="1033"/>
                  </a:lnTo>
                  <a:close/>
                  <a:moveTo>
                    <a:pt x="121" y="1033"/>
                  </a:moveTo>
                  <a:lnTo>
                    <a:pt x="119" y="1033"/>
                  </a:lnTo>
                  <a:lnTo>
                    <a:pt x="121" y="1033"/>
                  </a:lnTo>
                  <a:close/>
                  <a:moveTo>
                    <a:pt x="112" y="1033"/>
                  </a:moveTo>
                  <a:lnTo>
                    <a:pt x="109" y="1033"/>
                  </a:lnTo>
                  <a:lnTo>
                    <a:pt x="112" y="1033"/>
                  </a:lnTo>
                  <a:close/>
                  <a:moveTo>
                    <a:pt x="114" y="1033"/>
                  </a:moveTo>
                  <a:lnTo>
                    <a:pt x="112" y="1033"/>
                  </a:lnTo>
                  <a:lnTo>
                    <a:pt x="114" y="1033"/>
                  </a:lnTo>
                  <a:close/>
                  <a:moveTo>
                    <a:pt x="119" y="1033"/>
                  </a:moveTo>
                  <a:lnTo>
                    <a:pt x="117" y="1033"/>
                  </a:lnTo>
                  <a:lnTo>
                    <a:pt x="119" y="1033"/>
                  </a:lnTo>
                  <a:close/>
                  <a:moveTo>
                    <a:pt x="117" y="1033"/>
                  </a:moveTo>
                  <a:lnTo>
                    <a:pt x="119" y="1033"/>
                  </a:lnTo>
                  <a:lnTo>
                    <a:pt x="117" y="1033"/>
                  </a:lnTo>
                  <a:close/>
                  <a:moveTo>
                    <a:pt x="114" y="1033"/>
                  </a:moveTo>
                  <a:lnTo>
                    <a:pt x="112" y="1033"/>
                  </a:lnTo>
                  <a:lnTo>
                    <a:pt x="114" y="1033"/>
                  </a:lnTo>
                  <a:close/>
                  <a:moveTo>
                    <a:pt x="150" y="1033"/>
                  </a:moveTo>
                  <a:lnTo>
                    <a:pt x="150" y="1031"/>
                  </a:lnTo>
                  <a:lnTo>
                    <a:pt x="150" y="1033"/>
                  </a:lnTo>
                  <a:close/>
                  <a:moveTo>
                    <a:pt x="150" y="1031"/>
                  </a:moveTo>
                  <a:lnTo>
                    <a:pt x="150" y="1033"/>
                  </a:lnTo>
                  <a:lnTo>
                    <a:pt x="150" y="1031"/>
                  </a:lnTo>
                  <a:close/>
                  <a:moveTo>
                    <a:pt x="126" y="1033"/>
                  </a:moveTo>
                  <a:lnTo>
                    <a:pt x="124" y="1033"/>
                  </a:lnTo>
                  <a:lnTo>
                    <a:pt x="126" y="1031"/>
                  </a:lnTo>
                  <a:lnTo>
                    <a:pt x="126" y="1033"/>
                  </a:lnTo>
                  <a:close/>
                  <a:moveTo>
                    <a:pt x="126" y="1033"/>
                  </a:moveTo>
                  <a:lnTo>
                    <a:pt x="126" y="1031"/>
                  </a:lnTo>
                  <a:lnTo>
                    <a:pt x="126" y="1033"/>
                  </a:lnTo>
                  <a:close/>
                  <a:moveTo>
                    <a:pt x="150" y="1031"/>
                  </a:moveTo>
                  <a:lnTo>
                    <a:pt x="152" y="1031"/>
                  </a:lnTo>
                  <a:lnTo>
                    <a:pt x="150" y="1031"/>
                  </a:lnTo>
                  <a:close/>
                  <a:moveTo>
                    <a:pt x="126" y="1031"/>
                  </a:moveTo>
                  <a:lnTo>
                    <a:pt x="124" y="1031"/>
                  </a:lnTo>
                  <a:lnTo>
                    <a:pt x="126" y="1031"/>
                  </a:lnTo>
                  <a:close/>
                  <a:moveTo>
                    <a:pt x="128" y="1031"/>
                  </a:moveTo>
                  <a:lnTo>
                    <a:pt x="126" y="1031"/>
                  </a:lnTo>
                  <a:lnTo>
                    <a:pt x="128" y="1031"/>
                  </a:lnTo>
                  <a:close/>
                  <a:moveTo>
                    <a:pt x="126" y="1031"/>
                  </a:moveTo>
                  <a:lnTo>
                    <a:pt x="126" y="1029"/>
                  </a:lnTo>
                  <a:lnTo>
                    <a:pt x="126" y="1031"/>
                  </a:lnTo>
                  <a:close/>
                  <a:moveTo>
                    <a:pt x="128" y="1029"/>
                  </a:moveTo>
                  <a:lnTo>
                    <a:pt x="126" y="1029"/>
                  </a:lnTo>
                  <a:lnTo>
                    <a:pt x="128" y="1029"/>
                  </a:lnTo>
                  <a:close/>
                  <a:moveTo>
                    <a:pt x="128" y="1029"/>
                  </a:moveTo>
                  <a:lnTo>
                    <a:pt x="126" y="1029"/>
                  </a:lnTo>
                  <a:lnTo>
                    <a:pt x="128" y="1029"/>
                  </a:lnTo>
                  <a:close/>
                  <a:moveTo>
                    <a:pt x="128" y="1029"/>
                  </a:moveTo>
                  <a:lnTo>
                    <a:pt x="126" y="1029"/>
                  </a:lnTo>
                  <a:lnTo>
                    <a:pt x="128" y="1029"/>
                  </a:lnTo>
                  <a:close/>
                  <a:moveTo>
                    <a:pt x="128" y="1029"/>
                  </a:moveTo>
                  <a:lnTo>
                    <a:pt x="126" y="1029"/>
                  </a:lnTo>
                  <a:lnTo>
                    <a:pt x="128" y="1029"/>
                  </a:lnTo>
                  <a:close/>
                  <a:moveTo>
                    <a:pt x="128" y="1029"/>
                  </a:moveTo>
                  <a:lnTo>
                    <a:pt x="126" y="1029"/>
                  </a:lnTo>
                  <a:lnTo>
                    <a:pt x="128" y="1026"/>
                  </a:lnTo>
                  <a:lnTo>
                    <a:pt x="128" y="1029"/>
                  </a:lnTo>
                  <a:close/>
                  <a:moveTo>
                    <a:pt x="128" y="1029"/>
                  </a:moveTo>
                  <a:lnTo>
                    <a:pt x="128" y="1026"/>
                  </a:lnTo>
                  <a:lnTo>
                    <a:pt x="128" y="1029"/>
                  </a:lnTo>
                  <a:close/>
                  <a:moveTo>
                    <a:pt x="131" y="1026"/>
                  </a:moveTo>
                  <a:lnTo>
                    <a:pt x="128" y="1026"/>
                  </a:lnTo>
                  <a:lnTo>
                    <a:pt x="131" y="1026"/>
                  </a:lnTo>
                  <a:close/>
                  <a:moveTo>
                    <a:pt x="128" y="1026"/>
                  </a:moveTo>
                  <a:lnTo>
                    <a:pt x="126" y="1026"/>
                  </a:lnTo>
                  <a:lnTo>
                    <a:pt x="128" y="1026"/>
                  </a:lnTo>
                  <a:close/>
                  <a:moveTo>
                    <a:pt x="131" y="1026"/>
                  </a:moveTo>
                  <a:lnTo>
                    <a:pt x="128" y="1026"/>
                  </a:lnTo>
                  <a:lnTo>
                    <a:pt x="131" y="1026"/>
                  </a:lnTo>
                  <a:close/>
                  <a:moveTo>
                    <a:pt x="128" y="1026"/>
                  </a:moveTo>
                  <a:lnTo>
                    <a:pt x="126" y="1026"/>
                  </a:lnTo>
                  <a:lnTo>
                    <a:pt x="128" y="1026"/>
                  </a:lnTo>
                  <a:close/>
                  <a:moveTo>
                    <a:pt x="131" y="1026"/>
                  </a:moveTo>
                  <a:lnTo>
                    <a:pt x="133" y="1026"/>
                  </a:lnTo>
                  <a:lnTo>
                    <a:pt x="131" y="1026"/>
                  </a:lnTo>
                  <a:close/>
                  <a:moveTo>
                    <a:pt x="131" y="1026"/>
                  </a:moveTo>
                  <a:lnTo>
                    <a:pt x="128" y="1026"/>
                  </a:lnTo>
                  <a:lnTo>
                    <a:pt x="131" y="1026"/>
                  </a:lnTo>
                  <a:close/>
                  <a:moveTo>
                    <a:pt x="128" y="1026"/>
                  </a:moveTo>
                  <a:lnTo>
                    <a:pt x="126" y="1026"/>
                  </a:lnTo>
                  <a:lnTo>
                    <a:pt x="128" y="1026"/>
                  </a:lnTo>
                  <a:close/>
                  <a:moveTo>
                    <a:pt x="131" y="1026"/>
                  </a:moveTo>
                  <a:lnTo>
                    <a:pt x="128" y="1026"/>
                  </a:lnTo>
                  <a:lnTo>
                    <a:pt x="131" y="1026"/>
                  </a:lnTo>
                  <a:close/>
                  <a:moveTo>
                    <a:pt x="128" y="1026"/>
                  </a:moveTo>
                  <a:lnTo>
                    <a:pt x="126" y="1026"/>
                  </a:lnTo>
                  <a:lnTo>
                    <a:pt x="128" y="1026"/>
                  </a:lnTo>
                  <a:close/>
                  <a:moveTo>
                    <a:pt x="128" y="1026"/>
                  </a:moveTo>
                  <a:lnTo>
                    <a:pt x="131" y="1026"/>
                  </a:lnTo>
                  <a:lnTo>
                    <a:pt x="128" y="1026"/>
                  </a:lnTo>
                  <a:close/>
                  <a:moveTo>
                    <a:pt x="131" y="1026"/>
                  </a:moveTo>
                  <a:lnTo>
                    <a:pt x="128" y="1026"/>
                  </a:lnTo>
                  <a:lnTo>
                    <a:pt x="131" y="1026"/>
                  </a:lnTo>
                  <a:close/>
                  <a:moveTo>
                    <a:pt x="150" y="1026"/>
                  </a:moveTo>
                  <a:lnTo>
                    <a:pt x="150" y="1024"/>
                  </a:lnTo>
                  <a:lnTo>
                    <a:pt x="150" y="1026"/>
                  </a:lnTo>
                  <a:close/>
                  <a:moveTo>
                    <a:pt x="150" y="1026"/>
                  </a:moveTo>
                  <a:lnTo>
                    <a:pt x="150" y="1024"/>
                  </a:lnTo>
                  <a:lnTo>
                    <a:pt x="150" y="1026"/>
                  </a:lnTo>
                  <a:close/>
                  <a:moveTo>
                    <a:pt x="136" y="1024"/>
                  </a:moveTo>
                  <a:lnTo>
                    <a:pt x="136" y="1026"/>
                  </a:lnTo>
                  <a:lnTo>
                    <a:pt x="136" y="1024"/>
                  </a:lnTo>
                  <a:close/>
                  <a:moveTo>
                    <a:pt x="155" y="1024"/>
                  </a:moveTo>
                  <a:lnTo>
                    <a:pt x="155" y="1026"/>
                  </a:lnTo>
                  <a:lnTo>
                    <a:pt x="155" y="1024"/>
                  </a:lnTo>
                  <a:close/>
                  <a:moveTo>
                    <a:pt x="136" y="1026"/>
                  </a:moveTo>
                  <a:lnTo>
                    <a:pt x="136" y="1024"/>
                  </a:lnTo>
                  <a:lnTo>
                    <a:pt x="136" y="1026"/>
                  </a:lnTo>
                  <a:close/>
                  <a:moveTo>
                    <a:pt x="136" y="1024"/>
                  </a:moveTo>
                  <a:lnTo>
                    <a:pt x="136" y="1026"/>
                  </a:lnTo>
                  <a:lnTo>
                    <a:pt x="136" y="1024"/>
                  </a:lnTo>
                  <a:close/>
                  <a:moveTo>
                    <a:pt x="138" y="1024"/>
                  </a:moveTo>
                  <a:lnTo>
                    <a:pt x="136" y="1024"/>
                  </a:lnTo>
                  <a:lnTo>
                    <a:pt x="138" y="1024"/>
                  </a:lnTo>
                  <a:close/>
                  <a:moveTo>
                    <a:pt x="136" y="1024"/>
                  </a:moveTo>
                  <a:lnTo>
                    <a:pt x="133" y="1024"/>
                  </a:lnTo>
                  <a:lnTo>
                    <a:pt x="136" y="1024"/>
                  </a:lnTo>
                  <a:close/>
                  <a:moveTo>
                    <a:pt x="145" y="1024"/>
                  </a:moveTo>
                  <a:lnTo>
                    <a:pt x="143" y="1024"/>
                  </a:lnTo>
                  <a:lnTo>
                    <a:pt x="145" y="1024"/>
                  </a:lnTo>
                  <a:close/>
                  <a:moveTo>
                    <a:pt x="126" y="1024"/>
                  </a:moveTo>
                  <a:lnTo>
                    <a:pt x="124" y="1024"/>
                  </a:lnTo>
                  <a:lnTo>
                    <a:pt x="126" y="1024"/>
                  </a:lnTo>
                  <a:close/>
                  <a:moveTo>
                    <a:pt x="159" y="1024"/>
                  </a:moveTo>
                  <a:lnTo>
                    <a:pt x="159" y="1022"/>
                  </a:lnTo>
                  <a:lnTo>
                    <a:pt x="159" y="1024"/>
                  </a:lnTo>
                  <a:close/>
                  <a:moveTo>
                    <a:pt x="145" y="1022"/>
                  </a:moveTo>
                  <a:lnTo>
                    <a:pt x="145" y="1024"/>
                  </a:lnTo>
                  <a:lnTo>
                    <a:pt x="145" y="1022"/>
                  </a:lnTo>
                  <a:close/>
                  <a:moveTo>
                    <a:pt x="131" y="1024"/>
                  </a:moveTo>
                  <a:lnTo>
                    <a:pt x="131" y="1022"/>
                  </a:lnTo>
                  <a:lnTo>
                    <a:pt x="131" y="1024"/>
                  </a:lnTo>
                  <a:close/>
                  <a:moveTo>
                    <a:pt x="136" y="1022"/>
                  </a:moveTo>
                  <a:lnTo>
                    <a:pt x="136" y="1024"/>
                  </a:lnTo>
                  <a:lnTo>
                    <a:pt x="136" y="1022"/>
                  </a:lnTo>
                  <a:close/>
                  <a:moveTo>
                    <a:pt x="159" y="1022"/>
                  </a:moveTo>
                  <a:lnTo>
                    <a:pt x="159" y="1024"/>
                  </a:lnTo>
                  <a:lnTo>
                    <a:pt x="159" y="1022"/>
                  </a:lnTo>
                  <a:close/>
                  <a:moveTo>
                    <a:pt x="145" y="1024"/>
                  </a:moveTo>
                  <a:lnTo>
                    <a:pt x="143" y="1024"/>
                  </a:lnTo>
                  <a:lnTo>
                    <a:pt x="145" y="1022"/>
                  </a:lnTo>
                  <a:lnTo>
                    <a:pt x="145" y="1024"/>
                  </a:lnTo>
                  <a:close/>
                  <a:moveTo>
                    <a:pt x="138" y="1022"/>
                  </a:moveTo>
                  <a:lnTo>
                    <a:pt x="138" y="1024"/>
                  </a:lnTo>
                  <a:lnTo>
                    <a:pt x="136" y="1024"/>
                  </a:lnTo>
                  <a:lnTo>
                    <a:pt x="138" y="1022"/>
                  </a:lnTo>
                  <a:close/>
                  <a:moveTo>
                    <a:pt x="162" y="1022"/>
                  </a:moveTo>
                  <a:lnTo>
                    <a:pt x="162" y="1024"/>
                  </a:lnTo>
                  <a:lnTo>
                    <a:pt x="162" y="1022"/>
                  </a:lnTo>
                  <a:close/>
                  <a:moveTo>
                    <a:pt x="128" y="1024"/>
                  </a:moveTo>
                  <a:lnTo>
                    <a:pt x="128" y="1022"/>
                  </a:lnTo>
                  <a:lnTo>
                    <a:pt x="128" y="1024"/>
                  </a:lnTo>
                  <a:close/>
                  <a:moveTo>
                    <a:pt x="150" y="1022"/>
                  </a:moveTo>
                  <a:lnTo>
                    <a:pt x="150" y="1024"/>
                  </a:lnTo>
                  <a:lnTo>
                    <a:pt x="150" y="1022"/>
                  </a:lnTo>
                  <a:close/>
                  <a:moveTo>
                    <a:pt x="136" y="1024"/>
                  </a:moveTo>
                  <a:lnTo>
                    <a:pt x="136" y="1022"/>
                  </a:lnTo>
                  <a:lnTo>
                    <a:pt x="136" y="1024"/>
                  </a:lnTo>
                  <a:close/>
                  <a:moveTo>
                    <a:pt x="140" y="1022"/>
                  </a:moveTo>
                  <a:lnTo>
                    <a:pt x="138" y="1022"/>
                  </a:lnTo>
                  <a:lnTo>
                    <a:pt x="140" y="1022"/>
                  </a:lnTo>
                  <a:close/>
                  <a:moveTo>
                    <a:pt x="143" y="1022"/>
                  </a:moveTo>
                  <a:lnTo>
                    <a:pt x="140" y="1022"/>
                  </a:lnTo>
                  <a:lnTo>
                    <a:pt x="143" y="1022"/>
                  </a:lnTo>
                  <a:close/>
                  <a:moveTo>
                    <a:pt x="131" y="1022"/>
                  </a:moveTo>
                  <a:lnTo>
                    <a:pt x="131" y="1019"/>
                  </a:lnTo>
                  <a:lnTo>
                    <a:pt x="131" y="1022"/>
                  </a:lnTo>
                  <a:close/>
                  <a:moveTo>
                    <a:pt x="145" y="1019"/>
                  </a:moveTo>
                  <a:lnTo>
                    <a:pt x="145" y="1022"/>
                  </a:lnTo>
                  <a:lnTo>
                    <a:pt x="145" y="1019"/>
                  </a:lnTo>
                  <a:close/>
                  <a:moveTo>
                    <a:pt x="133" y="1019"/>
                  </a:moveTo>
                  <a:lnTo>
                    <a:pt x="133" y="1022"/>
                  </a:lnTo>
                  <a:lnTo>
                    <a:pt x="133" y="1019"/>
                  </a:lnTo>
                  <a:close/>
                  <a:moveTo>
                    <a:pt x="133" y="1019"/>
                  </a:moveTo>
                  <a:lnTo>
                    <a:pt x="133" y="1022"/>
                  </a:lnTo>
                  <a:lnTo>
                    <a:pt x="133" y="1019"/>
                  </a:lnTo>
                  <a:close/>
                  <a:moveTo>
                    <a:pt x="136" y="1019"/>
                  </a:moveTo>
                  <a:lnTo>
                    <a:pt x="133" y="1019"/>
                  </a:lnTo>
                  <a:lnTo>
                    <a:pt x="136" y="1019"/>
                  </a:lnTo>
                  <a:close/>
                  <a:moveTo>
                    <a:pt x="183" y="1019"/>
                  </a:moveTo>
                  <a:lnTo>
                    <a:pt x="181" y="1019"/>
                  </a:lnTo>
                  <a:lnTo>
                    <a:pt x="183" y="1019"/>
                  </a:lnTo>
                  <a:close/>
                  <a:moveTo>
                    <a:pt x="136" y="1019"/>
                  </a:moveTo>
                  <a:lnTo>
                    <a:pt x="133" y="1019"/>
                  </a:lnTo>
                  <a:lnTo>
                    <a:pt x="136" y="1019"/>
                  </a:lnTo>
                  <a:close/>
                  <a:moveTo>
                    <a:pt x="133" y="1019"/>
                  </a:moveTo>
                  <a:lnTo>
                    <a:pt x="136" y="1019"/>
                  </a:lnTo>
                  <a:lnTo>
                    <a:pt x="133" y="1019"/>
                  </a:lnTo>
                  <a:close/>
                  <a:moveTo>
                    <a:pt x="138" y="1019"/>
                  </a:moveTo>
                  <a:lnTo>
                    <a:pt x="136" y="1019"/>
                  </a:lnTo>
                  <a:lnTo>
                    <a:pt x="138" y="1019"/>
                  </a:lnTo>
                  <a:close/>
                  <a:moveTo>
                    <a:pt x="133" y="1019"/>
                  </a:moveTo>
                  <a:lnTo>
                    <a:pt x="133" y="1017"/>
                  </a:lnTo>
                  <a:lnTo>
                    <a:pt x="133" y="1019"/>
                  </a:lnTo>
                  <a:close/>
                  <a:moveTo>
                    <a:pt x="133" y="1017"/>
                  </a:moveTo>
                  <a:lnTo>
                    <a:pt x="133" y="1019"/>
                  </a:lnTo>
                  <a:lnTo>
                    <a:pt x="133" y="1017"/>
                  </a:lnTo>
                  <a:close/>
                  <a:moveTo>
                    <a:pt x="133" y="1017"/>
                  </a:moveTo>
                  <a:lnTo>
                    <a:pt x="133" y="1019"/>
                  </a:lnTo>
                  <a:lnTo>
                    <a:pt x="133" y="1017"/>
                  </a:lnTo>
                  <a:close/>
                  <a:moveTo>
                    <a:pt x="128" y="1019"/>
                  </a:moveTo>
                  <a:lnTo>
                    <a:pt x="128" y="1017"/>
                  </a:lnTo>
                  <a:lnTo>
                    <a:pt x="128" y="1019"/>
                  </a:lnTo>
                  <a:close/>
                  <a:moveTo>
                    <a:pt x="131" y="1019"/>
                  </a:moveTo>
                  <a:lnTo>
                    <a:pt x="131" y="1017"/>
                  </a:lnTo>
                  <a:lnTo>
                    <a:pt x="131" y="1019"/>
                  </a:lnTo>
                  <a:close/>
                  <a:moveTo>
                    <a:pt x="138" y="1017"/>
                  </a:moveTo>
                  <a:lnTo>
                    <a:pt x="138" y="1019"/>
                  </a:lnTo>
                  <a:lnTo>
                    <a:pt x="138" y="1017"/>
                  </a:lnTo>
                  <a:close/>
                  <a:moveTo>
                    <a:pt x="131" y="1017"/>
                  </a:moveTo>
                  <a:lnTo>
                    <a:pt x="131" y="1019"/>
                  </a:lnTo>
                  <a:lnTo>
                    <a:pt x="131" y="1017"/>
                  </a:lnTo>
                  <a:close/>
                  <a:moveTo>
                    <a:pt x="145" y="1017"/>
                  </a:moveTo>
                  <a:lnTo>
                    <a:pt x="145" y="1019"/>
                  </a:lnTo>
                  <a:lnTo>
                    <a:pt x="145" y="1017"/>
                  </a:lnTo>
                  <a:close/>
                  <a:moveTo>
                    <a:pt x="128" y="1017"/>
                  </a:moveTo>
                  <a:lnTo>
                    <a:pt x="128" y="1019"/>
                  </a:lnTo>
                  <a:lnTo>
                    <a:pt x="128" y="1017"/>
                  </a:lnTo>
                  <a:lnTo>
                    <a:pt x="128" y="1019"/>
                  </a:lnTo>
                  <a:lnTo>
                    <a:pt x="128" y="1017"/>
                  </a:lnTo>
                  <a:close/>
                  <a:moveTo>
                    <a:pt x="133" y="1017"/>
                  </a:moveTo>
                  <a:lnTo>
                    <a:pt x="133" y="1019"/>
                  </a:lnTo>
                  <a:lnTo>
                    <a:pt x="133" y="1017"/>
                  </a:lnTo>
                  <a:close/>
                  <a:moveTo>
                    <a:pt x="138" y="1017"/>
                  </a:moveTo>
                  <a:lnTo>
                    <a:pt x="138" y="1019"/>
                  </a:lnTo>
                  <a:lnTo>
                    <a:pt x="138" y="1017"/>
                  </a:lnTo>
                  <a:close/>
                  <a:moveTo>
                    <a:pt x="131" y="1017"/>
                  </a:moveTo>
                  <a:lnTo>
                    <a:pt x="128" y="1017"/>
                  </a:lnTo>
                  <a:lnTo>
                    <a:pt x="131" y="1017"/>
                  </a:lnTo>
                  <a:close/>
                  <a:moveTo>
                    <a:pt x="138" y="1017"/>
                  </a:moveTo>
                  <a:lnTo>
                    <a:pt x="136" y="1017"/>
                  </a:lnTo>
                  <a:lnTo>
                    <a:pt x="138" y="1017"/>
                  </a:lnTo>
                  <a:close/>
                  <a:moveTo>
                    <a:pt x="145" y="1017"/>
                  </a:moveTo>
                  <a:lnTo>
                    <a:pt x="143" y="1017"/>
                  </a:lnTo>
                  <a:lnTo>
                    <a:pt x="145" y="1017"/>
                  </a:lnTo>
                  <a:close/>
                  <a:moveTo>
                    <a:pt x="133" y="1017"/>
                  </a:moveTo>
                  <a:lnTo>
                    <a:pt x="131" y="1017"/>
                  </a:lnTo>
                  <a:lnTo>
                    <a:pt x="133" y="1017"/>
                  </a:lnTo>
                  <a:close/>
                  <a:moveTo>
                    <a:pt x="138" y="1017"/>
                  </a:moveTo>
                  <a:lnTo>
                    <a:pt x="136" y="1017"/>
                  </a:lnTo>
                  <a:lnTo>
                    <a:pt x="138" y="1017"/>
                  </a:lnTo>
                  <a:close/>
                  <a:moveTo>
                    <a:pt x="147" y="1017"/>
                  </a:moveTo>
                  <a:lnTo>
                    <a:pt x="145" y="1017"/>
                  </a:lnTo>
                  <a:lnTo>
                    <a:pt x="147" y="1017"/>
                  </a:lnTo>
                  <a:close/>
                  <a:moveTo>
                    <a:pt x="147" y="1017"/>
                  </a:moveTo>
                  <a:lnTo>
                    <a:pt x="145" y="1017"/>
                  </a:lnTo>
                  <a:lnTo>
                    <a:pt x="147" y="1017"/>
                  </a:lnTo>
                  <a:close/>
                  <a:moveTo>
                    <a:pt x="133" y="1014"/>
                  </a:moveTo>
                  <a:lnTo>
                    <a:pt x="133" y="1017"/>
                  </a:lnTo>
                  <a:lnTo>
                    <a:pt x="133" y="1014"/>
                  </a:lnTo>
                  <a:close/>
                  <a:moveTo>
                    <a:pt x="145" y="1014"/>
                  </a:moveTo>
                  <a:lnTo>
                    <a:pt x="147" y="1017"/>
                  </a:lnTo>
                  <a:lnTo>
                    <a:pt x="145" y="1017"/>
                  </a:lnTo>
                  <a:lnTo>
                    <a:pt x="145" y="1014"/>
                  </a:lnTo>
                  <a:close/>
                  <a:moveTo>
                    <a:pt x="140" y="1017"/>
                  </a:moveTo>
                  <a:lnTo>
                    <a:pt x="140" y="1014"/>
                  </a:lnTo>
                  <a:lnTo>
                    <a:pt x="140" y="1017"/>
                  </a:lnTo>
                  <a:close/>
                  <a:moveTo>
                    <a:pt x="145" y="1017"/>
                  </a:moveTo>
                  <a:lnTo>
                    <a:pt x="145" y="1014"/>
                  </a:lnTo>
                  <a:lnTo>
                    <a:pt x="145" y="1017"/>
                  </a:lnTo>
                  <a:close/>
                  <a:moveTo>
                    <a:pt x="143" y="1014"/>
                  </a:moveTo>
                  <a:lnTo>
                    <a:pt x="143" y="1017"/>
                  </a:lnTo>
                  <a:lnTo>
                    <a:pt x="143" y="1014"/>
                  </a:lnTo>
                  <a:close/>
                  <a:moveTo>
                    <a:pt x="164" y="1017"/>
                  </a:moveTo>
                  <a:lnTo>
                    <a:pt x="164" y="1014"/>
                  </a:lnTo>
                  <a:lnTo>
                    <a:pt x="164" y="1017"/>
                  </a:lnTo>
                  <a:close/>
                  <a:moveTo>
                    <a:pt x="145" y="1014"/>
                  </a:moveTo>
                  <a:lnTo>
                    <a:pt x="145" y="1017"/>
                  </a:lnTo>
                  <a:lnTo>
                    <a:pt x="145" y="1014"/>
                  </a:lnTo>
                  <a:close/>
                  <a:moveTo>
                    <a:pt x="128" y="1017"/>
                  </a:moveTo>
                  <a:lnTo>
                    <a:pt x="128" y="1014"/>
                  </a:lnTo>
                  <a:lnTo>
                    <a:pt x="128" y="1017"/>
                  </a:lnTo>
                  <a:close/>
                  <a:moveTo>
                    <a:pt x="145" y="1014"/>
                  </a:moveTo>
                  <a:lnTo>
                    <a:pt x="147" y="1014"/>
                  </a:lnTo>
                  <a:lnTo>
                    <a:pt x="145" y="1014"/>
                  </a:lnTo>
                  <a:close/>
                  <a:moveTo>
                    <a:pt x="140" y="1014"/>
                  </a:moveTo>
                  <a:lnTo>
                    <a:pt x="138" y="1014"/>
                  </a:lnTo>
                  <a:lnTo>
                    <a:pt x="140" y="1014"/>
                  </a:lnTo>
                  <a:close/>
                  <a:moveTo>
                    <a:pt x="140" y="1014"/>
                  </a:moveTo>
                  <a:lnTo>
                    <a:pt x="138" y="1014"/>
                  </a:lnTo>
                  <a:lnTo>
                    <a:pt x="140" y="1014"/>
                  </a:lnTo>
                  <a:close/>
                  <a:moveTo>
                    <a:pt x="128" y="1014"/>
                  </a:moveTo>
                  <a:lnTo>
                    <a:pt x="126" y="1014"/>
                  </a:lnTo>
                  <a:lnTo>
                    <a:pt x="128" y="1014"/>
                  </a:lnTo>
                  <a:close/>
                  <a:moveTo>
                    <a:pt x="131" y="1014"/>
                  </a:moveTo>
                  <a:lnTo>
                    <a:pt x="128" y="1014"/>
                  </a:lnTo>
                  <a:lnTo>
                    <a:pt x="131" y="1014"/>
                  </a:lnTo>
                  <a:close/>
                  <a:moveTo>
                    <a:pt x="166" y="1014"/>
                  </a:moveTo>
                  <a:lnTo>
                    <a:pt x="164" y="1014"/>
                  </a:lnTo>
                  <a:lnTo>
                    <a:pt x="166" y="1014"/>
                  </a:lnTo>
                  <a:close/>
                  <a:moveTo>
                    <a:pt x="166" y="1014"/>
                  </a:moveTo>
                  <a:lnTo>
                    <a:pt x="164" y="1014"/>
                  </a:lnTo>
                  <a:lnTo>
                    <a:pt x="166" y="1014"/>
                  </a:lnTo>
                  <a:close/>
                  <a:moveTo>
                    <a:pt x="166" y="1012"/>
                  </a:moveTo>
                  <a:lnTo>
                    <a:pt x="166" y="1014"/>
                  </a:lnTo>
                  <a:lnTo>
                    <a:pt x="166" y="1012"/>
                  </a:lnTo>
                  <a:close/>
                  <a:moveTo>
                    <a:pt x="166" y="1012"/>
                  </a:moveTo>
                  <a:lnTo>
                    <a:pt x="166" y="1014"/>
                  </a:lnTo>
                  <a:lnTo>
                    <a:pt x="166" y="1012"/>
                  </a:lnTo>
                  <a:close/>
                  <a:moveTo>
                    <a:pt x="131" y="1014"/>
                  </a:moveTo>
                  <a:lnTo>
                    <a:pt x="131" y="1012"/>
                  </a:lnTo>
                  <a:lnTo>
                    <a:pt x="131" y="1014"/>
                  </a:lnTo>
                  <a:close/>
                  <a:moveTo>
                    <a:pt x="136" y="1012"/>
                  </a:moveTo>
                  <a:lnTo>
                    <a:pt x="136" y="1014"/>
                  </a:lnTo>
                  <a:lnTo>
                    <a:pt x="136" y="1012"/>
                  </a:lnTo>
                  <a:close/>
                  <a:moveTo>
                    <a:pt x="166" y="1012"/>
                  </a:moveTo>
                  <a:lnTo>
                    <a:pt x="166" y="1014"/>
                  </a:lnTo>
                  <a:lnTo>
                    <a:pt x="166" y="1012"/>
                  </a:lnTo>
                  <a:close/>
                  <a:moveTo>
                    <a:pt x="128" y="1012"/>
                  </a:moveTo>
                  <a:lnTo>
                    <a:pt x="128" y="1014"/>
                  </a:lnTo>
                  <a:lnTo>
                    <a:pt x="128" y="1012"/>
                  </a:lnTo>
                  <a:close/>
                  <a:moveTo>
                    <a:pt x="140" y="1012"/>
                  </a:moveTo>
                  <a:lnTo>
                    <a:pt x="140" y="1014"/>
                  </a:lnTo>
                  <a:lnTo>
                    <a:pt x="140" y="1012"/>
                  </a:lnTo>
                  <a:close/>
                  <a:moveTo>
                    <a:pt x="131" y="1012"/>
                  </a:moveTo>
                  <a:lnTo>
                    <a:pt x="131" y="1014"/>
                  </a:lnTo>
                  <a:lnTo>
                    <a:pt x="131" y="1012"/>
                  </a:lnTo>
                  <a:close/>
                  <a:moveTo>
                    <a:pt x="166" y="1012"/>
                  </a:moveTo>
                  <a:lnTo>
                    <a:pt x="166" y="1014"/>
                  </a:lnTo>
                  <a:lnTo>
                    <a:pt x="166" y="1012"/>
                  </a:lnTo>
                  <a:close/>
                  <a:moveTo>
                    <a:pt x="131" y="1012"/>
                  </a:moveTo>
                  <a:lnTo>
                    <a:pt x="131" y="1014"/>
                  </a:lnTo>
                  <a:lnTo>
                    <a:pt x="128" y="1014"/>
                  </a:lnTo>
                  <a:lnTo>
                    <a:pt x="128" y="1012"/>
                  </a:lnTo>
                  <a:lnTo>
                    <a:pt x="131" y="1012"/>
                  </a:lnTo>
                  <a:close/>
                  <a:moveTo>
                    <a:pt x="131" y="1012"/>
                  </a:moveTo>
                  <a:lnTo>
                    <a:pt x="128" y="1012"/>
                  </a:lnTo>
                  <a:lnTo>
                    <a:pt x="131" y="1012"/>
                  </a:lnTo>
                  <a:close/>
                  <a:moveTo>
                    <a:pt x="133" y="1012"/>
                  </a:moveTo>
                  <a:lnTo>
                    <a:pt x="131" y="1012"/>
                  </a:lnTo>
                  <a:lnTo>
                    <a:pt x="133" y="1012"/>
                  </a:lnTo>
                  <a:close/>
                  <a:moveTo>
                    <a:pt x="131" y="1012"/>
                  </a:moveTo>
                  <a:lnTo>
                    <a:pt x="128" y="1012"/>
                  </a:lnTo>
                  <a:lnTo>
                    <a:pt x="131" y="1012"/>
                  </a:lnTo>
                  <a:close/>
                  <a:moveTo>
                    <a:pt x="133" y="1012"/>
                  </a:moveTo>
                  <a:lnTo>
                    <a:pt x="131" y="1012"/>
                  </a:lnTo>
                  <a:lnTo>
                    <a:pt x="133" y="1012"/>
                  </a:lnTo>
                  <a:close/>
                  <a:moveTo>
                    <a:pt x="133" y="1012"/>
                  </a:moveTo>
                  <a:lnTo>
                    <a:pt x="131" y="1012"/>
                  </a:lnTo>
                  <a:lnTo>
                    <a:pt x="133" y="1012"/>
                  </a:lnTo>
                  <a:close/>
                  <a:moveTo>
                    <a:pt x="136" y="1012"/>
                  </a:moveTo>
                  <a:lnTo>
                    <a:pt x="133" y="1012"/>
                  </a:lnTo>
                  <a:lnTo>
                    <a:pt x="136" y="1012"/>
                  </a:lnTo>
                  <a:lnTo>
                    <a:pt x="133" y="1012"/>
                  </a:lnTo>
                  <a:lnTo>
                    <a:pt x="136" y="1012"/>
                  </a:lnTo>
                  <a:close/>
                  <a:moveTo>
                    <a:pt x="174" y="1012"/>
                  </a:moveTo>
                  <a:lnTo>
                    <a:pt x="171" y="1012"/>
                  </a:lnTo>
                  <a:lnTo>
                    <a:pt x="174" y="1012"/>
                  </a:lnTo>
                  <a:close/>
                  <a:moveTo>
                    <a:pt x="136" y="1012"/>
                  </a:moveTo>
                  <a:lnTo>
                    <a:pt x="133" y="1012"/>
                  </a:lnTo>
                  <a:lnTo>
                    <a:pt x="136" y="1012"/>
                  </a:lnTo>
                  <a:close/>
                  <a:moveTo>
                    <a:pt x="136" y="1012"/>
                  </a:moveTo>
                  <a:lnTo>
                    <a:pt x="133" y="1012"/>
                  </a:lnTo>
                  <a:lnTo>
                    <a:pt x="136" y="1012"/>
                  </a:lnTo>
                  <a:close/>
                  <a:moveTo>
                    <a:pt x="136" y="1012"/>
                  </a:moveTo>
                  <a:lnTo>
                    <a:pt x="133" y="1012"/>
                  </a:lnTo>
                  <a:lnTo>
                    <a:pt x="136" y="1012"/>
                  </a:lnTo>
                  <a:close/>
                  <a:moveTo>
                    <a:pt x="133" y="1010"/>
                  </a:moveTo>
                  <a:lnTo>
                    <a:pt x="133" y="1012"/>
                  </a:lnTo>
                  <a:lnTo>
                    <a:pt x="133" y="1010"/>
                  </a:lnTo>
                  <a:close/>
                  <a:moveTo>
                    <a:pt x="169" y="1012"/>
                  </a:moveTo>
                  <a:lnTo>
                    <a:pt x="169" y="1010"/>
                  </a:lnTo>
                  <a:lnTo>
                    <a:pt x="169" y="1012"/>
                  </a:lnTo>
                  <a:close/>
                  <a:moveTo>
                    <a:pt x="171" y="1012"/>
                  </a:moveTo>
                  <a:lnTo>
                    <a:pt x="171" y="1010"/>
                  </a:lnTo>
                  <a:lnTo>
                    <a:pt x="171" y="1012"/>
                  </a:lnTo>
                  <a:close/>
                  <a:moveTo>
                    <a:pt x="143" y="1012"/>
                  </a:moveTo>
                  <a:lnTo>
                    <a:pt x="140" y="1012"/>
                  </a:lnTo>
                  <a:lnTo>
                    <a:pt x="140" y="1010"/>
                  </a:lnTo>
                  <a:lnTo>
                    <a:pt x="143" y="1012"/>
                  </a:lnTo>
                  <a:close/>
                  <a:moveTo>
                    <a:pt x="133" y="1010"/>
                  </a:moveTo>
                  <a:lnTo>
                    <a:pt x="133" y="1012"/>
                  </a:lnTo>
                  <a:lnTo>
                    <a:pt x="133" y="1010"/>
                  </a:lnTo>
                  <a:close/>
                  <a:moveTo>
                    <a:pt x="136" y="1010"/>
                  </a:moveTo>
                  <a:lnTo>
                    <a:pt x="133" y="1010"/>
                  </a:lnTo>
                  <a:lnTo>
                    <a:pt x="136" y="1010"/>
                  </a:lnTo>
                  <a:close/>
                  <a:moveTo>
                    <a:pt x="133" y="1010"/>
                  </a:moveTo>
                  <a:lnTo>
                    <a:pt x="133" y="1012"/>
                  </a:lnTo>
                  <a:lnTo>
                    <a:pt x="133" y="1010"/>
                  </a:lnTo>
                  <a:close/>
                  <a:moveTo>
                    <a:pt x="216" y="1010"/>
                  </a:moveTo>
                  <a:lnTo>
                    <a:pt x="219" y="1010"/>
                  </a:lnTo>
                  <a:lnTo>
                    <a:pt x="216" y="1010"/>
                  </a:lnTo>
                  <a:close/>
                  <a:moveTo>
                    <a:pt x="145" y="1010"/>
                  </a:moveTo>
                  <a:lnTo>
                    <a:pt x="143" y="1010"/>
                  </a:lnTo>
                  <a:lnTo>
                    <a:pt x="145" y="1010"/>
                  </a:lnTo>
                  <a:close/>
                  <a:moveTo>
                    <a:pt x="143" y="1010"/>
                  </a:moveTo>
                  <a:lnTo>
                    <a:pt x="145" y="1010"/>
                  </a:lnTo>
                  <a:lnTo>
                    <a:pt x="143" y="1010"/>
                  </a:lnTo>
                  <a:close/>
                  <a:moveTo>
                    <a:pt x="145" y="1010"/>
                  </a:moveTo>
                  <a:lnTo>
                    <a:pt x="147" y="1010"/>
                  </a:lnTo>
                  <a:lnTo>
                    <a:pt x="145" y="1010"/>
                  </a:lnTo>
                  <a:close/>
                  <a:moveTo>
                    <a:pt x="178" y="1010"/>
                  </a:moveTo>
                  <a:lnTo>
                    <a:pt x="176" y="1010"/>
                  </a:lnTo>
                  <a:lnTo>
                    <a:pt x="178" y="1010"/>
                  </a:lnTo>
                  <a:close/>
                  <a:moveTo>
                    <a:pt x="178" y="1007"/>
                  </a:moveTo>
                  <a:lnTo>
                    <a:pt x="178" y="1010"/>
                  </a:lnTo>
                  <a:lnTo>
                    <a:pt x="178" y="1007"/>
                  </a:lnTo>
                  <a:close/>
                  <a:moveTo>
                    <a:pt x="181" y="1007"/>
                  </a:moveTo>
                  <a:lnTo>
                    <a:pt x="181" y="1010"/>
                  </a:lnTo>
                  <a:lnTo>
                    <a:pt x="181" y="1007"/>
                  </a:lnTo>
                  <a:close/>
                  <a:moveTo>
                    <a:pt x="147" y="1007"/>
                  </a:moveTo>
                  <a:lnTo>
                    <a:pt x="145" y="1007"/>
                  </a:lnTo>
                  <a:lnTo>
                    <a:pt x="147" y="1007"/>
                  </a:lnTo>
                  <a:close/>
                  <a:moveTo>
                    <a:pt x="147" y="1007"/>
                  </a:moveTo>
                  <a:lnTo>
                    <a:pt x="150" y="1007"/>
                  </a:lnTo>
                  <a:lnTo>
                    <a:pt x="147" y="1007"/>
                  </a:lnTo>
                  <a:close/>
                  <a:moveTo>
                    <a:pt x="150" y="1007"/>
                  </a:moveTo>
                  <a:lnTo>
                    <a:pt x="147" y="1007"/>
                  </a:lnTo>
                  <a:lnTo>
                    <a:pt x="150" y="1007"/>
                  </a:lnTo>
                  <a:close/>
                  <a:moveTo>
                    <a:pt x="145" y="1007"/>
                  </a:moveTo>
                  <a:lnTo>
                    <a:pt x="143" y="1007"/>
                  </a:lnTo>
                  <a:lnTo>
                    <a:pt x="145" y="1007"/>
                  </a:lnTo>
                  <a:lnTo>
                    <a:pt x="143" y="1007"/>
                  </a:lnTo>
                  <a:lnTo>
                    <a:pt x="145" y="1007"/>
                  </a:lnTo>
                  <a:close/>
                  <a:moveTo>
                    <a:pt x="169" y="1007"/>
                  </a:moveTo>
                  <a:lnTo>
                    <a:pt x="166" y="1007"/>
                  </a:lnTo>
                  <a:lnTo>
                    <a:pt x="169" y="1007"/>
                  </a:lnTo>
                  <a:close/>
                  <a:moveTo>
                    <a:pt x="150" y="1007"/>
                  </a:moveTo>
                  <a:lnTo>
                    <a:pt x="152" y="1007"/>
                  </a:lnTo>
                  <a:lnTo>
                    <a:pt x="150" y="1007"/>
                  </a:lnTo>
                  <a:close/>
                  <a:moveTo>
                    <a:pt x="150" y="1007"/>
                  </a:moveTo>
                  <a:lnTo>
                    <a:pt x="150" y="1005"/>
                  </a:lnTo>
                  <a:lnTo>
                    <a:pt x="150" y="1007"/>
                  </a:lnTo>
                  <a:close/>
                  <a:moveTo>
                    <a:pt x="152" y="1007"/>
                  </a:moveTo>
                  <a:lnTo>
                    <a:pt x="152" y="1005"/>
                  </a:lnTo>
                  <a:lnTo>
                    <a:pt x="152" y="1007"/>
                  </a:lnTo>
                  <a:close/>
                  <a:moveTo>
                    <a:pt x="143" y="1005"/>
                  </a:moveTo>
                  <a:lnTo>
                    <a:pt x="143" y="1007"/>
                  </a:lnTo>
                  <a:lnTo>
                    <a:pt x="143" y="1005"/>
                  </a:lnTo>
                  <a:close/>
                  <a:moveTo>
                    <a:pt x="147" y="1007"/>
                  </a:moveTo>
                  <a:lnTo>
                    <a:pt x="147" y="1005"/>
                  </a:lnTo>
                  <a:lnTo>
                    <a:pt x="147" y="1007"/>
                  </a:lnTo>
                  <a:close/>
                  <a:moveTo>
                    <a:pt x="150" y="1005"/>
                  </a:moveTo>
                  <a:lnTo>
                    <a:pt x="150" y="1007"/>
                  </a:lnTo>
                  <a:lnTo>
                    <a:pt x="150" y="1005"/>
                  </a:lnTo>
                  <a:close/>
                  <a:moveTo>
                    <a:pt x="169" y="1005"/>
                  </a:moveTo>
                  <a:lnTo>
                    <a:pt x="169" y="1007"/>
                  </a:lnTo>
                  <a:lnTo>
                    <a:pt x="169" y="1005"/>
                  </a:lnTo>
                  <a:close/>
                  <a:moveTo>
                    <a:pt x="150" y="1005"/>
                  </a:moveTo>
                  <a:lnTo>
                    <a:pt x="147" y="1005"/>
                  </a:lnTo>
                  <a:lnTo>
                    <a:pt x="150" y="1005"/>
                  </a:lnTo>
                  <a:close/>
                  <a:moveTo>
                    <a:pt x="150" y="1005"/>
                  </a:moveTo>
                  <a:lnTo>
                    <a:pt x="147" y="1005"/>
                  </a:lnTo>
                  <a:lnTo>
                    <a:pt x="150" y="1005"/>
                  </a:lnTo>
                  <a:close/>
                  <a:moveTo>
                    <a:pt x="155" y="1005"/>
                  </a:moveTo>
                  <a:lnTo>
                    <a:pt x="152" y="1005"/>
                  </a:lnTo>
                  <a:lnTo>
                    <a:pt x="155" y="1005"/>
                  </a:lnTo>
                  <a:close/>
                  <a:moveTo>
                    <a:pt x="152" y="1003"/>
                  </a:moveTo>
                  <a:lnTo>
                    <a:pt x="152" y="1005"/>
                  </a:lnTo>
                  <a:lnTo>
                    <a:pt x="152" y="1003"/>
                  </a:lnTo>
                  <a:close/>
                  <a:moveTo>
                    <a:pt x="223" y="1003"/>
                  </a:moveTo>
                  <a:lnTo>
                    <a:pt x="226" y="1003"/>
                  </a:lnTo>
                  <a:lnTo>
                    <a:pt x="223" y="1003"/>
                  </a:lnTo>
                  <a:close/>
                  <a:moveTo>
                    <a:pt x="183" y="1003"/>
                  </a:moveTo>
                  <a:lnTo>
                    <a:pt x="181" y="1003"/>
                  </a:lnTo>
                  <a:lnTo>
                    <a:pt x="183" y="1003"/>
                  </a:lnTo>
                  <a:close/>
                  <a:moveTo>
                    <a:pt x="176" y="1003"/>
                  </a:moveTo>
                  <a:lnTo>
                    <a:pt x="178" y="1003"/>
                  </a:lnTo>
                  <a:lnTo>
                    <a:pt x="176" y="1003"/>
                  </a:lnTo>
                  <a:close/>
                  <a:moveTo>
                    <a:pt x="181" y="1003"/>
                  </a:moveTo>
                  <a:lnTo>
                    <a:pt x="178" y="1003"/>
                  </a:lnTo>
                  <a:lnTo>
                    <a:pt x="181" y="1003"/>
                  </a:lnTo>
                  <a:close/>
                  <a:moveTo>
                    <a:pt x="157" y="1003"/>
                  </a:moveTo>
                  <a:lnTo>
                    <a:pt x="155" y="1003"/>
                  </a:lnTo>
                  <a:lnTo>
                    <a:pt x="157" y="1003"/>
                  </a:lnTo>
                  <a:close/>
                  <a:moveTo>
                    <a:pt x="178" y="1003"/>
                  </a:moveTo>
                  <a:lnTo>
                    <a:pt x="176" y="1003"/>
                  </a:lnTo>
                  <a:lnTo>
                    <a:pt x="178" y="1003"/>
                  </a:lnTo>
                  <a:close/>
                  <a:moveTo>
                    <a:pt x="157" y="1003"/>
                  </a:moveTo>
                  <a:lnTo>
                    <a:pt x="157" y="1000"/>
                  </a:lnTo>
                  <a:lnTo>
                    <a:pt x="157" y="1003"/>
                  </a:lnTo>
                  <a:close/>
                  <a:moveTo>
                    <a:pt x="157" y="1000"/>
                  </a:moveTo>
                  <a:lnTo>
                    <a:pt x="157" y="1003"/>
                  </a:lnTo>
                  <a:lnTo>
                    <a:pt x="157" y="1000"/>
                  </a:lnTo>
                  <a:close/>
                  <a:moveTo>
                    <a:pt x="157" y="1000"/>
                  </a:moveTo>
                  <a:lnTo>
                    <a:pt x="155" y="1000"/>
                  </a:lnTo>
                  <a:lnTo>
                    <a:pt x="157" y="1000"/>
                  </a:lnTo>
                  <a:close/>
                  <a:moveTo>
                    <a:pt x="157" y="1000"/>
                  </a:moveTo>
                  <a:lnTo>
                    <a:pt x="155" y="1000"/>
                  </a:lnTo>
                  <a:lnTo>
                    <a:pt x="157" y="1000"/>
                  </a:lnTo>
                  <a:close/>
                  <a:moveTo>
                    <a:pt x="188" y="995"/>
                  </a:moveTo>
                  <a:lnTo>
                    <a:pt x="185" y="995"/>
                  </a:lnTo>
                  <a:lnTo>
                    <a:pt x="188" y="995"/>
                  </a:lnTo>
                  <a:close/>
                  <a:moveTo>
                    <a:pt x="164" y="995"/>
                  </a:moveTo>
                  <a:lnTo>
                    <a:pt x="162" y="995"/>
                  </a:lnTo>
                  <a:lnTo>
                    <a:pt x="164" y="995"/>
                  </a:lnTo>
                  <a:close/>
                  <a:moveTo>
                    <a:pt x="185" y="993"/>
                  </a:moveTo>
                  <a:lnTo>
                    <a:pt x="183" y="993"/>
                  </a:lnTo>
                  <a:lnTo>
                    <a:pt x="185" y="993"/>
                  </a:lnTo>
                  <a:close/>
                  <a:moveTo>
                    <a:pt x="195" y="986"/>
                  </a:moveTo>
                  <a:lnTo>
                    <a:pt x="192" y="986"/>
                  </a:lnTo>
                  <a:lnTo>
                    <a:pt x="195" y="986"/>
                  </a:lnTo>
                  <a:close/>
                  <a:moveTo>
                    <a:pt x="197" y="986"/>
                  </a:moveTo>
                  <a:lnTo>
                    <a:pt x="197" y="984"/>
                  </a:lnTo>
                  <a:lnTo>
                    <a:pt x="197" y="986"/>
                  </a:lnTo>
                  <a:close/>
                  <a:moveTo>
                    <a:pt x="207" y="981"/>
                  </a:moveTo>
                  <a:lnTo>
                    <a:pt x="207" y="984"/>
                  </a:lnTo>
                  <a:lnTo>
                    <a:pt x="207" y="981"/>
                  </a:lnTo>
                  <a:close/>
                  <a:moveTo>
                    <a:pt x="209" y="981"/>
                  </a:moveTo>
                  <a:lnTo>
                    <a:pt x="207" y="981"/>
                  </a:lnTo>
                  <a:lnTo>
                    <a:pt x="209" y="981"/>
                  </a:lnTo>
                  <a:close/>
                  <a:moveTo>
                    <a:pt x="226" y="979"/>
                  </a:moveTo>
                  <a:lnTo>
                    <a:pt x="226" y="981"/>
                  </a:lnTo>
                  <a:lnTo>
                    <a:pt x="226" y="979"/>
                  </a:lnTo>
                  <a:close/>
                  <a:moveTo>
                    <a:pt x="200" y="979"/>
                  </a:moveTo>
                  <a:lnTo>
                    <a:pt x="200" y="981"/>
                  </a:lnTo>
                  <a:lnTo>
                    <a:pt x="200" y="979"/>
                  </a:lnTo>
                  <a:close/>
                  <a:moveTo>
                    <a:pt x="200" y="981"/>
                  </a:moveTo>
                  <a:lnTo>
                    <a:pt x="200" y="979"/>
                  </a:lnTo>
                  <a:lnTo>
                    <a:pt x="200" y="981"/>
                  </a:lnTo>
                  <a:close/>
                  <a:moveTo>
                    <a:pt x="230" y="981"/>
                  </a:moveTo>
                  <a:lnTo>
                    <a:pt x="230" y="979"/>
                  </a:lnTo>
                  <a:lnTo>
                    <a:pt x="230" y="981"/>
                  </a:lnTo>
                  <a:close/>
                  <a:moveTo>
                    <a:pt x="228" y="979"/>
                  </a:moveTo>
                  <a:lnTo>
                    <a:pt x="226" y="979"/>
                  </a:lnTo>
                  <a:lnTo>
                    <a:pt x="228" y="979"/>
                  </a:lnTo>
                  <a:lnTo>
                    <a:pt x="226" y="979"/>
                  </a:lnTo>
                  <a:lnTo>
                    <a:pt x="228" y="979"/>
                  </a:lnTo>
                  <a:close/>
                  <a:moveTo>
                    <a:pt x="204" y="976"/>
                  </a:moveTo>
                  <a:lnTo>
                    <a:pt x="202" y="976"/>
                  </a:lnTo>
                  <a:lnTo>
                    <a:pt x="204" y="976"/>
                  </a:lnTo>
                  <a:close/>
                  <a:moveTo>
                    <a:pt x="204" y="976"/>
                  </a:moveTo>
                  <a:lnTo>
                    <a:pt x="202" y="976"/>
                  </a:lnTo>
                  <a:lnTo>
                    <a:pt x="204" y="976"/>
                  </a:lnTo>
                  <a:close/>
                  <a:moveTo>
                    <a:pt x="204" y="976"/>
                  </a:moveTo>
                  <a:lnTo>
                    <a:pt x="202" y="976"/>
                  </a:lnTo>
                  <a:lnTo>
                    <a:pt x="204" y="976"/>
                  </a:lnTo>
                  <a:close/>
                  <a:moveTo>
                    <a:pt x="230" y="976"/>
                  </a:moveTo>
                  <a:lnTo>
                    <a:pt x="233" y="976"/>
                  </a:lnTo>
                  <a:lnTo>
                    <a:pt x="230" y="976"/>
                  </a:lnTo>
                  <a:close/>
                  <a:moveTo>
                    <a:pt x="202" y="976"/>
                  </a:moveTo>
                  <a:lnTo>
                    <a:pt x="202" y="974"/>
                  </a:lnTo>
                  <a:lnTo>
                    <a:pt x="202" y="976"/>
                  </a:lnTo>
                  <a:close/>
                  <a:moveTo>
                    <a:pt x="230" y="974"/>
                  </a:moveTo>
                  <a:lnTo>
                    <a:pt x="230" y="976"/>
                  </a:lnTo>
                  <a:lnTo>
                    <a:pt x="230" y="974"/>
                  </a:lnTo>
                  <a:close/>
                  <a:moveTo>
                    <a:pt x="204" y="976"/>
                  </a:moveTo>
                  <a:lnTo>
                    <a:pt x="204" y="974"/>
                  </a:lnTo>
                  <a:lnTo>
                    <a:pt x="204" y="976"/>
                  </a:lnTo>
                  <a:close/>
                  <a:moveTo>
                    <a:pt x="204" y="976"/>
                  </a:moveTo>
                  <a:lnTo>
                    <a:pt x="204" y="974"/>
                  </a:lnTo>
                  <a:lnTo>
                    <a:pt x="204" y="976"/>
                  </a:lnTo>
                  <a:close/>
                  <a:moveTo>
                    <a:pt x="219" y="974"/>
                  </a:moveTo>
                  <a:lnTo>
                    <a:pt x="219" y="976"/>
                  </a:lnTo>
                  <a:lnTo>
                    <a:pt x="219" y="974"/>
                  </a:lnTo>
                  <a:close/>
                  <a:moveTo>
                    <a:pt x="211" y="976"/>
                  </a:moveTo>
                  <a:lnTo>
                    <a:pt x="211" y="974"/>
                  </a:lnTo>
                  <a:lnTo>
                    <a:pt x="211" y="976"/>
                  </a:lnTo>
                  <a:close/>
                  <a:moveTo>
                    <a:pt x="230" y="974"/>
                  </a:moveTo>
                  <a:lnTo>
                    <a:pt x="228" y="974"/>
                  </a:lnTo>
                  <a:lnTo>
                    <a:pt x="230" y="974"/>
                  </a:lnTo>
                  <a:close/>
                  <a:moveTo>
                    <a:pt x="207" y="974"/>
                  </a:moveTo>
                  <a:lnTo>
                    <a:pt x="204" y="974"/>
                  </a:lnTo>
                  <a:lnTo>
                    <a:pt x="207" y="974"/>
                  </a:lnTo>
                  <a:close/>
                  <a:moveTo>
                    <a:pt x="233" y="972"/>
                  </a:moveTo>
                  <a:lnTo>
                    <a:pt x="233" y="974"/>
                  </a:lnTo>
                  <a:lnTo>
                    <a:pt x="233" y="972"/>
                  </a:lnTo>
                  <a:close/>
                  <a:moveTo>
                    <a:pt x="235" y="974"/>
                  </a:moveTo>
                  <a:lnTo>
                    <a:pt x="235" y="972"/>
                  </a:lnTo>
                  <a:lnTo>
                    <a:pt x="235" y="974"/>
                  </a:lnTo>
                  <a:close/>
                  <a:moveTo>
                    <a:pt x="233" y="972"/>
                  </a:moveTo>
                  <a:lnTo>
                    <a:pt x="235" y="972"/>
                  </a:lnTo>
                  <a:lnTo>
                    <a:pt x="233" y="972"/>
                  </a:lnTo>
                  <a:close/>
                  <a:moveTo>
                    <a:pt x="211" y="972"/>
                  </a:moveTo>
                  <a:lnTo>
                    <a:pt x="211" y="974"/>
                  </a:lnTo>
                  <a:lnTo>
                    <a:pt x="211" y="972"/>
                  </a:lnTo>
                  <a:lnTo>
                    <a:pt x="211" y="974"/>
                  </a:lnTo>
                  <a:lnTo>
                    <a:pt x="211" y="972"/>
                  </a:lnTo>
                  <a:close/>
                  <a:moveTo>
                    <a:pt x="235" y="972"/>
                  </a:moveTo>
                  <a:lnTo>
                    <a:pt x="233" y="972"/>
                  </a:lnTo>
                  <a:lnTo>
                    <a:pt x="235" y="972"/>
                  </a:lnTo>
                  <a:close/>
                  <a:moveTo>
                    <a:pt x="233" y="972"/>
                  </a:moveTo>
                  <a:lnTo>
                    <a:pt x="235" y="972"/>
                  </a:lnTo>
                  <a:lnTo>
                    <a:pt x="233" y="972"/>
                  </a:lnTo>
                  <a:close/>
                  <a:moveTo>
                    <a:pt x="211" y="969"/>
                  </a:moveTo>
                  <a:lnTo>
                    <a:pt x="214" y="972"/>
                  </a:lnTo>
                  <a:lnTo>
                    <a:pt x="211" y="972"/>
                  </a:lnTo>
                  <a:lnTo>
                    <a:pt x="211" y="969"/>
                  </a:lnTo>
                  <a:close/>
                  <a:moveTo>
                    <a:pt x="214" y="972"/>
                  </a:moveTo>
                  <a:lnTo>
                    <a:pt x="214" y="969"/>
                  </a:lnTo>
                  <a:lnTo>
                    <a:pt x="214" y="972"/>
                  </a:lnTo>
                  <a:close/>
                  <a:moveTo>
                    <a:pt x="216" y="972"/>
                  </a:moveTo>
                  <a:lnTo>
                    <a:pt x="216" y="969"/>
                  </a:lnTo>
                  <a:lnTo>
                    <a:pt x="216" y="972"/>
                  </a:lnTo>
                  <a:close/>
                  <a:moveTo>
                    <a:pt x="209" y="972"/>
                  </a:moveTo>
                  <a:lnTo>
                    <a:pt x="209" y="969"/>
                  </a:lnTo>
                  <a:lnTo>
                    <a:pt x="209" y="972"/>
                  </a:lnTo>
                  <a:close/>
                  <a:moveTo>
                    <a:pt x="221" y="967"/>
                  </a:moveTo>
                  <a:lnTo>
                    <a:pt x="223" y="967"/>
                  </a:lnTo>
                  <a:lnTo>
                    <a:pt x="221" y="967"/>
                  </a:lnTo>
                  <a:close/>
                  <a:moveTo>
                    <a:pt x="216" y="967"/>
                  </a:moveTo>
                  <a:lnTo>
                    <a:pt x="219" y="967"/>
                  </a:lnTo>
                  <a:lnTo>
                    <a:pt x="216" y="967"/>
                  </a:lnTo>
                  <a:close/>
                  <a:moveTo>
                    <a:pt x="219" y="965"/>
                  </a:moveTo>
                  <a:lnTo>
                    <a:pt x="221" y="965"/>
                  </a:lnTo>
                  <a:lnTo>
                    <a:pt x="219" y="965"/>
                  </a:lnTo>
                  <a:close/>
                  <a:moveTo>
                    <a:pt x="223" y="965"/>
                  </a:moveTo>
                  <a:lnTo>
                    <a:pt x="221" y="965"/>
                  </a:lnTo>
                  <a:lnTo>
                    <a:pt x="223" y="965"/>
                  </a:lnTo>
                  <a:close/>
                  <a:moveTo>
                    <a:pt x="221" y="962"/>
                  </a:moveTo>
                  <a:lnTo>
                    <a:pt x="221" y="965"/>
                  </a:lnTo>
                  <a:lnTo>
                    <a:pt x="221" y="962"/>
                  </a:lnTo>
                  <a:close/>
                  <a:moveTo>
                    <a:pt x="221" y="965"/>
                  </a:moveTo>
                  <a:lnTo>
                    <a:pt x="221" y="962"/>
                  </a:lnTo>
                  <a:lnTo>
                    <a:pt x="221" y="965"/>
                  </a:lnTo>
                  <a:close/>
                  <a:moveTo>
                    <a:pt x="209" y="962"/>
                  </a:moveTo>
                  <a:lnTo>
                    <a:pt x="207" y="962"/>
                  </a:lnTo>
                  <a:lnTo>
                    <a:pt x="209" y="962"/>
                  </a:lnTo>
                  <a:close/>
                  <a:moveTo>
                    <a:pt x="207" y="965"/>
                  </a:moveTo>
                  <a:lnTo>
                    <a:pt x="207" y="962"/>
                  </a:lnTo>
                  <a:lnTo>
                    <a:pt x="207" y="965"/>
                  </a:lnTo>
                  <a:close/>
                  <a:moveTo>
                    <a:pt x="209" y="962"/>
                  </a:moveTo>
                  <a:lnTo>
                    <a:pt x="207" y="962"/>
                  </a:lnTo>
                  <a:lnTo>
                    <a:pt x="209" y="962"/>
                  </a:lnTo>
                  <a:close/>
                  <a:moveTo>
                    <a:pt x="228" y="962"/>
                  </a:moveTo>
                  <a:lnTo>
                    <a:pt x="226" y="962"/>
                  </a:lnTo>
                  <a:lnTo>
                    <a:pt x="228" y="962"/>
                  </a:lnTo>
                  <a:close/>
                  <a:moveTo>
                    <a:pt x="223" y="962"/>
                  </a:moveTo>
                  <a:lnTo>
                    <a:pt x="221" y="962"/>
                  </a:lnTo>
                  <a:lnTo>
                    <a:pt x="223" y="962"/>
                  </a:lnTo>
                  <a:close/>
                  <a:moveTo>
                    <a:pt x="209" y="962"/>
                  </a:moveTo>
                  <a:lnTo>
                    <a:pt x="207" y="962"/>
                  </a:lnTo>
                  <a:lnTo>
                    <a:pt x="209" y="962"/>
                  </a:lnTo>
                  <a:close/>
                  <a:moveTo>
                    <a:pt x="202" y="962"/>
                  </a:moveTo>
                  <a:lnTo>
                    <a:pt x="200" y="962"/>
                  </a:lnTo>
                  <a:lnTo>
                    <a:pt x="202" y="962"/>
                  </a:lnTo>
                  <a:close/>
                  <a:moveTo>
                    <a:pt x="223" y="962"/>
                  </a:moveTo>
                  <a:lnTo>
                    <a:pt x="221" y="962"/>
                  </a:lnTo>
                  <a:lnTo>
                    <a:pt x="223" y="962"/>
                  </a:lnTo>
                  <a:close/>
                  <a:moveTo>
                    <a:pt x="209" y="962"/>
                  </a:moveTo>
                  <a:lnTo>
                    <a:pt x="207" y="962"/>
                  </a:lnTo>
                  <a:lnTo>
                    <a:pt x="209" y="962"/>
                  </a:lnTo>
                  <a:close/>
                  <a:moveTo>
                    <a:pt x="230" y="962"/>
                  </a:moveTo>
                  <a:lnTo>
                    <a:pt x="228" y="962"/>
                  </a:lnTo>
                  <a:lnTo>
                    <a:pt x="230" y="962"/>
                  </a:lnTo>
                  <a:close/>
                  <a:moveTo>
                    <a:pt x="230" y="962"/>
                  </a:moveTo>
                  <a:lnTo>
                    <a:pt x="230" y="960"/>
                  </a:lnTo>
                  <a:lnTo>
                    <a:pt x="230" y="962"/>
                  </a:lnTo>
                  <a:close/>
                  <a:moveTo>
                    <a:pt x="214" y="962"/>
                  </a:moveTo>
                  <a:lnTo>
                    <a:pt x="214" y="960"/>
                  </a:lnTo>
                  <a:lnTo>
                    <a:pt x="214" y="962"/>
                  </a:lnTo>
                  <a:close/>
                  <a:moveTo>
                    <a:pt x="223" y="962"/>
                  </a:moveTo>
                  <a:lnTo>
                    <a:pt x="223" y="960"/>
                  </a:lnTo>
                  <a:lnTo>
                    <a:pt x="223" y="962"/>
                  </a:lnTo>
                  <a:close/>
                  <a:moveTo>
                    <a:pt x="223" y="960"/>
                  </a:moveTo>
                  <a:lnTo>
                    <a:pt x="221" y="960"/>
                  </a:lnTo>
                  <a:lnTo>
                    <a:pt x="223" y="960"/>
                  </a:lnTo>
                  <a:close/>
                  <a:moveTo>
                    <a:pt x="204" y="960"/>
                  </a:moveTo>
                  <a:lnTo>
                    <a:pt x="202" y="960"/>
                  </a:lnTo>
                  <a:lnTo>
                    <a:pt x="204" y="960"/>
                  </a:lnTo>
                  <a:close/>
                  <a:moveTo>
                    <a:pt x="235" y="960"/>
                  </a:moveTo>
                  <a:lnTo>
                    <a:pt x="233" y="960"/>
                  </a:lnTo>
                  <a:lnTo>
                    <a:pt x="235" y="960"/>
                  </a:lnTo>
                  <a:close/>
                  <a:moveTo>
                    <a:pt x="219" y="960"/>
                  </a:moveTo>
                  <a:lnTo>
                    <a:pt x="221" y="960"/>
                  </a:lnTo>
                  <a:lnTo>
                    <a:pt x="219" y="960"/>
                  </a:lnTo>
                  <a:close/>
                  <a:moveTo>
                    <a:pt x="223" y="960"/>
                  </a:moveTo>
                  <a:lnTo>
                    <a:pt x="221" y="960"/>
                  </a:lnTo>
                  <a:lnTo>
                    <a:pt x="223" y="960"/>
                  </a:lnTo>
                  <a:close/>
                  <a:moveTo>
                    <a:pt x="216" y="960"/>
                  </a:moveTo>
                  <a:lnTo>
                    <a:pt x="214" y="960"/>
                  </a:lnTo>
                  <a:lnTo>
                    <a:pt x="216" y="960"/>
                  </a:lnTo>
                  <a:close/>
                  <a:moveTo>
                    <a:pt x="221" y="960"/>
                  </a:moveTo>
                  <a:lnTo>
                    <a:pt x="219" y="960"/>
                  </a:lnTo>
                  <a:lnTo>
                    <a:pt x="221" y="960"/>
                  </a:lnTo>
                  <a:close/>
                  <a:moveTo>
                    <a:pt x="207" y="960"/>
                  </a:moveTo>
                  <a:lnTo>
                    <a:pt x="207" y="957"/>
                  </a:lnTo>
                  <a:lnTo>
                    <a:pt x="207" y="960"/>
                  </a:lnTo>
                  <a:close/>
                  <a:moveTo>
                    <a:pt x="202" y="957"/>
                  </a:moveTo>
                  <a:lnTo>
                    <a:pt x="202" y="960"/>
                  </a:lnTo>
                  <a:lnTo>
                    <a:pt x="202" y="957"/>
                  </a:lnTo>
                  <a:close/>
                  <a:moveTo>
                    <a:pt x="207" y="960"/>
                  </a:moveTo>
                  <a:lnTo>
                    <a:pt x="207" y="957"/>
                  </a:lnTo>
                  <a:lnTo>
                    <a:pt x="207" y="960"/>
                  </a:lnTo>
                  <a:close/>
                  <a:moveTo>
                    <a:pt x="209" y="957"/>
                  </a:moveTo>
                  <a:lnTo>
                    <a:pt x="209" y="960"/>
                  </a:lnTo>
                  <a:lnTo>
                    <a:pt x="209" y="957"/>
                  </a:lnTo>
                  <a:close/>
                  <a:moveTo>
                    <a:pt x="214" y="957"/>
                  </a:moveTo>
                  <a:lnTo>
                    <a:pt x="214" y="960"/>
                  </a:lnTo>
                  <a:lnTo>
                    <a:pt x="214" y="957"/>
                  </a:lnTo>
                  <a:close/>
                  <a:moveTo>
                    <a:pt x="216" y="957"/>
                  </a:moveTo>
                  <a:lnTo>
                    <a:pt x="216" y="960"/>
                  </a:lnTo>
                  <a:lnTo>
                    <a:pt x="216" y="957"/>
                  </a:lnTo>
                  <a:close/>
                  <a:moveTo>
                    <a:pt x="202" y="957"/>
                  </a:moveTo>
                  <a:lnTo>
                    <a:pt x="202" y="960"/>
                  </a:lnTo>
                  <a:lnTo>
                    <a:pt x="202" y="957"/>
                  </a:lnTo>
                  <a:close/>
                  <a:moveTo>
                    <a:pt x="209" y="957"/>
                  </a:moveTo>
                  <a:lnTo>
                    <a:pt x="207" y="957"/>
                  </a:lnTo>
                  <a:lnTo>
                    <a:pt x="209" y="957"/>
                  </a:lnTo>
                  <a:close/>
                  <a:moveTo>
                    <a:pt x="216" y="957"/>
                  </a:moveTo>
                  <a:lnTo>
                    <a:pt x="216" y="960"/>
                  </a:lnTo>
                  <a:lnTo>
                    <a:pt x="216" y="957"/>
                  </a:lnTo>
                  <a:close/>
                  <a:moveTo>
                    <a:pt x="209" y="957"/>
                  </a:moveTo>
                  <a:lnTo>
                    <a:pt x="209" y="960"/>
                  </a:lnTo>
                  <a:lnTo>
                    <a:pt x="209" y="957"/>
                  </a:lnTo>
                  <a:close/>
                  <a:moveTo>
                    <a:pt x="214" y="957"/>
                  </a:moveTo>
                  <a:lnTo>
                    <a:pt x="214" y="960"/>
                  </a:lnTo>
                  <a:lnTo>
                    <a:pt x="214" y="957"/>
                  </a:lnTo>
                  <a:close/>
                  <a:moveTo>
                    <a:pt x="219" y="957"/>
                  </a:moveTo>
                  <a:lnTo>
                    <a:pt x="219" y="960"/>
                  </a:lnTo>
                  <a:lnTo>
                    <a:pt x="219" y="957"/>
                  </a:lnTo>
                  <a:close/>
                  <a:moveTo>
                    <a:pt x="216" y="957"/>
                  </a:moveTo>
                  <a:lnTo>
                    <a:pt x="216" y="960"/>
                  </a:lnTo>
                  <a:lnTo>
                    <a:pt x="216" y="957"/>
                  </a:lnTo>
                  <a:close/>
                  <a:moveTo>
                    <a:pt x="219" y="957"/>
                  </a:moveTo>
                  <a:lnTo>
                    <a:pt x="219" y="960"/>
                  </a:lnTo>
                  <a:lnTo>
                    <a:pt x="219" y="957"/>
                  </a:lnTo>
                  <a:close/>
                  <a:moveTo>
                    <a:pt x="223" y="957"/>
                  </a:moveTo>
                  <a:lnTo>
                    <a:pt x="223" y="960"/>
                  </a:lnTo>
                  <a:lnTo>
                    <a:pt x="223" y="957"/>
                  </a:lnTo>
                  <a:close/>
                  <a:moveTo>
                    <a:pt x="214" y="957"/>
                  </a:moveTo>
                  <a:lnTo>
                    <a:pt x="216" y="957"/>
                  </a:lnTo>
                  <a:lnTo>
                    <a:pt x="214" y="957"/>
                  </a:lnTo>
                  <a:close/>
                  <a:moveTo>
                    <a:pt x="207" y="957"/>
                  </a:moveTo>
                  <a:lnTo>
                    <a:pt x="204" y="957"/>
                  </a:lnTo>
                  <a:lnTo>
                    <a:pt x="207" y="957"/>
                  </a:lnTo>
                  <a:close/>
                  <a:moveTo>
                    <a:pt x="204" y="957"/>
                  </a:moveTo>
                  <a:lnTo>
                    <a:pt x="202" y="957"/>
                  </a:lnTo>
                  <a:lnTo>
                    <a:pt x="204" y="957"/>
                  </a:lnTo>
                  <a:close/>
                  <a:moveTo>
                    <a:pt x="214" y="957"/>
                  </a:moveTo>
                  <a:lnTo>
                    <a:pt x="211" y="957"/>
                  </a:lnTo>
                  <a:lnTo>
                    <a:pt x="214" y="957"/>
                  </a:lnTo>
                  <a:close/>
                  <a:moveTo>
                    <a:pt x="219" y="957"/>
                  </a:moveTo>
                  <a:lnTo>
                    <a:pt x="216" y="957"/>
                  </a:lnTo>
                  <a:lnTo>
                    <a:pt x="219" y="957"/>
                  </a:lnTo>
                  <a:close/>
                  <a:moveTo>
                    <a:pt x="204" y="957"/>
                  </a:moveTo>
                  <a:lnTo>
                    <a:pt x="202" y="957"/>
                  </a:lnTo>
                  <a:lnTo>
                    <a:pt x="204" y="957"/>
                  </a:lnTo>
                  <a:close/>
                  <a:moveTo>
                    <a:pt x="216" y="957"/>
                  </a:moveTo>
                  <a:lnTo>
                    <a:pt x="214" y="957"/>
                  </a:lnTo>
                  <a:lnTo>
                    <a:pt x="216" y="957"/>
                  </a:lnTo>
                  <a:close/>
                  <a:moveTo>
                    <a:pt x="204" y="957"/>
                  </a:moveTo>
                  <a:lnTo>
                    <a:pt x="204" y="955"/>
                  </a:lnTo>
                  <a:lnTo>
                    <a:pt x="204" y="957"/>
                  </a:lnTo>
                  <a:close/>
                  <a:moveTo>
                    <a:pt x="202" y="955"/>
                  </a:moveTo>
                  <a:lnTo>
                    <a:pt x="202" y="957"/>
                  </a:lnTo>
                  <a:lnTo>
                    <a:pt x="202" y="955"/>
                  </a:lnTo>
                  <a:close/>
                  <a:moveTo>
                    <a:pt x="204" y="955"/>
                  </a:moveTo>
                  <a:lnTo>
                    <a:pt x="202" y="955"/>
                  </a:lnTo>
                  <a:lnTo>
                    <a:pt x="204" y="955"/>
                  </a:lnTo>
                  <a:close/>
                  <a:moveTo>
                    <a:pt x="204" y="955"/>
                  </a:moveTo>
                  <a:lnTo>
                    <a:pt x="202" y="955"/>
                  </a:lnTo>
                  <a:lnTo>
                    <a:pt x="204" y="955"/>
                  </a:lnTo>
                  <a:close/>
                  <a:moveTo>
                    <a:pt x="202" y="955"/>
                  </a:moveTo>
                  <a:lnTo>
                    <a:pt x="204" y="955"/>
                  </a:lnTo>
                  <a:lnTo>
                    <a:pt x="202" y="955"/>
                  </a:lnTo>
                  <a:close/>
                  <a:moveTo>
                    <a:pt x="207" y="953"/>
                  </a:moveTo>
                  <a:lnTo>
                    <a:pt x="207" y="955"/>
                  </a:lnTo>
                  <a:lnTo>
                    <a:pt x="207" y="953"/>
                  </a:lnTo>
                  <a:close/>
                  <a:moveTo>
                    <a:pt x="202" y="953"/>
                  </a:moveTo>
                  <a:lnTo>
                    <a:pt x="202" y="955"/>
                  </a:lnTo>
                  <a:lnTo>
                    <a:pt x="202" y="953"/>
                  </a:lnTo>
                  <a:close/>
                  <a:moveTo>
                    <a:pt x="223" y="953"/>
                  </a:moveTo>
                  <a:lnTo>
                    <a:pt x="223" y="955"/>
                  </a:lnTo>
                  <a:lnTo>
                    <a:pt x="223" y="953"/>
                  </a:lnTo>
                  <a:lnTo>
                    <a:pt x="223" y="955"/>
                  </a:lnTo>
                  <a:lnTo>
                    <a:pt x="223" y="953"/>
                  </a:lnTo>
                  <a:close/>
                  <a:moveTo>
                    <a:pt x="226" y="953"/>
                  </a:moveTo>
                  <a:lnTo>
                    <a:pt x="226" y="955"/>
                  </a:lnTo>
                  <a:lnTo>
                    <a:pt x="226" y="953"/>
                  </a:lnTo>
                  <a:close/>
                  <a:moveTo>
                    <a:pt x="202" y="953"/>
                  </a:moveTo>
                  <a:lnTo>
                    <a:pt x="202" y="955"/>
                  </a:lnTo>
                  <a:lnTo>
                    <a:pt x="202" y="953"/>
                  </a:lnTo>
                  <a:close/>
                  <a:moveTo>
                    <a:pt x="223" y="953"/>
                  </a:moveTo>
                  <a:lnTo>
                    <a:pt x="223" y="955"/>
                  </a:lnTo>
                  <a:lnTo>
                    <a:pt x="223" y="953"/>
                  </a:lnTo>
                  <a:close/>
                  <a:moveTo>
                    <a:pt x="204" y="953"/>
                  </a:moveTo>
                  <a:lnTo>
                    <a:pt x="204" y="955"/>
                  </a:lnTo>
                  <a:lnTo>
                    <a:pt x="204" y="953"/>
                  </a:lnTo>
                  <a:close/>
                  <a:moveTo>
                    <a:pt x="204" y="953"/>
                  </a:moveTo>
                  <a:lnTo>
                    <a:pt x="204" y="955"/>
                  </a:lnTo>
                  <a:lnTo>
                    <a:pt x="204" y="953"/>
                  </a:lnTo>
                  <a:close/>
                  <a:moveTo>
                    <a:pt x="204" y="953"/>
                  </a:moveTo>
                  <a:lnTo>
                    <a:pt x="207" y="953"/>
                  </a:lnTo>
                  <a:lnTo>
                    <a:pt x="204" y="953"/>
                  </a:lnTo>
                  <a:close/>
                  <a:moveTo>
                    <a:pt x="211" y="953"/>
                  </a:moveTo>
                  <a:lnTo>
                    <a:pt x="209" y="953"/>
                  </a:lnTo>
                  <a:lnTo>
                    <a:pt x="211" y="953"/>
                  </a:lnTo>
                  <a:close/>
                  <a:moveTo>
                    <a:pt x="223" y="953"/>
                  </a:moveTo>
                  <a:lnTo>
                    <a:pt x="223" y="950"/>
                  </a:lnTo>
                  <a:lnTo>
                    <a:pt x="223" y="953"/>
                  </a:lnTo>
                  <a:close/>
                  <a:moveTo>
                    <a:pt x="221" y="950"/>
                  </a:moveTo>
                  <a:lnTo>
                    <a:pt x="221" y="953"/>
                  </a:lnTo>
                  <a:lnTo>
                    <a:pt x="221" y="950"/>
                  </a:lnTo>
                  <a:close/>
                  <a:moveTo>
                    <a:pt x="207" y="953"/>
                  </a:moveTo>
                  <a:lnTo>
                    <a:pt x="207" y="950"/>
                  </a:lnTo>
                  <a:lnTo>
                    <a:pt x="207" y="953"/>
                  </a:lnTo>
                  <a:close/>
                  <a:moveTo>
                    <a:pt x="207" y="953"/>
                  </a:moveTo>
                  <a:lnTo>
                    <a:pt x="207" y="950"/>
                  </a:lnTo>
                  <a:lnTo>
                    <a:pt x="209" y="950"/>
                  </a:lnTo>
                  <a:lnTo>
                    <a:pt x="209" y="953"/>
                  </a:lnTo>
                  <a:lnTo>
                    <a:pt x="207" y="953"/>
                  </a:lnTo>
                  <a:close/>
                  <a:moveTo>
                    <a:pt x="226" y="953"/>
                  </a:moveTo>
                  <a:lnTo>
                    <a:pt x="226" y="950"/>
                  </a:lnTo>
                  <a:lnTo>
                    <a:pt x="226" y="953"/>
                  </a:lnTo>
                  <a:close/>
                  <a:moveTo>
                    <a:pt x="209" y="950"/>
                  </a:moveTo>
                  <a:lnTo>
                    <a:pt x="207" y="950"/>
                  </a:lnTo>
                  <a:lnTo>
                    <a:pt x="209" y="950"/>
                  </a:lnTo>
                  <a:close/>
                  <a:moveTo>
                    <a:pt x="204" y="950"/>
                  </a:moveTo>
                  <a:lnTo>
                    <a:pt x="202" y="950"/>
                  </a:lnTo>
                  <a:lnTo>
                    <a:pt x="204" y="950"/>
                  </a:lnTo>
                  <a:close/>
                  <a:moveTo>
                    <a:pt x="207" y="950"/>
                  </a:moveTo>
                  <a:lnTo>
                    <a:pt x="204" y="950"/>
                  </a:lnTo>
                  <a:lnTo>
                    <a:pt x="207" y="950"/>
                  </a:lnTo>
                  <a:close/>
                  <a:moveTo>
                    <a:pt x="202" y="950"/>
                  </a:moveTo>
                  <a:lnTo>
                    <a:pt x="204" y="950"/>
                  </a:lnTo>
                  <a:lnTo>
                    <a:pt x="202" y="950"/>
                  </a:lnTo>
                  <a:close/>
                  <a:moveTo>
                    <a:pt x="233" y="950"/>
                  </a:moveTo>
                  <a:lnTo>
                    <a:pt x="230" y="950"/>
                  </a:lnTo>
                  <a:lnTo>
                    <a:pt x="233" y="950"/>
                  </a:lnTo>
                  <a:close/>
                  <a:moveTo>
                    <a:pt x="230" y="950"/>
                  </a:moveTo>
                  <a:lnTo>
                    <a:pt x="228" y="950"/>
                  </a:lnTo>
                  <a:lnTo>
                    <a:pt x="230" y="950"/>
                  </a:lnTo>
                  <a:close/>
                  <a:moveTo>
                    <a:pt x="233" y="950"/>
                  </a:moveTo>
                  <a:lnTo>
                    <a:pt x="230" y="950"/>
                  </a:lnTo>
                  <a:lnTo>
                    <a:pt x="233" y="950"/>
                  </a:lnTo>
                  <a:close/>
                  <a:moveTo>
                    <a:pt x="230" y="950"/>
                  </a:moveTo>
                  <a:lnTo>
                    <a:pt x="233" y="950"/>
                  </a:lnTo>
                  <a:lnTo>
                    <a:pt x="230" y="950"/>
                  </a:lnTo>
                  <a:close/>
                  <a:moveTo>
                    <a:pt x="233" y="950"/>
                  </a:moveTo>
                  <a:lnTo>
                    <a:pt x="230" y="950"/>
                  </a:lnTo>
                  <a:lnTo>
                    <a:pt x="233" y="950"/>
                  </a:lnTo>
                  <a:close/>
                  <a:moveTo>
                    <a:pt x="204" y="950"/>
                  </a:moveTo>
                  <a:lnTo>
                    <a:pt x="202" y="950"/>
                  </a:lnTo>
                  <a:lnTo>
                    <a:pt x="204" y="950"/>
                  </a:lnTo>
                  <a:close/>
                  <a:moveTo>
                    <a:pt x="216" y="950"/>
                  </a:moveTo>
                  <a:lnTo>
                    <a:pt x="214" y="950"/>
                  </a:lnTo>
                  <a:lnTo>
                    <a:pt x="216" y="950"/>
                  </a:lnTo>
                  <a:close/>
                  <a:moveTo>
                    <a:pt x="207" y="950"/>
                  </a:moveTo>
                  <a:lnTo>
                    <a:pt x="204" y="950"/>
                  </a:lnTo>
                  <a:lnTo>
                    <a:pt x="207" y="950"/>
                  </a:lnTo>
                  <a:close/>
                  <a:moveTo>
                    <a:pt x="214" y="950"/>
                  </a:moveTo>
                  <a:lnTo>
                    <a:pt x="214" y="948"/>
                  </a:lnTo>
                  <a:lnTo>
                    <a:pt x="214" y="950"/>
                  </a:lnTo>
                  <a:close/>
                  <a:moveTo>
                    <a:pt x="216" y="950"/>
                  </a:moveTo>
                  <a:lnTo>
                    <a:pt x="216" y="948"/>
                  </a:lnTo>
                  <a:lnTo>
                    <a:pt x="216" y="950"/>
                  </a:lnTo>
                  <a:close/>
                  <a:moveTo>
                    <a:pt x="214" y="948"/>
                  </a:moveTo>
                  <a:lnTo>
                    <a:pt x="214" y="950"/>
                  </a:lnTo>
                  <a:lnTo>
                    <a:pt x="214" y="948"/>
                  </a:lnTo>
                  <a:close/>
                  <a:moveTo>
                    <a:pt x="216" y="948"/>
                  </a:moveTo>
                  <a:lnTo>
                    <a:pt x="216" y="950"/>
                  </a:lnTo>
                  <a:lnTo>
                    <a:pt x="216" y="948"/>
                  </a:lnTo>
                  <a:close/>
                  <a:moveTo>
                    <a:pt x="216" y="948"/>
                  </a:moveTo>
                  <a:lnTo>
                    <a:pt x="216" y="950"/>
                  </a:lnTo>
                  <a:lnTo>
                    <a:pt x="216" y="948"/>
                  </a:lnTo>
                  <a:close/>
                  <a:moveTo>
                    <a:pt x="235" y="948"/>
                  </a:moveTo>
                  <a:lnTo>
                    <a:pt x="233" y="948"/>
                  </a:lnTo>
                  <a:lnTo>
                    <a:pt x="235" y="948"/>
                  </a:lnTo>
                  <a:close/>
                  <a:moveTo>
                    <a:pt x="219" y="948"/>
                  </a:moveTo>
                  <a:lnTo>
                    <a:pt x="216" y="948"/>
                  </a:lnTo>
                  <a:lnTo>
                    <a:pt x="219" y="948"/>
                  </a:lnTo>
                  <a:close/>
                  <a:moveTo>
                    <a:pt x="214" y="948"/>
                  </a:moveTo>
                  <a:lnTo>
                    <a:pt x="216" y="948"/>
                  </a:lnTo>
                  <a:lnTo>
                    <a:pt x="214" y="948"/>
                  </a:lnTo>
                  <a:close/>
                  <a:moveTo>
                    <a:pt x="219" y="948"/>
                  </a:moveTo>
                  <a:lnTo>
                    <a:pt x="216" y="948"/>
                  </a:lnTo>
                  <a:lnTo>
                    <a:pt x="219" y="948"/>
                  </a:lnTo>
                  <a:close/>
                  <a:moveTo>
                    <a:pt x="240" y="948"/>
                  </a:moveTo>
                  <a:lnTo>
                    <a:pt x="238" y="948"/>
                  </a:lnTo>
                  <a:lnTo>
                    <a:pt x="240" y="948"/>
                  </a:lnTo>
                  <a:close/>
                  <a:moveTo>
                    <a:pt x="216" y="948"/>
                  </a:moveTo>
                  <a:lnTo>
                    <a:pt x="214" y="948"/>
                  </a:lnTo>
                  <a:lnTo>
                    <a:pt x="216" y="948"/>
                  </a:lnTo>
                  <a:close/>
                  <a:moveTo>
                    <a:pt x="230" y="946"/>
                  </a:moveTo>
                  <a:lnTo>
                    <a:pt x="230" y="948"/>
                  </a:lnTo>
                  <a:lnTo>
                    <a:pt x="230" y="946"/>
                  </a:lnTo>
                  <a:close/>
                  <a:moveTo>
                    <a:pt x="216" y="948"/>
                  </a:moveTo>
                  <a:lnTo>
                    <a:pt x="216" y="946"/>
                  </a:lnTo>
                  <a:lnTo>
                    <a:pt x="216" y="948"/>
                  </a:lnTo>
                  <a:close/>
                  <a:moveTo>
                    <a:pt x="216" y="946"/>
                  </a:moveTo>
                  <a:lnTo>
                    <a:pt x="219" y="946"/>
                  </a:lnTo>
                  <a:lnTo>
                    <a:pt x="216" y="948"/>
                  </a:lnTo>
                  <a:lnTo>
                    <a:pt x="216" y="946"/>
                  </a:lnTo>
                  <a:close/>
                  <a:moveTo>
                    <a:pt x="230" y="946"/>
                  </a:moveTo>
                  <a:lnTo>
                    <a:pt x="228" y="946"/>
                  </a:lnTo>
                  <a:lnTo>
                    <a:pt x="230" y="946"/>
                  </a:lnTo>
                  <a:close/>
                  <a:moveTo>
                    <a:pt x="252" y="943"/>
                  </a:moveTo>
                  <a:lnTo>
                    <a:pt x="252" y="941"/>
                  </a:lnTo>
                  <a:lnTo>
                    <a:pt x="252" y="943"/>
                  </a:lnTo>
                  <a:close/>
                  <a:moveTo>
                    <a:pt x="242" y="943"/>
                  </a:moveTo>
                  <a:lnTo>
                    <a:pt x="242" y="941"/>
                  </a:lnTo>
                  <a:lnTo>
                    <a:pt x="242" y="943"/>
                  </a:lnTo>
                  <a:close/>
                  <a:moveTo>
                    <a:pt x="252" y="941"/>
                  </a:moveTo>
                  <a:lnTo>
                    <a:pt x="252" y="943"/>
                  </a:lnTo>
                  <a:lnTo>
                    <a:pt x="252" y="941"/>
                  </a:lnTo>
                  <a:close/>
                  <a:moveTo>
                    <a:pt x="238" y="943"/>
                  </a:moveTo>
                  <a:lnTo>
                    <a:pt x="238" y="941"/>
                  </a:lnTo>
                  <a:lnTo>
                    <a:pt x="240" y="941"/>
                  </a:lnTo>
                  <a:lnTo>
                    <a:pt x="238" y="943"/>
                  </a:lnTo>
                  <a:close/>
                  <a:moveTo>
                    <a:pt x="238" y="941"/>
                  </a:moveTo>
                  <a:lnTo>
                    <a:pt x="238" y="943"/>
                  </a:lnTo>
                  <a:lnTo>
                    <a:pt x="238" y="941"/>
                  </a:lnTo>
                  <a:lnTo>
                    <a:pt x="238" y="943"/>
                  </a:lnTo>
                  <a:lnTo>
                    <a:pt x="238" y="941"/>
                  </a:lnTo>
                  <a:close/>
                  <a:moveTo>
                    <a:pt x="245" y="941"/>
                  </a:moveTo>
                  <a:lnTo>
                    <a:pt x="242" y="941"/>
                  </a:lnTo>
                  <a:lnTo>
                    <a:pt x="245" y="941"/>
                  </a:lnTo>
                  <a:close/>
                  <a:moveTo>
                    <a:pt x="266" y="941"/>
                  </a:moveTo>
                  <a:lnTo>
                    <a:pt x="264" y="941"/>
                  </a:lnTo>
                  <a:lnTo>
                    <a:pt x="266" y="941"/>
                  </a:lnTo>
                  <a:close/>
                  <a:moveTo>
                    <a:pt x="228" y="938"/>
                  </a:moveTo>
                  <a:lnTo>
                    <a:pt x="230" y="938"/>
                  </a:lnTo>
                  <a:lnTo>
                    <a:pt x="228" y="938"/>
                  </a:lnTo>
                  <a:close/>
                  <a:moveTo>
                    <a:pt x="259" y="938"/>
                  </a:moveTo>
                  <a:lnTo>
                    <a:pt x="259" y="936"/>
                  </a:lnTo>
                  <a:lnTo>
                    <a:pt x="259" y="938"/>
                  </a:lnTo>
                  <a:close/>
                  <a:moveTo>
                    <a:pt x="233" y="938"/>
                  </a:moveTo>
                  <a:lnTo>
                    <a:pt x="233" y="936"/>
                  </a:lnTo>
                  <a:lnTo>
                    <a:pt x="233" y="938"/>
                  </a:lnTo>
                  <a:close/>
                  <a:moveTo>
                    <a:pt x="228" y="938"/>
                  </a:moveTo>
                  <a:lnTo>
                    <a:pt x="230" y="936"/>
                  </a:lnTo>
                  <a:lnTo>
                    <a:pt x="230" y="938"/>
                  </a:lnTo>
                  <a:lnTo>
                    <a:pt x="228" y="938"/>
                  </a:lnTo>
                  <a:close/>
                  <a:moveTo>
                    <a:pt x="230" y="938"/>
                  </a:moveTo>
                  <a:lnTo>
                    <a:pt x="230" y="936"/>
                  </a:lnTo>
                  <a:lnTo>
                    <a:pt x="230" y="938"/>
                  </a:lnTo>
                  <a:close/>
                  <a:moveTo>
                    <a:pt x="230" y="938"/>
                  </a:moveTo>
                  <a:lnTo>
                    <a:pt x="230" y="936"/>
                  </a:lnTo>
                  <a:lnTo>
                    <a:pt x="230" y="938"/>
                  </a:lnTo>
                  <a:close/>
                  <a:moveTo>
                    <a:pt x="230" y="936"/>
                  </a:moveTo>
                  <a:lnTo>
                    <a:pt x="228" y="936"/>
                  </a:lnTo>
                  <a:lnTo>
                    <a:pt x="230" y="936"/>
                  </a:lnTo>
                  <a:close/>
                  <a:moveTo>
                    <a:pt x="247" y="936"/>
                  </a:moveTo>
                  <a:lnTo>
                    <a:pt x="245" y="936"/>
                  </a:lnTo>
                  <a:lnTo>
                    <a:pt x="247" y="936"/>
                  </a:lnTo>
                  <a:close/>
                  <a:moveTo>
                    <a:pt x="228" y="936"/>
                  </a:moveTo>
                  <a:lnTo>
                    <a:pt x="226" y="936"/>
                  </a:lnTo>
                  <a:lnTo>
                    <a:pt x="228" y="936"/>
                  </a:lnTo>
                  <a:close/>
                  <a:moveTo>
                    <a:pt x="247" y="936"/>
                  </a:moveTo>
                  <a:lnTo>
                    <a:pt x="247" y="934"/>
                  </a:lnTo>
                  <a:lnTo>
                    <a:pt x="247" y="936"/>
                  </a:lnTo>
                  <a:close/>
                  <a:moveTo>
                    <a:pt x="252" y="931"/>
                  </a:moveTo>
                  <a:lnTo>
                    <a:pt x="249" y="931"/>
                  </a:lnTo>
                  <a:lnTo>
                    <a:pt x="252" y="931"/>
                  </a:lnTo>
                  <a:close/>
                  <a:moveTo>
                    <a:pt x="249" y="931"/>
                  </a:moveTo>
                  <a:lnTo>
                    <a:pt x="249" y="929"/>
                  </a:lnTo>
                  <a:lnTo>
                    <a:pt x="249" y="931"/>
                  </a:lnTo>
                  <a:close/>
                  <a:moveTo>
                    <a:pt x="249" y="929"/>
                  </a:moveTo>
                  <a:lnTo>
                    <a:pt x="247" y="929"/>
                  </a:lnTo>
                  <a:lnTo>
                    <a:pt x="249" y="929"/>
                  </a:lnTo>
                  <a:close/>
                  <a:moveTo>
                    <a:pt x="252" y="929"/>
                  </a:moveTo>
                  <a:lnTo>
                    <a:pt x="249" y="929"/>
                  </a:lnTo>
                  <a:lnTo>
                    <a:pt x="252" y="929"/>
                  </a:lnTo>
                  <a:close/>
                  <a:moveTo>
                    <a:pt x="247" y="929"/>
                  </a:moveTo>
                  <a:lnTo>
                    <a:pt x="245" y="929"/>
                  </a:lnTo>
                  <a:lnTo>
                    <a:pt x="247" y="929"/>
                  </a:lnTo>
                  <a:close/>
                  <a:moveTo>
                    <a:pt x="254" y="929"/>
                  </a:moveTo>
                  <a:lnTo>
                    <a:pt x="254" y="927"/>
                  </a:lnTo>
                  <a:lnTo>
                    <a:pt x="254" y="929"/>
                  </a:lnTo>
                  <a:close/>
                  <a:moveTo>
                    <a:pt x="254" y="927"/>
                  </a:moveTo>
                  <a:lnTo>
                    <a:pt x="252" y="927"/>
                  </a:lnTo>
                  <a:lnTo>
                    <a:pt x="254" y="927"/>
                  </a:lnTo>
                  <a:close/>
                  <a:moveTo>
                    <a:pt x="249" y="927"/>
                  </a:moveTo>
                  <a:lnTo>
                    <a:pt x="247" y="927"/>
                  </a:lnTo>
                  <a:lnTo>
                    <a:pt x="249" y="927"/>
                  </a:lnTo>
                  <a:close/>
                  <a:moveTo>
                    <a:pt x="254" y="927"/>
                  </a:moveTo>
                  <a:lnTo>
                    <a:pt x="252" y="927"/>
                  </a:lnTo>
                  <a:lnTo>
                    <a:pt x="254" y="927"/>
                  </a:lnTo>
                  <a:close/>
                  <a:moveTo>
                    <a:pt x="257" y="924"/>
                  </a:moveTo>
                  <a:lnTo>
                    <a:pt x="254" y="924"/>
                  </a:lnTo>
                  <a:lnTo>
                    <a:pt x="257" y="924"/>
                  </a:lnTo>
                  <a:close/>
                  <a:moveTo>
                    <a:pt x="252" y="924"/>
                  </a:moveTo>
                  <a:lnTo>
                    <a:pt x="254" y="924"/>
                  </a:lnTo>
                  <a:lnTo>
                    <a:pt x="252" y="924"/>
                  </a:lnTo>
                  <a:close/>
                  <a:moveTo>
                    <a:pt x="249" y="924"/>
                  </a:moveTo>
                  <a:lnTo>
                    <a:pt x="247" y="924"/>
                  </a:lnTo>
                  <a:lnTo>
                    <a:pt x="249" y="924"/>
                  </a:lnTo>
                  <a:close/>
                  <a:moveTo>
                    <a:pt x="266" y="924"/>
                  </a:moveTo>
                  <a:lnTo>
                    <a:pt x="266" y="922"/>
                  </a:lnTo>
                  <a:lnTo>
                    <a:pt x="266" y="924"/>
                  </a:lnTo>
                  <a:close/>
                  <a:moveTo>
                    <a:pt x="257" y="924"/>
                  </a:moveTo>
                  <a:lnTo>
                    <a:pt x="257" y="922"/>
                  </a:lnTo>
                  <a:lnTo>
                    <a:pt x="257" y="924"/>
                  </a:lnTo>
                  <a:close/>
                  <a:moveTo>
                    <a:pt x="257" y="922"/>
                  </a:moveTo>
                  <a:lnTo>
                    <a:pt x="254" y="922"/>
                  </a:lnTo>
                  <a:lnTo>
                    <a:pt x="257" y="922"/>
                  </a:lnTo>
                  <a:close/>
                  <a:moveTo>
                    <a:pt x="254" y="922"/>
                  </a:moveTo>
                  <a:lnTo>
                    <a:pt x="254" y="919"/>
                  </a:lnTo>
                  <a:lnTo>
                    <a:pt x="254" y="922"/>
                  </a:lnTo>
                  <a:close/>
                  <a:moveTo>
                    <a:pt x="254" y="919"/>
                  </a:moveTo>
                  <a:lnTo>
                    <a:pt x="252" y="919"/>
                  </a:lnTo>
                  <a:lnTo>
                    <a:pt x="254" y="919"/>
                  </a:lnTo>
                  <a:close/>
                  <a:moveTo>
                    <a:pt x="252" y="917"/>
                  </a:moveTo>
                  <a:lnTo>
                    <a:pt x="252" y="919"/>
                  </a:lnTo>
                  <a:lnTo>
                    <a:pt x="252" y="917"/>
                  </a:lnTo>
                  <a:lnTo>
                    <a:pt x="252" y="919"/>
                  </a:lnTo>
                  <a:lnTo>
                    <a:pt x="252" y="917"/>
                  </a:lnTo>
                  <a:close/>
                  <a:moveTo>
                    <a:pt x="252" y="917"/>
                  </a:moveTo>
                  <a:lnTo>
                    <a:pt x="252" y="919"/>
                  </a:lnTo>
                  <a:lnTo>
                    <a:pt x="252" y="917"/>
                  </a:lnTo>
                  <a:close/>
                  <a:moveTo>
                    <a:pt x="245" y="915"/>
                  </a:moveTo>
                  <a:lnTo>
                    <a:pt x="245" y="917"/>
                  </a:lnTo>
                  <a:lnTo>
                    <a:pt x="245" y="915"/>
                  </a:lnTo>
                  <a:close/>
                  <a:moveTo>
                    <a:pt x="247" y="915"/>
                  </a:moveTo>
                  <a:lnTo>
                    <a:pt x="245" y="917"/>
                  </a:lnTo>
                  <a:lnTo>
                    <a:pt x="245" y="915"/>
                  </a:lnTo>
                  <a:lnTo>
                    <a:pt x="247" y="915"/>
                  </a:lnTo>
                  <a:close/>
                  <a:moveTo>
                    <a:pt x="240" y="915"/>
                  </a:moveTo>
                  <a:lnTo>
                    <a:pt x="238" y="915"/>
                  </a:lnTo>
                  <a:lnTo>
                    <a:pt x="240" y="915"/>
                  </a:lnTo>
                  <a:close/>
                  <a:moveTo>
                    <a:pt x="235" y="915"/>
                  </a:moveTo>
                  <a:lnTo>
                    <a:pt x="235" y="912"/>
                  </a:lnTo>
                  <a:lnTo>
                    <a:pt x="235" y="915"/>
                  </a:lnTo>
                  <a:close/>
                  <a:moveTo>
                    <a:pt x="257" y="915"/>
                  </a:moveTo>
                  <a:lnTo>
                    <a:pt x="257" y="912"/>
                  </a:lnTo>
                  <a:lnTo>
                    <a:pt x="257" y="915"/>
                  </a:lnTo>
                  <a:close/>
                  <a:moveTo>
                    <a:pt x="228" y="915"/>
                  </a:moveTo>
                  <a:lnTo>
                    <a:pt x="228" y="912"/>
                  </a:lnTo>
                  <a:lnTo>
                    <a:pt x="228" y="915"/>
                  </a:lnTo>
                  <a:close/>
                  <a:moveTo>
                    <a:pt x="249" y="912"/>
                  </a:moveTo>
                  <a:lnTo>
                    <a:pt x="247" y="912"/>
                  </a:lnTo>
                  <a:lnTo>
                    <a:pt x="249" y="912"/>
                  </a:lnTo>
                  <a:close/>
                  <a:moveTo>
                    <a:pt x="235" y="912"/>
                  </a:moveTo>
                  <a:lnTo>
                    <a:pt x="233" y="912"/>
                  </a:lnTo>
                  <a:lnTo>
                    <a:pt x="235" y="912"/>
                  </a:lnTo>
                  <a:close/>
                  <a:moveTo>
                    <a:pt x="249" y="912"/>
                  </a:moveTo>
                  <a:lnTo>
                    <a:pt x="247" y="912"/>
                  </a:lnTo>
                  <a:lnTo>
                    <a:pt x="249" y="912"/>
                  </a:lnTo>
                  <a:close/>
                  <a:moveTo>
                    <a:pt x="249" y="912"/>
                  </a:moveTo>
                  <a:lnTo>
                    <a:pt x="247" y="912"/>
                  </a:lnTo>
                  <a:lnTo>
                    <a:pt x="249" y="912"/>
                  </a:lnTo>
                  <a:close/>
                  <a:moveTo>
                    <a:pt x="249" y="912"/>
                  </a:moveTo>
                  <a:lnTo>
                    <a:pt x="247" y="912"/>
                  </a:lnTo>
                  <a:lnTo>
                    <a:pt x="249" y="912"/>
                  </a:lnTo>
                  <a:close/>
                  <a:moveTo>
                    <a:pt x="254" y="912"/>
                  </a:moveTo>
                  <a:lnTo>
                    <a:pt x="252" y="912"/>
                  </a:lnTo>
                  <a:lnTo>
                    <a:pt x="254" y="912"/>
                  </a:lnTo>
                  <a:close/>
                  <a:moveTo>
                    <a:pt x="257" y="910"/>
                  </a:moveTo>
                  <a:lnTo>
                    <a:pt x="257" y="912"/>
                  </a:lnTo>
                  <a:lnTo>
                    <a:pt x="257" y="910"/>
                  </a:lnTo>
                  <a:close/>
                  <a:moveTo>
                    <a:pt x="259" y="910"/>
                  </a:moveTo>
                  <a:lnTo>
                    <a:pt x="257" y="912"/>
                  </a:lnTo>
                  <a:lnTo>
                    <a:pt x="259" y="910"/>
                  </a:lnTo>
                  <a:close/>
                  <a:moveTo>
                    <a:pt x="240" y="910"/>
                  </a:moveTo>
                  <a:lnTo>
                    <a:pt x="242" y="910"/>
                  </a:lnTo>
                  <a:lnTo>
                    <a:pt x="240" y="910"/>
                  </a:lnTo>
                  <a:close/>
                  <a:moveTo>
                    <a:pt x="238" y="910"/>
                  </a:moveTo>
                  <a:lnTo>
                    <a:pt x="240" y="910"/>
                  </a:lnTo>
                  <a:lnTo>
                    <a:pt x="238" y="910"/>
                  </a:lnTo>
                  <a:close/>
                  <a:moveTo>
                    <a:pt x="240" y="910"/>
                  </a:moveTo>
                  <a:lnTo>
                    <a:pt x="238" y="910"/>
                  </a:lnTo>
                  <a:lnTo>
                    <a:pt x="240" y="910"/>
                  </a:lnTo>
                  <a:close/>
                  <a:moveTo>
                    <a:pt x="268" y="910"/>
                  </a:moveTo>
                  <a:lnTo>
                    <a:pt x="266" y="910"/>
                  </a:lnTo>
                  <a:lnTo>
                    <a:pt x="268" y="910"/>
                  </a:lnTo>
                  <a:close/>
                  <a:moveTo>
                    <a:pt x="252" y="910"/>
                  </a:moveTo>
                  <a:lnTo>
                    <a:pt x="249" y="910"/>
                  </a:lnTo>
                  <a:lnTo>
                    <a:pt x="252" y="910"/>
                  </a:lnTo>
                  <a:close/>
                  <a:moveTo>
                    <a:pt x="247" y="908"/>
                  </a:moveTo>
                  <a:lnTo>
                    <a:pt x="247" y="910"/>
                  </a:lnTo>
                  <a:lnTo>
                    <a:pt x="247" y="908"/>
                  </a:lnTo>
                  <a:close/>
                  <a:moveTo>
                    <a:pt x="242" y="908"/>
                  </a:moveTo>
                  <a:lnTo>
                    <a:pt x="242" y="910"/>
                  </a:lnTo>
                  <a:lnTo>
                    <a:pt x="242" y="908"/>
                  </a:lnTo>
                  <a:close/>
                  <a:moveTo>
                    <a:pt x="249" y="908"/>
                  </a:moveTo>
                  <a:lnTo>
                    <a:pt x="249" y="910"/>
                  </a:lnTo>
                  <a:lnTo>
                    <a:pt x="249" y="908"/>
                  </a:lnTo>
                  <a:close/>
                  <a:moveTo>
                    <a:pt x="245" y="908"/>
                  </a:moveTo>
                  <a:lnTo>
                    <a:pt x="245" y="910"/>
                  </a:lnTo>
                  <a:lnTo>
                    <a:pt x="245" y="908"/>
                  </a:lnTo>
                  <a:close/>
                  <a:moveTo>
                    <a:pt x="242" y="910"/>
                  </a:moveTo>
                  <a:lnTo>
                    <a:pt x="242" y="908"/>
                  </a:lnTo>
                  <a:lnTo>
                    <a:pt x="242" y="910"/>
                  </a:lnTo>
                  <a:close/>
                  <a:moveTo>
                    <a:pt x="249" y="908"/>
                  </a:moveTo>
                  <a:lnTo>
                    <a:pt x="247" y="908"/>
                  </a:lnTo>
                  <a:lnTo>
                    <a:pt x="249" y="908"/>
                  </a:lnTo>
                  <a:close/>
                  <a:moveTo>
                    <a:pt x="249" y="908"/>
                  </a:moveTo>
                  <a:lnTo>
                    <a:pt x="249" y="910"/>
                  </a:lnTo>
                  <a:lnTo>
                    <a:pt x="249" y="908"/>
                  </a:lnTo>
                  <a:close/>
                  <a:moveTo>
                    <a:pt x="259" y="908"/>
                  </a:moveTo>
                  <a:lnTo>
                    <a:pt x="257" y="908"/>
                  </a:lnTo>
                  <a:lnTo>
                    <a:pt x="259" y="908"/>
                  </a:lnTo>
                  <a:close/>
                  <a:moveTo>
                    <a:pt x="261" y="908"/>
                  </a:moveTo>
                  <a:lnTo>
                    <a:pt x="259" y="908"/>
                  </a:lnTo>
                  <a:lnTo>
                    <a:pt x="261" y="908"/>
                  </a:lnTo>
                  <a:close/>
                  <a:moveTo>
                    <a:pt x="252" y="908"/>
                  </a:moveTo>
                  <a:lnTo>
                    <a:pt x="249" y="908"/>
                  </a:lnTo>
                  <a:lnTo>
                    <a:pt x="252" y="908"/>
                  </a:lnTo>
                  <a:close/>
                  <a:moveTo>
                    <a:pt x="240" y="908"/>
                  </a:moveTo>
                  <a:lnTo>
                    <a:pt x="238" y="908"/>
                  </a:lnTo>
                  <a:lnTo>
                    <a:pt x="240" y="908"/>
                  </a:lnTo>
                  <a:close/>
                  <a:moveTo>
                    <a:pt x="252" y="908"/>
                  </a:moveTo>
                  <a:lnTo>
                    <a:pt x="249" y="908"/>
                  </a:lnTo>
                  <a:lnTo>
                    <a:pt x="252" y="908"/>
                  </a:lnTo>
                  <a:close/>
                  <a:moveTo>
                    <a:pt x="238" y="908"/>
                  </a:moveTo>
                  <a:lnTo>
                    <a:pt x="238" y="905"/>
                  </a:lnTo>
                  <a:lnTo>
                    <a:pt x="238" y="908"/>
                  </a:lnTo>
                  <a:close/>
                  <a:moveTo>
                    <a:pt x="238" y="908"/>
                  </a:moveTo>
                  <a:lnTo>
                    <a:pt x="238" y="905"/>
                  </a:lnTo>
                  <a:lnTo>
                    <a:pt x="238" y="908"/>
                  </a:lnTo>
                  <a:close/>
                  <a:moveTo>
                    <a:pt x="257" y="908"/>
                  </a:moveTo>
                  <a:lnTo>
                    <a:pt x="257" y="905"/>
                  </a:lnTo>
                  <a:lnTo>
                    <a:pt x="257" y="908"/>
                  </a:lnTo>
                  <a:close/>
                  <a:moveTo>
                    <a:pt x="238" y="908"/>
                  </a:moveTo>
                  <a:lnTo>
                    <a:pt x="238" y="905"/>
                  </a:lnTo>
                  <a:lnTo>
                    <a:pt x="238" y="908"/>
                  </a:lnTo>
                  <a:close/>
                  <a:moveTo>
                    <a:pt x="252" y="908"/>
                  </a:moveTo>
                  <a:lnTo>
                    <a:pt x="252" y="905"/>
                  </a:lnTo>
                  <a:lnTo>
                    <a:pt x="252" y="908"/>
                  </a:lnTo>
                  <a:close/>
                  <a:moveTo>
                    <a:pt x="238" y="908"/>
                  </a:moveTo>
                  <a:lnTo>
                    <a:pt x="238" y="905"/>
                  </a:lnTo>
                  <a:lnTo>
                    <a:pt x="238" y="908"/>
                  </a:lnTo>
                  <a:close/>
                  <a:moveTo>
                    <a:pt x="249" y="905"/>
                  </a:moveTo>
                  <a:lnTo>
                    <a:pt x="249" y="908"/>
                  </a:lnTo>
                  <a:lnTo>
                    <a:pt x="249" y="905"/>
                  </a:lnTo>
                  <a:close/>
                  <a:moveTo>
                    <a:pt x="257" y="908"/>
                  </a:moveTo>
                  <a:lnTo>
                    <a:pt x="257" y="905"/>
                  </a:lnTo>
                  <a:lnTo>
                    <a:pt x="257" y="908"/>
                  </a:lnTo>
                  <a:close/>
                  <a:moveTo>
                    <a:pt x="249" y="905"/>
                  </a:moveTo>
                  <a:lnTo>
                    <a:pt x="247" y="905"/>
                  </a:lnTo>
                  <a:lnTo>
                    <a:pt x="249" y="905"/>
                  </a:lnTo>
                  <a:close/>
                  <a:moveTo>
                    <a:pt x="254" y="905"/>
                  </a:moveTo>
                  <a:lnTo>
                    <a:pt x="257" y="905"/>
                  </a:lnTo>
                  <a:lnTo>
                    <a:pt x="254" y="905"/>
                  </a:lnTo>
                  <a:close/>
                  <a:moveTo>
                    <a:pt x="254" y="905"/>
                  </a:moveTo>
                  <a:lnTo>
                    <a:pt x="257" y="905"/>
                  </a:lnTo>
                  <a:lnTo>
                    <a:pt x="254" y="905"/>
                  </a:lnTo>
                  <a:close/>
                  <a:moveTo>
                    <a:pt x="252" y="903"/>
                  </a:moveTo>
                  <a:lnTo>
                    <a:pt x="252" y="905"/>
                  </a:lnTo>
                  <a:lnTo>
                    <a:pt x="252" y="903"/>
                  </a:lnTo>
                  <a:close/>
                  <a:moveTo>
                    <a:pt x="252" y="905"/>
                  </a:moveTo>
                  <a:lnTo>
                    <a:pt x="252" y="903"/>
                  </a:lnTo>
                  <a:lnTo>
                    <a:pt x="252" y="905"/>
                  </a:lnTo>
                  <a:close/>
                  <a:moveTo>
                    <a:pt x="249" y="903"/>
                  </a:moveTo>
                  <a:lnTo>
                    <a:pt x="252" y="903"/>
                  </a:lnTo>
                  <a:lnTo>
                    <a:pt x="249" y="903"/>
                  </a:lnTo>
                  <a:close/>
                  <a:moveTo>
                    <a:pt x="247" y="903"/>
                  </a:moveTo>
                  <a:lnTo>
                    <a:pt x="247" y="905"/>
                  </a:lnTo>
                  <a:lnTo>
                    <a:pt x="247" y="903"/>
                  </a:lnTo>
                  <a:close/>
                  <a:moveTo>
                    <a:pt x="257" y="903"/>
                  </a:moveTo>
                  <a:lnTo>
                    <a:pt x="257" y="905"/>
                  </a:lnTo>
                  <a:lnTo>
                    <a:pt x="257" y="903"/>
                  </a:lnTo>
                  <a:close/>
                  <a:moveTo>
                    <a:pt x="257" y="905"/>
                  </a:moveTo>
                  <a:lnTo>
                    <a:pt x="257" y="903"/>
                  </a:lnTo>
                  <a:lnTo>
                    <a:pt x="257" y="905"/>
                  </a:lnTo>
                  <a:close/>
                  <a:moveTo>
                    <a:pt x="249" y="903"/>
                  </a:moveTo>
                  <a:lnTo>
                    <a:pt x="247" y="903"/>
                  </a:lnTo>
                  <a:lnTo>
                    <a:pt x="249" y="903"/>
                  </a:lnTo>
                  <a:close/>
                  <a:moveTo>
                    <a:pt x="252" y="903"/>
                  </a:moveTo>
                  <a:lnTo>
                    <a:pt x="249" y="903"/>
                  </a:lnTo>
                  <a:lnTo>
                    <a:pt x="252" y="903"/>
                  </a:lnTo>
                  <a:close/>
                  <a:moveTo>
                    <a:pt x="261" y="903"/>
                  </a:moveTo>
                  <a:lnTo>
                    <a:pt x="264" y="903"/>
                  </a:lnTo>
                  <a:lnTo>
                    <a:pt x="261" y="903"/>
                  </a:lnTo>
                  <a:close/>
                  <a:moveTo>
                    <a:pt x="252" y="903"/>
                  </a:moveTo>
                  <a:lnTo>
                    <a:pt x="249" y="903"/>
                  </a:lnTo>
                  <a:lnTo>
                    <a:pt x="252" y="903"/>
                  </a:lnTo>
                  <a:close/>
                  <a:moveTo>
                    <a:pt x="252" y="903"/>
                  </a:moveTo>
                  <a:lnTo>
                    <a:pt x="249" y="903"/>
                  </a:lnTo>
                  <a:lnTo>
                    <a:pt x="252" y="903"/>
                  </a:lnTo>
                  <a:close/>
                  <a:moveTo>
                    <a:pt x="257" y="903"/>
                  </a:moveTo>
                  <a:lnTo>
                    <a:pt x="254" y="903"/>
                  </a:lnTo>
                  <a:lnTo>
                    <a:pt x="257" y="903"/>
                  </a:lnTo>
                  <a:close/>
                  <a:moveTo>
                    <a:pt x="252" y="903"/>
                  </a:moveTo>
                  <a:lnTo>
                    <a:pt x="249" y="903"/>
                  </a:lnTo>
                  <a:lnTo>
                    <a:pt x="252" y="903"/>
                  </a:lnTo>
                  <a:close/>
                  <a:moveTo>
                    <a:pt x="252" y="903"/>
                  </a:moveTo>
                  <a:lnTo>
                    <a:pt x="252" y="900"/>
                  </a:lnTo>
                  <a:lnTo>
                    <a:pt x="252" y="903"/>
                  </a:lnTo>
                  <a:close/>
                  <a:moveTo>
                    <a:pt x="240" y="900"/>
                  </a:moveTo>
                  <a:lnTo>
                    <a:pt x="240" y="903"/>
                  </a:lnTo>
                  <a:lnTo>
                    <a:pt x="240" y="900"/>
                  </a:lnTo>
                  <a:close/>
                  <a:moveTo>
                    <a:pt x="257" y="900"/>
                  </a:moveTo>
                  <a:lnTo>
                    <a:pt x="257" y="903"/>
                  </a:lnTo>
                  <a:lnTo>
                    <a:pt x="257" y="900"/>
                  </a:lnTo>
                  <a:close/>
                  <a:moveTo>
                    <a:pt x="252" y="903"/>
                  </a:moveTo>
                  <a:lnTo>
                    <a:pt x="252" y="900"/>
                  </a:lnTo>
                  <a:lnTo>
                    <a:pt x="252" y="903"/>
                  </a:lnTo>
                  <a:close/>
                  <a:moveTo>
                    <a:pt x="254" y="900"/>
                  </a:moveTo>
                  <a:lnTo>
                    <a:pt x="254" y="903"/>
                  </a:lnTo>
                  <a:lnTo>
                    <a:pt x="254" y="900"/>
                  </a:lnTo>
                  <a:close/>
                  <a:moveTo>
                    <a:pt x="252" y="903"/>
                  </a:moveTo>
                  <a:lnTo>
                    <a:pt x="252" y="900"/>
                  </a:lnTo>
                  <a:lnTo>
                    <a:pt x="252" y="903"/>
                  </a:lnTo>
                  <a:close/>
                  <a:moveTo>
                    <a:pt x="252" y="903"/>
                  </a:moveTo>
                  <a:lnTo>
                    <a:pt x="252" y="900"/>
                  </a:lnTo>
                  <a:lnTo>
                    <a:pt x="252" y="903"/>
                  </a:lnTo>
                  <a:close/>
                  <a:moveTo>
                    <a:pt x="257" y="900"/>
                  </a:moveTo>
                  <a:lnTo>
                    <a:pt x="257" y="903"/>
                  </a:lnTo>
                  <a:lnTo>
                    <a:pt x="257" y="900"/>
                  </a:lnTo>
                  <a:close/>
                  <a:moveTo>
                    <a:pt x="257" y="900"/>
                  </a:moveTo>
                  <a:lnTo>
                    <a:pt x="257" y="903"/>
                  </a:lnTo>
                  <a:lnTo>
                    <a:pt x="257" y="900"/>
                  </a:lnTo>
                  <a:lnTo>
                    <a:pt x="257" y="903"/>
                  </a:lnTo>
                  <a:lnTo>
                    <a:pt x="257" y="900"/>
                  </a:lnTo>
                  <a:close/>
                  <a:moveTo>
                    <a:pt x="254" y="900"/>
                  </a:moveTo>
                  <a:lnTo>
                    <a:pt x="254" y="903"/>
                  </a:lnTo>
                  <a:lnTo>
                    <a:pt x="254" y="900"/>
                  </a:lnTo>
                  <a:close/>
                  <a:moveTo>
                    <a:pt x="254" y="900"/>
                  </a:moveTo>
                  <a:lnTo>
                    <a:pt x="254" y="903"/>
                  </a:lnTo>
                  <a:lnTo>
                    <a:pt x="254" y="900"/>
                  </a:lnTo>
                  <a:close/>
                  <a:moveTo>
                    <a:pt x="264" y="900"/>
                  </a:moveTo>
                  <a:lnTo>
                    <a:pt x="261" y="900"/>
                  </a:lnTo>
                  <a:lnTo>
                    <a:pt x="264" y="900"/>
                  </a:lnTo>
                  <a:close/>
                  <a:moveTo>
                    <a:pt x="266" y="900"/>
                  </a:moveTo>
                  <a:lnTo>
                    <a:pt x="264" y="900"/>
                  </a:lnTo>
                  <a:lnTo>
                    <a:pt x="266" y="900"/>
                  </a:lnTo>
                  <a:close/>
                  <a:moveTo>
                    <a:pt x="254" y="900"/>
                  </a:moveTo>
                  <a:lnTo>
                    <a:pt x="252" y="900"/>
                  </a:lnTo>
                  <a:lnTo>
                    <a:pt x="254" y="900"/>
                  </a:lnTo>
                  <a:close/>
                  <a:moveTo>
                    <a:pt x="247" y="900"/>
                  </a:moveTo>
                  <a:lnTo>
                    <a:pt x="245" y="900"/>
                  </a:lnTo>
                  <a:lnTo>
                    <a:pt x="247" y="900"/>
                  </a:lnTo>
                  <a:close/>
                  <a:moveTo>
                    <a:pt x="266" y="900"/>
                  </a:moveTo>
                  <a:lnTo>
                    <a:pt x="264" y="900"/>
                  </a:lnTo>
                  <a:lnTo>
                    <a:pt x="266" y="900"/>
                  </a:lnTo>
                  <a:close/>
                  <a:moveTo>
                    <a:pt x="242" y="900"/>
                  </a:moveTo>
                  <a:lnTo>
                    <a:pt x="240" y="900"/>
                  </a:lnTo>
                  <a:lnTo>
                    <a:pt x="242" y="900"/>
                  </a:lnTo>
                  <a:close/>
                  <a:moveTo>
                    <a:pt x="247" y="900"/>
                  </a:moveTo>
                  <a:lnTo>
                    <a:pt x="245" y="900"/>
                  </a:lnTo>
                  <a:lnTo>
                    <a:pt x="247" y="900"/>
                  </a:lnTo>
                  <a:close/>
                  <a:moveTo>
                    <a:pt x="249" y="900"/>
                  </a:moveTo>
                  <a:lnTo>
                    <a:pt x="247" y="900"/>
                  </a:lnTo>
                  <a:lnTo>
                    <a:pt x="249" y="900"/>
                  </a:lnTo>
                  <a:close/>
                  <a:moveTo>
                    <a:pt x="259" y="898"/>
                  </a:moveTo>
                  <a:lnTo>
                    <a:pt x="259" y="900"/>
                  </a:lnTo>
                  <a:lnTo>
                    <a:pt x="259" y="898"/>
                  </a:lnTo>
                  <a:close/>
                  <a:moveTo>
                    <a:pt x="252" y="900"/>
                  </a:moveTo>
                  <a:lnTo>
                    <a:pt x="252" y="898"/>
                  </a:lnTo>
                  <a:lnTo>
                    <a:pt x="252" y="900"/>
                  </a:lnTo>
                  <a:close/>
                  <a:moveTo>
                    <a:pt x="247" y="898"/>
                  </a:moveTo>
                  <a:lnTo>
                    <a:pt x="247" y="900"/>
                  </a:lnTo>
                  <a:lnTo>
                    <a:pt x="247" y="898"/>
                  </a:lnTo>
                  <a:close/>
                  <a:moveTo>
                    <a:pt x="257" y="898"/>
                  </a:moveTo>
                  <a:lnTo>
                    <a:pt x="257" y="900"/>
                  </a:lnTo>
                  <a:lnTo>
                    <a:pt x="257" y="898"/>
                  </a:lnTo>
                  <a:close/>
                  <a:moveTo>
                    <a:pt x="242" y="900"/>
                  </a:moveTo>
                  <a:lnTo>
                    <a:pt x="242" y="898"/>
                  </a:lnTo>
                  <a:lnTo>
                    <a:pt x="242" y="900"/>
                  </a:lnTo>
                  <a:close/>
                  <a:moveTo>
                    <a:pt x="254" y="898"/>
                  </a:moveTo>
                  <a:lnTo>
                    <a:pt x="254" y="900"/>
                  </a:lnTo>
                  <a:lnTo>
                    <a:pt x="254" y="898"/>
                  </a:lnTo>
                  <a:close/>
                  <a:moveTo>
                    <a:pt x="259" y="898"/>
                  </a:moveTo>
                  <a:lnTo>
                    <a:pt x="257" y="898"/>
                  </a:lnTo>
                  <a:lnTo>
                    <a:pt x="259" y="898"/>
                  </a:lnTo>
                  <a:close/>
                  <a:moveTo>
                    <a:pt x="257" y="898"/>
                  </a:moveTo>
                  <a:lnTo>
                    <a:pt x="254" y="898"/>
                  </a:lnTo>
                  <a:lnTo>
                    <a:pt x="257" y="898"/>
                  </a:lnTo>
                  <a:close/>
                  <a:moveTo>
                    <a:pt x="249" y="898"/>
                  </a:moveTo>
                  <a:lnTo>
                    <a:pt x="247" y="898"/>
                  </a:lnTo>
                  <a:lnTo>
                    <a:pt x="249" y="898"/>
                  </a:lnTo>
                  <a:close/>
                  <a:moveTo>
                    <a:pt x="247" y="898"/>
                  </a:moveTo>
                  <a:lnTo>
                    <a:pt x="249" y="898"/>
                  </a:lnTo>
                  <a:lnTo>
                    <a:pt x="247" y="898"/>
                  </a:lnTo>
                  <a:close/>
                  <a:moveTo>
                    <a:pt x="247" y="898"/>
                  </a:moveTo>
                  <a:lnTo>
                    <a:pt x="249" y="898"/>
                  </a:lnTo>
                  <a:lnTo>
                    <a:pt x="247" y="898"/>
                  </a:lnTo>
                  <a:close/>
                  <a:moveTo>
                    <a:pt x="259" y="898"/>
                  </a:moveTo>
                  <a:lnTo>
                    <a:pt x="257" y="898"/>
                  </a:lnTo>
                  <a:lnTo>
                    <a:pt x="259" y="898"/>
                  </a:lnTo>
                  <a:close/>
                  <a:moveTo>
                    <a:pt x="249" y="898"/>
                  </a:moveTo>
                  <a:lnTo>
                    <a:pt x="247" y="898"/>
                  </a:lnTo>
                  <a:lnTo>
                    <a:pt x="249" y="898"/>
                  </a:lnTo>
                  <a:close/>
                  <a:moveTo>
                    <a:pt x="252" y="898"/>
                  </a:moveTo>
                  <a:lnTo>
                    <a:pt x="249" y="898"/>
                  </a:lnTo>
                  <a:lnTo>
                    <a:pt x="252" y="898"/>
                  </a:lnTo>
                  <a:close/>
                  <a:moveTo>
                    <a:pt x="249" y="898"/>
                  </a:moveTo>
                  <a:lnTo>
                    <a:pt x="247" y="898"/>
                  </a:lnTo>
                  <a:lnTo>
                    <a:pt x="249" y="898"/>
                  </a:lnTo>
                  <a:close/>
                  <a:moveTo>
                    <a:pt x="252" y="898"/>
                  </a:moveTo>
                  <a:lnTo>
                    <a:pt x="252" y="896"/>
                  </a:lnTo>
                  <a:lnTo>
                    <a:pt x="252" y="898"/>
                  </a:lnTo>
                  <a:close/>
                  <a:moveTo>
                    <a:pt x="257" y="898"/>
                  </a:moveTo>
                  <a:lnTo>
                    <a:pt x="257" y="896"/>
                  </a:lnTo>
                  <a:lnTo>
                    <a:pt x="257" y="898"/>
                  </a:lnTo>
                  <a:close/>
                  <a:moveTo>
                    <a:pt x="254" y="896"/>
                  </a:moveTo>
                  <a:lnTo>
                    <a:pt x="254" y="898"/>
                  </a:lnTo>
                  <a:lnTo>
                    <a:pt x="254" y="896"/>
                  </a:lnTo>
                  <a:close/>
                  <a:moveTo>
                    <a:pt x="249" y="898"/>
                  </a:moveTo>
                  <a:lnTo>
                    <a:pt x="249" y="896"/>
                  </a:lnTo>
                  <a:lnTo>
                    <a:pt x="249" y="898"/>
                  </a:lnTo>
                  <a:close/>
                  <a:moveTo>
                    <a:pt x="252" y="898"/>
                  </a:moveTo>
                  <a:lnTo>
                    <a:pt x="252" y="896"/>
                  </a:lnTo>
                  <a:lnTo>
                    <a:pt x="252" y="898"/>
                  </a:lnTo>
                  <a:close/>
                  <a:moveTo>
                    <a:pt x="252" y="898"/>
                  </a:moveTo>
                  <a:lnTo>
                    <a:pt x="252" y="896"/>
                  </a:lnTo>
                  <a:lnTo>
                    <a:pt x="252" y="898"/>
                  </a:lnTo>
                  <a:close/>
                  <a:moveTo>
                    <a:pt x="249" y="898"/>
                  </a:moveTo>
                  <a:lnTo>
                    <a:pt x="249" y="896"/>
                  </a:lnTo>
                  <a:lnTo>
                    <a:pt x="249" y="898"/>
                  </a:lnTo>
                  <a:close/>
                  <a:moveTo>
                    <a:pt x="252" y="896"/>
                  </a:moveTo>
                  <a:lnTo>
                    <a:pt x="252" y="898"/>
                  </a:lnTo>
                  <a:lnTo>
                    <a:pt x="252" y="896"/>
                  </a:lnTo>
                  <a:close/>
                  <a:moveTo>
                    <a:pt x="252" y="896"/>
                  </a:moveTo>
                  <a:lnTo>
                    <a:pt x="252" y="898"/>
                  </a:lnTo>
                  <a:lnTo>
                    <a:pt x="252" y="896"/>
                  </a:lnTo>
                  <a:close/>
                  <a:moveTo>
                    <a:pt x="254" y="896"/>
                  </a:moveTo>
                  <a:lnTo>
                    <a:pt x="257" y="896"/>
                  </a:lnTo>
                  <a:lnTo>
                    <a:pt x="254" y="896"/>
                  </a:lnTo>
                  <a:close/>
                  <a:moveTo>
                    <a:pt x="259" y="893"/>
                  </a:moveTo>
                  <a:lnTo>
                    <a:pt x="259" y="896"/>
                  </a:lnTo>
                  <a:lnTo>
                    <a:pt x="259" y="893"/>
                  </a:lnTo>
                  <a:close/>
                  <a:moveTo>
                    <a:pt x="261" y="893"/>
                  </a:moveTo>
                  <a:lnTo>
                    <a:pt x="261" y="896"/>
                  </a:lnTo>
                  <a:lnTo>
                    <a:pt x="261" y="893"/>
                  </a:lnTo>
                  <a:close/>
                  <a:moveTo>
                    <a:pt x="254" y="893"/>
                  </a:moveTo>
                  <a:lnTo>
                    <a:pt x="257" y="893"/>
                  </a:lnTo>
                  <a:lnTo>
                    <a:pt x="254" y="893"/>
                  </a:lnTo>
                  <a:close/>
                  <a:moveTo>
                    <a:pt x="261" y="893"/>
                  </a:moveTo>
                  <a:lnTo>
                    <a:pt x="259" y="893"/>
                  </a:lnTo>
                  <a:lnTo>
                    <a:pt x="261" y="893"/>
                  </a:lnTo>
                  <a:close/>
                  <a:moveTo>
                    <a:pt x="252" y="893"/>
                  </a:moveTo>
                  <a:lnTo>
                    <a:pt x="254" y="893"/>
                  </a:lnTo>
                  <a:lnTo>
                    <a:pt x="252" y="893"/>
                  </a:lnTo>
                  <a:close/>
                  <a:moveTo>
                    <a:pt x="261" y="893"/>
                  </a:moveTo>
                  <a:lnTo>
                    <a:pt x="259" y="893"/>
                  </a:lnTo>
                  <a:lnTo>
                    <a:pt x="261" y="893"/>
                  </a:lnTo>
                  <a:close/>
                  <a:moveTo>
                    <a:pt x="247" y="893"/>
                  </a:moveTo>
                  <a:lnTo>
                    <a:pt x="247" y="891"/>
                  </a:lnTo>
                  <a:lnTo>
                    <a:pt x="247" y="893"/>
                  </a:lnTo>
                  <a:close/>
                  <a:moveTo>
                    <a:pt x="249" y="893"/>
                  </a:moveTo>
                  <a:lnTo>
                    <a:pt x="249" y="891"/>
                  </a:lnTo>
                  <a:lnTo>
                    <a:pt x="249" y="893"/>
                  </a:lnTo>
                  <a:close/>
                  <a:moveTo>
                    <a:pt x="257" y="893"/>
                  </a:moveTo>
                  <a:lnTo>
                    <a:pt x="257" y="891"/>
                  </a:lnTo>
                  <a:lnTo>
                    <a:pt x="257" y="893"/>
                  </a:lnTo>
                  <a:close/>
                  <a:moveTo>
                    <a:pt x="249" y="893"/>
                  </a:moveTo>
                  <a:lnTo>
                    <a:pt x="249" y="891"/>
                  </a:lnTo>
                  <a:lnTo>
                    <a:pt x="249" y="893"/>
                  </a:lnTo>
                  <a:close/>
                  <a:moveTo>
                    <a:pt x="249" y="893"/>
                  </a:moveTo>
                  <a:lnTo>
                    <a:pt x="249" y="891"/>
                  </a:lnTo>
                  <a:lnTo>
                    <a:pt x="249" y="893"/>
                  </a:lnTo>
                  <a:close/>
                  <a:moveTo>
                    <a:pt x="257" y="891"/>
                  </a:moveTo>
                  <a:lnTo>
                    <a:pt x="257" y="893"/>
                  </a:lnTo>
                  <a:lnTo>
                    <a:pt x="257" y="891"/>
                  </a:lnTo>
                  <a:close/>
                  <a:moveTo>
                    <a:pt x="252" y="893"/>
                  </a:moveTo>
                  <a:lnTo>
                    <a:pt x="252" y="891"/>
                  </a:lnTo>
                  <a:lnTo>
                    <a:pt x="252" y="893"/>
                  </a:lnTo>
                  <a:close/>
                  <a:moveTo>
                    <a:pt x="252" y="893"/>
                  </a:moveTo>
                  <a:lnTo>
                    <a:pt x="252" y="891"/>
                  </a:lnTo>
                  <a:lnTo>
                    <a:pt x="252" y="893"/>
                  </a:lnTo>
                  <a:close/>
                  <a:moveTo>
                    <a:pt x="257" y="891"/>
                  </a:moveTo>
                  <a:lnTo>
                    <a:pt x="257" y="893"/>
                  </a:lnTo>
                  <a:lnTo>
                    <a:pt x="257" y="891"/>
                  </a:lnTo>
                  <a:close/>
                  <a:moveTo>
                    <a:pt x="249" y="891"/>
                  </a:moveTo>
                  <a:lnTo>
                    <a:pt x="249" y="893"/>
                  </a:lnTo>
                  <a:lnTo>
                    <a:pt x="249" y="891"/>
                  </a:lnTo>
                  <a:close/>
                  <a:moveTo>
                    <a:pt x="247" y="891"/>
                  </a:moveTo>
                  <a:lnTo>
                    <a:pt x="245" y="891"/>
                  </a:lnTo>
                  <a:lnTo>
                    <a:pt x="247" y="891"/>
                  </a:lnTo>
                  <a:close/>
                  <a:moveTo>
                    <a:pt x="240" y="891"/>
                  </a:moveTo>
                  <a:lnTo>
                    <a:pt x="242" y="891"/>
                  </a:lnTo>
                  <a:lnTo>
                    <a:pt x="240" y="891"/>
                  </a:lnTo>
                  <a:close/>
                  <a:moveTo>
                    <a:pt x="245" y="891"/>
                  </a:moveTo>
                  <a:lnTo>
                    <a:pt x="242" y="891"/>
                  </a:lnTo>
                  <a:lnTo>
                    <a:pt x="245" y="891"/>
                  </a:lnTo>
                  <a:close/>
                  <a:moveTo>
                    <a:pt x="247" y="888"/>
                  </a:moveTo>
                  <a:lnTo>
                    <a:pt x="247" y="891"/>
                  </a:lnTo>
                  <a:lnTo>
                    <a:pt x="247" y="888"/>
                  </a:lnTo>
                  <a:close/>
                  <a:moveTo>
                    <a:pt x="242" y="891"/>
                  </a:moveTo>
                  <a:lnTo>
                    <a:pt x="242" y="888"/>
                  </a:lnTo>
                  <a:lnTo>
                    <a:pt x="242" y="891"/>
                  </a:lnTo>
                  <a:close/>
                  <a:moveTo>
                    <a:pt x="247" y="891"/>
                  </a:moveTo>
                  <a:lnTo>
                    <a:pt x="247" y="888"/>
                  </a:lnTo>
                  <a:lnTo>
                    <a:pt x="247" y="891"/>
                  </a:lnTo>
                  <a:close/>
                  <a:moveTo>
                    <a:pt x="245" y="888"/>
                  </a:moveTo>
                  <a:lnTo>
                    <a:pt x="242" y="888"/>
                  </a:lnTo>
                  <a:lnTo>
                    <a:pt x="245" y="888"/>
                  </a:lnTo>
                  <a:close/>
                  <a:moveTo>
                    <a:pt x="247" y="891"/>
                  </a:moveTo>
                  <a:lnTo>
                    <a:pt x="247" y="888"/>
                  </a:lnTo>
                  <a:lnTo>
                    <a:pt x="247" y="891"/>
                  </a:lnTo>
                  <a:close/>
                  <a:moveTo>
                    <a:pt x="254" y="888"/>
                  </a:moveTo>
                  <a:lnTo>
                    <a:pt x="252" y="888"/>
                  </a:lnTo>
                  <a:lnTo>
                    <a:pt x="254" y="888"/>
                  </a:lnTo>
                  <a:close/>
                  <a:moveTo>
                    <a:pt x="249" y="891"/>
                  </a:moveTo>
                  <a:lnTo>
                    <a:pt x="249" y="888"/>
                  </a:lnTo>
                  <a:lnTo>
                    <a:pt x="249" y="891"/>
                  </a:lnTo>
                  <a:close/>
                  <a:moveTo>
                    <a:pt x="247" y="888"/>
                  </a:moveTo>
                  <a:lnTo>
                    <a:pt x="245" y="888"/>
                  </a:lnTo>
                  <a:lnTo>
                    <a:pt x="247" y="888"/>
                  </a:lnTo>
                  <a:close/>
                  <a:moveTo>
                    <a:pt x="247" y="888"/>
                  </a:moveTo>
                  <a:lnTo>
                    <a:pt x="249" y="888"/>
                  </a:lnTo>
                  <a:lnTo>
                    <a:pt x="247" y="888"/>
                  </a:lnTo>
                  <a:close/>
                  <a:moveTo>
                    <a:pt x="249" y="886"/>
                  </a:moveTo>
                  <a:lnTo>
                    <a:pt x="247" y="886"/>
                  </a:lnTo>
                  <a:lnTo>
                    <a:pt x="249" y="886"/>
                  </a:lnTo>
                  <a:close/>
                  <a:moveTo>
                    <a:pt x="261" y="886"/>
                  </a:moveTo>
                  <a:lnTo>
                    <a:pt x="264" y="886"/>
                  </a:lnTo>
                  <a:lnTo>
                    <a:pt x="261" y="886"/>
                  </a:lnTo>
                  <a:close/>
                  <a:moveTo>
                    <a:pt x="261" y="886"/>
                  </a:moveTo>
                  <a:lnTo>
                    <a:pt x="264" y="886"/>
                  </a:lnTo>
                  <a:lnTo>
                    <a:pt x="261" y="886"/>
                  </a:lnTo>
                  <a:close/>
                  <a:moveTo>
                    <a:pt x="259" y="886"/>
                  </a:moveTo>
                  <a:lnTo>
                    <a:pt x="257" y="886"/>
                  </a:lnTo>
                  <a:lnTo>
                    <a:pt x="259" y="886"/>
                  </a:lnTo>
                  <a:close/>
                  <a:moveTo>
                    <a:pt x="247" y="886"/>
                  </a:moveTo>
                  <a:lnTo>
                    <a:pt x="247" y="884"/>
                  </a:lnTo>
                  <a:lnTo>
                    <a:pt x="247" y="886"/>
                  </a:lnTo>
                  <a:close/>
                  <a:moveTo>
                    <a:pt x="249" y="884"/>
                  </a:moveTo>
                  <a:lnTo>
                    <a:pt x="249" y="886"/>
                  </a:lnTo>
                  <a:lnTo>
                    <a:pt x="249" y="884"/>
                  </a:lnTo>
                  <a:close/>
                  <a:moveTo>
                    <a:pt x="249" y="884"/>
                  </a:moveTo>
                  <a:lnTo>
                    <a:pt x="249" y="886"/>
                  </a:lnTo>
                  <a:lnTo>
                    <a:pt x="249" y="884"/>
                  </a:lnTo>
                  <a:close/>
                  <a:moveTo>
                    <a:pt x="245" y="884"/>
                  </a:moveTo>
                  <a:lnTo>
                    <a:pt x="245" y="886"/>
                  </a:lnTo>
                  <a:lnTo>
                    <a:pt x="245" y="884"/>
                  </a:lnTo>
                  <a:close/>
                  <a:moveTo>
                    <a:pt x="264" y="886"/>
                  </a:moveTo>
                  <a:lnTo>
                    <a:pt x="264" y="884"/>
                  </a:lnTo>
                  <a:lnTo>
                    <a:pt x="264" y="886"/>
                  </a:lnTo>
                  <a:close/>
                  <a:moveTo>
                    <a:pt x="247" y="884"/>
                  </a:moveTo>
                  <a:lnTo>
                    <a:pt x="247" y="886"/>
                  </a:lnTo>
                  <a:lnTo>
                    <a:pt x="247" y="884"/>
                  </a:lnTo>
                  <a:close/>
                  <a:moveTo>
                    <a:pt x="249" y="886"/>
                  </a:moveTo>
                  <a:lnTo>
                    <a:pt x="249" y="884"/>
                  </a:lnTo>
                  <a:lnTo>
                    <a:pt x="249" y="886"/>
                  </a:lnTo>
                  <a:close/>
                  <a:moveTo>
                    <a:pt x="247" y="886"/>
                  </a:moveTo>
                  <a:lnTo>
                    <a:pt x="247" y="884"/>
                  </a:lnTo>
                  <a:lnTo>
                    <a:pt x="247" y="886"/>
                  </a:lnTo>
                  <a:close/>
                  <a:moveTo>
                    <a:pt x="266" y="886"/>
                  </a:moveTo>
                  <a:lnTo>
                    <a:pt x="266" y="884"/>
                  </a:lnTo>
                  <a:lnTo>
                    <a:pt x="266" y="886"/>
                  </a:lnTo>
                  <a:close/>
                  <a:moveTo>
                    <a:pt x="257" y="884"/>
                  </a:moveTo>
                  <a:lnTo>
                    <a:pt x="257" y="886"/>
                  </a:lnTo>
                  <a:lnTo>
                    <a:pt x="257" y="884"/>
                  </a:lnTo>
                  <a:close/>
                  <a:moveTo>
                    <a:pt x="257" y="886"/>
                  </a:moveTo>
                  <a:lnTo>
                    <a:pt x="257" y="884"/>
                  </a:lnTo>
                  <a:lnTo>
                    <a:pt x="257" y="886"/>
                  </a:lnTo>
                  <a:close/>
                  <a:moveTo>
                    <a:pt x="247" y="884"/>
                  </a:moveTo>
                  <a:lnTo>
                    <a:pt x="245" y="884"/>
                  </a:lnTo>
                  <a:lnTo>
                    <a:pt x="247" y="884"/>
                  </a:lnTo>
                  <a:close/>
                  <a:moveTo>
                    <a:pt x="247" y="886"/>
                  </a:moveTo>
                  <a:lnTo>
                    <a:pt x="247" y="884"/>
                  </a:lnTo>
                  <a:lnTo>
                    <a:pt x="247" y="886"/>
                  </a:lnTo>
                  <a:close/>
                  <a:moveTo>
                    <a:pt x="266" y="884"/>
                  </a:moveTo>
                  <a:lnTo>
                    <a:pt x="266" y="886"/>
                  </a:lnTo>
                  <a:lnTo>
                    <a:pt x="266" y="884"/>
                  </a:lnTo>
                  <a:close/>
                  <a:moveTo>
                    <a:pt x="264" y="884"/>
                  </a:moveTo>
                  <a:lnTo>
                    <a:pt x="264" y="886"/>
                  </a:lnTo>
                  <a:lnTo>
                    <a:pt x="264" y="884"/>
                  </a:lnTo>
                  <a:close/>
                  <a:moveTo>
                    <a:pt x="261" y="884"/>
                  </a:moveTo>
                  <a:lnTo>
                    <a:pt x="261" y="886"/>
                  </a:lnTo>
                  <a:lnTo>
                    <a:pt x="261" y="884"/>
                  </a:lnTo>
                  <a:close/>
                  <a:moveTo>
                    <a:pt x="259" y="884"/>
                  </a:moveTo>
                  <a:lnTo>
                    <a:pt x="259" y="886"/>
                  </a:lnTo>
                  <a:lnTo>
                    <a:pt x="259" y="884"/>
                  </a:lnTo>
                  <a:close/>
                  <a:moveTo>
                    <a:pt x="264" y="884"/>
                  </a:moveTo>
                  <a:lnTo>
                    <a:pt x="261" y="884"/>
                  </a:lnTo>
                  <a:lnTo>
                    <a:pt x="264" y="884"/>
                  </a:lnTo>
                  <a:close/>
                  <a:moveTo>
                    <a:pt x="261" y="884"/>
                  </a:moveTo>
                  <a:lnTo>
                    <a:pt x="264" y="884"/>
                  </a:lnTo>
                  <a:lnTo>
                    <a:pt x="261" y="884"/>
                  </a:lnTo>
                  <a:close/>
                  <a:moveTo>
                    <a:pt x="257" y="884"/>
                  </a:moveTo>
                  <a:lnTo>
                    <a:pt x="254" y="884"/>
                  </a:lnTo>
                  <a:lnTo>
                    <a:pt x="257" y="884"/>
                  </a:lnTo>
                  <a:lnTo>
                    <a:pt x="254" y="884"/>
                  </a:lnTo>
                  <a:lnTo>
                    <a:pt x="257" y="884"/>
                  </a:lnTo>
                  <a:close/>
                  <a:moveTo>
                    <a:pt x="257" y="881"/>
                  </a:moveTo>
                  <a:lnTo>
                    <a:pt x="257" y="884"/>
                  </a:lnTo>
                  <a:lnTo>
                    <a:pt x="257" y="881"/>
                  </a:lnTo>
                  <a:close/>
                  <a:moveTo>
                    <a:pt x="273" y="884"/>
                  </a:moveTo>
                  <a:lnTo>
                    <a:pt x="273" y="881"/>
                  </a:lnTo>
                  <a:lnTo>
                    <a:pt x="273" y="884"/>
                  </a:lnTo>
                  <a:close/>
                  <a:moveTo>
                    <a:pt x="259" y="881"/>
                  </a:moveTo>
                  <a:lnTo>
                    <a:pt x="259" y="884"/>
                  </a:lnTo>
                  <a:lnTo>
                    <a:pt x="259" y="881"/>
                  </a:lnTo>
                  <a:close/>
                  <a:moveTo>
                    <a:pt x="259" y="881"/>
                  </a:moveTo>
                  <a:lnTo>
                    <a:pt x="259" y="884"/>
                  </a:lnTo>
                  <a:lnTo>
                    <a:pt x="259" y="881"/>
                  </a:lnTo>
                  <a:close/>
                  <a:moveTo>
                    <a:pt x="273" y="881"/>
                  </a:moveTo>
                  <a:lnTo>
                    <a:pt x="273" y="884"/>
                  </a:lnTo>
                  <a:lnTo>
                    <a:pt x="273" y="881"/>
                  </a:lnTo>
                  <a:close/>
                  <a:moveTo>
                    <a:pt x="252" y="881"/>
                  </a:moveTo>
                  <a:lnTo>
                    <a:pt x="249" y="881"/>
                  </a:lnTo>
                  <a:lnTo>
                    <a:pt x="252" y="881"/>
                  </a:lnTo>
                  <a:close/>
                  <a:moveTo>
                    <a:pt x="254" y="881"/>
                  </a:moveTo>
                  <a:lnTo>
                    <a:pt x="252" y="881"/>
                  </a:lnTo>
                  <a:lnTo>
                    <a:pt x="254" y="881"/>
                  </a:lnTo>
                  <a:close/>
                  <a:moveTo>
                    <a:pt x="254" y="881"/>
                  </a:moveTo>
                  <a:lnTo>
                    <a:pt x="254" y="879"/>
                  </a:lnTo>
                  <a:lnTo>
                    <a:pt x="254" y="881"/>
                  </a:lnTo>
                  <a:close/>
                  <a:moveTo>
                    <a:pt x="252" y="879"/>
                  </a:moveTo>
                  <a:lnTo>
                    <a:pt x="252" y="881"/>
                  </a:lnTo>
                  <a:lnTo>
                    <a:pt x="252" y="879"/>
                  </a:lnTo>
                  <a:close/>
                  <a:moveTo>
                    <a:pt x="259" y="879"/>
                  </a:moveTo>
                  <a:lnTo>
                    <a:pt x="257" y="879"/>
                  </a:lnTo>
                  <a:lnTo>
                    <a:pt x="259" y="879"/>
                  </a:lnTo>
                  <a:close/>
                  <a:moveTo>
                    <a:pt x="254" y="879"/>
                  </a:moveTo>
                  <a:lnTo>
                    <a:pt x="252" y="879"/>
                  </a:lnTo>
                  <a:lnTo>
                    <a:pt x="254" y="879"/>
                  </a:lnTo>
                  <a:close/>
                  <a:moveTo>
                    <a:pt x="254" y="879"/>
                  </a:moveTo>
                  <a:lnTo>
                    <a:pt x="252" y="879"/>
                  </a:lnTo>
                  <a:lnTo>
                    <a:pt x="254" y="879"/>
                  </a:lnTo>
                  <a:close/>
                  <a:moveTo>
                    <a:pt x="257" y="879"/>
                  </a:moveTo>
                  <a:lnTo>
                    <a:pt x="254" y="879"/>
                  </a:lnTo>
                  <a:lnTo>
                    <a:pt x="257" y="879"/>
                  </a:lnTo>
                  <a:close/>
                  <a:moveTo>
                    <a:pt x="254" y="879"/>
                  </a:moveTo>
                  <a:lnTo>
                    <a:pt x="252" y="879"/>
                  </a:lnTo>
                  <a:lnTo>
                    <a:pt x="254" y="879"/>
                  </a:lnTo>
                  <a:lnTo>
                    <a:pt x="252" y="879"/>
                  </a:lnTo>
                  <a:lnTo>
                    <a:pt x="254" y="879"/>
                  </a:lnTo>
                  <a:lnTo>
                    <a:pt x="252" y="879"/>
                  </a:lnTo>
                  <a:lnTo>
                    <a:pt x="254" y="879"/>
                  </a:lnTo>
                  <a:close/>
                  <a:moveTo>
                    <a:pt x="254" y="879"/>
                  </a:moveTo>
                  <a:lnTo>
                    <a:pt x="257" y="879"/>
                  </a:lnTo>
                  <a:lnTo>
                    <a:pt x="254" y="879"/>
                  </a:lnTo>
                  <a:close/>
                  <a:moveTo>
                    <a:pt x="254" y="879"/>
                  </a:moveTo>
                  <a:lnTo>
                    <a:pt x="257" y="879"/>
                  </a:lnTo>
                  <a:lnTo>
                    <a:pt x="254" y="879"/>
                  </a:lnTo>
                  <a:close/>
                  <a:moveTo>
                    <a:pt x="257" y="879"/>
                  </a:moveTo>
                  <a:lnTo>
                    <a:pt x="257" y="877"/>
                  </a:lnTo>
                  <a:lnTo>
                    <a:pt x="257" y="879"/>
                  </a:lnTo>
                  <a:close/>
                  <a:moveTo>
                    <a:pt x="257" y="877"/>
                  </a:moveTo>
                  <a:lnTo>
                    <a:pt x="257" y="879"/>
                  </a:lnTo>
                  <a:lnTo>
                    <a:pt x="257" y="877"/>
                  </a:lnTo>
                  <a:close/>
                  <a:moveTo>
                    <a:pt x="259" y="877"/>
                  </a:moveTo>
                  <a:lnTo>
                    <a:pt x="257" y="877"/>
                  </a:lnTo>
                  <a:lnTo>
                    <a:pt x="259" y="877"/>
                  </a:lnTo>
                  <a:close/>
                  <a:moveTo>
                    <a:pt x="268" y="877"/>
                  </a:moveTo>
                  <a:lnTo>
                    <a:pt x="268" y="874"/>
                  </a:lnTo>
                  <a:lnTo>
                    <a:pt x="268" y="877"/>
                  </a:lnTo>
                  <a:close/>
                  <a:moveTo>
                    <a:pt x="266" y="877"/>
                  </a:moveTo>
                  <a:lnTo>
                    <a:pt x="264" y="877"/>
                  </a:lnTo>
                  <a:lnTo>
                    <a:pt x="266" y="874"/>
                  </a:lnTo>
                  <a:lnTo>
                    <a:pt x="266" y="877"/>
                  </a:lnTo>
                  <a:close/>
                  <a:moveTo>
                    <a:pt x="268" y="877"/>
                  </a:moveTo>
                  <a:lnTo>
                    <a:pt x="266" y="877"/>
                  </a:lnTo>
                  <a:lnTo>
                    <a:pt x="268" y="874"/>
                  </a:lnTo>
                  <a:lnTo>
                    <a:pt x="268" y="877"/>
                  </a:lnTo>
                  <a:close/>
                  <a:moveTo>
                    <a:pt x="264" y="877"/>
                  </a:moveTo>
                  <a:lnTo>
                    <a:pt x="264" y="874"/>
                  </a:lnTo>
                  <a:lnTo>
                    <a:pt x="264" y="877"/>
                  </a:lnTo>
                  <a:close/>
                  <a:moveTo>
                    <a:pt x="268" y="874"/>
                  </a:moveTo>
                  <a:lnTo>
                    <a:pt x="268" y="877"/>
                  </a:lnTo>
                  <a:lnTo>
                    <a:pt x="268" y="874"/>
                  </a:lnTo>
                  <a:close/>
                  <a:moveTo>
                    <a:pt x="268" y="877"/>
                  </a:moveTo>
                  <a:lnTo>
                    <a:pt x="268" y="874"/>
                  </a:lnTo>
                  <a:lnTo>
                    <a:pt x="268" y="877"/>
                  </a:lnTo>
                  <a:close/>
                  <a:moveTo>
                    <a:pt x="266" y="874"/>
                  </a:moveTo>
                  <a:lnTo>
                    <a:pt x="264" y="874"/>
                  </a:lnTo>
                  <a:lnTo>
                    <a:pt x="266" y="874"/>
                  </a:lnTo>
                  <a:close/>
                  <a:moveTo>
                    <a:pt x="276" y="874"/>
                  </a:moveTo>
                  <a:lnTo>
                    <a:pt x="273" y="874"/>
                  </a:lnTo>
                  <a:lnTo>
                    <a:pt x="276" y="874"/>
                  </a:lnTo>
                  <a:close/>
                  <a:moveTo>
                    <a:pt x="257" y="874"/>
                  </a:moveTo>
                  <a:lnTo>
                    <a:pt x="254" y="874"/>
                  </a:lnTo>
                  <a:lnTo>
                    <a:pt x="257" y="874"/>
                  </a:lnTo>
                  <a:close/>
                  <a:moveTo>
                    <a:pt x="264" y="874"/>
                  </a:moveTo>
                  <a:lnTo>
                    <a:pt x="261" y="874"/>
                  </a:lnTo>
                  <a:lnTo>
                    <a:pt x="264" y="874"/>
                  </a:lnTo>
                  <a:close/>
                  <a:moveTo>
                    <a:pt x="264" y="874"/>
                  </a:moveTo>
                  <a:lnTo>
                    <a:pt x="266" y="874"/>
                  </a:lnTo>
                  <a:lnTo>
                    <a:pt x="264" y="874"/>
                  </a:lnTo>
                  <a:close/>
                  <a:moveTo>
                    <a:pt x="259" y="874"/>
                  </a:moveTo>
                  <a:lnTo>
                    <a:pt x="259" y="872"/>
                  </a:lnTo>
                  <a:lnTo>
                    <a:pt x="259" y="874"/>
                  </a:lnTo>
                  <a:close/>
                  <a:moveTo>
                    <a:pt x="271" y="872"/>
                  </a:moveTo>
                  <a:lnTo>
                    <a:pt x="271" y="874"/>
                  </a:lnTo>
                  <a:lnTo>
                    <a:pt x="271" y="872"/>
                  </a:lnTo>
                  <a:close/>
                  <a:moveTo>
                    <a:pt x="273" y="874"/>
                  </a:moveTo>
                  <a:lnTo>
                    <a:pt x="273" y="872"/>
                  </a:lnTo>
                  <a:lnTo>
                    <a:pt x="273" y="874"/>
                  </a:lnTo>
                  <a:close/>
                  <a:moveTo>
                    <a:pt x="271" y="872"/>
                  </a:moveTo>
                  <a:lnTo>
                    <a:pt x="268" y="872"/>
                  </a:lnTo>
                  <a:lnTo>
                    <a:pt x="271" y="872"/>
                  </a:lnTo>
                  <a:close/>
                  <a:moveTo>
                    <a:pt x="261" y="872"/>
                  </a:moveTo>
                  <a:lnTo>
                    <a:pt x="264" y="872"/>
                  </a:lnTo>
                  <a:lnTo>
                    <a:pt x="261" y="872"/>
                  </a:lnTo>
                  <a:close/>
                  <a:moveTo>
                    <a:pt x="264" y="872"/>
                  </a:moveTo>
                  <a:lnTo>
                    <a:pt x="266" y="872"/>
                  </a:lnTo>
                  <a:lnTo>
                    <a:pt x="264" y="872"/>
                  </a:lnTo>
                  <a:close/>
                  <a:moveTo>
                    <a:pt x="261" y="872"/>
                  </a:moveTo>
                  <a:lnTo>
                    <a:pt x="264" y="872"/>
                  </a:lnTo>
                  <a:lnTo>
                    <a:pt x="261" y="872"/>
                  </a:lnTo>
                  <a:close/>
                  <a:moveTo>
                    <a:pt x="261" y="872"/>
                  </a:moveTo>
                  <a:lnTo>
                    <a:pt x="264" y="872"/>
                  </a:lnTo>
                  <a:lnTo>
                    <a:pt x="261" y="872"/>
                  </a:lnTo>
                  <a:close/>
                  <a:moveTo>
                    <a:pt x="266" y="872"/>
                  </a:moveTo>
                  <a:lnTo>
                    <a:pt x="264" y="872"/>
                  </a:lnTo>
                  <a:lnTo>
                    <a:pt x="266" y="872"/>
                  </a:lnTo>
                  <a:close/>
                  <a:moveTo>
                    <a:pt x="259" y="872"/>
                  </a:moveTo>
                  <a:lnTo>
                    <a:pt x="257" y="872"/>
                  </a:lnTo>
                  <a:lnTo>
                    <a:pt x="259" y="872"/>
                  </a:lnTo>
                  <a:close/>
                  <a:moveTo>
                    <a:pt x="259" y="872"/>
                  </a:moveTo>
                  <a:lnTo>
                    <a:pt x="261" y="872"/>
                  </a:lnTo>
                  <a:lnTo>
                    <a:pt x="259" y="872"/>
                  </a:lnTo>
                  <a:close/>
                  <a:moveTo>
                    <a:pt x="266" y="872"/>
                  </a:moveTo>
                  <a:lnTo>
                    <a:pt x="264" y="872"/>
                  </a:lnTo>
                  <a:lnTo>
                    <a:pt x="266" y="872"/>
                  </a:lnTo>
                  <a:close/>
                  <a:moveTo>
                    <a:pt x="266" y="872"/>
                  </a:moveTo>
                  <a:lnTo>
                    <a:pt x="264" y="872"/>
                  </a:lnTo>
                  <a:lnTo>
                    <a:pt x="266" y="872"/>
                  </a:lnTo>
                  <a:close/>
                  <a:moveTo>
                    <a:pt x="264" y="869"/>
                  </a:moveTo>
                  <a:lnTo>
                    <a:pt x="264" y="872"/>
                  </a:lnTo>
                  <a:lnTo>
                    <a:pt x="264" y="869"/>
                  </a:lnTo>
                  <a:close/>
                  <a:moveTo>
                    <a:pt x="261" y="869"/>
                  </a:moveTo>
                  <a:lnTo>
                    <a:pt x="259" y="869"/>
                  </a:lnTo>
                  <a:lnTo>
                    <a:pt x="261" y="869"/>
                  </a:lnTo>
                  <a:close/>
                  <a:moveTo>
                    <a:pt x="266" y="869"/>
                  </a:moveTo>
                  <a:lnTo>
                    <a:pt x="264" y="872"/>
                  </a:lnTo>
                  <a:lnTo>
                    <a:pt x="264" y="869"/>
                  </a:lnTo>
                  <a:lnTo>
                    <a:pt x="264" y="872"/>
                  </a:lnTo>
                  <a:lnTo>
                    <a:pt x="266" y="869"/>
                  </a:lnTo>
                  <a:close/>
                  <a:moveTo>
                    <a:pt x="264" y="869"/>
                  </a:moveTo>
                  <a:lnTo>
                    <a:pt x="264" y="872"/>
                  </a:lnTo>
                  <a:lnTo>
                    <a:pt x="264" y="869"/>
                  </a:lnTo>
                  <a:close/>
                  <a:moveTo>
                    <a:pt x="266" y="872"/>
                  </a:moveTo>
                  <a:lnTo>
                    <a:pt x="264" y="872"/>
                  </a:lnTo>
                  <a:lnTo>
                    <a:pt x="266" y="869"/>
                  </a:lnTo>
                  <a:lnTo>
                    <a:pt x="266" y="872"/>
                  </a:lnTo>
                  <a:close/>
                  <a:moveTo>
                    <a:pt x="261" y="869"/>
                  </a:moveTo>
                  <a:lnTo>
                    <a:pt x="259" y="869"/>
                  </a:lnTo>
                  <a:lnTo>
                    <a:pt x="261" y="869"/>
                  </a:lnTo>
                  <a:close/>
                  <a:moveTo>
                    <a:pt x="276" y="869"/>
                  </a:moveTo>
                  <a:lnTo>
                    <a:pt x="273" y="869"/>
                  </a:lnTo>
                  <a:lnTo>
                    <a:pt x="276" y="869"/>
                  </a:lnTo>
                  <a:close/>
                  <a:moveTo>
                    <a:pt x="261" y="869"/>
                  </a:moveTo>
                  <a:lnTo>
                    <a:pt x="259" y="869"/>
                  </a:lnTo>
                  <a:lnTo>
                    <a:pt x="261" y="869"/>
                  </a:lnTo>
                  <a:close/>
                  <a:moveTo>
                    <a:pt x="264" y="869"/>
                  </a:moveTo>
                  <a:lnTo>
                    <a:pt x="261" y="869"/>
                  </a:lnTo>
                  <a:lnTo>
                    <a:pt x="264" y="869"/>
                  </a:lnTo>
                  <a:close/>
                  <a:moveTo>
                    <a:pt x="261" y="869"/>
                  </a:moveTo>
                  <a:lnTo>
                    <a:pt x="264" y="869"/>
                  </a:lnTo>
                  <a:lnTo>
                    <a:pt x="261" y="869"/>
                  </a:lnTo>
                  <a:close/>
                  <a:moveTo>
                    <a:pt x="276" y="867"/>
                  </a:moveTo>
                  <a:lnTo>
                    <a:pt x="276" y="869"/>
                  </a:lnTo>
                  <a:lnTo>
                    <a:pt x="276" y="867"/>
                  </a:lnTo>
                  <a:close/>
                  <a:moveTo>
                    <a:pt x="283" y="867"/>
                  </a:moveTo>
                  <a:lnTo>
                    <a:pt x="280" y="867"/>
                  </a:lnTo>
                  <a:lnTo>
                    <a:pt x="283" y="867"/>
                  </a:lnTo>
                  <a:close/>
                  <a:moveTo>
                    <a:pt x="271" y="867"/>
                  </a:moveTo>
                  <a:lnTo>
                    <a:pt x="271" y="865"/>
                  </a:lnTo>
                  <a:lnTo>
                    <a:pt x="271" y="867"/>
                  </a:lnTo>
                  <a:close/>
                  <a:moveTo>
                    <a:pt x="280" y="867"/>
                  </a:moveTo>
                  <a:lnTo>
                    <a:pt x="280" y="865"/>
                  </a:lnTo>
                  <a:lnTo>
                    <a:pt x="280" y="867"/>
                  </a:lnTo>
                  <a:close/>
                  <a:moveTo>
                    <a:pt x="247" y="867"/>
                  </a:moveTo>
                  <a:lnTo>
                    <a:pt x="247" y="865"/>
                  </a:lnTo>
                  <a:lnTo>
                    <a:pt x="247" y="867"/>
                  </a:lnTo>
                  <a:close/>
                  <a:moveTo>
                    <a:pt x="247" y="867"/>
                  </a:moveTo>
                  <a:lnTo>
                    <a:pt x="247" y="865"/>
                  </a:lnTo>
                  <a:lnTo>
                    <a:pt x="247" y="867"/>
                  </a:lnTo>
                  <a:close/>
                  <a:moveTo>
                    <a:pt x="271" y="867"/>
                  </a:moveTo>
                  <a:lnTo>
                    <a:pt x="271" y="865"/>
                  </a:lnTo>
                  <a:lnTo>
                    <a:pt x="271" y="867"/>
                  </a:lnTo>
                  <a:close/>
                  <a:moveTo>
                    <a:pt x="273" y="865"/>
                  </a:moveTo>
                  <a:lnTo>
                    <a:pt x="271" y="865"/>
                  </a:lnTo>
                  <a:lnTo>
                    <a:pt x="273" y="865"/>
                  </a:lnTo>
                  <a:close/>
                  <a:moveTo>
                    <a:pt x="273" y="865"/>
                  </a:moveTo>
                  <a:lnTo>
                    <a:pt x="271" y="865"/>
                  </a:lnTo>
                  <a:lnTo>
                    <a:pt x="273" y="865"/>
                  </a:lnTo>
                  <a:close/>
                  <a:moveTo>
                    <a:pt x="252" y="865"/>
                  </a:moveTo>
                  <a:lnTo>
                    <a:pt x="249" y="865"/>
                  </a:lnTo>
                  <a:lnTo>
                    <a:pt x="252" y="865"/>
                  </a:lnTo>
                  <a:close/>
                  <a:moveTo>
                    <a:pt x="278" y="865"/>
                  </a:moveTo>
                  <a:lnTo>
                    <a:pt x="276" y="865"/>
                  </a:lnTo>
                  <a:lnTo>
                    <a:pt x="278" y="865"/>
                  </a:lnTo>
                  <a:close/>
                  <a:moveTo>
                    <a:pt x="278" y="865"/>
                  </a:moveTo>
                  <a:lnTo>
                    <a:pt x="276" y="865"/>
                  </a:lnTo>
                  <a:lnTo>
                    <a:pt x="278" y="865"/>
                  </a:lnTo>
                  <a:close/>
                  <a:moveTo>
                    <a:pt x="252" y="865"/>
                  </a:moveTo>
                  <a:lnTo>
                    <a:pt x="252" y="862"/>
                  </a:lnTo>
                  <a:lnTo>
                    <a:pt x="252" y="865"/>
                  </a:lnTo>
                  <a:close/>
                  <a:moveTo>
                    <a:pt x="268" y="862"/>
                  </a:moveTo>
                  <a:lnTo>
                    <a:pt x="268" y="865"/>
                  </a:lnTo>
                  <a:lnTo>
                    <a:pt x="268" y="862"/>
                  </a:lnTo>
                  <a:close/>
                  <a:moveTo>
                    <a:pt x="276" y="862"/>
                  </a:moveTo>
                  <a:lnTo>
                    <a:pt x="276" y="865"/>
                  </a:lnTo>
                  <a:lnTo>
                    <a:pt x="276" y="862"/>
                  </a:lnTo>
                  <a:close/>
                  <a:moveTo>
                    <a:pt x="271" y="862"/>
                  </a:moveTo>
                  <a:lnTo>
                    <a:pt x="268" y="862"/>
                  </a:lnTo>
                  <a:lnTo>
                    <a:pt x="271" y="862"/>
                  </a:lnTo>
                  <a:close/>
                  <a:moveTo>
                    <a:pt x="271" y="862"/>
                  </a:moveTo>
                  <a:lnTo>
                    <a:pt x="268" y="862"/>
                  </a:lnTo>
                  <a:lnTo>
                    <a:pt x="271" y="862"/>
                  </a:lnTo>
                  <a:close/>
                  <a:moveTo>
                    <a:pt x="257" y="862"/>
                  </a:moveTo>
                  <a:lnTo>
                    <a:pt x="254" y="862"/>
                  </a:lnTo>
                  <a:lnTo>
                    <a:pt x="257" y="862"/>
                  </a:lnTo>
                  <a:close/>
                  <a:moveTo>
                    <a:pt x="271" y="862"/>
                  </a:moveTo>
                  <a:lnTo>
                    <a:pt x="268" y="862"/>
                  </a:lnTo>
                  <a:lnTo>
                    <a:pt x="271" y="862"/>
                  </a:lnTo>
                  <a:close/>
                  <a:moveTo>
                    <a:pt x="266" y="860"/>
                  </a:moveTo>
                  <a:lnTo>
                    <a:pt x="266" y="862"/>
                  </a:lnTo>
                  <a:lnTo>
                    <a:pt x="266" y="860"/>
                  </a:lnTo>
                  <a:close/>
                  <a:moveTo>
                    <a:pt x="249" y="860"/>
                  </a:moveTo>
                  <a:lnTo>
                    <a:pt x="249" y="862"/>
                  </a:lnTo>
                  <a:lnTo>
                    <a:pt x="249" y="860"/>
                  </a:lnTo>
                  <a:close/>
                  <a:moveTo>
                    <a:pt x="257" y="862"/>
                  </a:moveTo>
                  <a:lnTo>
                    <a:pt x="254" y="862"/>
                  </a:lnTo>
                  <a:lnTo>
                    <a:pt x="254" y="860"/>
                  </a:lnTo>
                  <a:lnTo>
                    <a:pt x="257" y="860"/>
                  </a:lnTo>
                  <a:lnTo>
                    <a:pt x="257" y="862"/>
                  </a:lnTo>
                  <a:close/>
                  <a:moveTo>
                    <a:pt x="257" y="860"/>
                  </a:moveTo>
                  <a:lnTo>
                    <a:pt x="257" y="862"/>
                  </a:lnTo>
                  <a:lnTo>
                    <a:pt x="257" y="860"/>
                  </a:lnTo>
                  <a:close/>
                  <a:moveTo>
                    <a:pt x="271" y="860"/>
                  </a:moveTo>
                  <a:lnTo>
                    <a:pt x="268" y="860"/>
                  </a:lnTo>
                  <a:lnTo>
                    <a:pt x="271" y="860"/>
                  </a:lnTo>
                  <a:close/>
                  <a:moveTo>
                    <a:pt x="268" y="860"/>
                  </a:moveTo>
                  <a:lnTo>
                    <a:pt x="266" y="860"/>
                  </a:lnTo>
                  <a:lnTo>
                    <a:pt x="268" y="860"/>
                  </a:lnTo>
                  <a:close/>
                  <a:moveTo>
                    <a:pt x="280" y="860"/>
                  </a:moveTo>
                  <a:lnTo>
                    <a:pt x="278" y="860"/>
                  </a:lnTo>
                  <a:lnTo>
                    <a:pt x="280" y="860"/>
                  </a:lnTo>
                  <a:close/>
                  <a:moveTo>
                    <a:pt x="257" y="860"/>
                  </a:moveTo>
                  <a:lnTo>
                    <a:pt x="254" y="860"/>
                  </a:lnTo>
                  <a:lnTo>
                    <a:pt x="257" y="860"/>
                  </a:lnTo>
                  <a:close/>
                  <a:moveTo>
                    <a:pt x="254" y="860"/>
                  </a:moveTo>
                  <a:lnTo>
                    <a:pt x="252" y="860"/>
                  </a:lnTo>
                  <a:lnTo>
                    <a:pt x="254" y="860"/>
                  </a:lnTo>
                  <a:close/>
                  <a:moveTo>
                    <a:pt x="276" y="860"/>
                  </a:moveTo>
                  <a:lnTo>
                    <a:pt x="273" y="860"/>
                  </a:lnTo>
                  <a:lnTo>
                    <a:pt x="276" y="860"/>
                  </a:lnTo>
                  <a:close/>
                  <a:moveTo>
                    <a:pt x="254" y="860"/>
                  </a:moveTo>
                  <a:lnTo>
                    <a:pt x="254" y="858"/>
                  </a:lnTo>
                  <a:lnTo>
                    <a:pt x="254" y="860"/>
                  </a:lnTo>
                  <a:close/>
                  <a:moveTo>
                    <a:pt x="254" y="860"/>
                  </a:moveTo>
                  <a:lnTo>
                    <a:pt x="254" y="858"/>
                  </a:lnTo>
                  <a:lnTo>
                    <a:pt x="254" y="860"/>
                  </a:lnTo>
                  <a:close/>
                  <a:moveTo>
                    <a:pt x="254" y="860"/>
                  </a:moveTo>
                  <a:lnTo>
                    <a:pt x="254" y="858"/>
                  </a:lnTo>
                  <a:lnTo>
                    <a:pt x="254" y="860"/>
                  </a:lnTo>
                  <a:close/>
                  <a:moveTo>
                    <a:pt x="280" y="860"/>
                  </a:moveTo>
                  <a:lnTo>
                    <a:pt x="278" y="860"/>
                  </a:lnTo>
                  <a:lnTo>
                    <a:pt x="280" y="858"/>
                  </a:lnTo>
                  <a:lnTo>
                    <a:pt x="280" y="860"/>
                  </a:lnTo>
                  <a:close/>
                  <a:moveTo>
                    <a:pt x="268" y="860"/>
                  </a:moveTo>
                  <a:lnTo>
                    <a:pt x="268" y="858"/>
                  </a:lnTo>
                  <a:lnTo>
                    <a:pt x="268" y="860"/>
                  </a:lnTo>
                  <a:close/>
                  <a:moveTo>
                    <a:pt x="254" y="858"/>
                  </a:moveTo>
                  <a:lnTo>
                    <a:pt x="254" y="860"/>
                  </a:lnTo>
                  <a:lnTo>
                    <a:pt x="254" y="858"/>
                  </a:lnTo>
                  <a:close/>
                  <a:moveTo>
                    <a:pt x="276" y="858"/>
                  </a:moveTo>
                  <a:lnTo>
                    <a:pt x="276" y="860"/>
                  </a:lnTo>
                  <a:lnTo>
                    <a:pt x="276" y="858"/>
                  </a:lnTo>
                  <a:close/>
                  <a:moveTo>
                    <a:pt x="268" y="858"/>
                  </a:moveTo>
                  <a:lnTo>
                    <a:pt x="268" y="860"/>
                  </a:lnTo>
                  <a:lnTo>
                    <a:pt x="268" y="858"/>
                  </a:lnTo>
                  <a:close/>
                  <a:moveTo>
                    <a:pt x="283" y="858"/>
                  </a:moveTo>
                  <a:lnTo>
                    <a:pt x="280" y="858"/>
                  </a:lnTo>
                  <a:lnTo>
                    <a:pt x="283" y="858"/>
                  </a:lnTo>
                  <a:close/>
                  <a:moveTo>
                    <a:pt x="268" y="858"/>
                  </a:moveTo>
                  <a:lnTo>
                    <a:pt x="271" y="858"/>
                  </a:lnTo>
                  <a:lnTo>
                    <a:pt x="268" y="858"/>
                  </a:lnTo>
                  <a:close/>
                  <a:moveTo>
                    <a:pt x="276" y="858"/>
                  </a:moveTo>
                  <a:lnTo>
                    <a:pt x="273" y="858"/>
                  </a:lnTo>
                  <a:lnTo>
                    <a:pt x="276" y="858"/>
                  </a:lnTo>
                  <a:close/>
                  <a:moveTo>
                    <a:pt x="271" y="858"/>
                  </a:moveTo>
                  <a:lnTo>
                    <a:pt x="268" y="858"/>
                  </a:lnTo>
                  <a:lnTo>
                    <a:pt x="271" y="858"/>
                  </a:lnTo>
                  <a:close/>
                  <a:moveTo>
                    <a:pt x="285" y="858"/>
                  </a:moveTo>
                  <a:lnTo>
                    <a:pt x="283" y="858"/>
                  </a:lnTo>
                  <a:lnTo>
                    <a:pt x="285" y="858"/>
                  </a:lnTo>
                  <a:close/>
                  <a:moveTo>
                    <a:pt x="273" y="858"/>
                  </a:moveTo>
                  <a:lnTo>
                    <a:pt x="271" y="858"/>
                  </a:lnTo>
                  <a:lnTo>
                    <a:pt x="273" y="858"/>
                  </a:lnTo>
                  <a:close/>
                  <a:moveTo>
                    <a:pt x="254" y="858"/>
                  </a:moveTo>
                  <a:lnTo>
                    <a:pt x="254" y="855"/>
                  </a:lnTo>
                  <a:lnTo>
                    <a:pt x="254" y="858"/>
                  </a:lnTo>
                  <a:close/>
                  <a:moveTo>
                    <a:pt x="278" y="855"/>
                  </a:moveTo>
                  <a:lnTo>
                    <a:pt x="278" y="858"/>
                  </a:lnTo>
                  <a:lnTo>
                    <a:pt x="278" y="855"/>
                  </a:lnTo>
                  <a:close/>
                  <a:moveTo>
                    <a:pt x="290" y="855"/>
                  </a:moveTo>
                  <a:lnTo>
                    <a:pt x="290" y="858"/>
                  </a:lnTo>
                  <a:lnTo>
                    <a:pt x="290" y="855"/>
                  </a:lnTo>
                  <a:close/>
                  <a:moveTo>
                    <a:pt x="273" y="855"/>
                  </a:moveTo>
                  <a:lnTo>
                    <a:pt x="273" y="858"/>
                  </a:lnTo>
                  <a:lnTo>
                    <a:pt x="273" y="855"/>
                  </a:lnTo>
                  <a:close/>
                  <a:moveTo>
                    <a:pt x="280" y="858"/>
                  </a:moveTo>
                  <a:lnTo>
                    <a:pt x="278" y="858"/>
                  </a:lnTo>
                  <a:lnTo>
                    <a:pt x="278" y="855"/>
                  </a:lnTo>
                  <a:lnTo>
                    <a:pt x="280" y="855"/>
                  </a:lnTo>
                  <a:lnTo>
                    <a:pt x="278" y="858"/>
                  </a:lnTo>
                  <a:lnTo>
                    <a:pt x="280" y="858"/>
                  </a:lnTo>
                  <a:close/>
                  <a:moveTo>
                    <a:pt x="257" y="855"/>
                  </a:moveTo>
                  <a:lnTo>
                    <a:pt x="254" y="855"/>
                  </a:lnTo>
                  <a:lnTo>
                    <a:pt x="257" y="855"/>
                  </a:lnTo>
                  <a:close/>
                  <a:moveTo>
                    <a:pt x="292" y="853"/>
                  </a:moveTo>
                  <a:lnTo>
                    <a:pt x="292" y="855"/>
                  </a:lnTo>
                  <a:lnTo>
                    <a:pt x="292" y="853"/>
                  </a:lnTo>
                  <a:close/>
                  <a:moveTo>
                    <a:pt x="280" y="855"/>
                  </a:moveTo>
                  <a:lnTo>
                    <a:pt x="280" y="853"/>
                  </a:lnTo>
                  <a:lnTo>
                    <a:pt x="283" y="853"/>
                  </a:lnTo>
                  <a:lnTo>
                    <a:pt x="280" y="855"/>
                  </a:lnTo>
                  <a:close/>
                  <a:moveTo>
                    <a:pt x="280" y="855"/>
                  </a:moveTo>
                  <a:lnTo>
                    <a:pt x="280" y="853"/>
                  </a:lnTo>
                  <a:lnTo>
                    <a:pt x="280" y="855"/>
                  </a:lnTo>
                  <a:close/>
                  <a:moveTo>
                    <a:pt x="280" y="855"/>
                  </a:moveTo>
                  <a:lnTo>
                    <a:pt x="280" y="853"/>
                  </a:lnTo>
                  <a:lnTo>
                    <a:pt x="280" y="855"/>
                  </a:lnTo>
                  <a:close/>
                  <a:moveTo>
                    <a:pt x="290" y="853"/>
                  </a:moveTo>
                  <a:lnTo>
                    <a:pt x="287" y="853"/>
                  </a:lnTo>
                  <a:lnTo>
                    <a:pt x="290" y="853"/>
                  </a:lnTo>
                  <a:close/>
                  <a:moveTo>
                    <a:pt x="280" y="853"/>
                  </a:moveTo>
                  <a:lnTo>
                    <a:pt x="278" y="853"/>
                  </a:lnTo>
                  <a:lnTo>
                    <a:pt x="280" y="853"/>
                  </a:lnTo>
                  <a:close/>
                  <a:moveTo>
                    <a:pt x="290" y="853"/>
                  </a:moveTo>
                  <a:lnTo>
                    <a:pt x="287" y="853"/>
                  </a:lnTo>
                  <a:lnTo>
                    <a:pt x="290" y="853"/>
                  </a:lnTo>
                  <a:close/>
                  <a:moveTo>
                    <a:pt x="290" y="853"/>
                  </a:moveTo>
                  <a:lnTo>
                    <a:pt x="287" y="853"/>
                  </a:lnTo>
                  <a:lnTo>
                    <a:pt x="290" y="850"/>
                  </a:lnTo>
                  <a:lnTo>
                    <a:pt x="290" y="853"/>
                  </a:lnTo>
                  <a:close/>
                  <a:moveTo>
                    <a:pt x="264" y="850"/>
                  </a:moveTo>
                  <a:lnTo>
                    <a:pt x="264" y="853"/>
                  </a:lnTo>
                  <a:lnTo>
                    <a:pt x="264" y="850"/>
                  </a:lnTo>
                  <a:close/>
                  <a:moveTo>
                    <a:pt x="287" y="853"/>
                  </a:moveTo>
                  <a:lnTo>
                    <a:pt x="287" y="850"/>
                  </a:lnTo>
                  <a:lnTo>
                    <a:pt x="287" y="853"/>
                  </a:lnTo>
                  <a:close/>
                  <a:moveTo>
                    <a:pt x="285" y="850"/>
                  </a:moveTo>
                  <a:lnTo>
                    <a:pt x="283" y="850"/>
                  </a:lnTo>
                  <a:lnTo>
                    <a:pt x="285" y="850"/>
                  </a:lnTo>
                  <a:close/>
                  <a:moveTo>
                    <a:pt x="285" y="850"/>
                  </a:moveTo>
                  <a:lnTo>
                    <a:pt x="283" y="850"/>
                  </a:lnTo>
                  <a:lnTo>
                    <a:pt x="285" y="850"/>
                  </a:lnTo>
                  <a:close/>
                  <a:moveTo>
                    <a:pt x="285" y="850"/>
                  </a:moveTo>
                  <a:lnTo>
                    <a:pt x="283" y="850"/>
                  </a:lnTo>
                  <a:lnTo>
                    <a:pt x="285" y="850"/>
                  </a:lnTo>
                  <a:close/>
                  <a:moveTo>
                    <a:pt x="290" y="850"/>
                  </a:moveTo>
                  <a:lnTo>
                    <a:pt x="287" y="850"/>
                  </a:lnTo>
                  <a:lnTo>
                    <a:pt x="290" y="850"/>
                  </a:lnTo>
                  <a:close/>
                  <a:moveTo>
                    <a:pt x="268" y="848"/>
                  </a:moveTo>
                  <a:lnTo>
                    <a:pt x="268" y="850"/>
                  </a:lnTo>
                  <a:lnTo>
                    <a:pt x="268" y="848"/>
                  </a:lnTo>
                  <a:close/>
                  <a:moveTo>
                    <a:pt x="287" y="850"/>
                  </a:moveTo>
                  <a:lnTo>
                    <a:pt x="285" y="850"/>
                  </a:lnTo>
                  <a:lnTo>
                    <a:pt x="285" y="848"/>
                  </a:lnTo>
                  <a:lnTo>
                    <a:pt x="287" y="848"/>
                  </a:lnTo>
                  <a:lnTo>
                    <a:pt x="287" y="850"/>
                  </a:lnTo>
                  <a:close/>
                  <a:moveTo>
                    <a:pt x="264" y="850"/>
                  </a:moveTo>
                  <a:lnTo>
                    <a:pt x="264" y="848"/>
                  </a:lnTo>
                  <a:lnTo>
                    <a:pt x="264" y="850"/>
                  </a:lnTo>
                  <a:close/>
                  <a:moveTo>
                    <a:pt x="268" y="848"/>
                  </a:moveTo>
                  <a:lnTo>
                    <a:pt x="268" y="850"/>
                  </a:lnTo>
                  <a:lnTo>
                    <a:pt x="268" y="848"/>
                  </a:lnTo>
                  <a:close/>
                  <a:moveTo>
                    <a:pt x="264" y="848"/>
                  </a:moveTo>
                  <a:lnTo>
                    <a:pt x="261" y="850"/>
                  </a:lnTo>
                  <a:lnTo>
                    <a:pt x="261" y="848"/>
                  </a:lnTo>
                  <a:lnTo>
                    <a:pt x="264" y="848"/>
                  </a:lnTo>
                  <a:close/>
                  <a:moveTo>
                    <a:pt x="264" y="848"/>
                  </a:moveTo>
                  <a:lnTo>
                    <a:pt x="261" y="848"/>
                  </a:lnTo>
                  <a:lnTo>
                    <a:pt x="264" y="848"/>
                  </a:lnTo>
                  <a:close/>
                  <a:moveTo>
                    <a:pt x="285" y="848"/>
                  </a:moveTo>
                  <a:lnTo>
                    <a:pt x="283" y="848"/>
                  </a:lnTo>
                  <a:lnTo>
                    <a:pt x="285" y="848"/>
                  </a:lnTo>
                  <a:close/>
                  <a:moveTo>
                    <a:pt x="264" y="848"/>
                  </a:moveTo>
                  <a:lnTo>
                    <a:pt x="261" y="848"/>
                  </a:lnTo>
                  <a:lnTo>
                    <a:pt x="264" y="848"/>
                  </a:lnTo>
                  <a:close/>
                  <a:moveTo>
                    <a:pt x="283" y="848"/>
                  </a:moveTo>
                  <a:lnTo>
                    <a:pt x="285" y="848"/>
                  </a:lnTo>
                  <a:lnTo>
                    <a:pt x="283" y="848"/>
                  </a:lnTo>
                  <a:close/>
                  <a:moveTo>
                    <a:pt x="297" y="848"/>
                  </a:moveTo>
                  <a:lnTo>
                    <a:pt x="295" y="848"/>
                  </a:lnTo>
                  <a:lnTo>
                    <a:pt x="297" y="848"/>
                  </a:lnTo>
                  <a:close/>
                  <a:moveTo>
                    <a:pt x="285" y="848"/>
                  </a:moveTo>
                  <a:lnTo>
                    <a:pt x="287" y="848"/>
                  </a:lnTo>
                  <a:lnTo>
                    <a:pt x="285" y="848"/>
                  </a:lnTo>
                  <a:close/>
                  <a:moveTo>
                    <a:pt x="287" y="848"/>
                  </a:moveTo>
                  <a:lnTo>
                    <a:pt x="285" y="848"/>
                  </a:lnTo>
                  <a:lnTo>
                    <a:pt x="287" y="848"/>
                  </a:lnTo>
                  <a:close/>
                  <a:moveTo>
                    <a:pt x="297" y="848"/>
                  </a:moveTo>
                  <a:lnTo>
                    <a:pt x="297" y="846"/>
                  </a:lnTo>
                  <a:lnTo>
                    <a:pt x="297" y="848"/>
                  </a:lnTo>
                  <a:close/>
                  <a:moveTo>
                    <a:pt x="287" y="846"/>
                  </a:moveTo>
                  <a:lnTo>
                    <a:pt x="287" y="848"/>
                  </a:lnTo>
                  <a:lnTo>
                    <a:pt x="287" y="846"/>
                  </a:lnTo>
                  <a:close/>
                  <a:moveTo>
                    <a:pt x="287" y="848"/>
                  </a:moveTo>
                  <a:lnTo>
                    <a:pt x="287" y="846"/>
                  </a:lnTo>
                  <a:lnTo>
                    <a:pt x="287" y="848"/>
                  </a:lnTo>
                  <a:close/>
                  <a:moveTo>
                    <a:pt x="287" y="846"/>
                  </a:moveTo>
                  <a:lnTo>
                    <a:pt x="287" y="848"/>
                  </a:lnTo>
                  <a:lnTo>
                    <a:pt x="287" y="846"/>
                  </a:lnTo>
                  <a:close/>
                  <a:moveTo>
                    <a:pt x="287" y="846"/>
                  </a:moveTo>
                  <a:lnTo>
                    <a:pt x="285" y="846"/>
                  </a:lnTo>
                  <a:lnTo>
                    <a:pt x="287" y="846"/>
                  </a:lnTo>
                  <a:close/>
                  <a:moveTo>
                    <a:pt x="287" y="846"/>
                  </a:moveTo>
                  <a:lnTo>
                    <a:pt x="287" y="848"/>
                  </a:lnTo>
                  <a:lnTo>
                    <a:pt x="287" y="846"/>
                  </a:lnTo>
                  <a:close/>
                  <a:moveTo>
                    <a:pt x="271" y="848"/>
                  </a:moveTo>
                  <a:lnTo>
                    <a:pt x="271" y="846"/>
                  </a:lnTo>
                  <a:lnTo>
                    <a:pt x="271" y="848"/>
                  </a:lnTo>
                  <a:close/>
                  <a:moveTo>
                    <a:pt x="285" y="846"/>
                  </a:moveTo>
                  <a:lnTo>
                    <a:pt x="285" y="848"/>
                  </a:lnTo>
                  <a:lnTo>
                    <a:pt x="285" y="846"/>
                  </a:lnTo>
                  <a:close/>
                  <a:moveTo>
                    <a:pt x="273" y="848"/>
                  </a:moveTo>
                  <a:lnTo>
                    <a:pt x="273" y="846"/>
                  </a:lnTo>
                  <a:lnTo>
                    <a:pt x="273" y="848"/>
                  </a:lnTo>
                  <a:close/>
                  <a:moveTo>
                    <a:pt x="285" y="846"/>
                  </a:moveTo>
                  <a:lnTo>
                    <a:pt x="285" y="848"/>
                  </a:lnTo>
                  <a:lnTo>
                    <a:pt x="285" y="846"/>
                  </a:lnTo>
                  <a:close/>
                  <a:moveTo>
                    <a:pt x="273" y="846"/>
                  </a:moveTo>
                  <a:lnTo>
                    <a:pt x="271" y="846"/>
                  </a:lnTo>
                  <a:lnTo>
                    <a:pt x="273" y="846"/>
                  </a:lnTo>
                  <a:close/>
                  <a:moveTo>
                    <a:pt x="299" y="846"/>
                  </a:moveTo>
                  <a:lnTo>
                    <a:pt x="297" y="846"/>
                  </a:lnTo>
                  <a:lnTo>
                    <a:pt x="299" y="846"/>
                  </a:lnTo>
                  <a:close/>
                  <a:moveTo>
                    <a:pt x="283" y="846"/>
                  </a:moveTo>
                  <a:lnTo>
                    <a:pt x="280" y="846"/>
                  </a:lnTo>
                  <a:lnTo>
                    <a:pt x="283" y="846"/>
                  </a:lnTo>
                  <a:close/>
                  <a:moveTo>
                    <a:pt x="285" y="846"/>
                  </a:moveTo>
                  <a:lnTo>
                    <a:pt x="283" y="846"/>
                  </a:lnTo>
                  <a:lnTo>
                    <a:pt x="285" y="846"/>
                  </a:lnTo>
                  <a:close/>
                  <a:moveTo>
                    <a:pt x="283" y="846"/>
                  </a:moveTo>
                  <a:lnTo>
                    <a:pt x="280" y="846"/>
                  </a:lnTo>
                  <a:lnTo>
                    <a:pt x="283" y="846"/>
                  </a:lnTo>
                  <a:close/>
                  <a:moveTo>
                    <a:pt x="292" y="846"/>
                  </a:moveTo>
                  <a:lnTo>
                    <a:pt x="290" y="846"/>
                  </a:lnTo>
                  <a:lnTo>
                    <a:pt x="292" y="846"/>
                  </a:lnTo>
                  <a:close/>
                  <a:moveTo>
                    <a:pt x="280" y="846"/>
                  </a:moveTo>
                  <a:lnTo>
                    <a:pt x="283" y="846"/>
                  </a:lnTo>
                  <a:lnTo>
                    <a:pt x="280" y="846"/>
                  </a:lnTo>
                  <a:close/>
                  <a:moveTo>
                    <a:pt x="287" y="846"/>
                  </a:moveTo>
                  <a:lnTo>
                    <a:pt x="287" y="843"/>
                  </a:lnTo>
                  <a:lnTo>
                    <a:pt x="287" y="846"/>
                  </a:lnTo>
                  <a:close/>
                  <a:moveTo>
                    <a:pt x="280" y="846"/>
                  </a:moveTo>
                  <a:lnTo>
                    <a:pt x="280" y="843"/>
                  </a:lnTo>
                  <a:lnTo>
                    <a:pt x="280" y="846"/>
                  </a:lnTo>
                  <a:close/>
                  <a:moveTo>
                    <a:pt x="290" y="843"/>
                  </a:moveTo>
                  <a:lnTo>
                    <a:pt x="290" y="846"/>
                  </a:lnTo>
                  <a:lnTo>
                    <a:pt x="290" y="843"/>
                  </a:lnTo>
                  <a:lnTo>
                    <a:pt x="290" y="846"/>
                  </a:lnTo>
                  <a:lnTo>
                    <a:pt x="290" y="843"/>
                  </a:lnTo>
                  <a:close/>
                  <a:moveTo>
                    <a:pt x="292" y="846"/>
                  </a:moveTo>
                  <a:lnTo>
                    <a:pt x="292" y="843"/>
                  </a:lnTo>
                  <a:lnTo>
                    <a:pt x="292" y="846"/>
                  </a:lnTo>
                  <a:close/>
                  <a:moveTo>
                    <a:pt x="292" y="843"/>
                  </a:moveTo>
                  <a:lnTo>
                    <a:pt x="290" y="843"/>
                  </a:lnTo>
                  <a:lnTo>
                    <a:pt x="292" y="843"/>
                  </a:lnTo>
                  <a:close/>
                  <a:moveTo>
                    <a:pt x="304" y="843"/>
                  </a:moveTo>
                  <a:lnTo>
                    <a:pt x="302" y="843"/>
                  </a:lnTo>
                  <a:lnTo>
                    <a:pt x="304" y="843"/>
                  </a:lnTo>
                  <a:close/>
                  <a:moveTo>
                    <a:pt x="295" y="843"/>
                  </a:moveTo>
                  <a:lnTo>
                    <a:pt x="295" y="841"/>
                  </a:lnTo>
                  <a:lnTo>
                    <a:pt x="295" y="843"/>
                  </a:lnTo>
                  <a:close/>
                  <a:moveTo>
                    <a:pt x="295" y="843"/>
                  </a:moveTo>
                  <a:lnTo>
                    <a:pt x="295" y="841"/>
                  </a:lnTo>
                  <a:lnTo>
                    <a:pt x="295" y="843"/>
                  </a:lnTo>
                  <a:close/>
                  <a:moveTo>
                    <a:pt x="295" y="839"/>
                  </a:moveTo>
                  <a:lnTo>
                    <a:pt x="292" y="839"/>
                  </a:lnTo>
                  <a:lnTo>
                    <a:pt x="292" y="841"/>
                  </a:lnTo>
                  <a:lnTo>
                    <a:pt x="292" y="839"/>
                  </a:lnTo>
                  <a:lnTo>
                    <a:pt x="295" y="839"/>
                  </a:lnTo>
                  <a:close/>
                  <a:moveTo>
                    <a:pt x="297" y="839"/>
                  </a:moveTo>
                  <a:lnTo>
                    <a:pt x="295" y="839"/>
                  </a:lnTo>
                  <a:lnTo>
                    <a:pt x="297" y="839"/>
                  </a:lnTo>
                  <a:close/>
                  <a:moveTo>
                    <a:pt x="290" y="836"/>
                  </a:moveTo>
                  <a:lnTo>
                    <a:pt x="290" y="839"/>
                  </a:lnTo>
                  <a:lnTo>
                    <a:pt x="290" y="836"/>
                  </a:lnTo>
                  <a:close/>
                  <a:moveTo>
                    <a:pt x="285" y="834"/>
                  </a:moveTo>
                  <a:lnTo>
                    <a:pt x="285" y="836"/>
                  </a:lnTo>
                  <a:lnTo>
                    <a:pt x="285" y="834"/>
                  </a:lnTo>
                  <a:close/>
                  <a:moveTo>
                    <a:pt x="302" y="834"/>
                  </a:moveTo>
                  <a:lnTo>
                    <a:pt x="304" y="834"/>
                  </a:lnTo>
                  <a:lnTo>
                    <a:pt x="302" y="834"/>
                  </a:lnTo>
                  <a:close/>
                  <a:moveTo>
                    <a:pt x="304" y="831"/>
                  </a:moveTo>
                  <a:lnTo>
                    <a:pt x="304" y="834"/>
                  </a:lnTo>
                  <a:lnTo>
                    <a:pt x="304" y="831"/>
                  </a:lnTo>
                  <a:close/>
                  <a:moveTo>
                    <a:pt x="306" y="831"/>
                  </a:moveTo>
                  <a:lnTo>
                    <a:pt x="304" y="831"/>
                  </a:lnTo>
                  <a:lnTo>
                    <a:pt x="306" y="831"/>
                  </a:lnTo>
                  <a:close/>
                  <a:moveTo>
                    <a:pt x="304" y="831"/>
                  </a:moveTo>
                  <a:lnTo>
                    <a:pt x="302" y="831"/>
                  </a:lnTo>
                  <a:lnTo>
                    <a:pt x="304" y="831"/>
                  </a:lnTo>
                  <a:lnTo>
                    <a:pt x="302" y="831"/>
                  </a:lnTo>
                  <a:lnTo>
                    <a:pt x="304" y="831"/>
                  </a:lnTo>
                  <a:close/>
                  <a:moveTo>
                    <a:pt x="302" y="831"/>
                  </a:moveTo>
                  <a:lnTo>
                    <a:pt x="304" y="831"/>
                  </a:lnTo>
                  <a:lnTo>
                    <a:pt x="302" y="831"/>
                  </a:lnTo>
                  <a:close/>
                  <a:moveTo>
                    <a:pt x="306" y="829"/>
                  </a:moveTo>
                  <a:lnTo>
                    <a:pt x="306" y="831"/>
                  </a:lnTo>
                  <a:lnTo>
                    <a:pt x="306" y="829"/>
                  </a:lnTo>
                  <a:close/>
                  <a:moveTo>
                    <a:pt x="309" y="829"/>
                  </a:moveTo>
                  <a:lnTo>
                    <a:pt x="306" y="829"/>
                  </a:lnTo>
                  <a:lnTo>
                    <a:pt x="309" y="829"/>
                  </a:lnTo>
                  <a:close/>
                  <a:moveTo>
                    <a:pt x="309" y="829"/>
                  </a:moveTo>
                  <a:lnTo>
                    <a:pt x="306" y="829"/>
                  </a:lnTo>
                  <a:lnTo>
                    <a:pt x="309" y="829"/>
                  </a:lnTo>
                  <a:lnTo>
                    <a:pt x="306" y="829"/>
                  </a:lnTo>
                  <a:lnTo>
                    <a:pt x="309" y="829"/>
                  </a:lnTo>
                  <a:close/>
                  <a:moveTo>
                    <a:pt x="314" y="829"/>
                  </a:moveTo>
                  <a:lnTo>
                    <a:pt x="311" y="829"/>
                  </a:lnTo>
                  <a:lnTo>
                    <a:pt x="314" y="829"/>
                  </a:lnTo>
                  <a:close/>
                  <a:moveTo>
                    <a:pt x="314" y="829"/>
                  </a:moveTo>
                  <a:lnTo>
                    <a:pt x="311" y="829"/>
                  </a:lnTo>
                  <a:lnTo>
                    <a:pt x="314" y="829"/>
                  </a:lnTo>
                  <a:close/>
                  <a:moveTo>
                    <a:pt x="314" y="829"/>
                  </a:moveTo>
                  <a:lnTo>
                    <a:pt x="314" y="827"/>
                  </a:lnTo>
                  <a:lnTo>
                    <a:pt x="314" y="829"/>
                  </a:lnTo>
                  <a:close/>
                  <a:moveTo>
                    <a:pt x="314" y="829"/>
                  </a:moveTo>
                  <a:lnTo>
                    <a:pt x="314" y="827"/>
                  </a:lnTo>
                  <a:lnTo>
                    <a:pt x="314" y="829"/>
                  </a:lnTo>
                  <a:close/>
                  <a:moveTo>
                    <a:pt x="306" y="827"/>
                  </a:moveTo>
                  <a:lnTo>
                    <a:pt x="304" y="827"/>
                  </a:lnTo>
                  <a:lnTo>
                    <a:pt x="306" y="827"/>
                  </a:lnTo>
                  <a:close/>
                  <a:moveTo>
                    <a:pt x="304" y="827"/>
                  </a:moveTo>
                  <a:lnTo>
                    <a:pt x="306" y="827"/>
                  </a:lnTo>
                  <a:lnTo>
                    <a:pt x="304" y="827"/>
                  </a:lnTo>
                  <a:close/>
                  <a:moveTo>
                    <a:pt x="314" y="827"/>
                  </a:moveTo>
                  <a:lnTo>
                    <a:pt x="311" y="827"/>
                  </a:lnTo>
                  <a:lnTo>
                    <a:pt x="314" y="827"/>
                  </a:lnTo>
                  <a:close/>
                  <a:moveTo>
                    <a:pt x="306" y="827"/>
                  </a:moveTo>
                  <a:lnTo>
                    <a:pt x="304" y="827"/>
                  </a:lnTo>
                  <a:lnTo>
                    <a:pt x="306" y="827"/>
                  </a:lnTo>
                  <a:close/>
                  <a:moveTo>
                    <a:pt x="306" y="827"/>
                  </a:moveTo>
                  <a:lnTo>
                    <a:pt x="306" y="824"/>
                  </a:lnTo>
                  <a:lnTo>
                    <a:pt x="306" y="827"/>
                  </a:lnTo>
                  <a:close/>
                  <a:moveTo>
                    <a:pt x="306" y="827"/>
                  </a:moveTo>
                  <a:lnTo>
                    <a:pt x="306" y="824"/>
                  </a:lnTo>
                  <a:lnTo>
                    <a:pt x="306" y="827"/>
                  </a:lnTo>
                  <a:close/>
                  <a:moveTo>
                    <a:pt x="304" y="827"/>
                  </a:moveTo>
                  <a:lnTo>
                    <a:pt x="304" y="824"/>
                  </a:lnTo>
                  <a:lnTo>
                    <a:pt x="304" y="827"/>
                  </a:lnTo>
                  <a:close/>
                  <a:moveTo>
                    <a:pt x="306" y="827"/>
                  </a:moveTo>
                  <a:lnTo>
                    <a:pt x="306" y="824"/>
                  </a:lnTo>
                  <a:lnTo>
                    <a:pt x="306" y="827"/>
                  </a:lnTo>
                  <a:close/>
                  <a:moveTo>
                    <a:pt x="304" y="824"/>
                  </a:moveTo>
                  <a:lnTo>
                    <a:pt x="304" y="827"/>
                  </a:lnTo>
                  <a:lnTo>
                    <a:pt x="304" y="824"/>
                  </a:lnTo>
                  <a:close/>
                  <a:moveTo>
                    <a:pt x="306" y="824"/>
                  </a:moveTo>
                  <a:lnTo>
                    <a:pt x="306" y="827"/>
                  </a:lnTo>
                  <a:lnTo>
                    <a:pt x="306" y="824"/>
                  </a:lnTo>
                  <a:close/>
                  <a:moveTo>
                    <a:pt x="304" y="824"/>
                  </a:moveTo>
                  <a:lnTo>
                    <a:pt x="306" y="824"/>
                  </a:lnTo>
                  <a:lnTo>
                    <a:pt x="306" y="827"/>
                  </a:lnTo>
                  <a:lnTo>
                    <a:pt x="304" y="824"/>
                  </a:lnTo>
                  <a:close/>
                  <a:moveTo>
                    <a:pt x="306" y="824"/>
                  </a:moveTo>
                  <a:lnTo>
                    <a:pt x="309" y="824"/>
                  </a:lnTo>
                  <a:lnTo>
                    <a:pt x="306" y="824"/>
                  </a:lnTo>
                  <a:close/>
                  <a:moveTo>
                    <a:pt x="304" y="824"/>
                  </a:moveTo>
                  <a:lnTo>
                    <a:pt x="306" y="824"/>
                  </a:lnTo>
                  <a:lnTo>
                    <a:pt x="304" y="824"/>
                  </a:lnTo>
                  <a:close/>
                  <a:moveTo>
                    <a:pt x="304" y="824"/>
                  </a:moveTo>
                  <a:lnTo>
                    <a:pt x="306" y="824"/>
                  </a:lnTo>
                  <a:lnTo>
                    <a:pt x="304" y="824"/>
                  </a:lnTo>
                  <a:close/>
                  <a:moveTo>
                    <a:pt x="344" y="824"/>
                  </a:moveTo>
                  <a:lnTo>
                    <a:pt x="344" y="822"/>
                  </a:lnTo>
                  <a:lnTo>
                    <a:pt x="344" y="824"/>
                  </a:lnTo>
                  <a:close/>
                  <a:moveTo>
                    <a:pt x="314" y="822"/>
                  </a:moveTo>
                  <a:lnTo>
                    <a:pt x="311" y="822"/>
                  </a:lnTo>
                  <a:lnTo>
                    <a:pt x="314" y="822"/>
                  </a:lnTo>
                  <a:close/>
                  <a:moveTo>
                    <a:pt x="311" y="822"/>
                  </a:moveTo>
                  <a:lnTo>
                    <a:pt x="314" y="822"/>
                  </a:lnTo>
                  <a:lnTo>
                    <a:pt x="311" y="822"/>
                  </a:lnTo>
                  <a:close/>
                  <a:moveTo>
                    <a:pt x="314" y="822"/>
                  </a:moveTo>
                  <a:lnTo>
                    <a:pt x="311" y="822"/>
                  </a:lnTo>
                  <a:lnTo>
                    <a:pt x="314" y="822"/>
                  </a:lnTo>
                  <a:close/>
                  <a:moveTo>
                    <a:pt x="335" y="822"/>
                  </a:moveTo>
                  <a:lnTo>
                    <a:pt x="332" y="822"/>
                  </a:lnTo>
                  <a:lnTo>
                    <a:pt x="335" y="822"/>
                  </a:lnTo>
                  <a:close/>
                  <a:moveTo>
                    <a:pt x="311" y="822"/>
                  </a:moveTo>
                  <a:lnTo>
                    <a:pt x="314" y="822"/>
                  </a:lnTo>
                  <a:lnTo>
                    <a:pt x="311" y="822"/>
                  </a:lnTo>
                  <a:close/>
                  <a:moveTo>
                    <a:pt x="314" y="822"/>
                  </a:moveTo>
                  <a:lnTo>
                    <a:pt x="311" y="822"/>
                  </a:lnTo>
                  <a:lnTo>
                    <a:pt x="314" y="822"/>
                  </a:lnTo>
                  <a:close/>
                  <a:moveTo>
                    <a:pt x="314" y="822"/>
                  </a:moveTo>
                  <a:lnTo>
                    <a:pt x="311" y="822"/>
                  </a:lnTo>
                  <a:lnTo>
                    <a:pt x="314" y="822"/>
                  </a:lnTo>
                  <a:close/>
                  <a:moveTo>
                    <a:pt x="316" y="822"/>
                  </a:moveTo>
                  <a:lnTo>
                    <a:pt x="316" y="820"/>
                  </a:lnTo>
                  <a:lnTo>
                    <a:pt x="316" y="822"/>
                  </a:lnTo>
                  <a:close/>
                  <a:moveTo>
                    <a:pt x="304" y="817"/>
                  </a:moveTo>
                  <a:lnTo>
                    <a:pt x="304" y="820"/>
                  </a:lnTo>
                  <a:lnTo>
                    <a:pt x="304" y="817"/>
                  </a:lnTo>
                  <a:close/>
                  <a:moveTo>
                    <a:pt x="297" y="817"/>
                  </a:moveTo>
                  <a:lnTo>
                    <a:pt x="297" y="820"/>
                  </a:lnTo>
                  <a:lnTo>
                    <a:pt x="297" y="817"/>
                  </a:lnTo>
                  <a:close/>
                  <a:moveTo>
                    <a:pt x="304" y="817"/>
                  </a:moveTo>
                  <a:lnTo>
                    <a:pt x="304" y="820"/>
                  </a:lnTo>
                  <a:lnTo>
                    <a:pt x="304" y="817"/>
                  </a:lnTo>
                  <a:close/>
                  <a:moveTo>
                    <a:pt x="304" y="817"/>
                  </a:moveTo>
                  <a:lnTo>
                    <a:pt x="304" y="820"/>
                  </a:lnTo>
                  <a:lnTo>
                    <a:pt x="304" y="817"/>
                  </a:lnTo>
                  <a:close/>
                  <a:moveTo>
                    <a:pt x="299" y="817"/>
                  </a:moveTo>
                  <a:lnTo>
                    <a:pt x="297" y="817"/>
                  </a:lnTo>
                  <a:lnTo>
                    <a:pt x="299" y="817"/>
                  </a:lnTo>
                  <a:close/>
                  <a:moveTo>
                    <a:pt x="325" y="817"/>
                  </a:moveTo>
                  <a:lnTo>
                    <a:pt x="323" y="817"/>
                  </a:lnTo>
                  <a:lnTo>
                    <a:pt x="325" y="817"/>
                  </a:lnTo>
                  <a:close/>
                  <a:moveTo>
                    <a:pt x="314" y="817"/>
                  </a:moveTo>
                  <a:lnTo>
                    <a:pt x="316" y="817"/>
                  </a:lnTo>
                  <a:lnTo>
                    <a:pt x="314" y="817"/>
                  </a:lnTo>
                  <a:close/>
                  <a:moveTo>
                    <a:pt x="316" y="817"/>
                  </a:moveTo>
                  <a:lnTo>
                    <a:pt x="314" y="817"/>
                  </a:lnTo>
                  <a:lnTo>
                    <a:pt x="316" y="817"/>
                  </a:lnTo>
                  <a:close/>
                  <a:moveTo>
                    <a:pt x="304" y="817"/>
                  </a:moveTo>
                  <a:lnTo>
                    <a:pt x="306" y="817"/>
                  </a:lnTo>
                  <a:lnTo>
                    <a:pt x="304" y="817"/>
                  </a:lnTo>
                  <a:close/>
                  <a:moveTo>
                    <a:pt x="321" y="817"/>
                  </a:moveTo>
                  <a:lnTo>
                    <a:pt x="318" y="817"/>
                  </a:lnTo>
                  <a:lnTo>
                    <a:pt x="321" y="817"/>
                  </a:lnTo>
                  <a:close/>
                  <a:moveTo>
                    <a:pt x="332" y="815"/>
                  </a:moveTo>
                  <a:lnTo>
                    <a:pt x="330" y="815"/>
                  </a:lnTo>
                  <a:lnTo>
                    <a:pt x="332" y="815"/>
                  </a:lnTo>
                  <a:close/>
                  <a:moveTo>
                    <a:pt x="330" y="815"/>
                  </a:moveTo>
                  <a:lnTo>
                    <a:pt x="330" y="812"/>
                  </a:lnTo>
                  <a:lnTo>
                    <a:pt x="330" y="815"/>
                  </a:lnTo>
                  <a:close/>
                  <a:moveTo>
                    <a:pt x="321" y="815"/>
                  </a:moveTo>
                  <a:lnTo>
                    <a:pt x="321" y="812"/>
                  </a:lnTo>
                  <a:lnTo>
                    <a:pt x="321" y="815"/>
                  </a:lnTo>
                  <a:close/>
                  <a:moveTo>
                    <a:pt x="330" y="815"/>
                  </a:moveTo>
                  <a:lnTo>
                    <a:pt x="330" y="812"/>
                  </a:lnTo>
                  <a:lnTo>
                    <a:pt x="330" y="815"/>
                  </a:lnTo>
                  <a:close/>
                  <a:moveTo>
                    <a:pt x="325" y="812"/>
                  </a:moveTo>
                  <a:lnTo>
                    <a:pt x="325" y="815"/>
                  </a:lnTo>
                  <a:lnTo>
                    <a:pt x="325" y="812"/>
                  </a:lnTo>
                  <a:close/>
                  <a:moveTo>
                    <a:pt x="323" y="812"/>
                  </a:moveTo>
                  <a:lnTo>
                    <a:pt x="323" y="815"/>
                  </a:lnTo>
                  <a:lnTo>
                    <a:pt x="323" y="812"/>
                  </a:lnTo>
                  <a:close/>
                  <a:moveTo>
                    <a:pt x="330" y="812"/>
                  </a:moveTo>
                  <a:lnTo>
                    <a:pt x="328" y="812"/>
                  </a:lnTo>
                  <a:lnTo>
                    <a:pt x="330" y="812"/>
                  </a:lnTo>
                  <a:close/>
                  <a:moveTo>
                    <a:pt x="309" y="812"/>
                  </a:moveTo>
                  <a:lnTo>
                    <a:pt x="311" y="812"/>
                  </a:lnTo>
                  <a:lnTo>
                    <a:pt x="309" y="812"/>
                  </a:lnTo>
                  <a:close/>
                  <a:moveTo>
                    <a:pt x="311" y="812"/>
                  </a:moveTo>
                  <a:lnTo>
                    <a:pt x="309" y="812"/>
                  </a:lnTo>
                  <a:lnTo>
                    <a:pt x="311" y="812"/>
                  </a:lnTo>
                  <a:close/>
                  <a:moveTo>
                    <a:pt x="314" y="812"/>
                  </a:moveTo>
                  <a:lnTo>
                    <a:pt x="311" y="812"/>
                  </a:lnTo>
                  <a:lnTo>
                    <a:pt x="314" y="812"/>
                  </a:lnTo>
                  <a:close/>
                  <a:moveTo>
                    <a:pt x="335" y="812"/>
                  </a:moveTo>
                  <a:lnTo>
                    <a:pt x="335" y="810"/>
                  </a:lnTo>
                  <a:lnTo>
                    <a:pt x="335" y="812"/>
                  </a:lnTo>
                  <a:close/>
                  <a:moveTo>
                    <a:pt x="309" y="812"/>
                  </a:moveTo>
                  <a:lnTo>
                    <a:pt x="309" y="810"/>
                  </a:lnTo>
                  <a:lnTo>
                    <a:pt x="309" y="812"/>
                  </a:lnTo>
                  <a:close/>
                  <a:moveTo>
                    <a:pt x="311" y="810"/>
                  </a:moveTo>
                  <a:lnTo>
                    <a:pt x="311" y="812"/>
                  </a:lnTo>
                  <a:lnTo>
                    <a:pt x="311" y="810"/>
                  </a:lnTo>
                  <a:close/>
                  <a:moveTo>
                    <a:pt x="309" y="810"/>
                  </a:moveTo>
                  <a:lnTo>
                    <a:pt x="309" y="812"/>
                  </a:lnTo>
                  <a:lnTo>
                    <a:pt x="309" y="810"/>
                  </a:lnTo>
                  <a:close/>
                  <a:moveTo>
                    <a:pt x="328" y="812"/>
                  </a:moveTo>
                  <a:lnTo>
                    <a:pt x="328" y="810"/>
                  </a:lnTo>
                  <a:lnTo>
                    <a:pt x="328" y="812"/>
                  </a:lnTo>
                  <a:close/>
                  <a:moveTo>
                    <a:pt x="316" y="812"/>
                  </a:moveTo>
                  <a:lnTo>
                    <a:pt x="314" y="812"/>
                  </a:lnTo>
                  <a:lnTo>
                    <a:pt x="316" y="810"/>
                  </a:lnTo>
                  <a:lnTo>
                    <a:pt x="316" y="812"/>
                  </a:lnTo>
                  <a:close/>
                  <a:moveTo>
                    <a:pt x="318" y="810"/>
                  </a:moveTo>
                  <a:lnTo>
                    <a:pt x="316" y="810"/>
                  </a:lnTo>
                  <a:lnTo>
                    <a:pt x="318" y="808"/>
                  </a:lnTo>
                  <a:lnTo>
                    <a:pt x="318" y="810"/>
                  </a:lnTo>
                  <a:close/>
                  <a:moveTo>
                    <a:pt x="316" y="810"/>
                  </a:moveTo>
                  <a:lnTo>
                    <a:pt x="316" y="808"/>
                  </a:lnTo>
                  <a:lnTo>
                    <a:pt x="316" y="810"/>
                  </a:lnTo>
                  <a:close/>
                  <a:moveTo>
                    <a:pt x="316" y="810"/>
                  </a:moveTo>
                  <a:lnTo>
                    <a:pt x="316" y="808"/>
                  </a:lnTo>
                  <a:lnTo>
                    <a:pt x="316" y="810"/>
                  </a:lnTo>
                  <a:close/>
                  <a:moveTo>
                    <a:pt x="316" y="810"/>
                  </a:moveTo>
                  <a:lnTo>
                    <a:pt x="316" y="808"/>
                  </a:lnTo>
                  <a:lnTo>
                    <a:pt x="316" y="810"/>
                  </a:lnTo>
                  <a:close/>
                  <a:moveTo>
                    <a:pt x="335" y="808"/>
                  </a:moveTo>
                  <a:lnTo>
                    <a:pt x="335" y="810"/>
                  </a:lnTo>
                  <a:lnTo>
                    <a:pt x="335" y="808"/>
                  </a:lnTo>
                  <a:close/>
                  <a:moveTo>
                    <a:pt x="337" y="808"/>
                  </a:moveTo>
                  <a:lnTo>
                    <a:pt x="335" y="808"/>
                  </a:lnTo>
                  <a:lnTo>
                    <a:pt x="337" y="808"/>
                  </a:lnTo>
                  <a:close/>
                  <a:moveTo>
                    <a:pt x="356" y="805"/>
                  </a:moveTo>
                  <a:lnTo>
                    <a:pt x="356" y="808"/>
                  </a:lnTo>
                  <a:lnTo>
                    <a:pt x="354" y="808"/>
                  </a:lnTo>
                  <a:lnTo>
                    <a:pt x="356" y="805"/>
                  </a:lnTo>
                  <a:close/>
                  <a:moveTo>
                    <a:pt x="337" y="805"/>
                  </a:moveTo>
                  <a:lnTo>
                    <a:pt x="337" y="808"/>
                  </a:lnTo>
                  <a:lnTo>
                    <a:pt x="337" y="805"/>
                  </a:lnTo>
                  <a:close/>
                  <a:moveTo>
                    <a:pt x="337" y="805"/>
                  </a:moveTo>
                  <a:lnTo>
                    <a:pt x="335" y="805"/>
                  </a:lnTo>
                  <a:lnTo>
                    <a:pt x="337" y="805"/>
                  </a:lnTo>
                  <a:close/>
                  <a:moveTo>
                    <a:pt x="335" y="805"/>
                  </a:moveTo>
                  <a:lnTo>
                    <a:pt x="332" y="805"/>
                  </a:lnTo>
                  <a:lnTo>
                    <a:pt x="335" y="805"/>
                  </a:lnTo>
                  <a:close/>
                  <a:moveTo>
                    <a:pt x="335" y="805"/>
                  </a:moveTo>
                  <a:lnTo>
                    <a:pt x="332" y="805"/>
                  </a:lnTo>
                  <a:lnTo>
                    <a:pt x="335" y="805"/>
                  </a:lnTo>
                  <a:close/>
                  <a:moveTo>
                    <a:pt x="335" y="805"/>
                  </a:moveTo>
                  <a:lnTo>
                    <a:pt x="335" y="803"/>
                  </a:lnTo>
                  <a:lnTo>
                    <a:pt x="335" y="805"/>
                  </a:lnTo>
                  <a:close/>
                  <a:moveTo>
                    <a:pt x="335" y="803"/>
                  </a:moveTo>
                  <a:lnTo>
                    <a:pt x="335" y="805"/>
                  </a:lnTo>
                  <a:lnTo>
                    <a:pt x="332" y="805"/>
                  </a:lnTo>
                  <a:lnTo>
                    <a:pt x="332" y="803"/>
                  </a:lnTo>
                  <a:lnTo>
                    <a:pt x="335" y="803"/>
                  </a:lnTo>
                  <a:close/>
                  <a:moveTo>
                    <a:pt x="335" y="803"/>
                  </a:moveTo>
                  <a:lnTo>
                    <a:pt x="335" y="805"/>
                  </a:lnTo>
                  <a:lnTo>
                    <a:pt x="335" y="803"/>
                  </a:lnTo>
                  <a:close/>
                  <a:moveTo>
                    <a:pt x="335" y="803"/>
                  </a:moveTo>
                  <a:lnTo>
                    <a:pt x="332" y="803"/>
                  </a:lnTo>
                  <a:lnTo>
                    <a:pt x="335" y="803"/>
                  </a:lnTo>
                  <a:close/>
                  <a:moveTo>
                    <a:pt x="337" y="803"/>
                  </a:moveTo>
                  <a:lnTo>
                    <a:pt x="335" y="803"/>
                  </a:lnTo>
                  <a:lnTo>
                    <a:pt x="337" y="803"/>
                  </a:lnTo>
                  <a:close/>
                  <a:moveTo>
                    <a:pt x="337" y="801"/>
                  </a:moveTo>
                  <a:lnTo>
                    <a:pt x="335" y="801"/>
                  </a:lnTo>
                  <a:lnTo>
                    <a:pt x="337" y="801"/>
                  </a:lnTo>
                  <a:close/>
                  <a:moveTo>
                    <a:pt x="337" y="801"/>
                  </a:moveTo>
                  <a:lnTo>
                    <a:pt x="340" y="801"/>
                  </a:lnTo>
                  <a:lnTo>
                    <a:pt x="337" y="801"/>
                  </a:lnTo>
                  <a:close/>
                  <a:moveTo>
                    <a:pt x="344" y="798"/>
                  </a:moveTo>
                  <a:lnTo>
                    <a:pt x="342" y="798"/>
                  </a:lnTo>
                  <a:lnTo>
                    <a:pt x="344" y="798"/>
                  </a:lnTo>
                  <a:close/>
                  <a:moveTo>
                    <a:pt x="340" y="798"/>
                  </a:moveTo>
                  <a:lnTo>
                    <a:pt x="337" y="798"/>
                  </a:lnTo>
                  <a:lnTo>
                    <a:pt x="340" y="798"/>
                  </a:lnTo>
                  <a:close/>
                  <a:moveTo>
                    <a:pt x="340" y="798"/>
                  </a:moveTo>
                  <a:lnTo>
                    <a:pt x="337" y="798"/>
                  </a:lnTo>
                  <a:lnTo>
                    <a:pt x="340" y="798"/>
                  </a:lnTo>
                  <a:close/>
                  <a:moveTo>
                    <a:pt x="335" y="798"/>
                  </a:moveTo>
                  <a:lnTo>
                    <a:pt x="335" y="796"/>
                  </a:lnTo>
                  <a:lnTo>
                    <a:pt x="335" y="798"/>
                  </a:lnTo>
                  <a:close/>
                  <a:moveTo>
                    <a:pt x="337" y="796"/>
                  </a:moveTo>
                  <a:lnTo>
                    <a:pt x="337" y="798"/>
                  </a:lnTo>
                  <a:lnTo>
                    <a:pt x="337" y="796"/>
                  </a:lnTo>
                  <a:close/>
                  <a:moveTo>
                    <a:pt x="335" y="798"/>
                  </a:moveTo>
                  <a:lnTo>
                    <a:pt x="335" y="796"/>
                  </a:lnTo>
                  <a:lnTo>
                    <a:pt x="335" y="798"/>
                  </a:lnTo>
                  <a:close/>
                  <a:moveTo>
                    <a:pt x="335" y="796"/>
                  </a:moveTo>
                  <a:lnTo>
                    <a:pt x="335" y="798"/>
                  </a:lnTo>
                  <a:lnTo>
                    <a:pt x="335" y="796"/>
                  </a:lnTo>
                  <a:close/>
                  <a:moveTo>
                    <a:pt x="337" y="796"/>
                  </a:moveTo>
                  <a:lnTo>
                    <a:pt x="335" y="796"/>
                  </a:lnTo>
                  <a:lnTo>
                    <a:pt x="337" y="796"/>
                  </a:lnTo>
                  <a:close/>
                  <a:moveTo>
                    <a:pt x="273" y="796"/>
                  </a:moveTo>
                  <a:lnTo>
                    <a:pt x="271" y="796"/>
                  </a:lnTo>
                  <a:lnTo>
                    <a:pt x="273" y="796"/>
                  </a:lnTo>
                  <a:close/>
                  <a:moveTo>
                    <a:pt x="340" y="793"/>
                  </a:moveTo>
                  <a:lnTo>
                    <a:pt x="337" y="793"/>
                  </a:lnTo>
                  <a:lnTo>
                    <a:pt x="340" y="793"/>
                  </a:lnTo>
                  <a:close/>
                  <a:moveTo>
                    <a:pt x="335" y="793"/>
                  </a:moveTo>
                  <a:lnTo>
                    <a:pt x="332" y="793"/>
                  </a:lnTo>
                  <a:lnTo>
                    <a:pt x="335" y="793"/>
                  </a:lnTo>
                  <a:close/>
                  <a:moveTo>
                    <a:pt x="335" y="793"/>
                  </a:moveTo>
                  <a:lnTo>
                    <a:pt x="332" y="793"/>
                  </a:lnTo>
                  <a:lnTo>
                    <a:pt x="335" y="793"/>
                  </a:lnTo>
                  <a:close/>
                  <a:moveTo>
                    <a:pt x="337" y="793"/>
                  </a:moveTo>
                  <a:lnTo>
                    <a:pt x="340" y="793"/>
                  </a:lnTo>
                  <a:lnTo>
                    <a:pt x="337" y="793"/>
                  </a:lnTo>
                  <a:close/>
                  <a:moveTo>
                    <a:pt x="332" y="793"/>
                  </a:moveTo>
                  <a:lnTo>
                    <a:pt x="332" y="791"/>
                  </a:lnTo>
                  <a:lnTo>
                    <a:pt x="332" y="793"/>
                  </a:lnTo>
                  <a:close/>
                  <a:moveTo>
                    <a:pt x="335" y="791"/>
                  </a:moveTo>
                  <a:lnTo>
                    <a:pt x="335" y="793"/>
                  </a:lnTo>
                  <a:lnTo>
                    <a:pt x="335" y="791"/>
                  </a:lnTo>
                  <a:close/>
                  <a:moveTo>
                    <a:pt x="347" y="791"/>
                  </a:moveTo>
                  <a:lnTo>
                    <a:pt x="344" y="791"/>
                  </a:lnTo>
                  <a:lnTo>
                    <a:pt x="347" y="791"/>
                  </a:lnTo>
                  <a:close/>
                  <a:moveTo>
                    <a:pt x="342" y="791"/>
                  </a:moveTo>
                  <a:lnTo>
                    <a:pt x="340" y="791"/>
                  </a:lnTo>
                  <a:lnTo>
                    <a:pt x="342" y="791"/>
                  </a:lnTo>
                  <a:close/>
                  <a:moveTo>
                    <a:pt x="342" y="791"/>
                  </a:moveTo>
                  <a:lnTo>
                    <a:pt x="340" y="791"/>
                  </a:lnTo>
                  <a:lnTo>
                    <a:pt x="342" y="791"/>
                  </a:lnTo>
                  <a:close/>
                  <a:moveTo>
                    <a:pt x="337" y="791"/>
                  </a:moveTo>
                  <a:lnTo>
                    <a:pt x="335" y="791"/>
                  </a:lnTo>
                  <a:lnTo>
                    <a:pt x="337" y="791"/>
                  </a:lnTo>
                  <a:close/>
                  <a:moveTo>
                    <a:pt x="337" y="791"/>
                  </a:moveTo>
                  <a:lnTo>
                    <a:pt x="337" y="789"/>
                  </a:lnTo>
                  <a:lnTo>
                    <a:pt x="337" y="791"/>
                  </a:lnTo>
                  <a:close/>
                  <a:moveTo>
                    <a:pt x="337" y="789"/>
                  </a:moveTo>
                  <a:lnTo>
                    <a:pt x="337" y="791"/>
                  </a:lnTo>
                  <a:lnTo>
                    <a:pt x="337" y="789"/>
                  </a:lnTo>
                  <a:close/>
                  <a:moveTo>
                    <a:pt x="340" y="789"/>
                  </a:moveTo>
                  <a:lnTo>
                    <a:pt x="337" y="789"/>
                  </a:lnTo>
                  <a:lnTo>
                    <a:pt x="340" y="789"/>
                  </a:lnTo>
                  <a:close/>
                  <a:moveTo>
                    <a:pt x="337" y="789"/>
                  </a:moveTo>
                  <a:lnTo>
                    <a:pt x="335" y="789"/>
                  </a:lnTo>
                  <a:lnTo>
                    <a:pt x="337" y="789"/>
                  </a:lnTo>
                  <a:close/>
                  <a:moveTo>
                    <a:pt x="335" y="789"/>
                  </a:moveTo>
                  <a:lnTo>
                    <a:pt x="332" y="789"/>
                  </a:lnTo>
                  <a:lnTo>
                    <a:pt x="335" y="789"/>
                  </a:lnTo>
                  <a:close/>
                  <a:moveTo>
                    <a:pt x="337" y="789"/>
                  </a:moveTo>
                  <a:lnTo>
                    <a:pt x="340" y="789"/>
                  </a:lnTo>
                  <a:lnTo>
                    <a:pt x="337" y="789"/>
                  </a:lnTo>
                  <a:close/>
                  <a:moveTo>
                    <a:pt x="337" y="789"/>
                  </a:moveTo>
                  <a:lnTo>
                    <a:pt x="335" y="789"/>
                  </a:lnTo>
                  <a:lnTo>
                    <a:pt x="337" y="789"/>
                  </a:lnTo>
                  <a:close/>
                  <a:moveTo>
                    <a:pt x="337" y="789"/>
                  </a:moveTo>
                  <a:lnTo>
                    <a:pt x="335" y="789"/>
                  </a:lnTo>
                  <a:lnTo>
                    <a:pt x="337" y="789"/>
                  </a:lnTo>
                  <a:close/>
                  <a:moveTo>
                    <a:pt x="332" y="786"/>
                  </a:moveTo>
                  <a:lnTo>
                    <a:pt x="335" y="786"/>
                  </a:lnTo>
                  <a:lnTo>
                    <a:pt x="332" y="786"/>
                  </a:lnTo>
                  <a:close/>
                  <a:moveTo>
                    <a:pt x="335" y="786"/>
                  </a:moveTo>
                  <a:lnTo>
                    <a:pt x="332" y="786"/>
                  </a:lnTo>
                  <a:lnTo>
                    <a:pt x="335" y="786"/>
                  </a:lnTo>
                  <a:close/>
                  <a:moveTo>
                    <a:pt x="335" y="786"/>
                  </a:moveTo>
                  <a:lnTo>
                    <a:pt x="332" y="786"/>
                  </a:lnTo>
                  <a:lnTo>
                    <a:pt x="335" y="786"/>
                  </a:lnTo>
                  <a:close/>
                  <a:moveTo>
                    <a:pt x="342" y="786"/>
                  </a:moveTo>
                  <a:lnTo>
                    <a:pt x="340" y="786"/>
                  </a:lnTo>
                  <a:lnTo>
                    <a:pt x="342" y="786"/>
                  </a:lnTo>
                  <a:close/>
                  <a:moveTo>
                    <a:pt x="337" y="786"/>
                  </a:moveTo>
                  <a:lnTo>
                    <a:pt x="335" y="786"/>
                  </a:lnTo>
                  <a:lnTo>
                    <a:pt x="337" y="786"/>
                  </a:lnTo>
                  <a:close/>
                  <a:moveTo>
                    <a:pt x="335" y="784"/>
                  </a:moveTo>
                  <a:lnTo>
                    <a:pt x="335" y="786"/>
                  </a:lnTo>
                  <a:lnTo>
                    <a:pt x="335" y="784"/>
                  </a:lnTo>
                  <a:close/>
                  <a:moveTo>
                    <a:pt x="337" y="784"/>
                  </a:moveTo>
                  <a:lnTo>
                    <a:pt x="337" y="786"/>
                  </a:lnTo>
                  <a:lnTo>
                    <a:pt x="337" y="784"/>
                  </a:lnTo>
                  <a:close/>
                  <a:moveTo>
                    <a:pt x="335" y="784"/>
                  </a:moveTo>
                  <a:lnTo>
                    <a:pt x="335" y="786"/>
                  </a:lnTo>
                  <a:lnTo>
                    <a:pt x="335" y="784"/>
                  </a:lnTo>
                  <a:close/>
                  <a:moveTo>
                    <a:pt x="335" y="784"/>
                  </a:moveTo>
                  <a:lnTo>
                    <a:pt x="337" y="784"/>
                  </a:lnTo>
                  <a:lnTo>
                    <a:pt x="335" y="784"/>
                  </a:lnTo>
                  <a:close/>
                  <a:moveTo>
                    <a:pt x="337" y="784"/>
                  </a:moveTo>
                  <a:lnTo>
                    <a:pt x="335" y="784"/>
                  </a:lnTo>
                  <a:lnTo>
                    <a:pt x="337" y="784"/>
                  </a:lnTo>
                  <a:close/>
                  <a:moveTo>
                    <a:pt x="337" y="784"/>
                  </a:moveTo>
                  <a:lnTo>
                    <a:pt x="335" y="784"/>
                  </a:lnTo>
                  <a:lnTo>
                    <a:pt x="337" y="784"/>
                  </a:lnTo>
                  <a:close/>
                  <a:moveTo>
                    <a:pt x="337" y="784"/>
                  </a:moveTo>
                  <a:lnTo>
                    <a:pt x="340" y="784"/>
                  </a:lnTo>
                  <a:lnTo>
                    <a:pt x="337" y="784"/>
                  </a:lnTo>
                  <a:close/>
                  <a:moveTo>
                    <a:pt x="354" y="784"/>
                  </a:moveTo>
                  <a:lnTo>
                    <a:pt x="351" y="784"/>
                  </a:lnTo>
                  <a:lnTo>
                    <a:pt x="354" y="784"/>
                  </a:lnTo>
                  <a:close/>
                  <a:moveTo>
                    <a:pt x="354" y="784"/>
                  </a:moveTo>
                  <a:lnTo>
                    <a:pt x="351" y="784"/>
                  </a:lnTo>
                  <a:lnTo>
                    <a:pt x="354" y="784"/>
                  </a:lnTo>
                  <a:close/>
                  <a:moveTo>
                    <a:pt x="340" y="784"/>
                  </a:moveTo>
                  <a:lnTo>
                    <a:pt x="340" y="782"/>
                  </a:lnTo>
                  <a:lnTo>
                    <a:pt x="340" y="784"/>
                  </a:lnTo>
                  <a:close/>
                  <a:moveTo>
                    <a:pt x="342" y="782"/>
                  </a:moveTo>
                  <a:lnTo>
                    <a:pt x="342" y="784"/>
                  </a:lnTo>
                  <a:lnTo>
                    <a:pt x="342" y="782"/>
                  </a:lnTo>
                  <a:close/>
                  <a:moveTo>
                    <a:pt x="340" y="782"/>
                  </a:moveTo>
                  <a:lnTo>
                    <a:pt x="340" y="784"/>
                  </a:lnTo>
                  <a:lnTo>
                    <a:pt x="340" y="782"/>
                  </a:lnTo>
                  <a:close/>
                  <a:moveTo>
                    <a:pt x="342" y="784"/>
                  </a:moveTo>
                  <a:lnTo>
                    <a:pt x="342" y="782"/>
                  </a:lnTo>
                  <a:lnTo>
                    <a:pt x="342" y="784"/>
                  </a:lnTo>
                  <a:close/>
                  <a:moveTo>
                    <a:pt x="344" y="782"/>
                  </a:moveTo>
                  <a:lnTo>
                    <a:pt x="342" y="782"/>
                  </a:lnTo>
                  <a:lnTo>
                    <a:pt x="344" y="782"/>
                  </a:lnTo>
                  <a:close/>
                  <a:moveTo>
                    <a:pt x="344" y="782"/>
                  </a:moveTo>
                  <a:lnTo>
                    <a:pt x="342" y="782"/>
                  </a:lnTo>
                  <a:lnTo>
                    <a:pt x="344" y="782"/>
                  </a:lnTo>
                  <a:close/>
                  <a:moveTo>
                    <a:pt x="344" y="782"/>
                  </a:moveTo>
                  <a:lnTo>
                    <a:pt x="342" y="782"/>
                  </a:lnTo>
                  <a:lnTo>
                    <a:pt x="344" y="782"/>
                  </a:lnTo>
                  <a:close/>
                  <a:moveTo>
                    <a:pt x="344" y="779"/>
                  </a:moveTo>
                  <a:lnTo>
                    <a:pt x="344" y="782"/>
                  </a:lnTo>
                  <a:lnTo>
                    <a:pt x="344" y="779"/>
                  </a:lnTo>
                  <a:close/>
                  <a:moveTo>
                    <a:pt x="361" y="779"/>
                  </a:moveTo>
                  <a:lnTo>
                    <a:pt x="359" y="779"/>
                  </a:lnTo>
                  <a:lnTo>
                    <a:pt x="361" y="779"/>
                  </a:lnTo>
                  <a:close/>
                  <a:moveTo>
                    <a:pt x="373" y="777"/>
                  </a:moveTo>
                  <a:lnTo>
                    <a:pt x="370" y="777"/>
                  </a:lnTo>
                  <a:lnTo>
                    <a:pt x="373" y="777"/>
                  </a:lnTo>
                  <a:close/>
                  <a:moveTo>
                    <a:pt x="351" y="777"/>
                  </a:moveTo>
                  <a:lnTo>
                    <a:pt x="349" y="777"/>
                  </a:lnTo>
                  <a:lnTo>
                    <a:pt x="351" y="777"/>
                  </a:lnTo>
                  <a:close/>
                  <a:moveTo>
                    <a:pt x="354" y="777"/>
                  </a:moveTo>
                  <a:lnTo>
                    <a:pt x="351" y="777"/>
                  </a:lnTo>
                  <a:lnTo>
                    <a:pt x="354" y="777"/>
                  </a:lnTo>
                  <a:close/>
                  <a:moveTo>
                    <a:pt x="299" y="774"/>
                  </a:moveTo>
                  <a:lnTo>
                    <a:pt x="297" y="774"/>
                  </a:lnTo>
                  <a:lnTo>
                    <a:pt x="299" y="774"/>
                  </a:lnTo>
                  <a:lnTo>
                    <a:pt x="297" y="774"/>
                  </a:lnTo>
                  <a:lnTo>
                    <a:pt x="299" y="774"/>
                  </a:lnTo>
                  <a:close/>
                  <a:moveTo>
                    <a:pt x="299" y="774"/>
                  </a:moveTo>
                  <a:lnTo>
                    <a:pt x="297" y="774"/>
                  </a:lnTo>
                  <a:lnTo>
                    <a:pt x="299" y="774"/>
                  </a:lnTo>
                  <a:close/>
                  <a:moveTo>
                    <a:pt x="302" y="774"/>
                  </a:moveTo>
                  <a:lnTo>
                    <a:pt x="302" y="772"/>
                  </a:lnTo>
                  <a:lnTo>
                    <a:pt x="302" y="774"/>
                  </a:lnTo>
                  <a:close/>
                  <a:moveTo>
                    <a:pt x="302" y="774"/>
                  </a:moveTo>
                  <a:lnTo>
                    <a:pt x="302" y="772"/>
                  </a:lnTo>
                  <a:lnTo>
                    <a:pt x="302" y="774"/>
                  </a:lnTo>
                  <a:close/>
                  <a:moveTo>
                    <a:pt x="302" y="774"/>
                  </a:moveTo>
                  <a:lnTo>
                    <a:pt x="302" y="772"/>
                  </a:lnTo>
                  <a:lnTo>
                    <a:pt x="302" y="774"/>
                  </a:lnTo>
                  <a:close/>
                  <a:moveTo>
                    <a:pt x="302" y="774"/>
                  </a:moveTo>
                  <a:lnTo>
                    <a:pt x="302" y="772"/>
                  </a:lnTo>
                  <a:lnTo>
                    <a:pt x="302" y="774"/>
                  </a:lnTo>
                  <a:close/>
                  <a:moveTo>
                    <a:pt x="302" y="772"/>
                  </a:moveTo>
                  <a:lnTo>
                    <a:pt x="302" y="774"/>
                  </a:lnTo>
                  <a:lnTo>
                    <a:pt x="302" y="772"/>
                  </a:lnTo>
                  <a:close/>
                  <a:moveTo>
                    <a:pt x="287" y="774"/>
                  </a:moveTo>
                  <a:lnTo>
                    <a:pt x="287" y="772"/>
                  </a:lnTo>
                  <a:lnTo>
                    <a:pt x="287" y="774"/>
                  </a:lnTo>
                  <a:close/>
                  <a:moveTo>
                    <a:pt x="356" y="772"/>
                  </a:moveTo>
                  <a:lnTo>
                    <a:pt x="356" y="774"/>
                  </a:lnTo>
                  <a:lnTo>
                    <a:pt x="356" y="772"/>
                  </a:lnTo>
                  <a:close/>
                  <a:moveTo>
                    <a:pt x="302" y="772"/>
                  </a:moveTo>
                  <a:lnTo>
                    <a:pt x="302" y="774"/>
                  </a:lnTo>
                  <a:lnTo>
                    <a:pt x="302" y="772"/>
                  </a:lnTo>
                  <a:close/>
                  <a:moveTo>
                    <a:pt x="304" y="774"/>
                  </a:moveTo>
                  <a:lnTo>
                    <a:pt x="302" y="774"/>
                  </a:lnTo>
                  <a:lnTo>
                    <a:pt x="304" y="772"/>
                  </a:lnTo>
                  <a:lnTo>
                    <a:pt x="304" y="774"/>
                  </a:lnTo>
                  <a:close/>
                  <a:moveTo>
                    <a:pt x="306" y="772"/>
                  </a:moveTo>
                  <a:lnTo>
                    <a:pt x="304" y="772"/>
                  </a:lnTo>
                  <a:lnTo>
                    <a:pt x="306" y="772"/>
                  </a:lnTo>
                  <a:close/>
                  <a:moveTo>
                    <a:pt x="304" y="772"/>
                  </a:moveTo>
                  <a:lnTo>
                    <a:pt x="306" y="772"/>
                  </a:lnTo>
                  <a:lnTo>
                    <a:pt x="304" y="772"/>
                  </a:lnTo>
                  <a:close/>
                  <a:moveTo>
                    <a:pt x="309" y="772"/>
                  </a:moveTo>
                  <a:lnTo>
                    <a:pt x="306" y="772"/>
                  </a:lnTo>
                  <a:lnTo>
                    <a:pt x="309" y="772"/>
                  </a:lnTo>
                  <a:close/>
                  <a:moveTo>
                    <a:pt x="309" y="772"/>
                  </a:moveTo>
                  <a:lnTo>
                    <a:pt x="309" y="770"/>
                  </a:lnTo>
                  <a:lnTo>
                    <a:pt x="309" y="772"/>
                  </a:lnTo>
                  <a:close/>
                  <a:moveTo>
                    <a:pt x="285" y="770"/>
                  </a:moveTo>
                  <a:lnTo>
                    <a:pt x="285" y="772"/>
                  </a:lnTo>
                  <a:lnTo>
                    <a:pt x="285" y="770"/>
                  </a:lnTo>
                  <a:close/>
                  <a:moveTo>
                    <a:pt x="363" y="770"/>
                  </a:moveTo>
                  <a:lnTo>
                    <a:pt x="363" y="772"/>
                  </a:lnTo>
                  <a:lnTo>
                    <a:pt x="363" y="770"/>
                  </a:lnTo>
                  <a:close/>
                  <a:moveTo>
                    <a:pt x="370" y="770"/>
                  </a:moveTo>
                  <a:lnTo>
                    <a:pt x="373" y="770"/>
                  </a:lnTo>
                  <a:lnTo>
                    <a:pt x="370" y="770"/>
                  </a:lnTo>
                  <a:close/>
                  <a:moveTo>
                    <a:pt x="306" y="770"/>
                  </a:moveTo>
                  <a:lnTo>
                    <a:pt x="304" y="770"/>
                  </a:lnTo>
                  <a:lnTo>
                    <a:pt x="306" y="770"/>
                  </a:lnTo>
                  <a:close/>
                  <a:moveTo>
                    <a:pt x="337" y="770"/>
                  </a:moveTo>
                  <a:lnTo>
                    <a:pt x="335" y="770"/>
                  </a:lnTo>
                  <a:lnTo>
                    <a:pt x="337" y="770"/>
                  </a:lnTo>
                  <a:close/>
                  <a:moveTo>
                    <a:pt x="328" y="767"/>
                  </a:moveTo>
                  <a:lnTo>
                    <a:pt x="328" y="770"/>
                  </a:lnTo>
                  <a:lnTo>
                    <a:pt x="328" y="767"/>
                  </a:lnTo>
                  <a:close/>
                  <a:moveTo>
                    <a:pt x="335" y="770"/>
                  </a:moveTo>
                  <a:lnTo>
                    <a:pt x="335" y="767"/>
                  </a:lnTo>
                  <a:lnTo>
                    <a:pt x="335" y="770"/>
                  </a:lnTo>
                  <a:close/>
                  <a:moveTo>
                    <a:pt x="311" y="767"/>
                  </a:moveTo>
                  <a:lnTo>
                    <a:pt x="311" y="770"/>
                  </a:lnTo>
                  <a:lnTo>
                    <a:pt x="311" y="767"/>
                  </a:lnTo>
                  <a:close/>
                  <a:moveTo>
                    <a:pt x="321" y="770"/>
                  </a:moveTo>
                  <a:lnTo>
                    <a:pt x="321" y="767"/>
                  </a:lnTo>
                  <a:lnTo>
                    <a:pt x="321" y="770"/>
                  </a:lnTo>
                  <a:close/>
                  <a:moveTo>
                    <a:pt x="321" y="767"/>
                  </a:moveTo>
                  <a:lnTo>
                    <a:pt x="321" y="770"/>
                  </a:lnTo>
                  <a:lnTo>
                    <a:pt x="321" y="767"/>
                  </a:lnTo>
                  <a:close/>
                  <a:moveTo>
                    <a:pt x="323" y="767"/>
                  </a:moveTo>
                  <a:lnTo>
                    <a:pt x="321" y="767"/>
                  </a:lnTo>
                  <a:lnTo>
                    <a:pt x="323" y="767"/>
                  </a:lnTo>
                  <a:close/>
                  <a:moveTo>
                    <a:pt x="323" y="767"/>
                  </a:moveTo>
                  <a:lnTo>
                    <a:pt x="321" y="767"/>
                  </a:lnTo>
                  <a:lnTo>
                    <a:pt x="323" y="767"/>
                  </a:lnTo>
                  <a:close/>
                  <a:moveTo>
                    <a:pt x="373" y="767"/>
                  </a:moveTo>
                  <a:lnTo>
                    <a:pt x="370" y="767"/>
                  </a:lnTo>
                  <a:lnTo>
                    <a:pt x="373" y="767"/>
                  </a:lnTo>
                  <a:close/>
                  <a:moveTo>
                    <a:pt x="337" y="767"/>
                  </a:moveTo>
                  <a:lnTo>
                    <a:pt x="335" y="767"/>
                  </a:lnTo>
                  <a:lnTo>
                    <a:pt x="337" y="767"/>
                  </a:lnTo>
                  <a:close/>
                  <a:moveTo>
                    <a:pt x="314" y="767"/>
                  </a:moveTo>
                  <a:lnTo>
                    <a:pt x="311" y="767"/>
                  </a:lnTo>
                  <a:lnTo>
                    <a:pt x="314" y="767"/>
                  </a:lnTo>
                  <a:close/>
                  <a:moveTo>
                    <a:pt x="314" y="767"/>
                  </a:moveTo>
                  <a:lnTo>
                    <a:pt x="311" y="767"/>
                  </a:lnTo>
                  <a:lnTo>
                    <a:pt x="314" y="767"/>
                  </a:lnTo>
                  <a:close/>
                  <a:moveTo>
                    <a:pt x="337" y="767"/>
                  </a:moveTo>
                  <a:lnTo>
                    <a:pt x="335" y="767"/>
                  </a:lnTo>
                  <a:lnTo>
                    <a:pt x="337" y="767"/>
                  </a:lnTo>
                  <a:close/>
                  <a:moveTo>
                    <a:pt x="311" y="767"/>
                  </a:moveTo>
                  <a:lnTo>
                    <a:pt x="309" y="767"/>
                  </a:lnTo>
                  <a:lnTo>
                    <a:pt x="311" y="767"/>
                  </a:lnTo>
                  <a:close/>
                  <a:moveTo>
                    <a:pt x="340" y="767"/>
                  </a:moveTo>
                  <a:lnTo>
                    <a:pt x="337" y="767"/>
                  </a:lnTo>
                  <a:lnTo>
                    <a:pt x="340" y="767"/>
                  </a:lnTo>
                  <a:close/>
                  <a:moveTo>
                    <a:pt x="314" y="767"/>
                  </a:moveTo>
                  <a:lnTo>
                    <a:pt x="311" y="767"/>
                  </a:lnTo>
                  <a:lnTo>
                    <a:pt x="314" y="767"/>
                  </a:lnTo>
                  <a:lnTo>
                    <a:pt x="311" y="767"/>
                  </a:lnTo>
                  <a:lnTo>
                    <a:pt x="314" y="767"/>
                  </a:lnTo>
                  <a:close/>
                  <a:moveTo>
                    <a:pt x="340" y="767"/>
                  </a:moveTo>
                  <a:lnTo>
                    <a:pt x="337" y="767"/>
                  </a:lnTo>
                  <a:lnTo>
                    <a:pt x="340" y="767"/>
                  </a:lnTo>
                  <a:close/>
                  <a:moveTo>
                    <a:pt x="318" y="767"/>
                  </a:moveTo>
                  <a:lnTo>
                    <a:pt x="316" y="767"/>
                  </a:lnTo>
                  <a:lnTo>
                    <a:pt x="318" y="767"/>
                  </a:lnTo>
                  <a:close/>
                  <a:moveTo>
                    <a:pt x="321" y="765"/>
                  </a:moveTo>
                  <a:lnTo>
                    <a:pt x="318" y="765"/>
                  </a:lnTo>
                  <a:lnTo>
                    <a:pt x="321" y="765"/>
                  </a:lnTo>
                  <a:close/>
                  <a:moveTo>
                    <a:pt x="332" y="765"/>
                  </a:moveTo>
                  <a:lnTo>
                    <a:pt x="332" y="763"/>
                  </a:lnTo>
                  <a:lnTo>
                    <a:pt x="332" y="765"/>
                  </a:lnTo>
                  <a:close/>
                  <a:moveTo>
                    <a:pt x="342" y="763"/>
                  </a:moveTo>
                  <a:lnTo>
                    <a:pt x="342" y="765"/>
                  </a:lnTo>
                  <a:lnTo>
                    <a:pt x="342" y="763"/>
                  </a:lnTo>
                  <a:close/>
                  <a:moveTo>
                    <a:pt x="340" y="763"/>
                  </a:moveTo>
                  <a:lnTo>
                    <a:pt x="340" y="765"/>
                  </a:lnTo>
                  <a:lnTo>
                    <a:pt x="340" y="763"/>
                  </a:lnTo>
                  <a:close/>
                  <a:moveTo>
                    <a:pt x="349" y="763"/>
                  </a:moveTo>
                  <a:lnTo>
                    <a:pt x="347" y="763"/>
                  </a:lnTo>
                  <a:lnTo>
                    <a:pt x="349" y="763"/>
                  </a:lnTo>
                  <a:close/>
                  <a:moveTo>
                    <a:pt x="351" y="763"/>
                  </a:moveTo>
                  <a:lnTo>
                    <a:pt x="349" y="763"/>
                  </a:lnTo>
                  <a:lnTo>
                    <a:pt x="351" y="763"/>
                  </a:lnTo>
                  <a:close/>
                  <a:moveTo>
                    <a:pt x="351" y="763"/>
                  </a:moveTo>
                  <a:lnTo>
                    <a:pt x="349" y="763"/>
                  </a:lnTo>
                  <a:lnTo>
                    <a:pt x="351" y="763"/>
                  </a:lnTo>
                  <a:close/>
                  <a:moveTo>
                    <a:pt x="363" y="763"/>
                  </a:moveTo>
                  <a:lnTo>
                    <a:pt x="363" y="760"/>
                  </a:lnTo>
                  <a:lnTo>
                    <a:pt x="363" y="763"/>
                  </a:lnTo>
                  <a:close/>
                  <a:moveTo>
                    <a:pt x="356" y="763"/>
                  </a:moveTo>
                  <a:lnTo>
                    <a:pt x="356" y="760"/>
                  </a:lnTo>
                  <a:lnTo>
                    <a:pt x="356" y="763"/>
                  </a:lnTo>
                  <a:close/>
                  <a:moveTo>
                    <a:pt x="356" y="760"/>
                  </a:moveTo>
                  <a:lnTo>
                    <a:pt x="356" y="763"/>
                  </a:lnTo>
                  <a:lnTo>
                    <a:pt x="356" y="760"/>
                  </a:lnTo>
                  <a:close/>
                  <a:moveTo>
                    <a:pt x="354" y="763"/>
                  </a:moveTo>
                  <a:lnTo>
                    <a:pt x="354" y="760"/>
                  </a:lnTo>
                  <a:lnTo>
                    <a:pt x="354" y="763"/>
                  </a:lnTo>
                  <a:close/>
                  <a:moveTo>
                    <a:pt x="366" y="760"/>
                  </a:moveTo>
                  <a:lnTo>
                    <a:pt x="363" y="760"/>
                  </a:lnTo>
                  <a:lnTo>
                    <a:pt x="366" y="760"/>
                  </a:lnTo>
                  <a:close/>
                  <a:moveTo>
                    <a:pt x="356" y="760"/>
                  </a:moveTo>
                  <a:lnTo>
                    <a:pt x="356" y="763"/>
                  </a:lnTo>
                  <a:lnTo>
                    <a:pt x="356" y="760"/>
                  </a:lnTo>
                  <a:close/>
                  <a:moveTo>
                    <a:pt x="363" y="763"/>
                  </a:moveTo>
                  <a:lnTo>
                    <a:pt x="363" y="760"/>
                  </a:lnTo>
                  <a:lnTo>
                    <a:pt x="363" y="763"/>
                  </a:lnTo>
                  <a:close/>
                  <a:moveTo>
                    <a:pt x="366" y="760"/>
                  </a:moveTo>
                  <a:lnTo>
                    <a:pt x="363" y="760"/>
                  </a:lnTo>
                  <a:lnTo>
                    <a:pt x="366" y="760"/>
                  </a:lnTo>
                  <a:close/>
                  <a:moveTo>
                    <a:pt x="361" y="760"/>
                  </a:moveTo>
                  <a:lnTo>
                    <a:pt x="359" y="760"/>
                  </a:lnTo>
                  <a:lnTo>
                    <a:pt x="361" y="760"/>
                  </a:lnTo>
                  <a:close/>
                  <a:moveTo>
                    <a:pt x="359" y="760"/>
                  </a:moveTo>
                  <a:lnTo>
                    <a:pt x="356" y="760"/>
                  </a:lnTo>
                  <a:lnTo>
                    <a:pt x="359" y="760"/>
                  </a:lnTo>
                  <a:close/>
                  <a:moveTo>
                    <a:pt x="304" y="760"/>
                  </a:moveTo>
                  <a:lnTo>
                    <a:pt x="306" y="760"/>
                  </a:lnTo>
                  <a:lnTo>
                    <a:pt x="304" y="760"/>
                  </a:lnTo>
                  <a:close/>
                  <a:moveTo>
                    <a:pt x="356" y="760"/>
                  </a:moveTo>
                  <a:lnTo>
                    <a:pt x="354" y="760"/>
                  </a:lnTo>
                  <a:lnTo>
                    <a:pt x="356" y="760"/>
                  </a:lnTo>
                  <a:close/>
                  <a:moveTo>
                    <a:pt x="309" y="760"/>
                  </a:moveTo>
                  <a:lnTo>
                    <a:pt x="306" y="760"/>
                  </a:lnTo>
                  <a:lnTo>
                    <a:pt x="309" y="760"/>
                  </a:lnTo>
                  <a:close/>
                  <a:moveTo>
                    <a:pt x="359" y="760"/>
                  </a:moveTo>
                  <a:lnTo>
                    <a:pt x="356" y="760"/>
                  </a:lnTo>
                  <a:lnTo>
                    <a:pt x="359" y="760"/>
                  </a:lnTo>
                  <a:close/>
                  <a:moveTo>
                    <a:pt x="309" y="760"/>
                  </a:moveTo>
                  <a:lnTo>
                    <a:pt x="306" y="760"/>
                  </a:lnTo>
                  <a:lnTo>
                    <a:pt x="309" y="760"/>
                  </a:lnTo>
                  <a:close/>
                  <a:moveTo>
                    <a:pt x="361" y="760"/>
                  </a:moveTo>
                  <a:lnTo>
                    <a:pt x="359" y="760"/>
                  </a:lnTo>
                  <a:lnTo>
                    <a:pt x="361" y="760"/>
                  </a:lnTo>
                  <a:close/>
                  <a:moveTo>
                    <a:pt x="309" y="760"/>
                  </a:moveTo>
                  <a:lnTo>
                    <a:pt x="306" y="760"/>
                  </a:lnTo>
                  <a:lnTo>
                    <a:pt x="309" y="760"/>
                  </a:lnTo>
                  <a:close/>
                  <a:moveTo>
                    <a:pt x="309" y="760"/>
                  </a:moveTo>
                  <a:lnTo>
                    <a:pt x="306" y="760"/>
                  </a:lnTo>
                  <a:lnTo>
                    <a:pt x="309" y="760"/>
                  </a:lnTo>
                  <a:close/>
                  <a:moveTo>
                    <a:pt x="361" y="760"/>
                  </a:moveTo>
                  <a:lnTo>
                    <a:pt x="361" y="758"/>
                  </a:lnTo>
                  <a:lnTo>
                    <a:pt x="361" y="760"/>
                  </a:lnTo>
                  <a:close/>
                  <a:moveTo>
                    <a:pt x="370" y="760"/>
                  </a:moveTo>
                  <a:lnTo>
                    <a:pt x="368" y="760"/>
                  </a:lnTo>
                  <a:lnTo>
                    <a:pt x="368" y="758"/>
                  </a:lnTo>
                  <a:lnTo>
                    <a:pt x="370" y="758"/>
                  </a:lnTo>
                  <a:lnTo>
                    <a:pt x="370" y="760"/>
                  </a:lnTo>
                  <a:close/>
                  <a:moveTo>
                    <a:pt x="363" y="758"/>
                  </a:moveTo>
                  <a:lnTo>
                    <a:pt x="363" y="760"/>
                  </a:lnTo>
                  <a:lnTo>
                    <a:pt x="363" y="758"/>
                  </a:lnTo>
                  <a:close/>
                  <a:moveTo>
                    <a:pt x="302" y="760"/>
                  </a:moveTo>
                  <a:lnTo>
                    <a:pt x="302" y="758"/>
                  </a:lnTo>
                  <a:lnTo>
                    <a:pt x="302" y="760"/>
                  </a:lnTo>
                  <a:close/>
                  <a:moveTo>
                    <a:pt x="351" y="760"/>
                  </a:moveTo>
                  <a:lnTo>
                    <a:pt x="351" y="758"/>
                  </a:lnTo>
                  <a:lnTo>
                    <a:pt x="351" y="760"/>
                  </a:lnTo>
                  <a:close/>
                  <a:moveTo>
                    <a:pt x="361" y="760"/>
                  </a:moveTo>
                  <a:lnTo>
                    <a:pt x="359" y="760"/>
                  </a:lnTo>
                  <a:lnTo>
                    <a:pt x="361" y="758"/>
                  </a:lnTo>
                  <a:lnTo>
                    <a:pt x="359" y="758"/>
                  </a:lnTo>
                  <a:lnTo>
                    <a:pt x="361" y="758"/>
                  </a:lnTo>
                  <a:lnTo>
                    <a:pt x="361" y="760"/>
                  </a:lnTo>
                  <a:close/>
                  <a:moveTo>
                    <a:pt x="366" y="758"/>
                  </a:moveTo>
                  <a:lnTo>
                    <a:pt x="363" y="758"/>
                  </a:lnTo>
                  <a:lnTo>
                    <a:pt x="366" y="758"/>
                  </a:lnTo>
                  <a:close/>
                  <a:moveTo>
                    <a:pt x="323" y="758"/>
                  </a:moveTo>
                  <a:lnTo>
                    <a:pt x="321" y="758"/>
                  </a:lnTo>
                  <a:lnTo>
                    <a:pt x="323" y="758"/>
                  </a:lnTo>
                  <a:close/>
                  <a:moveTo>
                    <a:pt x="359" y="758"/>
                  </a:moveTo>
                  <a:lnTo>
                    <a:pt x="361" y="758"/>
                  </a:lnTo>
                  <a:lnTo>
                    <a:pt x="359" y="758"/>
                  </a:lnTo>
                  <a:close/>
                  <a:moveTo>
                    <a:pt x="328" y="758"/>
                  </a:moveTo>
                  <a:lnTo>
                    <a:pt x="325" y="758"/>
                  </a:lnTo>
                  <a:lnTo>
                    <a:pt x="328" y="758"/>
                  </a:lnTo>
                  <a:close/>
                  <a:moveTo>
                    <a:pt x="359" y="758"/>
                  </a:moveTo>
                  <a:lnTo>
                    <a:pt x="361" y="758"/>
                  </a:lnTo>
                  <a:lnTo>
                    <a:pt x="359" y="758"/>
                  </a:lnTo>
                  <a:close/>
                  <a:moveTo>
                    <a:pt x="354" y="758"/>
                  </a:moveTo>
                  <a:lnTo>
                    <a:pt x="354" y="755"/>
                  </a:lnTo>
                  <a:lnTo>
                    <a:pt x="354" y="758"/>
                  </a:lnTo>
                  <a:close/>
                  <a:moveTo>
                    <a:pt x="411" y="755"/>
                  </a:moveTo>
                  <a:lnTo>
                    <a:pt x="408" y="755"/>
                  </a:lnTo>
                  <a:lnTo>
                    <a:pt x="411" y="755"/>
                  </a:lnTo>
                  <a:close/>
                  <a:moveTo>
                    <a:pt x="370" y="755"/>
                  </a:moveTo>
                  <a:lnTo>
                    <a:pt x="368" y="755"/>
                  </a:lnTo>
                  <a:lnTo>
                    <a:pt x="370" y="755"/>
                  </a:lnTo>
                  <a:close/>
                  <a:moveTo>
                    <a:pt x="359" y="755"/>
                  </a:moveTo>
                  <a:lnTo>
                    <a:pt x="356" y="755"/>
                  </a:lnTo>
                  <a:lnTo>
                    <a:pt x="359" y="755"/>
                  </a:lnTo>
                  <a:close/>
                  <a:moveTo>
                    <a:pt x="328" y="755"/>
                  </a:moveTo>
                  <a:lnTo>
                    <a:pt x="325" y="755"/>
                  </a:lnTo>
                  <a:lnTo>
                    <a:pt x="328" y="755"/>
                  </a:lnTo>
                  <a:close/>
                  <a:moveTo>
                    <a:pt x="342" y="753"/>
                  </a:moveTo>
                  <a:lnTo>
                    <a:pt x="340" y="753"/>
                  </a:lnTo>
                  <a:lnTo>
                    <a:pt x="342" y="753"/>
                  </a:lnTo>
                  <a:close/>
                  <a:moveTo>
                    <a:pt x="380" y="751"/>
                  </a:moveTo>
                  <a:lnTo>
                    <a:pt x="382" y="751"/>
                  </a:lnTo>
                  <a:lnTo>
                    <a:pt x="380" y="751"/>
                  </a:lnTo>
                  <a:close/>
                  <a:moveTo>
                    <a:pt x="382" y="751"/>
                  </a:moveTo>
                  <a:lnTo>
                    <a:pt x="380" y="751"/>
                  </a:lnTo>
                  <a:lnTo>
                    <a:pt x="382" y="751"/>
                  </a:lnTo>
                  <a:close/>
                  <a:moveTo>
                    <a:pt x="411" y="751"/>
                  </a:moveTo>
                  <a:lnTo>
                    <a:pt x="408" y="751"/>
                  </a:lnTo>
                  <a:lnTo>
                    <a:pt x="411" y="751"/>
                  </a:lnTo>
                  <a:close/>
                  <a:moveTo>
                    <a:pt x="435" y="751"/>
                  </a:moveTo>
                  <a:lnTo>
                    <a:pt x="432" y="751"/>
                  </a:lnTo>
                  <a:lnTo>
                    <a:pt x="435" y="751"/>
                  </a:lnTo>
                  <a:close/>
                  <a:moveTo>
                    <a:pt x="354" y="748"/>
                  </a:moveTo>
                  <a:lnTo>
                    <a:pt x="351" y="748"/>
                  </a:lnTo>
                  <a:lnTo>
                    <a:pt x="354" y="748"/>
                  </a:lnTo>
                  <a:close/>
                  <a:moveTo>
                    <a:pt x="347" y="746"/>
                  </a:moveTo>
                  <a:lnTo>
                    <a:pt x="344" y="746"/>
                  </a:lnTo>
                  <a:lnTo>
                    <a:pt x="347" y="746"/>
                  </a:lnTo>
                  <a:close/>
                  <a:moveTo>
                    <a:pt x="399" y="746"/>
                  </a:moveTo>
                  <a:lnTo>
                    <a:pt x="397" y="746"/>
                  </a:lnTo>
                  <a:lnTo>
                    <a:pt x="399" y="746"/>
                  </a:lnTo>
                  <a:close/>
                  <a:moveTo>
                    <a:pt x="399" y="744"/>
                  </a:moveTo>
                  <a:lnTo>
                    <a:pt x="399" y="746"/>
                  </a:lnTo>
                  <a:lnTo>
                    <a:pt x="399" y="744"/>
                  </a:lnTo>
                  <a:close/>
                  <a:moveTo>
                    <a:pt x="359" y="741"/>
                  </a:moveTo>
                  <a:lnTo>
                    <a:pt x="359" y="744"/>
                  </a:lnTo>
                  <a:lnTo>
                    <a:pt x="359" y="741"/>
                  </a:lnTo>
                  <a:close/>
                  <a:moveTo>
                    <a:pt x="361" y="741"/>
                  </a:moveTo>
                  <a:lnTo>
                    <a:pt x="361" y="744"/>
                  </a:lnTo>
                  <a:lnTo>
                    <a:pt x="361" y="741"/>
                  </a:lnTo>
                  <a:close/>
                  <a:moveTo>
                    <a:pt x="328" y="741"/>
                  </a:moveTo>
                  <a:lnTo>
                    <a:pt x="328" y="744"/>
                  </a:lnTo>
                  <a:lnTo>
                    <a:pt x="328" y="741"/>
                  </a:lnTo>
                  <a:close/>
                  <a:moveTo>
                    <a:pt x="340" y="741"/>
                  </a:moveTo>
                  <a:lnTo>
                    <a:pt x="340" y="744"/>
                  </a:lnTo>
                  <a:lnTo>
                    <a:pt x="340" y="741"/>
                  </a:lnTo>
                  <a:close/>
                  <a:moveTo>
                    <a:pt x="335" y="739"/>
                  </a:moveTo>
                  <a:lnTo>
                    <a:pt x="335" y="741"/>
                  </a:lnTo>
                  <a:lnTo>
                    <a:pt x="335" y="739"/>
                  </a:lnTo>
                  <a:close/>
                  <a:moveTo>
                    <a:pt x="337" y="739"/>
                  </a:moveTo>
                  <a:lnTo>
                    <a:pt x="335" y="739"/>
                  </a:lnTo>
                  <a:lnTo>
                    <a:pt x="337" y="739"/>
                  </a:lnTo>
                  <a:close/>
                  <a:moveTo>
                    <a:pt x="340" y="739"/>
                  </a:moveTo>
                  <a:lnTo>
                    <a:pt x="337" y="739"/>
                  </a:lnTo>
                  <a:lnTo>
                    <a:pt x="340" y="739"/>
                  </a:lnTo>
                  <a:close/>
                  <a:moveTo>
                    <a:pt x="337" y="736"/>
                  </a:moveTo>
                  <a:lnTo>
                    <a:pt x="337" y="739"/>
                  </a:lnTo>
                  <a:lnTo>
                    <a:pt x="337" y="736"/>
                  </a:lnTo>
                  <a:close/>
                  <a:moveTo>
                    <a:pt x="351" y="734"/>
                  </a:moveTo>
                  <a:lnTo>
                    <a:pt x="349" y="734"/>
                  </a:lnTo>
                  <a:lnTo>
                    <a:pt x="351" y="734"/>
                  </a:lnTo>
                  <a:close/>
                  <a:moveTo>
                    <a:pt x="399" y="732"/>
                  </a:moveTo>
                  <a:lnTo>
                    <a:pt x="399" y="734"/>
                  </a:lnTo>
                  <a:lnTo>
                    <a:pt x="399" y="732"/>
                  </a:lnTo>
                  <a:close/>
                  <a:moveTo>
                    <a:pt x="344" y="732"/>
                  </a:moveTo>
                  <a:lnTo>
                    <a:pt x="342" y="732"/>
                  </a:lnTo>
                  <a:lnTo>
                    <a:pt x="344" y="732"/>
                  </a:lnTo>
                  <a:close/>
                  <a:moveTo>
                    <a:pt x="401" y="732"/>
                  </a:moveTo>
                  <a:lnTo>
                    <a:pt x="399" y="732"/>
                  </a:lnTo>
                  <a:lnTo>
                    <a:pt x="401" y="732"/>
                  </a:lnTo>
                  <a:close/>
                  <a:moveTo>
                    <a:pt x="401" y="732"/>
                  </a:moveTo>
                  <a:lnTo>
                    <a:pt x="399" y="732"/>
                  </a:lnTo>
                  <a:lnTo>
                    <a:pt x="401" y="732"/>
                  </a:lnTo>
                  <a:close/>
                  <a:moveTo>
                    <a:pt x="340" y="732"/>
                  </a:moveTo>
                  <a:lnTo>
                    <a:pt x="340" y="729"/>
                  </a:lnTo>
                  <a:lnTo>
                    <a:pt x="340" y="732"/>
                  </a:lnTo>
                  <a:close/>
                  <a:moveTo>
                    <a:pt x="335" y="729"/>
                  </a:moveTo>
                  <a:lnTo>
                    <a:pt x="332" y="729"/>
                  </a:lnTo>
                  <a:lnTo>
                    <a:pt x="335" y="729"/>
                  </a:lnTo>
                  <a:close/>
                  <a:moveTo>
                    <a:pt x="399" y="729"/>
                  </a:moveTo>
                  <a:lnTo>
                    <a:pt x="401" y="729"/>
                  </a:lnTo>
                  <a:lnTo>
                    <a:pt x="399" y="729"/>
                  </a:lnTo>
                  <a:close/>
                  <a:moveTo>
                    <a:pt x="361" y="729"/>
                  </a:moveTo>
                  <a:lnTo>
                    <a:pt x="359" y="729"/>
                  </a:lnTo>
                  <a:lnTo>
                    <a:pt x="361" y="729"/>
                  </a:lnTo>
                  <a:close/>
                  <a:moveTo>
                    <a:pt x="347" y="729"/>
                  </a:moveTo>
                  <a:lnTo>
                    <a:pt x="347" y="727"/>
                  </a:lnTo>
                  <a:lnTo>
                    <a:pt x="347" y="729"/>
                  </a:lnTo>
                  <a:close/>
                  <a:moveTo>
                    <a:pt x="337" y="727"/>
                  </a:moveTo>
                  <a:lnTo>
                    <a:pt x="337" y="725"/>
                  </a:lnTo>
                  <a:lnTo>
                    <a:pt x="337" y="727"/>
                  </a:lnTo>
                  <a:close/>
                  <a:moveTo>
                    <a:pt x="385" y="725"/>
                  </a:moveTo>
                  <a:lnTo>
                    <a:pt x="385" y="727"/>
                  </a:lnTo>
                  <a:lnTo>
                    <a:pt x="385" y="725"/>
                  </a:lnTo>
                  <a:close/>
                  <a:moveTo>
                    <a:pt x="359" y="727"/>
                  </a:moveTo>
                  <a:lnTo>
                    <a:pt x="359" y="725"/>
                  </a:lnTo>
                  <a:lnTo>
                    <a:pt x="359" y="727"/>
                  </a:lnTo>
                  <a:close/>
                  <a:moveTo>
                    <a:pt x="354" y="722"/>
                  </a:moveTo>
                  <a:lnTo>
                    <a:pt x="354" y="725"/>
                  </a:lnTo>
                  <a:lnTo>
                    <a:pt x="354" y="722"/>
                  </a:lnTo>
                  <a:close/>
                  <a:moveTo>
                    <a:pt x="354" y="722"/>
                  </a:moveTo>
                  <a:lnTo>
                    <a:pt x="351" y="725"/>
                  </a:lnTo>
                  <a:lnTo>
                    <a:pt x="351" y="722"/>
                  </a:lnTo>
                  <a:lnTo>
                    <a:pt x="354" y="722"/>
                  </a:lnTo>
                  <a:close/>
                  <a:moveTo>
                    <a:pt x="389" y="722"/>
                  </a:moveTo>
                  <a:lnTo>
                    <a:pt x="387" y="722"/>
                  </a:lnTo>
                  <a:lnTo>
                    <a:pt x="389" y="722"/>
                  </a:lnTo>
                  <a:close/>
                  <a:moveTo>
                    <a:pt x="351" y="722"/>
                  </a:moveTo>
                  <a:lnTo>
                    <a:pt x="354" y="722"/>
                  </a:lnTo>
                  <a:lnTo>
                    <a:pt x="351" y="722"/>
                  </a:lnTo>
                  <a:close/>
                  <a:moveTo>
                    <a:pt x="387" y="722"/>
                  </a:moveTo>
                  <a:lnTo>
                    <a:pt x="387" y="720"/>
                  </a:lnTo>
                  <a:lnTo>
                    <a:pt x="387" y="722"/>
                  </a:lnTo>
                  <a:close/>
                  <a:moveTo>
                    <a:pt x="387" y="722"/>
                  </a:moveTo>
                  <a:lnTo>
                    <a:pt x="387" y="720"/>
                  </a:lnTo>
                  <a:lnTo>
                    <a:pt x="387" y="722"/>
                  </a:lnTo>
                  <a:close/>
                  <a:moveTo>
                    <a:pt x="387" y="720"/>
                  </a:moveTo>
                  <a:lnTo>
                    <a:pt x="387" y="722"/>
                  </a:lnTo>
                  <a:lnTo>
                    <a:pt x="387" y="720"/>
                  </a:lnTo>
                  <a:close/>
                  <a:moveTo>
                    <a:pt x="418" y="717"/>
                  </a:moveTo>
                  <a:lnTo>
                    <a:pt x="418" y="720"/>
                  </a:lnTo>
                  <a:lnTo>
                    <a:pt x="418" y="717"/>
                  </a:lnTo>
                  <a:close/>
                  <a:moveTo>
                    <a:pt x="430" y="717"/>
                  </a:moveTo>
                  <a:lnTo>
                    <a:pt x="427" y="717"/>
                  </a:lnTo>
                  <a:lnTo>
                    <a:pt x="430" y="717"/>
                  </a:lnTo>
                  <a:close/>
                  <a:moveTo>
                    <a:pt x="399" y="717"/>
                  </a:moveTo>
                  <a:lnTo>
                    <a:pt x="397" y="717"/>
                  </a:lnTo>
                  <a:lnTo>
                    <a:pt x="399" y="717"/>
                  </a:lnTo>
                  <a:close/>
                  <a:moveTo>
                    <a:pt x="389" y="717"/>
                  </a:moveTo>
                  <a:lnTo>
                    <a:pt x="389" y="715"/>
                  </a:lnTo>
                  <a:lnTo>
                    <a:pt x="392" y="715"/>
                  </a:lnTo>
                  <a:lnTo>
                    <a:pt x="389" y="717"/>
                  </a:lnTo>
                  <a:close/>
                  <a:moveTo>
                    <a:pt x="392" y="715"/>
                  </a:moveTo>
                  <a:lnTo>
                    <a:pt x="389" y="715"/>
                  </a:lnTo>
                  <a:lnTo>
                    <a:pt x="392" y="715"/>
                  </a:lnTo>
                  <a:close/>
                  <a:moveTo>
                    <a:pt x="394" y="715"/>
                  </a:moveTo>
                  <a:lnTo>
                    <a:pt x="397" y="715"/>
                  </a:lnTo>
                  <a:lnTo>
                    <a:pt x="394" y="715"/>
                  </a:lnTo>
                  <a:close/>
                  <a:moveTo>
                    <a:pt x="397" y="715"/>
                  </a:moveTo>
                  <a:lnTo>
                    <a:pt x="394" y="715"/>
                  </a:lnTo>
                  <a:lnTo>
                    <a:pt x="397" y="715"/>
                  </a:lnTo>
                  <a:close/>
                  <a:moveTo>
                    <a:pt x="370" y="710"/>
                  </a:moveTo>
                  <a:lnTo>
                    <a:pt x="368" y="710"/>
                  </a:lnTo>
                  <a:lnTo>
                    <a:pt x="370" y="710"/>
                  </a:lnTo>
                  <a:close/>
                  <a:moveTo>
                    <a:pt x="401" y="710"/>
                  </a:moveTo>
                  <a:lnTo>
                    <a:pt x="399" y="710"/>
                  </a:lnTo>
                  <a:lnTo>
                    <a:pt x="401" y="710"/>
                  </a:lnTo>
                  <a:close/>
                  <a:moveTo>
                    <a:pt x="463" y="708"/>
                  </a:moveTo>
                  <a:lnTo>
                    <a:pt x="463" y="710"/>
                  </a:lnTo>
                  <a:lnTo>
                    <a:pt x="463" y="708"/>
                  </a:lnTo>
                  <a:close/>
                  <a:moveTo>
                    <a:pt x="375" y="708"/>
                  </a:moveTo>
                  <a:lnTo>
                    <a:pt x="373" y="708"/>
                  </a:lnTo>
                  <a:lnTo>
                    <a:pt x="375" y="708"/>
                  </a:lnTo>
                  <a:close/>
                  <a:moveTo>
                    <a:pt x="406" y="708"/>
                  </a:moveTo>
                  <a:lnTo>
                    <a:pt x="408" y="708"/>
                  </a:lnTo>
                  <a:lnTo>
                    <a:pt x="406" y="708"/>
                  </a:lnTo>
                  <a:close/>
                  <a:moveTo>
                    <a:pt x="406" y="708"/>
                  </a:moveTo>
                  <a:lnTo>
                    <a:pt x="408" y="708"/>
                  </a:lnTo>
                  <a:lnTo>
                    <a:pt x="406" y="708"/>
                  </a:lnTo>
                  <a:close/>
                  <a:moveTo>
                    <a:pt x="449" y="706"/>
                  </a:moveTo>
                  <a:lnTo>
                    <a:pt x="446" y="708"/>
                  </a:lnTo>
                  <a:lnTo>
                    <a:pt x="446" y="706"/>
                  </a:lnTo>
                  <a:lnTo>
                    <a:pt x="449" y="706"/>
                  </a:lnTo>
                  <a:close/>
                  <a:moveTo>
                    <a:pt x="406" y="703"/>
                  </a:moveTo>
                  <a:lnTo>
                    <a:pt x="406" y="701"/>
                  </a:lnTo>
                  <a:lnTo>
                    <a:pt x="406" y="703"/>
                  </a:lnTo>
                  <a:close/>
                  <a:moveTo>
                    <a:pt x="413" y="701"/>
                  </a:moveTo>
                  <a:lnTo>
                    <a:pt x="411" y="701"/>
                  </a:lnTo>
                  <a:lnTo>
                    <a:pt x="413" y="701"/>
                  </a:lnTo>
                  <a:close/>
                  <a:moveTo>
                    <a:pt x="446" y="698"/>
                  </a:moveTo>
                  <a:lnTo>
                    <a:pt x="446" y="701"/>
                  </a:lnTo>
                  <a:lnTo>
                    <a:pt x="446" y="698"/>
                  </a:lnTo>
                  <a:close/>
                  <a:moveTo>
                    <a:pt x="501" y="696"/>
                  </a:moveTo>
                  <a:lnTo>
                    <a:pt x="499" y="696"/>
                  </a:lnTo>
                  <a:lnTo>
                    <a:pt x="501" y="696"/>
                  </a:lnTo>
                  <a:close/>
                  <a:moveTo>
                    <a:pt x="418" y="694"/>
                  </a:moveTo>
                  <a:lnTo>
                    <a:pt x="418" y="696"/>
                  </a:lnTo>
                  <a:lnTo>
                    <a:pt x="418" y="694"/>
                  </a:lnTo>
                  <a:close/>
                  <a:moveTo>
                    <a:pt x="418" y="694"/>
                  </a:moveTo>
                  <a:lnTo>
                    <a:pt x="416" y="694"/>
                  </a:lnTo>
                  <a:lnTo>
                    <a:pt x="418" y="694"/>
                  </a:lnTo>
                  <a:close/>
                  <a:moveTo>
                    <a:pt x="418" y="694"/>
                  </a:moveTo>
                  <a:lnTo>
                    <a:pt x="416" y="694"/>
                  </a:lnTo>
                  <a:lnTo>
                    <a:pt x="418" y="691"/>
                  </a:lnTo>
                  <a:lnTo>
                    <a:pt x="418" y="694"/>
                  </a:lnTo>
                  <a:close/>
                  <a:moveTo>
                    <a:pt x="418" y="691"/>
                  </a:moveTo>
                  <a:lnTo>
                    <a:pt x="416" y="691"/>
                  </a:lnTo>
                  <a:lnTo>
                    <a:pt x="418" y="691"/>
                  </a:lnTo>
                  <a:close/>
                  <a:moveTo>
                    <a:pt x="520" y="687"/>
                  </a:moveTo>
                  <a:lnTo>
                    <a:pt x="520" y="689"/>
                  </a:lnTo>
                  <a:lnTo>
                    <a:pt x="520" y="687"/>
                  </a:lnTo>
                  <a:close/>
                  <a:moveTo>
                    <a:pt x="442" y="684"/>
                  </a:moveTo>
                  <a:lnTo>
                    <a:pt x="442" y="687"/>
                  </a:lnTo>
                  <a:lnTo>
                    <a:pt x="442" y="684"/>
                  </a:lnTo>
                  <a:close/>
                  <a:moveTo>
                    <a:pt x="446" y="682"/>
                  </a:moveTo>
                  <a:lnTo>
                    <a:pt x="446" y="684"/>
                  </a:lnTo>
                  <a:lnTo>
                    <a:pt x="446" y="682"/>
                  </a:lnTo>
                  <a:close/>
                  <a:moveTo>
                    <a:pt x="456" y="684"/>
                  </a:moveTo>
                  <a:lnTo>
                    <a:pt x="456" y="682"/>
                  </a:lnTo>
                  <a:lnTo>
                    <a:pt x="456" y="684"/>
                  </a:lnTo>
                  <a:close/>
                  <a:moveTo>
                    <a:pt x="446" y="682"/>
                  </a:moveTo>
                  <a:lnTo>
                    <a:pt x="444" y="682"/>
                  </a:lnTo>
                  <a:lnTo>
                    <a:pt x="446" y="682"/>
                  </a:lnTo>
                  <a:close/>
                  <a:moveTo>
                    <a:pt x="449" y="679"/>
                  </a:moveTo>
                  <a:lnTo>
                    <a:pt x="446" y="679"/>
                  </a:lnTo>
                  <a:lnTo>
                    <a:pt x="449" y="679"/>
                  </a:lnTo>
                  <a:close/>
                  <a:moveTo>
                    <a:pt x="582" y="675"/>
                  </a:moveTo>
                  <a:lnTo>
                    <a:pt x="579" y="675"/>
                  </a:lnTo>
                  <a:lnTo>
                    <a:pt x="582" y="675"/>
                  </a:lnTo>
                  <a:close/>
                  <a:moveTo>
                    <a:pt x="529" y="675"/>
                  </a:moveTo>
                  <a:lnTo>
                    <a:pt x="527" y="675"/>
                  </a:lnTo>
                  <a:lnTo>
                    <a:pt x="529" y="675"/>
                  </a:lnTo>
                  <a:close/>
                  <a:moveTo>
                    <a:pt x="544" y="672"/>
                  </a:moveTo>
                  <a:lnTo>
                    <a:pt x="546" y="672"/>
                  </a:lnTo>
                  <a:lnTo>
                    <a:pt x="544" y="672"/>
                  </a:lnTo>
                  <a:close/>
                  <a:moveTo>
                    <a:pt x="546" y="672"/>
                  </a:moveTo>
                  <a:lnTo>
                    <a:pt x="544" y="672"/>
                  </a:lnTo>
                  <a:lnTo>
                    <a:pt x="546" y="672"/>
                  </a:lnTo>
                  <a:close/>
                  <a:moveTo>
                    <a:pt x="449" y="672"/>
                  </a:moveTo>
                  <a:lnTo>
                    <a:pt x="451" y="672"/>
                  </a:lnTo>
                  <a:lnTo>
                    <a:pt x="449" y="672"/>
                  </a:lnTo>
                  <a:close/>
                  <a:moveTo>
                    <a:pt x="857" y="670"/>
                  </a:moveTo>
                  <a:lnTo>
                    <a:pt x="857" y="672"/>
                  </a:lnTo>
                  <a:lnTo>
                    <a:pt x="857" y="670"/>
                  </a:lnTo>
                  <a:close/>
                  <a:moveTo>
                    <a:pt x="857" y="670"/>
                  </a:moveTo>
                  <a:lnTo>
                    <a:pt x="857" y="672"/>
                  </a:lnTo>
                  <a:lnTo>
                    <a:pt x="857" y="670"/>
                  </a:lnTo>
                  <a:close/>
                  <a:moveTo>
                    <a:pt x="494" y="670"/>
                  </a:moveTo>
                  <a:lnTo>
                    <a:pt x="491" y="670"/>
                  </a:lnTo>
                  <a:lnTo>
                    <a:pt x="494" y="670"/>
                  </a:lnTo>
                  <a:close/>
                  <a:moveTo>
                    <a:pt x="845" y="670"/>
                  </a:moveTo>
                  <a:lnTo>
                    <a:pt x="845" y="668"/>
                  </a:lnTo>
                  <a:lnTo>
                    <a:pt x="845" y="670"/>
                  </a:lnTo>
                  <a:close/>
                  <a:moveTo>
                    <a:pt x="463" y="670"/>
                  </a:moveTo>
                  <a:lnTo>
                    <a:pt x="463" y="668"/>
                  </a:lnTo>
                  <a:lnTo>
                    <a:pt x="463" y="670"/>
                  </a:lnTo>
                  <a:close/>
                  <a:moveTo>
                    <a:pt x="847" y="668"/>
                  </a:moveTo>
                  <a:lnTo>
                    <a:pt x="845" y="668"/>
                  </a:lnTo>
                  <a:lnTo>
                    <a:pt x="847" y="668"/>
                  </a:lnTo>
                  <a:close/>
                  <a:moveTo>
                    <a:pt x="461" y="665"/>
                  </a:moveTo>
                  <a:lnTo>
                    <a:pt x="461" y="668"/>
                  </a:lnTo>
                  <a:lnTo>
                    <a:pt x="461" y="665"/>
                  </a:lnTo>
                  <a:close/>
                  <a:moveTo>
                    <a:pt x="463" y="665"/>
                  </a:moveTo>
                  <a:lnTo>
                    <a:pt x="461" y="665"/>
                  </a:lnTo>
                  <a:lnTo>
                    <a:pt x="463" y="665"/>
                  </a:lnTo>
                  <a:close/>
                  <a:moveTo>
                    <a:pt x="572" y="663"/>
                  </a:moveTo>
                  <a:lnTo>
                    <a:pt x="570" y="663"/>
                  </a:lnTo>
                  <a:lnTo>
                    <a:pt x="572" y="663"/>
                  </a:lnTo>
                  <a:close/>
                  <a:moveTo>
                    <a:pt x="463" y="663"/>
                  </a:moveTo>
                  <a:lnTo>
                    <a:pt x="461" y="663"/>
                  </a:lnTo>
                  <a:lnTo>
                    <a:pt x="463" y="663"/>
                  </a:lnTo>
                  <a:close/>
                  <a:moveTo>
                    <a:pt x="570" y="663"/>
                  </a:moveTo>
                  <a:lnTo>
                    <a:pt x="570" y="660"/>
                  </a:lnTo>
                  <a:lnTo>
                    <a:pt x="570" y="663"/>
                  </a:lnTo>
                  <a:close/>
                  <a:moveTo>
                    <a:pt x="463" y="660"/>
                  </a:moveTo>
                  <a:lnTo>
                    <a:pt x="461" y="663"/>
                  </a:lnTo>
                  <a:lnTo>
                    <a:pt x="463" y="660"/>
                  </a:lnTo>
                  <a:lnTo>
                    <a:pt x="461" y="660"/>
                  </a:lnTo>
                  <a:lnTo>
                    <a:pt x="463" y="660"/>
                  </a:lnTo>
                  <a:close/>
                  <a:moveTo>
                    <a:pt x="624" y="660"/>
                  </a:moveTo>
                  <a:lnTo>
                    <a:pt x="622" y="660"/>
                  </a:lnTo>
                  <a:lnTo>
                    <a:pt x="624" y="660"/>
                  </a:lnTo>
                  <a:close/>
                  <a:moveTo>
                    <a:pt x="463" y="660"/>
                  </a:moveTo>
                  <a:lnTo>
                    <a:pt x="461" y="660"/>
                  </a:lnTo>
                  <a:lnTo>
                    <a:pt x="463" y="660"/>
                  </a:lnTo>
                  <a:close/>
                  <a:moveTo>
                    <a:pt x="463" y="658"/>
                  </a:moveTo>
                  <a:lnTo>
                    <a:pt x="463" y="660"/>
                  </a:lnTo>
                  <a:lnTo>
                    <a:pt x="463" y="658"/>
                  </a:lnTo>
                  <a:close/>
                  <a:moveTo>
                    <a:pt x="465" y="658"/>
                  </a:moveTo>
                  <a:lnTo>
                    <a:pt x="463" y="658"/>
                  </a:lnTo>
                  <a:lnTo>
                    <a:pt x="465" y="658"/>
                  </a:lnTo>
                  <a:close/>
                  <a:moveTo>
                    <a:pt x="802" y="656"/>
                  </a:moveTo>
                  <a:lnTo>
                    <a:pt x="800" y="656"/>
                  </a:lnTo>
                  <a:lnTo>
                    <a:pt x="802" y="656"/>
                  </a:lnTo>
                  <a:close/>
                  <a:moveTo>
                    <a:pt x="679" y="656"/>
                  </a:moveTo>
                  <a:lnTo>
                    <a:pt x="679" y="653"/>
                  </a:lnTo>
                  <a:lnTo>
                    <a:pt x="679" y="656"/>
                  </a:lnTo>
                  <a:close/>
                  <a:moveTo>
                    <a:pt x="679" y="656"/>
                  </a:moveTo>
                  <a:lnTo>
                    <a:pt x="679" y="653"/>
                  </a:lnTo>
                  <a:lnTo>
                    <a:pt x="679" y="656"/>
                  </a:lnTo>
                  <a:close/>
                  <a:moveTo>
                    <a:pt x="472" y="653"/>
                  </a:moveTo>
                  <a:lnTo>
                    <a:pt x="470" y="653"/>
                  </a:lnTo>
                  <a:lnTo>
                    <a:pt x="472" y="653"/>
                  </a:lnTo>
                  <a:close/>
                  <a:moveTo>
                    <a:pt x="681" y="651"/>
                  </a:moveTo>
                  <a:lnTo>
                    <a:pt x="679" y="651"/>
                  </a:lnTo>
                  <a:lnTo>
                    <a:pt x="681" y="651"/>
                  </a:lnTo>
                  <a:close/>
                  <a:moveTo>
                    <a:pt x="470" y="651"/>
                  </a:moveTo>
                  <a:lnTo>
                    <a:pt x="468" y="651"/>
                  </a:lnTo>
                  <a:lnTo>
                    <a:pt x="470" y="651"/>
                  </a:lnTo>
                  <a:close/>
                  <a:moveTo>
                    <a:pt x="513" y="651"/>
                  </a:moveTo>
                  <a:lnTo>
                    <a:pt x="513" y="649"/>
                  </a:lnTo>
                  <a:lnTo>
                    <a:pt x="513" y="651"/>
                  </a:lnTo>
                  <a:close/>
                  <a:moveTo>
                    <a:pt x="480" y="651"/>
                  </a:moveTo>
                  <a:lnTo>
                    <a:pt x="480" y="649"/>
                  </a:lnTo>
                  <a:lnTo>
                    <a:pt x="480" y="651"/>
                  </a:lnTo>
                  <a:close/>
                  <a:moveTo>
                    <a:pt x="681" y="651"/>
                  </a:moveTo>
                  <a:lnTo>
                    <a:pt x="681" y="649"/>
                  </a:lnTo>
                  <a:lnTo>
                    <a:pt x="681" y="651"/>
                  </a:lnTo>
                  <a:close/>
                  <a:moveTo>
                    <a:pt x="684" y="649"/>
                  </a:moveTo>
                  <a:lnTo>
                    <a:pt x="684" y="651"/>
                  </a:lnTo>
                  <a:lnTo>
                    <a:pt x="684" y="649"/>
                  </a:lnTo>
                  <a:close/>
                  <a:moveTo>
                    <a:pt x="679" y="649"/>
                  </a:moveTo>
                  <a:lnTo>
                    <a:pt x="679" y="646"/>
                  </a:lnTo>
                  <a:lnTo>
                    <a:pt x="679" y="649"/>
                  </a:lnTo>
                  <a:close/>
                  <a:moveTo>
                    <a:pt x="496" y="646"/>
                  </a:moveTo>
                  <a:lnTo>
                    <a:pt x="496" y="644"/>
                  </a:lnTo>
                  <a:lnTo>
                    <a:pt x="496" y="646"/>
                  </a:lnTo>
                  <a:close/>
                  <a:moveTo>
                    <a:pt x="489" y="646"/>
                  </a:moveTo>
                  <a:lnTo>
                    <a:pt x="489" y="644"/>
                  </a:lnTo>
                  <a:lnTo>
                    <a:pt x="489" y="646"/>
                  </a:lnTo>
                  <a:close/>
                  <a:moveTo>
                    <a:pt x="489" y="644"/>
                  </a:moveTo>
                  <a:lnTo>
                    <a:pt x="487" y="644"/>
                  </a:lnTo>
                  <a:lnTo>
                    <a:pt x="489" y="644"/>
                  </a:lnTo>
                  <a:close/>
                  <a:moveTo>
                    <a:pt x="489" y="644"/>
                  </a:moveTo>
                  <a:lnTo>
                    <a:pt x="487" y="644"/>
                  </a:lnTo>
                  <a:lnTo>
                    <a:pt x="489" y="644"/>
                  </a:lnTo>
                  <a:close/>
                  <a:moveTo>
                    <a:pt x="487" y="644"/>
                  </a:moveTo>
                  <a:lnTo>
                    <a:pt x="484" y="644"/>
                  </a:lnTo>
                  <a:lnTo>
                    <a:pt x="487" y="644"/>
                  </a:lnTo>
                  <a:close/>
                  <a:moveTo>
                    <a:pt x="622" y="641"/>
                  </a:moveTo>
                  <a:lnTo>
                    <a:pt x="620" y="641"/>
                  </a:lnTo>
                  <a:lnTo>
                    <a:pt x="622" y="639"/>
                  </a:lnTo>
                  <a:lnTo>
                    <a:pt x="622" y="641"/>
                  </a:lnTo>
                  <a:close/>
                  <a:moveTo>
                    <a:pt x="681" y="639"/>
                  </a:moveTo>
                  <a:lnTo>
                    <a:pt x="679" y="639"/>
                  </a:lnTo>
                  <a:lnTo>
                    <a:pt x="681" y="637"/>
                  </a:lnTo>
                  <a:lnTo>
                    <a:pt x="681" y="639"/>
                  </a:lnTo>
                  <a:close/>
                  <a:moveTo>
                    <a:pt x="783" y="637"/>
                  </a:moveTo>
                  <a:lnTo>
                    <a:pt x="781" y="637"/>
                  </a:lnTo>
                  <a:lnTo>
                    <a:pt x="783" y="637"/>
                  </a:lnTo>
                  <a:close/>
                  <a:moveTo>
                    <a:pt x="878" y="637"/>
                  </a:moveTo>
                  <a:lnTo>
                    <a:pt x="876" y="637"/>
                  </a:lnTo>
                  <a:lnTo>
                    <a:pt x="878" y="637"/>
                  </a:lnTo>
                  <a:close/>
                  <a:moveTo>
                    <a:pt x="786" y="634"/>
                  </a:moveTo>
                  <a:lnTo>
                    <a:pt x="783" y="634"/>
                  </a:lnTo>
                  <a:lnTo>
                    <a:pt x="786" y="634"/>
                  </a:lnTo>
                  <a:close/>
                  <a:moveTo>
                    <a:pt x="786" y="634"/>
                  </a:moveTo>
                  <a:lnTo>
                    <a:pt x="783" y="634"/>
                  </a:lnTo>
                  <a:lnTo>
                    <a:pt x="786" y="634"/>
                  </a:lnTo>
                  <a:close/>
                  <a:moveTo>
                    <a:pt x="786" y="634"/>
                  </a:moveTo>
                  <a:lnTo>
                    <a:pt x="783" y="634"/>
                  </a:lnTo>
                  <a:lnTo>
                    <a:pt x="786" y="634"/>
                  </a:lnTo>
                  <a:close/>
                  <a:moveTo>
                    <a:pt x="786" y="634"/>
                  </a:moveTo>
                  <a:lnTo>
                    <a:pt x="783" y="634"/>
                  </a:lnTo>
                  <a:lnTo>
                    <a:pt x="786" y="634"/>
                  </a:lnTo>
                  <a:lnTo>
                    <a:pt x="783" y="634"/>
                  </a:lnTo>
                  <a:lnTo>
                    <a:pt x="786" y="634"/>
                  </a:lnTo>
                  <a:close/>
                  <a:moveTo>
                    <a:pt x="731" y="632"/>
                  </a:moveTo>
                  <a:lnTo>
                    <a:pt x="731" y="634"/>
                  </a:lnTo>
                  <a:lnTo>
                    <a:pt x="731" y="632"/>
                  </a:lnTo>
                  <a:close/>
                  <a:moveTo>
                    <a:pt x="686" y="632"/>
                  </a:moveTo>
                  <a:lnTo>
                    <a:pt x="684" y="632"/>
                  </a:lnTo>
                  <a:lnTo>
                    <a:pt x="686" y="632"/>
                  </a:lnTo>
                  <a:close/>
                  <a:moveTo>
                    <a:pt x="653" y="632"/>
                  </a:moveTo>
                  <a:lnTo>
                    <a:pt x="650" y="632"/>
                  </a:lnTo>
                  <a:lnTo>
                    <a:pt x="653" y="632"/>
                  </a:lnTo>
                  <a:close/>
                  <a:moveTo>
                    <a:pt x="596" y="632"/>
                  </a:moveTo>
                  <a:lnTo>
                    <a:pt x="596" y="630"/>
                  </a:lnTo>
                  <a:lnTo>
                    <a:pt x="596" y="632"/>
                  </a:lnTo>
                  <a:close/>
                  <a:moveTo>
                    <a:pt x="593" y="630"/>
                  </a:moveTo>
                  <a:lnTo>
                    <a:pt x="593" y="632"/>
                  </a:lnTo>
                  <a:lnTo>
                    <a:pt x="593" y="630"/>
                  </a:lnTo>
                  <a:close/>
                  <a:moveTo>
                    <a:pt x="688" y="630"/>
                  </a:moveTo>
                  <a:lnTo>
                    <a:pt x="686" y="630"/>
                  </a:lnTo>
                  <a:lnTo>
                    <a:pt x="688" y="630"/>
                  </a:lnTo>
                  <a:close/>
                  <a:moveTo>
                    <a:pt x="781" y="627"/>
                  </a:moveTo>
                  <a:lnTo>
                    <a:pt x="779" y="627"/>
                  </a:lnTo>
                  <a:lnTo>
                    <a:pt x="781" y="627"/>
                  </a:lnTo>
                  <a:close/>
                  <a:moveTo>
                    <a:pt x="741" y="625"/>
                  </a:moveTo>
                  <a:lnTo>
                    <a:pt x="741" y="627"/>
                  </a:lnTo>
                  <a:lnTo>
                    <a:pt x="741" y="625"/>
                  </a:lnTo>
                  <a:close/>
                  <a:moveTo>
                    <a:pt x="741" y="625"/>
                  </a:moveTo>
                  <a:lnTo>
                    <a:pt x="741" y="622"/>
                  </a:lnTo>
                  <a:lnTo>
                    <a:pt x="741" y="625"/>
                  </a:lnTo>
                  <a:close/>
                  <a:moveTo>
                    <a:pt x="575" y="622"/>
                  </a:moveTo>
                  <a:lnTo>
                    <a:pt x="577" y="622"/>
                  </a:lnTo>
                  <a:lnTo>
                    <a:pt x="575" y="622"/>
                  </a:lnTo>
                  <a:close/>
                  <a:moveTo>
                    <a:pt x="577" y="622"/>
                  </a:moveTo>
                  <a:lnTo>
                    <a:pt x="575" y="622"/>
                  </a:lnTo>
                  <a:lnTo>
                    <a:pt x="577" y="622"/>
                  </a:lnTo>
                  <a:close/>
                  <a:moveTo>
                    <a:pt x="598" y="622"/>
                  </a:moveTo>
                  <a:lnTo>
                    <a:pt x="596" y="622"/>
                  </a:lnTo>
                  <a:lnTo>
                    <a:pt x="598" y="622"/>
                  </a:lnTo>
                  <a:close/>
                  <a:moveTo>
                    <a:pt x="847" y="622"/>
                  </a:moveTo>
                  <a:lnTo>
                    <a:pt x="845" y="622"/>
                  </a:lnTo>
                  <a:lnTo>
                    <a:pt x="847" y="622"/>
                  </a:lnTo>
                  <a:close/>
                  <a:moveTo>
                    <a:pt x="610" y="620"/>
                  </a:moveTo>
                  <a:lnTo>
                    <a:pt x="608" y="620"/>
                  </a:lnTo>
                  <a:lnTo>
                    <a:pt x="610" y="620"/>
                  </a:lnTo>
                  <a:close/>
                  <a:moveTo>
                    <a:pt x="819" y="620"/>
                  </a:moveTo>
                  <a:lnTo>
                    <a:pt x="817" y="620"/>
                  </a:lnTo>
                  <a:lnTo>
                    <a:pt x="819" y="620"/>
                  </a:lnTo>
                  <a:close/>
                  <a:moveTo>
                    <a:pt x="603" y="620"/>
                  </a:moveTo>
                  <a:lnTo>
                    <a:pt x="601" y="620"/>
                  </a:lnTo>
                  <a:lnTo>
                    <a:pt x="603" y="620"/>
                  </a:lnTo>
                  <a:close/>
                  <a:moveTo>
                    <a:pt x="821" y="615"/>
                  </a:moveTo>
                  <a:lnTo>
                    <a:pt x="821" y="618"/>
                  </a:lnTo>
                  <a:lnTo>
                    <a:pt x="821" y="615"/>
                  </a:lnTo>
                  <a:close/>
                  <a:moveTo>
                    <a:pt x="821" y="615"/>
                  </a:moveTo>
                  <a:lnTo>
                    <a:pt x="819" y="615"/>
                  </a:lnTo>
                  <a:lnTo>
                    <a:pt x="821" y="615"/>
                  </a:lnTo>
                  <a:close/>
                  <a:moveTo>
                    <a:pt x="662" y="611"/>
                  </a:moveTo>
                  <a:lnTo>
                    <a:pt x="662" y="613"/>
                  </a:lnTo>
                  <a:lnTo>
                    <a:pt x="662" y="611"/>
                  </a:lnTo>
                  <a:close/>
                  <a:moveTo>
                    <a:pt x="783" y="599"/>
                  </a:moveTo>
                  <a:lnTo>
                    <a:pt x="783" y="601"/>
                  </a:lnTo>
                  <a:lnTo>
                    <a:pt x="783" y="599"/>
                  </a:lnTo>
                  <a:close/>
                  <a:moveTo>
                    <a:pt x="783" y="601"/>
                  </a:moveTo>
                  <a:lnTo>
                    <a:pt x="783" y="599"/>
                  </a:lnTo>
                  <a:lnTo>
                    <a:pt x="783" y="601"/>
                  </a:lnTo>
                  <a:close/>
                  <a:moveTo>
                    <a:pt x="669" y="599"/>
                  </a:moveTo>
                  <a:lnTo>
                    <a:pt x="669" y="596"/>
                  </a:lnTo>
                  <a:lnTo>
                    <a:pt x="669" y="599"/>
                  </a:lnTo>
                  <a:close/>
                  <a:moveTo>
                    <a:pt x="684" y="599"/>
                  </a:moveTo>
                  <a:lnTo>
                    <a:pt x="684" y="596"/>
                  </a:lnTo>
                  <a:lnTo>
                    <a:pt x="684" y="599"/>
                  </a:lnTo>
                  <a:close/>
                  <a:moveTo>
                    <a:pt x="707" y="596"/>
                  </a:moveTo>
                  <a:lnTo>
                    <a:pt x="705" y="596"/>
                  </a:lnTo>
                  <a:lnTo>
                    <a:pt x="707" y="596"/>
                  </a:lnTo>
                  <a:close/>
                  <a:moveTo>
                    <a:pt x="774" y="596"/>
                  </a:moveTo>
                  <a:lnTo>
                    <a:pt x="774" y="594"/>
                  </a:lnTo>
                  <a:lnTo>
                    <a:pt x="774" y="596"/>
                  </a:lnTo>
                  <a:close/>
                  <a:moveTo>
                    <a:pt x="691" y="594"/>
                  </a:moveTo>
                  <a:lnTo>
                    <a:pt x="691" y="596"/>
                  </a:lnTo>
                  <a:lnTo>
                    <a:pt x="691" y="594"/>
                  </a:lnTo>
                  <a:close/>
                  <a:moveTo>
                    <a:pt x="648" y="596"/>
                  </a:moveTo>
                  <a:lnTo>
                    <a:pt x="648" y="594"/>
                  </a:lnTo>
                  <a:lnTo>
                    <a:pt x="648" y="596"/>
                  </a:lnTo>
                  <a:close/>
                  <a:moveTo>
                    <a:pt x="643" y="594"/>
                  </a:moveTo>
                  <a:lnTo>
                    <a:pt x="643" y="596"/>
                  </a:lnTo>
                  <a:lnTo>
                    <a:pt x="643" y="594"/>
                  </a:lnTo>
                  <a:lnTo>
                    <a:pt x="643" y="596"/>
                  </a:lnTo>
                  <a:lnTo>
                    <a:pt x="643" y="594"/>
                  </a:lnTo>
                  <a:close/>
                  <a:moveTo>
                    <a:pt x="688" y="594"/>
                  </a:moveTo>
                  <a:lnTo>
                    <a:pt x="686" y="594"/>
                  </a:lnTo>
                  <a:lnTo>
                    <a:pt x="688" y="594"/>
                  </a:lnTo>
                  <a:close/>
                  <a:moveTo>
                    <a:pt x="693" y="589"/>
                  </a:moveTo>
                  <a:lnTo>
                    <a:pt x="693" y="592"/>
                  </a:lnTo>
                  <a:lnTo>
                    <a:pt x="693" y="589"/>
                  </a:lnTo>
                  <a:close/>
                  <a:moveTo>
                    <a:pt x="579" y="226"/>
                  </a:moveTo>
                  <a:lnTo>
                    <a:pt x="579" y="228"/>
                  </a:lnTo>
                  <a:lnTo>
                    <a:pt x="579" y="226"/>
                  </a:lnTo>
                  <a:close/>
                  <a:moveTo>
                    <a:pt x="589" y="223"/>
                  </a:moveTo>
                  <a:lnTo>
                    <a:pt x="589" y="226"/>
                  </a:lnTo>
                  <a:lnTo>
                    <a:pt x="589" y="223"/>
                  </a:lnTo>
                  <a:close/>
                  <a:moveTo>
                    <a:pt x="596" y="221"/>
                  </a:moveTo>
                  <a:lnTo>
                    <a:pt x="593" y="221"/>
                  </a:lnTo>
                  <a:lnTo>
                    <a:pt x="596" y="221"/>
                  </a:lnTo>
                  <a:close/>
                  <a:moveTo>
                    <a:pt x="349" y="219"/>
                  </a:moveTo>
                  <a:lnTo>
                    <a:pt x="347" y="219"/>
                  </a:lnTo>
                  <a:lnTo>
                    <a:pt x="349" y="219"/>
                  </a:lnTo>
                  <a:close/>
                  <a:moveTo>
                    <a:pt x="582" y="219"/>
                  </a:moveTo>
                  <a:lnTo>
                    <a:pt x="579" y="219"/>
                  </a:lnTo>
                  <a:lnTo>
                    <a:pt x="582" y="219"/>
                  </a:lnTo>
                  <a:close/>
                  <a:moveTo>
                    <a:pt x="617" y="209"/>
                  </a:moveTo>
                  <a:lnTo>
                    <a:pt x="615" y="209"/>
                  </a:lnTo>
                  <a:lnTo>
                    <a:pt x="617" y="209"/>
                  </a:lnTo>
                  <a:close/>
                  <a:moveTo>
                    <a:pt x="427" y="207"/>
                  </a:moveTo>
                  <a:lnTo>
                    <a:pt x="425" y="207"/>
                  </a:lnTo>
                  <a:lnTo>
                    <a:pt x="427" y="207"/>
                  </a:lnTo>
                  <a:close/>
                  <a:moveTo>
                    <a:pt x="332" y="192"/>
                  </a:moveTo>
                  <a:lnTo>
                    <a:pt x="330" y="192"/>
                  </a:lnTo>
                  <a:lnTo>
                    <a:pt x="332" y="192"/>
                  </a:lnTo>
                  <a:close/>
                  <a:moveTo>
                    <a:pt x="456" y="190"/>
                  </a:moveTo>
                  <a:lnTo>
                    <a:pt x="456" y="188"/>
                  </a:lnTo>
                  <a:lnTo>
                    <a:pt x="456" y="190"/>
                  </a:lnTo>
                  <a:close/>
                  <a:moveTo>
                    <a:pt x="456" y="188"/>
                  </a:moveTo>
                  <a:lnTo>
                    <a:pt x="453" y="188"/>
                  </a:lnTo>
                  <a:lnTo>
                    <a:pt x="456" y="188"/>
                  </a:lnTo>
                  <a:close/>
                  <a:moveTo>
                    <a:pt x="406" y="166"/>
                  </a:moveTo>
                  <a:lnTo>
                    <a:pt x="404" y="166"/>
                  </a:lnTo>
                  <a:lnTo>
                    <a:pt x="406" y="166"/>
                  </a:lnTo>
                  <a:close/>
                  <a:moveTo>
                    <a:pt x="655" y="166"/>
                  </a:moveTo>
                  <a:lnTo>
                    <a:pt x="653" y="166"/>
                  </a:lnTo>
                  <a:lnTo>
                    <a:pt x="655" y="166"/>
                  </a:lnTo>
                  <a:close/>
                  <a:moveTo>
                    <a:pt x="413" y="164"/>
                  </a:moveTo>
                  <a:lnTo>
                    <a:pt x="411" y="166"/>
                  </a:lnTo>
                  <a:lnTo>
                    <a:pt x="411" y="164"/>
                  </a:lnTo>
                  <a:lnTo>
                    <a:pt x="413" y="164"/>
                  </a:lnTo>
                  <a:close/>
                  <a:moveTo>
                    <a:pt x="423" y="164"/>
                  </a:moveTo>
                  <a:lnTo>
                    <a:pt x="420" y="164"/>
                  </a:lnTo>
                  <a:lnTo>
                    <a:pt x="423" y="164"/>
                  </a:lnTo>
                  <a:close/>
                  <a:moveTo>
                    <a:pt x="425" y="164"/>
                  </a:moveTo>
                  <a:lnTo>
                    <a:pt x="423" y="164"/>
                  </a:lnTo>
                  <a:lnTo>
                    <a:pt x="425" y="164"/>
                  </a:lnTo>
                  <a:close/>
                  <a:moveTo>
                    <a:pt x="427" y="164"/>
                  </a:moveTo>
                  <a:lnTo>
                    <a:pt x="425" y="164"/>
                  </a:lnTo>
                  <a:lnTo>
                    <a:pt x="427" y="162"/>
                  </a:lnTo>
                  <a:lnTo>
                    <a:pt x="427" y="164"/>
                  </a:lnTo>
                  <a:close/>
                  <a:moveTo>
                    <a:pt x="620" y="159"/>
                  </a:moveTo>
                  <a:lnTo>
                    <a:pt x="620" y="162"/>
                  </a:lnTo>
                  <a:lnTo>
                    <a:pt x="620" y="159"/>
                  </a:lnTo>
                  <a:close/>
                  <a:moveTo>
                    <a:pt x="539" y="154"/>
                  </a:moveTo>
                  <a:lnTo>
                    <a:pt x="537" y="154"/>
                  </a:lnTo>
                  <a:lnTo>
                    <a:pt x="539" y="154"/>
                  </a:lnTo>
                  <a:close/>
                  <a:moveTo>
                    <a:pt x="373" y="145"/>
                  </a:moveTo>
                  <a:lnTo>
                    <a:pt x="370" y="145"/>
                  </a:lnTo>
                  <a:lnTo>
                    <a:pt x="373" y="145"/>
                  </a:lnTo>
                  <a:close/>
                  <a:moveTo>
                    <a:pt x="373" y="145"/>
                  </a:moveTo>
                  <a:lnTo>
                    <a:pt x="370" y="145"/>
                  </a:lnTo>
                  <a:lnTo>
                    <a:pt x="373" y="145"/>
                  </a:lnTo>
                  <a:close/>
                  <a:moveTo>
                    <a:pt x="247" y="145"/>
                  </a:moveTo>
                  <a:lnTo>
                    <a:pt x="245" y="145"/>
                  </a:lnTo>
                  <a:lnTo>
                    <a:pt x="247" y="145"/>
                  </a:lnTo>
                  <a:close/>
                  <a:moveTo>
                    <a:pt x="306" y="143"/>
                  </a:moveTo>
                  <a:lnTo>
                    <a:pt x="304" y="143"/>
                  </a:lnTo>
                  <a:lnTo>
                    <a:pt x="306" y="143"/>
                  </a:lnTo>
                  <a:close/>
                  <a:moveTo>
                    <a:pt x="567" y="143"/>
                  </a:moveTo>
                  <a:lnTo>
                    <a:pt x="570" y="143"/>
                  </a:lnTo>
                  <a:lnTo>
                    <a:pt x="567" y="143"/>
                  </a:lnTo>
                  <a:close/>
                  <a:moveTo>
                    <a:pt x="567" y="143"/>
                  </a:moveTo>
                  <a:lnTo>
                    <a:pt x="570" y="143"/>
                  </a:lnTo>
                  <a:lnTo>
                    <a:pt x="567" y="143"/>
                  </a:lnTo>
                  <a:close/>
                  <a:moveTo>
                    <a:pt x="311" y="140"/>
                  </a:moveTo>
                  <a:lnTo>
                    <a:pt x="309" y="140"/>
                  </a:lnTo>
                  <a:lnTo>
                    <a:pt x="311" y="140"/>
                  </a:lnTo>
                  <a:close/>
                  <a:moveTo>
                    <a:pt x="537" y="138"/>
                  </a:moveTo>
                  <a:lnTo>
                    <a:pt x="534" y="138"/>
                  </a:lnTo>
                  <a:lnTo>
                    <a:pt x="537" y="138"/>
                  </a:lnTo>
                  <a:close/>
                  <a:moveTo>
                    <a:pt x="389" y="131"/>
                  </a:moveTo>
                  <a:lnTo>
                    <a:pt x="387" y="131"/>
                  </a:lnTo>
                  <a:lnTo>
                    <a:pt x="389" y="131"/>
                  </a:lnTo>
                  <a:close/>
                  <a:moveTo>
                    <a:pt x="328" y="126"/>
                  </a:moveTo>
                  <a:lnTo>
                    <a:pt x="325" y="126"/>
                  </a:lnTo>
                  <a:lnTo>
                    <a:pt x="328" y="126"/>
                  </a:lnTo>
                  <a:close/>
                  <a:moveTo>
                    <a:pt x="579" y="121"/>
                  </a:moveTo>
                  <a:lnTo>
                    <a:pt x="577" y="121"/>
                  </a:lnTo>
                  <a:lnTo>
                    <a:pt x="579" y="121"/>
                  </a:lnTo>
                  <a:close/>
                  <a:moveTo>
                    <a:pt x="221" y="119"/>
                  </a:moveTo>
                  <a:lnTo>
                    <a:pt x="219" y="119"/>
                  </a:lnTo>
                  <a:lnTo>
                    <a:pt x="221" y="119"/>
                  </a:lnTo>
                  <a:close/>
                  <a:moveTo>
                    <a:pt x="332" y="116"/>
                  </a:moveTo>
                  <a:lnTo>
                    <a:pt x="330" y="116"/>
                  </a:lnTo>
                  <a:lnTo>
                    <a:pt x="332" y="116"/>
                  </a:lnTo>
                  <a:close/>
                  <a:moveTo>
                    <a:pt x="551" y="116"/>
                  </a:moveTo>
                  <a:lnTo>
                    <a:pt x="551" y="114"/>
                  </a:lnTo>
                  <a:lnTo>
                    <a:pt x="551" y="116"/>
                  </a:lnTo>
                  <a:close/>
                  <a:moveTo>
                    <a:pt x="529" y="114"/>
                  </a:moveTo>
                  <a:lnTo>
                    <a:pt x="527" y="114"/>
                  </a:lnTo>
                  <a:lnTo>
                    <a:pt x="529" y="114"/>
                  </a:lnTo>
                  <a:close/>
                  <a:moveTo>
                    <a:pt x="233" y="112"/>
                  </a:moveTo>
                  <a:lnTo>
                    <a:pt x="230" y="112"/>
                  </a:lnTo>
                  <a:lnTo>
                    <a:pt x="233" y="112"/>
                  </a:lnTo>
                  <a:close/>
                  <a:moveTo>
                    <a:pt x="800" y="107"/>
                  </a:moveTo>
                  <a:lnTo>
                    <a:pt x="798" y="107"/>
                  </a:lnTo>
                  <a:lnTo>
                    <a:pt x="800" y="107"/>
                  </a:lnTo>
                  <a:close/>
                  <a:moveTo>
                    <a:pt x="798" y="107"/>
                  </a:moveTo>
                  <a:lnTo>
                    <a:pt x="800" y="107"/>
                  </a:lnTo>
                  <a:lnTo>
                    <a:pt x="798" y="107"/>
                  </a:lnTo>
                  <a:close/>
                  <a:moveTo>
                    <a:pt x="779" y="105"/>
                  </a:moveTo>
                  <a:lnTo>
                    <a:pt x="779" y="107"/>
                  </a:lnTo>
                  <a:lnTo>
                    <a:pt x="779" y="105"/>
                  </a:lnTo>
                  <a:close/>
                  <a:moveTo>
                    <a:pt x="551" y="100"/>
                  </a:moveTo>
                  <a:lnTo>
                    <a:pt x="548" y="100"/>
                  </a:lnTo>
                  <a:lnTo>
                    <a:pt x="551" y="100"/>
                  </a:lnTo>
                  <a:close/>
                  <a:moveTo>
                    <a:pt x="781" y="100"/>
                  </a:moveTo>
                  <a:lnTo>
                    <a:pt x="779" y="100"/>
                  </a:lnTo>
                  <a:lnTo>
                    <a:pt x="781" y="100"/>
                  </a:lnTo>
                  <a:close/>
                  <a:moveTo>
                    <a:pt x="558" y="97"/>
                  </a:moveTo>
                  <a:lnTo>
                    <a:pt x="560" y="97"/>
                  </a:lnTo>
                  <a:lnTo>
                    <a:pt x="558" y="97"/>
                  </a:lnTo>
                  <a:close/>
                  <a:moveTo>
                    <a:pt x="575" y="95"/>
                  </a:moveTo>
                  <a:lnTo>
                    <a:pt x="572" y="95"/>
                  </a:lnTo>
                  <a:lnTo>
                    <a:pt x="575" y="95"/>
                  </a:lnTo>
                  <a:close/>
                  <a:moveTo>
                    <a:pt x="563" y="93"/>
                  </a:moveTo>
                  <a:lnTo>
                    <a:pt x="563" y="95"/>
                  </a:lnTo>
                  <a:lnTo>
                    <a:pt x="563" y="93"/>
                  </a:lnTo>
                  <a:close/>
                  <a:moveTo>
                    <a:pt x="252" y="93"/>
                  </a:moveTo>
                  <a:lnTo>
                    <a:pt x="249" y="93"/>
                  </a:lnTo>
                  <a:lnTo>
                    <a:pt x="252" y="93"/>
                  </a:lnTo>
                  <a:close/>
                  <a:moveTo>
                    <a:pt x="389" y="93"/>
                  </a:moveTo>
                  <a:lnTo>
                    <a:pt x="387" y="93"/>
                  </a:lnTo>
                  <a:lnTo>
                    <a:pt x="389" y="93"/>
                  </a:lnTo>
                  <a:close/>
                  <a:moveTo>
                    <a:pt x="558" y="93"/>
                  </a:moveTo>
                  <a:lnTo>
                    <a:pt x="556" y="93"/>
                  </a:lnTo>
                  <a:lnTo>
                    <a:pt x="558" y="93"/>
                  </a:lnTo>
                  <a:close/>
                  <a:moveTo>
                    <a:pt x="510" y="93"/>
                  </a:moveTo>
                  <a:lnTo>
                    <a:pt x="508" y="93"/>
                  </a:lnTo>
                  <a:lnTo>
                    <a:pt x="510" y="93"/>
                  </a:lnTo>
                  <a:close/>
                  <a:moveTo>
                    <a:pt x="370" y="86"/>
                  </a:moveTo>
                  <a:lnTo>
                    <a:pt x="368" y="86"/>
                  </a:lnTo>
                  <a:lnTo>
                    <a:pt x="370" y="86"/>
                  </a:lnTo>
                  <a:close/>
                  <a:moveTo>
                    <a:pt x="520" y="76"/>
                  </a:moveTo>
                  <a:lnTo>
                    <a:pt x="518" y="76"/>
                  </a:lnTo>
                  <a:lnTo>
                    <a:pt x="520" y="76"/>
                  </a:lnTo>
                  <a:close/>
                  <a:moveTo>
                    <a:pt x="496" y="67"/>
                  </a:moveTo>
                  <a:lnTo>
                    <a:pt x="494" y="67"/>
                  </a:lnTo>
                  <a:lnTo>
                    <a:pt x="496" y="67"/>
                  </a:lnTo>
                  <a:close/>
                  <a:moveTo>
                    <a:pt x="295" y="64"/>
                  </a:moveTo>
                  <a:lnTo>
                    <a:pt x="297" y="64"/>
                  </a:lnTo>
                  <a:lnTo>
                    <a:pt x="295" y="64"/>
                  </a:lnTo>
                  <a:close/>
                  <a:moveTo>
                    <a:pt x="361" y="62"/>
                  </a:moveTo>
                  <a:lnTo>
                    <a:pt x="359" y="62"/>
                  </a:lnTo>
                  <a:lnTo>
                    <a:pt x="361" y="62"/>
                  </a:lnTo>
                  <a:close/>
                  <a:moveTo>
                    <a:pt x="499" y="62"/>
                  </a:moveTo>
                  <a:lnTo>
                    <a:pt x="496" y="62"/>
                  </a:lnTo>
                  <a:lnTo>
                    <a:pt x="499" y="62"/>
                  </a:lnTo>
                  <a:close/>
                  <a:moveTo>
                    <a:pt x="470" y="52"/>
                  </a:moveTo>
                  <a:lnTo>
                    <a:pt x="468" y="52"/>
                  </a:lnTo>
                  <a:lnTo>
                    <a:pt x="470" y="52"/>
                  </a:lnTo>
                  <a:close/>
                  <a:moveTo>
                    <a:pt x="299" y="52"/>
                  </a:moveTo>
                  <a:lnTo>
                    <a:pt x="297" y="52"/>
                  </a:lnTo>
                  <a:lnTo>
                    <a:pt x="299" y="52"/>
                  </a:lnTo>
                  <a:close/>
                  <a:moveTo>
                    <a:pt x="273" y="52"/>
                  </a:moveTo>
                  <a:lnTo>
                    <a:pt x="271" y="52"/>
                  </a:lnTo>
                  <a:lnTo>
                    <a:pt x="273" y="52"/>
                  </a:lnTo>
                  <a:close/>
                  <a:moveTo>
                    <a:pt x="207" y="50"/>
                  </a:moveTo>
                  <a:lnTo>
                    <a:pt x="204" y="50"/>
                  </a:lnTo>
                  <a:lnTo>
                    <a:pt x="207" y="50"/>
                  </a:lnTo>
                  <a:close/>
                  <a:moveTo>
                    <a:pt x="292" y="48"/>
                  </a:moveTo>
                  <a:lnTo>
                    <a:pt x="290" y="48"/>
                  </a:lnTo>
                  <a:lnTo>
                    <a:pt x="292" y="48"/>
                  </a:lnTo>
                  <a:close/>
                  <a:moveTo>
                    <a:pt x="304" y="48"/>
                  </a:moveTo>
                  <a:lnTo>
                    <a:pt x="302" y="48"/>
                  </a:lnTo>
                  <a:lnTo>
                    <a:pt x="304" y="48"/>
                  </a:lnTo>
                  <a:close/>
                  <a:moveTo>
                    <a:pt x="292" y="48"/>
                  </a:moveTo>
                  <a:lnTo>
                    <a:pt x="290" y="48"/>
                  </a:lnTo>
                  <a:lnTo>
                    <a:pt x="292" y="48"/>
                  </a:lnTo>
                  <a:close/>
                  <a:moveTo>
                    <a:pt x="461" y="43"/>
                  </a:moveTo>
                  <a:lnTo>
                    <a:pt x="461" y="40"/>
                  </a:lnTo>
                  <a:lnTo>
                    <a:pt x="461" y="43"/>
                  </a:lnTo>
                  <a:close/>
                  <a:moveTo>
                    <a:pt x="458" y="40"/>
                  </a:moveTo>
                  <a:lnTo>
                    <a:pt x="456" y="40"/>
                  </a:lnTo>
                  <a:lnTo>
                    <a:pt x="458" y="40"/>
                  </a:lnTo>
                  <a:close/>
                  <a:moveTo>
                    <a:pt x="233" y="38"/>
                  </a:moveTo>
                  <a:lnTo>
                    <a:pt x="230" y="38"/>
                  </a:lnTo>
                  <a:lnTo>
                    <a:pt x="233" y="38"/>
                  </a:lnTo>
                  <a:close/>
                  <a:moveTo>
                    <a:pt x="382" y="33"/>
                  </a:moveTo>
                  <a:lnTo>
                    <a:pt x="382" y="36"/>
                  </a:lnTo>
                  <a:lnTo>
                    <a:pt x="382" y="33"/>
                  </a:lnTo>
                  <a:close/>
                  <a:moveTo>
                    <a:pt x="382" y="33"/>
                  </a:moveTo>
                  <a:lnTo>
                    <a:pt x="382" y="36"/>
                  </a:lnTo>
                  <a:lnTo>
                    <a:pt x="382" y="33"/>
                  </a:lnTo>
                  <a:close/>
                  <a:moveTo>
                    <a:pt x="458" y="28"/>
                  </a:moveTo>
                  <a:lnTo>
                    <a:pt x="461" y="28"/>
                  </a:lnTo>
                  <a:lnTo>
                    <a:pt x="458" y="28"/>
                  </a:lnTo>
                  <a:close/>
                  <a:moveTo>
                    <a:pt x="465" y="26"/>
                  </a:moveTo>
                  <a:lnTo>
                    <a:pt x="463" y="26"/>
                  </a:lnTo>
                  <a:lnTo>
                    <a:pt x="465" y="26"/>
                  </a:lnTo>
                  <a:close/>
                  <a:moveTo>
                    <a:pt x="453" y="24"/>
                  </a:moveTo>
                  <a:lnTo>
                    <a:pt x="453" y="26"/>
                  </a:lnTo>
                  <a:lnTo>
                    <a:pt x="453" y="24"/>
                  </a:lnTo>
                  <a:close/>
                  <a:moveTo>
                    <a:pt x="332" y="24"/>
                  </a:moveTo>
                  <a:lnTo>
                    <a:pt x="330" y="24"/>
                  </a:lnTo>
                  <a:lnTo>
                    <a:pt x="332" y="24"/>
                  </a:lnTo>
                  <a:close/>
                  <a:moveTo>
                    <a:pt x="387" y="21"/>
                  </a:moveTo>
                  <a:lnTo>
                    <a:pt x="385" y="21"/>
                  </a:lnTo>
                  <a:lnTo>
                    <a:pt x="387" y="21"/>
                  </a:lnTo>
                  <a:close/>
                  <a:moveTo>
                    <a:pt x="589" y="17"/>
                  </a:moveTo>
                  <a:lnTo>
                    <a:pt x="586" y="17"/>
                  </a:lnTo>
                  <a:lnTo>
                    <a:pt x="589" y="17"/>
                  </a:lnTo>
                  <a:close/>
                  <a:moveTo>
                    <a:pt x="482" y="17"/>
                  </a:moveTo>
                  <a:lnTo>
                    <a:pt x="480" y="17"/>
                  </a:lnTo>
                  <a:lnTo>
                    <a:pt x="482" y="17"/>
                  </a:lnTo>
                  <a:close/>
                  <a:moveTo>
                    <a:pt x="631" y="14"/>
                  </a:moveTo>
                  <a:lnTo>
                    <a:pt x="629" y="14"/>
                  </a:lnTo>
                  <a:lnTo>
                    <a:pt x="631" y="14"/>
                  </a:lnTo>
                  <a:close/>
                  <a:moveTo>
                    <a:pt x="636" y="9"/>
                  </a:moveTo>
                  <a:lnTo>
                    <a:pt x="634" y="9"/>
                  </a:lnTo>
                  <a:lnTo>
                    <a:pt x="636" y="9"/>
                  </a:lnTo>
                  <a:close/>
                  <a:moveTo>
                    <a:pt x="669" y="7"/>
                  </a:moveTo>
                  <a:lnTo>
                    <a:pt x="667" y="7"/>
                  </a:lnTo>
                  <a:lnTo>
                    <a:pt x="669" y="7"/>
                  </a:lnTo>
                  <a:close/>
                  <a:moveTo>
                    <a:pt x="641" y="5"/>
                  </a:moveTo>
                  <a:lnTo>
                    <a:pt x="639" y="5"/>
                  </a:lnTo>
                  <a:lnTo>
                    <a:pt x="641" y="5"/>
                  </a:lnTo>
                  <a:close/>
                  <a:moveTo>
                    <a:pt x="553" y="2"/>
                  </a:moveTo>
                  <a:lnTo>
                    <a:pt x="556" y="2"/>
                  </a:lnTo>
                  <a:lnTo>
                    <a:pt x="553" y="2"/>
                  </a:lnTo>
                  <a:close/>
                  <a:moveTo>
                    <a:pt x="556" y="2"/>
                  </a:moveTo>
                  <a:lnTo>
                    <a:pt x="553" y="2"/>
                  </a:lnTo>
                  <a:lnTo>
                    <a:pt x="556" y="2"/>
                  </a:lnTo>
                  <a:close/>
                  <a:moveTo>
                    <a:pt x="658" y="0"/>
                  </a:moveTo>
                  <a:lnTo>
                    <a:pt x="655" y="0"/>
                  </a:lnTo>
                  <a:lnTo>
                    <a:pt x="658" y="0"/>
                  </a:lnTo>
                  <a:close/>
                  <a:moveTo>
                    <a:pt x="506" y="0"/>
                  </a:moveTo>
                  <a:lnTo>
                    <a:pt x="503" y="0"/>
                  </a:lnTo>
                  <a:lnTo>
                    <a:pt x="50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9" name="Freeform 55036"/>
            <p:cNvSpPr>
              <a:spLocks noEditPoints="1"/>
            </p:cNvSpPr>
            <p:nvPr/>
          </p:nvSpPr>
          <p:spPr bwMode="auto">
            <a:xfrm>
              <a:off x="2767011" y="4321189"/>
              <a:ext cx="523875" cy="455614"/>
            </a:xfrm>
            <a:custGeom>
              <a:avLst/>
              <a:gdLst>
                <a:gd name="T0" fmla="*/ 17 w 330"/>
                <a:gd name="T1" fmla="*/ 73 h 287"/>
                <a:gd name="T2" fmla="*/ 7 w 330"/>
                <a:gd name="T3" fmla="*/ 73 h 287"/>
                <a:gd name="T4" fmla="*/ 5 w 330"/>
                <a:gd name="T5" fmla="*/ 47 h 287"/>
                <a:gd name="T6" fmla="*/ 159 w 330"/>
                <a:gd name="T7" fmla="*/ 40 h 287"/>
                <a:gd name="T8" fmla="*/ 176 w 330"/>
                <a:gd name="T9" fmla="*/ 28 h 287"/>
                <a:gd name="T10" fmla="*/ 216 w 330"/>
                <a:gd name="T11" fmla="*/ 23 h 287"/>
                <a:gd name="T12" fmla="*/ 261 w 330"/>
                <a:gd name="T13" fmla="*/ 23 h 287"/>
                <a:gd name="T14" fmla="*/ 299 w 330"/>
                <a:gd name="T15" fmla="*/ 28 h 287"/>
                <a:gd name="T16" fmla="*/ 311 w 330"/>
                <a:gd name="T17" fmla="*/ 54 h 287"/>
                <a:gd name="T18" fmla="*/ 323 w 330"/>
                <a:gd name="T19" fmla="*/ 92 h 287"/>
                <a:gd name="T20" fmla="*/ 302 w 330"/>
                <a:gd name="T21" fmla="*/ 121 h 287"/>
                <a:gd name="T22" fmla="*/ 316 w 330"/>
                <a:gd name="T23" fmla="*/ 142 h 287"/>
                <a:gd name="T24" fmla="*/ 311 w 330"/>
                <a:gd name="T25" fmla="*/ 156 h 287"/>
                <a:gd name="T26" fmla="*/ 316 w 330"/>
                <a:gd name="T27" fmla="*/ 175 h 287"/>
                <a:gd name="T28" fmla="*/ 323 w 330"/>
                <a:gd name="T29" fmla="*/ 187 h 287"/>
                <a:gd name="T30" fmla="*/ 325 w 330"/>
                <a:gd name="T31" fmla="*/ 199 h 287"/>
                <a:gd name="T32" fmla="*/ 318 w 330"/>
                <a:gd name="T33" fmla="*/ 220 h 287"/>
                <a:gd name="T34" fmla="*/ 292 w 330"/>
                <a:gd name="T35" fmla="*/ 247 h 287"/>
                <a:gd name="T36" fmla="*/ 285 w 330"/>
                <a:gd name="T37" fmla="*/ 273 h 287"/>
                <a:gd name="T38" fmla="*/ 287 w 330"/>
                <a:gd name="T39" fmla="*/ 282 h 287"/>
                <a:gd name="T40" fmla="*/ 271 w 330"/>
                <a:gd name="T41" fmla="*/ 280 h 287"/>
                <a:gd name="T42" fmla="*/ 245 w 330"/>
                <a:gd name="T43" fmla="*/ 266 h 287"/>
                <a:gd name="T44" fmla="*/ 226 w 330"/>
                <a:gd name="T45" fmla="*/ 270 h 287"/>
                <a:gd name="T46" fmla="*/ 209 w 330"/>
                <a:gd name="T47" fmla="*/ 268 h 287"/>
                <a:gd name="T48" fmla="*/ 185 w 330"/>
                <a:gd name="T49" fmla="*/ 278 h 287"/>
                <a:gd name="T50" fmla="*/ 173 w 330"/>
                <a:gd name="T51" fmla="*/ 261 h 287"/>
                <a:gd name="T52" fmla="*/ 154 w 330"/>
                <a:gd name="T53" fmla="*/ 261 h 287"/>
                <a:gd name="T54" fmla="*/ 145 w 330"/>
                <a:gd name="T55" fmla="*/ 244 h 287"/>
                <a:gd name="T56" fmla="*/ 128 w 330"/>
                <a:gd name="T57" fmla="*/ 237 h 287"/>
                <a:gd name="T58" fmla="*/ 119 w 330"/>
                <a:gd name="T59" fmla="*/ 230 h 287"/>
                <a:gd name="T60" fmla="*/ 107 w 330"/>
                <a:gd name="T61" fmla="*/ 223 h 287"/>
                <a:gd name="T62" fmla="*/ 95 w 330"/>
                <a:gd name="T63" fmla="*/ 228 h 287"/>
                <a:gd name="T64" fmla="*/ 76 w 330"/>
                <a:gd name="T65" fmla="*/ 225 h 287"/>
                <a:gd name="T66" fmla="*/ 76 w 330"/>
                <a:gd name="T67" fmla="*/ 211 h 287"/>
                <a:gd name="T68" fmla="*/ 55 w 330"/>
                <a:gd name="T69" fmla="*/ 204 h 287"/>
                <a:gd name="T70" fmla="*/ 38 w 330"/>
                <a:gd name="T71" fmla="*/ 194 h 287"/>
                <a:gd name="T72" fmla="*/ 22 w 330"/>
                <a:gd name="T73" fmla="*/ 197 h 287"/>
                <a:gd name="T74" fmla="*/ 29 w 330"/>
                <a:gd name="T75" fmla="*/ 175 h 287"/>
                <a:gd name="T76" fmla="*/ 22 w 330"/>
                <a:gd name="T77" fmla="*/ 163 h 287"/>
                <a:gd name="T78" fmla="*/ 14 w 330"/>
                <a:gd name="T79" fmla="*/ 149 h 287"/>
                <a:gd name="T80" fmla="*/ 19 w 330"/>
                <a:gd name="T81" fmla="*/ 130 h 287"/>
                <a:gd name="T82" fmla="*/ 12 w 330"/>
                <a:gd name="T83" fmla="*/ 109 h 287"/>
                <a:gd name="T84" fmla="*/ 7 w 330"/>
                <a:gd name="T85" fmla="*/ 87 h 287"/>
                <a:gd name="T86" fmla="*/ 17 w 330"/>
                <a:gd name="T87" fmla="*/ 66 h 287"/>
                <a:gd name="T88" fmla="*/ 19 w 330"/>
                <a:gd name="T89" fmla="*/ 45 h 287"/>
                <a:gd name="T90" fmla="*/ 48 w 330"/>
                <a:gd name="T91" fmla="*/ 33 h 287"/>
                <a:gd name="T92" fmla="*/ 79 w 330"/>
                <a:gd name="T93" fmla="*/ 14 h 287"/>
                <a:gd name="T94" fmla="*/ 112 w 330"/>
                <a:gd name="T95" fmla="*/ 2 h 287"/>
                <a:gd name="T96" fmla="*/ 143 w 330"/>
                <a:gd name="T97" fmla="*/ 2 h 287"/>
                <a:gd name="T98" fmla="*/ 140 w 330"/>
                <a:gd name="T99" fmla="*/ 2 h 287"/>
                <a:gd name="T100" fmla="*/ 154 w 330"/>
                <a:gd name="T101" fmla="*/ 23 h 287"/>
                <a:gd name="T102" fmla="*/ 154 w 330"/>
                <a:gd name="T103" fmla="*/ 35 h 287"/>
                <a:gd name="T104" fmla="*/ 152 w 330"/>
                <a:gd name="T105" fmla="*/ 61 h 287"/>
                <a:gd name="T106" fmla="*/ 133 w 330"/>
                <a:gd name="T107" fmla="*/ 83 h 287"/>
                <a:gd name="T108" fmla="*/ 150 w 330"/>
                <a:gd name="T109" fmla="*/ 95 h 287"/>
                <a:gd name="T110" fmla="*/ 157 w 330"/>
                <a:gd name="T111" fmla="*/ 99 h 287"/>
                <a:gd name="T112" fmla="*/ 133 w 330"/>
                <a:gd name="T113" fmla="*/ 87 h 287"/>
                <a:gd name="T114" fmla="*/ 152 w 330"/>
                <a:gd name="T115" fmla="*/ 64 h 287"/>
                <a:gd name="T116" fmla="*/ 154 w 330"/>
                <a:gd name="T117" fmla="*/ 38 h 287"/>
                <a:gd name="T118" fmla="*/ 181 w 330"/>
                <a:gd name="T119" fmla="*/ 19 h 287"/>
                <a:gd name="T120" fmla="*/ 169 w 330"/>
                <a:gd name="T121" fmla="*/ 3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0" h="287">
                  <a:moveTo>
                    <a:pt x="5" y="54"/>
                  </a:moveTo>
                  <a:lnTo>
                    <a:pt x="7" y="54"/>
                  </a:lnTo>
                  <a:lnTo>
                    <a:pt x="7" y="57"/>
                  </a:lnTo>
                  <a:lnTo>
                    <a:pt x="10" y="57"/>
                  </a:lnTo>
                  <a:lnTo>
                    <a:pt x="12" y="57"/>
                  </a:lnTo>
                  <a:lnTo>
                    <a:pt x="12" y="59"/>
                  </a:lnTo>
                  <a:lnTo>
                    <a:pt x="14" y="59"/>
                  </a:lnTo>
                  <a:lnTo>
                    <a:pt x="14" y="61"/>
                  </a:lnTo>
                  <a:lnTo>
                    <a:pt x="14" y="64"/>
                  </a:lnTo>
                  <a:lnTo>
                    <a:pt x="17" y="64"/>
                  </a:lnTo>
                  <a:lnTo>
                    <a:pt x="17" y="66"/>
                  </a:lnTo>
                  <a:lnTo>
                    <a:pt x="17" y="68"/>
                  </a:lnTo>
                  <a:lnTo>
                    <a:pt x="14" y="68"/>
                  </a:lnTo>
                  <a:lnTo>
                    <a:pt x="14" y="71"/>
                  </a:lnTo>
                  <a:lnTo>
                    <a:pt x="17" y="71"/>
                  </a:lnTo>
                  <a:lnTo>
                    <a:pt x="17" y="73"/>
                  </a:lnTo>
                  <a:lnTo>
                    <a:pt x="14" y="73"/>
                  </a:lnTo>
                  <a:lnTo>
                    <a:pt x="12" y="73"/>
                  </a:lnTo>
                  <a:lnTo>
                    <a:pt x="14" y="73"/>
                  </a:lnTo>
                  <a:lnTo>
                    <a:pt x="12" y="73"/>
                  </a:lnTo>
                  <a:lnTo>
                    <a:pt x="12" y="76"/>
                  </a:lnTo>
                  <a:lnTo>
                    <a:pt x="12" y="78"/>
                  </a:lnTo>
                  <a:lnTo>
                    <a:pt x="12" y="80"/>
                  </a:lnTo>
                  <a:lnTo>
                    <a:pt x="10" y="80"/>
                  </a:lnTo>
                  <a:lnTo>
                    <a:pt x="10" y="83"/>
                  </a:lnTo>
                  <a:lnTo>
                    <a:pt x="7" y="85"/>
                  </a:lnTo>
                  <a:lnTo>
                    <a:pt x="7" y="83"/>
                  </a:lnTo>
                  <a:lnTo>
                    <a:pt x="7" y="80"/>
                  </a:lnTo>
                  <a:lnTo>
                    <a:pt x="10" y="80"/>
                  </a:lnTo>
                  <a:lnTo>
                    <a:pt x="10" y="78"/>
                  </a:lnTo>
                  <a:lnTo>
                    <a:pt x="10" y="76"/>
                  </a:lnTo>
                  <a:lnTo>
                    <a:pt x="7" y="73"/>
                  </a:lnTo>
                  <a:lnTo>
                    <a:pt x="10" y="73"/>
                  </a:lnTo>
                  <a:lnTo>
                    <a:pt x="7" y="73"/>
                  </a:lnTo>
                  <a:lnTo>
                    <a:pt x="7" y="71"/>
                  </a:lnTo>
                  <a:lnTo>
                    <a:pt x="7" y="68"/>
                  </a:lnTo>
                  <a:lnTo>
                    <a:pt x="7" y="66"/>
                  </a:lnTo>
                  <a:lnTo>
                    <a:pt x="5" y="66"/>
                  </a:lnTo>
                  <a:lnTo>
                    <a:pt x="5" y="64"/>
                  </a:lnTo>
                  <a:lnTo>
                    <a:pt x="5" y="61"/>
                  </a:lnTo>
                  <a:lnTo>
                    <a:pt x="5" y="59"/>
                  </a:lnTo>
                  <a:lnTo>
                    <a:pt x="5" y="57"/>
                  </a:lnTo>
                  <a:lnTo>
                    <a:pt x="5" y="54"/>
                  </a:lnTo>
                  <a:lnTo>
                    <a:pt x="5" y="57"/>
                  </a:lnTo>
                  <a:lnTo>
                    <a:pt x="5" y="54"/>
                  </a:lnTo>
                  <a:close/>
                  <a:moveTo>
                    <a:pt x="3" y="45"/>
                  </a:moveTo>
                  <a:lnTo>
                    <a:pt x="5" y="45"/>
                  </a:lnTo>
                  <a:lnTo>
                    <a:pt x="5" y="47"/>
                  </a:lnTo>
                  <a:lnTo>
                    <a:pt x="5" y="49"/>
                  </a:lnTo>
                  <a:lnTo>
                    <a:pt x="7" y="52"/>
                  </a:lnTo>
                  <a:lnTo>
                    <a:pt x="5" y="52"/>
                  </a:lnTo>
                  <a:lnTo>
                    <a:pt x="5" y="49"/>
                  </a:lnTo>
                  <a:lnTo>
                    <a:pt x="3" y="49"/>
                  </a:lnTo>
                  <a:lnTo>
                    <a:pt x="3" y="47"/>
                  </a:lnTo>
                  <a:lnTo>
                    <a:pt x="3" y="45"/>
                  </a:lnTo>
                  <a:close/>
                  <a:moveTo>
                    <a:pt x="164" y="40"/>
                  </a:moveTo>
                  <a:lnTo>
                    <a:pt x="162" y="40"/>
                  </a:lnTo>
                  <a:lnTo>
                    <a:pt x="162" y="38"/>
                  </a:lnTo>
                  <a:lnTo>
                    <a:pt x="162" y="40"/>
                  </a:lnTo>
                  <a:lnTo>
                    <a:pt x="159" y="40"/>
                  </a:lnTo>
                  <a:lnTo>
                    <a:pt x="159" y="42"/>
                  </a:lnTo>
                  <a:lnTo>
                    <a:pt x="157" y="42"/>
                  </a:lnTo>
                  <a:lnTo>
                    <a:pt x="159" y="42"/>
                  </a:lnTo>
                  <a:lnTo>
                    <a:pt x="159" y="40"/>
                  </a:lnTo>
                  <a:lnTo>
                    <a:pt x="162" y="40"/>
                  </a:lnTo>
                  <a:lnTo>
                    <a:pt x="164" y="40"/>
                  </a:lnTo>
                  <a:lnTo>
                    <a:pt x="164" y="38"/>
                  </a:lnTo>
                  <a:lnTo>
                    <a:pt x="166" y="38"/>
                  </a:lnTo>
                  <a:lnTo>
                    <a:pt x="166" y="35"/>
                  </a:lnTo>
                  <a:lnTo>
                    <a:pt x="169" y="35"/>
                  </a:lnTo>
                  <a:lnTo>
                    <a:pt x="169" y="33"/>
                  </a:lnTo>
                  <a:lnTo>
                    <a:pt x="171" y="33"/>
                  </a:lnTo>
                  <a:lnTo>
                    <a:pt x="171" y="30"/>
                  </a:lnTo>
                  <a:lnTo>
                    <a:pt x="171" y="28"/>
                  </a:lnTo>
                  <a:lnTo>
                    <a:pt x="169" y="28"/>
                  </a:lnTo>
                  <a:lnTo>
                    <a:pt x="171" y="28"/>
                  </a:lnTo>
                  <a:lnTo>
                    <a:pt x="173" y="28"/>
                  </a:lnTo>
                  <a:lnTo>
                    <a:pt x="173" y="30"/>
                  </a:lnTo>
                  <a:lnTo>
                    <a:pt x="173" y="28"/>
                  </a:lnTo>
                  <a:lnTo>
                    <a:pt x="176" y="28"/>
                  </a:lnTo>
                  <a:lnTo>
                    <a:pt x="176" y="26"/>
                  </a:lnTo>
                  <a:lnTo>
                    <a:pt x="178" y="26"/>
                  </a:lnTo>
                  <a:lnTo>
                    <a:pt x="178" y="23"/>
                  </a:lnTo>
                  <a:lnTo>
                    <a:pt x="181" y="23"/>
                  </a:lnTo>
                  <a:lnTo>
                    <a:pt x="183" y="23"/>
                  </a:lnTo>
                  <a:lnTo>
                    <a:pt x="183" y="21"/>
                  </a:lnTo>
                  <a:lnTo>
                    <a:pt x="185" y="21"/>
                  </a:lnTo>
                  <a:lnTo>
                    <a:pt x="185" y="19"/>
                  </a:lnTo>
                  <a:lnTo>
                    <a:pt x="188" y="19"/>
                  </a:lnTo>
                  <a:lnTo>
                    <a:pt x="190" y="19"/>
                  </a:lnTo>
                  <a:lnTo>
                    <a:pt x="195" y="21"/>
                  </a:lnTo>
                  <a:lnTo>
                    <a:pt x="200" y="21"/>
                  </a:lnTo>
                  <a:lnTo>
                    <a:pt x="202" y="21"/>
                  </a:lnTo>
                  <a:lnTo>
                    <a:pt x="207" y="21"/>
                  </a:lnTo>
                  <a:lnTo>
                    <a:pt x="214" y="23"/>
                  </a:lnTo>
                  <a:lnTo>
                    <a:pt x="216" y="23"/>
                  </a:lnTo>
                  <a:lnTo>
                    <a:pt x="219" y="23"/>
                  </a:lnTo>
                  <a:lnTo>
                    <a:pt x="221" y="23"/>
                  </a:lnTo>
                  <a:lnTo>
                    <a:pt x="228" y="23"/>
                  </a:lnTo>
                  <a:lnTo>
                    <a:pt x="230" y="23"/>
                  </a:lnTo>
                  <a:lnTo>
                    <a:pt x="233" y="23"/>
                  </a:lnTo>
                  <a:lnTo>
                    <a:pt x="235" y="26"/>
                  </a:lnTo>
                  <a:lnTo>
                    <a:pt x="238" y="26"/>
                  </a:lnTo>
                  <a:lnTo>
                    <a:pt x="240" y="26"/>
                  </a:lnTo>
                  <a:lnTo>
                    <a:pt x="242" y="26"/>
                  </a:lnTo>
                  <a:lnTo>
                    <a:pt x="245" y="26"/>
                  </a:lnTo>
                  <a:lnTo>
                    <a:pt x="247" y="26"/>
                  </a:lnTo>
                  <a:lnTo>
                    <a:pt x="252" y="26"/>
                  </a:lnTo>
                  <a:lnTo>
                    <a:pt x="257" y="26"/>
                  </a:lnTo>
                  <a:lnTo>
                    <a:pt x="259" y="26"/>
                  </a:lnTo>
                  <a:lnTo>
                    <a:pt x="259" y="23"/>
                  </a:lnTo>
                  <a:lnTo>
                    <a:pt x="261" y="23"/>
                  </a:lnTo>
                  <a:lnTo>
                    <a:pt x="264" y="23"/>
                  </a:lnTo>
                  <a:lnTo>
                    <a:pt x="266" y="23"/>
                  </a:lnTo>
                  <a:lnTo>
                    <a:pt x="271" y="23"/>
                  </a:lnTo>
                  <a:lnTo>
                    <a:pt x="273" y="23"/>
                  </a:lnTo>
                  <a:lnTo>
                    <a:pt x="280" y="23"/>
                  </a:lnTo>
                  <a:lnTo>
                    <a:pt x="283" y="23"/>
                  </a:lnTo>
                  <a:lnTo>
                    <a:pt x="285" y="23"/>
                  </a:lnTo>
                  <a:lnTo>
                    <a:pt x="287" y="21"/>
                  </a:lnTo>
                  <a:lnTo>
                    <a:pt x="290" y="21"/>
                  </a:lnTo>
                  <a:lnTo>
                    <a:pt x="292" y="21"/>
                  </a:lnTo>
                  <a:lnTo>
                    <a:pt x="292" y="23"/>
                  </a:lnTo>
                  <a:lnTo>
                    <a:pt x="294" y="23"/>
                  </a:lnTo>
                  <a:lnTo>
                    <a:pt x="294" y="26"/>
                  </a:lnTo>
                  <a:lnTo>
                    <a:pt x="297" y="26"/>
                  </a:lnTo>
                  <a:lnTo>
                    <a:pt x="299" y="26"/>
                  </a:lnTo>
                  <a:lnTo>
                    <a:pt x="299" y="28"/>
                  </a:lnTo>
                  <a:lnTo>
                    <a:pt x="302" y="28"/>
                  </a:lnTo>
                  <a:lnTo>
                    <a:pt x="304" y="28"/>
                  </a:lnTo>
                  <a:lnTo>
                    <a:pt x="304" y="30"/>
                  </a:lnTo>
                  <a:lnTo>
                    <a:pt x="306" y="30"/>
                  </a:lnTo>
                  <a:lnTo>
                    <a:pt x="306" y="33"/>
                  </a:lnTo>
                  <a:lnTo>
                    <a:pt x="309" y="33"/>
                  </a:lnTo>
                  <a:lnTo>
                    <a:pt x="309" y="35"/>
                  </a:lnTo>
                  <a:lnTo>
                    <a:pt x="309" y="38"/>
                  </a:lnTo>
                  <a:lnTo>
                    <a:pt x="309" y="40"/>
                  </a:lnTo>
                  <a:lnTo>
                    <a:pt x="309" y="42"/>
                  </a:lnTo>
                  <a:lnTo>
                    <a:pt x="309" y="45"/>
                  </a:lnTo>
                  <a:lnTo>
                    <a:pt x="309" y="47"/>
                  </a:lnTo>
                  <a:lnTo>
                    <a:pt x="309" y="49"/>
                  </a:lnTo>
                  <a:lnTo>
                    <a:pt x="311" y="49"/>
                  </a:lnTo>
                  <a:lnTo>
                    <a:pt x="311" y="52"/>
                  </a:lnTo>
                  <a:lnTo>
                    <a:pt x="311" y="54"/>
                  </a:lnTo>
                  <a:lnTo>
                    <a:pt x="311" y="57"/>
                  </a:lnTo>
                  <a:lnTo>
                    <a:pt x="313" y="61"/>
                  </a:lnTo>
                  <a:lnTo>
                    <a:pt x="313" y="64"/>
                  </a:lnTo>
                  <a:lnTo>
                    <a:pt x="313" y="66"/>
                  </a:lnTo>
                  <a:lnTo>
                    <a:pt x="316" y="68"/>
                  </a:lnTo>
                  <a:lnTo>
                    <a:pt x="316" y="71"/>
                  </a:lnTo>
                  <a:lnTo>
                    <a:pt x="318" y="76"/>
                  </a:lnTo>
                  <a:lnTo>
                    <a:pt x="321" y="80"/>
                  </a:lnTo>
                  <a:lnTo>
                    <a:pt x="321" y="83"/>
                  </a:lnTo>
                  <a:lnTo>
                    <a:pt x="323" y="83"/>
                  </a:lnTo>
                  <a:lnTo>
                    <a:pt x="323" y="85"/>
                  </a:lnTo>
                  <a:lnTo>
                    <a:pt x="321" y="85"/>
                  </a:lnTo>
                  <a:lnTo>
                    <a:pt x="321" y="87"/>
                  </a:lnTo>
                  <a:lnTo>
                    <a:pt x="323" y="87"/>
                  </a:lnTo>
                  <a:lnTo>
                    <a:pt x="323" y="90"/>
                  </a:lnTo>
                  <a:lnTo>
                    <a:pt x="323" y="92"/>
                  </a:lnTo>
                  <a:lnTo>
                    <a:pt x="323" y="95"/>
                  </a:lnTo>
                  <a:lnTo>
                    <a:pt x="323" y="97"/>
                  </a:lnTo>
                  <a:lnTo>
                    <a:pt x="323" y="99"/>
                  </a:lnTo>
                  <a:lnTo>
                    <a:pt x="323" y="102"/>
                  </a:lnTo>
                  <a:lnTo>
                    <a:pt x="323" y="106"/>
                  </a:lnTo>
                  <a:lnTo>
                    <a:pt x="321" y="106"/>
                  </a:lnTo>
                  <a:lnTo>
                    <a:pt x="318" y="109"/>
                  </a:lnTo>
                  <a:lnTo>
                    <a:pt x="316" y="111"/>
                  </a:lnTo>
                  <a:lnTo>
                    <a:pt x="313" y="111"/>
                  </a:lnTo>
                  <a:lnTo>
                    <a:pt x="311" y="111"/>
                  </a:lnTo>
                  <a:lnTo>
                    <a:pt x="309" y="114"/>
                  </a:lnTo>
                  <a:lnTo>
                    <a:pt x="306" y="114"/>
                  </a:lnTo>
                  <a:lnTo>
                    <a:pt x="306" y="116"/>
                  </a:lnTo>
                  <a:lnTo>
                    <a:pt x="304" y="118"/>
                  </a:lnTo>
                  <a:lnTo>
                    <a:pt x="304" y="121"/>
                  </a:lnTo>
                  <a:lnTo>
                    <a:pt x="302" y="121"/>
                  </a:lnTo>
                  <a:lnTo>
                    <a:pt x="299" y="123"/>
                  </a:lnTo>
                  <a:lnTo>
                    <a:pt x="299" y="125"/>
                  </a:lnTo>
                  <a:lnTo>
                    <a:pt x="299" y="128"/>
                  </a:lnTo>
                  <a:lnTo>
                    <a:pt x="299" y="130"/>
                  </a:lnTo>
                  <a:lnTo>
                    <a:pt x="302" y="130"/>
                  </a:lnTo>
                  <a:lnTo>
                    <a:pt x="304" y="130"/>
                  </a:lnTo>
                  <a:lnTo>
                    <a:pt x="306" y="130"/>
                  </a:lnTo>
                  <a:lnTo>
                    <a:pt x="306" y="133"/>
                  </a:lnTo>
                  <a:lnTo>
                    <a:pt x="309" y="133"/>
                  </a:lnTo>
                  <a:lnTo>
                    <a:pt x="309" y="135"/>
                  </a:lnTo>
                  <a:lnTo>
                    <a:pt x="311" y="135"/>
                  </a:lnTo>
                  <a:lnTo>
                    <a:pt x="313" y="135"/>
                  </a:lnTo>
                  <a:lnTo>
                    <a:pt x="313" y="137"/>
                  </a:lnTo>
                  <a:lnTo>
                    <a:pt x="313" y="140"/>
                  </a:lnTo>
                  <a:lnTo>
                    <a:pt x="316" y="140"/>
                  </a:lnTo>
                  <a:lnTo>
                    <a:pt x="316" y="142"/>
                  </a:lnTo>
                  <a:lnTo>
                    <a:pt x="313" y="142"/>
                  </a:lnTo>
                  <a:lnTo>
                    <a:pt x="313" y="144"/>
                  </a:lnTo>
                  <a:lnTo>
                    <a:pt x="313" y="147"/>
                  </a:lnTo>
                  <a:lnTo>
                    <a:pt x="313" y="149"/>
                  </a:lnTo>
                  <a:lnTo>
                    <a:pt x="311" y="149"/>
                  </a:lnTo>
                  <a:lnTo>
                    <a:pt x="313" y="149"/>
                  </a:lnTo>
                  <a:lnTo>
                    <a:pt x="311" y="149"/>
                  </a:lnTo>
                  <a:lnTo>
                    <a:pt x="313" y="149"/>
                  </a:lnTo>
                  <a:lnTo>
                    <a:pt x="313" y="152"/>
                  </a:lnTo>
                  <a:lnTo>
                    <a:pt x="311" y="152"/>
                  </a:lnTo>
                  <a:lnTo>
                    <a:pt x="311" y="154"/>
                  </a:lnTo>
                  <a:lnTo>
                    <a:pt x="311" y="152"/>
                  </a:lnTo>
                  <a:lnTo>
                    <a:pt x="311" y="154"/>
                  </a:lnTo>
                  <a:lnTo>
                    <a:pt x="309" y="154"/>
                  </a:lnTo>
                  <a:lnTo>
                    <a:pt x="311" y="154"/>
                  </a:lnTo>
                  <a:lnTo>
                    <a:pt x="311" y="156"/>
                  </a:lnTo>
                  <a:lnTo>
                    <a:pt x="311" y="159"/>
                  </a:lnTo>
                  <a:lnTo>
                    <a:pt x="311" y="161"/>
                  </a:lnTo>
                  <a:lnTo>
                    <a:pt x="311" y="163"/>
                  </a:lnTo>
                  <a:lnTo>
                    <a:pt x="313" y="163"/>
                  </a:lnTo>
                  <a:lnTo>
                    <a:pt x="313" y="166"/>
                  </a:lnTo>
                  <a:lnTo>
                    <a:pt x="316" y="166"/>
                  </a:lnTo>
                  <a:lnTo>
                    <a:pt x="313" y="166"/>
                  </a:lnTo>
                  <a:lnTo>
                    <a:pt x="313" y="168"/>
                  </a:lnTo>
                  <a:lnTo>
                    <a:pt x="316" y="168"/>
                  </a:lnTo>
                  <a:lnTo>
                    <a:pt x="316" y="171"/>
                  </a:lnTo>
                  <a:lnTo>
                    <a:pt x="316" y="168"/>
                  </a:lnTo>
                  <a:lnTo>
                    <a:pt x="316" y="171"/>
                  </a:lnTo>
                  <a:lnTo>
                    <a:pt x="316" y="173"/>
                  </a:lnTo>
                  <a:lnTo>
                    <a:pt x="313" y="173"/>
                  </a:lnTo>
                  <a:lnTo>
                    <a:pt x="313" y="175"/>
                  </a:lnTo>
                  <a:lnTo>
                    <a:pt x="316" y="175"/>
                  </a:lnTo>
                  <a:lnTo>
                    <a:pt x="316" y="178"/>
                  </a:lnTo>
                  <a:lnTo>
                    <a:pt x="316" y="175"/>
                  </a:lnTo>
                  <a:lnTo>
                    <a:pt x="316" y="178"/>
                  </a:lnTo>
                  <a:lnTo>
                    <a:pt x="316" y="180"/>
                  </a:lnTo>
                  <a:lnTo>
                    <a:pt x="318" y="180"/>
                  </a:lnTo>
                  <a:lnTo>
                    <a:pt x="318" y="182"/>
                  </a:lnTo>
                  <a:lnTo>
                    <a:pt x="321" y="182"/>
                  </a:lnTo>
                  <a:lnTo>
                    <a:pt x="321" y="185"/>
                  </a:lnTo>
                  <a:lnTo>
                    <a:pt x="321" y="182"/>
                  </a:lnTo>
                  <a:lnTo>
                    <a:pt x="321" y="185"/>
                  </a:lnTo>
                  <a:lnTo>
                    <a:pt x="321" y="182"/>
                  </a:lnTo>
                  <a:lnTo>
                    <a:pt x="321" y="185"/>
                  </a:lnTo>
                  <a:lnTo>
                    <a:pt x="321" y="187"/>
                  </a:lnTo>
                  <a:lnTo>
                    <a:pt x="321" y="185"/>
                  </a:lnTo>
                  <a:lnTo>
                    <a:pt x="321" y="187"/>
                  </a:lnTo>
                  <a:lnTo>
                    <a:pt x="323" y="187"/>
                  </a:lnTo>
                  <a:lnTo>
                    <a:pt x="323" y="190"/>
                  </a:lnTo>
                  <a:lnTo>
                    <a:pt x="325" y="192"/>
                  </a:lnTo>
                  <a:lnTo>
                    <a:pt x="325" y="194"/>
                  </a:lnTo>
                  <a:lnTo>
                    <a:pt x="328" y="194"/>
                  </a:lnTo>
                  <a:lnTo>
                    <a:pt x="328" y="197"/>
                  </a:lnTo>
                  <a:lnTo>
                    <a:pt x="330" y="197"/>
                  </a:lnTo>
                  <a:lnTo>
                    <a:pt x="330" y="199"/>
                  </a:lnTo>
                  <a:lnTo>
                    <a:pt x="328" y="199"/>
                  </a:lnTo>
                  <a:lnTo>
                    <a:pt x="328" y="197"/>
                  </a:lnTo>
                  <a:lnTo>
                    <a:pt x="325" y="199"/>
                  </a:lnTo>
                  <a:lnTo>
                    <a:pt x="325" y="197"/>
                  </a:lnTo>
                  <a:lnTo>
                    <a:pt x="325" y="199"/>
                  </a:lnTo>
                  <a:lnTo>
                    <a:pt x="325" y="197"/>
                  </a:lnTo>
                  <a:lnTo>
                    <a:pt x="325" y="199"/>
                  </a:lnTo>
                  <a:lnTo>
                    <a:pt x="325" y="197"/>
                  </a:lnTo>
                  <a:lnTo>
                    <a:pt x="325" y="199"/>
                  </a:lnTo>
                  <a:lnTo>
                    <a:pt x="325" y="197"/>
                  </a:lnTo>
                  <a:lnTo>
                    <a:pt x="325" y="199"/>
                  </a:lnTo>
                  <a:lnTo>
                    <a:pt x="323" y="199"/>
                  </a:lnTo>
                  <a:lnTo>
                    <a:pt x="325" y="201"/>
                  </a:lnTo>
                  <a:lnTo>
                    <a:pt x="325" y="204"/>
                  </a:lnTo>
                  <a:lnTo>
                    <a:pt x="328" y="204"/>
                  </a:lnTo>
                  <a:lnTo>
                    <a:pt x="328" y="206"/>
                  </a:lnTo>
                  <a:lnTo>
                    <a:pt x="328" y="209"/>
                  </a:lnTo>
                  <a:lnTo>
                    <a:pt x="328" y="211"/>
                  </a:lnTo>
                  <a:lnTo>
                    <a:pt x="328" y="213"/>
                  </a:lnTo>
                  <a:lnTo>
                    <a:pt x="328" y="216"/>
                  </a:lnTo>
                  <a:lnTo>
                    <a:pt x="328" y="218"/>
                  </a:lnTo>
                  <a:lnTo>
                    <a:pt x="325" y="218"/>
                  </a:lnTo>
                  <a:lnTo>
                    <a:pt x="323" y="218"/>
                  </a:lnTo>
                  <a:lnTo>
                    <a:pt x="318" y="218"/>
                  </a:lnTo>
                  <a:lnTo>
                    <a:pt x="318" y="220"/>
                  </a:lnTo>
                  <a:lnTo>
                    <a:pt x="316" y="220"/>
                  </a:lnTo>
                  <a:lnTo>
                    <a:pt x="316" y="223"/>
                  </a:lnTo>
                  <a:lnTo>
                    <a:pt x="313" y="223"/>
                  </a:lnTo>
                  <a:lnTo>
                    <a:pt x="313" y="225"/>
                  </a:lnTo>
                  <a:lnTo>
                    <a:pt x="311" y="225"/>
                  </a:lnTo>
                  <a:lnTo>
                    <a:pt x="311" y="228"/>
                  </a:lnTo>
                  <a:lnTo>
                    <a:pt x="309" y="228"/>
                  </a:lnTo>
                  <a:lnTo>
                    <a:pt x="306" y="230"/>
                  </a:lnTo>
                  <a:lnTo>
                    <a:pt x="304" y="232"/>
                  </a:lnTo>
                  <a:lnTo>
                    <a:pt x="302" y="235"/>
                  </a:lnTo>
                  <a:lnTo>
                    <a:pt x="299" y="237"/>
                  </a:lnTo>
                  <a:lnTo>
                    <a:pt x="297" y="239"/>
                  </a:lnTo>
                  <a:lnTo>
                    <a:pt x="297" y="242"/>
                  </a:lnTo>
                  <a:lnTo>
                    <a:pt x="294" y="242"/>
                  </a:lnTo>
                  <a:lnTo>
                    <a:pt x="294" y="244"/>
                  </a:lnTo>
                  <a:lnTo>
                    <a:pt x="292" y="247"/>
                  </a:lnTo>
                  <a:lnTo>
                    <a:pt x="292" y="249"/>
                  </a:lnTo>
                  <a:lnTo>
                    <a:pt x="290" y="249"/>
                  </a:lnTo>
                  <a:lnTo>
                    <a:pt x="290" y="251"/>
                  </a:lnTo>
                  <a:lnTo>
                    <a:pt x="287" y="251"/>
                  </a:lnTo>
                  <a:lnTo>
                    <a:pt x="287" y="254"/>
                  </a:lnTo>
                  <a:lnTo>
                    <a:pt x="285" y="254"/>
                  </a:lnTo>
                  <a:lnTo>
                    <a:pt x="285" y="256"/>
                  </a:lnTo>
                  <a:lnTo>
                    <a:pt x="283" y="258"/>
                  </a:lnTo>
                  <a:lnTo>
                    <a:pt x="283" y="261"/>
                  </a:lnTo>
                  <a:lnTo>
                    <a:pt x="280" y="261"/>
                  </a:lnTo>
                  <a:lnTo>
                    <a:pt x="280" y="263"/>
                  </a:lnTo>
                  <a:lnTo>
                    <a:pt x="283" y="263"/>
                  </a:lnTo>
                  <a:lnTo>
                    <a:pt x="283" y="266"/>
                  </a:lnTo>
                  <a:lnTo>
                    <a:pt x="285" y="268"/>
                  </a:lnTo>
                  <a:lnTo>
                    <a:pt x="285" y="270"/>
                  </a:lnTo>
                  <a:lnTo>
                    <a:pt x="285" y="273"/>
                  </a:lnTo>
                  <a:lnTo>
                    <a:pt x="283" y="275"/>
                  </a:lnTo>
                  <a:lnTo>
                    <a:pt x="283" y="278"/>
                  </a:lnTo>
                  <a:lnTo>
                    <a:pt x="285" y="278"/>
                  </a:lnTo>
                  <a:lnTo>
                    <a:pt x="283" y="278"/>
                  </a:lnTo>
                  <a:lnTo>
                    <a:pt x="283" y="280"/>
                  </a:lnTo>
                  <a:lnTo>
                    <a:pt x="283" y="278"/>
                  </a:lnTo>
                  <a:lnTo>
                    <a:pt x="285" y="278"/>
                  </a:lnTo>
                  <a:lnTo>
                    <a:pt x="285" y="280"/>
                  </a:lnTo>
                  <a:lnTo>
                    <a:pt x="283" y="280"/>
                  </a:lnTo>
                  <a:lnTo>
                    <a:pt x="285" y="280"/>
                  </a:lnTo>
                  <a:lnTo>
                    <a:pt x="287" y="280"/>
                  </a:lnTo>
                  <a:lnTo>
                    <a:pt x="287" y="282"/>
                  </a:lnTo>
                  <a:lnTo>
                    <a:pt x="287" y="280"/>
                  </a:lnTo>
                  <a:lnTo>
                    <a:pt x="287" y="282"/>
                  </a:lnTo>
                  <a:lnTo>
                    <a:pt x="290" y="282"/>
                  </a:lnTo>
                  <a:lnTo>
                    <a:pt x="287" y="282"/>
                  </a:lnTo>
                  <a:lnTo>
                    <a:pt x="290" y="282"/>
                  </a:lnTo>
                  <a:lnTo>
                    <a:pt x="287" y="282"/>
                  </a:lnTo>
                  <a:lnTo>
                    <a:pt x="287" y="285"/>
                  </a:lnTo>
                  <a:lnTo>
                    <a:pt x="287" y="287"/>
                  </a:lnTo>
                  <a:lnTo>
                    <a:pt x="290" y="287"/>
                  </a:lnTo>
                  <a:lnTo>
                    <a:pt x="287" y="287"/>
                  </a:lnTo>
                  <a:lnTo>
                    <a:pt x="287" y="285"/>
                  </a:lnTo>
                  <a:lnTo>
                    <a:pt x="285" y="285"/>
                  </a:lnTo>
                  <a:lnTo>
                    <a:pt x="283" y="285"/>
                  </a:lnTo>
                  <a:lnTo>
                    <a:pt x="280" y="285"/>
                  </a:lnTo>
                  <a:lnTo>
                    <a:pt x="280" y="282"/>
                  </a:lnTo>
                  <a:lnTo>
                    <a:pt x="278" y="282"/>
                  </a:lnTo>
                  <a:lnTo>
                    <a:pt x="275" y="282"/>
                  </a:lnTo>
                  <a:lnTo>
                    <a:pt x="273" y="282"/>
                  </a:lnTo>
                  <a:lnTo>
                    <a:pt x="273" y="280"/>
                  </a:lnTo>
                  <a:lnTo>
                    <a:pt x="271" y="280"/>
                  </a:lnTo>
                  <a:lnTo>
                    <a:pt x="268" y="280"/>
                  </a:lnTo>
                  <a:lnTo>
                    <a:pt x="266" y="280"/>
                  </a:lnTo>
                  <a:lnTo>
                    <a:pt x="266" y="278"/>
                  </a:lnTo>
                  <a:lnTo>
                    <a:pt x="264" y="278"/>
                  </a:lnTo>
                  <a:lnTo>
                    <a:pt x="261" y="278"/>
                  </a:lnTo>
                  <a:lnTo>
                    <a:pt x="261" y="275"/>
                  </a:lnTo>
                  <a:lnTo>
                    <a:pt x="261" y="273"/>
                  </a:lnTo>
                  <a:lnTo>
                    <a:pt x="259" y="273"/>
                  </a:lnTo>
                  <a:lnTo>
                    <a:pt x="259" y="270"/>
                  </a:lnTo>
                  <a:lnTo>
                    <a:pt x="257" y="270"/>
                  </a:lnTo>
                  <a:lnTo>
                    <a:pt x="254" y="268"/>
                  </a:lnTo>
                  <a:lnTo>
                    <a:pt x="252" y="270"/>
                  </a:lnTo>
                  <a:lnTo>
                    <a:pt x="252" y="268"/>
                  </a:lnTo>
                  <a:lnTo>
                    <a:pt x="249" y="268"/>
                  </a:lnTo>
                  <a:lnTo>
                    <a:pt x="247" y="266"/>
                  </a:lnTo>
                  <a:lnTo>
                    <a:pt x="245" y="266"/>
                  </a:lnTo>
                  <a:lnTo>
                    <a:pt x="245" y="268"/>
                  </a:lnTo>
                  <a:lnTo>
                    <a:pt x="242" y="266"/>
                  </a:lnTo>
                  <a:lnTo>
                    <a:pt x="242" y="268"/>
                  </a:lnTo>
                  <a:lnTo>
                    <a:pt x="240" y="268"/>
                  </a:lnTo>
                  <a:lnTo>
                    <a:pt x="240" y="266"/>
                  </a:lnTo>
                  <a:lnTo>
                    <a:pt x="238" y="266"/>
                  </a:lnTo>
                  <a:lnTo>
                    <a:pt x="235" y="266"/>
                  </a:lnTo>
                  <a:lnTo>
                    <a:pt x="233" y="266"/>
                  </a:lnTo>
                  <a:lnTo>
                    <a:pt x="233" y="268"/>
                  </a:lnTo>
                  <a:lnTo>
                    <a:pt x="230" y="266"/>
                  </a:lnTo>
                  <a:lnTo>
                    <a:pt x="228" y="266"/>
                  </a:lnTo>
                  <a:lnTo>
                    <a:pt x="228" y="268"/>
                  </a:lnTo>
                  <a:lnTo>
                    <a:pt x="230" y="268"/>
                  </a:lnTo>
                  <a:lnTo>
                    <a:pt x="230" y="270"/>
                  </a:lnTo>
                  <a:lnTo>
                    <a:pt x="228" y="270"/>
                  </a:lnTo>
                  <a:lnTo>
                    <a:pt x="226" y="270"/>
                  </a:lnTo>
                  <a:lnTo>
                    <a:pt x="226" y="273"/>
                  </a:lnTo>
                  <a:lnTo>
                    <a:pt x="223" y="273"/>
                  </a:lnTo>
                  <a:lnTo>
                    <a:pt x="223" y="270"/>
                  </a:lnTo>
                  <a:lnTo>
                    <a:pt x="223" y="273"/>
                  </a:lnTo>
                  <a:lnTo>
                    <a:pt x="223" y="270"/>
                  </a:lnTo>
                  <a:lnTo>
                    <a:pt x="221" y="270"/>
                  </a:lnTo>
                  <a:lnTo>
                    <a:pt x="219" y="270"/>
                  </a:lnTo>
                  <a:lnTo>
                    <a:pt x="221" y="270"/>
                  </a:lnTo>
                  <a:lnTo>
                    <a:pt x="219" y="270"/>
                  </a:lnTo>
                  <a:lnTo>
                    <a:pt x="219" y="268"/>
                  </a:lnTo>
                  <a:lnTo>
                    <a:pt x="219" y="270"/>
                  </a:lnTo>
                  <a:lnTo>
                    <a:pt x="219" y="268"/>
                  </a:lnTo>
                  <a:lnTo>
                    <a:pt x="216" y="268"/>
                  </a:lnTo>
                  <a:lnTo>
                    <a:pt x="214" y="268"/>
                  </a:lnTo>
                  <a:lnTo>
                    <a:pt x="211" y="268"/>
                  </a:lnTo>
                  <a:lnTo>
                    <a:pt x="209" y="268"/>
                  </a:lnTo>
                  <a:lnTo>
                    <a:pt x="207" y="268"/>
                  </a:lnTo>
                  <a:lnTo>
                    <a:pt x="204" y="268"/>
                  </a:lnTo>
                  <a:lnTo>
                    <a:pt x="204" y="270"/>
                  </a:lnTo>
                  <a:lnTo>
                    <a:pt x="202" y="270"/>
                  </a:lnTo>
                  <a:lnTo>
                    <a:pt x="200" y="270"/>
                  </a:lnTo>
                  <a:lnTo>
                    <a:pt x="200" y="273"/>
                  </a:lnTo>
                  <a:lnTo>
                    <a:pt x="197" y="273"/>
                  </a:lnTo>
                  <a:lnTo>
                    <a:pt x="197" y="275"/>
                  </a:lnTo>
                  <a:lnTo>
                    <a:pt x="197" y="278"/>
                  </a:lnTo>
                  <a:lnTo>
                    <a:pt x="195" y="278"/>
                  </a:lnTo>
                  <a:lnTo>
                    <a:pt x="192" y="278"/>
                  </a:lnTo>
                  <a:lnTo>
                    <a:pt x="192" y="275"/>
                  </a:lnTo>
                  <a:lnTo>
                    <a:pt x="190" y="275"/>
                  </a:lnTo>
                  <a:lnTo>
                    <a:pt x="190" y="278"/>
                  </a:lnTo>
                  <a:lnTo>
                    <a:pt x="188" y="278"/>
                  </a:lnTo>
                  <a:lnTo>
                    <a:pt x="185" y="278"/>
                  </a:lnTo>
                  <a:lnTo>
                    <a:pt x="185" y="275"/>
                  </a:lnTo>
                  <a:lnTo>
                    <a:pt x="188" y="275"/>
                  </a:lnTo>
                  <a:lnTo>
                    <a:pt x="188" y="273"/>
                  </a:lnTo>
                  <a:lnTo>
                    <a:pt x="188" y="270"/>
                  </a:lnTo>
                  <a:lnTo>
                    <a:pt x="188" y="268"/>
                  </a:lnTo>
                  <a:lnTo>
                    <a:pt x="185" y="268"/>
                  </a:lnTo>
                  <a:lnTo>
                    <a:pt x="183" y="268"/>
                  </a:lnTo>
                  <a:lnTo>
                    <a:pt x="181" y="268"/>
                  </a:lnTo>
                  <a:lnTo>
                    <a:pt x="183" y="266"/>
                  </a:lnTo>
                  <a:lnTo>
                    <a:pt x="181" y="266"/>
                  </a:lnTo>
                  <a:lnTo>
                    <a:pt x="178" y="263"/>
                  </a:lnTo>
                  <a:lnTo>
                    <a:pt x="178" y="261"/>
                  </a:lnTo>
                  <a:lnTo>
                    <a:pt x="178" y="258"/>
                  </a:lnTo>
                  <a:lnTo>
                    <a:pt x="176" y="258"/>
                  </a:lnTo>
                  <a:lnTo>
                    <a:pt x="173" y="258"/>
                  </a:lnTo>
                  <a:lnTo>
                    <a:pt x="173" y="261"/>
                  </a:lnTo>
                  <a:lnTo>
                    <a:pt x="171" y="261"/>
                  </a:lnTo>
                  <a:lnTo>
                    <a:pt x="169" y="261"/>
                  </a:lnTo>
                  <a:lnTo>
                    <a:pt x="169" y="263"/>
                  </a:lnTo>
                  <a:lnTo>
                    <a:pt x="169" y="266"/>
                  </a:lnTo>
                  <a:lnTo>
                    <a:pt x="166" y="266"/>
                  </a:lnTo>
                  <a:lnTo>
                    <a:pt x="166" y="268"/>
                  </a:lnTo>
                  <a:lnTo>
                    <a:pt x="164" y="268"/>
                  </a:lnTo>
                  <a:lnTo>
                    <a:pt x="162" y="268"/>
                  </a:lnTo>
                  <a:lnTo>
                    <a:pt x="159" y="268"/>
                  </a:lnTo>
                  <a:lnTo>
                    <a:pt x="159" y="266"/>
                  </a:lnTo>
                  <a:lnTo>
                    <a:pt x="159" y="263"/>
                  </a:lnTo>
                  <a:lnTo>
                    <a:pt x="159" y="261"/>
                  </a:lnTo>
                  <a:lnTo>
                    <a:pt x="157" y="261"/>
                  </a:lnTo>
                  <a:lnTo>
                    <a:pt x="157" y="263"/>
                  </a:lnTo>
                  <a:lnTo>
                    <a:pt x="157" y="261"/>
                  </a:lnTo>
                  <a:lnTo>
                    <a:pt x="154" y="261"/>
                  </a:lnTo>
                  <a:lnTo>
                    <a:pt x="157" y="261"/>
                  </a:lnTo>
                  <a:lnTo>
                    <a:pt x="154" y="261"/>
                  </a:lnTo>
                  <a:lnTo>
                    <a:pt x="154" y="258"/>
                  </a:lnTo>
                  <a:lnTo>
                    <a:pt x="154" y="256"/>
                  </a:lnTo>
                  <a:lnTo>
                    <a:pt x="154" y="254"/>
                  </a:lnTo>
                  <a:lnTo>
                    <a:pt x="152" y="254"/>
                  </a:lnTo>
                  <a:lnTo>
                    <a:pt x="150" y="254"/>
                  </a:lnTo>
                  <a:lnTo>
                    <a:pt x="147" y="251"/>
                  </a:lnTo>
                  <a:lnTo>
                    <a:pt x="147" y="249"/>
                  </a:lnTo>
                  <a:lnTo>
                    <a:pt x="147" y="247"/>
                  </a:lnTo>
                  <a:lnTo>
                    <a:pt x="147" y="244"/>
                  </a:lnTo>
                  <a:lnTo>
                    <a:pt x="145" y="244"/>
                  </a:lnTo>
                  <a:lnTo>
                    <a:pt x="147" y="244"/>
                  </a:lnTo>
                  <a:lnTo>
                    <a:pt x="147" y="242"/>
                  </a:lnTo>
                  <a:lnTo>
                    <a:pt x="145" y="242"/>
                  </a:lnTo>
                  <a:lnTo>
                    <a:pt x="145" y="244"/>
                  </a:lnTo>
                  <a:lnTo>
                    <a:pt x="143" y="244"/>
                  </a:lnTo>
                  <a:lnTo>
                    <a:pt x="143" y="242"/>
                  </a:lnTo>
                  <a:lnTo>
                    <a:pt x="140" y="242"/>
                  </a:lnTo>
                  <a:lnTo>
                    <a:pt x="138" y="242"/>
                  </a:lnTo>
                  <a:lnTo>
                    <a:pt x="140" y="242"/>
                  </a:lnTo>
                  <a:lnTo>
                    <a:pt x="138" y="242"/>
                  </a:lnTo>
                  <a:lnTo>
                    <a:pt x="138" y="239"/>
                  </a:lnTo>
                  <a:lnTo>
                    <a:pt x="135" y="239"/>
                  </a:lnTo>
                  <a:lnTo>
                    <a:pt x="133" y="239"/>
                  </a:lnTo>
                  <a:lnTo>
                    <a:pt x="131" y="239"/>
                  </a:lnTo>
                  <a:lnTo>
                    <a:pt x="131" y="237"/>
                  </a:lnTo>
                  <a:lnTo>
                    <a:pt x="128" y="237"/>
                  </a:lnTo>
                  <a:lnTo>
                    <a:pt x="128" y="235"/>
                  </a:lnTo>
                  <a:lnTo>
                    <a:pt x="128" y="237"/>
                  </a:lnTo>
                  <a:lnTo>
                    <a:pt x="128" y="239"/>
                  </a:lnTo>
                  <a:lnTo>
                    <a:pt x="128" y="237"/>
                  </a:lnTo>
                  <a:lnTo>
                    <a:pt x="126" y="237"/>
                  </a:lnTo>
                  <a:lnTo>
                    <a:pt x="126" y="239"/>
                  </a:lnTo>
                  <a:lnTo>
                    <a:pt x="124" y="239"/>
                  </a:lnTo>
                  <a:lnTo>
                    <a:pt x="121" y="239"/>
                  </a:lnTo>
                  <a:lnTo>
                    <a:pt x="121" y="237"/>
                  </a:lnTo>
                  <a:lnTo>
                    <a:pt x="119" y="237"/>
                  </a:lnTo>
                  <a:lnTo>
                    <a:pt x="121" y="237"/>
                  </a:lnTo>
                  <a:lnTo>
                    <a:pt x="119" y="237"/>
                  </a:lnTo>
                  <a:lnTo>
                    <a:pt x="119" y="235"/>
                  </a:lnTo>
                  <a:lnTo>
                    <a:pt x="117" y="232"/>
                  </a:lnTo>
                  <a:lnTo>
                    <a:pt x="117" y="235"/>
                  </a:lnTo>
                  <a:lnTo>
                    <a:pt x="117" y="232"/>
                  </a:lnTo>
                  <a:lnTo>
                    <a:pt x="114" y="232"/>
                  </a:lnTo>
                  <a:lnTo>
                    <a:pt x="114" y="230"/>
                  </a:lnTo>
                  <a:lnTo>
                    <a:pt x="117" y="230"/>
                  </a:lnTo>
                  <a:lnTo>
                    <a:pt x="119" y="230"/>
                  </a:lnTo>
                  <a:lnTo>
                    <a:pt x="119" y="228"/>
                  </a:lnTo>
                  <a:lnTo>
                    <a:pt x="119" y="230"/>
                  </a:lnTo>
                  <a:lnTo>
                    <a:pt x="119" y="228"/>
                  </a:lnTo>
                  <a:lnTo>
                    <a:pt x="119" y="225"/>
                  </a:lnTo>
                  <a:lnTo>
                    <a:pt x="119" y="223"/>
                  </a:lnTo>
                  <a:lnTo>
                    <a:pt x="117" y="223"/>
                  </a:lnTo>
                  <a:lnTo>
                    <a:pt x="117" y="225"/>
                  </a:lnTo>
                  <a:lnTo>
                    <a:pt x="114" y="225"/>
                  </a:lnTo>
                  <a:lnTo>
                    <a:pt x="112" y="225"/>
                  </a:lnTo>
                  <a:lnTo>
                    <a:pt x="109" y="225"/>
                  </a:lnTo>
                  <a:lnTo>
                    <a:pt x="109" y="228"/>
                  </a:lnTo>
                  <a:lnTo>
                    <a:pt x="109" y="225"/>
                  </a:lnTo>
                  <a:lnTo>
                    <a:pt x="107" y="225"/>
                  </a:lnTo>
                  <a:lnTo>
                    <a:pt x="105" y="225"/>
                  </a:lnTo>
                  <a:lnTo>
                    <a:pt x="107" y="225"/>
                  </a:lnTo>
                  <a:lnTo>
                    <a:pt x="107" y="223"/>
                  </a:lnTo>
                  <a:lnTo>
                    <a:pt x="105" y="223"/>
                  </a:lnTo>
                  <a:lnTo>
                    <a:pt x="102" y="223"/>
                  </a:lnTo>
                  <a:lnTo>
                    <a:pt x="102" y="220"/>
                  </a:lnTo>
                  <a:lnTo>
                    <a:pt x="100" y="220"/>
                  </a:lnTo>
                  <a:lnTo>
                    <a:pt x="102" y="220"/>
                  </a:lnTo>
                  <a:lnTo>
                    <a:pt x="100" y="220"/>
                  </a:lnTo>
                  <a:lnTo>
                    <a:pt x="98" y="220"/>
                  </a:lnTo>
                  <a:lnTo>
                    <a:pt x="98" y="218"/>
                  </a:lnTo>
                  <a:lnTo>
                    <a:pt x="95" y="218"/>
                  </a:lnTo>
                  <a:lnTo>
                    <a:pt x="93" y="218"/>
                  </a:lnTo>
                  <a:lnTo>
                    <a:pt x="90" y="218"/>
                  </a:lnTo>
                  <a:lnTo>
                    <a:pt x="90" y="220"/>
                  </a:lnTo>
                  <a:lnTo>
                    <a:pt x="93" y="220"/>
                  </a:lnTo>
                  <a:lnTo>
                    <a:pt x="93" y="223"/>
                  </a:lnTo>
                  <a:lnTo>
                    <a:pt x="95" y="225"/>
                  </a:lnTo>
                  <a:lnTo>
                    <a:pt x="95" y="228"/>
                  </a:lnTo>
                  <a:lnTo>
                    <a:pt x="93" y="228"/>
                  </a:lnTo>
                  <a:lnTo>
                    <a:pt x="90" y="228"/>
                  </a:lnTo>
                  <a:lnTo>
                    <a:pt x="90" y="230"/>
                  </a:lnTo>
                  <a:lnTo>
                    <a:pt x="90" y="228"/>
                  </a:lnTo>
                  <a:lnTo>
                    <a:pt x="88" y="230"/>
                  </a:lnTo>
                  <a:lnTo>
                    <a:pt x="88" y="232"/>
                  </a:lnTo>
                  <a:lnTo>
                    <a:pt x="86" y="232"/>
                  </a:lnTo>
                  <a:lnTo>
                    <a:pt x="86" y="235"/>
                  </a:lnTo>
                  <a:lnTo>
                    <a:pt x="83" y="235"/>
                  </a:lnTo>
                  <a:lnTo>
                    <a:pt x="83" y="232"/>
                  </a:lnTo>
                  <a:lnTo>
                    <a:pt x="81" y="232"/>
                  </a:lnTo>
                  <a:lnTo>
                    <a:pt x="81" y="230"/>
                  </a:lnTo>
                  <a:lnTo>
                    <a:pt x="81" y="228"/>
                  </a:lnTo>
                  <a:lnTo>
                    <a:pt x="79" y="228"/>
                  </a:lnTo>
                  <a:lnTo>
                    <a:pt x="79" y="225"/>
                  </a:lnTo>
                  <a:lnTo>
                    <a:pt x="76" y="225"/>
                  </a:lnTo>
                  <a:lnTo>
                    <a:pt x="76" y="223"/>
                  </a:lnTo>
                  <a:lnTo>
                    <a:pt x="74" y="223"/>
                  </a:lnTo>
                  <a:lnTo>
                    <a:pt x="74" y="220"/>
                  </a:lnTo>
                  <a:lnTo>
                    <a:pt x="71" y="220"/>
                  </a:lnTo>
                  <a:lnTo>
                    <a:pt x="69" y="220"/>
                  </a:lnTo>
                  <a:lnTo>
                    <a:pt x="69" y="218"/>
                  </a:lnTo>
                  <a:lnTo>
                    <a:pt x="69" y="216"/>
                  </a:lnTo>
                  <a:lnTo>
                    <a:pt x="69" y="218"/>
                  </a:lnTo>
                  <a:lnTo>
                    <a:pt x="69" y="216"/>
                  </a:lnTo>
                  <a:lnTo>
                    <a:pt x="71" y="216"/>
                  </a:lnTo>
                  <a:lnTo>
                    <a:pt x="71" y="213"/>
                  </a:lnTo>
                  <a:lnTo>
                    <a:pt x="74" y="213"/>
                  </a:lnTo>
                  <a:lnTo>
                    <a:pt x="74" y="211"/>
                  </a:lnTo>
                  <a:lnTo>
                    <a:pt x="76" y="211"/>
                  </a:lnTo>
                  <a:lnTo>
                    <a:pt x="74" y="211"/>
                  </a:lnTo>
                  <a:lnTo>
                    <a:pt x="76" y="211"/>
                  </a:lnTo>
                  <a:lnTo>
                    <a:pt x="76" y="209"/>
                  </a:lnTo>
                  <a:lnTo>
                    <a:pt x="74" y="209"/>
                  </a:lnTo>
                  <a:lnTo>
                    <a:pt x="74" y="206"/>
                  </a:lnTo>
                  <a:lnTo>
                    <a:pt x="71" y="206"/>
                  </a:lnTo>
                  <a:lnTo>
                    <a:pt x="69" y="206"/>
                  </a:lnTo>
                  <a:lnTo>
                    <a:pt x="69" y="209"/>
                  </a:lnTo>
                  <a:lnTo>
                    <a:pt x="67" y="209"/>
                  </a:lnTo>
                  <a:lnTo>
                    <a:pt x="67" y="206"/>
                  </a:lnTo>
                  <a:lnTo>
                    <a:pt x="64" y="206"/>
                  </a:lnTo>
                  <a:lnTo>
                    <a:pt x="64" y="209"/>
                  </a:lnTo>
                  <a:lnTo>
                    <a:pt x="62" y="209"/>
                  </a:lnTo>
                  <a:lnTo>
                    <a:pt x="62" y="206"/>
                  </a:lnTo>
                  <a:lnTo>
                    <a:pt x="60" y="206"/>
                  </a:lnTo>
                  <a:lnTo>
                    <a:pt x="57" y="206"/>
                  </a:lnTo>
                  <a:lnTo>
                    <a:pt x="57" y="204"/>
                  </a:lnTo>
                  <a:lnTo>
                    <a:pt x="55" y="204"/>
                  </a:lnTo>
                  <a:lnTo>
                    <a:pt x="55" y="201"/>
                  </a:lnTo>
                  <a:lnTo>
                    <a:pt x="52" y="201"/>
                  </a:lnTo>
                  <a:lnTo>
                    <a:pt x="52" y="204"/>
                  </a:lnTo>
                  <a:lnTo>
                    <a:pt x="50" y="201"/>
                  </a:lnTo>
                  <a:lnTo>
                    <a:pt x="48" y="201"/>
                  </a:lnTo>
                  <a:lnTo>
                    <a:pt x="45" y="201"/>
                  </a:lnTo>
                  <a:lnTo>
                    <a:pt x="45" y="199"/>
                  </a:lnTo>
                  <a:lnTo>
                    <a:pt x="45" y="201"/>
                  </a:lnTo>
                  <a:lnTo>
                    <a:pt x="45" y="199"/>
                  </a:lnTo>
                  <a:lnTo>
                    <a:pt x="43" y="199"/>
                  </a:lnTo>
                  <a:lnTo>
                    <a:pt x="43" y="201"/>
                  </a:lnTo>
                  <a:lnTo>
                    <a:pt x="41" y="201"/>
                  </a:lnTo>
                  <a:lnTo>
                    <a:pt x="41" y="199"/>
                  </a:lnTo>
                  <a:lnTo>
                    <a:pt x="41" y="197"/>
                  </a:lnTo>
                  <a:lnTo>
                    <a:pt x="38" y="197"/>
                  </a:lnTo>
                  <a:lnTo>
                    <a:pt x="38" y="194"/>
                  </a:lnTo>
                  <a:lnTo>
                    <a:pt x="38" y="192"/>
                  </a:lnTo>
                  <a:lnTo>
                    <a:pt x="36" y="192"/>
                  </a:lnTo>
                  <a:lnTo>
                    <a:pt x="36" y="190"/>
                  </a:lnTo>
                  <a:lnTo>
                    <a:pt x="36" y="192"/>
                  </a:lnTo>
                  <a:lnTo>
                    <a:pt x="33" y="192"/>
                  </a:lnTo>
                  <a:lnTo>
                    <a:pt x="33" y="190"/>
                  </a:lnTo>
                  <a:lnTo>
                    <a:pt x="31" y="190"/>
                  </a:lnTo>
                  <a:lnTo>
                    <a:pt x="29" y="190"/>
                  </a:lnTo>
                  <a:lnTo>
                    <a:pt x="29" y="192"/>
                  </a:lnTo>
                  <a:lnTo>
                    <a:pt x="29" y="190"/>
                  </a:lnTo>
                  <a:lnTo>
                    <a:pt x="29" y="192"/>
                  </a:lnTo>
                  <a:lnTo>
                    <a:pt x="29" y="194"/>
                  </a:lnTo>
                  <a:lnTo>
                    <a:pt x="29" y="197"/>
                  </a:lnTo>
                  <a:lnTo>
                    <a:pt x="26" y="197"/>
                  </a:lnTo>
                  <a:lnTo>
                    <a:pt x="24" y="197"/>
                  </a:lnTo>
                  <a:lnTo>
                    <a:pt x="22" y="197"/>
                  </a:lnTo>
                  <a:lnTo>
                    <a:pt x="22" y="194"/>
                  </a:lnTo>
                  <a:lnTo>
                    <a:pt x="24" y="194"/>
                  </a:lnTo>
                  <a:lnTo>
                    <a:pt x="24" y="192"/>
                  </a:lnTo>
                  <a:lnTo>
                    <a:pt x="26" y="192"/>
                  </a:lnTo>
                  <a:lnTo>
                    <a:pt x="26" y="190"/>
                  </a:lnTo>
                  <a:lnTo>
                    <a:pt x="26" y="187"/>
                  </a:lnTo>
                  <a:lnTo>
                    <a:pt x="29" y="187"/>
                  </a:lnTo>
                  <a:lnTo>
                    <a:pt x="26" y="187"/>
                  </a:lnTo>
                  <a:lnTo>
                    <a:pt x="29" y="187"/>
                  </a:lnTo>
                  <a:lnTo>
                    <a:pt x="29" y="185"/>
                  </a:lnTo>
                  <a:lnTo>
                    <a:pt x="29" y="182"/>
                  </a:lnTo>
                  <a:lnTo>
                    <a:pt x="29" y="180"/>
                  </a:lnTo>
                  <a:lnTo>
                    <a:pt x="29" y="178"/>
                  </a:lnTo>
                  <a:lnTo>
                    <a:pt x="31" y="178"/>
                  </a:lnTo>
                  <a:lnTo>
                    <a:pt x="29" y="178"/>
                  </a:lnTo>
                  <a:lnTo>
                    <a:pt x="29" y="175"/>
                  </a:lnTo>
                  <a:lnTo>
                    <a:pt x="29" y="173"/>
                  </a:lnTo>
                  <a:lnTo>
                    <a:pt x="26" y="173"/>
                  </a:lnTo>
                  <a:lnTo>
                    <a:pt x="29" y="173"/>
                  </a:lnTo>
                  <a:lnTo>
                    <a:pt x="29" y="171"/>
                  </a:lnTo>
                  <a:lnTo>
                    <a:pt x="26" y="171"/>
                  </a:lnTo>
                  <a:lnTo>
                    <a:pt x="26" y="168"/>
                  </a:lnTo>
                  <a:lnTo>
                    <a:pt x="29" y="168"/>
                  </a:lnTo>
                  <a:lnTo>
                    <a:pt x="26" y="168"/>
                  </a:lnTo>
                  <a:lnTo>
                    <a:pt x="26" y="166"/>
                  </a:lnTo>
                  <a:lnTo>
                    <a:pt x="24" y="166"/>
                  </a:lnTo>
                  <a:lnTo>
                    <a:pt x="22" y="166"/>
                  </a:lnTo>
                  <a:lnTo>
                    <a:pt x="22" y="163"/>
                  </a:lnTo>
                  <a:lnTo>
                    <a:pt x="22" y="166"/>
                  </a:lnTo>
                  <a:lnTo>
                    <a:pt x="22" y="163"/>
                  </a:lnTo>
                  <a:lnTo>
                    <a:pt x="22" y="166"/>
                  </a:lnTo>
                  <a:lnTo>
                    <a:pt x="22" y="163"/>
                  </a:lnTo>
                  <a:lnTo>
                    <a:pt x="19" y="163"/>
                  </a:lnTo>
                  <a:lnTo>
                    <a:pt x="19" y="161"/>
                  </a:lnTo>
                  <a:lnTo>
                    <a:pt x="22" y="161"/>
                  </a:lnTo>
                  <a:lnTo>
                    <a:pt x="22" y="159"/>
                  </a:lnTo>
                  <a:lnTo>
                    <a:pt x="19" y="159"/>
                  </a:lnTo>
                  <a:lnTo>
                    <a:pt x="22" y="159"/>
                  </a:lnTo>
                  <a:lnTo>
                    <a:pt x="19" y="159"/>
                  </a:lnTo>
                  <a:lnTo>
                    <a:pt x="22" y="159"/>
                  </a:lnTo>
                  <a:lnTo>
                    <a:pt x="19" y="156"/>
                  </a:lnTo>
                  <a:lnTo>
                    <a:pt x="19" y="154"/>
                  </a:lnTo>
                  <a:lnTo>
                    <a:pt x="17" y="154"/>
                  </a:lnTo>
                  <a:lnTo>
                    <a:pt x="17" y="152"/>
                  </a:lnTo>
                  <a:lnTo>
                    <a:pt x="14" y="152"/>
                  </a:lnTo>
                  <a:lnTo>
                    <a:pt x="14" y="149"/>
                  </a:lnTo>
                  <a:lnTo>
                    <a:pt x="17" y="149"/>
                  </a:lnTo>
                  <a:lnTo>
                    <a:pt x="14" y="149"/>
                  </a:lnTo>
                  <a:lnTo>
                    <a:pt x="17" y="149"/>
                  </a:lnTo>
                  <a:lnTo>
                    <a:pt x="17" y="147"/>
                  </a:lnTo>
                  <a:lnTo>
                    <a:pt x="19" y="147"/>
                  </a:lnTo>
                  <a:lnTo>
                    <a:pt x="19" y="144"/>
                  </a:lnTo>
                  <a:lnTo>
                    <a:pt x="19" y="142"/>
                  </a:lnTo>
                  <a:lnTo>
                    <a:pt x="19" y="140"/>
                  </a:lnTo>
                  <a:lnTo>
                    <a:pt x="19" y="137"/>
                  </a:lnTo>
                  <a:lnTo>
                    <a:pt x="22" y="137"/>
                  </a:lnTo>
                  <a:lnTo>
                    <a:pt x="19" y="137"/>
                  </a:lnTo>
                  <a:lnTo>
                    <a:pt x="19" y="135"/>
                  </a:lnTo>
                  <a:lnTo>
                    <a:pt x="17" y="135"/>
                  </a:lnTo>
                  <a:lnTo>
                    <a:pt x="19" y="135"/>
                  </a:lnTo>
                  <a:lnTo>
                    <a:pt x="17" y="135"/>
                  </a:lnTo>
                  <a:lnTo>
                    <a:pt x="17" y="133"/>
                  </a:lnTo>
                  <a:lnTo>
                    <a:pt x="19" y="133"/>
                  </a:lnTo>
                  <a:lnTo>
                    <a:pt x="19" y="130"/>
                  </a:lnTo>
                  <a:lnTo>
                    <a:pt x="19" y="128"/>
                  </a:lnTo>
                  <a:lnTo>
                    <a:pt x="17" y="128"/>
                  </a:lnTo>
                  <a:lnTo>
                    <a:pt x="14" y="128"/>
                  </a:lnTo>
                  <a:lnTo>
                    <a:pt x="14" y="125"/>
                  </a:lnTo>
                  <a:lnTo>
                    <a:pt x="14" y="123"/>
                  </a:lnTo>
                  <a:lnTo>
                    <a:pt x="12" y="121"/>
                  </a:lnTo>
                  <a:lnTo>
                    <a:pt x="14" y="121"/>
                  </a:lnTo>
                  <a:lnTo>
                    <a:pt x="14" y="118"/>
                  </a:lnTo>
                  <a:lnTo>
                    <a:pt x="17" y="118"/>
                  </a:lnTo>
                  <a:lnTo>
                    <a:pt x="17" y="116"/>
                  </a:lnTo>
                  <a:lnTo>
                    <a:pt x="14" y="114"/>
                  </a:lnTo>
                  <a:lnTo>
                    <a:pt x="17" y="114"/>
                  </a:lnTo>
                  <a:lnTo>
                    <a:pt x="17" y="111"/>
                  </a:lnTo>
                  <a:lnTo>
                    <a:pt x="14" y="111"/>
                  </a:lnTo>
                  <a:lnTo>
                    <a:pt x="14" y="109"/>
                  </a:lnTo>
                  <a:lnTo>
                    <a:pt x="12" y="109"/>
                  </a:lnTo>
                  <a:lnTo>
                    <a:pt x="10" y="109"/>
                  </a:lnTo>
                  <a:lnTo>
                    <a:pt x="10" y="106"/>
                  </a:lnTo>
                  <a:lnTo>
                    <a:pt x="7" y="104"/>
                  </a:lnTo>
                  <a:lnTo>
                    <a:pt x="5" y="104"/>
                  </a:lnTo>
                  <a:lnTo>
                    <a:pt x="5" y="102"/>
                  </a:lnTo>
                  <a:lnTo>
                    <a:pt x="3" y="102"/>
                  </a:lnTo>
                  <a:lnTo>
                    <a:pt x="3" y="99"/>
                  </a:lnTo>
                  <a:lnTo>
                    <a:pt x="0" y="99"/>
                  </a:lnTo>
                  <a:lnTo>
                    <a:pt x="0" y="97"/>
                  </a:lnTo>
                  <a:lnTo>
                    <a:pt x="0" y="95"/>
                  </a:lnTo>
                  <a:lnTo>
                    <a:pt x="0" y="92"/>
                  </a:lnTo>
                  <a:lnTo>
                    <a:pt x="3" y="92"/>
                  </a:lnTo>
                  <a:lnTo>
                    <a:pt x="5" y="92"/>
                  </a:lnTo>
                  <a:lnTo>
                    <a:pt x="5" y="90"/>
                  </a:lnTo>
                  <a:lnTo>
                    <a:pt x="7" y="90"/>
                  </a:lnTo>
                  <a:lnTo>
                    <a:pt x="7" y="87"/>
                  </a:lnTo>
                  <a:lnTo>
                    <a:pt x="7" y="85"/>
                  </a:lnTo>
                  <a:lnTo>
                    <a:pt x="10" y="83"/>
                  </a:lnTo>
                  <a:lnTo>
                    <a:pt x="10" y="80"/>
                  </a:lnTo>
                  <a:lnTo>
                    <a:pt x="12" y="80"/>
                  </a:lnTo>
                  <a:lnTo>
                    <a:pt x="12" y="78"/>
                  </a:lnTo>
                  <a:lnTo>
                    <a:pt x="12" y="76"/>
                  </a:lnTo>
                  <a:lnTo>
                    <a:pt x="14" y="73"/>
                  </a:lnTo>
                  <a:lnTo>
                    <a:pt x="17" y="73"/>
                  </a:lnTo>
                  <a:lnTo>
                    <a:pt x="17" y="71"/>
                  </a:lnTo>
                  <a:lnTo>
                    <a:pt x="19" y="68"/>
                  </a:lnTo>
                  <a:lnTo>
                    <a:pt x="19" y="71"/>
                  </a:lnTo>
                  <a:lnTo>
                    <a:pt x="19" y="68"/>
                  </a:lnTo>
                  <a:lnTo>
                    <a:pt x="19" y="66"/>
                  </a:lnTo>
                  <a:lnTo>
                    <a:pt x="17" y="66"/>
                  </a:lnTo>
                  <a:lnTo>
                    <a:pt x="17" y="64"/>
                  </a:lnTo>
                  <a:lnTo>
                    <a:pt x="17" y="66"/>
                  </a:lnTo>
                  <a:lnTo>
                    <a:pt x="17" y="64"/>
                  </a:lnTo>
                  <a:lnTo>
                    <a:pt x="14" y="64"/>
                  </a:lnTo>
                  <a:lnTo>
                    <a:pt x="14" y="61"/>
                  </a:lnTo>
                  <a:lnTo>
                    <a:pt x="14" y="59"/>
                  </a:lnTo>
                  <a:lnTo>
                    <a:pt x="17" y="59"/>
                  </a:lnTo>
                  <a:lnTo>
                    <a:pt x="14" y="59"/>
                  </a:lnTo>
                  <a:lnTo>
                    <a:pt x="17" y="59"/>
                  </a:lnTo>
                  <a:lnTo>
                    <a:pt x="14" y="59"/>
                  </a:lnTo>
                  <a:lnTo>
                    <a:pt x="14" y="57"/>
                  </a:lnTo>
                  <a:lnTo>
                    <a:pt x="14" y="54"/>
                  </a:lnTo>
                  <a:lnTo>
                    <a:pt x="17" y="54"/>
                  </a:lnTo>
                  <a:lnTo>
                    <a:pt x="17" y="52"/>
                  </a:lnTo>
                  <a:lnTo>
                    <a:pt x="14" y="49"/>
                  </a:lnTo>
                  <a:lnTo>
                    <a:pt x="17" y="49"/>
                  </a:lnTo>
                  <a:lnTo>
                    <a:pt x="17" y="47"/>
                  </a:lnTo>
                  <a:lnTo>
                    <a:pt x="19" y="45"/>
                  </a:lnTo>
                  <a:lnTo>
                    <a:pt x="22" y="45"/>
                  </a:lnTo>
                  <a:lnTo>
                    <a:pt x="22" y="42"/>
                  </a:lnTo>
                  <a:lnTo>
                    <a:pt x="22" y="40"/>
                  </a:lnTo>
                  <a:lnTo>
                    <a:pt x="19" y="40"/>
                  </a:lnTo>
                  <a:lnTo>
                    <a:pt x="22" y="40"/>
                  </a:lnTo>
                  <a:lnTo>
                    <a:pt x="26" y="38"/>
                  </a:lnTo>
                  <a:lnTo>
                    <a:pt x="29" y="38"/>
                  </a:lnTo>
                  <a:lnTo>
                    <a:pt x="31" y="38"/>
                  </a:lnTo>
                  <a:lnTo>
                    <a:pt x="33" y="35"/>
                  </a:lnTo>
                  <a:lnTo>
                    <a:pt x="36" y="35"/>
                  </a:lnTo>
                  <a:lnTo>
                    <a:pt x="38" y="35"/>
                  </a:lnTo>
                  <a:lnTo>
                    <a:pt x="38" y="33"/>
                  </a:lnTo>
                  <a:lnTo>
                    <a:pt x="41" y="33"/>
                  </a:lnTo>
                  <a:lnTo>
                    <a:pt x="43" y="33"/>
                  </a:lnTo>
                  <a:lnTo>
                    <a:pt x="45" y="33"/>
                  </a:lnTo>
                  <a:lnTo>
                    <a:pt x="48" y="33"/>
                  </a:lnTo>
                  <a:lnTo>
                    <a:pt x="50" y="30"/>
                  </a:lnTo>
                  <a:lnTo>
                    <a:pt x="52" y="30"/>
                  </a:lnTo>
                  <a:lnTo>
                    <a:pt x="55" y="30"/>
                  </a:lnTo>
                  <a:lnTo>
                    <a:pt x="57" y="28"/>
                  </a:lnTo>
                  <a:lnTo>
                    <a:pt x="60" y="28"/>
                  </a:lnTo>
                  <a:lnTo>
                    <a:pt x="62" y="28"/>
                  </a:lnTo>
                  <a:lnTo>
                    <a:pt x="64" y="28"/>
                  </a:lnTo>
                  <a:lnTo>
                    <a:pt x="67" y="26"/>
                  </a:lnTo>
                  <a:lnTo>
                    <a:pt x="69" y="26"/>
                  </a:lnTo>
                  <a:lnTo>
                    <a:pt x="69" y="23"/>
                  </a:lnTo>
                  <a:lnTo>
                    <a:pt x="71" y="23"/>
                  </a:lnTo>
                  <a:lnTo>
                    <a:pt x="71" y="21"/>
                  </a:lnTo>
                  <a:lnTo>
                    <a:pt x="74" y="19"/>
                  </a:lnTo>
                  <a:lnTo>
                    <a:pt x="76" y="16"/>
                  </a:lnTo>
                  <a:lnTo>
                    <a:pt x="79" y="16"/>
                  </a:lnTo>
                  <a:lnTo>
                    <a:pt x="79" y="14"/>
                  </a:lnTo>
                  <a:lnTo>
                    <a:pt x="81" y="14"/>
                  </a:lnTo>
                  <a:lnTo>
                    <a:pt x="83" y="14"/>
                  </a:lnTo>
                  <a:lnTo>
                    <a:pt x="86" y="14"/>
                  </a:lnTo>
                  <a:lnTo>
                    <a:pt x="88" y="11"/>
                  </a:lnTo>
                  <a:lnTo>
                    <a:pt x="90" y="11"/>
                  </a:lnTo>
                  <a:lnTo>
                    <a:pt x="93" y="11"/>
                  </a:lnTo>
                  <a:lnTo>
                    <a:pt x="93" y="9"/>
                  </a:lnTo>
                  <a:lnTo>
                    <a:pt x="95" y="9"/>
                  </a:lnTo>
                  <a:lnTo>
                    <a:pt x="95" y="7"/>
                  </a:lnTo>
                  <a:lnTo>
                    <a:pt x="98" y="7"/>
                  </a:lnTo>
                  <a:lnTo>
                    <a:pt x="100" y="7"/>
                  </a:lnTo>
                  <a:lnTo>
                    <a:pt x="102" y="4"/>
                  </a:lnTo>
                  <a:lnTo>
                    <a:pt x="105" y="4"/>
                  </a:lnTo>
                  <a:lnTo>
                    <a:pt x="107" y="4"/>
                  </a:lnTo>
                  <a:lnTo>
                    <a:pt x="109" y="4"/>
                  </a:lnTo>
                  <a:lnTo>
                    <a:pt x="112" y="2"/>
                  </a:lnTo>
                  <a:lnTo>
                    <a:pt x="114" y="2"/>
                  </a:lnTo>
                  <a:lnTo>
                    <a:pt x="117" y="2"/>
                  </a:lnTo>
                  <a:lnTo>
                    <a:pt x="119" y="2"/>
                  </a:lnTo>
                  <a:lnTo>
                    <a:pt x="121" y="0"/>
                  </a:lnTo>
                  <a:lnTo>
                    <a:pt x="124" y="0"/>
                  </a:lnTo>
                  <a:lnTo>
                    <a:pt x="126" y="0"/>
                  </a:lnTo>
                  <a:lnTo>
                    <a:pt x="128" y="0"/>
                  </a:lnTo>
                  <a:lnTo>
                    <a:pt x="131" y="0"/>
                  </a:lnTo>
                  <a:lnTo>
                    <a:pt x="133" y="0"/>
                  </a:lnTo>
                  <a:lnTo>
                    <a:pt x="135" y="0"/>
                  </a:lnTo>
                  <a:lnTo>
                    <a:pt x="138" y="0"/>
                  </a:lnTo>
                  <a:lnTo>
                    <a:pt x="140" y="0"/>
                  </a:lnTo>
                  <a:lnTo>
                    <a:pt x="140" y="2"/>
                  </a:lnTo>
                  <a:lnTo>
                    <a:pt x="143" y="2"/>
                  </a:lnTo>
                  <a:lnTo>
                    <a:pt x="140" y="2"/>
                  </a:lnTo>
                  <a:lnTo>
                    <a:pt x="143" y="2"/>
                  </a:lnTo>
                  <a:lnTo>
                    <a:pt x="145" y="4"/>
                  </a:lnTo>
                  <a:lnTo>
                    <a:pt x="147" y="4"/>
                  </a:lnTo>
                  <a:lnTo>
                    <a:pt x="150" y="7"/>
                  </a:lnTo>
                  <a:lnTo>
                    <a:pt x="152" y="7"/>
                  </a:lnTo>
                  <a:lnTo>
                    <a:pt x="152" y="9"/>
                  </a:lnTo>
                  <a:lnTo>
                    <a:pt x="154" y="9"/>
                  </a:lnTo>
                  <a:lnTo>
                    <a:pt x="154" y="11"/>
                  </a:lnTo>
                  <a:lnTo>
                    <a:pt x="152" y="11"/>
                  </a:lnTo>
                  <a:lnTo>
                    <a:pt x="152" y="9"/>
                  </a:lnTo>
                  <a:lnTo>
                    <a:pt x="152" y="7"/>
                  </a:lnTo>
                  <a:lnTo>
                    <a:pt x="150" y="7"/>
                  </a:lnTo>
                  <a:lnTo>
                    <a:pt x="150" y="4"/>
                  </a:lnTo>
                  <a:lnTo>
                    <a:pt x="147" y="4"/>
                  </a:lnTo>
                  <a:lnTo>
                    <a:pt x="145" y="4"/>
                  </a:lnTo>
                  <a:lnTo>
                    <a:pt x="143" y="2"/>
                  </a:lnTo>
                  <a:lnTo>
                    <a:pt x="140" y="2"/>
                  </a:lnTo>
                  <a:lnTo>
                    <a:pt x="140" y="4"/>
                  </a:lnTo>
                  <a:lnTo>
                    <a:pt x="143" y="7"/>
                  </a:lnTo>
                  <a:lnTo>
                    <a:pt x="143" y="9"/>
                  </a:lnTo>
                  <a:lnTo>
                    <a:pt x="145" y="9"/>
                  </a:lnTo>
                  <a:lnTo>
                    <a:pt x="145" y="11"/>
                  </a:lnTo>
                  <a:lnTo>
                    <a:pt x="145" y="14"/>
                  </a:lnTo>
                  <a:lnTo>
                    <a:pt x="145" y="16"/>
                  </a:lnTo>
                  <a:lnTo>
                    <a:pt x="147" y="16"/>
                  </a:lnTo>
                  <a:lnTo>
                    <a:pt x="145" y="16"/>
                  </a:lnTo>
                  <a:lnTo>
                    <a:pt x="145" y="19"/>
                  </a:lnTo>
                  <a:lnTo>
                    <a:pt x="147" y="19"/>
                  </a:lnTo>
                  <a:lnTo>
                    <a:pt x="147" y="21"/>
                  </a:lnTo>
                  <a:lnTo>
                    <a:pt x="150" y="21"/>
                  </a:lnTo>
                  <a:lnTo>
                    <a:pt x="150" y="23"/>
                  </a:lnTo>
                  <a:lnTo>
                    <a:pt x="152" y="23"/>
                  </a:lnTo>
                  <a:lnTo>
                    <a:pt x="154" y="23"/>
                  </a:lnTo>
                  <a:lnTo>
                    <a:pt x="154" y="26"/>
                  </a:lnTo>
                  <a:lnTo>
                    <a:pt x="157" y="26"/>
                  </a:lnTo>
                  <a:lnTo>
                    <a:pt x="159" y="28"/>
                  </a:lnTo>
                  <a:lnTo>
                    <a:pt x="159" y="26"/>
                  </a:lnTo>
                  <a:lnTo>
                    <a:pt x="157" y="26"/>
                  </a:lnTo>
                  <a:lnTo>
                    <a:pt x="154" y="26"/>
                  </a:lnTo>
                  <a:lnTo>
                    <a:pt x="154" y="23"/>
                  </a:lnTo>
                  <a:lnTo>
                    <a:pt x="157" y="23"/>
                  </a:lnTo>
                  <a:lnTo>
                    <a:pt x="159" y="23"/>
                  </a:lnTo>
                  <a:lnTo>
                    <a:pt x="159" y="26"/>
                  </a:lnTo>
                  <a:lnTo>
                    <a:pt x="159" y="28"/>
                  </a:lnTo>
                  <a:lnTo>
                    <a:pt x="159" y="30"/>
                  </a:lnTo>
                  <a:lnTo>
                    <a:pt x="157" y="30"/>
                  </a:lnTo>
                  <a:lnTo>
                    <a:pt x="157" y="33"/>
                  </a:lnTo>
                  <a:lnTo>
                    <a:pt x="154" y="33"/>
                  </a:lnTo>
                  <a:lnTo>
                    <a:pt x="154" y="35"/>
                  </a:lnTo>
                  <a:lnTo>
                    <a:pt x="154" y="38"/>
                  </a:lnTo>
                  <a:lnTo>
                    <a:pt x="154" y="40"/>
                  </a:lnTo>
                  <a:lnTo>
                    <a:pt x="154" y="42"/>
                  </a:lnTo>
                  <a:lnTo>
                    <a:pt x="157" y="42"/>
                  </a:lnTo>
                  <a:lnTo>
                    <a:pt x="157" y="45"/>
                  </a:lnTo>
                  <a:lnTo>
                    <a:pt x="157" y="47"/>
                  </a:lnTo>
                  <a:lnTo>
                    <a:pt x="157" y="49"/>
                  </a:lnTo>
                  <a:lnTo>
                    <a:pt x="154" y="49"/>
                  </a:lnTo>
                  <a:lnTo>
                    <a:pt x="154" y="52"/>
                  </a:lnTo>
                  <a:lnTo>
                    <a:pt x="154" y="54"/>
                  </a:lnTo>
                  <a:lnTo>
                    <a:pt x="157" y="54"/>
                  </a:lnTo>
                  <a:lnTo>
                    <a:pt x="154" y="54"/>
                  </a:lnTo>
                  <a:lnTo>
                    <a:pt x="154" y="57"/>
                  </a:lnTo>
                  <a:lnTo>
                    <a:pt x="152" y="57"/>
                  </a:lnTo>
                  <a:lnTo>
                    <a:pt x="152" y="59"/>
                  </a:lnTo>
                  <a:lnTo>
                    <a:pt x="152" y="61"/>
                  </a:lnTo>
                  <a:lnTo>
                    <a:pt x="152" y="64"/>
                  </a:lnTo>
                  <a:lnTo>
                    <a:pt x="152" y="66"/>
                  </a:lnTo>
                  <a:lnTo>
                    <a:pt x="152" y="68"/>
                  </a:lnTo>
                  <a:lnTo>
                    <a:pt x="150" y="68"/>
                  </a:lnTo>
                  <a:lnTo>
                    <a:pt x="150" y="71"/>
                  </a:lnTo>
                  <a:lnTo>
                    <a:pt x="147" y="71"/>
                  </a:lnTo>
                  <a:lnTo>
                    <a:pt x="145" y="71"/>
                  </a:lnTo>
                  <a:lnTo>
                    <a:pt x="143" y="71"/>
                  </a:lnTo>
                  <a:lnTo>
                    <a:pt x="143" y="73"/>
                  </a:lnTo>
                  <a:lnTo>
                    <a:pt x="140" y="73"/>
                  </a:lnTo>
                  <a:lnTo>
                    <a:pt x="138" y="76"/>
                  </a:lnTo>
                  <a:lnTo>
                    <a:pt x="138" y="78"/>
                  </a:lnTo>
                  <a:lnTo>
                    <a:pt x="135" y="78"/>
                  </a:lnTo>
                  <a:lnTo>
                    <a:pt x="135" y="80"/>
                  </a:lnTo>
                  <a:lnTo>
                    <a:pt x="133" y="80"/>
                  </a:lnTo>
                  <a:lnTo>
                    <a:pt x="133" y="83"/>
                  </a:lnTo>
                  <a:lnTo>
                    <a:pt x="133" y="85"/>
                  </a:lnTo>
                  <a:lnTo>
                    <a:pt x="131" y="85"/>
                  </a:lnTo>
                  <a:lnTo>
                    <a:pt x="133" y="85"/>
                  </a:lnTo>
                  <a:lnTo>
                    <a:pt x="133" y="87"/>
                  </a:lnTo>
                  <a:lnTo>
                    <a:pt x="135" y="87"/>
                  </a:lnTo>
                  <a:lnTo>
                    <a:pt x="138" y="87"/>
                  </a:lnTo>
                  <a:lnTo>
                    <a:pt x="140" y="90"/>
                  </a:lnTo>
                  <a:lnTo>
                    <a:pt x="143" y="90"/>
                  </a:lnTo>
                  <a:lnTo>
                    <a:pt x="145" y="92"/>
                  </a:lnTo>
                  <a:lnTo>
                    <a:pt x="145" y="90"/>
                  </a:lnTo>
                  <a:lnTo>
                    <a:pt x="145" y="92"/>
                  </a:lnTo>
                  <a:lnTo>
                    <a:pt x="147" y="92"/>
                  </a:lnTo>
                  <a:lnTo>
                    <a:pt x="147" y="90"/>
                  </a:lnTo>
                  <a:lnTo>
                    <a:pt x="150" y="90"/>
                  </a:lnTo>
                  <a:lnTo>
                    <a:pt x="150" y="92"/>
                  </a:lnTo>
                  <a:lnTo>
                    <a:pt x="150" y="95"/>
                  </a:lnTo>
                  <a:lnTo>
                    <a:pt x="152" y="95"/>
                  </a:lnTo>
                  <a:lnTo>
                    <a:pt x="152" y="97"/>
                  </a:lnTo>
                  <a:lnTo>
                    <a:pt x="154" y="97"/>
                  </a:lnTo>
                  <a:lnTo>
                    <a:pt x="157" y="99"/>
                  </a:lnTo>
                  <a:lnTo>
                    <a:pt x="157" y="102"/>
                  </a:lnTo>
                  <a:lnTo>
                    <a:pt x="159" y="102"/>
                  </a:lnTo>
                  <a:lnTo>
                    <a:pt x="159" y="104"/>
                  </a:lnTo>
                  <a:lnTo>
                    <a:pt x="159" y="106"/>
                  </a:lnTo>
                  <a:lnTo>
                    <a:pt x="162" y="106"/>
                  </a:lnTo>
                  <a:lnTo>
                    <a:pt x="162" y="109"/>
                  </a:lnTo>
                  <a:lnTo>
                    <a:pt x="164" y="109"/>
                  </a:lnTo>
                  <a:lnTo>
                    <a:pt x="162" y="109"/>
                  </a:lnTo>
                  <a:lnTo>
                    <a:pt x="162" y="106"/>
                  </a:lnTo>
                  <a:lnTo>
                    <a:pt x="159" y="104"/>
                  </a:lnTo>
                  <a:lnTo>
                    <a:pt x="159" y="102"/>
                  </a:lnTo>
                  <a:lnTo>
                    <a:pt x="157" y="99"/>
                  </a:lnTo>
                  <a:lnTo>
                    <a:pt x="157" y="97"/>
                  </a:lnTo>
                  <a:lnTo>
                    <a:pt x="154" y="97"/>
                  </a:lnTo>
                  <a:lnTo>
                    <a:pt x="154" y="95"/>
                  </a:lnTo>
                  <a:lnTo>
                    <a:pt x="152" y="95"/>
                  </a:lnTo>
                  <a:lnTo>
                    <a:pt x="150" y="95"/>
                  </a:lnTo>
                  <a:lnTo>
                    <a:pt x="150" y="92"/>
                  </a:lnTo>
                  <a:lnTo>
                    <a:pt x="150" y="90"/>
                  </a:lnTo>
                  <a:lnTo>
                    <a:pt x="147" y="90"/>
                  </a:lnTo>
                  <a:lnTo>
                    <a:pt x="147" y="92"/>
                  </a:lnTo>
                  <a:lnTo>
                    <a:pt x="145" y="92"/>
                  </a:lnTo>
                  <a:lnTo>
                    <a:pt x="145" y="90"/>
                  </a:lnTo>
                  <a:lnTo>
                    <a:pt x="143" y="90"/>
                  </a:lnTo>
                  <a:lnTo>
                    <a:pt x="140" y="90"/>
                  </a:lnTo>
                  <a:lnTo>
                    <a:pt x="138" y="87"/>
                  </a:lnTo>
                  <a:lnTo>
                    <a:pt x="135" y="87"/>
                  </a:lnTo>
                  <a:lnTo>
                    <a:pt x="133" y="87"/>
                  </a:lnTo>
                  <a:lnTo>
                    <a:pt x="133" y="85"/>
                  </a:lnTo>
                  <a:lnTo>
                    <a:pt x="133" y="83"/>
                  </a:lnTo>
                  <a:lnTo>
                    <a:pt x="133" y="80"/>
                  </a:lnTo>
                  <a:lnTo>
                    <a:pt x="135" y="80"/>
                  </a:lnTo>
                  <a:lnTo>
                    <a:pt x="138" y="78"/>
                  </a:lnTo>
                  <a:lnTo>
                    <a:pt x="138" y="76"/>
                  </a:lnTo>
                  <a:lnTo>
                    <a:pt x="140" y="73"/>
                  </a:lnTo>
                  <a:lnTo>
                    <a:pt x="143" y="73"/>
                  </a:lnTo>
                  <a:lnTo>
                    <a:pt x="143" y="71"/>
                  </a:lnTo>
                  <a:lnTo>
                    <a:pt x="145" y="71"/>
                  </a:lnTo>
                  <a:lnTo>
                    <a:pt x="147" y="71"/>
                  </a:lnTo>
                  <a:lnTo>
                    <a:pt x="150" y="71"/>
                  </a:lnTo>
                  <a:lnTo>
                    <a:pt x="150" y="68"/>
                  </a:lnTo>
                  <a:lnTo>
                    <a:pt x="152" y="68"/>
                  </a:lnTo>
                  <a:lnTo>
                    <a:pt x="152" y="66"/>
                  </a:lnTo>
                  <a:lnTo>
                    <a:pt x="152" y="64"/>
                  </a:lnTo>
                  <a:lnTo>
                    <a:pt x="152" y="61"/>
                  </a:lnTo>
                  <a:lnTo>
                    <a:pt x="152" y="59"/>
                  </a:lnTo>
                  <a:lnTo>
                    <a:pt x="152" y="57"/>
                  </a:lnTo>
                  <a:lnTo>
                    <a:pt x="154" y="57"/>
                  </a:lnTo>
                  <a:lnTo>
                    <a:pt x="154" y="54"/>
                  </a:lnTo>
                  <a:lnTo>
                    <a:pt x="157" y="54"/>
                  </a:lnTo>
                  <a:lnTo>
                    <a:pt x="154" y="54"/>
                  </a:lnTo>
                  <a:lnTo>
                    <a:pt x="154" y="52"/>
                  </a:lnTo>
                  <a:lnTo>
                    <a:pt x="154" y="49"/>
                  </a:lnTo>
                  <a:lnTo>
                    <a:pt x="157" y="49"/>
                  </a:lnTo>
                  <a:lnTo>
                    <a:pt x="157" y="47"/>
                  </a:lnTo>
                  <a:lnTo>
                    <a:pt x="157" y="45"/>
                  </a:lnTo>
                  <a:lnTo>
                    <a:pt x="157" y="42"/>
                  </a:lnTo>
                  <a:lnTo>
                    <a:pt x="154" y="42"/>
                  </a:lnTo>
                  <a:lnTo>
                    <a:pt x="154" y="40"/>
                  </a:lnTo>
                  <a:lnTo>
                    <a:pt x="154" y="38"/>
                  </a:lnTo>
                  <a:lnTo>
                    <a:pt x="154" y="35"/>
                  </a:lnTo>
                  <a:lnTo>
                    <a:pt x="154" y="33"/>
                  </a:lnTo>
                  <a:lnTo>
                    <a:pt x="157" y="33"/>
                  </a:lnTo>
                  <a:lnTo>
                    <a:pt x="157" y="30"/>
                  </a:lnTo>
                  <a:lnTo>
                    <a:pt x="159" y="30"/>
                  </a:lnTo>
                  <a:lnTo>
                    <a:pt x="159" y="28"/>
                  </a:lnTo>
                  <a:lnTo>
                    <a:pt x="159" y="26"/>
                  </a:lnTo>
                  <a:lnTo>
                    <a:pt x="159" y="23"/>
                  </a:lnTo>
                  <a:lnTo>
                    <a:pt x="162" y="23"/>
                  </a:lnTo>
                  <a:lnTo>
                    <a:pt x="166" y="23"/>
                  </a:lnTo>
                  <a:lnTo>
                    <a:pt x="169" y="23"/>
                  </a:lnTo>
                  <a:lnTo>
                    <a:pt x="171" y="23"/>
                  </a:lnTo>
                  <a:lnTo>
                    <a:pt x="173" y="23"/>
                  </a:lnTo>
                  <a:lnTo>
                    <a:pt x="176" y="21"/>
                  </a:lnTo>
                  <a:lnTo>
                    <a:pt x="178" y="21"/>
                  </a:lnTo>
                  <a:lnTo>
                    <a:pt x="181" y="19"/>
                  </a:lnTo>
                  <a:lnTo>
                    <a:pt x="183" y="19"/>
                  </a:lnTo>
                  <a:lnTo>
                    <a:pt x="181" y="19"/>
                  </a:lnTo>
                  <a:lnTo>
                    <a:pt x="181" y="21"/>
                  </a:lnTo>
                  <a:lnTo>
                    <a:pt x="178" y="21"/>
                  </a:lnTo>
                  <a:lnTo>
                    <a:pt x="176" y="21"/>
                  </a:lnTo>
                  <a:lnTo>
                    <a:pt x="176" y="23"/>
                  </a:lnTo>
                  <a:lnTo>
                    <a:pt x="173" y="23"/>
                  </a:lnTo>
                  <a:lnTo>
                    <a:pt x="171" y="23"/>
                  </a:lnTo>
                  <a:lnTo>
                    <a:pt x="169" y="23"/>
                  </a:lnTo>
                  <a:lnTo>
                    <a:pt x="169" y="26"/>
                  </a:lnTo>
                  <a:lnTo>
                    <a:pt x="169" y="28"/>
                  </a:lnTo>
                  <a:lnTo>
                    <a:pt x="171" y="28"/>
                  </a:lnTo>
                  <a:lnTo>
                    <a:pt x="171" y="30"/>
                  </a:lnTo>
                  <a:lnTo>
                    <a:pt x="171" y="33"/>
                  </a:lnTo>
                  <a:lnTo>
                    <a:pt x="169" y="33"/>
                  </a:lnTo>
                  <a:lnTo>
                    <a:pt x="169" y="35"/>
                  </a:lnTo>
                  <a:lnTo>
                    <a:pt x="166" y="38"/>
                  </a:lnTo>
                  <a:lnTo>
                    <a:pt x="164" y="38"/>
                  </a:lnTo>
                  <a:lnTo>
                    <a:pt x="164" y="40"/>
                  </a:lnTo>
                  <a:close/>
                  <a:moveTo>
                    <a:pt x="171" y="123"/>
                  </a:moveTo>
                  <a:lnTo>
                    <a:pt x="169" y="123"/>
                  </a:lnTo>
                  <a:lnTo>
                    <a:pt x="171" y="12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0" name="Freeform 55037"/>
            <p:cNvSpPr>
              <a:spLocks noEditPoints="1"/>
            </p:cNvSpPr>
            <p:nvPr/>
          </p:nvSpPr>
          <p:spPr bwMode="auto">
            <a:xfrm>
              <a:off x="2774948" y="4354528"/>
              <a:ext cx="236538" cy="79375"/>
            </a:xfrm>
            <a:custGeom>
              <a:avLst/>
              <a:gdLst>
                <a:gd name="T0" fmla="*/ 12 w 149"/>
                <a:gd name="T1" fmla="*/ 47 h 50"/>
                <a:gd name="T2" fmla="*/ 12 w 149"/>
                <a:gd name="T3" fmla="*/ 47 h 50"/>
                <a:gd name="T4" fmla="*/ 9 w 149"/>
                <a:gd name="T5" fmla="*/ 47 h 50"/>
                <a:gd name="T6" fmla="*/ 12 w 149"/>
                <a:gd name="T7" fmla="*/ 50 h 50"/>
                <a:gd name="T8" fmla="*/ 9 w 149"/>
                <a:gd name="T9" fmla="*/ 47 h 50"/>
                <a:gd name="T10" fmla="*/ 12 w 149"/>
                <a:gd name="T11" fmla="*/ 47 h 50"/>
                <a:gd name="T12" fmla="*/ 12 w 149"/>
                <a:gd name="T13" fmla="*/ 45 h 50"/>
                <a:gd name="T14" fmla="*/ 12 w 149"/>
                <a:gd name="T15" fmla="*/ 47 h 50"/>
                <a:gd name="T16" fmla="*/ 12 w 149"/>
                <a:gd name="T17" fmla="*/ 45 h 50"/>
                <a:gd name="T18" fmla="*/ 9 w 149"/>
                <a:gd name="T19" fmla="*/ 40 h 50"/>
                <a:gd name="T20" fmla="*/ 9 w 149"/>
                <a:gd name="T21" fmla="*/ 43 h 50"/>
                <a:gd name="T22" fmla="*/ 7 w 149"/>
                <a:gd name="T23" fmla="*/ 36 h 50"/>
                <a:gd name="T24" fmla="*/ 2 w 149"/>
                <a:gd name="T25" fmla="*/ 28 h 50"/>
                <a:gd name="T26" fmla="*/ 5 w 149"/>
                <a:gd name="T27" fmla="*/ 26 h 50"/>
                <a:gd name="T28" fmla="*/ 5 w 149"/>
                <a:gd name="T29" fmla="*/ 28 h 50"/>
                <a:gd name="T30" fmla="*/ 5 w 149"/>
                <a:gd name="T31" fmla="*/ 26 h 50"/>
                <a:gd name="T32" fmla="*/ 2 w 149"/>
                <a:gd name="T33" fmla="*/ 28 h 50"/>
                <a:gd name="T34" fmla="*/ 2 w 149"/>
                <a:gd name="T35" fmla="*/ 28 h 50"/>
                <a:gd name="T36" fmla="*/ 2 w 149"/>
                <a:gd name="T37" fmla="*/ 28 h 50"/>
                <a:gd name="T38" fmla="*/ 0 w 149"/>
                <a:gd name="T39" fmla="*/ 28 h 50"/>
                <a:gd name="T40" fmla="*/ 2 w 149"/>
                <a:gd name="T41" fmla="*/ 26 h 50"/>
                <a:gd name="T42" fmla="*/ 2 w 149"/>
                <a:gd name="T43" fmla="*/ 28 h 50"/>
                <a:gd name="T44" fmla="*/ 0 w 149"/>
                <a:gd name="T45" fmla="*/ 26 h 50"/>
                <a:gd name="T46" fmla="*/ 17 w 149"/>
                <a:gd name="T47" fmla="*/ 21 h 50"/>
                <a:gd name="T48" fmla="*/ 14 w 149"/>
                <a:gd name="T49" fmla="*/ 24 h 50"/>
                <a:gd name="T50" fmla="*/ 14 w 149"/>
                <a:gd name="T51" fmla="*/ 24 h 50"/>
                <a:gd name="T52" fmla="*/ 14 w 149"/>
                <a:gd name="T53" fmla="*/ 21 h 50"/>
                <a:gd name="T54" fmla="*/ 17 w 149"/>
                <a:gd name="T55" fmla="*/ 21 h 50"/>
                <a:gd name="T56" fmla="*/ 14 w 149"/>
                <a:gd name="T57" fmla="*/ 21 h 50"/>
                <a:gd name="T58" fmla="*/ 14 w 149"/>
                <a:gd name="T59" fmla="*/ 21 h 50"/>
                <a:gd name="T60" fmla="*/ 14 w 149"/>
                <a:gd name="T61" fmla="*/ 24 h 50"/>
                <a:gd name="T62" fmla="*/ 12 w 149"/>
                <a:gd name="T63" fmla="*/ 26 h 50"/>
                <a:gd name="T64" fmla="*/ 12 w 149"/>
                <a:gd name="T65" fmla="*/ 26 h 50"/>
                <a:gd name="T66" fmla="*/ 12 w 149"/>
                <a:gd name="T67" fmla="*/ 28 h 50"/>
                <a:gd name="T68" fmla="*/ 9 w 149"/>
                <a:gd name="T69" fmla="*/ 28 h 50"/>
                <a:gd name="T70" fmla="*/ 9 w 149"/>
                <a:gd name="T71" fmla="*/ 31 h 50"/>
                <a:gd name="T72" fmla="*/ 9 w 149"/>
                <a:gd name="T73" fmla="*/ 28 h 50"/>
                <a:gd name="T74" fmla="*/ 7 w 149"/>
                <a:gd name="T75" fmla="*/ 26 h 50"/>
                <a:gd name="T76" fmla="*/ 5 w 149"/>
                <a:gd name="T77" fmla="*/ 28 h 50"/>
                <a:gd name="T78" fmla="*/ 5 w 149"/>
                <a:gd name="T79" fmla="*/ 26 h 50"/>
                <a:gd name="T80" fmla="*/ 5 w 149"/>
                <a:gd name="T81" fmla="*/ 26 h 50"/>
                <a:gd name="T82" fmla="*/ 5 w 149"/>
                <a:gd name="T83" fmla="*/ 26 h 50"/>
                <a:gd name="T84" fmla="*/ 2 w 149"/>
                <a:gd name="T85" fmla="*/ 26 h 50"/>
                <a:gd name="T86" fmla="*/ 2 w 149"/>
                <a:gd name="T87" fmla="*/ 26 h 50"/>
                <a:gd name="T88" fmla="*/ 2 w 149"/>
                <a:gd name="T89" fmla="*/ 28 h 50"/>
                <a:gd name="T90" fmla="*/ 0 w 149"/>
                <a:gd name="T91" fmla="*/ 26 h 50"/>
                <a:gd name="T92" fmla="*/ 0 w 149"/>
                <a:gd name="T93" fmla="*/ 26 h 50"/>
                <a:gd name="T94" fmla="*/ 2 w 149"/>
                <a:gd name="T95" fmla="*/ 24 h 50"/>
                <a:gd name="T96" fmla="*/ 7 w 149"/>
                <a:gd name="T97" fmla="*/ 21 h 50"/>
                <a:gd name="T98" fmla="*/ 12 w 149"/>
                <a:gd name="T99" fmla="*/ 21 h 50"/>
                <a:gd name="T100" fmla="*/ 14 w 149"/>
                <a:gd name="T101" fmla="*/ 19 h 50"/>
                <a:gd name="T102" fmla="*/ 17 w 149"/>
                <a:gd name="T103" fmla="*/ 19 h 50"/>
                <a:gd name="T104" fmla="*/ 145 w 149"/>
                <a:gd name="T105" fmla="*/ 0 h 50"/>
                <a:gd name="T106" fmla="*/ 147 w 149"/>
                <a:gd name="T107" fmla="*/ 0 h 50"/>
                <a:gd name="T108" fmla="*/ 145 w 149"/>
                <a:gd name="T109" fmla="*/ 0 h 50"/>
                <a:gd name="T110" fmla="*/ 147 w 149"/>
                <a:gd name="T111" fmla="*/ 0 h 50"/>
                <a:gd name="T112" fmla="*/ 147 w 149"/>
                <a:gd name="T113" fmla="*/ 2 h 50"/>
                <a:gd name="T114" fmla="*/ 147 w 149"/>
                <a:gd name="T115" fmla="*/ 2 h 50"/>
                <a:gd name="T116" fmla="*/ 147 w 149"/>
                <a:gd name="T117" fmla="*/ 2 h 50"/>
                <a:gd name="T118" fmla="*/ 145 w 149"/>
                <a:gd name="T119" fmla="*/ 2 h 50"/>
                <a:gd name="T120" fmla="*/ 145 w 149"/>
                <a:gd name="T121" fmla="*/ 2 h 50"/>
                <a:gd name="T122" fmla="*/ 145 w 149"/>
                <a:gd name="T12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 h="50">
                  <a:moveTo>
                    <a:pt x="12" y="47"/>
                  </a:moveTo>
                  <a:lnTo>
                    <a:pt x="12" y="47"/>
                  </a:lnTo>
                  <a:lnTo>
                    <a:pt x="12" y="47"/>
                  </a:lnTo>
                  <a:lnTo>
                    <a:pt x="12" y="47"/>
                  </a:lnTo>
                  <a:lnTo>
                    <a:pt x="12" y="47"/>
                  </a:lnTo>
                  <a:lnTo>
                    <a:pt x="12" y="47"/>
                  </a:lnTo>
                  <a:lnTo>
                    <a:pt x="12" y="47"/>
                  </a:lnTo>
                  <a:lnTo>
                    <a:pt x="12" y="47"/>
                  </a:lnTo>
                  <a:lnTo>
                    <a:pt x="12" y="47"/>
                  </a:lnTo>
                  <a:lnTo>
                    <a:pt x="12" y="47"/>
                  </a:lnTo>
                  <a:lnTo>
                    <a:pt x="12" y="47"/>
                  </a:lnTo>
                  <a:lnTo>
                    <a:pt x="12" y="47"/>
                  </a:lnTo>
                  <a:lnTo>
                    <a:pt x="12" y="47"/>
                  </a:lnTo>
                  <a:lnTo>
                    <a:pt x="12" y="47"/>
                  </a:lnTo>
                  <a:lnTo>
                    <a:pt x="12" y="47"/>
                  </a:lnTo>
                  <a:lnTo>
                    <a:pt x="9" y="47"/>
                  </a:lnTo>
                  <a:lnTo>
                    <a:pt x="9" y="47"/>
                  </a:lnTo>
                  <a:lnTo>
                    <a:pt x="9" y="47"/>
                  </a:lnTo>
                  <a:lnTo>
                    <a:pt x="9" y="47"/>
                  </a:lnTo>
                  <a:lnTo>
                    <a:pt x="9" y="47"/>
                  </a:lnTo>
                  <a:lnTo>
                    <a:pt x="9" y="47"/>
                  </a:lnTo>
                  <a:lnTo>
                    <a:pt x="9" y="47"/>
                  </a:lnTo>
                  <a:lnTo>
                    <a:pt x="12" y="50"/>
                  </a:lnTo>
                  <a:lnTo>
                    <a:pt x="12" y="50"/>
                  </a:lnTo>
                  <a:lnTo>
                    <a:pt x="12" y="50"/>
                  </a:lnTo>
                  <a:lnTo>
                    <a:pt x="12" y="50"/>
                  </a:lnTo>
                  <a:lnTo>
                    <a:pt x="12" y="50"/>
                  </a:lnTo>
                  <a:lnTo>
                    <a:pt x="12" y="50"/>
                  </a:lnTo>
                  <a:lnTo>
                    <a:pt x="12" y="50"/>
                  </a:lnTo>
                  <a:lnTo>
                    <a:pt x="12" y="50"/>
                  </a:lnTo>
                  <a:lnTo>
                    <a:pt x="12" y="50"/>
                  </a:lnTo>
                  <a:lnTo>
                    <a:pt x="12" y="50"/>
                  </a:lnTo>
                  <a:lnTo>
                    <a:pt x="12" y="50"/>
                  </a:lnTo>
                  <a:lnTo>
                    <a:pt x="12" y="50"/>
                  </a:lnTo>
                  <a:lnTo>
                    <a:pt x="9" y="47"/>
                  </a:lnTo>
                  <a:lnTo>
                    <a:pt x="9" y="47"/>
                  </a:lnTo>
                  <a:lnTo>
                    <a:pt x="9" y="47"/>
                  </a:lnTo>
                  <a:lnTo>
                    <a:pt x="9" y="47"/>
                  </a:lnTo>
                  <a:lnTo>
                    <a:pt x="9" y="47"/>
                  </a:lnTo>
                  <a:lnTo>
                    <a:pt x="9" y="47"/>
                  </a:lnTo>
                  <a:lnTo>
                    <a:pt x="12" y="47"/>
                  </a:lnTo>
                  <a:lnTo>
                    <a:pt x="12" y="47"/>
                  </a:lnTo>
                  <a:lnTo>
                    <a:pt x="12" y="45"/>
                  </a:lnTo>
                  <a:lnTo>
                    <a:pt x="12" y="45"/>
                  </a:lnTo>
                  <a:lnTo>
                    <a:pt x="12" y="45"/>
                  </a:lnTo>
                  <a:lnTo>
                    <a:pt x="12" y="45"/>
                  </a:lnTo>
                  <a:lnTo>
                    <a:pt x="12" y="45"/>
                  </a:lnTo>
                  <a:lnTo>
                    <a:pt x="12" y="45"/>
                  </a:lnTo>
                  <a:lnTo>
                    <a:pt x="12" y="45"/>
                  </a:lnTo>
                  <a:lnTo>
                    <a:pt x="12" y="45"/>
                  </a:lnTo>
                  <a:lnTo>
                    <a:pt x="12" y="45"/>
                  </a:lnTo>
                  <a:lnTo>
                    <a:pt x="12" y="47"/>
                  </a:lnTo>
                  <a:lnTo>
                    <a:pt x="12" y="47"/>
                  </a:lnTo>
                  <a:lnTo>
                    <a:pt x="12" y="47"/>
                  </a:lnTo>
                  <a:lnTo>
                    <a:pt x="12" y="47"/>
                  </a:lnTo>
                  <a:lnTo>
                    <a:pt x="12" y="47"/>
                  </a:lnTo>
                  <a:lnTo>
                    <a:pt x="12" y="47"/>
                  </a:lnTo>
                  <a:close/>
                  <a:moveTo>
                    <a:pt x="12" y="45"/>
                  </a:moveTo>
                  <a:lnTo>
                    <a:pt x="12" y="45"/>
                  </a:lnTo>
                  <a:lnTo>
                    <a:pt x="12" y="45"/>
                  </a:lnTo>
                  <a:lnTo>
                    <a:pt x="12" y="45"/>
                  </a:lnTo>
                  <a:lnTo>
                    <a:pt x="12" y="45"/>
                  </a:lnTo>
                  <a:lnTo>
                    <a:pt x="12" y="45"/>
                  </a:lnTo>
                  <a:lnTo>
                    <a:pt x="12" y="45"/>
                  </a:lnTo>
                  <a:lnTo>
                    <a:pt x="12" y="45"/>
                  </a:lnTo>
                  <a:lnTo>
                    <a:pt x="12" y="45"/>
                  </a:lnTo>
                  <a:close/>
                  <a:moveTo>
                    <a:pt x="9" y="43"/>
                  </a:moveTo>
                  <a:lnTo>
                    <a:pt x="9" y="43"/>
                  </a:lnTo>
                  <a:lnTo>
                    <a:pt x="9" y="40"/>
                  </a:lnTo>
                  <a:lnTo>
                    <a:pt x="9" y="40"/>
                  </a:lnTo>
                  <a:lnTo>
                    <a:pt x="9" y="40"/>
                  </a:lnTo>
                  <a:lnTo>
                    <a:pt x="9" y="40"/>
                  </a:lnTo>
                  <a:lnTo>
                    <a:pt x="9" y="40"/>
                  </a:lnTo>
                  <a:lnTo>
                    <a:pt x="9" y="40"/>
                  </a:lnTo>
                  <a:lnTo>
                    <a:pt x="9" y="43"/>
                  </a:lnTo>
                  <a:lnTo>
                    <a:pt x="9" y="43"/>
                  </a:lnTo>
                  <a:lnTo>
                    <a:pt x="9" y="43"/>
                  </a:lnTo>
                  <a:close/>
                  <a:moveTo>
                    <a:pt x="7" y="36"/>
                  </a:moveTo>
                  <a:lnTo>
                    <a:pt x="7" y="38"/>
                  </a:lnTo>
                  <a:lnTo>
                    <a:pt x="7" y="36"/>
                  </a:lnTo>
                  <a:lnTo>
                    <a:pt x="7" y="36"/>
                  </a:lnTo>
                  <a:lnTo>
                    <a:pt x="7" y="36"/>
                  </a:lnTo>
                  <a:lnTo>
                    <a:pt x="7" y="36"/>
                  </a:lnTo>
                  <a:lnTo>
                    <a:pt x="7" y="36"/>
                  </a:lnTo>
                  <a:lnTo>
                    <a:pt x="7" y="36"/>
                  </a:lnTo>
                  <a:close/>
                  <a:moveTo>
                    <a:pt x="5" y="28"/>
                  </a:moveTo>
                  <a:lnTo>
                    <a:pt x="5" y="28"/>
                  </a:lnTo>
                  <a:lnTo>
                    <a:pt x="5" y="28"/>
                  </a:lnTo>
                  <a:lnTo>
                    <a:pt x="2" y="28"/>
                  </a:lnTo>
                  <a:lnTo>
                    <a:pt x="2" y="28"/>
                  </a:lnTo>
                  <a:lnTo>
                    <a:pt x="2" y="28"/>
                  </a:lnTo>
                  <a:lnTo>
                    <a:pt x="2" y="28"/>
                  </a:lnTo>
                  <a:lnTo>
                    <a:pt x="2" y="28"/>
                  </a:lnTo>
                  <a:lnTo>
                    <a:pt x="2" y="28"/>
                  </a:lnTo>
                  <a:lnTo>
                    <a:pt x="2" y="28"/>
                  </a:lnTo>
                  <a:lnTo>
                    <a:pt x="5" y="26"/>
                  </a:lnTo>
                  <a:lnTo>
                    <a:pt x="5" y="26"/>
                  </a:lnTo>
                  <a:lnTo>
                    <a:pt x="5" y="26"/>
                  </a:lnTo>
                  <a:lnTo>
                    <a:pt x="5" y="28"/>
                  </a:lnTo>
                  <a:lnTo>
                    <a:pt x="5" y="28"/>
                  </a:lnTo>
                  <a:lnTo>
                    <a:pt x="5" y="28"/>
                  </a:lnTo>
                  <a:lnTo>
                    <a:pt x="5" y="28"/>
                  </a:lnTo>
                  <a:lnTo>
                    <a:pt x="5" y="28"/>
                  </a:lnTo>
                  <a:lnTo>
                    <a:pt x="5" y="28"/>
                  </a:lnTo>
                  <a:lnTo>
                    <a:pt x="5" y="28"/>
                  </a:lnTo>
                  <a:close/>
                  <a:moveTo>
                    <a:pt x="2" y="28"/>
                  </a:moveTo>
                  <a:lnTo>
                    <a:pt x="2" y="28"/>
                  </a:lnTo>
                  <a:lnTo>
                    <a:pt x="2" y="28"/>
                  </a:lnTo>
                  <a:lnTo>
                    <a:pt x="2" y="26"/>
                  </a:lnTo>
                  <a:lnTo>
                    <a:pt x="5" y="26"/>
                  </a:lnTo>
                  <a:lnTo>
                    <a:pt x="5" y="26"/>
                  </a:lnTo>
                  <a:lnTo>
                    <a:pt x="5" y="26"/>
                  </a:lnTo>
                  <a:lnTo>
                    <a:pt x="5" y="26"/>
                  </a:lnTo>
                  <a:lnTo>
                    <a:pt x="5" y="26"/>
                  </a:lnTo>
                  <a:lnTo>
                    <a:pt x="2" y="28"/>
                  </a:lnTo>
                  <a:close/>
                  <a:moveTo>
                    <a:pt x="2" y="28"/>
                  </a:move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31"/>
                  </a:lnTo>
                  <a:lnTo>
                    <a:pt x="2" y="31"/>
                  </a:lnTo>
                  <a:lnTo>
                    <a:pt x="0" y="28"/>
                  </a:lnTo>
                  <a:lnTo>
                    <a:pt x="0" y="28"/>
                  </a:lnTo>
                  <a:lnTo>
                    <a:pt x="0" y="28"/>
                  </a:lnTo>
                  <a:lnTo>
                    <a:pt x="0" y="28"/>
                  </a:lnTo>
                  <a:lnTo>
                    <a:pt x="0" y="28"/>
                  </a:lnTo>
                  <a:lnTo>
                    <a:pt x="0" y="28"/>
                  </a:lnTo>
                  <a:lnTo>
                    <a:pt x="0" y="28"/>
                  </a:lnTo>
                  <a:lnTo>
                    <a:pt x="0" y="28"/>
                  </a:lnTo>
                  <a:lnTo>
                    <a:pt x="0" y="28"/>
                  </a:lnTo>
                  <a:lnTo>
                    <a:pt x="0" y="26"/>
                  </a:lnTo>
                  <a:lnTo>
                    <a:pt x="0" y="26"/>
                  </a:lnTo>
                  <a:lnTo>
                    <a:pt x="2" y="26"/>
                  </a:lnTo>
                  <a:lnTo>
                    <a:pt x="2" y="26"/>
                  </a:lnTo>
                  <a:lnTo>
                    <a:pt x="2" y="26"/>
                  </a:lnTo>
                  <a:lnTo>
                    <a:pt x="2" y="26"/>
                  </a:lnTo>
                  <a:lnTo>
                    <a:pt x="2" y="26"/>
                  </a:lnTo>
                  <a:lnTo>
                    <a:pt x="2" y="26"/>
                  </a:lnTo>
                  <a:lnTo>
                    <a:pt x="2" y="28"/>
                  </a:lnTo>
                  <a:lnTo>
                    <a:pt x="2" y="28"/>
                  </a:lnTo>
                  <a:close/>
                  <a:moveTo>
                    <a:pt x="0" y="26"/>
                  </a:moveTo>
                  <a:lnTo>
                    <a:pt x="0" y="26"/>
                  </a:lnTo>
                  <a:lnTo>
                    <a:pt x="0" y="26"/>
                  </a:lnTo>
                  <a:lnTo>
                    <a:pt x="0" y="26"/>
                  </a:lnTo>
                  <a:lnTo>
                    <a:pt x="0" y="26"/>
                  </a:lnTo>
                  <a:lnTo>
                    <a:pt x="0" y="26"/>
                  </a:lnTo>
                  <a:lnTo>
                    <a:pt x="0" y="26"/>
                  </a:lnTo>
                  <a:lnTo>
                    <a:pt x="0" y="26"/>
                  </a:lnTo>
                  <a:lnTo>
                    <a:pt x="0" y="26"/>
                  </a:lnTo>
                  <a:lnTo>
                    <a:pt x="0" y="26"/>
                  </a:lnTo>
                  <a:lnTo>
                    <a:pt x="0" y="26"/>
                  </a:lnTo>
                  <a:lnTo>
                    <a:pt x="0" y="26"/>
                  </a:lnTo>
                  <a:close/>
                  <a:moveTo>
                    <a:pt x="17" y="21"/>
                  </a:moveTo>
                  <a:lnTo>
                    <a:pt x="17" y="21"/>
                  </a:lnTo>
                  <a:lnTo>
                    <a:pt x="17" y="21"/>
                  </a:lnTo>
                  <a:lnTo>
                    <a:pt x="17" y="21"/>
                  </a:lnTo>
                  <a:lnTo>
                    <a:pt x="17" y="24"/>
                  </a:lnTo>
                  <a:lnTo>
                    <a:pt x="14" y="24"/>
                  </a:lnTo>
                  <a:lnTo>
                    <a:pt x="14" y="24"/>
                  </a:lnTo>
                  <a:lnTo>
                    <a:pt x="14" y="24"/>
                  </a:lnTo>
                  <a:lnTo>
                    <a:pt x="14" y="24"/>
                  </a:lnTo>
                  <a:lnTo>
                    <a:pt x="14" y="24"/>
                  </a:lnTo>
                  <a:lnTo>
                    <a:pt x="14" y="24"/>
                  </a:lnTo>
                  <a:lnTo>
                    <a:pt x="14" y="24"/>
                  </a:lnTo>
                  <a:lnTo>
                    <a:pt x="14" y="24"/>
                  </a:lnTo>
                  <a:lnTo>
                    <a:pt x="14" y="24"/>
                  </a:lnTo>
                  <a:lnTo>
                    <a:pt x="14" y="24"/>
                  </a:lnTo>
                  <a:lnTo>
                    <a:pt x="14" y="24"/>
                  </a:lnTo>
                  <a:lnTo>
                    <a:pt x="14" y="24"/>
                  </a:lnTo>
                  <a:lnTo>
                    <a:pt x="14" y="24"/>
                  </a:lnTo>
                  <a:lnTo>
                    <a:pt x="14" y="21"/>
                  </a:lnTo>
                  <a:lnTo>
                    <a:pt x="14" y="21"/>
                  </a:lnTo>
                  <a:lnTo>
                    <a:pt x="14" y="21"/>
                  </a:lnTo>
                  <a:lnTo>
                    <a:pt x="14" y="21"/>
                  </a:lnTo>
                  <a:lnTo>
                    <a:pt x="14" y="21"/>
                  </a:lnTo>
                  <a:lnTo>
                    <a:pt x="14" y="21"/>
                  </a:lnTo>
                  <a:lnTo>
                    <a:pt x="14" y="21"/>
                  </a:lnTo>
                  <a:lnTo>
                    <a:pt x="14" y="21"/>
                  </a:lnTo>
                  <a:lnTo>
                    <a:pt x="14" y="21"/>
                  </a:lnTo>
                  <a:lnTo>
                    <a:pt x="14" y="21"/>
                  </a:lnTo>
                  <a:lnTo>
                    <a:pt x="14" y="21"/>
                  </a:lnTo>
                  <a:lnTo>
                    <a:pt x="17" y="21"/>
                  </a:lnTo>
                  <a:lnTo>
                    <a:pt x="17" y="21"/>
                  </a:lnTo>
                  <a:close/>
                  <a:moveTo>
                    <a:pt x="17" y="19"/>
                  </a:moveTo>
                  <a:lnTo>
                    <a:pt x="17" y="19"/>
                  </a:lnTo>
                  <a:lnTo>
                    <a:pt x="17" y="19"/>
                  </a:lnTo>
                  <a:lnTo>
                    <a:pt x="14" y="19"/>
                  </a:lnTo>
                  <a:lnTo>
                    <a:pt x="14" y="19"/>
                  </a:lnTo>
                  <a:lnTo>
                    <a:pt x="14" y="21"/>
                  </a:lnTo>
                  <a:lnTo>
                    <a:pt x="14" y="21"/>
                  </a:lnTo>
                  <a:lnTo>
                    <a:pt x="14" y="21"/>
                  </a:lnTo>
                  <a:lnTo>
                    <a:pt x="14" y="21"/>
                  </a:lnTo>
                  <a:lnTo>
                    <a:pt x="14" y="21"/>
                  </a:lnTo>
                  <a:lnTo>
                    <a:pt x="14" y="21"/>
                  </a:lnTo>
                  <a:lnTo>
                    <a:pt x="14" y="21"/>
                  </a:lnTo>
                  <a:lnTo>
                    <a:pt x="14" y="21"/>
                  </a:lnTo>
                  <a:lnTo>
                    <a:pt x="14" y="21"/>
                  </a:lnTo>
                  <a:lnTo>
                    <a:pt x="14" y="21"/>
                  </a:lnTo>
                  <a:lnTo>
                    <a:pt x="14" y="21"/>
                  </a:lnTo>
                  <a:lnTo>
                    <a:pt x="14" y="24"/>
                  </a:lnTo>
                  <a:lnTo>
                    <a:pt x="14" y="24"/>
                  </a:lnTo>
                  <a:lnTo>
                    <a:pt x="14" y="24"/>
                  </a:lnTo>
                  <a:lnTo>
                    <a:pt x="14" y="24"/>
                  </a:lnTo>
                  <a:lnTo>
                    <a:pt x="14" y="24"/>
                  </a:lnTo>
                  <a:lnTo>
                    <a:pt x="12" y="24"/>
                  </a:lnTo>
                  <a:lnTo>
                    <a:pt x="12" y="24"/>
                  </a:lnTo>
                  <a:lnTo>
                    <a:pt x="12" y="24"/>
                  </a:lnTo>
                  <a:lnTo>
                    <a:pt x="12" y="24"/>
                  </a:lnTo>
                  <a:lnTo>
                    <a:pt x="12" y="26"/>
                  </a:lnTo>
                  <a:lnTo>
                    <a:pt x="12" y="26"/>
                  </a:lnTo>
                  <a:lnTo>
                    <a:pt x="12" y="26"/>
                  </a:lnTo>
                  <a:lnTo>
                    <a:pt x="12" y="26"/>
                  </a:lnTo>
                  <a:lnTo>
                    <a:pt x="12" y="26"/>
                  </a:lnTo>
                  <a:lnTo>
                    <a:pt x="12" y="26"/>
                  </a:lnTo>
                  <a:lnTo>
                    <a:pt x="12" y="26"/>
                  </a:lnTo>
                  <a:lnTo>
                    <a:pt x="12" y="26"/>
                  </a:lnTo>
                  <a:lnTo>
                    <a:pt x="12" y="26"/>
                  </a:lnTo>
                  <a:lnTo>
                    <a:pt x="12" y="26"/>
                  </a:lnTo>
                  <a:lnTo>
                    <a:pt x="12" y="28"/>
                  </a:lnTo>
                  <a:lnTo>
                    <a:pt x="12" y="28"/>
                  </a:lnTo>
                  <a:lnTo>
                    <a:pt x="12" y="28"/>
                  </a:lnTo>
                  <a:lnTo>
                    <a:pt x="12" y="28"/>
                  </a:lnTo>
                  <a:lnTo>
                    <a:pt x="12" y="28"/>
                  </a:lnTo>
                  <a:lnTo>
                    <a:pt x="12" y="28"/>
                  </a:lnTo>
                  <a:lnTo>
                    <a:pt x="12" y="28"/>
                  </a:lnTo>
                  <a:lnTo>
                    <a:pt x="9" y="28"/>
                  </a:lnTo>
                  <a:lnTo>
                    <a:pt x="9" y="28"/>
                  </a:lnTo>
                  <a:lnTo>
                    <a:pt x="9" y="28"/>
                  </a:lnTo>
                  <a:lnTo>
                    <a:pt x="9" y="28"/>
                  </a:lnTo>
                  <a:lnTo>
                    <a:pt x="9" y="28"/>
                  </a:lnTo>
                  <a:lnTo>
                    <a:pt x="9" y="28"/>
                  </a:lnTo>
                  <a:lnTo>
                    <a:pt x="9" y="31"/>
                  </a:lnTo>
                  <a:lnTo>
                    <a:pt x="9" y="31"/>
                  </a:lnTo>
                  <a:lnTo>
                    <a:pt x="9" y="31"/>
                  </a:lnTo>
                  <a:lnTo>
                    <a:pt x="9" y="31"/>
                  </a:lnTo>
                  <a:lnTo>
                    <a:pt x="9" y="31"/>
                  </a:lnTo>
                  <a:lnTo>
                    <a:pt x="9" y="31"/>
                  </a:lnTo>
                  <a:lnTo>
                    <a:pt x="9" y="31"/>
                  </a:lnTo>
                  <a:lnTo>
                    <a:pt x="9" y="31"/>
                  </a:lnTo>
                  <a:lnTo>
                    <a:pt x="9" y="28"/>
                  </a:lnTo>
                  <a:lnTo>
                    <a:pt x="9" y="28"/>
                  </a:lnTo>
                  <a:lnTo>
                    <a:pt x="9" y="28"/>
                  </a:lnTo>
                  <a:lnTo>
                    <a:pt x="9" y="28"/>
                  </a:lnTo>
                  <a:lnTo>
                    <a:pt x="9" y="28"/>
                  </a:lnTo>
                  <a:lnTo>
                    <a:pt x="9" y="28"/>
                  </a:lnTo>
                  <a:lnTo>
                    <a:pt x="9" y="28"/>
                  </a:lnTo>
                  <a:lnTo>
                    <a:pt x="9" y="28"/>
                  </a:lnTo>
                  <a:lnTo>
                    <a:pt x="9" y="28"/>
                  </a:lnTo>
                  <a:lnTo>
                    <a:pt x="7" y="28"/>
                  </a:lnTo>
                  <a:lnTo>
                    <a:pt x="7" y="28"/>
                  </a:lnTo>
                  <a:lnTo>
                    <a:pt x="7" y="28"/>
                  </a:lnTo>
                  <a:lnTo>
                    <a:pt x="7" y="26"/>
                  </a:lnTo>
                  <a:lnTo>
                    <a:pt x="7" y="28"/>
                  </a:lnTo>
                  <a:lnTo>
                    <a:pt x="7" y="26"/>
                  </a:lnTo>
                  <a:lnTo>
                    <a:pt x="5" y="26"/>
                  </a:lnTo>
                  <a:lnTo>
                    <a:pt x="5" y="26"/>
                  </a:lnTo>
                  <a:lnTo>
                    <a:pt x="5" y="26"/>
                  </a:lnTo>
                  <a:lnTo>
                    <a:pt x="5" y="28"/>
                  </a:lnTo>
                  <a:lnTo>
                    <a:pt x="5" y="28"/>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8"/>
                  </a:lnTo>
                  <a:lnTo>
                    <a:pt x="2" y="28"/>
                  </a:lnTo>
                  <a:lnTo>
                    <a:pt x="2" y="28"/>
                  </a:lnTo>
                  <a:lnTo>
                    <a:pt x="2" y="28"/>
                  </a:lnTo>
                  <a:lnTo>
                    <a:pt x="2" y="26"/>
                  </a:lnTo>
                  <a:lnTo>
                    <a:pt x="2" y="26"/>
                  </a:lnTo>
                  <a:lnTo>
                    <a:pt x="2" y="26"/>
                  </a:lnTo>
                  <a:lnTo>
                    <a:pt x="0" y="26"/>
                  </a:lnTo>
                  <a:lnTo>
                    <a:pt x="0" y="26"/>
                  </a:lnTo>
                  <a:lnTo>
                    <a:pt x="0" y="28"/>
                  </a:lnTo>
                  <a:lnTo>
                    <a:pt x="0" y="28"/>
                  </a:lnTo>
                  <a:lnTo>
                    <a:pt x="0" y="28"/>
                  </a:lnTo>
                  <a:lnTo>
                    <a:pt x="0" y="26"/>
                  </a:lnTo>
                  <a:lnTo>
                    <a:pt x="0" y="26"/>
                  </a:lnTo>
                  <a:lnTo>
                    <a:pt x="0" y="26"/>
                  </a:lnTo>
                  <a:lnTo>
                    <a:pt x="0" y="26"/>
                  </a:lnTo>
                  <a:lnTo>
                    <a:pt x="0" y="26"/>
                  </a:lnTo>
                  <a:lnTo>
                    <a:pt x="0" y="26"/>
                  </a:lnTo>
                  <a:lnTo>
                    <a:pt x="0" y="26"/>
                  </a:lnTo>
                  <a:lnTo>
                    <a:pt x="0" y="24"/>
                  </a:lnTo>
                  <a:lnTo>
                    <a:pt x="0" y="24"/>
                  </a:lnTo>
                  <a:lnTo>
                    <a:pt x="2" y="24"/>
                  </a:lnTo>
                  <a:lnTo>
                    <a:pt x="2" y="24"/>
                  </a:lnTo>
                  <a:lnTo>
                    <a:pt x="2" y="24"/>
                  </a:lnTo>
                  <a:lnTo>
                    <a:pt x="2" y="24"/>
                  </a:lnTo>
                  <a:lnTo>
                    <a:pt x="5" y="24"/>
                  </a:lnTo>
                  <a:lnTo>
                    <a:pt x="5" y="24"/>
                  </a:lnTo>
                  <a:lnTo>
                    <a:pt x="5" y="24"/>
                  </a:lnTo>
                  <a:lnTo>
                    <a:pt x="7" y="21"/>
                  </a:lnTo>
                  <a:lnTo>
                    <a:pt x="7" y="21"/>
                  </a:lnTo>
                  <a:lnTo>
                    <a:pt x="7" y="21"/>
                  </a:lnTo>
                  <a:lnTo>
                    <a:pt x="7" y="21"/>
                  </a:lnTo>
                  <a:lnTo>
                    <a:pt x="7" y="21"/>
                  </a:lnTo>
                  <a:lnTo>
                    <a:pt x="9" y="21"/>
                  </a:lnTo>
                  <a:lnTo>
                    <a:pt x="9" y="21"/>
                  </a:lnTo>
                  <a:lnTo>
                    <a:pt x="12" y="21"/>
                  </a:lnTo>
                  <a:lnTo>
                    <a:pt x="12" y="21"/>
                  </a:lnTo>
                  <a:lnTo>
                    <a:pt x="12" y="21"/>
                  </a:lnTo>
                  <a:lnTo>
                    <a:pt x="12" y="21"/>
                  </a:lnTo>
                  <a:lnTo>
                    <a:pt x="12" y="21"/>
                  </a:lnTo>
                  <a:lnTo>
                    <a:pt x="14" y="19"/>
                  </a:lnTo>
                  <a:lnTo>
                    <a:pt x="14" y="19"/>
                  </a:lnTo>
                  <a:lnTo>
                    <a:pt x="14" y="19"/>
                  </a:lnTo>
                  <a:lnTo>
                    <a:pt x="14" y="19"/>
                  </a:lnTo>
                  <a:lnTo>
                    <a:pt x="14" y="19"/>
                  </a:lnTo>
                  <a:lnTo>
                    <a:pt x="14" y="19"/>
                  </a:lnTo>
                  <a:lnTo>
                    <a:pt x="17" y="19"/>
                  </a:lnTo>
                  <a:lnTo>
                    <a:pt x="17" y="19"/>
                  </a:lnTo>
                  <a:lnTo>
                    <a:pt x="17" y="19"/>
                  </a:lnTo>
                  <a:lnTo>
                    <a:pt x="17" y="19"/>
                  </a:lnTo>
                  <a:close/>
                  <a:moveTo>
                    <a:pt x="145" y="0"/>
                  </a:moveTo>
                  <a:lnTo>
                    <a:pt x="145" y="0"/>
                  </a:lnTo>
                  <a:lnTo>
                    <a:pt x="145" y="0"/>
                  </a:lnTo>
                  <a:lnTo>
                    <a:pt x="145" y="0"/>
                  </a:lnTo>
                  <a:lnTo>
                    <a:pt x="145" y="0"/>
                  </a:lnTo>
                  <a:lnTo>
                    <a:pt x="147" y="0"/>
                  </a:lnTo>
                  <a:lnTo>
                    <a:pt x="145" y="0"/>
                  </a:lnTo>
                  <a:lnTo>
                    <a:pt x="147" y="0"/>
                  </a:lnTo>
                  <a:lnTo>
                    <a:pt x="147" y="0"/>
                  </a:lnTo>
                  <a:lnTo>
                    <a:pt x="147" y="0"/>
                  </a:lnTo>
                  <a:lnTo>
                    <a:pt x="147" y="0"/>
                  </a:lnTo>
                  <a:lnTo>
                    <a:pt x="147" y="0"/>
                  </a:lnTo>
                  <a:lnTo>
                    <a:pt x="147" y="0"/>
                  </a:lnTo>
                  <a:lnTo>
                    <a:pt x="147" y="0"/>
                  </a:lnTo>
                  <a:lnTo>
                    <a:pt x="145" y="0"/>
                  </a:lnTo>
                  <a:lnTo>
                    <a:pt x="145" y="0"/>
                  </a:lnTo>
                  <a:lnTo>
                    <a:pt x="145" y="0"/>
                  </a:lnTo>
                  <a:lnTo>
                    <a:pt x="145" y="0"/>
                  </a:lnTo>
                  <a:lnTo>
                    <a:pt x="145" y="0"/>
                  </a:lnTo>
                  <a:lnTo>
                    <a:pt x="145" y="0"/>
                  </a:lnTo>
                  <a:lnTo>
                    <a:pt x="145" y="0"/>
                  </a:lnTo>
                  <a:lnTo>
                    <a:pt x="145" y="0"/>
                  </a:lnTo>
                  <a:lnTo>
                    <a:pt x="145" y="0"/>
                  </a:lnTo>
                  <a:lnTo>
                    <a:pt x="145" y="0"/>
                  </a:lnTo>
                  <a:lnTo>
                    <a:pt x="145" y="0"/>
                  </a:lnTo>
                  <a:lnTo>
                    <a:pt x="145" y="0"/>
                  </a:lnTo>
                  <a:lnTo>
                    <a:pt x="145" y="0"/>
                  </a:lnTo>
                  <a:lnTo>
                    <a:pt x="147" y="0"/>
                  </a:lnTo>
                  <a:lnTo>
                    <a:pt x="147" y="0"/>
                  </a:lnTo>
                  <a:lnTo>
                    <a:pt x="145" y="0"/>
                  </a:lnTo>
                  <a:lnTo>
                    <a:pt x="147" y="0"/>
                  </a:lnTo>
                  <a:lnTo>
                    <a:pt x="145" y="0"/>
                  </a:lnTo>
                  <a:lnTo>
                    <a:pt x="147" y="0"/>
                  </a:lnTo>
                  <a:lnTo>
                    <a:pt x="147" y="2"/>
                  </a:lnTo>
                  <a:lnTo>
                    <a:pt x="147" y="2"/>
                  </a:lnTo>
                  <a:lnTo>
                    <a:pt x="147" y="2"/>
                  </a:lnTo>
                  <a:lnTo>
                    <a:pt x="147" y="2"/>
                  </a:lnTo>
                  <a:lnTo>
                    <a:pt x="147" y="2"/>
                  </a:lnTo>
                  <a:lnTo>
                    <a:pt x="147" y="2"/>
                  </a:lnTo>
                  <a:lnTo>
                    <a:pt x="147" y="2"/>
                  </a:lnTo>
                  <a:lnTo>
                    <a:pt x="147" y="2"/>
                  </a:lnTo>
                  <a:lnTo>
                    <a:pt x="147" y="2"/>
                  </a:lnTo>
                  <a:lnTo>
                    <a:pt x="147" y="2"/>
                  </a:lnTo>
                  <a:lnTo>
                    <a:pt x="147" y="2"/>
                  </a:lnTo>
                  <a:lnTo>
                    <a:pt x="149" y="2"/>
                  </a:lnTo>
                  <a:lnTo>
                    <a:pt x="149" y="2"/>
                  </a:lnTo>
                  <a:lnTo>
                    <a:pt x="149" y="2"/>
                  </a:lnTo>
                  <a:lnTo>
                    <a:pt x="147" y="2"/>
                  </a:lnTo>
                  <a:lnTo>
                    <a:pt x="147" y="2"/>
                  </a:lnTo>
                  <a:lnTo>
                    <a:pt x="147" y="2"/>
                  </a:lnTo>
                  <a:lnTo>
                    <a:pt x="147" y="2"/>
                  </a:lnTo>
                  <a:lnTo>
                    <a:pt x="147" y="2"/>
                  </a:lnTo>
                  <a:lnTo>
                    <a:pt x="147" y="2"/>
                  </a:lnTo>
                  <a:lnTo>
                    <a:pt x="145" y="2"/>
                  </a:lnTo>
                  <a:lnTo>
                    <a:pt x="145" y="2"/>
                  </a:lnTo>
                  <a:lnTo>
                    <a:pt x="145" y="2"/>
                  </a:lnTo>
                  <a:lnTo>
                    <a:pt x="145" y="2"/>
                  </a:lnTo>
                  <a:lnTo>
                    <a:pt x="145" y="2"/>
                  </a:lnTo>
                  <a:lnTo>
                    <a:pt x="145" y="2"/>
                  </a:lnTo>
                  <a:lnTo>
                    <a:pt x="145" y="2"/>
                  </a:lnTo>
                  <a:lnTo>
                    <a:pt x="145" y="2"/>
                  </a:lnTo>
                  <a:lnTo>
                    <a:pt x="145" y="2"/>
                  </a:lnTo>
                  <a:lnTo>
                    <a:pt x="145" y="2"/>
                  </a:lnTo>
                  <a:lnTo>
                    <a:pt x="145" y="2"/>
                  </a:lnTo>
                  <a:lnTo>
                    <a:pt x="145" y="2"/>
                  </a:lnTo>
                  <a:lnTo>
                    <a:pt x="145" y="0"/>
                  </a:lnTo>
                  <a:lnTo>
                    <a:pt x="145" y="0"/>
                  </a:lnTo>
                  <a:lnTo>
                    <a:pt x="145" y="0"/>
                  </a:lnTo>
                  <a:lnTo>
                    <a:pt x="145" y="0"/>
                  </a:lnTo>
                  <a:lnTo>
                    <a:pt x="145" y="0"/>
                  </a:lnTo>
                  <a:lnTo>
                    <a:pt x="145" y="0"/>
                  </a:lnTo>
                  <a:lnTo>
                    <a:pt x="14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1" name="Freeform 55038"/>
            <p:cNvSpPr>
              <a:spLocks noEditPoints="1"/>
            </p:cNvSpPr>
            <p:nvPr/>
          </p:nvSpPr>
          <p:spPr bwMode="auto">
            <a:xfrm>
              <a:off x="2774948" y="4357703"/>
              <a:ext cx="236538" cy="79375"/>
            </a:xfrm>
            <a:custGeom>
              <a:avLst/>
              <a:gdLst>
                <a:gd name="T0" fmla="*/ 12 w 149"/>
                <a:gd name="T1" fmla="*/ 50 h 50"/>
                <a:gd name="T2" fmla="*/ 12 w 149"/>
                <a:gd name="T3" fmla="*/ 50 h 50"/>
                <a:gd name="T4" fmla="*/ 12 w 149"/>
                <a:gd name="T5" fmla="*/ 50 h 50"/>
                <a:gd name="T6" fmla="*/ 12 w 149"/>
                <a:gd name="T7" fmla="*/ 43 h 50"/>
                <a:gd name="T8" fmla="*/ 12 w 149"/>
                <a:gd name="T9" fmla="*/ 43 h 50"/>
                <a:gd name="T10" fmla="*/ 12 w 149"/>
                <a:gd name="T11" fmla="*/ 43 h 50"/>
                <a:gd name="T12" fmla="*/ 12 w 149"/>
                <a:gd name="T13" fmla="*/ 43 h 50"/>
                <a:gd name="T14" fmla="*/ 12 w 149"/>
                <a:gd name="T15" fmla="*/ 43 h 50"/>
                <a:gd name="T16" fmla="*/ 12 w 149"/>
                <a:gd name="T17" fmla="*/ 41 h 50"/>
                <a:gd name="T18" fmla="*/ 12 w 149"/>
                <a:gd name="T19" fmla="*/ 41 h 50"/>
                <a:gd name="T20" fmla="*/ 12 w 149"/>
                <a:gd name="T21" fmla="*/ 41 h 50"/>
                <a:gd name="T22" fmla="*/ 12 w 149"/>
                <a:gd name="T23" fmla="*/ 41 h 50"/>
                <a:gd name="T24" fmla="*/ 9 w 149"/>
                <a:gd name="T25" fmla="*/ 36 h 50"/>
                <a:gd name="T26" fmla="*/ 9 w 149"/>
                <a:gd name="T27" fmla="*/ 36 h 50"/>
                <a:gd name="T28" fmla="*/ 9 w 149"/>
                <a:gd name="T29" fmla="*/ 36 h 50"/>
                <a:gd name="T30" fmla="*/ 9 w 149"/>
                <a:gd name="T31" fmla="*/ 36 h 50"/>
                <a:gd name="T32" fmla="*/ 9 w 149"/>
                <a:gd name="T33" fmla="*/ 36 h 50"/>
                <a:gd name="T34" fmla="*/ 0 w 149"/>
                <a:gd name="T35" fmla="*/ 31 h 50"/>
                <a:gd name="T36" fmla="*/ 0 w 149"/>
                <a:gd name="T37" fmla="*/ 31 h 50"/>
                <a:gd name="T38" fmla="*/ 0 w 149"/>
                <a:gd name="T39" fmla="*/ 31 h 50"/>
                <a:gd name="T40" fmla="*/ 0 w 149"/>
                <a:gd name="T41" fmla="*/ 31 h 50"/>
                <a:gd name="T42" fmla="*/ 0 w 149"/>
                <a:gd name="T43" fmla="*/ 26 h 50"/>
                <a:gd name="T44" fmla="*/ 0 w 149"/>
                <a:gd name="T45" fmla="*/ 24 h 50"/>
                <a:gd name="T46" fmla="*/ 0 w 149"/>
                <a:gd name="T47" fmla="*/ 26 h 50"/>
                <a:gd name="T48" fmla="*/ 0 w 149"/>
                <a:gd name="T49" fmla="*/ 24 h 50"/>
                <a:gd name="T50" fmla="*/ 0 w 149"/>
                <a:gd name="T51" fmla="*/ 26 h 50"/>
                <a:gd name="T52" fmla="*/ 0 w 149"/>
                <a:gd name="T53" fmla="*/ 24 h 50"/>
                <a:gd name="T54" fmla="*/ 0 w 149"/>
                <a:gd name="T55" fmla="*/ 26 h 50"/>
                <a:gd name="T56" fmla="*/ 0 w 149"/>
                <a:gd name="T57" fmla="*/ 24 h 50"/>
                <a:gd name="T58" fmla="*/ 5 w 149"/>
                <a:gd name="T59" fmla="*/ 24 h 50"/>
                <a:gd name="T60" fmla="*/ 5 w 149"/>
                <a:gd name="T61" fmla="*/ 24 h 50"/>
                <a:gd name="T62" fmla="*/ 5 w 149"/>
                <a:gd name="T63" fmla="*/ 24 h 50"/>
                <a:gd name="T64" fmla="*/ 2 w 149"/>
                <a:gd name="T65" fmla="*/ 24 h 50"/>
                <a:gd name="T66" fmla="*/ 2 w 149"/>
                <a:gd name="T67" fmla="*/ 24 h 50"/>
                <a:gd name="T68" fmla="*/ 5 w 149"/>
                <a:gd name="T69" fmla="*/ 24 h 50"/>
                <a:gd name="T70" fmla="*/ 2 w 149"/>
                <a:gd name="T71" fmla="*/ 24 h 50"/>
                <a:gd name="T72" fmla="*/ 5 w 149"/>
                <a:gd name="T73" fmla="*/ 24 h 50"/>
                <a:gd name="T74" fmla="*/ 149 w 149"/>
                <a:gd name="T75" fmla="*/ 0 h 50"/>
                <a:gd name="T76" fmla="*/ 149 w 149"/>
                <a:gd name="T77" fmla="*/ 0 h 50"/>
                <a:gd name="T78" fmla="*/ 149 w 149"/>
                <a:gd name="T7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50">
                  <a:moveTo>
                    <a:pt x="12" y="50"/>
                  </a:moveTo>
                  <a:lnTo>
                    <a:pt x="12" y="50"/>
                  </a:lnTo>
                  <a:lnTo>
                    <a:pt x="12" y="48"/>
                  </a:lnTo>
                  <a:lnTo>
                    <a:pt x="12" y="50"/>
                  </a:lnTo>
                  <a:lnTo>
                    <a:pt x="12" y="50"/>
                  </a:lnTo>
                  <a:lnTo>
                    <a:pt x="12" y="50"/>
                  </a:lnTo>
                  <a:close/>
                  <a:moveTo>
                    <a:pt x="12" y="43"/>
                  </a:moveTo>
                  <a:lnTo>
                    <a:pt x="12" y="43"/>
                  </a:lnTo>
                  <a:lnTo>
                    <a:pt x="12" y="43"/>
                  </a:lnTo>
                  <a:lnTo>
                    <a:pt x="12" y="43"/>
                  </a:lnTo>
                  <a:lnTo>
                    <a:pt x="12" y="43"/>
                  </a:lnTo>
                  <a:lnTo>
                    <a:pt x="12" y="43"/>
                  </a:lnTo>
                  <a:close/>
                  <a:moveTo>
                    <a:pt x="12" y="43"/>
                  </a:moveTo>
                  <a:lnTo>
                    <a:pt x="12" y="43"/>
                  </a:lnTo>
                  <a:lnTo>
                    <a:pt x="12" y="43"/>
                  </a:lnTo>
                  <a:lnTo>
                    <a:pt x="12" y="43"/>
                  </a:lnTo>
                  <a:lnTo>
                    <a:pt x="12" y="43"/>
                  </a:lnTo>
                  <a:close/>
                  <a:moveTo>
                    <a:pt x="12" y="41"/>
                  </a:moveTo>
                  <a:lnTo>
                    <a:pt x="12" y="41"/>
                  </a:lnTo>
                  <a:lnTo>
                    <a:pt x="12" y="41"/>
                  </a:lnTo>
                  <a:lnTo>
                    <a:pt x="12" y="41"/>
                  </a:lnTo>
                  <a:lnTo>
                    <a:pt x="12" y="41"/>
                  </a:lnTo>
                  <a:lnTo>
                    <a:pt x="12" y="41"/>
                  </a:lnTo>
                  <a:lnTo>
                    <a:pt x="12" y="41"/>
                  </a:lnTo>
                  <a:lnTo>
                    <a:pt x="12" y="41"/>
                  </a:lnTo>
                  <a:close/>
                  <a:moveTo>
                    <a:pt x="9" y="36"/>
                  </a:moveTo>
                  <a:lnTo>
                    <a:pt x="9" y="36"/>
                  </a:lnTo>
                  <a:lnTo>
                    <a:pt x="9" y="36"/>
                  </a:lnTo>
                  <a:lnTo>
                    <a:pt x="9" y="36"/>
                  </a:lnTo>
                  <a:lnTo>
                    <a:pt x="9" y="36"/>
                  </a:lnTo>
                  <a:lnTo>
                    <a:pt x="9" y="36"/>
                  </a:lnTo>
                  <a:lnTo>
                    <a:pt x="9" y="36"/>
                  </a:lnTo>
                  <a:lnTo>
                    <a:pt x="9" y="36"/>
                  </a:lnTo>
                  <a:lnTo>
                    <a:pt x="9" y="36"/>
                  </a:lnTo>
                  <a:close/>
                  <a:moveTo>
                    <a:pt x="0" y="31"/>
                  </a:moveTo>
                  <a:lnTo>
                    <a:pt x="0" y="31"/>
                  </a:lnTo>
                  <a:lnTo>
                    <a:pt x="0" y="31"/>
                  </a:lnTo>
                  <a:lnTo>
                    <a:pt x="0" y="31"/>
                  </a:lnTo>
                  <a:lnTo>
                    <a:pt x="0" y="31"/>
                  </a:lnTo>
                  <a:lnTo>
                    <a:pt x="0" y="31"/>
                  </a:lnTo>
                  <a:lnTo>
                    <a:pt x="0" y="31"/>
                  </a:lnTo>
                  <a:lnTo>
                    <a:pt x="0" y="31"/>
                  </a:lnTo>
                  <a:lnTo>
                    <a:pt x="0" y="31"/>
                  </a:lnTo>
                  <a:close/>
                  <a:moveTo>
                    <a:pt x="0" y="26"/>
                  </a:moveTo>
                  <a:lnTo>
                    <a:pt x="0" y="26"/>
                  </a:lnTo>
                  <a:lnTo>
                    <a:pt x="0" y="24"/>
                  </a:lnTo>
                  <a:lnTo>
                    <a:pt x="0" y="24"/>
                  </a:lnTo>
                  <a:lnTo>
                    <a:pt x="0" y="26"/>
                  </a:lnTo>
                  <a:lnTo>
                    <a:pt x="0" y="26"/>
                  </a:lnTo>
                  <a:close/>
                  <a:moveTo>
                    <a:pt x="0" y="24"/>
                  </a:moveTo>
                  <a:lnTo>
                    <a:pt x="0" y="26"/>
                  </a:lnTo>
                  <a:lnTo>
                    <a:pt x="0" y="26"/>
                  </a:lnTo>
                  <a:lnTo>
                    <a:pt x="0" y="24"/>
                  </a:lnTo>
                  <a:lnTo>
                    <a:pt x="0" y="24"/>
                  </a:lnTo>
                  <a:close/>
                  <a:moveTo>
                    <a:pt x="0" y="24"/>
                  </a:moveTo>
                  <a:lnTo>
                    <a:pt x="0" y="26"/>
                  </a:lnTo>
                  <a:lnTo>
                    <a:pt x="0" y="24"/>
                  </a:lnTo>
                  <a:lnTo>
                    <a:pt x="0" y="24"/>
                  </a:lnTo>
                  <a:lnTo>
                    <a:pt x="0" y="24"/>
                  </a:lnTo>
                  <a:close/>
                  <a:moveTo>
                    <a:pt x="5" y="24"/>
                  </a:moveTo>
                  <a:lnTo>
                    <a:pt x="5" y="24"/>
                  </a:lnTo>
                  <a:lnTo>
                    <a:pt x="5" y="24"/>
                  </a:lnTo>
                  <a:lnTo>
                    <a:pt x="5" y="24"/>
                  </a:lnTo>
                  <a:lnTo>
                    <a:pt x="5" y="24"/>
                  </a:lnTo>
                  <a:close/>
                  <a:moveTo>
                    <a:pt x="2" y="24"/>
                  </a:moveTo>
                  <a:lnTo>
                    <a:pt x="2" y="24"/>
                  </a:lnTo>
                  <a:lnTo>
                    <a:pt x="2" y="24"/>
                  </a:lnTo>
                  <a:lnTo>
                    <a:pt x="2" y="24"/>
                  </a:lnTo>
                  <a:lnTo>
                    <a:pt x="2" y="24"/>
                  </a:lnTo>
                  <a:close/>
                  <a:moveTo>
                    <a:pt x="5" y="24"/>
                  </a:moveTo>
                  <a:lnTo>
                    <a:pt x="2" y="24"/>
                  </a:lnTo>
                  <a:lnTo>
                    <a:pt x="2" y="24"/>
                  </a:lnTo>
                  <a:lnTo>
                    <a:pt x="2" y="24"/>
                  </a:lnTo>
                  <a:lnTo>
                    <a:pt x="5" y="24"/>
                  </a:lnTo>
                  <a:close/>
                  <a:moveTo>
                    <a:pt x="149" y="0"/>
                  </a:moveTo>
                  <a:lnTo>
                    <a:pt x="149" y="0"/>
                  </a:lnTo>
                  <a:lnTo>
                    <a:pt x="149" y="0"/>
                  </a:lnTo>
                  <a:lnTo>
                    <a:pt x="149" y="0"/>
                  </a:lnTo>
                  <a:lnTo>
                    <a:pt x="149" y="0"/>
                  </a:lnTo>
                  <a:lnTo>
                    <a:pt x="14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2" name="Freeform 55039"/>
            <p:cNvSpPr>
              <a:spLocks/>
            </p:cNvSpPr>
            <p:nvPr/>
          </p:nvSpPr>
          <p:spPr bwMode="auto">
            <a:xfrm>
              <a:off x="1120774" y="5942032"/>
              <a:ext cx="34925" cy="15875"/>
            </a:xfrm>
            <a:custGeom>
              <a:avLst/>
              <a:gdLst>
                <a:gd name="T0" fmla="*/ 5 w 22"/>
                <a:gd name="T1" fmla="*/ 0 h 10"/>
                <a:gd name="T2" fmla="*/ 5 w 22"/>
                <a:gd name="T3" fmla="*/ 0 h 10"/>
                <a:gd name="T4" fmla="*/ 5 w 22"/>
                <a:gd name="T5" fmla="*/ 2 h 10"/>
                <a:gd name="T6" fmla="*/ 5 w 22"/>
                <a:gd name="T7" fmla="*/ 2 h 10"/>
                <a:gd name="T8" fmla="*/ 8 w 22"/>
                <a:gd name="T9" fmla="*/ 2 h 10"/>
                <a:gd name="T10" fmla="*/ 8 w 22"/>
                <a:gd name="T11" fmla="*/ 2 h 10"/>
                <a:gd name="T12" fmla="*/ 8 w 22"/>
                <a:gd name="T13" fmla="*/ 2 h 10"/>
                <a:gd name="T14" fmla="*/ 8 w 22"/>
                <a:gd name="T15" fmla="*/ 2 h 10"/>
                <a:gd name="T16" fmla="*/ 8 w 22"/>
                <a:gd name="T17" fmla="*/ 2 h 10"/>
                <a:gd name="T18" fmla="*/ 10 w 22"/>
                <a:gd name="T19" fmla="*/ 2 h 10"/>
                <a:gd name="T20" fmla="*/ 10 w 22"/>
                <a:gd name="T21" fmla="*/ 2 h 10"/>
                <a:gd name="T22" fmla="*/ 12 w 22"/>
                <a:gd name="T23" fmla="*/ 2 h 10"/>
                <a:gd name="T24" fmla="*/ 12 w 22"/>
                <a:gd name="T25" fmla="*/ 2 h 10"/>
                <a:gd name="T26" fmla="*/ 12 w 22"/>
                <a:gd name="T27" fmla="*/ 2 h 10"/>
                <a:gd name="T28" fmla="*/ 15 w 22"/>
                <a:gd name="T29" fmla="*/ 2 h 10"/>
                <a:gd name="T30" fmla="*/ 15 w 22"/>
                <a:gd name="T31" fmla="*/ 2 h 10"/>
                <a:gd name="T32" fmla="*/ 15 w 22"/>
                <a:gd name="T33" fmla="*/ 2 h 10"/>
                <a:gd name="T34" fmla="*/ 15 w 22"/>
                <a:gd name="T35" fmla="*/ 2 h 10"/>
                <a:gd name="T36" fmla="*/ 15 w 22"/>
                <a:gd name="T37" fmla="*/ 2 h 10"/>
                <a:gd name="T38" fmla="*/ 15 w 22"/>
                <a:gd name="T39" fmla="*/ 5 h 10"/>
                <a:gd name="T40" fmla="*/ 15 w 22"/>
                <a:gd name="T41" fmla="*/ 5 h 10"/>
                <a:gd name="T42" fmla="*/ 17 w 22"/>
                <a:gd name="T43" fmla="*/ 5 h 10"/>
                <a:gd name="T44" fmla="*/ 17 w 22"/>
                <a:gd name="T45" fmla="*/ 5 h 10"/>
                <a:gd name="T46" fmla="*/ 17 w 22"/>
                <a:gd name="T47" fmla="*/ 5 h 10"/>
                <a:gd name="T48" fmla="*/ 19 w 22"/>
                <a:gd name="T49" fmla="*/ 5 h 10"/>
                <a:gd name="T50" fmla="*/ 19 w 22"/>
                <a:gd name="T51" fmla="*/ 5 h 10"/>
                <a:gd name="T52" fmla="*/ 19 w 22"/>
                <a:gd name="T53" fmla="*/ 5 h 10"/>
                <a:gd name="T54" fmla="*/ 19 w 22"/>
                <a:gd name="T55" fmla="*/ 5 h 10"/>
                <a:gd name="T56" fmla="*/ 19 w 22"/>
                <a:gd name="T57" fmla="*/ 5 h 10"/>
                <a:gd name="T58" fmla="*/ 22 w 22"/>
                <a:gd name="T59" fmla="*/ 7 h 10"/>
                <a:gd name="T60" fmla="*/ 19 w 22"/>
                <a:gd name="T61" fmla="*/ 5 h 10"/>
                <a:gd name="T62" fmla="*/ 19 w 22"/>
                <a:gd name="T63" fmla="*/ 7 h 10"/>
                <a:gd name="T64" fmla="*/ 19 w 22"/>
                <a:gd name="T65" fmla="*/ 5 h 10"/>
                <a:gd name="T66" fmla="*/ 19 w 22"/>
                <a:gd name="T67" fmla="*/ 7 h 10"/>
                <a:gd name="T68" fmla="*/ 19 w 22"/>
                <a:gd name="T69" fmla="*/ 7 h 10"/>
                <a:gd name="T70" fmla="*/ 19 w 22"/>
                <a:gd name="T71" fmla="*/ 7 h 10"/>
                <a:gd name="T72" fmla="*/ 17 w 22"/>
                <a:gd name="T73" fmla="*/ 7 h 10"/>
                <a:gd name="T74" fmla="*/ 17 w 22"/>
                <a:gd name="T75" fmla="*/ 7 h 10"/>
                <a:gd name="T76" fmla="*/ 17 w 22"/>
                <a:gd name="T77" fmla="*/ 10 h 10"/>
                <a:gd name="T78" fmla="*/ 17 w 22"/>
                <a:gd name="T79" fmla="*/ 10 h 10"/>
                <a:gd name="T80" fmla="*/ 15 w 22"/>
                <a:gd name="T81" fmla="*/ 10 h 10"/>
                <a:gd name="T82" fmla="*/ 15 w 22"/>
                <a:gd name="T83" fmla="*/ 10 h 10"/>
                <a:gd name="T84" fmla="*/ 12 w 22"/>
                <a:gd name="T85" fmla="*/ 10 h 10"/>
                <a:gd name="T86" fmla="*/ 12 w 22"/>
                <a:gd name="T87" fmla="*/ 10 h 10"/>
                <a:gd name="T88" fmla="*/ 12 w 22"/>
                <a:gd name="T89" fmla="*/ 10 h 10"/>
                <a:gd name="T90" fmla="*/ 10 w 22"/>
                <a:gd name="T91" fmla="*/ 10 h 10"/>
                <a:gd name="T92" fmla="*/ 10 w 22"/>
                <a:gd name="T93" fmla="*/ 10 h 10"/>
                <a:gd name="T94" fmla="*/ 8 w 22"/>
                <a:gd name="T95" fmla="*/ 10 h 10"/>
                <a:gd name="T96" fmla="*/ 8 w 22"/>
                <a:gd name="T97" fmla="*/ 10 h 10"/>
                <a:gd name="T98" fmla="*/ 8 w 22"/>
                <a:gd name="T99" fmla="*/ 7 h 10"/>
                <a:gd name="T100" fmla="*/ 5 w 22"/>
                <a:gd name="T101" fmla="*/ 7 h 10"/>
                <a:gd name="T102" fmla="*/ 5 w 22"/>
                <a:gd name="T103" fmla="*/ 7 h 10"/>
                <a:gd name="T104" fmla="*/ 5 w 22"/>
                <a:gd name="T105" fmla="*/ 7 h 10"/>
                <a:gd name="T106" fmla="*/ 3 w 22"/>
                <a:gd name="T107" fmla="*/ 7 h 10"/>
                <a:gd name="T108" fmla="*/ 3 w 22"/>
                <a:gd name="T109" fmla="*/ 5 h 10"/>
                <a:gd name="T110" fmla="*/ 3 w 22"/>
                <a:gd name="T111" fmla="*/ 5 h 10"/>
                <a:gd name="T112" fmla="*/ 0 w 22"/>
                <a:gd name="T113" fmla="*/ 2 h 10"/>
                <a:gd name="T114" fmla="*/ 3 w 22"/>
                <a:gd name="T115" fmla="*/ 2 h 10"/>
                <a:gd name="T116" fmla="*/ 3 w 22"/>
                <a:gd name="T117" fmla="*/ 0 h 10"/>
                <a:gd name="T118" fmla="*/ 3 w 22"/>
                <a:gd name="T1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0">
                  <a:moveTo>
                    <a:pt x="3" y="0"/>
                  </a:moveTo>
                  <a:lnTo>
                    <a:pt x="5" y="0"/>
                  </a:lnTo>
                  <a:lnTo>
                    <a:pt x="5" y="0"/>
                  </a:lnTo>
                  <a:lnTo>
                    <a:pt x="5" y="0"/>
                  </a:lnTo>
                  <a:lnTo>
                    <a:pt x="5" y="0"/>
                  </a:lnTo>
                  <a:lnTo>
                    <a:pt x="5" y="0"/>
                  </a:lnTo>
                  <a:lnTo>
                    <a:pt x="5" y="0"/>
                  </a:lnTo>
                  <a:lnTo>
                    <a:pt x="5" y="0"/>
                  </a:lnTo>
                  <a:lnTo>
                    <a:pt x="5" y="0"/>
                  </a:lnTo>
                  <a:lnTo>
                    <a:pt x="5" y="0"/>
                  </a:lnTo>
                  <a:lnTo>
                    <a:pt x="5" y="0"/>
                  </a:lnTo>
                  <a:lnTo>
                    <a:pt x="5" y="0"/>
                  </a:lnTo>
                  <a:lnTo>
                    <a:pt x="5" y="2"/>
                  </a:lnTo>
                  <a:lnTo>
                    <a:pt x="5" y="2"/>
                  </a:lnTo>
                  <a:lnTo>
                    <a:pt x="5" y="2"/>
                  </a:lnTo>
                  <a:lnTo>
                    <a:pt x="5" y="2"/>
                  </a:lnTo>
                  <a:lnTo>
                    <a:pt x="5" y="2"/>
                  </a:lnTo>
                  <a:lnTo>
                    <a:pt x="5" y="2"/>
                  </a:lnTo>
                  <a:lnTo>
                    <a:pt x="5" y="2"/>
                  </a:lnTo>
                  <a:lnTo>
                    <a:pt x="5" y="2"/>
                  </a:lnTo>
                  <a:lnTo>
                    <a:pt x="5" y="2"/>
                  </a:lnTo>
                  <a:lnTo>
                    <a:pt x="5" y="2"/>
                  </a:lnTo>
                  <a:lnTo>
                    <a:pt x="5" y="2"/>
                  </a:lnTo>
                  <a:lnTo>
                    <a:pt x="5"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10" y="2"/>
                  </a:lnTo>
                  <a:lnTo>
                    <a:pt x="10" y="2"/>
                  </a:lnTo>
                  <a:lnTo>
                    <a:pt x="10" y="2"/>
                  </a:lnTo>
                  <a:lnTo>
                    <a:pt x="10" y="2"/>
                  </a:lnTo>
                  <a:lnTo>
                    <a:pt x="10" y="2"/>
                  </a:lnTo>
                  <a:lnTo>
                    <a:pt x="10" y="2"/>
                  </a:lnTo>
                  <a:lnTo>
                    <a:pt x="10" y="2"/>
                  </a:lnTo>
                  <a:lnTo>
                    <a:pt x="10" y="2"/>
                  </a:lnTo>
                  <a:lnTo>
                    <a:pt x="10" y="2"/>
                  </a:lnTo>
                  <a:lnTo>
                    <a:pt x="10"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5" y="2"/>
                  </a:lnTo>
                  <a:lnTo>
                    <a:pt x="15" y="2"/>
                  </a:lnTo>
                  <a:lnTo>
                    <a:pt x="12"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5"/>
                  </a:lnTo>
                  <a:lnTo>
                    <a:pt x="15" y="5"/>
                  </a:lnTo>
                  <a:lnTo>
                    <a:pt x="15" y="2"/>
                  </a:lnTo>
                  <a:lnTo>
                    <a:pt x="15" y="5"/>
                  </a:lnTo>
                  <a:lnTo>
                    <a:pt x="15" y="5"/>
                  </a:lnTo>
                  <a:lnTo>
                    <a:pt x="15" y="5"/>
                  </a:lnTo>
                  <a:lnTo>
                    <a:pt x="15" y="5"/>
                  </a:lnTo>
                  <a:lnTo>
                    <a:pt x="15" y="5"/>
                  </a:lnTo>
                  <a:lnTo>
                    <a:pt x="15" y="5"/>
                  </a:lnTo>
                  <a:lnTo>
                    <a:pt x="15" y="5"/>
                  </a:lnTo>
                  <a:lnTo>
                    <a:pt x="15" y="5"/>
                  </a:lnTo>
                  <a:lnTo>
                    <a:pt x="15" y="5"/>
                  </a:lnTo>
                  <a:lnTo>
                    <a:pt x="15"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22" y="5"/>
                  </a:lnTo>
                  <a:lnTo>
                    <a:pt x="22" y="5"/>
                  </a:lnTo>
                  <a:lnTo>
                    <a:pt x="22" y="5"/>
                  </a:lnTo>
                  <a:lnTo>
                    <a:pt x="22" y="7"/>
                  </a:lnTo>
                  <a:lnTo>
                    <a:pt x="22" y="7"/>
                  </a:lnTo>
                  <a:lnTo>
                    <a:pt x="22" y="7"/>
                  </a:lnTo>
                  <a:lnTo>
                    <a:pt x="22" y="5"/>
                  </a:lnTo>
                  <a:lnTo>
                    <a:pt x="19" y="5"/>
                  </a:lnTo>
                  <a:lnTo>
                    <a:pt x="19" y="5"/>
                  </a:lnTo>
                  <a:lnTo>
                    <a:pt x="19" y="5"/>
                  </a:lnTo>
                  <a:lnTo>
                    <a:pt x="19" y="5"/>
                  </a:lnTo>
                  <a:lnTo>
                    <a:pt x="19" y="5"/>
                  </a:lnTo>
                  <a:lnTo>
                    <a:pt x="19" y="5"/>
                  </a:lnTo>
                  <a:lnTo>
                    <a:pt x="19" y="7"/>
                  </a:lnTo>
                  <a:lnTo>
                    <a:pt x="19" y="7"/>
                  </a:lnTo>
                  <a:lnTo>
                    <a:pt x="19" y="5"/>
                  </a:lnTo>
                  <a:lnTo>
                    <a:pt x="19" y="5"/>
                  </a:lnTo>
                  <a:lnTo>
                    <a:pt x="19" y="5"/>
                  </a:lnTo>
                  <a:lnTo>
                    <a:pt x="19" y="5"/>
                  </a:lnTo>
                  <a:lnTo>
                    <a:pt x="19" y="5"/>
                  </a:lnTo>
                  <a:lnTo>
                    <a:pt x="19" y="5"/>
                  </a:lnTo>
                  <a:lnTo>
                    <a:pt x="19" y="5"/>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7" y="7"/>
                  </a:lnTo>
                  <a:lnTo>
                    <a:pt x="17" y="7"/>
                  </a:lnTo>
                  <a:lnTo>
                    <a:pt x="17" y="7"/>
                  </a:lnTo>
                  <a:lnTo>
                    <a:pt x="17" y="7"/>
                  </a:lnTo>
                  <a:lnTo>
                    <a:pt x="17" y="7"/>
                  </a:lnTo>
                  <a:lnTo>
                    <a:pt x="17" y="7"/>
                  </a:lnTo>
                  <a:lnTo>
                    <a:pt x="17" y="7"/>
                  </a:lnTo>
                  <a:lnTo>
                    <a:pt x="17" y="7"/>
                  </a:lnTo>
                  <a:lnTo>
                    <a:pt x="17" y="7"/>
                  </a:lnTo>
                  <a:lnTo>
                    <a:pt x="17" y="7"/>
                  </a:lnTo>
                  <a:lnTo>
                    <a:pt x="17" y="7"/>
                  </a:lnTo>
                  <a:lnTo>
                    <a:pt x="17" y="10"/>
                  </a:lnTo>
                  <a:lnTo>
                    <a:pt x="17" y="10"/>
                  </a:lnTo>
                  <a:lnTo>
                    <a:pt x="17" y="10"/>
                  </a:lnTo>
                  <a:lnTo>
                    <a:pt x="17" y="10"/>
                  </a:lnTo>
                  <a:lnTo>
                    <a:pt x="17" y="10"/>
                  </a:lnTo>
                  <a:lnTo>
                    <a:pt x="17" y="10"/>
                  </a:lnTo>
                  <a:lnTo>
                    <a:pt x="17" y="10"/>
                  </a:lnTo>
                  <a:lnTo>
                    <a:pt x="17" y="10"/>
                  </a:lnTo>
                  <a:lnTo>
                    <a:pt x="17" y="10"/>
                  </a:lnTo>
                  <a:lnTo>
                    <a:pt x="15" y="10"/>
                  </a:lnTo>
                  <a:lnTo>
                    <a:pt x="15" y="10"/>
                  </a:lnTo>
                  <a:lnTo>
                    <a:pt x="15" y="10"/>
                  </a:lnTo>
                  <a:lnTo>
                    <a:pt x="15" y="10"/>
                  </a:lnTo>
                  <a:lnTo>
                    <a:pt x="15" y="10"/>
                  </a:lnTo>
                  <a:lnTo>
                    <a:pt x="15" y="10"/>
                  </a:lnTo>
                  <a:lnTo>
                    <a:pt x="15" y="10"/>
                  </a:lnTo>
                  <a:lnTo>
                    <a:pt x="15" y="10"/>
                  </a:lnTo>
                  <a:lnTo>
                    <a:pt x="15" y="10"/>
                  </a:lnTo>
                  <a:lnTo>
                    <a:pt x="15"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0" y="10"/>
                  </a:lnTo>
                  <a:lnTo>
                    <a:pt x="10" y="10"/>
                  </a:lnTo>
                  <a:lnTo>
                    <a:pt x="10" y="10"/>
                  </a:lnTo>
                  <a:lnTo>
                    <a:pt x="10" y="10"/>
                  </a:lnTo>
                  <a:lnTo>
                    <a:pt x="10" y="10"/>
                  </a:lnTo>
                  <a:lnTo>
                    <a:pt x="10" y="10"/>
                  </a:lnTo>
                  <a:lnTo>
                    <a:pt x="10" y="10"/>
                  </a:lnTo>
                  <a:lnTo>
                    <a:pt x="10" y="10"/>
                  </a:lnTo>
                  <a:lnTo>
                    <a:pt x="10" y="10"/>
                  </a:lnTo>
                  <a:lnTo>
                    <a:pt x="10" y="10"/>
                  </a:lnTo>
                  <a:lnTo>
                    <a:pt x="8" y="10"/>
                  </a:lnTo>
                  <a:lnTo>
                    <a:pt x="8" y="10"/>
                  </a:lnTo>
                  <a:lnTo>
                    <a:pt x="8" y="10"/>
                  </a:lnTo>
                  <a:lnTo>
                    <a:pt x="8" y="10"/>
                  </a:lnTo>
                  <a:lnTo>
                    <a:pt x="8" y="10"/>
                  </a:lnTo>
                  <a:lnTo>
                    <a:pt x="8" y="10"/>
                  </a:lnTo>
                  <a:lnTo>
                    <a:pt x="8" y="10"/>
                  </a:lnTo>
                  <a:lnTo>
                    <a:pt x="8" y="10"/>
                  </a:lnTo>
                  <a:lnTo>
                    <a:pt x="8" y="10"/>
                  </a:lnTo>
                  <a:lnTo>
                    <a:pt x="8" y="10"/>
                  </a:lnTo>
                  <a:lnTo>
                    <a:pt x="8"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3" y="7"/>
                  </a:lnTo>
                  <a:lnTo>
                    <a:pt x="3" y="7"/>
                  </a:lnTo>
                  <a:lnTo>
                    <a:pt x="3" y="7"/>
                  </a:lnTo>
                  <a:lnTo>
                    <a:pt x="3" y="7"/>
                  </a:lnTo>
                  <a:lnTo>
                    <a:pt x="3" y="7"/>
                  </a:lnTo>
                  <a:lnTo>
                    <a:pt x="3" y="7"/>
                  </a:lnTo>
                  <a:lnTo>
                    <a:pt x="3" y="5"/>
                  </a:lnTo>
                  <a:lnTo>
                    <a:pt x="3" y="5"/>
                  </a:lnTo>
                  <a:lnTo>
                    <a:pt x="3" y="5"/>
                  </a:lnTo>
                  <a:lnTo>
                    <a:pt x="3" y="5"/>
                  </a:lnTo>
                  <a:lnTo>
                    <a:pt x="3" y="5"/>
                  </a:lnTo>
                  <a:lnTo>
                    <a:pt x="3" y="5"/>
                  </a:lnTo>
                  <a:lnTo>
                    <a:pt x="3" y="5"/>
                  </a:lnTo>
                  <a:lnTo>
                    <a:pt x="3" y="5"/>
                  </a:lnTo>
                  <a:lnTo>
                    <a:pt x="3" y="5"/>
                  </a:lnTo>
                  <a:lnTo>
                    <a:pt x="3" y="5"/>
                  </a:lnTo>
                  <a:lnTo>
                    <a:pt x="3" y="5"/>
                  </a:lnTo>
                  <a:lnTo>
                    <a:pt x="3" y="2"/>
                  </a:lnTo>
                  <a:lnTo>
                    <a:pt x="0" y="2"/>
                  </a:lnTo>
                  <a:lnTo>
                    <a:pt x="0" y="2"/>
                  </a:lnTo>
                  <a:lnTo>
                    <a:pt x="3" y="2"/>
                  </a:lnTo>
                  <a:lnTo>
                    <a:pt x="3" y="2"/>
                  </a:lnTo>
                  <a:lnTo>
                    <a:pt x="3" y="2"/>
                  </a:lnTo>
                  <a:lnTo>
                    <a:pt x="3" y="2"/>
                  </a:lnTo>
                  <a:lnTo>
                    <a:pt x="3" y="2"/>
                  </a:lnTo>
                  <a:lnTo>
                    <a:pt x="3" y="2"/>
                  </a:lnTo>
                  <a:lnTo>
                    <a:pt x="3" y="2"/>
                  </a:lnTo>
                  <a:lnTo>
                    <a:pt x="3" y="2"/>
                  </a:lnTo>
                  <a:lnTo>
                    <a:pt x="3" y="2"/>
                  </a:lnTo>
                  <a:lnTo>
                    <a:pt x="3" y="0"/>
                  </a:lnTo>
                  <a:lnTo>
                    <a:pt x="3" y="0"/>
                  </a:lnTo>
                  <a:lnTo>
                    <a:pt x="3" y="0"/>
                  </a:ln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3" name="Freeform 55040"/>
            <p:cNvSpPr>
              <a:spLocks/>
            </p:cNvSpPr>
            <p:nvPr/>
          </p:nvSpPr>
          <p:spPr bwMode="auto">
            <a:xfrm>
              <a:off x="673099" y="5591193"/>
              <a:ext cx="38100" cy="15875"/>
            </a:xfrm>
            <a:custGeom>
              <a:avLst/>
              <a:gdLst>
                <a:gd name="T0" fmla="*/ 5 w 24"/>
                <a:gd name="T1" fmla="*/ 0 h 10"/>
                <a:gd name="T2" fmla="*/ 5 w 24"/>
                <a:gd name="T3" fmla="*/ 3 h 10"/>
                <a:gd name="T4" fmla="*/ 5 w 24"/>
                <a:gd name="T5" fmla="*/ 3 h 10"/>
                <a:gd name="T6" fmla="*/ 5 w 24"/>
                <a:gd name="T7" fmla="*/ 3 h 10"/>
                <a:gd name="T8" fmla="*/ 7 w 24"/>
                <a:gd name="T9" fmla="*/ 3 h 10"/>
                <a:gd name="T10" fmla="*/ 7 w 24"/>
                <a:gd name="T11" fmla="*/ 3 h 10"/>
                <a:gd name="T12" fmla="*/ 7 w 24"/>
                <a:gd name="T13" fmla="*/ 3 h 10"/>
                <a:gd name="T14" fmla="*/ 10 w 24"/>
                <a:gd name="T15" fmla="*/ 5 h 10"/>
                <a:gd name="T16" fmla="*/ 10 w 24"/>
                <a:gd name="T17" fmla="*/ 5 h 10"/>
                <a:gd name="T18" fmla="*/ 10 w 24"/>
                <a:gd name="T19" fmla="*/ 5 h 10"/>
                <a:gd name="T20" fmla="*/ 12 w 24"/>
                <a:gd name="T21" fmla="*/ 5 h 10"/>
                <a:gd name="T22" fmla="*/ 12 w 24"/>
                <a:gd name="T23" fmla="*/ 3 h 10"/>
                <a:gd name="T24" fmla="*/ 12 w 24"/>
                <a:gd name="T25" fmla="*/ 3 h 10"/>
                <a:gd name="T26" fmla="*/ 12 w 24"/>
                <a:gd name="T27" fmla="*/ 3 h 10"/>
                <a:gd name="T28" fmla="*/ 12 w 24"/>
                <a:gd name="T29" fmla="*/ 3 h 10"/>
                <a:gd name="T30" fmla="*/ 14 w 24"/>
                <a:gd name="T31" fmla="*/ 3 h 10"/>
                <a:gd name="T32" fmla="*/ 14 w 24"/>
                <a:gd name="T33" fmla="*/ 3 h 10"/>
                <a:gd name="T34" fmla="*/ 14 w 24"/>
                <a:gd name="T35" fmla="*/ 5 h 10"/>
                <a:gd name="T36" fmla="*/ 14 w 24"/>
                <a:gd name="T37" fmla="*/ 3 h 10"/>
                <a:gd name="T38" fmla="*/ 17 w 24"/>
                <a:gd name="T39" fmla="*/ 3 h 10"/>
                <a:gd name="T40" fmla="*/ 17 w 24"/>
                <a:gd name="T41" fmla="*/ 3 h 10"/>
                <a:gd name="T42" fmla="*/ 17 w 24"/>
                <a:gd name="T43" fmla="*/ 3 h 10"/>
                <a:gd name="T44" fmla="*/ 19 w 24"/>
                <a:gd name="T45" fmla="*/ 3 h 10"/>
                <a:gd name="T46" fmla="*/ 19 w 24"/>
                <a:gd name="T47" fmla="*/ 3 h 10"/>
                <a:gd name="T48" fmla="*/ 19 w 24"/>
                <a:gd name="T49" fmla="*/ 3 h 10"/>
                <a:gd name="T50" fmla="*/ 21 w 24"/>
                <a:gd name="T51" fmla="*/ 3 h 10"/>
                <a:gd name="T52" fmla="*/ 24 w 24"/>
                <a:gd name="T53" fmla="*/ 3 h 10"/>
                <a:gd name="T54" fmla="*/ 24 w 24"/>
                <a:gd name="T55" fmla="*/ 5 h 10"/>
                <a:gd name="T56" fmla="*/ 24 w 24"/>
                <a:gd name="T57" fmla="*/ 5 h 10"/>
                <a:gd name="T58" fmla="*/ 24 w 24"/>
                <a:gd name="T59" fmla="*/ 7 h 10"/>
                <a:gd name="T60" fmla="*/ 21 w 24"/>
                <a:gd name="T61" fmla="*/ 7 h 10"/>
                <a:gd name="T62" fmla="*/ 21 w 24"/>
                <a:gd name="T63" fmla="*/ 7 h 10"/>
                <a:gd name="T64" fmla="*/ 21 w 24"/>
                <a:gd name="T65" fmla="*/ 7 h 10"/>
                <a:gd name="T66" fmla="*/ 19 w 24"/>
                <a:gd name="T67" fmla="*/ 7 h 10"/>
                <a:gd name="T68" fmla="*/ 19 w 24"/>
                <a:gd name="T69" fmla="*/ 7 h 10"/>
                <a:gd name="T70" fmla="*/ 19 w 24"/>
                <a:gd name="T71" fmla="*/ 7 h 10"/>
                <a:gd name="T72" fmla="*/ 17 w 24"/>
                <a:gd name="T73" fmla="*/ 7 h 10"/>
                <a:gd name="T74" fmla="*/ 17 w 24"/>
                <a:gd name="T75" fmla="*/ 7 h 10"/>
                <a:gd name="T76" fmla="*/ 17 w 24"/>
                <a:gd name="T77" fmla="*/ 10 h 10"/>
                <a:gd name="T78" fmla="*/ 14 w 24"/>
                <a:gd name="T79" fmla="*/ 10 h 10"/>
                <a:gd name="T80" fmla="*/ 14 w 24"/>
                <a:gd name="T81" fmla="*/ 10 h 10"/>
                <a:gd name="T82" fmla="*/ 12 w 24"/>
                <a:gd name="T83" fmla="*/ 10 h 10"/>
                <a:gd name="T84" fmla="*/ 12 w 24"/>
                <a:gd name="T85" fmla="*/ 10 h 10"/>
                <a:gd name="T86" fmla="*/ 12 w 24"/>
                <a:gd name="T87" fmla="*/ 10 h 10"/>
                <a:gd name="T88" fmla="*/ 10 w 24"/>
                <a:gd name="T89" fmla="*/ 7 h 10"/>
                <a:gd name="T90" fmla="*/ 10 w 24"/>
                <a:gd name="T91" fmla="*/ 7 h 10"/>
                <a:gd name="T92" fmla="*/ 10 w 24"/>
                <a:gd name="T93" fmla="*/ 7 h 10"/>
                <a:gd name="T94" fmla="*/ 7 w 24"/>
                <a:gd name="T95" fmla="*/ 7 h 10"/>
                <a:gd name="T96" fmla="*/ 7 w 24"/>
                <a:gd name="T97" fmla="*/ 7 h 10"/>
                <a:gd name="T98" fmla="*/ 7 w 24"/>
                <a:gd name="T99" fmla="*/ 7 h 10"/>
                <a:gd name="T100" fmla="*/ 7 w 24"/>
                <a:gd name="T101" fmla="*/ 7 h 10"/>
                <a:gd name="T102" fmla="*/ 7 w 24"/>
                <a:gd name="T103" fmla="*/ 7 h 10"/>
                <a:gd name="T104" fmla="*/ 5 w 24"/>
                <a:gd name="T105" fmla="*/ 7 h 10"/>
                <a:gd name="T106" fmla="*/ 5 w 24"/>
                <a:gd name="T107" fmla="*/ 7 h 10"/>
                <a:gd name="T108" fmla="*/ 2 w 24"/>
                <a:gd name="T109" fmla="*/ 5 h 10"/>
                <a:gd name="T110" fmla="*/ 2 w 24"/>
                <a:gd name="T111" fmla="*/ 5 h 10"/>
                <a:gd name="T112" fmla="*/ 2 w 24"/>
                <a:gd name="T113" fmla="*/ 5 h 10"/>
                <a:gd name="T114" fmla="*/ 0 w 24"/>
                <a:gd name="T115" fmla="*/ 3 h 10"/>
                <a:gd name="T116" fmla="*/ 0 w 24"/>
                <a:gd name="T117" fmla="*/ 3 h 10"/>
                <a:gd name="T118" fmla="*/ 0 w 24"/>
                <a:gd name="T119" fmla="*/ 3 h 10"/>
                <a:gd name="T120" fmla="*/ 0 w 24"/>
                <a:gd name="T121" fmla="*/ 0 h 10"/>
                <a:gd name="T122" fmla="*/ 2 w 24"/>
                <a:gd name="T123" fmla="*/ 0 h 10"/>
                <a:gd name="T124" fmla="*/ 2 w 24"/>
                <a:gd name="T1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 h="10">
                  <a:moveTo>
                    <a:pt x="2" y="0"/>
                  </a:moveTo>
                  <a:lnTo>
                    <a:pt x="5" y="0"/>
                  </a:lnTo>
                  <a:lnTo>
                    <a:pt x="5" y="0"/>
                  </a:lnTo>
                  <a:lnTo>
                    <a:pt x="5" y="0"/>
                  </a:lnTo>
                  <a:lnTo>
                    <a:pt x="5" y="0"/>
                  </a:lnTo>
                  <a:lnTo>
                    <a:pt x="5" y="0"/>
                  </a:lnTo>
                  <a:lnTo>
                    <a:pt x="5" y="0"/>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5"/>
                  </a:lnTo>
                  <a:lnTo>
                    <a:pt x="7"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2" y="5"/>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5"/>
                  </a:lnTo>
                  <a:lnTo>
                    <a:pt x="12" y="3"/>
                  </a:lnTo>
                  <a:lnTo>
                    <a:pt x="14" y="5"/>
                  </a:lnTo>
                  <a:lnTo>
                    <a:pt x="14" y="3"/>
                  </a:lnTo>
                  <a:lnTo>
                    <a:pt x="14" y="3"/>
                  </a:lnTo>
                  <a:lnTo>
                    <a:pt x="14" y="5"/>
                  </a:lnTo>
                  <a:lnTo>
                    <a:pt x="14" y="5"/>
                  </a:lnTo>
                  <a:lnTo>
                    <a:pt x="14" y="3"/>
                  </a:lnTo>
                  <a:lnTo>
                    <a:pt x="14" y="3"/>
                  </a:lnTo>
                  <a:lnTo>
                    <a:pt x="14" y="3"/>
                  </a:lnTo>
                  <a:lnTo>
                    <a:pt x="14" y="3"/>
                  </a:lnTo>
                  <a:lnTo>
                    <a:pt x="14" y="3"/>
                  </a:lnTo>
                  <a:lnTo>
                    <a:pt x="14" y="5"/>
                  </a:lnTo>
                  <a:lnTo>
                    <a:pt x="14" y="5"/>
                  </a:lnTo>
                  <a:lnTo>
                    <a:pt x="14" y="5"/>
                  </a:lnTo>
                  <a:lnTo>
                    <a:pt x="14" y="5"/>
                  </a:lnTo>
                  <a:lnTo>
                    <a:pt x="14" y="3"/>
                  </a:lnTo>
                  <a:lnTo>
                    <a:pt x="14" y="3"/>
                  </a:lnTo>
                  <a:lnTo>
                    <a:pt x="14" y="3"/>
                  </a:lnTo>
                  <a:lnTo>
                    <a:pt x="14" y="3"/>
                  </a:lnTo>
                  <a:lnTo>
                    <a:pt x="14"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9" y="3"/>
                  </a:lnTo>
                  <a:lnTo>
                    <a:pt x="19" y="3"/>
                  </a:lnTo>
                  <a:lnTo>
                    <a:pt x="19" y="3"/>
                  </a:lnTo>
                  <a:lnTo>
                    <a:pt x="19" y="3"/>
                  </a:lnTo>
                  <a:lnTo>
                    <a:pt x="19" y="3"/>
                  </a:lnTo>
                  <a:lnTo>
                    <a:pt x="19" y="3"/>
                  </a:lnTo>
                  <a:lnTo>
                    <a:pt x="19" y="3"/>
                  </a:lnTo>
                  <a:lnTo>
                    <a:pt x="19" y="3"/>
                  </a:lnTo>
                  <a:lnTo>
                    <a:pt x="19" y="3"/>
                  </a:lnTo>
                  <a:lnTo>
                    <a:pt x="19" y="3"/>
                  </a:lnTo>
                  <a:lnTo>
                    <a:pt x="19" y="3"/>
                  </a:lnTo>
                  <a:lnTo>
                    <a:pt x="19" y="3"/>
                  </a:lnTo>
                  <a:lnTo>
                    <a:pt x="19" y="3"/>
                  </a:lnTo>
                  <a:lnTo>
                    <a:pt x="19" y="3"/>
                  </a:lnTo>
                  <a:lnTo>
                    <a:pt x="21" y="3"/>
                  </a:lnTo>
                  <a:lnTo>
                    <a:pt x="21" y="3"/>
                  </a:lnTo>
                  <a:lnTo>
                    <a:pt x="21" y="3"/>
                  </a:lnTo>
                  <a:lnTo>
                    <a:pt x="21" y="3"/>
                  </a:lnTo>
                  <a:lnTo>
                    <a:pt x="21" y="3"/>
                  </a:lnTo>
                  <a:lnTo>
                    <a:pt x="21" y="3"/>
                  </a:lnTo>
                  <a:lnTo>
                    <a:pt x="21" y="3"/>
                  </a:lnTo>
                  <a:lnTo>
                    <a:pt x="21" y="3"/>
                  </a:lnTo>
                  <a:lnTo>
                    <a:pt x="24" y="3"/>
                  </a:lnTo>
                  <a:lnTo>
                    <a:pt x="24" y="3"/>
                  </a:lnTo>
                  <a:lnTo>
                    <a:pt x="24" y="3"/>
                  </a:lnTo>
                  <a:lnTo>
                    <a:pt x="24" y="3"/>
                  </a:lnTo>
                  <a:lnTo>
                    <a:pt x="24" y="3"/>
                  </a:lnTo>
                  <a:lnTo>
                    <a:pt x="24" y="5"/>
                  </a:lnTo>
                  <a:lnTo>
                    <a:pt x="24" y="5"/>
                  </a:lnTo>
                  <a:lnTo>
                    <a:pt x="24" y="5"/>
                  </a:lnTo>
                  <a:lnTo>
                    <a:pt x="24" y="5"/>
                  </a:lnTo>
                  <a:lnTo>
                    <a:pt x="24" y="5"/>
                  </a:lnTo>
                  <a:lnTo>
                    <a:pt x="24" y="5"/>
                  </a:lnTo>
                  <a:lnTo>
                    <a:pt x="24" y="5"/>
                  </a:lnTo>
                  <a:lnTo>
                    <a:pt x="24" y="5"/>
                  </a:lnTo>
                  <a:lnTo>
                    <a:pt x="24" y="5"/>
                  </a:lnTo>
                  <a:lnTo>
                    <a:pt x="24" y="7"/>
                  </a:lnTo>
                  <a:lnTo>
                    <a:pt x="24" y="7"/>
                  </a:lnTo>
                  <a:lnTo>
                    <a:pt x="24" y="7"/>
                  </a:lnTo>
                  <a:lnTo>
                    <a:pt x="24" y="7"/>
                  </a:lnTo>
                  <a:lnTo>
                    <a:pt x="24" y="7"/>
                  </a:lnTo>
                  <a:lnTo>
                    <a:pt x="24" y="7"/>
                  </a:lnTo>
                  <a:lnTo>
                    <a:pt x="21" y="7"/>
                  </a:lnTo>
                  <a:lnTo>
                    <a:pt x="21" y="7"/>
                  </a:lnTo>
                  <a:lnTo>
                    <a:pt x="21" y="7"/>
                  </a:lnTo>
                  <a:lnTo>
                    <a:pt x="21" y="7"/>
                  </a:lnTo>
                  <a:lnTo>
                    <a:pt x="21" y="7"/>
                  </a:lnTo>
                  <a:lnTo>
                    <a:pt x="21" y="7"/>
                  </a:lnTo>
                  <a:lnTo>
                    <a:pt x="21" y="7"/>
                  </a:lnTo>
                  <a:lnTo>
                    <a:pt x="21" y="7"/>
                  </a:lnTo>
                  <a:lnTo>
                    <a:pt x="21" y="7"/>
                  </a:lnTo>
                  <a:lnTo>
                    <a:pt x="21" y="7"/>
                  </a:lnTo>
                  <a:lnTo>
                    <a:pt x="21"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7" y="7"/>
                  </a:lnTo>
                  <a:lnTo>
                    <a:pt x="17" y="7"/>
                  </a:lnTo>
                  <a:lnTo>
                    <a:pt x="17" y="7"/>
                  </a:lnTo>
                  <a:lnTo>
                    <a:pt x="17" y="7"/>
                  </a:lnTo>
                  <a:lnTo>
                    <a:pt x="17" y="7"/>
                  </a:lnTo>
                  <a:lnTo>
                    <a:pt x="17" y="7"/>
                  </a:lnTo>
                  <a:lnTo>
                    <a:pt x="17" y="7"/>
                  </a:lnTo>
                  <a:lnTo>
                    <a:pt x="17" y="7"/>
                  </a:lnTo>
                  <a:lnTo>
                    <a:pt x="17" y="7"/>
                  </a:lnTo>
                  <a:lnTo>
                    <a:pt x="17" y="10"/>
                  </a:lnTo>
                  <a:lnTo>
                    <a:pt x="17" y="10"/>
                  </a:lnTo>
                  <a:lnTo>
                    <a:pt x="17" y="10"/>
                  </a:lnTo>
                  <a:lnTo>
                    <a:pt x="14" y="10"/>
                  </a:lnTo>
                  <a:lnTo>
                    <a:pt x="14" y="10"/>
                  </a:lnTo>
                  <a:lnTo>
                    <a:pt x="14" y="10"/>
                  </a:lnTo>
                  <a:lnTo>
                    <a:pt x="14" y="10"/>
                  </a:lnTo>
                  <a:lnTo>
                    <a:pt x="14" y="10"/>
                  </a:lnTo>
                  <a:lnTo>
                    <a:pt x="14" y="10"/>
                  </a:lnTo>
                  <a:lnTo>
                    <a:pt x="14" y="10"/>
                  </a:lnTo>
                  <a:lnTo>
                    <a:pt x="14" y="10"/>
                  </a:lnTo>
                  <a:lnTo>
                    <a:pt x="14" y="10"/>
                  </a:lnTo>
                  <a:lnTo>
                    <a:pt x="14" y="10"/>
                  </a:lnTo>
                  <a:lnTo>
                    <a:pt x="14"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2" y="7"/>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0" y="3"/>
                  </a:lnTo>
                  <a:lnTo>
                    <a:pt x="0" y="3"/>
                  </a:lnTo>
                  <a:lnTo>
                    <a:pt x="0" y="3"/>
                  </a:lnTo>
                  <a:lnTo>
                    <a:pt x="0" y="3"/>
                  </a:lnTo>
                  <a:lnTo>
                    <a:pt x="0" y="3"/>
                  </a:lnTo>
                  <a:lnTo>
                    <a:pt x="0" y="3"/>
                  </a:lnTo>
                  <a:lnTo>
                    <a:pt x="0" y="3"/>
                  </a:lnTo>
                  <a:lnTo>
                    <a:pt x="0" y="3"/>
                  </a:lnTo>
                  <a:lnTo>
                    <a:pt x="0" y="3"/>
                  </a:lnTo>
                  <a:lnTo>
                    <a:pt x="0" y="3"/>
                  </a:lnTo>
                  <a:lnTo>
                    <a:pt x="0" y="3"/>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4" name="Freeform 55041"/>
            <p:cNvSpPr>
              <a:spLocks/>
            </p:cNvSpPr>
            <p:nvPr/>
          </p:nvSpPr>
          <p:spPr bwMode="auto">
            <a:xfrm>
              <a:off x="1528761" y="5286392"/>
              <a:ext cx="173038" cy="369889"/>
            </a:xfrm>
            <a:custGeom>
              <a:avLst/>
              <a:gdLst>
                <a:gd name="T0" fmla="*/ 30 w 109"/>
                <a:gd name="T1" fmla="*/ 47 h 233"/>
                <a:gd name="T2" fmla="*/ 26 w 109"/>
                <a:gd name="T3" fmla="*/ 38 h 233"/>
                <a:gd name="T4" fmla="*/ 23 w 109"/>
                <a:gd name="T5" fmla="*/ 23 h 233"/>
                <a:gd name="T6" fmla="*/ 23 w 109"/>
                <a:gd name="T7" fmla="*/ 14 h 233"/>
                <a:gd name="T8" fmla="*/ 38 w 109"/>
                <a:gd name="T9" fmla="*/ 2 h 233"/>
                <a:gd name="T10" fmla="*/ 45 w 109"/>
                <a:gd name="T11" fmla="*/ 7 h 233"/>
                <a:gd name="T12" fmla="*/ 52 w 109"/>
                <a:gd name="T13" fmla="*/ 14 h 233"/>
                <a:gd name="T14" fmla="*/ 66 w 109"/>
                <a:gd name="T15" fmla="*/ 14 h 233"/>
                <a:gd name="T16" fmla="*/ 80 w 109"/>
                <a:gd name="T17" fmla="*/ 9 h 233"/>
                <a:gd name="T18" fmla="*/ 97 w 109"/>
                <a:gd name="T19" fmla="*/ 9 h 233"/>
                <a:gd name="T20" fmla="*/ 99 w 109"/>
                <a:gd name="T21" fmla="*/ 23 h 233"/>
                <a:gd name="T22" fmla="*/ 106 w 109"/>
                <a:gd name="T23" fmla="*/ 33 h 233"/>
                <a:gd name="T24" fmla="*/ 97 w 109"/>
                <a:gd name="T25" fmla="*/ 42 h 233"/>
                <a:gd name="T26" fmla="*/ 87 w 109"/>
                <a:gd name="T27" fmla="*/ 52 h 233"/>
                <a:gd name="T28" fmla="*/ 90 w 109"/>
                <a:gd name="T29" fmla="*/ 64 h 233"/>
                <a:gd name="T30" fmla="*/ 87 w 109"/>
                <a:gd name="T31" fmla="*/ 76 h 233"/>
                <a:gd name="T32" fmla="*/ 83 w 109"/>
                <a:gd name="T33" fmla="*/ 92 h 233"/>
                <a:gd name="T34" fmla="*/ 87 w 109"/>
                <a:gd name="T35" fmla="*/ 102 h 233"/>
                <a:gd name="T36" fmla="*/ 76 w 109"/>
                <a:gd name="T37" fmla="*/ 114 h 233"/>
                <a:gd name="T38" fmla="*/ 73 w 109"/>
                <a:gd name="T39" fmla="*/ 121 h 233"/>
                <a:gd name="T40" fmla="*/ 80 w 109"/>
                <a:gd name="T41" fmla="*/ 138 h 233"/>
                <a:gd name="T42" fmla="*/ 80 w 109"/>
                <a:gd name="T43" fmla="*/ 149 h 233"/>
                <a:gd name="T44" fmla="*/ 73 w 109"/>
                <a:gd name="T45" fmla="*/ 161 h 233"/>
                <a:gd name="T46" fmla="*/ 83 w 109"/>
                <a:gd name="T47" fmla="*/ 180 h 233"/>
                <a:gd name="T48" fmla="*/ 76 w 109"/>
                <a:gd name="T49" fmla="*/ 187 h 233"/>
                <a:gd name="T50" fmla="*/ 68 w 109"/>
                <a:gd name="T51" fmla="*/ 202 h 233"/>
                <a:gd name="T52" fmla="*/ 68 w 109"/>
                <a:gd name="T53" fmla="*/ 216 h 233"/>
                <a:gd name="T54" fmla="*/ 61 w 109"/>
                <a:gd name="T55" fmla="*/ 228 h 233"/>
                <a:gd name="T56" fmla="*/ 49 w 109"/>
                <a:gd name="T57" fmla="*/ 233 h 233"/>
                <a:gd name="T58" fmla="*/ 40 w 109"/>
                <a:gd name="T59" fmla="*/ 228 h 233"/>
                <a:gd name="T60" fmla="*/ 28 w 109"/>
                <a:gd name="T61" fmla="*/ 228 h 233"/>
                <a:gd name="T62" fmla="*/ 19 w 109"/>
                <a:gd name="T63" fmla="*/ 233 h 233"/>
                <a:gd name="T64" fmla="*/ 19 w 109"/>
                <a:gd name="T65" fmla="*/ 223 h 233"/>
                <a:gd name="T66" fmla="*/ 23 w 109"/>
                <a:gd name="T67" fmla="*/ 209 h 233"/>
                <a:gd name="T68" fmla="*/ 23 w 109"/>
                <a:gd name="T69" fmla="*/ 199 h 233"/>
                <a:gd name="T70" fmla="*/ 23 w 109"/>
                <a:gd name="T71" fmla="*/ 185 h 233"/>
                <a:gd name="T72" fmla="*/ 21 w 109"/>
                <a:gd name="T73" fmla="*/ 168 h 233"/>
                <a:gd name="T74" fmla="*/ 26 w 109"/>
                <a:gd name="T75" fmla="*/ 168 h 233"/>
                <a:gd name="T76" fmla="*/ 28 w 109"/>
                <a:gd name="T77" fmla="*/ 168 h 233"/>
                <a:gd name="T78" fmla="*/ 26 w 109"/>
                <a:gd name="T79" fmla="*/ 161 h 233"/>
                <a:gd name="T80" fmla="*/ 21 w 109"/>
                <a:gd name="T81" fmla="*/ 166 h 233"/>
                <a:gd name="T82" fmla="*/ 11 w 109"/>
                <a:gd name="T83" fmla="*/ 168 h 233"/>
                <a:gd name="T84" fmla="*/ 14 w 109"/>
                <a:gd name="T85" fmla="*/ 159 h 233"/>
                <a:gd name="T86" fmla="*/ 16 w 109"/>
                <a:gd name="T87" fmla="*/ 157 h 233"/>
                <a:gd name="T88" fmla="*/ 19 w 109"/>
                <a:gd name="T89" fmla="*/ 149 h 233"/>
                <a:gd name="T90" fmla="*/ 19 w 109"/>
                <a:gd name="T91" fmla="*/ 142 h 233"/>
                <a:gd name="T92" fmla="*/ 9 w 109"/>
                <a:gd name="T93" fmla="*/ 157 h 233"/>
                <a:gd name="T94" fmla="*/ 0 w 109"/>
                <a:gd name="T95" fmla="*/ 152 h 233"/>
                <a:gd name="T96" fmla="*/ 2 w 109"/>
                <a:gd name="T97" fmla="*/ 140 h 233"/>
                <a:gd name="T98" fmla="*/ 7 w 109"/>
                <a:gd name="T99" fmla="*/ 130 h 233"/>
                <a:gd name="T100" fmla="*/ 9 w 109"/>
                <a:gd name="T101" fmla="*/ 123 h 233"/>
                <a:gd name="T102" fmla="*/ 16 w 109"/>
                <a:gd name="T103" fmla="*/ 107 h 233"/>
                <a:gd name="T104" fmla="*/ 21 w 109"/>
                <a:gd name="T105" fmla="*/ 92 h 233"/>
                <a:gd name="T106" fmla="*/ 26 w 109"/>
                <a:gd name="T107" fmla="*/ 69 h 233"/>
                <a:gd name="T108" fmla="*/ 30 w 109"/>
                <a:gd name="T109" fmla="*/ 64 h 233"/>
                <a:gd name="T110" fmla="*/ 28 w 109"/>
                <a:gd name="T111" fmla="*/ 64 h 233"/>
                <a:gd name="T112" fmla="*/ 28 w 109"/>
                <a:gd name="T113" fmla="*/ 61 h 233"/>
                <a:gd name="T114" fmla="*/ 35 w 109"/>
                <a:gd name="T115" fmla="*/ 5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 h="233">
                  <a:moveTo>
                    <a:pt x="42" y="50"/>
                  </a:moveTo>
                  <a:lnTo>
                    <a:pt x="40" y="50"/>
                  </a:lnTo>
                  <a:lnTo>
                    <a:pt x="38" y="52"/>
                  </a:lnTo>
                  <a:lnTo>
                    <a:pt x="38" y="50"/>
                  </a:lnTo>
                  <a:lnTo>
                    <a:pt x="35" y="50"/>
                  </a:lnTo>
                  <a:lnTo>
                    <a:pt x="35" y="52"/>
                  </a:lnTo>
                  <a:lnTo>
                    <a:pt x="35" y="50"/>
                  </a:lnTo>
                  <a:lnTo>
                    <a:pt x="33" y="50"/>
                  </a:lnTo>
                  <a:lnTo>
                    <a:pt x="33" y="47"/>
                  </a:lnTo>
                  <a:lnTo>
                    <a:pt x="30" y="47"/>
                  </a:lnTo>
                  <a:lnTo>
                    <a:pt x="28" y="47"/>
                  </a:lnTo>
                  <a:lnTo>
                    <a:pt x="28" y="45"/>
                  </a:lnTo>
                  <a:lnTo>
                    <a:pt x="26" y="45"/>
                  </a:lnTo>
                  <a:lnTo>
                    <a:pt x="28" y="45"/>
                  </a:lnTo>
                  <a:lnTo>
                    <a:pt x="26" y="45"/>
                  </a:lnTo>
                  <a:lnTo>
                    <a:pt x="28" y="45"/>
                  </a:lnTo>
                  <a:lnTo>
                    <a:pt x="26" y="45"/>
                  </a:lnTo>
                  <a:lnTo>
                    <a:pt x="26" y="42"/>
                  </a:lnTo>
                  <a:lnTo>
                    <a:pt x="26" y="40"/>
                  </a:lnTo>
                  <a:lnTo>
                    <a:pt x="26" y="38"/>
                  </a:lnTo>
                  <a:lnTo>
                    <a:pt x="26" y="35"/>
                  </a:lnTo>
                  <a:lnTo>
                    <a:pt x="23" y="35"/>
                  </a:lnTo>
                  <a:lnTo>
                    <a:pt x="23" y="33"/>
                  </a:lnTo>
                  <a:lnTo>
                    <a:pt x="23" y="31"/>
                  </a:lnTo>
                  <a:lnTo>
                    <a:pt x="23" y="28"/>
                  </a:lnTo>
                  <a:lnTo>
                    <a:pt x="23" y="31"/>
                  </a:lnTo>
                  <a:lnTo>
                    <a:pt x="26" y="31"/>
                  </a:lnTo>
                  <a:lnTo>
                    <a:pt x="23" y="28"/>
                  </a:lnTo>
                  <a:lnTo>
                    <a:pt x="23" y="26"/>
                  </a:lnTo>
                  <a:lnTo>
                    <a:pt x="23" y="23"/>
                  </a:lnTo>
                  <a:lnTo>
                    <a:pt x="23" y="21"/>
                  </a:lnTo>
                  <a:lnTo>
                    <a:pt x="26" y="21"/>
                  </a:lnTo>
                  <a:lnTo>
                    <a:pt x="28" y="21"/>
                  </a:lnTo>
                  <a:lnTo>
                    <a:pt x="26" y="21"/>
                  </a:lnTo>
                  <a:lnTo>
                    <a:pt x="23" y="21"/>
                  </a:lnTo>
                  <a:lnTo>
                    <a:pt x="21" y="21"/>
                  </a:lnTo>
                  <a:lnTo>
                    <a:pt x="21" y="19"/>
                  </a:lnTo>
                  <a:lnTo>
                    <a:pt x="21" y="16"/>
                  </a:lnTo>
                  <a:lnTo>
                    <a:pt x="21" y="14"/>
                  </a:lnTo>
                  <a:lnTo>
                    <a:pt x="23" y="14"/>
                  </a:lnTo>
                  <a:lnTo>
                    <a:pt x="23" y="12"/>
                  </a:lnTo>
                  <a:lnTo>
                    <a:pt x="26" y="12"/>
                  </a:lnTo>
                  <a:lnTo>
                    <a:pt x="26" y="9"/>
                  </a:lnTo>
                  <a:lnTo>
                    <a:pt x="28" y="7"/>
                  </a:lnTo>
                  <a:lnTo>
                    <a:pt x="28" y="4"/>
                  </a:lnTo>
                  <a:lnTo>
                    <a:pt x="30" y="4"/>
                  </a:lnTo>
                  <a:lnTo>
                    <a:pt x="33" y="4"/>
                  </a:lnTo>
                  <a:lnTo>
                    <a:pt x="35" y="4"/>
                  </a:lnTo>
                  <a:lnTo>
                    <a:pt x="38" y="4"/>
                  </a:lnTo>
                  <a:lnTo>
                    <a:pt x="38" y="2"/>
                  </a:lnTo>
                  <a:lnTo>
                    <a:pt x="38" y="4"/>
                  </a:lnTo>
                  <a:lnTo>
                    <a:pt x="40" y="4"/>
                  </a:lnTo>
                  <a:lnTo>
                    <a:pt x="40" y="2"/>
                  </a:lnTo>
                  <a:lnTo>
                    <a:pt x="42" y="2"/>
                  </a:lnTo>
                  <a:lnTo>
                    <a:pt x="42" y="0"/>
                  </a:lnTo>
                  <a:lnTo>
                    <a:pt x="45" y="2"/>
                  </a:lnTo>
                  <a:lnTo>
                    <a:pt x="45" y="4"/>
                  </a:lnTo>
                  <a:lnTo>
                    <a:pt x="47" y="4"/>
                  </a:lnTo>
                  <a:lnTo>
                    <a:pt x="47" y="7"/>
                  </a:lnTo>
                  <a:lnTo>
                    <a:pt x="45" y="7"/>
                  </a:lnTo>
                  <a:lnTo>
                    <a:pt x="45" y="9"/>
                  </a:lnTo>
                  <a:lnTo>
                    <a:pt x="42" y="9"/>
                  </a:lnTo>
                  <a:lnTo>
                    <a:pt x="42" y="12"/>
                  </a:lnTo>
                  <a:lnTo>
                    <a:pt x="42" y="14"/>
                  </a:lnTo>
                  <a:lnTo>
                    <a:pt x="45" y="14"/>
                  </a:lnTo>
                  <a:lnTo>
                    <a:pt x="45" y="16"/>
                  </a:lnTo>
                  <a:lnTo>
                    <a:pt x="47" y="16"/>
                  </a:lnTo>
                  <a:lnTo>
                    <a:pt x="49" y="16"/>
                  </a:lnTo>
                  <a:lnTo>
                    <a:pt x="49" y="14"/>
                  </a:lnTo>
                  <a:lnTo>
                    <a:pt x="52" y="14"/>
                  </a:lnTo>
                  <a:lnTo>
                    <a:pt x="52" y="12"/>
                  </a:lnTo>
                  <a:lnTo>
                    <a:pt x="54" y="12"/>
                  </a:lnTo>
                  <a:lnTo>
                    <a:pt x="54" y="14"/>
                  </a:lnTo>
                  <a:lnTo>
                    <a:pt x="57" y="12"/>
                  </a:lnTo>
                  <a:lnTo>
                    <a:pt x="59" y="12"/>
                  </a:lnTo>
                  <a:lnTo>
                    <a:pt x="61" y="12"/>
                  </a:lnTo>
                  <a:lnTo>
                    <a:pt x="61" y="14"/>
                  </a:lnTo>
                  <a:lnTo>
                    <a:pt x="64" y="12"/>
                  </a:lnTo>
                  <a:lnTo>
                    <a:pt x="64" y="14"/>
                  </a:lnTo>
                  <a:lnTo>
                    <a:pt x="66" y="14"/>
                  </a:lnTo>
                  <a:lnTo>
                    <a:pt x="68" y="14"/>
                  </a:lnTo>
                  <a:lnTo>
                    <a:pt x="68" y="16"/>
                  </a:lnTo>
                  <a:lnTo>
                    <a:pt x="71" y="14"/>
                  </a:lnTo>
                  <a:lnTo>
                    <a:pt x="73" y="14"/>
                  </a:lnTo>
                  <a:lnTo>
                    <a:pt x="76" y="14"/>
                  </a:lnTo>
                  <a:lnTo>
                    <a:pt x="76" y="12"/>
                  </a:lnTo>
                  <a:lnTo>
                    <a:pt x="78" y="12"/>
                  </a:lnTo>
                  <a:lnTo>
                    <a:pt x="78" y="9"/>
                  </a:lnTo>
                  <a:lnTo>
                    <a:pt x="78" y="7"/>
                  </a:lnTo>
                  <a:lnTo>
                    <a:pt x="80" y="9"/>
                  </a:lnTo>
                  <a:lnTo>
                    <a:pt x="83" y="9"/>
                  </a:lnTo>
                  <a:lnTo>
                    <a:pt x="85" y="9"/>
                  </a:lnTo>
                  <a:lnTo>
                    <a:pt x="87" y="9"/>
                  </a:lnTo>
                  <a:lnTo>
                    <a:pt x="90" y="9"/>
                  </a:lnTo>
                  <a:lnTo>
                    <a:pt x="90" y="7"/>
                  </a:lnTo>
                  <a:lnTo>
                    <a:pt x="90" y="9"/>
                  </a:lnTo>
                  <a:lnTo>
                    <a:pt x="92" y="9"/>
                  </a:lnTo>
                  <a:lnTo>
                    <a:pt x="92" y="12"/>
                  </a:lnTo>
                  <a:lnTo>
                    <a:pt x="95" y="9"/>
                  </a:lnTo>
                  <a:lnTo>
                    <a:pt x="97" y="9"/>
                  </a:lnTo>
                  <a:lnTo>
                    <a:pt x="97" y="12"/>
                  </a:lnTo>
                  <a:lnTo>
                    <a:pt x="97" y="14"/>
                  </a:lnTo>
                  <a:lnTo>
                    <a:pt x="99" y="14"/>
                  </a:lnTo>
                  <a:lnTo>
                    <a:pt x="99" y="16"/>
                  </a:lnTo>
                  <a:lnTo>
                    <a:pt x="97" y="16"/>
                  </a:lnTo>
                  <a:lnTo>
                    <a:pt x="99" y="16"/>
                  </a:lnTo>
                  <a:lnTo>
                    <a:pt x="97" y="16"/>
                  </a:lnTo>
                  <a:lnTo>
                    <a:pt x="97" y="19"/>
                  </a:lnTo>
                  <a:lnTo>
                    <a:pt x="97" y="21"/>
                  </a:lnTo>
                  <a:lnTo>
                    <a:pt x="99" y="23"/>
                  </a:lnTo>
                  <a:lnTo>
                    <a:pt x="102" y="21"/>
                  </a:lnTo>
                  <a:lnTo>
                    <a:pt x="104" y="21"/>
                  </a:lnTo>
                  <a:lnTo>
                    <a:pt x="106" y="23"/>
                  </a:lnTo>
                  <a:lnTo>
                    <a:pt x="109" y="26"/>
                  </a:lnTo>
                  <a:lnTo>
                    <a:pt x="109" y="28"/>
                  </a:lnTo>
                  <a:lnTo>
                    <a:pt x="109" y="31"/>
                  </a:lnTo>
                  <a:lnTo>
                    <a:pt x="106" y="31"/>
                  </a:lnTo>
                  <a:lnTo>
                    <a:pt x="109" y="31"/>
                  </a:lnTo>
                  <a:lnTo>
                    <a:pt x="106" y="31"/>
                  </a:lnTo>
                  <a:lnTo>
                    <a:pt x="106" y="33"/>
                  </a:lnTo>
                  <a:lnTo>
                    <a:pt x="104" y="33"/>
                  </a:lnTo>
                  <a:lnTo>
                    <a:pt x="104" y="35"/>
                  </a:lnTo>
                  <a:lnTo>
                    <a:pt x="106" y="35"/>
                  </a:lnTo>
                  <a:lnTo>
                    <a:pt x="104" y="35"/>
                  </a:lnTo>
                  <a:lnTo>
                    <a:pt x="104" y="38"/>
                  </a:lnTo>
                  <a:lnTo>
                    <a:pt x="102" y="38"/>
                  </a:lnTo>
                  <a:lnTo>
                    <a:pt x="102" y="40"/>
                  </a:lnTo>
                  <a:lnTo>
                    <a:pt x="99" y="40"/>
                  </a:lnTo>
                  <a:lnTo>
                    <a:pt x="97" y="40"/>
                  </a:lnTo>
                  <a:lnTo>
                    <a:pt x="97" y="42"/>
                  </a:lnTo>
                  <a:lnTo>
                    <a:pt x="95" y="42"/>
                  </a:lnTo>
                  <a:lnTo>
                    <a:pt x="92" y="42"/>
                  </a:lnTo>
                  <a:lnTo>
                    <a:pt x="92" y="45"/>
                  </a:lnTo>
                  <a:lnTo>
                    <a:pt x="92" y="47"/>
                  </a:lnTo>
                  <a:lnTo>
                    <a:pt x="90" y="47"/>
                  </a:lnTo>
                  <a:lnTo>
                    <a:pt x="92" y="47"/>
                  </a:lnTo>
                  <a:lnTo>
                    <a:pt x="90" y="47"/>
                  </a:lnTo>
                  <a:lnTo>
                    <a:pt x="90" y="50"/>
                  </a:lnTo>
                  <a:lnTo>
                    <a:pt x="90" y="52"/>
                  </a:lnTo>
                  <a:lnTo>
                    <a:pt x="87" y="52"/>
                  </a:lnTo>
                  <a:lnTo>
                    <a:pt x="85" y="52"/>
                  </a:lnTo>
                  <a:lnTo>
                    <a:pt x="85" y="54"/>
                  </a:lnTo>
                  <a:lnTo>
                    <a:pt x="87" y="54"/>
                  </a:lnTo>
                  <a:lnTo>
                    <a:pt x="87" y="57"/>
                  </a:lnTo>
                  <a:lnTo>
                    <a:pt x="87" y="59"/>
                  </a:lnTo>
                  <a:lnTo>
                    <a:pt x="90" y="59"/>
                  </a:lnTo>
                  <a:lnTo>
                    <a:pt x="90" y="61"/>
                  </a:lnTo>
                  <a:lnTo>
                    <a:pt x="87" y="61"/>
                  </a:lnTo>
                  <a:lnTo>
                    <a:pt x="87" y="64"/>
                  </a:lnTo>
                  <a:lnTo>
                    <a:pt x="90" y="64"/>
                  </a:lnTo>
                  <a:lnTo>
                    <a:pt x="87" y="64"/>
                  </a:lnTo>
                  <a:lnTo>
                    <a:pt x="87" y="66"/>
                  </a:lnTo>
                  <a:lnTo>
                    <a:pt x="90" y="66"/>
                  </a:lnTo>
                  <a:lnTo>
                    <a:pt x="90" y="69"/>
                  </a:lnTo>
                  <a:lnTo>
                    <a:pt x="90" y="71"/>
                  </a:lnTo>
                  <a:lnTo>
                    <a:pt x="87" y="71"/>
                  </a:lnTo>
                  <a:lnTo>
                    <a:pt x="87" y="73"/>
                  </a:lnTo>
                  <a:lnTo>
                    <a:pt x="90" y="73"/>
                  </a:lnTo>
                  <a:lnTo>
                    <a:pt x="90" y="76"/>
                  </a:lnTo>
                  <a:lnTo>
                    <a:pt x="87" y="76"/>
                  </a:lnTo>
                  <a:lnTo>
                    <a:pt x="87" y="78"/>
                  </a:lnTo>
                  <a:lnTo>
                    <a:pt x="87" y="80"/>
                  </a:lnTo>
                  <a:lnTo>
                    <a:pt x="90" y="80"/>
                  </a:lnTo>
                  <a:lnTo>
                    <a:pt x="90" y="83"/>
                  </a:lnTo>
                  <a:lnTo>
                    <a:pt x="87" y="85"/>
                  </a:lnTo>
                  <a:lnTo>
                    <a:pt x="87" y="88"/>
                  </a:lnTo>
                  <a:lnTo>
                    <a:pt x="85" y="88"/>
                  </a:lnTo>
                  <a:lnTo>
                    <a:pt x="83" y="88"/>
                  </a:lnTo>
                  <a:lnTo>
                    <a:pt x="83" y="90"/>
                  </a:lnTo>
                  <a:lnTo>
                    <a:pt x="83" y="92"/>
                  </a:lnTo>
                  <a:lnTo>
                    <a:pt x="85" y="92"/>
                  </a:lnTo>
                  <a:lnTo>
                    <a:pt x="85" y="95"/>
                  </a:lnTo>
                  <a:lnTo>
                    <a:pt x="87" y="95"/>
                  </a:lnTo>
                  <a:lnTo>
                    <a:pt x="87" y="97"/>
                  </a:lnTo>
                  <a:lnTo>
                    <a:pt x="87" y="100"/>
                  </a:lnTo>
                  <a:lnTo>
                    <a:pt x="87" y="102"/>
                  </a:lnTo>
                  <a:lnTo>
                    <a:pt x="85" y="102"/>
                  </a:lnTo>
                  <a:lnTo>
                    <a:pt x="87" y="102"/>
                  </a:lnTo>
                  <a:lnTo>
                    <a:pt x="85" y="102"/>
                  </a:lnTo>
                  <a:lnTo>
                    <a:pt x="87" y="102"/>
                  </a:lnTo>
                  <a:lnTo>
                    <a:pt x="85" y="102"/>
                  </a:lnTo>
                  <a:lnTo>
                    <a:pt x="85" y="104"/>
                  </a:lnTo>
                  <a:lnTo>
                    <a:pt x="85" y="107"/>
                  </a:lnTo>
                  <a:lnTo>
                    <a:pt x="83" y="107"/>
                  </a:lnTo>
                  <a:lnTo>
                    <a:pt x="83" y="109"/>
                  </a:lnTo>
                  <a:lnTo>
                    <a:pt x="83" y="111"/>
                  </a:lnTo>
                  <a:lnTo>
                    <a:pt x="83" y="114"/>
                  </a:lnTo>
                  <a:lnTo>
                    <a:pt x="80" y="114"/>
                  </a:lnTo>
                  <a:lnTo>
                    <a:pt x="78" y="114"/>
                  </a:lnTo>
                  <a:lnTo>
                    <a:pt x="76" y="114"/>
                  </a:lnTo>
                  <a:lnTo>
                    <a:pt x="73" y="114"/>
                  </a:lnTo>
                  <a:lnTo>
                    <a:pt x="71" y="114"/>
                  </a:lnTo>
                  <a:lnTo>
                    <a:pt x="68" y="114"/>
                  </a:lnTo>
                  <a:lnTo>
                    <a:pt x="66" y="114"/>
                  </a:lnTo>
                  <a:lnTo>
                    <a:pt x="66" y="116"/>
                  </a:lnTo>
                  <a:lnTo>
                    <a:pt x="68" y="116"/>
                  </a:lnTo>
                  <a:lnTo>
                    <a:pt x="68" y="119"/>
                  </a:lnTo>
                  <a:lnTo>
                    <a:pt x="71" y="119"/>
                  </a:lnTo>
                  <a:lnTo>
                    <a:pt x="71" y="121"/>
                  </a:lnTo>
                  <a:lnTo>
                    <a:pt x="73" y="121"/>
                  </a:lnTo>
                  <a:lnTo>
                    <a:pt x="73" y="123"/>
                  </a:lnTo>
                  <a:lnTo>
                    <a:pt x="73" y="126"/>
                  </a:lnTo>
                  <a:lnTo>
                    <a:pt x="73" y="128"/>
                  </a:lnTo>
                  <a:lnTo>
                    <a:pt x="73" y="130"/>
                  </a:lnTo>
                  <a:lnTo>
                    <a:pt x="76" y="130"/>
                  </a:lnTo>
                  <a:lnTo>
                    <a:pt x="76" y="133"/>
                  </a:lnTo>
                  <a:lnTo>
                    <a:pt x="76" y="135"/>
                  </a:lnTo>
                  <a:lnTo>
                    <a:pt x="78" y="135"/>
                  </a:lnTo>
                  <a:lnTo>
                    <a:pt x="78" y="138"/>
                  </a:lnTo>
                  <a:lnTo>
                    <a:pt x="80" y="138"/>
                  </a:lnTo>
                  <a:lnTo>
                    <a:pt x="83" y="138"/>
                  </a:lnTo>
                  <a:lnTo>
                    <a:pt x="83" y="140"/>
                  </a:lnTo>
                  <a:lnTo>
                    <a:pt x="85" y="140"/>
                  </a:lnTo>
                  <a:lnTo>
                    <a:pt x="85" y="142"/>
                  </a:lnTo>
                  <a:lnTo>
                    <a:pt x="83" y="145"/>
                  </a:lnTo>
                  <a:lnTo>
                    <a:pt x="83" y="147"/>
                  </a:lnTo>
                  <a:lnTo>
                    <a:pt x="80" y="147"/>
                  </a:lnTo>
                  <a:lnTo>
                    <a:pt x="83" y="147"/>
                  </a:lnTo>
                  <a:lnTo>
                    <a:pt x="83" y="149"/>
                  </a:lnTo>
                  <a:lnTo>
                    <a:pt x="80" y="149"/>
                  </a:lnTo>
                  <a:lnTo>
                    <a:pt x="80" y="152"/>
                  </a:lnTo>
                  <a:lnTo>
                    <a:pt x="78" y="152"/>
                  </a:lnTo>
                  <a:lnTo>
                    <a:pt x="78" y="154"/>
                  </a:lnTo>
                  <a:lnTo>
                    <a:pt x="76" y="154"/>
                  </a:lnTo>
                  <a:lnTo>
                    <a:pt x="76" y="157"/>
                  </a:lnTo>
                  <a:lnTo>
                    <a:pt x="73" y="157"/>
                  </a:lnTo>
                  <a:lnTo>
                    <a:pt x="73" y="159"/>
                  </a:lnTo>
                  <a:lnTo>
                    <a:pt x="76" y="159"/>
                  </a:lnTo>
                  <a:lnTo>
                    <a:pt x="76" y="161"/>
                  </a:lnTo>
                  <a:lnTo>
                    <a:pt x="73" y="161"/>
                  </a:lnTo>
                  <a:lnTo>
                    <a:pt x="73" y="164"/>
                  </a:lnTo>
                  <a:lnTo>
                    <a:pt x="73" y="166"/>
                  </a:lnTo>
                  <a:lnTo>
                    <a:pt x="73" y="168"/>
                  </a:lnTo>
                  <a:lnTo>
                    <a:pt x="73" y="171"/>
                  </a:lnTo>
                  <a:lnTo>
                    <a:pt x="76" y="171"/>
                  </a:lnTo>
                  <a:lnTo>
                    <a:pt x="76" y="173"/>
                  </a:lnTo>
                  <a:lnTo>
                    <a:pt x="78" y="176"/>
                  </a:lnTo>
                  <a:lnTo>
                    <a:pt x="78" y="178"/>
                  </a:lnTo>
                  <a:lnTo>
                    <a:pt x="80" y="180"/>
                  </a:lnTo>
                  <a:lnTo>
                    <a:pt x="83" y="180"/>
                  </a:lnTo>
                  <a:lnTo>
                    <a:pt x="83" y="178"/>
                  </a:lnTo>
                  <a:lnTo>
                    <a:pt x="85" y="178"/>
                  </a:lnTo>
                  <a:lnTo>
                    <a:pt x="85" y="180"/>
                  </a:lnTo>
                  <a:lnTo>
                    <a:pt x="83" y="183"/>
                  </a:lnTo>
                  <a:lnTo>
                    <a:pt x="83" y="185"/>
                  </a:lnTo>
                  <a:lnTo>
                    <a:pt x="83" y="187"/>
                  </a:lnTo>
                  <a:lnTo>
                    <a:pt x="80" y="187"/>
                  </a:lnTo>
                  <a:lnTo>
                    <a:pt x="80" y="185"/>
                  </a:lnTo>
                  <a:lnTo>
                    <a:pt x="78" y="187"/>
                  </a:lnTo>
                  <a:lnTo>
                    <a:pt x="76" y="187"/>
                  </a:lnTo>
                  <a:lnTo>
                    <a:pt x="73" y="190"/>
                  </a:lnTo>
                  <a:lnTo>
                    <a:pt x="76" y="190"/>
                  </a:lnTo>
                  <a:lnTo>
                    <a:pt x="76" y="192"/>
                  </a:lnTo>
                  <a:lnTo>
                    <a:pt x="73" y="192"/>
                  </a:lnTo>
                  <a:lnTo>
                    <a:pt x="73" y="195"/>
                  </a:lnTo>
                  <a:lnTo>
                    <a:pt x="73" y="197"/>
                  </a:lnTo>
                  <a:lnTo>
                    <a:pt x="71" y="197"/>
                  </a:lnTo>
                  <a:lnTo>
                    <a:pt x="71" y="199"/>
                  </a:lnTo>
                  <a:lnTo>
                    <a:pt x="68" y="199"/>
                  </a:lnTo>
                  <a:lnTo>
                    <a:pt x="68" y="202"/>
                  </a:lnTo>
                  <a:lnTo>
                    <a:pt x="68" y="204"/>
                  </a:lnTo>
                  <a:lnTo>
                    <a:pt x="66" y="204"/>
                  </a:lnTo>
                  <a:lnTo>
                    <a:pt x="66" y="206"/>
                  </a:lnTo>
                  <a:lnTo>
                    <a:pt x="66" y="209"/>
                  </a:lnTo>
                  <a:lnTo>
                    <a:pt x="66" y="206"/>
                  </a:lnTo>
                  <a:lnTo>
                    <a:pt x="66" y="209"/>
                  </a:lnTo>
                  <a:lnTo>
                    <a:pt x="66" y="211"/>
                  </a:lnTo>
                  <a:lnTo>
                    <a:pt x="68" y="211"/>
                  </a:lnTo>
                  <a:lnTo>
                    <a:pt x="68" y="214"/>
                  </a:lnTo>
                  <a:lnTo>
                    <a:pt x="68" y="216"/>
                  </a:lnTo>
                  <a:lnTo>
                    <a:pt x="68" y="218"/>
                  </a:lnTo>
                  <a:lnTo>
                    <a:pt x="68" y="221"/>
                  </a:lnTo>
                  <a:lnTo>
                    <a:pt x="68" y="223"/>
                  </a:lnTo>
                  <a:lnTo>
                    <a:pt x="68" y="225"/>
                  </a:lnTo>
                  <a:lnTo>
                    <a:pt x="71" y="225"/>
                  </a:lnTo>
                  <a:lnTo>
                    <a:pt x="68" y="225"/>
                  </a:lnTo>
                  <a:lnTo>
                    <a:pt x="66" y="225"/>
                  </a:lnTo>
                  <a:lnTo>
                    <a:pt x="64" y="225"/>
                  </a:lnTo>
                  <a:lnTo>
                    <a:pt x="64" y="228"/>
                  </a:lnTo>
                  <a:lnTo>
                    <a:pt x="61" y="228"/>
                  </a:lnTo>
                  <a:lnTo>
                    <a:pt x="64" y="228"/>
                  </a:lnTo>
                  <a:lnTo>
                    <a:pt x="61" y="228"/>
                  </a:lnTo>
                  <a:lnTo>
                    <a:pt x="61" y="230"/>
                  </a:lnTo>
                  <a:lnTo>
                    <a:pt x="59" y="230"/>
                  </a:lnTo>
                  <a:lnTo>
                    <a:pt x="57" y="230"/>
                  </a:lnTo>
                  <a:lnTo>
                    <a:pt x="57" y="233"/>
                  </a:lnTo>
                  <a:lnTo>
                    <a:pt x="57" y="230"/>
                  </a:lnTo>
                  <a:lnTo>
                    <a:pt x="54" y="233"/>
                  </a:lnTo>
                  <a:lnTo>
                    <a:pt x="52" y="233"/>
                  </a:lnTo>
                  <a:lnTo>
                    <a:pt x="49" y="233"/>
                  </a:lnTo>
                  <a:lnTo>
                    <a:pt x="49" y="230"/>
                  </a:lnTo>
                  <a:lnTo>
                    <a:pt x="49" y="233"/>
                  </a:lnTo>
                  <a:lnTo>
                    <a:pt x="52" y="233"/>
                  </a:lnTo>
                  <a:lnTo>
                    <a:pt x="49" y="233"/>
                  </a:lnTo>
                  <a:lnTo>
                    <a:pt x="47" y="230"/>
                  </a:lnTo>
                  <a:lnTo>
                    <a:pt x="45" y="230"/>
                  </a:lnTo>
                  <a:lnTo>
                    <a:pt x="45" y="228"/>
                  </a:lnTo>
                  <a:lnTo>
                    <a:pt x="42" y="228"/>
                  </a:lnTo>
                  <a:lnTo>
                    <a:pt x="40" y="230"/>
                  </a:lnTo>
                  <a:lnTo>
                    <a:pt x="40" y="228"/>
                  </a:lnTo>
                  <a:lnTo>
                    <a:pt x="38" y="228"/>
                  </a:lnTo>
                  <a:lnTo>
                    <a:pt x="35" y="228"/>
                  </a:lnTo>
                  <a:lnTo>
                    <a:pt x="33" y="228"/>
                  </a:lnTo>
                  <a:lnTo>
                    <a:pt x="33" y="225"/>
                  </a:lnTo>
                  <a:lnTo>
                    <a:pt x="33" y="228"/>
                  </a:lnTo>
                  <a:lnTo>
                    <a:pt x="30" y="228"/>
                  </a:lnTo>
                  <a:lnTo>
                    <a:pt x="30" y="225"/>
                  </a:lnTo>
                  <a:lnTo>
                    <a:pt x="30" y="228"/>
                  </a:lnTo>
                  <a:lnTo>
                    <a:pt x="30" y="225"/>
                  </a:lnTo>
                  <a:lnTo>
                    <a:pt x="28" y="228"/>
                  </a:lnTo>
                  <a:lnTo>
                    <a:pt x="30" y="228"/>
                  </a:lnTo>
                  <a:lnTo>
                    <a:pt x="28" y="228"/>
                  </a:lnTo>
                  <a:lnTo>
                    <a:pt x="26" y="228"/>
                  </a:lnTo>
                  <a:lnTo>
                    <a:pt x="26" y="230"/>
                  </a:lnTo>
                  <a:lnTo>
                    <a:pt x="23" y="230"/>
                  </a:lnTo>
                  <a:lnTo>
                    <a:pt x="21" y="230"/>
                  </a:lnTo>
                  <a:lnTo>
                    <a:pt x="21" y="233"/>
                  </a:lnTo>
                  <a:lnTo>
                    <a:pt x="21" y="230"/>
                  </a:lnTo>
                  <a:lnTo>
                    <a:pt x="21" y="233"/>
                  </a:lnTo>
                  <a:lnTo>
                    <a:pt x="19" y="233"/>
                  </a:lnTo>
                  <a:lnTo>
                    <a:pt x="19" y="230"/>
                  </a:lnTo>
                  <a:lnTo>
                    <a:pt x="19" y="233"/>
                  </a:lnTo>
                  <a:lnTo>
                    <a:pt x="16" y="233"/>
                  </a:lnTo>
                  <a:lnTo>
                    <a:pt x="16" y="230"/>
                  </a:lnTo>
                  <a:lnTo>
                    <a:pt x="19" y="230"/>
                  </a:lnTo>
                  <a:lnTo>
                    <a:pt x="19" y="228"/>
                  </a:lnTo>
                  <a:lnTo>
                    <a:pt x="19" y="225"/>
                  </a:lnTo>
                  <a:lnTo>
                    <a:pt x="21" y="225"/>
                  </a:lnTo>
                  <a:lnTo>
                    <a:pt x="21" y="223"/>
                  </a:lnTo>
                  <a:lnTo>
                    <a:pt x="19" y="223"/>
                  </a:lnTo>
                  <a:lnTo>
                    <a:pt x="21" y="223"/>
                  </a:lnTo>
                  <a:lnTo>
                    <a:pt x="21" y="221"/>
                  </a:lnTo>
                  <a:lnTo>
                    <a:pt x="21" y="218"/>
                  </a:lnTo>
                  <a:lnTo>
                    <a:pt x="21" y="216"/>
                  </a:lnTo>
                  <a:lnTo>
                    <a:pt x="23" y="218"/>
                  </a:lnTo>
                  <a:lnTo>
                    <a:pt x="21" y="216"/>
                  </a:lnTo>
                  <a:lnTo>
                    <a:pt x="23" y="216"/>
                  </a:lnTo>
                  <a:lnTo>
                    <a:pt x="23" y="214"/>
                  </a:lnTo>
                  <a:lnTo>
                    <a:pt x="23" y="211"/>
                  </a:lnTo>
                  <a:lnTo>
                    <a:pt x="23" y="209"/>
                  </a:lnTo>
                  <a:lnTo>
                    <a:pt x="23" y="206"/>
                  </a:lnTo>
                  <a:lnTo>
                    <a:pt x="23" y="204"/>
                  </a:lnTo>
                  <a:lnTo>
                    <a:pt x="23" y="202"/>
                  </a:lnTo>
                  <a:lnTo>
                    <a:pt x="23" y="199"/>
                  </a:lnTo>
                  <a:lnTo>
                    <a:pt x="26" y="199"/>
                  </a:lnTo>
                  <a:lnTo>
                    <a:pt x="26" y="202"/>
                  </a:lnTo>
                  <a:lnTo>
                    <a:pt x="26" y="199"/>
                  </a:lnTo>
                  <a:lnTo>
                    <a:pt x="23" y="199"/>
                  </a:lnTo>
                  <a:lnTo>
                    <a:pt x="23" y="202"/>
                  </a:lnTo>
                  <a:lnTo>
                    <a:pt x="23" y="199"/>
                  </a:lnTo>
                  <a:lnTo>
                    <a:pt x="23" y="197"/>
                  </a:lnTo>
                  <a:lnTo>
                    <a:pt x="23" y="195"/>
                  </a:lnTo>
                  <a:lnTo>
                    <a:pt x="23" y="192"/>
                  </a:lnTo>
                  <a:lnTo>
                    <a:pt x="23" y="190"/>
                  </a:lnTo>
                  <a:lnTo>
                    <a:pt x="21" y="190"/>
                  </a:lnTo>
                  <a:lnTo>
                    <a:pt x="21" y="192"/>
                  </a:lnTo>
                  <a:lnTo>
                    <a:pt x="21" y="190"/>
                  </a:lnTo>
                  <a:lnTo>
                    <a:pt x="21" y="187"/>
                  </a:lnTo>
                  <a:lnTo>
                    <a:pt x="23" y="187"/>
                  </a:lnTo>
                  <a:lnTo>
                    <a:pt x="23" y="185"/>
                  </a:lnTo>
                  <a:lnTo>
                    <a:pt x="23" y="183"/>
                  </a:lnTo>
                  <a:lnTo>
                    <a:pt x="23" y="180"/>
                  </a:lnTo>
                  <a:lnTo>
                    <a:pt x="23" y="178"/>
                  </a:lnTo>
                  <a:lnTo>
                    <a:pt x="23" y="176"/>
                  </a:lnTo>
                  <a:lnTo>
                    <a:pt x="23" y="173"/>
                  </a:lnTo>
                  <a:lnTo>
                    <a:pt x="23" y="171"/>
                  </a:lnTo>
                  <a:lnTo>
                    <a:pt x="23" y="168"/>
                  </a:lnTo>
                  <a:lnTo>
                    <a:pt x="21" y="168"/>
                  </a:lnTo>
                  <a:lnTo>
                    <a:pt x="21" y="166"/>
                  </a:lnTo>
                  <a:lnTo>
                    <a:pt x="21" y="168"/>
                  </a:lnTo>
                  <a:lnTo>
                    <a:pt x="23" y="168"/>
                  </a:lnTo>
                  <a:lnTo>
                    <a:pt x="23" y="171"/>
                  </a:lnTo>
                  <a:lnTo>
                    <a:pt x="23" y="168"/>
                  </a:lnTo>
                  <a:lnTo>
                    <a:pt x="26" y="168"/>
                  </a:lnTo>
                  <a:lnTo>
                    <a:pt x="23" y="168"/>
                  </a:lnTo>
                  <a:lnTo>
                    <a:pt x="23" y="171"/>
                  </a:lnTo>
                  <a:lnTo>
                    <a:pt x="23" y="168"/>
                  </a:lnTo>
                  <a:lnTo>
                    <a:pt x="26" y="168"/>
                  </a:lnTo>
                  <a:lnTo>
                    <a:pt x="26" y="171"/>
                  </a:lnTo>
                  <a:lnTo>
                    <a:pt x="26" y="168"/>
                  </a:lnTo>
                  <a:lnTo>
                    <a:pt x="28" y="168"/>
                  </a:lnTo>
                  <a:lnTo>
                    <a:pt x="28" y="171"/>
                  </a:lnTo>
                  <a:lnTo>
                    <a:pt x="30" y="171"/>
                  </a:lnTo>
                  <a:lnTo>
                    <a:pt x="30" y="168"/>
                  </a:lnTo>
                  <a:lnTo>
                    <a:pt x="33" y="171"/>
                  </a:lnTo>
                  <a:lnTo>
                    <a:pt x="33" y="168"/>
                  </a:lnTo>
                  <a:lnTo>
                    <a:pt x="30" y="168"/>
                  </a:lnTo>
                  <a:lnTo>
                    <a:pt x="30" y="171"/>
                  </a:lnTo>
                  <a:lnTo>
                    <a:pt x="28" y="171"/>
                  </a:lnTo>
                  <a:lnTo>
                    <a:pt x="28" y="168"/>
                  </a:lnTo>
                  <a:lnTo>
                    <a:pt x="28" y="171"/>
                  </a:lnTo>
                  <a:lnTo>
                    <a:pt x="28" y="168"/>
                  </a:lnTo>
                  <a:lnTo>
                    <a:pt x="26" y="168"/>
                  </a:lnTo>
                  <a:lnTo>
                    <a:pt x="26" y="166"/>
                  </a:lnTo>
                  <a:lnTo>
                    <a:pt x="26" y="164"/>
                  </a:lnTo>
                  <a:lnTo>
                    <a:pt x="26" y="166"/>
                  </a:lnTo>
                  <a:lnTo>
                    <a:pt x="26" y="164"/>
                  </a:lnTo>
                  <a:lnTo>
                    <a:pt x="26" y="161"/>
                  </a:lnTo>
                  <a:lnTo>
                    <a:pt x="26" y="164"/>
                  </a:lnTo>
                  <a:lnTo>
                    <a:pt x="26" y="161"/>
                  </a:lnTo>
                  <a:lnTo>
                    <a:pt x="26" y="164"/>
                  </a:lnTo>
                  <a:lnTo>
                    <a:pt x="26" y="161"/>
                  </a:lnTo>
                  <a:lnTo>
                    <a:pt x="26" y="164"/>
                  </a:lnTo>
                  <a:lnTo>
                    <a:pt x="23" y="164"/>
                  </a:lnTo>
                  <a:lnTo>
                    <a:pt x="23" y="166"/>
                  </a:lnTo>
                  <a:lnTo>
                    <a:pt x="26" y="166"/>
                  </a:lnTo>
                  <a:lnTo>
                    <a:pt x="23" y="166"/>
                  </a:lnTo>
                  <a:lnTo>
                    <a:pt x="21" y="166"/>
                  </a:lnTo>
                  <a:lnTo>
                    <a:pt x="23" y="166"/>
                  </a:lnTo>
                  <a:lnTo>
                    <a:pt x="21" y="166"/>
                  </a:lnTo>
                  <a:lnTo>
                    <a:pt x="21" y="164"/>
                  </a:lnTo>
                  <a:lnTo>
                    <a:pt x="21" y="166"/>
                  </a:lnTo>
                  <a:lnTo>
                    <a:pt x="19" y="166"/>
                  </a:lnTo>
                  <a:lnTo>
                    <a:pt x="16" y="168"/>
                  </a:lnTo>
                  <a:lnTo>
                    <a:pt x="14" y="168"/>
                  </a:lnTo>
                  <a:lnTo>
                    <a:pt x="11" y="168"/>
                  </a:lnTo>
                  <a:lnTo>
                    <a:pt x="11" y="171"/>
                  </a:lnTo>
                  <a:lnTo>
                    <a:pt x="9" y="171"/>
                  </a:lnTo>
                  <a:lnTo>
                    <a:pt x="9" y="168"/>
                  </a:lnTo>
                  <a:lnTo>
                    <a:pt x="11" y="168"/>
                  </a:lnTo>
                  <a:lnTo>
                    <a:pt x="11" y="166"/>
                  </a:lnTo>
                  <a:lnTo>
                    <a:pt x="11" y="164"/>
                  </a:lnTo>
                  <a:lnTo>
                    <a:pt x="11" y="166"/>
                  </a:lnTo>
                  <a:lnTo>
                    <a:pt x="11" y="164"/>
                  </a:lnTo>
                  <a:lnTo>
                    <a:pt x="9" y="161"/>
                  </a:lnTo>
                  <a:lnTo>
                    <a:pt x="9" y="159"/>
                  </a:lnTo>
                  <a:lnTo>
                    <a:pt x="9" y="157"/>
                  </a:lnTo>
                  <a:lnTo>
                    <a:pt x="11" y="157"/>
                  </a:lnTo>
                  <a:lnTo>
                    <a:pt x="11" y="159"/>
                  </a:lnTo>
                  <a:lnTo>
                    <a:pt x="14" y="159"/>
                  </a:lnTo>
                  <a:lnTo>
                    <a:pt x="11" y="159"/>
                  </a:lnTo>
                  <a:lnTo>
                    <a:pt x="14" y="159"/>
                  </a:lnTo>
                  <a:lnTo>
                    <a:pt x="14" y="161"/>
                  </a:lnTo>
                  <a:lnTo>
                    <a:pt x="14" y="159"/>
                  </a:lnTo>
                  <a:lnTo>
                    <a:pt x="14" y="161"/>
                  </a:lnTo>
                  <a:lnTo>
                    <a:pt x="16" y="161"/>
                  </a:lnTo>
                  <a:lnTo>
                    <a:pt x="16" y="159"/>
                  </a:lnTo>
                  <a:lnTo>
                    <a:pt x="14" y="159"/>
                  </a:lnTo>
                  <a:lnTo>
                    <a:pt x="14" y="157"/>
                  </a:lnTo>
                  <a:lnTo>
                    <a:pt x="16" y="157"/>
                  </a:lnTo>
                  <a:lnTo>
                    <a:pt x="16" y="159"/>
                  </a:lnTo>
                  <a:lnTo>
                    <a:pt x="16" y="157"/>
                  </a:lnTo>
                  <a:lnTo>
                    <a:pt x="19" y="157"/>
                  </a:lnTo>
                  <a:lnTo>
                    <a:pt x="16" y="157"/>
                  </a:lnTo>
                  <a:lnTo>
                    <a:pt x="19" y="157"/>
                  </a:lnTo>
                  <a:lnTo>
                    <a:pt x="16" y="157"/>
                  </a:lnTo>
                  <a:lnTo>
                    <a:pt x="16" y="154"/>
                  </a:lnTo>
                  <a:lnTo>
                    <a:pt x="19" y="154"/>
                  </a:lnTo>
                  <a:lnTo>
                    <a:pt x="19" y="152"/>
                  </a:lnTo>
                  <a:lnTo>
                    <a:pt x="19" y="149"/>
                  </a:lnTo>
                  <a:lnTo>
                    <a:pt x="19" y="152"/>
                  </a:lnTo>
                  <a:lnTo>
                    <a:pt x="19" y="149"/>
                  </a:lnTo>
                  <a:lnTo>
                    <a:pt x="16" y="149"/>
                  </a:lnTo>
                  <a:lnTo>
                    <a:pt x="19" y="149"/>
                  </a:lnTo>
                  <a:lnTo>
                    <a:pt x="16" y="149"/>
                  </a:lnTo>
                  <a:lnTo>
                    <a:pt x="16" y="147"/>
                  </a:lnTo>
                  <a:lnTo>
                    <a:pt x="19" y="145"/>
                  </a:lnTo>
                  <a:lnTo>
                    <a:pt x="19" y="142"/>
                  </a:lnTo>
                  <a:lnTo>
                    <a:pt x="21" y="142"/>
                  </a:lnTo>
                  <a:lnTo>
                    <a:pt x="19" y="142"/>
                  </a:lnTo>
                  <a:lnTo>
                    <a:pt x="19" y="145"/>
                  </a:lnTo>
                  <a:lnTo>
                    <a:pt x="16" y="145"/>
                  </a:lnTo>
                  <a:lnTo>
                    <a:pt x="16" y="147"/>
                  </a:lnTo>
                  <a:lnTo>
                    <a:pt x="16" y="149"/>
                  </a:lnTo>
                  <a:lnTo>
                    <a:pt x="14" y="149"/>
                  </a:lnTo>
                  <a:lnTo>
                    <a:pt x="14" y="152"/>
                  </a:lnTo>
                  <a:lnTo>
                    <a:pt x="14" y="154"/>
                  </a:lnTo>
                  <a:lnTo>
                    <a:pt x="14" y="157"/>
                  </a:lnTo>
                  <a:lnTo>
                    <a:pt x="11" y="157"/>
                  </a:lnTo>
                  <a:lnTo>
                    <a:pt x="9" y="157"/>
                  </a:lnTo>
                  <a:lnTo>
                    <a:pt x="7" y="157"/>
                  </a:lnTo>
                  <a:lnTo>
                    <a:pt x="7" y="159"/>
                  </a:lnTo>
                  <a:lnTo>
                    <a:pt x="7" y="157"/>
                  </a:lnTo>
                  <a:lnTo>
                    <a:pt x="4" y="157"/>
                  </a:lnTo>
                  <a:lnTo>
                    <a:pt x="2" y="157"/>
                  </a:lnTo>
                  <a:lnTo>
                    <a:pt x="4" y="157"/>
                  </a:lnTo>
                  <a:lnTo>
                    <a:pt x="2" y="157"/>
                  </a:lnTo>
                  <a:lnTo>
                    <a:pt x="2" y="154"/>
                  </a:lnTo>
                  <a:lnTo>
                    <a:pt x="0" y="154"/>
                  </a:lnTo>
                  <a:lnTo>
                    <a:pt x="0" y="152"/>
                  </a:lnTo>
                  <a:lnTo>
                    <a:pt x="2" y="152"/>
                  </a:lnTo>
                  <a:lnTo>
                    <a:pt x="2" y="149"/>
                  </a:lnTo>
                  <a:lnTo>
                    <a:pt x="2" y="147"/>
                  </a:lnTo>
                  <a:lnTo>
                    <a:pt x="4" y="145"/>
                  </a:lnTo>
                  <a:lnTo>
                    <a:pt x="4" y="147"/>
                  </a:lnTo>
                  <a:lnTo>
                    <a:pt x="4" y="145"/>
                  </a:lnTo>
                  <a:lnTo>
                    <a:pt x="2" y="145"/>
                  </a:lnTo>
                  <a:lnTo>
                    <a:pt x="2" y="142"/>
                  </a:lnTo>
                  <a:lnTo>
                    <a:pt x="4" y="142"/>
                  </a:lnTo>
                  <a:lnTo>
                    <a:pt x="2" y="140"/>
                  </a:lnTo>
                  <a:lnTo>
                    <a:pt x="4" y="140"/>
                  </a:lnTo>
                  <a:lnTo>
                    <a:pt x="2" y="140"/>
                  </a:lnTo>
                  <a:lnTo>
                    <a:pt x="4" y="140"/>
                  </a:lnTo>
                  <a:lnTo>
                    <a:pt x="4" y="138"/>
                  </a:lnTo>
                  <a:lnTo>
                    <a:pt x="4" y="135"/>
                  </a:lnTo>
                  <a:lnTo>
                    <a:pt x="7" y="135"/>
                  </a:lnTo>
                  <a:lnTo>
                    <a:pt x="7" y="133"/>
                  </a:lnTo>
                  <a:lnTo>
                    <a:pt x="4" y="133"/>
                  </a:lnTo>
                  <a:lnTo>
                    <a:pt x="7" y="133"/>
                  </a:lnTo>
                  <a:lnTo>
                    <a:pt x="7" y="130"/>
                  </a:lnTo>
                  <a:lnTo>
                    <a:pt x="4" y="130"/>
                  </a:lnTo>
                  <a:lnTo>
                    <a:pt x="7" y="130"/>
                  </a:lnTo>
                  <a:lnTo>
                    <a:pt x="4" y="130"/>
                  </a:lnTo>
                  <a:lnTo>
                    <a:pt x="4" y="128"/>
                  </a:lnTo>
                  <a:lnTo>
                    <a:pt x="4" y="126"/>
                  </a:lnTo>
                  <a:lnTo>
                    <a:pt x="7" y="126"/>
                  </a:lnTo>
                  <a:lnTo>
                    <a:pt x="9" y="123"/>
                  </a:lnTo>
                  <a:lnTo>
                    <a:pt x="9" y="126"/>
                  </a:lnTo>
                  <a:lnTo>
                    <a:pt x="11" y="126"/>
                  </a:lnTo>
                  <a:lnTo>
                    <a:pt x="9" y="123"/>
                  </a:lnTo>
                  <a:lnTo>
                    <a:pt x="9" y="121"/>
                  </a:lnTo>
                  <a:lnTo>
                    <a:pt x="11" y="121"/>
                  </a:lnTo>
                  <a:lnTo>
                    <a:pt x="11" y="119"/>
                  </a:lnTo>
                  <a:lnTo>
                    <a:pt x="14" y="119"/>
                  </a:lnTo>
                  <a:lnTo>
                    <a:pt x="14" y="116"/>
                  </a:lnTo>
                  <a:lnTo>
                    <a:pt x="14" y="114"/>
                  </a:lnTo>
                  <a:lnTo>
                    <a:pt x="14" y="111"/>
                  </a:lnTo>
                  <a:lnTo>
                    <a:pt x="16" y="111"/>
                  </a:lnTo>
                  <a:lnTo>
                    <a:pt x="16" y="109"/>
                  </a:lnTo>
                  <a:lnTo>
                    <a:pt x="16" y="107"/>
                  </a:lnTo>
                  <a:lnTo>
                    <a:pt x="19" y="104"/>
                  </a:lnTo>
                  <a:lnTo>
                    <a:pt x="19" y="102"/>
                  </a:lnTo>
                  <a:lnTo>
                    <a:pt x="19" y="100"/>
                  </a:lnTo>
                  <a:lnTo>
                    <a:pt x="21" y="97"/>
                  </a:lnTo>
                  <a:lnTo>
                    <a:pt x="21" y="95"/>
                  </a:lnTo>
                  <a:lnTo>
                    <a:pt x="21" y="92"/>
                  </a:lnTo>
                  <a:lnTo>
                    <a:pt x="23" y="92"/>
                  </a:lnTo>
                  <a:lnTo>
                    <a:pt x="21" y="92"/>
                  </a:lnTo>
                  <a:lnTo>
                    <a:pt x="23" y="92"/>
                  </a:lnTo>
                  <a:lnTo>
                    <a:pt x="21" y="92"/>
                  </a:lnTo>
                  <a:lnTo>
                    <a:pt x="21" y="90"/>
                  </a:lnTo>
                  <a:lnTo>
                    <a:pt x="21" y="88"/>
                  </a:lnTo>
                  <a:lnTo>
                    <a:pt x="23" y="83"/>
                  </a:lnTo>
                  <a:lnTo>
                    <a:pt x="23" y="80"/>
                  </a:lnTo>
                  <a:lnTo>
                    <a:pt x="23" y="78"/>
                  </a:lnTo>
                  <a:lnTo>
                    <a:pt x="23" y="76"/>
                  </a:lnTo>
                  <a:lnTo>
                    <a:pt x="23" y="73"/>
                  </a:lnTo>
                  <a:lnTo>
                    <a:pt x="26" y="73"/>
                  </a:lnTo>
                  <a:lnTo>
                    <a:pt x="26" y="71"/>
                  </a:lnTo>
                  <a:lnTo>
                    <a:pt x="26" y="69"/>
                  </a:lnTo>
                  <a:lnTo>
                    <a:pt x="28" y="69"/>
                  </a:lnTo>
                  <a:lnTo>
                    <a:pt x="26" y="69"/>
                  </a:lnTo>
                  <a:lnTo>
                    <a:pt x="28" y="69"/>
                  </a:lnTo>
                  <a:lnTo>
                    <a:pt x="28" y="66"/>
                  </a:lnTo>
                  <a:lnTo>
                    <a:pt x="28" y="69"/>
                  </a:lnTo>
                  <a:lnTo>
                    <a:pt x="28" y="66"/>
                  </a:lnTo>
                  <a:lnTo>
                    <a:pt x="28" y="69"/>
                  </a:lnTo>
                  <a:lnTo>
                    <a:pt x="28" y="66"/>
                  </a:lnTo>
                  <a:lnTo>
                    <a:pt x="30" y="66"/>
                  </a:lnTo>
                  <a:lnTo>
                    <a:pt x="30" y="64"/>
                  </a:lnTo>
                  <a:lnTo>
                    <a:pt x="28" y="66"/>
                  </a:lnTo>
                  <a:lnTo>
                    <a:pt x="28" y="64"/>
                  </a:lnTo>
                  <a:lnTo>
                    <a:pt x="28" y="61"/>
                  </a:lnTo>
                  <a:lnTo>
                    <a:pt x="30" y="61"/>
                  </a:lnTo>
                  <a:lnTo>
                    <a:pt x="28" y="61"/>
                  </a:lnTo>
                  <a:lnTo>
                    <a:pt x="28" y="59"/>
                  </a:lnTo>
                  <a:lnTo>
                    <a:pt x="28" y="61"/>
                  </a:lnTo>
                  <a:lnTo>
                    <a:pt x="28" y="59"/>
                  </a:lnTo>
                  <a:lnTo>
                    <a:pt x="28" y="61"/>
                  </a:lnTo>
                  <a:lnTo>
                    <a:pt x="28" y="64"/>
                  </a:lnTo>
                  <a:lnTo>
                    <a:pt x="26" y="64"/>
                  </a:lnTo>
                  <a:lnTo>
                    <a:pt x="28" y="64"/>
                  </a:lnTo>
                  <a:lnTo>
                    <a:pt x="28" y="66"/>
                  </a:lnTo>
                  <a:lnTo>
                    <a:pt x="26" y="66"/>
                  </a:lnTo>
                  <a:lnTo>
                    <a:pt x="28" y="66"/>
                  </a:lnTo>
                  <a:lnTo>
                    <a:pt x="26" y="66"/>
                  </a:lnTo>
                  <a:lnTo>
                    <a:pt x="26" y="69"/>
                  </a:lnTo>
                  <a:lnTo>
                    <a:pt x="26" y="66"/>
                  </a:lnTo>
                  <a:lnTo>
                    <a:pt x="26" y="64"/>
                  </a:lnTo>
                  <a:lnTo>
                    <a:pt x="28" y="61"/>
                  </a:lnTo>
                  <a:lnTo>
                    <a:pt x="28" y="59"/>
                  </a:lnTo>
                  <a:lnTo>
                    <a:pt x="28" y="57"/>
                  </a:lnTo>
                  <a:lnTo>
                    <a:pt x="28" y="54"/>
                  </a:lnTo>
                  <a:lnTo>
                    <a:pt x="28" y="52"/>
                  </a:lnTo>
                  <a:lnTo>
                    <a:pt x="28" y="50"/>
                  </a:lnTo>
                  <a:lnTo>
                    <a:pt x="28" y="47"/>
                  </a:lnTo>
                  <a:lnTo>
                    <a:pt x="30" y="47"/>
                  </a:lnTo>
                  <a:lnTo>
                    <a:pt x="33" y="47"/>
                  </a:lnTo>
                  <a:lnTo>
                    <a:pt x="33" y="50"/>
                  </a:lnTo>
                  <a:lnTo>
                    <a:pt x="35" y="50"/>
                  </a:lnTo>
                  <a:lnTo>
                    <a:pt x="35" y="52"/>
                  </a:lnTo>
                  <a:lnTo>
                    <a:pt x="35" y="50"/>
                  </a:lnTo>
                  <a:lnTo>
                    <a:pt x="38" y="50"/>
                  </a:lnTo>
                  <a:lnTo>
                    <a:pt x="38" y="52"/>
                  </a:lnTo>
                  <a:lnTo>
                    <a:pt x="40" y="50"/>
                  </a:lnTo>
                  <a:lnTo>
                    <a:pt x="42" y="5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5" name="Freeform 55042"/>
            <p:cNvSpPr>
              <a:spLocks noEditPoints="1"/>
            </p:cNvSpPr>
            <p:nvPr/>
          </p:nvSpPr>
          <p:spPr bwMode="auto">
            <a:xfrm>
              <a:off x="3087685" y="4833954"/>
              <a:ext cx="496888" cy="346076"/>
            </a:xfrm>
            <a:custGeom>
              <a:avLst/>
              <a:gdLst>
                <a:gd name="T0" fmla="*/ 254 w 313"/>
                <a:gd name="T1" fmla="*/ 202 h 218"/>
                <a:gd name="T2" fmla="*/ 230 w 313"/>
                <a:gd name="T3" fmla="*/ 194 h 218"/>
                <a:gd name="T4" fmla="*/ 204 w 313"/>
                <a:gd name="T5" fmla="*/ 199 h 218"/>
                <a:gd name="T6" fmla="*/ 185 w 313"/>
                <a:gd name="T7" fmla="*/ 209 h 218"/>
                <a:gd name="T8" fmla="*/ 164 w 313"/>
                <a:gd name="T9" fmla="*/ 213 h 218"/>
                <a:gd name="T10" fmla="*/ 145 w 313"/>
                <a:gd name="T11" fmla="*/ 211 h 218"/>
                <a:gd name="T12" fmla="*/ 123 w 313"/>
                <a:gd name="T13" fmla="*/ 211 h 218"/>
                <a:gd name="T14" fmla="*/ 102 w 313"/>
                <a:gd name="T15" fmla="*/ 206 h 218"/>
                <a:gd name="T16" fmla="*/ 88 w 313"/>
                <a:gd name="T17" fmla="*/ 202 h 218"/>
                <a:gd name="T18" fmla="*/ 78 w 313"/>
                <a:gd name="T19" fmla="*/ 187 h 218"/>
                <a:gd name="T20" fmla="*/ 81 w 313"/>
                <a:gd name="T21" fmla="*/ 173 h 218"/>
                <a:gd name="T22" fmla="*/ 64 w 313"/>
                <a:gd name="T23" fmla="*/ 178 h 218"/>
                <a:gd name="T24" fmla="*/ 45 w 313"/>
                <a:gd name="T25" fmla="*/ 168 h 218"/>
                <a:gd name="T26" fmla="*/ 43 w 313"/>
                <a:gd name="T27" fmla="*/ 159 h 218"/>
                <a:gd name="T28" fmla="*/ 40 w 313"/>
                <a:gd name="T29" fmla="*/ 147 h 218"/>
                <a:gd name="T30" fmla="*/ 26 w 313"/>
                <a:gd name="T31" fmla="*/ 140 h 218"/>
                <a:gd name="T32" fmla="*/ 17 w 313"/>
                <a:gd name="T33" fmla="*/ 126 h 218"/>
                <a:gd name="T34" fmla="*/ 14 w 313"/>
                <a:gd name="T35" fmla="*/ 116 h 218"/>
                <a:gd name="T36" fmla="*/ 7 w 313"/>
                <a:gd name="T37" fmla="*/ 99 h 218"/>
                <a:gd name="T38" fmla="*/ 24 w 313"/>
                <a:gd name="T39" fmla="*/ 95 h 218"/>
                <a:gd name="T40" fmla="*/ 36 w 313"/>
                <a:gd name="T41" fmla="*/ 80 h 218"/>
                <a:gd name="T42" fmla="*/ 43 w 313"/>
                <a:gd name="T43" fmla="*/ 71 h 218"/>
                <a:gd name="T44" fmla="*/ 47 w 313"/>
                <a:gd name="T45" fmla="*/ 57 h 218"/>
                <a:gd name="T46" fmla="*/ 57 w 313"/>
                <a:gd name="T47" fmla="*/ 38 h 218"/>
                <a:gd name="T48" fmla="*/ 69 w 313"/>
                <a:gd name="T49" fmla="*/ 23 h 218"/>
                <a:gd name="T50" fmla="*/ 85 w 313"/>
                <a:gd name="T51" fmla="*/ 16 h 218"/>
                <a:gd name="T52" fmla="*/ 100 w 313"/>
                <a:gd name="T53" fmla="*/ 7 h 218"/>
                <a:gd name="T54" fmla="*/ 116 w 313"/>
                <a:gd name="T55" fmla="*/ 12 h 218"/>
                <a:gd name="T56" fmla="*/ 130 w 313"/>
                <a:gd name="T57" fmla="*/ 16 h 218"/>
                <a:gd name="T58" fmla="*/ 149 w 313"/>
                <a:gd name="T59" fmla="*/ 19 h 218"/>
                <a:gd name="T60" fmla="*/ 161 w 313"/>
                <a:gd name="T61" fmla="*/ 21 h 218"/>
                <a:gd name="T62" fmla="*/ 187 w 313"/>
                <a:gd name="T63" fmla="*/ 14 h 218"/>
                <a:gd name="T64" fmla="*/ 199 w 313"/>
                <a:gd name="T65" fmla="*/ 4 h 218"/>
                <a:gd name="T66" fmla="*/ 216 w 313"/>
                <a:gd name="T67" fmla="*/ 0 h 218"/>
                <a:gd name="T68" fmla="*/ 223 w 313"/>
                <a:gd name="T69" fmla="*/ 7 h 218"/>
                <a:gd name="T70" fmla="*/ 230 w 313"/>
                <a:gd name="T71" fmla="*/ 23 h 218"/>
                <a:gd name="T72" fmla="*/ 240 w 313"/>
                <a:gd name="T73" fmla="*/ 35 h 218"/>
                <a:gd name="T74" fmla="*/ 242 w 313"/>
                <a:gd name="T75" fmla="*/ 42 h 218"/>
                <a:gd name="T76" fmla="*/ 249 w 313"/>
                <a:gd name="T77" fmla="*/ 50 h 218"/>
                <a:gd name="T78" fmla="*/ 256 w 313"/>
                <a:gd name="T79" fmla="*/ 59 h 218"/>
                <a:gd name="T80" fmla="*/ 261 w 313"/>
                <a:gd name="T81" fmla="*/ 73 h 218"/>
                <a:gd name="T82" fmla="*/ 263 w 313"/>
                <a:gd name="T83" fmla="*/ 85 h 218"/>
                <a:gd name="T84" fmla="*/ 261 w 313"/>
                <a:gd name="T85" fmla="*/ 92 h 218"/>
                <a:gd name="T86" fmla="*/ 261 w 313"/>
                <a:gd name="T87" fmla="*/ 97 h 218"/>
                <a:gd name="T88" fmla="*/ 259 w 313"/>
                <a:gd name="T89" fmla="*/ 107 h 218"/>
                <a:gd name="T90" fmla="*/ 259 w 313"/>
                <a:gd name="T91" fmla="*/ 123 h 218"/>
                <a:gd name="T92" fmla="*/ 266 w 313"/>
                <a:gd name="T93" fmla="*/ 135 h 218"/>
                <a:gd name="T94" fmla="*/ 282 w 313"/>
                <a:gd name="T95" fmla="*/ 145 h 218"/>
                <a:gd name="T96" fmla="*/ 282 w 313"/>
                <a:gd name="T97" fmla="*/ 145 h 218"/>
                <a:gd name="T98" fmla="*/ 289 w 313"/>
                <a:gd name="T99" fmla="*/ 137 h 218"/>
                <a:gd name="T100" fmla="*/ 304 w 313"/>
                <a:gd name="T101" fmla="*/ 135 h 218"/>
                <a:gd name="T102" fmla="*/ 308 w 313"/>
                <a:gd name="T103" fmla="*/ 147 h 218"/>
                <a:gd name="T104" fmla="*/ 301 w 313"/>
                <a:gd name="T105" fmla="*/ 154 h 218"/>
                <a:gd name="T106" fmla="*/ 301 w 313"/>
                <a:gd name="T107" fmla="*/ 161 h 218"/>
                <a:gd name="T108" fmla="*/ 285 w 313"/>
                <a:gd name="T109" fmla="*/ 175 h 218"/>
                <a:gd name="T110" fmla="*/ 278 w 313"/>
                <a:gd name="T111" fmla="*/ 192 h 218"/>
                <a:gd name="T112" fmla="*/ 278 w 313"/>
                <a:gd name="T113" fmla="*/ 194 h 218"/>
                <a:gd name="T114" fmla="*/ 301 w 313"/>
                <a:gd name="T115" fmla="*/ 154 h 218"/>
                <a:gd name="T116" fmla="*/ 292 w 313"/>
                <a:gd name="T117" fmla="*/ 149 h 218"/>
                <a:gd name="T118" fmla="*/ 292 w 313"/>
                <a:gd name="T119" fmla="*/ 14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3" h="218">
                  <a:moveTo>
                    <a:pt x="275" y="209"/>
                  </a:moveTo>
                  <a:lnTo>
                    <a:pt x="273" y="209"/>
                  </a:lnTo>
                  <a:lnTo>
                    <a:pt x="275" y="209"/>
                  </a:lnTo>
                  <a:lnTo>
                    <a:pt x="275" y="211"/>
                  </a:lnTo>
                  <a:lnTo>
                    <a:pt x="275" y="213"/>
                  </a:lnTo>
                  <a:lnTo>
                    <a:pt x="270" y="213"/>
                  </a:lnTo>
                  <a:lnTo>
                    <a:pt x="266" y="211"/>
                  </a:lnTo>
                  <a:lnTo>
                    <a:pt x="263" y="211"/>
                  </a:lnTo>
                  <a:lnTo>
                    <a:pt x="259" y="209"/>
                  </a:lnTo>
                  <a:lnTo>
                    <a:pt x="256" y="209"/>
                  </a:lnTo>
                  <a:lnTo>
                    <a:pt x="254" y="204"/>
                  </a:lnTo>
                  <a:lnTo>
                    <a:pt x="254" y="202"/>
                  </a:lnTo>
                  <a:lnTo>
                    <a:pt x="251" y="199"/>
                  </a:lnTo>
                  <a:lnTo>
                    <a:pt x="249" y="202"/>
                  </a:lnTo>
                  <a:lnTo>
                    <a:pt x="247" y="202"/>
                  </a:lnTo>
                  <a:lnTo>
                    <a:pt x="244" y="202"/>
                  </a:lnTo>
                  <a:lnTo>
                    <a:pt x="244" y="199"/>
                  </a:lnTo>
                  <a:lnTo>
                    <a:pt x="242" y="199"/>
                  </a:lnTo>
                  <a:lnTo>
                    <a:pt x="237" y="199"/>
                  </a:lnTo>
                  <a:lnTo>
                    <a:pt x="235" y="199"/>
                  </a:lnTo>
                  <a:lnTo>
                    <a:pt x="235" y="197"/>
                  </a:lnTo>
                  <a:lnTo>
                    <a:pt x="232" y="197"/>
                  </a:lnTo>
                  <a:lnTo>
                    <a:pt x="232" y="194"/>
                  </a:lnTo>
                  <a:lnTo>
                    <a:pt x="230" y="194"/>
                  </a:lnTo>
                  <a:lnTo>
                    <a:pt x="228" y="194"/>
                  </a:lnTo>
                  <a:lnTo>
                    <a:pt x="225" y="194"/>
                  </a:lnTo>
                  <a:lnTo>
                    <a:pt x="223" y="194"/>
                  </a:lnTo>
                  <a:lnTo>
                    <a:pt x="221" y="194"/>
                  </a:lnTo>
                  <a:lnTo>
                    <a:pt x="218" y="194"/>
                  </a:lnTo>
                  <a:lnTo>
                    <a:pt x="216" y="194"/>
                  </a:lnTo>
                  <a:lnTo>
                    <a:pt x="216" y="197"/>
                  </a:lnTo>
                  <a:lnTo>
                    <a:pt x="213" y="197"/>
                  </a:lnTo>
                  <a:lnTo>
                    <a:pt x="211" y="197"/>
                  </a:lnTo>
                  <a:lnTo>
                    <a:pt x="209" y="197"/>
                  </a:lnTo>
                  <a:lnTo>
                    <a:pt x="206" y="197"/>
                  </a:lnTo>
                  <a:lnTo>
                    <a:pt x="204" y="199"/>
                  </a:lnTo>
                  <a:lnTo>
                    <a:pt x="202" y="199"/>
                  </a:lnTo>
                  <a:lnTo>
                    <a:pt x="199" y="199"/>
                  </a:lnTo>
                  <a:lnTo>
                    <a:pt x="197" y="199"/>
                  </a:lnTo>
                  <a:lnTo>
                    <a:pt x="197" y="202"/>
                  </a:lnTo>
                  <a:lnTo>
                    <a:pt x="194" y="202"/>
                  </a:lnTo>
                  <a:lnTo>
                    <a:pt x="192" y="202"/>
                  </a:lnTo>
                  <a:lnTo>
                    <a:pt x="192" y="204"/>
                  </a:lnTo>
                  <a:lnTo>
                    <a:pt x="190" y="204"/>
                  </a:lnTo>
                  <a:lnTo>
                    <a:pt x="190" y="206"/>
                  </a:lnTo>
                  <a:lnTo>
                    <a:pt x="187" y="206"/>
                  </a:lnTo>
                  <a:lnTo>
                    <a:pt x="187" y="209"/>
                  </a:lnTo>
                  <a:lnTo>
                    <a:pt x="185" y="209"/>
                  </a:lnTo>
                  <a:lnTo>
                    <a:pt x="185" y="211"/>
                  </a:lnTo>
                  <a:lnTo>
                    <a:pt x="183" y="211"/>
                  </a:lnTo>
                  <a:lnTo>
                    <a:pt x="183" y="213"/>
                  </a:lnTo>
                  <a:lnTo>
                    <a:pt x="180" y="213"/>
                  </a:lnTo>
                  <a:lnTo>
                    <a:pt x="178" y="216"/>
                  </a:lnTo>
                  <a:lnTo>
                    <a:pt x="176" y="216"/>
                  </a:lnTo>
                  <a:lnTo>
                    <a:pt x="173" y="216"/>
                  </a:lnTo>
                  <a:lnTo>
                    <a:pt x="171" y="218"/>
                  </a:lnTo>
                  <a:lnTo>
                    <a:pt x="168" y="218"/>
                  </a:lnTo>
                  <a:lnTo>
                    <a:pt x="166" y="216"/>
                  </a:lnTo>
                  <a:lnTo>
                    <a:pt x="164" y="216"/>
                  </a:lnTo>
                  <a:lnTo>
                    <a:pt x="164" y="213"/>
                  </a:lnTo>
                  <a:lnTo>
                    <a:pt x="161" y="213"/>
                  </a:lnTo>
                  <a:lnTo>
                    <a:pt x="161" y="216"/>
                  </a:lnTo>
                  <a:lnTo>
                    <a:pt x="159" y="216"/>
                  </a:lnTo>
                  <a:lnTo>
                    <a:pt x="159" y="213"/>
                  </a:lnTo>
                  <a:lnTo>
                    <a:pt x="157" y="213"/>
                  </a:lnTo>
                  <a:lnTo>
                    <a:pt x="154" y="213"/>
                  </a:lnTo>
                  <a:lnTo>
                    <a:pt x="152" y="213"/>
                  </a:lnTo>
                  <a:lnTo>
                    <a:pt x="149" y="213"/>
                  </a:lnTo>
                  <a:lnTo>
                    <a:pt x="149" y="216"/>
                  </a:lnTo>
                  <a:lnTo>
                    <a:pt x="147" y="216"/>
                  </a:lnTo>
                  <a:lnTo>
                    <a:pt x="145" y="213"/>
                  </a:lnTo>
                  <a:lnTo>
                    <a:pt x="145" y="211"/>
                  </a:lnTo>
                  <a:lnTo>
                    <a:pt x="142" y="211"/>
                  </a:lnTo>
                  <a:lnTo>
                    <a:pt x="140" y="211"/>
                  </a:lnTo>
                  <a:lnTo>
                    <a:pt x="138" y="211"/>
                  </a:lnTo>
                  <a:lnTo>
                    <a:pt x="138" y="213"/>
                  </a:lnTo>
                  <a:lnTo>
                    <a:pt x="135" y="213"/>
                  </a:lnTo>
                  <a:lnTo>
                    <a:pt x="133" y="213"/>
                  </a:lnTo>
                  <a:lnTo>
                    <a:pt x="130" y="213"/>
                  </a:lnTo>
                  <a:lnTo>
                    <a:pt x="130" y="216"/>
                  </a:lnTo>
                  <a:lnTo>
                    <a:pt x="128" y="216"/>
                  </a:lnTo>
                  <a:lnTo>
                    <a:pt x="128" y="213"/>
                  </a:lnTo>
                  <a:lnTo>
                    <a:pt x="126" y="213"/>
                  </a:lnTo>
                  <a:lnTo>
                    <a:pt x="123" y="211"/>
                  </a:lnTo>
                  <a:lnTo>
                    <a:pt x="121" y="211"/>
                  </a:lnTo>
                  <a:lnTo>
                    <a:pt x="119" y="211"/>
                  </a:lnTo>
                  <a:lnTo>
                    <a:pt x="116" y="211"/>
                  </a:lnTo>
                  <a:lnTo>
                    <a:pt x="116" y="209"/>
                  </a:lnTo>
                  <a:lnTo>
                    <a:pt x="114" y="209"/>
                  </a:lnTo>
                  <a:lnTo>
                    <a:pt x="111" y="209"/>
                  </a:lnTo>
                  <a:lnTo>
                    <a:pt x="111" y="211"/>
                  </a:lnTo>
                  <a:lnTo>
                    <a:pt x="111" y="209"/>
                  </a:lnTo>
                  <a:lnTo>
                    <a:pt x="109" y="209"/>
                  </a:lnTo>
                  <a:lnTo>
                    <a:pt x="107" y="209"/>
                  </a:lnTo>
                  <a:lnTo>
                    <a:pt x="104" y="206"/>
                  </a:lnTo>
                  <a:lnTo>
                    <a:pt x="102" y="206"/>
                  </a:lnTo>
                  <a:lnTo>
                    <a:pt x="100" y="206"/>
                  </a:lnTo>
                  <a:lnTo>
                    <a:pt x="100" y="209"/>
                  </a:lnTo>
                  <a:lnTo>
                    <a:pt x="97" y="209"/>
                  </a:lnTo>
                  <a:lnTo>
                    <a:pt x="95" y="209"/>
                  </a:lnTo>
                  <a:lnTo>
                    <a:pt x="92" y="209"/>
                  </a:lnTo>
                  <a:lnTo>
                    <a:pt x="90" y="209"/>
                  </a:lnTo>
                  <a:lnTo>
                    <a:pt x="88" y="209"/>
                  </a:lnTo>
                  <a:lnTo>
                    <a:pt x="85" y="209"/>
                  </a:lnTo>
                  <a:lnTo>
                    <a:pt x="85" y="206"/>
                  </a:lnTo>
                  <a:lnTo>
                    <a:pt x="85" y="204"/>
                  </a:lnTo>
                  <a:lnTo>
                    <a:pt x="85" y="202"/>
                  </a:lnTo>
                  <a:lnTo>
                    <a:pt x="88" y="202"/>
                  </a:lnTo>
                  <a:lnTo>
                    <a:pt x="88" y="199"/>
                  </a:lnTo>
                  <a:lnTo>
                    <a:pt x="90" y="199"/>
                  </a:lnTo>
                  <a:lnTo>
                    <a:pt x="92" y="197"/>
                  </a:lnTo>
                  <a:lnTo>
                    <a:pt x="90" y="197"/>
                  </a:lnTo>
                  <a:lnTo>
                    <a:pt x="88" y="197"/>
                  </a:lnTo>
                  <a:lnTo>
                    <a:pt x="88" y="194"/>
                  </a:lnTo>
                  <a:lnTo>
                    <a:pt x="85" y="194"/>
                  </a:lnTo>
                  <a:lnTo>
                    <a:pt x="85" y="192"/>
                  </a:lnTo>
                  <a:lnTo>
                    <a:pt x="83" y="192"/>
                  </a:lnTo>
                  <a:lnTo>
                    <a:pt x="81" y="190"/>
                  </a:lnTo>
                  <a:lnTo>
                    <a:pt x="81" y="187"/>
                  </a:lnTo>
                  <a:lnTo>
                    <a:pt x="78" y="187"/>
                  </a:lnTo>
                  <a:lnTo>
                    <a:pt x="76" y="187"/>
                  </a:lnTo>
                  <a:lnTo>
                    <a:pt x="76" y="185"/>
                  </a:lnTo>
                  <a:lnTo>
                    <a:pt x="73" y="183"/>
                  </a:lnTo>
                  <a:lnTo>
                    <a:pt x="73" y="180"/>
                  </a:lnTo>
                  <a:lnTo>
                    <a:pt x="73" y="178"/>
                  </a:lnTo>
                  <a:lnTo>
                    <a:pt x="76" y="178"/>
                  </a:lnTo>
                  <a:lnTo>
                    <a:pt x="76" y="175"/>
                  </a:lnTo>
                  <a:lnTo>
                    <a:pt x="78" y="175"/>
                  </a:lnTo>
                  <a:lnTo>
                    <a:pt x="81" y="175"/>
                  </a:lnTo>
                  <a:lnTo>
                    <a:pt x="83" y="175"/>
                  </a:lnTo>
                  <a:lnTo>
                    <a:pt x="83" y="173"/>
                  </a:lnTo>
                  <a:lnTo>
                    <a:pt x="81" y="173"/>
                  </a:lnTo>
                  <a:lnTo>
                    <a:pt x="81" y="171"/>
                  </a:lnTo>
                  <a:lnTo>
                    <a:pt x="78" y="171"/>
                  </a:lnTo>
                  <a:lnTo>
                    <a:pt x="76" y="171"/>
                  </a:lnTo>
                  <a:lnTo>
                    <a:pt x="73" y="166"/>
                  </a:lnTo>
                  <a:lnTo>
                    <a:pt x="71" y="166"/>
                  </a:lnTo>
                  <a:lnTo>
                    <a:pt x="71" y="168"/>
                  </a:lnTo>
                  <a:lnTo>
                    <a:pt x="69" y="168"/>
                  </a:lnTo>
                  <a:lnTo>
                    <a:pt x="66" y="171"/>
                  </a:lnTo>
                  <a:lnTo>
                    <a:pt x="66" y="173"/>
                  </a:lnTo>
                  <a:lnTo>
                    <a:pt x="64" y="173"/>
                  </a:lnTo>
                  <a:lnTo>
                    <a:pt x="64" y="175"/>
                  </a:lnTo>
                  <a:lnTo>
                    <a:pt x="64" y="178"/>
                  </a:lnTo>
                  <a:lnTo>
                    <a:pt x="62" y="178"/>
                  </a:lnTo>
                  <a:lnTo>
                    <a:pt x="59" y="178"/>
                  </a:lnTo>
                  <a:lnTo>
                    <a:pt x="59" y="175"/>
                  </a:lnTo>
                  <a:lnTo>
                    <a:pt x="59" y="173"/>
                  </a:lnTo>
                  <a:lnTo>
                    <a:pt x="57" y="173"/>
                  </a:lnTo>
                  <a:lnTo>
                    <a:pt x="57" y="171"/>
                  </a:lnTo>
                  <a:lnTo>
                    <a:pt x="55" y="171"/>
                  </a:lnTo>
                  <a:lnTo>
                    <a:pt x="52" y="171"/>
                  </a:lnTo>
                  <a:lnTo>
                    <a:pt x="50" y="171"/>
                  </a:lnTo>
                  <a:lnTo>
                    <a:pt x="47" y="171"/>
                  </a:lnTo>
                  <a:lnTo>
                    <a:pt x="47" y="168"/>
                  </a:lnTo>
                  <a:lnTo>
                    <a:pt x="45" y="168"/>
                  </a:lnTo>
                  <a:lnTo>
                    <a:pt x="45" y="166"/>
                  </a:lnTo>
                  <a:lnTo>
                    <a:pt x="43" y="164"/>
                  </a:lnTo>
                  <a:lnTo>
                    <a:pt x="40" y="164"/>
                  </a:lnTo>
                  <a:lnTo>
                    <a:pt x="38" y="164"/>
                  </a:lnTo>
                  <a:lnTo>
                    <a:pt x="38" y="161"/>
                  </a:lnTo>
                  <a:lnTo>
                    <a:pt x="36" y="161"/>
                  </a:lnTo>
                  <a:lnTo>
                    <a:pt x="38" y="161"/>
                  </a:lnTo>
                  <a:lnTo>
                    <a:pt x="38" y="159"/>
                  </a:lnTo>
                  <a:lnTo>
                    <a:pt x="40" y="159"/>
                  </a:lnTo>
                  <a:lnTo>
                    <a:pt x="38" y="159"/>
                  </a:lnTo>
                  <a:lnTo>
                    <a:pt x="40" y="159"/>
                  </a:lnTo>
                  <a:lnTo>
                    <a:pt x="43" y="159"/>
                  </a:lnTo>
                  <a:lnTo>
                    <a:pt x="43" y="156"/>
                  </a:lnTo>
                  <a:lnTo>
                    <a:pt x="40" y="156"/>
                  </a:lnTo>
                  <a:lnTo>
                    <a:pt x="38" y="156"/>
                  </a:lnTo>
                  <a:lnTo>
                    <a:pt x="38" y="154"/>
                  </a:lnTo>
                  <a:lnTo>
                    <a:pt x="36" y="154"/>
                  </a:lnTo>
                  <a:lnTo>
                    <a:pt x="36" y="152"/>
                  </a:lnTo>
                  <a:lnTo>
                    <a:pt x="38" y="152"/>
                  </a:lnTo>
                  <a:lnTo>
                    <a:pt x="40" y="152"/>
                  </a:lnTo>
                  <a:lnTo>
                    <a:pt x="38" y="152"/>
                  </a:lnTo>
                  <a:lnTo>
                    <a:pt x="40" y="152"/>
                  </a:lnTo>
                  <a:lnTo>
                    <a:pt x="40" y="149"/>
                  </a:lnTo>
                  <a:lnTo>
                    <a:pt x="40" y="147"/>
                  </a:lnTo>
                  <a:lnTo>
                    <a:pt x="43" y="147"/>
                  </a:lnTo>
                  <a:lnTo>
                    <a:pt x="40" y="145"/>
                  </a:lnTo>
                  <a:lnTo>
                    <a:pt x="38" y="145"/>
                  </a:lnTo>
                  <a:lnTo>
                    <a:pt x="38" y="142"/>
                  </a:lnTo>
                  <a:lnTo>
                    <a:pt x="38" y="145"/>
                  </a:lnTo>
                  <a:lnTo>
                    <a:pt x="36" y="142"/>
                  </a:lnTo>
                  <a:lnTo>
                    <a:pt x="33" y="142"/>
                  </a:lnTo>
                  <a:lnTo>
                    <a:pt x="31" y="142"/>
                  </a:lnTo>
                  <a:lnTo>
                    <a:pt x="31" y="140"/>
                  </a:lnTo>
                  <a:lnTo>
                    <a:pt x="31" y="137"/>
                  </a:lnTo>
                  <a:lnTo>
                    <a:pt x="28" y="140"/>
                  </a:lnTo>
                  <a:lnTo>
                    <a:pt x="26" y="140"/>
                  </a:lnTo>
                  <a:lnTo>
                    <a:pt x="26" y="137"/>
                  </a:lnTo>
                  <a:lnTo>
                    <a:pt x="24" y="137"/>
                  </a:lnTo>
                  <a:lnTo>
                    <a:pt x="24" y="135"/>
                  </a:lnTo>
                  <a:lnTo>
                    <a:pt x="21" y="135"/>
                  </a:lnTo>
                  <a:lnTo>
                    <a:pt x="21" y="133"/>
                  </a:lnTo>
                  <a:lnTo>
                    <a:pt x="19" y="133"/>
                  </a:lnTo>
                  <a:lnTo>
                    <a:pt x="19" y="130"/>
                  </a:lnTo>
                  <a:lnTo>
                    <a:pt x="17" y="130"/>
                  </a:lnTo>
                  <a:lnTo>
                    <a:pt x="19" y="130"/>
                  </a:lnTo>
                  <a:lnTo>
                    <a:pt x="19" y="128"/>
                  </a:lnTo>
                  <a:lnTo>
                    <a:pt x="19" y="126"/>
                  </a:lnTo>
                  <a:lnTo>
                    <a:pt x="17" y="126"/>
                  </a:lnTo>
                  <a:lnTo>
                    <a:pt x="17" y="123"/>
                  </a:lnTo>
                  <a:lnTo>
                    <a:pt x="19" y="123"/>
                  </a:lnTo>
                  <a:lnTo>
                    <a:pt x="19" y="121"/>
                  </a:lnTo>
                  <a:lnTo>
                    <a:pt x="17" y="121"/>
                  </a:lnTo>
                  <a:lnTo>
                    <a:pt x="19" y="121"/>
                  </a:lnTo>
                  <a:lnTo>
                    <a:pt x="19" y="118"/>
                  </a:lnTo>
                  <a:lnTo>
                    <a:pt x="17" y="116"/>
                  </a:lnTo>
                  <a:lnTo>
                    <a:pt x="17" y="118"/>
                  </a:lnTo>
                  <a:lnTo>
                    <a:pt x="14" y="118"/>
                  </a:lnTo>
                  <a:lnTo>
                    <a:pt x="14" y="116"/>
                  </a:lnTo>
                  <a:lnTo>
                    <a:pt x="12" y="116"/>
                  </a:lnTo>
                  <a:lnTo>
                    <a:pt x="14" y="116"/>
                  </a:lnTo>
                  <a:lnTo>
                    <a:pt x="12" y="114"/>
                  </a:lnTo>
                  <a:lnTo>
                    <a:pt x="9" y="114"/>
                  </a:lnTo>
                  <a:lnTo>
                    <a:pt x="9" y="111"/>
                  </a:lnTo>
                  <a:lnTo>
                    <a:pt x="7" y="109"/>
                  </a:lnTo>
                  <a:lnTo>
                    <a:pt x="5" y="109"/>
                  </a:lnTo>
                  <a:lnTo>
                    <a:pt x="2" y="107"/>
                  </a:lnTo>
                  <a:lnTo>
                    <a:pt x="2" y="104"/>
                  </a:lnTo>
                  <a:lnTo>
                    <a:pt x="2" y="102"/>
                  </a:lnTo>
                  <a:lnTo>
                    <a:pt x="0" y="102"/>
                  </a:lnTo>
                  <a:lnTo>
                    <a:pt x="2" y="99"/>
                  </a:lnTo>
                  <a:lnTo>
                    <a:pt x="5" y="99"/>
                  </a:lnTo>
                  <a:lnTo>
                    <a:pt x="7" y="99"/>
                  </a:lnTo>
                  <a:lnTo>
                    <a:pt x="7" y="97"/>
                  </a:lnTo>
                  <a:lnTo>
                    <a:pt x="9" y="99"/>
                  </a:lnTo>
                  <a:lnTo>
                    <a:pt x="12" y="99"/>
                  </a:lnTo>
                  <a:lnTo>
                    <a:pt x="12" y="102"/>
                  </a:lnTo>
                  <a:lnTo>
                    <a:pt x="12" y="99"/>
                  </a:lnTo>
                  <a:lnTo>
                    <a:pt x="14" y="99"/>
                  </a:lnTo>
                  <a:lnTo>
                    <a:pt x="14" y="97"/>
                  </a:lnTo>
                  <a:lnTo>
                    <a:pt x="17" y="97"/>
                  </a:lnTo>
                  <a:lnTo>
                    <a:pt x="17" y="95"/>
                  </a:lnTo>
                  <a:lnTo>
                    <a:pt x="21" y="92"/>
                  </a:lnTo>
                  <a:lnTo>
                    <a:pt x="21" y="95"/>
                  </a:lnTo>
                  <a:lnTo>
                    <a:pt x="24" y="95"/>
                  </a:lnTo>
                  <a:lnTo>
                    <a:pt x="26" y="95"/>
                  </a:lnTo>
                  <a:lnTo>
                    <a:pt x="28" y="95"/>
                  </a:lnTo>
                  <a:lnTo>
                    <a:pt x="28" y="92"/>
                  </a:lnTo>
                  <a:lnTo>
                    <a:pt x="31" y="92"/>
                  </a:lnTo>
                  <a:lnTo>
                    <a:pt x="31" y="90"/>
                  </a:lnTo>
                  <a:lnTo>
                    <a:pt x="31" y="88"/>
                  </a:lnTo>
                  <a:lnTo>
                    <a:pt x="33" y="88"/>
                  </a:lnTo>
                  <a:lnTo>
                    <a:pt x="36" y="85"/>
                  </a:lnTo>
                  <a:lnTo>
                    <a:pt x="33" y="85"/>
                  </a:lnTo>
                  <a:lnTo>
                    <a:pt x="33" y="83"/>
                  </a:lnTo>
                  <a:lnTo>
                    <a:pt x="33" y="80"/>
                  </a:lnTo>
                  <a:lnTo>
                    <a:pt x="36" y="80"/>
                  </a:lnTo>
                  <a:lnTo>
                    <a:pt x="36" y="78"/>
                  </a:lnTo>
                  <a:lnTo>
                    <a:pt x="36" y="76"/>
                  </a:lnTo>
                  <a:lnTo>
                    <a:pt x="38" y="78"/>
                  </a:lnTo>
                  <a:lnTo>
                    <a:pt x="38" y="76"/>
                  </a:lnTo>
                  <a:lnTo>
                    <a:pt x="40" y="76"/>
                  </a:lnTo>
                  <a:lnTo>
                    <a:pt x="38" y="76"/>
                  </a:lnTo>
                  <a:lnTo>
                    <a:pt x="38" y="73"/>
                  </a:lnTo>
                  <a:lnTo>
                    <a:pt x="40" y="73"/>
                  </a:lnTo>
                  <a:lnTo>
                    <a:pt x="40" y="76"/>
                  </a:lnTo>
                  <a:lnTo>
                    <a:pt x="40" y="73"/>
                  </a:lnTo>
                  <a:lnTo>
                    <a:pt x="43" y="73"/>
                  </a:lnTo>
                  <a:lnTo>
                    <a:pt x="43" y="71"/>
                  </a:lnTo>
                  <a:lnTo>
                    <a:pt x="40" y="71"/>
                  </a:lnTo>
                  <a:lnTo>
                    <a:pt x="40" y="69"/>
                  </a:lnTo>
                  <a:lnTo>
                    <a:pt x="43" y="69"/>
                  </a:lnTo>
                  <a:lnTo>
                    <a:pt x="43" y="66"/>
                  </a:lnTo>
                  <a:lnTo>
                    <a:pt x="45" y="66"/>
                  </a:lnTo>
                  <a:lnTo>
                    <a:pt x="45" y="64"/>
                  </a:lnTo>
                  <a:lnTo>
                    <a:pt x="45" y="61"/>
                  </a:lnTo>
                  <a:lnTo>
                    <a:pt x="47" y="61"/>
                  </a:lnTo>
                  <a:lnTo>
                    <a:pt x="47" y="59"/>
                  </a:lnTo>
                  <a:lnTo>
                    <a:pt x="45" y="59"/>
                  </a:lnTo>
                  <a:lnTo>
                    <a:pt x="45" y="57"/>
                  </a:lnTo>
                  <a:lnTo>
                    <a:pt x="47" y="57"/>
                  </a:lnTo>
                  <a:lnTo>
                    <a:pt x="47" y="54"/>
                  </a:lnTo>
                  <a:lnTo>
                    <a:pt x="50" y="54"/>
                  </a:lnTo>
                  <a:lnTo>
                    <a:pt x="52" y="52"/>
                  </a:lnTo>
                  <a:lnTo>
                    <a:pt x="52" y="50"/>
                  </a:lnTo>
                  <a:lnTo>
                    <a:pt x="52" y="47"/>
                  </a:lnTo>
                  <a:lnTo>
                    <a:pt x="55" y="47"/>
                  </a:lnTo>
                  <a:lnTo>
                    <a:pt x="55" y="45"/>
                  </a:lnTo>
                  <a:lnTo>
                    <a:pt x="55" y="42"/>
                  </a:lnTo>
                  <a:lnTo>
                    <a:pt x="57" y="42"/>
                  </a:lnTo>
                  <a:lnTo>
                    <a:pt x="59" y="40"/>
                  </a:lnTo>
                  <a:lnTo>
                    <a:pt x="59" y="38"/>
                  </a:lnTo>
                  <a:lnTo>
                    <a:pt x="57" y="38"/>
                  </a:lnTo>
                  <a:lnTo>
                    <a:pt x="57" y="35"/>
                  </a:lnTo>
                  <a:lnTo>
                    <a:pt x="59" y="35"/>
                  </a:lnTo>
                  <a:lnTo>
                    <a:pt x="59" y="33"/>
                  </a:lnTo>
                  <a:lnTo>
                    <a:pt x="59" y="35"/>
                  </a:lnTo>
                  <a:lnTo>
                    <a:pt x="59" y="33"/>
                  </a:lnTo>
                  <a:lnTo>
                    <a:pt x="62" y="33"/>
                  </a:lnTo>
                  <a:lnTo>
                    <a:pt x="62" y="31"/>
                  </a:lnTo>
                  <a:lnTo>
                    <a:pt x="64" y="31"/>
                  </a:lnTo>
                  <a:lnTo>
                    <a:pt x="64" y="28"/>
                  </a:lnTo>
                  <a:lnTo>
                    <a:pt x="64" y="26"/>
                  </a:lnTo>
                  <a:lnTo>
                    <a:pt x="66" y="26"/>
                  </a:lnTo>
                  <a:lnTo>
                    <a:pt x="69" y="23"/>
                  </a:lnTo>
                  <a:lnTo>
                    <a:pt x="71" y="23"/>
                  </a:lnTo>
                  <a:lnTo>
                    <a:pt x="71" y="21"/>
                  </a:lnTo>
                  <a:lnTo>
                    <a:pt x="73" y="21"/>
                  </a:lnTo>
                  <a:lnTo>
                    <a:pt x="76" y="23"/>
                  </a:lnTo>
                  <a:lnTo>
                    <a:pt x="78" y="23"/>
                  </a:lnTo>
                  <a:lnTo>
                    <a:pt x="81" y="23"/>
                  </a:lnTo>
                  <a:lnTo>
                    <a:pt x="81" y="21"/>
                  </a:lnTo>
                  <a:lnTo>
                    <a:pt x="81" y="19"/>
                  </a:lnTo>
                  <a:lnTo>
                    <a:pt x="83" y="21"/>
                  </a:lnTo>
                  <a:lnTo>
                    <a:pt x="83" y="19"/>
                  </a:lnTo>
                  <a:lnTo>
                    <a:pt x="83" y="16"/>
                  </a:lnTo>
                  <a:lnTo>
                    <a:pt x="85" y="16"/>
                  </a:lnTo>
                  <a:lnTo>
                    <a:pt x="85" y="14"/>
                  </a:lnTo>
                  <a:lnTo>
                    <a:pt x="88" y="14"/>
                  </a:lnTo>
                  <a:lnTo>
                    <a:pt x="88" y="12"/>
                  </a:lnTo>
                  <a:lnTo>
                    <a:pt x="90" y="12"/>
                  </a:lnTo>
                  <a:lnTo>
                    <a:pt x="90" y="14"/>
                  </a:lnTo>
                  <a:lnTo>
                    <a:pt x="90" y="12"/>
                  </a:lnTo>
                  <a:lnTo>
                    <a:pt x="92" y="12"/>
                  </a:lnTo>
                  <a:lnTo>
                    <a:pt x="95" y="12"/>
                  </a:lnTo>
                  <a:lnTo>
                    <a:pt x="95" y="9"/>
                  </a:lnTo>
                  <a:lnTo>
                    <a:pt x="95" y="7"/>
                  </a:lnTo>
                  <a:lnTo>
                    <a:pt x="97" y="7"/>
                  </a:lnTo>
                  <a:lnTo>
                    <a:pt x="100" y="7"/>
                  </a:lnTo>
                  <a:lnTo>
                    <a:pt x="100" y="9"/>
                  </a:lnTo>
                  <a:lnTo>
                    <a:pt x="102" y="9"/>
                  </a:lnTo>
                  <a:lnTo>
                    <a:pt x="102" y="12"/>
                  </a:lnTo>
                  <a:lnTo>
                    <a:pt x="104" y="12"/>
                  </a:lnTo>
                  <a:lnTo>
                    <a:pt x="104" y="14"/>
                  </a:lnTo>
                  <a:lnTo>
                    <a:pt x="107" y="14"/>
                  </a:lnTo>
                  <a:lnTo>
                    <a:pt x="109" y="12"/>
                  </a:lnTo>
                  <a:lnTo>
                    <a:pt x="111" y="12"/>
                  </a:lnTo>
                  <a:lnTo>
                    <a:pt x="111" y="14"/>
                  </a:lnTo>
                  <a:lnTo>
                    <a:pt x="111" y="12"/>
                  </a:lnTo>
                  <a:lnTo>
                    <a:pt x="114" y="12"/>
                  </a:lnTo>
                  <a:lnTo>
                    <a:pt x="116" y="12"/>
                  </a:lnTo>
                  <a:lnTo>
                    <a:pt x="116" y="14"/>
                  </a:lnTo>
                  <a:lnTo>
                    <a:pt x="119" y="14"/>
                  </a:lnTo>
                  <a:lnTo>
                    <a:pt x="116" y="14"/>
                  </a:lnTo>
                  <a:lnTo>
                    <a:pt x="119" y="14"/>
                  </a:lnTo>
                  <a:lnTo>
                    <a:pt x="119" y="16"/>
                  </a:lnTo>
                  <a:lnTo>
                    <a:pt x="119" y="14"/>
                  </a:lnTo>
                  <a:lnTo>
                    <a:pt x="121" y="14"/>
                  </a:lnTo>
                  <a:lnTo>
                    <a:pt x="123" y="14"/>
                  </a:lnTo>
                  <a:lnTo>
                    <a:pt x="126" y="14"/>
                  </a:lnTo>
                  <a:lnTo>
                    <a:pt x="126" y="16"/>
                  </a:lnTo>
                  <a:lnTo>
                    <a:pt x="128" y="16"/>
                  </a:lnTo>
                  <a:lnTo>
                    <a:pt x="130" y="16"/>
                  </a:lnTo>
                  <a:lnTo>
                    <a:pt x="133" y="16"/>
                  </a:lnTo>
                  <a:lnTo>
                    <a:pt x="135" y="16"/>
                  </a:lnTo>
                  <a:lnTo>
                    <a:pt x="135" y="14"/>
                  </a:lnTo>
                  <a:lnTo>
                    <a:pt x="138" y="14"/>
                  </a:lnTo>
                  <a:lnTo>
                    <a:pt x="140" y="14"/>
                  </a:lnTo>
                  <a:lnTo>
                    <a:pt x="142" y="14"/>
                  </a:lnTo>
                  <a:lnTo>
                    <a:pt x="145" y="14"/>
                  </a:lnTo>
                  <a:lnTo>
                    <a:pt x="145" y="16"/>
                  </a:lnTo>
                  <a:lnTo>
                    <a:pt x="145" y="19"/>
                  </a:lnTo>
                  <a:lnTo>
                    <a:pt x="147" y="19"/>
                  </a:lnTo>
                  <a:lnTo>
                    <a:pt x="147" y="21"/>
                  </a:lnTo>
                  <a:lnTo>
                    <a:pt x="149" y="19"/>
                  </a:lnTo>
                  <a:lnTo>
                    <a:pt x="149" y="21"/>
                  </a:lnTo>
                  <a:lnTo>
                    <a:pt x="152" y="21"/>
                  </a:lnTo>
                  <a:lnTo>
                    <a:pt x="149" y="21"/>
                  </a:lnTo>
                  <a:lnTo>
                    <a:pt x="152" y="21"/>
                  </a:lnTo>
                  <a:lnTo>
                    <a:pt x="152" y="23"/>
                  </a:lnTo>
                  <a:lnTo>
                    <a:pt x="152" y="26"/>
                  </a:lnTo>
                  <a:lnTo>
                    <a:pt x="154" y="26"/>
                  </a:lnTo>
                  <a:lnTo>
                    <a:pt x="157" y="26"/>
                  </a:lnTo>
                  <a:lnTo>
                    <a:pt x="159" y="26"/>
                  </a:lnTo>
                  <a:lnTo>
                    <a:pt x="159" y="23"/>
                  </a:lnTo>
                  <a:lnTo>
                    <a:pt x="161" y="23"/>
                  </a:lnTo>
                  <a:lnTo>
                    <a:pt x="161" y="21"/>
                  </a:lnTo>
                  <a:lnTo>
                    <a:pt x="164" y="21"/>
                  </a:lnTo>
                  <a:lnTo>
                    <a:pt x="164" y="19"/>
                  </a:lnTo>
                  <a:lnTo>
                    <a:pt x="164" y="16"/>
                  </a:lnTo>
                  <a:lnTo>
                    <a:pt x="166" y="16"/>
                  </a:lnTo>
                  <a:lnTo>
                    <a:pt x="168" y="16"/>
                  </a:lnTo>
                  <a:lnTo>
                    <a:pt x="173" y="16"/>
                  </a:lnTo>
                  <a:lnTo>
                    <a:pt x="176" y="14"/>
                  </a:lnTo>
                  <a:lnTo>
                    <a:pt x="178" y="14"/>
                  </a:lnTo>
                  <a:lnTo>
                    <a:pt x="180" y="14"/>
                  </a:lnTo>
                  <a:lnTo>
                    <a:pt x="183" y="14"/>
                  </a:lnTo>
                  <a:lnTo>
                    <a:pt x="185" y="14"/>
                  </a:lnTo>
                  <a:lnTo>
                    <a:pt x="187" y="14"/>
                  </a:lnTo>
                  <a:lnTo>
                    <a:pt x="190" y="14"/>
                  </a:lnTo>
                  <a:lnTo>
                    <a:pt x="190" y="12"/>
                  </a:lnTo>
                  <a:lnTo>
                    <a:pt x="192" y="12"/>
                  </a:lnTo>
                  <a:lnTo>
                    <a:pt x="192" y="14"/>
                  </a:lnTo>
                  <a:lnTo>
                    <a:pt x="194" y="12"/>
                  </a:lnTo>
                  <a:lnTo>
                    <a:pt x="194" y="14"/>
                  </a:lnTo>
                  <a:lnTo>
                    <a:pt x="194" y="12"/>
                  </a:lnTo>
                  <a:lnTo>
                    <a:pt x="197" y="12"/>
                  </a:lnTo>
                  <a:lnTo>
                    <a:pt x="197" y="9"/>
                  </a:lnTo>
                  <a:lnTo>
                    <a:pt x="199" y="9"/>
                  </a:lnTo>
                  <a:lnTo>
                    <a:pt x="199" y="7"/>
                  </a:lnTo>
                  <a:lnTo>
                    <a:pt x="199" y="4"/>
                  </a:lnTo>
                  <a:lnTo>
                    <a:pt x="199" y="2"/>
                  </a:lnTo>
                  <a:lnTo>
                    <a:pt x="202" y="4"/>
                  </a:lnTo>
                  <a:lnTo>
                    <a:pt x="202" y="2"/>
                  </a:lnTo>
                  <a:lnTo>
                    <a:pt x="202" y="4"/>
                  </a:lnTo>
                  <a:lnTo>
                    <a:pt x="202" y="2"/>
                  </a:lnTo>
                  <a:lnTo>
                    <a:pt x="204" y="2"/>
                  </a:lnTo>
                  <a:lnTo>
                    <a:pt x="206" y="2"/>
                  </a:lnTo>
                  <a:lnTo>
                    <a:pt x="209" y="2"/>
                  </a:lnTo>
                  <a:lnTo>
                    <a:pt x="209" y="0"/>
                  </a:lnTo>
                  <a:lnTo>
                    <a:pt x="211" y="0"/>
                  </a:lnTo>
                  <a:lnTo>
                    <a:pt x="213" y="0"/>
                  </a:lnTo>
                  <a:lnTo>
                    <a:pt x="216" y="0"/>
                  </a:lnTo>
                  <a:lnTo>
                    <a:pt x="216" y="2"/>
                  </a:lnTo>
                  <a:lnTo>
                    <a:pt x="218" y="2"/>
                  </a:lnTo>
                  <a:lnTo>
                    <a:pt x="218" y="4"/>
                  </a:lnTo>
                  <a:lnTo>
                    <a:pt x="221" y="4"/>
                  </a:lnTo>
                  <a:lnTo>
                    <a:pt x="221" y="2"/>
                  </a:lnTo>
                  <a:lnTo>
                    <a:pt x="221" y="4"/>
                  </a:lnTo>
                  <a:lnTo>
                    <a:pt x="223" y="4"/>
                  </a:lnTo>
                  <a:lnTo>
                    <a:pt x="221" y="4"/>
                  </a:lnTo>
                  <a:lnTo>
                    <a:pt x="221" y="7"/>
                  </a:lnTo>
                  <a:lnTo>
                    <a:pt x="223" y="7"/>
                  </a:lnTo>
                  <a:lnTo>
                    <a:pt x="223" y="4"/>
                  </a:lnTo>
                  <a:lnTo>
                    <a:pt x="223" y="7"/>
                  </a:lnTo>
                  <a:lnTo>
                    <a:pt x="223" y="9"/>
                  </a:lnTo>
                  <a:lnTo>
                    <a:pt x="225" y="9"/>
                  </a:lnTo>
                  <a:lnTo>
                    <a:pt x="225" y="12"/>
                  </a:lnTo>
                  <a:lnTo>
                    <a:pt x="228" y="12"/>
                  </a:lnTo>
                  <a:lnTo>
                    <a:pt x="225" y="12"/>
                  </a:lnTo>
                  <a:lnTo>
                    <a:pt x="228" y="12"/>
                  </a:lnTo>
                  <a:lnTo>
                    <a:pt x="228" y="14"/>
                  </a:lnTo>
                  <a:lnTo>
                    <a:pt x="228" y="16"/>
                  </a:lnTo>
                  <a:lnTo>
                    <a:pt x="230" y="16"/>
                  </a:lnTo>
                  <a:lnTo>
                    <a:pt x="230" y="19"/>
                  </a:lnTo>
                  <a:lnTo>
                    <a:pt x="230" y="21"/>
                  </a:lnTo>
                  <a:lnTo>
                    <a:pt x="230" y="23"/>
                  </a:lnTo>
                  <a:lnTo>
                    <a:pt x="232" y="23"/>
                  </a:lnTo>
                  <a:lnTo>
                    <a:pt x="232" y="26"/>
                  </a:lnTo>
                  <a:lnTo>
                    <a:pt x="230" y="26"/>
                  </a:lnTo>
                  <a:lnTo>
                    <a:pt x="232" y="26"/>
                  </a:lnTo>
                  <a:lnTo>
                    <a:pt x="232" y="28"/>
                  </a:lnTo>
                  <a:lnTo>
                    <a:pt x="232" y="31"/>
                  </a:lnTo>
                  <a:lnTo>
                    <a:pt x="235" y="31"/>
                  </a:lnTo>
                  <a:lnTo>
                    <a:pt x="235" y="33"/>
                  </a:lnTo>
                  <a:lnTo>
                    <a:pt x="237" y="33"/>
                  </a:lnTo>
                  <a:lnTo>
                    <a:pt x="237" y="35"/>
                  </a:lnTo>
                  <a:lnTo>
                    <a:pt x="237" y="38"/>
                  </a:lnTo>
                  <a:lnTo>
                    <a:pt x="240" y="35"/>
                  </a:lnTo>
                  <a:lnTo>
                    <a:pt x="240" y="38"/>
                  </a:lnTo>
                  <a:lnTo>
                    <a:pt x="240" y="35"/>
                  </a:lnTo>
                  <a:lnTo>
                    <a:pt x="240" y="38"/>
                  </a:lnTo>
                  <a:lnTo>
                    <a:pt x="240" y="35"/>
                  </a:lnTo>
                  <a:lnTo>
                    <a:pt x="240" y="38"/>
                  </a:lnTo>
                  <a:lnTo>
                    <a:pt x="242" y="38"/>
                  </a:lnTo>
                  <a:lnTo>
                    <a:pt x="240" y="38"/>
                  </a:lnTo>
                  <a:lnTo>
                    <a:pt x="242" y="38"/>
                  </a:lnTo>
                  <a:lnTo>
                    <a:pt x="242" y="40"/>
                  </a:lnTo>
                  <a:lnTo>
                    <a:pt x="240" y="40"/>
                  </a:lnTo>
                  <a:lnTo>
                    <a:pt x="242" y="40"/>
                  </a:lnTo>
                  <a:lnTo>
                    <a:pt x="242" y="42"/>
                  </a:lnTo>
                  <a:lnTo>
                    <a:pt x="242" y="45"/>
                  </a:lnTo>
                  <a:lnTo>
                    <a:pt x="244" y="45"/>
                  </a:lnTo>
                  <a:lnTo>
                    <a:pt x="244" y="47"/>
                  </a:lnTo>
                  <a:lnTo>
                    <a:pt x="244" y="45"/>
                  </a:lnTo>
                  <a:lnTo>
                    <a:pt x="247" y="45"/>
                  </a:lnTo>
                  <a:lnTo>
                    <a:pt x="247" y="47"/>
                  </a:lnTo>
                  <a:lnTo>
                    <a:pt x="247" y="50"/>
                  </a:lnTo>
                  <a:lnTo>
                    <a:pt x="247" y="47"/>
                  </a:lnTo>
                  <a:lnTo>
                    <a:pt x="247" y="50"/>
                  </a:lnTo>
                  <a:lnTo>
                    <a:pt x="249" y="50"/>
                  </a:lnTo>
                  <a:lnTo>
                    <a:pt x="247" y="50"/>
                  </a:lnTo>
                  <a:lnTo>
                    <a:pt x="249" y="50"/>
                  </a:lnTo>
                  <a:lnTo>
                    <a:pt x="249" y="52"/>
                  </a:lnTo>
                  <a:lnTo>
                    <a:pt x="249" y="54"/>
                  </a:lnTo>
                  <a:lnTo>
                    <a:pt x="249" y="52"/>
                  </a:lnTo>
                  <a:lnTo>
                    <a:pt x="249" y="54"/>
                  </a:lnTo>
                  <a:lnTo>
                    <a:pt x="251" y="54"/>
                  </a:lnTo>
                  <a:lnTo>
                    <a:pt x="249" y="54"/>
                  </a:lnTo>
                  <a:lnTo>
                    <a:pt x="251" y="54"/>
                  </a:lnTo>
                  <a:lnTo>
                    <a:pt x="251" y="57"/>
                  </a:lnTo>
                  <a:lnTo>
                    <a:pt x="254" y="57"/>
                  </a:lnTo>
                  <a:lnTo>
                    <a:pt x="254" y="59"/>
                  </a:lnTo>
                  <a:lnTo>
                    <a:pt x="256" y="57"/>
                  </a:lnTo>
                  <a:lnTo>
                    <a:pt x="256" y="59"/>
                  </a:lnTo>
                  <a:lnTo>
                    <a:pt x="259" y="59"/>
                  </a:lnTo>
                  <a:lnTo>
                    <a:pt x="259" y="61"/>
                  </a:lnTo>
                  <a:lnTo>
                    <a:pt x="259" y="64"/>
                  </a:lnTo>
                  <a:lnTo>
                    <a:pt x="259" y="61"/>
                  </a:lnTo>
                  <a:lnTo>
                    <a:pt x="259" y="64"/>
                  </a:lnTo>
                  <a:lnTo>
                    <a:pt x="259" y="66"/>
                  </a:lnTo>
                  <a:lnTo>
                    <a:pt x="259" y="69"/>
                  </a:lnTo>
                  <a:lnTo>
                    <a:pt x="261" y="69"/>
                  </a:lnTo>
                  <a:lnTo>
                    <a:pt x="261" y="71"/>
                  </a:lnTo>
                  <a:lnTo>
                    <a:pt x="261" y="69"/>
                  </a:lnTo>
                  <a:lnTo>
                    <a:pt x="261" y="71"/>
                  </a:lnTo>
                  <a:lnTo>
                    <a:pt x="261" y="73"/>
                  </a:lnTo>
                  <a:lnTo>
                    <a:pt x="263" y="73"/>
                  </a:lnTo>
                  <a:lnTo>
                    <a:pt x="261" y="73"/>
                  </a:lnTo>
                  <a:lnTo>
                    <a:pt x="263" y="73"/>
                  </a:lnTo>
                  <a:lnTo>
                    <a:pt x="263" y="76"/>
                  </a:lnTo>
                  <a:lnTo>
                    <a:pt x="263" y="73"/>
                  </a:lnTo>
                  <a:lnTo>
                    <a:pt x="263" y="76"/>
                  </a:lnTo>
                  <a:lnTo>
                    <a:pt x="263" y="78"/>
                  </a:lnTo>
                  <a:lnTo>
                    <a:pt x="263" y="80"/>
                  </a:lnTo>
                  <a:lnTo>
                    <a:pt x="263" y="83"/>
                  </a:lnTo>
                  <a:lnTo>
                    <a:pt x="263" y="80"/>
                  </a:lnTo>
                  <a:lnTo>
                    <a:pt x="263" y="83"/>
                  </a:lnTo>
                  <a:lnTo>
                    <a:pt x="263" y="85"/>
                  </a:lnTo>
                  <a:lnTo>
                    <a:pt x="263" y="88"/>
                  </a:lnTo>
                  <a:lnTo>
                    <a:pt x="263" y="90"/>
                  </a:lnTo>
                  <a:lnTo>
                    <a:pt x="261" y="90"/>
                  </a:lnTo>
                  <a:lnTo>
                    <a:pt x="263" y="90"/>
                  </a:lnTo>
                  <a:lnTo>
                    <a:pt x="261" y="90"/>
                  </a:lnTo>
                  <a:lnTo>
                    <a:pt x="263" y="90"/>
                  </a:lnTo>
                  <a:lnTo>
                    <a:pt x="261" y="90"/>
                  </a:lnTo>
                  <a:lnTo>
                    <a:pt x="263" y="90"/>
                  </a:lnTo>
                  <a:lnTo>
                    <a:pt x="261" y="90"/>
                  </a:lnTo>
                  <a:lnTo>
                    <a:pt x="261" y="92"/>
                  </a:lnTo>
                  <a:lnTo>
                    <a:pt x="261" y="90"/>
                  </a:lnTo>
                  <a:lnTo>
                    <a:pt x="261" y="92"/>
                  </a:lnTo>
                  <a:lnTo>
                    <a:pt x="263" y="92"/>
                  </a:lnTo>
                  <a:lnTo>
                    <a:pt x="261" y="92"/>
                  </a:lnTo>
                  <a:lnTo>
                    <a:pt x="261" y="95"/>
                  </a:lnTo>
                  <a:lnTo>
                    <a:pt x="261" y="92"/>
                  </a:lnTo>
                  <a:lnTo>
                    <a:pt x="261" y="95"/>
                  </a:lnTo>
                  <a:lnTo>
                    <a:pt x="261" y="92"/>
                  </a:lnTo>
                  <a:lnTo>
                    <a:pt x="261" y="95"/>
                  </a:lnTo>
                  <a:lnTo>
                    <a:pt x="259" y="95"/>
                  </a:lnTo>
                  <a:lnTo>
                    <a:pt x="261" y="95"/>
                  </a:lnTo>
                  <a:lnTo>
                    <a:pt x="259" y="95"/>
                  </a:lnTo>
                  <a:lnTo>
                    <a:pt x="259" y="97"/>
                  </a:lnTo>
                  <a:lnTo>
                    <a:pt x="261" y="97"/>
                  </a:lnTo>
                  <a:lnTo>
                    <a:pt x="261" y="99"/>
                  </a:lnTo>
                  <a:lnTo>
                    <a:pt x="259" y="97"/>
                  </a:lnTo>
                  <a:lnTo>
                    <a:pt x="259" y="99"/>
                  </a:lnTo>
                  <a:lnTo>
                    <a:pt x="261" y="99"/>
                  </a:lnTo>
                  <a:lnTo>
                    <a:pt x="259" y="99"/>
                  </a:lnTo>
                  <a:lnTo>
                    <a:pt x="261" y="99"/>
                  </a:lnTo>
                  <a:lnTo>
                    <a:pt x="259" y="99"/>
                  </a:lnTo>
                  <a:lnTo>
                    <a:pt x="259" y="102"/>
                  </a:lnTo>
                  <a:lnTo>
                    <a:pt x="261" y="102"/>
                  </a:lnTo>
                  <a:lnTo>
                    <a:pt x="259" y="102"/>
                  </a:lnTo>
                  <a:lnTo>
                    <a:pt x="259" y="104"/>
                  </a:lnTo>
                  <a:lnTo>
                    <a:pt x="259" y="107"/>
                  </a:lnTo>
                  <a:lnTo>
                    <a:pt x="259" y="109"/>
                  </a:lnTo>
                  <a:lnTo>
                    <a:pt x="259" y="111"/>
                  </a:lnTo>
                  <a:lnTo>
                    <a:pt x="259" y="114"/>
                  </a:lnTo>
                  <a:lnTo>
                    <a:pt x="259" y="116"/>
                  </a:lnTo>
                  <a:lnTo>
                    <a:pt x="261" y="118"/>
                  </a:lnTo>
                  <a:lnTo>
                    <a:pt x="261" y="116"/>
                  </a:lnTo>
                  <a:lnTo>
                    <a:pt x="261" y="118"/>
                  </a:lnTo>
                  <a:lnTo>
                    <a:pt x="261" y="121"/>
                  </a:lnTo>
                  <a:lnTo>
                    <a:pt x="261" y="123"/>
                  </a:lnTo>
                  <a:lnTo>
                    <a:pt x="261" y="126"/>
                  </a:lnTo>
                  <a:lnTo>
                    <a:pt x="259" y="126"/>
                  </a:lnTo>
                  <a:lnTo>
                    <a:pt x="259" y="123"/>
                  </a:lnTo>
                  <a:lnTo>
                    <a:pt x="259" y="126"/>
                  </a:lnTo>
                  <a:lnTo>
                    <a:pt x="259" y="128"/>
                  </a:lnTo>
                  <a:lnTo>
                    <a:pt x="261" y="128"/>
                  </a:lnTo>
                  <a:lnTo>
                    <a:pt x="261" y="126"/>
                  </a:lnTo>
                  <a:lnTo>
                    <a:pt x="261" y="128"/>
                  </a:lnTo>
                  <a:lnTo>
                    <a:pt x="261" y="130"/>
                  </a:lnTo>
                  <a:lnTo>
                    <a:pt x="261" y="133"/>
                  </a:lnTo>
                  <a:lnTo>
                    <a:pt x="263" y="133"/>
                  </a:lnTo>
                  <a:lnTo>
                    <a:pt x="266" y="133"/>
                  </a:lnTo>
                  <a:lnTo>
                    <a:pt x="266" y="135"/>
                  </a:lnTo>
                  <a:lnTo>
                    <a:pt x="263" y="135"/>
                  </a:lnTo>
                  <a:lnTo>
                    <a:pt x="266" y="135"/>
                  </a:lnTo>
                  <a:lnTo>
                    <a:pt x="266" y="137"/>
                  </a:lnTo>
                  <a:lnTo>
                    <a:pt x="266" y="140"/>
                  </a:lnTo>
                  <a:lnTo>
                    <a:pt x="268" y="140"/>
                  </a:lnTo>
                  <a:lnTo>
                    <a:pt x="270" y="140"/>
                  </a:lnTo>
                  <a:lnTo>
                    <a:pt x="270" y="142"/>
                  </a:lnTo>
                  <a:lnTo>
                    <a:pt x="273" y="142"/>
                  </a:lnTo>
                  <a:lnTo>
                    <a:pt x="275" y="142"/>
                  </a:lnTo>
                  <a:lnTo>
                    <a:pt x="278" y="142"/>
                  </a:lnTo>
                  <a:lnTo>
                    <a:pt x="278" y="145"/>
                  </a:lnTo>
                  <a:lnTo>
                    <a:pt x="280" y="142"/>
                  </a:lnTo>
                  <a:lnTo>
                    <a:pt x="280" y="145"/>
                  </a:lnTo>
                  <a:lnTo>
                    <a:pt x="282" y="145"/>
                  </a:lnTo>
                  <a:lnTo>
                    <a:pt x="285" y="145"/>
                  </a:lnTo>
                  <a:lnTo>
                    <a:pt x="285" y="147"/>
                  </a:lnTo>
                  <a:lnTo>
                    <a:pt x="287" y="147"/>
                  </a:lnTo>
                  <a:lnTo>
                    <a:pt x="289" y="147"/>
                  </a:lnTo>
                  <a:lnTo>
                    <a:pt x="289" y="149"/>
                  </a:lnTo>
                  <a:lnTo>
                    <a:pt x="292" y="149"/>
                  </a:lnTo>
                  <a:lnTo>
                    <a:pt x="289" y="149"/>
                  </a:lnTo>
                  <a:lnTo>
                    <a:pt x="289" y="147"/>
                  </a:lnTo>
                  <a:lnTo>
                    <a:pt x="287" y="147"/>
                  </a:lnTo>
                  <a:lnTo>
                    <a:pt x="285" y="147"/>
                  </a:lnTo>
                  <a:lnTo>
                    <a:pt x="285" y="145"/>
                  </a:lnTo>
                  <a:lnTo>
                    <a:pt x="282" y="145"/>
                  </a:lnTo>
                  <a:lnTo>
                    <a:pt x="280" y="145"/>
                  </a:lnTo>
                  <a:lnTo>
                    <a:pt x="280" y="142"/>
                  </a:lnTo>
                  <a:lnTo>
                    <a:pt x="282" y="142"/>
                  </a:lnTo>
                  <a:lnTo>
                    <a:pt x="280" y="142"/>
                  </a:lnTo>
                  <a:lnTo>
                    <a:pt x="280" y="140"/>
                  </a:lnTo>
                  <a:lnTo>
                    <a:pt x="282" y="140"/>
                  </a:lnTo>
                  <a:lnTo>
                    <a:pt x="282" y="137"/>
                  </a:lnTo>
                  <a:lnTo>
                    <a:pt x="282" y="140"/>
                  </a:lnTo>
                  <a:lnTo>
                    <a:pt x="285" y="140"/>
                  </a:lnTo>
                  <a:lnTo>
                    <a:pt x="287" y="140"/>
                  </a:lnTo>
                  <a:lnTo>
                    <a:pt x="287" y="137"/>
                  </a:lnTo>
                  <a:lnTo>
                    <a:pt x="289" y="137"/>
                  </a:lnTo>
                  <a:lnTo>
                    <a:pt x="292" y="137"/>
                  </a:lnTo>
                  <a:lnTo>
                    <a:pt x="292" y="135"/>
                  </a:lnTo>
                  <a:lnTo>
                    <a:pt x="294" y="135"/>
                  </a:lnTo>
                  <a:lnTo>
                    <a:pt x="297" y="135"/>
                  </a:lnTo>
                  <a:lnTo>
                    <a:pt x="297" y="133"/>
                  </a:lnTo>
                  <a:lnTo>
                    <a:pt x="299" y="133"/>
                  </a:lnTo>
                  <a:lnTo>
                    <a:pt x="301" y="135"/>
                  </a:lnTo>
                  <a:lnTo>
                    <a:pt x="304" y="135"/>
                  </a:lnTo>
                  <a:lnTo>
                    <a:pt x="301" y="135"/>
                  </a:lnTo>
                  <a:lnTo>
                    <a:pt x="301" y="133"/>
                  </a:lnTo>
                  <a:lnTo>
                    <a:pt x="304" y="133"/>
                  </a:lnTo>
                  <a:lnTo>
                    <a:pt x="304" y="135"/>
                  </a:lnTo>
                  <a:lnTo>
                    <a:pt x="306" y="135"/>
                  </a:lnTo>
                  <a:lnTo>
                    <a:pt x="308" y="135"/>
                  </a:lnTo>
                  <a:lnTo>
                    <a:pt x="308" y="137"/>
                  </a:lnTo>
                  <a:lnTo>
                    <a:pt x="311" y="137"/>
                  </a:lnTo>
                  <a:lnTo>
                    <a:pt x="311" y="140"/>
                  </a:lnTo>
                  <a:lnTo>
                    <a:pt x="311" y="142"/>
                  </a:lnTo>
                  <a:lnTo>
                    <a:pt x="311" y="145"/>
                  </a:lnTo>
                  <a:lnTo>
                    <a:pt x="308" y="145"/>
                  </a:lnTo>
                  <a:lnTo>
                    <a:pt x="311" y="147"/>
                  </a:lnTo>
                  <a:lnTo>
                    <a:pt x="308" y="147"/>
                  </a:lnTo>
                  <a:lnTo>
                    <a:pt x="306" y="145"/>
                  </a:lnTo>
                  <a:lnTo>
                    <a:pt x="308" y="147"/>
                  </a:lnTo>
                  <a:lnTo>
                    <a:pt x="311" y="147"/>
                  </a:lnTo>
                  <a:lnTo>
                    <a:pt x="313" y="147"/>
                  </a:lnTo>
                  <a:lnTo>
                    <a:pt x="311" y="147"/>
                  </a:lnTo>
                  <a:lnTo>
                    <a:pt x="311" y="149"/>
                  </a:lnTo>
                  <a:lnTo>
                    <a:pt x="311" y="152"/>
                  </a:lnTo>
                  <a:lnTo>
                    <a:pt x="308" y="154"/>
                  </a:lnTo>
                  <a:lnTo>
                    <a:pt x="308" y="156"/>
                  </a:lnTo>
                  <a:lnTo>
                    <a:pt x="308" y="159"/>
                  </a:lnTo>
                  <a:lnTo>
                    <a:pt x="306" y="156"/>
                  </a:lnTo>
                  <a:lnTo>
                    <a:pt x="304" y="156"/>
                  </a:lnTo>
                  <a:lnTo>
                    <a:pt x="304" y="154"/>
                  </a:lnTo>
                  <a:lnTo>
                    <a:pt x="301" y="154"/>
                  </a:lnTo>
                  <a:lnTo>
                    <a:pt x="301" y="156"/>
                  </a:lnTo>
                  <a:lnTo>
                    <a:pt x="301" y="154"/>
                  </a:lnTo>
                  <a:lnTo>
                    <a:pt x="304" y="154"/>
                  </a:lnTo>
                  <a:lnTo>
                    <a:pt x="304" y="156"/>
                  </a:lnTo>
                  <a:lnTo>
                    <a:pt x="306" y="156"/>
                  </a:lnTo>
                  <a:lnTo>
                    <a:pt x="306" y="159"/>
                  </a:lnTo>
                  <a:lnTo>
                    <a:pt x="308" y="159"/>
                  </a:lnTo>
                  <a:lnTo>
                    <a:pt x="308" y="161"/>
                  </a:lnTo>
                  <a:lnTo>
                    <a:pt x="306" y="161"/>
                  </a:lnTo>
                  <a:lnTo>
                    <a:pt x="304" y="161"/>
                  </a:lnTo>
                  <a:lnTo>
                    <a:pt x="304" y="164"/>
                  </a:lnTo>
                  <a:lnTo>
                    <a:pt x="301" y="161"/>
                  </a:lnTo>
                  <a:lnTo>
                    <a:pt x="301" y="164"/>
                  </a:lnTo>
                  <a:lnTo>
                    <a:pt x="299" y="164"/>
                  </a:lnTo>
                  <a:lnTo>
                    <a:pt x="297" y="164"/>
                  </a:lnTo>
                  <a:lnTo>
                    <a:pt x="294" y="164"/>
                  </a:lnTo>
                  <a:lnTo>
                    <a:pt x="292" y="164"/>
                  </a:lnTo>
                  <a:lnTo>
                    <a:pt x="292" y="166"/>
                  </a:lnTo>
                  <a:lnTo>
                    <a:pt x="289" y="166"/>
                  </a:lnTo>
                  <a:lnTo>
                    <a:pt x="289" y="168"/>
                  </a:lnTo>
                  <a:lnTo>
                    <a:pt x="287" y="168"/>
                  </a:lnTo>
                  <a:lnTo>
                    <a:pt x="287" y="171"/>
                  </a:lnTo>
                  <a:lnTo>
                    <a:pt x="287" y="173"/>
                  </a:lnTo>
                  <a:lnTo>
                    <a:pt x="285" y="175"/>
                  </a:lnTo>
                  <a:lnTo>
                    <a:pt x="282" y="178"/>
                  </a:lnTo>
                  <a:lnTo>
                    <a:pt x="280" y="180"/>
                  </a:lnTo>
                  <a:lnTo>
                    <a:pt x="280" y="183"/>
                  </a:lnTo>
                  <a:lnTo>
                    <a:pt x="278" y="183"/>
                  </a:lnTo>
                  <a:lnTo>
                    <a:pt x="278" y="185"/>
                  </a:lnTo>
                  <a:lnTo>
                    <a:pt x="275" y="185"/>
                  </a:lnTo>
                  <a:lnTo>
                    <a:pt x="278" y="185"/>
                  </a:lnTo>
                  <a:lnTo>
                    <a:pt x="275" y="185"/>
                  </a:lnTo>
                  <a:lnTo>
                    <a:pt x="275" y="187"/>
                  </a:lnTo>
                  <a:lnTo>
                    <a:pt x="275" y="190"/>
                  </a:lnTo>
                  <a:lnTo>
                    <a:pt x="278" y="190"/>
                  </a:lnTo>
                  <a:lnTo>
                    <a:pt x="278" y="192"/>
                  </a:lnTo>
                  <a:lnTo>
                    <a:pt x="278" y="190"/>
                  </a:lnTo>
                  <a:lnTo>
                    <a:pt x="278" y="192"/>
                  </a:lnTo>
                  <a:lnTo>
                    <a:pt x="278" y="194"/>
                  </a:lnTo>
                  <a:lnTo>
                    <a:pt x="278" y="192"/>
                  </a:lnTo>
                  <a:lnTo>
                    <a:pt x="278" y="194"/>
                  </a:lnTo>
                  <a:lnTo>
                    <a:pt x="275" y="194"/>
                  </a:lnTo>
                  <a:lnTo>
                    <a:pt x="278" y="197"/>
                  </a:lnTo>
                  <a:lnTo>
                    <a:pt x="278" y="194"/>
                  </a:lnTo>
                  <a:lnTo>
                    <a:pt x="278" y="197"/>
                  </a:lnTo>
                  <a:lnTo>
                    <a:pt x="278" y="194"/>
                  </a:lnTo>
                  <a:lnTo>
                    <a:pt x="278" y="197"/>
                  </a:lnTo>
                  <a:lnTo>
                    <a:pt x="278" y="194"/>
                  </a:lnTo>
                  <a:lnTo>
                    <a:pt x="278" y="197"/>
                  </a:lnTo>
                  <a:lnTo>
                    <a:pt x="278" y="194"/>
                  </a:lnTo>
                  <a:lnTo>
                    <a:pt x="278" y="197"/>
                  </a:lnTo>
                  <a:lnTo>
                    <a:pt x="278" y="199"/>
                  </a:lnTo>
                  <a:lnTo>
                    <a:pt x="278" y="202"/>
                  </a:lnTo>
                  <a:lnTo>
                    <a:pt x="275" y="202"/>
                  </a:lnTo>
                  <a:lnTo>
                    <a:pt x="278" y="204"/>
                  </a:lnTo>
                  <a:lnTo>
                    <a:pt x="275" y="204"/>
                  </a:lnTo>
                  <a:lnTo>
                    <a:pt x="275" y="206"/>
                  </a:lnTo>
                  <a:lnTo>
                    <a:pt x="275" y="209"/>
                  </a:lnTo>
                  <a:close/>
                  <a:moveTo>
                    <a:pt x="301" y="156"/>
                  </a:moveTo>
                  <a:lnTo>
                    <a:pt x="301" y="154"/>
                  </a:lnTo>
                  <a:lnTo>
                    <a:pt x="301" y="156"/>
                  </a:lnTo>
                  <a:close/>
                  <a:moveTo>
                    <a:pt x="299" y="156"/>
                  </a:moveTo>
                  <a:lnTo>
                    <a:pt x="299" y="154"/>
                  </a:lnTo>
                  <a:lnTo>
                    <a:pt x="299" y="156"/>
                  </a:lnTo>
                  <a:close/>
                  <a:moveTo>
                    <a:pt x="299" y="154"/>
                  </a:moveTo>
                  <a:lnTo>
                    <a:pt x="299" y="152"/>
                  </a:lnTo>
                  <a:lnTo>
                    <a:pt x="297" y="152"/>
                  </a:lnTo>
                  <a:lnTo>
                    <a:pt x="294" y="152"/>
                  </a:lnTo>
                  <a:lnTo>
                    <a:pt x="297" y="152"/>
                  </a:lnTo>
                  <a:lnTo>
                    <a:pt x="297" y="149"/>
                  </a:lnTo>
                  <a:lnTo>
                    <a:pt x="294" y="149"/>
                  </a:lnTo>
                  <a:lnTo>
                    <a:pt x="292" y="149"/>
                  </a:lnTo>
                  <a:lnTo>
                    <a:pt x="294" y="149"/>
                  </a:lnTo>
                  <a:lnTo>
                    <a:pt x="297" y="149"/>
                  </a:lnTo>
                  <a:lnTo>
                    <a:pt x="297" y="152"/>
                  </a:lnTo>
                  <a:lnTo>
                    <a:pt x="294" y="152"/>
                  </a:lnTo>
                  <a:lnTo>
                    <a:pt x="297" y="152"/>
                  </a:lnTo>
                  <a:lnTo>
                    <a:pt x="299" y="152"/>
                  </a:lnTo>
                  <a:lnTo>
                    <a:pt x="299" y="154"/>
                  </a:lnTo>
                  <a:lnTo>
                    <a:pt x="297" y="154"/>
                  </a:lnTo>
                  <a:lnTo>
                    <a:pt x="299" y="154"/>
                  </a:lnTo>
                  <a:close/>
                  <a:moveTo>
                    <a:pt x="292" y="149"/>
                  </a:moveTo>
                  <a:lnTo>
                    <a:pt x="294" y="149"/>
                  </a:lnTo>
                  <a:lnTo>
                    <a:pt x="292" y="149"/>
                  </a:lnTo>
                  <a:close/>
                  <a:moveTo>
                    <a:pt x="301" y="156"/>
                  </a:moveTo>
                  <a:lnTo>
                    <a:pt x="299" y="156"/>
                  </a:lnTo>
                  <a:lnTo>
                    <a:pt x="301" y="156"/>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6" name="Freeform 55043"/>
            <p:cNvSpPr>
              <a:spLocks/>
            </p:cNvSpPr>
            <p:nvPr/>
          </p:nvSpPr>
          <p:spPr bwMode="auto">
            <a:xfrm>
              <a:off x="3570286" y="5089542"/>
              <a:ext cx="6350" cy="4763"/>
            </a:xfrm>
            <a:custGeom>
              <a:avLst/>
              <a:gdLst>
                <a:gd name="T0" fmla="*/ 2 w 4"/>
                <a:gd name="T1" fmla="*/ 3 h 3"/>
                <a:gd name="T2" fmla="*/ 2 w 4"/>
                <a:gd name="T3" fmla="*/ 3 h 3"/>
                <a:gd name="T4" fmla="*/ 2 w 4"/>
                <a:gd name="T5" fmla="*/ 3 h 3"/>
                <a:gd name="T6" fmla="*/ 2 w 4"/>
                <a:gd name="T7" fmla="*/ 3 h 3"/>
                <a:gd name="T8" fmla="*/ 2 w 4"/>
                <a:gd name="T9" fmla="*/ 3 h 3"/>
                <a:gd name="T10" fmla="*/ 2 w 4"/>
                <a:gd name="T11" fmla="*/ 3 h 3"/>
                <a:gd name="T12" fmla="*/ 2 w 4"/>
                <a:gd name="T13" fmla="*/ 3 h 3"/>
                <a:gd name="T14" fmla="*/ 2 w 4"/>
                <a:gd name="T15" fmla="*/ 3 h 3"/>
                <a:gd name="T16" fmla="*/ 2 w 4"/>
                <a:gd name="T17" fmla="*/ 3 h 3"/>
                <a:gd name="T18" fmla="*/ 2 w 4"/>
                <a:gd name="T19" fmla="*/ 3 h 3"/>
                <a:gd name="T20" fmla="*/ 2 w 4"/>
                <a:gd name="T21" fmla="*/ 3 h 3"/>
                <a:gd name="T22" fmla="*/ 2 w 4"/>
                <a:gd name="T23" fmla="*/ 3 h 3"/>
                <a:gd name="T24" fmla="*/ 2 w 4"/>
                <a:gd name="T25" fmla="*/ 3 h 3"/>
                <a:gd name="T26" fmla="*/ 0 w 4"/>
                <a:gd name="T27" fmla="*/ 3 h 3"/>
                <a:gd name="T28" fmla="*/ 0 w 4"/>
                <a:gd name="T29" fmla="*/ 3 h 3"/>
                <a:gd name="T30" fmla="*/ 0 w 4"/>
                <a:gd name="T31" fmla="*/ 3 h 3"/>
                <a:gd name="T32" fmla="*/ 0 w 4"/>
                <a:gd name="T33" fmla="*/ 3 h 3"/>
                <a:gd name="T34" fmla="*/ 0 w 4"/>
                <a:gd name="T35" fmla="*/ 3 h 3"/>
                <a:gd name="T36" fmla="*/ 0 w 4"/>
                <a:gd name="T37" fmla="*/ 3 h 3"/>
                <a:gd name="T38" fmla="*/ 0 w 4"/>
                <a:gd name="T39" fmla="*/ 3 h 3"/>
                <a:gd name="T40" fmla="*/ 2 w 4"/>
                <a:gd name="T41" fmla="*/ 3 h 3"/>
                <a:gd name="T42" fmla="*/ 2 w 4"/>
                <a:gd name="T43" fmla="*/ 3 h 3"/>
                <a:gd name="T44" fmla="*/ 2 w 4"/>
                <a:gd name="T45" fmla="*/ 3 h 3"/>
                <a:gd name="T46" fmla="*/ 2 w 4"/>
                <a:gd name="T47" fmla="*/ 3 h 3"/>
                <a:gd name="T48" fmla="*/ 2 w 4"/>
                <a:gd name="T49" fmla="*/ 3 h 3"/>
                <a:gd name="T50" fmla="*/ 2 w 4"/>
                <a:gd name="T51" fmla="*/ 3 h 3"/>
                <a:gd name="T52" fmla="*/ 2 w 4"/>
                <a:gd name="T53" fmla="*/ 3 h 3"/>
                <a:gd name="T54" fmla="*/ 2 w 4"/>
                <a:gd name="T55" fmla="*/ 3 h 3"/>
                <a:gd name="T56" fmla="*/ 2 w 4"/>
                <a:gd name="T57" fmla="*/ 3 h 3"/>
                <a:gd name="T58" fmla="*/ 2 w 4"/>
                <a:gd name="T59" fmla="*/ 3 h 3"/>
                <a:gd name="T60" fmla="*/ 2 w 4"/>
                <a:gd name="T61" fmla="*/ 3 h 3"/>
                <a:gd name="T62" fmla="*/ 2 w 4"/>
                <a:gd name="T63" fmla="*/ 3 h 3"/>
                <a:gd name="T64" fmla="*/ 2 w 4"/>
                <a:gd name="T65" fmla="*/ 3 h 3"/>
                <a:gd name="T66" fmla="*/ 2 w 4"/>
                <a:gd name="T67" fmla="*/ 3 h 3"/>
                <a:gd name="T68" fmla="*/ 2 w 4"/>
                <a:gd name="T69" fmla="*/ 3 h 3"/>
                <a:gd name="T70" fmla="*/ 2 w 4"/>
                <a:gd name="T71" fmla="*/ 3 h 3"/>
                <a:gd name="T72" fmla="*/ 2 w 4"/>
                <a:gd name="T73" fmla="*/ 3 h 3"/>
                <a:gd name="T74" fmla="*/ 2 w 4"/>
                <a:gd name="T75" fmla="*/ 3 h 3"/>
                <a:gd name="T76" fmla="*/ 2 w 4"/>
                <a:gd name="T77" fmla="*/ 3 h 3"/>
                <a:gd name="T78" fmla="*/ 4 w 4"/>
                <a:gd name="T79" fmla="*/ 0 h 3"/>
                <a:gd name="T80" fmla="*/ 4 w 4"/>
                <a:gd name="T81" fmla="*/ 0 h 3"/>
                <a:gd name="T82" fmla="*/ 4 w 4"/>
                <a:gd name="T83" fmla="*/ 3 h 3"/>
                <a:gd name="T84" fmla="*/ 2 w 4"/>
                <a:gd name="T85" fmla="*/ 3 h 3"/>
                <a:gd name="T86" fmla="*/ 2 w 4"/>
                <a:gd name="T8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 h="3">
                  <a:moveTo>
                    <a:pt x="2" y="3"/>
                  </a:moveTo>
                  <a:lnTo>
                    <a:pt x="2" y="3"/>
                  </a:lnTo>
                  <a:lnTo>
                    <a:pt x="2" y="3"/>
                  </a:lnTo>
                  <a:lnTo>
                    <a:pt x="2" y="3"/>
                  </a:lnTo>
                  <a:lnTo>
                    <a:pt x="2" y="3"/>
                  </a:lnTo>
                  <a:lnTo>
                    <a:pt x="2" y="3"/>
                  </a:lnTo>
                  <a:lnTo>
                    <a:pt x="2" y="3"/>
                  </a:lnTo>
                  <a:lnTo>
                    <a:pt x="2" y="3"/>
                  </a:lnTo>
                  <a:lnTo>
                    <a:pt x="2" y="3"/>
                  </a:lnTo>
                  <a:lnTo>
                    <a:pt x="2" y="3"/>
                  </a:lnTo>
                  <a:lnTo>
                    <a:pt x="2" y="3"/>
                  </a:lnTo>
                  <a:lnTo>
                    <a:pt x="2" y="3"/>
                  </a:lnTo>
                  <a:lnTo>
                    <a:pt x="2" y="3"/>
                  </a:lnTo>
                  <a:lnTo>
                    <a:pt x="0" y="3"/>
                  </a:lnTo>
                  <a:lnTo>
                    <a:pt x="0" y="3"/>
                  </a:lnTo>
                  <a:lnTo>
                    <a:pt x="0" y="3"/>
                  </a:lnTo>
                  <a:lnTo>
                    <a:pt x="0" y="3"/>
                  </a:lnTo>
                  <a:lnTo>
                    <a:pt x="0" y="3"/>
                  </a:lnTo>
                  <a:lnTo>
                    <a:pt x="0" y="3"/>
                  </a:lnTo>
                  <a:lnTo>
                    <a:pt x="0"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4" y="0"/>
                  </a:lnTo>
                  <a:lnTo>
                    <a:pt x="4" y="0"/>
                  </a:lnTo>
                  <a:lnTo>
                    <a:pt x="4" y="3"/>
                  </a:lnTo>
                  <a:lnTo>
                    <a:pt x="2" y="3"/>
                  </a:lnTo>
                  <a:lnTo>
                    <a:pt x="2"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7" name="Freeform 55044"/>
            <p:cNvSpPr>
              <a:spLocks noEditPoints="1"/>
            </p:cNvSpPr>
            <p:nvPr/>
          </p:nvSpPr>
          <p:spPr bwMode="auto">
            <a:xfrm>
              <a:off x="3516310" y="5056205"/>
              <a:ext cx="60325" cy="109538"/>
            </a:xfrm>
            <a:custGeom>
              <a:avLst/>
              <a:gdLst>
                <a:gd name="T0" fmla="*/ 5 w 38"/>
                <a:gd name="T1" fmla="*/ 69 h 69"/>
                <a:gd name="T2" fmla="*/ 5 w 38"/>
                <a:gd name="T3" fmla="*/ 69 h 69"/>
                <a:gd name="T4" fmla="*/ 5 w 38"/>
                <a:gd name="T5" fmla="*/ 69 h 69"/>
                <a:gd name="T6" fmla="*/ 5 w 38"/>
                <a:gd name="T7" fmla="*/ 69 h 69"/>
                <a:gd name="T8" fmla="*/ 5 w 38"/>
                <a:gd name="T9" fmla="*/ 69 h 69"/>
                <a:gd name="T10" fmla="*/ 8 w 38"/>
                <a:gd name="T11" fmla="*/ 54 h 69"/>
                <a:gd name="T12" fmla="*/ 8 w 38"/>
                <a:gd name="T13" fmla="*/ 54 h 69"/>
                <a:gd name="T14" fmla="*/ 8 w 38"/>
                <a:gd name="T15" fmla="*/ 54 h 69"/>
                <a:gd name="T16" fmla="*/ 8 w 38"/>
                <a:gd name="T17" fmla="*/ 54 h 69"/>
                <a:gd name="T18" fmla="*/ 8 w 38"/>
                <a:gd name="T19" fmla="*/ 54 h 69"/>
                <a:gd name="T20" fmla="*/ 8 w 38"/>
                <a:gd name="T21" fmla="*/ 54 h 69"/>
                <a:gd name="T22" fmla="*/ 8 w 38"/>
                <a:gd name="T23" fmla="*/ 54 h 69"/>
                <a:gd name="T24" fmla="*/ 8 w 38"/>
                <a:gd name="T25" fmla="*/ 45 h 69"/>
                <a:gd name="T26" fmla="*/ 8 w 38"/>
                <a:gd name="T27" fmla="*/ 45 h 69"/>
                <a:gd name="T28" fmla="*/ 8 w 38"/>
                <a:gd name="T29" fmla="*/ 45 h 69"/>
                <a:gd name="T30" fmla="*/ 8 w 38"/>
                <a:gd name="T31" fmla="*/ 45 h 69"/>
                <a:gd name="T32" fmla="*/ 8 w 38"/>
                <a:gd name="T33" fmla="*/ 45 h 69"/>
                <a:gd name="T34" fmla="*/ 8 w 38"/>
                <a:gd name="T35" fmla="*/ 45 h 69"/>
                <a:gd name="T36" fmla="*/ 8 w 38"/>
                <a:gd name="T37" fmla="*/ 45 h 69"/>
                <a:gd name="T38" fmla="*/ 8 w 38"/>
                <a:gd name="T39" fmla="*/ 45 h 69"/>
                <a:gd name="T40" fmla="*/ 36 w 38"/>
                <a:gd name="T41" fmla="*/ 24 h 69"/>
                <a:gd name="T42" fmla="*/ 36 w 38"/>
                <a:gd name="T43" fmla="*/ 24 h 69"/>
                <a:gd name="T44" fmla="*/ 36 w 38"/>
                <a:gd name="T45" fmla="*/ 24 h 69"/>
                <a:gd name="T46" fmla="*/ 36 w 38"/>
                <a:gd name="T47" fmla="*/ 24 h 69"/>
                <a:gd name="T48" fmla="*/ 36 w 38"/>
                <a:gd name="T49" fmla="*/ 24 h 69"/>
                <a:gd name="T50" fmla="*/ 36 w 38"/>
                <a:gd name="T51" fmla="*/ 24 h 69"/>
                <a:gd name="T52" fmla="*/ 38 w 38"/>
                <a:gd name="T53" fmla="*/ 21 h 69"/>
                <a:gd name="T54" fmla="*/ 38 w 38"/>
                <a:gd name="T55" fmla="*/ 21 h 69"/>
                <a:gd name="T56" fmla="*/ 38 w 38"/>
                <a:gd name="T57" fmla="*/ 21 h 69"/>
                <a:gd name="T58" fmla="*/ 38 w 38"/>
                <a:gd name="T59" fmla="*/ 21 h 69"/>
                <a:gd name="T60" fmla="*/ 38 w 38"/>
                <a:gd name="T61" fmla="*/ 21 h 69"/>
                <a:gd name="T62" fmla="*/ 38 w 38"/>
                <a:gd name="T63" fmla="*/ 21 h 69"/>
                <a:gd name="T64" fmla="*/ 38 w 38"/>
                <a:gd name="T65" fmla="*/ 21 h 69"/>
                <a:gd name="T66" fmla="*/ 17 w 38"/>
                <a:gd name="T67" fmla="*/ 7 h 69"/>
                <a:gd name="T68" fmla="*/ 17 w 38"/>
                <a:gd name="T69" fmla="*/ 7 h 69"/>
                <a:gd name="T70" fmla="*/ 17 w 38"/>
                <a:gd name="T71" fmla="*/ 7 h 69"/>
                <a:gd name="T72" fmla="*/ 17 w 38"/>
                <a:gd name="T73" fmla="*/ 7 h 69"/>
                <a:gd name="T74" fmla="*/ 17 w 38"/>
                <a:gd name="T75" fmla="*/ 7 h 69"/>
                <a:gd name="T76" fmla="*/ 0 w 38"/>
                <a:gd name="T77" fmla="*/ 0 h 69"/>
                <a:gd name="T78" fmla="*/ 0 w 38"/>
                <a:gd name="T79" fmla="*/ 0 h 69"/>
                <a:gd name="T80" fmla="*/ 0 w 38"/>
                <a:gd name="T81" fmla="*/ 0 h 69"/>
                <a:gd name="T82" fmla="*/ 0 w 38"/>
                <a:gd name="T83" fmla="*/ 0 h 69"/>
                <a:gd name="T84" fmla="*/ 0 w 38"/>
                <a:gd name="T85" fmla="*/ 0 h 69"/>
                <a:gd name="T86" fmla="*/ 0 w 38"/>
                <a:gd name="T8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69">
                  <a:moveTo>
                    <a:pt x="5" y="69"/>
                  </a:moveTo>
                  <a:lnTo>
                    <a:pt x="5" y="69"/>
                  </a:lnTo>
                  <a:lnTo>
                    <a:pt x="5" y="69"/>
                  </a:lnTo>
                  <a:lnTo>
                    <a:pt x="5" y="69"/>
                  </a:lnTo>
                  <a:lnTo>
                    <a:pt x="5" y="69"/>
                  </a:lnTo>
                  <a:close/>
                  <a:moveTo>
                    <a:pt x="8" y="54"/>
                  </a:moveTo>
                  <a:lnTo>
                    <a:pt x="8" y="54"/>
                  </a:lnTo>
                  <a:lnTo>
                    <a:pt x="8" y="54"/>
                  </a:lnTo>
                  <a:lnTo>
                    <a:pt x="8" y="54"/>
                  </a:lnTo>
                  <a:lnTo>
                    <a:pt x="8" y="54"/>
                  </a:lnTo>
                  <a:lnTo>
                    <a:pt x="8" y="54"/>
                  </a:lnTo>
                  <a:lnTo>
                    <a:pt x="8" y="54"/>
                  </a:lnTo>
                  <a:close/>
                  <a:moveTo>
                    <a:pt x="8" y="45"/>
                  </a:moveTo>
                  <a:lnTo>
                    <a:pt x="8" y="45"/>
                  </a:lnTo>
                  <a:lnTo>
                    <a:pt x="8" y="45"/>
                  </a:lnTo>
                  <a:lnTo>
                    <a:pt x="8" y="45"/>
                  </a:lnTo>
                  <a:lnTo>
                    <a:pt x="8" y="45"/>
                  </a:lnTo>
                  <a:lnTo>
                    <a:pt x="8" y="45"/>
                  </a:lnTo>
                  <a:lnTo>
                    <a:pt x="8" y="45"/>
                  </a:lnTo>
                  <a:lnTo>
                    <a:pt x="8" y="45"/>
                  </a:lnTo>
                  <a:close/>
                  <a:moveTo>
                    <a:pt x="36" y="24"/>
                  </a:moveTo>
                  <a:lnTo>
                    <a:pt x="36" y="24"/>
                  </a:lnTo>
                  <a:lnTo>
                    <a:pt x="36" y="24"/>
                  </a:lnTo>
                  <a:lnTo>
                    <a:pt x="36" y="24"/>
                  </a:lnTo>
                  <a:lnTo>
                    <a:pt x="36" y="24"/>
                  </a:lnTo>
                  <a:lnTo>
                    <a:pt x="36" y="24"/>
                  </a:lnTo>
                  <a:close/>
                  <a:moveTo>
                    <a:pt x="38" y="21"/>
                  </a:moveTo>
                  <a:lnTo>
                    <a:pt x="38" y="21"/>
                  </a:lnTo>
                  <a:lnTo>
                    <a:pt x="38" y="21"/>
                  </a:lnTo>
                  <a:lnTo>
                    <a:pt x="38" y="21"/>
                  </a:lnTo>
                  <a:lnTo>
                    <a:pt x="38" y="21"/>
                  </a:lnTo>
                  <a:lnTo>
                    <a:pt x="38" y="21"/>
                  </a:lnTo>
                  <a:lnTo>
                    <a:pt x="38" y="21"/>
                  </a:lnTo>
                  <a:close/>
                  <a:moveTo>
                    <a:pt x="17" y="7"/>
                  </a:moveTo>
                  <a:lnTo>
                    <a:pt x="17" y="7"/>
                  </a:lnTo>
                  <a:lnTo>
                    <a:pt x="17" y="7"/>
                  </a:lnTo>
                  <a:lnTo>
                    <a:pt x="17" y="7"/>
                  </a:lnTo>
                  <a:lnTo>
                    <a:pt x="17" y="7"/>
                  </a:lnTo>
                  <a:close/>
                  <a:moveTo>
                    <a:pt x="0" y="0"/>
                  </a:move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8" name="Freeform 55045"/>
            <p:cNvSpPr>
              <a:spLocks noEditPoints="1"/>
            </p:cNvSpPr>
            <p:nvPr/>
          </p:nvSpPr>
          <p:spPr bwMode="auto">
            <a:xfrm>
              <a:off x="4473572" y="1865320"/>
              <a:ext cx="979487" cy="1263653"/>
            </a:xfrm>
            <a:custGeom>
              <a:avLst/>
              <a:gdLst>
                <a:gd name="T0" fmla="*/ 107 w 617"/>
                <a:gd name="T1" fmla="*/ 774 h 796"/>
                <a:gd name="T2" fmla="*/ 102 w 617"/>
                <a:gd name="T3" fmla="*/ 779 h 796"/>
                <a:gd name="T4" fmla="*/ 100 w 617"/>
                <a:gd name="T5" fmla="*/ 782 h 796"/>
                <a:gd name="T6" fmla="*/ 93 w 617"/>
                <a:gd name="T7" fmla="*/ 786 h 796"/>
                <a:gd name="T8" fmla="*/ 74 w 617"/>
                <a:gd name="T9" fmla="*/ 793 h 796"/>
                <a:gd name="T10" fmla="*/ 67 w 617"/>
                <a:gd name="T11" fmla="*/ 793 h 796"/>
                <a:gd name="T12" fmla="*/ 59 w 617"/>
                <a:gd name="T13" fmla="*/ 791 h 796"/>
                <a:gd name="T14" fmla="*/ 50 w 617"/>
                <a:gd name="T15" fmla="*/ 784 h 796"/>
                <a:gd name="T16" fmla="*/ 55 w 617"/>
                <a:gd name="T17" fmla="*/ 793 h 796"/>
                <a:gd name="T18" fmla="*/ 52 w 617"/>
                <a:gd name="T19" fmla="*/ 763 h 796"/>
                <a:gd name="T20" fmla="*/ 78 w 617"/>
                <a:gd name="T21" fmla="*/ 746 h 796"/>
                <a:gd name="T22" fmla="*/ 102 w 617"/>
                <a:gd name="T23" fmla="*/ 758 h 796"/>
                <a:gd name="T24" fmla="*/ 112 w 617"/>
                <a:gd name="T25" fmla="*/ 774 h 796"/>
                <a:gd name="T26" fmla="*/ 112 w 617"/>
                <a:gd name="T27" fmla="*/ 770 h 796"/>
                <a:gd name="T28" fmla="*/ 427 w 617"/>
                <a:gd name="T29" fmla="*/ 708 h 796"/>
                <a:gd name="T30" fmla="*/ 451 w 617"/>
                <a:gd name="T31" fmla="*/ 722 h 796"/>
                <a:gd name="T32" fmla="*/ 441 w 617"/>
                <a:gd name="T33" fmla="*/ 734 h 796"/>
                <a:gd name="T34" fmla="*/ 425 w 617"/>
                <a:gd name="T35" fmla="*/ 729 h 796"/>
                <a:gd name="T36" fmla="*/ 406 w 617"/>
                <a:gd name="T37" fmla="*/ 720 h 796"/>
                <a:gd name="T38" fmla="*/ 394 w 617"/>
                <a:gd name="T39" fmla="*/ 717 h 796"/>
                <a:gd name="T40" fmla="*/ 387 w 617"/>
                <a:gd name="T41" fmla="*/ 708 h 796"/>
                <a:gd name="T42" fmla="*/ 384 w 617"/>
                <a:gd name="T43" fmla="*/ 703 h 796"/>
                <a:gd name="T44" fmla="*/ 394 w 617"/>
                <a:gd name="T45" fmla="*/ 701 h 796"/>
                <a:gd name="T46" fmla="*/ 406 w 617"/>
                <a:gd name="T47" fmla="*/ 691 h 796"/>
                <a:gd name="T48" fmla="*/ 510 w 617"/>
                <a:gd name="T49" fmla="*/ 33 h 796"/>
                <a:gd name="T50" fmla="*/ 491 w 617"/>
                <a:gd name="T51" fmla="*/ 50 h 796"/>
                <a:gd name="T52" fmla="*/ 458 w 617"/>
                <a:gd name="T53" fmla="*/ 57 h 796"/>
                <a:gd name="T54" fmla="*/ 422 w 617"/>
                <a:gd name="T55" fmla="*/ 55 h 796"/>
                <a:gd name="T56" fmla="*/ 420 w 617"/>
                <a:gd name="T57" fmla="*/ 36 h 796"/>
                <a:gd name="T58" fmla="*/ 434 w 617"/>
                <a:gd name="T59" fmla="*/ 28 h 796"/>
                <a:gd name="T60" fmla="*/ 449 w 617"/>
                <a:gd name="T61" fmla="*/ 31 h 796"/>
                <a:gd name="T62" fmla="*/ 486 w 617"/>
                <a:gd name="T63" fmla="*/ 26 h 796"/>
                <a:gd name="T64" fmla="*/ 121 w 617"/>
                <a:gd name="T65" fmla="*/ 28 h 796"/>
                <a:gd name="T66" fmla="*/ 123 w 617"/>
                <a:gd name="T67" fmla="*/ 33 h 796"/>
                <a:gd name="T68" fmla="*/ 152 w 617"/>
                <a:gd name="T69" fmla="*/ 28 h 796"/>
                <a:gd name="T70" fmla="*/ 150 w 617"/>
                <a:gd name="T71" fmla="*/ 40 h 796"/>
                <a:gd name="T72" fmla="*/ 109 w 617"/>
                <a:gd name="T73" fmla="*/ 47 h 796"/>
                <a:gd name="T74" fmla="*/ 95 w 617"/>
                <a:gd name="T75" fmla="*/ 59 h 796"/>
                <a:gd name="T76" fmla="*/ 67 w 617"/>
                <a:gd name="T77" fmla="*/ 62 h 796"/>
                <a:gd name="T78" fmla="*/ 74 w 617"/>
                <a:gd name="T79" fmla="*/ 66 h 796"/>
                <a:gd name="T80" fmla="*/ 67 w 617"/>
                <a:gd name="T81" fmla="*/ 74 h 796"/>
                <a:gd name="T82" fmla="*/ 45 w 617"/>
                <a:gd name="T83" fmla="*/ 76 h 796"/>
                <a:gd name="T84" fmla="*/ 48 w 617"/>
                <a:gd name="T85" fmla="*/ 69 h 796"/>
                <a:gd name="T86" fmla="*/ 26 w 617"/>
                <a:gd name="T87" fmla="*/ 66 h 796"/>
                <a:gd name="T88" fmla="*/ 7 w 617"/>
                <a:gd name="T89" fmla="*/ 66 h 796"/>
                <a:gd name="T90" fmla="*/ 21 w 617"/>
                <a:gd name="T91" fmla="*/ 62 h 796"/>
                <a:gd name="T92" fmla="*/ 48 w 617"/>
                <a:gd name="T93" fmla="*/ 59 h 796"/>
                <a:gd name="T94" fmla="*/ 50 w 617"/>
                <a:gd name="T95" fmla="*/ 55 h 796"/>
                <a:gd name="T96" fmla="*/ 26 w 617"/>
                <a:gd name="T97" fmla="*/ 50 h 796"/>
                <a:gd name="T98" fmla="*/ 64 w 617"/>
                <a:gd name="T99" fmla="*/ 47 h 796"/>
                <a:gd name="T100" fmla="*/ 83 w 617"/>
                <a:gd name="T101" fmla="*/ 43 h 796"/>
                <a:gd name="T102" fmla="*/ 95 w 617"/>
                <a:gd name="T103" fmla="*/ 36 h 796"/>
                <a:gd name="T104" fmla="*/ 81 w 617"/>
                <a:gd name="T105" fmla="*/ 33 h 796"/>
                <a:gd name="T106" fmla="*/ 90 w 617"/>
                <a:gd name="T107" fmla="*/ 26 h 796"/>
                <a:gd name="T108" fmla="*/ 123 w 617"/>
                <a:gd name="T109" fmla="*/ 19 h 796"/>
                <a:gd name="T110" fmla="*/ 116 w 617"/>
                <a:gd name="T111" fmla="*/ 24 h 796"/>
                <a:gd name="T112" fmla="*/ 596 w 617"/>
                <a:gd name="T113" fmla="*/ 2 h 796"/>
                <a:gd name="T114" fmla="*/ 612 w 617"/>
                <a:gd name="T115" fmla="*/ 14 h 796"/>
                <a:gd name="T116" fmla="*/ 593 w 617"/>
                <a:gd name="T117" fmla="*/ 31 h 796"/>
                <a:gd name="T118" fmla="*/ 560 w 617"/>
                <a:gd name="T119" fmla="*/ 36 h 796"/>
                <a:gd name="T120" fmla="*/ 529 w 617"/>
                <a:gd name="T121" fmla="*/ 33 h 796"/>
                <a:gd name="T122" fmla="*/ 543 w 617"/>
                <a:gd name="T123" fmla="*/ 17 h 796"/>
                <a:gd name="T124" fmla="*/ 574 w 617"/>
                <a:gd name="T125" fmla="*/ 1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7" h="796">
                  <a:moveTo>
                    <a:pt x="112" y="770"/>
                  </a:moveTo>
                  <a:lnTo>
                    <a:pt x="109" y="770"/>
                  </a:lnTo>
                  <a:lnTo>
                    <a:pt x="112" y="770"/>
                  </a:lnTo>
                  <a:lnTo>
                    <a:pt x="109" y="770"/>
                  </a:lnTo>
                  <a:lnTo>
                    <a:pt x="112" y="770"/>
                  </a:lnTo>
                  <a:lnTo>
                    <a:pt x="109" y="770"/>
                  </a:lnTo>
                  <a:lnTo>
                    <a:pt x="109" y="772"/>
                  </a:lnTo>
                  <a:lnTo>
                    <a:pt x="109" y="770"/>
                  </a:lnTo>
                  <a:lnTo>
                    <a:pt x="109" y="772"/>
                  </a:lnTo>
                  <a:lnTo>
                    <a:pt x="107" y="772"/>
                  </a:lnTo>
                  <a:lnTo>
                    <a:pt x="107" y="774"/>
                  </a:lnTo>
                  <a:lnTo>
                    <a:pt x="107" y="772"/>
                  </a:lnTo>
                  <a:lnTo>
                    <a:pt x="107" y="774"/>
                  </a:lnTo>
                  <a:lnTo>
                    <a:pt x="107" y="772"/>
                  </a:lnTo>
                  <a:lnTo>
                    <a:pt x="107" y="774"/>
                  </a:lnTo>
                  <a:lnTo>
                    <a:pt x="107" y="772"/>
                  </a:lnTo>
                  <a:lnTo>
                    <a:pt x="104" y="772"/>
                  </a:lnTo>
                  <a:lnTo>
                    <a:pt x="104" y="774"/>
                  </a:lnTo>
                  <a:lnTo>
                    <a:pt x="104" y="777"/>
                  </a:lnTo>
                  <a:lnTo>
                    <a:pt x="104" y="774"/>
                  </a:lnTo>
                  <a:lnTo>
                    <a:pt x="107" y="777"/>
                  </a:lnTo>
                  <a:lnTo>
                    <a:pt x="104" y="777"/>
                  </a:lnTo>
                  <a:lnTo>
                    <a:pt x="107" y="777"/>
                  </a:lnTo>
                  <a:lnTo>
                    <a:pt x="104" y="777"/>
                  </a:lnTo>
                  <a:lnTo>
                    <a:pt x="107" y="777"/>
                  </a:lnTo>
                  <a:lnTo>
                    <a:pt x="104" y="777"/>
                  </a:lnTo>
                  <a:lnTo>
                    <a:pt x="107" y="777"/>
                  </a:lnTo>
                  <a:lnTo>
                    <a:pt x="104" y="777"/>
                  </a:lnTo>
                  <a:lnTo>
                    <a:pt x="104" y="779"/>
                  </a:lnTo>
                  <a:lnTo>
                    <a:pt x="102" y="779"/>
                  </a:lnTo>
                  <a:lnTo>
                    <a:pt x="104" y="779"/>
                  </a:lnTo>
                  <a:lnTo>
                    <a:pt x="102" y="779"/>
                  </a:lnTo>
                  <a:lnTo>
                    <a:pt x="104" y="779"/>
                  </a:lnTo>
                  <a:lnTo>
                    <a:pt x="102" y="779"/>
                  </a:lnTo>
                  <a:lnTo>
                    <a:pt x="104" y="779"/>
                  </a:lnTo>
                  <a:lnTo>
                    <a:pt x="102" y="779"/>
                  </a:lnTo>
                  <a:lnTo>
                    <a:pt x="104" y="779"/>
                  </a:lnTo>
                  <a:lnTo>
                    <a:pt x="102" y="779"/>
                  </a:lnTo>
                  <a:lnTo>
                    <a:pt x="100" y="779"/>
                  </a:lnTo>
                  <a:lnTo>
                    <a:pt x="102" y="779"/>
                  </a:lnTo>
                  <a:lnTo>
                    <a:pt x="100" y="779"/>
                  </a:lnTo>
                  <a:lnTo>
                    <a:pt x="102" y="779"/>
                  </a:lnTo>
                  <a:lnTo>
                    <a:pt x="100" y="779"/>
                  </a:lnTo>
                  <a:lnTo>
                    <a:pt x="102" y="779"/>
                  </a:lnTo>
                  <a:lnTo>
                    <a:pt x="100" y="782"/>
                  </a:lnTo>
                  <a:lnTo>
                    <a:pt x="100" y="779"/>
                  </a:lnTo>
                  <a:lnTo>
                    <a:pt x="100" y="782"/>
                  </a:lnTo>
                  <a:lnTo>
                    <a:pt x="100" y="784"/>
                  </a:lnTo>
                  <a:lnTo>
                    <a:pt x="97" y="784"/>
                  </a:lnTo>
                  <a:lnTo>
                    <a:pt x="100" y="784"/>
                  </a:lnTo>
                  <a:lnTo>
                    <a:pt x="97" y="784"/>
                  </a:lnTo>
                  <a:lnTo>
                    <a:pt x="100" y="784"/>
                  </a:lnTo>
                  <a:lnTo>
                    <a:pt x="97" y="784"/>
                  </a:lnTo>
                  <a:lnTo>
                    <a:pt x="97" y="786"/>
                  </a:lnTo>
                  <a:lnTo>
                    <a:pt x="97" y="784"/>
                  </a:lnTo>
                  <a:lnTo>
                    <a:pt x="97" y="786"/>
                  </a:lnTo>
                  <a:lnTo>
                    <a:pt x="95" y="786"/>
                  </a:lnTo>
                  <a:lnTo>
                    <a:pt x="93" y="786"/>
                  </a:lnTo>
                  <a:lnTo>
                    <a:pt x="95" y="786"/>
                  </a:lnTo>
                  <a:lnTo>
                    <a:pt x="93" y="786"/>
                  </a:lnTo>
                  <a:lnTo>
                    <a:pt x="93" y="789"/>
                  </a:lnTo>
                  <a:lnTo>
                    <a:pt x="90" y="789"/>
                  </a:lnTo>
                  <a:lnTo>
                    <a:pt x="90" y="786"/>
                  </a:lnTo>
                  <a:lnTo>
                    <a:pt x="90" y="789"/>
                  </a:lnTo>
                  <a:lnTo>
                    <a:pt x="88" y="789"/>
                  </a:lnTo>
                  <a:lnTo>
                    <a:pt x="85" y="789"/>
                  </a:lnTo>
                  <a:lnTo>
                    <a:pt x="83" y="789"/>
                  </a:lnTo>
                  <a:lnTo>
                    <a:pt x="83" y="791"/>
                  </a:lnTo>
                  <a:lnTo>
                    <a:pt x="81" y="791"/>
                  </a:lnTo>
                  <a:lnTo>
                    <a:pt x="78" y="791"/>
                  </a:lnTo>
                  <a:lnTo>
                    <a:pt x="76" y="791"/>
                  </a:lnTo>
                  <a:lnTo>
                    <a:pt x="74" y="791"/>
                  </a:lnTo>
                  <a:lnTo>
                    <a:pt x="74" y="793"/>
                  </a:lnTo>
                  <a:lnTo>
                    <a:pt x="71" y="793"/>
                  </a:lnTo>
                  <a:lnTo>
                    <a:pt x="74" y="793"/>
                  </a:lnTo>
                  <a:lnTo>
                    <a:pt x="74" y="796"/>
                  </a:lnTo>
                  <a:lnTo>
                    <a:pt x="74" y="793"/>
                  </a:lnTo>
                  <a:lnTo>
                    <a:pt x="74" y="796"/>
                  </a:lnTo>
                  <a:lnTo>
                    <a:pt x="74" y="793"/>
                  </a:lnTo>
                  <a:lnTo>
                    <a:pt x="74" y="796"/>
                  </a:lnTo>
                  <a:lnTo>
                    <a:pt x="74" y="793"/>
                  </a:lnTo>
                  <a:lnTo>
                    <a:pt x="74" y="796"/>
                  </a:lnTo>
                  <a:lnTo>
                    <a:pt x="74" y="793"/>
                  </a:lnTo>
                  <a:lnTo>
                    <a:pt x="76" y="796"/>
                  </a:lnTo>
                  <a:lnTo>
                    <a:pt x="78" y="796"/>
                  </a:lnTo>
                  <a:lnTo>
                    <a:pt x="74" y="796"/>
                  </a:lnTo>
                  <a:lnTo>
                    <a:pt x="71" y="796"/>
                  </a:lnTo>
                  <a:lnTo>
                    <a:pt x="67" y="793"/>
                  </a:lnTo>
                  <a:lnTo>
                    <a:pt x="69" y="793"/>
                  </a:lnTo>
                  <a:lnTo>
                    <a:pt x="67" y="793"/>
                  </a:lnTo>
                  <a:lnTo>
                    <a:pt x="64" y="791"/>
                  </a:lnTo>
                  <a:lnTo>
                    <a:pt x="67" y="791"/>
                  </a:lnTo>
                  <a:lnTo>
                    <a:pt x="64" y="791"/>
                  </a:lnTo>
                  <a:lnTo>
                    <a:pt x="67" y="791"/>
                  </a:lnTo>
                  <a:lnTo>
                    <a:pt x="64" y="791"/>
                  </a:lnTo>
                  <a:lnTo>
                    <a:pt x="67" y="793"/>
                  </a:lnTo>
                  <a:lnTo>
                    <a:pt x="64" y="793"/>
                  </a:lnTo>
                  <a:lnTo>
                    <a:pt x="62" y="793"/>
                  </a:lnTo>
                  <a:lnTo>
                    <a:pt x="59" y="793"/>
                  </a:lnTo>
                  <a:lnTo>
                    <a:pt x="57" y="793"/>
                  </a:lnTo>
                  <a:lnTo>
                    <a:pt x="55" y="791"/>
                  </a:lnTo>
                  <a:lnTo>
                    <a:pt x="57" y="791"/>
                  </a:lnTo>
                  <a:lnTo>
                    <a:pt x="59" y="791"/>
                  </a:lnTo>
                  <a:lnTo>
                    <a:pt x="57" y="791"/>
                  </a:lnTo>
                  <a:lnTo>
                    <a:pt x="59" y="791"/>
                  </a:lnTo>
                  <a:lnTo>
                    <a:pt x="59" y="793"/>
                  </a:lnTo>
                  <a:lnTo>
                    <a:pt x="59" y="791"/>
                  </a:lnTo>
                  <a:lnTo>
                    <a:pt x="59" y="793"/>
                  </a:lnTo>
                  <a:lnTo>
                    <a:pt x="62" y="793"/>
                  </a:lnTo>
                  <a:lnTo>
                    <a:pt x="62" y="791"/>
                  </a:lnTo>
                  <a:lnTo>
                    <a:pt x="59" y="793"/>
                  </a:lnTo>
                  <a:lnTo>
                    <a:pt x="59" y="791"/>
                  </a:lnTo>
                  <a:lnTo>
                    <a:pt x="57" y="791"/>
                  </a:lnTo>
                  <a:lnTo>
                    <a:pt x="57" y="789"/>
                  </a:lnTo>
                  <a:lnTo>
                    <a:pt x="55" y="789"/>
                  </a:lnTo>
                  <a:lnTo>
                    <a:pt x="57" y="789"/>
                  </a:lnTo>
                  <a:lnTo>
                    <a:pt x="55" y="789"/>
                  </a:lnTo>
                  <a:lnTo>
                    <a:pt x="52" y="786"/>
                  </a:lnTo>
                  <a:lnTo>
                    <a:pt x="50" y="786"/>
                  </a:lnTo>
                  <a:lnTo>
                    <a:pt x="50" y="784"/>
                  </a:lnTo>
                  <a:lnTo>
                    <a:pt x="52" y="786"/>
                  </a:lnTo>
                  <a:lnTo>
                    <a:pt x="52" y="784"/>
                  </a:lnTo>
                  <a:lnTo>
                    <a:pt x="50" y="784"/>
                  </a:lnTo>
                  <a:lnTo>
                    <a:pt x="50" y="786"/>
                  </a:lnTo>
                  <a:lnTo>
                    <a:pt x="50" y="789"/>
                  </a:lnTo>
                  <a:lnTo>
                    <a:pt x="52" y="789"/>
                  </a:lnTo>
                  <a:lnTo>
                    <a:pt x="50" y="789"/>
                  </a:lnTo>
                  <a:lnTo>
                    <a:pt x="52" y="789"/>
                  </a:lnTo>
                  <a:lnTo>
                    <a:pt x="52" y="791"/>
                  </a:lnTo>
                  <a:lnTo>
                    <a:pt x="52" y="789"/>
                  </a:lnTo>
                  <a:lnTo>
                    <a:pt x="52" y="791"/>
                  </a:lnTo>
                  <a:lnTo>
                    <a:pt x="55" y="791"/>
                  </a:lnTo>
                  <a:lnTo>
                    <a:pt x="52" y="791"/>
                  </a:lnTo>
                  <a:lnTo>
                    <a:pt x="55" y="791"/>
                  </a:lnTo>
                  <a:lnTo>
                    <a:pt x="55" y="793"/>
                  </a:lnTo>
                  <a:lnTo>
                    <a:pt x="57" y="793"/>
                  </a:lnTo>
                  <a:lnTo>
                    <a:pt x="55" y="793"/>
                  </a:lnTo>
                  <a:lnTo>
                    <a:pt x="55" y="791"/>
                  </a:lnTo>
                  <a:lnTo>
                    <a:pt x="52" y="791"/>
                  </a:lnTo>
                  <a:lnTo>
                    <a:pt x="50" y="789"/>
                  </a:lnTo>
                  <a:lnTo>
                    <a:pt x="50" y="786"/>
                  </a:lnTo>
                  <a:lnTo>
                    <a:pt x="50" y="784"/>
                  </a:lnTo>
                  <a:lnTo>
                    <a:pt x="50" y="782"/>
                  </a:lnTo>
                  <a:lnTo>
                    <a:pt x="50" y="779"/>
                  </a:lnTo>
                  <a:lnTo>
                    <a:pt x="50" y="777"/>
                  </a:lnTo>
                  <a:lnTo>
                    <a:pt x="50" y="774"/>
                  </a:lnTo>
                  <a:lnTo>
                    <a:pt x="50" y="772"/>
                  </a:lnTo>
                  <a:lnTo>
                    <a:pt x="50" y="770"/>
                  </a:lnTo>
                  <a:lnTo>
                    <a:pt x="50" y="767"/>
                  </a:lnTo>
                  <a:lnTo>
                    <a:pt x="52" y="763"/>
                  </a:lnTo>
                  <a:lnTo>
                    <a:pt x="52" y="760"/>
                  </a:lnTo>
                  <a:lnTo>
                    <a:pt x="55" y="760"/>
                  </a:lnTo>
                  <a:lnTo>
                    <a:pt x="55" y="758"/>
                  </a:lnTo>
                  <a:lnTo>
                    <a:pt x="57" y="758"/>
                  </a:lnTo>
                  <a:lnTo>
                    <a:pt x="57" y="755"/>
                  </a:lnTo>
                  <a:lnTo>
                    <a:pt x="59" y="755"/>
                  </a:lnTo>
                  <a:lnTo>
                    <a:pt x="59" y="753"/>
                  </a:lnTo>
                  <a:lnTo>
                    <a:pt x="62" y="753"/>
                  </a:lnTo>
                  <a:lnTo>
                    <a:pt x="67" y="751"/>
                  </a:lnTo>
                  <a:lnTo>
                    <a:pt x="67" y="748"/>
                  </a:lnTo>
                  <a:lnTo>
                    <a:pt x="69" y="748"/>
                  </a:lnTo>
                  <a:lnTo>
                    <a:pt x="71" y="748"/>
                  </a:lnTo>
                  <a:lnTo>
                    <a:pt x="74" y="748"/>
                  </a:lnTo>
                  <a:lnTo>
                    <a:pt x="74" y="746"/>
                  </a:lnTo>
                  <a:lnTo>
                    <a:pt x="78" y="746"/>
                  </a:lnTo>
                  <a:lnTo>
                    <a:pt x="78" y="748"/>
                  </a:lnTo>
                  <a:lnTo>
                    <a:pt x="78" y="746"/>
                  </a:lnTo>
                  <a:lnTo>
                    <a:pt x="83" y="746"/>
                  </a:lnTo>
                  <a:lnTo>
                    <a:pt x="83" y="748"/>
                  </a:lnTo>
                  <a:lnTo>
                    <a:pt x="83" y="746"/>
                  </a:lnTo>
                  <a:lnTo>
                    <a:pt x="85" y="748"/>
                  </a:lnTo>
                  <a:lnTo>
                    <a:pt x="88" y="748"/>
                  </a:lnTo>
                  <a:lnTo>
                    <a:pt x="90" y="748"/>
                  </a:lnTo>
                  <a:lnTo>
                    <a:pt x="90" y="751"/>
                  </a:lnTo>
                  <a:lnTo>
                    <a:pt x="93" y="751"/>
                  </a:lnTo>
                  <a:lnTo>
                    <a:pt x="95" y="753"/>
                  </a:lnTo>
                  <a:lnTo>
                    <a:pt x="97" y="753"/>
                  </a:lnTo>
                  <a:lnTo>
                    <a:pt x="100" y="755"/>
                  </a:lnTo>
                  <a:lnTo>
                    <a:pt x="102" y="755"/>
                  </a:lnTo>
                  <a:lnTo>
                    <a:pt x="102" y="758"/>
                  </a:lnTo>
                  <a:lnTo>
                    <a:pt x="104" y="758"/>
                  </a:lnTo>
                  <a:lnTo>
                    <a:pt x="107" y="758"/>
                  </a:lnTo>
                  <a:lnTo>
                    <a:pt x="109" y="760"/>
                  </a:lnTo>
                  <a:lnTo>
                    <a:pt x="112" y="760"/>
                  </a:lnTo>
                  <a:lnTo>
                    <a:pt x="112" y="763"/>
                  </a:lnTo>
                  <a:lnTo>
                    <a:pt x="114" y="763"/>
                  </a:lnTo>
                  <a:lnTo>
                    <a:pt x="116" y="765"/>
                  </a:lnTo>
                  <a:lnTo>
                    <a:pt x="116" y="767"/>
                  </a:lnTo>
                  <a:lnTo>
                    <a:pt x="119" y="767"/>
                  </a:lnTo>
                  <a:lnTo>
                    <a:pt x="119" y="770"/>
                  </a:lnTo>
                  <a:lnTo>
                    <a:pt x="119" y="772"/>
                  </a:lnTo>
                  <a:lnTo>
                    <a:pt x="116" y="772"/>
                  </a:lnTo>
                  <a:lnTo>
                    <a:pt x="114" y="774"/>
                  </a:lnTo>
                  <a:lnTo>
                    <a:pt x="112" y="777"/>
                  </a:lnTo>
                  <a:lnTo>
                    <a:pt x="112" y="774"/>
                  </a:lnTo>
                  <a:lnTo>
                    <a:pt x="114" y="774"/>
                  </a:lnTo>
                  <a:lnTo>
                    <a:pt x="114" y="772"/>
                  </a:lnTo>
                  <a:lnTo>
                    <a:pt x="114" y="774"/>
                  </a:lnTo>
                  <a:lnTo>
                    <a:pt x="112" y="774"/>
                  </a:lnTo>
                  <a:lnTo>
                    <a:pt x="114" y="774"/>
                  </a:lnTo>
                  <a:lnTo>
                    <a:pt x="112" y="774"/>
                  </a:lnTo>
                  <a:lnTo>
                    <a:pt x="114" y="772"/>
                  </a:lnTo>
                  <a:lnTo>
                    <a:pt x="114" y="770"/>
                  </a:lnTo>
                  <a:lnTo>
                    <a:pt x="114" y="767"/>
                  </a:lnTo>
                  <a:lnTo>
                    <a:pt x="114" y="770"/>
                  </a:lnTo>
                  <a:lnTo>
                    <a:pt x="114" y="767"/>
                  </a:lnTo>
                  <a:lnTo>
                    <a:pt x="114" y="770"/>
                  </a:lnTo>
                  <a:lnTo>
                    <a:pt x="112" y="770"/>
                  </a:lnTo>
                  <a:lnTo>
                    <a:pt x="114" y="770"/>
                  </a:lnTo>
                  <a:lnTo>
                    <a:pt x="112" y="770"/>
                  </a:lnTo>
                  <a:close/>
                  <a:moveTo>
                    <a:pt x="408" y="691"/>
                  </a:moveTo>
                  <a:lnTo>
                    <a:pt x="406" y="691"/>
                  </a:lnTo>
                  <a:lnTo>
                    <a:pt x="408" y="691"/>
                  </a:lnTo>
                  <a:lnTo>
                    <a:pt x="411" y="694"/>
                  </a:lnTo>
                  <a:lnTo>
                    <a:pt x="413" y="694"/>
                  </a:lnTo>
                  <a:lnTo>
                    <a:pt x="415" y="696"/>
                  </a:lnTo>
                  <a:lnTo>
                    <a:pt x="418" y="696"/>
                  </a:lnTo>
                  <a:lnTo>
                    <a:pt x="418" y="698"/>
                  </a:lnTo>
                  <a:lnTo>
                    <a:pt x="420" y="701"/>
                  </a:lnTo>
                  <a:lnTo>
                    <a:pt x="422" y="701"/>
                  </a:lnTo>
                  <a:lnTo>
                    <a:pt x="422" y="703"/>
                  </a:lnTo>
                  <a:lnTo>
                    <a:pt x="425" y="703"/>
                  </a:lnTo>
                  <a:lnTo>
                    <a:pt x="425" y="706"/>
                  </a:lnTo>
                  <a:lnTo>
                    <a:pt x="427" y="706"/>
                  </a:lnTo>
                  <a:lnTo>
                    <a:pt x="427" y="708"/>
                  </a:lnTo>
                  <a:lnTo>
                    <a:pt x="430" y="708"/>
                  </a:lnTo>
                  <a:lnTo>
                    <a:pt x="432" y="708"/>
                  </a:lnTo>
                  <a:lnTo>
                    <a:pt x="432" y="710"/>
                  </a:lnTo>
                  <a:lnTo>
                    <a:pt x="434" y="710"/>
                  </a:lnTo>
                  <a:lnTo>
                    <a:pt x="434" y="713"/>
                  </a:lnTo>
                  <a:lnTo>
                    <a:pt x="437" y="713"/>
                  </a:lnTo>
                  <a:lnTo>
                    <a:pt x="439" y="713"/>
                  </a:lnTo>
                  <a:lnTo>
                    <a:pt x="441" y="715"/>
                  </a:lnTo>
                  <a:lnTo>
                    <a:pt x="444" y="715"/>
                  </a:lnTo>
                  <a:lnTo>
                    <a:pt x="444" y="717"/>
                  </a:lnTo>
                  <a:lnTo>
                    <a:pt x="446" y="720"/>
                  </a:lnTo>
                  <a:lnTo>
                    <a:pt x="449" y="720"/>
                  </a:lnTo>
                  <a:lnTo>
                    <a:pt x="449" y="722"/>
                  </a:lnTo>
                  <a:lnTo>
                    <a:pt x="451" y="720"/>
                  </a:lnTo>
                  <a:lnTo>
                    <a:pt x="451" y="722"/>
                  </a:lnTo>
                  <a:lnTo>
                    <a:pt x="453" y="722"/>
                  </a:lnTo>
                  <a:lnTo>
                    <a:pt x="453" y="725"/>
                  </a:lnTo>
                  <a:lnTo>
                    <a:pt x="453" y="727"/>
                  </a:lnTo>
                  <a:lnTo>
                    <a:pt x="456" y="727"/>
                  </a:lnTo>
                  <a:lnTo>
                    <a:pt x="456" y="729"/>
                  </a:lnTo>
                  <a:lnTo>
                    <a:pt x="453" y="732"/>
                  </a:lnTo>
                  <a:lnTo>
                    <a:pt x="453" y="734"/>
                  </a:lnTo>
                  <a:lnTo>
                    <a:pt x="451" y="734"/>
                  </a:lnTo>
                  <a:lnTo>
                    <a:pt x="449" y="734"/>
                  </a:lnTo>
                  <a:lnTo>
                    <a:pt x="449" y="736"/>
                  </a:lnTo>
                  <a:lnTo>
                    <a:pt x="446" y="736"/>
                  </a:lnTo>
                  <a:lnTo>
                    <a:pt x="444" y="736"/>
                  </a:lnTo>
                  <a:lnTo>
                    <a:pt x="441" y="734"/>
                  </a:lnTo>
                  <a:lnTo>
                    <a:pt x="439" y="734"/>
                  </a:lnTo>
                  <a:lnTo>
                    <a:pt x="441" y="734"/>
                  </a:lnTo>
                  <a:lnTo>
                    <a:pt x="439" y="734"/>
                  </a:lnTo>
                  <a:lnTo>
                    <a:pt x="437" y="734"/>
                  </a:lnTo>
                  <a:lnTo>
                    <a:pt x="439" y="736"/>
                  </a:lnTo>
                  <a:lnTo>
                    <a:pt x="437" y="734"/>
                  </a:lnTo>
                  <a:lnTo>
                    <a:pt x="437" y="736"/>
                  </a:lnTo>
                  <a:lnTo>
                    <a:pt x="434" y="736"/>
                  </a:lnTo>
                  <a:lnTo>
                    <a:pt x="432" y="736"/>
                  </a:lnTo>
                  <a:lnTo>
                    <a:pt x="430" y="736"/>
                  </a:lnTo>
                  <a:lnTo>
                    <a:pt x="430" y="734"/>
                  </a:lnTo>
                  <a:lnTo>
                    <a:pt x="427" y="734"/>
                  </a:lnTo>
                  <a:lnTo>
                    <a:pt x="425" y="734"/>
                  </a:lnTo>
                  <a:lnTo>
                    <a:pt x="425" y="732"/>
                  </a:lnTo>
                  <a:lnTo>
                    <a:pt x="425" y="729"/>
                  </a:lnTo>
                  <a:lnTo>
                    <a:pt x="425" y="732"/>
                  </a:lnTo>
                  <a:lnTo>
                    <a:pt x="425" y="729"/>
                  </a:lnTo>
                  <a:lnTo>
                    <a:pt x="427" y="729"/>
                  </a:lnTo>
                  <a:lnTo>
                    <a:pt x="427" y="732"/>
                  </a:lnTo>
                  <a:lnTo>
                    <a:pt x="430" y="729"/>
                  </a:lnTo>
                  <a:lnTo>
                    <a:pt x="427" y="729"/>
                  </a:lnTo>
                  <a:lnTo>
                    <a:pt x="425" y="727"/>
                  </a:lnTo>
                  <a:lnTo>
                    <a:pt x="422" y="725"/>
                  </a:lnTo>
                  <a:lnTo>
                    <a:pt x="420" y="725"/>
                  </a:lnTo>
                  <a:lnTo>
                    <a:pt x="418" y="725"/>
                  </a:lnTo>
                  <a:lnTo>
                    <a:pt x="415" y="725"/>
                  </a:lnTo>
                  <a:lnTo>
                    <a:pt x="413" y="725"/>
                  </a:lnTo>
                  <a:lnTo>
                    <a:pt x="413" y="722"/>
                  </a:lnTo>
                  <a:lnTo>
                    <a:pt x="411" y="722"/>
                  </a:lnTo>
                  <a:lnTo>
                    <a:pt x="408" y="722"/>
                  </a:lnTo>
                  <a:lnTo>
                    <a:pt x="406" y="722"/>
                  </a:lnTo>
                  <a:lnTo>
                    <a:pt x="406" y="720"/>
                  </a:lnTo>
                  <a:lnTo>
                    <a:pt x="406" y="722"/>
                  </a:lnTo>
                  <a:lnTo>
                    <a:pt x="403" y="722"/>
                  </a:lnTo>
                  <a:lnTo>
                    <a:pt x="406" y="722"/>
                  </a:lnTo>
                  <a:lnTo>
                    <a:pt x="408" y="722"/>
                  </a:lnTo>
                  <a:lnTo>
                    <a:pt x="408" y="725"/>
                  </a:lnTo>
                  <a:lnTo>
                    <a:pt x="411" y="725"/>
                  </a:lnTo>
                  <a:lnTo>
                    <a:pt x="411" y="727"/>
                  </a:lnTo>
                  <a:lnTo>
                    <a:pt x="408" y="727"/>
                  </a:lnTo>
                  <a:lnTo>
                    <a:pt x="406" y="727"/>
                  </a:lnTo>
                  <a:lnTo>
                    <a:pt x="406" y="725"/>
                  </a:lnTo>
                  <a:lnTo>
                    <a:pt x="403" y="722"/>
                  </a:lnTo>
                  <a:lnTo>
                    <a:pt x="401" y="720"/>
                  </a:lnTo>
                  <a:lnTo>
                    <a:pt x="399" y="720"/>
                  </a:lnTo>
                  <a:lnTo>
                    <a:pt x="396" y="717"/>
                  </a:lnTo>
                  <a:lnTo>
                    <a:pt x="394" y="717"/>
                  </a:lnTo>
                  <a:lnTo>
                    <a:pt x="394" y="715"/>
                  </a:lnTo>
                  <a:lnTo>
                    <a:pt x="392" y="713"/>
                  </a:lnTo>
                  <a:lnTo>
                    <a:pt x="392" y="710"/>
                  </a:lnTo>
                  <a:lnTo>
                    <a:pt x="394" y="713"/>
                  </a:lnTo>
                  <a:lnTo>
                    <a:pt x="392" y="710"/>
                  </a:lnTo>
                  <a:lnTo>
                    <a:pt x="389" y="710"/>
                  </a:lnTo>
                  <a:lnTo>
                    <a:pt x="392" y="710"/>
                  </a:lnTo>
                  <a:lnTo>
                    <a:pt x="394" y="710"/>
                  </a:lnTo>
                  <a:lnTo>
                    <a:pt x="392" y="708"/>
                  </a:lnTo>
                  <a:lnTo>
                    <a:pt x="392" y="706"/>
                  </a:lnTo>
                  <a:lnTo>
                    <a:pt x="392" y="708"/>
                  </a:lnTo>
                  <a:lnTo>
                    <a:pt x="389" y="708"/>
                  </a:lnTo>
                  <a:lnTo>
                    <a:pt x="389" y="706"/>
                  </a:lnTo>
                  <a:lnTo>
                    <a:pt x="389" y="708"/>
                  </a:lnTo>
                  <a:lnTo>
                    <a:pt x="387" y="708"/>
                  </a:lnTo>
                  <a:lnTo>
                    <a:pt x="387" y="706"/>
                  </a:lnTo>
                  <a:lnTo>
                    <a:pt x="389" y="706"/>
                  </a:lnTo>
                  <a:lnTo>
                    <a:pt x="392" y="706"/>
                  </a:lnTo>
                  <a:lnTo>
                    <a:pt x="389" y="706"/>
                  </a:lnTo>
                  <a:lnTo>
                    <a:pt x="389" y="703"/>
                  </a:lnTo>
                  <a:lnTo>
                    <a:pt x="387" y="703"/>
                  </a:lnTo>
                  <a:lnTo>
                    <a:pt x="389" y="703"/>
                  </a:lnTo>
                  <a:lnTo>
                    <a:pt x="387" y="703"/>
                  </a:lnTo>
                  <a:lnTo>
                    <a:pt x="387" y="706"/>
                  </a:lnTo>
                  <a:lnTo>
                    <a:pt x="389" y="706"/>
                  </a:lnTo>
                  <a:lnTo>
                    <a:pt x="387" y="706"/>
                  </a:lnTo>
                  <a:lnTo>
                    <a:pt x="389" y="706"/>
                  </a:lnTo>
                  <a:lnTo>
                    <a:pt x="387" y="706"/>
                  </a:lnTo>
                  <a:lnTo>
                    <a:pt x="387" y="703"/>
                  </a:lnTo>
                  <a:lnTo>
                    <a:pt x="384" y="703"/>
                  </a:lnTo>
                  <a:lnTo>
                    <a:pt x="387" y="703"/>
                  </a:lnTo>
                  <a:lnTo>
                    <a:pt x="384" y="703"/>
                  </a:lnTo>
                  <a:lnTo>
                    <a:pt x="384" y="701"/>
                  </a:lnTo>
                  <a:lnTo>
                    <a:pt x="387" y="701"/>
                  </a:lnTo>
                  <a:lnTo>
                    <a:pt x="387" y="703"/>
                  </a:lnTo>
                  <a:lnTo>
                    <a:pt x="389" y="703"/>
                  </a:lnTo>
                  <a:lnTo>
                    <a:pt x="392" y="703"/>
                  </a:lnTo>
                  <a:lnTo>
                    <a:pt x="394" y="703"/>
                  </a:lnTo>
                  <a:lnTo>
                    <a:pt x="394" y="706"/>
                  </a:lnTo>
                  <a:lnTo>
                    <a:pt x="396" y="706"/>
                  </a:lnTo>
                  <a:lnTo>
                    <a:pt x="399" y="706"/>
                  </a:lnTo>
                  <a:lnTo>
                    <a:pt x="399" y="703"/>
                  </a:lnTo>
                  <a:lnTo>
                    <a:pt x="396" y="703"/>
                  </a:lnTo>
                  <a:lnTo>
                    <a:pt x="396" y="701"/>
                  </a:lnTo>
                  <a:lnTo>
                    <a:pt x="394" y="701"/>
                  </a:lnTo>
                  <a:lnTo>
                    <a:pt x="392" y="701"/>
                  </a:lnTo>
                  <a:lnTo>
                    <a:pt x="392" y="698"/>
                  </a:lnTo>
                  <a:lnTo>
                    <a:pt x="389" y="698"/>
                  </a:lnTo>
                  <a:lnTo>
                    <a:pt x="392" y="698"/>
                  </a:lnTo>
                  <a:lnTo>
                    <a:pt x="394" y="698"/>
                  </a:lnTo>
                  <a:lnTo>
                    <a:pt x="394" y="696"/>
                  </a:lnTo>
                  <a:lnTo>
                    <a:pt x="396" y="696"/>
                  </a:lnTo>
                  <a:lnTo>
                    <a:pt x="399" y="696"/>
                  </a:lnTo>
                  <a:lnTo>
                    <a:pt x="399" y="694"/>
                  </a:lnTo>
                  <a:lnTo>
                    <a:pt x="396" y="694"/>
                  </a:lnTo>
                  <a:lnTo>
                    <a:pt x="399" y="694"/>
                  </a:lnTo>
                  <a:lnTo>
                    <a:pt x="399" y="691"/>
                  </a:lnTo>
                  <a:lnTo>
                    <a:pt x="401" y="691"/>
                  </a:lnTo>
                  <a:lnTo>
                    <a:pt x="403" y="691"/>
                  </a:lnTo>
                  <a:lnTo>
                    <a:pt x="406" y="691"/>
                  </a:lnTo>
                  <a:lnTo>
                    <a:pt x="406" y="689"/>
                  </a:lnTo>
                  <a:lnTo>
                    <a:pt x="408" y="689"/>
                  </a:lnTo>
                  <a:lnTo>
                    <a:pt x="408" y="691"/>
                  </a:lnTo>
                  <a:lnTo>
                    <a:pt x="406" y="691"/>
                  </a:lnTo>
                  <a:lnTo>
                    <a:pt x="408" y="691"/>
                  </a:lnTo>
                  <a:close/>
                  <a:moveTo>
                    <a:pt x="498" y="24"/>
                  </a:moveTo>
                  <a:lnTo>
                    <a:pt x="501" y="24"/>
                  </a:lnTo>
                  <a:lnTo>
                    <a:pt x="503" y="24"/>
                  </a:lnTo>
                  <a:lnTo>
                    <a:pt x="505" y="24"/>
                  </a:lnTo>
                  <a:lnTo>
                    <a:pt x="505" y="26"/>
                  </a:lnTo>
                  <a:lnTo>
                    <a:pt x="508" y="26"/>
                  </a:lnTo>
                  <a:lnTo>
                    <a:pt x="508" y="28"/>
                  </a:lnTo>
                  <a:lnTo>
                    <a:pt x="510" y="28"/>
                  </a:lnTo>
                  <a:lnTo>
                    <a:pt x="510" y="31"/>
                  </a:lnTo>
                  <a:lnTo>
                    <a:pt x="510" y="33"/>
                  </a:lnTo>
                  <a:lnTo>
                    <a:pt x="510" y="36"/>
                  </a:lnTo>
                  <a:lnTo>
                    <a:pt x="510" y="38"/>
                  </a:lnTo>
                  <a:lnTo>
                    <a:pt x="508" y="38"/>
                  </a:lnTo>
                  <a:lnTo>
                    <a:pt x="505" y="40"/>
                  </a:lnTo>
                  <a:lnTo>
                    <a:pt x="505" y="43"/>
                  </a:lnTo>
                  <a:lnTo>
                    <a:pt x="508" y="43"/>
                  </a:lnTo>
                  <a:lnTo>
                    <a:pt x="505" y="43"/>
                  </a:lnTo>
                  <a:lnTo>
                    <a:pt x="503" y="43"/>
                  </a:lnTo>
                  <a:lnTo>
                    <a:pt x="501" y="45"/>
                  </a:lnTo>
                  <a:lnTo>
                    <a:pt x="498" y="45"/>
                  </a:lnTo>
                  <a:lnTo>
                    <a:pt x="496" y="45"/>
                  </a:lnTo>
                  <a:lnTo>
                    <a:pt x="494" y="45"/>
                  </a:lnTo>
                  <a:lnTo>
                    <a:pt x="494" y="47"/>
                  </a:lnTo>
                  <a:lnTo>
                    <a:pt x="491" y="47"/>
                  </a:lnTo>
                  <a:lnTo>
                    <a:pt x="491" y="50"/>
                  </a:lnTo>
                  <a:lnTo>
                    <a:pt x="494" y="50"/>
                  </a:lnTo>
                  <a:lnTo>
                    <a:pt x="491" y="52"/>
                  </a:lnTo>
                  <a:lnTo>
                    <a:pt x="489" y="52"/>
                  </a:lnTo>
                  <a:lnTo>
                    <a:pt x="486" y="52"/>
                  </a:lnTo>
                  <a:lnTo>
                    <a:pt x="484" y="52"/>
                  </a:lnTo>
                  <a:lnTo>
                    <a:pt x="484" y="55"/>
                  </a:lnTo>
                  <a:lnTo>
                    <a:pt x="482" y="55"/>
                  </a:lnTo>
                  <a:lnTo>
                    <a:pt x="482" y="57"/>
                  </a:lnTo>
                  <a:lnTo>
                    <a:pt x="479" y="57"/>
                  </a:lnTo>
                  <a:lnTo>
                    <a:pt x="477" y="57"/>
                  </a:lnTo>
                  <a:lnTo>
                    <a:pt x="475" y="59"/>
                  </a:lnTo>
                  <a:lnTo>
                    <a:pt x="470" y="57"/>
                  </a:lnTo>
                  <a:lnTo>
                    <a:pt x="468" y="57"/>
                  </a:lnTo>
                  <a:lnTo>
                    <a:pt x="460" y="57"/>
                  </a:lnTo>
                  <a:lnTo>
                    <a:pt x="458" y="57"/>
                  </a:lnTo>
                  <a:lnTo>
                    <a:pt x="456" y="55"/>
                  </a:lnTo>
                  <a:lnTo>
                    <a:pt x="453" y="55"/>
                  </a:lnTo>
                  <a:lnTo>
                    <a:pt x="451" y="52"/>
                  </a:lnTo>
                  <a:lnTo>
                    <a:pt x="449" y="52"/>
                  </a:lnTo>
                  <a:lnTo>
                    <a:pt x="444" y="52"/>
                  </a:lnTo>
                  <a:lnTo>
                    <a:pt x="444" y="55"/>
                  </a:lnTo>
                  <a:lnTo>
                    <a:pt x="441" y="55"/>
                  </a:lnTo>
                  <a:lnTo>
                    <a:pt x="439" y="55"/>
                  </a:lnTo>
                  <a:lnTo>
                    <a:pt x="437" y="55"/>
                  </a:lnTo>
                  <a:lnTo>
                    <a:pt x="437" y="57"/>
                  </a:lnTo>
                  <a:lnTo>
                    <a:pt x="430" y="57"/>
                  </a:lnTo>
                  <a:lnTo>
                    <a:pt x="427" y="57"/>
                  </a:lnTo>
                  <a:lnTo>
                    <a:pt x="427" y="55"/>
                  </a:lnTo>
                  <a:lnTo>
                    <a:pt x="425" y="55"/>
                  </a:lnTo>
                  <a:lnTo>
                    <a:pt x="422" y="55"/>
                  </a:lnTo>
                  <a:lnTo>
                    <a:pt x="422" y="52"/>
                  </a:lnTo>
                  <a:lnTo>
                    <a:pt x="420" y="52"/>
                  </a:lnTo>
                  <a:lnTo>
                    <a:pt x="418" y="52"/>
                  </a:lnTo>
                  <a:lnTo>
                    <a:pt x="418" y="50"/>
                  </a:lnTo>
                  <a:lnTo>
                    <a:pt x="420" y="50"/>
                  </a:lnTo>
                  <a:lnTo>
                    <a:pt x="420" y="47"/>
                  </a:lnTo>
                  <a:lnTo>
                    <a:pt x="418" y="47"/>
                  </a:lnTo>
                  <a:lnTo>
                    <a:pt x="418" y="45"/>
                  </a:lnTo>
                  <a:lnTo>
                    <a:pt x="418" y="43"/>
                  </a:lnTo>
                  <a:lnTo>
                    <a:pt x="420" y="43"/>
                  </a:lnTo>
                  <a:lnTo>
                    <a:pt x="420" y="40"/>
                  </a:lnTo>
                  <a:lnTo>
                    <a:pt x="418" y="40"/>
                  </a:lnTo>
                  <a:lnTo>
                    <a:pt x="418" y="38"/>
                  </a:lnTo>
                  <a:lnTo>
                    <a:pt x="420" y="38"/>
                  </a:lnTo>
                  <a:lnTo>
                    <a:pt x="420" y="36"/>
                  </a:lnTo>
                  <a:lnTo>
                    <a:pt x="422" y="33"/>
                  </a:lnTo>
                  <a:lnTo>
                    <a:pt x="425" y="33"/>
                  </a:lnTo>
                  <a:lnTo>
                    <a:pt x="427" y="33"/>
                  </a:lnTo>
                  <a:lnTo>
                    <a:pt x="425" y="31"/>
                  </a:lnTo>
                  <a:lnTo>
                    <a:pt x="427" y="31"/>
                  </a:lnTo>
                  <a:lnTo>
                    <a:pt x="427" y="28"/>
                  </a:lnTo>
                  <a:lnTo>
                    <a:pt x="430" y="28"/>
                  </a:lnTo>
                  <a:lnTo>
                    <a:pt x="432" y="28"/>
                  </a:lnTo>
                  <a:lnTo>
                    <a:pt x="434" y="28"/>
                  </a:lnTo>
                  <a:lnTo>
                    <a:pt x="437" y="28"/>
                  </a:lnTo>
                  <a:lnTo>
                    <a:pt x="434" y="28"/>
                  </a:lnTo>
                  <a:lnTo>
                    <a:pt x="432" y="28"/>
                  </a:lnTo>
                  <a:lnTo>
                    <a:pt x="430" y="28"/>
                  </a:lnTo>
                  <a:lnTo>
                    <a:pt x="432" y="28"/>
                  </a:lnTo>
                  <a:lnTo>
                    <a:pt x="434" y="28"/>
                  </a:lnTo>
                  <a:lnTo>
                    <a:pt x="434" y="26"/>
                  </a:lnTo>
                  <a:lnTo>
                    <a:pt x="437" y="26"/>
                  </a:lnTo>
                  <a:lnTo>
                    <a:pt x="439" y="26"/>
                  </a:lnTo>
                  <a:lnTo>
                    <a:pt x="441" y="26"/>
                  </a:lnTo>
                  <a:lnTo>
                    <a:pt x="444" y="26"/>
                  </a:lnTo>
                  <a:lnTo>
                    <a:pt x="446" y="26"/>
                  </a:lnTo>
                  <a:lnTo>
                    <a:pt x="449" y="28"/>
                  </a:lnTo>
                  <a:lnTo>
                    <a:pt x="446" y="28"/>
                  </a:lnTo>
                  <a:lnTo>
                    <a:pt x="444" y="28"/>
                  </a:lnTo>
                  <a:lnTo>
                    <a:pt x="441" y="28"/>
                  </a:lnTo>
                  <a:lnTo>
                    <a:pt x="439" y="28"/>
                  </a:lnTo>
                  <a:lnTo>
                    <a:pt x="444" y="28"/>
                  </a:lnTo>
                  <a:lnTo>
                    <a:pt x="446" y="28"/>
                  </a:lnTo>
                  <a:lnTo>
                    <a:pt x="449" y="28"/>
                  </a:lnTo>
                  <a:lnTo>
                    <a:pt x="449" y="31"/>
                  </a:lnTo>
                  <a:lnTo>
                    <a:pt x="451" y="31"/>
                  </a:lnTo>
                  <a:lnTo>
                    <a:pt x="453" y="31"/>
                  </a:lnTo>
                  <a:lnTo>
                    <a:pt x="456" y="31"/>
                  </a:lnTo>
                  <a:lnTo>
                    <a:pt x="458" y="28"/>
                  </a:lnTo>
                  <a:lnTo>
                    <a:pt x="460" y="28"/>
                  </a:lnTo>
                  <a:lnTo>
                    <a:pt x="463" y="28"/>
                  </a:lnTo>
                  <a:lnTo>
                    <a:pt x="465" y="28"/>
                  </a:lnTo>
                  <a:lnTo>
                    <a:pt x="468" y="28"/>
                  </a:lnTo>
                  <a:lnTo>
                    <a:pt x="470" y="28"/>
                  </a:lnTo>
                  <a:lnTo>
                    <a:pt x="472" y="28"/>
                  </a:lnTo>
                  <a:lnTo>
                    <a:pt x="477" y="26"/>
                  </a:lnTo>
                  <a:lnTo>
                    <a:pt x="479" y="26"/>
                  </a:lnTo>
                  <a:lnTo>
                    <a:pt x="482" y="26"/>
                  </a:lnTo>
                  <a:lnTo>
                    <a:pt x="484" y="26"/>
                  </a:lnTo>
                  <a:lnTo>
                    <a:pt x="486" y="26"/>
                  </a:lnTo>
                  <a:lnTo>
                    <a:pt x="489" y="26"/>
                  </a:lnTo>
                  <a:lnTo>
                    <a:pt x="489" y="24"/>
                  </a:lnTo>
                  <a:lnTo>
                    <a:pt x="491" y="24"/>
                  </a:lnTo>
                  <a:lnTo>
                    <a:pt x="494" y="24"/>
                  </a:lnTo>
                  <a:lnTo>
                    <a:pt x="496" y="24"/>
                  </a:lnTo>
                  <a:lnTo>
                    <a:pt x="498" y="24"/>
                  </a:lnTo>
                  <a:close/>
                  <a:moveTo>
                    <a:pt x="140" y="24"/>
                  </a:moveTo>
                  <a:lnTo>
                    <a:pt x="138" y="26"/>
                  </a:lnTo>
                  <a:lnTo>
                    <a:pt x="135" y="26"/>
                  </a:lnTo>
                  <a:lnTo>
                    <a:pt x="133" y="26"/>
                  </a:lnTo>
                  <a:lnTo>
                    <a:pt x="131" y="26"/>
                  </a:lnTo>
                  <a:lnTo>
                    <a:pt x="128" y="26"/>
                  </a:lnTo>
                  <a:lnTo>
                    <a:pt x="126" y="26"/>
                  </a:lnTo>
                  <a:lnTo>
                    <a:pt x="123" y="26"/>
                  </a:lnTo>
                  <a:lnTo>
                    <a:pt x="121" y="28"/>
                  </a:lnTo>
                  <a:lnTo>
                    <a:pt x="123" y="28"/>
                  </a:lnTo>
                  <a:lnTo>
                    <a:pt x="121" y="28"/>
                  </a:lnTo>
                  <a:lnTo>
                    <a:pt x="123" y="28"/>
                  </a:lnTo>
                  <a:lnTo>
                    <a:pt x="126" y="28"/>
                  </a:lnTo>
                  <a:lnTo>
                    <a:pt x="123" y="28"/>
                  </a:lnTo>
                  <a:lnTo>
                    <a:pt x="123" y="31"/>
                  </a:lnTo>
                  <a:lnTo>
                    <a:pt x="121" y="31"/>
                  </a:lnTo>
                  <a:lnTo>
                    <a:pt x="119" y="31"/>
                  </a:lnTo>
                  <a:lnTo>
                    <a:pt x="116" y="31"/>
                  </a:lnTo>
                  <a:lnTo>
                    <a:pt x="114" y="31"/>
                  </a:lnTo>
                  <a:lnTo>
                    <a:pt x="116" y="31"/>
                  </a:lnTo>
                  <a:lnTo>
                    <a:pt x="119" y="31"/>
                  </a:lnTo>
                  <a:lnTo>
                    <a:pt x="119" y="33"/>
                  </a:lnTo>
                  <a:lnTo>
                    <a:pt x="121" y="33"/>
                  </a:lnTo>
                  <a:lnTo>
                    <a:pt x="123" y="33"/>
                  </a:lnTo>
                  <a:lnTo>
                    <a:pt x="126" y="33"/>
                  </a:lnTo>
                  <a:lnTo>
                    <a:pt x="128" y="31"/>
                  </a:lnTo>
                  <a:lnTo>
                    <a:pt x="131" y="31"/>
                  </a:lnTo>
                  <a:lnTo>
                    <a:pt x="133" y="31"/>
                  </a:lnTo>
                  <a:lnTo>
                    <a:pt x="135" y="31"/>
                  </a:lnTo>
                  <a:lnTo>
                    <a:pt x="135" y="28"/>
                  </a:lnTo>
                  <a:lnTo>
                    <a:pt x="138" y="28"/>
                  </a:lnTo>
                  <a:lnTo>
                    <a:pt x="140" y="28"/>
                  </a:lnTo>
                  <a:lnTo>
                    <a:pt x="140" y="31"/>
                  </a:lnTo>
                  <a:lnTo>
                    <a:pt x="142" y="31"/>
                  </a:lnTo>
                  <a:lnTo>
                    <a:pt x="145" y="31"/>
                  </a:lnTo>
                  <a:lnTo>
                    <a:pt x="145" y="28"/>
                  </a:lnTo>
                  <a:lnTo>
                    <a:pt x="147" y="28"/>
                  </a:lnTo>
                  <a:lnTo>
                    <a:pt x="150" y="28"/>
                  </a:lnTo>
                  <a:lnTo>
                    <a:pt x="152" y="28"/>
                  </a:lnTo>
                  <a:lnTo>
                    <a:pt x="154" y="31"/>
                  </a:lnTo>
                  <a:lnTo>
                    <a:pt x="157" y="31"/>
                  </a:lnTo>
                  <a:lnTo>
                    <a:pt x="157" y="33"/>
                  </a:lnTo>
                  <a:lnTo>
                    <a:pt x="159" y="33"/>
                  </a:lnTo>
                  <a:lnTo>
                    <a:pt x="161" y="33"/>
                  </a:lnTo>
                  <a:lnTo>
                    <a:pt x="164" y="33"/>
                  </a:lnTo>
                  <a:lnTo>
                    <a:pt x="169" y="33"/>
                  </a:lnTo>
                  <a:lnTo>
                    <a:pt x="166" y="36"/>
                  </a:lnTo>
                  <a:lnTo>
                    <a:pt x="164" y="36"/>
                  </a:lnTo>
                  <a:lnTo>
                    <a:pt x="161" y="38"/>
                  </a:lnTo>
                  <a:lnTo>
                    <a:pt x="159" y="38"/>
                  </a:lnTo>
                  <a:lnTo>
                    <a:pt x="157" y="38"/>
                  </a:lnTo>
                  <a:lnTo>
                    <a:pt x="154" y="40"/>
                  </a:lnTo>
                  <a:lnTo>
                    <a:pt x="152" y="40"/>
                  </a:lnTo>
                  <a:lnTo>
                    <a:pt x="150" y="40"/>
                  </a:lnTo>
                  <a:lnTo>
                    <a:pt x="147" y="40"/>
                  </a:lnTo>
                  <a:lnTo>
                    <a:pt x="145" y="40"/>
                  </a:lnTo>
                  <a:lnTo>
                    <a:pt x="145" y="43"/>
                  </a:lnTo>
                  <a:lnTo>
                    <a:pt x="142" y="45"/>
                  </a:lnTo>
                  <a:lnTo>
                    <a:pt x="140" y="45"/>
                  </a:lnTo>
                  <a:lnTo>
                    <a:pt x="138" y="45"/>
                  </a:lnTo>
                  <a:lnTo>
                    <a:pt x="138" y="47"/>
                  </a:lnTo>
                  <a:lnTo>
                    <a:pt x="135" y="47"/>
                  </a:lnTo>
                  <a:lnTo>
                    <a:pt x="133" y="47"/>
                  </a:lnTo>
                  <a:lnTo>
                    <a:pt x="128" y="47"/>
                  </a:lnTo>
                  <a:lnTo>
                    <a:pt x="126" y="47"/>
                  </a:lnTo>
                  <a:lnTo>
                    <a:pt x="121" y="47"/>
                  </a:lnTo>
                  <a:lnTo>
                    <a:pt x="119" y="47"/>
                  </a:lnTo>
                  <a:lnTo>
                    <a:pt x="112" y="47"/>
                  </a:lnTo>
                  <a:lnTo>
                    <a:pt x="109" y="47"/>
                  </a:lnTo>
                  <a:lnTo>
                    <a:pt x="109" y="50"/>
                  </a:lnTo>
                  <a:lnTo>
                    <a:pt x="107" y="50"/>
                  </a:lnTo>
                  <a:lnTo>
                    <a:pt x="104" y="50"/>
                  </a:lnTo>
                  <a:lnTo>
                    <a:pt x="102" y="50"/>
                  </a:lnTo>
                  <a:lnTo>
                    <a:pt x="100" y="50"/>
                  </a:lnTo>
                  <a:lnTo>
                    <a:pt x="97" y="50"/>
                  </a:lnTo>
                  <a:lnTo>
                    <a:pt x="95" y="52"/>
                  </a:lnTo>
                  <a:lnTo>
                    <a:pt x="97" y="52"/>
                  </a:lnTo>
                  <a:lnTo>
                    <a:pt x="100" y="52"/>
                  </a:lnTo>
                  <a:lnTo>
                    <a:pt x="102" y="52"/>
                  </a:lnTo>
                  <a:lnTo>
                    <a:pt x="100" y="55"/>
                  </a:lnTo>
                  <a:lnTo>
                    <a:pt x="102" y="57"/>
                  </a:lnTo>
                  <a:lnTo>
                    <a:pt x="100" y="57"/>
                  </a:lnTo>
                  <a:lnTo>
                    <a:pt x="97" y="57"/>
                  </a:lnTo>
                  <a:lnTo>
                    <a:pt x="95" y="59"/>
                  </a:lnTo>
                  <a:lnTo>
                    <a:pt x="93" y="59"/>
                  </a:lnTo>
                  <a:lnTo>
                    <a:pt x="90" y="59"/>
                  </a:lnTo>
                  <a:lnTo>
                    <a:pt x="85" y="59"/>
                  </a:lnTo>
                  <a:lnTo>
                    <a:pt x="83" y="57"/>
                  </a:lnTo>
                  <a:lnTo>
                    <a:pt x="81" y="57"/>
                  </a:lnTo>
                  <a:lnTo>
                    <a:pt x="78" y="57"/>
                  </a:lnTo>
                  <a:lnTo>
                    <a:pt x="76" y="57"/>
                  </a:lnTo>
                  <a:lnTo>
                    <a:pt x="74" y="57"/>
                  </a:lnTo>
                  <a:lnTo>
                    <a:pt x="71" y="57"/>
                  </a:lnTo>
                  <a:lnTo>
                    <a:pt x="69" y="57"/>
                  </a:lnTo>
                  <a:lnTo>
                    <a:pt x="67" y="57"/>
                  </a:lnTo>
                  <a:lnTo>
                    <a:pt x="67" y="59"/>
                  </a:lnTo>
                  <a:lnTo>
                    <a:pt x="69" y="59"/>
                  </a:lnTo>
                  <a:lnTo>
                    <a:pt x="67" y="59"/>
                  </a:lnTo>
                  <a:lnTo>
                    <a:pt x="67" y="62"/>
                  </a:lnTo>
                  <a:lnTo>
                    <a:pt x="64" y="62"/>
                  </a:lnTo>
                  <a:lnTo>
                    <a:pt x="62" y="59"/>
                  </a:lnTo>
                  <a:lnTo>
                    <a:pt x="59" y="62"/>
                  </a:lnTo>
                  <a:lnTo>
                    <a:pt x="59" y="64"/>
                  </a:lnTo>
                  <a:lnTo>
                    <a:pt x="62" y="64"/>
                  </a:lnTo>
                  <a:lnTo>
                    <a:pt x="64" y="64"/>
                  </a:lnTo>
                  <a:lnTo>
                    <a:pt x="67" y="64"/>
                  </a:lnTo>
                  <a:lnTo>
                    <a:pt x="69" y="64"/>
                  </a:lnTo>
                  <a:lnTo>
                    <a:pt x="71" y="64"/>
                  </a:lnTo>
                  <a:lnTo>
                    <a:pt x="74" y="64"/>
                  </a:lnTo>
                  <a:lnTo>
                    <a:pt x="74" y="66"/>
                  </a:lnTo>
                  <a:lnTo>
                    <a:pt x="71" y="66"/>
                  </a:lnTo>
                  <a:lnTo>
                    <a:pt x="74" y="66"/>
                  </a:lnTo>
                  <a:lnTo>
                    <a:pt x="76" y="66"/>
                  </a:lnTo>
                  <a:lnTo>
                    <a:pt x="74" y="66"/>
                  </a:lnTo>
                  <a:lnTo>
                    <a:pt x="71" y="66"/>
                  </a:lnTo>
                  <a:lnTo>
                    <a:pt x="69" y="69"/>
                  </a:lnTo>
                  <a:lnTo>
                    <a:pt x="71" y="69"/>
                  </a:lnTo>
                  <a:lnTo>
                    <a:pt x="74" y="69"/>
                  </a:lnTo>
                  <a:lnTo>
                    <a:pt x="76" y="69"/>
                  </a:lnTo>
                  <a:lnTo>
                    <a:pt x="78" y="69"/>
                  </a:lnTo>
                  <a:lnTo>
                    <a:pt x="78" y="71"/>
                  </a:lnTo>
                  <a:lnTo>
                    <a:pt x="76" y="71"/>
                  </a:lnTo>
                  <a:lnTo>
                    <a:pt x="74" y="71"/>
                  </a:lnTo>
                  <a:lnTo>
                    <a:pt x="71" y="71"/>
                  </a:lnTo>
                  <a:lnTo>
                    <a:pt x="71" y="74"/>
                  </a:lnTo>
                  <a:lnTo>
                    <a:pt x="74" y="74"/>
                  </a:lnTo>
                  <a:lnTo>
                    <a:pt x="71" y="74"/>
                  </a:lnTo>
                  <a:lnTo>
                    <a:pt x="69" y="74"/>
                  </a:lnTo>
                  <a:lnTo>
                    <a:pt x="67" y="74"/>
                  </a:lnTo>
                  <a:lnTo>
                    <a:pt x="64" y="71"/>
                  </a:lnTo>
                  <a:lnTo>
                    <a:pt x="62" y="71"/>
                  </a:lnTo>
                  <a:lnTo>
                    <a:pt x="59" y="69"/>
                  </a:lnTo>
                  <a:lnTo>
                    <a:pt x="57" y="69"/>
                  </a:lnTo>
                  <a:lnTo>
                    <a:pt x="57" y="71"/>
                  </a:lnTo>
                  <a:lnTo>
                    <a:pt x="57" y="74"/>
                  </a:lnTo>
                  <a:lnTo>
                    <a:pt x="59" y="74"/>
                  </a:lnTo>
                  <a:lnTo>
                    <a:pt x="59" y="76"/>
                  </a:lnTo>
                  <a:lnTo>
                    <a:pt x="57" y="76"/>
                  </a:lnTo>
                  <a:lnTo>
                    <a:pt x="55" y="78"/>
                  </a:lnTo>
                  <a:lnTo>
                    <a:pt x="52" y="78"/>
                  </a:lnTo>
                  <a:lnTo>
                    <a:pt x="52" y="76"/>
                  </a:lnTo>
                  <a:lnTo>
                    <a:pt x="50" y="76"/>
                  </a:lnTo>
                  <a:lnTo>
                    <a:pt x="48" y="74"/>
                  </a:lnTo>
                  <a:lnTo>
                    <a:pt x="45" y="76"/>
                  </a:lnTo>
                  <a:lnTo>
                    <a:pt x="43" y="76"/>
                  </a:lnTo>
                  <a:lnTo>
                    <a:pt x="43" y="78"/>
                  </a:lnTo>
                  <a:lnTo>
                    <a:pt x="40" y="78"/>
                  </a:lnTo>
                  <a:lnTo>
                    <a:pt x="38" y="78"/>
                  </a:lnTo>
                  <a:lnTo>
                    <a:pt x="36" y="78"/>
                  </a:lnTo>
                  <a:lnTo>
                    <a:pt x="33" y="78"/>
                  </a:lnTo>
                  <a:lnTo>
                    <a:pt x="31" y="78"/>
                  </a:lnTo>
                  <a:lnTo>
                    <a:pt x="31" y="76"/>
                  </a:lnTo>
                  <a:lnTo>
                    <a:pt x="33" y="76"/>
                  </a:lnTo>
                  <a:lnTo>
                    <a:pt x="36" y="74"/>
                  </a:lnTo>
                  <a:lnTo>
                    <a:pt x="36" y="71"/>
                  </a:lnTo>
                  <a:lnTo>
                    <a:pt x="38" y="71"/>
                  </a:lnTo>
                  <a:lnTo>
                    <a:pt x="40" y="71"/>
                  </a:lnTo>
                  <a:lnTo>
                    <a:pt x="43" y="71"/>
                  </a:lnTo>
                  <a:lnTo>
                    <a:pt x="48" y="69"/>
                  </a:lnTo>
                  <a:lnTo>
                    <a:pt x="45" y="69"/>
                  </a:lnTo>
                  <a:lnTo>
                    <a:pt x="43" y="69"/>
                  </a:lnTo>
                  <a:lnTo>
                    <a:pt x="40" y="69"/>
                  </a:lnTo>
                  <a:lnTo>
                    <a:pt x="36" y="69"/>
                  </a:lnTo>
                  <a:lnTo>
                    <a:pt x="38" y="69"/>
                  </a:lnTo>
                  <a:lnTo>
                    <a:pt x="40" y="69"/>
                  </a:lnTo>
                  <a:lnTo>
                    <a:pt x="40" y="66"/>
                  </a:lnTo>
                  <a:lnTo>
                    <a:pt x="43" y="66"/>
                  </a:lnTo>
                  <a:lnTo>
                    <a:pt x="40" y="66"/>
                  </a:lnTo>
                  <a:lnTo>
                    <a:pt x="38" y="66"/>
                  </a:lnTo>
                  <a:lnTo>
                    <a:pt x="36" y="66"/>
                  </a:lnTo>
                  <a:lnTo>
                    <a:pt x="33" y="66"/>
                  </a:lnTo>
                  <a:lnTo>
                    <a:pt x="31" y="66"/>
                  </a:lnTo>
                  <a:lnTo>
                    <a:pt x="29" y="66"/>
                  </a:lnTo>
                  <a:lnTo>
                    <a:pt x="26" y="66"/>
                  </a:lnTo>
                  <a:lnTo>
                    <a:pt x="24" y="66"/>
                  </a:lnTo>
                  <a:lnTo>
                    <a:pt x="21" y="69"/>
                  </a:lnTo>
                  <a:lnTo>
                    <a:pt x="24" y="69"/>
                  </a:lnTo>
                  <a:lnTo>
                    <a:pt x="24" y="71"/>
                  </a:lnTo>
                  <a:lnTo>
                    <a:pt x="21" y="71"/>
                  </a:lnTo>
                  <a:lnTo>
                    <a:pt x="19" y="69"/>
                  </a:lnTo>
                  <a:lnTo>
                    <a:pt x="17" y="71"/>
                  </a:lnTo>
                  <a:lnTo>
                    <a:pt x="14" y="71"/>
                  </a:lnTo>
                  <a:lnTo>
                    <a:pt x="12" y="71"/>
                  </a:lnTo>
                  <a:lnTo>
                    <a:pt x="10" y="71"/>
                  </a:lnTo>
                  <a:lnTo>
                    <a:pt x="7" y="71"/>
                  </a:lnTo>
                  <a:lnTo>
                    <a:pt x="7" y="69"/>
                  </a:lnTo>
                  <a:lnTo>
                    <a:pt x="10" y="69"/>
                  </a:lnTo>
                  <a:lnTo>
                    <a:pt x="10" y="66"/>
                  </a:lnTo>
                  <a:lnTo>
                    <a:pt x="7" y="66"/>
                  </a:lnTo>
                  <a:lnTo>
                    <a:pt x="5" y="66"/>
                  </a:lnTo>
                  <a:lnTo>
                    <a:pt x="2" y="64"/>
                  </a:lnTo>
                  <a:lnTo>
                    <a:pt x="0" y="64"/>
                  </a:lnTo>
                  <a:lnTo>
                    <a:pt x="0" y="62"/>
                  </a:lnTo>
                  <a:lnTo>
                    <a:pt x="2" y="62"/>
                  </a:lnTo>
                  <a:lnTo>
                    <a:pt x="7" y="59"/>
                  </a:lnTo>
                  <a:lnTo>
                    <a:pt x="10" y="57"/>
                  </a:lnTo>
                  <a:lnTo>
                    <a:pt x="14" y="57"/>
                  </a:lnTo>
                  <a:lnTo>
                    <a:pt x="17" y="57"/>
                  </a:lnTo>
                  <a:lnTo>
                    <a:pt x="19" y="57"/>
                  </a:lnTo>
                  <a:lnTo>
                    <a:pt x="19" y="59"/>
                  </a:lnTo>
                  <a:lnTo>
                    <a:pt x="17" y="59"/>
                  </a:lnTo>
                  <a:lnTo>
                    <a:pt x="17" y="62"/>
                  </a:lnTo>
                  <a:lnTo>
                    <a:pt x="19" y="62"/>
                  </a:lnTo>
                  <a:lnTo>
                    <a:pt x="21" y="62"/>
                  </a:lnTo>
                  <a:lnTo>
                    <a:pt x="24" y="62"/>
                  </a:lnTo>
                  <a:lnTo>
                    <a:pt x="26" y="62"/>
                  </a:lnTo>
                  <a:lnTo>
                    <a:pt x="29" y="62"/>
                  </a:lnTo>
                  <a:lnTo>
                    <a:pt x="31" y="62"/>
                  </a:lnTo>
                  <a:lnTo>
                    <a:pt x="33" y="62"/>
                  </a:lnTo>
                  <a:lnTo>
                    <a:pt x="36" y="62"/>
                  </a:lnTo>
                  <a:lnTo>
                    <a:pt x="38" y="62"/>
                  </a:lnTo>
                  <a:lnTo>
                    <a:pt x="40" y="62"/>
                  </a:lnTo>
                  <a:lnTo>
                    <a:pt x="43" y="62"/>
                  </a:lnTo>
                  <a:lnTo>
                    <a:pt x="38" y="62"/>
                  </a:lnTo>
                  <a:lnTo>
                    <a:pt x="38" y="59"/>
                  </a:lnTo>
                  <a:lnTo>
                    <a:pt x="40" y="59"/>
                  </a:lnTo>
                  <a:lnTo>
                    <a:pt x="43" y="59"/>
                  </a:lnTo>
                  <a:lnTo>
                    <a:pt x="45" y="59"/>
                  </a:lnTo>
                  <a:lnTo>
                    <a:pt x="48" y="59"/>
                  </a:lnTo>
                  <a:lnTo>
                    <a:pt x="45" y="59"/>
                  </a:lnTo>
                  <a:lnTo>
                    <a:pt x="43" y="59"/>
                  </a:lnTo>
                  <a:lnTo>
                    <a:pt x="36" y="59"/>
                  </a:lnTo>
                  <a:lnTo>
                    <a:pt x="31" y="57"/>
                  </a:lnTo>
                  <a:lnTo>
                    <a:pt x="29" y="57"/>
                  </a:lnTo>
                  <a:lnTo>
                    <a:pt x="29" y="55"/>
                  </a:lnTo>
                  <a:lnTo>
                    <a:pt x="31" y="55"/>
                  </a:lnTo>
                  <a:lnTo>
                    <a:pt x="33" y="55"/>
                  </a:lnTo>
                  <a:lnTo>
                    <a:pt x="36" y="55"/>
                  </a:lnTo>
                  <a:lnTo>
                    <a:pt x="38" y="55"/>
                  </a:lnTo>
                  <a:lnTo>
                    <a:pt x="40" y="55"/>
                  </a:lnTo>
                  <a:lnTo>
                    <a:pt x="43" y="55"/>
                  </a:lnTo>
                  <a:lnTo>
                    <a:pt x="45" y="55"/>
                  </a:lnTo>
                  <a:lnTo>
                    <a:pt x="48" y="55"/>
                  </a:lnTo>
                  <a:lnTo>
                    <a:pt x="50" y="55"/>
                  </a:lnTo>
                  <a:lnTo>
                    <a:pt x="52" y="55"/>
                  </a:lnTo>
                  <a:lnTo>
                    <a:pt x="50" y="55"/>
                  </a:lnTo>
                  <a:lnTo>
                    <a:pt x="48" y="55"/>
                  </a:lnTo>
                  <a:lnTo>
                    <a:pt x="48" y="52"/>
                  </a:lnTo>
                  <a:lnTo>
                    <a:pt x="50" y="52"/>
                  </a:lnTo>
                  <a:lnTo>
                    <a:pt x="48" y="52"/>
                  </a:lnTo>
                  <a:lnTo>
                    <a:pt x="40" y="52"/>
                  </a:lnTo>
                  <a:lnTo>
                    <a:pt x="38" y="52"/>
                  </a:lnTo>
                  <a:lnTo>
                    <a:pt x="36" y="50"/>
                  </a:lnTo>
                  <a:lnTo>
                    <a:pt x="33" y="50"/>
                  </a:lnTo>
                  <a:lnTo>
                    <a:pt x="31" y="52"/>
                  </a:lnTo>
                  <a:lnTo>
                    <a:pt x="29" y="52"/>
                  </a:lnTo>
                  <a:lnTo>
                    <a:pt x="26" y="52"/>
                  </a:lnTo>
                  <a:lnTo>
                    <a:pt x="24" y="52"/>
                  </a:lnTo>
                  <a:lnTo>
                    <a:pt x="26" y="50"/>
                  </a:lnTo>
                  <a:lnTo>
                    <a:pt x="29" y="50"/>
                  </a:lnTo>
                  <a:lnTo>
                    <a:pt x="31" y="50"/>
                  </a:lnTo>
                  <a:lnTo>
                    <a:pt x="36" y="47"/>
                  </a:lnTo>
                  <a:lnTo>
                    <a:pt x="38" y="47"/>
                  </a:lnTo>
                  <a:lnTo>
                    <a:pt x="40" y="47"/>
                  </a:lnTo>
                  <a:lnTo>
                    <a:pt x="45" y="45"/>
                  </a:lnTo>
                  <a:lnTo>
                    <a:pt x="48" y="45"/>
                  </a:lnTo>
                  <a:lnTo>
                    <a:pt x="48" y="47"/>
                  </a:lnTo>
                  <a:lnTo>
                    <a:pt x="50" y="47"/>
                  </a:lnTo>
                  <a:lnTo>
                    <a:pt x="52" y="45"/>
                  </a:lnTo>
                  <a:lnTo>
                    <a:pt x="55" y="45"/>
                  </a:lnTo>
                  <a:lnTo>
                    <a:pt x="57" y="45"/>
                  </a:lnTo>
                  <a:lnTo>
                    <a:pt x="59" y="47"/>
                  </a:lnTo>
                  <a:lnTo>
                    <a:pt x="62" y="47"/>
                  </a:lnTo>
                  <a:lnTo>
                    <a:pt x="64" y="47"/>
                  </a:lnTo>
                  <a:lnTo>
                    <a:pt x="67" y="50"/>
                  </a:lnTo>
                  <a:lnTo>
                    <a:pt x="69" y="50"/>
                  </a:lnTo>
                  <a:lnTo>
                    <a:pt x="71" y="50"/>
                  </a:lnTo>
                  <a:lnTo>
                    <a:pt x="71" y="47"/>
                  </a:lnTo>
                  <a:lnTo>
                    <a:pt x="69" y="47"/>
                  </a:lnTo>
                  <a:lnTo>
                    <a:pt x="71" y="47"/>
                  </a:lnTo>
                  <a:lnTo>
                    <a:pt x="74" y="47"/>
                  </a:lnTo>
                  <a:lnTo>
                    <a:pt x="76" y="47"/>
                  </a:lnTo>
                  <a:lnTo>
                    <a:pt x="78" y="47"/>
                  </a:lnTo>
                  <a:lnTo>
                    <a:pt x="81" y="47"/>
                  </a:lnTo>
                  <a:lnTo>
                    <a:pt x="83" y="47"/>
                  </a:lnTo>
                  <a:lnTo>
                    <a:pt x="83" y="45"/>
                  </a:lnTo>
                  <a:lnTo>
                    <a:pt x="81" y="45"/>
                  </a:lnTo>
                  <a:lnTo>
                    <a:pt x="83" y="45"/>
                  </a:lnTo>
                  <a:lnTo>
                    <a:pt x="83" y="43"/>
                  </a:lnTo>
                  <a:lnTo>
                    <a:pt x="85" y="43"/>
                  </a:lnTo>
                  <a:lnTo>
                    <a:pt x="88" y="43"/>
                  </a:lnTo>
                  <a:lnTo>
                    <a:pt x="88" y="40"/>
                  </a:lnTo>
                  <a:lnTo>
                    <a:pt x="85" y="40"/>
                  </a:lnTo>
                  <a:lnTo>
                    <a:pt x="83" y="40"/>
                  </a:lnTo>
                  <a:lnTo>
                    <a:pt x="85" y="40"/>
                  </a:lnTo>
                  <a:lnTo>
                    <a:pt x="88" y="38"/>
                  </a:lnTo>
                  <a:lnTo>
                    <a:pt x="90" y="38"/>
                  </a:lnTo>
                  <a:lnTo>
                    <a:pt x="93" y="38"/>
                  </a:lnTo>
                  <a:lnTo>
                    <a:pt x="93" y="40"/>
                  </a:lnTo>
                  <a:lnTo>
                    <a:pt x="93" y="38"/>
                  </a:lnTo>
                  <a:lnTo>
                    <a:pt x="95" y="38"/>
                  </a:lnTo>
                  <a:lnTo>
                    <a:pt x="97" y="38"/>
                  </a:lnTo>
                  <a:lnTo>
                    <a:pt x="97" y="36"/>
                  </a:lnTo>
                  <a:lnTo>
                    <a:pt x="95" y="36"/>
                  </a:lnTo>
                  <a:lnTo>
                    <a:pt x="97" y="36"/>
                  </a:lnTo>
                  <a:lnTo>
                    <a:pt x="95" y="36"/>
                  </a:lnTo>
                  <a:lnTo>
                    <a:pt x="95" y="33"/>
                  </a:lnTo>
                  <a:lnTo>
                    <a:pt x="90" y="33"/>
                  </a:lnTo>
                  <a:lnTo>
                    <a:pt x="88" y="36"/>
                  </a:lnTo>
                  <a:lnTo>
                    <a:pt x="85" y="36"/>
                  </a:lnTo>
                  <a:lnTo>
                    <a:pt x="83" y="36"/>
                  </a:lnTo>
                  <a:lnTo>
                    <a:pt x="81" y="36"/>
                  </a:lnTo>
                  <a:lnTo>
                    <a:pt x="81" y="33"/>
                  </a:lnTo>
                  <a:lnTo>
                    <a:pt x="83" y="33"/>
                  </a:lnTo>
                  <a:lnTo>
                    <a:pt x="85" y="33"/>
                  </a:lnTo>
                  <a:lnTo>
                    <a:pt x="85" y="31"/>
                  </a:lnTo>
                  <a:lnTo>
                    <a:pt x="83" y="31"/>
                  </a:lnTo>
                  <a:lnTo>
                    <a:pt x="83" y="33"/>
                  </a:lnTo>
                  <a:lnTo>
                    <a:pt x="81" y="33"/>
                  </a:lnTo>
                  <a:lnTo>
                    <a:pt x="78" y="33"/>
                  </a:lnTo>
                  <a:lnTo>
                    <a:pt x="76" y="33"/>
                  </a:lnTo>
                  <a:lnTo>
                    <a:pt x="74" y="33"/>
                  </a:lnTo>
                  <a:lnTo>
                    <a:pt x="74" y="31"/>
                  </a:lnTo>
                  <a:lnTo>
                    <a:pt x="76" y="31"/>
                  </a:lnTo>
                  <a:lnTo>
                    <a:pt x="78" y="31"/>
                  </a:lnTo>
                  <a:lnTo>
                    <a:pt x="81" y="31"/>
                  </a:lnTo>
                  <a:lnTo>
                    <a:pt x="78" y="31"/>
                  </a:lnTo>
                  <a:lnTo>
                    <a:pt x="76" y="31"/>
                  </a:lnTo>
                  <a:lnTo>
                    <a:pt x="78" y="28"/>
                  </a:lnTo>
                  <a:lnTo>
                    <a:pt x="81" y="28"/>
                  </a:lnTo>
                  <a:lnTo>
                    <a:pt x="83" y="28"/>
                  </a:lnTo>
                  <a:lnTo>
                    <a:pt x="85" y="26"/>
                  </a:lnTo>
                  <a:lnTo>
                    <a:pt x="88" y="26"/>
                  </a:lnTo>
                  <a:lnTo>
                    <a:pt x="90" y="26"/>
                  </a:lnTo>
                  <a:lnTo>
                    <a:pt x="93" y="26"/>
                  </a:lnTo>
                  <a:lnTo>
                    <a:pt x="95" y="26"/>
                  </a:lnTo>
                  <a:lnTo>
                    <a:pt x="97" y="24"/>
                  </a:lnTo>
                  <a:lnTo>
                    <a:pt x="100" y="24"/>
                  </a:lnTo>
                  <a:lnTo>
                    <a:pt x="100" y="21"/>
                  </a:lnTo>
                  <a:lnTo>
                    <a:pt x="102" y="21"/>
                  </a:lnTo>
                  <a:lnTo>
                    <a:pt x="104" y="21"/>
                  </a:lnTo>
                  <a:lnTo>
                    <a:pt x="104" y="19"/>
                  </a:lnTo>
                  <a:lnTo>
                    <a:pt x="107" y="19"/>
                  </a:lnTo>
                  <a:lnTo>
                    <a:pt x="112" y="19"/>
                  </a:lnTo>
                  <a:lnTo>
                    <a:pt x="114" y="19"/>
                  </a:lnTo>
                  <a:lnTo>
                    <a:pt x="116" y="19"/>
                  </a:lnTo>
                  <a:lnTo>
                    <a:pt x="119" y="19"/>
                  </a:lnTo>
                  <a:lnTo>
                    <a:pt x="121" y="19"/>
                  </a:lnTo>
                  <a:lnTo>
                    <a:pt x="123" y="19"/>
                  </a:lnTo>
                  <a:lnTo>
                    <a:pt x="121" y="19"/>
                  </a:lnTo>
                  <a:lnTo>
                    <a:pt x="119" y="21"/>
                  </a:lnTo>
                  <a:lnTo>
                    <a:pt x="116" y="21"/>
                  </a:lnTo>
                  <a:lnTo>
                    <a:pt x="114" y="21"/>
                  </a:lnTo>
                  <a:lnTo>
                    <a:pt x="112" y="21"/>
                  </a:lnTo>
                  <a:lnTo>
                    <a:pt x="109" y="21"/>
                  </a:lnTo>
                  <a:lnTo>
                    <a:pt x="107" y="21"/>
                  </a:lnTo>
                  <a:lnTo>
                    <a:pt x="104" y="21"/>
                  </a:lnTo>
                  <a:lnTo>
                    <a:pt x="107" y="21"/>
                  </a:lnTo>
                  <a:lnTo>
                    <a:pt x="109" y="21"/>
                  </a:lnTo>
                  <a:lnTo>
                    <a:pt x="107" y="24"/>
                  </a:lnTo>
                  <a:lnTo>
                    <a:pt x="109" y="24"/>
                  </a:lnTo>
                  <a:lnTo>
                    <a:pt x="112" y="24"/>
                  </a:lnTo>
                  <a:lnTo>
                    <a:pt x="114" y="24"/>
                  </a:lnTo>
                  <a:lnTo>
                    <a:pt x="116" y="24"/>
                  </a:lnTo>
                  <a:lnTo>
                    <a:pt x="119" y="24"/>
                  </a:lnTo>
                  <a:lnTo>
                    <a:pt x="121" y="24"/>
                  </a:lnTo>
                  <a:lnTo>
                    <a:pt x="123" y="21"/>
                  </a:lnTo>
                  <a:lnTo>
                    <a:pt x="126" y="21"/>
                  </a:lnTo>
                  <a:lnTo>
                    <a:pt x="128" y="21"/>
                  </a:lnTo>
                  <a:lnTo>
                    <a:pt x="131" y="21"/>
                  </a:lnTo>
                  <a:lnTo>
                    <a:pt x="133" y="19"/>
                  </a:lnTo>
                  <a:lnTo>
                    <a:pt x="135" y="19"/>
                  </a:lnTo>
                  <a:lnTo>
                    <a:pt x="138" y="19"/>
                  </a:lnTo>
                  <a:lnTo>
                    <a:pt x="138" y="21"/>
                  </a:lnTo>
                  <a:lnTo>
                    <a:pt x="140" y="21"/>
                  </a:lnTo>
                  <a:lnTo>
                    <a:pt x="140" y="24"/>
                  </a:lnTo>
                  <a:close/>
                  <a:moveTo>
                    <a:pt x="591" y="0"/>
                  </a:moveTo>
                  <a:lnTo>
                    <a:pt x="593" y="2"/>
                  </a:lnTo>
                  <a:lnTo>
                    <a:pt x="596" y="2"/>
                  </a:lnTo>
                  <a:lnTo>
                    <a:pt x="598" y="2"/>
                  </a:lnTo>
                  <a:lnTo>
                    <a:pt x="600" y="2"/>
                  </a:lnTo>
                  <a:lnTo>
                    <a:pt x="603" y="2"/>
                  </a:lnTo>
                  <a:lnTo>
                    <a:pt x="605" y="2"/>
                  </a:lnTo>
                  <a:lnTo>
                    <a:pt x="607" y="5"/>
                  </a:lnTo>
                  <a:lnTo>
                    <a:pt x="610" y="5"/>
                  </a:lnTo>
                  <a:lnTo>
                    <a:pt x="612" y="5"/>
                  </a:lnTo>
                  <a:lnTo>
                    <a:pt x="612" y="7"/>
                  </a:lnTo>
                  <a:lnTo>
                    <a:pt x="612" y="9"/>
                  </a:lnTo>
                  <a:lnTo>
                    <a:pt x="610" y="9"/>
                  </a:lnTo>
                  <a:lnTo>
                    <a:pt x="612" y="9"/>
                  </a:lnTo>
                  <a:lnTo>
                    <a:pt x="615" y="9"/>
                  </a:lnTo>
                  <a:lnTo>
                    <a:pt x="615" y="12"/>
                  </a:lnTo>
                  <a:lnTo>
                    <a:pt x="615" y="14"/>
                  </a:lnTo>
                  <a:lnTo>
                    <a:pt x="612" y="14"/>
                  </a:lnTo>
                  <a:lnTo>
                    <a:pt x="610" y="14"/>
                  </a:lnTo>
                  <a:lnTo>
                    <a:pt x="610" y="17"/>
                  </a:lnTo>
                  <a:lnTo>
                    <a:pt x="612" y="17"/>
                  </a:lnTo>
                  <a:lnTo>
                    <a:pt x="615" y="17"/>
                  </a:lnTo>
                  <a:lnTo>
                    <a:pt x="617" y="19"/>
                  </a:lnTo>
                  <a:lnTo>
                    <a:pt x="615" y="19"/>
                  </a:lnTo>
                  <a:lnTo>
                    <a:pt x="615" y="21"/>
                  </a:lnTo>
                  <a:lnTo>
                    <a:pt x="612" y="24"/>
                  </a:lnTo>
                  <a:lnTo>
                    <a:pt x="610" y="26"/>
                  </a:lnTo>
                  <a:lnTo>
                    <a:pt x="607" y="26"/>
                  </a:lnTo>
                  <a:lnTo>
                    <a:pt x="603" y="28"/>
                  </a:lnTo>
                  <a:lnTo>
                    <a:pt x="600" y="31"/>
                  </a:lnTo>
                  <a:lnTo>
                    <a:pt x="598" y="31"/>
                  </a:lnTo>
                  <a:lnTo>
                    <a:pt x="596" y="31"/>
                  </a:lnTo>
                  <a:lnTo>
                    <a:pt x="593" y="31"/>
                  </a:lnTo>
                  <a:lnTo>
                    <a:pt x="591" y="33"/>
                  </a:lnTo>
                  <a:lnTo>
                    <a:pt x="589" y="33"/>
                  </a:lnTo>
                  <a:lnTo>
                    <a:pt x="584" y="36"/>
                  </a:lnTo>
                  <a:lnTo>
                    <a:pt x="581" y="36"/>
                  </a:lnTo>
                  <a:lnTo>
                    <a:pt x="579" y="36"/>
                  </a:lnTo>
                  <a:lnTo>
                    <a:pt x="577" y="36"/>
                  </a:lnTo>
                  <a:lnTo>
                    <a:pt x="574" y="36"/>
                  </a:lnTo>
                  <a:lnTo>
                    <a:pt x="570" y="36"/>
                  </a:lnTo>
                  <a:lnTo>
                    <a:pt x="567" y="36"/>
                  </a:lnTo>
                  <a:lnTo>
                    <a:pt x="565" y="36"/>
                  </a:lnTo>
                  <a:lnTo>
                    <a:pt x="562" y="38"/>
                  </a:lnTo>
                  <a:lnTo>
                    <a:pt x="560" y="38"/>
                  </a:lnTo>
                  <a:lnTo>
                    <a:pt x="560" y="36"/>
                  </a:lnTo>
                  <a:lnTo>
                    <a:pt x="562" y="36"/>
                  </a:lnTo>
                  <a:lnTo>
                    <a:pt x="560" y="36"/>
                  </a:lnTo>
                  <a:lnTo>
                    <a:pt x="558" y="36"/>
                  </a:lnTo>
                  <a:lnTo>
                    <a:pt x="555" y="38"/>
                  </a:lnTo>
                  <a:lnTo>
                    <a:pt x="551" y="38"/>
                  </a:lnTo>
                  <a:lnTo>
                    <a:pt x="548" y="38"/>
                  </a:lnTo>
                  <a:lnTo>
                    <a:pt x="546" y="38"/>
                  </a:lnTo>
                  <a:lnTo>
                    <a:pt x="543" y="38"/>
                  </a:lnTo>
                  <a:lnTo>
                    <a:pt x="546" y="38"/>
                  </a:lnTo>
                  <a:lnTo>
                    <a:pt x="543" y="38"/>
                  </a:lnTo>
                  <a:lnTo>
                    <a:pt x="543" y="40"/>
                  </a:lnTo>
                  <a:lnTo>
                    <a:pt x="541" y="40"/>
                  </a:lnTo>
                  <a:lnTo>
                    <a:pt x="539" y="40"/>
                  </a:lnTo>
                  <a:lnTo>
                    <a:pt x="539" y="38"/>
                  </a:lnTo>
                  <a:lnTo>
                    <a:pt x="536" y="38"/>
                  </a:lnTo>
                  <a:lnTo>
                    <a:pt x="536" y="36"/>
                  </a:lnTo>
                  <a:lnTo>
                    <a:pt x="529" y="33"/>
                  </a:lnTo>
                  <a:lnTo>
                    <a:pt x="527" y="33"/>
                  </a:lnTo>
                  <a:lnTo>
                    <a:pt x="527" y="31"/>
                  </a:lnTo>
                  <a:lnTo>
                    <a:pt x="522" y="31"/>
                  </a:lnTo>
                  <a:lnTo>
                    <a:pt x="520" y="28"/>
                  </a:lnTo>
                  <a:lnTo>
                    <a:pt x="522" y="28"/>
                  </a:lnTo>
                  <a:lnTo>
                    <a:pt x="527" y="24"/>
                  </a:lnTo>
                  <a:lnTo>
                    <a:pt x="532" y="24"/>
                  </a:lnTo>
                  <a:lnTo>
                    <a:pt x="534" y="24"/>
                  </a:lnTo>
                  <a:lnTo>
                    <a:pt x="534" y="21"/>
                  </a:lnTo>
                  <a:lnTo>
                    <a:pt x="536" y="21"/>
                  </a:lnTo>
                  <a:lnTo>
                    <a:pt x="539" y="21"/>
                  </a:lnTo>
                  <a:lnTo>
                    <a:pt x="541" y="21"/>
                  </a:lnTo>
                  <a:lnTo>
                    <a:pt x="541" y="19"/>
                  </a:lnTo>
                  <a:lnTo>
                    <a:pt x="543" y="19"/>
                  </a:lnTo>
                  <a:lnTo>
                    <a:pt x="543" y="17"/>
                  </a:lnTo>
                  <a:lnTo>
                    <a:pt x="546" y="19"/>
                  </a:lnTo>
                  <a:lnTo>
                    <a:pt x="546" y="17"/>
                  </a:lnTo>
                  <a:lnTo>
                    <a:pt x="548" y="17"/>
                  </a:lnTo>
                  <a:lnTo>
                    <a:pt x="551" y="17"/>
                  </a:lnTo>
                  <a:lnTo>
                    <a:pt x="553" y="17"/>
                  </a:lnTo>
                  <a:lnTo>
                    <a:pt x="555" y="17"/>
                  </a:lnTo>
                  <a:lnTo>
                    <a:pt x="558" y="17"/>
                  </a:lnTo>
                  <a:lnTo>
                    <a:pt x="560" y="17"/>
                  </a:lnTo>
                  <a:lnTo>
                    <a:pt x="562" y="17"/>
                  </a:lnTo>
                  <a:lnTo>
                    <a:pt x="565" y="17"/>
                  </a:lnTo>
                  <a:lnTo>
                    <a:pt x="567" y="17"/>
                  </a:lnTo>
                  <a:lnTo>
                    <a:pt x="570" y="17"/>
                  </a:lnTo>
                  <a:lnTo>
                    <a:pt x="572" y="17"/>
                  </a:lnTo>
                  <a:lnTo>
                    <a:pt x="574" y="17"/>
                  </a:lnTo>
                  <a:lnTo>
                    <a:pt x="574" y="14"/>
                  </a:lnTo>
                  <a:lnTo>
                    <a:pt x="577" y="14"/>
                  </a:lnTo>
                  <a:lnTo>
                    <a:pt x="574" y="12"/>
                  </a:lnTo>
                  <a:lnTo>
                    <a:pt x="574" y="9"/>
                  </a:lnTo>
                  <a:lnTo>
                    <a:pt x="574" y="7"/>
                  </a:lnTo>
                  <a:lnTo>
                    <a:pt x="577" y="7"/>
                  </a:lnTo>
                  <a:lnTo>
                    <a:pt x="577" y="5"/>
                  </a:lnTo>
                  <a:lnTo>
                    <a:pt x="579" y="2"/>
                  </a:lnTo>
                  <a:lnTo>
                    <a:pt x="584" y="2"/>
                  </a:lnTo>
                  <a:lnTo>
                    <a:pt x="584" y="0"/>
                  </a:lnTo>
                  <a:lnTo>
                    <a:pt x="586" y="0"/>
                  </a:lnTo>
                  <a:lnTo>
                    <a:pt x="589" y="0"/>
                  </a:lnTo>
                  <a:lnTo>
                    <a:pt x="59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9" name="Freeform 55046"/>
            <p:cNvSpPr>
              <a:spLocks noEditPoints="1"/>
            </p:cNvSpPr>
            <p:nvPr/>
          </p:nvSpPr>
          <p:spPr bwMode="auto">
            <a:xfrm>
              <a:off x="4383085" y="1793883"/>
              <a:ext cx="982662" cy="1112843"/>
            </a:xfrm>
            <a:custGeom>
              <a:avLst/>
              <a:gdLst>
                <a:gd name="T0" fmla="*/ 261 w 619"/>
                <a:gd name="T1" fmla="*/ 698 h 701"/>
                <a:gd name="T2" fmla="*/ 249 w 619"/>
                <a:gd name="T3" fmla="*/ 689 h 701"/>
                <a:gd name="T4" fmla="*/ 254 w 619"/>
                <a:gd name="T5" fmla="*/ 682 h 701"/>
                <a:gd name="T6" fmla="*/ 266 w 619"/>
                <a:gd name="T7" fmla="*/ 684 h 701"/>
                <a:gd name="T8" fmla="*/ 259 w 619"/>
                <a:gd name="T9" fmla="*/ 684 h 701"/>
                <a:gd name="T10" fmla="*/ 477 w 619"/>
                <a:gd name="T11" fmla="*/ 133 h 701"/>
                <a:gd name="T12" fmla="*/ 209 w 619"/>
                <a:gd name="T13" fmla="*/ 123 h 701"/>
                <a:gd name="T14" fmla="*/ 180 w 619"/>
                <a:gd name="T15" fmla="*/ 133 h 701"/>
                <a:gd name="T16" fmla="*/ 173 w 619"/>
                <a:gd name="T17" fmla="*/ 119 h 701"/>
                <a:gd name="T18" fmla="*/ 157 w 619"/>
                <a:gd name="T19" fmla="*/ 114 h 701"/>
                <a:gd name="T20" fmla="*/ 399 w 619"/>
                <a:gd name="T21" fmla="*/ 121 h 701"/>
                <a:gd name="T22" fmla="*/ 368 w 619"/>
                <a:gd name="T23" fmla="*/ 116 h 701"/>
                <a:gd name="T24" fmla="*/ 399 w 619"/>
                <a:gd name="T25" fmla="*/ 104 h 701"/>
                <a:gd name="T26" fmla="*/ 287 w 619"/>
                <a:gd name="T27" fmla="*/ 114 h 701"/>
                <a:gd name="T28" fmla="*/ 242 w 619"/>
                <a:gd name="T29" fmla="*/ 114 h 701"/>
                <a:gd name="T30" fmla="*/ 259 w 619"/>
                <a:gd name="T31" fmla="*/ 104 h 701"/>
                <a:gd name="T32" fmla="*/ 472 w 619"/>
                <a:gd name="T33" fmla="*/ 107 h 701"/>
                <a:gd name="T34" fmla="*/ 441 w 619"/>
                <a:gd name="T35" fmla="*/ 114 h 701"/>
                <a:gd name="T36" fmla="*/ 425 w 619"/>
                <a:gd name="T37" fmla="*/ 121 h 701"/>
                <a:gd name="T38" fmla="*/ 406 w 619"/>
                <a:gd name="T39" fmla="*/ 97 h 701"/>
                <a:gd name="T40" fmla="*/ 311 w 619"/>
                <a:gd name="T41" fmla="*/ 92 h 701"/>
                <a:gd name="T42" fmla="*/ 297 w 619"/>
                <a:gd name="T43" fmla="*/ 92 h 701"/>
                <a:gd name="T44" fmla="*/ 413 w 619"/>
                <a:gd name="T45" fmla="*/ 85 h 701"/>
                <a:gd name="T46" fmla="*/ 377 w 619"/>
                <a:gd name="T47" fmla="*/ 88 h 701"/>
                <a:gd name="T48" fmla="*/ 349 w 619"/>
                <a:gd name="T49" fmla="*/ 81 h 701"/>
                <a:gd name="T50" fmla="*/ 105 w 619"/>
                <a:gd name="T51" fmla="*/ 73 h 701"/>
                <a:gd name="T52" fmla="*/ 109 w 619"/>
                <a:gd name="T53" fmla="*/ 83 h 701"/>
                <a:gd name="T54" fmla="*/ 78 w 619"/>
                <a:gd name="T55" fmla="*/ 81 h 701"/>
                <a:gd name="T56" fmla="*/ 52 w 619"/>
                <a:gd name="T57" fmla="*/ 90 h 701"/>
                <a:gd name="T58" fmla="*/ 19 w 619"/>
                <a:gd name="T59" fmla="*/ 92 h 701"/>
                <a:gd name="T60" fmla="*/ 50 w 619"/>
                <a:gd name="T61" fmla="*/ 81 h 701"/>
                <a:gd name="T62" fmla="*/ 83 w 619"/>
                <a:gd name="T63" fmla="*/ 69 h 701"/>
                <a:gd name="T64" fmla="*/ 339 w 619"/>
                <a:gd name="T65" fmla="*/ 78 h 701"/>
                <a:gd name="T66" fmla="*/ 304 w 619"/>
                <a:gd name="T67" fmla="*/ 69 h 701"/>
                <a:gd name="T68" fmla="*/ 453 w 619"/>
                <a:gd name="T69" fmla="*/ 76 h 701"/>
                <a:gd name="T70" fmla="*/ 453 w 619"/>
                <a:gd name="T71" fmla="*/ 69 h 701"/>
                <a:gd name="T72" fmla="*/ 432 w 619"/>
                <a:gd name="T73" fmla="*/ 62 h 701"/>
                <a:gd name="T74" fmla="*/ 354 w 619"/>
                <a:gd name="T75" fmla="*/ 59 h 701"/>
                <a:gd name="T76" fmla="*/ 399 w 619"/>
                <a:gd name="T77" fmla="*/ 69 h 701"/>
                <a:gd name="T78" fmla="*/ 396 w 619"/>
                <a:gd name="T79" fmla="*/ 81 h 701"/>
                <a:gd name="T80" fmla="*/ 358 w 619"/>
                <a:gd name="T81" fmla="*/ 69 h 701"/>
                <a:gd name="T82" fmla="*/ 313 w 619"/>
                <a:gd name="T83" fmla="*/ 59 h 701"/>
                <a:gd name="T84" fmla="*/ 401 w 619"/>
                <a:gd name="T85" fmla="*/ 57 h 701"/>
                <a:gd name="T86" fmla="*/ 439 w 619"/>
                <a:gd name="T87" fmla="*/ 66 h 701"/>
                <a:gd name="T88" fmla="*/ 392 w 619"/>
                <a:gd name="T89" fmla="*/ 59 h 701"/>
                <a:gd name="T90" fmla="*/ 548 w 619"/>
                <a:gd name="T91" fmla="*/ 52 h 701"/>
                <a:gd name="T92" fmla="*/ 506 w 619"/>
                <a:gd name="T93" fmla="*/ 64 h 701"/>
                <a:gd name="T94" fmla="*/ 192 w 619"/>
                <a:gd name="T95" fmla="*/ 47 h 701"/>
                <a:gd name="T96" fmla="*/ 176 w 619"/>
                <a:gd name="T97" fmla="*/ 50 h 701"/>
                <a:gd name="T98" fmla="*/ 413 w 619"/>
                <a:gd name="T99" fmla="*/ 52 h 701"/>
                <a:gd name="T100" fmla="*/ 427 w 619"/>
                <a:gd name="T101" fmla="*/ 45 h 701"/>
                <a:gd name="T102" fmla="*/ 418 w 619"/>
                <a:gd name="T103" fmla="*/ 38 h 701"/>
                <a:gd name="T104" fmla="*/ 385 w 619"/>
                <a:gd name="T105" fmla="*/ 47 h 701"/>
                <a:gd name="T106" fmla="*/ 347 w 619"/>
                <a:gd name="T107" fmla="*/ 45 h 701"/>
                <a:gd name="T108" fmla="*/ 377 w 619"/>
                <a:gd name="T109" fmla="*/ 40 h 701"/>
                <a:gd name="T110" fmla="*/ 470 w 619"/>
                <a:gd name="T111" fmla="*/ 33 h 701"/>
                <a:gd name="T112" fmla="*/ 422 w 619"/>
                <a:gd name="T113" fmla="*/ 21 h 701"/>
                <a:gd name="T114" fmla="*/ 415 w 619"/>
                <a:gd name="T115" fmla="*/ 31 h 701"/>
                <a:gd name="T116" fmla="*/ 399 w 619"/>
                <a:gd name="T117" fmla="*/ 24 h 701"/>
                <a:gd name="T118" fmla="*/ 605 w 619"/>
                <a:gd name="T119" fmla="*/ 19 h 701"/>
                <a:gd name="T120" fmla="*/ 589 w 619"/>
                <a:gd name="T121" fmla="*/ 12 h 701"/>
                <a:gd name="T122" fmla="*/ 463 w 619"/>
                <a:gd name="T123" fmla="*/ 9 h 701"/>
                <a:gd name="T124" fmla="*/ 430 w 619"/>
                <a:gd name="T125" fmla="*/ 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9" h="701">
                  <a:moveTo>
                    <a:pt x="268" y="689"/>
                  </a:moveTo>
                  <a:lnTo>
                    <a:pt x="271" y="689"/>
                  </a:lnTo>
                  <a:lnTo>
                    <a:pt x="268" y="689"/>
                  </a:lnTo>
                  <a:lnTo>
                    <a:pt x="268" y="686"/>
                  </a:lnTo>
                  <a:lnTo>
                    <a:pt x="268" y="689"/>
                  </a:lnTo>
                  <a:lnTo>
                    <a:pt x="268" y="686"/>
                  </a:lnTo>
                  <a:lnTo>
                    <a:pt x="271" y="686"/>
                  </a:lnTo>
                  <a:lnTo>
                    <a:pt x="271" y="689"/>
                  </a:lnTo>
                  <a:lnTo>
                    <a:pt x="271" y="691"/>
                  </a:lnTo>
                  <a:lnTo>
                    <a:pt x="271" y="694"/>
                  </a:lnTo>
                  <a:lnTo>
                    <a:pt x="273" y="694"/>
                  </a:lnTo>
                  <a:lnTo>
                    <a:pt x="271" y="694"/>
                  </a:lnTo>
                  <a:lnTo>
                    <a:pt x="271" y="696"/>
                  </a:lnTo>
                  <a:lnTo>
                    <a:pt x="268" y="696"/>
                  </a:lnTo>
                  <a:lnTo>
                    <a:pt x="268" y="698"/>
                  </a:lnTo>
                  <a:lnTo>
                    <a:pt x="271" y="698"/>
                  </a:lnTo>
                  <a:lnTo>
                    <a:pt x="268" y="698"/>
                  </a:lnTo>
                  <a:lnTo>
                    <a:pt x="266" y="698"/>
                  </a:lnTo>
                  <a:lnTo>
                    <a:pt x="264" y="698"/>
                  </a:lnTo>
                  <a:lnTo>
                    <a:pt x="261" y="698"/>
                  </a:lnTo>
                  <a:lnTo>
                    <a:pt x="264" y="698"/>
                  </a:lnTo>
                  <a:lnTo>
                    <a:pt x="261" y="698"/>
                  </a:lnTo>
                  <a:lnTo>
                    <a:pt x="264" y="701"/>
                  </a:lnTo>
                  <a:lnTo>
                    <a:pt x="261" y="701"/>
                  </a:lnTo>
                  <a:lnTo>
                    <a:pt x="261" y="698"/>
                  </a:lnTo>
                  <a:lnTo>
                    <a:pt x="261" y="701"/>
                  </a:lnTo>
                  <a:lnTo>
                    <a:pt x="261" y="698"/>
                  </a:lnTo>
                  <a:lnTo>
                    <a:pt x="259" y="698"/>
                  </a:lnTo>
                  <a:lnTo>
                    <a:pt x="256" y="698"/>
                  </a:lnTo>
                  <a:lnTo>
                    <a:pt x="259" y="698"/>
                  </a:lnTo>
                  <a:lnTo>
                    <a:pt x="259" y="696"/>
                  </a:lnTo>
                  <a:lnTo>
                    <a:pt x="256" y="696"/>
                  </a:lnTo>
                  <a:lnTo>
                    <a:pt x="259" y="696"/>
                  </a:lnTo>
                  <a:lnTo>
                    <a:pt x="256" y="696"/>
                  </a:lnTo>
                  <a:lnTo>
                    <a:pt x="256" y="694"/>
                  </a:lnTo>
                  <a:lnTo>
                    <a:pt x="254" y="694"/>
                  </a:lnTo>
                  <a:lnTo>
                    <a:pt x="254" y="691"/>
                  </a:lnTo>
                  <a:lnTo>
                    <a:pt x="254" y="689"/>
                  </a:lnTo>
                  <a:lnTo>
                    <a:pt x="252" y="689"/>
                  </a:lnTo>
                  <a:lnTo>
                    <a:pt x="254" y="689"/>
                  </a:lnTo>
                  <a:lnTo>
                    <a:pt x="252" y="689"/>
                  </a:lnTo>
                  <a:lnTo>
                    <a:pt x="249" y="689"/>
                  </a:lnTo>
                  <a:lnTo>
                    <a:pt x="252" y="689"/>
                  </a:lnTo>
                  <a:lnTo>
                    <a:pt x="249" y="689"/>
                  </a:lnTo>
                  <a:lnTo>
                    <a:pt x="249" y="686"/>
                  </a:lnTo>
                  <a:lnTo>
                    <a:pt x="249" y="689"/>
                  </a:lnTo>
                  <a:lnTo>
                    <a:pt x="247" y="689"/>
                  </a:lnTo>
                  <a:lnTo>
                    <a:pt x="245" y="689"/>
                  </a:lnTo>
                  <a:lnTo>
                    <a:pt x="242" y="689"/>
                  </a:lnTo>
                  <a:lnTo>
                    <a:pt x="240" y="686"/>
                  </a:lnTo>
                  <a:lnTo>
                    <a:pt x="240" y="684"/>
                  </a:lnTo>
                  <a:lnTo>
                    <a:pt x="240" y="682"/>
                  </a:lnTo>
                  <a:lnTo>
                    <a:pt x="242" y="682"/>
                  </a:lnTo>
                  <a:lnTo>
                    <a:pt x="245" y="682"/>
                  </a:lnTo>
                  <a:lnTo>
                    <a:pt x="247" y="682"/>
                  </a:lnTo>
                  <a:lnTo>
                    <a:pt x="247" y="679"/>
                  </a:lnTo>
                  <a:lnTo>
                    <a:pt x="247" y="682"/>
                  </a:lnTo>
                  <a:lnTo>
                    <a:pt x="249" y="682"/>
                  </a:lnTo>
                  <a:lnTo>
                    <a:pt x="252" y="682"/>
                  </a:lnTo>
                  <a:lnTo>
                    <a:pt x="252" y="679"/>
                  </a:lnTo>
                  <a:lnTo>
                    <a:pt x="249" y="679"/>
                  </a:lnTo>
                  <a:lnTo>
                    <a:pt x="252" y="679"/>
                  </a:lnTo>
                  <a:lnTo>
                    <a:pt x="252" y="682"/>
                  </a:lnTo>
                  <a:lnTo>
                    <a:pt x="254" y="682"/>
                  </a:lnTo>
                  <a:lnTo>
                    <a:pt x="254" y="679"/>
                  </a:lnTo>
                  <a:lnTo>
                    <a:pt x="254" y="682"/>
                  </a:lnTo>
                  <a:lnTo>
                    <a:pt x="254" y="679"/>
                  </a:lnTo>
                  <a:lnTo>
                    <a:pt x="254" y="682"/>
                  </a:lnTo>
                  <a:lnTo>
                    <a:pt x="256" y="682"/>
                  </a:lnTo>
                  <a:lnTo>
                    <a:pt x="256" y="684"/>
                  </a:lnTo>
                  <a:lnTo>
                    <a:pt x="256" y="682"/>
                  </a:lnTo>
                  <a:lnTo>
                    <a:pt x="254" y="682"/>
                  </a:lnTo>
                  <a:lnTo>
                    <a:pt x="254" y="679"/>
                  </a:lnTo>
                  <a:lnTo>
                    <a:pt x="256" y="679"/>
                  </a:lnTo>
                  <a:lnTo>
                    <a:pt x="254" y="679"/>
                  </a:lnTo>
                  <a:lnTo>
                    <a:pt x="256" y="679"/>
                  </a:lnTo>
                  <a:lnTo>
                    <a:pt x="259" y="679"/>
                  </a:lnTo>
                  <a:lnTo>
                    <a:pt x="261" y="679"/>
                  </a:lnTo>
                  <a:lnTo>
                    <a:pt x="261" y="682"/>
                  </a:lnTo>
                  <a:lnTo>
                    <a:pt x="261" y="679"/>
                  </a:lnTo>
                  <a:lnTo>
                    <a:pt x="261" y="682"/>
                  </a:lnTo>
                  <a:lnTo>
                    <a:pt x="264" y="682"/>
                  </a:lnTo>
                  <a:lnTo>
                    <a:pt x="264" y="684"/>
                  </a:lnTo>
                  <a:lnTo>
                    <a:pt x="266" y="684"/>
                  </a:lnTo>
                  <a:lnTo>
                    <a:pt x="264" y="684"/>
                  </a:lnTo>
                  <a:lnTo>
                    <a:pt x="266" y="684"/>
                  </a:lnTo>
                  <a:lnTo>
                    <a:pt x="266" y="686"/>
                  </a:lnTo>
                  <a:lnTo>
                    <a:pt x="266" y="684"/>
                  </a:lnTo>
                  <a:lnTo>
                    <a:pt x="266" y="686"/>
                  </a:lnTo>
                  <a:lnTo>
                    <a:pt x="264" y="686"/>
                  </a:lnTo>
                  <a:lnTo>
                    <a:pt x="264" y="684"/>
                  </a:lnTo>
                  <a:lnTo>
                    <a:pt x="264" y="686"/>
                  </a:lnTo>
                  <a:lnTo>
                    <a:pt x="264" y="684"/>
                  </a:lnTo>
                  <a:lnTo>
                    <a:pt x="261" y="684"/>
                  </a:lnTo>
                  <a:lnTo>
                    <a:pt x="261" y="682"/>
                  </a:lnTo>
                  <a:lnTo>
                    <a:pt x="259" y="682"/>
                  </a:lnTo>
                  <a:lnTo>
                    <a:pt x="256" y="682"/>
                  </a:lnTo>
                  <a:lnTo>
                    <a:pt x="256" y="679"/>
                  </a:lnTo>
                  <a:lnTo>
                    <a:pt x="256" y="682"/>
                  </a:lnTo>
                  <a:lnTo>
                    <a:pt x="259" y="682"/>
                  </a:lnTo>
                  <a:lnTo>
                    <a:pt x="261" y="684"/>
                  </a:lnTo>
                  <a:lnTo>
                    <a:pt x="261" y="682"/>
                  </a:lnTo>
                  <a:lnTo>
                    <a:pt x="261" y="684"/>
                  </a:lnTo>
                  <a:lnTo>
                    <a:pt x="261" y="682"/>
                  </a:lnTo>
                  <a:lnTo>
                    <a:pt x="261" y="684"/>
                  </a:lnTo>
                  <a:lnTo>
                    <a:pt x="259" y="684"/>
                  </a:lnTo>
                  <a:lnTo>
                    <a:pt x="261" y="684"/>
                  </a:lnTo>
                  <a:lnTo>
                    <a:pt x="259" y="684"/>
                  </a:lnTo>
                  <a:lnTo>
                    <a:pt x="256" y="684"/>
                  </a:lnTo>
                  <a:lnTo>
                    <a:pt x="259" y="684"/>
                  </a:lnTo>
                  <a:lnTo>
                    <a:pt x="261" y="684"/>
                  </a:lnTo>
                  <a:lnTo>
                    <a:pt x="261" y="686"/>
                  </a:lnTo>
                  <a:lnTo>
                    <a:pt x="264" y="686"/>
                  </a:lnTo>
                  <a:lnTo>
                    <a:pt x="261" y="686"/>
                  </a:lnTo>
                  <a:lnTo>
                    <a:pt x="264" y="686"/>
                  </a:lnTo>
                  <a:lnTo>
                    <a:pt x="266" y="689"/>
                  </a:lnTo>
                  <a:lnTo>
                    <a:pt x="268" y="689"/>
                  </a:lnTo>
                  <a:close/>
                  <a:moveTo>
                    <a:pt x="477" y="121"/>
                  </a:moveTo>
                  <a:lnTo>
                    <a:pt x="479" y="121"/>
                  </a:lnTo>
                  <a:lnTo>
                    <a:pt x="482" y="121"/>
                  </a:lnTo>
                  <a:lnTo>
                    <a:pt x="484" y="123"/>
                  </a:lnTo>
                  <a:lnTo>
                    <a:pt x="487" y="123"/>
                  </a:lnTo>
                  <a:lnTo>
                    <a:pt x="489" y="123"/>
                  </a:lnTo>
                  <a:lnTo>
                    <a:pt x="491" y="126"/>
                  </a:lnTo>
                  <a:lnTo>
                    <a:pt x="491" y="128"/>
                  </a:lnTo>
                  <a:lnTo>
                    <a:pt x="489" y="128"/>
                  </a:lnTo>
                  <a:lnTo>
                    <a:pt x="487" y="130"/>
                  </a:lnTo>
                  <a:lnTo>
                    <a:pt x="484" y="130"/>
                  </a:lnTo>
                  <a:lnTo>
                    <a:pt x="484" y="133"/>
                  </a:lnTo>
                  <a:lnTo>
                    <a:pt x="482" y="133"/>
                  </a:lnTo>
                  <a:lnTo>
                    <a:pt x="479" y="133"/>
                  </a:lnTo>
                  <a:lnTo>
                    <a:pt x="477" y="133"/>
                  </a:lnTo>
                  <a:lnTo>
                    <a:pt x="475" y="133"/>
                  </a:lnTo>
                  <a:lnTo>
                    <a:pt x="475" y="135"/>
                  </a:lnTo>
                  <a:lnTo>
                    <a:pt x="472" y="133"/>
                  </a:lnTo>
                  <a:lnTo>
                    <a:pt x="470" y="133"/>
                  </a:lnTo>
                  <a:lnTo>
                    <a:pt x="468" y="133"/>
                  </a:lnTo>
                  <a:lnTo>
                    <a:pt x="468" y="130"/>
                  </a:lnTo>
                  <a:lnTo>
                    <a:pt x="465" y="130"/>
                  </a:lnTo>
                  <a:lnTo>
                    <a:pt x="463" y="130"/>
                  </a:lnTo>
                  <a:lnTo>
                    <a:pt x="460" y="130"/>
                  </a:lnTo>
                  <a:lnTo>
                    <a:pt x="458" y="128"/>
                  </a:lnTo>
                  <a:lnTo>
                    <a:pt x="456" y="128"/>
                  </a:lnTo>
                  <a:lnTo>
                    <a:pt x="456" y="126"/>
                  </a:lnTo>
                  <a:lnTo>
                    <a:pt x="458" y="126"/>
                  </a:lnTo>
                  <a:lnTo>
                    <a:pt x="460" y="126"/>
                  </a:lnTo>
                  <a:lnTo>
                    <a:pt x="463" y="123"/>
                  </a:lnTo>
                  <a:lnTo>
                    <a:pt x="465" y="123"/>
                  </a:lnTo>
                  <a:lnTo>
                    <a:pt x="468" y="123"/>
                  </a:lnTo>
                  <a:lnTo>
                    <a:pt x="472" y="121"/>
                  </a:lnTo>
                  <a:lnTo>
                    <a:pt x="475" y="121"/>
                  </a:lnTo>
                  <a:lnTo>
                    <a:pt x="477" y="121"/>
                  </a:lnTo>
                  <a:close/>
                  <a:moveTo>
                    <a:pt x="207" y="123"/>
                  </a:moveTo>
                  <a:lnTo>
                    <a:pt x="209" y="123"/>
                  </a:lnTo>
                  <a:lnTo>
                    <a:pt x="207" y="126"/>
                  </a:lnTo>
                  <a:lnTo>
                    <a:pt x="207" y="128"/>
                  </a:lnTo>
                  <a:lnTo>
                    <a:pt x="204" y="128"/>
                  </a:lnTo>
                  <a:lnTo>
                    <a:pt x="207" y="128"/>
                  </a:lnTo>
                  <a:lnTo>
                    <a:pt x="207" y="130"/>
                  </a:lnTo>
                  <a:lnTo>
                    <a:pt x="209" y="130"/>
                  </a:lnTo>
                  <a:lnTo>
                    <a:pt x="211" y="130"/>
                  </a:lnTo>
                  <a:lnTo>
                    <a:pt x="209" y="130"/>
                  </a:lnTo>
                  <a:lnTo>
                    <a:pt x="211" y="133"/>
                  </a:lnTo>
                  <a:lnTo>
                    <a:pt x="214" y="133"/>
                  </a:lnTo>
                  <a:lnTo>
                    <a:pt x="211" y="133"/>
                  </a:lnTo>
                  <a:lnTo>
                    <a:pt x="209" y="133"/>
                  </a:lnTo>
                  <a:lnTo>
                    <a:pt x="207" y="133"/>
                  </a:lnTo>
                  <a:lnTo>
                    <a:pt x="199" y="133"/>
                  </a:lnTo>
                  <a:lnTo>
                    <a:pt x="197" y="133"/>
                  </a:lnTo>
                  <a:lnTo>
                    <a:pt x="195" y="133"/>
                  </a:lnTo>
                  <a:lnTo>
                    <a:pt x="192" y="133"/>
                  </a:lnTo>
                  <a:lnTo>
                    <a:pt x="190" y="133"/>
                  </a:lnTo>
                  <a:lnTo>
                    <a:pt x="188" y="133"/>
                  </a:lnTo>
                  <a:lnTo>
                    <a:pt x="185" y="133"/>
                  </a:lnTo>
                  <a:lnTo>
                    <a:pt x="183" y="133"/>
                  </a:lnTo>
                  <a:lnTo>
                    <a:pt x="180" y="133"/>
                  </a:lnTo>
                  <a:lnTo>
                    <a:pt x="178" y="133"/>
                  </a:lnTo>
                  <a:lnTo>
                    <a:pt x="176" y="133"/>
                  </a:lnTo>
                  <a:lnTo>
                    <a:pt x="176" y="130"/>
                  </a:lnTo>
                  <a:lnTo>
                    <a:pt x="178" y="130"/>
                  </a:lnTo>
                  <a:lnTo>
                    <a:pt x="180" y="130"/>
                  </a:lnTo>
                  <a:lnTo>
                    <a:pt x="185" y="128"/>
                  </a:lnTo>
                  <a:lnTo>
                    <a:pt x="183" y="128"/>
                  </a:lnTo>
                  <a:lnTo>
                    <a:pt x="185" y="128"/>
                  </a:lnTo>
                  <a:lnTo>
                    <a:pt x="185" y="126"/>
                  </a:lnTo>
                  <a:lnTo>
                    <a:pt x="188" y="126"/>
                  </a:lnTo>
                  <a:lnTo>
                    <a:pt x="190" y="123"/>
                  </a:lnTo>
                  <a:lnTo>
                    <a:pt x="192" y="123"/>
                  </a:lnTo>
                  <a:lnTo>
                    <a:pt x="195" y="123"/>
                  </a:lnTo>
                  <a:lnTo>
                    <a:pt x="197" y="123"/>
                  </a:lnTo>
                  <a:lnTo>
                    <a:pt x="197" y="121"/>
                  </a:lnTo>
                  <a:lnTo>
                    <a:pt x="199" y="121"/>
                  </a:lnTo>
                  <a:lnTo>
                    <a:pt x="202" y="121"/>
                  </a:lnTo>
                  <a:lnTo>
                    <a:pt x="202" y="123"/>
                  </a:lnTo>
                  <a:lnTo>
                    <a:pt x="204" y="123"/>
                  </a:lnTo>
                  <a:lnTo>
                    <a:pt x="207" y="123"/>
                  </a:lnTo>
                  <a:close/>
                  <a:moveTo>
                    <a:pt x="176" y="119"/>
                  </a:moveTo>
                  <a:lnTo>
                    <a:pt x="173" y="119"/>
                  </a:lnTo>
                  <a:lnTo>
                    <a:pt x="171" y="119"/>
                  </a:lnTo>
                  <a:lnTo>
                    <a:pt x="169" y="119"/>
                  </a:lnTo>
                  <a:lnTo>
                    <a:pt x="169" y="121"/>
                  </a:lnTo>
                  <a:lnTo>
                    <a:pt x="169" y="123"/>
                  </a:lnTo>
                  <a:lnTo>
                    <a:pt x="171" y="123"/>
                  </a:lnTo>
                  <a:lnTo>
                    <a:pt x="169" y="123"/>
                  </a:lnTo>
                  <a:lnTo>
                    <a:pt x="169" y="126"/>
                  </a:lnTo>
                  <a:lnTo>
                    <a:pt x="166" y="126"/>
                  </a:lnTo>
                  <a:lnTo>
                    <a:pt x="164" y="126"/>
                  </a:lnTo>
                  <a:lnTo>
                    <a:pt x="164" y="123"/>
                  </a:lnTo>
                  <a:lnTo>
                    <a:pt x="161" y="123"/>
                  </a:lnTo>
                  <a:lnTo>
                    <a:pt x="161" y="121"/>
                  </a:lnTo>
                  <a:lnTo>
                    <a:pt x="159" y="121"/>
                  </a:lnTo>
                  <a:lnTo>
                    <a:pt x="157" y="121"/>
                  </a:lnTo>
                  <a:lnTo>
                    <a:pt x="154" y="121"/>
                  </a:lnTo>
                  <a:lnTo>
                    <a:pt x="154" y="119"/>
                  </a:lnTo>
                  <a:lnTo>
                    <a:pt x="152" y="119"/>
                  </a:lnTo>
                  <a:lnTo>
                    <a:pt x="150" y="119"/>
                  </a:lnTo>
                  <a:lnTo>
                    <a:pt x="150" y="116"/>
                  </a:lnTo>
                  <a:lnTo>
                    <a:pt x="152" y="116"/>
                  </a:lnTo>
                  <a:lnTo>
                    <a:pt x="154" y="116"/>
                  </a:lnTo>
                  <a:lnTo>
                    <a:pt x="157" y="114"/>
                  </a:lnTo>
                  <a:lnTo>
                    <a:pt x="159" y="114"/>
                  </a:lnTo>
                  <a:lnTo>
                    <a:pt x="161" y="114"/>
                  </a:lnTo>
                  <a:lnTo>
                    <a:pt x="164" y="114"/>
                  </a:lnTo>
                  <a:lnTo>
                    <a:pt x="166" y="111"/>
                  </a:lnTo>
                  <a:lnTo>
                    <a:pt x="169" y="111"/>
                  </a:lnTo>
                  <a:lnTo>
                    <a:pt x="171" y="114"/>
                  </a:lnTo>
                  <a:lnTo>
                    <a:pt x="173" y="114"/>
                  </a:lnTo>
                  <a:lnTo>
                    <a:pt x="176" y="114"/>
                  </a:lnTo>
                  <a:lnTo>
                    <a:pt x="178" y="114"/>
                  </a:lnTo>
                  <a:lnTo>
                    <a:pt x="178" y="116"/>
                  </a:lnTo>
                  <a:lnTo>
                    <a:pt x="176" y="116"/>
                  </a:lnTo>
                  <a:lnTo>
                    <a:pt x="176" y="119"/>
                  </a:lnTo>
                  <a:close/>
                  <a:moveTo>
                    <a:pt x="403" y="107"/>
                  </a:moveTo>
                  <a:lnTo>
                    <a:pt x="401" y="109"/>
                  </a:lnTo>
                  <a:lnTo>
                    <a:pt x="401" y="111"/>
                  </a:lnTo>
                  <a:lnTo>
                    <a:pt x="401" y="114"/>
                  </a:lnTo>
                  <a:lnTo>
                    <a:pt x="403" y="114"/>
                  </a:lnTo>
                  <a:lnTo>
                    <a:pt x="401" y="114"/>
                  </a:lnTo>
                  <a:lnTo>
                    <a:pt x="401" y="116"/>
                  </a:lnTo>
                  <a:lnTo>
                    <a:pt x="399" y="116"/>
                  </a:lnTo>
                  <a:lnTo>
                    <a:pt x="399" y="119"/>
                  </a:lnTo>
                  <a:lnTo>
                    <a:pt x="399" y="121"/>
                  </a:lnTo>
                  <a:lnTo>
                    <a:pt x="399" y="123"/>
                  </a:lnTo>
                  <a:lnTo>
                    <a:pt x="396" y="123"/>
                  </a:lnTo>
                  <a:lnTo>
                    <a:pt x="394" y="123"/>
                  </a:lnTo>
                  <a:lnTo>
                    <a:pt x="392" y="123"/>
                  </a:lnTo>
                  <a:lnTo>
                    <a:pt x="389" y="123"/>
                  </a:lnTo>
                  <a:lnTo>
                    <a:pt x="387" y="123"/>
                  </a:lnTo>
                  <a:lnTo>
                    <a:pt x="385" y="123"/>
                  </a:lnTo>
                  <a:lnTo>
                    <a:pt x="382" y="123"/>
                  </a:lnTo>
                  <a:lnTo>
                    <a:pt x="380" y="123"/>
                  </a:lnTo>
                  <a:lnTo>
                    <a:pt x="377" y="123"/>
                  </a:lnTo>
                  <a:lnTo>
                    <a:pt x="375" y="123"/>
                  </a:lnTo>
                  <a:lnTo>
                    <a:pt x="373" y="123"/>
                  </a:lnTo>
                  <a:lnTo>
                    <a:pt x="370" y="123"/>
                  </a:lnTo>
                  <a:lnTo>
                    <a:pt x="368" y="123"/>
                  </a:lnTo>
                  <a:lnTo>
                    <a:pt x="366" y="123"/>
                  </a:lnTo>
                  <a:lnTo>
                    <a:pt x="363" y="123"/>
                  </a:lnTo>
                  <a:lnTo>
                    <a:pt x="361" y="123"/>
                  </a:lnTo>
                  <a:lnTo>
                    <a:pt x="358" y="121"/>
                  </a:lnTo>
                  <a:lnTo>
                    <a:pt x="356" y="121"/>
                  </a:lnTo>
                  <a:lnTo>
                    <a:pt x="358" y="121"/>
                  </a:lnTo>
                  <a:lnTo>
                    <a:pt x="366" y="116"/>
                  </a:lnTo>
                  <a:lnTo>
                    <a:pt x="368" y="116"/>
                  </a:lnTo>
                  <a:lnTo>
                    <a:pt x="368" y="114"/>
                  </a:lnTo>
                  <a:lnTo>
                    <a:pt x="366" y="114"/>
                  </a:lnTo>
                  <a:lnTo>
                    <a:pt x="366" y="111"/>
                  </a:lnTo>
                  <a:lnTo>
                    <a:pt x="366" y="109"/>
                  </a:lnTo>
                  <a:lnTo>
                    <a:pt x="363" y="109"/>
                  </a:lnTo>
                  <a:lnTo>
                    <a:pt x="361" y="107"/>
                  </a:lnTo>
                  <a:lnTo>
                    <a:pt x="366" y="107"/>
                  </a:lnTo>
                  <a:lnTo>
                    <a:pt x="368" y="107"/>
                  </a:lnTo>
                  <a:lnTo>
                    <a:pt x="370" y="104"/>
                  </a:lnTo>
                  <a:lnTo>
                    <a:pt x="373" y="104"/>
                  </a:lnTo>
                  <a:lnTo>
                    <a:pt x="375" y="107"/>
                  </a:lnTo>
                  <a:lnTo>
                    <a:pt x="377" y="107"/>
                  </a:lnTo>
                  <a:lnTo>
                    <a:pt x="380" y="107"/>
                  </a:lnTo>
                  <a:lnTo>
                    <a:pt x="380" y="104"/>
                  </a:lnTo>
                  <a:lnTo>
                    <a:pt x="380" y="107"/>
                  </a:lnTo>
                  <a:lnTo>
                    <a:pt x="382" y="107"/>
                  </a:lnTo>
                  <a:lnTo>
                    <a:pt x="387" y="107"/>
                  </a:lnTo>
                  <a:lnTo>
                    <a:pt x="387" y="104"/>
                  </a:lnTo>
                  <a:lnTo>
                    <a:pt x="392" y="104"/>
                  </a:lnTo>
                  <a:lnTo>
                    <a:pt x="394" y="104"/>
                  </a:lnTo>
                  <a:lnTo>
                    <a:pt x="396" y="104"/>
                  </a:lnTo>
                  <a:lnTo>
                    <a:pt x="399" y="104"/>
                  </a:lnTo>
                  <a:lnTo>
                    <a:pt x="401" y="107"/>
                  </a:lnTo>
                  <a:lnTo>
                    <a:pt x="403" y="107"/>
                  </a:lnTo>
                  <a:close/>
                  <a:moveTo>
                    <a:pt x="268" y="102"/>
                  </a:moveTo>
                  <a:lnTo>
                    <a:pt x="271" y="102"/>
                  </a:lnTo>
                  <a:lnTo>
                    <a:pt x="273" y="102"/>
                  </a:lnTo>
                  <a:lnTo>
                    <a:pt x="275" y="102"/>
                  </a:lnTo>
                  <a:lnTo>
                    <a:pt x="278" y="102"/>
                  </a:lnTo>
                  <a:lnTo>
                    <a:pt x="278" y="104"/>
                  </a:lnTo>
                  <a:lnTo>
                    <a:pt x="278" y="107"/>
                  </a:lnTo>
                  <a:lnTo>
                    <a:pt x="280" y="107"/>
                  </a:lnTo>
                  <a:lnTo>
                    <a:pt x="282" y="107"/>
                  </a:lnTo>
                  <a:lnTo>
                    <a:pt x="285" y="107"/>
                  </a:lnTo>
                  <a:lnTo>
                    <a:pt x="285" y="109"/>
                  </a:lnTo>
                  <a:lnTo>
                    <a:pt x="287" y="109"/>
                  </a:lnTo>
                  <a:lnTo>
                    <a:pt x="290" y="109"/>
                  </a:lnTo>
                  <a:lnTo>
                    <a:pt x="292" y="111"/>
                  </a:lnTo>
                  <a:lnTo>
                    <a:pt x="294" y="111"/>
                  </a:lnTo>
                  <a:lnTo>
                    <a:pt x="290" y="114"/>
                  </a:lnTo>
                  <a:lnTo>
                    <a:pt x="290" y="116"/>
                  </a:lnTo>
                  <a:lnTo>
                    <a:pt x="287" y="114"/>
                  </a:lnTo>
                  <a:lnTo>
                    <a:pt x="290" y="114"/>
                  </a:lnTo>
                  <a:lnTo>
                    <a:pt x="287" y="114"/>
                  </a:lnTo>
                  <a:lnTo>
                    <a:pt x="285" y="114"/>
                  </a:lnTo>
                  <a:lnTo>
                    <a:pt x="282" y="114"/>
                  </a:lnTo>
                  <a:lnTo>
                    <a:pt x="282" y="116"/>
                  </a:lnTo>
                  <a:lnTo>
                    <a:pt x="282" y="119"/>
                  </a:lnTo>
                  <a:lnTo>
                    <a:pt x="280" y="119"/>
                  </a:lnTo>
                  <a:lnTo>
                    <a:pt x="278" y="119"/>
                  </a:lnTo>
                  <a:lnTo>
                    <a:pt x="275" y="119"/>
                  </a:lnTo>
                  <a:lnTo>
                    <a:pt x="275" y="116"/>
                  </a:lnTo>
                  <a:lnTo>
                    <a:pt x="273" y="116"/>
                  </a:lnTo>
                  <a:lnTo>
                    <a:pt x="271" y="119"/>
                  </a:lnTo>
                  <a:lnTo>
                    <a:pt x="268" y="116"/>
                  </a:lnTo>
                  <a:lnTo>
                    <a:pt x="266" y="119"/>
                  </a:lnTo>
                  <a:lnTo>
                    <a:pt x="264" y="119"/>
                  </a:lnTo>
                  <a:lnTo>
                    <a:pt x="261" y="116"/>
                  </a:lnTo>
                  <a:lnTo>
                    <a:pt x="259" y="116"/>
                  </a:lnTo>
                  <a:lnTo>
                    <a:pt x="254" y="116"/>
                  </a:lnTo>
                  <a:lnTo>
                    <a:pt x="252" y="116"/>
                  </a:lnTo>
                  <a:lnTo>
                    <a:pt x="249" y="116"/>
                  </a:lnTo>
                  <a:lnTo>
                    <a:pt x="247" y="114"/>
                  </a:lnTo>
                  <a:lnTo>
                    <a:pt x="245" y="114"/>
                  </a:lnTo>
                  <a:lnTo>
                    <a:pt x="245" y="116"/>
                  </a:lnTo>
                  <a:lnTo>
                    <a:pt x="242" y="114"/>
                  </a:lnTo>
                  <a:lnTo>
                    <a:pt x="240" y="114"/>
                  </a:lnTo>
                  <a:lnTo>
                    <a:pt x="240" y="111"/>
                  </a:lnTo>
                  <a:lnTo>
                    <a:pt x="240" y="109"/>
                  </a:lnTo>
                  <a:lnTo>
                    <a:pt x="242" y="109"/>
                  </a:lnTo>
                  <a:lnTo>
                    <a:pt x="245" y="109"/>
                  </a:lnTo>
                  <a:lnTo>
                    <a:pt x="247" y="109"/>
                  </a:lnTo>
                  <a:lnTo>
                    <a:pt x="249" y="109"/>
                  </a:lnTo>
                  <a:lnTo>
                    <a:pt x="252" y="109"/>
                  </a:lnTo>
                  <a:lnTo>
                    <a:pt x="254" y="109"/>
                  </a:lnTo>
                  <a:lnTo>
                    <a:pt x="256" y="107"/>
                  </a:lnTo>
                  <a:lnTo>
                    <a:pt x="256" y="109"/>
                  </a:lnTo>
                  <a:lnTo>
                    <a:pt x="256" y="107"/>
                  </a:lnTo>
                  <a:lnTo>
                    <a:pt x="259" y="107"/>
                  </a:lnTo>
                  <a:lnTo>
                    <a:pt x="261" y="107"/>
                  </a:lnTo>
                  <a:lnTo>
                    <a:pt x="259" y="107"/>
                  </a:lnTo>
                  <a:lnTo>
                    <a:pt x="256" y="107"/>
                  </a:lnTo>
                  <a:lnTo>
                    <a:pt x="259" y="107"/>
                  </a:lnTo>
                  <a:lnTo>
                    <a:pt x="261" y="107"/>
                  </a:lnTo>
                  <a:lnTo>
                    <a:pt x="261" y="104"/>
                  </a:lnTo>
                  <a:lnTo>
                    <a:pt x="259" y="104"/>
                  </a:lnTo>
                  <a:lnTo>
                    <a:pt x="256" y="104"/>
                  </a:lnTo>
                  <a:lnTo>
                    <a:pt x="259" y="104"/>
                  </a:lnTo>
                  <a:lnTo>
                    <a:pt x="261" y="102"/>
                  </a:lnTo>
                  <a:lnTo>
                    <a:pt x="264" y="102"/>
                  </a:lnTo>
                  <a:lnTo>
                    <a:pt x="266" y="102"/>
                  </a:lnTo>
                  <a:lnTo>
                    <a:pt x="268" y="102"/>
                  </a:lnTo>
                  <a:close/>
                  <a:moveTo>
                    <a:pt x="427" y="95"/>
                  </a:moveTo>
                  <a:lnTo>
                    <a:pt x="430" y="95"/>
                  </a:lnTo>
                  <a:lnTo>
                    <a:pt x="432" y="95"/>
                  </a:lnTo>
                  <a:lnTo>
                    <a:pt x="434" y="97"/>
                  </a:lnTo>
                  <a:lnTo>
                    <a:pt x="437" y="97"/>
                  </a:lnTo>
                  <a:lnTo>
                    <a:pt x="439" y="97"/>
                  </a:lnTo>
                  <a:lnTo>
                    <a:pt x="446" y="97"/>
                  </a:lnTo>
                  <a:lnTo>
                    <a:pt x="449" y="97"/>
                  </a:lnTo>
                  <a:lnTo>
                    <a:pt x="451" y="97"/>
                  </a:lnTo>
                  <a:lnTo>
                    <a:pt x="453" y="100"/>
                  </a:lnTo>
                  <a:lnTo>
                    <a:pt x="456" y="100"/>
                  </a:lnTo>
                  <a:lnTo>
                    <a:pt x="460" y="100"/>
                  </a:lnTo>
                  <a:lnTo>
                    <a:pt x="465" y="102"/>
                  </a:lnTo>
                  <a:lnTo>
                    <a:pt x="468" y="102"/>
                  </a:lnTo>
                  <a:lnTo>
                    <a:pt x="468" y="104"/>
                  </a:lnTo>
                  <a:lnTo>
                    <a:pt x="470" y="104"/>
                  </a:lnTo>
                  <a:lnTo>
                    <a:pt x="472" y="104"/>
                  </a:lnTo>
                  <a:lnTo>
                    <a:pt x="472" y="107"/>
                  </a:lnTo>
                  <a:lnTo>
                    <a:pt x="470" y="107"/>
                  </a:lnTo>
                  <a:lnTo>
                    <a:pt x="468" y="107"/>
                  </a:lnTo>
                  <a:lnTo>
                    <a:pt x="465" y="107"/>
                  </a:lnTo>
                  <a:lnTo>
                    <a:pt x="463" y="107"/>
                  </a:lnTo>
                  <a:lnTo>
                    <a:pt x="460" y="107"/>
                  </a:lnTo>
                  <a:lnTo>
                    <a:pt x="453" y="107"/>
                  </a:lnTo>
                  <a:lnTo>
                    <a:pt x="451" y="107"/>
                  </a:lnTo>
                  <a:lnTo>
                    <a:pt x="449" y="107"/>
                  </a:lnTo>
                  <a:lnTo>
                    <a:pt x="446" y="107"/>
                  </a:lnTo>
                  <a:lnTo>
                    <a:pt x="444" y="107"/>
                  </a:lnTo>
                  <a:lnTo>
                    <a:pt x="441" y="109"/>
                  </a:lnTo>
                  <a:lnTo>
                    <a:pt x="439" y="109"/>
                  </a:lnTo>
                  <a:lnTo>
                    <a:pt x="437" y="109"/>
                  </a:lnTo>
                  <a:lnTo>
                    <a:pt x="434" y="109"/>
                  </a:lnTo>
                  <a:lnTo>
                    <a:pt x="434" y="111"/>
                  </a:lnTo>
                  <a:lnTo>
                    <a:pt x="432" y="111"/>
                  </a:lnTo>
                  <a:lnTo>
                    <a:pt x="434" y="111"/>
                  </a:lnTo>
                  <a:lnTo>
                    <a:pt x="434" y="114"/>
                  </a:lnTo>
                  <a:lnTo>
                    <a:pt x="437" y="114"/>
                  </a:lnTo>
                  <a:lnTo>
                    <a:pt x="437" y="111"/>
                  </a:lnTo>
                  <a:lnTo>
                    <a:pt x="439" y="114"/>
                  </a:lnTo>
                  <a:lnTo>
                    <a:pt x="441" y="114"/>
                  </a:lnTo>
                  <a:lnTo>
                    <a:pt x="444" y="114"/>
                  </a:lnTo>
                  <a:lnTo>
                    <a:pt x="446" y="114"/>
                  </a:lnTo>
                  <a:lnTo>
                    <a:pt x="444" y="114"/>
                  </a:lnTo>
                  <a:lnTo>
                    <a:pt x="444" y="116"/>
                  </a:lnTo>
                  <a:lnTo>
                    <a:pt x="441" y="116"/>
                  </a:lnTo>
                  <a:lnTo>
                    <a:pt x="444" y="116"/>
                  </a:lnTo>
                  <a:lnTo>
                    <a:pt x="444" y="119"/>
                  </a:lnTo>
                  <a:lnTo>
                    <a:pt x="439" y="119"/>
                  </a:lnTo>
                  <a:lnTo>
                    <a:pt x="437" y="119"/>
                  </a:lnTo>
                  <a:lnTo>
                    <a:pt x="434" y="116"/>
                  </a:lnTo>
                  <a:lnTo>
                    <a:pt x="432" y="116"/>
                  </a:lnTo>
                  <a:lnTo>
                    <a:pt x="430" y="116"/>
                  </a:lnTo>
                  <a:lnTo>
                    <a:pt x="427" y="116"/>
                  </a:lnTo>
                  <a:lnTo>
                    <a:pt x="427" y="119"/>
                  </a:lnTo>
                  <a:lnTo>
                    <a:pt x="430" y="119"/>
                  </a:lnTo>
                  <a:lnTo>
                    <a:pt x="432" y="119"/>
                  </a:lnTo>
                  <a:lnTo>
                    <a:pt x="432" y="121"/>
                  </a:lnTo>
                  <a:lnTo>
                    <a:pt x="430" y="121"/>
                  </a:lnTo>
                  <a:lnTo>
                    <a:pt x="432" y="121"/>
                  </a:lnTo>
                  <a:lnTo>
                    <a:pt x="430" y="121"/>
                  </a:lnTo>
                  <a:lnTo>
                    <a:pt x="427" y="121"/>
                  </a:lnTo>
                  <a:lnTo>
                    <a:pt x="425" y="121"/>
                  </a:lnTo>
                  <a:lnTo>
                    <a:pt x="422" y="121"/>
                  </a:lnTo>
                  <a:lnTo>
                    <a:pt x="420" y="121"/>
                  </a:lnTo>
                  <a:lnTo>
                    <a:pt x="415" y="119"/>
                  </a:lnTo>
                  <a:lnTo>
                    <a:pt x="413" y="119"/>
                  </a:lnTo>
                  <a:lnTo>
                    <a:pt x="411" y="119"/>
                  </a:lnTo>
                  <a:lnTo>
                    <a:pt x="408" y="116"/>
                  </a:lnTo>
                  <a:lnTo>
                    <a:pt x="406" y="116"/>
                  </a:lnTo>
                  <a:lnTo>
                    <a:pt x="408" y="116"/>
                  </a:lnTo>
                  <a:lnTo>
                    <a:pt x="406" y="114"/>
                  </a:lnTo>
                  <a:lnTo>
                    <a:pt x="406" y="111"/>
                  </a:lnTo>
                  <a:lnTo>
                    <a:pt x="406" y="109"/>
                  </a:lnTo>
                  <a:lnTo>
                    <a:pt x="406" y="107"/>
                  </a:lnTo>
                  <a:lnTo>
                    <a:pt x="406" y="104"/>
                  </a:lnTo>
                  <a:lnTo>
                    <a:pt x="403" y="104"/>
                  </a:lnTo>
                  <a:lnTo>
                    <a:pt x="403" y="102"/>
                  </a:lnTo>
                  <a:lnTo>
                    <a:pt x="401" y="100"/>
                  </a:lnTo>
                  <a:lnTo>
                    <a:pt x="399" y="100"/>
                  </a:lnTo>
                  <a:lnTo>
                    <a:pt x="396" y="97"/>
                  </a:lnTo>
                  <a:lnTo>
                    <a:pt x="399" y="97"/>
                  </a:lnTo>
                  <a:lnTo>
                    <a:pt x="401" y="97"/>
                  </a:lnTo>
                  <a:lnTo>
                    <a:pt x="403" y="97"/>
                  </a:lnTo>
                  <a:lnTo>
                    <a:pt x="406" y="97"/>
                  </a:lnTo>
                  <a:lnTo>
                    <a:pt x="408" y="97"/>
                  </a:lnTo>
                  <a:lnTo>
                    <a:pt x="411" y="97"/>
                  </a:lnTo>
                  <a:lnTo>
                    <a:pt x="413" y="97"/>
                  </a:lnTo>
                  <a:lnTo>
                    <a:pt x="415" y="97"/>
                  </a:lnTo>
                  <a:lnTo>
                    <a:pt x="418" y="97"/>
                  </a:lnTo>
                  <a:lnTo>
                    <a:pt x="420" y="95"/>
                  </a:lnTo>
                  <a:lnTo>
                    <a:pt x="420" y="97"/>
                  </a:lnTo>
                  <a:lnTo>
                    <a:pt x="422" y="97"/>
                  </a:lnTo>
                  <a:lnTo>
                    <a:pt x="422" y="95"/>
                  </a:lnTo>
                  <a:lnTo>
                    <a:pt x="425" y="95"/>
                  </a:lnTo>
                  <a:lnTo>
                    <a:pt x="427" y="95"/>
                  </a:lnTo>
                  <a:close/>
                  <a:moveTo>
                    <a:pt x="297" y="88"/>
                  </a:moveTo>
                  <a:lnTo>
                    <a:pt x="299" y="88"/>
                  </a:lnTo>
                  <a:lnTo>
                    <a:pt x="301" y="88"/>
                  </a:lnTo>
                  <a:lnTo>
                    <a:pt x="306" y="88"/>
                  </a:lnTo>
                  <a:lnTo>
                    <a:pt x="306" y="90"/>
                  </a:lnTo>
                  <a:lnTo>
                    <a:pt x="301" y="90"/>
                  </a:lnTo>
                  <a:lnTo>
                    <a:pt x="304" y="90"/>
                  </a:lnTo>
                  <a:lnTo>
                    <a:pt x="306" y="90"/>
                  </a:lnTo>
                  <a:lnTo>
                    <a:pt x="306" y="92"/>
                  </a:lnTo>
                  <a:lnTo>
                    <a:pt x="309" y="92"/>
                  </a:lnTo>
                  <a:lnTo>
                    <a:pt x="311" y="92"/>
                  </a:lnTo>
                  <a:lnTo>
                    <a:pt x="309" y="92"/>
                  </a:lnTo>
                  <a:lnTo>
                    <a:pt x="309" y="95"/>
                  </a:lnTo>
                  <a:lnTo>
                    <a:pt x="311" y="95"/>
                  </a:lnTo>
                  <a:lnTo>
                    <a:pt x="313" y="95"/>
                  </a:lnTo>
                  <a:lnTo>
                    <a:pt x="311" y="95"/>
                  </a:lnTo>
                  <a:lnTo>
                    <a:pt x="311" y="97"/>
                  </a:lnTo>
                  <a:lnTo>
                    <a:pt x="309" y="97"/>
                  </a:lnTo>
                  <a:lnTo>
                    <a:pt x="311" y="100"/>
                  </a:lnTo>
                  <a:lnTo>
                    <a:pt x="309" y="100"/>
                  </a:lnTo>
                  <a:lnTo>
                    <a:pt x="306" y="100"/>
                  </a:lnTo>
                  <a:lnTo>
                    <a:pt x="304" y="100"/>
                  </a:lnTo>
                  <a:lnTo>
                    <a:pt x="304" y="97"/>
                  </a:lnTo>
                  <a:lnTo>
                    <a:pt x="301" y="97"/>
                  </a:lnTo>
                  <a:lnTo>
                    <a:pt x="299" y="97"/>
                  </a:lnTo>
                  <a:lnTo>
                    <a:pt x="297" y="97"/>
                  </a:lnTo>
                  <a:lnTo>
                    <a:pt x="294" y="97"/>
                  </a:lnTo>
                  <a:lnTo>
                    <a:pt x="292" y="97"/>
                  </a:lnTo>
                  <a:lnTo>
                    <a:pt x="294" y="95"/>
                  </a:lnTo>
                  <a:lnTo>
                    <a:pt x="292" y="95"/>
                  </a:lnTo>
                  <a:lnTo>
                    <a:pt x="294" y="95"/>
                  </a:lnTo>
                  <a:lnTo>
                    <a:pt x="294" y="92"/>
                  </a:lnTo>
                  <a:lnTo>
                    <a:pt x="297" y="92"/>
                  </a:lnTo>
                  <a:lnTo>
                    <a:pt x="294" y="92"/>
                  </a:lnTo>
                  <a:lnTo>
                    <a:pt x="294" y="90"/>
                  </a:lnTo>
                  <a:lnTo>
                    <a:pt x="292" y="90"/>
                  </a:lnTo>
                  <a:lnTo>
                    <a:pt x="292" y="88"/>
                  </a:lnTo>
                  <a:lnTo>
                    <a:pt x="294" y="88"/>
                  </a:lnTo>
                  <a:lnTo>
                    <a:pt x="297" y="88"/>
                  </a:lnTo>
                  <a:close/>
                  <a:moveTo>
                    <a:pt x="432" y="85"/>
                  </a:moveTo>
                  <a:lnTo>
                    <a:pt x="432" y="88"/>
                  </a:lnTo>
                  <a:lnTo>
                    <a:pt x="430" y="88"/>
                  </a:lnTo>
                  <a:lnTo>
                    <a:pt x="430" y="90"/>
                  </a:lnTo>
                  <a:lnTo>
                    <a:pt x="427" y="90"/>
                  </a:lnTo>
                  <a:lnTo>
                    <a:pt x="427" y="92"/>
                  </a:lnTo>
                  <a:lnTo>
                    <a:pt x="422" y="92"/>
                  </a:lnTo>
                  <a:lnTo>
                    <a:pt x="420" y="92"/>
                  </a:lnTo>
                  <a:lnTo>
                    <a:pt x="418" y="92"/>
                  </a:lnTo>
                  <a:lnTo>
                    <a:pt x="415" y="92"/>
                  </a:lnTo>
                  <a:lnTo>
                    <a:pt x="408" y="90"/>
                  </a:lnTo>
                  <a:lnTo>
                    <a:pt x="406" y="90"/>
                  </a:lnTo>
                  <a:lnTo>
                    <a:pt x="406" y="88"/>
                  </a:lnTo>
                  <a:lnTo>
                    <a:pt x="408" y="88"/>
                  </a:lnTo>
                  <a:lnTo>
                    <a:pt x="411" y="88"/>
                  </a:lnTo>
                  <a:lnTo>
                    <a:pt x="413" y="85"/>
                  </a:lnTo>
                  <a:lnTo>
                    <a:pt x="415" y="85"/>
                  </a:lnTo>
                  <a:lnTo>
                    <a:pt x="418" y="85"/>
                  </a:lnTo>
                  <a:lnTo>
                    <a:pt x="420" y="85"/>
                  </a:lnTo>
                  <a:lnTo>
                    <a:pt x="422" y="85"/>
                  </a:lnTo>
                  <a:lnTo>
                    <a:pt x="425" y="85"/>
                  </a:lnTo>
                  <a:lnTo>
                    <a:pt x="427" y="85"/>
                  </a:lnTo>
                  <a:lnTo>
                    <a:pt x="430" y="85"/>
                  </a:lnTo>
                  <a:lnTo>
                    <a:pt x="432" y="85"/>
                  </a:lnTo>
                  <a:close/>
                  <a:moveTo>
                    <a:pt x="380" y="76"/>
                  </a:moveTo>
                  <a:lnTo>
                    <a:pt x="382" y="78"/>
                  </a:lnTo>
                  <a:lnTo>
                    <a:pt x="387" y="78"/>
                  </a:lnTo>
                  <a:lnTo>
                    <a:pt x="389" y="78"/>
                  </a:lnTo>
                  <a:lnTo>
                    <a:pt x="394" y="81"/>
                  </a:lnTo>
                  <a:lnTo>
                    <a:pt x="396" y="83"/>
                  </a:lnTo>
                  <a:lnTo>
                    <a:pt x="394" y="83"/>
                  </a:lnTo>
                  <a:lnTo>
                    <a:pt x="394" y="85"/>
                  </a:lnTo>
                  <a:lnTo>
                    <a:pt x="392" y="85"/>
                  </a:lnTo>
                  <a:lnTo>
                    <a:pt x="387" y="88"/>
                  </a:lnTo>
                  <a:lnTo>
                    <a:pt x="385" y="88"/>
                  </a:lnTo>
                  <a:lnTo>
                    <a:pt x="382" y="88"/>
                  </a:lnTo>
                  <a:lnTo>
                    <a:pt x="380" y="88"/>
                  </a:lnTo>
                  <a:lnTo>
                    <a:pt x="377" y="88"/>
                  </a:lnTo>
                  <a:lnTo>
                    <a:pt x="373" y="88"/>
                  </a:lnTo>
                  <a:lnTo>
                    <a:pt x="373" y="85"/>
                  </a:lnTo>
                  <a:lnTo>
                    <a:pt x="370" y="85"/>
                  </a:lnTo>
                  <a:lnTo>
                    <a:pt x="368" y="85"/>
                  </a:lnTo>
                  <a:lnTo>
                    <a:pt x="366" y="85"/>
                  </a:lnTo>
                  <a:lnTo>
                    <a:pt x="366" y="88"/>
                  </a:lnTo>
                  <a:lnTo>
                    <a:pt x="363" y="88"/>
                  </a:lnTo>
                  <a:lnTo>
                    <a:pt x="361" y="88"/>
                  </a:lnTo>
                  <a:lnTo>
                    <a:pt x="358" y="88"/>
                  </a:lnTo>
                  <a:lnTo>
                    <a:pt x="354" y="85"/>
                  </a:lnTo>
                  <a:lnTo>
                    <a:pt x="351" y="85"/>
                  </a:lnTo>
                  <a:lnTo>
                    <a:pt x="349" y="85"/>
                  </a:lnTo>
                  <a:lnTo>
                    <a:pt x="347" y="85"/>
                  </a:lnTo>
                  <a:lnTo>
                    <a:pt x="349" y="85"/>
                  </a:lnTo>
                  <a:lnTo>
                    <a:pt x="349" y="83"/>
                  </a:lnTo>
                  <a:lnTo>
                    <a:pt x="351" y="83"/>
                  </a:lnTo>
                  <a:lnTo>
                    <a:pt x="351" y="81"/>
                  </a:lnTo>
                  <a:lnTo>
                    <a:pt x="349" y="81"/>
                  </a:lnTo>
                  <a:lnTo>
                    <a:pt x="342" y="81"/>
                  </a:lnTo>
                  <a:lnTo>
                    <a:pt x="344" y="81"/>
                  </a:lnTo>
                  <a:lnTo>
                    <a:pt x="347" y="81"/>
                  </a:lnTo>
                  <a:lnTo>
                    <a:pt x="349" y="81"/>
                  </a:lnTo>
                  <a:lnTo>
                    <a:pt x="354" y="81"/>
                  </a:lnTo>
                  <a:lnTo>
                    <a:pt x="354" y="78"/>
                  </a:lnTo>
                  <a:lnTo>
                    <a:pt x="356" y="78"/>
                  </a:lnTo>
                  <a:lnTo>
                    <a:pt x="358" y="78"/>
                  </a:lnTo>
                  <a:lnTo>
                    <a:pt x="361" y="78"/>
                  </a:lnTo>
                  <a:lnTo>
                    <a:pt x="363" y="78"/>
                  </a:lnTo>
                  <a:lnTo>
                    <a:pt x="368" y="78"/>
                  </a:lnTo>
                  <a:lnTo>
                    <a:pt x="370" y="76"/>
                  </a:lnTo>
                  <a:lnTo>
                    <a:pt x="375" y="76"/>
                  </a:lnTo>
                  <a:lnTo>
                    <a:pt x="377" y="76"/>
                  </a:lnTo>
                  <a:lnTo>
                    <a:pt x="380" y="76"/>
                  </a:lnTo>
                  <a:close/>
                  <a:moveTo>
                    <a:pt x="83" y="69"/>
                  </a:moveTo>
                  <a:lnTo>
                    <a:pt x="86" y="71"/>
                  </a:lnTo>
                  <a:lnTo>
                    <a:pt x="88" y="71"/>
                  </a:lnTo>
                  <a:lnTo>
                    <a:pt x="90" y="71"/>
                  </a:lnTo>
                  <a:lnTo>
                    <a:pt x="93" y="71"/>
                  </a:lnTo>
                  <a:lnTo>
                    <a:pt x="95" y="71"/>
                  </a:lnTo>
                  <a:lnTo>
                    <a:pt x="95" y="73"/>
                  </a:lnTo>
                  <a:lnTo>
                    <a:pt x="97" y="73"/>
                  </a:lnTo>
                  <a:lnTo>
                    <a:pt x="100" y="73"/>
                  </a:lnTo>
                  <a:lnTo>
                    <a:pt x="102" y="73"/>
                  </a:lnTo>
                  <a:lnTo>
                    <a:pt x="105" y="73"/>
                  </a:lnTo>
                  <a:lnTo>
                    <a:pt x="107" y="73"/>
                  </a:lnTo>
                  <a:lnTo>
                    <a:pt x="107" y="71"/>
                  </a:lnTo>
                  <a:lnTo>
                    <a:pt x="105" y="71"/>
                  </a:lnTo>
                  <a:lnTo>
                    <a:pt x="107" y="71"/>
                  </a:lnTo>
                  <a:lnTo>
                    <a:pt x="109" y="71"/>
                  </a:lnTo>
                  <a:lnTo>
                    <a:pt x="114" y="73"/>
                  </a:lnTo>
                  <a:lnTo>
                    <a:pt x="119" y="76"/>
                  </a:lnTo>
                  <a:lnTo>
                    <a:pt x="116" y="76"/>
                  </a:lnTo>
                  <a:lnTo>
                    <a:pt x="114" y="78"/>
                  </a:lnTo>
                  <a:lnTo>
                    <a:pt x="116" y="78"/>
                  </a:lnTo>
                  <a:lnTo>
                    <a:pt x="119" y="78"/>
                  </a:lnTo>
                  <a:lnTo>
                    <a:pt x="119" y="81"/>
                  </a:lnTo>
                  <a:lnTo>
                    <a:pt x="124" y="83"/>
                  </a:lnTo>
                  <a:lnTo>
                    <a:pt x="124" y="85"/>
                  </a:lnTo>
                  <a:lnTo>
                    <a:pt x="121" y="85"/>
                  </a:lnTo>
                  <a:lnTo>
                    <a:pt x="119" y="85"/>
                  </a:lnTo>
                  <a:lnTo>
                    <a:pt x="116" y="85"/>
                  </a:lnTo>
                  <a:lnTo>
                    <a:pt x="114" y="85"/>
                  </a:lnTo>
                  <a:lnTo>
                    <a:pt x="116" y="85"/>
                  </a:lnTo>
                  <a:lnTo>
                    <a:pt x="114" y="83"/>
                  </a:lnTo>
                  <a:lnTo>
                    <a:pt x="112" y="83"/>
                  </a:lnTo>
                  <a:lnTo>
                    <a:pt x="109" y="83"/>
                  </a:lnTo>
                  <a:lnTo>
                    <a:pt x="107" y="83"/>
                  </a:lnTo>
                  <a:lnTo>
                    <a:pt x="102" y="83"/>
                  </a:lnTo>
                  <a:lnTo>
                    <a:pt x="100" y="83"/>
                  </a:lnTo>
                  <a:lnTo>
                    <a:pt x="100" y="81"/>
                  </a:lnTo>
                  <a:lnTo>
                    <a:pt x="100" y="78"/>
                  </a:lnTo>
                  <a:lnTo>
                    <a:pt x="97" y="78"/>
                  </a:lnTo>
                  <a:lnTo>
                    <a:pt x="95" y="78"/>
                  </a:lnTo>
                  <a:lnTo>
                    <a:pt x="95" y="76"/>
                  </a:lnTo>
                  <a:lnTo>
                    <a:pt x="88" y="76"/>
                  </a:lnTo>
                  <a:lnTo>
                    <a:pt x="86" y="76"/>
                  </a:lnTo>
                  <a:lnTo>
                    <a:pt x="83" y="76"/>
                  </a:lnTo>
                  <a:lnTo>
                    <a:pt x="86" y="76"/>
                  </a:lnTo>
                  <a:lnTo>
                    <a:pt x="86" y="78"/>
                  </a:lnTo>
                  <a:lnTo>
                    <a:pt x="88" y="78"/>
                  </a:lnTo>
                  <a:lnTo>
                    <a:pt x="86" y="78"/>
                  </a:lnTo>
                  <a:lnTo>
                    <a:pt x="83" y="78"/>
                  </a:lnTo>
                  <a:lnTo>
                    <a:pt x="81" y="78"/>
                  </a:lnTo>
                  <a:lnTo>
                    <a:pt x="83" y="81"/>
                  </a:lnTo>
                  <a:lnTo>
                    <a:pt x="86" y="81"/>
                  </a:lnTo>
                  <a:lnTo>
                    <a:pt x="83" y="83"/>
                  </a:lnTo>
                  <a:lnTo>
                    <a:pt x="81" y="81"/>
                  </a:lnTo>
                  <a:lnTo>
                    <a:pt x="78" y="81"/>
                  </a:lnTo>
                  <a:lnTo>
                    <a:pt x="76" y="81"/>
                  </a:lnTo>
                  <a:lnTo>
                    <a:pt x="76" y="83"/>
                  </a:lnTo>
                  <a:lnTo>
                    <a:pt x="76" y="85"/>
                  </a:lnTo>
                  <a:lnTo>
                    <a:pt x="78" y="85"/>
                  </a:lnTo>
                  <a:lnTo>
                    <a:pt x="78" y="88"/>
                  </a:lnTo>
                  <a:lnTo>
                    <a:pt x="81" y="88"/>
                  </a:lnTo>
                  <a:lnTo>
                    <a:pt x="78" y="88"/>
                  </a:lnTo>
                  <a:lnTo>
                    <a:pt x="76" y="88"/>
                  </a:lnTo>
                  <a:lnTo>
                    <a:pt x="74" y="88"/>
                  </a:lnTo>
                  <a:lnTo>
                    <a:pt x="71" y="88"/>
                  </a:lnTo>
                  <a:lnTo>
                    <a:pt x="69" y="85"/>
                  </a:lnTo>
                  <a:lnTo>
                    <a:pt x="69" y="88"/>
                  </a:lnTo>
                  <a:lnTo>
                    <a:pt x="67" y="88"/>
                  </a:lnTo>
                  <a:lnTo>
                    <a:pt x="64" y="88"/>
                  </a:lnTo>
                  <a:lnTo>
                    <a:pt x="64" y="90"/>
                  </a:lnTo>
                  <a:lnTo>
                    <a:pt x="62" y="90"/>
                  </a:lnTo>
                  <a:lnTo>
                    <a:pt x="62" y="92"/>
                  </a:lnTo>
                  <a:lnTo>
                    <a:pt x="59" y="92"/>
                  </a:lnTo>
                  <a:lnTo>
                    <a:pt x="57" y="92"/>
                  </a:lnTo>
                  <a:lnTo>
                    <a:pt x="55" y="92"/>
                  </a:lnTo>
                  <a:lnTo>
                    <a:pt x="55" y="90"/>
                  </a:lnTo>
                  <a:lnTo>
                    <a:pt x="52" y="90"/>
                  </a:lnTo>
                  <a:lnTo>
                    <a:pt x="52" y="92"/>
                  </a:lnTo>
                  <a:lnTo>
                    <a:pt x="50" y="92"/>
                  </a:lnTo>
                  <a:lnTo>
                    <a:pt x="52" y="92"/>
                  </a:lnTo>
                  <a:lnTo>
                    <a:pt x="52" y="95"/>
                  </a:lnTo>
                  <a:lnTo>
                    <a:pt x="50" y="95"/>
                  </a:lnTo>
                  <a:lnTo>
                    <a:pt x="48" y="92"/>
                  </a:lnTo>
                  <a:lnTo>
                    <a:pt x="45" y="92"/>
                  </a:lnTo>
                  <a:lnTo>
                    <a:pt x="45" y="95"/>
                  </a:lnTo>
                  <a:lnTo>
                    <a:pt x="45" y="97"/>
                  </a:lnTo>
                  <a:lnTo>
                    <a:pt x="40" y="97"/>
                  </a:lnTo>
                  <a:lnTo>
                    <a:pt x="38" y="97"/>
                  </a:lnTo>
                  <a:lnTo>
                    <a:pt x="33" y="97"/>
                  </a:lnTo>
                  <a:lnTo>
                    <a:pt x="33" y="95"/>
                  </a:lnTo>
                  <a:lnTo>
                    <a:pt x="36" y="95"/>
                  </a:lnTo>
                  <a:lnTo>
                    <a:pt x="36" y="92"/>
                  </a:lnTo>
                  <a:lnTo>
                    <a:pt x="36" y="90"/>
                  </a:lnTo>
                  <a:lnTo>
                    <a:pt x="31" y="90"/>
                  </a:lnTo>
                  <a:lnTo>
                    <a:pt x="29" y="90"/>
                  </a:lnTo>
                  <a:lnTo>
                    <a:pt x="26" y="90"/>
                  </a:lnTo>
                  <a:lnTo>
                    <a:pt x="21" y="90"/>
                  </a:lnTo>
                  <a:lnTo>
                    <a:pt x="21" y="92"/>
                  </a:lnTo>
                  <a:lnTo>
                    <a:pt x="19" y="92"/>
                  </a:lnTo>
                  <a:lnTo>
                    <a:pt x="17" y="92"/>
                  </a:lnTo>
                  <a:lnTo>
                    <a:pt x="12" y="90"/>
                  </a:lnTo>
                  <a:lnTo>
                    <a:pt x="7" y="90"/>
                  </a:lnTo>
                  <a:lnTo>
                    <a:pt x="5" y="90"/>
                  </a:lnTo>
                  <a:lnTo>
                    <a:pt x="3" y="88"/>
                  </a:lnTo>
                  <a:lnTo>
                    <a:pt x="0" y="88"/>
                  </a:lnTo>
                  <a:lnTo>
                    <a:pt x="0" y="85"/>
                  </a:lnTo>
                  <a:lnTo>
                    <a:pt x="7" y="85"/>
                  </a:lnTo>
                  <a:lnTo>
                    <a:pt x="10" y="85"/>
                  </a:lnTo>
                  <a:lnTo>
                    <a:pt x="17" y="83"/>
                  </a:lnTo>
                  <a:lnTo>
                    <a:pt x="19" y="83"/>
                  </a:lnTo>
                  <a:lnTo>
                    <a:pt x="26" y="83"/>
                  </a:lnTo>
                  <a:lnTo>
                    <a:pt x="29" y="83"/>
                  </a:lnTo>
                  <a:lnTo>
                    <a:pt x="31" y="83"/>
                  </a:lnTo>
                  <a:lnTo>
                    <a:pt x="33" y="83"/>
                  </a:lnTo>
                  <a:lnTo>
                    <a:pt x="38" y="83"/>
                  </a:lnTo>
                  <a:lnTo>
                    <a:pt x="40" y="83"/>
                  </a:lnTo>
                  <a:lnTo>
                    <a:pt x="40" y="81"/>
                  </a:lnTo>
                  <a:lnTo>
                    <a:pt x="43" y="81"/>
                  </a:lnTo>
                  <a:lnTo>
                    <a:pt x="45" y="81"/>
                  </a:lnTo>
                  <a:lnTo>
                    <a:pt x="48" y="81"/>
                  </a:lnTo>
                  <a:lnTo>
                    <a:pt x="50" y="81"/>
                  </a:lnTo>
                  <a:lnTo>
                    <a:pt x="48" y="78"/>
                  </a:lnTo>
                  <a:lnTo>
                    <a:pt x="50" y="78"/>
                  </a:lnTo>
                  <a:lnTo>
                    <a:pt x="52" y="78"/>
                  </a:lnTo>
                  <a:lnTo>
                    <a:pt x="55" y="78"/>
                  </a:lnTo>
                  <a:lnTo>
                    <a:pt x="57" y="78"/>
                  </a:lnTo>
                  <a:lnTo>
                    <a:pt x="59" y="78"/>
                  </a:lnTo>
                  <a:lnTo>
                    <a:pt x="62" y="78"/>
                  </a:lnTo>
                  <a:lnTo>
                    <a:pt x="64" y="76"/>
                  </a:lnTo>
                  <a:lnTo>
                    <a:pt x="67" y="76"/>
                  </a:lnTo>
                  <a:lnTo>
                    <a:pt x="69" y="76"/>
                  </a:lnTo>
                  <a:lnTo>
                    <a:pt x="69" y="73"/>
                  </a:lnTo>
                  <a:lnTo>
                    <a:pt x="71" y="73"/>
                  </a:lnTo>
                  <a:lnTo>
                    <a:pt x="74" y="73"/>
                  </a:lnTo>
                  <a:lnTo>
                    <a:pt x="71" y="73"/>
                  </a:lnTo>
                  <a:lnTo>
                    <a:pt x="71" y="71"/>
                  </a:lnTo>
                  <a:lnTo>
                    <a:pt x="69" y="71"/>
                  </a:lnTo>
                  <a:lnTo>
                    <a:pt x="71" y="71"/>
                  </a:lnTo>
                  <a:lnTo>
                    <a:pt x="74" y="71"/>
                  </a:lnTo>
                  <a:lnTo>
                    <a:pt x="76" y="71"/>
                  </a:lnTo>
                  <a:lnTo>
                    <a:pt x="78" y="69"/>
                  </a:lnTo>
                  <a:lnTo>
                    <a:pt x="81" y="69"/>
                  </a:lnTo>
                  <a:lnTo>
                    <a:pt x="83" y="69"/>
                  </a:lnTo>
                  <a:close/>
                  <a:moveTo>
                    <a:pt x="330" y="69"/>
                  </a:moveTo>
                  <a:lnTo>
                    <a:pt x="332" y="69"/>
                  </a:lnTo>
                  <a:lnTo>
                    <a:pt x="335" y="69"/>
                  </a:lnTo>
                  <a:lnTo>
                    <a:pt x="337" y="69"/>
                  </a:lnTo>
                  <a:lnTo>
                    <a:pt x="339" y="69"/>
                  </a:lnTo>
                  <a:lnTo>
                    <a:pt x="339" y="71"/>
                  </a:lnTo>
                  <a:lnTo>
                    <a:pt x="342" y="71"/>
                  </a:lnTo>
                  <a:lnTo>
                    <a:pt x="344" y="71"/>
                  </a:lnTo>
                  <a:lnTo>
                    <a:pt x="347" y="71"/>
                  </a:lnTo>
                  <a:lnTo>
                    <a:pt x="349" y="71"/>
                  </a:lnTo>
                  <a:lnTo>
                    <a:pt x="349" y="73"/>
                  </a:lnTo>
                  <a:lnTo>
                    <a:pt x="351" y="73"/>
                  </a:lnTo>
                  <a:lnTo>
                    <a:pt x="354" y="73"/>
                  </a:lnTo>
                  <a:lnTo>
                    <a:pt x="356" y="73"/>
                  </a:lnTo>
                  <a:lnTo>
                    <a:pt x="358" y="76"/>
                  </a:lnTo>
                  <a:lnTo>
                    <a:pt x="356" y="76"/>
                  </a:lnTo>
                  <a:lnTo>
                    <a:pt x="354" y="76"/>
                  </a:lnTo>
                  <a:lnTo>
                    <a:pt x="351" y="76"/>
                  </a:lnTo>
                  <a:lnTo>
                    <a:pt x="347" y="76"/>
                  </a:lnTo>
                  <a:lnTo>
                    <a:pt x="344" y="78"/>
                  </a:lnTo>
                  <a:lnTo>
                    <a:pt x="342" y="78"/>
                  </a:lnTo>
                  <a:lnTo>
                    <a:pt x="339" y="78"/>
                  </a:lnTo>
                  <a:lnTo>
                    <a:pt x="337" y="78"/>
                  </a:lnTo>
                  <a:lnTo>
                    <a:pt x="335" y="78"/>
                  </a:lnTo>
                  <a:lnTo>
                    <a:pt x="332" y="78"/>
                  </a:lnTo>
                  <a:lnTo>
                    <a:pt x="330" y="78"/>
                  </a:lnTo>
                  <a:lnTo>
                    <a:pt x="328" y="78"/>
                  </a:lnTo>
                  <a:lnTo>
                    <a:pt x="325" y="78"/>
                  </a:lnTo>
                  <a:lnTo>
                    <a:pt x="323" y="78"/>
                  </a:lnTo>
                  <a:lnTo>
                    <a:pt x="320" y="78"/>
                  </a:lnTo>
                  <a:lnTo>
                    <a:pt x="318" y="78"/>
                  </a:lnTo>
                  <a:lnTo>
                    <a:pt x="320" y="76"/>
                  </a:lnTo>
                  <a:lnTo>
                    <a:pt x="320" y="73"/>
                  </a:lnTo>
                  <a:lnTo>
                    <a:pt x="316" y="73"/>
                  </a:lnTo>
                  <a:lnTo>
                    <a:pt x="313" y="73"/>
                  </a:lnTo>
                  <a:lnTo>
                    <a:pt x="311" y="73"/>
                  </a:lnTo>
                  <a:lnTo>
                    <a:pt x="309" y="73"/>
                  </a:lnTo>
                  <a:lnTo>
                    <a:pt x="306" y="76"/>
                  </a:lnTo>
                  <a:lnTo>
                    <a:pt x="304" y="73"/>
                  </a:lnTo>
                  <a:lnTo>
                    <a:pt x="301" y="73"/>
                  </a:lnTo>
                  <a:lnTo>
                    <a:pt x="299" y="73"/>
                  </a:lnTo>
                  <a:lnTo>
                    <a:pt x="299" y="71"/>
                  </a:lnTo>
                  <a:lnTo>
                    <a:pt x="301" y="71"/>
                  </a:lnTo>
                  <a:lnTo>
                    <a:pt x="304" y="69"/>
                  </a:lnTo>
                  <a:lnTo>
                    <a:pt x="306" y="69"/>
                  </a:lnTo>
                  <a:lnTo>
                    <a:pt x="309" y="69"/>
                  </a:lnTo>
                  <a:lnTo>
                    <a:pt x="311" y="69"/>
                  </a:lnTo>
                  <a:lnTo>
                    <a:pt x="313" y="69"/>
                  </a:lnTo>
                  <a:lnTo>
                    <a:pt x="316" y="69"/>
                  </a:lnTo>
                  <a:lnTo>
                    <a:pt x="320" y="69"/>
                  </a:lnTo>
                  <a:lnTo>
                    <a:pt x="323" y="69"/>
                  </a:lnTo>
                  <a:lnTo>
                    <a:pt x="323" y="71"/>
                  </a:lnTo>
                  <a:lnTo>
                    <a:pt x="325" y="71"/>
                  </a:lnTo>
                  <a:lnTo>
                    <a:pt x="325" y="69"/>
                  </a:lnTo>
                  <a:lnTo>
                    <a:pt x="328" y="69"/>
                  </a:lnTo>
                  <a:lnTo>
                    <a:pt x="330" y="69"/>
                  </a:lnTo>
                  <a:close/>
                  <a:moveTo>
                    <a:pt x="456" y="69"/>
                  </a:moveTo>
                  <a:lnTo>
                    <a:pt x="460" y="69"/>
                  </a:lnTo>
                  <a:lnTo>
                    <a:pt x="460" y="71"/>
                  </a:lnTo>
                  <a:lnTo>
                    <a:pt x="463" y="71"/>
                  </a:lnTo>
                  <a:lnTo>
                    <a:pt x="463" y="73"/>
                  </a:lnTo>
                  <a:lnTo>
                    <a:pt x="463" y="76"/>
                  </a:lnTo>
                  <a:lnTo>
                    <a:pt x="460" y="76"/>
                  </a:lnTo>
                  <a:lnTo>
                    <a:pt x="458" y="76"/>
                  </a:lnTo>
                  <a:lnTo>
                    <a:pt x="456" y="76"/>
                  </a:lnTo>
                  <a:lnTo>
                    <a:pt x="453" y="76"/>
                  </a:lnTo>
                  <a:lnTo>
                    <a:pt x="451" y="78"/>
                  </a:lnTo>
                  <a:lnTo>
                    <a:pt x="449" y="78"/>
                  </a:lnTo>
                  <a:lnTo>
                    <a:pt x="444" y="78"/>
                  </a:lnTo>
                  <a:lnTo>
                    <a:pt x="441" y="78"/>
                  </a:lnTo>
                  <a:lnTo>
                    <a:pt x="439" y="78"/>
                  </a:lnTo>
                  <a:lnTo>
                    <a:pt x="437" y="78"/>
                  </a:lnTo>
                  <a:lnTo>
                    <a:pt x="437" y="76"/>
                  </a:lnTo>
                  <a:lnTo>
                    <a:pt x="434" y="76"/>
                  </a:lnTo>
                  <a:lnTo>
                    <a:pt x="432" y="76"/>
                  </a:lnTo>
                  <a:lnTo>
                    <a:pt x="430" y="76"/>
                  </a:lnTo>
                  <a:lnTo>
                    <a:pt x="425" y="76"/>
                  </a:lnTo>
                  <a:lnTo>
                    <a:pt x="425" y="73"/>
                  </a:lnTo>
                  <a:lnTo>
                    <a:pt x="427" y="73"/>
                  </a:lnTo>
                  <a:lnTo>
                    <a:pt x="430" y="73"/>
                  </a:lnTo>
                  <a:lnTo>
                    <a:pt x="430" y="71"/>
                  </a:lnTo>
                  <a:lnTo>
                    <a:pt x="434" y="71"/>
                  </a:lnTo>
                  <a:lnTo>
                    <a:pt x="437" y="69"/>
                  </a:lnTo>
                  <a:lnTo>
                    <a:pt x="439" y="69"/>
                  </a:lnTo>
                  <a:lnTo>
                    <a:pt x="441" y="69"/>
                  </a:lnTo>
                  <a:lnTo>
                    <a:pt x="446" y="69"/>
                  </a:lnTo>
                  <a:lnTo>
                    <a:pt x="451" y="69"/>
                  </a:lnTo>
                  <a:lnTo>
                    <a:pt x="453" y="69"/>
                  </a:lnTo>
                  <a:lnTo>
                    <a:pt x="456" y="69"/>
                  </a:lnTo>
                  <a:close/>
                  <a:moveTo>
                    <a:pt x="437" y="54"/>
                  </a:moveTo>
                  <a:lnTo>
                    <a:pt x="439" y="54"/>
                  </a:lnTo>
                  <a:lnTo>
                    <a:pt x="441" y="54"/>
                  </a:lnTo>
                  <a:lnTo>
                    <a:pt x="444" y="57"/>
                  </a:lnTo>
                  <a:lnTo>
                    <a:pt x="446" y="57"/>
                  </a:lnTo>
                  <a:lnTo>
                    <a:pt x="449" y="57"/>
                  </a:lnTo>
                  <a:lnTo>
                    <a:pt x="451" y="57"/>
                  </a:lnTo>
                  <a:lnTo>
                    <a:pt x="451" y="59"/>
                  </a:lnTo>
                  <a:lnTo>
                    <a:pt x="453" y="59"/>
                  </a:lnTo>
                  <a:lnTo>
                    <a:pt x="453" y="62"/>
                  </a:lnTo>
                  <a:lnTo>
                    <a:pt x="451" y="62"/>
                  </a:lnTo>
                  <a:lnTo>
                    <a:pt x="449" y="62"/>
                  </a:lnTo>
                  <a:lnTo>
                    <a:pt x="449" y="64"/>
                  </a:lnTo>
                  <a:lnTo>
                    <a:pt x="446" y="64"/>
                  </a:lnTo>
                  <a:lnTo>
                    <a:pt x="444" y="64"/>
                  </a:lnTo>
                  <a:lnTo>
                    <a:pt x="441" y="64"/>
                  </a:lnTo>
                  <a:lnTo>
                    <a:pt x="439" y="64"/>
                  </a:lnTo>
                  <a:lnTo>
                    <a:pt x="437" y="64"/>
                  </a:lnTo>
                  <a:lnTo>
                    <a:pt x="437" y="62"/>
                  </a:lnTo>
                  <a:lnTo>
                    <a:pt x="434" y="62"/>
                  </a:lnTo>
                  <a:lnTo>
                    <a:pt x="432" y="62"/>
                  </a:lnTo>
                  <a:lnTo>
                    <a:pt x="432" y="59"/>
                  </a:lnTo>
                  <a:lnTo>
                    <a:pt x="430" y="59"/>
                  </a:lnTo>
                  <a:lnTo>
                    <a:pt x="427" y="57"/>
                  </a:lnTo>
                  <a:lnTo>
                    <a:pt x="425" y="57"/>
                  </a:lnTo>
                  <a:lnTo>
                    <a:pt x="427" y="57"/>
                  </a:lnTo>
                  <a:lnTo>
                    <a:pt x="430" y="57"/>
                  </a:lnTo>
                  <a:lnTo>
                    <a:pt x="432" y="57"/>
                  </a:lnTo>
                  <a:lnTo>
                    <a:pt x="432" y="54"/>
                  </a:lnTo>
                  <a:lnTo>
                    <a:pt x="434" y="54"/>
                  </a:lnTo>
                  <a:lnTo>
                    <a:pt x="437" y="54"/>
                  </a:lnTo>
                  <a:close/>
                  <a:moveTo>
                    <a:pt x="328" y="54"/>
                  </a:moveTo>
                  <a:lnTo>
                    <a:pt x="330" y="54"/>
                  </a:lnTo>
                  <a:lnTo>
                    <a:pt x="332" y="54"/>
                  </a:lnTo>
                  <a:lnTo>
                    <a:pt x="335" y="54"/>
                  </a:lnTo>
                  <a:lnTo>
                    <a:pt x="337" y="54"/>
                  </a:lnTo>
                  <a:lnTo>
                    <a:pt x="337" y="57"/>
                  </a:lnTo>
                  <a:lnTo>
                    <a:pt x="339" y="57"/>
                  </a:lnTo>
                  <a:lnTo>
                    <a:pt x="342" y="57"/>
                  </a:lnTo>
                  <a:lnTo>
                    <a:pt x="344" y="59"/>
                  </a:lnTo>
                  <a:lnTo>
                    <a:pt x="347" y="59"/>
                  </a:lnTo>
                  <a:lnTo>
                    <a:pt x="349" y="59"/>
                  </a:lnTo>
                  <a:lnTo>
                    <a:pt x="354" y="59"/>
                  </a:lnTo>
                  <a:lnTo>
                    <a:pt x="356" y="59"/>
                  </a:lnTo>
                  <a:lnTo>
                    <a:pt x="358" y="59"/>
                  </a:lnTo>
                  <a:lnTo>
                    <a:pt x="361" y="59"/>
                  </a:lnTo>
                  <a:lnTo>
                    <a:pt x="363" y="59"/>
                  </a:lnTo>
                  <a:lnTo>
                    <a:pt x="366" y="59"/>
                  </a:lnTo>
                  <a:lnTo>
                    <a:pt x="366" y="57"/>
                  </a:lnTo>
                  <a:lnTo>
                    <a:pt x="368" y="59"/>
                  </a:lnTo>
                  <a:lnTo>
                    <a:pt x="370" y="59"/>
                  </a:lnTo>
                  <a:lnTo>
                    <a:pt x="373" y="59"/>
                  </a:lnTo>
                  <a:lnTo>
                    <a:pt x="375" y="62"/>
                  </a:lnTo>
                  <a:lnTo>
                    <a:pt x="377" y="62"/>
                  </a:lnTo>
                  <a:lnTo>
                    <a:pt x="380" y="62"/>
                  </a:lnTo>
                  <a:lnTo>
                    <a:pt x="382" y="62"/>
                  </a:lnTo>
                  <a:lnTo>
                    <a:pt x="385" y="62"/>
                  </a:lnTo>
                  <a:lnTo>
                    <a:pt x="385" y="64"/>
                  </a:lnTo>
                  <a:lnTo>
                    <a:pt x="387" y="64"/>
                  </a:lnTo>
                  <a:lnTo>
                    <a:pt x="387" y="66"/>
                  </a:lnTo>
                  <a:lnTo>
                    <a:pt x="389" y="66"/>
                  </a:lnTo>
                  <a:lnTo>
                    <a:pt x="392" y="66"/>
                  </a:lnTo>
                  <a:lnTo>
                    <a:pt x="394" y="69"/>
                  </a:lnTo>
                  <a:lnTo>
                    <a:pt x="396" y="69"/>
                  </a:lnTo>
                  <a:lnTo>
                    <a:pt x="399" y="69"/>
                  </a:lnTo>
                  <a:lnTo>
                    <a:pt x="401" y="69"/>
                  </a:lnTo>
                  <a:lnTo>
                    <a:pt x="401" y="71"/>
                  </a:lnTo>
                  <a:lnTo>
                    <a:pt x="403" y="71"/>
                  </a:lnTo>
                  <a:lnTo>
                    <a:pt x="406" y="71"/>
                  </a:lnTo>
                  <a:lnTo>
                    <a:pt x="408" y="71"/>
                  </a:lnTo>
                  <a:lnTo>
                    <a:pt x="411" y="71"/>
                  </a:lnTo>
                  <a:lnTo>
                    <a:pt x="413" y="71"/>
                  </a:lnTo>
                  <a:lnTo>
                    <a:pt x="415" y="71"/>
                  </a:lnTo>
                  <a:lnTo>
                    <a:pt x="418" y="73"/>
                  </a:lnTo>
                  <a:lnTo>
                    <a:pt x="420" y="73"/>
                  </a:lnTo>
                  <a:lnTo>
                    <a:pt x="422" y="76"/>
                  </a:lnTo>
                  <a:lnTo>
                    <a:pt x="420" y="78"/>
                  </a:lnTo>
                  <a:lnTo>
                    <a:pt x="418" y="78"/>
                  </a:lnTo>
                  <a:lnTo>
                    <a:pt x="415" y="81"/>
                  </a:lnTo>
                  <a:lnTo>
                    <a:pt x="413" y="81"/>
                  </a:lnTo>
                  <a:lnTo>
                    <a:pt x="411" y="81"/>
                  </a:lnTo>
                  <a:lnTo>
                    <a:pt x="406" y="81"/>
                  </a:lnTo>
                  <a:lnTo>
                    <a:pt x="403" y="83"/>
                  </a:lnTo>
                  <a:lnTo>
                    <a:pt x="401" y="83"/>
                  </a:lnTo>
                  <a:lnTo>
                    <a:pt x="399" y="83"/>
                  </a:lnTo>
                  <a:lnTo>
                    <a:pt x="396" y="83"/>
                  </a:lnTo>
                  <a:lnTo>
                    <a:pt x="396" y="81"/>
                  </a:lnTo>
                  <a:lnTo>
                    <a:pt x="394" y="81"/>
                  </a:lnTo>
                  <a:lnTo>
                    <a:pt x="394" y="78"/>
                  </a:lnTo>
                  <a:lnTo>
                    <a:pt x="392" y="78"/>
                  </a:lnTo>
                  <a:lnTo>
                    <a:pt x="387" y="78"/>
                  </a:lnTo>
                  <a:lnTo>
                    <a:pt x="387" y="76"/>
                  </a:lnTo>
                  <a:lnTo>
                    <a:pt x="385" y="76"/>
                  </a:lnTo>
                  <a:lnTo>
                    <a:pt x="385" y="73"/>
                  </a:lnTo>
                  <a:lnTo>
                    <a:pt x="382" y="73"/>
                  </a:lnTo>
                  <a:lnTo>
                    <a:pt x="380" y="73"/>
                  </a:lnTo>
                  <a:lnTo>
                    <a:pt x="377" y="73"/>
                  </a:lnTo>
                  <a:lnTo>
                    <a:pt x="375" y="73"/>
                  </a:lnTo>
                  <a:lnTo>
                    <a:pt x="373" y="73"/>
                  </a:lnTo>
                  <a:lnTo>
                    <a:pt x="370" y="71"/>
                  </a:lnTo>
                  <a:lnTo>
                    <a:pt x="368" y="71"/>
                  </a:lnTo>
                  <a:lnTo>
                    <a:pt x="366" y="73"/>
                  </a:lnTo>
                  <a:lnTo>
                    <a:pt x="361" y="71"/>
                  </a:lnTo>
                  <a:lnTo>
                    <a:pt x="358" y="71"/>
                  </a:lnTo>
                  <a:lnTo>
                    <a:pt x="356" y="71"/>
                  </a:lnTo>
                  <a:lnTo>
                    <a:pt x="354" y="71"/>
                  </a:lnTo>
                  <a:lnTo>
                    <a:pt x="354" y="69"/>
                  </a:lnTo>
                  <a:lnTo>
                    <a:pt x="356" y="69"/>
                  </a:lnTo>
                  <a:lnTo>
                    <a:pt x="358" y="69"/>
                  </a:lnTo>
                  <a:lnTo>
                    <a:pt x="356" y="69"/>
                  </a:lnTo>
                  <a:lnTo>
                    <a:pt x="354" y="69"/>
                  </a:lnTo>
                  <a:lnTo>
                    <a:pt x="349" y="69"/>
                  </a:lnTo>
                  <a:lnTo>
                    <a:pt x="349" y="66"/>
                  </a:lnTo>
                  <a:lnTo>
                    <a:pt x="347" y="66"/>
                  </a:lnTo>
                  <a:lnTo>
                    <a:pt x="344" y="66"/>
                  </a:lnTo>
                  <a:lnTo>
                    <a:pt x="344" y="64"/>
                  </a:lnTo>
                  <a:lnTo>
                    <a:pt x="342" y="64"/>
                  </a:lnTo>
                  <a:lnTo>
                    <a:pt x="339" y="64"/>
                  </a:lnTo>
                  <a:lnTo>
                    <a:pt x="337" y="64"/>
                  </a:lnTo>
                  <a:lnTo>
                    <a:pt x="335" y="64"/>
                  </a:lnTo>
                  <a:lnTo>
                    <a:pt x="332" y="64"/>
                  </a:lnTo>
                  <a:lnTo>
                    <a:pt x="330" y="64"/>
                  </a:lnTo>
                  <a:lnTo>
                    <a:pt x="328" y="64"/>
                  </a:lnTo>
                  <a:lnTo>
                    <a:pt x="325" y="62"/>
                  </a:lnTo>
                  <a:lnTo>
                    <a:pt x="328" y="62"/>
                  </a:lnTo>
                  <a:lnTo>
                    <a:pt x="325" y="59"/>
                  </a:lnTo>
                  <a:lnTo>
                    <a:pt x="323" y="59"/>
                  </a:lnTo>
                  <a:lnTo>
                    <a:pt x="320" y="59"/>
                  </a:lnTo>
                  <a:lnTo>
                    <a:pt x="318" y="62"/>
                  </a:lnTo>
                  <a:lnTo>
                    <a:pt x="316" y="59"/>
                  </a:lnTo>
                  <a:lnTo>
                    <a:pt x="313" y="59"/>
                  </a:lnTo>
                  <a:lnTo>
                    <a:pt x="311" y="57"/>
                  </a:lnTo>
                  <a:lnTo>
                    <a:pt x="313" y="57"/>
                  </a:lnTo>
                  <a:lnTo>
                    <a:pt x="316" y="57"/>
                  </a:lnTo>
                  <a:lnTo>
                    <a:pt x="318" y="54"/>
                  </a:lnTo>
                  <a:lnTo>
                    <a:pt x="318" y="52"/>
                  </a:lnTo>
                  <a:lnTo>
                    <a:pt x="320" y="52"/>
                  </a:lnTo>
                  <a:lnTo>
                    <a:pt x="323" y="52"/>
                  </a:lnTo>
                  <a:lnTo>
                    <a:pt x="325" y="52"/>
                  </a:lnTo>
                  <a:lnTo>
                    <a:pt x="325" y="54"/>
                  </a:lnTo>
                  <a:lnTo>
                    <a:pt x="328" y="54"/>
                  </a:lnTo>
                  <a:close/>
                  <a:moveTo>
                    <a:pt x="377" y="54"/>
                  </a:moveTo>
                  <a:lnTo>
                    <a:pt x="380" y="54"/>
                  </a:lnTo>
                  <a:lnTo>
                    <a:pt x="382" y="52"/>
                  </a:lnTo>
                  <a:lnTo>
                    <a:pt x="385" y="52"/>
                  </a:lnTo>
                  <a:lnTo>
                    <a:pt x="387" y="54"/>
                  </a:lnTo>
                  <a:lnTo>
                    <a:pt x="389" y="54"/>
                  </a:lnTo>
                  <a:lnTo>
                    <a:pt x="392" y="54"/>
                  </a:lnTo>
                  <a:lnTo>
                    <a:pt x="394" y="54"/>
                  </a:lnTo>
                  <a:lnTo>
                    <a:pt x="394" y="57"/>
                  </a:lnTo>
                  <a:lnTo>
                    <a:pt x="396" y="57"/>
                  </a:lnTo>
                  <a:lnTo>
                    <a:pt x="399" y="57"/>
                  </a:lnTo>
                  <a:lnTo>
                    <a:pt x="401" y="57"/>
                  </a:lnTo>
                  <a:lnTo>
                    <a:pt x="403" y="57"/>
                  </a:lnTo>
                  <a:lnTo>
                    <a:pt x="406" y="57"/>
                  </a:lnTo>
                  <a:lnTo>
                    <a:pt x="408" y="57"/>
                  </a:lnTo>
                  <a:lnTo>
                    <a:pt x="411" y="57"/>
                  </a:lnTo>
                  <a:lnTo>
                    <a:pt x="413" y="57"/>
                  </a:lnTo>
                  <a:lnTo>
                    <a:pt x="415" y="57"/>
                  </a:lnTo>
                  <a:lnTo>
                    <a:pt x="415" y="59"/>
                  </a:lnTo>
                  <a:lnTo>
                    <a:pt x="418" y="59"/>
                  </a:lnTo>
                  <a:lnTo>
                    <a:pt x="420" y="59"/>
                  </a:lnTo>
                  <a:lnTo>
                    <a:pt x="418" y="59"/>
                  </a:lnTo>
                  <a:lnTo>
                    <a:pt x="420" y="62"/>
                  </a:lnTo>
                  <a:lnTo>
                    <a:pt x="422" y="62"/>
                  </a:lnTo>
                  <a:lnTo>
                    <a:pt x="425" y="62"/>
                  </a:lnTo>
                  <a:lnTo>
                    <a:pt x="427" y="64"/>
                  </a:lnTo>
                  <a:lnTo>
                    <a:pt x="430" y="64"/>
                  </a:lnTo>
                  <a:lnTo>
                    <a:pt x="427" y="64"/>
                  </a:lnTo>
                  <a:lnTo>
                    <a:pt x="430" y="64"/>
                  </a:lnTo>
                  <a:lnTo>
                    <a:pt x="432" y="64"/>
                  </a:lnTo>
                  <a:lnTo>
                    <a:pt x="434" y="64"/>
                  </a:lnTo>
                  <a:lnTo>
                    <a:pt x="437" y="64"/>
                  </a:lnTo>
                  <a:lnTo>
                    <a:pt x="439" y="64"/>
                  </a:lnTo>
                  <a:lnTo>
                    <a:pt x="439" y="66"/>
                  </a:lnTo>
                  <a:lnTo>
                    <a:pt x="437" y="66"/>
                  </a:lnTo>
                  <a:lnTo>
                    <a:pt x="434" y="66"/>
                  </a:lnTo>
                  <a:lnTo>
                    <a:pt x="434" y="69"/>
                  </a:lnTo>
                  <a:lnTo>
                    <a:pt x="432" y="69"/>
                  </a:lnTo>
                  <a:lnTo>
                    <a:pt x="430" y="69"/>
                  </a:lnTo>
                  <a:lnTo>
                    <a:pt x="430" y="71"/>
                  </a:lnTo>
                  <a:lnTo>
                    <a:pt x="425" y="71"/>
                  </a:lnTo>
                  <a:lnTo>
                    <a:pt x="422" y="71"/>
                  </a:lnTo>
                  <a:lnTo>
                    <a:pt x="420" y="71"/>
                  </a:lnTo>
                  <a:lnTo>
                    <a:pt x="418" y="71"/>
                  </a:lnTo>
                  <a:lnTo>
                    <a:pt x="415" y="71"/>
                  </a:lnTo>
                  <a:lnTo>
                    <a:pt x="413" y="71"/>
                  </a:lnTo>
                  <a:lnTo>
                    <a:pt x="411" y="71"/>
                  </a:lnTo>
                  <a:lnTo>
                    <a:pt x="408" y="69"/>
                  </a:lnTo>
                  <a:lnTo>
                    <a:pt x="406" y="69"/>
                  </a:lnTo>
                  <a:lnTo>
                    <a:pt x="406" y="66"/>
                  </a:lnTo>
                  <a:lnTo>
                    <a:pt x="403" y="64"/>
                  </a:lnTo>
                  <a:lnTo>
                    <a:pt x="401" y="64"/>
                  </a:lnTo>
                  <a:lnTo>
                    <a:pt x="396" y="64"/>
                  </a:lnTo>
                  <a:lnTo>
                    <a:pt x="394" y="62"/>
                  </a:lnTo>
                  <a:lnTo>
                    <a:pt x="394" y="59"/>
                  </a:lnTo>
                  <a:lnTo>
                    <a:pt x="392" y="59"/>
                  </a:lnTo>
                  <a:lnTo>
                    <a:pt x="389" y="59"/>
                  </a:lnTo>
                  <a:lnTo>
                    <a:pt x="389" y="57"/>
                  </a:lnTo>
                  <a:lnTo>
                    <a:pt x="387" y="57"/>
                  </a:lnTo>
                  <a:lnTo>
                    <a:pt x="385" y="57"/>
                  </a:lnTo>
                  <a:lnTo>
                    <a:pt x="380" y="57"/>
                  </a:lnTo>
                  <a:lnTo>
                    <a:pt x="377" y="57"/>
                  </a:lnTo>
                  <a:lnTo>
                    <a:pt x="375" y="54"/>
                  </a:lnTo>
                  <a:lnTo>
                    <a:pt x="373" y="54"/>
                  </a:lnTo>
                  <a:lnTo>
                    <a:pt x="370" y="54"/>
                  </a:lnTo>
                  <a:lnTo>
                    <a:pt x="368" y="54"/>
                  </a:lnTo>
                  <a:lnTo>
                    <a:pt x="366" y="54"/>
                  </a:lnTo>
                  <a:lnTo>
                    <a:pt x="366" y="52"/>
                  </a:lnTo>
                  <a:lnTo>
                    <a:pt x="368" y="52"/>
                  </a:lnTo>
                  <a:lnTo>
                    <a:pt x="370" y="52"/>
                  </a:lnTo>
                  <a:lnTo>
                    <a:pt x="373" y="52"/>
                  </a:lnTo>
                  <a:lnTo>
                    <a:pt x="375" y="54"/>
                  </a:lnTo>
                  <a:lnTo>
                    <a:pt x="377" y="54"/>
                  </a:lnTo>
                  <a:close/>
                  <a:moveTo>
                    <a:pt x="534" y="52"/>
                  </a:moveTo>
                  <a:lnTo>
                    <a:pt x="536" y="52"/>
                  </a:lnTo>
                  <a:lnTo>
                    <a:pt x="539" y="52"/>
                  </a:lnTo>
                  <a:lnTo>
                    <a:pt x="543" y="52"/>
                  </a:lnTo>
                  <a:lnTo>
                    <a:pt x="548" y="52"/>
                  </a:lnTo>
                  <a:lnTo>
                    <a:pt x="551" y="52"/>
                  </a:lnTo>
                  <a:lnTo>
                    <a:pt x="548" y="52"/>
                  </a:lnTo>
                  <a:lnTo>
                    <a:pt x="546" y="54"/>
                  </a:lnTo>
                  <a:lnTo>
                    <a:pt x="546" y="57"/>
                  </a:lnTo>
                  <a:lnTo>
                    <a:pt x="548" y="57"/>
                  </a:lnTo>
                  <a:lnTo>
                    <a:pt x="546" y="59"/>
                  </a:lnTo>
                  <a:lnTo>
                    <a:pt x="543" y="59"/>
                  </a:lnTo>
                  <a:lnTo>
                    <a:pt x="541" y="62"/>
                  </a:lnTo>
                  <a:lnTo>
                    <a:pt x="539" y="62"/>
                  </a:lnTo>
                  <a:lnTo>
                    <a:pt x="539" y="64"/>
                  </a:lnTo>
                  <a:lnTo>
                    <a:pt x="536" y="64"/>
                  </a:lnTo>
                  <a:lnTo>
                    <a:pt x="534" y="66"/>
                  </a:lnTo>
                  <a:lnTo>
                    <a:pt x="532" y="66"/>
                  </a:lnTo>
                  <a:lnTo>
                    <a:pt x="529" y="66"/>
                  </a:lnTo>
                  <a:lnTo>
                    <a:pt x="527" y="66"/>
                  </a:lnTo>
                  <a:lnTo>
                    <a:pt x="525" y="66"/>
                  </a:lnTo>
                  <a:lnTo>
                    <a:pt x="522" y="66"/>
                  </a:lnTo>
                  <a:lnTo>
                    <a:pt x="520" y="66"/>
                  </a:lnTo>
                  <a:lnTo>
                    <a:pt x="517" y="66"/>
                  </a:lnTo>
                  <a:lnTo>
                    <a:pt x="515" y="66"/>
                  </a:lnTo>
                  <a:lnTo>
                    <a:pt x="508" y="66"/>
                  </a:lnTo>
                  <a:lnTo>
                    <a:pt x="506" y="64"/>
                  </a:lnTo>
                  <a:lnTo>
                    <a:pt x="503" y="64"/>
                  </a:lnTo>
                  <a:lnTo>
                    <a:pt x="501" y="62"/>
                  </a:lnTo>
                  <a:lnTo>
                    <a:pt x="498" y="62"/>
                  </a:lnTo>
                  <a:lnTo>
                    <a:pt x="496" y="62"/>
                  </a:lnTo>
                  <a:lnTo>
                    <a:pt x="498" y="59"/>
                  </a:lnTo>
                  <a:lnTo>
                    <a:pt x="501" y="59"/>
                  </a:lnTo>
                  <a:lnTo>
                    <a:pt x="503" y="59"/>
                  </a:lnTo>
                  <a:lnTo>
                    <a:pt x="503" y="57"/>
                  </a:lnTo>
                  <a:lnTo>
                    <a:pt x="506" y="57"/>
                  </a:lnTo>
                  <a:lnTo>
                    <a:pt x="508" y="57"/>
                  </a:lnTo>
                  <a:lnTo>
                    <a:pt x="510" y="57"/>
                  </a:lnTo>
                  <a:lnTo>
                    <a:pt x="513" y="57"/>
                  </a:lnTo>
                  <a:lnTo>
                    <a:pt x="515" y="54"/>
                  </a:lnTo>
                  <a:lnTo>
                    <a:pt x="520" y="54"/>
                  </a:lnTo>
                  <a:lnTo>
                    <a:pt x="522" y="52"/>
                  </a:lnTo>
                  <a:lnTo>
                    <a:pt x="525" y="52"/>
                  </a:lnTo>
                  <a:lnTo>
                    <a:pt x="527" y="52"/>
                  </a:lnTo>
                  <a:lnTo>
                    <a:pt x="529" y="52"/>
                  </a:lnTo>
                  <a:lnTo>
                    <a:pt x="532" y="52"/>
                  </a:lnTo>
                  <a:lnTo>
                    <a:pt x="534" y="52"/>
                  </a:lnTo>
                  <a:close/>
                  <a:moveTo>
                    <a:pt x="190" y="47"/>
                  </a:moveTo>
                  <a:lnTo>
                    <a:pt x="192" y="47"/>
                  </a:lnTo>
                  <a:lnTo>
                    <a:pt x="195" y="47"/>
                  </a:lnTo>
                  <a:lnTo>
                    <a:pt x="197" y="50"/>
                  </a:lnTo>
                  <a:lnTo>
                    <a:pt x="199" y="50"/>
                  </a:lnTo>
                  <a:lnTo>
                    <a:pt x="199" y="52"/>
                  </a:lnTo>
                  <a:lnTo>
                    <a:pt x="197" y="52"/>
                  </a:lnTo>
                  <a:lnTo>
                    <a:pt x="195" y="52"/>
                  </a:lnTo>
                  <a:lnTo>
                    <a:pt x="192" y="52"/>
                  </a:lnTo>
                  <a:lnTo>
                    <a:pt x="190" y="52"/>
                  </a:lnTo>
                  <a:lnTo>
                    <a:pt x="190" y="54"/>
                  </a:lnTo>
                  <a:lnTo>
                    <a:pt x="192" y="54"/>
                  </a:lnTo>
                  <a:lnTo>
                    <a:pt x="190" y="54"/>
                  </a:lnTo>
                  <a:lnTo>
                    <a:pt x="188" y="54"/>
                  </a:lnTo>
                  <a:lnTo>
                    <a:pt x="185" y="54"/>
                  </a:lnTo>
                  <a:lnTo>
                    <a:pt x="185" y="57"/>
                  </a:lnTo>
                  <a:lnTo>
                    <a:pt x="183" y="57"/>
                  </a:lnTo>
                  <a:lnTo>
                    <a:pt x="180" y="57"/>
                  </a:lnTo>
                  <a:lnTo>
                    <a:pt x="178" y="57"/>
                  </a:lnTo>
                  <a:lnTo>
                    <a:pt x="180" y="54"/>
                  </a:lnTo>
                  <a:lnTo>
                    <a:pt x="178" y="52"/>
                  </a:lnTo>
                  <a:lnTo>
                    <a:pt x="180" y="52"/>
                  </a:lnTo>
                  <a:lnTo>
                    <a:pt x="178" y="50"/>
                  </a:lnTo>
                  <a:lnTo>
                    <a:pt x="176" y="50"/>
                  </a:lnTo>
                  <a:lnTo>
                    <a:pt x="178" y="50"/>
                  </a:lnTo>
                  <a:lnTo>
                    <a:pt x="180" y="50"/>
                  </a:lnTo>
                  <a:lnTo>
                    <a:pt x="183" y="50"/>
                  </a:lnTo>
                  <a:lnTo>
                    <a:pt x="183" y="47"/>
                  </a:lnTo>
                  <a:lnTo>
                    <a:pt x="180" y="47"/>
                  </a:lnTo>
                  <a:lnTo>
                    <a:pt x="185" y="47"/>
                  </a:lnTo>
                  <a:lnTo>
                    <a:pt x="188" y="47"/>
                  </a:lnTo>
                  <a:lnTo>
                    <a:pt x="190" y="47"/>
                  </a:lnTo>
                  <a:close/>
                  <a:moveTo>
                    <a:pt x="430" y="45"/>
                  </a:moveTo>
                  <a:lnTo>
                    <a:pt x="432" y="47"/>
                  </a:lnTo>
                  <a:lnTo>
                    <a:pt x="430" y="47"/>
                  </a:lnTo>
                  <a:lnTo>
                    <a:pt x="430" y="45"/>
                  </a:lnTo>
                  <a:lnTo>
                    <a:pt x="427" y="45"/>
                  </a:lnTo>
                  <a:lnTo>
                    <a:pt x="427" y="47"/>
                  </a:lnTo>
                  <a:lnTo>
                    <a:pt x="425" y="47"/>
                  </a:lnTo>
                  <a:lnTo>
                    <a:pt x="425" y="50"/>
                  </a:lnTo>
                  <a:lnTo>
                    <a:pt x="422" y="50"/>
                  </a:lnTo>
                  <a:lnTo>
                    <a:pt x="422" y="52"/>
                  </a:lnTo>
                  <a:lnTo>
                    <a:pt x="420" y="52"/>
                  </a:lnTo>
                  <a:lnTo>
                    <a:pt x="418" y="52"/>
                  </a:lnTo>
                  <a:lnTo>
                    <a:pt x="415" y="52"/>
                  </a:lnTo>
                  <a:lnTo>
                    <a:pt x="413" y="52"/>
                  </a:lnTo>
                  <a:lnTo>
                    <a:pt x="411" y="52"/>
                  </a:lnTo>
                  <a:lnTo>
                    <a:pt x="408" y="52"/>
                  </a:lnTo>
                  <a:lnTo>
                    <a:pt x="406" y="52"/>
                  </a:lnTo>
                  <a:lnTo>
                    <a:pt x="403" y="52"/>
                  </a:lnTo>
                  <a:lnTo>
                    <a:pt x="401" y="52"/>
                  </a:lnTo>
                  <a:lnTo>
                    <a:pt x="399" y="50"/>
                  </a:lnTo>
                  <a:lnTo>
                    <a:pt x="396" y="50"/>
                  </a:lnTo>
                  <a:lnTo>
                    <a:pt x="394" y="50"/>
                  </a:lnTo>
                  <a:lnTo>
                    <a:pt x="396" y="47"/>
                  </a:lnTo>
                  <a:lnTo>
                    <a:pt x="399" y="47"/>
                  </a:lnTo>
                  <a:lnTo>
                    <a:pt x="401" y="47"/>
                  </a:lnTo>
                  <a:lnTo>
                    <a:pt x="403" y="47"/>
                  </a:lnTo>
                  <a:lnTo>
                    <a:pt x="406" y="45"/>
                  </a:lnTo>
                  <a:lnTo>
                    <a:pt x="408" y="45"/>
                  </a:lnTo>
                  <a:lnTo>
                    <a:pt x="411" y="45"/>
                  </a:lnTo>
                  <a:lnTo>
                    <a:pt x="413" y="45"/>
                  </a:lnTo>
                  <a:lnTo>
                    <a:pt x="415" y="45"/>
                  </a:lnTo>
                  <a:lnTo>
                    <a:pt x="418" y="45"/>
                  </a:lnTo>
                  <a:lnTo>
                    <a:pt x="420" y="45"/>
                  </a:lnTo>
                  <a:lnTo>
                    <a:pt x="422" y="45"/>
                  </a:lnTo>
                  <a:lnTo>
                    <a:pt x="425" y="45"/>
                  </a:lnTo>
                  <a:lnTo>
                    <a:pt x="427" y="45"/>
                  </a:lnTo>
                  <a:lnTo>
                    <a:pt x="430" y="45"/>
                  </a:lnTo>
                  <a:close/>
                  <a:moveTo>
                    <a:pt x="385" y="31"/>
                  </a:moveTo>
                  <a:lnTo>
                    <a:pt x="387" y="31"/>
                  </a:lnTo>
                  <a:lnTo>
                    <a:pt x="389" y="31"/>
                  </a:lnTo>
                  <a:lnTo>
                    <a:pt x="389" y="33"/>
                  </a:lnTo>
                  <a:lnTo>
                    <a:pt x="392" y="33"/>
                  </a:lnTo>
                  <a:lnTo>
                    <a:pt x="394" y="33"/>
                  </a:lnTo>
                  <a:lnTo>
                    <a:pt x="396" y="33"/>
                  </a:lnTo>
                  <a:lnTo>
                    <a:pt x="399" y="33"/>
                  </a:lnTo>
                  <a:lnTo>
                    <a:pt x="401" y="33"/>
                  </a:lnTo>
                  <a:lnTo>
                    <a:pt x="403" y="35"/>
                  </a:lnTo>
                  <a:lnTo>
                    <a:pt x="406" y="35"/>
                  </a:lnTo>
                  <a:lnTo>
                    <a:pt x="408" y="35"/>
                  </a:lnTo>
                  <a:lnTo>
                    <a:pt x="411" y="38"/>
                  </a:lnTo>
                  <a:lnTo>
                    <a:pt x="413" y="38"/>
                  </a:lnTo>
                  <a:lnTo>
                    <a:pt x="411" y="38"/>
                  </a:lnTo>
                  <a:lnTo>
                    <a:pt x="413" y="38"/>
                  </a:lnTo>
                  <a:lnTo>
                    <a:pt x="415" y="38"/>
                  </a:lnTo>
                  <a:lnTo>
                    <a:pt x="418" y="38"/>
                  </a:lnTo>
                  <a:lnTo>
                    <a:pt x="415" y="38"/>
                  </a:lnTo>
                  <a:lnTo>
                    <a:pt x="418" y="35"/>
                  </a:lnTo>
                  <a:lnTo>
                    <a:pt x="418" y="38"/>
                  </a:lnTo>
                  <a:lnTo>
                    <a:pt x="420" y="38"/>
                  </a:lnTo>
                  <a:lnTo>
                    <a:pt x="422" y="38"/>
                  </a:lnTo>
                  <a:lnTo>
                    <a:pt x="425" y="38"/>
                  </a:lnTo>
                  <a:lnTo>
                    <a:pt x="427" y="40"/>
                  </a:lnTo>
                  <a:lnTo>
                    <a:pt x="425" y="40"/>
                  </a:lnTo>
                  <a:lnTo>
                    <a:pt x="422" y="40"/>
                  </a:lnTo>
                  <a:lnTo>
                    <a:pt x="420" y="40"/>
                  </a:lnTo>
                  <a:lnTo>
                    <a:pt x="418" y="40"/>
                  </a:lnTo>
                  <a:lnTo>
                    <a:pt x="415" y="40"/>
                  </a:lnTo>
                  <a:lnTo>
                    <a:pt x="413" y="40"/>
                  </a:lnTo>
                  <a:lnTo>
                    <a:pt x="411" y="40"/>
                  </a:lnTo>
                  <a:lnTo>
                    <a:pt x="408" y="40"/>
                  </a:lnTo>
                  <a:lnTo>
                    <a:pt x="403" y="43"/>
                  </a:lnTo>
                  <a:lnTo>
                    <a:pt x="401" y="43"/>
                  </a:lnTo>
                  <a:lnTo>
                    <a:pt x="399" y="43"/>
                  </a:lnTo>
                  <a:lnTo>
                    <a:pt x="396" y="43"/>
                  </a:lnTo>
                  <a:lnTo>
                    <a:pt x="394" y="45"/>
                  </a:lnTo>
                  <a:lnTo>
                    <a:pt x="392" y="45"/>
                  </a:lnTo>
                  <a:lnTo>
                    <a:pt x="389" y="45"/>
                  </a:lnTo>
                  <a:lnTo>
                    <a:pt x="389" y="47"/>
                  </a:lnTo>
                  <a:lnTo>
                    <a:pt x="387" y="47"/>
                  </a:lnTo>
                  <a:lnTo>
                    <a:pt x="385" y="47"/>
                  </a:lnTo>
                  <a:lnTo>
                    <a:pt x="382" y="47"/>
                  </a:lnTo>
                  <a:lnTo>
                    <a:pt x="380" y="50"/>
                  </a:lnTo>
                  <a:lnTo>
                    <a:pt x="377" y="50"/>
                  </a:lnTo>
                  <a:lnTo>
                    <a:pt x="375" y="47"/>
                  </a:lnTo>
                  <a:lnTo>
                    <a:pt x="375" y="45"/>
                  </a:lnTo>
                  <a:lnTo>
                    <a:pt x="373" y="45"/>
                  </a:lnTo>
                  <a:lnTo>
                    <a:pt x="370" y="45"/>
                  </a:lnTo>
                  <a:lnTo>
                    <a:pt x="368" y="45"/>
                  </a:lnTo>
                  <a:lnTo>
                    <a:pt x="368" y="47"/>
                  </a:lnTo>
                  <a:lnTo>
                    <a:pt x="368" y="45"/>
                  </a:lnTo>
                  <a:lnTo>
                    <a:pt x="366" y="45"/>
                  </a:lnTo>
                  <a:lnTo>
                    <a:pt x="363" y="45"/>
                  </a:lnTo>
                  <a:lnTo>
                    <a:pt x="363" y="47"/>
                  </a:lnTo>
                  <a:lnTo>
                    <a:pt x="361" y="47"/>
                  </a:lnTo>
                  <a:lnTo>
                    <a:pt x="358" y="47"/>
                  </a:lnTo>
                  <a:lnTo>
                    <a:pt x="356" y="47"/>
                  </a:lnTo>
                  <a:lnTo>
                    <a:pt x="358" y="47"/>
                  </a:lnTo>
                  <a:lnTo>
                    <a:pt x="356" y="47"/>
                  </a:lnTo>
                  <a:lnTo>
                    <a:pt x="354" y="45"/>
                  </a:lnTo>
                  <a:lnTo>
                    <a:pt x="351" y="45"/>
                  </a:lnTo>
                  <a:lnTo>
                    <a:pt x="349" y="45"/>
                  </a:lnTo>
                  <a:lnTo>
                    <a:pt x="347" y="45"/>
                  </a:lnTo>
                  <a:lnTo>
                    <a:pt x="349" y="45"/>
                  </a:lnTo>
                  <a:lnTo>
                    <a:pt x="349" y="43"/>
                  </a:lnTo>
                  <a:lnTo>
                    <a:pt x="347" y="43"/>
                  </a:lnTo>
                  <a:lnTo>
                    <a:pt x="344" y="40"/>
                  </a:lnTo>
                  <a:lnTo>
                    <a:pt x="347" y="40"/>
                  </a:lnTo>
                  <a:lnTo>
                    <a:pt x="347" y="38"/>
                  </a:lnTo>
                  <a:lnTo>
                    <a:pt x="344" y="38"/>
                  </a:lnTo>
                  <a:lnTo>
                    <a:pt x="347" y="38"/>
                  </a:lnTo>
                  <a:lnTo>
                    <a:pt x="349" y="38"/>
                  </a:lnTo>
                  <a:lnTo>
                    <a:pt x="351" y="38"/>
                  </a:lnTo>
                  <a:lnTo>
                    <a:pt x="354" y="38"/>
                  </a:lnTo>
                  <a:lnTo>
                    <a:pt x="356" y="38"/>
                  </a:lnTo>
                  <a:lnTo>
                    <a:pt x="358" y="38"/>
                  </a:lnTo>
                  <a:lnTo>
                    <a:pt x="361" y="38"/>
                  </a:lnTo>
                  <a:lnTo>
                    <a:pt x="363" y="38"/>
                  </a:lnTo>
                  <a:lnTo>
                    <a:pt x="363" y="40"/>
                  </a:lnTo>
                  <a:lnTo>
                    <a:pt x="366" y="40"/>
                  </a:lnTo>
                  <a:lnTo>
                    <a:pt x="368" y="40"/>
                  </a:lnTo>
                  <a:lnTo>
                    <a:pt x="370" y="40"/>
                  </a:lnTo>
                  <a:lnTo>
                    <a:pt x="373" y="40"/>
                  </a:lnTo>
                  <a:lnTo>
                    <a:pt x="375" y="40"/>
                  </a:lnTo>
                  <a:lnTo>
                    <a:pt x="377" y="40"/>
                  </a:lnTo>
                  <a:lnTo>
                    <a:pt x="380" y="43"/>
                  </a:lnTo>
                  <a:lnTo>
                    <a:pt x="382" y="43"/>
                  </a:lnTo>
                  <a:lnTo>
                    <a:pt x="385" y="43"/>
                  </a:lnTo>
                  <a:lnTo>
                    <a:pt x="382" y="40"/>
                  </a:lnTo>
                  <a:lnTo>
                    <a:pt x="380" y="40"/>
                  </a:lnTo>
                  <a:lnTo>
                    <a:pt x="377" y="38"/>
                  </a:lnTo>
                  <a:lnTo>
                    <a:pt x="377" y="35"/>
                  </a:lnTo>
                  <a:lnTo>
                    <a:pt x="380" y="35"/>
                  </a:lnTo>
                  <a:lnTo>
                    <a:pt x="377" y="35"/>
                  </a:lnTo>
                  <a:lnTo>
                    <a:pt x="375" y="33"/>
                  </a:lnTo>
                  <a:lnTo>
                    <a:pt x="377" y="33"/>
                  </a:lnTo>
                  <a:lnTo>
                    <a:pt x="375" y="33"/>
                  </a:lnTo>
                  <a:lnTo>
                    <a:pt x="377" y="31"/>
                  </a:lnTo>
                  <a:lnTo>
                    <a:pt x="380" y="31"/>
                  </a:lnTo>
                  <a:lnTo>
                    <a:pt x="382" y="31"/>
                  </a:lnTo>
                  <a:lnTo>
                    <a:pt x="385" y="31"/>
                  </a:lnTo>
                  <a:close/>
                  <a:moveTo>
                    <a:pt x="463" y="31"/>
                  </a:moveTo>
                  <a:lnTo>
                    <a:pt x="465" y="31"/>
                  </a:lnTo>
                  <a:lnTo>
                    <a:pt x="468" y="31"/>
                  </a:lnTo>
                  <a:lnTo>
                    <a:pt x="465" y="31"/>
                  </a:lnTo>
                  <a:lnTo>
                    <a:pt x="468" y="33"/>
                  </a:lnTo>
                  <a:lnTo>
                    <a:pt x="470" y="33"/>
                  </a:lnTo>
                  <a:lnTo>
                    <a:pt x="470" y="35"/>
                  </a:lnTo>
                  <a:lnTo>
                    <a:pt x="472" y="35"/>
                  </a:lnTo>
                  <a:lnTo>
                    <a:pt x="472" y="38"/>
                  </a:lnTo>
                  <a:lnTo>
                    <a:pt x="470" y="38"/>
                  </a:lnTo>
                  <a:lnTo>
                    <a:pt x="468" y="38"/>
                  </a:lnTo>
                  <a:lnTo>
                    <a:pt x="463" y="38"/>
                  </a:lnTo>
                  <a:lnTo>
                    <a:pt x="463" y="40"/>
                  </a:lnTo>
                  <a:lnTo>
                    <a:pt x="460" y="38"/>
                  </a:lnTo>
                  <a:lnTo>
                    <a:pt x="458" y="38"/>
                  </a:lnTo>
                  <a:lnTo>
                    <a:pt x="456" y="38"/>
                  </a:lnTo>
                  <a:lnTo>
                    <a:pt x="453" y="38"/>
                  </a:lnTo>
                  <a:lnTo>
                    <a:pt x="451" y="38"/>
                  </a:lnTo>
                  <a:lnTo>
                    <a:pt x="446" y="35"/>
                  </a:lnTo>
                  <a:lnTo>
                    <a:pt x="446" y="33"/>
                  </a:lnTo>
                  <a:lnTo>
                    <a:pt x="449" y="33"/>
                  </a:lnTo>
                  <a:lnTo>
                    <a:pt x="451" y="33"/>
                  </a:lnTo>
                  <a:lnTo>
                    <a:pt x="456" y="31"/>
                  </a:lnTo>
                  <a:lnTo>
                    <a:pt x="460" y="31"/>
                  </a:lnTo>
                  <a:lnTo>
                    <a:pt x="463" y="31"/>
                  </a:lnTo>
                  <a:close/>
                  <a:moveTo>
                    <a:pt x="418" y="21"/>
                  </a:moveTo>
                  <a:lnTo>
                    <a:pt x="420" y="21"/>
                  </a:lnTo>
                  <a:lnTo>
                    <a:pt x="422" y="21"/>
                  </a:lnTo>
                  <a:lnTo>
                    <a:pt x="422" y="24"/>
                  </a:lnTo>
                  <a:lnTo>
                    <a:pt x="425" y="24"/>
                  </a:lnTo>
                  <a:lnTo>
                    <a:pt x="427" y="26"/>
                  </a:lnTo>
                  <a:lnTo>
                    <a:pt x="430" y="26"/>
                  </a:lnTo>
                  <a:lnTo>
                    <a:pt x="432" y="26"/>
                  </a:lnTo>
                  <a:lnTo>
                    <a:pt x="434" y="26"/>
                  </a:lnTo>
                  <a:lnTo>
                    <a:pt x="439" y="26"/>
                  </a:lnTo>
                  <a:lnTo>
                    <a:pt x="444" y="28"/>
                  </a:lnTo>
                  <a:lnTo>
                    <a:pt x="446" y="28"/>
                  </a:lnTo>
                  <a:lnTo>
                    <a:pt x="446" y="31"/>
                  </a:lnTo>
                  <a:lnTo>
                    <a:pt x="444" y="33"/>
                  </a:lnTo>
                  <a:lnTo>
                    <a:pt x="441" y="33"/>
                  </a:lnTo>
                  <a:lnTo>
                    <a:pt x="439" y="33"/>
                  </a:lnTo>
                  <a:lnTo>
                    <a:pt x="437" y="33"/>
                  </a:lnTo>
                  <a:lnTo>
                    <a:pt x="434" y="33"/>
                  </a:lnTo>
                  <a:lnTo>
                    <a:pt x="432" y="33"/>
                  </a:lnTo>
                  <a:lnTo>
                    <a:pt x="427" y="33"/>
                  </a:lnTo>
                  <a:lnTo>
                    <a:pt x="422" y="33"/>
                  </a:lnTo>
                  <a:lnTo>
                    <a:pt x="418" y="33"/>
                  </a:lnTo>
                  <a:lnTo>
                    <a:pt x="415" y="31"/>
                  </a:lnTo>
                  <a:lnTo>
                    <a:pt x="415" y="33"/>
                  </a:lnTo>
                  <a:lnTo>
                    <a:pt x="415" y="31"/>
                  </a:lnTo>
                  <a:lnTo>
                    <a:pt x="413" y="31"/>
                  </a:lnTo>
                  <a:lnTo>
                    <a:pt x="411" y="31"/>
                  </a:lnTo>
                  <a:lnTo>
                    <a:pt x="411" y="28"/>
                  </a:lnTo>
                  <a:lnTo>
                    <a:pt x="408" y="28"/>
                  </a:lnTo>
                  <a:lnTo>
                    <a:pt x="408" y="31"/>
                  </a:lnTo>
                  <a:lnTo>
                    <a:pt x="406" y="28"/>
                  </a:lnTo>
                  <a:lnTo>
                    <a:pt x="403" y="28"/>
                  </a:lnTo>
                  <a:lnTo>
                    <a:pt x="401" y="31"/>
                  </a:lnTo>
                  <a:lnTo>
                    <a:pt x="401" y="28"/>
                  </a:lnTo>
                  <a:lnTo>
                    <a:pt x="399" y="28"/>
                  </a:lnTo>
                  <a:lnTo>
                    <a:pt x="396" y="28"/>
                  </a:lnTo>
                  <a:lnTo>
                    <a:pt x="394" y="28"/>
                  </a:lnTo>
                  <a:lnTo>
                    <a:pt x="392" y="28"/>
                  </a:lnTo>
                  <a:lnTo>
                    <a:pt x="389" y="28"/>
                  </a:lnTo>
                  <a:lnTo>
                    <a:pt x="389" y="26"/>
                  </a:lnTo>
                  <a:lnTo>
                    <a:pt x="392" y="26"/>
                  </a:lnTo>
                  <a:lnTo>
                    <a:pt x="394" y="26"/>
                  </a:lnTo>
                  <a:lnTo>
                    <a:pt x="394" y="24"/>
                  </a:lnTo>
                  <a:lnTo>
                    <a:pt x="396" y="24"/>
                  </a:lnTo>
                  <a:lnTo>
                    <a:pt x="394" y="24"/>
                  </a:lnTo>
                  <a:lnTo>
                    <a:pt x="396" y="24"/>
                  </a:lnTo>
                  <a:lnTo>
                    <a:pt x="399" y="24"/>
                  </a:lnTo>
                  <a:lnTo>
                    <a:pt x="399" y="21"/>
                  </a:lnTo>
                  <a:lnTo>
                    <a:pt x="401" y="21"/>
                  </a:lnTo>
                  <a:lnTo>
                    <a:pt x="403" y="24"/>
                  </a:lnTo>
                  <a:lnTo>
                    <a:pt x="406" y="24"/>
                  </a:lnTo>
                  <a:lnTo>
                    <a:pt x="406" y="21"/>
                  </a:lnTo>
                  <a:lnTo>
                    <a:pt x="408" y="21"/>
                  </a:lnTo>
                  <a:lnTo>
                    <a:pt x="411" y="21"/>
                  </a:lnTo>
                  <a:lnTo>
                    <a:pt x="408" y="21"/>
                  </a:lnTo>
                  <a:lnTo>
                    <a:pt x="411" y="21"/>
                  </a:lnTo>
                  <a:lnTo>
                    <a:pt x="413" y="21"/>
                  </a:lnTo>
                  <a:lnTo>
                    <a:pt x="415" y="21"/>
                  </a:lnTo>
                  <a:lnTo>
                    <a:pt x="418" y="21"/>
                  </a:lnTo>
                  <a:close/>
                  <a:moveTo>
                    <a:pt x="615" y="12"/>
                  </a:moveTo>
                  <a:lnTo>
                    <a:pt x="617" y="12"/>
                  </a:lnTo>
                  <a:lnTo>
                    <a:pt x="617" y="14"/>
                  </a:lnTo>
                  <a:lnTo>
                    <a:pt x="619" y="14"/>
                  </a:lnTo>
                  <a:lnTo>
                    <a:pt x="619" y="16"/>
                  </a:lnTo>
                  <a:lnTo>
                    <a:pt x="617" y="19"/>
                  </a:lnTo>
                  <a:lnTo>
                    <a:pt x="615" y="19"/>
                  </a:lnTo>
                  <a:lnTo>
                    <a:pt x="612" y="19"/>
                  </a:lnTo>
                  <a:lnTo>
                    <a:pt x="608" y="19"/>
                  </a:lnTo>
                  <a:lnTo>
                    <a:pt x="605" y="19"/>
                  </a:lnTo>
                  <a:lnTo>
                    <a:pt x="603" y="19"/>
                  </a:lnTo>
                  <a:lnTo>
                    <a:pt x="598" y="19"/>
                  </a:lnTo>
                  <a:lnTo>
                    <a:pt x="593" y="19"/>
                  </a:lnTo>
                  <a:lnTo>
                    <a:pt x="586" y="19"/>
                  </a:lnTo>
                  <a:lnTo>
                    <a:pt x="584" y="19"/>
                  </a:lnTo>
                  <a:lnTo>
                    <a:pt x="581" y="16"/>
                  </a:lnTo>
                  <a:lnTo>
                    <a:pt x="579" y="16"/>
                  </a:lnTo>
                  <a:lnTo>
                    <a:pt x="579" y="14"/>
                  </a:lnTo>
                  <a:lnTo>
                    <a:pt x="577" y="16"/>
                  </a:lnTo>
                  <a:lnTo>
                    <a:pt x="574" y="14"/>
                  </a:lnTo>
                  <a:lnTo>
                    <a:pt x="572" y="14"/>
                  </a:lnTo>
                  <a:lnTo>
                    <a:pt x="567" y="14"/>
                  </a:lnTo>
                  <a:lnTo>
                    <a:pt x="565" y="14"/>
                  </a:lnTo>
                  <a:lnTo>
                    <a:pt x="567" y="14"/>
                  </a:lnTo>
                  <a:lnTo>
                    <a:pt x="567" y="12"/>
                  </a:lnTo>
                  <a:lnTo>
                    <a:pt x="570" y="12"/>
                  </a:lnTo>
                  <a:lnTo>
                    <a:pt x="574" y="12"/>
                  </a:lnTo>
                  <a:lnTo>
                    <a:pt x="579" y="12"/>
                  </a:lnTo>
                  <a:lnTo>
                    <a:pt x="581" y="12"/>
                  </a:lnTo>
                  <a:lnTo>
                    <a:pt x="586" y="9"/>
                  </a:lnTo>
                  <a:lnTo>
                    <a:pt x="586" y="12"/>
                  </a:lnTo>
                  <a:lnTo>
                    <a:pt x="589" y="12"/>
                  </a:lnTo>
                  <a:lnTo>
                    <a:pt x="584" y="12"/>
                  </a:lnTo>
                  <a:lnTo>
                    <a:pt x="589" y="12"/>
                  </a:lnTo>
                  <a:lnTo>
                    <a:pt x="591" y="12"/>
                  </a:lnTo>
                  <a:lnTo>
                    <a:pt x="593" y="12"/>
                  </a:lnTo>
                  <a:lnTo>
                    <a:pt x="598" y="9"/>
                  </a:lnTo>
                  <a:lnTo>
                    <a:pt x="605" y="9"/>
                  </a:lnTo>
                  <a:lnTo>
                    <a:pt x="608" y="12"/>
                  </a:lnTo>
                  <a:lnTo>
                    <a:pt x="615" y="12"/>
                  </a:lnTo>
                  <a:close/>
                  <a:moveTo>
                    <a:pt x="458" y="0"/>
                  </a:moveTo>
                  <a:lnTo>
                    <a:pt x="460" y="0"/>
                  </a:lnTo>
                  <a:lnTo>
                    <a:pt x="463" y="0"/>
                  </a:lnTo>
                  <a:lnTo>
                    <a:pt x="465" y="0"/>
                  </a:lnTo>
                  <a:lnTo>
                    <a:pt x="468" y="0"/>
                  </a:lnTo>
                  <a:lnTo>
                    <a:pt x="470" y="0"/>
                  </a:lnTo>
                  <a:lnTo>
                    <a:pt x="470" y="2"/>
                  </a:lnTo>
                  <a:lnTo>
                    <a:pt x="472" y="2"/>
                  </a:lnTo>
                  <a:lnTo>
                    <a:pt x="472" y="5"/>
                  </a:lnTo>
                  <a:lnTo>
                    <a:pt x="470" y="5"/>
                  </a:lnTo>
                  <a:lnTo>
                    <a:pt x="472" y="7"/>
                  </a:lnTo>
                  <a:lnTo>
                    <a:pt x="470" y="9"/>
                  </a:lnTo>
                  <a:lnTo>
                    <a:pt x="465" y="9"/>
                  </a:lnTo>
                  <a:lnTo>
                    <a:pt x="463" y="9"/>
                  </a:lnTo>
                  <a:lnTo>
                    <a:pt x="456" y="9"/>
                  </a:lnTo>
                  <a:lnTo>
                    <a:pt x="453" y="9"/>
                  </a:lnTo>
                  <a:lnTo>
                    <a:pt x="451" y="9"/>
                  </a:lnTo>
                  <a:lnTo>
                    <a:pt x="449" y="9"/>
                  </a:lnTo>
                  <a:lnTo>
                    <a:pt x="446" y="9"/>
                  </a:lnTo>
                  <a:lnTo>
                    <a:pt x="444" y="9"/>
                  </a:lnTo>
                  <a:lnTo>
                    <a:pt x="441" y="9"/>
                  </a:lnTo>
                  <a:lnTo>
                    <a:pt x="439" y="9"/>
                  </a:lnTo>
                  <a:lnTo>
                    <a:pt x="439" y="12"/>
                  </a:lnTo>
                  <a:lnTo>
                    <a:pt x="437" y="12"/>
                  </a:lnTo>
                  <a:lnTo>
                    <a:pt x="434" y="12"/>
                  </a:lnTo>
                  <a:lnTo>
                    <a:pt x="432" y="12"/>
                  </a:lnTo>
                  <a:lnTo>
                    <a:pt x="430" y="9"/>
                  </a:lnTo>
                  <a:lnTo>
                    <a:pt x="427" y="9"/>
                  </a:lnTo>
                  <a:lnTo>
                    <a:pt x="427" y="7"/>
                  </a:lnTo>
                  <a:lnTo>
                    <a:pt x="430" y="7"/>
                  </a:lnTo>
                  <a:lnTo>
                    <a:pt x="430" y="5"/>
                  </a:lnTo>
                  <a:lnTo>
                    <a:pt x="427" y="5"/>
                  </a:lnTo>
                  <a:lnTo>
                    <a:pt x="425" y="5"/>
                  </a:lnTo>
                  <a:lnTo>
                    <a:pt x="425" y="2"/>
                  </a:lnTo>
                  <a:lnTo>
                    <a:pt x="427" y="2"/>
                  </a:lnTo>
                  <a:lnTo>
                    <a:pt x="430" y="2"/>
                  </a:lnTo>
                  <a:lnTo>
                    <a:pt x="432" y="2"/>
                  </a:lnTo>
                  <a:lnTo>
                    <a:pt x="434" y="2"/>
                  </a:lnTo>
                  <a:lnTo>
                    <a:pt x="437" y="2"/>
                  </a:lnTo>
                  <a:lnTo>
                    <a:pt x="439" y="2"/>
                  </a:lnTo>
                  <a:lnTo>
                    <a:pt x="441" y="2"/>
                  </a:lnTo>
                  <a:lnTo>
                    <a:pt x="444" y="2"/>
                  </a:lnTo>
                  <a:lnTo>
                    <a:pt x="446" y="2"/>
                  </a:lnTo>
                  <a:lnTo>
                    <a:pt x="449" y="0"/>
                  </a:lnTo>
                  <a:lnTo>
                    <a:pt x="451" y="0"/>
                  </a:lnTo>
                  <a:lnTo>
                    <a:pt x="456" y="0"/>
                  </a:lnTo>
                  <a:lnTo>
                    <a:pt x="45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0" name="Freeform 55071"/>
            <p:cNvSpPr>
              <a:spLocks noEditPoints="1"/>
            </p:cNvSpPr>
            <p:nvPr/>
          </p:nvSpPr>
          <p:spPr bwMode="auto">
            <a:xfrm>
              <a:off x="3054348" y="2314583"/>
              <a:ext cx="2587624" cy="3043247"/>
            </a:xfrm>
            <a:custGeom>
              <a:avLst/>
              <a:gdLst>
                <a:gd name="T0" fmla="*/ 690 w 1630"/>
                <a:gd name="T1" fmla="*/ 748 h 1917"/>
                <a:gd name="T2" fmla="*/ 1086 w 1630"/>
                <a:gd name="T3" fmla="*/ 651 h 1917"/>
                <a:gd name="T4" fmla="*/ 1096 w 1630"/>
                <a:gd name="T5" fmla="*/ 572 h 1917"/>
                <a:gd name="T6" fmla="*/ 1134 w 1630"/>
                <a:gd name="T7" fmla="*/ 544 h 1917"/>
                <a:gd name="T8" fmla="*/ 1143 w 1630"/>
                <a:gd name="T9" fmla="*/ 534 h 1917"/>
                <a:gd name="T10" fmla="*/ 415 w 1630"/>
                <a:gd name="T11" fmla="*/ 510 h 1917"/>
                <a:gd name="T12" fmla="*/ 619 w 1630"/>
                <a:gd name="T13" fmla="*/ 532 h 1917"/>
                <a:gd name="T14" fmla="*/ 692 w 1630"/>
                <a:gd name="T15" fmla="*/ 639 h 1917"/>
                <a:gd name="T16" fmla="*/ 443 w 1630"/>
                <a:gd name="T17" fmla="*/ 617 h 1917"/>
                <a:gd name="T18" fmla="*/ 481 w 1630"/>
                <a:gd name="T19" fmla="*/ 655 h 1917"/>
                <a:gd name="T20" fmla="*/ 472 w 1630"/>
                <a:gd name="T21" fmla="*/ 724 h 1917"/>
                <a:gd name="T22" fmla="*/ 666 w 1630"/>
                <a:gd name="T23" fmla="*/ 843 h 1917"/>
                <a:gd name="T24" fmla="*/ 567 w 1630"/>
                <a:gd name="T25" fmla="*/ 722 h 1917"/>
                <a:gd name="T26" fmla="*/ 740 w 1630"/>
                <a:gd name="T27" fmla="*/ 817 h 1917"/>
                <a:gd name="T28" fmla="*/ 745 w 1630"/>
                <a:gd name="T29" fmla="*/ 943 h 1917"/>
                <a:gd name="T30" fmla="*/ 828 w 1630"/>
                <a:gd name="T31" fmla="*/ 869 h 1917"/>
                <a:gd name="T32" fmla="*/ 787 w 1630"/>
                <a:gd name="T33" fmla="*/ 739 h 1917"/>
                <a:gd name="T34" fmla="*/ 794 w 1630"/>
                <a:gd name="T35" fmla="*/ 653 h 1917"/>
                <a:gd name="T36" fmla="*/ 809 w 1630"/>
                <a:gd name="T37" fmla="*/ 662 h 1917"/>
                <a:gd name="T38" fmla="*/ 892 w 1630"/>
                <a:gd name="T39" fmla="*/ 563 h 1917"/>
                <a:gd name="T40" fmla="*/ 930 w 1630"/>
                <a:gd name="T41" fmla="*/ 577 h 1917"/>
                <a:gd name="T42" fmla="*/ 1103 w 1630"/>
                <a:gd name="T43" fmla="*/ 508 h 1917"/>
                <a:gd name="T44" fmla="*/ 1103 w 1630"/>
                <a:gd name="T45" fmla="*/ 560 h 1917"/>
                <a:gd name="T46" fmla="*/ 1067 w 1630"/>
                <a:gd name="T47" fmla="*/ 696 h 1917"/>
                <a:gd name="T48" fmla="*/ 1115 w 1630"/>
                <a:gd name="T49" fmla="*/ 710 h 1917"/>
                <a:gd name="T50" fmla="*/ 1250 w 1630"/>
                <a:gd name="T51" fmla="*/ 767 h 1917"/>
                <a:gd name="T52" fmla="*/ 1262 w 1630"/>
                <a:gd name="T53" fmla="*/ 731 h 1917"/>
                <a:gd name="T54" fmla="*/ 1333 w 1630"/>
                <a:gd name="T55" fmla="*/ 646 h 1917"/>
                <a:gd name="T56" fmla="*/ 1252 w 1630"/>
                <a:gd name="T57" fmla="*/ 670 h 1917"/>
                <a:gd name="T58" fmla="*/ 1084 w 1630"/>
                <a:gd name="T59" fmla="*/ 605 h 1917"/>
                <a:gd name="T60" fmla="*/ 1179 w 1630"/>
                <a:gd name="T61" fmla="*/ 520 h 1917"/>
                <a:gd name="T62" fmla="*/ 1300 w 1630"/>
                <a:gd name="T63" fmla="*/ 494 h 1917"/>
                <a:gd name="T64" fmla="*/ 1380 w 1630"/>
                <a:gd name="T65" fmla="*/ 515 h 1917"/>
                <a:gd name="T66" fmla="*/ 1357 w 1630"/>
                <a:gd name="T67" fmla="*/ 446 h 1917"/>
                <a:gd name="T68" fmla="*/ 1532 w 1630"/>
                <a:gd name="T69" fmla="*/ 558 h 1917"/>
                <a:gd name="T70" fmla="*/ 1314 w 1630"/>
                <a:gd name="T71" fmla="*/ 893 h 1917"/>
                <a:gd name="T72" fmla="*/ 1312 w 1630"/>
                <a:gd name="T73" fmla="*/ 1223 h 1917"/>
                <a:gd name="T74" fmla="*/ 1293 w 1630"/>
                <a:gd name="T75" fmla="*/ 1375 h 1917"/>
                <a:gd name="T76" fmla="*/ 1153 w 1630"/>
                <a:gd name="T77" fmla="*/ 1456 h 1917"/>
                <a:gd name="T78" fmla="*/ 918 w 1630"/>
                <a:gd name="T79" fmla="*/ 1484 h 1917"/>
                <a:gd name="T80" fmla="*/ 965 w 1630"/>
                <a:gd name="T81" fmla="*/ 1705 h 1917"/>
                <a:gd name="T82" fmla="*/ 925 w 1630"/>
                <a:gd name="T83" fmla="*/ 1701 h 1917"/>
                <a:gd name="T84" fmla="*/ 937 w 1630"/>
                <a:gd name="T85" fmla="*/ 1862 h 1917"/>
                <a:gd name="T86" fmla="*/ 697 w 1630"/>
                <a:gd name="T87" fmla="*/ 1810 h 1917"/>
                <a:gd name="T88" fmla="*/ 638 w 1630"/>
                <a:gd name="T89" fmla="*/ 1648 h 1917"/>
                <a:gd name="T90" fmla="*/ 647 w 1630"/>
                <a:gd name="T91" fmla="*/ 1513 h 1917"/>
                <a:gd name="T92" fmla="*/ 398 w 1630"/>
                <a:gd name="T93" fmla="*/ 1392 h 1917"/>
                <a:gd name="T94" fmla="*/ 296 w 1630"/>
                <a:gd name="T95" fmla="*/ 1199 h 1917"/>
                <a:gd name="T96" fmla="*/ 341 w 1630"/>
                <a:gd name="T97" fmla="*/ 993 h 1917"/>
                <a:gd name="T98" fmla="*/ 360 w 1630"/>
                <a:gd name="T99" fmla="*/ 769 h 1917"/>
                <a:gd name="T100" fmla="*/ 417 w 1630"/>
                <a:gd name="T101" fmla="*/ 442 h 1917"/>
                <a:gd name="T102" fmla="*/ 1188 w 1630"/>
                <a:gd name="T103" fmla="*/ 273 h 1917"/>
                <a:gd name="T104" fmla="*/ 1224 w 1630"/>
                <a:gd name="T105" fmla="*/ 399 h 1917"/>
                <a:gd name="T106" fmla="*/ 1131 w 1630"/>
                <a:gd name="T107" fmla="*/ 389 h 1917"/>
                <a:gd name="T108" fmla="*/ 1074 w 1630"/>
                <a:gd name="T109" fmla="*/ 347 h 1917"/>
                <a:gd name="T110" fmla="*/ 1112 w 1630"/>
                <a:gd name="T111" fmla="*/ 259 h 1917"/>
                <a:gd name="T112" fmla="*/ 1601 w 1630"/>
                <a:gd name="T113" fmla="*/ 45 h 1917"/>
                <a:gd name="T114" fmla="*/ 1340 w 1630"/>
                <a:gd name="T115" fmla="*/ 137 h 1917"/>
                <a:gd name="T116" fmla="*/ 1259 w 1630"/>
                <a:gd name="T117" fmla="*/ 199 h 1917"/>
                <a:gd name="T118" fmla="*/ 1148 w 1630"/>
                <a:gd name="T119" fmla="*/ 218 h 1917"/>
                <a:gd name="T120" fmla="*/ 1188 w 1630"/>
                <a:gd name="T121" fmla="*/ 171 h 1917"/>
                <a:gd name="T122" fmla="*/ 1233 w 1630"/>
                <a:gd name="T123" fmla="*/ 104 h 1917"/>
                <a:gd name="T124" fmla="*/ 1414 w 1630"/>
                <a:gd name="T125" fmla="*/ 54 h 1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0" h="1917">
                  <a:moveTo>
                    <a:pt x="2" y="1283"/>
                  </a:moveTo>
                  <a:lnTo>
                    <a:pt x="0" y="1283"/>
                  </a:lnTo>
                  <a:lnTo>
                    <a:pt x="2" y="1283"/>
                  </a:lnTo>
                  <a:lnTo>
                    <a:pt x="2" y="1280"/>
                  </a:lnTo>
                  <a:lnTo>
                    <a:pt x="4" y="1280"/>
                  </a:lnTo>
                  <a:lnTo>
                    <a:pt x="4" y="1278"/>
                  </a:lnTo>
                  <a:lnTo>
                    <a:pt x="7" y="1278"/>
                  </a:lnTo>
                  <a:lnTo>
                    <a:pt x="7" y="1275"/>
                  </a:lnTo>
                  <a:lnTo>
                    <a:pt x="9" y="1273"/>
                  </a:lnTo>
                  <a:lnTo>
                    <a:pt x="9" y="1275"/>
                  </a:lnTo>
                  <a:lnTo>
                    <a:pt x="7" y="1275"/>
                  </a:lnTo>
                  <a:lnTo>
                    <a:pt x="7" y="1278"/>
                  </a:lnTo>
                  <a:lnTo>
                    <a:pt x="4" y="1278"/>
                  </a:lnTo>
                  <a:lnTo>
                    <a:pt x="4" y="1280"/>
                  </a:lnTo>
                  <a:lnTo>
                    <a:pt x="2" y="1280"/>
                  </a:lnTo>
                  <a:lnTo>
                    <a:pt x="2" y="1283"/>
                  </a:lnTo>
                  <a:close/>
                  <a:moveTo>
                    <a:pt x="33" y="1259"/>
                  </a:moveTo>
                  <a:lnTo>
                    <a:pt x="35" y="1259"/>
                  </a:lnTo>
                  <a:lnTo>
                    <a:pt x="38" y="1259"/>
                  </a:lnTo>
                  <a:lnTo>
                    <a:pt x="38" y="1256"/>
                  </a:lnTo>
                  <a:lnTo>
                    <a:pt x="38" y="1259"/>
                  </a:lnTo>
                  <a:lnTo>
                    <a:pt x="40" y="1259"/>
                  </a:lnTo>
                  <a:lnTo>
                    <a:pt x="42" y="1259"/>
                  </a:lnTo>
                  <a:lnTo>
                    <a:pt x="42" y="1261"/>
                  </a:lnTo>
                  <a:lnTo>
                    <a:pt x="42" y="1259"/>
                  </a:lnTo>
                  <a:lnTo>
                    <a:pt x="42" y="1261"/>
                  </a:lnTo>
                  <a:lnTo>
                    <a:pt x="45" y="1261"/>
                  </a:lnTo>
                  <a:lnTo>
                    <a:pt x="47" y="1261"/>
                  </a:lnTo>
                  <a:lnTo>
                    <a:pt x="47" y="1259"/>
                  </a:lnTo>
                  <a:lnTo>
                    <a:pt x="47" y="1261"/>
                  </a:lnTo>
                  <a:lnTo>
                    <a:pt x="49" y="1261"/>
                  </a:lnTo>
                  <a:lnTo>
                    <a:pt x="49" y="1259"/>
                  </a:lnTo>
                  <a:lnTo>
                    <a:pt x="52" y="1259"/>
                  </a:lnTo>
                  <a:lnTo>
                    <a:pt x="54" y="1259"/>
                  </a:lnTo>
                  <a:lnTo>
                    <a:pt x="54" y="1256"/>
                  </a:lnTo>
                  <a:lnTo>
                    <a:pt x="52" y="1256"/>
                  </a:lnTo>
                  <a:lnTo>
                    <a:pt x="54" y="1256"/>
                  </a:lnTo>
                  <a:lnTo>
                    <a:pt x="54" y="1254"/>
                  </a:lnTo>
                  <a:lnTo>
                    <a:pt x="52" y="1254"/>
                  </a:lnTo>
                  <a:lnTo>
                    <a:pt x="52" y="1252"/>
                  </a:lnTo>
                  <a:lnTo>
                    <a:pt x="52" y="1249"/>
                  </a:lnTo>
                  <a:lnTo>
                    <a:pt x="52" y="1247"/>
                  </a:lnTo>
                  <a:lnTo>
                    <a:pt x="52" y="1245"/>
                  </a:lnTo>
                  <a:lnTo>
                    <a:pt x="54" y="1245"/>
                  </a:lnTo>
                  <a:lnTo>
                    <a:pt x="52" y="1245"/>
                  </a:lnTo>
                  <a:lnTo>
                    <a:pt x="54" y="1245"/>
                  </a:lnTo>
                  <a:lnTo>
                    <a:pt x="54" y="1242"/>
                  </a:lnTo>
                  <a:lnTo>
                    <a:pt x="57" y="1242"/>
                  </a:lnTo>
                  <a:lnTo>
                    <a:pt x="57" y="1240"/>
                  </a:lnTo>
                  <a:lnTo>
                    <a:pt x="59" y="1240"/>
                  </a:lnTo>
                  <a:lnTo>
                    <a:pt x="59" y="1242"/>
                  </a:lnTo>
                  <a:lnTo>
                    <a:pt x="61" y="1245"/>
                  </a:lnTo>
                  <a:lnTo>
                    <a:pt x="64" y="1245"/>
                  </a:lnTo>
                  <a:lnTo>
                    <a:pt x="66" y="1245"/>
                  </a:lnTo>
                  <a:lnTo>
                    <a:pt x="66" y="1247"/>
                  </a:lnTo>
                  <a:lnTo>
                    <a:pt x="68" y="1247"/>
                  </a:lnTo>
                  <a:lnTo>
                    <a:pt x="68" y="1249"/>
                  </a:lnTo>
                  <a:lnTo>
                    <a:pt x="71" y="1249"/>
                  </a:lnTo>
                  <a:lnTo>
                    <a:pt x="73" y="1249"/>
                  </a:lnTo>
                  <a:lnTo>
                    <a:pt x="76" y="1249"/>
                  </a:lnTo>
                  <a:lnTo>
                    <a:pt x="76" y="1252"/>
                  </a:lnTo>
                  <a:lnTo>
                    <a:pt x="78" y="1252"/>
                  </a:lnTo>
                  <a:lnTo>
                    <a:pt x="80" y="1252"/>
                  </a:lnTo>
                  <a:lnTo>
                    <a:pt x="80" y="1254"/>
                  </a:lnTo>
                  <a:lnTo>
                    <a:pt x="83" y="1254"/>
                  </a:lnTo>
                  <a:lnTo>
                    <a:pt x="83" y="1252"/>
                  </a:lnTo>
                  <a:lnTo>
                    <a:pt x="85" y="1252"/>
                  </a:lnTo>
                  <a:lnTo>
                    <a:pt x="87" y="1252"/>
                  </a:lnTo>
                  <a:lnTo>
                    <a:pt x="90" y="1252"/>
                  </a:lnTo>
                  <a:lnTo>
                    <a:pt x="92" y="1252"/>
                  </a:lnTo>
                  <a:lnTo>
                    <a:pt x="94" y="1252"/>
                  </a:lnTo>
                  <a:lnTo>
                    <a:pt x="97" y="1252"/>
                  </a:lnTo>
                  <a:lnTo>
                    <a:pt x="97" y="1254"/>
                  </a:lnTo>
                  <a:lnTo>
                    <a:pt x="99" y="1254"/>
                  </a:lnTo>
                  <a:lnTo>
                    <a:pt x="99" y="1256"/>
                  </a:lnTo>
                  <a:lnTo>
                    <a:pt x="102" y="1256"/>
                  </a:lnTo>
                  <a:lnTo>
                    <a:pt x="99" y="1256"/>
                  </a:lnTo>
                  <a:lnTo>
                    <a:pt x="102" y="1256"/>
                  </a:lnTo>
                  <a:lnTo>
                    <a:pt x="104" y="1259"/>
                  </a:lnTo>
                  <a:lnTo>
                    <a:pt x="106" y="1259"/>
                  </a:lnTo>
                  <a:lnTo>
                    <a:pt x="106" y="1261"/>
                  </a:lnTo>
                  <a:lnTo>
                    <a:pt x="106" y="1264"/>
                  </a:lnTo>
                  <a:lnTo>
                    <a:pt x="109" y="1264"/>
                  </a:lnTo>
                  <a:lnTo>
                    <a:pt x="106" y="1264"/>
                  </a:lnTo>
                  <a:lnTo>
                    <a:pt x="106" y="1266"/>
                  </a:lnTo>
                  <a:lnTo>
                    <a:pt x="104" y="1268"/>
                  </a:lnTo>
                  <a:lnTo>
                    <a:pt x="102" y="1268"/>
                  </a:lnTo>
                  <a:lnTo>
                    <a:pt x="102" y="1271"/>
                  </a:lnTo>
                  <a:lnTo>
                    <a:pt x="104" y="1271"/>
                  </a:lnTo>
                  <a:lnTo>
                    <a:pt x="102" y="1271"/>
                  </a:lnTo>
                  <a:lnTo>
                    <a:pt x="102" y="1273"/>
                  </a:lnTo>
                  <a:lnTo>
                    <a:pt x="104" y="1273"/>
                  </a:lnTo>
                  <a:lnTo>
                    <a:pt x="102" y="1273"/>
                  </a:lnTo>
                  <a:lnTo>
                    <a:pt x="102" y="1275"/>
                  </a:lnTo>
                  <a:lnTo>
                    <a:pt x="102" y="1278"/>
                  </a:lnTo>
                  <a:lnTo>
                    <a:pt x="102" y="1280"/>
                  </a:lnTo>
                  <a:lnTo>
                    <a:pt x="102" y="1283"/>
                  </a:lnTo>
                  <a:lnTo>
                    <a:pt x="104" y="1285"/>
                  </a:lnTo>
                  <a:lnTo>
                    <a:pt x="104" y="1287"/>
                  </a:lnTo>
                  <a:lnTo>
                    <a:pt x="102" y="1287"/>
                  </a:lnTo>
                  <a:lnTo>
                    <a:pt x="99" y="1287"/>
                  </a:lnTo>
                  <a:lnTo>
                    <a:pt x="92" y="1287"/>
                  </a:lnTo>
                  <a:lnTo>
                    <a:pt x="90" y="1287"/>
                  </a:lnTo>
                  <a:lnTo>
                    <a:pt x="85" y="1287"/>
                  </a:lnTo>
                  <a:lnTo>
                    <a:pt x="83" y="1287"/>
                  </a:lnTo>
                  <a:lnTo>
                    <a:pt x="80" y="1287"/>
                  </a:lnTo>
                  <a:lnTo>
                    <a:pt x="78" y="1287"/>
                  </a:lnTo>
                  <a:lnTo>
                    <a:pt x="78" y="1290"/>
                  </a:lnTo>
                  <a:lnTo>
                    <a:pt x="76" y="1290"/>
                  </a:lnTo>
                  <a:lnTo>
                    <a:pt x="71" y="1290"/>
                  </a:lnTo>
                  <a:lnTo>
                    <a:pt x="66" y="1290"/>
                  </a:lnTo>
                  <a:lnTo>
                    <a:pt x="64" y="1290"/>
                  </a:lnTo>
                  <a:lnTo>
                    <a:pt x="61" y="1290"/>
                  </a:lnTo>
                  <a:lnTo>
                    <a:pt x="59" y="1290"/>
                  </a:lnTo>
                  <a:lnTo>
                    <a:pt x="57" y="1290"/>
                  </a:lnTo>
                  <a:lnTo>
                    <a:pt x="54" y="1290"/>
                  </a:lnTo>
                  <a:lnTo>
                    <a:pt x="52" y="1287"/>
                  </a:lnTo>
                  <a:lnTo>
                    <a:pt x="49" y="1287"/>
                  </a:lnTo>
                  <a:lnTo>
                    <a:pt x="47" y="1287"/>
                  </a:lnTo>
                  <a:lnTo>
                    <a:pt x="40" y="1287"/>
                  </a:lnTo>
                  <a:lnTo>
                    <a:pt x="38" y="1287"/>
                  </a:lnTo>
                  <a:lnTo>
                    <a:pt x="35" y="1287"/>
                  </a:lnTo>
                  <a:lnTo>
                    <a:pt x="33" y="1287"/>
                  </a:lnTo>
                  <a:lnTo>
                    <a:pt x="26" y="1285"/>
                  </a:lnTo>
                  <a:lnTo>
                    <a:pt x="21" y="1285"/>
                  </a:lnTo>
                  <a:lnTo>
                    <a:pt x="19" y="1285"/>
                  </a:lnTo>
                  <a:lnTo>
                    <a:pt x="14" y="1285"/>
                  </a:lnTo>
                  <a:lnTo>
                    <a:pt x="9" y="1283"/>
                  </a:lnTo>
                  <a:lnTo>
                    <a:pt x="7" y="1283"/>
                  </a:lnTo>
                  <a:lnTo>
                    <a:pt x="9" y="1280"/>
                  </a:lnTo>
                  <a:lnTo>
                    <a:pt x="11" y="1280"/>
                  </a:lnTo>
                  <a:lnTo>
                    <a:pt x="11" y="1278"/>
                  </a:lnTo>
                  <a:lnTo>
                    <a:pt x="11" y="1275"/>
                  </a:lnTo>
                  <a:lnTo>
                    <a:pt x="14" y="1275"/>
                  </a:lnTo>
                  <a:lnTo>
                    <a:pt x="14" y="1278"/>
                  </a:lnTo>
                  <a:lnTo>
                    <a:pt x="16" y="1278"/>
                  </a:lnTo>
                  <a:lnTo>
                    <a:pt x="16" y="1275"/>
                  </a:lnTo>
                  <a:lnTo>
                    <a:pt x="19" y="1275"/>
                  </a:lnTo>
                  <a:lnTo>
                    <a:pt x="21" y="1275"/>
                  </a:lnTo>
                  <a:lnTo>
                    <a:pt x="21" y="1273"/>
                  </a:lnTo>
                  <a:lnTo>
                    <a:pt x="23" y="1273"/>
                  </a:lnTo>
                  <a:lnTo>
                    <a:pt x="26" y="1273"/>
                  </a:lnTo>
                  <a:lnTo>
                    <a:pt x="26" y="1271"/>
                  </a:lnTo>
                  <a:lnTo>
                    <a:pt x="28" y="1271"/>
                  </a:lnTo>
                  <a:lnTo>
                    <a:pt x="26" y="1271"/>
                  </a:lnTo>
                  <a:lnTo>
                    <a:pt x="23" y="1271"/>
                  </a:lnTo>
                  <a:lnTo>
                    <a:pt x="21" y="1271"/>
                  </a:lnTo>
                  <a:lnTo>
                    <a:pt x="19" y="1271"/>
                  </a:lnTo>
                  <a:lnTo>
                    <a:pt x="16" y="1271"/>
                  </a:lnTo>
                  <a:lnTo>
                    <a:pt x="16" y="1273"/>
                  </a:lnTo>
                  <a:lnTo>
                    <a:pt x="16" y="1271"/>
                  </a:lnTo>
                  <a:lnTo>
                    <a:pt x="16" y="1273"/>
                  </a:lnTo>
                  <a:lnTo>
                    <a:pt x="14" y="1273"/>
                  </a:lnTo>
                  <a:lnTo>
                    <a:pt x="14" y="1271"/>
                  </a:lnTo>
                  <a:lnTo>
                    <a:pt x="14" y="1268"/>
                  </a:lnTo>
                  <a:lnTo>
                    <a:pt x="11" y="1268"/>
                  </a:lnTo>
                  <a:lnTo>
                    <a:pt x="11" y="1271"/>
                  </a:lnTo>
                  <a:lnTo>
                    <a:pt x="11" y="1273"/>
                  </a:lnTo>
                  <a:lnTo>
                    <a:pt x="9" y="1273"/>
                  </a:lnTo>
                  <a:lnTo>
                    <a:pt x="9" y="1271"/>
                  </a:lnTo>
                  <a:lnTo>
                    <a:pt x="11" y="1268"/>
                  </a:lnTo>
                  <a:lnTo>
                    <a:pt x="11" y="1266"/>
                  </a:lnTo>
                  <a:lnTo>
                    <a:pt x="11" y="1264"/>
                  </a:lnTo>
                  <a:lnTo>
                    <a:pt x="11" y="1261"/>
                  </a:lnTo>
                  <a:lnTo>
                    <a:pt x="9" y="1261"/>
                  </a:lnTo>
                  <a:lnTo>
                    <a:pt x="11" y="1261"/>
                  </a:lnTo>
                  <a:lnTo>
                    <a:pt x="9" y="1261"/>
                  </a:lnTo>
                  <a:lnTo>
                    <a:pt x="9" y="1259"/>
                  </a:lnTo>
                  <a:lnTo>
                    <a:pt x="11" y="1259"/>
                  </a:lnTo>
                  <a:lnTo>
                    <a:pt x="11" y="1256"/>
                  </a:lnTo>
                  <a:lnTo>
                    <a:pt x="14" y="1256"/>
                  </a:lnTo>
                  <a:lnTo>
                    <a:pt x="14" y="1259"/>
                  </a:lnTo>
                  <a:lnTo>
                    <a:pt x="14" y="1256"/>
                  </a:lnTo>
                  <a:lnTo>
                    <a:pt x="16" y="1256"/>
                  </a:lnTo>
                  <a:lnTo>
                    <a:pt x="16" y="1259"/>
                  </a:lnTo>
                  <a:lnTo>
                    <a:pt x="19" y="1256"/>
                  </a:lnTo>
                  <a:lnTo>
                    <a:pt x="21" y="1256"/>
                  </a:lnTo>
                  <a:lnTo>
                    <a:pt x="23" y="1259"/>
                  </a:lnTo>
                  <a:lnTo>
                    <a:pt x="26" y="1259"/>
                  </a:lnTo>
                  <a:lnTo>
                    <a:pt x="26" y="1256"/>
                  </a:lnTo>
                  <a:lnTo>
                    <a:pt x="28" y="1256"/>
                  </a:lnTo>
                  <a:lnTo>
                    <a:pt x="30" y="1256"/>
                  </a:lnTo>
                  <a:lnTo>
                    <a:pt x="30" y="1254"/>
                  </a:lnTo>
                  <a:lnTo>
                    <a:pt x="33" y="1254"/>
                  </a:lnTo>
                  <a:lnTo>
                    <a:pt x="35" y="1252"/>
                  </a:lnTo>
                  <a:lnTo>
                    <a:pt x="38" y="1249"/>
                  </a:lnTo>
                  <a:lnTo>
                    <a:pt x="38" y="1247"/>
                  </a:lnTo>
                  <a:lnTo>
                    <a:pt x="40" y="1245"/>
                  </a:lnTo>
                  <a:lnTo>
                    <a:pt x="42" y="1245"/>
                  </a:lnTo>
                  <a:lnTo>
                    <a:pt x="42" y="1242"/>
                  </a:lnTo>
                  <a:lnTo>
                    <a:pt x="45" y="1240"/>
                  </a:lnTo>
                  <a:lnTo>
                    <a:pt x="45" y="1242"/>
                  </a:lnTo>
                  <a:lnTo>
                    <a:pt x="42" y="1242"/>
                  </a:lnTo>
                  <a:lnTo>
                    <a:pt x="42" y="1245"/>
                  </a:lnTo>
                  <a:lnTo>
                    <a:pt x="42" y="1247"/>
                  </a:lnTo>
                  <a:lnTo>
                    <a:pt x="40" y="1247"/>
                  </a:lnTo>
                  <a:lnTo>
                    <a:pt x="40" y="1249"/>
                  </a:lnTo>
                  <a:lnTo>
                    <a:pt x="38" y="1249"/>
                  </a:lnTo>
                  <a:lnTo>
                    <a:pt x="38" y="1252"/>
                  </a:lnTo>
                  <a:lnTo>
                    <a:pt x="35" y="1252"/>
                  </a:lnTo>
                  <a:lnTo>
                    <a:pt x="35" y="1254"/>
                  </a:lnTo>
                  <a:lnTo>
                    <a:pt x="33" y="1254"/>
                  </a:lnTo>
                  <a:lnTo>
                    <a:pt x="30" y="1256"/>
                  </a:lnTo>
                  <a:lnTo>
                    <a:pt x="28" y="1256"/>
                  </a:lnTo>
                  <a:lnTo>
                    <a:pt x="30" y="1256"/>
                  </a:lnTo>
                  <a:lnTo>
                    <a:pt x="30" y="1259"/>
                  </a:lnTo>
                  <a:lnTo>
                    <a:pt x="30" y="1256"/>
                  </a:lnTo>
                  <a:lnTo>
                    <a:pt x="30" y="1259"/>
                  </a:lnTo>
                  <a:lnTo>
                    <a:pt x="33" y="1259"/>
                  </a:lnTo>
                  <a:close/>
                  <a:moveTo>
                    <a:pt x="334" y="997"/>
                  </a:moveTo>
                  <a:lnTo>
                    <a:pt x="336" y="997"/>
                  </a:lnTo>
                  <a:lnTo>
                    <a:pt x="334" y="997"/>
                  </a:lnTo>
                  <a:close/>
                  <a:moveTo>
                    <a:pt x="334" y="997"/>
                  </a:moveTo>
                  <a:lnTo>
                    <a:pt x="334" y="995"/>
                  </a:lnTo>
                  <a:lnTo>
                    <a:pt x="332" y="995"/>
                  </a:lnTo>
                  <a:lnTo>
                    <a:pt x="329" y="993"/>
                  </a:lnTo>
                  <a:lnTo>
                    <a:pt x="329" y="995"/>
                  </a:lnTo>
                  <a:lnTo>
                    <a:pt x="329" y="993"/>
                  </a:lnTo>
                  <a:lnTo>
                    <a:pt x="332" y="995"/>
                  </a:lnTo>
                  <a:lnTo>
                    <a:pt x="334" y="995"/>
                  </a:lnTo>
                  <a:lnTo>
                    <a:pt x="336" y="995"/>
                  </a:lnTo>
                  <a:lnTo>
                    <a:pt x="336" y="997"/>
                  </a:lnTo>
                  <a:lnTo>
                    <a:pt x="334" y="997"/>
                  </a:lnTo>
                  <a:lnTo>
                    <a:pt x="336" y="997"/>
                  </a:lnTo>
                  <a:lnTo>
                    <a:pt x="334" y="997"/>
                  </a:lnTo>
                  <a:close/>
                  <a:moveTo>
                    <a:pt x="270" y="971"/>
                  </a:moveTo>
                  <a:lnTo>
                    <a:pt x="268" y="971"/>
                  </a:lnTo>
                  <a:lnTo>
                    <a:pt x="270" y="971"/>
                  </a:lnTo>
                  <a:close/>
                  <a:moveTo>
                    <a:pt x="678" y="741"/>
                  </a:moveTo>
                  <a:lnTo>
                    <a:pt x="681" y="741"/>
                  </a:lnTo>
                  <a:lnTo>
                    <a:pt x="681" y="743"/>
                  </a:lnTo>
                  <a:lnTo>
                    <a:pt x="681" y="741"/>
                  </a:lnTo>
                  <a:lnTo>
                    <a:pt x="681" y="743"/>
                  </a:lnTo>
                  <a:lnTo>
                    <a:pt x="681" y="741"/>
                  </a:lnTo>
                  <a:lnTo>
                    <a:pt x="681" y="743"/>
                  </a:lnTo>
                  <a:lnTo>
                    <a:pt x="678" y="743"/>
                  </a:lnTo>
                  <a:lnTo>
                    <a:pt x="678" y="741"/>
                  </a:lnTo>
                  <a:close/>
                  <a:moveTo>
                    <a:pt x="690" y="743"/>
                  </a:moveTo>
                  <a:lnTo>
                    <a:pt x="690" y="741"/>
                  </a:lnTo>
                  <a:lnTo>
                    <a:pt x="688" y="741"/>
                  </a:lnTo>
                  <a:lnTo>
                    <a:pt x="688" y="739"/>
                  </a:lnTo>
                  <a:lnTo>
                    <a:pt x="690" y="739"/>
                  </a:lnTo>
                  <a:lnTo>
                    <a:pt x="692" y="739"/>
                  </a:lnTo>
                  <a:lnTo>
                    <a:pt x="690" y="739"/>
                  </a:lnTo>
                  <a:lnTo>
                    <a:pt x="692" y="739"/>
                  </a:lnTo>
                  <a:lnTo>
                    <a:pt x="692" y="741"/>
                  </a:lnTo>
                  <a:lnTo>
                    <a:pt x="695" y="741"/>
                  </a:lnTo>
                  <a:lnTo>
                    <a:pt x="692" y="741"/>
                  </a:lnTo>
                  <a:lnTo>
                    <a:pt x="692" y="743"/>
                  </a:lnTo>
                  <a:lnTo>
                    <a:pt x="692" y="746"/>
                  </a:lnTo>
                  <a:lnTo>
                    <a:pt x="690" y="746"/>
                  </a:lnTo>
                  <a:lnTo>
                    <a:pt x="690" y="748"/>
                  </a:lnTo>
                  <a:lnTo>
                    <a:pt x="688" y="748"/>
                  </a:lnTo>
                  <a:lnTo>
                    <a:pt x="690" y="748"/>
                  </a:lnTo>
                  <a:lnTo>
                    <a:pt x="690" y="746"/>
                  </a:lnTo>
                  <a:lnTo>
                    <a:pt x="688" y="746"/>
                  </a:lnTo>
                  <a:lnTo>
                    <a:pt x="688" y="743"/>
                  </a:lnTo>
                  <a:lnTo>
                    <a:pt x="690" y="743"/>
                  </a:lnTo>
                  <a:close/>
                  <a:moveTo>
                    <a:pt x="688" y="739"/>
                  </a:moveTo>
                  <a:lnTo>
                    <a:pt x="685" y="739"/>
                  </a:lnTo>
                  <a:lnTo>
                    <a:pt x="685" y="736"/>
                  </a:lnTo>
                  <a:lnTo>
                    <a:pt x="688" y="736"/>
                  </a:lnTo>
                  <a:lnTo>
                    <a:pt x="688" y="739"/>
                  </a:lnTo>
                  <a:lnTo>
                    <a:pt x="690" y="739"/>
                  </a:lnTo>
                  <a:lnTo>
                    <a:pt x="688" y="739"/>
                  </a:lnTo>
                  <a:lnTo>
                    <a:pt x="688" y="741"/>
                  </a:lnTo>
                  <a:lnTo>
                    <a:pt x="690" y="741"/>
                  </a:lnTo>
                  <a:lnTo>
                    <a:pt x="688" y="741"/>
                  </a:lnTo>
                  <a:lnTo>
                    <a:pt x="690" y="741"/>
                  </a:lnTo>
                  <a:lnTo>
                    <a:pt x="690" y="743"/>
                  </a:lnTo>
                  <a:lnTo>
                    <a:pt x="688" y="743"/>
                  </a:lnTo>
                  <a:lnTo>
                    <a:pt x="688" y="746"/>
                  </a:lnTo>
                  <a:lnTo>
                    <a:pt x="688" y="743"/>
                  </a:lnTo>
                  <a:lnTo>
                    <a:pt x="685" y="743"/>
                  </a:lnTo>
                  <a:lnTo>
                    <a:pt x="685" y="741"/>
                  </a:lnTo>
                  <a:lnTo>
                    <a:pt x="685" y="739"/>
                  </a:lnTo>
                  <a:lnTo>
                    <a:pt x="688" y="739"/>
                  </a:lnTo>
                  <a:close/>
                  <a:moveTo>
                    <a:pt x="683" y="736"/>
                  </a:moveTo>
                  <a:lnTo>
                    <a:pt x="683" y="739"/>
                  </a:lnTo>
                  <a:lnTo>
                    <a:pt x="685" y="739"/>
                  </a:lnTo>
                  <a:lnTo>
                    <a:pt x="685" y="741"/>
                  </a:lnTo>
                  <a:lnTo>
                    <a:pt x="685" y="743"/>
                  </a:lnTo>
                  <a:lnTo>
                    <a:pt x="683" y="743"/>
                  </a:lnTo>
                  <a:lnTo>
                    <a:pt x="683" y="741"/>
                  </a:lnTo>
                  <a:lnTo>
                    <a:pt x="681" y="741"/>
                  </a:lnTo>
                  <a:lnTo>
                    <a:pt x="681" y="739"/>
                  </a:lnTo>
                  <a:lnTo>
                    <a:pt x="678" y="739"/>
                  </a:lnTo>
                  <a:lnTo>
                    <a:pt x="678" y="736"/>
                  </a:lnTo>
                  <a:lnTo>
                    <a:pt x="678" y="739"/>
                  </a:lnTo>
                  <a:lnTo>
                    <a:pt x="676" y="739"/>
                  </a:lnTo>
                  <a:lnTo>
                    <a:pt x="676" y="736"/>
                  </a:lnTo>
                  <a:lnTo>
                    <a:pt x="678" y="736"/>
                  </a:lnTo>
                  <a:lnTo>
                    <a:pt x="681" y="736"/>
                  </a:lnTo>
                  <a:lnTo>
                    <a:pt x="681" y="739"/>
                  </a:lnTo>
                  <a:lnTo>
                    <a:pt x="681" y="736"/>
                  </a:lnTo>
                  <a:lnTo>
                    <a:pt x="681" y="739"/>
                  </a:lnTo>
                  <a:lnTo>
                    <a:pt x="678" y="739"/>
                  </a:lnTo>
                  <a:lnTo>
                    <a:pt x="678" y="736"/>
                  </a:lnTo>
                  <a:lnTo>
                    <a:pt x="678" y="739"/>
                  </a:lnTo>
                  <a:lnTo>
                    <a:pt x="678" y="736"/>
                  </a:lnTo>
                  <a:lnTo>
                    <a:pt x="678" y="739"/>
                  </a:lnTo>
                  <a:lnTo>
                    <a:pt x="681" y="739"/>
                  </a:lnTo>
                  <a:lnTo>
                    <a:pt x="681" y="736"/>
                  </a:lnTo>
                  <a:lnTo>
                    <a:pt x="681" y="739"/>
                  </a:lnTo>
                  <a:lnTo>
                    <a:pt x="681" y="736"/>
                  </a:lnTo>
                  <a:lnTo>
                    <a:pt x="683" y="736"/>
                  </a:lnTo>
                  <a:lnTo>
                    <a:pt x="681" y="736"/>
                  </a:lnTo>
                  <a:lnTo>
                    <a:pt x="683" y="736"/>
                  </a:lnTo>
                  <a:lnTo>
                    <a:pt x="681" y="736"/>
                  </a:lnTo>
                  <a:lnTo>
                    <a:pt x="683" y="736"/>
                  </a:lnTo>
                  <a:lnTo>
                    <a:pt x="681" y="736"/>
                  </a:lnTo>
                  <a:lnTo>
                    <a:pt x="683" y="736"/>
                  </a:lnTo>
                  <a:close/>
                  <a:moveTo>
                    <a:pt x="1262" y="739"/>
                  </a:moveTo>
                  <a:lnTo>
                    <a:pt x="1264" y="739"/>
                  </a:lnTo>
                  <a:lnTo>
                    <a:pt x="1264" y="736"/>
                  </a:lnTo>
                  <a:lnTo>
                    <a:pt x="1264" y="739"/>
                  </a:lnTo>
                  <a:lnTo>
                    <a:pt x="1262" y="739"/>
                  </a:lnTo>
                  <a:lnTo>
                    <a:pt x="1262" y="736"/>
                  </a:lnTo>
                  <a:lnTo>
                    <a:pt x="1264" y="736"/>
                  </a:lnTo>
                  <a:lnTo>
                    <a:pt x="1264" y="739"/>
                  </a:lnTo>
                  <a:lnTo>
                    <a:pt x="1262" y="739"/>
                  </a:lnTo>
                  <a:lnTo>
                    <a:pt x="1264" y="739"/>
                  </a:lnTo>
                  <a:lnTo>
                    <a:pt x="1262" y="741"/>
                  </a:lnTo>
                  <a:lnTo>
                    <a:pt x="1262" y="739"/>
                  </a:lnTo>
                  <a:close/>
                  <a:moveTo>
                    <a:pt x="1262" y="736"/>
                  </a:moveTo>
                  <a:lnTo>
                    <a:pt x="1262" y="734"/>
                  </a:lnTo>
                  <a:lnTo>
                    <a:pt x="1262" y="736"/>
                  </a:lnTo>
                  <a:close/>
                  <a:moveTo>
                    <a:pt x="1255" y="729"/>
                  </a:moveTo>
                  <a:lnTo>
                    <a:pt x="1255" y="727"/>
                  </a:lnTo>
                  <a:lnTo>
                    <a:pt x="1255" y="729"/>
                  </a:lnTo>
                  <a:lnTo>
                    <a:pt x="1255" y="731"/>
                  </a:lnTo>
                  <a:lnTo>
                    <a:pt x="1255" y="729"/>
                  </a:lnTo>
                  <a:lnTo>
                    <a:pt x="1255" y="731"/>
                  </a:lnTo>
                  <a:lnTo>
                    <a:pt x="1255" y="729"/>
                  </a:lnTo>
                  <a:close/>
                  <a:moveTo>
                    <a:pt x="1096" y="705"/>
                  </a:moveTo>
                  <a:lnTo>
                    <a:pt x="1098" y="705"/>
                  </a:lnTo>
                  <a:lnTo>
                    <a:pt x="1096" y="705"/>
                  </a:lnTo>
                  <a:lnTo>
                    <a:pt x="1098" y="705"/>
                  </a:lnTo>
                  <a:lnTo>
                    <a:pt x="1098" y="708"/>
                  </a:lnTo>
                  <a:lnTo>
                    <a:pt x="1096" y="708"/>
                  </a:lnTo>
                  <a:lnTo>
                    <a:pt x="1096" y="705"/>
                  </a:lnTo>
                  <a:close/>
                  <a:moveTo>
                    <a:pt x="1093" y="703"/>
                  </a:moveTo>
                  <a:lnTo>
                    <a:pt x="1096" y="703"/>
                  </a:lnTo>
                  <a:lnTo>
                    <a:pt x="1093" y="703"/>
                  </a:lnTo>
                  <a:lnTo>
                    <a:pt x="1091" y="703"/>
                  </a:lnTo>
                  <a:lnTo>
                    <a:pt x="1093" y="703"/>
                  </a:lnTo>
                  <a:close/>
                  <a:moveTo>
                    <a:pt x="1236" y="703"/>
                  </a:moveTo>
                  <a:lnTo>
                    <a:pt x="1233" y="703"/>
                  </a:lnTo>
                  <a:lnTo>
                    <a:pt x="1236" y="703"/>
                  </a:lnTo>
                  <a:lnTo>
                    <a:pt x="1236" y="705"/>
                  </a:lnTo>
                  <a:lnTo>
                    <a:pt x="1233" y="705"/>
                  </a:lnTo>
                  <a:lnTo>
                    <a:pt x="1236" y="705"/>
                  </a:lnTo>
                  <a:lnTo>
                    <a:pt x="1233" y="708"/>
                  </a:lnTo>
                  <a:lnTo>
                    <a:pt x="1233" y="705"/>
                  </a:lnTo>
                  <a:lnTo>
                    <a:pt x="1233" y="703"/>
                  </a:lnTo>
                  <a:lnTo>
                    <a:pt x="1236" y="703"/>
                  </a:lnTo>
                  <a:close/>
                  <a:moveTo>
                    <a:pt x="1236" y="691"/>
                  </a:moveTo>
                  <a:lnTo>
                    <a:pt x="1236" y="693"/>
                  </a:lnTo>
                  <a:lnTo>
                    <a:pt x="1233" y="693"/>
                  </a:lnTo>
                  <a:lnTo>
                    <a:pt x="1233" y="691"/>
                  </a:lnTo>
                  <a:lnTo>
                    <a:pt x="1233" y="693"/>
                  </a:lnTo>
                  <a:lnTo>
                    <a:pt x="1233" y="691"/>
                  </a:lnTo>
                  <a:lnTo>
                    <a:pt x="1236" y="691"/>
                  </a:lnTo>
                  <a:close/>
                  <a:moveTo>
                    <a:pt x="1074" y="684"/>
                  </a:moveTo>
                  <a:lnTo>
                    <a:pt x="1074" y="682"/>
                  </a:lnTo>
                  <a:lnTo>
                    <a:pt x="1074" y="684"/>
                  </a:lnTo>
                  <a:close/>
                  <a:moveTo>
                    <a:pt x="1165" y="677"/>
                  </a:moveTo>
                  <a:lnTo>
                    <a:pt x="1162" y="677"/>
                  </a:lnTo>
                  <a:lnTo>
                    <a:pt x="1162" y="679"/>
                  </a:lnTo>
                  <a:lnTo>
                    <a:pt x="1162" y="677"/>
                  </a:lnTo>
                  <a:lnTo>
                    <a:pt x="1165" y="677"/>
                  </a:lnTo>
                  <a:lnTo>
                    <a:pt x="1165" y="674"/>
                  </a:lnTo>
                  <a:lnTo>
                    <a:pt x="1167" y="674"/>
                  </a:lnTo>
                  <a:lnTo>
                    <a:pt x="1165" y="677"/>
                  </a:lnTo>
                  <a:lnTo>
                    <a:pt x="1162" y="679"/>
                  </a:lnTo>
                  <a:lnTo>
                    <a:pt x="1165" y="677"/>
                  </a:lnTo>
                  <a:lnTo>
                    <a:pt x="1162" y="679"/>
                  </a:lnTo>
                  <a:lnTo>
                    <a:pt x="1165" y="677"/>
                  </a:lnTo>
                  <a:close/>
                  <a:moveTo>
                    <a:pt x="1226" y="670"/>
                  </a:moveTo>
                  <a:lnTo>
                    <a:pt x="1229" y="670"/>
                  </a:lnTo>
                  <a:lnTo>
                    <a:pt x="1229" y="672"/>
                  </a:lnTo>
                  <a:lnTo>
                    <a:pt x="1229" y="670"/>
                  </a:lnTo>
                  <a:lnTo>
                    <a:pt x="1229" y="672"/>
                  </a:lnTo>
                  <a:lnTo>
                    <a:pt x="1226" y="672"/>
                  </a:lnTo>
                  <a:lnTo>
                    <a:pt x="1226" y="670"/>
                  </a:lnTo>
                  <a:close/>
                  <a:moveTo>
                    <a:pt x="1169" y="674"/>
                  </a:moveTo>
                  <a:lnTo>
                    <a:pt x="1169" y="672"/>
                  </a:lnTo>
                  <a:lnTo>
                    <a:pt x="1172" y="672"/>
                  </a:lnTo>
                  <a:lnTo>
                    <a:pt x="1172" y="670"/>
                  </a:lnTo>
                  <a:lnTo>
                    <a:pt x="1174" y="670"/>
                  </a:lnTo>
                  <a:lnTo>
                    <a:pt x="1174" y="667"/>
                  </a:lnTo>
                  <a:lnTo>
                    <a:pt x="1174" y="670"/>
                  </a:lnTo>
                  <a:lnTo>
                    <a:pt x="1174" y="672"/>
                  </a:lnTo>
                  <a:lnTo>
                    <a:pt x="1174" y="670"/>
                  </a:lnTo>
                  <a:lnTo>
                    <a:pt x="1172" y="670"/>
                  </a:lnTo>
                  <a:lnTo>
                    <a:pt x="1174" y="670"/>
                  </a:lnTo>
                  <a:lnTo>
                    <a:pt x="1174" y="672"/>
                  </a:lnTo>
                  <a:lnTo>
                    <a:pt x="1172" y="672"/>
                  </a:lnTo>
                  <a:lnTo>
                    <a:pt x="1172" y="674"/>
                  </a:lnTo>
                  <a:lnTo>
                    <a:pt x="1169" y="674"/>
                  </a:lnTo>
                  <a:close/>
                  <a:moveTo>
                    <a:pt x="1174" y="672"/>
                  </a:moveTo>
                  <a:lnTo>
                    <a:pt x="1172" y="672"/>
                  </a:lnTo>
                  <a:lnTo>
                    <a:pt x="1174" y="672"/>
                  </a:lnTo>
                  <a:close/>
                  <a:moveTo>
                    <a:pt x="1084" y="662"/>
                  </a:moveTo>
                  <a:lnTo>
                    <a:pt x="1084" y="665"/>
                  </a:lnTo>
                  <a:lnTo>
                    <a:pt x="1084" y="667"/>
                  </a:lnTo>
                  <a:lnTo>
                    <a:pt x="1084" y="665"/>
                  </a:lnTo>
                  <a:lnTo>
                    <a:pt x="1084" y="662"/>
                  </a:lnTo>
                  <a:lnTo>
                    <a:pt x="1084" y="665"/>
                  </a:lnTo>
                  <a:lnTo>
                    <a:pt x="1086" y="665"/>
                  </a:lnTo>
                  <a:lnTo>
                    <a:pt x="1086" y="667"/>
                  </a:lnTo>
                  <a:lnTo>
                    <a:pt x="1084" y="667"/>
                  </a:lnTo>
                  <a:lnTo>
                    <a:pt x="1084" y="670"/>
                  </a:lnTo>
                  <a:lnTo>
                    <a:pt x="1082" y="670"/>
                  </a:lnTo>
                  <a:lnTo>
                    <a:pt x="1082" y="672"/>
                  </a:lnTo>
                  <a:lnTo>
                    <a:pt x="1082" y="670"/>
                  </a:lnTo>
                  <a:lnTo>
                    <a:pt x="1082" y="667"/>
                  </a:lnTo>
                  <a:lnTo>
                    <a:pt x="1082" y="665"/>
                  </a:lnTo>
                  <a:lnTo>
                    <a:pt x="1084" y="665"/>
                  </a:lnTo>
                  <a:lnTo>
                    <a:pt x="1082" y="665"/>
                  </a:lnTo>
                  <a:lnTo>
                    <a:pt x="1082" y="662"/>
                  </a:lnTo>
                  <a:lnTo>
                    <a:pt x="1084" y="662"/>
                  </a:lnTo>
                  <a:close/>
                  <a:moveTo>
                    <a:pt x="1226" y="665"/>
                  </a:moveTo>
                  <a:lnTo>
                    <a:pt x="1224" y="665"/>
                  </a:lnTo>
                  <a:lnTo>
                    <a:pt x="1224" y="662"/>
                  </a:lnTo>
                  <a:lnTo>
                    <a:pt x="1226" y="662"/>
                  </a:lnTo>
                  <a:lnTo>
                    <a:pt x="1229" y="662"/>
                  </a:lnTo>
                  <a:lnTo>
                    <a:pt x="1229" y="665"/>
                  </a:lnTo>
                  <a:lnTo>
                    <a:pt x="1229" y="667"/>
                  </a:lnTo>
                  <a:lnTo>
                    <a:pt x="1229" y="665"/>
                  </a:lnTo>
                  <a:lnTo>
                    <a:pt x="1229" y="667"/>
                  </a:lnTo>
                  <a:lnTo>
                    <a:pt x="1226" y="667"/>
                  </a:lnTo>
                  <a:lnTo>
                    <a:pt x="1226" y="665"/>
                  </a:lnTo>
                  <a:close/>
                  <a:moveTo>
                    <a:pt x="1226" y="665"/>
                  </a:moveTo>
                  <a:lnTo>
                    <a:pt x="1229" y="665"/>
                  </a:lnTo>
                  <a:lnTo>
                    <a:pt x="1226" y="665"/>
                  </a:lnTo>
                  <a:close/>
                  <a:moveTo>
                    <a:pt x="1222" y="658"/>
                  </a:moveTo>
                  <a:lnTo>
                    <a:pt x="1222" y="660"/>
                  </a:lnTo>
                  <a:lnTo>
                    <a:pt x="1222" y="658"/>
                  </a:lnTo>
                  <a:lnTo>
                    <a:pt x="1224" y="658"/>
                  </a:lnTo>
                  <a:lnTo>
                    <a:pt x="1222" y="658"/>
                  </a:lnTo>
                  <a:lnTo>
                    <a:pt x="1224" y="658"/>
                  </a:lnTo>
                  <a:lnTo>
                    <a:pt x="1224" y="660"/>
                  </a:lnTo>
                  <a:lnTo>
                    <a:pt x="1222" y="660"/>
                  </a:lnTo>
                  <a:lnTo>
                    <a:pt x="1224" y="660"/>
                  </a:lnTo>
                  <a:lnTo>
                    <a:pt x="1224" y="662"/>
                  </a:lnTo>
                  <a:lnTo>
                    <a:pt x="1222" y="662"/>
                  </a:lnTo>
                  <a:lnTo>
                    <a:pt x="1222" y="660"/>
                  </a:lnTo>
                  <a:lnTo>
                    <a:pt x="1222" y="658"/>
                  </a:lnTo>
                  <a:close/>
                  <a:moveTo>
                    <a:pt x="1328" y="655"/>
                  </a:moveTo>
                  <a:lnTo>
                    <a:pt x="1328" y="658"/>
                  </a:lnTo>
                  <a:lnTo>
                    <a:pt x="1328" y="655"/>
                  </a:lnTo>
                  <a:close/>
                  <a:moveTo>
                    <a:pt x="1176" y="658"/>
                  </a:moveTo>
                  <a:lnTo>
                    <a:pt x="1174" y="658"/>
                  </a:lnTo>
                  <a:lnTo>
                    <a:pt x="1174" y="655"/>
                  </a:lnTo>
                  <a:lnTo>
                    <a:pt x="1176" y="655"/>
                  </a:lnTo>
                  <a:lnTo>
                    <a:pt x="1179" y="655"/>
                  </a:lnTo>
                  <a:lnTo>
                    <a:pt x="1179" y="658"/>
                  </a:lnTo>
                  <a:lnTo>
                    <a:pt x="1176" y="658"/>
                  </a:lnTo>
                  <a:lnTo>
                    <a:pt x="1174" y="658"/>
                  </a:lnTo>
                  <a:lnTo>
                    <a:pt x="1176" y="658"/>
                  </a:lnTo>
                  <a:close/>
                  <a:moveTo>
                    <a:pt x="1086" y="653"/>
                  </a:moveTo>
                  <a:lnTo>
                    <a:pt x="1086" y="655"/>
                  </a:lnTo>
                  <a:lnTo>
                    <a:pt x="1086" y="658"/>
                  </a:lnTo>
                  <a:lnTo>
                    <a:pt x="1086" y="655"/>
                  </a:lnTo>
                  <a:lnTo>
                    <a:pt x="1086" y="653"/>
                  </a:lnTo>
                  <a:close/>
                  <a:moveTo>
                    <a:pt x="1326" y="648"/>
                  </a:moveTo>
                  <a:lnTo>
                    <a:pt x="1326" y="651"/>
                  </a:lnTo>
                  <a:lnTo>
                    <a:pt x="1326" y="648"/>
                  </a:lnTo>
                  <a:close/>
                  <a:moveTo>
                    <a:pt x="1193" y="648"/>
                  </a:moveTo>
                  <a:lnTo>
                    <a:pt x="1191" y="651"/>
                  </a:lnTo>
                  <a:lnTo>
                    <a:pt x="1191" y="648"/>
                  </a:lnTo>
                  <a:lnTo>
                    <a:pt x="1193" y="648"/>
                  </a:lnTo>
                  <a:lnTo>
                    <a:pt x="1195" y="648"/>
                  </a:lnTo>
                  <a:lnTo>
                    <a:pt x="1195" y="651"/>
                  </a:lnTo>
                  <a:lnTo>
                    <a:pt x="1193" y="651"/>
                  </a:lnTo>
                  <a:lnTo>
                    <a:pt x="1191" y="651"/>
                  </a:lnTo>
                  <a:lnTo>
                    <a:pt x="1193" y="648"/>
                  </a:lnTo>
                  <a:close/>
                  <a:moveTo>
                    <a:pt x="1212" y="646"/>
                  </a:moveTo>
                  <a:lnTo>
                    <a:pt x="1214" y="646"/>
                  </a:lnTo>
                  <a:lnTo>
                    <a:pt x="1214" y="648"/>
                  </a:lnTo>
                  <a:lnTo>
                    <a:pt x="1212" y="648"/>
                  </a:lnTo>
                  <a:lnTo>
                    <a:pt x="1214" y="648"/>
                  </a:lnTo>
                  <a:lnTo>
                    <a:pt x="1212" y="648"/>
                  </a:lnTo>
                  <a:lnTo>
                    <a:pt x="1210" y="648"/>
                  </a:lnTo>
                  <a:lnTo>
                    <a:pt x="1207" y="648"/>
                  </a:lnTo>
                  <a:lnTo>
                    <a:pt x="1210" y="646"/>
                  </a:lnTo>
                  <a:lnTo>
                    <a:pt x="1207" y="648"/>
                  </a:lnTo>
                  <a:lnTo>
                    <a:pt x="1210" y="648"/>
                  </a:lnTo>
                  <a:lnTo>
                    <a:pt x="1210" y="646"/>
                  </a:lnTo>
                  <a:lnTo>
                    <a:pt x="1212" y="646"/>
                  </a:lnTo>
                  <a:close/>
                  <a:moveTo>
                    <a:pt x="1082" y="643"/>
                  </a:moveTo>
                  <a:lnTo>
                    <a:pt x="1084" y="643"/>
                  </a:lnTo>
                  <a:lnTo>
                    <a:pt x="1082" y="643"/>
                  </a:lnTo>
                  <a:lnTo>
                    <a:pt x="1084" y="643"/>
                  </a:lnTo>
                  <a:lnTo>
                    <a:pt x="1082" y="643"/>
                  </a:lnTo>
                  <a:lnTo>
                    <a:pt x="1084" y="643"/>
                  </a:lnTo>
                  <a:lnTo>
                    <a:pt x="1084" y="641"/>
                  </a:lnTo>
                  <a:lnTo>
                    <a:pt x="1084" y="643"/>
                  </a:lnTo>
                  <a:lnTo>
                    <a:pt x="1082" y="643"/>
                  </a:lnTo>
                  <a:close/>
                  <a:moveTo>
                    <a:pt x="1084" y="641"/>
                  </a:moveTo>
                  <a:lnTo>
                    <a:pt x="1084" y="643"/>
                  </a:lnTo>
                  <a:lnTo>
                    <a:pt x="1086" y="643"/>
                  </a:lnTo>
                  <a:lnTo>
                    <a:pt x="1086" y="646"/>
                  </a:lnTo>
                  <a:lnTo>
                    <a:pt x="1086" y="648"/>
                  </a:lnTo>
                  <a:lnTo>
                    <a:pt x="1084" y="648"/>
                  </a:lnTo>
                  <a:lnTo>
                    <a:pt x="1086" y="648"/>
                  </a:lnTo>
                  <a:lnTo>
                    <a:pt x="1086" y="651"/>
                  </a:lnTo>
                  <a:lnTo>
                    <a:pt x="1084" y="651"/>
                  </a:lnTo>
                  <a:lnTo>
                    <a:pt x="1084" y="648"/>
                  </a:lnTo>
                  <a:lnTo>
                    <a:pt x="1084" y="646"/>
                  </a:lnTo>
                  <a:lnTo>
                    <a:pt x="1082" y="646"/>
                  </a:lnTo>
                  <a:lnTo>
                    <a:pt x="1082" y="643"/>
                  </a:lnTo>
                  <a:lnTo>
                    <a:pt x="1084" y="643"/>
                  </a:lnTo>
                  <a:lnTo>
                    <a:pt x="1084" y="641"/>
                  </a:lnTo>
                  <a:lnTo>
                    <a:pt x="1084" y="643"/>
                  </a:lnTo>
                  <a:lnTo>
                    <a:pt x="1086" y="643"/>
                  </a:lnTo>
                  <a:lnTo>
                    <a:pt x="1084" y="643"/>
                  </a:lnTo>
                  <a:lnTo>
                    <a:pt x="1084" y="641"/>
                  </a:lnTo>
                  <a:close/>
                  <a:moveTo>
                    <a:pt x="1082" y="639"/>
                  </a:moveTo>
                  <a:lnTo>
                    <a:pt x="1082" y="641"/>
                  </a:lnTo>
                  <a:lnTo>
                    <a:pt x="1082" y="639"/>
                  </a:lnTo>
                  <a:lnTo>
                    <a:pt x="1082" y="641"/>
                  </a:lnTo>
                  <a:lnTo>
                    <a:pt x="1082" y="639"/>
                  </a:lnTo>
                  <a:lnTo>
                    <a:pt x="1082" y="641"/>
                  </a:lnTo>
                  <a:lnTo>
                    <a:pt x="1082" y="639"/>
                  </a:lnTo>
                  <a:lnTo>
                    <a:pt x="1084" y="641"/>
                  </a:lnTo>
                  <a:lnTo>
                    <a:pt x="1082" y="641"/>
                  </a:lnTo>
                  <a:lnTo>
                    <a:pt x="1084" y="641"/>
                  </a:lnTo>
                  <a:lnTo>
                    <a:pt x="1082" y="641"/>
                  </a:lnTo>
                  <a:lnTo>
                    <a:pt x="1082" y="643"/>
                  </a:lnTo>
                  <a:lnTo>
                    <a:pt x="1082" y="641"/>
                  </a:lnTo>
                  <a:lnTo>
                    <a:pt x="1082" y="639"/>
                  </a:lnTo>
                  <a:lnTo>
                    <a:pt x="1079" y="639"/>
                  </a:lnTo>
                  <a:lnTo>
                    <a:pt x="1082" y="639"/>
                  </a:lnTo>
                  <a:close/>
                  <a:moveTo>
                    <a:pt x="1086" y="632"/>
                  </a:moveTo>
                  <a:lnTo>
                    <a:pt x="1084" y="632"/>
                  </a:lnTo>
                  <a:lnTo>
                    <a:pt x="1086" y="632"/>
                  </a:lnTo>
                  <a:lnTo>
                    <a:pt x="1084" y="632"/>
                  </a:lnTo>
                  <a:lnTo>
                    <a:pt x="1086" y="632"/>
                  </a:lnTo>
                  <a:close/>
                  <a:moveTo>
                    <a:pt x="1082" y="629"/>
                  </a:moveTo>
                  <a:lnTo>
                    <a:pt x="1084" y="629"/>
                  </a:lnTo>
                  <a:lnTo>
                    <a:pt x="1082" y="629"/>
                  </a:lnTo>
                  <a:lnTo>
                    <a:pt x="1084" y="629"/>
                  </a:lnTo>
                  <a:lnTo>
                    <a:pt x="1084" y="632"/>
                  </a:lnTo>
                  <a:lnTo>
                    <a:pt x="1082" y="632"/>
                  </a:lnTo>
                  <a:lnTo>
                    <a:pt x="1082" y="629"/>
                  </a:lnTo>
                  <a:lnTo>
                    <a:pt x="1079" y="627"/>
                  </a:lnTo>
                  <a:lnTo>
                    <a:pt x="1082" y="627"/>
                  </a:lnTo>
                  <a:lnTo>
                    <a:pt x="1082" y="629"/>
                  </a:lnTo>
                  <a:lnTo>
                    <a:pt x="1082" y="627"/>
                  </a:lnTo>
                  <a:lnTo>
                    <a:pt x="1082" y="629"/>
                  </a:lnTo>
                  <a:lnTo>
                    <a:pt x="1084" y="629"/>
                  </a:lnTo>
                  <a:lnTo>
                    <a:pt x="1082" y="629"/>
                  </a:lnTo>
                  <a:lnTo>
                    <a:pt x="1082" y="627"/>
                  </a:lnTo>
                  <a:lnTo>
                    <a:pt x="1084" y="629"/>
                  </a:lnTo>
                  <a:lnTo>
                    <a:pt x="1082" y="629"/>
                  </a:lnTo>
                  <a:close/>
                  <a:moveTo>
                    <a:pt x="1082" y="624"/>
                  </a:moveTo>
                  <a:lnTo>
                    <a:pt x="1079" y="624"/>
                  </a:lnTo>
                  <a:lnTo>
                    <a:pt x="1082" y="624"/>
                  </a:lnTo>
                  <a:close/>
                  <a:moveTo>
                    <a:pt x="1079" y="622"/>
                  </a:moveTo>
                  <a:lnTo>
                    <a:pt x="1079" y="624"/>
                  </a:lnTo>
                  <a:lnTo>
                    <a:pt x="1079" y="622"/>
                  </a:lnTo>
                  <a:lnTo>
                    <a:pt x="1079" y="624"/>
                  </a:lnTo>
                  <a:lnTo>
                    <a:pt x="1079" y="622"/>
                  </a:lnTo>
                  <a:close/>
                  <a:moveTo>
                    <a:pt x="821" y="617"/>
                  </a:moveTo>
                  <a:lnTo>
                    <a:pt x="821" y="620"/>
                  </a:lnTo>
                  <a:lnTo>
                    <a:pt x="818" y="620"/>
                  </a:lnTo>
                  <a:lnTo>
                    <a:pt x="821" y="620"/>
                  </a:lnTo>
                  <a:lnTo>
                    <a:pt x="818" y="620"/>
                  </a:lnTo>
                  <a:lnTo>
                    <a:pt x="821" y="620"/>
                  </a:lnTo>
                  <a:lnTo>
                    <a:pt x="821" y="617"/>
                  </a:lnTo>
                  <a:close/>
                  <a:moveTo>
                    <a:pt x="1079" y="620"/>
                  </a:moveTo>
                  <a:lnTo>
                    <a:pt x="1079" y="617"/>
                  </a:lnTo>
                  <a:lnTo>
                    <a:pt x="1082" y="617"/>
                  </a:lnTo>
                  <a:lnTo>
                    <a:pt x="1079" y="620"/>
                  </a:lnTo>
                  <a:lnTo>
                    <a:pt x="1079" y="617"/>
                  </a:lnTo>
                  <a:lnTo>
                    <a:pt x="1079" y="620"/>
                  </a:lnTo>
                  <a:lnTo>
                    <a:pt x="1079" y="617"/>
                  </a:lnTo>
                  <a:lnTo>
                    <a:pt x="1079" y="620"/>
                  </a:lnTo>
                  <a:lnTo>
                    <a:pt x="1079" y="617"/>
                  </a:lnTo>
                  <a:lnTo>
                    <a:pt x="1079" y="620"/>
                  </a:lnTo>
                  <a:close/>
                  <a:moveTo>
                    <a:pt x="1082" y="613"/>
                  </a:moveTo>
                  <a:lnTo>
                    <a:pt x="1082" y="615"/>
                  </a:lnTo>
                  <a:lnTo>
                    <a:pt x="1082" y="613"/>
                  </a:lnTo>
                  <a:lnTo>
                    <a:pt x="1082" y="615"/>
                  </a:lnTo>
                  <a:lnTo>
                    <a:pt x="1079" y="615"/>
                  </a:lnTo>
                  <a:lnTo>
                    <a:pt x="1082" y="613"/>
                  </a:lnTo>
                  <a:lnTo>
                    <a:pt x="1079" y="613"/>
                  </a:lnTo>
                  <a:lnTo>
                    <a:pt x="1082" y="613"/>
                  </a:lnTo>
                  <a:close/>
                  <a:moveTo>
                    <a:pt x="1079" y="608"/>
                  </a:moveTo>
                  <a:lnTo>
                    <a:pt x="1082" y="610"/>
                  </a:lnTo>
                  <a:lnTo>
                    <a:pt x="1079" y="610"/>
                  </a:lnTo>
                  <a:lnTo>
                    <a:pt x="1079" y="608"/>
                  </a:lnTo>
                  <a:lnTo>
                    <a:pt x="1082" y="608"/>
                  </a:lnTo>
                  <a:lnTo>
                    <a:pt x="1079" y="608"/>
                  </a:lnTo>
                  <a:close/>
                  <a:moveTo>
                    <a:pt x="1089" y="608"/>
                  </a:moveTo>
                  <a:lnTo>
                    <a:pt x="1086" y="608"/>
                  </a:lnTo>
                  <a:lnTo>
                    <a:pt x="1089" y="608"/>
                  </a:lnTo>
                  <a:close/>
                  <a:moveTo>
                    <a:pt x="1086" y="608"/>
                  </a:moveTo>
                  <a:lnTo>
                    <a:pt x="1089" y="608"/>
                  </a:lnTo>
                  <a:lnTo>
                    <a:pt x="1086" y="608"/>
                  </a:lnTo>
                  <a:close/>
                  <a:moveTo>
                    <a:pt x="1082" y="603"/>
                  </a:moveTo>
                  <a:lnTo>
                    <a:pt x="1082" y="605"/>
                  </a:lnTo>
                  <a:lnTo>
                    <a:pt x="1082" y="603"/>
                  </a:lnTo>
                  <a:lnTo>
                    <a:pt x="1079" y="603"/>
                  </a:lnTo>
                  <a:lnTo>
                    <a:pt x="1082" y="603"/>
                  </a:lnTo>
                  <a:lnTo>
                    <a:pt x="1079" y="603"/>
                  </a:lnTo>
                  <a:lnTo>
                    <a:pt x="1082" y="603"/>
                  </a:lnTo>
                  <a:close/>
                  <a:moveTo>
                    <a:pt x="1079" y="603"/>
                  </a:moveTo>
                  <a:lnTo>
                    <a:pt x="1077" y="603"/>
                  </a:lnTo>
                  <a:lnTo>
                    <a:pt x="1077" y="601"/>
                  </a:lnTo>
                  <a:lnTo>
                    <a:pt x="1079" y="601"/>
                  </a:lnTo>
                  <a:lnTo>
                    <a:pt x="1079" y="603"/>
                  </a:lnTo>
                  <a:lnTo>
                    <a:pt x="1079" y="605"/>
                  </a:lnTo>
                  <a:lnTo>
                    <a:pt x="1082" y="605"/>
                  </a:lnTo>
                  <a:lnTo>
                    <a:pt x="1079" y="605"/>
                  </a:lnTo>
                  <a:lnTo>
                    <a:pt x="1079" y="608"/>
                  </a:lnTo>
                  <a:lnTo>
                    <a:pt x="1079" y="610"/>
                  </a:lnTo>
                  <a:lnTo>
                    <a:pt x="1079" y="608"/>
                  </a:lnTo>
                  <a:lnTo>
                    <a:pt x="1079" y="610"/>
                  </a:lnTo>
                  <a:lnTo>
                    <a:pt x="1079" y="613"/>
                  </a:lnTo>
                  <a:lnTo>
                    <a:pt x="1079" y="615"/>
                  </a:lnTo>
                  <a:lnTo>
                    <a:pt x="1077" y="615"/>
                  </a:lnTo>
                  <a:lnTo>
                    <a:pt x="1077" y="613"/>
                  </a:lnTo>
                  <a:lnTo>
                    <a:pt x="1074" y="613"/>
                  </a:lnTo>
                  <a:lnTo>
                    <a:pt x="1074" y="610"/>
                  </a:lnTo>
                  <a:lnTo>
                    <a:pt x="1072" y="610"/>
                  </a:lnTo>
                  <a:lnTo>
                    <a:pt x="1072" y="608"/>
                  </a:lnTo>
                  <a:lnTo>
                    <a:pt x="1074" y="605"/>
                  </a:lnTo>
                  <a:lnTo>
                    <a:pt x="1072" y="605"/>
                  </a:lnTo>
                  <a:lnTo>
                    <a:pt x="1074" y="605"/>
                  </a:lnTo>
                  <a:lnTo>
                    <a:pt x="1072" y="605"/>
                  </a:lnTo>
                  <a:lnTo>
                    <a:pt x="1074" y="605"/>
                  </a:lnTo>
                  <a:lnTo>
                    <a:pt x="1072" y="605"/>
                  </a:lnTo>
                  <a:lnTo>
                    <a:pt x="1070" y="605"/>
                  </a:lnTo>
                  <a:lnTo>
                    <a:pt x="1070" y="603"/>
                  </a:lnTo>
                  <a:lnTo>
                    <a:pt x="1067" y="603"/>
                  </a:lnTo>
                  <a:lnTo>
                    <a:pt x="1070" y="603"/>
                  </a:lnTo>
                  <a:lnTo>
                    <a:pt x="1072" y="603"/>
                  </a:lnTo>
                  <a:lnTo>
                    <a:pt x="1074" y="603"/>
                  </a:lnTo>
                  <a:lnTo>
                    <a:pt x="1072" y="603"/>
                  </a:lnTo>
                  <a:lnTo>
                    <a:pt x="1074" y="603"/>
                  </a:lnTo>
                  <a:lnTo>
                    <a:pt x="1072" y="601"/>
                  </a:lnTo>
                  <a:lnTo>
                    <a:pt x="1074" y="601"/>
                  </a:lnTo>
                  <a:lnTo>
                    <a:pt x="1072" y="601"/>
                  </a:lnTo>
                  <a:lnTo>
                    <a:pt x="1074" y="601"/>
                  </a:lnTo>
                  <a:lnTo>
                    <a:pt x="1072" y="601"/>
                  </a:lnTo>
                  <a:lnTo>
                    <a:pt x="1072" y="598"/>
                  </a:lnTo>
                  <a:lnTo>
                    <a:pt x="1074" y="598"/>
                  </a:lnTo>
                  <a:lnTo>
                    <a:pt x="1074" y="601"/>
                  </a:lnTo>
                  <a:lnTo>
                    <a:pt x="1077" y="601"/>
                  </a:lnTo>
                  <a:lnTo>
                    <a:pt x="1077" y="603"/>
                  </a:lnTo>
                  <a:lnTo>
                    <a:pt x="1079" y="603"/>
                  </a:lnTo>
                  <a:close/>
                  <a:moveTo>
                    <a:pt x="1074" y="601"/>
                  </a:moveTo>
                  <a:lnTo>
                    <a:pt x="1074" y="598"/>
                  </a:lnTo>
                  <a:lnTo>
                    <a:pt x="1074" y="601"/>
                  </a:lnTo>
                  <a:close/>
                  <a:moveTo>
                    <a:pt x="1060" y="598"/>
                  </a:moveTo>
                  <a:lnTo>
                    <a:pt x="1060" y="596"/>
                  </a:lnTo>
                  <a:lnTo>
                    <a:pt x="1060" y="598"/>
                  </a:lnTo>
                  <a:lnTo>
                    <a:pt x="1060" y="596"/>
                  </a:lnTo>
                  <a:lnTo>
                    <a:pt x="1060" y="598"/>
                  </a:lnTo>
                  <a:close/>
                  <a:moveTo>
                    <a:pt x="1060" y="598"/>
                  </a:moveTo>
                  <a:lnTo>
                    <a:pt x="1060" y="596"/>
                  </a:lnTo>
                  <a:lnTo>
                    <a:pt x="1060" y="598"/>
                  </a:lnTo>
                  <a:close/>
                  <a:moveTo>
                    <a:pt x="1074" y="596"/>
                  </a:moveTo>
                  <a:lnTo>
                    <a:pt x="1072" y="596"/>
                  </a:lnTo>
                  <a:lnTo>
                    <a:pt x="1074" y="596"/>
                  </a:lnTo>
                  <a:close/>
                  <a:moveTo>
                    <a:pt x="1060" y="596"/>
                  </a:moveTo>
                  <a:lnTo>
                    <a:pt x="1060" y="594"/>
                  </a:lnTo>
                  <a:lnTo>
                    <a:pt x="1060" y="596"/>
                  </a:lnTo>
                  <a:close/>
                  <a:moveTo>
                    <a:pt x="1060" y="594"/>
                  </a:moveTo>
                  <a:lnTo>
                    <a:pt x="1060" y="596"/>
                  </a:lnTo>
                  <a:lnTo>
                    <a:pt x="1060" y="594"/>
                  </a:lnTo>
                  <a:close/>
                  <a:moveTo>
                    <a:pt x="1074" y="596"/>
                  </a:moveTo>
                  <a:lnTo>
                    <a:pt x="1072" y="596"/>
                  </a:lnTo>
                  <a:lnTo>
                    <a:pt x="1072" y="594"/>
                  </a:lnTo>
                  <a:lnTo>
                    <a:pt x="1070" y="594"/>
                  </a:lnTo>
                  <a:lnTo>
                    <a:pt x="1070" y="596"/>
                  </a:lnTo>
                  <a:lnTo>
                    <a:pt x="1072" y="594"/>
                  </a:lnTo>
                  <a:lnTo>
                    <a:pt x="1074" y="594"/>
                  </a:lnTo>
                  <a:lnTo>
                    <a:pt x="1074" y="596"/>
                  </a:lnTo>
                  <a:close/>
                  <a:moveTo>
                    <a:pt x="1074" y="586"/>
                  </a:moveTo>
                  <a:lnTo>
                    <a:pt x="1074" y="589"/>
                  </a:lnTo>
                  <a:lnTo>
                    <a:pt x="1074" y="586"/>
                  </a:lnTo>
                  <a:close/>
                  <a:moveTo>
                    <a:pt x="1074" y="586"/>
                  </a:moveTo>
                  <a:lnTo>
                    <a:pt x="1074" y="589"/>
                  </a:lnTo>
                  <a:lnTo>
                    <a:pt x="1072" y="589"/>
                  </a:lnTo>
                  <a:lnTo>
                    <a:pt x="1072" y="591"/>
                  </a:lnTo>
                  <a:lnTo>
                    <a:pt x="1072" y="589"/>
                  </a:lnTo>
                  <a:lnTo>
                    <a:pt x="1074" y="589"/>
                  </a:lnTo>
                  <a:lnTo>
                    <a:pt x="1074" y="586"/>
                  </a:lnTo>
                  <a:close/>
                  <a:moveTo>
                    <a:pt x="1070" y="579"/>
                  </a:moveTo>
                  <a:lnTo>
                    <a:pt x="1067" y="579"/>
                  </a:lnTo>
                  <a:lnTo>
                    <a:pt x="1070" y="579"/>
                  </a:lnTo>
                  <a:close/>
                  <a:moveTo>
                    <a:pt x="1070" y="579"/>
                  </a:moveTo>
                  <a:lnTo>
                    <a:pt x="1070" y="582"/>
                  </a:lnTo>
                  <a:lnTo>
                    <a:pt x="1070" y="579"/>
                  </a:lnTo>
                  <a:lnTo>
                    <a:pt x="1067" y="579"/>
                  </a:lnTo>
                  <a:lnTo>
                    <a:pt x="1070" y="579"/>
                  </a:lnTo>
                  <a:lnTo>
                    <a:pt x="1067" y="579"/>
                  </a:lnTo>
                  <a:lnTo>
                    <a:pt x="1070" y="579"/>
                  </a:lnTo>
                  <a:close/>
                  <a:moveTo>
                    <a:pt x="1067" y="579"/>
                  </a:moveTo>
                  <a:lnTo>
                    <a:pt x="1070" y="579"/>
                  </a:lnTo>
                  <a:lnTo>
                    <a:pt x="1067" y="579"/>
                  </a:lnTo>
                  <a:close/>
                  <a:moveTo>
                    <a:pt x="1074" y="584"/>
                  </a:moveTo>
                  <a:lnTo>
                    <a:pt x="1072" y="584"/>
                  </a:lnTo>
                  <a:lnTo>
                    <a:pt x="1074" y="584"/>
                  </a:lnTo>
                  <a:lnTo>
                    <a:pt x="1077" y="584"/>
                  </a:lnTo>
                  <a:lnTo>
                    <a:pt x="1074" y="584"/>
                  </a:lnTo>
                  <a:lnTo>
                    <a:pt x="1074" y="586"/>
                  </a:lnTo>
                  <a:lnTo>
                    <a:pt x="1072" y="586"/>
                  </a:lnTo>
                  <a:lnTo>
                    <a:pt x="1072" y="589"/>
                  </a:lnTo>
                  <a:lnTo>
                    <a:pt x="1070" y="589"/>
                  </a:lnTo>
                  <a:lnTo>
                    <a:pt x="1072" y="591"/>
                  </a:lnTo>
                  <a:lnTo>
                    <a:pt x="1070" y="591"/>
                  </a:lnTo>
                  <a:lnTo>
                    <a:pt x="1067" y="591"/>
                  </a:lnTo>
                  <a:lnTo>
                    <a:pt x="1065" y="591"/>
                  </a:lnTo>
                  <a:lnTo>
                    <a:pt x="1065" y="589"/>
                  </a:lnTo>
                  <a:lnTo>
                    <a:pt x="1065" y="586"/>
                  </a:lnTo>
                  <a:lnTo>
                    <a:pt x="1065" y="584"/>
                  </a:lnTo>
                  <a:lnTo>
                    <a:pt x="1063" y="584"/>
                  </a:lnTo>
                  <a:lnTo>
                    <a:pt x="1063" y="582"/>
                  </a:lnTo>
                  <a:lnTo>
                    <a:pt x="1065" y="582"/>
                  </a:lnTo>
                  <a:lnTo>
                    <a:pt x="1065" y="579"/>
                  </a:lnTo>
                  <a:lnTo>
                    <a:pt x="1065" y="577"/>
                  </a:lnTo>
                  <a:lnTo>
                    <a:pt x="1067" y="577"/>
                  </a:lnTo>
                  <a:lnTo>
                    <a:pt x="1070" y="577"/>
                  </a:lnTo>
                  <a:lnTo>
                    <a:pt x="1070" y="579"/>
                  </a:lnTo>
                  <a:lnTo>
                    <a:pt x="1070" y="577"/>
                  </a:lnTo>
                  <a:lnTo>
                    <a:pt x="1067" y="577"/>
                  </a:lnTo>
                  <a:lnTo>
                    <a:pt x="1070" y="579"/>
                  </a:lnTo>
                  <a:lnTo>
                    <a:pt x="1067" y="579"/>
                  </a:lnTo>
                  <a:lnTo>
                    <a:pt x="1067" y="582"/>
                  </a:lnTo>
                  <a:lnTo>
                    <a:pt x="1067" y="579"/>
                  </a:lnTo>
                  <a:lnTo>
                    <a:pt x="1067" y="582"/>
                  </a:lnTo>
                  <a:lnTo>
                    <a:pt x="1070" y="582"/>
                  </a:lnTo>
                  <a:lnTo>
                    <a:pt x="1070" y="579"/>
                  </a:lnTo>
                  <a:lnTo>
                    <a:pt x="1070" y="582"/>
                  </a:lnTo>
                  <a:lnTo>
                    <a:pt x="1070" y="579"/>
                  </a:lnTo>
                  <a:lnTo>
                    <a:pt x="1070" y="582"/>
                  </a:lnTo>
                  <a:lnTo>
                    <a:pt x="1070" y="579"/>
                  </a:lnTo>
                  <a:lnTo>
                    <a:pt x="1070" y="582"/>
                  </a:lnTo>
                  <a:lnTo>
                    <a:pt x="1070" y="579"/>
                  </a:lnTo>
                  <a:lnTo>
                    <a:pt x="1070" y="577"/>
                  </a:lnTo>
                  <a:lnTo>
                    <a:pt x="1072" y="577"/>
                  </a:lnTo>
                  <a:lnTo>
                    <a:pt x="1070" y="577"/>
                  </a:lnTo>
                  <a:lnTo>
                    <a:pt x="1072" y="577"/>
                  </a:lnTo>
                  <a:lnTo>
                    <a:pt x="1070" y="577"/>
                  </a:lnTo>
                  <a:lnTo>
                    <a:pt x="1072" y="577"/>
                  </a:lnTo>
                  <a:lnTo>
                    <a:pt x="1072" y="579"/>
                  </a:lnTo>
                  <a:lnTo>
                    <a:pt x="1072" y="582"/>
                  </a:lnTo>
                  <a:lnTo>
                    <a:pt x="1072" y="584"/>
                  </a:lnTo>
                  <a:lnTo>
                    <a:pt x="1074" y="584"/>
                  </a:lnTo>
                  <a:close/>
                  <a:moveTo>
                    <a:pt x="1067" y="582"/>
                  </a:moveTo>
                  <a:lnTo>
                    <a:pt x="1065" y="582"/>
                  </a:lnTo>
                  <a:lnTo>
                    <a:pt x="1067" y="582"/>
                  </a:lnTo>
                  <a:lnTo>
                    <a:pt x="1067" y="584"/>
                  </a:lnTo>
                  <a:lnTo>
                    <a:pt x="1067" y="582"/>
                  </a:lnTo>
                  <a:close/>
                  <a:moveTo>
                    <a:pt x="1096" y="572"/>
                  </a:moveTo>
                  <a:lnTo>
                    <a:pt x="1096" y="570"/>
                  </a:lnTo>
                  <a:lnTo>
                    <a:pt x="1096" y="572"/>
                  </a:lnTo>
                  <a:lnTo>
                    <a:pt x="1093" y="570"/>
                  </a:lnTo>
                  <a:lnTo>
                    <a:pt x="1096" y="570"/>
                  </a:lnTo>
                  <a:lnTo>
                    <a:pt x="1098" y="572"/>
                  </a:lnTo>
                  <a:lnTo>
                    <a:pt x="1096" y="572"/>
                  </a:lnTo>
                  <a:close/>
                  <a:moveTo>
                    <a:pt x="1105" y="563"/>
                  </a:moveTo>
                  <a:lnTo>
                    <a:pt x="1105" y="565"/>
                  </a:lnTo>
                  <a:lnTo>
                    <a:pt x="1105" y="563"/>
                  </a:lnTo>
                  <a:lnTo>
                    <a:pt x="1105" y="565"/>
                  </a:lnTo>
                  <a:lnTo>
                    <a:pt x="1105" y="563"/>
                  </a:lnTo>
                  <a:lnTo>
                    <a:pt x="1105" y="565"/>
                  </a:lnTo>
                  <a:lnTo>
                    <a:pt x="1105" y="563"/>
                  </a:lnTo>
                  <a:lnTo>
                    <a:pt x="1108" y="563"/>
                  </a:lnTo>
                  <a:lnTo>
                    <a:pt x="1105" y="563"/>
                  </a:lnTo>
                  <a:lnTo>
                    <a:pt x="1108" y="563"/>
                  </a:lnTo>
                  <a:lnTo>
                    <a:pt x="1108" y="560"/>
                  </a:lnTo>
                  <a:lnTo>
                    <a:pt x="1108" y="563"/>
                  </a:lnTo>
                  <a:lnTo>
                    <a:pt x="1108" y="565"/>
                  </a:lnTo>
                  <a:lnTo>
                    <a:pt x="1105" y="565"/>
                  </a:lnTo>
                  <a:lnTo>
                    <a:pt x="1103" y="565"/>
                  </a:lnTo>
                  <a:lnTo>
                    <a:pt x="1101" y="565"/>
                  </a:lnTo>
                  <a:lnTo>
                    <a:pt x="1103" y="565"/>
                  </a:lnTo>
                  <a:lnTo>
                    <a:pt x="1105" y="565"/>
                  </a:lnTo>
                  <a:lnTo>
                    <a:pt x="1108" y="565"/>
                  </a:lnTo>
                  <a:lnTo>
                    <a:pt x="1108" y="563"/>
                  </a:lnTo>
                  <a:lnTo>
                    <a:pt x="1108" y="560"/>
                  </a:lnTo>
                  <a:lnTo>
                    <a:pt x="1110" y="560"/>
                  </a:lnTo>
                  <a:lnTo>
                    <a:pt x="1108" y="563"/>
                  </a:lnTo>
                  <a:lnTo>
                    <a:pt x="1108" y="565"/>
                  </a:lnTo>
                  <a:lnTo>
                    <a:pt x="1105" y="565"/>
                  </a:lnTo>
                  <a:lnTo>
                    <a:pt x="1108" y="565"/>
                  </a:lnTo>
                  <a:lnTo>
                    <a:pt x="1105" y="565"/>
                  </a:lnTo>
                  <a:lnTo>
                    <a:pt x="1108" y="565"/>
                  </a:lnTo>
                  <a:lnTo>
                    <a:pt x="1105" y="565"/>
                  </a:lnTo>
                  <a:lnTo>
                    <a:pt x="1103" y="565"/>
                  </a:lnTo>
                  <a:lnTo>
                    <a:pt x="1103" y="567"/>
                  </a:lnTo>
                  <a:lnTo>
                    <a:pt x="1103" y="565"/>
                  </a:lnTo>
                  <a:lnTo>
                    <a:pt x="1105" y="565"/>
                  </a:lnTo>
                  <a:lnTo>
                    <a:pt x="1108" y="565"/>
                  </a:lnTo>
                  <a:lnTo>
                    <a:pt x="1105" y="567"/>
                  </a:lnTo>
                  <a:lnTo>
                    <a:pt x="1103" y="567"/>
                  </a:lnTo>
                  <a:lnTo>
                    <a:pt x="1103" y="570"/>
                  </a:lnTo>
                  <a:lnTo>
                    <a:pt x="1103" y="567"/>
                  </a:lnTo>
                  <a:lnTo>
                    <a:pt x="1103" y="570"/>
                  </a:lnTo>
                  <a:lnTo>
                    <a:pt x="1101" y="570"/>
                  </a:lnTo>
                  <a:lnTo>
                    <a:pt x="1098" y="570"/>
                  </a:lnTo>
                  <a:lnTo>
                    <a:pt x="1101" y="570"/>
                  </a:lnTo>
                  <a:lnTo>
                    <a:pt x="1101" y="572"/>
                  </a:lnTo>
                  <a:lnTo>
                    <a:pt x="1098" y="572"/>
                  </a:lnTo>
                  <a:lnTo>
                    <a:pt x="1096" y="570"/>
                  </a:lnTo>
                  <a:lnTo>
                    <a:pt x="1093" y="570"/>
                  </a:lnTo>
                  <a:lnTo>
                    <a:pt x="1091" y="570"/>
                  </a:lnTo>
                  <a:lnTo>
                    <a:pt x="1091" y="567"/>
                  </a:lnTo>
                  <a:lnTo>
                    <a:pt x="1093" y="567"/>
                  </a:lnTo>
                  <a:lnTo>
                    <a:pt x="1096" y="567"/>
                  </a:lnTo>
                  <a:lnTo>
                    <a:pt x="1093" y="567"/>
                  </a:lnTo>
                  <a:lnTo>
                    <a:pt x="1091" y="567"/>
                  </a:lnTo>
                  <a:lnTo>
                    <a:pt x="1091" y="570"/>
                  </a:lnTo>
                  <a:lnTo>
                    <a:pt x="1089" y="570"/>
                  </a:lnTo>
                  <a:lnTo>
                    <a:pt x="1086" y="570"/>
                  </a:lnTo>
                  <a:lnTo>
                    <a:pt x="1086" y="567"/>
                  </a:lnTo>
                  <a:lnTo>
                    <a:pt x="1089" y="567"/>
                  </a:lnTo>
                  <a:lnTo>
                    <a:pt x="1091" y="567"/>
                  </a:lnTo>
                  <a:lnTo>
                    <a:pt x="1093" y="567"/>
                  </a:lnTo>
                  <a:lnTo>
                    <a:pt x="1091" y="567"/>
                  </a:lnTo>
                  <a:lnTo>
                    <a:pt x="1093" y="567"/>
                  </a:lnTo>
                  <a:lnTo>
                    <a:pt x="1093" y="565"/>
                  </a:lnTo>
                  <a:lnTo>
                    <a:pt x="1096" y="565"/>
                  </a:lnTo>
                  <a:lnTo>
                    <a:pt x="1098" y="565"/>
                  </a:lnTo>
                  <a:lnTo>
                    <a:pt x="1101" y="565"/>
                  </a:lnTo>
                  <a:lnTo>
                    <a:pt x="1101" y="563"/>
                  </a:lnTo>
                  <a:lnTo>
                    <a:pt x="1103" y="563"/>
                  </a:lnTo>
                  <a:lnTo>
                    <a:pt x="1103" y="565"/>
                  </a:lnTo>
                  <a:lnTo>
                    <a:pt x="1101" y="565"/>
                  </a:lnTo>
                  <a:lnTo>
                    <a:pt x="1103" y="565"/>
                  </a:lnTo>
                  <a:lnTo>
                    <a:pt x="1101" y="565"/>
                  </a:lnTo>
                  <a:lnTo>
                    <a:pt x="1098" y="565"/>
                  </a:lnTo>
                  <a:lnTo>
                    <a:pt x="1101" y="565"/>
                  </a:lnTo>
                  <a:lnTo>
                    <a:pt x="1098" y="565"/>
                  </a:lnTo>
                  <a:lnTo>
                    <a:pt x="1098" y="567"/>
                  </a:lnTo>
                  <a:lnTo>
                    <a:pt x="1098" y="565"/>
                  </a:lnTo>
                  <a:lnTo>
                    <a:pt x="1101" y="565"/>
                  </a:lnTo>
                  <a:lnTo>
                    <a:pt x="1098" y="565"/>
                  </a:lnTo>
                  <a:lnTo>
                    <a:pt x="1101" y="565"/>
                  </a:lnTo>
                  <a:lnTo>
                    <a:pt x="1103" y="565"/>
                  </a:lnTo>
                  <a:lnTo>
                    <a:pt x="1103" y="563"/>
                  </a:lnTo>
                  <a:lnTo>
                    <a:pt x="1105" y="563"/>
                  </a:lnTo>
                  <a:lnTo>
                    <a:pt x="1105" y="560"/>
                  </a:lnTo>
                  <a:lnTo>
                    <a:pt x="1108" y="560"/>
                  </a:lnTo>
                  <a:lnTo>
                    <a:pt x="1108" y="558"/>
                  </a:lnTo>
                  <a:lnTo>
                    <a:pt x="1110" y="558"/>
                  </a:lnTo>
                  <a:lnTo>
                    <a:pt x="1108" y="558"/>
                  </a:lnTo>
                  <a:lnTo>
                    <a:pt x="1108" y="560"/>
                  </a:lnTo>
                  <a:lnTo>
                    <a:pt x="1110" y="560"/>
                  </a:lnTo>
                  <a:lnTo>
                    <a:pt x="1108" y="560"/>
                  </a:lnTo>
                  <a:lnTo>
                    <a:pt x="1110" y="560"/>
                  </a:lnTo>
                  <a:lnTo>
                    <a:pt x="1108" y="560"/>
                  </a:lnTo>
                  <a:lnTo>
                    <a:pt x="1108" y="563"/>
                  </a:lnTo>
                  <a:lnTo>
                    <a:pt x="1105" y="563"/>
                  </a:lnTo>
                  <a:close/>
                  <a:moveTo>
                    <a:pt x="1103" y="567"/>
                  </a:moveTo>
                  <a:lnTo>
                    <a:pt x="1101" y="567"/>
                  </a:lnTo>
                  <a:lnTo>
                    <a:pt x="1103" y="567"/>
                  </a:lnTo>
                  <a:lnTo>
                    <a:pt x="1103" y="565"/>
                  </a:lnTo>
                  <a:lnTo>
                    <a:pt x="1103" y="567"/>
                  </a:lnTo>
                  <a:close/>
                  <a:moveTo>
                    <a:pt x="1093" y="567"/>
                  </a:moveTo>
                  <a:lnTo>
                    <a:pt x="1096" y="567"/>
                  </a:lnTo>
                  <a:lnTo>
                    <a:pt x="1093" y="565"/>
                  </a:lnTo>
                  <a:lnTo>
                    <a:pt x="1093" y="567"/>
                  </a:lnTo>
                  <a:close/>
                  <a:moveTo>
                    <a:pt x="1098" y="567"/>
                  </a:moveTo>
                  <a:lnTo>
                    <a:pt x="1096" y="567"/>
                  </a:lnTo>
                  <a:lnTo>
                    <a:pt x="1098" y="567"/>
                  </a:lnTo>
                  <a:close/>
                  <a:moveTo>
                    <a:pt x="1124" y="558"/>
                  </a:moveTo>
                  <a:lnTo>
                    <a:pt x="1122" y="558"/>
                  </a:lnTo>
                  <a:lnTo>
                    <a:pt x="1119" y="558"/>
                  </a:lnTo>
                  <a:lnTo>
                    <a:pt x="1122" y="558"/>
                  </a:lnTo>
                  <a:lnTo>
                    <a:pt x="1124" y="558"/>
                  </a:lnTo>
                  <a:lnTo>
                    <a:pt x="1122" y="558"/>
                  </a:lnTo>
                  <a:lnTo>
                    <a:pt x="1119" y="558"/>
                  </a:lnTo>
                  <a:lnTo>
                    <a:pt x="1119" y="560"/>
                  </a:lnTo>
                  <a:lnTo>
                    <a:pt x="1122" y="560"/>
                  </a:lnTo>
                  <a:lnTo>
                    <a:pt x="1122" y="558"/>
                  </a:lnTo>
                  <a:lnTo>
                    <a:pt x="1122" y="560"/>
                  </a:lnTo>
                  <a:lnTo>
                    <a:pt x="1122" y="558"/>
                  </a:lnTo>
                  <a:lnTo>
                    <a:pt x="1124" y="558"/>
                  </a:lnTo>
                  <a:lnTo>
                    <a:pt x="1124" y="560"/>
                  </a:lnTo>
                  <a:lnTo>
                    <a:pt x="1122" y="560"/>
                  </a:lnTo>
                  <a:lnTo>
                    <a:pt x="1119" y="560"/>
                  </a:lnTo>
                  <a:lnTo>
                    <a:pt x="1122" y="560"/>
                  </a:lnTo>
                  <a:lnTo>
                    <a:pt x="1119" y="560"/>
                  </a:lnTo>
                  <a:lnTo>
                    <a:pt x="1119" y="563"/>
                  </a:lnTo>
                  <a:lnTo>
                    <a:pt x="1117" y="563"/>
                  </a:lnTo>
                  <a:lnTo>
                    <a:pt x="1117" y="565"/>
                  </a:lnTo>
                  <a:lnTo>
                    <a:pt x="1115" y="565"/>
                  </a:lnTo>
                  <a:lnTo>
                    <a:pt x="1112" y="565"/>
                  </a:lnTo>
                  <a:lnTo>
                    <a:pt x="1110" y="565"/>
                  </a:lnTo>
                  <a:lnTo>
                    <a:pt x="1110" y="563"/>
                  </a:lnTo>
                  <a:lnTo>
                    <a:pt x="1112" y="563"/>
                  </a:lnTo>
                  <a:lnTo>
                    <a:pt x="1112" y="560"/>
                  </a:lnTo>
                  <a:lnTo>
                    <a:pt x="1115" y="558"/>
                  </a:lnTo>
                  <a:lnTo>
                    <a:pt x="1117" y="558"/>
                  </a:lnTo>
                  <a:lnTo>
                    <a:pt x="1119" y="558"/>
                  </a:lnTo>
                  <a:lnTo>
                    <a:pt x="1122" y="558"/>
                  </a:lnTo>
                  <a:lnTo>
                    <a:pt x="1124" y="558"/>
                  </a:lnTo>
                  <a:close/>
                  <a:moveTo>
                    <a:pt x="1122" y="544"/>
                  </a:moveTo>
                  <a:lnTo>
                    <a:pt x="1122" y="546"/>
                  </a:lnTo>
                  <a:lnTo>
                    <a:pt x="1122" y="544"/>
                  </a:lnTo>
                  <a:close/>
                  <a:moveTo>
                    <a:pt x="1138" y="537"/>
                  </a:moveTo>
                  <a:lnTo>
                    <a:pt x="1138" y="539"/>
                  </a:lnTo>
                  <a:lnTo>
                    <a:pt x="1141" y="539"/>
                  </a:lnTo>
                  <a:lnTo>
                    <a:pt x="1138" y="541"/>
                  </a:lnTo>
                  <a:lnTo>
                    <a:pt x="1138" y="544"/>
                  </a:lnTo>
                  <a:lnTo>
                    <a:pt x="1136" y="541"/>
                  </a:lnTo>
                  <a:lnTo>
                    <a:pt x="1136" y="539"/>
                  </a:lnTo>
                  <a:lnTo>
                    <a:pt x="1136" y="541"/>
                  </a:lnTo>
                  <a:lnTo>
                    <a:pt x="1138" y="539"/>
                  </a:lnTo>
                  <a:lnTo>
                    <a:pt x="1138" y="541"/>
                  </a:lnTo>
                  <a:lnTo>
                    <a:pt x="1136" y="541"/>
                  </a:lnTo>
                  <a:lnTo>
                    <a:pt x="1138" y="541"/>
                  </a:lnTo>
                  <a:lnTo>
                    <a:pt x="1138" y="539"/>
                  </a:lnTo>
                  <a:lnTo>
                    <a:pt x="1138" y="537"/>
                  </a:lnTo>
                  <a:close/>
                  <a:moveTo>
                    <a:pt x="1138" y="539"/>
                  </a:moveTo>
                  <a:lnTo>
                    <a:pt x="1138" y="541"/>
                  </a:lnTo>
                  <a:lnTo>
                    <a:pt x="1138" y="539"/>
                  </a:lnTo>
                  <a:close/>
                  <a:moveTo>
                    <a:pt x="1136" y="544"/>
                  </a:moveTo>
                  <a:lnTo>
                    <a:pt x="1138" y="544"/>
                  </a:lnTo>
                  <a:lnTo>
                    <a:pt x="1138" y="546"/>
                  </a:lnTo>
                  <a:lnTo>
                    <a:pt x="1138" y="544"/>
                  </a:lnTo>
                  <a:lnTo>
                    <a:pt x="1138" y="546"/>
                  </a:lnTo>
                  <a:lnTo>
                    <a:pt x="1136" y="548"/>
                  </a:lnTo>
                  <a:lnTo>
                    <a:pt x="1134" y="548"/>
                  </a:lnTo>
                  <a:lnTo>
                    <a:pt x="1134" y="551"/>
                  </a:lnTo>
                  <a:lnTo>
                    <a:pt x="1131" y="551"/>
                  </a:lnTo>
                  <a:lnTo>
                    <a:pt x="1129" y="551"/>
                  </a:lnTo>
                  <a:lnTo>
                    <a:pt x="1129" y="553"/>
                  </a:lnTo>
                  <a:lnTo>
                    <a:pt x="1129" y="551"/>
                  </a:lnTo>
                  <a:lnTo>
                    <a:pt x="1131" y="551"/>
                  </a:lnTo>
                  <a:lnTo>
                    <a:pt x="1129" y="551"/>
                  </a:lnTo>
                  <a:lnTo>
                    <a:pt x="1129" y="553"/>
                  </a:lnTo>
                  <a:lnTo>
                    <a:pt x="1129" y="551"/>
                  </a:lnTo>
                  <a:lnTo>
                    <a:pt x="1129" y="553"/>
                  </a:lnTo>
                  <a:lnTo>
                    <a:pt x="1127" y="551"/>
                  </a:lnTo>
                  <a:lnTo>
                    <a:pt x="1127" y="553"/>
                  </a:lnTo>
                  <a:lnTo>
                    <a:pt x="1127" y="551"/>
                  </a:lnTo>
                  <a:lnTo>
                    <a:pt x="1127" y="548"/>
                  </a:lnTo>
                  <a:lnTo>
                    <a:pt x="1129" y="548"/>
                  </a:lnTo>
                  <a:lnTo>
                    <a:pt x="1129" y="546"/>
                  </a:lnTo>
                  <a:lnTo>
                    <a:pt x="1131" y="546"/>
                  </a:lnTo>
                  <a:lnTo>
                    <a:pt x="1131" y="544"/>
                  </a:lnTo>
                  <a:lnTo>
                    <a:pt x="1131" y="541"/>
                  </a:lnTo>
                  <a:lnTo>
                    <a:pt x="1131" y="544"/>
                  </a:lnTo>
                  <a:lnTo>
                    <a:pt x="1131" y="546"/>
                  </a:lnTo>
                  <a:lnTo>
                    <a:pt x="1129" y="546"/>
                  </a:lnTo>
                  <a:lnTo>
                    <a:pt x="1129" y="548"/>
                  </a:lnTo>
                  <a:lnTo>
                    <a:pt x="1127" y="548"/>
                  </a:lnTo>
                  <a:lnTo>
                    <a:pt x="1127" y="551"/>
                  </a:lnTo>
                  <a:lnTo>
                    <a:pt x="1127" y="553"/>
                  </a:lnTo>
                  <a:lnTo>
                    <a:pt x="1127" y="551"/>
                  </a:lnTo>
                  <a:lnTo>
                    <a:pt x="1127" y="553"/>
                  </a:lnTo>
                  <a:lnTo>
                    <a:pt x="1124" y="556"/>
                  </a:lnTo>
                  <a:lnTo>
                    <a:pt x="1122" y="556"/>
                  </a:lnTo>
                  <a:lnTo>
                    <a:pt x="1119" y="558"/>
                  </a:lnTo>
                  <a:lnTo>
                    <a:pt x="1117" y="558"/>
                  </a:lnTo>
                  <a:lnTo>
                    <a:pt x="1115" y="558"/>
                  </a:lnTo>
                  <a:lnTo>
                    <a:pt x="1112" y="558"/>
                  </a:lnTo>
                  <a:lnTo>
                    <a:pt x="1115" y="558"/>
                  </a:lnTo>
                  <a:lnTo>
                    <a:pt x="1117" y="558"/>
                  </a:lnTo>
                  <a:lnTo>
                    <a:pt x="1115" y="558"/>
                  </a:lnTo>
                  <a:lnTo>
                    <a:pt x="1112" y="558"/>
                  </a:lnTo>
                  <a:lnTo>
                    <a:pt x="1110" y="560"/>
                  </a:lnTo>
                  <a:lnTo>
                    <a:pt x="1112" y="558"/>
                  </a:lnTo>
                  <a:lnTo>
                    <a:pt x="1112" y="560"/>
                  </a:lnTo>
                  <a:lnTo>
                    <a:pt x="1110" y="560"/>
                  </a:lnTo>
                  <a:lnTo>
                    <a:pt x="1110" y="558"/>
                  </a:lnTo>
                  <a:lnTo>
                    <a:pt x="1112" y="558"/>
                  </a:lnTo>
                  <a:lnTo>
                    <a:pt x="1112" y="556"/>
                  </a:lnTo>
                  <a:lnTo>
                    <a:pt x="1115" y="556"/>
                  </a:lnTo>
                  <a:lnTo>
                    <a:pt x="1112" y="556"/>
                  </a:lnTo>
                  <a:lnTo>
                    <a:pt x="1115" y="556"/>
                  </a:lnTo>
                  <a:lnTo>
                    <a:pt x="1115" y="553"/>
                  </a:lnTo>
                  <a:lnTo>
                    <a:pt x="1117" y="553"/>
                  </a:lnTo>
                  <a:lnTo>
                    <a:pt x="1119" y="553"/>
                  </a:lnTo>
                  <a:lnTo>
                    <a:pt x="1117" y="553"/>
                  </a:lnTo>
                  <a:lnTo>
                    <a:pt x="1117" y="551"/>
                  </a:lnTo>
                  <a:lnTo>
                    <a:pt x="1119" y="551"/>
                  </a:lnTo>
                  <a:lnTo>
                    <a:pt x="1122" y="551"/>
                  </a:lnTo>
                  <a:lnTo>
                    <a:pt x="1119" y="551"/>
                  </a:lnTo>
                  <a:lnTo>
                    <a:pt x="1122" y="551"/>
                  </a:lnTo>
                  <a:lnTo>
                    <a:pt x="1122" y="548"/>
                  </a:lnTo>
                  <a:lnTo>
                    <a:pt x="1122" y="546"/>
                  </a:lnTo>
                  <a:lnTo>
                    <a:pt x="1124" y="546"/>
                  </a:lnTo>
                  <a:lnTo>
                    <a:pt x="1122" y="544"/>
                  </a:lnTo>
                  <a:lnTo>
                    <a:pt x="1124" y="544"/>
                  </a:lnTo>
                  <a:lnTo>
                    <a:pt x="1124" y="541"/>
                  </a:lnTo>
                  <a:lnTo>
                    <a:pt x="1127" y="541"/>
                  </a:lnTo>
                  <a:lnTo>
                    <a:pt x="1127" y="544"/>
                  </a:lnTo>
                  <a:lnTo>
                    <a:pt x="1127" y="541"/>
                  </a:lnTo>
                  <a:lnTo>
                    <a:pt x="1129" y="541"/>
                  </a:lnTo>
                  <a:lnTo>
                    <a:pt x="1131" y="541"/>
                  </a:lnTo>
                  <a:lnTo>
                    <a:pt x="1129" y="541"/>
                  </a:lnTo>
                  <a:lnTo>
                    <a:pt x="1131" y="541"/>
                  </a:lnTo>
                  <a:lnTo>
                    <a:pt x="1131" y="539"/>
                  </a:lnTo>
                  <a:lnTo>
                    <a:pt x="1134" y="539"/>
                  </a:lnTo>
                  <a:lnTo>
                    <a:pt x="1131" y="541"/>
                  </a:lnTo>
                  <a:lnTo>
                    <a:pt x="1134" y="541"/>
                  </a:lnTo>
                  <a:lnTo>
                    <a:pt x="1131" y="541"/>
                  </a:lnTo>
                  <a:lnTo>
                    <a:pt x="1134" y="541"/>
                  </a:lnTo>
                  <a:lnTo>
                    <a:pt x="1131" y="541"/>
                  </a:lnTo>
                  <a:lnTo>
                    <a:pt x="1134" y="541"/>
                  </a:lnTo>
                  <a:lnTo>
                    <a:pt x="1134" y="539"/>
                  </a:lnTo>
                  <a:lnTo>
                    <a:pt x="1134" y="541"/>
                  </a:lnTo>
                  <a:lnTo>
                    <a:pt x="1134" y="544"/>
                  </a:lnTo>
                  <a:lnTo>
                    <a:pt x="1134" y="541"/>
                  </a:lnTo>
                  <a:lnTo>
                    <a:pt x="1134" y="544"/>
                  </a:lnTo>
                  <a:lnTo>
                    <a:pt x="1131" y="544"/>
                  </a:lnTo>
                  <a:lnTo>
                    <a:pt x="1134" y="544"/>
                  </a:lnTo>
                  <a:lnTo>
                    <a:pt x="1134" y="546"/>
                  </a:lnTo>
                  <a:lnTo>
                    <a:pt x="1131" y="546"/>
                  </a:lnTo>
                  <a:lnTo>
                    <a:pt x="1134" y="546"/>
                  </a:lnTo>
                  <a:lnTo>
                    <a:pt x="1134" y="544"/>
                  </a:lnTo>
                  <a:lnTo>
                    <a:pt x="1131" y="544"/>
                  </a:lnTo>
                  <a:lnTo>
                    <a:pt x="1134" y="544"/>
                  </a:lnTo>
                  <a:lnTo>
                    <a:pt x="1134" y="541"/>
                  </a:lnTo>
                  <a:lnTo>
                    <a:pt x="1134" y="539"/>
                  </a:lnTo>
                  <a:lnTo>
                    <a:pt x="1134" y="541"/>
                  </a:lnTo>
                  <a:lnTo>
                    <a:pt x="1134" y="544"/>
                  </a:lnTo>
                  <a:lnTo>
                    <a:pt x="1134" y="541"/>
                  </a:lnTo>
                  <a:lnTo>
                    <a:pt x="1136" y="541"/>
                  </a:lnTo>
                  <a:lnTo>
                    <a:pt x="1134" y="541"/>
                  </a:lnTo>
                  <a:lnTo>
                    <a:pt x="1134" y="539"/>
                  </a:lnTo>
                  <a:lnTo>
                    <a:pt x="1134" y="541"/>
                  </a:lnTo>
                  <a:lnTo>
                    <a:pt x="1136" y="541"/>
                  </a:lnTo>
                  <a:lnTo>
                    <a:pt x="1136" y="539"/>
                  </a:lnTo>
                  <a:lnTo>
                    <a:pt x="1136" y="537"/>
                  </a:lnTo>
                  <a:lnTo>
                    <a:pt x="1136" y="539"/>
                  </a:lnTo>
                  <a:lnTo>
                    <a:pt x="1138" y="539"/>
                  </a:lnTo>
                  <a:lnTo>
                    <a:pt x="1136" y="539"/>
                  </a:lnTo>
                  <a:lnTo>
                    <a:pt x="1136" y="541"/>
                  </a:lnTo>
                  <a:lnTo>
                    <a:pt x="1136" y="544"/>
                  </a:lnTo>
                  <a:close/>
                  <a:moveTo>
                    <a:pt x="1134" y="544"/>
                  </a:moveTo>
                  <a:lnTo>
                    <a:pt x="1131" y="544"/>
                  </a:lnTo>
                  <a:lnTo>
                    <a:pt x="1134" y="544"/>
                  </a:lnTo>
                  <a:close/>
                  <a:moveTo>
                    <a:pt x="1127" y="544"/>
                  </a:moveTo>
                  <a:lnTo>
                    <a:pt x="1124" y="544"/>
                  </a:lnTo>
                  <a:lnTo>
                    <a:pt x="1127" y="544"/>
                  </a:lnTo>
                  <a:lnTo>
                    <a:pt x="1124" y="544"/>
                  </a:lnTo>
                  <a:lnTo>
                    <a:pt x="1127" y="544"/>
                  </a:lnTo>
                  <a:lnTo>
                    <a:pt x="1127" y="546"/>
                  </a:lnTo>
                  <a:lnTo>
                    <a:pt x="1127" y="544"/>
                  </a:lnTo>
                  <a:close/>
                  <a:moveTo>
                    <a:pt x="1124" y="546"/>
                  </a:moveTo>
                  <a:lnTo>
                    <a:pt x="1127" y="546"/>
                  </a:lnTo>
                  <a:lnTo>
                    <a:pt x="1124" y="546"/>
                  </a:lnTo>
                  <a:close/>
                  <a:moveTo>
                    <a:pt x="1117" y="553"/>
                  </a:moveTo>
                  <a:lnTo>
                    <a:pt x="1117" y="556"/>
                  </a:lnTo>
                  <a:lnTo>
                    <a:pt x="1115" y="556"/>
                  </a:lnTo>
                  <a:lnTo>
                    <a:pt x="1117" y="556"/>
                  </a:lnTo>
                  <a:lnTo>
                    <a:pt x="1119" y="556"/>
                  </a:lnTo>
                  <a:lnTo>
                    <a:pt x="1117" y="556"/>
                  </a:lnTo>
                  <a:lnTo>
                    <a:pt x="1117" y="553"/>
                  </a:lnTo>
                  <a:lnTo>
                    <a:pt x="1119" y="553"/>
                  </a:lnTo>
                  <a:lnTo>
                    <a:pt x="1117" y="553"/>
                  </a:lnTo>
                  <a:close/>
                  <a:moveTo>
                    <a:pt x="1117" y="544"/>
                  </a:moveTo>
                  <a:lnTo>
                    <a:pt x="1119" y="544"/>
                  </a:lnTo>
                  <a:lnTo>
                    <a:pt x="1117" y="544"/>
                  </a:lnTo>
                  <a:lnTo>
                    <a:pt x="1119" y="544"/>
                  </a:lnTo>
                  <a:lnTo>
                    <a:pt x="1119" y="541"/>
                  </a:lnTo>
                  <a:lnTo>
                    <a:pt x="1119" y="544"/>
                  </a:lnTo>
                  <a:lnTo>
                    <a:pt x="1117" y="544"/>
                  </a:lnTo>
                  <a:lnTo>
                    <a:pt x="1117" y="546"/>
                  </a:lnTo>
                  <a:lnTo>
                    <a:pt x="1119" y="546"/>
                  </a:lnTo>
                  <a:lnTo>
                    <a:pt x="1117" y="546"/>
                  </a:lnTo>
                  <a:lnTo>
                    <a:pt x="1119" y="546"/>
                  </a:lnTo>
                  <a:lnTo>
                    <a:pt x="1117" y="546"/>
                  </a:lnTo>
                  <a:lnTo>
                    <a:pt x="1119" y="544"/>
                  </a:lnTo>
                  <a:lnTo>
                    <a:pt x="1122" y="544"/>
                  </a:lnTo>
                  <a:lnTo>
                    <a:pt x="1119" y="544"/>
                  </a:lnTo>
                  <a:lnTo>
                    <a:pt x="1122" y="546"/>
                  </a:lnTo>
                  <a:lnTo>
                    <a:pt x="1119" y="546"/>
                  </a:lnTo>
                  <a:lnTo>
                    <a:pt x="1119" y="548"/>
                  </a:lnTo>
                  <a:lnTo>
                    <a:pt x="1122" y="548"/>
                  </a:lnTo>
                  <a:lnTo>
                    <a:pt x="1122" y="551"/>
                  </a:lnTo>
                  <a:lnTo>
                    <a:pt x="1119" y="551"/>
                  </a:lnTo>
                  <a:lnTo>
                    <a:pt x="1117" y="551"/>
                  </a:lnTo>
                  <a:lnTo>
                    <a:pt x="1117" y="553"/>
                  </a:lnTo>
                  <a:lnTo>
                    <a:pt x="1115" y="553"/>
                  </a:lnTo>
                  <a:lnTo>
                    <a:pt x="1112" y="553"/>
                  </a:lnTo>
                  <a:lnTo>
                    <a:pt x="1112" y="551"/>
                  </a:lnTo>
                  <a:lnTo>
                    <a:pt x="1110" y="551"/>
                  </a:lnTo>
                  <a:lnTo>
                    <a:pt x="1112" y="551"/>
                  </a:lnTo>
                  <a:lnTo>
                    <a:pt x="1112" y="548"/>
                  </a:lnTo>
                  <a:lnTo>
                    <a:pt x="1115" y="548"/>
                  </a:lnTo>
                  <a:lnTo>
                    <a:pt x="1112" y="548"/>
                  </a:lnTo>
                  <a:lnTo>
                    <a:pt x="1112" y="551"/>
                  </a:lnTo>
                  <a:lnTo>
                    <a:pt x="1110" y="551"/>
                  </a:lnTo>
                  <a:lnTo>
                    <a:pt x="1112" y="551"/>
                  </a:lnTo>
                  <a:lnTo>
                    <a:pt x="1112" y="553"/>
                  </a:lnTo>
                  <a:lnTo>
                    <a:pt x="1112" y="556"/>
                  </a:lnTo>
                  <a:lnTo>
                    <a:pt x="1112" y="558"/>
                  </a:lnTo>
                  <a:lnTo>
                    <a:pt x="1110" y="558"/>
                  </a:lnTo>
                  <a:lnTo>
                    <a:pt x="1110" y="556"/>
                  </a:lnTo>
                  <a:lnTo>
                    <a:pt x="1108" y="556"/>
                  </a:lnTo>
                  <a:lnTo>
                    <a:pt x="1105" y="556"/>
                  </a:lnTo>
                  <a:lnTo>
                    <a:pt x="1103" y="556"/>
                  </a:lnTo>
                  <a:lnTo>
                    <a:pt x="1101" y="553"/>
                  </a:lnTo>
                  <a:lnTo>
                    <a:pt x="1103" y="553"/>
                  </a:lnTo>
                  <a:lnTo>
                    <a:pt x="1103" y="551"/>
                  </a:lnTo>
                  <a:lnTo>
                    <a:pt x="1105" y="551"/>
                  </a:lnTo>
                  <a:lnTo>
                    <a:pt x="1103" y="551"/>
                  </a:lnTo>
                  <a:lnTo>
                    <a:pt x="1101" y="551"/>
                  </a:lnTo>
                  <a:lnTo>
                    <a:pt x="1103" y="548"/>
                  </a:lnTo>
                  <a:lnTo>
                    <a:pt x="1103" y="546"/>
                  </a:lnTo>
                  <a:lnTo>
                    <a:pt x="1103" y="548"/>
                  </a:lnTo>
                  <a:lnTo>
                    <a:pt x="1103" y="546"/>
                  </a:lnTo>
                  <a:lnTo>
                    <a:pt x="1105" y="546"/>
                  </a:lnTo>
                  <a:lnTo>
                    <a:pt x="1105" y="544"/>
                  </a:lnTo>
                  <a:lnTo>
                    <a:pt x="1108" y="544"/>
                  </a:lnTo>
                  <a:lnTo>
                    <a:pt x="1105" y="544"/>
                  </a:lnTo>
                  <a:lnTo>
                    <a:pt x="1108" y="544"/>
                  </a:lnTo>
                  <a:lnTo>
                    <a:pt x="1108" y="541"/>
                  </a:lnTo>
                  <a:lnTo>
                    <a:pt x="1108" y="544"/>
                  </a:lnTo>
                  <a:lnTo>
                    <a:pt x="1108" y="541"/>
                  </a:lnTo>
                  <a:lnTo>
                    <a:pt x="1110" y="541"/>
                  </a:lnTo>
                  <a:lnTo>
                    <a:pt x="1110" y="544"/>
                  </a:lnTo>
                  <a:lnTo>
                    <a:pt x="1108" y="544"/>
                  </a:lnTo>
                  <a:lnTo>
                    <a:pt x="1110" y="541"/>
                  </a:lnTo>
                  <a:lnTo>
                    <a:pt x="1108" y="541"/>
                  </a:lnTo>
                  <a:lnTo>
                    <a:pt x="1110" y="541"/>
                  </a:lnTo>
                  <a:lnTo>
                    <a:pt x="1110" y="544"/>
                  </a:lnTo>
                  <a:lnTo>
                    <a:pt x="1108" y="544"/>
                  </a:lnTo>
                  <a:lnTo>
                    <a:pt x="1108" y="546"/>
                  </a:lnTo>
                  <a:lnTo>
                    <a:pt x="1110" y="546"/>
                  </a:lnTo>
                  <a:lnTo>
                    <a:pt x="1108" y="546"/>
                  </a:lnTo>
                  <a:lnTo>
                    <a:pt x="1110" y="546"/>
                  </a:lnTo>
                  <a:lnTo>
                    <a:pt x="1108" y="546"/>
                  </a:lnTo>
                  <a:lnTo>
                    <a:pt x="1108" y="544"/>
                  </a:lnTo>
                  <a:lnTo>
                    <a:pt x="1110" y="544"/>
                  </a:lnTo>
                  <a:lnTo>
                    <a:pt x="1110" y="541"/>
                  </a:lnTo>
                  <a:lnTo>
                    <a:pt x="1108" y="541"/>
                  </a:lnTo>
                  <a:lnTo>
                    <a:pt x="1108" y="539"/>
                  </a:lnTo>
                  <a:lnTo>
                    <a:pt x="1110" y="539"/>
                  </a:lnTo>
                  <a:lnTo>
                    <a:pt x="1112" y="539"/>
                  </a:lnTo>
                  <a:lnTo>
                    <a:pt x="1115" y="539"/>
                  </a:lnTo>
                  <a:lnTo>
                    <a:pt x="1115" y="537"/>
                  </a:lnTo>
                  <a:lnTo>
                    <a:pt x="1115" y="539"/>
                  </a:lnTo>
                  <a:lnTo>
                    <a:pt x="1117" y="539"/>
                  </a:lnTo>
                  <a:lnTo>
                    <a:pt x="1115" y="537"/>
                  </a:lnTo>
                  <a:lnTo>
                    <a:pt x="1117" y="537"/>
                  </a:lnTo>
                  <a:lnTo>
                    <a:pt x="1117" y="539"/>
                  </a:lnTo>
                  <a:lnTo>
                    <a:pt x="1117" y="537"/>
                  </a:lnTo>
                  <a:lnTo>
                    <a:pt x="1117" y="539"/>
                  </a:lnTo>
                  <a:lnTo>
                    <a:pt x="1117" y="541"/>
                  </a:lnTo>
                  <a:lnTo>
                    <a:pt x="1119" y="541"/>
                  </a:lnTo>
                  <a:lnTo>
                    <a:pt x="1117" y="544"/>
                  </a:lnTo>
                  <a:close/>
                  <a:moveTo>
                    <a:pt x="1112" y="541"/>
                  </a:moveTo>
                  <a:lnTo>
                    <a:pt x="1112" y="544"/>
                  </a:lnTo>
                  <a:lnTo>
                    <a:pt x="1112" y="541"/>
                  </a:lnTo>
                  <a:close/>
                  <a:moveTo>
                    <a:pt x="1112" y="541"/>
                  </a:moveTo>
                  <a:lnTo>
                    <a:pt x="1112" y="544"/>
                  </a:lnTo>
                  <a:lnTo>
                    <a:pt x="1112" y="541"/>
                  </a:lnTo>
                  <a:close/>
                  <a:moveTo>
                    <a:pt x="1112" y="541"/>
                  </a:moveTo>
                  <a:lnTo>
                    <a:pt x="1115" y="541"/>
                  </a:lnTo>
                  <a:lnTo>
                    <a:pt x="1112" y="541"/>
                  </a:lnTo>
                  <a:close/>
                  <a:moveTo>
                    <a:pt x="1115" y="539"/>
                  </a:moveTo>
                  <a:lnTo>
                    <a:pt x="1115" y="541"/>
                  </a:lnTo>
                  <a:lnTo>
                    <a:pt x="1115" y="539"/>
                  </a:lnTo>
                  <a:close/>
                  <a:moveTo>
                    <a:pt x="1112" y="546"/>
                  </a:moveTo>
                  <a:lnTo>
                    <a:pt x="1112" y="544"/>
                  </a:lnTo>
                  <a:lnTo>
                    <a:pt x="1112" y="546"/>
                  </a:lnTo>
                  <a:close/>
                  <a:moveTo>
                    <a:pt x="1110" y="548"/>
                  </a:moveTo>
                  <a:lnTo>
                    <a:pt x="1110" y="551"/>
                  </a:lnTo>
                  <a:lnTo>
                    <a:pt x="1110" y="548"/>
                  </a:lnTo>
                  <a:lnTo>
                    <a:pt x="1110" y="546"/>
                  </a:lnTo>
                  <a:lnTo>
                    <a:pt x="1112" y="546"/>
                  </a:lnTo>
                  <a:lnTo>
                    <a:pt x="1110" y="546"/>
                  </a:lnTo>
                  <a:lnTo>
                    <a:pt x="1110" y="548"/>
                  </a:lnTo>
                  <a:close/>
                  <a:moveTo>
                    <a:pt x="1115" y="546"/>
                  </a:moveTo>
                  <a:lnTo>
                    <a:pt x="1115" y="548"/>
                  </a:lnTo>
                  <a:lnTo>
                    <a:pt x="1115" y="546"/>
                  </a:lnTo>
                  <a:close/>
                  <a:moveTo>
                    <a:pt x="1105" y="551"/>
                  </a:moveTo>
                  <a:lnTo>
                    <a:pt x="1103" y="551"/>
                  </a:lnTo>
                  <a:lnTo>
                    <a:pt x="1105" y="551"/>
                  </a:lnTo>
                  <a:close/>
                  <a:moveTo>
                    <a:pt x="1105" y="551"/>
                  </a:moveTo>
                  <a:lnTo>
                    <a:pt x="1105" y="553"/>
                  </a:lnTo>
                  <a:lnTo>
                    <a:pt x="1105" y="551"/>
                  </a:lnTo>
                  <a:lnTo>
                    <a:pt x="1105" y="553"/>
                  </a:lnTo>
                  <a:lnTo>
                    <a:pt x="1105" y="551"/>
                  </a:lnTo>
                  <a:lnTo>
                    <a:pt x="1105" y="553"/>
                  </a:lnTo>
                  <a:lnTo>
                    <a:pt x="1105" y="551"/>
                  </a:lnTo>
                  <a:close/>
                  <a:moveTo>
                    <a:pt x="1108" y="553"/>
                  </a:moveTo>
                  <a:lnTo>
                    <a:pt x="1105" y="553"/>
                  </a:lnTo>
                  <a:lnTo>
                    <a:pt x="1108" y="553"/>
                  </a:lnTo>
                  <a:close/>
                  <a:moveTo>
                    <a:pt x="1112" y="556"/>
                  </a:moveTo>
                  <a:lnTo>
                    <a:pt x="1110" y="556"/>
                  </a:lnTo>
                  <a:lnTo>
                    <a:pt x="1110" y="558"/>
                  </a:lnTo>
                  <a:lnTo>
                    <a:pt x="1110" y="556"/>
                  </a:lnTo>
                  <a:lnTo>
                    <a:pt x="1112" y="556"/>
                  </a:lnTo>
                  <a:lnTo>
                    <a:pt x="1112" y="553"/>
                  </a:lnTo>
                  <a:lnTo>
                    <a:pt x="1112" y="556"/>
                  </a:lnTo>
                  <a:close/>
                  <a:moveTo>
                    <a:pt x="1129" y="539"/>
                  </a:moveTo>
                  <a:lnTo>
                    <a:pt x="1127" y="539"/>
                  </a:lnTo>
                  <a:lnTo>
                    <a:pt x="1129" y="539"/>
                  </a:lnTo>
                  <a:lnTo>
                    <a:pt x="1131" y="539"/>
                  </a:lnTo>
                  <a:lnTo>
                    <a:pt x="1129" y="539"/>
                  </a:lnTo>
                  <a:lnTo>
                    <a:pt x="1129" y="541"/>
                  </a:lnTo>
                  <a:lnTo>
                    <a:pt x="1127" y="541"/>
                  </a:lnTo>
                  <a:lnTo>
                    <a:pt x="1124" y="541"/>
                  </a:lnTo>
                  <a:lnTo>
                    <a:pt x="1127" y="541"/>
                  </a:lnTo>
                  <a:lnTo>
                    <a:pt x="1124" y="541"/>
                  </a:lnTo>
                  <a:lnTo>
                    <a:pt x="1124" y="539"/>
                  </a:lnTo>
                  <a:lnTo>
                    <a:pt x="1124" y="541"/>
                  </a:lnTo>
                  <a:lnTo>
                    <a:pt x="1122" y="541"/>
                  </a:lnTo>
                  <a:lnTo>
                    <a:pt x="1122" y="539"/>
                  </a:lnTo>
                  <a:lnTo>
                    <a:pt x="1124" y="537"/>
                  </a:lnTo>
                  <a:lnTo>
                    <a:pt x="1127" y="537"/>
                  </a:lnTo>
                  <a:lnTo>
                    <a:pt x="1124" y="537"/>
                  </a:lnTo>
                  <a:lnTo>
                    <a:pt x="1124" y="539"/>
                  </a:lnTo>
                  <a:lnTo>
                    <a:pt x="1127" y="539"/>
                  </a:lnTo>
                  <a:lnTo>
                    <a:pt x="1124" y="539"/>
                  </a:lnTo>
                  <a:lnTo>
                    <a:pt x="1127" y="539"/>
                  </a:lnTo>
                  <a:lnTo>
                    <a:pt x="1127" y="537"/>
                  </a:lnTo>
                  <a:lnTo>
                    <a:pt x="1127" y="539"/>
                  </a:lnTo>
                  <a:lnTo>
                    <a:pt x="1129" y="539"/>
                  </a:lnTo>
                  <a:lnTo>
                    <a:pt x="1127" y="539"/>
                  </a:lnTo>
                  <a:lnTo>
                    <a:pt x="1129" y="539"/>
                  </a:lnTo>
                  <a:close/>
                  <a:moveTo>
                    <a:pt x="1124" y="539"/>
                  </a:moveTo>
                  <a:lnTo>
                    <a:pt x="1127" y="539"/>
                  </a:lnTo>
                  <a:lnTo>
                    <a:pt x="1124" y="539"/>
                  </a:lnTo>
                  <a:lnTo>
                    <a:pt x="1127" y="539"/>
                  </a:lnTo>
                  <a:lnTo>
                    <a:pt x="1124" y="539"/>
                  </a:lnTo>
                  <a:close/>
                  <a:moveTo>
                    <a:pt x="1119" y="539"/>
                  </a:moveTo>
                  <a:lnTo>
                    <a:pt x="1119" y="537"/>
                  </a:lnTo>
                  <a:lnTo>
                    <a:pt x="1122" y="537"/>
                  </a:lnTo>
                  <a:lnTo>
                    <a:pt x="1122" y="539"/>
                  </a:lnTo>
                  <a:lnTo>
                    <a:pt x="1122" y="537"/>
                  </a:lnTo>
                  <a:lnTo>
                    <a:pt x="1122" y="539"/>
                  </a:lnTo>
                  <a:lnTo>
                    <a:pt x="1124" y="537"/>
                  </a:lnTo>
                  <a:lnTo>
                    <a:pt x="1122" y="539"/>
                  </a:lnTo>
                  <a:lnTo>
                    <a:pt x="1122" y="541"/>
                  </a:lnTo>
                  <a:lnTo>
                    <a:pt x="1124" y="541"/>
                  </a:lnTo>
                  <a:lnTo>
                    <a:pt x="1124" y="544"/>
                  </a:lnTo>
                  <a:lnTo>
                    <a:pt x="1122" y="544"/>
                  </a:lnTo>
                  <a:lnTo>
                    <a:pt x="1124" y="544"/>
                  </a:lnTo>
                  <a:lnTo>
                    <a:pt x="1122" y="544"/>
                  </a:lnTo>
                  <a:lnTo>
                    <a:pt x="1122" y="546"/>
                  </a:lnTo>
                  <a:lnTo>
                    <a:pt x="1119" y="544"/>
                  </a:lnTo>
                  <a:lnTo>
                    <a:pt x="1122" y="544"/>
                  </a:lnTo>
                  <a:lnTo>
                    <a:pt x="1119" y="544"/>
                  </a:lnTo>
                  <a:lnTo>
                    <a:pt x="1119" y="541"/>
                  </a:lnTo>
                  <a:lnTo>
                    <a:pt x="1117" y="541"/>
                  </a:lnTo>
                  <a:lnTo>
                    <a:pt x="1119" y="539"/>
                  </a:lnTo>
                  <a:lnTo>
                    <a:pt x="1119" y="541"/>
                  </a:lnTo>
                  <a:lnTo>
                    <a:pt x="1119" y="539"/>
                  </a:lnTo>
                  <a:close/>
                  <a:moveTo>
                    <a:pt x="1119" y="537"/>
                  </a:moveTo>
                  <a:lnTo>
                    <a:pt x="1119" y="539"/>
                  </a:lnTo>
                  <a:lnTo>
                    <a:pt x="1117" y="541"/>
                  </a:lnTo>
                  <a:lnTo>
                    <a:pt x="1117" y="539"/>
                  </a:lnTo>
                  <a:lnTo>
                    <a:pt x="1117" y="537"/>
                  </a:lnTo>
                  <a:lnTo>
                    <a:pt x="1119" y="537"/>
                  </a:lnTo>
                  <a:lnTo>
                    <a:pt x="1117" y="537"/>
                  </a:lnTo>
                  <a:lnTo>
                    <a:pt x="1119" y="539"/>
                  </a:lnTo>
                  <a:lnTo>
                    <a:pt x="1119" y="537"/>
                  </a:lnTo>
                  <a:lnTo>
                    <a:pt x="1119" y="539"/>
                  </a:lnTo>
                  <a:lnTo>
                    <a:pt x="1119" y="537"/>
                  </a:lnTo>
                  <a:close/>
                  <a:moveTo>
                    <a:pt x="1129" y="537"/>
                  </a:moveTo>
                  <a:lnTo>
                    <a:pt x="1131" y="537"/>
                  </a:lnTo>
                  <a:lnTo>
                    <a:pt x="1131" y="539"/>
                  </a:lnTo>
                  <a:lnTo>
                    <a:pt x="1129" y="539"/>
                  </a:lnTo>
                  <a:lnTo>
                    <a:pt x="1129" y="537"/>
                  </a:lnTo>
                  <a:close/>
                  <a:moveTo>
                    <a:pt x="1146" y="534"/>
                  </a:moveTo>
                  <a:lnTo>
                    <a:pt x="1143" y="534"/>
                  </a:lnTo>
                  <a:lnTo>
                    <a:pt x="1146" y="534"/>
                  </a:lnTo>
                  <a:lnTo>
                    <a:pt x="1146" y="537"/>
                  </a:lnTo>
                  <a:lnTo>
                    <a:pt x="1143" y="537"/>
                  </a:lnTo>
                  <a:lnTo>
                    <a:pt x="1141" y="537"/>
                  </a:lnTo>
                  <a:lnTo>
                    <a:pt x="1141" y="534"/>
                  </a:lnTo>
                  <a:lnTo>
                    <a:pt x="1143" y="534"/>
                  </a:lnTo>
                  <a:lnTo>
                    <a:pt x="1146" y="534"/>
                  </a:lnTo>
                  <a:close/>
                  <a:moveTo>
                    <a:pt x="1143" y="534"/>
                  </a:moveTo>
                  <a:lnTo>
                    <a:pt x="1141" y="534"/>
                  </a:lnTo>
                  <a:lnTo>
                    <a:pt x="1141" y="537"/>
                  </a:lnTo>
                  <a:lnTo>
                    <a:pt x="1141" y="534"/>
                  </a:lnTo>
                  <a:lnTo>
                    <a:pt x="1143" y="534"/>
                  </a:lnTo>
                  <a:lnTo>
                    <a:pt x="1143" y="532"/>
                  </a:lnTo>
                  <a:lnTo>
                    <a:pt x="1146" y="532"/>
                  </a:lnTo>
                  <a:lnTo>
                    <a:pt x="1143" y="534"/>
                  </a:lnTo>
                  <a:lnTo>
                    <a:pt x="1146" y="534"/>
                  </a:lnTo>
                  <a:lnTo>
                    <a:pt x="1143" y="534"/>
                  </a:lnTo>
                  <a:close/>
                  <a:moveTo>
                    <a:pt x="1079" y="525"/>
                  </a:moveTo>
                  <a:lnTo>
                    <a:pt x="1082" y="525"/>
                  </a:lnTo>
                  <a:lnTo>
                    <a:pt x="1079" y="525"/>
                  </a:lnTo>
                  <a:close/>
                  <a:moveTo>
                    <a:pt x="1302" y="515"/>
                  </a:moveTo>
                  <a:lnTo>
                    <a:pt x="1305" y="515"/>
                  </a:lnTo>
                  <a:lnTo>
                    <a:pt x="1302" y="515"/>
                  </a:lnTo>
                  <a:lnTo>
                    <a:pt x="1305" y="515"/>
                  </a:lnTo>
                  <a:lnTo>
                    <a:pt x="1302" y="515"/>
                  </a:lnTo>
                  <a:lnTo>
                    <a:pt x="1305" y="515"/>
                  </a:lnTo>
                  <a:lnTo>
                    <a:pt x="1302" y="515"/>
                  </a:lnTo>
                  <a:lnTo>
                    <a:pt x="1302" y="518"/>
                  </a:lnTo>
                  <a:lnTo>
                    <a:pt x="1302" y="515"/>
                  </a:lnTo>
                  <a:lnTo>
                    <a:pt x="1302" y="518"/>
                  </a:lnTo>
                  <a:lnTo>
                    <a:pt x="1302" y="515"/>
                  </a:lnTo>
                  <a:close/>
                  <a:moveTo>
                    <a:pt x="1302" y="515"/>
                  </a:moveTo>
                  <a:lnTo>
                    <a:pt x="1305" y="515"/>
                  </a:lnTo>
                  <a:lnTo>
                    <a:pt x="1302" y="515"/>
                  </a:lnTo>
                  <a:close/>
                  <a:moveTo>
                    <a:pt x="1319" y="499"/>
                  </a:moveTo>
                  <a:lnTo>
                    <a:pt x="1319" y="501"/>
                  </a:lnTo>
                  <a:lnTo>
                    <a:pt x="1319" y="499"/>
                  </a:lnTo>
                  <a:lnTo>
                    <a:pt x="1319" y="501"/>
                  </a:lnTo>
                  <a:lnTo>
                    <a:pt x="1319" y="499"/>
                  </a:lnTo>
                  <a:close/>
                  <a:moveTo>
                    <a:pt x="1316" y="499"/>
                  </a:moveTo>
                  <a:lnTo>
                    <a:pt x="1314" y="499"/>
                  </a:lnTo>
                  <a:lnTo>
                    <a:pt x="1316" y="499"/>
                  </a:lnTo>
                  <a:close/>
                  <a:moveTo>
                    <a:pt x="1001" y="491"/>
                  </a:moveTo>
                  <a:lnTo>
                    <a:pt x="1001" y="494"/>
                  </a:lnTo>
                  <a:lnTo>
                    <a:pt x="1001" y="491"/>
                  </a:lnTo>
                  <a:lnTo>
                    <a:pt x="1001" y="494"/>
                  </a:lnTo>
                  <a:lnTo>
                    <a:pt x="1001" y="491"/>
                  </a:lnTo>
                  <a:lnTo>
                    <a:pt x="998" y="491"/>
                  </a:lnTo>
                  <a:lnTo>
                    <a:pt x="1001" y="491"/>
                  </a:lnTo>
                  <a:close/>
                  <a:moveTo>
                    <a:pt x="1001" y="491"/>
                  </a:moveTo>
                  <a:lnTo>
                    <a:pt x="1003" y="491"/>
                  </a:lnTo>
                  <a:lnTo>
                    <a:pt x="1003" y="494"/>
                  </a:lnTo>
                  <a:lnTo>
                    <a:pt x="1001" y="494"/>
                  </a:lnTo>
                  <a:lnTo>
                    <a:pt x="1001" y="491"/>
                  </a:lnTo>
                  <a:lnTo>
                    <a:pt x="1001" y="494"/>
                  </a:lnTo>
                  <a:lnTo>
                    <a:pt x="1003" y="491"/>
                  </a:lnTo>
                  <a:lnTo>
                    <a:pt x="1001" y="491"/>
                  </a:lnTo>
                  <a:lnTo>
                    <a:pt x="1003" y="491"/>
                  </a:lnTo>
                  <a:lnTo>
                    <a:pt x="1001" y="491"/>
                  </a:lnTo>
                  <a:close/>
                  <a:moveTo>
                    <a:pt x="1001" y="491"/>
                  </a:moveTo>
                  <a:lnTo>
                    <a:pt x="998" y="491"/>
                  </a:lnTo>
                  <a:lnTo>
                    <a:pt x="1001" y="491"/>
                  </a:lnTo>
                  <a:close/>
                  <a:moveTo>
                    <a:pt x="1485" y="487"/>
                  </a:moveTo>
                  <a:lnTo>
                    <a:pt x="1487" y="487"/>
                  </a:lnTo>
                  <a:lnTo>
                    <a:pt x="1485" y="487"/>
                  </a:lnTo>
                  <a:lnTo>
                    <a:pt x="1485" y="489"/>
                  </a:lnTo>
                  <a:lnTo>
                    <a:pt x="1483" y="489"/>
                  </a:lnTo>
                  <a:lnTo>
                    <a:pt x="1480" y="489"/>
                  </a:lnTo>
                  <a:lnTo>
                    <a:pt x="1483" y="489"/>
                  </a:lnTo>
                  <a:lnTo>
                    <a:pt x="1483" y="487"/>
                  </a:lnTo>
                  <a:lnTo>
                    <a:pt x="1485" y="487"/>
                  </a:lnTo>
                  <a:close/>
                  <a:moveTo>
                    <a:pt x="424" y="465"/>
                  </a:moveTo>
                  <a:lnTo>
                    <a:pt x="422" y="465"/>
                  </a:lnTo>
                  <a:lnTo>
                    <a:pt x="422" y="468"/>
                  </a:lnTo>
                  <a:lnTo>
                    <a:pt x="420" y="468"/>
                  </a:lnTo>
                  <a:lnTo>
                    <a:pt x="420" y="465"/>
                  </a:lnTo>
                  <a:lnTo>
                    <a:pt x="420" y="468"/>
                  </a:lnTo>
                  <a:lnTo>
                    <a:pt x="417" y="468"/>
                  </a:lnTo>
                  <a:lnTo>
                    <a:pt x="417" y="470"/>
                  </a:lnTo>
                  <a:lnTo>
                    <a:pt x="417" y="468"/>
                  </a:lnTo>
                  <a:lnTo>
                    <a:pt x="415" y="468"/>
                  </a:lnTo>
                  <a:lnTo>
                    <a:pt x="415" y="470"/>
                  </a:lnTo>
                  <a:lnTo>
                    <a:pt x="412" y="470"/>
                  </a:lnTo>
                  <a:lnTo>
                    <a:pt x="415" y="470"/>
                  </a:lnTo>
                  <a:lnTo>
                    <a:pt x="415" y="468"/>
                  </a:lnTo>
                  <a:lnTo>
                    <a:pt x="415" y="470"/>
                  </a:lnTo>
                  <a:lnTo>
                    <a:pt x="417" y="470"/>
                  </a:lnTo>
                  <a:lnTo>
                    <a:pt x="417" y="468"/>
                  </a:lnTo>
                  <a:lnTo>
                    <a:pt x="420" y="468"/>
                  </a:lnTo>
                  <a:lnTo>
                    <a:pt x="422" y="468"/>
                  </a:lnTo>
                  <a:lnTo>
                    <a:pt x="422" y="465"/>
                  </a:lnTo>
                  <a:lnTo>
                    <a:pt x="424" y="465"/>
                  </a:lnTo>
                  <a:lnTo>
                    <a:pt x="427" y="465"/>
                  </a:lnTo>
                  <a:lnTo>
                    <a:pt x="427" y="468"/>
                  </a:lnTo>
                  <a:lnTo>
                    <a:pt x="429" y="468"/>
                  </a:lnTo>
                  <a:lnTo>
                    <a:pt x="427" y="468"/>
                  </a:lnTo>
                  <a:lnTo>
                    <a:pt x="429" y="468"/>
                  </a:lnTo>
                  <a:lnTo>
                    <a:pt x="427" y="468"/>
                  </a:lnTo>
                  <a:lnTo>
                    <a:pt x="429" y="468"/>
                  </a:lnTo>
                  <a:lnTo>
                    <a:pt x="429" y="465"/>
                  </a:lnTo>
                  <a:lnTo>
                    <a:pt x="431" y="465"/>
                  </a:lnTo>
                  <a:lnTo>
                    <a:pt x="429" y="465"/>
                  </a:lnTo>
                  <a:lnTo>
                    <a:pt x="431" y="465"/>
                  </a:lnTo>
                  <a:lnTo>
                    <a:pt x="434" y="465"/>
                  </a:lnTo>
                  <a:lnTo>
                    <a:pt x="431" y="465"/>
                  </a:lnTo>
                  <a:lnTo>
                    <a:pt x="434" y="465"/>
                  </a:lnTo>
                  <a:lnTo>
                    <a:pt x="431" y="465"/>
                  </a:lnTo>
                  <a:lnTo>
                    <a:pt x="434" y="465"/>
                  </a:lnTo>
                  <a:lnTo>
                    <a:pt x="436" y="465"/>
                  </a:lnTo>
                  <a:lnTo>
                    <a:pt x="439" y="465"/>
                  </a:lnTo>
                  <a:lnTo>
                    <a:pt x="436" y="468"/>
                  </a:lnTo>
                  <a:lnTo>
                    <a:pt x="434" y="470"/>
                  </a:lnTo>
                  <a:lnTo>
                    <a:pt x="436" y="470"/>
                  </a:lnTo>
                  <a:lnTo>
                    <a:pt x="434" y="470"/>
                  </a:lnTo>
                  <a:lnTo>
                    <a:pt x="434" y="472"/>
                  </a:lnTo>
                  <a:lnTo>
                    <a:pt x="434" y="470"/>
                  </a:lnTo>
                  <a:lnTo>
                    <a:pt x="436" y="470"/>
                  </a:lnTo>
                  <a:lnTo>
                    <a:pt x="436" y="468"/>
                  </a:lnTo>
                  <a:lnTo>
                    <a:pt x="439" y="468"/>
                  </a:lnTo>
                  <a:lnTo>
                    <a:pt x="441" y="468"/>
                  </a:lnTo>
                  <a:lnTo>
                    <a:pt x="441" y="465"/>
                  </a:lnTo>
                  <a:lnTo>
                    <a:pt x="441" y="468"/>
                  </a:lnTo>
                  <a:lnTo>
                    <a:pt x="443" y="468"/>
                  </a:lnTo>
                  <a:lnTo>
                    <a:pt x="443" y="465"/>
                  </a:lnTo>
                  <a:lnTo>
                    <a:pt x="443" y="468"/>
                  </a:lnTo>
                  <a:lnTo>
                    <a:pt x="441" y="468"/>
                  </a:lnTo>
                  <a:lnTo>
                    <a:pt x="441" y="470"/>
                  </a:lnTo>
                  <a:lnTo>
                    <a:pt x="439" y="470"/>
                  </a:lnTo>
                  <a:lnTo>
                    <a:pt x="439" y="472"/>
                  </a:lnTo>
                  <a:lnTo>
                    <a:pt x="439" y="475"/>
                  </a:lnTo>
                  <a:lnTo>
                    <a:pt x="436" y="475"/>
                  </a:lnTo>
                  <a:lnTo>
                    <a:pt x="436" y="477"/>
                  </a:lnTo>
                  <a:lnTo>
                    <a:pt x="434" y="477"/>
                  </a:lnTo>
                  <a:lnTo>
                    <a:pt x="436" y="477"/>
                  </a:lnTo>
                  <a:lnTo>
                    <a:pt x="436" y="475"/>
                  </a:lnTo>
                  <a:lnTo>
                    <a:pt x="436" y="477"/>
                  </a:lnTo>
                  <a:lnTo>
                    <a:pt x="439" y="477"/>
                  </a:lnTo>
                  <a:lnTo>
                    <a:pt x="439" y="475"/>
                  </a:lnTo>
                  <a:lnTo>
                    <a:pt x="439" y="472"/>
                  </a:lnTo>
                  <a:lnTo>
                    <a:pt x="441" y="472"/>
                  </a:lnTo>
                  <a:lnTo>
                    <a:pt x="443" y="472"/>
                  </a:lnTo>
                  <a:lnTo>
                    <a:pt x="443" y="470"/>
                  </a:lnTo>
                  <a:lnTo>
                    <a:pt x="446" y="470"/>
                  </a:lnTo>
                  <a:lnTo>
                    <a:pt x="448" y="470"/>
                  </a:lnTo>
                  <a:lnTo>
                    <a:pt x="450" y="470"/>
                  </a:lnTo>
                  <a:lnTo>
                    <a:pt x="450" y="468"/>
                  </a:lnTo>
                  <a:lnTo>
                    <a:pt x="453" y="468"/>
                  </a:lnTo>
                  <a:lnTo>
                    <a:pt x="453" y="470"/>
                  </a:lnTo>
                  <a:lnTo>
                    <a:pt x="453" y="468"/>
                  </a:lnTo>
                  <a:lnTo>
                    <a:pt x="453" y="470"/>
                  </a:lnTo>
                  <a:lnTo>
                    <a:pt x="455" y="470"/>
                  </a:lnTo>
                  <a:lnTo>
                    <a:pt x="455" y="468"/>
                  </a:lnTo>
                  <a:lnTo>
                    <a:pt x="455" y="470"/>
                  </a:lnTo>
                  <a:lnTo>
                    <a:pt x="458" y="470"/>
                  </a:lnTo>
                  <a:lnTo>
                    <a:pt x="458" y="472"/>
                  </a:lnTo>
                  <a:lnTo>
                    <a:pt x="455" y="472"/>
                  </a:lnTo>
                  <a:lnTo>
                    <a:pt x="458" y="472"/>
                  </a:lnTo>
                  <a:lnTo>
                    <a:pt x="458" y="475"/>
                  </a:lnTo>
                  <a:lnTo>
                    <a:pt x="455" y="475"/>
                  </a:lnTo>
                  <a:lnTo>
                    <a:pt x="458" y="475"/>
                  </a:lnTo>
                  <a:lnTo>
                    <a:pt x="455" y="475"/>
                  </a:lnTo>
                  <a:lnTo>
                    <a:pt x="453" y="475"/>
                  </a:lnTo>
                  <a:lnTo>
                    <a:pt x="453" y="477"/>
                  </a:lnTo>
                  <a:lnTo>
                    <a:pt x="455" y="477"/>
                  </a:lnTo>
                  <a:lnTo>
                    <a:pt x="453" y="477"/>
                  </a:lnTo>
                  <a:lnTo>
                    <a:pt x="450" y="477"/>
                  </a:lnTo>
                  <a:lnTo>
                    <a:pt x="448" y="477"/>
                  </a:lnTo>
                  <a:lnTo>
                    <a:pt x="448" y="480"/>
                  </a:lnTo>
                  <a:lnTo>
                    <a:pt x="448" y="477"/>
                  </a:lnTo>
                  <a:lnTo>
                    <a:pt x="448" y="480"/>
                  </a:lnTo>
                  <a:lnTo>
                    <a:pt x="450" y="480"/>
                  </a:lnTo>
                  <a:lnTo>
                    <a:pt x="448" y="480"/>
                  </a:lnTo>
                  <a:lnTo>
                    <a:pt x="450" y="480"/>
                  </a:lnTo>
                  <a:lnTo>
                    <a:pt x="450" y="477"/>
                  </a:lnTo>
                  <a:lnTo>
                    <a:pt x="453" y="477"/>
                  </a:lnTo>
                  <a:lnTo>
                    <a:pt x="455" y="477"/>
                  </a:lnTo>
                  <a:lnTo>
                    <a:pt x="458" y="477"/>
                  </a:lnTo>
                  <a:lnTo>
                    <a:pt x="455" y="480"/>
                  </a:lnTo>
                  <a:lnTo>
                    <a:pt x="458" y="480"/>
                  </a:lnTo>
                  <a:lnTo>
                    <a:pt x="455" y="480"/>
                  </a:lnTo>
                  <a:lnTo>
                    <a:pt x="453" y="480"/>
                  </a:lnTo>
                  <a:lnTo>
                    <a:pt x="450" y="480"/>
                  </a:lnTo>
                  <a:lnTo>
                    <a:pt x="450" y="482"/>
                  </a:lnTo>
                  <a:lnTo>
                    <a:pt x="450" y="480"/>
                  </a:lnTo>
                  <a:lnTo>
                    <a:pt x="450" y="482"/>
                  </a:lnTo>
                  <a:lnTo>
                    <a:pt x="450" y="480"/>
                  </a:lnTo>
                  <a:lnTo>
                    <a:pt x="453" y="480"/>
                  </a:lnTo>
                  <a:lnTo>
                    <a:pt x="450" y="480"/>
                  </a:lnTo>
                  <a:lnTo>
                    <a:pt x="453" y="480"/>
                  </a:lnTo>
                  <a:lnTo>
                    <a:pt x="453" y="482"/>
                  </a:lnTo>
                  <a:lnTo>
                    <a:pt x="453" y="480"/>
                  </a:lnTo>
                  <a:lnTo>
                    <a:pt x="453" y="482"/>
                  </a:lnTo>
                  <a:lnTo>
                    <a:pt x="455" y="480"/>
                  </a:lnTo>
                  <a:lnTo>
                    <a:pt x="453" y="480"/>
                  </a:lnTo>
                  <a:lnTo>
                    <a:pt x="455" y="480"/>
                  </a:lnTo>
                  <a:lnTo>
                    <a:pt x="455" y="482"/>
                  </a:lnTo>
                  <a:lnTo>
                    <a:pt x="453" y="482"/>
                  </a:lnTo>
                  <a:lnTo>
                    <a:pt x="455" y="482"/>
                  </a:lnTo>
                  <a:lnTo>
                    <a:pt x="455" y="480"/>
                  </a:lnTo>
                  <a:lnTo>
                    <a:pt x="455" y="482"/>
                  </a:lnTo>
                  <a:lnTo>
                    <a:pt x="458" y="482"/>
                  </a:lnTo>
                  <a:lnTo>
                    <a:pt x="458" y="484"/>
                  </a:lnTo>
                  <a:lnTo>
                    <a:pt x="455" y="484"/>
                  </a:lnTo>
                  <a:lnTo>
                    <a:pt x="455" y="487"/>
                  </a:lnTo>
                  <a:lnTo>
                    <a:pt x="453" y="487"/>
                  </a:lnTo>
                  <a:lnTo>
                    <a:pt x="450" y="487"/>
                  </a:lnTo>
                  <a:lnTo>
                    <a:pt x="450" y="489"/>
                  </a:lnTo>
                  <a:lnTo>
                    <a:pt x="448" y="489"/>
                  </a:lnTo>
                  <a:lnTo>
                    <a:pt x="446" y="489"/>
                  </a:lnTo>
                  <a:lnTo>
                    <a:pt x="443" y="489"/>
                  </a:lnTo>
                  <a:lnTo>
                    <a:pt x="443" y="491"/>
                  </a:lnTo>
                  <a:lnTo>
                    <a:pt x="441" y="491"/>
                  </a:lnTo>
                  <a:lnTo>
                    <a:pt x="441" y="494"/>
                  </a:lnTo>
                  <a:lnTo>
                    <a:pt x="443" y="494"/>
                  </a:lnTo>
                  <a:lnTo>
                    <a:pt x="441" y="496"/>
                  </a:lnTo>
                  <a:lnTo>
                    <a:pt x="441" y="499"/>
                  </a:lnTo>
                  <a:lnTo>
                    <a:pt x="443" y="499"/>
                  </a:lnTo>
                  <a:lnTo>
                    <a:pt x="441" y="499"/>
                  </a:lnTo>
                  <a:lnTo>
                    <a:pt x="441" y="501"/>
                  </a:lnTo>
                  <a:lnTo>
                    <a:pt x="439" y="501"/>
                  </a:lnTo>
                  <a:lnTo>
                    <a:pt x="436" y="503"/>
                  </a:lnTo>
                  <a:lnTo>
                    <a:pt x="434" y="503"/>
                  </a:lnTo>
                  <a:lnTo>
                    <a:pt x="431" y="503"/>
                  </a:lnTo>
                  <a:lnTo>
                    <a:pt x="431" y="506"/>
                  </a:lnTo>
                  <a:lnTo>
                    <a:pt x="431" y="503"/>
                  </a:lnTo>
                  <a:lnTo>
                    <a:pt x="431" y="506"/>
                  </a:lnTo>
                  <a:lnTo>
                    <a:pt x="429" y="506"/>
                  </a:lnTo>
                  <a:lnTo>
                    <a:pt x="427" y="506"/>
                  </a:lnTo>
                  <a:lnTo>
                    <a:pt x="424" y="506"/>
                  </a:lnTo>
                  <a:lnTo>
                    <a:pt x="422" y="506"/>
                  </a:lnTo>
                  <a:lnTo>
                    <a:pt x="422" y="508"/>
                  </a:lnTo>
                  <a:lnTo>
                    <a:pt x="420" y="508"/>
                  </a:lnTo>
                  <a:lnTo>
                    <a:pt x="417" y="508"/>
                  </a:lnTo>
                  <a:lnTo>
                    <a:pt x="420" y="508"/>
                  </a:lnTo>
                  <a:lnTo>
                    <a:pt x="417" y="508"/>
                  </a:lnTo>
                  <a:lnTo>
                    <a:pt x="415" y="508"/>
                  </a:lnTo>
                  <a:lnTo>
                    <a:pt x="415" y="510"/>
                  </a:lnTo>
                  <a:lnTo>
                    <a:pt x="412" y="510"/>
                  </a:lnTo>
                  <a:lnTo>
                    <a:pt x="410" y="510"/>
                  </a:lnTo>
                  <a:lnTo>
                    <a:pt x="410" y="513"/>
                  </a:lnTo>
                  <a:lnTo>
                    <a:pt x="408" y="513"/>
                  </a:lnTo>
                  <a:lnTo>
                    <a:pt x="405" y="513"/>
                  </a:lnTo>
                  <a:lnTo>
                    <a:pt x="405" y="515"/>
                  </a:lnTo>
                  <a:lnTo>
                    <a:pt x="405" y="513"/>
                  </a:lnTo>
                  <a:lnTo>
                    <a:pt x="405" y="515"/>
                  </a:lnTo>
                  <a:lnTo>
                    <a:pt x="405" y="513"/>
                  </a:lnTo>
                  <a:lnTo>
                    <a:pt x="408" y="513"/>
                  </a:lnTo>
                  <a:lnTo>
                    <a:pt x="410" y="513"/>
                  </a:lnTo>
                  <a:lnTo>
                    <a:pt x="412" y="510"/>
                  </a:lnTo>
                  <a:lnTo>
                    <a:pt x="412" y="513"/>
                  </a:lnTo>
                  <a:lnTo>
                    <a:pt x="412" y="510"/>
                  </a:lnTo>
                  <a:lnTo>
                    <a:pt x="415" y="510"/>
                  </a:lnTo>
                  <a:lnTo>
                    <a:pt x="412" y="510"/>
                  </a:lnTo>
                  <a:lnTo>
                    <a:pt x="415" y="510"/>
                  </a:lnTo>
                  <a:lnTo>
                    <a:pt x="412" y="510"/>
                  </a:lnTo>
                  <a:lnTo>
                    <a:pt x="415" y="510"/>
                  </a:lnTo>
                  <a:lnTo>
                    <a:pt x="417" y="510"/>
                  </a:lnTo>
                  <a:lnTo>
                    <a:pt x="417" y="508"/>
                  </a:lnTo>
                  <a:lnTo>
                    <a:pt x="420" y="508"/>
                  </a:lnTo>
                  <a:lnTo>
                    <a:pt x="422" y="508"/>
                  </a:lnTo>
                  <a:lnTo>
                    <a:pt x="424" y="506"/>
                  </a:lnTo>
                  <a:lnTo>
                    <a:pt x="427" y="506"/>
                  </a:lnTo>
                  <a:lnTo>
                    <a:pt x="429" y="506"/>
                  </a:lnTo>
                  <a:lnTo>
                    <a:pt x="431" y="506"/>
                  </a:lnTo>
                  <a:lnTo>
                    <a:pt x="434" y="503"/>
                  </a:lnTo>
                  <a:lnTo>
                    <a:pt x="436" y="503"/>
                  </a:lnTo>
                  <a:lnTo>
                    <a:pt x="439" y="503"/>
                  </a:lnTo>
                  <a:lnTo>
                    <a:pt x="439" y="501"/>
                  </a:lnTo>
                  <a:lnTo>
                    <a:pt x="441" y="501"/>
                  </a:lnTo>
                  <a:lnTo>
                    <a:pt x="443" y="501"/>
                  </a:lnTo>
                  <a:lnTo>
                    <a:pt x="443" y="499"/>
                  </a:lnTo>
                  <a:lnTo>
                    <a:pt x="443" y="496"/>
                  </a:lnTo>
                  <a:lnTo>
                    <a:pt x="443" y="494"/>
                  </a:lnTo>
                  <a:lnTo>
                    <a:pt x="443" y="491"/>
                  </a:lnTo>
                  <a:lnTo>
                    <a:pt x="446" y="489"/>
                  </a:lnTo>
                  <a:lnTo>
                    <a:pt x="446" y="491"/>
                  </a:lnTo>
                  <a:lnTo>
                    <a:pt x="446" y="489"/>
                  </a:lnTo>
                  <a:lnTo>
                    <a:pt x="448" y="489"/>
                  </a:lnTo>
                  <a:lnTo>
                    <a:pt x="448" y="491"/>
                  </a:lnTo>
                  <a:lnTo>
                    <a:pt x="448" y="489"/>
                  </a:lnTo>
                  <a:lnTo>
                    <a:pt x="450" y="489"/>
                  </a:lnTo>
                  <a:lnTo>
                    <a:pt x="450" y="491"/>
                  </a:lnTo>
                  <a:lnTo>
                    <a:pt x="450" y="489"/>
                  </a:lnTo>
                  <a:lnTo>
                    <a:pt x="453" y="489"/>
                  </a:lnTo>
                  <a:lnTo>
                    <a:pt x="455" y="489"/>
                  </a:lnTo>
                  <a:lnTo>
                    <a:pt x="458" y="489"/>
                  </a:lnTo>
                  <a:lnTo>
                    <a:pt x="455" y="489"/>
                  </a:lnTo>
                  <a:lnTo>
                    <a:pt x="458" y="489"/>
                  </a:lnTo>
                  <a:lnTo>
                    <a:pt x="458" y="487"/>
                  </a:lnTo>
                  <a:lnTo>
                    <a:pt x="455" y="487"/>
                  </a:lnTo>
                  <a:lnTo>
                    <a:pt x="458" y="487"/>
                  </a:lnTo>
                  <a:lnTo>
                    <a:pt x="458" y="484"/>
                  </a:lnTo>
                  <a:lnTo>
                    <a:pt x="460" y="484"/>
                  </a:lnTo>
                  <a:lnTo>
                    <a:pt x="460" y="487"/>
                  </a:lnTo>
                  <a:lnTo>
                    <a:pt x="460" y="484"/>
                  </a:lnTo>
                  <a:lnTo>
                    <a:pt x="460" y="482"/>
                  </a:lnTo>
                  <a:lnTo>
                    <a:pt x="462" y="482"/>
                  </a:lnTo>
                  <a:lnTo>
                    <a:pt x="462" y="484"/>
                  </a:lnTo>
                  <a:lnTo>
                    <a:pt x="462" y="482"/>
                  </a:lnTo>
                  <a:lnTo>
                    <a:pt x="462" y="484"/>
                  </a:lnTo>
                  <a:lnTo>
                    <a:pt x="462" y="482"/>
                  </a:lnTo>
                  <a:lnTo>
                    <a:pt x="460" y="482"/>
                  </a:lnTo>
                  <a:lnTo>
                    <a:pt x="460" y="480"/>
                  </a:lnTo>
                  <a:lnTo>
                    <a:pt x="460" y="477"/>
                  </a:lnTo>
                  <a:lnTo>
                    <a:pt x="462" y="477"/>
                  </a:lnTo>
                  <a:lnTo>
                    <a:pt x="460" y="477"/>
                  </a:lnTo>
                  <a:lnTo>
                    <a:pt x="460" y="480"/>
                  </a:lnTo>
                  <a:lnTo>
                    <a:pt x="460" y="477"/>
                  </a:lnTo>
                  <a:lnTo>
                    <a:pt x="460" y="475"/>
                  </a:lnTo>
                  <a:lnTo>
                    <a:pt x="462" y="475"/>
                  </a:lnTo>
                  <a:lnTo>
                    <a:pt x="462" y="477"/>
                  </a:lnTo>
                  <a:lnTo>
                    <a:pt x="462" y="475"/>
                  </a:lnTo>
                  <a:lnTo>
                    <a:pt x="465" y="475"/>
                  </a:lnTo>
                  <a:lnTo>
                    <a:pt x="467" y="475"/>
                  </a:lnTo>
                  <a:lnTo>
                    <a:pt x="465" y="477"/>
                  </a:lnTo>
                  <a:lnTo>
                    <a:pt x="467" y="477"/>
                  </a:lnTo>
                  <a:lnTo>
                    <a:pt x="467" y="475"/>
                  </a:lnTo>
                  <a:lnTo>
                    <a:pt x="467" y="477"/>
                  </a:lnTo>
                  <a:lnTo>
                    <a:pt x="469" y="477"/>
                  </a:lnTo>
                  <a:lnTo>
                    <a:pt x="469" y="475"/>
                  </a:lnTo>
                  <a:lnTo>
                    <a:pt x="472" y="475"/>
                  </a:lnTo>
                  <a:lnTo>
                    <a:pt x="472" y="477"/>
                  </a:lnTo>
                  <a:lnTo>
                    <a:pt x="472" y="475"/>
                  </a:lnTo>
                  <a:lnTo>
                    <a:pt x="474" y="475"/>
                  </a:lnTo>
                  <a:lnTo>
                    <a:pt x="476" y="475"/>
                  </a:lnTo>
                  <a:lnTo>
                    <a:pt x="479" y="475"/>
                  </a:lnTo>
                  <a:lnTo>
                    <a:pt x="481" y="475"/>
                  </a:lnTo>
                  <a:lnTo>
                    <a:pt x="484" y="475"/>
                  </a:lnTo>
                  <a:lnTo>
                    <a:pt x="486" y="475"/>
                  </a:lnTo>
                  <a:lnTo>
                    <a:pt x="486" y="477"/>
                  </a:lnTo>
                  <a:lnTo>
                    <a:pt x="488" y="477"/>
                  </a:lnTo>
                  <a:lnTo>
                    <a:pt x="486" y="477"/>
                  </a:lnTo>
                  <a:lnTo>
                    <a:pt x="488" y="477"/>
                  </a:lnTo>
                  <a:lnTo>
                    <a:pt x="491" y="477"/>
                  </a:lnTo>
                  <a:lnTo>
                    <a:pt x="488" y="477"/>
                  </a:lnTo>
                  <a:lnTo>
                    <a:pt x="491" y="477"/>
                  </a:lnTo>
                  <a:lnTo>
                    <a:pt x="491" y="480"/>
                  </a:lnTo>
                  <a:lnTo>
                    <a:pt x="491" y="477"/>
                  </a:lnTo>
                  <a:lnTo>
                    <a:pt x="493" y="477"/>
                  </a:lnTo>
                  <a:lnTo>
                    <a:pt x="491" y="477"/>
                  </a:lnTo>
                  <a:lnTo>
                    <a:pt x="493" y="477"/>
                  </a:lnTo>
                  <a:lnTo>
                    <a:pt x="493" y="480"/>
                  </a:lnTo>
                  <a:lnTo>
                    <a:pt x="493" y="477"/>
                  </a:lnTo>
                  <a:lnTo>
                    <a:pt x="493" y="480"/>
                  </a:lnTo>
                  <a:lnTo>
                    <a:pt x="493" y="477"/>
                  </a:lnTo>
                  <a:lnTo>
                    <a:pt x="495" y="477"/>
                  </a:lnTo>
                  <a:lnTo>
                    <a:pt x="495" y="480"/>
                  </a:lnTo>
                  <a:lnTo>
                    <a:pt x="498" y="480"/>
                  </a:lnTo>
                  <a:lnTo>
                    <a:pt x="500" y="480"/>
                  </a:lnTo>
                  <a:lnTo>
                    <a:pt x="500" y="482"/>
                  </a:lnTo>
                  <a:lnTo>
                    <a:pt x="500" y="480"/>
                  </a:lnTo>
                  <a:lnTo>
                    <a:pt x="500" y="482"/>
                  </a:lnTo>
                  <a:lnTo>
                    <a:pt x="500" y="480"/>
                  </a:lnTo>
                  <a:lnTo>
                    <a:pt x="500" y="482"/>
                  </a:lnTo>
                  <a:lnTo>
                    <a:pt x="500" y="480"/>
                  </a:lnTo>
                  <a:lnTo>
                    <a:pt x="503" y="480"/>
                  </a:lnTo>
                  <a:lnTo>
                    <a:pt x="505" y="480"/>
                  </a:lnTo>
                  <a:lnTo>
                    <a:pt x="505" y="482"/>
                  </a:lnTo>
                  <a:lnTo>
                    <a:pt x="505" y="480"/>
                  </a:lnTo>
                  <a:lnTo>
                    <a:pt x="507" y="480"/>
                  </a:lnTo>
                  <a:lnTo>
                    <a:pt x="507" y="482"/>
                  </a:lnTo>
                  <a:lnTo>
                    <a:pt x="505" y="482"/>
                  </a:lnTo>
                  <a:lnTo>
                    <a:pt x="505" y="484"/>
                  </a:lnTo>
                  <a:lnTo>
                    <a:pt x="505" y="482"/>
                  </a:lnTo>
                  <a:lnTo>
                    <a:pt x="507" y="482"/>
                  </a:lnTo>
                  <a:lnTo>
                    <a:pt x="510" y="482"/>
                  </a:lnTo>
                  <a:lnTo>
                    <a:pt x="512" y="482"/>
                  </a:lnTo>
                  <a:lnTo>
                    <a:pt x="512" y="484"/>
                  </a:lnTo>
                  <a:lnTo>
                    <a:pt x="512" y="487"/>
                  </a:lnTo>
                  <a:lnTo>
                    <a:pt x="512" y="484"/>
                  </a:lnTo>
                  <a:lnTo>
                    <a:pt x="512" y="482"/>
                  </a:lnTo>
                  <a:lnTo>
                    <a:pt x="514" y="482"/>
                  </a:lnTo>
                  <a:lnTo>
                    <a:pt x="517" y="482"/>
                  </a:lnTo>
                  <a:lnTo>
                    <a:pt x="514" y="482"/>
                  </a:lnTo>
                  <a:lnTo>
                    <a:pt x="517" y="482"/>
                  </a:lnTo>
                  <a:lnTo>
                    <a:pt x="517" y="480"/>
                  </a:lnTo>
                  <a:lnTo>
                    <a:pt x="514" y="480"/>
                  </a:lnTo>
                  <a:lnTo>
                    <a:pt x="512" y="480"/>
                  </a:lnTo>
                  <a:lnTo>
                    <a:pt x="514" y="480"/>
                  </a:lnTo>
                  <a:lnTo>
                    <a:pt x="517" y="480"/>
                  </a:lnTo>
                  <a:lnTo>
                    <a:pt x="519" y="480"/>
                  </a:lnTo>
                  <a:lnTo>
                    <a:pt x="522" y="480"/>
                  </a:lnTo>
                  <a:lnTo>
                    <a:pt x="524" y="480"/>
                  </a:lnTo>
                  <a:lnTo>
                    <a:pt x="526" y="480"/>
                  </a:lnTo>
                  <a:lnTo>
                    <a:pt x="524" y="482"/>
                  </a:lnTo>
                  <a:lnTo>
                    <a:pt x="526" y="482"/>
                  </a:lnTo>
                  <a:lnTo>
                    <a:pt x="529" y="482"/>
                  </a:lnTo>
                  <a:lnTo>
                    <a:pt x="531" y="482"/>
                  </a:lnTo>
                  <a:lnTo>
                    <a:pt x="533" y="482"/>
                  </a:lnTo>
                  <a:lnTo>
                    <a:pt x="533" y="484"/>
                  </a:lnTo>
                  <a:lnTo>
                    <a:pt x="531" y="487"/>
                  </a:lnTo>
                  <a:lnTo>
                    <a:pt x="533" y="487"/>
                  </a:lnTo>
                  <a:lnTo>
                    <a:pt x="531" y="487"/>
                  </a:lnTo>
                  <a:lnTo>
                    <a:pt x="533" y="489"/>
                  </a:lnTo>
                  <a:lnTo>
                    <a:pt x="533" y="487"/>
                  </a:lnTo>
                  <a:lnTo>
                    <a:pt x="533" y="489"/>
                  </a:lnTo>
                  <a:lnTo>
                    <a:pt x="533" y="491"/>
                  </a:lnTo>
                  <a:lnTo>
                    <a:pt x="531" y="491"/>
                  </a:lnTo>
                  <a:lnTo>
                    <a:pt x="533" y="491"/>
                  </a:lnTo>
                  <a:lnTo>
                    <a:pt x="533" y="489"/>
                  </a:lnTo>
                  <a:lnTo>
                    <a:pt x="533" y="487"/>
                  </a:lnTo>
                  <a:lnTo>
                    <a:pt x="533" y="484"/>
                  </a:lnTo>
                  <a:lnTo>
                    <a:pt x="533" y="482"/>
                  </a:lnTo>
                  <a:lnTo>
                    <a:pt x="536" y="482"/>
                  </a:lnTo>
                  <a:lnTo>
                    <a:pt x="536" y="484"/>
                  </a:lnTo>
                  <a:lnTo>
                    <a:pt x="538" y="484"/>
                  </a:lnTo>
                  <a:lnTo>
                    <a:pt x="541" y="484"/>
                  </a:lnTo>
                  <a:lnTo>
                    <a:pt x="541" y="487"/>
                  </a:lnTo>
                  <a:lnTo>
                    <a:pt x="543" y="487"/>
                  </a:lnTo>
                  <a:lnTo>
                    <a:pt x="541" y="489"/>
                  </a:lnTo>
                  <a:lnTo>
                    <a:pt x="543" y="489"/>
                  </a:lnTo>
                  <a:lnTo>
                    <a:pt x="543" y="487"/>
                  </a:lnTo>
                  <a:lnTo>
                    <a:pt x="541" y="487"/>
                  </a:lnTo>
                  <a:lnTo>
                    <a:pt x="541" y="484"/>
                  </a:lnTo>
                  <a:lnTo>
                    <a:pt x="543" y="484"/>
                  </a:lnTo>
                  <a:lnTo>
                    <a:pt x="543" y="487"/>
                  </a:lnTo>
                  <a:lnTo>
                    <a:pt x="545" y="487"/>
                  </a:lnTo>
                  <a:lnTo>
                    <a:pt x="548" y="487"/>
                  </a:lnTo>
                  <a:lnTo>
                    <a:pt x="550" y="487"/>
                  </a:lnTo>
                  <a:lnTo>
                    <a:pt x="550" y="489"/>
                  </a:lnTo>
                  <a:lnTo>
                    <a:pt x="548" y="489"/>
                  </a:lnTo>
                  <a:lnTo>
                    <a:pt x="550" y="489"/>
                  </a:lnTo>
                  <a:lnTo>
                    <a:pt x="552" y="491"/>
                  </a:lnTo>
                  <a:lnTo>
                    <a:pt x="552" y="489"/>
                  </a:lnTo>
                  <a:lnTo>
                    <a:pt x="552" y="491"/>
                  </a:lnTo>
                  <a:lnTo>
                    <a:pt x="555" y="491"/>
                  </a:lnTo>
                  <a:lnTo>
                    <a:pt x="557" y="491"/>
                  </a:lnTo>
                  <a:lnTo>
                    <a:pt x="557" y="494"/>
                  </a:lnTo>
                  <a:lnTo>
                    <a:pt x="560" y="494"/>
                  </a:lnTo>
                  <a:lnTo>
                    <a:pt x="560" y="491"/>
                  </a:lnTo>
                  <a:lnTo>
                    <a:pt x="560" y="494"/>
                  </a:lnTo>
                  <a:lnTo>
                    <a:pt x="562" y="494"/>
                  </a:lnTo>
                  <a:lnTo>
                    <a:pt x="560" y="494"/>
                  </a:lnTo>
                  <a:lnTo>
                    <a:pt x="562" y="494"/>
                  </a:lnTo>
                  <a:lnTo>
                    <a:pt x="560" y="494"/>
                  </a:lnTo>
                  <a:lnTo>
                    <a:pt x="562" y="494"/>
                  </a:lnTo>
                  <a:lnTo>
                    <a:pt x="564" y="494"/>
                  </a:lnTo>
                  <a:lnTo>
                    <a:pt x="564" y="496"/>
                  </a:lnTo>
                  <a:lnTo>
                    <a:pt x="567" y="496"/>
                  </a:lnTo>
                  <a:lnTo>
                    <a:pt x="567" y="499"/>
                  </a:lnTo>
                  <a:lnTo>
                    <a:pt x="569" y="499"/>
                  </a:lnTo>
                  <a:lnTo>
                    <a:pt x="571" y="499"/>
                  </a:lnTo>
                  <a:lnTo>
                    <a:pt x="571" y="501"/>
                  </a:lnTo>
                  <a:lnTo>
                    <a:pt x="574" y="501"/>
                  </a:lnTo>
                  <a:lnTo>
                    <a:pt x="576" y="501"/>
                  </a:lnTo>
                  <a:lnTo>
                    <a:pt x="576" y="503"/>
                  </a:lnTo>
                  <a:lnTo>
                    <a:pt x="579" y="503"/>
                  </a:lnTo>
                  <a:lnTo>
                    <a:pt x="581" y="503"/>
                  </a:lnTo>
                  <a:lnTo>
                    <a:pt x="581" y="506"/>
                  </a:lnTo>
                  <a:lnTo>
                    <a:pt x="583" y="506"/>
                  </a:lnTo>
                  <a:lnTo>
                    <a:pt x="586" y="506"/>
                  </a:lnTo>
                  <a:lnTo>
                    <a:pt x="586" y="508"/>
                  </a:lnTo>
                  <a:lnTo>
                    <a:pt x="588" y="508"/>
                  </a:lnTo>
                  <a:lnTo>
                    <a:pt x="590" y="508"/>
                  </a:lnTo>
                  <a:lnTo>
                    <a:pt x="590" y="510"/>
                  </a:lnTo>
                  <a:lnTo>
                    <a:pt x="590" y="508"/>
                  </a:lnTo>
                  <a:lnTo>
                    <a:pt x="590" y="510"/>
                  </a:lnTo>
                  <a:lnTo>
                    <a:pt x="590" y="508"/>
                  </a:lnTo>
                  <a:lnTo>
                    <a:pt x="590" y="510"/>
                  </a:lnTo>
                  <a:lnTo>
                    <a:pt x="593" y="510"/>
                  </a:lnTo>
                  <a:lnTo>
                    <a:pt x="593" y="513"/>
                  </a:lnTo>
                  <a:lnTo>
                    <a:pt x="593" y="510"/>
                  </a:lnTo>
                  <a:lnTo>
                    <a:pt x="595" y="510"/>
                  </a:lnTo>
                  <a:lnTo>
                    <a:pt x="595" y="513"/>
                  </a:lnTo>
                  <a:lnTo>
                    <a:pt x="595" y="510"/>
                  </a:lnTo>
                  <a:lnTo>
                    <a:pt x="595" y="513"/>
                  </a:lnTo>
                  <a:lnTo>
                    <a:pt x="597" y="513"/>
                  </a:lnTo>
                  <a:lnTo>
                    <a:pt x="600" y="513"/>
                  </a:lnTo>
                  <a:lnTo>
                    <a:pt x="600" y="515"/>
                  </a:lnTo>
                  <a:lnTo>
                    <a:pt x="597" y="515"/>
                  </a:lnTo>
                  <a:lnTo>
                    <a:pt x="600" y="515"/>
                  </a:lnTo>
                  <a:lnTo>
                    <a:pt x="600" y="518"/>
                  </a:lnTo>
                  <a:lnTo>
                    <a:pt x="600" y="515"/>
                  </a:lnTo>
                  <a:lnTo>
                    <a:pt x="602" y="515"/>
                  </a:lnTo>
                  <a:lnTo>
                    <a:pt x="602" y="518"/>
                  </a:lnTo>
                  <a:lnTo>
                    <a:pt x="602" y="515"/>
                  </a:lnTo>
                  <a:lnTo>
                    <a:pt x="602" y="518"/>
                  </a:lnTo>
                  <a:lnTo>
                    <a:pt x="605" y="518"/>
                  </a:lnTo>
                  <a:lnTo>
                    <a:pt x="605" y="520"/>
                  </a:lnTo>
                  <a:lnTo>
                    <a:pt x="607" y="520"/>
                  </a:lnTo>
                  <a:lnTo>
                    <a:pt x="605" y="520"/>
                  </a:lnTo>
                  <a:lnTo>
                    <a:pt x="607" y="520"/>
                  </a:lnTo>
                  <a:lnTo>
                    <a:pt x="605" y="520"/>
                  </a:lnTo>
                  <a:lnTo>
                    <a:pt x="607" y="520"/>
                  </a:lnTo>
                  <a:lnTo>
                    <a:pt x="605" y="520"/>
                  </a:lnTo>
                  <a:lnTo>
                    <a:pt x="607" y="520"/>
                  </a:lnTo>
                  <a:lnTo>
                    <a:pt x="607" y="522"/>
                  </a:lnTo>
                  <a:lnTo>
                    <a:pt x="607" y="520"/>
                  </a:lnTo>
                  <a:lnTo>
                    <a:pt x="607" y="522"/>
                  </a:lnTo>
                  <a:lnTo>
                    <a:pt x="609" y="522"/>
                  </a:lnTo>
                  <a:lnTo>
                    <a:pt x="607" y="522"/>
                  </a:lnTo>
                  <a:lnTo>
                    <a:pt x="609" y="522"/>
                  </a:lnTo>
                  <a:lnTo>
                    <a:pt x="609" y="525"/>
                  </a:lnTo>
                  <a:lnTo>
                    <a:pt x="609" y="522"/>
                  </a:lnTo>
                  <a:lnTo>
                    <a:pt x="609" y="525"/>
                  </a:lnTo>
                  <a:lnTo>
                    <a:pt x="612" y="525"/>
                  </a:lnTo>
                  <a:lnTo>
                    <a:pt x="614" y="525"/>
                  </a:lnTo>
                  <a:lnTo>
                    <a:pt x="612" y="527"/>
                  </a:lnTo>
                  <a:lnTo>
                    <a:pt x="614" y="527"/>
                  </a:lnTo>
                  <a:lnTo>
                    <a:pt x="612" y="527"/>
                  </a:lnTo>
                  <a:lnTo>
                    <a:pt x="614" y="527"/>
                  </a:lnTo>
                  <a:lnTo>
                    <a:pt x="614" y="525"/>
                  </a:lnTo>
                  <a:lnTo>
                    <a:pt x="614" y="527"/>
                  </a:lnTo>
                  <a:lnTo>
                    <a:pt x="616" y="527"/>
                  </a:lnTo>
                  <a:lnTo>
                    <a:pt x="619" y="529"/>
                  </a:lnTo>
                  <a:lnTo>
                    <a:pt x="616" y="529"/>
                  </a:lnTo>
                  <a:lnTo>
                    <a:pt x="619" y="529"/>
                  </a:lnTo>
                  <a:lnTo>
                    <a:pt x="619" y="532"/>
                  </a:lnTo>
                  <a:lnTo>
                    <a:pt x="619" y="529"/>
                  </a:lnTo>
                  <a:lnTo>
                    <a:pt x="616" y="532"/>
                  </a:lnTo>
                  <a:lnTo>
                    <a:pt x="619" y="532"/>
                  </a:lnTo>
                  <a:lnTo>
                    <a:pt x="619" y="529"/>
                  </a:lnTo>
                  <a:lnTo>
                    <a:pt x="619" y="532"/>
                  </a:lnTo>
                  <a:lnTo>
                    <a:pt x="619" y="529"/>
                  </a:lnTo>
                  <a:lnTo>
                    <a:pt x="621" y="529"/>
                  </a:lnTo>
                  <a:lnTo>
                    <a:pt x="619" y="532"/>
                  </a:lnTo>
                  <a:lnTo>
                    <a:pt x="621" y="532"/>
                  </a:lnTo>
                  <a:lnTo>
                    <a:pt x="619" y="532"/>
                  </a:lnTo>
                  <a:lnTo>
                    <a:pt x="621" y="532"/>
                  </a:lnTo>
                  <a:lnTo>
                    <a:pt x="619" y="532"/>
                  </a:lnTo>
                  <a:lnTo>
                    <a:pt x="619" y="534"/>
                  </a:lnTo>
                  <a:lnTo>
                    <a:pt x="621" y="534"/>
                  </a:lnTo>
                  <a:lnTo>
                    <a:pt x="621" y="532"/>
                  </a:lnTo>
                  <a:lnTo>
                    <a:pt x="624" y="532"/>
                  </a:lnTo>
                  <a:lnTo>
                    <a:pt x="624" y="534"/>
                  </a:lnTo>
                  <a:lnTo>
                    <a:pt x="626" y="534"/>
                  </a:lnTo>
                  <a:lnTo>
                    <a:pt x="628" y="534"/>
                  </a:lnTo>
                  <a:lnTo>
                    <a:pt x="628" y="537"/>
                  </a:lnTo>
                  <a:lnTo>
                    <a:pt x="631" y="537"/>
                  </a:lnTo>
                  <a:lnTo>
                    <a:pt x="628" y="537"/>
                  </a:lnTo>
                  <a:lnTo>
                    <a:pt x="631" y="537"/>
                  </a:lnTo>
                  <a:lnTo>
                    <a:pt x="631" y="534"/>
                  </a:lnTo>
                  <a:lnTo>
                    <a:pt x="628" y="534"/>
                  </a:lnTo>
                  <a:lnTo>
                    <a:pt x="626" y="534"/>
                  </a:lnTo>
                  <a:lnTo>
                    <a:pt x="626" y="532"/>
                  </a:lnTo>
                  <a:lnTo>
                    <a:pt x="624" y="532"/>
                  </a:lnTo>
                  <a:lnTo>
                    <a:pt x="626" y="532"/>
                  </a:lnTo>
                  <a:lnTo>
                    <a:pt x="626" y="529"/>
                  </a:lnTo>
                  <a:lnTo>
                    <a:pt x="628" y="529"/>
                  </a:lnTo>
                  <a:lnTo>
                    <a:pt x="628" y="532"/>
                  </a:lnTo>
                  <a:lnTo>
                    <a:pt x="631" y="532"/>
                  </a:lnTo>
                  <a:lnTo>
                    <a:pt x="631" y="534"/>
                  </a:lnTo>
                  <a:lnTo>
                    <a:pt x="633" y="534"/>
                  </a:lnTo>
                  <a:lnTo>
                    <a:pt x="635" y="534"/>
                  </a:lnTo>
                  <a:lnTo>
                    <a:pt x="638" y="534"/>
                  </a:lnTo>
                  <a:lnTo>
                    <a:pt x="638" y="537"/>
                  </a:lnTo>
                  <a:lnTo>
                    <a:pt x="638" y="534"/>
                  </a:lnTo>
                  <a:lnTo>
                    <a:pt x="638" y="537"/>
                  </a:lnTo>
                  <a:lnTo>
                    <a:pt x="635" y="537"/>
                  </a:lnTo>
                  <a:lnTo>
                    <a:pt x="638" y="537"/>
                  </a:lnTo>
                  <a:lnTo>
                    <a:pt x="638" y="539"/>
                  </a:lnTo>
                  <a:lnTo>
                    <a:pt x="638" y="537"/>
                  </a:lnTo>
                  <a:lnTo>
                    <a:pt x="638" y="539"/>
                  </a:lnTo>
                  <a:lnTo>
                    <a:pt x="640" y="539"/>
                  </a:lnTo>
                  <a:lnTo>
                    <a:pt x="643" y="539"/>
                  </a:lnTo>
                  <a:lnTo>
                    <a:pt x="643" y="541"/>
                  </a:lnTo>
                  <a:lnTo>
                    <a:pt x="645" y="541"/>
                  </a:lnTo>
                  <a:lnTo>
                    <a:pt x="647" y="541"/>
                  </a:lnTo>
                  <a:lnTo>
                    <a:pt x="647" y="544"/>
                  </a:lnTo>
                  <a:lnTo>
                    <a:pt x="650" y="544"/>
                  </a:lnTo>
                  <a:lnTo>
                    <a:pt x="650" y="546"/>
                  </a:lnTo>
                  <a:lnTo>
                    <a:pt x="652" y="546"/>
                  </a:lnTo>
                  <a:lnTo>
                    <a:pt x="654" y="546"/>
                  </a:lnTo>
                  <a:lnTo>
                    <a:pt x="654" y="548"/>
                  </a:lnTo>
                  <a:lnTo>
                    <a:pt x="657" y="548"/>
                  </a:lnTo>
                  <a:lnTo>
                    <a:pt x="654" y="548"/>
                  </a:lnTo>
                  <a:lnTo>
                    <a:pt x="657" y="548"/>
                  </a:lnTo>
                  <a:lnTo>
                    <a:pt x="657" y="551"/>
                  </a:lnTo>
                  <a:lnTo>
                    <a:pt x="659" y="548"/>
                  </a:lnTo>
                  <a:lnTo>
                    <a:pt x="659" y="551"/>
                  </a:lnTo>
                  <a:lnTo>
                    <a:pt x="662" y="551"/>
                  </a:lnTo>
                  <a:lnTo>
                    <a:pt x="659" y="551"/>
                  </a:lnTo>
                  <a:lnTo>
                    <a:pt x="662" y="548"/>
                  </a:lnTo>
                  <a:lnTo>
                    <a:pt x="662" y="551"/>
                  </a:lnTo>
                  <a:lnTo>
                    <a:pt x="664" y="551"/>
                  </a:lnTo>
                  <a:lnTo>
                    <a:pt x="666" y="551"/>
                  </a:lnTo>
                  <a:lnTo>
                    <a:pt x="669" y="551"/>
                  </a:lnTo>
                  <a:lnTo>
                    <a:pt x="669" y="548"/>
                  </a:lnTo>
                  <a:lnTo>
                    <a:pt x="666" y="548"/>
                  </a:lnTo>
                  <a:lnTo>
                    <a:pt x="666" y="546"/>
                  </a:lnTo>
                  <a:lnTo>
                    <a:pt x="664" y="544"/>
                  </a:lnTo>
                  <a:lnTo>
                    <a:pt x="666" y="544"/>
                  </a:lnTo>
                  <a:lnTo>
                    <a:pt x="666" y="546"/>
                  </a:lnTo>
                  <a:lnTo>
                    <a:pt x="669" y="546"/>
                  </a:lnTo>
                  <a:lnTo>
                    <a:pt x="666" y="546"/>
                  </a:lnTo>
                  <a:lnTo>
                    <a:pt x="669" y="546"/>
                  </a:lnTo>
                  <a:lnTo>
                    <a:pt x="669" y="548"/>
                  </a:lnTo>
                  <a:lnTo>
                    <a:pt x="671" y="548"/>
                  </a:lnTo>
                  <a:lnTo>
                    <a:pt x="669" y="548"/>
                  </a:lnTo>
                  <a:lnTo>
                    <a:pt x="671" y="548"/>
                  </a:lnTo>
                  <a:lnTo>
                    <a:pt x="671" y="551"/>
                  </a:lnTo>
                  <a:lnTo>
                    <a:pt x="671" y="553"/>
                  </a:lnTo>
                  <a:lnTo>
                    <a:pt x="673" y="553"/>
                  </a:lnTo>
                  <a:lnTo>
                    <a:pt x="676" y="553"/>
                  </a:lnTo>
                  <a:lnTo>
                    <a:pt x="676" y="556"/>
                  </a:lnTo>
                  <a:lnTo>
                    <a:pt x="678" y="556"/>
                  </a:lnTo>
                  <a:lnTo>
                    <a:pt x="681" y="556"/>
                  </a:lnTo>
                  <a:lnTo>
                    <a:pt x="678" y="556"/>
                  </a:lnTo>
                  <a:lnTo>
                    <a:pt x="681" y="556"/>
                  </a:lnTo>
                  <a:lnTo>
                    <a:pt x="681" y="558"/>
                  </a:lnTo>
                  <a:lnTo>
                    <a:pt x="681" y="556"/>
                  </a:lnTo>
                  <a:lnTo>
                    <a:pt x="681" y="558"/>
                  </a:lnTo>
                  <a:lnTo>
                    <a:pt x="681" y="556"/>
                  </a:lnTo>
                  <a:lnTo>
                    <a:pt x="681" y="558"/>
                  </a:lnTo>
                  <a:lnTo>
                    <a:pt x="681" y="556"/>
                  </a:lnTo>
                  <a:lnTo>
                    <a:pt x="681" y="558"/>
                  </a:lnTo>
                  <a:lnTo>
                    <a:pt x="683" y="558"/>
                  </a:lnTo>
                  <a:lnTo>
                    <a:pt x="685" y="558"/>
                  </a:lnTo>
                  <a:lnTo>
                    <a:pt x="685" y="560"/>
                  </a:lnTo>
                  <a:lnTo>
                    <a:pt x="683" y="560"/>
                  </a:lnTo>
                  <a:lnTo>
                    <a:pt x="681" y="560"/>
                  </a:lnTo>
                  <a:lnTo>
                    <a:pt x="683" y="563"/>
                  </a:lnTo>
                  <a:lnTo>
                    <a:pt x="685" y="563"/>
                  </a:lnTo>
                  <a:lnTo>
                    <a:pt x="685" y="565"/>
                  </a:lnTo>
                  <a:lnTo>
                    <a:pt x="688" y="565"/>
                  </a:lnTo>
                  <a:lnTo>
                    <a:pt x="688" y="567"/>
                  </a:lnTo>
                  <a:lnTo>
                    <a:pt x="690" y="567"/>
                  </a:lnTo>
                  <a:lnTo>
                    <a:pt x="690" y="565"/>
                  </a:lnTo>
                  <a:lnTo>
                    <a:pt x="690" y="563"/>
                  </a:lnTo>
                  <a:lnTo>
                    <a:pt x="692" y="563"/>
                  </a:lnTo>
                  <a:lnTo>
                    <a:pt x="692" y="565"/>
                  </a:lnTo>
                  <a:lnTo>
                    <a:pt x="692" y="563"/>
                  </a:lnTo>
                  <a:lnTo>
                    <a:pt x="695" y="563"/>
                  </a:lnTo>
                  <a:lnTo>
                    <a:pt x="692" y="563"/>
                  </a:lnTo>
                  <a:lnTo>
                    <a:pt x="695" y="563"/>
                  </a:lnTo>
                  <a:lnTo>
                    <a:pt x="695" y="565"/>
                  </a:lnTo>
                  <a:lnTo>
                    <a:pt x="695" y="563"/>
                  </a:lnTo>
                  <a:lnTo>
                    <a:pt x="695" y="565"/>
                  </a:lnTo>
                  <a:lnTo>
                    <a:pt x="697" y="565"/>
                  </a:lnTo>
                  <a:lnTo>
                    <a:pt x="697" y="567"/>
                  </a:lnTo>
                  <a:lnTo>
                    <a:pt x="697" y="565"/>
                  </a:lnTo>
                  <a:lnTo>
                    <a:pt x="697" y="567"/>
                  </a:lnTo>
                  <a:lnTo>
                    <a:pt x="697" y="565"/>
                  </a:lnTo>
                  <a:lnTo>
                    <a:pt x="697" y="567"/>
                  </a:lnTo>
                  <a:lnTo>
                    <a:pt x="700" y="567"/>
                  </a:lnTo>
                  <a:lnTo>
                    <a:pt x="702" y="567"/>
                  </a:lnTo>
                  <a:lnTo>
                    <a:pt x="702" y="570"/>
                  </a:lnTo>
                  <a:lnTo>
                    <a:pt x="702" y="567"/>
                  </a:lnTo>
                  <a:lnTo>
                    <a:pt x="702" y="570"/>
                  </a:lnTo>
                  <a:lnTo>
                    <a:pt x="702" y="567"/>
                  </a:lnTo>
                  <a:lnTo>
                    <a:pt x="704" y="567"/>
                  </a:lnTo>
                  <a:lnTo>
                    <a:pt x="704" y="570"/>
                  </a:lnTo>
                  <a:lnTo>
                    <a:pt x="704" y="567"/>
                  </a:lnTo>
                  <a:lnTo>
                    <a:pt x="704" y="570"/>
                  </a:lnTo>
                  <a:lnTo>
                    <a:pt x="704" y="572"/>
                  </a:lnTo>
                  <a:lnTo>
                    <a:pt x="707" y="572"/>
                  </a:lnTo>
                  <a:lnTo>
                    <a:pt x="704" y="572"/>
                  </a:lnTo>
                  <a:lnTo>
                    <a:pt x="707" y="572"/>
                  </a:lnTo>
                  <a:lnTo>
                    <a:pt x="707" y="575"/>
                  </a:lnTo>
                  <a:lnTo>
                    <a:pt x="707" y="577"/>
                  </a:lnTo>
                  <a:lnTo>
                    <a:pt x="704" y="577"/>
                  </a:lnTo>
                  <a:lnTo>
                    <a:pt x="704" y="579"/>
                  </a:lnTo>
                  <a:lnTo>
                    <a:pt x="707" y="579"/>
                  </a:lnTo>
                  <a:lnTo>
                    <a:pt x="704" y="579"/>
                  </a:lnTo>
                  <a:lnTo>
                    <a:pt x="707" y="579"/>
                  </a:lnTo>
                  <a:lnTo>
                    <a:pt x="704" y="579"/>
                  </a:lnTo>
                  <a:lnTo>
                    <a:pt x="704" y="582"/>
                  </a:lnTo>
                  <a:lnTo>
                    <a:pt x="704" y="584"/>
                  </a:lnTo>
                  <a:lnTo>
                    <a:pt x="704" y="582"/>
                  </a:lnTo>
                  <a:lnTo>
                    <a:pt x="704" y="584"/>
                  </a:lnTo>
                  <a:lnTo>
                    <a:pt x="704" y="582"/>
                  </a:lnTo>
                  <a:lnTo>
                    <a:pt x="704" y="584"/>
                  </a:lnTo>
                  <a:lnTo>
                    <a:pt x="704" y="582"/>
                  </a:lnTo>
                  <a:lnTo>
                    <a:pt x="704" y="584"/>
                  </a:lnTo>
                  <a:lnTo>
                    <a:pt x="707" y="582"/>
                  </a:lnTo>
                  <a:lnTo>
                    <a:pt x="707" y="584"/>
                  </a:lnTo>
                  <a:lnTo>
                    <a:pt x="709" y="584"/>
                  </a:lnTo>
                  <a:lnTo>
                    <a:pt x="709" y="586"/>
                  </a:lnTo>
                  <a:lnTo>
                    <a:pt x="709" y="584"/>
                  </a:lnTo>
                  <a:lnTo>
                    <a:pt x="709" y="586"/>
                  </a:lnTo>
                  <a:lnTo>
                    <a:pt x="709" y="589"/>
                  </a:lnTo>
                  <a:lnTo>
                    <a:pt x="709" y="591"/>
                  </a:lnTo>
                  <a:lnTo>
                    <a:pt x="709" y="594"/>
                  </a:lnTo>
                  <a:lnTo>
                    <a:pt x="707" y="594"/>
                  </a:lnTo>
                  <a:lnTo>
                    <a:pt x="709" y="594"/>
                  </a:lnTo>
                  <a:lnTo>
                    <a:pt x="707" y="594"/>
                  </a:lnTo>
                  <a:lnTo>
                    <a:pt x="709" y="594"/>
                  </a:lnTo>
                  <a:lnTo>
                    <a:pt x="707" y="596"/>
                  </a:lnTo>
                  <a:lnTo>
                    <a:pt x="709" y="596"/>
                  </a:lnTo>
                  <a:lnTo>
                    <a:pt x="711" y="596"/>
                  </a:lnTo>
                  <a:lnTo>
                    <a:pt x="711" y="598"/>
                  </a:lnTo>
                  <a:lnTo>
                    <a:pt x="714" y="598"/>
                  </a:lnTo>
                  <a:lnTo>
                    <a:pt x="714" y="596"/>
                  </a:lnTo>
                  <a:lnTo>
                    <a:pt x="714" y="598"/>
                  </a:lnTo>
                  <a:lnTo>
                    <a:pt x="714" y="596"/>
                  </a:lnTo>
                  <a:lnTo>
                    <a:pt x="716" y="596"/>
                  </a:lnTo>
                  <a:lnTo>
                    <a:pt x="716" y="598"/>
                  </a:lnTo>
                  <a:lnTo>
                    <a:pt x="716" y="601"/>
                  </a:lnTo>
                  <a:lnTo>
                    <a:pt x="714" y="601"/>
                  </a:lnTo>
                  <a:lnTo>
                    <a:pt x="716" y="601"/>
                  </a:lnTo>
                  <a:lnTo>
                    <a:pt x="716" y="603"/>
                  </a:lnTo>
                  <a:lnTo>
                    <a:pt x="719" y="603"/>
                  </a:lnTo>
                  <a:lnTo>
                    <a:pt x="716" y="603"/>
                  </a:lnTo>
                  <a:lnTo>
                    <a:pt x="716" y="605"/>
                  </a:lnTo>
                  <a:lnTo>
                    <a:pt x="716" y="608"/>
                  </a:lnTo>
                  <a:lnTo>
                    <a:pt x="716" y="610"/>
                  </a:lnTo>
                  <a:lnTo>
                    <a:pt x="714" y="610"/>
                  </a:lnTo>
                  <a:lnTo>
                    <a:pt x="714" y="608"/>
                  </a:lnTo>
                  <a:lnTo>
                    <a:pt x="711" y="608"/>
                  </a:lnTo>
                  <a:lnTo>
                    <a:pt x="711" y="605"/>
                  </a:lnTo>
                  <a:lnTo>
                    <a:pt x="709" y="605"/>
                  </a:lnTo>
                  <a:lnTo>
                    <a:pt x="709" y="603"/>
                  </a:lnTo>
                  <a:lnTo>
                    <a:pt x="707" y="603"/>
                  </a:lnTo>
                  <a:lnTo>
                    <a:pt x="707" y="601"/>
                  </a:lnTo>
                  <a:lnTo>
                    <a:pt x="704" y="601"/>
                  </a:lnTo>
                  <a:lnTo>
                    <a:pt x="704" y="603"/>
                  </a:lnTo>
                  <a:lnTo>
                    <a:pt x="702" y="603"/>
                  </a:lnTo>
                  <a:lnTo>
                    <a:pt x="700" y="603"/>
                  </a:lnTo>
                  <a:lnTo>
                    <a:pt x="697" y="603"/>
                  </a:lnTo>
                  <a:lnTo>
                    <a:pt x="697" y="601"/>
                  </a:lnTo>
                  <a:lnTo>
                    <a:pt x="695" y="601"/>
                  </a:lnTo>
                  <a:lnTo>
                    <a:pt x="692" y="601"/>
                  </a:lnTo>
                  <a:lnTo>
                    <a:pt x="692" y="603"/>
                  </a:lnTo>
                  <a:lnTo>
                    <a:pt x="690" y="601"/>
                  </a:lnTo>
                  <a:lnTo>
                    <a:pt x="690" y="603"/>
                  </a:lnTo>
                  <a:lnTo>
                    <a:pt x="690" y="601"/>
                  </a:lnTo>
                  <a:lnTo>
                    <a:pt x="692" y="603"/>
                  </a:lnTo>
                  <a:lnTo>
                    <a:pt x="692" y="601"/>
                  </a:lnTo>
                  <a:lnTo>
                    <a:pt x="695" y="601"/>
                  </a:lnTo>
                  <a:lnTo>
                    <a:pt x="697" y="601"/>
                  </a:lnTo>
                  <a:lnTo>
                    <a:pt x="697" y="603"/>
                  </a:lnTo>
                  <a:lnTo>
                    <a:pt x="700" y="603"/>
                  </a:lnTo>
                  <a:lnTo>
                    <a:pt x="702" y="603"/>
                  </a:lnTo>
                  <a:lnTo>
                    <a:pt x="704" y="603"/>
                  </a:lnTo>
                  <a:lnTo>
                    <a:pt x="704" y="601"/>
                  </a:lnTo>
                  <a:lnTo>
                    <a:pt x="707" y="601"/>
                  </a:lnTo>
                  <a:lnTo>
                    <a:pt x="707" y="603"/>
                  </a:lnTo>
                  <a:lnTo>
                    <a:pt x="709" y="603"/>
                  </a:lnTo>
                  <a:lnTo>
                    <a:pt x="709" y="605"/>
                  </a:lnTo>
                  <a:lnTo>
                    <a:pt x="711" y="608"/>
                  </a:lnTo>
                  <a:lnTo>
                    <a:pt x="714" y="608"/>
                  </a:lnTo>
                  <a:lnTo>
                    <a:pt x="714" y="610"/>
                  </a:lnTo>
                  <a:lnTo>
                    <a:pt x="714" y="613"/>
                  </a:lnTo>
                  <a:lnTo>
                    <a:pt x="714" y="615"/>
                  </a:lnTo>
                  <a:lnTo>
                    <a:pt x="714" y="617"/>
                  </a:lnTo>
                  <a:lnTo>
                    <a:pt x="711" y="617"/>
                  </a:lnTo>
                  <a:lnTo>
                    <a:pt x="711" y="620"/>
                  </a:lnTo>
                  <a:lnTo>
                    <a:pt x="711" y="622"/>
                  </a:lnTo>
                  <a:lnTo>
                    <a:pt x="709" y="622"/>
                  </a:lnTo>
                  <a:lnTo>
                    <a:pt x="709" y="624"/>
                  </a:lnTo>
                  <a:lnTo>
                    <a:pt x="707" y="624"/>
                  </a:lnTo>
                  <a:lnTo>
                    <a:pt x="704" y="624"/>
                  </a:lnTo>
                  <a:lnTo>
                    <a:pt x="704" y="627"/>
                  </a:lnTo>
                  <a:lnTo>
                    <a:pt x="704" y="624"/>
                  </a:lnTo>
                  <a:lnTo>
                    <a:pt x="704" y="627"/>
                  </a:lnTo>
                  <a:lnTo>
                    <a:pt x="704" y="624"/>
                  </a:lnTo>
                  <a:lnTo>
                    <a:pt x="704" y="627"/>
                  </a:lnTo>
                  <a:lnTo>
                    <a:pt x="702" y="629"/>
                  </a:lnTo>
                  <a:lnTo>
                    <a:pt x="700" y="629"/>
                  </a:lnTo>
                  <a:lnTo>
                    <a:pt x="702" y="629"/>
                  </a:lnTo>
                  <a:lnTo>
                    <a:pt x="700" y="629"/>
                  </a:lnTo>
                  <a:lnTo>
                    <a:pt x="700" y="632"/>
                  </a:lnTo>
                  <a:lnTo>
                    <a:pt x="700" y="629"/>
                  </a:lnTo>
                  <a:lnTo>
                    <a:pt x="700" y="632"/>
                  </a:lnTo>
                  <a:lnTo>
                    <a:pt x="697" y="632"/>
                  </a:lnTo>
                  <a:lnTo>
                    <a:pt x="697" y="634"/>
                  </a:lnTo>
                  <a:lnTo>
                    <a:pt x="695" y="634"/>
                  </a:lnTo>
                  <a:lnTo>
                    <a:pt x="695" y="636"/>
                  </a:lnTo>
                  <a:lnTo>
                    <a:pt x="692" y="636"/>
                  </a:lnTo>
                  <a:lnTo>
                    <a:pt x="692" y="639"/>
                  </a:lnTo>
                  <a:lnTo>
                    <a:pt x="692" y="636"/>
                  </a:lnTo>
                  <a:lnTo>
                    <a:pt x="692" y="639"/>
                  </a:lnTo>
                  <a:lnTo>
                    <a:pt x="690" y="639"/>
                  </a:lnTo>
                  <a:lnTo>
                    <a:pt x="690" y="641"/>
                  </a:lnTo>
                  <a:lnTo>
                    <a:pt x="688" y="641"/>
                  </a:lnTo>
                  <a:lnTo>
                    <a:pt x="690" y="641"/>
                  </a:lnTo>
                  <a:lnTo>
                    <a:pt x="688" y="641"/>
                  </a:lnTo>
                  <a:lnTo>
                    <a:pt x="688" y="643"/>
                  </a:lnTo>
                  <a:lnTo>
                    <a:pt x="685" y="643"/>
                  </a:lnTo>
                  <a:lnTo>
                    <a:pt x="685" y="646"/>
                  </a:lnTo>
                  <a:lnTo>
                    <a:pt x="683" y="646"/>
                  </a:lnTo>
                  <a:lnTo>
                    <a:pt x="683" y="643"/>
                  </a:lnTo>
                  <a:lnTo>
                    <a:pt x="683" y="646"/>
                  </a:lnTo>
                  <a:lnTo>
                    <a:pt x="683" y="643"/>
                  </a:lnTo>
                  <a:lnTo>
                    <a:pt x="683" y="646"/>
                  </a:lnTo>
                  <a:lnTo>
                    <a:pt x="681" y="646"/>
                  </a:lnTo>
                  <a:lnTo>
                    <a:pt x="678" y="646"/>
                  </a:lnTo>
                  <a:lnTo>
                    <a:pt x="681" y="646"/>
                  </a:lnTo>
                  <a:lnTo>
                    <a:pt x="678" y="646"/>
                  </a:lnTo>
                  <a:lnTo>
                    <a:pt x="678" y="648"/>
                  </a:lnTo>
                  <a:lnTo>
                    <a:pt x="676" y="648"/>
                  </a:lnTo>
                  <a:lnTo>
                    <a:pt x="676" y="651"/>
                  </a:lnTo>
                  <a:lnTo>
                    <a:pt x="673" y="651"/>
                  </a:lnTo>
                  <a:lnTo>
                    <a:pt x="671" y="653"/>
                  </a:lnTo>
                  <a:lnTo>
                    <a:pt x="671" y="651"/>
                  </a:lnTo>
                  <a:lnTo>
                    <a:pt x="671" y="653"/>
                  </a:lnTo>
                  <a:lnTo>
                    <a:pt x="669" y="653"/>
                  </a:lnTo>
                  <a:lnTo>
                    <a:pt x="666" y="653"/>
                  </a:lnTo>
                  <a:lnTo>
                    <a:pt x="664" y="653"/>
                  </a:lnTo>
                  <a:lnTo>
                    <a:pt x="664" y="655"/>
                  </a:lnTo>
                  <a:lnTo>
                    <a:pt x="662" y="655"/>
                  </a:lnTo>
                  <a:lnTo>
                    <a:pt x="659" y="655"/>
                  </a:lnTo>
                  <a:lnTo>
                    <a:pt x="657" y="655"/>
                  </a:lnTo>
                  <a:lnTo>
                    <a:pt x="654" y="655"/>
                  </a:lnTo>
                  <a:lnTo>
                    <a:pt x="652" y="658"/>
                  </a:lnTo>
                  <a:lnTo>
                    <a:pt x="650" y="658"/>
                  </a:lnTo>
                  <a:lnTo>
                    <a:pt x="647" y="658"/>
                  </a:lnTo>
                  <a:lnTo>
                    <a:pt x="645" y="660"/>
                  </a:lnTo>
                  <a:lnTo>
                    <a:pt x="643" y="660"/>
                  </a:lnTo>
                  <a:lnTo>
                    <a:pt x="640" y="660"/>
                  </a:lnTo>
                  <a:lnTo>
                    <a:pt x="638" y="660"/>
                  </a:lnTo>
                  <a:lnTo>
                    <a:pt x="635" y="660"/>
                  </a:lnTo>
                  <a:lnTo>
                    <a:pt x="633" y="660"/>
                  </a:lnTo>
                  <a:lnTo>
                    <a:pt x="633" y="662"/>
                  </a:lnTo>
                  <a:lnTo>
                    <a:pt x="631" y="662"/>
                  </a:lnTo>
                  <a:lnTo>
                    <a:pt x="628" y="662"/>
                  </a:lnTo>
                  <a:lnTo>
                    <a:pt x="626" y="662"/>
                  </a:lnTo>
                  <a:lnTo>
                    <a:pt x="624" y="662"/>
                  </a:lnTo>
                  <a:lnTo>
                    <a:pt x="621" y="662"/>
                  </a:lnTo>
                  <a:lnTo>
                    <a:pt x="619" y="662"/>
                  </a:lnTo>
                  <a:lnTo>
                    <a:pt x="621" y="662"/>
                  </a:lnTo>
                  <a:lnTo>
                    <a:pt x="619" y="662"/>
                  </a:lnTo>
                  <a:lnTo>
                    <a:pt x="616" y="662"/>
                  </a:lnTo>
                  <a:lnTo>
                    <a:pt x="614" y="662"/>
                  </a:lnTo>
                  <a:lnTo>
                    <a:pt x="612" y="662"/>
                  </a:lnTo>
                  <a:lnTo>
                    <a:pt x="609" y="662"/>
                  </a:lnTo>
                  <a:lnTo>
                    <a:pt x="607" y="662"/>
                  </a:lnTo>
                  <a:lnTo>
                    <a:pt x="605" y="662"/>
                  </a:lnTo>
                  <a:lnTo>
                    <a:pt x="602" y="662"/>
                  </a:lnTo>
                  <a:lnTo>
                    <a:pt x="602" y="660"/>
                  </a:lnTo>
                  <a:lnTo>
                    <a:pt x="600" y="660"/>
                  </a:lnTo>
                  <a:lnTo>
                    <a:pt x="597" y="660"/>
                  </a:lnTo>
                  <a:lnTo>
                    <a:pt x="595" y="660"/>
                  </a:lnTo>
                  <a:lnTo>
                    <a:pt x="593" y="660"/>
                  </a:lnTo>
                  <a:lnTo>
                    <a:pt x="593" y="658"/>
                  </a:lnTo>
                  <a:lnTo>
                    <a:pt x="590" y="658"/>
                  </a:lnTo>
                  <a:lnTo>
                    <a:pt x="588" y="658"/>
                  </a:lnTo>
                  <a:lnTo>
                    <a:pt x="588" y="655"/>
                  </a:lnTo>
                  <a:lnTo>
                    <a:pt x="586" y="655"/>
                  </a:lnTo>
                  <a:lnTo>
                    <a:pt x="583" y="655"/>
                  </a:lnTo>
                  <a:lnTo>
                    <a:pt x="581" y="653"/>
                  </a:lnTo>
                  <a:lnTo>
                    <a:pt x="579" y="653"/>
                  </a:lnTo>
                  <a:lnTo>
                    <a:pt x="576" y="653"/>
                  </a:lnTo>
                  <a:lnTo>
                    <a:pt x="571" y="651"/>
                  </a:lnTo>
                  <a:lnTo>
                    <a:pt x="569" y="651"/>
                  </a:lnTo>
                  <a:lnTo>
                    <a:pt x="569" y="648"/>
                  </a:lnTo>
                  <a:lnTo>
                    <a:pt x="569" y="651"/>
                  </a:lnTo>
                  <a:lnTo>
                    <a:pt x="567" y="651"/>
                  </a:lnTo>
                  <a:lnTo>
                    <a:pt x="567" y="648"/>
                  </a:lnTo>
                  <a:lnTo>
                    <a:pt x="567" y="651"/>
                  </a:lnTo>
                  <a:lnTo>
                    <a:pt x="567" y="648"/>
                  </a:lnTo>
                  <a:lnTo>
                    <a:pt x="564" y="648"/>
                  </a:lnTo>
                  <a:lnTo>
                    <a:pt x="562" y="646"/>
                  </a:lnTo>
                  <a:lnTo>
                    <a:pt x="564" y="646"/>
                  </a:lnTo>
                  <a:lnTo>
                    <a:pt x="562" y="646"/>
                  </a:lnTo>
                  <a:lnTo>
                    <a:pt x="562" y="643"/>
                  </a:lnTo>
                  <a:lnTo>
                    <a:pt x="560" y="643"/>
                  </a:lnTo>
                  <a:lnTo>
                    <a:pt x="562" y="643"/>
                  </a:lnTo>
                  <a:lnTo>
                    <a:pt x="562" y="646"/>
                  </a:lnTo>
                  <a:lnTo>
                    <a:pt x="562" y="648"/>
                  </a:lnTo>
                  <a:lnTo>
                    <a:pt x="564" y="648"/>
                  </a:lnTo>
                  <a:lnTo>
                    <a:pt x="562" y="648"/>
                  </a:lnTo>
                  <a:lnTo>
                    <a:pt x="564" y="648"/>
                  </a:lnTo>
                  <a:lnTo>
                    <a:pt x="567" y="648"/>
                  </a:lnTo>
                  <a:lnTo>
                    <a:pt x="567" y="651"/>
                  </a:lnTo>
                  <a:lnTo>
                    <a:pt x="569" y="651"/>
                  </a:lnTo>
                  <a:lnTo>
                    <a:pt x="571" y="651"/>
                  </a:lnTo>
                  <a:lnTo>
                    <a:pt x="569" y="651"/>
                  </a:lnTo>
                  <a:lnTo>
                    <a:pt x="567" y="651"/>
                  </a:lnTo>
                  <a:lnTo>
                    <a:pt x="564" y="651"/>
                  </a:lnTo>
                  <a:lnTo>
                    <a:pt x="562" y="651"/>
                  </a:lnTo>
                  <a:lnTo>
                    <a:pt x="560" y="651"/>
                  </a:lnTo>
                  <a:lnTo>
                    <a:pt x="557" y="651"/>
                  </a:lnTo>
                  <a:lnTo>
                    <a:pt x="555" y="651"/>
                  </a:lnTo>
                  <a:lnTo>
                    <a:pt x="552" y="651"/>
                  </a:lnTo>
                  <a:lnTo>
                    <a:pt x="550" y="648"/>
                  </a:lnTo>
                  <a:lnTo>
                    <a:pt x="548" y="648"/>
                  </a:lnTo>
                  <a:lnTo>
                    <a:pt x="545" y="648"/>
                  </a:lnTo>
                  <a:lnTo>
                    <a:pt x="541" y="648"/>
                  </a:lnTo>
                  <a:lnTo>
                    <a:pt x="541" y="646"/>
                  </a:lnTo>
                  <a:lnTo>
                    <a:pt x="538" y="646"/>
                  </a:lnTo>
                  <a:lnTo>
                    <a:pt x="536" y="646"/>
                  </a:lnTo>
                  <a:lnTo>
                    <a:pt x="533" y="646"/>
                  </a:lnTo>
                  <a:lnTo>
                    <a:pt x="531" y="646"/>
                  </a:lnTo>
                  <a:lnTo>
                    <a:pt x="529" y="646"/>
                  </a:lnTo>
                  <a:lnTo>
                    <a:pt x="526" y="646"/>
                  </a:lnTo>
                  <a:lnTo>
                    <a:pt x="526" y="643"/>
                  </a:lnTo>
                  <a:lnTo>
                    <a:pt x="524" y="643"/>
                  </a:lnTo>
                  <a:lnTo>
                    <a:pt x="522" y="643"/>
                  </a:lnTo>
                  <a:lnTo>
                    <a:pt x="519" y="643"/>
                  </a:lnTo>
                  <a:lnTo>
                    <a:pt x="519" y="641"/>
                  </a:lnTo>
                  <a:lnTo>
                    <a:pt x="517" y="641"/>
                  </a:lnTo>
                  <a:lnTo>
                    <a:pt x="517" y="639"/>
                  </a:lnTo>
                  <a:lnTo>
                    <a:pt x="517" y="641"/>
                  </a:lnTo>
                  <a:lnTo>
                    <a:pt x="517" y="639"/>
                  </a:lnTo>
                  <a:lnTo>
                    <a:pt x="514" y="639"/>
                  </a:lnTo>
                  <a:lnTo>
                    <a:pt x="512" y="639"/>
                  </a:lnTo>
                  <a:lnTo>
                    <a:pt x="512" y="636"/>
                  </a:lnTo>
                  <a:lnTo>
                    <a:pt x="512" y="639"/>
                  </a:lnTo>
                  <a:lnTo>
                    <a:pt x="510" y="636"/>
                  </a:lnTo>
                  <a:lnTo>
                    <a:pt x="507" y="636"/>
                  </a:lnTo>
                  <a:lnTo>
                    <a:pt x="507" y="634"/>
                  </a:lnTo>
                  <a:lnTo>
                    <a:pt x="505" y="634"/>
                  </a:lnTo>
                  <a:lnTo>
                    <a:pt x="505" y="632"/>
                  </a:lnTo>
                  <a:lnTo>
                    <a:pt x="503" y="632"/>
                  </a:lnTo>
                  <a:lnTo>
                    <a:pt x="500" y="632"/>
                  </a:lnTo>
                  <a:lnTo>
                    <a:pt x="498" y="632"/>
                  </a:lnTo>
                  <a:lnTo>
                    <a:pt x="498" y="634"/>
                  </a:lnTo>
                  <a:lnTo>
                    <a:pt x="495" y="634"/>
                  </a:lnTo>
                  <a:lnTo>
                    <a:pt x="498" y="634"/>
                  </a:lnTo>
                  <a:lnTo>
                    <a:pt x="495" y="634"/>
                  </a:lnTo>
                  <a:lnTo>
                    <a:pt x="495" y="636"/>
                  </a:lnTo>
                  <a:lnTo>
                    <a:pt x="493" y="636"/>
                  </a:lnTo>
                  <a:lnTo>
                    <a:pt x="491" y="636"/>
                  </a:lnTo>
                  <a:lnTo>
                    <a:pt x="488" y="634"/>
                  </a:lnTo>
                  <a:lnTo>
                    <a:pt x="486" y="634"/>
                  </a:lnTo>
                  <a:lnTo>
                    <a:pt x="486" y="632"/>
                  </a:lnTo>
                  <a:lnTo>
                    <a:pt x="488" y="632"/>
                  </a:lnTo>
                  <a:lnTo>
                    <a:pt x="488" y="629"/>
                  </a:lnTo>
                  <a:lnTo>
                    <a:pt x="488" y="632"/>
                  </a:lnTo>
                  <a:lnTo>
                    <a:pt x="491" y="632"/>
                  </a:lnTo>
                  <a:lnTo>
                    <a:pt x="491" y="629"/>
                  </a:lnTo>
                  <a:lnTo>
                    <a:pt x="491" y="632"/>
                  </a:lnTo>
                  <a:lnTo>
                    <a:pt x="493" y="632"/>
                  </a:lnTo>
                  <a:lnTo>
                    <a:pt x="491" y="629"/>
                  </a:lnTo>
                  <a:lnTo>
                    <a:pt x="488" y="629"/>
                  </a:lnTo>
                  <a:lnTo>
                    <a:pt x="486" y="629"/>
                  </a:lnTo>
                  <a:lnTo>
                    <a:pt x="488" y="629"/>
                  </a:lnTo>
                  <a:lnTo>
                    <a:pt x="486" y="629"/>
                  </a:lnTo>
                  <a:lnTo>
                    <a:pt x="486" y="627"/>
                  </a:lnTo>
                  <a:lnTo>
                    <a:pt x="486" y="629"/>
                  </a:lnTo>
                  <a:lnTo>
                    <a:pt x="486" y="627"/>
                  </a:lnTo>
                  <a:lnTo>
                    <a:pt x="486" y="629"/>
                  </a:lnTo>
                  <a:lnTo>
                    <a:pt x="484" y="629"/>
                  </a:lnTo>
                  <a:lnTo>
                    <a:pt x="484" y="627"/>
                  </a:lnTo>
                  <a:lnTo>
                    <a:pt x="484" y="629"/>
                  </a:lnTo>
                  <a:lnTo>
                    <a:pt x="481" y="629"/>
                  </a:lnTo>
                  <a:lnTo>
                    <a:pt x="481" y="627"/>
                  </a:lnTo>
                  <a:lnTo>
                    <a:pt x="484" y="627"/>
                  </a:lnTo>
                  <a:lnTo>
                    <a:pt x="481" y="627"/>
                  </a:lnTo>
                  <a:lnTo>
                    <a:pt x="484" y="627"/>
                  </a:lnTo>
                  <a:lnTo>
                    <a:pt x="481" y="627"/>
                  </a:lnTo>
                  <a:lnTo>
                    <a:pt x="481" y="629"/>
                  </a:lnTo>
                  <a:lnTo>
                    <a:pt x="481" y="627"/>
                  </a:lnTo>
                  <a:lnTo>
                    <a:pt x="479" y="627"/>
                  </a:lnTo>
                  <a:lnTo>
                    <a:pt x="481" y="627"/>
                  </a:lnTo>
                  <a:lnTo>
                    <a:pt x="479" y="627"/>
                  </a:lnTo>
                  <a:lnTo>
                    <a:pt x="479" y="629"/>
                  </a:lnTo>
                  <a:lnTo>
                    <a:pt x="476" y="627"/>
                  </a:lnTo>
                  <a:lnTo>
                    <a:pt x="479" y="627"/>
                  </a:lnTo>
                  <a:lnTo>
                    <a:pt x="479" y="624"/>
                  </a:lnTo>
                  <a:lnTo>
                    <a:pt x="481" y="624"/>
                  </a:lnTo>
                  <a:lnTo>
                    <a:pt x="479" y="622"/>
                  </a:lnTo>
                  <a:lnTo>
                    <a:pt x="479" y="624"/>
                  </a:lnTo>
                  <a:lnTo>
                    <a:pt x="479" y="627"/>
                  </a:lnTo>
                  <a:lnTo>
                    <a:pt x="476" y="627"/>
                  </a:lnTo>
                  <a:lnTo>
                    <a:pt x="476" y="624"/>
                  </a:lnTo>
                  <a:lnTo>
                    <a:pt x="474" y="624"/>
                  </a:lnTo>
                  <a:lnTo>
                    <a:pt x="476" y="624"/>
                  </a:lnTo>
                  <a:lnTo>
                    <a:pt x="476" y="622"/>
                  </a:lnTo>
                  <a:lnTo>
                    <a:pt x="476" y="624"/>
                  </a:lnTo>
                  <a:lnTo>
                    <a:pt x="474" y="624"/>
                  </a:lnTo>
                  <a:lnTo>
                    <a:pt x="476" y="624"/>
                  </a:lnTo>
                  <a:lnTo>
                    <a:pt x="476" y="627"/>
                  </a:lnTo>
                  <a:lnTo>
                    <a:pt x="474" y="627"/>
                  </a:lnTo>
                  <a:lnTo>
                    <a:pt x="476" y="627"/>
                  </a:lnTo>
                  <a:lnTo>
                    <a:pt x="474" y="627"/>
                  </a:lnTo>
                  <a:lnTo>
                    <a:pt x="472" y="627"/>
                  </a:lnTo>
                  <a:lnTo>
                    <a:pt x="472" y="624"/>
                  </a:lnTo>
                  <a:lnTo>
                    <a:pt x="469" y="627"/>
                  </a:lnTo>
                  <a:lnTo>
                    <a:pt x="469" y="624"/>
                  </a:lnTo>
                  <a:lnTo>
                    <a:pt x="469" y="627"/>
                  </a:lnTo>
                  <a:lnTo>
                    <a:pt x="469" y="624"/>
                  </a:lnTo>
                  <a:lnTo>
                    <a:pt x="469" y="627"/>
                  </a:lnTo>
                  <a:lnTo>
                    <a:pt x="469" y="624"/>
                  </a:lnTo>
                  <a:lnTo>
                    <a:pt x="469" y="627"/>
                  </a:lnTo>
                  <a:lnTo>
                    <a:pt x="469" y="624"/>
                  </a:lnTo>
                  <a:lnTo>
                    <a:pt x="467" y="624"/>
                  </a:lnTo>
                  <a:lnTo>
                    <a:pt x="469" y="624"/>
                  </a:lnTo>
                  <a:lnTo>
                    <a:pt x="467" y="624"/>
                  </a:lnTo>
                  <a:lnTo>
                    <a:pt x="469" y="624"/>
                  </a:lnTo>
                  <a:lnTo>
                    <a:pt x="467" y="624"/>
                  </a:lnTo>
                  <a:lnTo>
                    <a:pt x="469" y="624"/>
                  </a:lnTo>
                  <a:lnTo>
                    <a:pt x="467" y="624"/>
                  </a:lnTo>
                  <a:lnTo>
                    <a:pt x="467" y="622"/>
                  </a:lnTo>
                  <a:lnTo>
                    <a:pt x="469" y="622"/>
                  </a:lnTo>
                  <a:lnTo>
                    <a:pt x="467" y="622"/>
                  </a:lnTo>
                  <a:lnTo>
                    <a:pt x="467" y="624"/>
                  </a:lnTo>
                  <a:lnTo>
                    <a:pt x="467" y="622"/>
                  </a:lnTo>
                  <a:lnTo>
                    <a:pt x="465" y="622"/>
                  </a:lnTo>
                  <a:lnTo>
                    <a:pt x="465" y="620"/>
                  </a:lnTo>
                  <a:lnTo>
                    <a:pt x="462" y="620"/>
                  </a:lnTo>
                  <a:lnTo>
                    <a:pt x="465" y="620"/>
                  </a:lnTo>
                  <a:lnTo>
                    <a:pt x="462" y="620"/>
                  </a:lnTo>
                  <a:lnTo>
                    <a:pt x="462" y="617"/>
                  </a:lnTo>
                  <a:lnTo>
                    <a:pt x="462" y="620"/>
                  </a:lnTo>
                  <a:lnTo>
                    <a:pt x="460" y="620"/>
                  </a:lnTo>
                  <a:lnTo>
                    <a:pt x="462" y="622"/>
                  </a:lnTo>
                  <a:lnTo>
                    <a:pt x="460" y="622"/>
                  </a:lnTo>
                  <a:lnTo>
                    <a:pt x="460" y="620"/>
                  </a:lnTo>
                  <a:lnTo>
                    <a:pt x="460" y="622"/>
                  </a:lnTo>
                  <a:lnTo>
                    <a:pt x="462" y="624"/>
                  </a:lnTo>
                  <a:lnTo>
                    <a:pt x="460" y="624"/>
                  </a:lnTo>
                  <a:lnTo>
                    <a:pt x="462" y="622"/>
                  </a:lnTo>
                  <a:lnTo>
                    <a:pt x="460" y="622"/>
                  </a:lnTo>
                  <a:lnTo>
                    <a:pt x="462" y="622"/>
                  </a:lnTo>
                  <a:lnTo>
                    <a:pt x="462" y="624"/>
                  </a:lnTo>
                  <a:lnTo>
                    <a:pt x="460" y="624"/>
                  </a:lnTo>
                  <a:lnTo>
                    <a:pt x="460" y="622"/>
                  </a:lnTo>
                  <a:lnTo>
                    <a:pt x="460" y="624"/>
                  </a:lnTo>
                  <a:lnTo>
                    <a:pt x="462" y="624"/>
                  </a:lnTo>
                  <a:lnTo>
                    <a:pt x="460" y="624"/>
                  </a:lnTo>
                  <a:lnTo>
                    <a:pt x="462" y="624"/>
                  </a:lnTo>
                  <a:lnTo>
                    <a:pt x="462" y="627"/>
                  </a:lnTo>
                  <a:lnTo>
                    <a:pt x="460" y="624"/>
                  </a:lnTo>
                  <a:lnTo>
                    <a:pt x="458" y="624"/>
                  </a:lnTo>
                  <a:lnTo>
                    <a:pt x="460" y="624"/>
                  </a:lnTo>
                  <a:lnTo>
                    <a:pt x="458" y="624"/>
                  </a:lnTo>
                  <a:lnTo>
                    <a:pt x="455" y="624"/>
                  </a:lnTo>
                  <a:lnTo>
                    <a:pt x="453" y="622"/>
                  </a:lnTo>
                  <a:lnTo>
                    <a:pt x="450" y="622"/>
                  </a:lnTo>
                  <a:lnTo>
                    <a:pt x="450" y="620"/>
                  </a:lnTo>
                  <a:lnTo>
                    <a:pt x="448" y="620"/>
                  </a:lnTo>
                  <a:lnTo>
                    <a:pt x="446" y="620"/>
                  </a:lnTo>
                  <a:lnTo>
                    <a:pt x="446" y="617"/>
                  </a:lnTo>
                  <a:lnTo>
                    <a:pt x="443" y="617"/>
                  </a:lnTo>
                  <a:lnTo>
                    <a:pt x="443" y="615"/>
                  </a:lnTo>
                  <a:lnTo>
                    <a:pt x="441" y="615"/>
                  </a:lnTo>
                  <a:lnTo>
                    <a:pt x="439" y="615"/>
                  </a:lnTo>
                  <a:lnTo>
                    <a:pt x="439" y="613"/>
                  </a:lnTo>
                  <a:lnTo>
                    <a:pt x="436" y="613"/>
                  </a:lnTo>
                  <a:lnTo>
                    <a:pt x="436" y="610"/>
                  </a:lnTo>
                  <a:lnTo>
                    <a:pt x="434" y="608"/>
                  </a:lnTo>
                  <a:lnTo>
                    <a:pt x="434" y="605"/>
                  </a:lnTo>
                  <a:lnTo>
                    <a:pt x="436" y="605"/>
                  </a:lnTo>
                  <a:lnTo>
                    <a:pt x="439" y="605"/>
                  </a:lnTo>
                  <a:lnTo>
                    <a:pt x="441" y="605"/>
                  </a:lnTo>
                  <a:lnTo>
                    <a:pt x="439" y="605"/>
                  </a:lnTo>
                  <a:lnTo>
                    <a:pt x="436" y="605"/>
                  </a:lnTo>
                  <a:lnTo>
                    <a:pt x="434" y="605"/>
                  </a:lnTo>
                  <a:lnTo>
                    <a:pt x="431" y="605"/>
                  </a:lnTo>
                  <a:lnTo>
                    <a:pt x="431" y="603"/>
                  </a:lnTo>
                  <a:lnTo>
                    <a:pt x="429" y="603"/>
                  </a:lnTo>
                  <a:lnTo>
                    <a:pt x="427" y="603"/>
                  </a:lnTo>
                  <a:lnTo>
                    <a:pt x="424" y="603"/>
                  </a:lnTo>
                  <a:lnTo>
                    <a:pt x="422" y="603"/>
                  </a:lnTo>
                  <a:lnTo>
                    <a:pt x="422" y="601"/>
                  </a:lnTo>
                  <a:lnTo>
                    <a:pt x="420" y="601"/>
                  </a:lnTo>
                  <a:lnTo>
                    <a:pt x="417" y="601"/>
                  </a:lnTo>
                  <a:lnTo>
                    <a:pt x="417" y="603"/>
                  </a:lnTo>
                  <a:lnTo>
                    <a:pt x="417" y="601"/>
                  </a:lnTo>
                  <a:lnTo>
                    <a:pt x="417" y="603"/>
                  </a:lnTo>
                  <a:lnTo>
                    <a:pt x="415" y="601"/>
                  </a:lnTo>
                  <a:lnTo>
                    <a:pt x="412" y="601"/>
                  </a:lnTo>
                  <a:lnTo>
                    <a:pt x="412" y="603"/>
                  </a:lnTo>
                  <a:lnTo>
                    <a:pt x="415" y="603"/>
                  </a:lnTo>
                  <a:lnTo>
                    <a:pt x="412" y="603"/>
                  </a:lnTo>
                  <a:lnTo>
                    <a:pt x="415" y="603"/>
                  </a:lnTo>
                  <a:lnTo>
                    <a:pt x="417" y="603"/>
                  </a:lnTo>
                  <a:lnTo>
                    <a:pt x="417" y="605"/>
                  </a:lnTo>
                  <a:lnTo>
                    <a:pt x="417" y="603"/>
                  </a:lnTo>
                  <a:lnTo>
                    <a:pt x="420" y="603"/>
                  </a:lnTo>
                  <a:lnTo>
                    <a:pt x="417" y="605"/>
                  </a:lnTo>
                  <a:lnTo>
                    <a:pt x="420" y="605"/>
                  </a:lnTo>
                  <a:lnTo>
                    <a:pt x="417" y="605"/>
                  </a:lnTo>
                  <a:lnTo>
                    <a:pt x="420" y="605"/>
                  </a:lnTo>
                  <a:lnTo>
                    <a:pt x="420" y="608"/>
                  </a:lnTo>
                  <a:lnTo>
                    <a:pt x="422" y="608"/>
                  </a:lnTo>
                  <a:lnTo>
                    <a:pt x="424" y="608"/>
                  </a:lnTo>
                  <a:lnTo>
                    <a:pt x="427" y="608"/>
                  </a:lnTo>
                  <a:lnTo>
                    <a:pt x="427" y="610"/>
                  </a:lnTo>
                  <a:lnTo>
                    <a:pt x="427" y="613"/>
                  </a:lnTo>
                  <a:lnTo>
                    <a:pt x="424" y="613"/>
                  </a:lnTo>
                  <a:lnTo>
                    <a:pt x="427" y="613"/>
                  </a:lnTo>
                  <a:lnTo>
                    <a:pt x="424" y="613"/>
                  </a:lnTo>
                  <a:lnTo>
                    <a:pt x="422" y="613"/>
                  </a:lnTo>
                  <a:lnTo>
                    <a:pt x="424" y="613"/>
                  </a:lnTo>
                  <a:lnTo>
                    <a:pt x="427" y="613"/>
                  </a:lnTo>
                  <a:lnTo>
                    <a:pt x="427" y="615"/>
                  </a:lnTo>
                  <a:lnTo>
                    <a:pt x="424" y="615"/>
                  </a:lnTo>
                  <a:lnTo>
                    <a:pt x="424" y="613"/>
                  </a:lnTo>
                  <a:lnTo>
                    <a:pt x="424" y="615"/>
                  </a:lnTo>
                  <a:lnTo>
                    <a:pt x="424" y="613"/>
                  </a:lnTo>
                  <a:lnTo>
                    <a:pt x="424" y="615"/>
                  </a:lnTo>
                  <a:lnTo>
                    <a:pt x="424" y="613"/>
                  </a:lnTo>
                  <a:lnTo>
                    <a:pt x="424" y="615"/>
                  </a:lnTo>
                  <a:lnTo>
                    <a:pt x="424" y="617"/>
                  </a:lnTo>
                  <a:lnTo>
                    <a:pt x="424" y="615"/>
                  </a:lnTo>
                  <a:lnTo>
                    <a:pt x="424" y="617"/>
                  </a:lnTo>
                  <a:lnTo>
                    <a:pt x="424" y="615"/>
                  </a:lnTo>
                  <a:lnTo>
                    <a:pt x="424" y="617"/>
                  </a:lnTo>
                  <a:lnTo>
                    <a:pt x="424" y="615"/>
                  </a:lnTo>
                  <a:lnTo>
                    <a:pt x="422" y="615"/>
                  </a:lnTo>
                  <a:lnTo>
                    <a:pt x="422" y="617"/>
                  </a:lnTo>
                  <a:lnTo>
                    <a:pt x="424" y="617"/>
                  </a:lnTo>
                  <a:lnTo>
                    <a:pt x="427" y="617"/>
                  </a:lnTo>
                  <a:lnTo>
                    <a:pt x="429" y="617"/>
                  </a:lnTo>
                  <a:lnTo>
                    <a:pt x="429" y="620"/>
                  </a:lnTo>
                  <a:lnTo>
                    <a:pt x="431" y="620"/>
                  </a:lnTo>
                  <a:lnTo>
                    <a:pt x="431" y="622"/>
                  </a:lnTo>
                  <a:lnTo>
                    <a:pt x="434" y="622"/>
                  </a:lnTo>
                  <a:lnTo>
                    <a:pt x="436" y="622"/>
                  </a:lnTo>
                  <a:lnTo>
                    <a:pt x="439" y="624"/>
                  </a:lnTo>
                  <a:lnTo>
                    <a:pt x="441" y="624"/>
                  </a:lnTo>
                  <a:lnTo>
                    <a:pt x="439" y="624"/>
                  </a:lnTo>
                  <a:lnTo>
                    <a:pt x="436" y="624"/>
                  </a:lnTo>
                  <a:lnTo>
                    <a:pt x="439" y="624"/>
                  </a:lnTo>
                  <a:lnTo>
                    <a:pt x="439" y="627"/>
                  </a:lnTo>
                  <a:lnTo>
                    <a:pt x="436" y="627"/>
                  </a:lnTo>
                  <a:lnTo>
                    <a:pt x="436" y="624"/>
                  </a:lnTo>
                  <a:lnTo>
                    <a:pt x="434" y="624"/>
                  </a:lnTo>
                  <a:lnTo>
                    <a:pt x="436" y="624"/>
                  </a:lnTo>
                  <a:lnTo>
                    <a:pt x="434" y="624"/>
                  </a:lnTo>
                  <a:lnTo>
                    <a:pt x="436" y="624"/>
                  </a:lnTo>
                  <a:lnTo>
                    <a:pt x="434" y="624"/>
                  </a:lnTo>
                  <a:lnTo>
                    <a:pt x="431" y="624"/>
                  </a:lnTo>
                  <a:lnTo>
                    <a:pt x="434" y="624"/>
                  </a:lnTo>
                  <a:lnTo>
                    <a:pt x="434" y="627"/>
                  </a:lnTo>
                  <a:lnTo>
                    <a:pt x="436" y="627"/>
                  </a:lnTo>
                  <a:lnTo>
                    <a:pt x="436" y="629"/>
                  </a:lnTo>
                  <a:lnTo>
                    <a:pt x="436" y="627"/>
                  </a:lnTo>
                  <a:lnTo>
                    <a:pt x="439" y="627"/>
                  </a:lnTo>
                  <a:lnTo>
                    <a:pt x="441" y="627"/>
                  </a:lnTo>
                  <a:lnTo>
                    <a:pt x="443" y="627"/>
                  </a:lnTo>
                  <a:lnTo>
                    <a:pt x="443" y="629"/>
                  </a:lnTo>
                  <a:lnTo>
                    <a:pt x="443" y="627"/>
                  </a:lnTo>
                  <a:lnTo>
                    <a:pt x="443" y="629"/>
                  </a:lnTo>
                  <a:lnTo>
                    <a:pt x="446" y="629"/>
                  </a:lnTo>
                  <a:lnTo>
                    <a:pt x="443" y="629"/>
                  </a:lnTo>
                  <a:lnTo>
                    <a:pt x="443" y="627"/>
                  </a:lnTo>
                  <a:lnTo>
                    <a:pt x="446" y="629"/>
                  </a:lnTo>
                  <a:lnTo>
                    <a:pt x="446" y="627"/>
                  </a:lnTo>
                  <a:lnTo>
                    <a:pt x="446" y="629"/>
                  </a:lnTo>
                  <a:lnTo>
                    <a:pt x="448" y="629"/>
                  </a:lnTo>
                  <a:lnTo>
                    <a:pt x="448" y="627"/>
                  </a:lnTo>
                  <a:lnTo>
                    <a:pt x="448" y="629"/>
                  </a:lnTo>
                  <a:lnTo>
                    <a:pt x="450" y="629"/>
                  </a:lnTo>
                  <a:lnTo>
                    <a:pt x="453" y="629"/>
                  </a:lnTo>
                  <a:lnTo>
                    <a:pt x="450" y="629"/>
                  </a:lnTo>
                  <a:lnTo>
                    <a:pt x="450" y="632"/>
                  </a:lnTo>
                  <a:lnTo>
                    <a:pt x="453" y="632"/>
                  </a:lnTo>
                  <a:lnTo>
                    <a:pt x="450" y="632"/>
                  </a:lnTo>
                  <a:lnTo>
                    <a:pt x="450" y="629"/>
                  </a:lnTo>
                  <a:lnTo>
                    <a:pt x="448" y="629"/>
                  </a:lnTo>
                  <a:lnTo>
                    <a:pt x="448" y="632"/>
                  </a:lnTo>
                  <a:lnTo>
                    <a:pt x="448" y="629"/>
                  </a:lnTo>
                  <a:lnTo>
                    <a:pt x="446" y="629"/>
                  </a:lnTo>
                  <a:lnTo>
                    <a:pt x="446" y="632"/>
                  </a:lnTo>
                  <a:lnTo>
                    <a:pt x="443" y="632"/>
                  </a:lnTo>
                  <a:lnTo>
                    <a:pt x="443" y="634"/>
                  </a:lnTo>
                  <a:lnTo>
                    <a:pt x="446" y="634"/>
                  </a:lnTo>
                  <a:lnTo>
                    <a:pt x="443" y="634"/>
                  </a:lnTo>
                  <a:lnTo>
                    <a:pt x="441" y="634"/>
                  </a:lnTo>
                  <a:lnTo>
                    <a:pt x="441" y="632"/>
                  </a:lnTo>
                  <a:lnTo>
                    <a:pt x="441" y="634"/>
                  </a:lnTo>
                  <a:lnTo>
                    <a:pt x="441" y="632"/>
                  </a:lnTo>
                  <a:lnTo>
                    <a:pt x="439" y="634"/>
                  </a:lnTo>
                  <a:lnTo>
                    <a:pt x="439" y="632"/>
                  </a:lnTo>
                  <a:lnTo>
                    <a:pt x="439" y="634"/>
                  </a:lnTo>
                  <a:lnTo>
                    <a:pt x="439" y="632"/>
                  </a:lnTo>
                  <a:lnTo>
                    <a:pt x="436" y="632"/>
                  </a:lnTo>
                  <a:lnTo>
                    <a:pt x="436" y="634"/>
                  </a:lnTo>
                  <a:lnTo>
                    <a:pt x="436" y="632"/>
                  </a:lnTo>
                  <a:lnTo>
                    <a:pt x="436" y="634"/>
                  </a:lnTo>
                  <a:lnTo>
                    <a:pt x="436" y="632"/>
                  </a:lnTo>
                  <a:lnTo>
                    <a:pt x="436" y="634"/>
                  </a:lnTo>
                  <a:lnTo>
                    <a:pt x="439" y="634"/>
                  </a:lnTo>
                  <a:lnTo>
                    <a:pt x="441" y="634"/>
                  </a:lnTo>
                  <a:lnTo>
                    <a:pt x="439" y="634"/>
                  </a:lnTo>
                  <a:lnTo>
                    <a:pt x="441" y="634"/>
                  </a:lnTo>
                  <a:lnTo>
                    <a:pt x="443" y="634"/>
                  </a:lnTo>
                  <a:lnTo>
                    <a:pt x="446" y="634"/>
                  </a:lnTo>
                  <a:lnTo>
                    <a:pt x="446" y="636"/>
                  </a:lnTo>
                  <a:lnTo>
                    <a:pt x="446" y="634"/>
                  </a:lnTo>
                  <a:lnTo>
                    <a:pt x="446" y="636"/>
                  </a:lnTo>
                  <a:lnTo>
                    <a:pt x="448" y="636"/>
                  </a:lnTo>
                  <a:lnTo>
                    <a:pt x="446" y="636"/>
                  </a:lnTo>
                  <a:lnTo>
                    <a:pt x="443" y="636"/>
                  </a:lnTo>
                  <a:lnTo>
                    <a:pt x="446" y="636"/>
                  </a:lnTo>
                  <a:lnTo>
                    <a:pt x="443" y="636"/>
                  </a:lnTo>
                  <a:lnTo>
                    <a:pt x="441" y="636"/>
                  </a:lnTo>
                  <a:lnTo>
                    <a:pt x="439" y="636"/>
                  </a:lnTo>
                  <a:lnTo>
                    <a:pt x="441" y="636"/>
                  </a:lnTo>
                  <a:lnTo>
                    <a:pt x="441" y="639"/>
                  </a:lnTo>
                  <a:lnTo>
                    <a:pt x="443" y="639"/>
                  </a:lnTo>
                  <a:lnTo>
                    <a:pt x="446" y="639"/>
                  </a:lnTo>
                  <a:lnTo>
                    <a:pt x="446" y="636"/>
                  </a:lnTo>
                  <a:lnTo>
                    <a:pt x="446" y="639"/>
                  </a:lnTo>
                  <a:lnTo>
                    <a:pt x="446" y="636"/>
                  </a:lnTo>
                  <a:lnTo>
                    <a:pt x="448" y="636"/>
                  </a:lnTo>
                  <a:lnTo>
                    <a:pt x="450" y="636"/>
                  </a:lnTo>
                  <a:lnTo>
                    <a:pt x="448" y="636"/>
                  </a:lnTo>
                  <a:lnTo>
                    <a:pt x="450" y="636"/>
                  </a:lnTo>
                  <a:lnTo>
                    <a:pt x="450" y="639"/>
                  </a:lnTo>
                  <a:lnTo>
                    <a:pt x="453" y="639"/>
                  </a:lnTo>
                  <a:lnTo>
                    <a:pt x="453" y="641"/>
                  </a:lnTo>
                  <a:lnTo>
                    <a:pt x="455" y="641"/>
                  </a:lnTo>
                  <a:lnTo>
                    <a:pt x="458" y="641"/>
                  </a:lnTo>
                  <a:lnTo>
                    <a:pt x="460" y="641"/>
                  </a:lnTo>
                  <a:lnTo>
                    <a:pt x="458" y="641"/>
                  </a:lnTo>
                  <a:lnTo>
                    <a:pt x="460" y="641"/>
                  </a:lnTo>
                  <a:lnTo>
                    <a:pt x="458" y="641"/>
                  </a:lnTo>
                  <a:lnTo>
                    <a:pt x="460" y="639"/>
                  </a:lnTo>
                  <a:lnTo>
                    <a:pt x="462" y="639"/>
                  </a:lnTo>
                  <a:lnTo>
                    <a:pt x="462" y="641"/>
                  </a:lnTo>
                  <a:lnTo>
                    <a:pt x="460" y="641"/>
                  </a:lnTo>
                  <a:lnTo>
                    <a:pt x="462" y="641"/>
                  </a:lnTo>
                  <a:lnTo>
                    <a:pt x="462" y="643"/>
                  </a:lnTo>
                  <a:lnTo>
                    <a:pt x="465" y="643"/>
                  </a:lnTo>
                  <a:lnTo>
                    <a:pt x="462" y="643"/>
                  </a:lnTo>
                  <a:lnTo>
                    <a:pt x="460" y="643"/>
                  </a:lnTo>
                  <a:lnTo>
                    <a:pt x="458" y="643"/>
                  </a:lnTo>
                  <a:lnTo>
                    <a:pt x="460" y="643"/>
                  </a:lnTo>
                  <a:lnTo>
                    <a:pt x="458" y="643"/>
                  </a:lnTo>
                  <a:lnTo>
                    <a:pt x="458" y="646"/>
                  </a:lnTo>
                  <a:lnTo>
                    <a:pt x="460" y="646"/>
                  </a:lnTo>
                  <a:lnTo>
                    <a:pt x="462" y="646"/>
                  </a:lnTo>
                  <a:lnTo>
                    <a:pt x="460" y="646"/>
                  </a:lnTo>
                  <a:lnTo>
                    <a:pt x="462" y="646"/>
                  </a:lnTo>
                  <a:lnTo>
                    <a:pt x="465" y="648"/>
                  </a:lnTo>
                  <a:lnTo>
                    <a:pt x="462" y="648"/>
                  </a:lnTo>
                  <a:lnTo>
                    <a:pt x="460" y="648"/>
                  </a:lnTo>
                  <a:lnTo>
                    <a:pt x="458" y="648"/>
                  </a:lnTo>
                  <a:lnTo>
                    <a:pt x="455" y="648"/>
                  </a:lnTo>
                  <a:lnTo>
                    <a:pt x="453" y="648"/>
                  </a:lnTo>
                  <a:lnTo>
                    <a:pt x="450" y="648"/>
                  </a:lnTo>
                  <a:lnTo>
                    <a:pt x="450" y="651"/>
                  </a:lnTo>
                  <a:lnTo>
                    <a:pt x="448" y="651"/>
                  </a:lnTo>
                  <a:lnTo>
                    <a:pt x="446" y="651"/>
                  </a:lnTo>
                  <a:lnTo>
                    <a:pt x="443" y="651"/>
                  </a:lnTo>
                  <a:lnTo>
                    <a:pt x="441" y="651"/>
                  </a:lnTo>
                  <a:lnTo>
                    <a:pt x="441" y="653"/>
                  </a:lnTo>
                  <a:lnTo>
                    <a:pt x="443" y="653"/>
                  </a:lnTo>
                  <a:lnTo>
                    <a:pt x="443" y="651"/>
                  </a:lnTo>
                  <a:lnTo>
                    <a:pt x="446" y="651"/>
                  </a:lnTo>
                  <a:lnTo>
                    <a:pt x="448" y="651"/>
                  </a:lnTo>
                  <a:lnTo>
                    <a:pt x="450" y="651"/>
                  </a:lnTo>
                  <a:lnTo>
                    <a:pt x="453" y="651"/>
                  </a:lnTo>
                  <a:lnTo>
                    <a:pt x="450" y="651"/>
                  </a:lnTo>
                  <a:lnTo>
                    <a:pt x="453" y="651"/>
                  </a:lnTo>
                  <a:lnTo>
                    <a:pt x="453" y="648"/>
                  </a:lnTo>
                  <a:lnTo>
                    <a:pt x="453" y="651"/>
                  </a:lnTo>
                  <a:lnTo>
                    <a:pt x="455" y="648"/>
                  </a:lnTo>
                  <a:lnTo>
                    <a:pt x="455" y="651"/>
                  </a:lnTo>
                  <a:lnTo>
                    <a:pt x="455" y="648"/>
                  </a:lnTo>
                  <a:lnTo>
                    <a:pt x="458" y="648"/>
                  </a:lnTo>
                  <a:lnTo>
                    <a:pt x="455" y="651"/>
                  </a:lnTo>
                  <a:lnTo>
                    <a:pt x="458" y="651"/>
                  </a:lnTo>
                  <a:lnTo>
                    <a:pt x="458" y="648"/>
                  </a:lnTo>
                  <a:lnTo>
                    <a:pt x="460" y="648"/>
                  </a:lnTo>
                  <a:lnTo>
                    <a:pt x="462" y="648"/>
                  </a:lnTo>
                  <a:lnTo>
                    <a:pt x="462" y="651"/>
                  </a:lnTo>
                  <a:lnTo>
                    <a:pt x="460" y="651"/>
                  </a:lnTo>
                  <a:lnTo>
                    <a:pt x="462" y="648"/>
                  </a:lnTo>
                  <a:lnTo>
                    <a:pt x="460" y="651"/>
                  </a:lnTo>
                  <a:lnTo>
                    <a:pt x="462" y="651"/>
                  </a:lnTo>
                  <a:lnTo>
                    <a:pt x="460" y="651"/>
                  </a:lnTo>
                  <a:lnTo>
                    <a:pt x="462" y="651"/>
                  </a:lnTo>
                  <a:lnTo>
                    <a:pt x="467" y="651"/>
                  </a:lnTo>
                  <a:lnTo>
                    <a:pt x="467" y="653"/>
                  </a:lnTo>
                  <a:lnTo>
                    <a:pt x="469" y="653"/>
                  </a:lnTo>
                  <a:lnTo>
                    <a:pt x="467" y="653"/>
                  </a:lnTo>
                  <a:lnTo>
                    <a:pt x="469" y="653"/>
                  </a:lnTo>
                  <a:lnTo>
                    <a:pt x="472" y="653"/>
                  </a:lnTo>
                  <a:lnTo>
                    <a:pt x="469" y="653"/>
                  </a:lnTo>
                  <a:lnTo>
                    <a:pt x="472" y="653"/>
                  </a:lnTo>
                  <a:lnTo>
                    <a:pt x="469" y="653"/>
                  </a:lnTo>
                  <a:lnTo>
                    <a:pt x="472" y="655"/>
                  </a:lnTo>
                  <a:lnTo>
                    <a:pt x="469" y="655"/>
                  </a:lnTo>
                  <a:lnTo>
                    <a:pt x="472" y="655"/>
                  </a:lnTo>
                  <a:lnTo>
                    <a:pt x="472" y="653"/>
                  </a:lnTo>
                  <a:lnTo>
                    <a:pt x="474" y="653"/>
                  </a:lnTo>
                  <a:lnTo>
                    <a:pt x="476" y="653"/>
                  </a:lnTo>
                  <a:lnTo>
                    <a:pt x="479" y="653"/>
                  </a:lnTo>
                  <a:lnTo>
                    <a:pt x="479" y="655"/>
                  </a:lnTo>
                  <a:lnTo>
                    <a:pt x="481" y="655"/>
                  </a:lnTo>
                  <a:lnTo>
                    <a:pt x="479" y="655"/>
                  </a:lnTo>
                  <a:lnTo>
                    <a:pt x="479" y="658"/>
                  </a:lnTo>
                  <a:lnTo>
                    <a:pt x="481" y="658"/>
                  </a:lnTo>
                  <a:lnTo>
                    <a:pt x="481" y="655"/>
                  </a:lnTo>
                  <a:lnTo>
                    <a:pt x="481" y="658"/>
                  </a:lnTo>
                  <a:lnTo>
                    <a:pt x="484" y="658"/>
                  </a:lnTo>
                  <a:lnTo>
                    <a:pt x="486" y="658"/>
                  </a:lnTo>
                  <a:lnTo>
                    <a:pt x="486" y="660"/>
                  </a:lnTo>
                  <a:lnTo>
                    <a:pt x="486" y="662"/>
                  </a:lnTo>
                  <a:lnTo>
                    <a:pt x="484" y="662"/>
                  </a:lnTo>
                  <a:lnTo>
                    <a:pt x="486" y="662"/>
                  </a:lnTo>
                  <a:lnTo>
                    <a:pt x="488" y="662"/>
                  </a:lnTo>
                  <a:lnTo>
                    <a:pt x="486" y="662"/>
                  </a:lnTo>
                  <a:lnTo>
                    <a:pt x="486" y="660"/>
                  </a:lnTo>
                  <a:lnTo>
                    <a:pt x="488" y="660"/>
                  </a:lnTo>
                  <a:lnTo>
                    <a:pt x="491" y="662"/>
                  </a:lnTo>
                  <a:lnTo>
                    <a:pt x="493" y="662"/>
                  </a:lnTo>
                  <a:lnTo>
                    <a:pt x="493" y="665"/>
                  </a:lnTo>
                  <a:lnTo>
                    <a:pt x="493" y="662"/>
                  </a:lnTo>
                  <a:lnTo>
                    <a:pt x="493" y="665"/>
                  </a:lnTo>
                  <a:lnTo>
                    <a:pt x="495" y="665"/>
                  </a:lnTo>
                  <a:lnTo>
                    <a:pt x="495" y="667"/>
                  </a:lnTo>
                  <a:lnTo>
                    <a:pt x="498" y="667"/>
                  </a:lnTo>
                  <a:lnTo>
                    <a:pt x="498" y="670"/>
                  </a:lnTo>
                  <a:lnTo>
                    <a:pt x="495" y="670"/>
                  </a:lnTo>
                  <a:lnTo>
                    <a:pt x="498" y="670"/>
                  </a:lnTo>
                  <a:lnTo>
                    <a:pt x="495" y="670"/>
                  </a:lnTo>
                  <a:lnTo>
                    <a:pt x="495" y="672"/>
                  </a:lnTo>
                  <a:lnTo>
                    <a:pt x="495" y="670"/>
                  </a:lnTo>
                  <a:lnTo>
                    <a:pt x="498" y="670"/>
                  </a:lnTo>
                  <a:lnTo>
                    <a:pt x="495" y="670"/>
                  </a:lnTo>
                  <a:lnTo>
                    <a:pt x="498" y="670"/>
                  </a:lnTo>
                  <a:lnTo>
                    <a:pt x="495" y="670"/>
                  </a:lnTo>
                  <a:lnTo>
                    <a:pt x="498" y="670"/>
                  </a:lnTo>
                  <a:lnTo>
                    <a:pt x="495" y="672"/>
                  </a:lnTo>
                  <a:lnTo>
                    <a:pt x="498" y="672"/>
                  </a:lnTo>
                  <a:lnTo>
                    <a:pt x="495" y="672"/>
                  </a:lnTo>
                  <a:lnTo>
                    <a:pt x="498" y="672"/>
                  </a:lnTo>
                  <a:lnTo>
                    <a:pt x="498" y="674"/>
                  </a:lnTo>
                  <a:lnTo>
                    <a:pt x="498" y="672"/>
                  </a:lnTo>
                  <a:lnTo>
                    <a:pt x="498" y="674"/>
                  </a:lnTo>
                  <a:lnTo>
                    <a:pt x="498" y="672"/>
                  </a:lnTo>
                  <a:lnTo>
                    <a:pt x="500" y="672"/>
                  </a:lnTo>
                  <a:lnTo>
                    <a:pt x="503" y="672"/>
                  </a:lnTo>
                  <a:lnTo>
                    <a:pt x="503" y="674"/>
                  </a:lnTo>
                  <a:lnTo>
                    <a:pt x="500" y="674"/>
                  </a:lnTo>
                  <a:lnTo>
                    <a:pt x="503" y="674"/>
                  </a:lnTo>
                  <a:lnTo>
                    <a:pt x="500" y="674"/>
                  </a:lnTo>
                  <a:lnTo>
                    <a:pt x="500" y="677"/>
                  </a:lnTo>
                  <a:lnTo>
                    <a:pt x="500" y="674"/>
                  </a:lnTo>
                  <a:lnTo>
                    <a:pt x="503" y="677"/>
                  </a:lnTo>
                  <a:lnTo>
                    <a:pt x="500" y="677"/>
                  </a:lnTo>
                  <a:lnTo>
                    <a:pt x="503" y="677"/>
                  </a:lnTo>
                  <a:lnTo>
                    <a:pt x="500" y="677"/>
                  </a:lnTo>
                  <a:lnTo>
                    <a:pt x="503" y="677"/>
                  </a:lnTo>
                  <a:lnTo>
                    <a:pt x="500" y="677"/>
                  </a:lnTo>
                  <a:lnTo>
                    <a:pt x="503" y="677"/>
                  </a:lnTo>
                  <a:lnTo>
                    <a:pt x="505" y="677"/>
                  </a:lnTo>
                  <a:lnTo>
                    <a:pt x="503" y="677"/>
                  </a:lnTo>
                  <a:lnTo>
                    <a:pt x="505" y="677"/>
                  </a:lnTo>
                  <a:lnTo>
                    <a:pt x="503" y="677"/>
                  </a:lnTo>
                  <a:lnTo>
                    <a:pt x="505" y="677"/>
                  </a:lnTo>
                  <a:lnTo>
                    <a:pt x="503" y="677"/>
                  </a:lnTo>
                  <a:lnTo>
                    <a:pt x="505" y="677"/>
                  </a:lnTo>
                  <a:lnTo>
                    <a:pt x="503" y="677"/>
                  </a:lnTo>
                  <a:lnTo>
                    <a:pt x="505" y="677"/>
                  </a:lnTo>
                  <a:lnTo>
                    <a:pt x="505" y="679"/>
                  </a:lnTo>
                  <a:lnTo>
                    <a:pt x="503" y="677"/>
                  </a:lnTo>
                  <a:lnTo>
                    <a:pt x="503" y="679"/>
                  </a:lnTo>
                  <a:lnTo>
                    <a:pt x="505" y="679"/>
                  </a:lnTo>
                  <a:lnTo>
                    <a:pt x="507" y="679"/>
                  </a:lnTo>
                  <a:lnTo>
                    <a:pt x="507" y="682"/>
                  </a:lnTo>
                  <a:lnTo>
                    <a:pt x="505" y="682"/>
                  </a:lnTo>
                  <a:lnTo>
                    <a:pt x="507" y="682"/>
                  </a:lnTo>
                  <a:lnTo>
                    <a:pt x="505" y="682"/>
                  </a:lnTo>
                  <a:lnTo>
                    <a:pt x="507" y="682"/>
                  </a:lnTo>
                  <a:lnTo>
                    <a:pt x="505" y="682"/>
                  </a:lnTo>
                  <a:lnTo>
                    <a:pt x="505" y="679"/>
                  </a:lnTo>
                  <a:lnTo>
                    <a:pt x="503" y="679"/>
                  </a:lnTo>
                  <a:lnTo>
                    <a:pt x="503" y="682"/>
                  </a:lnTo>
                  <a:lnTo>
                    <a:pt x="503" y="679"/>
                  </a:lnTo>
                  <a:lnTo>
                    <a:pt x="503" y="682"/>
                  </a:lnTo>
                  <a:lnTo>
                    <a:pt x="505" y="682"/>
                  </a:lnTo>
                  <a:lnTo>
                    <a:pt x="503" y="682"/>
                  </a:lnTo>
                  <a:lnTo>
                    <a:pt x="505" y="682"/>
                  </a:lnTo>
                  <a:lnTo>
                    <a:pt x="507" y="682"/>
                  </a:lnTo>
                  <a:lnTo>
                    <a:pt x="505" y="682"/>
                  </a:lnTo>
                  <a:lnTo>
                    <a:pt x="505" y="684"/>
                  </a:lnTo>
                  <a:lnTo>
                    <a:pt x="507" y="684"/>
                  </a:lnTo>
                  <a:lnTo>
                    <a:pt x="505" y="684"/>
                  </a:lnTo>
                  <a:lnTo>
                    <a:pt x="503" y="684"/>
                  </a:lnTo>
                  <a:lnTo>
                    <a:pt x="503" y="682"/>
                  </a:lnTo>
                  <a:lnTo>
                    <a:pt x="500" y="682"/>
                  </a:lnTo>
                  <a:lnTo>
                    <a:pt x="500" y="679"/>
                  </a:lnTo>
                  <a:lnTo>
                    <a:pt x="498" y="679"/>
                  </a:lnTo>
                  <a:lnTo>
                    <a:pt x="495" y="679"/>
                  </a:lnTo>
                  <a:lnTo>
                    <a:pt x="498" y="679"/>
                  </a:lnTo>
                  <a:lnTo>
                    <a:pt x="495" y="679"/>
                  </a:lnTo>
                  <a:lnTo>
                    <a:pt x="498" y="677"/>
                  </a:lnTo>
                  <a:lnTo>
                    <a:pt x="495" y="677"/>
                  </a:lnTo>
                  <a:lnTo>
                    <a:pt x="495" y="679"/>
                  </a:lnTo>
                  <a:lnTo>
                    <a:pt x="498" y="679"/>
                  </a:lnTo>
                  <a:lnTo>
                    <a:pt x="495" y="679"/>
                  </a:lnTo>
                  <a:lnTo>
                    <a:pt x="498" y="679"/>
                  </a:lnTo>
                  <a:lnTo>
                    <a:pt x="495" y="679"/>
                  </a:lnTo>
                  <a:lnTo>
                    <a:pt x="498" y="679"/>
                  </a:lnTo>
                  <a:lnTo>
                    <a:pt x="495" y="679"/>
                  </a:lnTo>
                  <a:lnTo>
                    <a:pt x="495" y="682"/>
                  </a:lnTo>
                  <a:lnTo>
                    <a:pt x="498" y="682"/>
                  </a:lnTo>
                  <a:lnTo>
                    <a:pt x="495" y="682"/>
                  </a:lnTo>
                  <a:lnTo>
                    <a:pt x="498" y="682"/>
                  </a:lnTo>
                  <a:lnTo>
                    <a:pt x="495" y="682"/>
                  </a:lnTo>
                  <a:lnTo>
                    <a:pt x="498" y="682"/>
                  </a:lnTo>
                  <a:lnTo>
                    <a:pt x="498" y="684"/>
                  </a:lnTo>
                  <a:lnTo>
                    <a:pt x="500" y="684"/>
                  </a:lnTo>
                  <a:lnTo>
                    <a:pt x="498" y="684"/>
                  </a:lnTo>
                  <a:lnTo>
                    <a:pt x="498" y="686"/>
                  </a:lnTo>
                  <a:lnTo>
                    <a:pt x="500" y="686"/>
                  </a:lnTo>
                  <a:lnTo>
                    <a:pt x="498" y="686"/>
                  </a:lnTo>
                  <a:lnTo>
                    <a:pt x="498" y="689"/>
                  </a:lnTo>
                  <a:lnTo>
                    <a:pt x="498" y="686"/>
                  </a:lnTo>
                  <a:lnTo>
                    <a:pt x="498" y="689"/>
                  </a:lnTo>
                  <a:lnTo>
                    <a:pt x="498" y="686"/>
                  </a:lnTo>
                  <a:lnTo>
                    <a:pt x="500" y="689"/>
                  </a:lnTo>
                  <a:lnTo>
                    <a:pt x="498" y="689"/>
                  </a:lnTo>
                  <a:lnTo>
                    <a:pt x="500" y="689"/>
                  </a:lnTo>
                  <a:lnTo>
                    <a:pt x="498" y="689"/>
                  </a:lnTo>
                  <a:lnTo>
                    <a:pt x="500" y="689"/>
                  </a:lnTo>
                  <a:lnTo>
                    <a:pt x="500" y="691"/>
                  </a:lnTo>
                  <a:lnTo>
                    <a:pt x="498" y="691"/>
                  </a:lnTo>
                  <a:lnTo>
                    <a:pt x="500" y="691"/>
                  </a:lnTo>
                  <a:lnTo>
                    <a:pt x="498" y="691"/>
                  </a:lnTo>
                  <a:lnTo>
                    <a:pt x="498" y="693"/>
                  </a:lnTo>
                  <a:lnTo>
                    <a:pt x="498" y="691"/>
                  </a:lnTo>
                  <a:lnTo>
                    <a:pt x="498" y="693"/>
                  </a:lnTo>
                  <a:lnTo>
                    <a:pt x="500" y="693"/>
                  </a:lnTo>
                  <a:lnTo>
                    <a:pt x="498" y="693"/>
                  </a:lnTo>
                  <a:lnTo>
                    <a:pt x="495" y="693"/>
                  </a:lnTo>
                  <a:lnTo>
                    <a:pt x="495" y="696"/>
                  </a:lnTo>
                  <a:lnTo>
                    <a:pt x="495" y="698"/>
                  </a:lnTo>
                  <a:lnTo>
                    <a:pt x="498" y="698"/>
                  </a:lnTo>
                  <a:lnTo>
                    <a:pt x="495" y="698"/>
                  </a:lnTo>
                  <a:lnTo>
                    <a:pt x="498" y="698"/>
                  </a:lnTo>
                  <a:lnTo>
                    <a:pt x="495" y="698"/>
                  </a:lnTo>
                  <a:lnTo>
                    <a:pt x="498" y="698"/>
                  </a:lnTo>
                  <a:lnTo>
                    <a:pt x="495" y="698"/>
                  </a:lnTo>
                  <a:lnTo>
                    <a:pt x="493" y="698"/>
                  </a:lnTo>
                  <a:lnTo>
                    <a:pt x="491" y="698"/>
                  </a:lnTo>
                  <a:lnTo>
                    <a:pt x="488" y="698"/>
                  </a:lnTo>
                  <a:lnTo>
                    <a:pt x="491" y="698"/>
                  </a:lnTo>
                  <a:lnTo>
                    <a:pt x="491" y="701"/>
                  </a:lnTo>
                  <a:lnTo>
                    <a:pt x="488" y="701"/>
                  </a:lnTo>
                  <a:lnTo>
                    <a:pt x="486" y="701"/>
                  </a:lnTo>
                  <a:lnTo>
                    <a:pt x="488" y="701"/>
                  </a:lnTo>
                  <a:lnTo>
                    <a:pt x="486" y="701"/>
                  </a:lnTo>
                  <a:lnTo>
                    <a:pt x="488" y="701"/>
                  </a:lnTo>
                  <a:lnTo>
                    <a:pt x="486" y="701"/>
                  </a:lnTo>
                  <a:lnTo>
                    <a:pt x="488" y="701"/>
                  </a:lnTo>
                  <a:lnTo>
                    <a:pt x="488" y="703"/>
                  </a:lnTo>
                  <a:lnTo>
                    <a:pt x="488" y="701"/>
                  </a:lnTo>
                  <a:lnTo>
                    <a:pt x="486" y="701"/>
                  </a:lnTo>
                  <a:lnTo>
                    <a:pt x="484" y="701"/>
                  </a:lnTo>
                  <a:lnTo>
                    <a:pt x="484" y="703"/>
                  </a:lnTo>
                  <a:lnTo>
                    <a:pt x="481" y="701"/>
                  </a:lnTo>
                  <a:lnTo>
                    <a:pt x="481" y="703"/>
                  </a:lnTo>
                  <a:lnTo>
                    <a:pt x="484" y="703"/>
                  </a:lnTo>
                  <a:lnTo>
                    <a:pt x="486" y="703"/>
                  </a:lnTo>
                  <a:lnTo>
                    <a:pt x="488" y="703"/>
                  </a:lnTo>
                  <a:lnTo>
                    <a:pt x="491" y="703"/>
                  </a:lnTo>
                  <a:lnTo>
                    <a:pt x="488" y="703"/>
                  </a:lnTo>
                  <a:lnTo>
                    <a:pt x="491" y="703"/>
                  </a:lnTo>
                  <a:lnTo>
                    <a:pt x="491" y="705"/>
                  </a:lnTo>
                  <a:lnTo>
                    <a:pt x="491" y="703"/>
                  </a:lnTo>
                  <a:lnTo>
                    <a:pt x="491" y="705"/>
                  </a:lnTo>
                  <a:lnTo>
                    <a:pt x="488" y="705"/>
                  </a:lnTo>
                  <a:lnTo>
                    <a:pt x="491" y="705"/>
                  </a:lnTo>
                  <a:lnTo>
                    <a:pt x="488" y="705"/>
                  </a:lnTo>
                  <a:lnTo>
                    <a:pt x="491" y="705"/>
                  </a:lnTo>
                  <a:lnTo>
                    <a:pt x="491" y="708"/>
                  </a:lnTo>
                  <a:lnTo>
                    <a:pt x="488" y="708"/>
                  </a:lnTo>
                  <a:lnTo>
                    <a:pt x="491" y="708"/>
                  </a:lnTo>
                  <a:lnTo>
                    <a:pt x="488" y="708"/>
                  </a:lnTo>
                  <a:lnTo>
                    <a:pt x="491" y="708"/>
                  </a:lnTo>
                  <a:lnTo>
                    <a:pt x="491" y="710"/>
                  </a:lnTo>
                  <a:lnTo>
                    <a:pt x="491" y="708"/>
                  </a:lnTo>
                  <a:lnTo>
                    <a:pt x="491" y="710"/>
                  </a:lnTo>
                  <a:lnTo>
                    <a:pt x="493" y="710"/>
                  </a:lnTo>
                  <a:lnTo>
                    <a:pt x="491" y="710"/>
                  </a:lnTo>
                  <a:lnTo>
                    <a:pt x="493" y="710"/>
                  </a:lnTo>
                  <a:lnTo>
                    <a:pt x="491" y="710"/>
                  </a:lnTo>
                  <a:lnTo>
                    <a:pt x="493" y="710"/>
                  </a:lnTo>
                  <a:lnTo>
                    <a:pt x="495" y="710"/>
                  </a:lnTo>
                  <a:lnTo>
                    <a:pt x="493" y="710"/>
                  </a:lnTo>
                  <a:lnTo>
                    <a:pt x="495" y="710"/>
                  </a:lnTo>
                  <a:lnTo>
                    <a:pt x="495" y="712"/>
                  </a:lnTo>
                  <a:lnTo>
                    <a:pt x="493" y="712"/>
                  </a:lnTo>
                  <a:lnTo>
                    <a:pt x="495" y="712"/>
                  </a:lnTo>
                  <a:lnTo>
                    <a:pt x="498" y="712"/>
                  </a:lnTo>
                  <a:lnTo>
                    <a:pt x="495" y="712"/>
                  </a:lnTo>
                  <a:lnTo>
                    <a:pt x="495" y="715"/>
                  </a:lnTo>
                  <a:lnTo>
                    <a:pt x="495" y="712"/>
                  </a:lnTo>
                  <a:lnTo>
                    <a:pt x="495" y="715"/>
                  </a:lnTo>
                  <a:lnTo>
                    <a:pt x="498" y="715"/>
                  </a:lnTo>
                  <a:lnTo>
                    <a:pt x="495" y="715"/>
                  </a:lnTo>
                  <a:lnTo>
                    <a:pt x="498" y="715"/>
                  </a:lnTo>
                  <a:lnTo>
                    <a:pt x="495" y="715"/>
                  </a:lnTo>
                  <a:lnTo>
                    <a:pt x="493" y="715"/>
                  </a:lnTo>
                  <a:lnTo>
                    <a:pt x="491" y="715"/>
                  </a:lnTo>
                  <a:lnTo>
                    <a:pt x="493" y="715"/>
                  </a:lnTo>
                  <a:lnTo>
                    <a:pt x="495" y="715"/>
                  </a:lnTo>
                  <a:lnTo>
                    <a:pt x="493" y="715"/>
                  </a:lnTo>
                  <a:lnTo>
                    <a:pt x="495" y="715"/>
                  </a:lnTo>
                  <a:lnTo>
                    <a:pt x="495" y="717"/>
                  </a:lnTo>
                  <a:lnTo>
                    <a:pt x="495" y="715"/>
                  </a:lnTo>
                  <a:lnTo>
                    <a:pt x="495" y="717"/>
                  </a:lnTo>
                  <a:lnTo>
                    <a:pt x="498" y="717"/>
                  </a:lnTo>
                  <a:lnTo>
                    <a:pt x="495" y="717"/>
                  </a:lnTo>
                  <a:lnTo>
                    <a:pt x="498" y="717"/>
                  </a:lnTo>
                  <a:lnTo>
                    <a:pt x="498" y="720"/>
                  </a:lnTo>
                  <a:lnTo>
                    <a:pt x="498" y="717"/>
                  </a:lnTo>
                  <a:lnTo>
                    <a:pt x="498" y="720"/>
                  </a:lnTo>
                  <a:lnTo>
                    <a:pt x="498" y="717"/>
                  </a:lnTo>
                  <a:lnTo>
                    <a:pt x="498" y="720"/>
                  </a:lnTo>
                  <a:lnTo>
                    <a:pt x="500" y="720"/>
                  </a:lnTo>
                  <a:lnTo>
                    <a:pt x="500" y="717"/>
                  </a:lnTo>
                  <a:lnTo>
                    <a:pt x="500" y="720"/>
                  </a:lnTo>
                  <a:lnTo>
                    <a:pt x="500" y="722"/>
                  </a:lnTo>
                  <a:lnTo>
                    <a:pt x="500" y="724"/>
                  </a:lnTo>
                  <a:lnTo>
                    <a:pt x="500" y="722"/>
                  </a:lnTo>
                  <a:lnTo>
                    <a:pt x="503" y="722"/>
                  </a:lnTo>
                  <a:lnTo>
                    <a:pt x="500" y="722"/>
                  </a:lnTo>
                  <a:lnTo>
                    <a:pt x="500" y="724"/>
                  </a:lnTo>
                  <a:lnTo>
                    <a:pt x="498" y="724"/>
                  </a:lnTo>
                  <a:lnTo>
                    <a:pt x="495" y="724"/>
                  </a:lnTo>
                  <a:lnTo>
                    <a:pt x="495" y="727"/>
                  </a:lnTo>
                  <a:lnTo>
                    <a:pt x="493" y="727"/>
                  </a:lnTo>
                  <a:lnTo>
                    <a:pt x="491" y="727"/>
                  </a:lnTo>
                  <a:lnTo>
                    <a:pt x="493" y="727"/>
                  </a:lnTo>
                  <a:lnTo>
                    <a:pt x="491" y="727"/>
                  </a:lnTo>
                  <a:lnTo>
                    <a:pt x="488" y="727"/>
                  </a:lnTo>
                  <a:lnTo>
                    <a:pt x="486" y="727"/>
                  </a:lnTo>
                  <a:lnTo>
                    <a:pt x="484" y="727"/>
                  </a:lnTo>
                  <a:lnTo>
                    <a:pt x="481" y="727"/>
                  </a:lnTo>
                  <a:lnTo>
                    <a:pt x="479" y="727"/>
                  </a:lnTo>
                  <a:lnTo>
                    <a:pt x="481" y="727"/>
                  </a:lnTo>
                  <a:lnTo>
                    <a:pt x="479" y="727"/>
                  </a:lnTo>
                  <a:lnTo>
                    <a:pt x="476" y="727"/>
                  </a:lnTo>
                  <a:lnTo>
                    <a:pt x="476" y="724"/>
                  </a:lnTo>
                  <a:lnTo>
                    <a:pt x="474" y="724"/>
                  </a:lnTo>
                  <a:lnTo>
                    <a:pt x="472" y="724"/>
                  </a:lnTo>
                  <a:lnTo>
                    <a:pt x="469" y="722"/>
                  </a:lnTo>
                  <a:lnTo>
                    <a:pt x="467" y="722"/>
                  </a:lnTo>
                  <a:lnTo>
                    <a:pt x="465" y="722"/>
                  </a:lnTo>
                  <a:lnTo>
                    <a:pt x="462" y="722"/>
                  </a:lnTo>
                  <a:lnTo>
                    <a:pt x="465" y="722"/>
                  </a:lnTo>
                  <a:lnTo>
                    <a:pt x="467" y="722"/>
                  </a:lnTo>
                  <a:lnTo>
                    <a:pt x="469" y="722"/>
                  </a:lnTo>
                  <a:lnTo>
                    <a:pt x="472" y="724"/>
                  </a:lnTo>
                  <a:lnTo>
                    <a:pt x="474" y="724"/>
                  </a:lnTo>
                  <a:lnTo>
                    <a:pt x="476" y="724"/>
                  </a:lnTo>
                  <a:lnTo>
                    <a:pt x="476" y="727"/>
                  </a:lnTo>
                  <a:lnTo>
                    <a:pt x="479" y="727"/>
                  </a:lnTo>
                  <a:lnTo>
                    <a:pt x="481" y="727"/>
                  </a:lnTo>
                  <a:lnTo>
                    <a:pt x="481" y="729"/>
                  </a:lnTo>
                  <a:lnTo>
                    <a:pt x="479" y="729"/>
                  </a:lnTo>
                  <a:lnTo>
                    <a:pt x="479" y="727"/>
                  </a:lnTo>
                  <a:lnTo>
                    <a:pt x="479" y="729"/>
                  </a:lnTo>
                  <a:lnTo>
                    <a:pt x="481" y="729"/>
                  </a:lnTo>
                  <a:lnTo>
                    <a:pt x="481" y="727"/>
                  </a:lnTo>
                  <a:lnTo>
                    <a:pt x="481" y="729"/>
                  </a:lnTo>
                  <a:lnTo>
                    <a:pt x="481" y="727"/>
                  </a:lnTo>
                  <a:lnTo>
                    <a:pt x="484" y="729"/>
                  </a:lnTo>
                  <a:lnTo>
                    <a:pt x="484" y="727"/>
                  </a:lnTo>
                  <a:lnTo>
                    <a:pt x="484" y="729"/>
                  </a:lnTo>
                  <a:lnTo>
                    <a:pt x="484" y="727"/>
                  </a:lnTo>
                  <a:lnTo>
                    <a:pt x="486" y="727"/>
                  </a:lnTo>
                  <a:lnTo>
                    <a:pt x="488" y="727"/>
                  </a:lnTo>
                  <a:lnTo>
                    <a:pt x="491" y="727"/>
                  </a:lnTo>
                  <a:lnTo>
                    <a:pt x="493" y="727"/>
                  </a:lnTo>
                  <a:lnTo>
                    <a:pt x="495" y="727"/>
                  </a:lnTo>
                  <a:lnTo>
                    <a:pt x="495" y="724"/>
                  </a:lnTo>
                  <a:lnTo>
                    <a:pt x="498" y="727"/>
                  </a:lnTo>
                  <a:lnTo>
                    <a:pt x="500" y="727"/>
                  </a:lnTo>
                  <a:lnTo>
                    <a:pt x="500" y="724"/>
                  </a:lnTo>
                  <a:lnTo>
                    <a:pt x="500" y="727"/>
                  </a:lnTo>
                  <a:lnTo>
                    <a:pt x="503" y="727"/>
                  </a:lnTo>
                  <a:lnTo>
                    <a:pt x="503" y="729"/>
                  </a:lnTo>
                  <a:lnTo>
                    <a:pt x="500" y="729"/>
                  </a:lnTo>
                  <a:lnTo>
                    <a:pt x="503" y="729"/>
                  </a:lnTo>
                  <a:lnTo>
                    <a:pt x="500" y="729"/>
                  </a:lnTo>
                  <a:lnTo>
                    <a:pt x="503" y="729"/>
                  </a:lnTo>
                  <a:lnTo>
                    <a:pt x="503" y="727"/>
                  </a:lnTo>
                  <a:lnTo>
                    <a:pt x="503" y="729"/>
                  </a:lnTo>
                  <a:lnTo>
                    <a:pt x="505" y="729"/>
                  </a:lnTo>
                  <a:lnTo>
                    <a:pt x="503" y="729"/>
                  </a:lnTo>
                  <a:lnTo>
                    <a:pt x="503" y="731"/>
                  </a:lnTo>
                  <a:lnTo>
                    <a:pt x="505" y="731"/>
                  </a:lnTo>
                  <a:lnTo>
                    <a:pt x="505" y="729"/>
                  </a:lnTo>
                  <a:lnTo>
                    <a:pt x="505" y="731"/>
                  </a:lnTo>
                  <a:lnTo>
                    <a:pt x="505" y="734"/>
                  </a:lnTo>
                  <a:lnTo>
                    <a:pt x="503" y="734"/>
                  </a:lnTo>
                  <a:lnTo>
                    <a:pt x="503" y="736"/>
                  </a:lnTo>
                  <a:lnTo>
                    <a:pt x="500" y="736"/>
                  </a:lnTo>
                  <a:lnTo>
                    <a:pt x="498" y="736"/>
                  </a:lnTo>
                  <a:lnTo>
                    <a:pt x="498" y="739"/>
                  </a:lnTo>
                  <a:lnTo>
                    <a:pt x="498" y="736"/>
                  </a:lnTo>
                  <a:lnTo>
                    <a:pt x="498" y="739"/>
                  </a:lnTo>
                  <a:lnTo>
                    <a:pt x="498" y="736"/>
                  </a:lnTo>
                  <a:lnTo>
                    <a:pt x="500" y="736"/>
                  </a:lnTo>
                  <a:lnTo>
                    <a:pt x="500" y="739"/>
                  </a:lnTo>
                  <a:lnTo>
                    <a:pt x="503" y="739"/>
                  </a:lnTo>
                  <a:lnTo>
                    <a:pt x="503" y="741"/>
                  </a:lnTo>
                  <a:lnTo>
                    <a:pt x="505" y="741"/>
                  </a:lnTo>
                  <a:lnTo>
                    <a:pt x="503" y="741"/>
                  </a:lnTo>
                  <a:lnTo>
                    <a:pt x="505" y="741"/>
                  </a:lnTo>
                  <a:lnTo>
                    <a:pt x="505" y="743"/>
                  </a:lnTo>
                  <a:lnTo>
                    <a:pt x="507" y="743"/>
                  </a:lnTo>
                  <a:lnTo>
                    <a:pt x="505" y="743"/>
                  </a:lnTo>
                  <a:lnTo>
                    <a:pt x="507" y="743"/>
                  </a:lnTo>
                  <a:lnTo>
                    <a:pt x="507" y="746"/>
                  </a:lnTo>
                  <a:lnTo>
                    <a:pt x="505" y="746"/>
                  </a:lnTo>
                  <a:lnTo>
                    <a:pt x="503" y="746"/>
                  </a:lnTo>
                  <a:lnTo>
                    <a:pt x="503" y="748"/>
                  </a:lnTo>
                  <a:lnTo>
                    <a:pt x="500" y="748"/>
                  </a:lnTo>
                  <a:lnTo>
                    <a:pt x="498" y="748"/>
                  </a:lnTo>
                  <a:lnTo>
                    <a:pt x="498" y="750"/>
                  </a:lnTo>
                  <a:lnTo>
                    <a:pt x="498" y="748"/>
                  </a:lnTo>
                  <a:lnTo>
                    <a:pt x="500" y="748"/>
                  </a:lnTo>
                  <a:lnTo>
                    <a:pt x="498" y="748"/>
                  </a:lnTo>
                  <a:lnTo>
                    <a:pt x="500" y="750"/>
                  </a:lnTo>
                  <a:lnTo>
                    <a:pt x="500" y="748"/>
                  </a:lnTo>
                  <a:lnTo>
                    <a:pt x="498" y="750"/>
                  </a:lnTo>
                  <a:lnTo>
                    <a:pt x="500" y="750"/>
                  </a:lnTo>
                  <a:lnTo>
                    <a:pt x="503" y="750"/>
                  </a:lnTo>
                  <a:lnTo>
                    <a:pt x="500" y="750"/>
                  </a:lnTo>
                  <a:lnTo>
                    <a:pt x="503" y="750"/>
                  </a:lnTo>
                  <a:lnTo>
                    <a:pt x="500" y="750"/>
                  </a:lnTo>
                  <a:lnTo>
                    <a:pt x="503" y="750"/>
                  </a:lnTo>
                  <a:lnTo>
                    <a:pt x="503" y="753"/>
                  </a:lnTo>
                  <a:lnTo>
                    <a:pt x="503" y="750"/>
                  </a:lnTo>
                  <a:lnTo>
                    <a:pt x="505" y="750"/>
                  </a:lnTo>
                  <a:lnTo>
                    <a:pt x="507" y="750"/>
                  </a:lnTo>
                  <a:lnTo>
                    <a:pt x="505" y="750"/>
                  </a:lnTo>
                  <a:lnTo>
                    <a:pt x="507" y="750"/>
                  </a:lnTo>
                  <a:lnTo>
                    <a:pt x="507" y="753"/>
                  </a:lnTo>
                  <a:lnTo>
                    <a:pt x="507" y="755"/>
                  </a:lnTo>
                  <a:lnTo>
                    <a:pt x="505" y="755"/>
                  </a:lnTo>
                  <a:lnTo>
                    <a:pt x="507" y="755"/>
                  </a:lnTo>
                  <a:lnTo>
                    <a:pt x="510" y="755"/>
                  </a:lnTo>
                  <a:lnTo>
                    <a:pt x="512" y="755"/>
                  </a:lnTo>
                  <a:lnTo>
                    <a:pt x="512" y="758"/>
                  </a:lnTo>
                  <a:lnTo>
                    <a:pt x="512" y="760"/>
                  </a:lnTo>
                  <a:lnTo>
                    <a:pt x="514" y="760"/>
                  </a:lnTo>
                  <a:lnTo>
                    <a:pt x="517" y="760"/>
                  </a:lnTo>
                  <a:lnTo>
                    <a:pt x="517" y="758"/>
                  </a:lnTo>
                  <a:lnTo>
                    <a:pt x="514" y="758"/>
                  </a:lnTo>
                  <a:lnTo>
                    <a:pt x="517" y="758"/>
                  </a:lnTo>
                  <a:lnTo>
                    <a:pt x="517" y="755"/>
                  </a:lnTo>
                  <a:lnTo>
                    <a:pt x="517" y="758"/>
                  </a:lnTo>
                  <a:lnTo>
                    <a:pt x="517" y="755"/>
                  </a:lnTo>
                  <a:lnTo>
                    <a:pt x="517" y="758"/>
                  </a:lnTo>
                  <a:lnTo>
                    <a:pt x="517" y="760"/>
                  </a:lnTo>
                  <a:lnTo>
                    <a:pt x="519" y="760"/>
                  </a:lnTo>
                  <a:lnTo>
                    <a:pt x="517" y="760"/>
                  </a:lnTo>
                  <a:lnTo>
                    <a:pt x="517" y="762"/>
                  </a:lnTo>
                  <a:lnTo>
                    <a:pt x="519" y="762"/>
                  </a:lnTo>
                  <a:lnTo>
                    <a:pt x="522" y="762"/>
                  </a:lnTo>
                  <a:lnTo>
                    <a:pt x="522" y="760"/>
                  </a:lnTo>
                  <a:lnTo>
                    <a:pt x="524" y="762"/>
                  </a:lnTo>
                  <a:lnTo>
                    <a:pt x="524" y="760"/>
                  </a:lnTo>
                  <a:lnTo>
                    <a:pt x="526" y="760"/>
                  </a:lnTo>
                  <a:lnTo>
                    <a:pt x="529" y="760"/>
                  </a:lnTo>
                  <a:lnTo>
                    <a:pt x="526" y="760"/>
                  </a:lnTo>
                  <a:lnTo>
                    <a:pt x="526" y="758"/>
                  </a:lnTo>
                  <a:lnTo>
                    <a:pt x="529" y="758"/>
                  </a:lnTo>
                  <a:lnTo>
                    <a:pt x="531" y="758"/>
                  </a:lnTo>
                  <a:lnTo>
                    <a:pt x="531" y="760"/>
                  </a:lnTo>
                  <a:lnTo>
                    <a:pt x="531" y="758"/>
                  </a:lnTo>
                  <a:lnTo>
                    <a:pt x="531" y="760"/>
                  </a:lnTo>
                  <a:lnTo>
                    <a:pt x="533" y="760"/>
                  </a:lnTo>
                  <a:lnTo>
                    <a:pt x="536" y="760"/>
                  </a:lnTo>
                  <a:lnTo>
                    <a:pt x="533" y="760"/>
                  </a:lnTo>
                  <a:lnTo>
                    <a:pt x="536" y="762"/>
                  </a:lnTo>
                  <a:lnTo>
                    <a:pt x="536" y="760"/>
                  </a:lnTo>
                  <a:lnTo>
                    <a:pt x="536" y="762"/>
                  </a:lnTo>
                  <a:lnTo>
                    <a:pt x="538" y="762"/>
                  </a:lnTo>
                  <a:lnTo>
                    <a:pt x="538" y="765"/>
                  </a:lnTo>
                  <a:lnTo>
                    <a:pt x="536" y="765"/>
                  </a:lnTo>
                  <a:lnTo>
                    <a:pt x="538" y="765"/>
                  </a:lnTo>
                  <a:lnTo>
                    <a:pt x="538" y="767"/>
                  </a:lnTo>
                  <a:lnTo>
                    <a:pt x="541" y="769"/>
                  </a:lnTo>
                  <a:lnTo>
                    <a:pt x="541" y="767"/>
                  </a:lnTo>
                  <a:lnTo>
                    <a:pt x="541" y="769"/>
                  </a:lnTo>
                  <a:lnTo>
                    <a:pt x="541" y="767"/>
                  </a:lnTo>
                  <a:lnTo>
                    <a:pt x="543" y="767"/>
                  </a:lnTo>
                  <a:lnTo>
                    <a:pt x="543" y="769"/>
                  </a:lnTo>
                  <a:lnTo>
                    <a:pt x="545" y="769"/>
                  </a:lnTo>
                  <a:lnTo>
                    <a:pt x="548" y="769"/>
                  </a:lnTo>
                  <a:lnTo>
                    <a:pt x="548" y="772"/>
                  </a:lnTo>
                  <a:lnTo>
                    <a:pt x="545" y="772"/>
                  </a:lnTo>
                  <a:lnTo>
                    <a:pt x="545" y="774"/>
                  </a:lnTo>
                  <a:lnTo>
                    <a:pt x="548" y="774"/>
                  </a:lnTo>
                  <a:lnTo>
                    <a:pt x="548" y="777"/>
                  </a:lnTo>
                  <a:lnTo>
                    <a:pt x="548" y="779"/>
                  </a:lnTo>
                  <a:lnTo>
                    <a:pt x="550" y="779"/>
                  </a:lnTo>
                  <a:lnTo>
                    <a:pt x="548" y="779"/>
                  </a:lnTo>
                  <a:lnTo>
                    <a:pt x="550" y="779"/>
                  </a:lnTo>
                  <a:lnTo>
                    <a:pt x="550" y="781"/>
                  </a:lnTo>
                  <a:lnTo>
                    <a:pt x="550" y="779"/>
                  </a:lnTo>
                  <a:lnTo>
                    <a:pt x="552" y="779"/>
                  </a:lnTo>
                  <a:lnTo>
                    <a:pt x="555" y="779"/>
                  </a:lnTo>
                  <a:lnTo>
                    <a:pt x="555" y="781"/>
                  </a:lnTo>
                  <a:lnTo>
                    <a:pt x="557" y="781"/>
                  </a:lnTo>
                  <a:lnTo>
                    <a:pt x="560" y="781"/>
                  </a:lnTo>
                  <a:lnTo>
                    <a:pt x="562" y="781"/>
                  </a:lnTo>
                  <a:lnTo>
                    <a:pt x="562" y="784"/>
                  </a:lnTo>
                  <a:lnTo>
                    <a:pt x="564" y="784"/>
                  </a:lnTo>
                  <a:lnTo>
                    <a:pt x="567" y="784"/>
                  </a:lnTo>
                  <a:lnTo>
                    <a:pt x="569" y="784"/>
                  </a:lnTo>
                  <a:lnTo>
                    <a:pt x="571" y="784"/>
                  </a:lnTo>
                  <a:lnTo>
                    <a:pt x="574" y="784"/>
                  </a:lnTo>
                  <a:lnTo>
                    <a:pt x="574" y="786"/>
                  </a:lnTo>
                  <a:lnTo>
                    <a:pt x="576" y="786"/>
                  </a:lnTo>
                  <a:lnTo>
                    <a:pt x="576" y="784"/>
                  </a:lnTo>
                  <a:lnTo>
                    <a:pt x="576" y="786"/>
                  </a:lnTo>
                  <a:lnTo>
                    <a:pt x="576" y="784"/>
                  </a:lnTo>
                  <a:lnTo>
                    <a:pt x="579" y="784"/>
                  </a:lnTo>
                  <a:lnTo>
                    <a:pt x="579" y="786"/>
                  </a:lnTo>
                  <a:lnTo>
                    <a:pt x="581" y="786"/>
                  </a:lnTo>
                  <a:lnTo>
                    <a:pt x="581" y="788"/>
                  </a:lnTo>
                  <a:lnTo>
                    <a:pt x="583" y="788"/>
                  </a:lnTo>
                  <a:lnTo>
                    <a:pt x="583" y="791"/>
                  </a:lnTo>
                  <a:lnTo>
                    <a:pt x="586" y="791"/>
                  </a:lnTo>
                  <a:lnTo>
                    <a:pt x="588" y="791"/>
                  </a:lnTo>
                  <a:lnTo>
                    <a:pt x="586" y="791"/>
                  </a:lnTo>
                  <a:lnTo>
                    <a:pt x="588" y="791"/>
                  </a:lnTo>
                  <a:lnTo>
                    <a:pt x="590" y="791"/>
                  </a:lnTo>
                  <a:lnTo>
                    <a:pt x="590" y="788"/>
                  </a:lnTo>
                  <a:lnTo>
                    <a:pt x="593" y="788"/>
                  </a:lnTo>
                  <a:lnTo>
                    <a:pt x="590" y="788"/>
                  </a:lnTo>
                  <a:lnTo>
                    <a:pt x="593" y="788"/>
                  </a:lnTo>
                  <a:lnTo>
                    <a:pt x="595" y="788"/>
                  </a:lnTo>
                  <a:lnTo>
                    <a:pt x="593" y="788"/>
                  </a:lnTo>
                  <a:lnTo>
                    <a:pt x="595" y="788"/>
                  </a:lnTo>
                  <a:lnTo>
                    <a:pt x="595" y="786"/>
                  </a:lnTo>
                  <a:lnTo>
                    <a:pt x="593" y="786"/>
                  </a:lnTo>
                  <a:lnTo>
                    <a:pt x="595" y="786"/>
                  </a:lnTo>
                  <a:lnTo>
                    <a:pt x="593" y="786"/>
                  </a:lnTo>
                  <a:lnTo>
                    <a:pt x="595" y="786"/>
                  </a:lnTo>
                  <a:lnTo>
                    <a:pt x="595" y="784"/>
                  </a:lnTo>
                  <a:lnTo>
                    <a:pt x="597" y="784"/>
                  </a:lnTo>
                  <a:lnTo>
                    <a:pt x="600" y="784"/>
                  </a:lnTo>
                  <a:lnTo>
                    <a:pt x="602" y="784"/>
                  </a:lnTo>
                  <a:lnTo>
                    <a:pt x="605" y="784"/>
                  </a:lnTo>
                  <a:lnTo>
                    <a:pt x="607" y="784"/>
                  </a:lnTo>
                  <a:lnTo>
                    <a:pt x="609" y="784"/>
                  </a:lnTo>
                  <a:lnTo>
                    <a:pt x="612" y="784"/>
                  </a:lnTo>
                  <a:lnTo>
                    <a:pt x="612" y="786"/>
                  </a:lnTo>
                  <a:lnTo>
                    <a:pt x="614" y="786"/>
                  </a:lnTo>
                  <a:lnTo>
                    <a:pt x="614" y="788"/>
                  </a:lnTo>
                  <a:lnTo>
                    <a:pt x="616" y="788"/>
                  </a:lnTo>
                  <a:lnTo>
                    <a:pt x="619" y="788"/>
                  </a:lnTo>
                  <a:lnTo>
                    <a:pt x="621" y="788"/>
                  </a:lnTo>
                  <a:lnTo>
                    <a:pt x="624" y="788"/>
                  </a:lnTo>
                  <a:lnTo>
                    <a:pt x="624" y="791"/>
                  </a:lnTo>
                  <a:lnTo>
                    <a:pt x="624" y="793"/>
                  </a:lnTo>
                  <a:lnTo>
                    <a:pt x="624" y="796"/>
                  </a:lnTo>
                  <a:lnTo>
                    <a:pt x="626" y="796"/>
                  </a:lnTo>
                  <a:lnTo>
                    <a:pt x="628" y="796"/>
                  </a:lnTo>
                  <a:lnTo>
                    <a:pt x="628" y="798"/>
                  </a:lnTo>
                  <a:lnTo>
                    <a:pt x="631" y="798"/>
                  </a:lnTo>
                  <a:lnTo>
                    <a:pt x="631" y="800"/>
                  </a:lnTo>
                  <a:lnTo>
                    <a:pt x="628" y="800"/>
                  </a:lnTo>
                  <a:lnTo>
                    <a:pt x="631" y="800"/>
                  </a:lnTo>
                  <a:lnTo>
                    <a:pt x="633" y="800"/>
                  </a:lnTo>
                  <a:lnTo>
                    <a:pt x="635" y="800"/>
                  </a:lnTo>
                  <a:lnTo>
                    <a:pt x="635" y="803"/>
                  </a:lnTo>
                  <a:lnTo>
                    <a:pt x="638" y="803"/>
                  </a:lnTo>
                  <a:lnTo>
                    <a:pt x="638" y="800"/>
                  </a:lnTo>
                  <a:lnTo>
                    <a:pt x="638" y="803"/>
                  </a:lnTo>
                  <a:lnTo>
                    <a:pt x="638" y="805"/>
                  </a:lnTo>
                  <a:lnTo>
                    <a:pt x="640" y="805"/>
                  </a:lnTo>
                  <a:lnTo>
                    <a:pt x="640" y="807"/>
                  </a:lnTo>
                  <a:lnTo>
                    <a:pt x="640" y="810"/>
                  </a:lnTo>
                  <a:lnTo>
                    <a:pt x="643" y="812"/>
                  </a:lnTo>
                  <a:lnTo>
                    <a:pt x="643" y="815"/>
                  </a:lnTo>
                  <a:lnTo>
                    <a:pt x="643" y="817"/>
                  </a:lnTo>
                  <a:lnTo>
                    <a:pt x="643" y="819"/>
                  </a:lnTo>
                  <a:lnTo>
                    <a:pt x="645" y="819"/>
                  </a:lnTo>
                  <a:lnTo>
                    <a:pt x="643" y="819"/>
                  </a:lnTo>
                  <a:lnTo>
                    <a:pt x="643" y="822"/>
                  </a:lnTo>
                  <a:lnTo>
                    <a:pt x="645" y="822"/>
                  </a:lnTo>
                  <a:lnTo>
                    <a:pt x="645" y="824"/>
                  </a:lnTo>
                  <a:lnTo>
                    <a:pt x="645" y="826"/>
                  </a:lnTo>
                  <a:lnTo>
                    <a:pt x="647" y="826"/>
                  </a:lnTo>
                  <a:lnTo>
                    <a:pt x="647" y="829"/>
                  </a:lnTo>
                  <a:lnTo>
                    <a:pt x="647" y="831"/>
                  </a:lnTo>
                  <a:lnTo>
                    <a:pt x="650" y="831"/>
                  </a:lnTo>
                  <a:lnTo>
                    <a:pt x="647" y="831"/>
                  </a:lnTo>
                  <a:lnTo>
                    <a:pt x="647" y="834"/>
                  </a:lnTo>
                  <a:lnTo>
                    <a:pt x="650" y="834"/>
                  </a:lnTo>
                  <a:lnTo>
                    <a:pt x="650" y="836"/>
                  </a:lnTo>
                  <a:lnTo>
                    <a:pt x="652" y="836"/>
                  </a:lnTo>
                  <a:lnTo>
                    <a:pt x="654" y="836"/>
                  </a:lnTo>
                  <a:lnTo>
                    <a:pt x="657" y="836"/>
                  </a:lnTo>
                  <a:lnTo>
                    <a:pt x="659" y="836"/>
                  </a:lnTo>
                  <a:lnTo>
                    <a:pt x="659" y="838"/>
                  </a:lnTo>
                  <a:lnTo>
                    <a:pt x="662" y="838"/>
                  </a:lnTo>
                  <a:lnTo>
                    <a:pt x="662" y="841"/>
                  </a:lnTo>
                  <a:lnTo>
                    <a:pt x="664" y="841"/>
                  </a:lnTo>
                  <a:lnTo>
                    <a:pt x="664" y="843"/>
                  </a:lnTo>
                  <a:lnTo>
                    <a:pt x="666" y="843"/>
                  </a:lnTo>
                  <a:lnTo>
                    <a:pt x="666" y="845"/>
                  </a:lnTo>
                  <a:lnTo>
                    <a:pt x="669" y="845"/>
                  </a:lnTo>
                  <a:lnTo>
                    <a:pt x="669" y="848"/>
                  </a:lnTo>
                  <a:lnTo>
                    <a:pt x="669" y="850"/>
                  </a:lnTo>
                  <a:lnTo>
                    <a:pt x="669" y="853"/>
                  </a:lnTo>
                  <a:lnTo>
                    <a:pt x="669" y="855"/>
                  </a:lnTo>
                  <a:lnTo>
                    <a:pt x="666" y="857"/>
                  </a:lnTo>
                  <a:lnTo>
                    <a:pt x="666" y="860"/>
                  </a:lnTo>
                  <a:lnTo>
                    <a:pt x="666" y="862"/>
                  </a:lnTo>
                  <a:lnTo>
                    <a:pt x="664" y="862"/>
                  </a:lnTo>
                  <a:lnTo>
                    <a:pt x="666" y="862"/>
                  </a:lnTo>
                  <a:lnTo>
                    <a:pt x="666" y="864"/>
                  </a:lnTo>
                  <a:lnTo>
                    <a:pt x="664" y="864"/>
                  </a:lnTo>
                  <a:lnTo>
                    <a:pt x="662" y="864"/>
                  </a:lnTo>
                  <a:lnTo>
                    <a:pt x="662" y="867"/>
                  </a:lnTo>
                  <a:lnTo>
                    <a:pt x="662" y="869"/>
                  </a:lnTo>
                  <a:lnTo>
                    <a:pt x="659" y="869"/>
                  </a:lnTo>
                  <a:lnTo>
                    <a:pt x="657" y="872"/>
                  </a:lnTo>
                  <a:lnTo>
                    <a:pt x="654" y="874"/>
                  </a:lnTo>
                  <a:lnTo>
                    <a:pt x="654" y="876"/>
                  </a:lnTo>
                  <a:lnTo>
                    <a:pt x="652" y="876"/>
                  </a:lnTo>
                  <a:lnTo>
                    <a:pt x="652" y="879"/>
                  </a:lnTo>
                  <a:lnTo>
                    <a:pt x="650" y="879"/>
                  </a:lnTo>
                  <a:lnTo>
                    <a:pt x="650" y="881"/>
                  </a:lnTo>
                  <a:lnTo>
                    <a:pt x="647" y="881"/>
                  </a:lnTo>
                  <a:lnTo>
                    <a:pt x="645" y="881"/>
                  </a:lnTo>
                  <a:lnTo>
                    <a:pt x="643" y="881"/>
                  </a:lnTo>
                  <a:lnTo>
                    <a:pt x="640" y="881"/>
                  </a:lnTo>
                  <a:lnTo>
                    <a:pt x="640" y="883"/>
                  </a:lnTo>
                  <a:lnTo>
                    <a:pt x="638" y="883"/>
                  </a:lnTo>
                  <a:lnTo>
                    <a:pt x="640" y="883"/>
                  </a:lnTo>
                  <a:lnTo>
                    <a:pt x="638" y="883"/>
                  </a:lnTo>
                  <a:lnTo>
                    <a:pt x="638" y="886"/>
                  </a:lnTo>
                  <a:lnTo>
                    <a:pt x="638" y="888"/>
                  </a:lnTo>
                  <a:lnTo>
                    <a:pt x="640" y="888"/>
                  </a:lnTo>
                  <a:lnTo>
                    <a:pt x="640" y="891"/>
                  </a:lnTo>
                  <a:lnTo>
                    <a:pt x="638" y="891"/>
                  </a:lnTo>
                  <a:lnTo>
                    <a:pt x="640" y="891"/>
                  </a:lnTo>
                  <a:lnTo>
                    <a:pt x="643" y="891"/>
                  </a:lnTo>
                  <a:lnTo>
                    <a:pt x="643" y="893"/>
                  </a:lnTo>
                  <a:lnTo>
                    <a:pt x="643" y="895"/>
                  </a:lnTo>
                  <a:lnTo>
                    <a:pt x="643" y="898"/>
                  </a:lnTo>
                  <a:lnTo>
                    <a:pt x="645" y="898"/>
                  </a:lnTo>
                  <a:lnTo>
                    <a:pt x="645" y="900"/>
                  </a:lnTo>
                  <a:lnTo>
                    <a:pt x="645" y="902"/>
                  </a:lnTo>
                  <a:lnTo>
                    <a:pt x="647" y="902"/>
                  </a:lnTo>
                  <a:lnTo>
                    <a:pt x="647" y="905"/>
                  </a:lnTo>
                  <a:lnTo>
                    <a:pt x="645" y="905"/>
                  </a:lnTo>
                  <a:lnTo>
                    <a:pt x="647" y="905"/>
                  </a:lnTo>
                  <a:lnTo>
                    <a:pt x="650" y="905"/>
                  </a:lnTo>
                  <a:lnTo>
                    <a:pt x="652" y="905"/>
                  </a:lnTo>
                  <a:lnTo>
                    <a:pt x="650" y="905"/>
                  </a:lnTo>
                  <a:lnTo>
                    <a:pt x="647" y="905"/>
                  </a:lnTo>
                  <a:lnTo>
                    <a:pt x="647" y="902"/>
                  </a:lnTo>
                  <a:lnTo>
                    <a:pt x="645" y="902"/>
                  </a:lnTo>
                  <a:lnTo>
                    <a:pt x="647" y="902"/>
                  </a:lnTo>
                  <a:lnTo>
                    <a:pt x="645" y="900"/>
                  </a:lnTo>
                  <a:lnTo>
                    <a:pt x="645" y="898"/>
                  </a:lnTo>
                  <a:lnTo>
                    <a:pt x="643" y="898"/>
                  </a:lnTo>
                  <a:lnTo>
                    <a:pt x="643" y="895"/>
                  </a:lnTo>
                  <a:lnTo>
                    <a:pt x="643" y="893"/>
                  </a:lnTo>
                  <a:lnTo>
                    <a:pt x="643" y="891"/>
                  </a:lnTo>
                  <a:lnTo>
                    <a:pt x="640" y="891"/>
                  </a:lnTo>
                  <a:lnTo>
                    <a:pt x="638" y="891"/>
                  </a:lnTo>
                  <a:lnTo>
                    <a:pt x="640" y="891"/>
                  </a:lnTo>
                  <a:lnTo>
                    <a:pt x="640" y="888"/>
                  </a:lnTo>
                  <a:lnTo>
                    <a:pt x="638" y="888"/>
                  </a:lnTo>
                  <a:lnTo>
                    <a:pt x="638" y="886"/>
                  </a:lnTo>
                  <a:lnTo>
                    <a:pt x="638" y="883"/>
                  </a:lnTo>
                  <a:lnTo>
                    <a:pt x="640" y="883"/>
                  </a:lnTo>
                  <a:lnTo>
                    <a:pt x="643" y="883"/>
                  </a:lnTo>
                  <a:lnTo>
                    <a:pt x="640" y="883"/>
                  </a:lnTo>
                  <a:lnTo>
                    <a:pt x="643" y="883"/>
                  </a:lnTo>
                  <a:lnTo>
                    <a:pt x="640" y="883"/>
                  </a:lnTo>
                  <a:lnTo>
                    <a:pt x="643" y="881"/>
                  </a:lnTo>
                  <a:lnTo>
                    <a:pt x="645" y="881"/>
                  </a:lnTo>
                  <a:lnTo>
                    <a:pt x="647" y="881"/>
                  </a:lnTo>
                  <a:lnTo>
                    <a:pt x="650" y="881"/>
                  </a:lnTo>
                  <a:lnTo>
                    <a:pt x="652" y="879"/>
                  </a:lnTo>
                  <a:lnTo>
                    <a:pt x="652" y="876"/>
                  </a:lnTo>
                  <a:lnTo>
                    <a:pt x="654" y="876"/>
                  </a:lnTo>
                  <a:lnTo>
                    <a:pt x="654" y="874"/>
                  </a:lnTo>
                  <a:lnTo>
                    <a:pt x="657" y="874"/>
                  </a:lnTo>
                  <a:lnTo>
                    <a:pt x="657" y="872"/>
                  </a:lnTo>
                  <a:lnTo>
                    <a:pt x="659" y="869"/>
                  </a:lnTo>
                  <a:lnTo>
                    <a:pt x="662" y="869"/>
                  </a:lnTo>
                  <a:lnTo>
                    <a:pt x="662" y="867"/>
                  </a:lnTo>
                  <a:lnTo>
                    <a:pt x="664" y="867"/>
                  </a:lnTo>
                  <a:lnTo>
                    <a:pt x="662" y="867"/>
                  </a:lnTo>
                  <a:lnTo>
                    <a:pt x="664" y="867"/>
                  </a:lnTo>
                  <a:lnTo>
                    <a:pt x="664" y="864"/>
                  </a:lnTo>
                  <a:lnTo>
                    <a:pt x="664" y="867"/>
                  </a:lnTo>
                  <a:lnTo>
                    <a:pt x="666" y="864"/>
                  </a:lnTo>
                  <a:lnTo>
                    <a:pt x="666" y="867"/>
                  </a:lnTo>
                  <a:lnTo>
                    <a:pt x="666" y="869"/>
                  </a:lnTo>
                  <a:lnTo>
                    <a:pt x="669" y="869"/>
                  </a:lnTo>
                  <a:lnTo>
                    <a:pt x="671" y="869"/>
                  </a:lnTo>
                  <a:lnTo>
                    <a:pt x="673" y="869"/>
                  </a:lnTo>
                  <a:lnTo>
                    <a:pt x="676" y="869"/>
                  </a:lnTo>
                  <a:lnTo>
                    <a:pt x="673" y="869"/>
                  </a:lnTo>
                  <a:lnTo>
                    <a:pt x="671" y="869"/>
                  </a:lnTo>
                  <a:lnTo>
                    <a:pt x="669" y="869"/>
                  </a:lnTo>
                  <a:lnTo>
                    <a:pt x="666" y="869"/>
                  </a:lnTo>
                  <a:lnTo>
                    <a:pt x="666" y="867"/>
                  </a:lnTo>
                  <a:lnTo>
                    <a:pt x="666" y="864"/>
                  </a:lnTo>
                  <a:lnTo>
                    <a:pt x="666" y="862"/>
                  </a:lnTo>
                  <a:lnTo>
                    <a:pt x="666" y="860"/>
                  </a:lnTo>
                  <a:lnTo>
                    <a:pt x="666" y="857"/>
                  </a:lnTo>
                  <a:lnTo>
                    <a:pt x="669" y="855"/>
                  </a:lnTo>
                  <a:lnTo>
                    <a:pt x="669" y="853"/>
                  </a:lnTo>
                  <a:lnTo>
                    <a:pt x="671" y="850"/>
                  </a:lnTo>
                  <a:lnTo>
                    <a:pt x="669" y="850"/>
                  </a:lnTo>
                  <a:lnTo>
                    <a:pt x="671" y="848"/>
                  </a:lnTo>
                  <a:lnTo>
                    <a:pt x="669" y="848"/>
                  </a:lnTo>
                  <a:lnTo>
                    <a:pt x="669" y="845"/>
                  </a:lnTo>
                  <a:lnTo>
                    <a:pt x="666" y="845"/>
                  </a:lnTo>
                  <a:lnTo>
                    <a:pt x="666" y="843"/>
                  </a:lnTo>
                  <a:lnTo>
                    <a:pt x="664" y="843"/>
                  </a:lnTo>
                  <a:lnTo>
                    <a:pt x="664" y="841"/>
                  </a:lnTo>
                  <a:lnTo>
                    <a:pt x="666" y="841"/>
                  </a:lnTo>
                  <a:lnTo>
                    <a:pt x="664" y="841"/>
                  </a:lnTo>
                  <a:lnTo>
                    <a:pt x="662" y="841"/>
                  </a:lnTo>
                  <a:lnTo>
                    <a:pt x="662" y="838"/>
                  </a:lnTo>
                  <a:lnTo>
                    <a:pt x="659" y="838"/>
                  </a:lnTo>
                  <a:lnTo>
                    <a:pt x="659" y="836"/>
                  </a:lnTo>
                  <a:lnTo>
                    <a:pt x="657" y="836"/>
                  </a:lnTo>
                  <a:lnTo>
                    <a:pt x="654" y="836"/>
                  </a:lnTo>
                  <a:lnTo>
                    <a:pt x="652" y="836"/>
                  </a:lnTo>
                  <a:lnTo>
                    <a:pt x="650" y="836"/>
                  </a:lnTo>
                  <a:lnTo>
                    <a:pt x="650" y="834"/>
                  </a:lnTo>
                  <a:lnTo>
                    <a:pt x="650" y="831"/>
                  </a:lnTo>
                  <a:lnTo>
                    <a:pt x="647" y="831"/>
                  </a:lnTo>
                  <a:lnTo>
                    <a:pt x="650" y="829"/>
                  </a:lnTo>
                  <a:lnTo>
                    <a:pt x="647" y="829"/>
                  </a:lnTo>
                  <a:lnTo>
                    <a:pt x="647" y="826"/>
                  </a:lnTo>
                  <a:lnTo>
                    <a:pt x="645" y="826"/>
                  </a:lnTo>
                  <a:lnTo>
                    <a:pt x="645" y="824"/>
                  </a:lnTo>
                  <a:lnTo>
                    <a:pt x="645" y="822"/>
                  </a:lnTo>
                  <a:lnTo>
                    <a:pt x="643" y="819"/>
                  </a:lnTo>
                  <a:lnTo>
                    <a:pt x="645" y="819"/>
                  </a:lnTo>
                  <a:lnTo>
                    <a:pt x="643" y="819"/>
                  </a:lnTo>
                  <a:lnTo>
                    <a:pt x="643" y="817"/>
                  </a:lnTo>
                  <a:lnTo>
                    <a:pt x="645" y="817"/>
                  </a:lnTo>
                  <a:lnTo>
                    <a:pt x="645" y="815"/>
                  </a:lnTo>
                  <a:lnTo>
                    <a:pt x="643" y="815"/>
                  </a:lnTo>
                  <a:lnTo>
                    <a:pt x="643" y="812"/>
                  </a:lnTo>
                  <a:lnTo>
                    <a:pt x="643" y="810"/>
                  </a:lnTo>
                  <a:lnTo>
                    <a:pt x="640" y="810"/>
                  </a:lnTo>
                  <a:lnTo>
                    <a:pt x="640" y="807"/>
                  </a:lnTo>
                  <a:lnTo>
                    <a:pt x="640" y="805"/>
                  </a:lnTo>
                  <a:lnTo>
                    <a:pt x="638" y="805"/>
                  </a:lnTo>
                  <a:lnTo>
                    <a:pt x="638" y="803"/>
                  </a:lnTo>
                  <a:lnTo>
                    <a:pt x="640" y="803"/>
                  </a:lnTo>
                  <a:lnTo>
                    <a:pt x="638" y="803"/>
                  </a:lnTo>
                  <a:lnTo>
                    <a:pt x="638" y="800"/>
                  </a:lnTo>
                  <a:lnTo>
                    <a:pt x="640" y="800"/>
                  </a:lnTo>
                  <a:lnTo>
                    <a:pt x="640" y="798"/>
                  </a:lnTo>
                  <a:lnTo>
                    <a:pt x="638" y="798"/>
                  </a:lnTo>
                  <a:lnTo>
                    <a:pt x="638" y="796"/>
                  </a:lnTo>
                  <a:lnTo>
                    <a:pt x="635" y="796"/>
                  </a:lnTo>
                  <a:lnTo>
                    <a:pt x="633" y="796"/>
                  </a:lnTo>
                  <a:lnTo>
                    <a:pt x="633" y="793"/>
                  </a:lnTo>
                  <a:lnTo>
                    <a:pt x="633" y="796"/>
                  </a:lnTo>
                  <a:lnTo>
                    <a:pt x="631" y="796"/>
                  </a:lnTo>
                  <a:lnTo>
                    <a:pt x="631" y="798"/>
                  </a:lnTo>
                  <a:lnTo>
                    <a:pt x="628" y="798"/>
                  </a:lnTo>
                  <a:lnTo>
                    <a:pt x="628" y="796"/>
                  </a:lnTo>
                  <a:lnTo>
                    <a:pt x="626" y="796"/>
                  </a:lnTo>
                  <a:lnTo>
                    <a:pt x="624" y="796"/>
                  </a:lnTo>
                  <a:lnTo>
                    <a:pt x="626" y="793"/>
                  </a:lnTo>
                  <a:lnTo>
                    <a:pt x="624" y="793"/>
                  </a:lnTo>
                  <a:lnTo>
                    <a:pt x="624" y="791"/>
                  </a:lnTo>
                  <a:lnTo>
                    <a:pt x="624" y="788"/>
                  </a:lnTo>
                  <a:lnTo>
                    <a:pt x="621" y="788"/>
                  </a:lnTo>
                  <a:lnTo>
                    <a:pt x="619" y="788"/>
                  </a:lnTo>
                  <a:lnTo>
                    <a:pt x="616" y="788"/>
                  </a:lnTo>
                  <a:lnTo>
                    <a:pt x="614" y="788"/>
                  </a:lnTo>
                  <a:lnTo>
                    <a:pt x="614" y="786"/>
                  </a:lnTo>
                  <a:lnTo>
                    <a:pt x="612" y="786"/>
                  </a:lnTo>
                  <a:lnTo>
                    <a:pt x="612" y="784"/>
                  </a:lnTo>
                  <a:lnTo>
                    <a:pt x="609" y="784"/>
                  </a:lnTo>
                  <a:lnTo>
                    <a:pt x="607" y="784"/>
                  </a:lnTo>
                  <a:lnTo>
                    <a:pt x="607" y="781"/>
                  </a:lnTo>
                  <a:lnTo>
                    <a:pt x="607" y="779"/>
                  </a:lnTo>
                  <a:lnTo>
                    <a:pt x="609" y="779"/>
                  </a:lnTo>
                  <a:lnTo>
                    <a:pt x="609" y="777"/>
                  </a:lnTo>
                  <a:lnTo>
                    <a:pt x="607" y="777"/>
                  </a:lnTo>
                  <a:lnTo>
                    <a:pt x="607" y="774"/>
                  </a:lnTo>
                  <a:lnTo>
                    <a:pt x="607" y="772"/>
                  </a:lnTo>
                  <a:lnTo>
                    <a:pt x="607" y="769"/>
                  </a:lnTo>
                  <a:lnTo>
                    <a:pt x="607" y="772"/>
                  </a:lnTo>
                  <a:lnTo>
                    <a:pt x="607" y="769"/>
                  </a:lnTo>
                  <a:lnTo>
                    <a:pt x="605" y="769"/>
                  </a:lnTo>
                  <a:lnTo>
                    <a:pt x="602" y="769"/>
                  </a:lnTo>
                  <a:lnTo>
                    <a:pt x="602" y="767"/>
                  </a:lnTo>
                  <a:lnTo>
                    <a:pt x="602" y="765"/>
                  </a:lnTo>
                  <a:lnTo>
                    <a:pt x="605" y="765"/>
                  </a:lnTo>
                  <a:lnTo>
                    <a:pt x="605" y="762"/>
                  </a:lnTo>
                  <a:lnTo>
                    <a:pt x="607" y="762"/>
                  </a:lnTo>
                  <a:lnTo>
                    <a:pt x="605" y="762"/>
                  </a:lnTo>
                  <a:lnTo>
                    <a:pt x="602" y="762"/>
                  </a:lnTo>
                  <a:lnTo>
                    <a:pt x="602" y="760"/>
                  </a:lnTo>
                  <a:lnTo>
                    <a:pt x="605" y="760"/>
                  </a:lnTo>
                  <a:lnTo>
                    <a:pt x="602" y="760"/>
                  </a:lnTo>
                  <a:lnTo>
                    <a:pt x="600" y="760"/>
                  </a:lnTo>
                  <a:lnTo>
                    <a:pt x="600" y="758"/>
                  </a:lnTo>
                  <a:lnTo>
                    <a:pt x="600" y="755"/>
                  </a:lnTo>
                  <a:lnTo>
                    <a:pt x="597" y="753"/>
                  </a:lnTo>
                  <a:lnTo>
                    <a:pt x="595" y="755"/>
                  </a:lnTo>
                  <a:lnTo>
                    <a:pt x="595" y="758"/>
                  </a:lnTo>
                  <a:lnTo>
                    <a:pt x="593" y="758"/>
                  </a:lnTo>
                  <a:lnTo>
                    <a:pt x="593" y="760"/>
                  </a:lnTo>
                  <a:lnTo>
                    <a:pt x="593" y="758"/>
                  </a:lnTo>
                  <a:lnTo>
                    <a:pt x="590" y="758"/>
                  </a:lnTo>
                  <a:lnTo>
                    <a:pt x="588" y="758"/>
                  </a:lnTo>
                  <a:lnTo>
                    <a:pt x="586" y="758"/>
                  </a:lnTo>
                  <a:lnTo>
                    <a:pt x="586" y="760"/>
                  </a:lnTo>
                  <a:lnTo>
                    <a:pt x="583" y="760"/>
                  </a:lnTo>
                  <a:lnTo>
                    <a:pt x="581" y="758"/>
                  </a:lnTo>
                  <a:lnTo>
                    <a:pt x="579" y="758"/>
                  </a:lnTo>
                  <a:lnTo>
                    <a:pt x="576" y="758"/>
                  </a:lnTo>
                  <a:lnTo>
                    <a:pt x="576" y="755"/>
                  </a:lnTo>
                  <a:lnTo>
                    <a:pt x="576" y="753"/>
                  </a:lnTo>
                  <a:lnTo>
                    <a:pt x="576" y="755"/>
                  </a:lnTo>
                  <a:lnTo>
                    <a:pt x="576" y="753"/>
                  </a:lnTo>
                  <a:lnTo>
                    <a:pt x="574" y="753"/>
                  </a:lnTo>
                  <a:lnTo>
                    <a:pt x="571" y="750"/>
                  </a:lnTo>
                  <a:lnTo>
                    <a:pt x="571" y="748"/>
                  </a:lnTo>
                  <a:lnTo>
                    <a:pt x="569" y="748"/>
                  </a:lnTo>
                  <a:lnTo>
                    <a:pt x="569" y="746"/>
                  </a:lnTo>
                  <a:lnTo>
                    <a:pt x="567" y="746"/>
                  </a:lnTo>
                  <a:lnTo>
                    <a:pt x="567" y="743"/>
                  </a:lnTo>
                  <a:lnTo>
                    <a:pt x="564" y="741"/>
                  </a:lnTo>
                  <a:lnTo>
                    <a:pt x="564" y="739"/>
                  </a:lnTo>
                  <a:lnTo>
                    <a:pt x="562" y="739"/>
                  </a:lnTo>
                  <a:lnTo>
                    <a:pt x="560" y="739"/>
                  </a:lnTo>
                  <a:lnTo>
                    <a:pt x="557" y="739"/>
                  </a:lnTo>
                  <a:lnTo>
                    <a:pt x="557" y="736"/>
                  </a:lnTo>
                  <a:lnTo>
                    <a:pt x="557" y="734"/>
                  </a:lnTo>
                  <a:lnTo>
                    <a:pt x="560" y="734"/>
                  </a:lnTo>
                  <a:lnTo>
                    <a:pt x="557" y="734"/>
                  </a:lnTo>
                  <a:lnTo>
                    <a:pt x="557" y="731"/>
                  </a:lnTo>
                  <a:lnTo>
                    <a:pt x="555" y="731"/>
                  </a:lnTo>
                  <a:lnTo>
                    <a:pt x="555" y="729"/>
                  </a:lnTo>
                  <a:lnTo>
                    <a:pt x="555" y="727"/>
                  </a:lnTo>
                  <a:lnTo>
                    <a:pt x="557" y="727"/>
                  </a:lnTo>
                  <a:lnTo>
                    <a:pt x="560" y="729"/>
                  </a:lnTo>
                  <a:lnTo>
                    <a:pt x="562" y="729"/>
                  </a:lnTo>
                  <a:lnTo>
                    <a:pt x="562" y="727"/>
                  </a:lnTo>
                  <a:lnTo>
                    <a:pt x="564" y="727"/>
                  </a:lnTo>
                  <a:lnTo>
                    <a:pt x="567" y="724"/>
                  </a:lnTo>
                  <a:lnTo>
                    <a:pt x="567" y="722"/>
                  </a:lnTo>
                  <a:lnTo>
                    <a:pt x="569" y="722"/>
                  </a:lnTo>
                  <a:lnTo>
                    <a:pt x="567" y="722"/>
                  </a:lnTo>
                  <a:lnTo>
                    <a:pt x="569" y="720"/>
                  </a:lnTo>
                  <a:lnTo>
                    <a:pt x="569" y="717"/>
                  </a:lnTo>
                  <a:lnTo>
                    <a:pt x="567" y="717"/>
                  </a:lnTo>
                  <a:lnTo>
                    <a:pt x="567" y="715"/>
                  </a:lnTo>
                  <a:lnTo>
                    <a:pt x="569" y="715"/>
                  </a:lnTo>
                  <a:lnTo>
                    <a:pt x="571" y="715"/>
                  </a:lnTo>
                  <a:lnTo>
                    <a:pt x="571" y="712"/>
                  </a:lnTo>
                  <a:lnTo>
                    <a:pt x="574" y="712"/>
                  </a:lnTo>
                  <a:lnTo>
                    <a:pt x="576" y="712"/>
                  </a:lnTo>
                  <a:lnTo>
                    <a:pt x="576" y="715"/>
                  </a:lnTo>
                  <a:lnTo>
                    <a:pt x="576" y="712"/>
                  </a:lnTo>
                  <a:lnTo>
                    <a:pt x="576" y="715"/>
                  </a:lnTo>
                  <a:lnTo>
                    <a:pt x="579" y="715"/>
                  </a:lnTo>
                  <a:lnTo>
                    <a:pt x="581" y="715"/>
                  </a:lnTo>
                  <a:lnTo>
                    <a:pt x="583" y="717"/>
                  </a:lnTo>
                  <a:lnTo>
                    <a:pt x="586" y="717"/>
                  </a:lnTo>
                  <a:lnTo>
                    <a:pt x="588" y="717"/>
                  </a:lnTo>
                  <a:lnTo>
                    <a:pt x="590" y="720"/>
                  </a:lnTo>
                  <a:lnTo>
                    <a:pt x="593" y="720"/>
                  </a:lnTo>
                  <a:lnTo>
                    <a:pt x="595" y="720"/>
                  </a:lnTo>
                  <a:lnTo>
                    <a:pt x="595" y="722"/>
                  </a:lnTo>
                  <a:lnTo>
                    <a:pt x="597" y="722"/>
                  </a:lnTo>
                  <a:lnTo>
                    <a:pt x="595" y="724"/>
                  </a:lnTo>
                  <a:lnTo>
                    <a:pt x="597" y="724"/>
                  </a:lnTo>
                  <a:lnTo>
                    <a:pt x="597" y="727"/>
                  </a:lnTo>
                  <a:lnTo>
                    <a:pt x="600" y="727"/>
                  </a:lnTo>
                  <a:lnTo>
                    <a:pt x="602" y="729"/>
                  </a:lnTo>
                  <a:lnTo>
                    <a:pt x="605" y="729"/>
                  </a:lnTo>
                  <a:lnTo>
                    <a:pt x="607" y="731"/>
                  </a:lnTo>
                  <a:lnTo>
                    <a:pt x="609" y="731"/>
                  </a:lnTo>
                  <a:lnTo>
                    <a:pt x="612" y="731"/>
                  </a:lnTo>
                  <a:lnTo>
                    <a:pt x="614" y="731"/>
                  </a:lnTo>
                  <a:lnTo>
                    <a:pt x="616" y="731"/>
                  </a:lnTo>
                  <a:lnTo>
                    <a:pt x="619" y="731"/>
                  </a:lnTo>
                  <a:lnTo>
                    <a:pt x="616" y="734"/>
                  </a:lnTo>
                  <a:lnTo>
                    <a:pt x="619" y="734"/>
                  </a:lnTo>
                  <a:lnTo>
                    <a:pt x="619" y="736"/>
                  </a:lnTo>
                  <a:lnTo>
                    <a:pt x="616" y="736"/>
                  </a:lnTo>
                  <a:lnTo>
                    <a:pt x="616" y="734"/>
                  </a:lnTo>
                  <a:lnTo>
                    <a:pt x="614" y="734"/>
                  </a:lnTo>
                  <a:lnTo>
                    <a:pt x="614" y="736"/>
                  </a:lnTo>
                  <a:lnTo>
                    <a:pt x="612" y="736"/>
                  </a:lnTo>
                  <a:lnTo>
                    <a:pt x="612" y="734"/>
                  </a:lnTo>
                  <a:lnTo>
                    <a:pt x="609" y="736"/>
                  </a:lnTo>
                  <a:lnTo>
                    <a:pt x="607" y="736"/>
                  </a:lnTo>
                  <a:lnTo>
                    <a:pt x="607" y="739"/>
                  </a:lnTo>
                  <a:lnTo>
                    <a:pt x="609" y="739"/>
                  </a:lnTo>
                  <a:lnTo>
                    <a:pt x="609" y="741"/>
                  </a:lnTo>
                  <a:lnTo>
                    <a:pt x="609" y="743"/>
                  </a:lnTo>
                  <a:lnTo>
                    <a:pt x="607" y="743"/>
                  </a:lnTo>
                  <a:lnTo>
                    <a:pt x="607" y="746"/>
                  </a:lnTo>
                  <a:lnTo>
                    <a:pt x="605" y="746"/>
                  </a:lnTo>
                  <a:lnTo>
                    <a:pt x="607" y="746"/>
                  </a:lnTo>
                  <a:lnTo>
                    <a:pt x="607" y="743"/>
                  </a:lnTo>
                  <a:lnTo>
                    <a:pt x="609" y="743"/>
                  </a:lnTo>
                  <a:lnTo>
                    <a:pt x="609" y="741"/>
                  </a:lnTo>
                  <a:lnTo>
                    <a:pt x="612" y="741"/>
                  </a:lnTo>
                  <a:lnTo>
                    <a:pt x="612" y="743"/>
                  </a:lnTo>
                  <a:lnTo>
                    <a:pt x="612" y="741"/>
                  </a:lnTo>
                  <a:lnTo>
                    <a:pt x="609" y="741"/>
                  </a:lnTo>
                  <a:lnTo>
                    <a:pt x="612" y="739"/>
                  </a:lnTo>
                  <a:lnTo>
                    <a:pt x="614" y="739"/>
                  </a:lnTo>
                  <a:lnTo>
                    <a:pt x="616" y="739"/>
                  </a:lnTo>
                  <a:lnTo>
                    <a:pt x="619" y="736"/>
                  </a:lnTo>
                  <a:lnTo>
                    <a:pt x="621" y="736"/>
                  </a:lnTo>
                  <a:lnTo>
                    <a:pt x="621" y="739"/>
                  </a:lnTo>
                  <a:lnTo>
                    <a:pt x="621" y="736"/>
                  </a:lnTo>
                  <a:lnTo>
                    <a:pt x="621" y="739"/>
                  </a:lnTo>
                  <a:lnTo>
                    <a:pt x="621" y="736"/>
                  </a:lnTo>
                  <a:lnTo>
                    <a:pt x="619" y="734"/>
                  </a:lnTo>
                  <a:lnTo>
                    <a:pt x="621" y="734"/>
                  </a:lnTo>
                  <a:lnTo>
                    <a:pt x="624" y="736"/>
                  </a:lnTo>
                  <a:lnTo>
                    <a:pt x="626" y="736"/>
                  </a:lnTo>
                  <a:lnTo>
                    <a:pt x="628" y="736"/>
                  </a:lnTo>
                  <a:lnTo>
                    <a:pt x="631" y="736"/>
                  </a:lnTo>
                  <a:lnTo>
                    <a:pt x="633" y="736"/>
                  </a:lnTo>
                  <a:lnTo>
                    <a:pt x="635" y="736"/>
                  </a:lnTo>
                  <a:lnTo>
                    <a:pt x="635" y="739"/>
                  </a:lnTo>
                  <a:lnTo>
                    <a:pt x="638" y="739"/>
                  </a:lnTo>
                  <a:lnTo>
                    <a:pt x="640" y="739"/>
                  </a:lnTo>
                  <a:lnTo>
                    <a:pt x="640" y="741"/>
                  </a:lnTo>
                  <a:lnTo>
                    <a:pt x="640" y="739"/>
                  </a:lnTo>
                  <a:lnTo>
                    <a:pt x="638" y="739"/>
                  </a:lnTo>
                  <a:lnTo>
                    <a:pt x="638" y="741"/>
                  </a:lnTo>
                  <a:lnTo>
                    <a:pt x="640" y="739"/>
                  </a:lnTo>
                  <a:lnTo>
                    <a:pt x="640" y="741"/>
                  </a:lnTo>
                  <a:lnTo>
                    <a:pt x="643" y="741"/>
                  </a:lnTo>
                  <a:lnTo>
                    <a:pt x="645" y="743"/>
                  </a:lnTo>
                  <a:lnTo>
                    <a:pt x="647" y="743"/>
                  </a:lnTo>
                  <a:lnTo>
                    <a:pt x="650" y="743"/>
                  </a:lnTo>
                  <a:lnTo>
                    <a:pt x="652" y="746"/>
                  </a:lnTo>
                  <a:lnTo>
                    <a:pt x="654" y="746"/>
                  </a:lnTo>
                  <a:lnTo>
                    <a:pt x="654" y="748"/>
                  </a:lnTo>
                  <a:lnTo>
                    <a:pt x="657" y="748"/>
                  </a:lnTo>
                  <a:lnTo>
                    <a:pt x="657" y="750"/>
                  </a:lnTo>
                  <a:lnTo>
                    <a:pt x="657" y="748"/>
                  </a:lnTo>
                  <a:lnTo>
                    <a:pt x="659" y="748"/>
                  </a:lnTo>
                  <a:lnTo>
                    <a:pt x="657" y="748"/>
                  </a:lnTo>
                  <a:lnTo>
                    <a:pt x="659" y="748"/>
                  </a:lnTo>
                  <a:lnTo>
                    <a:pt x="657" y="748"/>
                  </a:lnTo>
                  <a:lnTo>
                    <a:pt x="659" y="748"/>
                  </a:lnTo>
                  <a:lnTo>
                    <a:pt x="662" y="748"/>
                  </a:lnTo>
                  <a:lnTo>
                    <a:pt x="664" y="748"/>
                  </a:lnTo>
                  <a:lnTo>
                    <a:pt x="662" y="748"/>
                  </a:lnTo>
                  <a:lnTo>
                    <a:pt x="664" y="748"/>
                  </a:lnTo>
                  <a:lnTo>
                    <a:pt x="662" y="748"/>
                  </a:lnTo>
                  <a:lnTo>
                    <a:pt x="664" y="748"/>
                  </a:lnTo>
                  <a:lnTo>
                    <a:pt x="664" y="750"/>
                  </a:lnTo>
                  <a:lnTo>
                    <a:pt x="664" y="748"/>
                  </a:lnTo>
                  <a:lnTo>
                    <a:pt x="664" y="746"/>
                  </a:lnTo>
                  <a:lnTo>
                    <a:pt x="666" y="746"/>
                  </a:lnTo>
                  <a:lnTo>
                    <a:pt x="669" y="746"/>
                  </a:lnTo>
                  <a:lnTo>
                    <a:pt x="666" y="746"/>
                  </a:lnTo>
                  <a:lnTo>
                    <a:pt x="669" y="746"/>
                  </a:lnTo>
                  <a:lnTo>
                    <a:pt x="671" y="746"/>
                  </a:lnTo>
                  <a:lnTo>
                    <a:pt x="669" y="746"/>
                  </a:lnTo>
                  <a:lnTo>
                    <a:pt x="669" y="743"/>
                  </a:lnTo>
                  <a:lnTo>
                    <a:pt x="669" y="746"/>
                  </a:lnTo>
                  <a:lnTo>
                    <a:pt x="671" y="746"/>
                  </a:lnTo>
                  <a:lnTo>
                    <a:pt x="671" y="743"/>
                  </a:lnTo>
                  <a:lnTo>
                    <a:pt x="673" y="743"/>
                  </a:lnTo>
                  <a:lnTo>
                    <a:pt x="673" y="746"/>
                  </a:lnTo>
                  <a:lnTo>
                    <a:pt x="676" y="746"/>
                  </a:lnTo>
                  <a:lnTo>
                    <a:pt x="673" y="746"/>
                  </a:lnTo>
                  <a:lnTo>
                    <a:pt x="673" y="743"/>
                  </a:lnTo>
                  <a:lnTo>
                    <a:pt x="676" y="746"/>
                  </a:lnTo>
                  <a:lnTo>
                    <a:pt x="673" y="746"/>
                  </a:lnTo>
                  <a:lnTo>
                    <a:pt x="676" y="746"/>
                  </a:lnTo>
                  <a:lnTo>
                    <a:pt x="676" y="748"/>
                  </a:lnTo>
                  <a:lnTo>
                    <a:pt x="678" y="748"/>
                  </a:lnTo>
                  <a:lnTo>
                    <a:pt x="681" y="748"/>
                  </a:lnTo>
                  <a:lnTo>
                    <a:pt x="681" y="750"/>
                  </a:lnTo>
                  <a:lnTo>
                    <a:pt x="681" y="753"/>
                  </a:lnTo>
                  <a:lnTo>
                    <a:pt x="681" y="750"/>
                  </a:lnTo>
                  <a:lnTo>
                    <a:pt x="681" y="748"/>
                  </a:lnTo>
                  <a:lnTo>
                    <a:pt x="683" y="748"/>
                  </a:lnTo>
                  <a:lnTo>
                    <a:pt x="683" y="750"/>
                  </a:lnTo>
                  <a:lnTo>
                    <a:pt x="685" y="750"/>
                  </a:lnTo>
                  <a:lnTo>
                    <a:pt x="685" y="753"/>
                  </a:lnTo>
                  <a:lnTo>
                    <a:pt x="688" y="753"/>
                  </a:lnTo>
                  <a:lnTo>
                    <a:pt x="690" y="753"/>
                  </a:lnTo>
                  <a:lnTo>
                    <a:pt x="688" y="753"/>
                  </a:lnTo>
                  <a:lnTo>
                    <a:pt x="685" y="753"/>
                  </a:lnTo>
                  <a:lnTo>
                    <a:pt x="685" y="750"/>
                  </a:lnTo>
                  <a:lnTo>
                    <a:pt x="685" y="748"/>
                  </a:lnTo>
                  <a:lnTo>
                    <a:pt x="685" y="750"/>
                  </a:lnTo>
                  <a:lnTo>
                    <a:pt x="688" y="750"/>
                  </a:lnTo>
                  <a:lnTo>
                    <a:pt x="690" y="750"/>
                  </a:lnTo>
                  <a:lnTo>
                    <a:pt x="692" y="750"/>
                  </a:lnTo>
                  <a:lnTo>
                    <a:pt x="692" y="753"/>
                  </a:lnTo>
                  <a:lnTo>
                    <a:pt x="695" y="753"/>
                  </a:lnTo>
                  <a:lnTo>
                    <a:pt x="692" y="753"/>
                  </a:lnTo>
                  <a:lnTo>
                    <a:pt x="695" y="753"/>
                  </a:lnTo>
                  <a:lnTo>
                    <a:pt x="692" y="753"/>
                  </a:lnTo>
                  <a:lnTo>
                    <a:pt x="695" y="753"/>
                  </a:lnTo>
                  <a:lnTo>
                    <a:pt x="697" y="753"/>
                  </a:lnTo>
                  <a:lnTo>
                    <a:pt x="700" y="753"/>
                  </a:lnTo>
                  <a:lnTo>
                    <a:pt x="700" y="755"/>
                  </a:lnTo>
                  <a:lnTo>
                    <a:pt x="700" y="758"/>
                  </a:lnTo>
                  <a:lnTo>
                    <a:pt x="702" y="758"/>
                  </a:lnTo>
                  <a:lnTo>
                    <a:pt x="702" y="760"/>
                  </a:lnTo>
                  <a:lnTo>
                    <a:pt x="704" y="760"/>
                  </a:lnTo>
                  <a:lnTo>
                    <a:pt x="707" y="760"/>
                  </a:lnTo>
                  <a:lnTo>
                    <a:pt x="704" y="760"/>
                  </a:lnTo>
                  <a:lnTo>
                    <a:pt x="704" y="758"/>
                  </a:lnTo>
                  <a:lnTo>
                    <a:pt x="707" y="758"/>
                  </a:lnTo>
                  <a:lnTo>
                    <a:pt x="707" y="760"/>
                  </a:lnTo>
                  <a:lnTo>
                    <a:pt x="709" y="760"/>
                  </a:lnTo>
                  <a:lnTo>
                    <a:pt x="711" y="760"/>
                  </a:lnTo>
                  <a:lnTo>
                    <a:pt x="714" y="760"/>
                  </a:lnTo>
                  <a:lnTo>
                    <a:pt x="714" y="762"/>
                  </a:lnTo>
                  <a:lnTo>
                    <a:pt x="714" y="760"/>
                  </a:lnTo>
                  <a:lnTo>
                    <a:pt x="711" y="760"/>
                  </a:lnTo>
                  <a:lnTo>
                    <a:pt x="714" y="760"/>
                  </a:lnTo>
                  <a:lnTo>
                    <a:pt x="716" y="760"/>
                  </a:lnTo>
                  <a:lnTo>
                    <a:pt x="719" y="760"/>
                  </a:lnTo>
                  <a:lnTo>
                    <a:pt x="716" y="760"/>
                  </a:lnTo>
                  <a:lnTo>
                    <a:pt x="719" y="760"/>
                  </a:lnTo>
                  <a:lnTo>
                    <a:pt x="721" y="760"/>
                  </a:lnTo>
                  <a:lnTo>
                    <a:pt x="721" y="762"/>
                  </a:lnTo>
                  <a:lnTo>
                    <a:pt x="723" y="762"/>
                  </a:lnTo>
                  <a:lnTo>
                    <a:pt x="723" y="765"/>
                  </a:lnTo>
                  <a:lnTo>
                    <a:pt x="726" y="765"/>
                  </a:lnTo>
                  <a:lnTo>
                    <a:pt x="728" y="767"/>
                  </a:lnTo>
                  <a:lnTo>
                    <a:pt x="726" y="767"/>
                  </a:lnTo>
                  <a:lnTo>
                    <a:pt x="728" y="767"/>
                  </a:lnTo>
                  <a:lnTo>
                    <a:pt x="728" y="769"/>
                  </a:lnTo>
                  <a:lnTo>
                    <a:pt x="728" y="767"/>
                  </a:lnTo>
                  <a:lnTo>
                    <a:pt x="726" y="767"/>
                  </a:lnTo>
                  <a:lnTo>
                    <a:pt x="728" y="767"/>
                  </a:lnTo>
                  <a:lnTo>
                    <a:pt x="730" y="767"/>
                  </a:lnTo>
                  <a:lnTo>
                    <a:pt x="733" y="767"/>
                  </a:lnTo>
                  <a:lnTo>
                    <a:pt x="735" y="767"/>
                  </a:lnTo>
                  <a:lnTo>
                    <a:pt x="735" y="769"/>
                  </a:lnTo>
                  <a:lnTo>
                    <a:pt x="733" y="772"/>
                  </a:lnTo>
                  <a:lnTo>
                    <a:pt x="730" y="772"/>
                  </a:lnTo>
                  <a:lnTo>
                    <a:pt x="728" y="772"/>
                  </a:lnTo>
                  <a:lnTo>
                    <a:pt x="728" y="774"/>
                  </a:lnTo>
                  <a:lnTo>
                    <a:pt x="728" y="777"/>
                  </a:lnTo>
                  <a:lnTo>
                    <a:pt x="730" y="777"/>
                  </a:lnTo>
                  <a:lnTo>
                    <a:pt x="730" y="779"/>
                  </a:lnTo>
                  <a:lnTo>
                    <a:pt x="728" y="781"/>
                  </a:lnTo>
                  <a:lnTo>
                    <a:pt x="728" y="784"/>
                  </a:lnTo>
                  <a:lnTo>
                    <a:pt x="726" y="784"/>
                  </a:lnTo>
                  <a:lnTo>
                    <a:pt x="726" y="786"/>
                  </a:lnTo>
                  <a:lnTo>
                    <a:pt x="723" y="788"/>
                  </a:lnTo>
                  <a:lnTo>
                    <a:pt x="721" y="788"/>
                  </a:lnTo>
                  <a:lnTo>
                    <a:pt x="721" y="791"/>
                  </a:lnTo>
                  <a:lnTo>
                    <a:pt x="719" y="791"/>
                  </a:lnTo>
                  <a:lnTo>
                    <a:pt x="719" y="793"/>
                  </a:lnTo>
                  <a:lnTo>
                    <a:pt x="721" y="796"/>
                  </a:lnTo>
                  <a:lnTo>
                    <a:pt x="721" y="798"/>
                  </a:lnTo>
                  <a:lnTo>
                    <a:pt x="723" y="798"/>
                  </a:lnTo>
                  <a:lnTo>
                    <a:pt x="726" y="798"/>
                  </a:lnTo>
                  <a:lnTo>
                    <a:pt x="728" y="798"/>
                  </a:lnTo>
                  <a:lnTo>
                    <a:pt x="730" y="798"/>
                  </a:lnTo>
                  <a:lnTo>
                    <a:pt x="730" y="800"/>
                  </a:lnTo>
                  <a:lnTo>
                    <a:pt x="733" y="800"/>
                  </a:lnTo>
                  <a:lnTo>
                    <a:pt x="733" y="803"/>
                  </a:lnTo>
                  <a:lnTo>
                    <a:pt x="735" y="803"/>
                  </a:lnTo>
                  <a:lnTo>
                    <a:pt x="735" y="805"/>
                  </a:lnTo>
                  <a:lnTo>
                    <a:pt x="733" y="805"/>
                  </a:lnTo>
                  <a:lnTo>
                    <a:pt x="733" y="807"/>
                  </a:lnTo>
                  <a:lnTo>
                    <a:pt x="730" y="807"/>
                  </a:lnTo>
                  <a:lnTo>
                    <a:pt x="728" y="807"/>
                  </a:lnTo>
                  <a:lnTo>
                    <a:pt x="730" y="807"/>
                  </a:lnTo>
                  <a:lnTo>
                    <a:pt x="728" y="807"/>
                  </a:lnTo>
                  <a:lnTo>
                    <a:pt x="726" y="807"/>
                  </a:lnTo>
                  <a:lnTo>
                    <a:pt x="723" y="807"/>
                  </a:lnTo>
                  <a:lnTo>
                    <a:pt x="726" y="807"/>
                  </a:lnTo>
                  <a:lnTo>
                    <a:pt x="728" y="807"/>
                  </a:lnTo>
                  <a:lnTo>
                    <a:pt x="730" y="807"/>
                  </a:lnTo>
                  <a:lnTo>
                    <a:pt x="728" y="807"/>
                  </a:lnTo>
                  <a:lnTo>
                    <a:pt x="730" y="807"/>
                  </a:lnTo>
                  <a:lnTo>
                    <a:pt x="728" y="810"/>
                  </a:lnTo>
                  <a:lnTo>
                    <a:pt x="728" y="807"/>
                  </a:lnTo>
                  <a:lnTo>
                    <a:pt x="728" y="810"/>
                  </a:lnTo>
                  <a:lnTo>
                    <a:pt x="728" y="807"/>
                  </a:lnTo>
                  <a:lnTo>
                    <a:pt x="730" y="807"/>
                  </a:lnTo>
                  <a:lnTo>
                    <a:pt x="733" y="807"/>
                  </a:lnTo>
                  <a:lnTo>
                    <a:pt x="733" y="805"/>
                  </a:lnTo>
                  <a:lnTo>
                    <a:pt x="735" y="805"/>
                  </a:lnTo>
                  <a:lnTo>
                    <a:pt x="733" y="805"/>
                  </a:lnTo>
                  <a:lnTo>
                    <a:pt x="733" y="807"/>
                  </a:lnTo>
                  <a:lnTo>
                    <a:pt x="733" y="810"/>
                  </a:lnTo>
                  <a:lnTo>
                    <a:pt x="733" y="812"/>
                  </a:lnTo>
                  <a:lnTo>
                    <a:pt x="735" y="812"/>
                  </a:lnTo>
                  <a:lnTo>
                    <a:pt x="733" y="812"/>
                  </a:lnTo>
                  <a:lnTo>
                    <a:pt x="735" y="812"/>
                  </a:lnTo>
                  <a:lnTo>
                    <a:pt x="735" y="815"/>
                  </a:lnTo>
                  <a:lnTo>
                    <a:pt x="737" y="815"/>
                  </a:lnTo>
                  <a:lnTo>
                    <a:pt x="737" y="817"/>
                  </a:lnTo>
                  <a:lnTo>
                    <a:pt x="737" y="815"/>
                  </a:lnTo>
                  <a:lnTo>
                    <a:pt x="740" y="817"/>
                  </a:lnTo>
                  <a:lnTo>
                    <a:pt x="737" y="815"/>
                  </a:lnTo>
                  <a:lnTo>
                    <a:pt x="740" y="817"/>
                  </a:lnTo>
                  <a:lnTo>
                    <a:pt x="740" y="819"/>
                  </a:lnTo>
                  <a:lnTo>
                    <a:pt x="737" y="819"/>
                  </a:lnTo>
                  <a:lnTo>
                    <a:pt x="737" y="822"/>
                  </a:lnTo>
                  <a:lnTo>
                    <a:pt x="737" y="824"/>
                  </a:lnTo>
                  <a:lnTo>
                    <a:pt x="740" y="824"/>
                  </a:lnTo>
                  <a:lnTo>
                    <a:pt x="737" y="826"/>
                  </a:lnTo>
                  <a:lnTo>
                    <a:pt x="740" y="829"/>
                  </a:lnTo>
                  <a:lnTo>
                    <a:pt x="740" y="831"/>
                  </a:lnTo>
                  <a:lnTo>
                    <a:pt x="737" y="831"/>
                  </a:lnTo>
                  <a:lnTo>
                    <a:pt x="737" y="829"/>
                  </a:lnTo>
                  <a:lnTo>
                    <a:pt x="737" y="831"/>
                  </a:lnTo>
                  <a:lnTo>
                    <a:pt x="740" y="831"/>
                  </a:lnTo>
                  <a:lnTo>
                    <a:pt x="740" y="829"/>
                  </a:lnTo>
                  <a:lnTo>
                    <a:pt x="740" y="831"/>
                  </a:lnTo>
                  <a:lnTo>
                    <a:pt x="740" y="829"/>
                  </a:lnTo>
                  <a:lnTo>
                    <a:pt x="742" y="831"/>
                  </a:lnTo>
                  <a:lnTo>
                    <a:pt x="745" y="831"/>
                  </a:lnTo>
                  <a:lnTo>
                    <a:pt x="747" y="831"/>
                  </a:lnTo>
                  <a:lnTo>
                    <a:pt x="749" y="831"/>
                  </a:lnTo>
                  <a:lnTo>
                    <a:pt x="749" y="834"/>
                  </a:lnTo>
                  <a:lnTo>
                    <a:pt x="747" y="834"/>
                  </a:lnTo>
                  <a:lnTo>
                    <a:pt x="749" y="834"/>
                  </a:lnTo>
                  <a:lnTo>
                    <a:pt x="749" y="831"/>
                  </a:lnTo>
                  <a:lnTo>
                    <a:pt x="747" y="831"/>
                  </a:lnTo>
                  <a:lnTo>
                    <a:pt x="749" y="831"/>
                  </a:lnTo>
                  <a:lnTo>
                    <a:pt x="747" y="831"/>
                  </a:lnTo>
                  <a:lnTo>
                    <a:pt x="749" y="831"/>
                  </a:lnTo>
                  <a:lnTo>
                    <a:pt x="752" y="831"/>
                  </a:lnTo>
                  <a:lnTo>
                    <a:pt x="754" y="831"/>
                  </a:lnTo>
                  <a:lnTo>
                    <a:pt x="756" y="831"/>
                  </a:lnTo>
                  <a:lnTo>
                    <a:pt x="756" y="834"/>
                  </a:lnTo>
                  <a:lnTo>
                    <a:pt x="759" y="834"/>
                  </a:lnTo>
                  <a:lnTo>
                    <a:pt x="759" y="836"/>
                  </a:lnTo>
                  <a:lnTo>
                    <a:pt x="756" y="836"/>
                  </a:lnTo>
                  <a:lnTo>
                    <a:pt x="756" y="838"/>
                  </a:lnTo>
                  <a:lnTo>
                    <a:pt x="756" y="836"/>
                  </a:lnTo>
                  <a:lnTo>
                    <a:pt x="754" y="838"/>
                  </a:lnTo>
                  <a:lnTo>
                    <a:pt x="756" y="838"/>
                  </a:lnTo>
                  <a:lnTo>
                    <a:pt x="756" y="836"/>
                  </a:lnTo>
                  <a:lnTo>
                    <a:pt x="756" y="838"/>
                  </a:lnTo>
                  <a:lnTo>
                    <a:pt x="756" y="836"/>
                  </a:lnTo>
                  <a:lnTo>
                    <a:pt x="756" y="838"/>
                  </a:lnTo>
                  <a:lnTo>
                    <a:pt x="759" y="838"/>
                  </a:lnTo>
                  <a:lnTo>
                    <a:pt x="756" y="838"/>
                  </a:lnTo>
                  <a:lnTo>
                    <a:pt x="756" y="841"/>
                  </a:lnTo>
                  <a:lnTo>
                    <a:pt x="759" y="841"/>
                  </a:lnTo>
                  <a:lnTo>
                    <a:pt x="756" y="841"/>
                  </a:lnTo>
                  <a:lnTo>
                    <a:pt x="759" y="841"/>
                  </a:lnTo>
                  <a:lnTo>
                    <a:pt x="759" y="843"/>
                  </a:lnTo>
                  <a:lnTo>
                    <a:pt x="759" y="841"/>
                  </a:lnTo>
                  <a:lnTo>
                    <a:pt x="756" y="841"/>
                  </a:lnTo>
                  <a:lnTo>
                    <a:pt x="759" y="838"/>
                  </a:lnTo>
                  <a:lnTo>
                    <a:pt x="756" y="838"/>
                  </a:lnTo>
                  <a:lnTo>
                    <a:pt x="756" y="836"/>
                  </a:lnTo>
                  <a:lnTo>
                    <a:pt x="756" y="838"/>
                  </a:lnTo>
                  <a:lnTo>
                    <a:pt x="759" y="838"/>
                  </a:lnTo>
                  <a:lnTo>
                    <a:pt x="759" y="841"/>
                  </a:lnTo>
                  <a:lnTo>
                    <a:pt x="759" y="838"/>
                  </a:lnTo>
                  <a:lnTo>
                    <a:pt x="759" y="841"/>
                  </a:lnTo>
                  <a:lnTo>
                    <a:pt x="761" y="841"/>
                  </a:lnTo>
                  <a:lnTo>
                    <a:pt x="764" y="843"/>
                  </a:lnTo>
                  <a:lnTo>
                    <a:pt x="766" y="843"/>
                  </a:lnTo>
                  <a:lnTo>
                    <a:pt x="764" y="843"/>
                  </a:lnTo>
                  <a:lnTo>
                    <a:pt x="766" y="843"/>
                  </a:lnTo>
                  <a:lnTo>
                    <a:pt x="764" y="843"/>
                  </a:lnTo>
                  <a:lnTo>
                    <a:pt x="764" y="841"/>
                  </a:lnTo>
                  <a:lnTo>
                    <a:pt x="764" y="843"/>
                  </a:lnTo>
                  <a:lnTo>
                    <a:pt x="766" y="843"/>
                  </a:lnTo>
                  <a:lnTo>
                    <a:pt x="766" y="845"/>
                  </a:lnTo>
                  <a:lnTo>
                    <a:pt x="764" y="845"/>
                  </a:lnTo>
                  <a:lnTo>
                    <a:pt x="764" y="848"/>
                  </a:lnTo>
                  <a:lnTo>
                    <a:pt x="764" y="845"/>
                  </a:lnTo>
                  <a:lnTo>
                    <a:pt x="764" y="848"/>
                  </a:lnTo>
                  <a:lnTo>
                    <a:pt x="764" y="845"/>
                  </a:lnTo>
                  <a:lnTo>
                    <a:pt x="764" y="848"/>
                  </a:lnTo>
                  <a:lnTo>
                    <a:pt x="766" y="848"/>
                  </a:lnTo>
                  <a:lnTo>
                    <a:pt x="768" y="848"/>
                  </a:lnTo>
                  <a:lnTo>
                    <a:pt x="768" y="850"/>
                  </a:lnTo>
                  <a:lnTo>
                    <a:pt x="768" y="853"/>
                  </a:lnTo>
                  <a:lnTo>
                    <a:pt x="771" y="853"/>
                  </a:lnTo>
                  <a:lnTo>
                    <a:pt x="768" y="853"/>
                  </a:lnTo>
                  <a:lnTo>
                    <a:pt x="771" y="853"/>
                  </a:lnTo>
                  <a:lnTo>
                    <a:pt x="768" y="855"/>
                  </a:lnTo>
                  <a:lnTo>
                    <a:pt x="771" y="855"/>
                  </a:lnTo>
                  <a:lnTo>
                    <a:pt x="768" y="857"/>
                  </a:lnTo>
                  <a:lnTo>
                    <a:pt x="766" y="857"/>
                  </a:lnTo>
                  <a:lnTo>
                    <a:pt x="768" y="857"/>
                  </a:lnTo>
                  <a:lnTo>
                    <a:pt x="768" y="860"/>
                  </a:lnTo>
                  <a:lnTo>
                    <a:pt x="766" y="860"/>
                  </a:lnTo>
                  <a:lnTo>
                    <a:pt x="768" y="860"/>
                  </a:lnTo>
                  <a:lnTo>
                    <a:pt x="766" y="860"/>
                  </a:lnTo>
                  <a:lnTo>
                    <a:pt x="766" y="857"/>
                  </a:lnTo>
                  <a:lnTo>
                    <a:pt x="764" y="857"/>
                  </a:lnTo>
                  <a:lnTo>
                    <a:pt x="764" y="860"/>
                  </a:lnTo>
                  <a:lnTo>
                    <a:pt x="764" y="862"/>
                  </a:lnTo>
                  <a:lnTo>
                    <a:pt x="764" y="860"/>
                  </a:lnTo>
                  <a:lnTo>
                    <a:pt x="764" y="862"/>
                  </a:lnTo>
                  <a:lnTo>
                    <a:pt x="764" y="860"/>
                  </a:lnTo>
                  <a:lnTo>
                    <a:pt x="764" y="862"/>
                  </a:lnTo>
                  <a:lnTo>
                    <a:pt x="764" y="860"/>
                  </a:lnTo>
                  <a:lnTo>
                    <a:pt x="764" y="862"/>
                  </a:lnTo>
                  <a:lnTo>
                    <a:pt x="764" y="860"/>
                  </a:lnTo>
                  <a:lnTo>
                    <a:pt x="766" y="862"/>
                  </a:lnTo>
                  <a:lnTo>
                    <a:pt x="768" y="862"/>
                  </a:lnTo>
                  <a:lnTo>
                    <a:pt x="766" y="862"/>
                  </a:lnTo>
                  <a:lnTo>
                    <a:pt x="766" y="864"/>
                  </a:lnTo>
                  <a:lnTo>
                    <a:pt x="768" y="864"/>
                  </a:lnTo>
                  <a:lnTo>
                    <a:pt x="768" y="867"/>
                  </a:lnTo>
                  <a:lnTo>
                    <a:pt x="768" y="869"/>
                  </a:lnTo>
                  <a:lnTo>
                    <a:pt x="768" y="867"/>
                  </a:lnTo>
                  <a:lnTo>
                    <a:pt x="771" y="867"/>
                  </a:lnTo>
                  <a:lnTo>
                    <a:pt x="771" y="869"/>
                  </a:lnTo>
                  <a:lnTo>
                    <a:pt x="771" y="872"/>
                  </a:lnTo>
                  <a:lnTo>
                    <a:pt x="771" y="869"/>
                  </a:lnTo>
                  <a:lnTo>
                    <a:pt x="771" y="872"/>
                  </a:lnTo>
                  <a:lnTo>
                    <a:pt x="768" y="872"/>
                  </a:lnTo>
                  <a:lnTo>
                    <a:pt x="771" y="872"/>
                  </a:lnTo>
                  <a:lnTo>
                    <a:pt x="771" y="869"/>
                  </a:lnTo>
                  <a:lnTo>
                    <a:pt x="771" y="872"/>
                  </a:lnTo>
                  <a:lnTo>
                    <a:pt x="773" y="872"/>
                  </a:lnTo>
                  <a:lnTo>
                    <a:pt x="773" y="874"/>
                  </a:lnTo>
                  <a:lnTo>
                    <a:pt x="775" y="874"/>
                  </a:lnTo>
                  <a:lnTo>
                    <a:pt x="775" y="876"/>
                  </a:lnTo>
                  <a:lnTo>
                    <a:pt x="775" y="874"/>
                  </a:lnTo>
                  <a:lnTo>
                    <a:pt x="773" y="874"/>
                  </a:lnTo>
                  <a:lnTo>
                    <a:pt x="775" y="874"/>
                  </a:lnTo>
                  <a:lnTo>
                    <a:pt x="775" y="876"/>
                  </a:lnTo>
                  <a:lnTo>
                    <a:pt x="773" y="876"/>
                  </a:lnTo>
                  <a:lnTo>
                    <a:pt x="775" y="876"/>
                  </a:lnTo>
                  <a:lnTo>
                    <a:pt x="773" y="876"/>
                  </a:lnTo>
                  <a:lnTo>
                    <a:pt x="771" y="876"/>
                  </a:lnTo>
                  <a:lnTo>
                    <a:pt x="773" y="876"/>
                  </a:lnTo>
                  <a:lnTo>
                    <a:pt x="771" y="876"/>
                  </a:lnTo>
                  <a:lnTo>
                    <a:pt x="768" y="874"/>
                  </a:lnTo>
                  <a:lnTo>
                    <a:pt x="766" y="874"/>
                  </a:lnTo>
                  <a:lnTo>
                    <a:pt x="766" y="876"/>
                  </a:lnTo>
                  <a:lnTo>
                    <a:pt x="768" y="876"/>
                  </a:lnTo>
                  <a:lnTo>
                    <a:pt x="768" y="879"/>
                  </a:lnTo>
                  <a:lnTo>
                    <a:pt x="771" y="879"/>
                  </a:lnTo>
                  <a:lnTo>
                    <a:pt x="771" y="881"/>
                  </a:lnTo>
                  <a:lnTo>
                    <a:pt x="768" y="881"/>
                  </a:lnTo>
                  <a:lnTo>
                    <a:pt x="766" y="881"/>
                  </a:lnTo>
                  <a:lnTo>
                    <a:pt x="764" y="881"/>
                  </a:lnTo>
                  <a:lnTo>
                    <a:pt x="764" y="883"/>
                  </a:lnTo>
                  <a:lnTo>
                    <a:pt x="766" y="883"/>
                  </a:lnTo>
                  <a:lnTo>
                    <a:pt x="768" y="883"/>
                  </a:lnTo>
                  <a:lnTo>
                    <a:pt x="766" y="883"/>
                  </a:lnTo>
                  <a:lnTo>
                    <a:pt x="768" y="883"/>
                  </a:lnTo>
                  <a:lnTo>
                    <a:pt x="766" y="883"/>
                  </a:lnTo>
                  <a:lnTo>
                    <a:pt x="766" y="881"/>
                  </a:lnTo>
                  <a:lnTo>
                    <a:pt x="768" y="883"/>
                  </a:lnTo>
                  <a:lnTo>
                    <a:pt x="768" y="886"/>
                  </a:lnTo>
                  <a:lnTo>
                    <a:pt x="766" y="886"/>
                  </a:lnTo>
                  <a:lnTo>
                    <a:pt x="766" y="883"/>
                  </a:lnTo>
                  <a:lnTo>
                    <a:pt x="764" y="886"/>
                  </a:lnTo>
                  <a:lnTo>
                    <a:pt x="766" y="883"/>
                  </a:lnTo>
                  <a:lnTo>
                    <a:pt x="766" y="886"/>
                  </a:lnTo>
                  <a:lnTo>
                    <a:pt x="764" y="886"/>
                  </a:lnTo>
                  <a:lnTo>
                    <a:pt x="766" y="886"/>
                  </a:lnTo>
                  <a:lnTo>
                    <a:pt x="764" y="886"/>
                  </a:lnTo>
                  <a:lnTo>
                    <a:pt x="766" y="886"/>
                  </a:lnTo>
                  <a:lnTo>
                    <a:pt x="764" y="886"/>
                  </a:lnTo>
                  <a:lnTo>
                    <a:pt x="764" y="888"/>
                  </a:lnTo>
                  <a:lnTo>
                    <a:pt x="764" y="891"/>
                  </a:lnTo>
                  <a:lnTo>
                    <a:pt x="761" y="891"/>
                  </a:lnTo>
                  <a:lnTo>
                    <a:pt x="761" y="893"/>
                  </a:lnTo>
                  <a:lnTo>
                    <a:pt x="759" y="893"/>
                  </a:lnTo>
                  <a:lnTo>
                    <a:pt x="759" y="895"/>
                  </a:lnTo>
                  <a:lnTo>
                    <a:pt x="759" y="898"/>
                  </a:lnTo>
                  <a:lnTo>
                    <a:pt x="759" y="900"/>
                  </a:lnTo>
                  <a:lnTo>
                    <a:pt x="756" y="900"/>
                  </a:lnTo>
                  <a:lnTo>
                    <a:pt x="756" y="902"/>
                  </a:lnTo>
                  <a:lnTo>
                    <a:pt x="756" y="905"/>
                  </a:lnTo>
                  <a:lnTo>
                    <a:pt x="756" y="902"/>
                  </a:lnTo>
                  <a:lnTo>
                    <a:pt x="756" y="905"/>
                  </a:lnTo>
                  <a:lnTo>
                    <a:pt x="756" y="902"/>
                  </a:lnTo>
                  <a:lnTo>
                    <a:pt x="756" y="905"/>
                  </a:lnTo>
                  <a:lnTo>
                    <a:pt x="759" y="905"/>
                  </a:lnTo>
                  <a:lnTo>
                    <a:pt x="756" y="905"/>
                  </a:lnTo>
                  <a:lnTo>
                    <a:pt x="756" y="907"/>
                  </a:lnTo>
                  <a:lnTo>
                    <a:pt x="756" y="905"/>
                  </a:lnTo>
                  <a:lnTo>
                    <a:pt x="754" y="905"/>
                  </a:lnTo>
                  <a:lnTo>
                    <a:pt x="754" y="907"/>
                  </a:lnTo>
                  <a:lnTo>
                    <a:pt x="754" y="905"/>
                  </a:lnTo>
                  <a:lnTo>
                    <a:pt x="754" y="907"/>
                  </a:lnTo>
                  <a:lnTo>
                    <a:pt x="754" y="905"/>
                  </a:lnTo>
                  <a:lnTo>
                    <a:pt x="754" y="907"/>
                  </a:lnTo>
                  <a:lnTo>
                    <a:pt x="756" y="907"/>
                  </a:lnTo>
                  <a:lnTo>
                    <a:pt x="754" y="907"/>
                  </a:lnTo>
                  <a:lnTo>
                    <a:pt x="754" y="905"/>
                  </a:lnTo>
                  <a:lnTo>
                    <a:pt x="756" y="905"/>
                  </a:lnTo>
                  <a:lnTo>
                    <a:pt x="756" y="907"/>
                  </a:lnTo>
                  <a:lnTo>
                    <a:pt x="759" y="907"/>
                  </a:lnTo>
                  <a:lnTo>
                    <a:pt x="759" y="910"/>
                  </a:lnTo>
                  <a:lnTo>
                    <a:pt x="761" y="910"/>
                  </a:lnTo>
                  <a:lnTo>
                    <a:pt x="759" y="910"/>
                  </a:lnTo>
                  <a:lnTo>
                    <a:pt x="759" y="912"/>
                  </a:lnTo>
                  <a:lnTo>
                    <a:pt x="759" y="910"/>
                  </a:lnTo>
                  <a:lnTo>
                    <a:pt x="759" y="912"/>
                  </a:lnTo>
                  <a:lnTo>
                    <a:pt x="759" y="910"/>
                  </a:lnTo>
                  <a:lnTo>
                    <a:pt x="756" y="910"/>
                  </a:lnTo>
                  <a:lnTo>
                    <a:pt x="756" y="912"/>
                  </a:lnTo>
                  <a:lnTo>
                    <a:pt x="756" y="910"/>
                  </a:lnTo>
                  <a:lnTo>
                    <a:pt x="754" y="910"/>
                  </a:lnTo>
                  <a:lnTo>
                    <a:pt x="756" y="912"/>
                  </a:lnTo>
                  <a:lnTo>
                    <a:pt x="754" y="910"/>
                  </a:lnTo>
                  <a:lnTo>
                    <a:pt x="756" y="910"/>
                  </a:lnTo>
                  <a:lnTo>
                    <a:pt x="756" y="912"/>
                  </a:lnTo>
                  <a:lnTo>
                    <a:pt x="759" y="912"/>
                  </a:lnTo>
                  <a:lnTo>
                    <a:pt x="759" y="914"/>
                  </a:lnTo>
                  <a:lnTo>
                    <a:pt x="759" y="912"/>
                  </a:lnTo>
                  <a:lnTo>
                    <a:pt x="759" y="914"/>
                  </a:lnTo>
                  <a:lnTo>
                    <a:pt x="756" y="914"/>
                  </a:lnTo>
                  <a:lnTo>
                    <a:pt x="754" y="917"/>
                  </a:lnTo>
                  <a:lnTo>
                    <a:pt x="752" y="917"/>
                  </a:lnTo>
                  <a:lnTo>
                    <a:pt x="752" y="919"/>
                  </a:lnTo>
                  <a:lnTo>
                    <a:pt x="754" y="919"/>
                  </a:lnTo>
                  <a:lnTo>
                    <a:pt x="754" y="921"/>
                  </a:lnTo>
                  <a:lnTo>
                    <a:pt x="756" y="921"/>
                  </a:lnTo>
                  <a:lnTo>
                    <a:pt x="754" y="921"/>
                  </a:lnTo>
                  <a:lnTo>
                    <a:pt x="754" y="924"/>
                  </a:lnTo>
                  <a:lnTo>
                    <a:pt x="754" y="921"/>
                  </a:lnTo>
                  <a:lnTo>
                    <a:pt x="752" y="921"/>
                  </a:lnTo>
                  <a:lnTo>
                    <a:pt x="752" y="924"/>
                  </a:lnTo>
                  <a:lnTo>
                    <a:pt x="754" y="924"/>
                  </a:lnTo>
                  <a:lnTo>
                    <a:pt x="752" y="924"/>
                  </a:lnTo>
                  <a:lnTo>
                    <a:pt x="752" y="926"/>
                  </a:lnTo>
                  <a:lnTo>
                    <a:pt x="752" y="929"/>
                  </a:lnTo>
                  <a:lnTo>
                    <a:pt x="749" y="931"/>
                  </a:lnTo>
                  <a:lnTo>
                    <a:pt x="752" y="931"/>
                  </a:lnTo>
                  <a:lnTo>
                    <a:pt x="752" y="933"/>
                  </a:lnTo>
                  <a:lnTo>
                    <a:pt x="749" y="933"/>
                  </a:lnTo>
                  <a:lnTo>
                    <a:pt x="747" y="933"/>
                  </a:lnTo>
                  <a:lnTo>
                    <a:pt x="745" y="933"/>
                  </a:lnTo>
                  <a:lnTo>
                    <a:pt x="745" y="936"/>
                  </a:lnTo>
                  <a:lnTo>
                    <a:pt x="742" y="936"/>
                  </a:lnTo>
                  <a:lnTo>
                    <a:pt x="742" y="938"/>
                  </a:lnTo>
                  <a:lnTo>
                    <a:pt x="740" y="938"/>
                  </a:lnTo>
                  <a:lnTo>
                    <a:pt x="737" y="938"/>
                  </a:lnTo>
                  <a:lnTo>
                    <a:pt x="737" y="936"/>
                  </a:lnTo>
                  <a:lnTo>
                    <a:pt x="737" y="933"/>
                  </a:lnTo>
                  <a:lnTo>
                    <a:pt x="737" y="936"/>
                  </a:lnTo>
                  <a:lnTo>
                    <a:pt x="737" y="938"/>
                  </a:lnTo>
                  <a:lnTo>
                    <a:pt x="740" y="938"/>
                  </a:lnTo>
                  <a:lnTo>
                    <a:pt x="742" y="938"/>
                  </a:lnTo>
                  <a:lnTo>
                    <a:pt x="742" y="940"/>
                  </a:lnTo>
                  <a:lnTo>
                    <a:pt x="745" y="940"/>
                  </a:lnTo>
                  <a:lnTo>
                    <a:pt x="745" y="943"/>
                  </a:lnTo>
                  <a:lnTo>
                    <a:pt x="742" y="943"/>
                  </a:lnTo>
                  <a:lnTo>
                    <a:pt x="745" y="943"/>
                  </a:lnTo>
                  <a:lnTo>
                    <a:pt x="745" y="945"/>
                  </a:lnTo>
                  <a:lnTo>
                    <a:pt x="745" y="943"/>
                  </a:lnTo>
                  <a:lnTo>
                    <a:pt x="745" y="945"/>
                  </a:lnTo>
                  <a:lnTo>
                    <a:pt x="742" y="945"/>
                  </a:lnTo>
                  <a:lnTo>
                    <a:pt x="745" y="945"/>
                  </a:lnTo>
                  <a:lnTo>
                    <a:pt x="745" y="943"/>
                  </a:lnTo>
                  <a:lnTo>
                    <a:pt x="742" y="943"/>
                  </a:lnTo>
                  <a:lnTo>
                    <a:pt x="745" y="943"/>
                  </a:lnTo>
                  <a:lnTo>
                    <a:pt x="745" y="940"/>
                  </a:lnTo>
                  <a:lnTo>
                    <a:pt x="742" y="940"/>
                  </a:lnTo>
                  <a:lnTo>
                    <a:pt x="742" y="938"/>
                  </a:lnTo>
                  <a:lnTo>
                    <a:pt x="745" y="938"/>
                  </a:lnTo>
                  <a:lnTo>
                    <a:pt x="742" y="936"/>
                  </a:lnTo>
                  <a:lnTo>
                    <a:pt x="745" y="936"/>
                  </a:lnTo>
                  <a:lnTo>
                    <a:pt x="745" y="933"/>
                  </a:lnTo>
                  <a:lnTo>
                    <a:pt x="747" y="933"/>
                  </a:lnTo>
                  <a:lnTo>
                    <a:pt x="749" y="933"/>
                  </a:lnTo>
                  <a:lnTo>
                    <a:pt x="752" y="933"/>
                  </a:lnTo>
                  <a:lnTo>
                    <a:pt x="752" y="931"/>
                  </a:lnTo>
                  <a:lnTo>
                    <a:pt x="749" y="931"/>
                  </a:lnTo>
                  <a:lnTo>
                    <a:pt x="752" y="931"/>
                  </a:lnTo>
                  <a:lnTo>
                    <a:pt x="752" y="929"/>
                  </a:lnTo>
                  <a:lnTo>
                    <a:pt x="752" y="926"/>
                  </a:lnTo>
                  <a:lnTo>
                    <a:pt x="752" y="924"/>
                  </a:lnTo>
                  <a:lnTo>
                    <a:pt x="752" y="926"/>
                  </a:lnTo>
                  <a:lnTo>
                    <a:pt x="752" y="924"/>
                  </a:lnTo>
                  <a:lnTo>
                    <a:pt x="754" y="924"/>
                  </a:lnTo>
                  <a:lnTo>
                    <a:pt x="752" y="924"/>
                  </a:lnTo>
                  <a:lnTo>
                    <a:pt x="752" y="921"/>
                  </a:lnTo>
                  <a:lnTo>
                    <a:pt x="754" y="921"/>
                  </a:lnTo>
                  <a:lnTo>
                    <a:pt x="754" y="924"/>
                  </a:lnTo>
                  <a:lnTo>
                    <a:pt x="756" y="921"/>
                  </a:lnTo>
                  <a:lnTo>
                    <a:pt x="754" y="921"/>
                  </a:lnTo>
                  <a:lnTo>
                    <a:pt x="754" y="919"/>
                  </a:lnTo>
                  <a:lnTo>
                    <a:pt x="752" y="919"/>
                  </a:lnTo>
                  <a:lnTo>
                    <a:pt x="752" y="917"/>
                  </a:lnTo>
                  <a:lnTo>
                    <a:pt x="754" y="917"/>
                  </a:lnTo>
                  <a:lnTo>
                    <a:pt x="756" y="917"/>
                  </a:lnTo>
                  <a:lnTo>
                    <a:pt x="756" y="914"/>
                  </a:lnTo>
                  <a:lnTo>
                    <a:pt x="756" y="917"/>
                  </a:lnTo>
                  <a:lnTo>
                    <a:pt x="756" y="914"/>
                  </a:lnTo>
                  <a:lnTo>
                    <a:pt x="759" y="914"/>
                  </a:lnTo>
                  <a:lnTo>
                    <a:pt x="759" y="917"/>
                  </a:lnTo>
                  <a:lnTo>
                    <a:pt x="756" y="917"/>
                  </a:lnTo>
                  <a:lnTo>
                    <a:pt x="756" y="919"/>
                  </a:lnTo>
                  <a:lnTo>
                    <a:pt x="759" y="919"/>
                  </a:lnTo>
                  <a:lnTo>
                    <a:pt x="756" y="919"/>
                  </a:lnTo>
                  <a:lnTo>
                    <a:pt x="756" y="921"/>
                  </a:lnTo>
                  <a:lnTo>
                    <a:pt x="756" y="924"/>
                  </a:lnTo>
                  <a:lnTo>
                    <a:pt x="756" y="926"/>
                  </a:lnTo>
                  <a:lnTo>
                    <a:pt x="756" y="929"/>
                  </a:lnTo>
                  <a:lnTo>
                    <a:pt x="759" y="929"/>
                  </a:lnTo>
                  <a:lnTo>
                    <a:pt x="756" y="929"/>
                  </a:lnTo>
                  <a:lnTo>
                    <a:pt x="756" y="926"/>
                  </a:lnTo>
                  <a:lnTo>
                    <a:pt x="756" y="924"/>
                  </a:lnTo>
                  <a:lnTo>
                    <a:pt x="756" y="921"/>
                  </a:lnTo>
                  <a:lnTo>
                    <a:pt x="756" y="919"/>
                  </a:lnTo>
                  <a:lnTo>
                    <a:pt x="759" y="919"/>
                  </a:lnTo>
                  <a:lnTo>
                    <a:pt x="761" y="919"/>
                  </a:lnTo>
                  <a:lnTo>
                    <a:pt x="761" y="921"/>
                  </a:lnTo>
                  <a:lnTo>
                    <a:pt x="764" y="921"/>
                  </a:lnTo>
                  <a:lnTo>
                    <a:pt x="764" y="924"/>
                  </a:lnTo>
                  <a:lnTo>
                    <a:pt x="764" y="926"/>
                  </a:lnTo>
                  <a:lnTo>
                    <a:pt x="766" y="926"/>
                  </a:lnTo>
                  <a:lnTo>
                    <a:pt x="766" y="929"/>
                  </a:lnTo>
                  <a:lnTo>
                    <a:pt x="766" y="931"/>
                  </a:lnTo>
                  <a:lnTo>
                    <a:pt x="768" y="931"/>
                  </a:lnTo>
                  <a:lnTo>
                    <a:pt x="766" y="929"/>
                  </a:lnTo>
                  <a:lnTo>
                    <a:pt x="766" y="926"/>
                  </a:lnTo>
                  <a:lnTo>
                    <a:pt x="764" y="926"/>
                  </a:lnTo>
                  <a:lnTo>
                    <a:pt x="764" y="924"/>
                  </a:lnTo>
                  <a:lnTo>
                    <a:pt x="764" y="921"/>
                  </a:lnTo>
                  <a:lnTo>
                    <a:pt x="761" y="921"/>
                  </a:lnTo>
                  <a:lnTo>
                    <a:pt x="761" y="919"/>
                  </a:lnTo>
                  <a:lnTo>
                    <a:pt x="759" y="919"/>
                  </a:lnTo>
                  <a:lnTo>
                    <a:pt x="756" y="919"/>
                  </a:lnTo>
                  <a:lnTo>
                    <a:pt x="756" y="917"/>
                  </a:lnTo>
                  <a:lnTo>
                    <a:pt x="759" y="917"/>
                  </a:lnTo>
                  <a:lnTo>
                    <a:pt x="759" y="914"/>
                  </a:lnTo>
                  <a:lnTo>
                    <a:pt x="759" y="912"/>
                  </a:lnTo>
                  <a:lnTo>
                    <a:pt x="756" y="912"/>
                  </a:lnTo>
                  <a:lnTo>
                    <a:pt x="756" y="910"/>
                  </a:lnTo>
                  <a:lnTo>
                    <a:pt x="759" y="912"/>
                  </a:lnTo>
                  <a:lnTo>
                    <a:pt x="759" y="910"/>
                  </a:lnTo>
                  <a:lnTo>
                    <a:pt x="761" y="910"/>
                  </a:lnTo>
                  <a:lnTo>
                    <a:pt x="761" y="912"/>
                  </a:lnTo>
                  <a:lnTo>
                    <a:pt x="761" y="910"/>
                  </a:lnTo>
                  <a:lnTo>
                    <a:pt x="761" y="912"/>
                  </a:lnTo>
                  <a:lnTo>
                    <a:pt x="761" y="910"/>
                  </a:lnTo>
                  <a:lnTo>
                    <a:pt x="759" y="910"/>
                  </a:lnTo>
                  <a:lnTo>
                    <a:pt x="759" y="907"/>
                  </a:lnTo>
                  <a:lnTo>
                    <a:pt x="756" y="907"/>
                  </a:lnTo>
                  <a:lnTo>
                    <a:pt x="756" y="905"/>
                  </a:lnTo>
                  <a:lnTo>
                    <a:pt x="756" y="907"/>
                  </a:lnTo>
                  <a:lnTo>
                    <a:pt x="756" y="905"/>
                  </a:lnTo>
                  <a:lnTo>
                    <a:pt x="759" y="905"/>
                  </a:lnTo>
                  <a:lnTo>
                    <a:pt x="759" y="907"/>
                  </a:lnTo>
                  <a:lnTo>
                    <a:pt x="759" y="905"/>
                  </a:lnTo>
                  <a:lnTo>
                    <a:pt x="756" y="905"/>
                  </a:lnTo>
                  <a:lnTo>
                    <a:pt x="756" y="902"/>
                  </a:lnTo>
                  <a:lnTo>
                    <a:pt x="756" y="900"/>
                  </a:lnTo>
                  <a:lnTo>
                    <a:pt x="759" y="900"/>
                  </a:lnTo>
                  <a:lnTo>
                    <a:pt x="759" y="898"/>
                  </a:lnTo>
                  <a:lnTo>
                    <a:pt x="759" y="895"/>
                  </a:lnTo>
                  <a:lnTo>
                    <a:pt x="759" y="893"/>
                  </a:lnTo>
                  <a:lnTo>
                    <a:pt x="761" y="893"/>
                  </a:lnTo>
                  <a:lnTo>
                    <a:pt x="761" y="891"/>
                  </a:lnTo>
                  <a:lnTo>
                    <a:pt x="764" y="891"/>
                  </a:lnTo>
                  <a:lnTo>
                    <a:pt x="764" y="888"/>
                  </a:lnTo>
                  <a:lnTo>
                    <a:pt x="766" y="886"/>
                  </a:lnTo>
                  <a:lnTo>
                    <a:pt x="764" y="888"/>
                  </a:lnTo>
                  <a:lnTo>
                    <a:pt x="766" y="886"/>
                  </a:lnTo>
                  <a:lnTo>
                    <a:pt x="768" y="886"/>
                  </a:lnTo>
                  <a:lnTo>
                    <a:pt x="768" y="883"/>
                  </a:lnTo>
                  <a:lnTo>
                    <a:pt x="768" y="886"/>
                  </a:lnTo>
                  <a:lnTo>
                    <a:pt x="766" y="886"/>
                  </a:lnTo>
                  <a:lnTo>
                    <a:pt x="768" y="886"/>
                  </a:lnTo>
                  <a:lnTo>
                    <a:pt x="766" y="886"/>
                  </a:lnTo>
                  <a:lnTo>
                    <a:pt x="768" y="886"/>
                  </a:lnTo>
                  <a:lnTo>
                    <a:pt x="768" y="883"/>
                  </a:lnTo>
                  <a:lnTo>
                    <a:pt x="768" y="881"/>
                  </a:lnTo>
                  <a:lnTo>
                    <a:pt x="766" y="881"/>
                  </a:lnTo>
                  <a:lnTo>
                    <a:pt x="768" y="881"/>
                  </a:lnTo>
                  <a:lnTo>
                    <a:pt x="771" y="881"/>
                  </a:lnTo>
                  <a:lnTo>
                    <a:pt x="771" y="879"/>
                  </a:lnTo>
                  <a:lnTo>
                    <a:pt x="768" y="876"/>
                  </a:lnTo>
                  <a:lnTo>
                    <a:pt x="768" y="874"/>
                  </a:lnTo>
                  <a:lnTo>
                    <a:pt x="768" y="876"/>
                  </a:lnTo>
                  <a:lnTo>
                    <a:pt x="768" y="874"/>
                  </a:lnTo>
                  <a:lnTo>
                    <a:pt x="768" y="876"/>
                  </a:lnTo>
                  <a:lnTo>
                    <a:pt x="768" y="874"/>
                  </a:lnTo>
                  <a:lnTo>
                    <a:pt x="768" y="876"/>
                  </a:lnTo>
                  <a:lnTo>
                    <a:pt x="771" y="876"/>
                  </a:lnTo>
                  <a:lnTo>
                    <a:pt x="773" y="876"/>
                  </a:lnTo>
                  <a:lnTo>
                    <a:pt x="775" y="876"/>
                  </a:lnTo>
                  <a:lnTo>
                    <a:pt x="775" y="874"/>
                  </a:lnTo>
                  <a:lnTo>
                    <a:pt x="773" y="874"/>
                  </a:lnTo>
                  <a:lnTo>
                    <a:pt x="773" y="872"/>
                  </a:lnTo>
                  <a:lnTo>
                    <a:pt x="773" y="874"/>
                  </a:lnTo>
                  <a:lnTo>
                    <a:pt x="773" y="872"/>
                  </a:lnTo>
                  <a:lnTo>
                    <a:pt x="773" y="874"/>
                  </a:lnTo>
                  <a:lnTo>
                    <a:pt x="773" y="872"/>
                  </a:lnTo>
                  <a:lnTo>
                    <a:pt x="773" y="869"/>
                  </a:lnTo>
                  <a:lnTo>
                    <a:pt x="771" y="869"/>
                  </a:lnTo>
                  <a:lnTo>
                    <a:pt x="773" y="869"/>
                  </a:lnTo>
                  <a:lnTo>
                    <a:pt x="771" y="869"/>
                  </a:lnTo>
                  <a:lnTo>
                    <a:pt x="773" y="869"/>
                  </a:lnTo>
                  <a:lnTo>
                    <a:pt x="771" y="869"/>
                  </a:lnTo>
                  <a:lnTo>
                    <a:pt x="771" y="867"/>
                  </a:lnTo>
                  <a:lnTo>
                    <a:pt x="773" y="867"/>
                  </a:lnTo>
                  <a:lnTo>
                    <a:pt x="773" y="869"/>
                  </a:lnTo>
                  <a:lnTo>
                    <a:pt x="773" y="867"/>
                  </a:lnTo>
                  <a:lnTo>
                    <a:pt x="775" y="867"/>
                  </a:lnTo>
                  <a:lnTo>
                    <a:pt x="773" y="867"/>
                  </a:lnTo>
                  <a:lnTo>
                    <a:pt x="771" y="867"/>
                  </a:lnTo>
                  <a:lnTo>
                    <a:pt x="768" y="867"/>
                  </a:lnTo>
                  <a:lnTo>
                    <a:pt x="768" y="864"/>
                  </a:lnTo>
                  <a:lnTo>
                    <a:pt x="766" y="864"/>
                  </a:lnTo>
                  <a:lnTo>
                    <a:pt x="768" y="864"/>
                  </a:lnTo>
                  <a:lnTo>
                    <a:pt x="768" y="862"/>
                  </a:lnTo>
                  <a:lnTo>
                    <a:pt x="768" y="864"/>
                  </a:lnTo>
                  <a:lnTo>
                    <a:pt x="768" y="862"/>
                  </a:lnTo>
                  <a:lnTo>
                    <a:pt x="766" y="862"/>
                  </a:lnTo>
                  <a:lnTo>
                    <a:pt x="766" y="860"/>
                  </a:lnTo>
                  <a:lnTo>
                    <a:pt x="764" y="860"/>
                  </a:lnTo>
                  <a:lnTo>
                    <a:pt x="766" y="860"/>
                  </a:lnTo>
                  <a:lnTo>
                    <a:pt x="766" y="857"/>
                  </a:lnTo>
                  <a:lnTo>
                    <a:pt x="766" y="860"/>
                  </a:lnTo>
                  <a:lnTo>
                    <a:pt x="766" y="857"/>
                  </a:lnTo>
                  <a:lnTo>
                    <a:pt x="766" y="860"/>
                  </a:lnTo>
                  <a:lnTo>
                    <a:pt x="768" y="860"/>
                  </a:lnTo>
                  <a:lnTo>
                    <a:pt x="768" y="857"/>
                  </a:lnTo>
                  <a:lnTo>
                    <a:pt x="771" y="857"/>
                  </a:lnTo>
                  <a:lnTo>
                    <a:pt x="771" y="855"/>
                  </a:lnTo>
                  <a:lnTo>
                    <a:pt x="768" y="855"/>
                  </a:lnTo>
                  <a:lnTo>
                    <a:pt x="771" y="853"/>
                  </a:lnTo>
                  <a:lnTo>
                    <a:pt x="768" y="853"/>
                  </a:lnTo>
                  <a:lnTo>
                    <a:pt x="768" y="850"/>
                  </a:lnTo>
                  <a:lnTo>
                    <a:pt x="768" y="848"/>
                  </a:lnTo>
                  <a:lnTo>
                    <a:pt x="766" y="848"/>
                  </a:lnTo>
                  <a:lnTo>
                    <a:pt x="766" y="845"/>
                  </a:lnTo>
                  <a:lnTo>
                    <a:pt x="768" y="845"/>
                  </a:lnTo>
                  <a:lnTo>
                    <a:pt x="766" y="845"/>
                  </a:lnTo>
                  <a:lnTo>
                    <a:pt x="768" y="845"/>
                  </a:lnTo>
                  <a:lnTo>
                    <a:pt x="766" y="845"/>
                  </a:lnTo>
                  <a:lnTo>
                    <a:pt x="768" y="845"/>
                  </a:lnTo>
                  <a:lnTo>
                    <a:pt x="771" y="845"/>
                  </a:lnTo>
                  <a:lnTo>
                    <a:pt x="768" y="845"/>
                  </a:lnTo>
                  <a:lnTo>
                    <a:pt x="771" y="845"/>
                  </a:lnTo>
                  <a:lnTo>
                    <a:pt x="773" y="845"/>
                  </a:lnTo>
                  <a:lnTo>
                    <a:pt x="773" y="848"/>
                  </a:lnTo>
                  <a:lnTo>
                    <a:pt x="775" y="848"/>
                  </a:lnTo>
                  <a:lnTo>
                    <a:pt x="778" y="848"/>
                  </a:lnTo>
                  <a:lnTo>
                    <a:pt x="778" y="850"/>
                  </a:lnTo>
                  <a:lnTo>
                    <a:pt x="780" y="850"/>
                  </a:lnTo>
                  <a:lnTo>
                    <a:pt x="780" y="853"/>
                  </a:lnTo>
                  <a:lnTo>
                    <a:pt x="780" y="850"/>
                  </a:lnTo>
                  <a:lnTo>
                    <a:pt x="780" y="853"/>
                  </a:lnTo>
                  <a:lnTo>
                    <a:pt x="780" y="850"/>
                  </a:lnTo>
                  <a:lnTo>
                    <a:pt x="780" y="853"/>
                  </a:lnTo>
                  <a:lnTo>
                    <a:pt x="783" y="853"/>
                  </a:lnTo>
                  <a:lnTo>
                    <a:pt x="785" y="853"/>
                  </a:lnTo>
                  <a:lnTo>
                    <a:pt x="785" y="855"/>
                  </a:lnTo>
                  <a:lnTo>
                    <a:pt x="787" y="855"/>
                  </a:lnTo>
                  <a:lnTo>
                    <a:pt x="790" y="857"/>
                  </a:lnTo>
                  <a:lnTo>
                    <a:pt x="792" y="857"/>
                  </a:lnTo>
                  <a:lnTo>
                    <a:pt x="790" y="857"/>
                  </a:lnTo>
                  <a:lnTo>
                    <a:pt x="792" y="857"/>
                  </a:lnTo>
                  <a:lnTo>
                    <a:pt x="792" y="860"/>
                  </a:lnTo>
                  <a:lnTo>
                    <a:pt x="794" y="860"/>
                  </a:lnTo>
                  <a:lnTo>
                    <a:pt x="792" y="860"/>
                  </a:lnTo>
                  <a:lnTo>
                    <a:pt x="794" y="860"/>
                  </a:lnTo>
                  <a:lnTo>
                    <a:pt x="792" y="860"/>
                  </a:lnTo>
                  <a:lnTo>
                    <a:pt x="794" y="860"/>
                  </a:lnTo>
                  <a:lnTo>
                    <a:pt x="792" y="860"/>
                  </a:lnTo>
                  <a:lnTo>
                    <a:pt x="792" y="862"/>
                  </a:lnTo>
                  <a:lnTo>
                    <a:pt x="792" y="860"/>
                  </a:lnTo>
                  <a:lnTo>
                    <a:pt x="794" y="860"/>
                  </a:lnTo>
                  <a:lnTo>
                    <a:pt x="797" y="862"/>
                  </a:lnTo>
                  <a:lnTo>
                    <a:pt x="794" y="862"/>
                  </a:lnTo>
                  <a:lnTo>
                    <a:pt x="797" y="862"/>
                  </a:lnTo>
                  <a:lnTo>
                    <a:pt x="794" y="862"/>
                  </a:lnTo>
                  <a:lnTo>
                    <a:pt x="797" y="862"/>
                  </a:lnTo>
                  <a:lnTo>
                    <a:pt x="799" y="864"/>
                  </a:lnTo>
                  <a:lnTo>
                    <a:pt x="802" y="867"/>
                  </a:lnTo>
                  <a:lnTo>
                    <a:pt x="799" y="867"/>
                  </a:lnTo>
                  <a:lnTo>
                    <a:pt x="802" y="867"/>
                  </a:lnTo>
                  <a:lnTo>
                    <a:pt x="804" y="867"/>
                  </a:lnTo>
                  <a:lnTo>
                    <a:pt x="806" y="867"/>
                  </a:lnTo>
                  <a:lnTo>
                    <a:pt x="809" y="867"/>
                  </a:lnTo>
                  <a:lnTo>
                    <a:pt x="809" y="869"/>
                  </a:lnTo>
                  <a:lnTo>
                    <a:pt x="809" y="867"/>
                  </a:lnTo>
                  <a:lnTo>
                    <a:pt x="809" y="869"/>
                  </a:lnTo>
                  <a:lnTo>
                    <a:pt x="809" y="867"/>
                  </a:lnTo>
                  <a:lnTo>
                    <a:pt x="806" y="867"/>
                  </a:lnTo>
                  <a:lnTo>
                    <a:pt x="809" y="867"/>
                  </a:lnTo>
                  <a:lnTo>
                    <a:pt x="811" y="867"/>
                  </a:lnTo>
                  <a:lnTo>
                    <a:pt x="811" y="869"/>
                  </a:lnTo>
                  <a:lnTo>
                    <a:pt x="813" y="869"/>
                  </a:lnTo>
                  <a:lnTo>
                    <a:pt x="816" y="869"/>
                  </a:lnTo>
                  <a:lnTo>
                    <a:pt x="818" y="869"/>
                  </a:lnTo>
                  <a:lnTo>
                    <a:pt x="818" y="872"/>
                  </a:lnTo>
                  <a:lnTo>
                    <a:pt x="818" y="869"/>
                  </a:lnTo>
                  <a:lnTo>
                    <a:pt x="821" y="869"/>
                  </a:lnTo>
                  <a:lnTo>
                    <a:pt x="818" y="869"/>
                  </a:lnTo>
                  <a:lnTo>
                    <a:pt x="821" y="869"/>
                  </a:lnTo>
                  <a:lnTo>
                    <a:pt x="823" y="869"/>
                  </a:lnTo>
                  <a:lnTo>
                    <a:pt x="825" y="869"/>
                  </a:lnTo>
                  <a:lnTo>
                    <a:pt x="828" y="869"/>
                  </a:lnTo>
                  <a:lnTo>
                    <a:pt x="828" y="872"/>
                  </a:lnTo>
                  <a:lnTo>
                    <a:pt x="830" y="872"/>
                  </a:lnTo>
                  <a:lnTo>
                    <a:pt x="830" y="874"/>
                  </a:lnTo>
                  <a:lnTo>
                    <a:pt x="830" y="872"/>
                  </a:lnTo>
                  <a:lnTo>
                    <a:pt x="830" y="874"/>
                  </a:lnTo>
                  <a:lnTo>
                    <a:pt x="830" y="872"/>
                  </a:lnTo>
                  <a:lnTo>
                    <a:pt x="828" y="869"/>
                  </a:lnTo>
                  <a:lnTo>
                    <a:pt x="825" y="869"/>
                  </a:lnTo>
                  <a:lnTo>
                    <a:pt x="823" y="869"/>
                  </a:lnTo>
                  <a:lnTo>
                    <a:pt x="821" y="869"/>
                  </a:lnTo>
                  <a:lnTo>
                    <a:pt x="818" y="869"/>
                  </a:lnTo>
                  <a:lnTo>
                    <a:pt x="816" y="869"/>
                  </a:lnTo>
                  <a:lnTo>
                    <a:pt x="813" y="869"/>
                  </a:lnTo>
                  <a:lnTo>
                    <a:pt x="811" y="869"/>
                  </a:lnTo>
                  <a:lnTo>
                    <a:pt x="809" y="867"/>
                  </a:lnTo>
                  <a:lnTo>
                    <a:pt x="806" y="867"/>
                  </a:lnTo>
                  <a:lnTo>
                    <a:pt x="804" y="867"/>
                  </a:lnTo>
                  <a:lnTo>
                    <a:pt x="802" y="867"/>
                  </a:lnTo>
                  <a:lnTo>
                    <a:pt x="802" y="864"/>
                  </a:lnTo>
                  <a:lnTo>
                    <a:pt x="802" y="862"/>
                  </a:lnTo>
                  <a:lnTo>
                    <a:pt x="799" y="862"/>
                  </a:lnTo>
                  <a:lnTo>
                    <a:pt x="797" y="860"/>
                  </a:lnTo>
                  <a:lnTo>
                    <a:pt x="797" y="862"/>
                  </a:lnTo>
                  <a:lnTo>
                    <a:pt x="799" y="862"/>
                  </a:lnTo>
                  <a:lnTo>
                    <a:pt x="802" y="862"/>
                  </a:lnTo>
                  <a:lnTo>
                    <a:pt x="799" y="862"/>
                  </a:lnTo>
                  <a:lnTo>
                    <a:pt x="802" y="862"/>
                  </a:lnTo>
                  <a:lnTo>
                    <a:pt x="799" y="862"/>
                  </a:lnTo>
                  <a:lnTo>
                    <a:pt x="802" y="862"/>
                  </a:lnTo>
                  <a:lnTo>
                    <a:pt x="799" y="862"/>
                  </a:lnTo>
                  <a:lnTo>
                    <a:pt x="802" y="862"/>
                  </a:lnTo>
                  <a:lnTo>
                    <a:pt x="799" y="862"/>
                  </a:lnTo>
                  <a:lnTo>
                    <a:pt x="797" y="860"/>
                  </a:lnTo>
                  <a:lnTo>
                    <a:pt x="794" y="857"/>
                  </a:lnTo>
                  <a:lnTo>
                    <a:pt x="792" y="857"/>
                  </a:lnTo>
                  <a:lnTo>
                    <a:pt x="792" y="855"/>
                  </a:lnTo>
                  <a:lnTo>
                    <a:pt x="790" y="855"/>
                  </a:lnTo>
                  <a:lnTo>
                    <a:pt x="792" y="855"/>
                  </a:lnTo>
                  <a:lnTo>
                    <a:pt x="790" y="855"/>
                  </a:lnTo>
                  <a:lnTo>
                    <a:pt x="790" y="853"/>
                  </a:lnTo>
                  <a:lnTo>
                    <a:pt x="787" y="853"/>
                  </a:lnTo>
                  <a:lnTo>
                    <a:pt x="787" y="855"/>
                  </a:lnTo>
                  <a:lnTo>
                    <a:pt x="787" y="853"/>
                  </a:lnTo>
                  <a:lnTo>
                    <a:pt x="785" y="853"/>
                  </a:lnTo>
                  <a:lnTo>
                    <a:pt x="783" y="850"/>
                  </a:lnTo>
                  <a:lnTo>
                    <a:pt x="780" y="850"/>
                  </a:lnTo>
                  <a:lnTo>
                    <a:pt x="780" y="848"/>
                  </a:lnTo>
                  <a:lnTo>
                    <a:pt x="778" y="848"/>
                  </a:lnTo>
                  <a:lnTo>
                    <a:pt x="778" y="845"/>
                  </a:lnTo>
                  <a:lnTo>
                    <a:pt x="778" y="848"/>
                  </a:lnTo>
                  <a:lnTo>
                    <a:pt x="778" y="845"/>
                  </a:lnTo>
                  <a:lnTo>
                    <a:pt x="775" y="845"/>
                  </a:lnTo>
                  <a:lnTo>
                    <a:pt x="773" y="843"/>
                  </a:lnTo>
                  <a:lnTo>
                    <a:pt x="771" y="843"/>
                  </a:lnTo>
                  <a:lnTo>
                    <a:pt x="768" y="843"/>
                  </a:lnTo>
                  <a:lnTo>
                    <a:pt x="771" y="843"/>
                  </a:lnTo>
                  <a:lnTo>
                    <a:pt x="768" y="843"/>
                  </a:lnTo>
                  <a:lnTo>
                    <a:pt x="766" y="843"/>
                  </a:lnTo>
                  <a:lnTo>
                    <a:pt x="766" y="841"/>
                  </a:lnTo>
                  <a:lnTo>
                    <a:pt x="764" y="841"/>
                  </a:lnTo>
                  <a:lnTo>
                    <a:pt x="766" y="841"/>
                  </a:lnTo>
                  <a:lnTo>
                    <a:pt x="764" y="841"/>
                  </a:lnTo>
                  <a:lnTo>
                    <a:pt x="761" y="841"/>
                  </a:lnTo>
                  <a:lnTo>
                    <a:pt x="759" y="838"/>
                  </a:lnTo>
                  <a:lnTo>
                    <a:pt x="759" y="836"/>
                  </a:lnTo>
                  <a:lnTo>
                    <a:pt x="759" y="834"/>
                  </a:lnTo>
                  <a:lnTo>
                    <a:pt x="761" y="834"/>
                  </a:lnTo>
                  <a:lnTo>
                    <a:pt x="761" y="836"/>
                  </a:lnTo>
                  <a:lnTo>
                    <a:pt x="761" y="834"/>
                  </a:lnTo>
                  <a:lnTo>
                    <a:pt x="761" y="836"/>
                  </a:lnTo>
                  <a:lnTo>
                    <a:pt x="761" y="834"/>
                  </a:lnTo>
                  <a:lnTo>
                    <a:pt x="761" y="836"/>
                  </a:lnTo>
                  <a:lnTo>
                    <a:pt x="764" y="836"/>
                  </a:lnTo>
                  <a:lnTo>
                    <a:pt x="761" y="834"/>
                  </a:lnTo>
                  <a:lnTo>
                    <a:pt x="764" y="834"/>
                  </a:lnTo>
                  <a:lnTo>
                    <a:pt x="764" y="836"/>
                  </a:lnTo>
                  <a:lnTo>
                    <a:pt x="766" y="834"/>
                  </a:lnTo>
                  <a:lnTo>
                    <a:pt x="766" y="836"/>
                  </a:lnTo>
                  <a:lnTo>
                    <a:pt x="768" y="836"/>
                  </a:lnTo>
                  <a:lnTo>
                    <a:pt x="766" y="836"/>
                  </a:lnTo>
                  <a:lnTo>
                    <a:pt x="768" y="836"/>
                  </a:lnTo>
                  <a:lnTo>
                    <a:pt x="768" y="838"/>
                  </a:lnTo>
                  <a:lnTo>
                    <a:pt x="771" y="838"/>
                  </a:lnTo>
                  <a:lnTo>
                    <a:pt x="768" y="838"/>
                  </a:lnTo>
                  <a:lnTo>
                    <a:pt x="771" y="838"/>
                  </a:lnTo>
                  <a:lnTo>
                    <a:pt x="773" y="838"/>
                  </a:lnTo>
                  <a:lnTo>
                    <a:pt x="771" y="838"/>
                  </a:lnTo>
                  <a:lnTo>
                    <a:pt x="768" y="838"/>
                  </a:lnTo>
                  <a:lnTo>
                    <a:pt x="768" y="836"/>
                  </a:lnTo>
                  <a:lnTo>
                    <a:pt x="768" y="838"/>
                  </a:lnTo>
                  <a:lnTo>
                    <a:pt x="768" y="836"/>
                  </a:lnTo>
                  <a:lnTo>
                    <a:pt x="768" y="838"/>
                  </a:lnTo>
                  <a:lnTo>
                    <a:pt x="768" y="836"/>
                  </a:lnTo>
                  <a:lnTo>
                    <a:pt x="768" y="838"/>
                  </a:lnTo>
                  <a:lnTo>
                    <a:pt x="768" y="836"/>
                  </a:lnTo>
                  <a:lnTo>
                    <a:pt x="771" y="836"/>
                  </a:lnTo>
                  <a:lnTo>
                    <a:pt x="771" y="838"/>
                  </a:lnTo>
                  <a:lnTo>
                    <a:pt x="771" y="836"/>
                  </a:lnTo>
                  <a:lnTo>
                    <a:pt x="771" y="838"/>
                  </a:lnTo>
                  <a:lnTo>
                    <a:pt x="768" y="836"/>
                  </a:lnTo>
                  <a:lnTo>
                    <a:pt x="771" y="836"/>
                  </a:lnTo>
                  <a:lnTo>
                    <a:pt x="768" y="836"/>
                  </a:lnTo>
                  <a:lnTo>
                    <a:pt x="768" y="838"/>
                  </a:lnTo>
                  <a:lnTo>
                    <a:pt x="768" y="836"/>
                  </a:lnTo>
                  <a:lnTo>
                    <a:pt x="766" y="836"/>
                  </a:lnTo>
                  <a:lnTo>
                    <a:pt x="768" y="836"/>
                  </a:lnTo>
                  <a:lnTo>
                    <a:pt x="766" y="836"/>
                  </a:lnTo>
                  <a:lnTo>
                    <a:pt x="766" y="834"/>
                  </a:lnTo>
                  <a:lnTo>
                    <a:pt x="764" y="834"/>
                  </a:lnTo>
                  <a:lnTo>
                    <a:pt x="761" y="834"/>
                  </a:lnTo>
                  <a:lnTo>
                    <a:pt x="759" y="834"/>
                  </a:lnTo>
                  <a:lnTo>
                    <a:pt x="756" y="831"/>
                  </a:lnTo>
                  <a:lnTo>
                    <a:pt x="754" y="831"/>
                  </a:lnTo>
                  <a:lnTo>
                    <a:pt x="752" y="831"/>
                  </a:lnTo>
                  <a:lnTo>
                    <a:pt x="749" y="831"/>
                  </a:lnTo>
                  <a:lnTo>
                    <a:pt x="747" y="831"/>
                  </a:lnTo>
                  <a:lnTo>
                    <a:pt x="747" y="829"/>
                  </a:lnTo>
                  <a:lnTo>
                    <a:pt x="747" y="831"/>
                  </a:lnTo>
                  <a:lnTo>
                    <a:pt x="745" y="829"/>
                  </a:lnTo>
                  <a:lnTo>
                    <a:pt x="742" y="829"/>
                  </a:lnTo>
                  <a:lnTo>
                    <a:pt x="740" y="829"/>
                  </a:lnTo>
                  <a:lnTo>
                    <a:pt x="740" y="826"/>
                  </a:lnTo>
                  <a:lnTo>
                    <a:pt x="740" y="829"/>
                  </a:lnTo>
                  <a:lnTo>
                    <a:pt x="740" y="826"/>
                  </a:lnTo>
                  <a:lnTo>
                    <a:pt x="740" y="824"/>
                  </a:lnTo>
                  <a:lnTo>
                    <a:pt x="740" y="822"/>
                  </a:lnTo>
                  <a:lnTo>
                    <a:pt x="737" y="822"/>
                  </a:lnTo>
                  <a:lnTo>
                    <a:pt x="740" y="819"/>
                  </a:lnTo>
                  <a:lnTo>
                    <a:pt x="742" y="819"/>
                  </a:lnTo>
                  <a:lnTo>
                    <a:pt x="740" y="819"/>
                  </a:lnTo>
                  <a:lnTo>
                    <a:pt x="742" y="819"/>
                  </a:lnTo>
                  <a:lnTo>
                    <a:pt x="740" y="819"/>
                  </a:lnTo>
                  <a:lnTo>
                    <a:pt x="740" y="817"/>
                  </a:lnTo>
                  <a:lnTo>
                    <a:pt x="742" y="817"/>
                  </a:lnTo>
                  <a:lnTo>
                    <a:pt x="740" y="817"/>
                  </a:lnTo>
                  <a:lnTo>
                    <a:pt x="740" y="815"/>
                  </a:lnTo>
                  <a:lnTo>
                    <a:pt x="737" y="815"/>
                  </a:lnTo>
                  <a:lnTo>
                    <a:pt x="737" y="812"/>
                  </a:lnTo>
                  <a:lnTo>
                    <a:pt x="735" y="812"/>
                  </a:lnTo>
                  <a:lnTo>
                    <a:pt x="735" y="810"/>
                  </a:lnTo>
                  <a:lnTo>
                    <a:pt x="733" y="810"/>
                  </a:lnTo>
                  <a:lnTo>
                    <a:pt x="735" y="807"/>
                  </a:lnTo>
                  <a:lnTo>
                    <a:pt x="735" y="805"/>
                  </a:lnTo>
                  <a:lnTo>
                    <a:pt x="735" y="803"/>
                  </a:lnTo>
                  <a:lnTo>
                    <a:pt x="737" y="803"/>
                  </a:lnTo>
                  <a:lnTo>
                    <a:pt x="737" y="805"/>
                  </a:lnTo>
                  <a:lnTo>
                    <a:pt x="735" y="805"/>
                  </a:lnTo>
                  <a:lnTo>
                    <a:pt x="737" y="805"/>
                  </a:lnTo>
                  <a:lnTo>
                    <a:pt x="735" y="805"/>
                  </a:lnTo>
                  <a:lnTo>
                    <a:pt x="737" y="805"/>
                  </a:lnTo>
                  <a:lnTo>
                    <a:pt x="737" y="803"/>
                  </a:lnTo>
                  <a:lnTo>
                    <a:pt x="735" y="803"/>
                  </a:lnTo>
                  <a:lnTo>
                    <a:pt x="735" y="800"/>
                  </a:lnTo>
                  <a:lnTo>
                    <a:pt x="733" y="800"/>
                  </a:lnTo>
                  <a:lnTo>
                    <a:pt x="730" y="800"/>
                  </a:lnTo>
                  <a:lnTo>
                    <a:pt x="730" y="798"/>
                  </a:lnTo>
                  <a:lnTo>
                    <a:pt x="728" y="798"/>
                  </a:lnTo>
                  <a:lnTo>
                    <a:pt x="726" y="798"/>
                  </a:lnTo>
                  <a:lnTo>
                    <a:pt x="723" y="798"/>
                  </a:lnTo>
                  <a:lnTo>
                    <a:pt x="723" y="796"/>
                  </a:lnTo>
                  <a:lnTo>
                    <a:pt x="721" y="796"/>
                  </a:lnTo>
                  <a:lnTo>
                    <a:pt x="721" y="793"/>
                  </a:lnTo>
                  <a:lnTo>
                    <a:pt x="719" y="793"/>
                  </a:lnTo>
                  <a:lnTo>
                    <a:pt x="721" y="791"/>
                  </a:lnTo>
                  <a:lnTo>
                    <a:pt x="721" y="788"/>
                  </a:lnTo>
                  <a:lnTo>
                    <a:pt x="723" y="788"/>
                  </a:lnTo>
                  <a:lnTo>
                    <a:pt x="726" y="788"/>
                  </a:lnTo>
                  <a:lnTo>
                    <a:pt x="726" y="786"/>
                  </a:lnTo>
                  <a:lnTo>
                    <a:pt x="728" y="786"/>
                  </a:lnTo>
                  <a:lnTo>
                    <a:pt x="726" y="784"/>
                  </a:lnTo>
                  <a:lnTo>
                    <a:pt x="728" y="784"/>
                  </a:lnTo>
                  <a:lnTo>
                    <a:pt x="728" y="781"/>
                  </a:lnTo>
                  <a:lnTo>
                    <a:pt x="730" y="779"/>
                  </a:lnTo>
                  <a:lnTo>
                    <a:pt x="730" y="777"/>
                  </a:lnTo>
                  <a:lnTo>
                    <a:pt x="728" y="777"/>
                  </a:lnTo>
                  <a:lnTo>
                    <a:pt x="730" y="774"/>
                  </a:lnTo>
                  <a:lnTo>
                    <a:pt x="730" y="772"/>
                  </a:lnTo>
                  <a:lnTo>
                    <a:pt x="733" y="772"/>
                  </a:lnTo>
                  <a:lnTo>
                    <a:pt x="735" y="772"/>
                  </a:lnTo>
                  <a:lnTo>
                    <a:pt x="737" y="772"/>
                  </a:lnTo>
                  <a:lnTo>
                    <a:pt x="740" y="772"/>
                  </a:lnTo>
                  <a:lnTo>
                    <a:pt x="742" y="772"/>
                  </a:lnTo>
                  <a:lnTo>
                    <a:pt x="745" y="772"/>
                  </a:lnTo>
                  <a:lnTo>
                    <a:pt x="747" y="772"/>
                  </a:lnTo>
                  <a:lnTo>
                    <a:pt x="747" y="769"/>
                  </a:lnTo>
                  <a:lnTo>
                    <a:pt x="749" y="769"/>
                  </a:lnTo>
                  <a:lnTo>
                    <a:pt x="749" y="767"/>
                  </a:lnTo>
                  <a:lnTo>
                    <a:pt x="752" y="767"/>
                  </a:lnTo>
                  <a:lnTo>
                    <a:pt x="754" y="767"/>
                  </a:lnTo>
                  <a:lnTo>
                    <a:pt x="756" y="767"/>
                  </a:lnTo>
                  <a:lnTo>
                    <a:pt x="759" y="767"/>
                  </a:lnTo>
                  <a:lnTo>
                    <a:pt x="761" y="767"/>
                  </a:lnTo>
                  <a:lnTo>
                    <a:pt x="761" y="765"/>
                  </a:lnTo>
                  <a:lnTo>
                    <a:pt x="761" y="767"/>
                  </a:lnTo>
                  <a:lnTo>
                    <a:pt x="761" y="765"/>
                  </a:lnTo>
                  <a:lnTo>
                    <a:pt x="764" y="765"/>
                  </a:lnTo>
                  <a:lnTo>
                    <a:pt x="766" y="765"/>
                  </a:lnTo>
                  <a:lnTo>
                    <a:pt x="768" y="765"/>
                  </a:lnTo>
                  <a:lnTo>
                    <a:pt x="771" y="762"/>
                  </a:lnTo>
                  <a:lnTo>
                    <a:pt x="773" y="760"/>
                  </a:lnTo>
                  <a:lnTo>
                    <a:pt x="773" y="762"/>
                  </a:lnTo>
                  <a:lnTo>
                    <a:pt x="773" y="760"/>
                  </a:lnTo>
                  <a:lnTo>
                    <a:pt x="775" y="760"/>
                  </a:lnTo>
                  <a:lnTo>
                    <a:pt x="775" y="758"/>
                  </a:lnTo>
                  <a:lnTo>
                    <a:pt x="778" y="758"/>
                  </a:lnTo>
                  <a:lnTo>
                    <a:pt x="778" y="755"/>
                  </a:lnTo>
                  <a:lnTo>
                    <a:pt x="778" y="758"/>
                  </a:lnTo>
                  <a:lnTo>
                    <a:pt x="778" y="755"/>
                  </a:lnTo>
                  <a:lnTo>
                    <a:pt x="778" y="753"/>
                  </a:lnTo>
                  <a:lnTo>
                    <a:pt x="780" y="753"/>
                  </a:lnTo>
                  <a:lnTo>
                    <a:pt x="780" y="750"/>
                  </a:lnTo>
                  <a:lnTo>
                    <a:pt x="780" y="748"/>
                  </a:lnTo>
                  <a:lnTo>
                    <a:pt x="783" y="746"/>
                  </a:lnTo>
                  <a:lnTo>
                    <a:pt x="780" y="746"/>
                  </a:lnTo>
                  <a:lnTo>
                    <a:pt x="783" y="746"/>
                  </a:lnTo>
                  <a:lnTo>
                    <a:pt x="780" y="746"/>
                  </a:lnTo>
                  <a:lnTo>
                    <a:pt x="783" y="746"/>
                  </a:lnTo>
                  <a:lnTo>
                    <a:pt x="785" y="743"/>
                  </a:lnTo>
                  <a:lnTo>
                    <a:pt x="785" y="741"/>
                  </a:lnTo>
                  <a:lnTo>
                    <a:pt x="785" y="739"/>
                  </a:lnTo>
                  <a:lnTo>
                    <a:pt x="787" y="739"/>
                  </a:lnTo>
                  <a:lnTo>
                    <a:pt x="790" y="739"/>
                  </a:lnTo>
                  <a:lnTo>
                    <a:pt x="792" y="739"/>
                  </a:lnTo>
                  <a:lnTo>
                    <a:pt x="794" y="739"/>
                  </a:lnTo>
                  <a:lnTo>
                    <a:pt x="797" y="739"/>
                  </a:lnTo>
                  <a:lnTo>
                    <a:pt x="797" y="741"/>
                  </a:lnTo>
                  <a:lnTo>
                    <a:pt x="799" y="741"/>
                  </a:lnTo>
                  <a:lnTo>
                    <a:pt x="799" y="743"/>
                  </a:lnTo>
                  <a:lnTo>
                    <a:pt x="802" y="743"/>
                  </a:lnTo>
                  <a:lnTo>
                    <a:pt x="802" y="746"/>
                  </a:lnTo>
                  <a:lnTo>
                    <a:pt x="802" y="748"/>
                  </a:lnTo>
                  <a:lnTo>
                    <a:pt x="804" y="748"/>
                  </a:lnTo>
                  <a:lnTo>
                    <a:pt x="806" y="748"/>
                  </a:lnTo>
                  <a:lnTo>
                    <a:pt x="809" y="750"/>
                  </a:lnTo>
                  <a:lnTo>
                    <a:pt x="806" y="750"/>
                  </a:lnTo>
                  <a:lnTo>
                    <a:pt x="809" y="750"/>
                  </a:lnTo>
                  <a:lnTo>
                    <a:pt x="809" y="753"/>
                  </a:lnTo>
                  <a:lnTo>
                    <a:pt x="809" y="750"/>
                  </a:lnTo>
                  <a:lnTo>
                    <a:pt x="809" y="753"/>
                  </a:lnTo>
                  <a:lnTo>
                    <a:pt x="811" y="753"/>
                  </a:lnTo>
                  <a:lnTo>
                    <a:pt x="811" y="750"/>
                  </a:lnTo>
                  <a:lnTo>
                    <a:pt x="809" y="750"/>
                  </a:lnTo>
                  <a:lnTo>
                    <a:pt x="809" y="753"/>
                  </a:lnTo>
                  <a:lnTo>
                    <a:pt x="809" y="750"/>
                  </a:lnTo>
                  <a:lnTo>
                    <a:pt x="809" y="753"/>
                  </a:lnTo>
                  <a:lnTo>
                    <a:pt x="809" y="750"/>
                  </a:lnTo>
                  <a:lnTo>
                    <a:pt x="809" y="748"/>
                  </a:lnTo>
                  <a:lnTo>
                    <a:pt x="806" y="748"/>
                  </a:lnTo>
                  <a:lnTo>
                    <a:pt x="804" y="748"/>
                  </a:lnTo>
                  <a:lnTo>
                    <a:pt x="802" y="748"/>
                  </a:lnTo>
                  <a:lnTo>
                    <a:pt x="802" y="746"/>
                  </a:lnTo>
                  <a:lnTo>
                    <a:pt x="802" y="743"/>
                  </a:lnTo>
                  <a:lnTo>
                    <a:pt x="799" y="743"/>
                  </a:lnTo>
                  <a:lnTo>
                    <a:pt x="799" y="741"/>
                  </a:lnTo>
                  <a:lnTo>
                    <a:pt x="797" y="739"/>
                  </a:lnTo>
                  <a:lnTo>
                    <a:pt x="794" y="739"/>
                  </a:lnTo>
                  <a:lnTo>
                    <a:pt x="792" y="739"/>
                  </a:lnTo>
                  <a:lnTo>
                    <a:pt x="794" y="739"/>
                  </a:lnTo>
                  <a:lnTo>
                    <a:pt x="792" y="739"/>
                  </a:lnTo>
                  <a:lnTo>
                    <a:pt x="790" y="739"/>
                  </a:lnTo>
                  <a:lnTo>
                    <a:pt x="787" y="739"/>
                  </a:lnTo>
                  <a:lnTo>
                    <a:pt x="785" y="739"/>
                  </a:lnTo>
                  <a:lnTo>
                    <a:pt x="785" y="741"/>
                  </a:lnTo>
                  <a:lnTo>
                    <a:pt x="785" y="743"/>
                  </a:lnTo>
                  <a:lnTo>
                    <a:pt x="783" y="743"/>
                  </a:lnTo>
                  <a:lnTo>
                    <a:pt x="785" y="743"/>
                  </a:lnTo>
                  <a:lnTo>
                    <a:pt x="783" y="743"/>
                  </a:lnTo>
                  <a:lnTo>
                    <a:pt x="783" y="746"/>
                  </a:lnTo>
                  <a:lnTo>
                    <a:pt x="780" y="746"/>
                  </a:lnTo>
                  <a:lnTo>
                    <a:pt x="780" y="748"/>
                  </a:lnTo>
                  <a:lnTo>
                    <a:pt x="780" y="750"/>
                  </a:lnTo>
                  <a:lnTo>
                    <a:pt x="778" y="750"/>
                  </a:lnTo>
                  <a:lnTo>
                    <a:pt x="778" y="753"/>
                  </a:lnTo>
                  <a:lnTo>
                    <a:pt x="778" y="755"/>
                  </a:lnTo>
                  <a:lnTo>
                    <a:pt x="775" y="755"/>
                  </a:lnTo>
                  <a:lnTo>
                    <a:pt x="778" y="755"/>
                  </a:lnTo>
                  <a:lnTo>
                    <a:pt x="778" y="758"/>
                  </a:lnTo>
                  <a:lnTo>
                    <a:pt x="775" y="758"/>
                  </a:lnTo>
                  <a:lnTo>
                    <a:pt x="775" y="760"/>
                  </a:lnTo>
                  <a:lnTo>
                    <a:pt x="773" y="760"/>
                  </a:lnTo>
                  <a:lnTo>
                    <a:pt x="771" y="762"/>
                  </a:lnTo>
                  <a:lnTo>
                    <a:pt x="768" y="762"/>
                  </a:lnTo>
                  <a:lnTo>
                    <a:pt x="768" y="765"/>
                  </a:lnTo>
                  <a:lnTo>
                    <a:pt x="766" y="765"/>
                  </a:lnTo>
                  <a:lnTo>
                    <a:pt x="764" y="765"/>
                  </a:lnTo>
                  <a:lnTo>
                    <a:pt x="761" y="765"/>
                  </a:lnTo>
                  <a:lnTo>
                    <a:pt x="759" y="765"/>
                  </a:lnTo>
                  <a:lnTo>
                    <a:pt x="759" y="767"/>
                  </a:lnTo>
                  <a:lnTo>
                    <a:pt x="756" y="767"/>
                  </a:lnTo>
                  <a:lnTo>
                    <a:pt x="754" y="767"/>
                  </a:lnTo>
                  <a:lnTo>
                    <a:pt x="752" y="767"/>
                  </a:lnTo>
                  <a:lnTo>
                    <a:pt x="749" y="767"/>
                  </a:lnTo>
                  <a:lnTo>
                    <a:pt x="749" y="769"/>
                  </a:lnTo>
                  <a:lnTo>
                    <a:pt x="747" y="769"/>
                  </a:lnTo>
                  <a:lnTo>
                    <a:pt x="745" y="772"/>
                  </a:lnTo>
                  <a:lnTo>
                    <a:pt x="742" y="772"/>
                  </a:lnTo>
                  <a:lnTo>
                    <a:pt x="740" y="772"/>
                  </a:lnTo>
                  <a:lnTo>
                    <a:pt x="737" y="772"/>
                  </a:lnTo>
                  <a:lnTo>
                    <a:pt x="735" y="772"/>
                  </a:lnTo>
                  <a:lnTo>
                    <a:pt x="735" y="769"/>
                  </a:lnTo>
                  <a:lnTo>
                    <a:pt x="735" y="767"/>
                  </a:lnTo>
                  <a:lnTo>
                    <a:pt x="735" y="765"/>
                  </a:lnTo>
                  <a:lnTo>
                    <a:pt x="733" y="765"/>
                  </a:lnTo>
                  <a:lnTo>
                    <a:pt x="733" y="762"/>
                  </a:lnTo>
                  <a:lnTo>
                    <a:pt x="733" y="760"/>
                  </a:lnTo>
                  <a:lnTo>
                    <a:pt x="730" y="760"/>
                  </a:lnTo>
                  <a:lnTo>
                    <a:pt x="728" y="760"/>
                  </a:lnTo>
                  <a:lnTo>
                    <a:pt x="728" y="762"/>
                  </a:lnTo>
                  <a:lnTo>
                    <a:pt x="726" y="762"/>
                  </a:lnTo>
                  <a:lnTo>
                    <a:pt x="723" y="760"/>
                  </a:lnTo>
                  <a:lnTo>
                    <a:pt x="721" y="760"/>
                  </a:lnTo>
                  <a:lnTo>
                    <a:pt x="719" y="760"/>
                  </a:lnTo>
                  <a:lnTo>
                    <a:pt x="716" y="760"/>
                  </a:lnTo>
                  <a:lnTo>
                    <a:pt x="714" y="760"/>
                  </a:lnTo>
                  <a:lnTo>
                    <a:pt x="711" y="760"/>
                  </a:lnTo>
                  <a:lnTo>
                    <a:pt x="709" y="760"/>
                  </a:lnTo>
                  <a:lnTo>
                    <a:pt x="707" y="760"/>
                  </a:lnTo>
                  <a:lnTo>
                    <a:pt x="707" y="758"/>
                  </a:lnTo>
                  <a:lnTo>
                    <a:pt x="704" y="755"/>
                  </a:lnTo>
                  <a:lnTo>
                    <a:pt x="702" y="755"/>
                  </a:lnTo>
                  <a:lnTo>
                    <a:pt x="702" y="753"/>
                  </a:lnTo>
                  <a:lnTo>
                    <a:pt x="702" y="755"/>
                  </a:lnTo>
                  <a:lnTo>
                    <a:pt x="702" y="753"/>
                  </a:lnTo>
                  <a:lnTo>
                    <a:pt x="700" y="753"/>
                  </a:lnTo>
                  <a:lnTo>
                    <a:pt x="702" y="753"/>
                  </a:lnTo>
                  <a:lnTo>
                    <a:pt x="700" y="753"/>
                  </a:lnTo>
                  <a:lnTo>
                    <a:pt x="702" y="753"/>
                  </a:lnTo>
                  <a:lnTo>
                    <a:pt x="700" y="753"/>
                  </a:lnTo>
                  <a:lnTo>
                    <a:pt x="697" y="753"/>
                  </a:lnTo>
                  <a:lnTo>
                    <a:pt x="695" y="753"/>
                  </a:lnTo>
                  <a:lnTo>
                    <a:pt x="695" y="750"/>
                  </a:lnTo>
                  <a:lnTo>
                    <a:pt x="692" y="750"/>
                  </a:lnTo>
                  <a:lnTo>
                    <a:pt x="690" y="750"/>
                  </a:lnTo>
                  <a:lnTo>
                    <a:pt x="690" y="748"/>
                  </a:lnTo>
                  <a:lnTo>
                    <a:pt x="688" y="748"/>
                  </a:lnTo>
                  <a:lnTo>
                    <a:pt x="690" y="748"/>
                  </a:lnTo>
                  <a:lnTo>
                    <a:pt x="690" y="746"/>
                  </a:lnTo>
                  <a:lnTo>
                    <a:pt x="692" y="746"/>
                  </a:lnTo>
                  <a:lnTo>
                    <a:pt x="695" y="746"/>
                  </a:lnTo>
                  <a:lnTo>
                    <a:pt x="692" y="746"/>
                  </a:lnTo>
                  <a:lnTo>
                    <a:pt x="692" y="743"/>
                  </a:lnTo>
                  <a:lnTo>
                    <a:pt x="695" y="743"/>
                  </a:lnTo>
                  <a:lnTo>
                    <a:pt x="695" y="741"/>
                  </a:lnTo>
                  <a:lnTo>
                    <a:pt x="697" y="741"/>
                  </a:lnTo>
                  <a:lnTo>
                    <a:pt x="700" y="741"/>
                  </a:lnTo>
                  <a:lnTo>
                    <a:pt x="700" y="743"/>
                  </a:lnTo>
                  <a:lnTo>
                    <a:pt x="702" y="743"/>
                  </a:lnTo>
                  <a:lnTo>
                    <a:pt x="704" y="743"/>
                  </a:lnTo>
                  <a:lnTo>
                    <a:pt x="702" y="743"/>
                  </a:lnTo>
                  <a:lnTo>
                    <a:pt x="700" y="743"/>
                  </a:lnTo>
                  <a:lnTo>
                    <a:pt x="700" y="741"/>
                  </a:lnTo>
                  <a:lnTo>
                    <a:pt x="697" y="741"/>
                  </a:lnTo>
                  <a:lnTo>
                    <a:pt x="700" y="741"/>
                  </a:lnTo>
                  <a:lnTo>
                    <a:pt x="697" y="741"/>
                  </a:lnTo>
                  <a:lnTo>
                    <a:pt x="695" y="741"/>
                  </a:lnTo>
                  <a:lnTo>
                    <a:pt x="692" y="741"/>
                  </a:lnTo>
                  <a:lnTo>
                    <a:pt x="692" y="739"/>
                  </a:lnTo>
                  <a:lnTo>
                    <a:pt x="690" y="739"/>
                  </a:lnTo>
                  <a:lnTo>
                    <a:pt x="690" y="736"/>
                  </a:lnTo>
                  <a:lnTo>
                    <a:pt x="690" y="739"/>
                  </a:lnTo>
                  <a:lnTo>
                    <a:pt x="690" y="736"/>
                  </a:lnTo>
                  <a:lnTo>
                    <a:pt x="688" y="736"/>
                  </a:lnTo>
                  <a:lnTo>
                    <a:pt x="688" y="734"/>
                  </a:lnTo>
                  <a:lnTo>
                    <a:pt x="688" y="736"/>
                  </a:lnTo>
                  <a:lnTo>
                    <a:pt x="685" y="734"/>
                  </a:lnTo>
                  <a:lnTo>
                    <a:pt x="683" y="734"/>
                  </a:lnTo>
                  <a:lnTo>
                    <a:pt x="683" y="731"/>
                  </a:lnTo>
                  <a:lnTo>
                    <a:pt x="685" y="731"/>
                  </a:lnTo>
                  <a:lnTo>
                    <a:pt x="685" y="734"/>
                  </a:lnTo>
                  <a:lnTo>
                    <a:pt x="685" y="731"/>
                  </a:lnTo>
                  <a:lnTo>
                    <a:pt x="685" y="729"/>
                  </a:lnTo>
                  <a:lnTo>
                    <a:pt x="685" y="727"/>
                  </a:lnTo>
                  <a:lnTo>
                    <a:pt x="683" y="727"/>
                  </a:lnTo>
                  <a:lnTo>
                    <a:pt x="683" y="724"/>
                  </a:lnTo>
                  <a:lnTo>
                    <a:pt x="681" y="724"/>
                  </a:lnTo>
                  <a:lnTo>
                    <a:pt x="683" y="722"/>
                  </a:lnTo>
                  <a:lnTo>
                    <a:pt x="681" y="722"/>
                  </a:lnTo>
                  <a:lnTo>
                    <a:pt x="678" y="720"/>
                  </a:lnTo>
                  <a:lnTo>
                    <a:pt x="678" y="722"/>
                  </a:lnTo>
                  <a:lnTo>
                    <a:pt x="678" y="720"/>
                  </a:lnTo>
                  <a:lnTo>
                    <a:pt x="676" y="720"/>
                  </a:lnTo>
                  <a:lnTo>
                    <a:pt x="676" y="717"/>
                  </a:lnTo>
                  <a:lnTo>
                    <a:pt x="673" y="717"/>
                  </a:lnTo>
                  <a:lnTo>
                    <a:pt x="673" y="715"/>
                  </a:lnTo>
                  <a:lnTo>
                    <a:pt x="673" y="712"/>
                  </a:lnTo>
                  <a:lnTo>
                    <a:pt x="671" y="712"/>
                  </a:lnTo>
                  <a:lnTo>
                    <a:pt x="671" y="710"/>
                  </a:lnTo>
                  <a:lnTo>
                    <a:pt x="669" y="710"/>
                  </a:lnTo>
                  <a:lnTo>
                    <a:pt x="669" y="708"/>
                  </a:lnTo>
                  <a:lnTo>
                    <a:pt x="666" y="708"/>
                  </a:lnTo>
                  <a:lnTo>
                    <a:pt x="666" y="705"/>
                  </a:lnTo>
                  <a:lnTo>
                    <a:pt x="664" y="705"/>
                  </a:lnTo>
                  <a:lnTo>
                    <a:pt x="664" y="703"/>
                  </a:lnTo>
                  <a:lnTo>
                    <a:pt x="662" y="701"/>
                  </a:lnTo>
                  <a:lnTo>
                    <a:pt x="662" y="698"/>
                  </a:lnTo>
                  <a:lnTo>
                    <a:pt x="662" y="696"/>
                  </a:lnTo>
                  <a:lnTo>
                    <a:pt x="664" y="693"/>
                  </a:lnTo>
                  <a:lnTo>
                    <a:pt x="664" y="691"/>
                  </a:lnTo>
                  <a:lnTo>
                    <a:pt x="666" y="689"/>
                  </a:lnTo>
                  <a:lnTo>
                    <a:pt x="669" y="689"/>
                  </a:lnTo>
                  <a:lnTo>
                    <a:pt x="669" y="686"/>
                  </a:lnTo>
                  <a:lnTo>
                    <a:pt x="671" y="686"/>
                  </a:lnTo>
                  <a:lnTo>
                    <a:pt x="673" y="686"/>
                  </a:lnTo>
                  <a:lnTo>
                    <a:pt x="676" y="686"/>
                  </a:lnTo>
                  <a:lnTo>
                    <a:pt x="676" y="684"/>
                  </a:lnTo>
                  <a:lnTo>
                    <a:pt x="678" y="684"/>
                  </a:lnTo>
                  <a:lnTo>
                    <a:pt x="681" y="684"/>
                  </a:lnTo>
                  <a:lnTo>
                    <a:pt x="678" y="684"/>
                  </a:lnTo>
                  <a:lnTo>
                    <a:pt x="681" y="684"/>
                  </a:lnTo>
                  <a:lnTo>
                    <a:pt x="683" y="684"/>
                  </a:lnTo>
                  <a:lnTo>
                    <a:pt x="685" y="684"/>
                  </a:lnTo>
                  <a:lnTo>
                    <a:pt x="683" y="684"/>
                  </a:lnTo>
                  <a:lnTo>
                    <a:pt x="681" y="684"/>
                  </a:lnTo>
                  <a:lnTo>
                    <a:pt x="678" y="684"/>
                  </a:lnTo>
                  <a:lnTo>
                    <a:pt x="681" y="682"/>
                  </a:lnTo>
                  <a:lnTo>
                    <a:pt x="683" y="682"/>
                  </a:lnTo>
                  <a:lnTo>
                    <a:pt x="683" y="679"/>
                  </a:lnTo>
                  <a:lnTo>
                    <a:pt x="685" y="679"/>
                  </a:lnTo>
                  <a:lnTo>
                    <a:pt x="688" y="677"/>
                  </a:lnTo>
                  <a:lnTo>
                    <a:pt x="690" y="674"/>
                  </a:lnTo>
                  <a:lnTo>
                    <a:pt x="690" y="672"/>
                  </a:lnTo>
                  <a:lnTo>
                    <a:pt x="692" y="672"/>
                  </a:lnTo>
                  <a:lnTo>
                    <a:pt x="692" y="670"/>
                  </a:lnTo>
                  <a:lnTo>
                    <a:pt x="695" y="670"/>
                  </a:lnTo>
                  <a:lnTo>
                    <a:pt x="695" y="667"/>
                  </a:lnTo>
                  <a:lnTo>
                    <a:pt x="697" y="667"/>
                  </a:lnTo>
                  <a:lnTo>
                    <a:pt x="700" y="667"/>
                  </a:lnTo>
                  <a:lnTo>
                    <a:pt x="702" y="667"/>
                  </a:lnTo>
                  <a:lnTo>
                    <a:pt x="704" y="665"/>
                  </a:lnTo>
                  <a:lnTo>
                    <a:pt x="707" y="665"/>
                  </a:lnTo>
                  <a:lnTo>
                    <a:pt x="711" y="665"/>
                  </a:lnTo>
                  <a:lnTo>
                    <a:pt x="714" y="665"/>
                  </a:lnTo>
                  <a:lnTo>
                    <a:pt x="711" y="665"/>
                  </a:lnTo>
                  <a:lnTo>
                    <a:pt x="714" y="665"/>
                  </a:lnTo>
                  <a:lnTo>
                    <a:pt x="714" y="662"/>
                  </a:lnTo>
                  <a:lnTo>
                    <a:pt x="714" y="665"/>
                  </a:lnTo>
                  <a:lnTo>
                    <a:pt x="714" y="662"/>
                  </a:lnTo>
                  <a:lnTo>
                    <a:pt x="716" y="662"/>
                  </a:lnTo>
                  <a:lnTo>
                    <a:pt x="719" y="662"/>
                  </a:lnTo>
                  <a:lnTo>
                    <a:pt x="721" y="660"/>
                  </a:lnTo>
                  <a:lnTo>
                    <a:pt x="723" y="660"/>
                  </a:lnTo>
                  <a:lnTo>
                    <a:pt x="723" y="658"/>
                  </a:lnTo>
                  <a:lnTo>
                    <a:pt x="726" y="658"/>
                  </a:lnTo>
                  <a:lnTo>
                    <a:pt x="726" y="660"/>
                  </a:lnTo>
                  <a:lnTo>
                    <a:pt x="728" y="660"/>
                  </a:lnTo>
                  <a:lnTo>
                    <a:pt x="728" y="658"/>
                  </a:lnTo>
                  <a:lnTo>
                    <a:pt x="728" y="660"/>
                  </a:lnTo>
                  <a:lnTo>
                    <a:pt x="730" y="660"/>
                  </a:lnTo>
                  <a:lnTo>
                    <a:pt x="728" y="660"/>
                  </a:lnTo>
                  <a:lnTo>
                    <a:pt x="730" y="660"/>
                  </a:lnTo>
                  <a:lnTo>
                    <a:pt x="728" y="660"/>
                  </a:lnTo>
                  <a:lnTo>
                    <a:pt x="728" y="662"/>
                  </a:lnTo>
                  <a:lnTo>
                    <a:pt x="728" y="660"/>
                  </a:lnTo>
                  <a:lnTo>
                    <a:pt x="730" y="660"/>
                  </a:lnTo>
                  <a:lnTo>
                    <a:pt x="728" y="660"/>
                  </a:lnTo>
                  <a:lnTo>
                    <a:pt x="730" y="660"/>
                  </a:lnTo>
                  <a:lnTo>
                    <a:pt x="728" y="660"/>
                  </a:lnTo>
                  <a:lnTo>
                    <a:pt x="728" y="658"/>
                  </a:lnTo>
                  <a:lnTo>
                    <a:pt x="728" y="660"/>
                  </a:lnTo>
                  <a:lnTo>
                    <a:pt x="726" y="658"/>
                  </a:lnTo>
                  <a:lnTo>
                    <a:pt x="726" y="655"/>
                  </a:lnTo>
                  <a:lnTo>
                    <a:pt x="728" y="655"/>
                  </a:lnTo>
                  <a:lnTo>
                    <a:pt x="728" y="653"/>
                  </a:lnTo>
                  <a:lnTo>
                    <a:pt x="730" y="653"/>
                  </a:lnTo>
                  <a:lnTo>
                    <a:pt x="730" y="651"/>
                  </a:lnTo>
                  <a:lnTo>
                    <a:pt x="733" y="651"/>
                  </a:lnTo>
                  <a:lnTo>
                    <a:pt x="733" y="648"/>
                  </a:lnTo>
                  <a:lnTo>
                    <a:pt x="735" y="648"/>
                  </a:lnTo>
                  <a:lnTo>
                    <a:pt x="737" y="648"/>
                  </a:lnTo>
                  <a:lnTo>
                    <a:pt x="737" y="646"/>
                  </a:lnTo>
                  <a:lnTo>
                    <a:pt x="735" y="646"/>
                  </a:lnTo>
                  <a:lnTo>
                    <a:pt x="735" y="648"/>
                  </a:lnTo>
                  <a:lnTo>
                    <a:pt x="737" y="646"/>
                  </a:lnTo>
                  <a:lnTo>
                    <a:pt x="737" y="643"/>
                  </a:lnTo>
                  <a:lnTo>
                    <a:pt x="740" y="641"/>
                  </a:lnTo>
                  <a:lnTo>
                    <a:pt x="742" y="639"/>
                  </a:lnTo>
                  <a:lnTo>
                    <a:pt x="745" y="636"/>
                  </a:lnTo>
                  <a:lnTo>
                    <a:pt x="747" y="636"/>
                  </a:lnTo>
                  <a:lnTo>
                    <a:pt x="749" y="636"/>
                  </a:lnTo>
                  <a:lnTo>
                    <a:pt x="749" y="639"/>
                  </a:lnTo>
                  <a:lnTo>
                    <a:pt x="752" y="639"/>
                  </a:lnTo>
                  <a:lnTo>
                    <a:pt x="754" y="639"/>
                  </a:lnTo>
                  <a:lnTo>
                    <a:pt x="754" y="641"/>
                  </a:lnTo>
                  <a:lnTo>
                    <a:pt x="756" y="641"/>
                  </a:lnTo>
                  <a:lnTo>
                    <a:pt x="759" y="641"/>
                  </a:lnTo>
                  <a:lnTo>
                    <a:pt x="759" y="643"/>
                  </a:lnTo>
                  <a:lnTo>
                    <a:pt x="756" y="643"/>
                  </a:lnTo>
                  <a:lnTo>
                    <a:pt x="754" y="646"/>
                  </a:lnTo>
                  <a:lnTo>
                    <a:pt x="756" y="646"/>
                  </a:lnTo>
                  <a:lnTo>
                    <a:pt x="754" y="646"/>
                  </a:lnTo>
                  <a:lnTo>
                    <a:pt x="756" y="646"/>
                  </a:lnTo>
                  <a:lnTo>
                    <a:pt x="756" y="643"/>
                  </a:lnTo>
                  <a:lnTo>
                    <a:pt x="759" y="643"/>
                  </a:lnTo>
                  <a:lnTo>
                    <a:pt x="761" y="643"/>
                  </a:lnTo>
                  <a:lnTo>
                    <a:pt x="764" y="643"/>
                  </a:lnTo>
                  <a:lnTo>
                    <a:pt x="766" y="643"/>
                  </a:lnTo>
                  <a:lnTo>
                    <a:pt x="768" y="643"/>
                  </a:lnTo>
                  <a:lnTo>
                    <a:pt x="771" y="643"/>
                  </a:lnTo>
                  <a:lnTo>
                    <a:pt x="773" y="643"/>
                  </a:lnTo>
                  <a:lnTo>
                    <a:pt x="775" y="643"/>
                  </a:lnTo>
                  <a:lnTo>
                    <a:pt x="778" y="643"/>
                  </a:lnTo>
                  <a:lnTo>
                    <a:pt x="775" y="643"/>
                  </a:lnTo>
                  <a:lnTo>
                    <a:pt x="778" y="643"/>
                  </a:lnTo>
                  <a:lnTo>
                    <a:pt x="780" y="643"/>
                  </a:lnTo>
                  <a:lnTo>
                    <a:pt x="783" y="643"/>
                  </a:lnTo>
                  <a:lnTo>
                    <a:pt x="783" y="646"/>
                  </a:lnTo>
                  <a:lnTo>
                    <a:pt x="783" y="648"/>
                  </a:lnTo>
                  <a:lnTo>
                    <a:pt x="785" y="648"/>
                  </a:lnTo>
                  <a:lnTo>
                    <a:pt x="787" y="648"/>
                  </a:lnTo>
                  <a:lnTo>
                    <a:pt x="790" y="648"/>
                  </a:lnTo>
                  <a:lnTo>
                    <a:pt x="790" y="651"/>
                  </a:lnTo>
                  <a:lnTo>
                    <a:pt x="790" y="648"/>
                  </a:lnTo>
                  <a:lnTo>
                    <a:pt x="790" y="651"/>
                  </a:lnTo>
                  <a:lnTo>
                    <a:pt x="792" y="651"/>
                  </a:lnTo>
                  <a:lnTo>
                    <a:pt x="794" y="653"/>
                  </a:lnTo>
                  <a:lnTo>
                    <a:pt x="792" y="653"/>
                  </a:lnTo>
                  <a:lnTo>
                    <a:pt x="792" y="655"/>
                  </a:lnTo>
                  <a:lnTo>
                    <a:pt x="792" y="653"/>
                  </a:lnTo>
                  <a:lnTo>
                    <a:pt x="792" y="655"/>
                  </a:lnTo>
                  <a:lnTo>
                    <a:pt x="790" y="655"/>
                  </a:lnTo>
                  <a:lnTo>
                    <a:pt x="787" y="655"/>
                  </a:lnTo>
                  <a:lnTo>
                    <a:pt x="787" y="658"/>
                  </a:lnTo>
                  <a:lnTo>
                    <a:pt x="785" y="658"/>
                  </a:lnTo>
                  <a:lnTo>
                    <a:pt x="787" y="658"/>
                  </a:lnTo>
                  <a:lnTo>
                    <a:pt x="785" y="658"/>
                  </a:lnTo>
                  <a:lnTo>
                    <a:pt x="785" y="660"/>
                  </a:lnTo>
                  <a:lnTo>
                    <a:pt x="783" y="660"/>
                  </a:lnTo>
                  <a:lnTo>
                    <a:pt x="780" y="660"/>
                  </a:lnTo>
                  <a:lnTo>
                    <a:pt x="783" y="660"/>
                  </a:lnTo>
                  <a:lnTo>
                    <a:pt x="783" y="662"/>
                  </a:lnTo>
                  <a:lnTo>
                    <a:pt x="783" y="660"/>
                  </a:lnTo>
                  <a:lnTo>
                    <a:pt x="783" y="662"/>
                  </a:lnTo>
                  <a:lnTo>
                    <a:pt x="783" y="665"/>
                  </a:lnTo>
                  <a:lnTo>
                    <a:pt x="785" y="665"/>
                  </a:lnTo>
                  <a:lnTo>
                    <a:pt x="787" y="667"/>
                  </a:lnTo>
                  <a:lnTo>
                    <a:pt x="787" y="670"/>
                  </a:lnTo>
                  <a:lnTo>
                    <a:pt x="787" y="672"/>
                  </a:lnTo>
                  <a:lnTo>
                    <a:pt x="787" y="674"/>
                  </a:lnTo>
                  <a:lnTo>
                    <a:pt x="785" y="674"/>
                  </a:lnTo>
                  <a:lnTo>
                    <a:pt x="785" y="677"/>
                  </a:lnTo>
                  <a:lnTo>
                    <a:pt x="783" y="677"/>
                  </a:lnTo>
                  <a:lnTo>
                    <a:pt x="783" y="679"/>
                  </a:lnTo>
                  <a:lnTo>
                    <a:pt x="785" y="679"/>
                  </a:lnTo>
                  <a:lnTo>
                    <a:pt x="783" y="679"/>
                  </a:lnTo>
                  <a:lnTo>
                    <a:pt x="783" y="677"/>
                  </a:lnTo>
                  <a:lnTo>
                    <a:pt x="785" y="677"/>
                  </a:lnTo>
                  <a:lnTo>
                    <a:pt x="785" y="674"/>
                  </a:lnTo>
                  <a:lnTo>
                    <a:pt x="787" y="674"/>
                  </a:lnTo>
                  <a:lnTo>
                    <a:pt x="787" y="672"/>
                  </a:lnTo>
                  <a:lnTo>
                    <a:pt x="787" y="674"/>
                  </a:lnTo>
                  <a:lnTo>
                    <a:pt x="790" y="674"/>
                  </a:lnTo>
                  <a:lnTo>
                    <a:pt x="790" y="677"/>
                  </a:lnTo>
                  <a:lnTo>
                    <a:pt x="787" y="679"/>
                  </a:lnTo>
                  <a:lnTo>
                    <a:pt x="787" y="682"/>
                  </a:lnTo>
                  <a:lnTo>
                    <a:pt x="787" y="684"/>
                  </a:lnTo>
                  <a:lnTo>
                    <a:pt x="787" y="682"/>
                  </a:lnTo>
                  <a:lnTo>
                    <a:pt x="787" y="684"/>
                  </a:lnTo>
                  <a:lnTo>
                    <a:pt x="790" y="684"/>
                  </a:lnTo>
                  <a:lnTo>
                    <a:pt x="790" y="686"/>
                  </a:lnTo>
                  <a:lnTo>
                    <a:pt x="790" y="689"/>
                  </a:lnTo>
                  <a:lnTo>
                    <a:pt x="792" y="689"/>
                  </a:lnTo>
                  <a:lnTo>
                    <a:pt x="792" y="691"/>
                  </a:lnTo>
                  <a:lnTo>
                    <a:pt x="794" y="693"/>
                  </a:lnTo>
                  <a:lnTo>
                    <a:pt x="794" y="696"/>
                  </a:lnTo>
                  <a:lnTo>
                    <a:pt x="797" y="696"/>
                  </a:lnTo>
                  <a:lnTo>
                    <a:pt x="794" y="696"/>
                  </a:lnTo>
                  <a:lnTo>
                    <a:pt x="794" y="693"/>
                  </a:lnTo>
                  <a:lnTo>
                    <a:pt x="792" y="691"/>
                  </a:lnTo>
                  <a:lnTo>
                    <a:pt x="792" y="689"/>
                  </a:lnTo>
                  <a:lnTo>
                    <a:pt x="790" y="689"/>
                  </a:lnTo>
                  <a:lnTo>
                    <a:pt x="790" y="686"/>
                  </a:lnTo>
                  <a:lnTo>
                    <a:pt x="790" y="684"/>
                  </a:lnTo>
                  <a:lnTo>
                    <a:pt x="787" y="684"/>
                  </a:lnTo>
                  <a:lnTo>
                    <a:pt x="787" y="682"/>
                  </a:lnTo>
                  <a:lnTo>
                    <a:pt x="790" y="682"/>
                  </a:lnTo>
                  <a:lnTo>
                    <a:pt x="787" y="682"/>
                  </a:lnTo>
                  <a:lnTo>
                    <a:pt x="787" y="679"/>
                  </a:lnTo>
                  <a:lnTo>
                    <a:pt x="790" y="677"/>
                  </a:lnTo>
                  <a:lnTo>
                    <a:pt x="790" y="674"/>
                  </a:lnTo>
                  <a:lnTo>
                    <a:pt x="787" y="674"/>
                  </a:lnTo>
                  <a:lnTo>
                    <a:pt x="787" y="672"/>
                  </a:lnTo>
                  <a:lnTo>
                    <a:pt x="787" y="670"/>
                  </a:lnTo>
                  <a:lnTo>
                    <a:pt x="787" y="667"/>
                  </a:lnTo>
                  <a:lnTo>
                    <a:pt x="787" y="665"/>
                  </a:lnTo>
                  <a:lnTo>
                    <a:pt x="785" y="662"/>
                  </a:lnTo>
                  <a:lnTo>
                    <a:pt x="783" y="665"/>
                  </a:lnTo>
                  <a:lnTo>
                    <a:pt x="783" y="662"/>
                  </a:lnTo>
                  <a:lnTo>
                    <a:pt x="785" y="662"/>
                  </a:lnTo>
                  <a:lnTo>
                    <a:pt x="785" y="660"/>
                  </a:lnTo>
                  <a:lnTo>
                    <a:pt x="787" y="658"/>
                  </a:lnTo>
                  <a:lnTo>
                    <a:pt x="790" y="658"/>
                  </a:lnTo>
                  <a:lnTo>
                    <a:pt x="792" y="658"/>
                  </a:lnTo>
                  <a:lnTo>
                    <a:pt x="794" y="655"/>
                  </a:lnTo>
                  <a:lnTo>
                    <a:pt x="797" y="655"/>
                  </a:lnTo>
                  <a:lnTo>
                    <a:pt x="794" y="655"/>
                  </a:lnTo>
                  <a:lnTo>
                    <a:pt x="797" y="655"/>
                  </a:lnTo>
                  <a:lnTo>
                    <a:pt x="799" y="655"/>
                  </a:lnTo>
                  <a:lnTo>
                    <a:pt x="802" y="655"/>
                  </a:lnTo>
                  <a:lnTo>
                    <a:pt x="802" y="658"/>
                  </a:lnTo>
                  <a:lnTo>
                    <a:pt x="802" y="660"/>
                  </a:lnTo>
                  <a:lnTo>
                    <a:pt x="804" y="662"/>
                  </a:lnTo>
                  <a:lnTo>
                    <a:pt x="806" y="662"/>
                  </a:lnTo>
                  <a:lnTo>
                    <a:pt x="806" y="665"/>
                  </a:lnTo>
                  <a:lnTo>
                    <a:pt x="804" y="665"/>
                  </a:lnTo>
                  <a:lnTo>
                    <a:pt x="806" y="667"/>
                  </a:lnTo>
                  <a:lnTo>
                    <a:pt x="804" y="667"/>
                  </a:lnTo>
                  <a:lnTo>
                    <a:pt x="806" y="667"/>
                  </a:lnTo>
                  <a:lnTo>
                    <a:pt x="806" y="670"/>
                  </a:lnTo>
                  <a:lnTo>
                    <a:pt x="809" y="670"/>
                  </a:lnTo>
                  <a:lnTo>
                    <a:pt x="809" y="672"/>
                  </a:lnTo>
                  <a:lnTo>
                    <a:pt x="809" y="674"/>
                  </a:lnTo>
                  <a:lnTo>
                    <a:pt x="811" y="677"/>
                  </a:lnTo>
                  <a:lnTo>
                    <a:pt x="811" y="679"/>
                  </a:lnTo>
                  <a:lnTo>
                    <a:pt x="811" y="682"/>
                  </a:lnTo>
                  <a:lnTo>
                    <a:pt x="811" y="684"/>
                  </a:lnTo>
                  <a:lnTo>
                    <a:pt x="813" y="684"/>
                  </a:lnTo>
                  <a:lnTo>
                    <a:pt x="816" y="684"/>
                  </a:lnTo>
                  <a:lnTo>
                    <a:pt x="816" y="686"/>
                  </a:lnTo>
                  <a:lnTo>
                    <a:pt x="816" y="689"/>
                  </a:lnTo>
                  <a:lnTo>
                    <a:pt x="818" y="689"/>
                  </a:lnTo>
                  <a:lnTo>
                    <a:pt x="816" y="689"/>
                  </a:lnTo>
                  <a:lnTo>
                    <a:pt x="816" y="686"/>
                  </a:lnTo>
                  <a:lnTo>
                    <a:pt x="818" y="689"/>
                  </a:lnTo>
                  <a:lnTo>
                    <a:pt x="821" y="689"/>
                  </a:lnTo>
                  <a:lnTo>
                    <a:pt x="818" y="689"/>
                  </a:lnTo>
                  <a:lnTo>
                    <a:pt x="821" y="689"/>
                  </a:lnTo>
                  <a:lnTo>
                    <a:pt x="823" y="689"/>
                  </a:lnTo>
                  <a:lnTo>
                    <a:pt x="821" y="689"/>
                  </a:lnTo>
                  <a:lnTo>
                    <a:pt x="823" y="689"/>
                  </a:lnTo>
                  <a:lnTo>
                    <a:pt x="825" y="689"/>
                  </a:lnTo>
                  <a:lnTo>
                    <a:pt x="825" y="691"/>
                  </a:lnTo>
                  <a:lnTo>
                    <a:pt x="825" y="693"/>
                  </a:lnTo>
                  <a:lnTo>
                    <a:pt x="828" y="693"/>
                  </a:lnTo>
                  <a:lnTo>
                    <a:pt x="830" y="693"/>
                  </a:lnTo>
                  <a:lnTo>
                    <a:pt x="832" y="693"/>
                  </a:lnTo>
                  <a:lnTo>
                    <a:pt x="830" y="693"/>
                  </a:lnTo>
                  <a:lnTo>
                    <a:pt x="832" y="693"/>
                  </a:lnTo>
                  <a:lnTo>
                    <a:pt x="835" y="693"/>
                  </a:lnTo>
                  <a:lnTo>
                    <a:pt x="835" y="696"/>
                  </a:lnTo>
                  <a:lnTo>
                    <a:pt x="832" y="696"/>
                  </a:lnTo>
                  <a:lnTo>
                    <a:pt x="832" y="693"/>
                  </a:lnTo>
                  <a:lnTo>
                    <a:pt x="832" y="696"/>
                  </a:lnTo>
                  <a:lnTo>
                    <a:pt x="835" y="696"/>
                  </a:lnTo>
                  <a:lnTo>
                    <a:pt x="837" y="698"/>
                  </a:lnTo>
                  <a:lnTo>
                    <a:pt x="837" y="701"/>
                  </a:lnTo>
                  <a:lnTo>
                    <a:pt x="840" y="701"/>
                  </a:lnTo>
                  <a:lnTo>
                    <a:pt x="840" y="703"/>
                  </a:lnTo>
                  <a:lnTo>
                    <a:pt x="840" y="705"/>
                  </a:lnTo>
                  <a:lnTo>
                    <a:pt x="842" y="705"/>
                  </a:lnTo>
                  <a:lnTo>
                    <a:pt x="844" y="705"/>
                  </a:lnTo>
                  <a:lnTo>
                    <a:pt x="842" y="708"/>
                  </a:lnTo>
                  <a:lnTo>
                    <a:pt x="844" y="708"/>
                  </a:lnTo>
                  <a:lnTo>
                    <a:pt x="844" y="710"/>
                  </a:lnTo>
                  <a:lnTo>
                    <a:pt x="847" y="710"/>
                  </a:lnTo>
                  <a:lnTo>
                    <a:pt x="849" y="712"/>
                  </a:lnTo>
                  <a:lnTo>
                    <a:pt x="851" y="712"/>
                  </a:lnTo>
                  <a:lnTo>
                    <a:pt x="854" y="712"/>
                  </a:lnTo>
                  <a:lnTo>
                    <a:pt x="851" y="712"/>
                  </a:lnTo>
                  <a:lnTo>
                    <a:pt x="854" y="712"/>
                  </a:lnTo>
                  <a:lnTo>
                    <a:pt x="854" y="715"/>
                  </a:lnTo>
                  <a:lnTo>
                    <a:pt x="856" y="715"/>
                  </a:lnTo>
                  <a:lnTo>
                    <a:pt x="856" y="717"/>
                  </a:lnTo>
                  <a:lnTo>
                    <a:pt x="858" y="717"/>
                  </a:lnTo>
                  <a:lnTo>
                    <a:pt x="858" y="720"/>
                  </a:lnTo>
                  <a:lnTo>
                    <a:pt x="858" y="722"/>
                  </a:lnTo>
                  <a:lnTo>
                    <a:pt x="858" y="720"/>
                  </a:lnTo>
                  <a:lnTo>
                    <a:pt x="858" y="717"/>
                  </a:lnTo>
                  <a:lnTo>
                    <a:pt x="858" y="715"/>
                  </a:lnTo>
                  <a:lnTo>
                    <a:pt x="858" y="717"/>
                  </a:lnTo>
                  <a:lnTo>
                    <a:pt x="858" y="715"/>
                  </a:lnTo>
                  <a:lnTo>
                    <a:pt x="856" y="715"/>
                  </a:lnTo>
                  <a:lnTo>
                    <a:pt x="854" y="715"/>
                  </a:lnTo>
                  <a:lnTo>
                    <a:pt x="854" y="712"/>
                  </a:lnTo>
                  <a:lnTo>
                    <a:pt x="851" y="712"/>
                  </a:lnTo>
                  <a:lnTo>
                    <a:pt x="849" y="712"/>
                  </a:lnTo>
                  <a:lnTo>
                    <a:pt x="849" y="710"/>
                  </a:lnTo>
                  <a:lnTo>
                    <a:pt x="847" y="710"/>
                  </a:lnTo>
                  <a:lnTo>
                    <a:pt x="844" y="710"/>
                  </a:lnTo>
                  <a:lnTo>
                    <a:pt x="844" y="708"/>
                  </a:lnTo>
                  <a:lnTo>
                    <a:pt x="844" y="705"/>
                  </a:lnTo>
                  <a:lnTo>
                    <a:pt x="842" y="705"/>
                  </a:lnTo>
                  <a:lnTo>
                    <a:pt x="844" y="705"/>
                  </a:lnTo>
                  <a:lnTo>
                    <a:pt x="842" y="705"/>
                  </a:lnTo>
                  <a:lnTo>
                    <a:pt x="840" y="705"/>
                  </a:lnTo>
                  <a:lnTo>
                    <a:pt x="840" y="703"/>
                  </a:lnTo>
                  <a:lnTo>
                    <a:pt x="840" y="701"/>
                  </a:lnTo>
                  <a:lnTo>
                    <a:pt x="840" y="698"/>
                  </a:lnTo>
                  <a:lnTo>
                    <a:pt x="837" y="698"/>
                  </a:lnTo>
                  <a:lnTo>
                    <a:pt x="840" y="698"/>
                  </a:lnTo>
                  <a:lnTo>
                    <a:pt x="837" y="698"/>
                  </a:lnTo>
                  <a:lnTo>
                    <a:pt x="837" y="696"/>
                  </a:lnTo>
                  <a:lnTo>
                    <a:pt x="835" y="696"/>
                  </a:lnTo>
                  <a:lnTo>
                    <a:pt x="837" y="696"/>
                  </a:lnTo>
                  <a:lnTo>
                    <a:pt x="835" y="696"/>
                  </a:lnTo>
                  <a:lnTo>
                    <a:pt x="835" y="693"/>
                  </a:lnTo>
                  <a:lnTo>
                    <a:pt x="832" y="693"/>
                  </a:lnTo>
                  <a:lnTo>
                    <a:pt x="830" y="693"/>
                  </a:lnTo>
                  <a:lnTo>
                    <a:pt x="828" y="693"/>
                  </a:lnTo>
                  <a:lnTo>
                    <a:pt x="825" y="693"/>
                  </a:lnTo>
                  <a:lnTo>
                    <a:pt x="825" y="691"/>
                  </a:lnTo>
                  <a:lnTo>
                    <a:pt x="825" y="689"/>
                  </a:lnTo>
                  <a:lnTo>
                    <a:pt x="823" y="686"/>
                  </a:lnTo>
                  <a:lnTo>
                    <a:pt x="825" y="686"/>
                  </a:lnTo>
                  <a:lnTo>
                    <a:pt x="828" y="686"/>
                  </a:lnTo>
                  <a:lnTo>
                    <a:pt x="828" y="684"/>
                  </a:lnTo>
                  <a:lnTo>
                    <a:pt x="830" y="684"/>
                  </a:lnTo>
                  <a:lnTo>
                    <a:pt x="830" y="686"/>
                  </a:lnTo>
                  <a:lnTo>
                    <a:pt x="830" y="684"/>
                  </a:lnTo>
                  <a:lnTo>
                    <a:pt x="828" y="684"/>
                  </a:lnTo>
                  <a:lnTo>
                    <a:pt x="828" y="682"/>
                  </a:lnTo>
                  <a:lnTo>
                    <a:pt x="828" y="679"/>
                  </a:lnTo>
                  <a:lnTo>
                    <a:pt x="830" y="679"/>
                  </a:lnTo>
                  <a:lnTo>
                    <a:pt x="832" y="682"/>
                  </a:lnTo>
                  <a:lnTo>
                    <a:pt x="832" y="679"/>
                  </a:lnTo>
                  <a:lnTo>
                    <a:pt x="835" y="679"/>
                  </a:lnTo>
                  <a:lnTo>
                    <a:pt x="837" y="679"/>
                  </a:lnTo>
                  <a:lnTo>
                    <a:pt x="835" y="679"/>
                  </a:lnTo>
                  <a:lnTo>
                    <a:pt x="832" y="679"/>
                  </a:lnTo>
                  <a:lnTo>
                    <a:pt x="832" y="682"/>
                  </a:lnTo>
                  <a:lnTo>
                    <a:pt x="830" y="682"/>
                  </a:lnTo>
                  <a:lnTo>
                    <a:pt x="830" y="679"/>
                  </a:lnTo>
                  <a:lnTo>
                    <a:pt x="828" y="677"/>
                  </a:lnTo>
                  <a:lnTo>
                    <a:pt x="828" y="679"/>
                  </a:lnTo>
                  <a:lnTo>
                    <a:pt x="828" y="682"/>
                  </a:lnTo>
                  <a:lnTo>
                    <a:pt x="828" y="684"/>
                  </a:lnTo>
                  <a:lnTo>
                    <a:pt x="830" y="684"/>
                  </a:lnTo>
                  <a:lnTo>
                    <a:pt x="828" y="684"/>
                  </a:lnTo>
                  <a:lnTo>
                    <a:pt x="828" y="686"/>
                  </a:lnTo>
                  <a:lnTo>
                    <a:pt x="825" y="686"/>
                  </a:lnTo>
                  <a:lnTo>
                    <a:pt x="823" y="686"/>
                  </a:lnTo>
                  <a:lnTo>
                    <a:pt x="823" y="689"/>
                  </a:lnTo>
                  <a:lnTo>
                    <a:pt x="825" y="689"/>
                  </a:lnTo>
                  <a:lnTo>
                    <a:pt x="823" y="689"/>
                  </a:lnTo>
                  <a:lnTo>
                    <a:pt x="821" y="689"/>
                  </a:lnTo>
                  <a:lnTo>
                    <a:pt x="818" y="689"/>
                  </a:lnTo>
                  <a:lnTo>
                    <a:pt x="818" y="686"/>
                  </a:lnTo>
                  <a:lnTo>
                    <a:pt x="816" y="686"/>
                  </a:lnTo>
                  <a:lnTo>
                    <a:pt x="818" y="686"/>
                  </a:lnTo>
                  <a:lnTo>
                    <a:pt x="816" y="686"/>
                  </a:lnTo>
                  <a:lnTo>
                    <a:pt x="816" y="684"/>
                  </a:lnTo>
                  <a:lnTo>
                    <a:pt x="816" y="686"/>
                  </a:lnTo>
                  <a:lnTo>
                    <a:pt x="816" y="684"/>
                  </a:lnTo>
                  <a:lnTo>
                    <a:pt x="816" y="686"/>
                  </a:lnTo>
                  <a:lnTo>
                    <a:pt x="816" y="684"/>
                  </a:lnTo>
                  <a:lnTo>
                    <a:pt x="813" y="684"/>
                  </a:lnTo>
                  <a:lnTo>
                    <a:pt x="813" y="682"/>
                  </a:lnTo>
                  <a:lnTo>
                    <a:pt x="813" y="684"/>
                  </a:lnTo>
                  <a:lnTo>
                    <a:pt x="813" y="682"/>
                  </a:lnTo>
                  <a:lnTo>
                    <a:pt x="813" y="679"/>
                  </a:lnTo>
                  <a:lnTo>
                    <a:pt x="813" y="682"/>
                  </a:lnTo>
                  <a:lnTo>
                    <a:pt x="813" y="679"/>
                  </a:lnTo>
                  <a:lnTo>
                    <a:pt x="811" y="679"/>
                  </a:lnTo>
                  <a:lnTo>
                    <a:pt x="811" y="677"/>
                  </a:lnTo>
                  <a:lnTo>
                    <a:pt x="813" y="677"/>
                  </a:lnTo>
                  <a:lnTo>
                    <a:pt x="813" y="679"/>
                  </a:lnTo>
                  <a:lnTo>
                    <a:pt x="813" y="677"/>
                  </a:lnTo>
                  <a:lnTo>
                    <a:pt x="811" y="677"/>
                  </a:lnTo>
                  <a:lnTo>
                    <a:pt x="811" y="674"/>
                  </a:lnTo>
                  <a:lnTo>
                    <a:pt x="811" y="672"/>
                  </a:lnTo>
                  <a:lnTo>
                    <a:pt x="809" y="672"/>
                  </a:lnTo>
                  <a:lnTo>
                    <a:pt x="811" y="672"/>
                  </a:lnTo>
                  <a:lnTo>
                    <a:pt x="809" y="672"/>
                  </a:lnTo>
                  <a:lnTo>
                    <a:pt x="809" y="670"/>
                  </a:lnTo>
                  <a:lnTo>
                    <a:pt x="806" y="667"/>
                  </a:lnTo>
                  <a:lnTo>
                    <a:pt x="806" y="665"/>
                  </a:lnTo>
                  <a:lnTo>
                    <a:pt x="809" y="665"/>
                  </a:lnTo>
                  <a:lnTo>
                    <a:pt x="809" y="662"/>
                  </a:lnTo>
                  <a:lnTo>
                    <a:pt x="809" y="660"/>
                  </a:lnTo>
                  <a:lnTo>
                    <a:pt x="809" y="662"/>
                  </a:lnTo>
                  <a:lnTo>
                    <a:pt x="809" y="660"/>
                  </a:lnTo>
                  <a:lnTo>
                    <a:pt x="809" y="658"/>
                  </a:lnTo>
                  <a:lnTo>
                    <a:pt x="806" y="658"/>
                  </a:lnTo>
                  <a:lnTo>
                    <a:pt x="809" y="658"/>
                  </a:lnTo>
                  <a:lnTo>
                    <a:pt x="806" y="658"/>
                  </a:lnTo>
                  <a:lnTo>
                    <a:pt x="806" y="655"/>
                  </a:lnTo>
                  <a:lnTo>
                    <a:pt x="806" y="653"/>
                  </a:lnTo>
                  <a:lnTo>
                    <a:pt x="806" y="651"/>
                  </a:lnTo>
                  <a:lnTo>
                    <a:pt x="809" y="651"/>
                  </a:lnTo>
                  <a:lnTo>
                    <a:pt x="806" y="651"/>
                  </a:lnTo>
                  <a:lnTo>
                    <a:pt x="809" y="651"/>
                  </a:lnTo>
                  <a:lnTo>
                    <a:pt x="809" y="648"/>
                  </a:lnTo>
                  <a:lnTo>
                    <a:pt x="809" y="646"/>
                  </a:lnTo>
                  <a:lnTo>
                    <a:pt x="811" y="646"/>
                  </a:lnTo>
                  <a:lnTo>
                    <a:pt x="811" y="643"/>
                  </a:lnTo>
                  <a:lnTo>
                    <a:pt x="811" y="641"/>
                  </a:lnTo>
                  <a:lnTo>
                    <a:pt x="813" y="641"/>
                  </a:lnTo>
                  <a:lnTo>
                    <a:pt x="813" y="639"/>
                  </a:lnTo>
                  <a:lnTo>
                    <a:pt x="816" y="639"/>
                  </a:lnTo>
                  <a:lnTo>
                    <a:pt x="816" y="636"/>
                  </a:lnTo>
                  <a:lnTo>
                    <a:pt x="816" y="634"/>
                  </a:lnTo>
                  <a:lnTo>
                    <a:pt x="818" y="632"/>
                  </a:lnTo>
                  <a:lnTo>
                    <a:pt x="818" y="629"/>
                  </a:lnTo>
                  <a:lnTo>
                    <a:pt x="821" y="629"/>
                  </a:lnTo>
                  <a:lnTo>
                    <a:pt x="823" y="629"/>
                  </a:lnTo>
                  <a:lnTo>
                    <a:pt x="823" y="632"/>
                  </a:lnTo>
                  <a:lnTo>
                    <a:pt x="825" y="629"/>
                  </a:lnTo>
                  <a:lnTo>
                    <a:pt x="823" y="629"/>
                  </a:lnTo>
                  <a:lnTo>
                    <a:pt x="825" y="629"/>
                  </a:lnTo>
                  <a:lnTo>
                    <a:pt x="823" y="629"/>
                  </a:lnTo>
                  <a:lnTo>
                    <a:pt x="821" y="629"/>
                  </a:lnTo>
                  <a:lnTo>
                    <a:pt x="818" y="627"/>
                  </a:lnTo>
                  <a:lnTo>
                    <a:pt x="816" y="624"/>
                  </a:lnTo>
                  <a:lnTo>
                    <a:pt x="816" y="622"/>
                  </a:lnTo>
                  <a:lnTo>
                    <a:pt x="818" y="620"/>
                  </a:lnTo>
                  <a:lnTo>
                    <a:pt x="821" y="620"/>
                  </a:lnTo>
                  <a:lnTo>
                    <a:pt x="821" y="617"/>
                  </a:lnTo>
                  <a:lnTo>
                    <a:pt x="821" y="620"/>
                  </a:lnTo>
                  <a:lnTo>
                    <a:pt x="821" y="617"/>
                  </a:lnTo>
                  <a:lnTo>
                    <a:pt x="818" y="617"/>
                  </a:lnTo>
                  <a:lnTo>
                    <a:pt x="821" y="617"/>
                  </a:lnTo>
                  <a:lnTo>
                    <a:pt x="818" y="617"/>
                  </a:lnTo>
                  <a:lnTo>
                    <a:pt x="821" y="617"/>
                  </a:lnTo>
                  <a:lnTo>
                    <a:pt x="821" y="615"/>
                  </a:lnTo>
                  <a:lnTo>
                    <a:pt x="821" y="617"/>
                  </a:lnTo>
                  <a:lnTo>
                    <a:pt x="818" y="615"/>
                  </a:lnTo>
                  <a:lnTo>
                    <a:pt x="821" y="615"/>
                  </a:lnTo>
                  <a:lnTo>
                    <a:pt x="821" y="613"/>
                  </a:lnTo>
                  <a:lnTo>
                    <a:pt x="818" y="613"/>
                  </a:lnTo>
                  <a:lnTo>
                    <a:pt x="821" y="613"/>
                  </a:lnTo>
                  <a:lnTo>
                    <a:pt x="818" y="613"/>
                  </a:lnTo>
                  <a:lnTo>
                    <a:pt x="818" y="610"/>
                  </a:lnTo>
                  <a:lnTo>
                    <a:pt x="816" y="610"/>
                  </a:lnTo>
                  <a:lnTo>
                    <a:pt x="816" y="608"/>
                  </a:lnTo>
                  <a:lnTo>
                    <a:pt x="813" y="608"/>
                  </a:lnTo>
                  <a:lnTo>
                    <a:pt x="813" y="605"/>
                  </a:lnTo>
                  <a:lnTo>
                    <a:pt x="816" y="605"/>
                  </a:lnTo>
                  <a:lnTo>
                    <a:pt x="818" y="603"/>
                  </a:lnTo>
                  <a:lnTo>
                    <a:pt x="816" y="603"/>
                  </a:lnTo>
                  <a:lnTo>
                    <a:pt x="816" y="605"/>
                  </a:lnTo>
                  <a:lnTo>
                    <a:pt x="813" y="605"/>
                  </a:lnTo>
                  <a:lnTo>
                    <a:pt x="811" y="605"/>
                  </a:lnTo>
                  <a:lnTo>
                    <a:pt x="811" y="603"/>
                  </a:lnTo>
                  <a:lnTo>
                    <a:pt x="809" y="603"/>
                  </a:lnTo>
                  <a:lnTo>
                    <a:pt x="811" y="603"/>
                  </a:lnTo>
                  <a:lnTo>
                    <a:pt x="809" y="603"/>
                  </a:lnTo>
                  <a:lnTo>
                    <a:pt x="809" y="601"/>
                  </a:lnTo>
                  <a:lnTo>
                    <a:pt x="811" y="601"/>
                  </a:lnTo>
                  <a:lnTo>
                    <a:pt x="809" y="601"/>
                  </a:lnTo>
                  <a:lnTo>
                    <a:pt x="809" y="603"/>
                  </a:lnTo>
                  <a:lnTo>
                    <a:pt x="809" y="601"/>
                  </a:lnTo>
                  <a:lnTo>
                    <a:pt x="806" y="601"/>
                  </a:lnTo>
                  <a:lnTo>
                    <a:pt x="804" y="601"/>
                  </a:lnTo>
                  <a:lnTo>
                    <a:pt x="802" y="601"/>
                  </a:lnTo>
                  <a:lnTo>
                    <a:pt x="799" y="598"/>
                  </a:lnTo>
                  <a:lnTo>
                    <a:pt x="797" y="598"/>
                  </a:lnTo>
                  <a:lnTo>
                    <a:pt x="797" y="596"/>
                  </a:lnTo>
                  <a:lnTo>
                    <a:pt x="797" y="594"/>
                  </a:lnTo>
                  <a:lnTo>
                    <a:pt x="797" y="591"/>
                  </a:lnTo>
                  <a:lnTo>
                    <a:pt x="797" y="589"/>
                  </a:lnTo>
                  <a:lnTo>
                    <a:pt x="799" y="589"/>
                  </a:lnTo>
                  <a:lnTo>
                    <a:pt x="799" y="586"/>
                  </a:lnTo>
                  <a:lnTo>
                    <a:pt x="799" y="584"/>
                  </a:lnTo>
                  <a:lnTo>
                    <a:pt x="802" y="582"/>
                  </a:lnTo>
                  <a:lnTo>
                    <a:pt x="802" y="579"/>
                  </a:lnTo>
                  <a:lnTo>
                    <a:pt x="804" y="577"/>
                  </a:lnTo>
                  <a:lnTo>
                    <a:pt x="806" y="575"/>
                  </a:lnTo>
                  <a:lnTo>
                    <a:pt x="806" y="572"/>
                  </a:lnTo>
                  <a:lnTo>
                    <a:pt x="809" y="572"/>
                  </a:lnTo>
                  <a:lnTo>
                    <a:pt x="809" y="570"/>
                  </a:lnTo>
                  <a:lnTo>
                    <a:pt x="809" y="572"/>
                  </a:lnTo>
                  <a:lnTo>
                    <a:pt x="809" y="575"/>
                  </a:lnTo>
                  <a:lnTo>
                    <a:pt x="806" y="575"/>
                  </a:lnTo>
                  <a:lnTo>
                    <a:pt x="809" y="575"/>
                  </a:lnTo>
                  <a:lnTo>
                    <a:pt x="806" y="575"/>
                  </a:lnTo>
                  <a:lnTo>
                    <a:pt x="809" y="575"/>
                  </a:lnTo>
                  <a:lnTo>
                    <a:pt x="809" y="572"/>
                  </a:lnTo>
                  <a:lnTo>
                    <a:pt x="809" y="570"/>
                  </a:lnTo>
                  <a:lnTo>
                    <a:pt x="811" y="570"/>
                  </a:lnTo>
                  <a:lnTo>
                    <a:pt x="811" y="572"/>
                  </a:lnTo>
                  <a:lnTo>
                    <a:pt x="811" y="570"/>
                  </a:lnTo>
                  <a:lnTo>
                    <a:pt x="811" y="572"/>
                  </a:lnTo>
                  <a:lnTo>
                    <a:pt x="811" y="570"/>
                  </a:lnTo>
                  <a:lnTo>
                    <a:pt x="809" y="570"/>
                  </a:lnTo>
                  <a:lnTo>
                    <a:pt x="806" y="570"/>
                  </a:lnTo>
                  <a:lnTo>
                    <a:pt x="809" y="567"/>
                  </a:lnTo>
                  <a:lnTo>
                    <a:pt x="809" y="565"/>
                  </a:lnTo>
                  <a:lnTo>
                    <a:pt x="809" y="563"/>
                  </a:lnTo>
                  <a:lnTo>
                    <a:pt x="806" y="563"/>
                  </a:lnTo>
                  <a:lnTo>
                    <a:pt x="806" y="560"/>
                  </a:lnTo>
                  <a:lnTo>
                    <a:pt x="809" y="560"/>
                  </a:lnTo>
                  <a:lnTo>
                    <a:pt x="809" y="558"/>
                  </a:lnTo>
                  <a:lnTo>
                    <a:pt x="811" y="558"/>
                  </a:lnTo>
                  <a:lnTo>
                    <a:pt x="813" y="558"/>
                  </a:lnTo>
                  <a:lnTo>
                    <a:pt x="811" y="558"/>
                  </a:lnTo>
                  <a:lnTo>
                    <a:pt x="813" y="558"/>
                  </a:lnTo>
                  <a:lnTo>
                    <a:pt x="816" y="558"/>
                  </a:lnTo>
                  <a:lnTo>
                    <a:pt x="818" y="558"/>
                  </a:lnTo>
                  <a:lnTo>
                    <a:pt x="816" y="558"/>
                  </a:lnTo>
                  <a:lnTo>
                    <a:pt x="816" y="556"/>
                  </a:lnTo>
                  <a:lnTo>
                    <a:pt x="816" y="558"/>
                  </a:lnTo>
                  <a:lnTo>
                    <a:pt x="813" y="558"/>
                  </a:lnTo>
                  <a:lnTo>
                    <a:pt x="813" y="556"/>
                  </a:lnTo>
                  <a:lnTo>
                    <a:pt x="813" y="558"/>
                  </a:lnTo>
                  <a:lnTo>
                    <a:pt x="813" y="556"/>
                  </a:lnTo>
                  <a:lnTo>
                    <a:pt x="813" y="558"/>
                  </a:lnTo>
                  <a:lnTo>
                    <a:pt x="813" y="556"/>
                  </a:lnTo>
                  <a:lnTo>
                    <a:pt x="811" y="556"/>
                  </a:lnTo>
                  <a:lnTo>
                    <a:pt x="811" y="558"/>
                  </a:lnTo>
                  <a:lnTo>
                    <a:pt x="809" y="558"/>
                  </a:lnTo>
                  <a:lnTo>
                    <a:pt x="809" y="556"/>
                  </a:lnTo>
                  <a:lnTo>
                    <a:pt x="809" y="553"/>
                  </a:lnTo>
                  <a:lnTo>
                    <a:pt x="811" y="553"/>
                  </a:lnTo>
                  <a:lnTo>
                    <a:pt x="809" y="553"/>
                  </a:lnTo>
                  <a:lnTo>
                    <a:pt x="809" y="551"/>
                  </a:lnTo>
                  <a:lnTo>
                    <a:pt x="811" y="551"/>
                  </a:lnTo>
                  <a:lnTo>
                    <a:pt x="813" y="551"/>
                  </a:lnTo>
                  <a:lnTo>
                    <a:pt x="813" y="548"/>
                  </a:lnTo>
                  <a:lnTo>
                    <a:pt x="816" y="548"/>
                  </a:lnTo>
                  <a:lnTo>
                    <a:pt x="813" y="548"/>
                  </a:lnTo>
                  <a:lnTo>
                    <a:pt x="813" y="551"/>
                  </a:lnTo>
                  <a:lnTo>
                    <a:pt x="811" y="551"/>
                  </a:lnTo>
                  <a:lnTo>
                    <a:pt x="809" y="551"/>
                  </a:lnTo>
                  <a:lnTo>
                    <a:pt x="811" y="551"/>
                  </a:lnTo>
                  <a:lnTo>
                    <a:pt x="811" y="548"/>
                  </a:lnTo>
                  <a:lnTo>
                    <a:pt x="809" y="551"/>
                  </a:lnTo>
                  <a:lnTo>
                    <a:pt x="809" y="548"/>
                  </a:lnTo>
                  <a:lnTo>
                    <a:pt x="811" y="548"/>
                  </a:lnTo>
                  <a:lnTo>
                    <a:pt x="811" y="546"/>
                  </a:lnTo>
                  <a:lnTo>
                    <a:pt x="811" y="544"/>
                  </a:lnTo>
                  <a:lnTo>
                    <a:pt x="811" y="541"/>
                  </a:lnTo>
                  <a:lnTo>
                    <a:pt x="811" y="539"/>
                  </a:lnTo>
                  <a:lnTo>
                    <a:pt x="811" y="537"/>
                  </a:lnTo>
                  <a:lnTo>
                    <a:pt x="811" y="534"/>
                  </a:lnTo>
                  <a:lnTo>
                    <a:pt x="809" y="534"/>
                  </a:lnTo>
                  <a:lnTo>
                    <a:pt x="809" y="532"/>
                  </a:lnTo>
                  <a:lnTo>
                    <a:pt x="804" y="529"/>
                  </a:lnTo>
                  <a:lnTo>
                    <a:pt x="802" y="527"/>
                  </a:lnTo>
                  <a:lnTo>
                    <a:pt x="799" y="527"/>
                  </a:lnTo>
                  <a:lnTo>
                    <a:pt x="797" y="525"/>
                  </a:lnTo>
                  <a:lnTo>
                    <a:pt x="794" y="525"/>
                  </a:lnTo>
                  <a:lnTo>
                    <a:pt x="794" y="522"/>
                  </a:lnTo>
                  <a:lnTo>
                    <a:pt x="792" y="522"/>
                  </a:lnTo>
                  <a:lnTo>
                    <a:pt x="790" y="522"/>
                  </a:lnTo>
                  <a:lnTo>
                    <a:pt x="790" y="520"/>
                  </a:lnTo>
                  <a:lnTo>
                    <a:pt x="787" y="520"/>
                  </a:lnTo>
                  <a:lnTo>
                    <a:pt x="785" y="518"/>
                  </a:lnTo>
                  <a:lnTo>
                    <a:pt x="783" y="518"/>
                  </a:lnTo>
                  <a:lnTo>
                    <a:pt x="783" y="515"/>
                  </a:lnTo>
                  <a:lnTo>
                    <a:pt x="780" y="515"/>
                  </a:lnTo>
                  <a:lnTo>
                    <a:pt x="780" y="513"/>
                  </a:lnTo>
                  <a:lnTo>
                    <a:pt x="783" y="513"/>
                  </a:lnTo>
                  <a:lnTo>
                    <a:pt x="785" y="513"/>
                  </a:lnTo>
                  <a:lnTo>
                    <a:pt x="787" y="513"/>
                  </a:lnTo>
                  <a:lnTo>
                    <a:pt x="790" y="513"/>
                  </a:lnTo>
                  <a:lnTo>
                    <a:pt x="790" y="515"/>
                  </a:lnTo>
                  <a:lnTo>
                    <a:pt x="792" y="515"/>
                  </a:lnTo>
                  <a:lnTo>
                    <a:pt x="794" y="515"/>
                  </a:lnTo>
                  <a:lnTo>
                    <a:pt x="797" y="518"/>
                  </a:lnTo>
                  <a:lnTo>
                    <a:pt x="799" y="518"/>
                  </a:lnTo>
                  <a:lnTo>
                    <a:pt x="802" y="520"/>
                  </a:lnTo>
                  <a:lnTo>
                    <a:pt x="804" y="520"/>
                  </a:lnTo>
                  <a:lnTo>
                    <a:pt x="806" y="520"/>
                  </a:lnTo>
                  <a:lnTo>
                    <a:pt x="809" y="520"/>
                  </a:lnTo>
                  <a:lnTo>
                    <a:pt x="811" y="520"/>
                  </a:lnTo>
                  <a:lnTo>
                    <a:pt x="813" y="520"/>
                  </a:lnTo>
                  <a:lnTo>
                    <a:pt x="816" y="520"/>
                  </a:lnTo>
                  <a:lnTo>
                    <a:pt x="818" y="520"/>
                  </a:lnTo>
                  <a:lnTo>
                    <a:pt x="821" y="520"/>
                  </a:lnTo>
                  <a:lnTo>
                    <a:pt x="823" y="520"/>
                  </a:lnTo>
                  <a:lnTo>
                    <a:pt x="825" y="520"/>
                  </a:lnTo>
                  <a:lnTo>
                    <a:pt x="828" y="520"/>
                  </a:lnTo>
                  <a:lnTo>
                    <a:pt x="830" y="520"/>
                  </a:lnTo>
                  <a:lnTo>
                    <a:pt x="832" y="520"/>
                  </a:lnTo>
                  <a:lnTo>
                    <a:pt x="835" y="520"/>
                  </a:lnTo>
                  <a:lnTo>
                    <a:pt x="837" y="520"/>
                  </a:lnTo>
                  <a:lnTo>
                    <a:pt x="840" y="520"/>
                  </a:lnTo>
                  <a:lnTo>
                    <a:pt x="842" y="520"/>
                  </a:lnTo>
                  <a:lnTo>
                    <a:pt x="847" y="520"/>
                  </a:lnTo>
                  <a:lnTo>
                    <a:pt x="851" y="522"/>
                  </a:lnTo>
                  <a:lnTo>
                    <a:pt x="854" y="522"/>
                  </a:lnTo>
                  <a:lnTo>
                    <a:pt x="856" y="522"/>
                  </a:lnTo>
                  <a:lnTo>
                    <a:pt x="858" y="522"/>
                  </a:lnTo>
                  <a:lnTo>
                    <a:pt x="861" y="522"/>
                  </a:lnTo>
                  <a:lnTo>
                    <a:pt x="861" y="525"/>
                  </a:lnTo>
                  <a:lnTo>
                    <a:pt x="863" y="525"/>
                  </a:lnTo>
                  <a:lnTo>
                    <a:pt x="866" y="525"/>
                  </a:lnTo>
                  <a:lnTo>
                    <a:pt x="868" y="525"/>
                  </a:lnTo>
                  <a:lnTo>
                    <a:pt x="870" y="527"/>
                  </a:lnTo>
                  <a:lnTo>
                    <a:pt x="868" y="527"/>
                  </a:lnTo>
                  <a:lnTo>
                    <a:pt x="868" y="525"/>
                  </a:lnTo>
                  <a:lnTo>
                    <a:pt x="868" y="527"/>
                  </a:lnTo>
                  <a:lnTo>
                    <a:pt x="866" y="527"/>
                  </a:lnTo>
                  <a:lnTo>
                    <a:pt x="868" y="527"/>
                  </a:lnTo>
                  <a:lnTo>
                    <a:pt x="866" y="527"/>
                  </a:lnTo>
                  <a:lnTo>
                    <a:pt x="868" y="527"/>
                  </a:lnTo>
                  <a:lnTo>
                    <a:pt x="868" y="529"/>
                  </a:lnTo>
                  <a:lnTo>
                    <a:pt x="870" y="529"/>
                  </a:lnTo>
                  <a:lnTo>
                    <a:pt x="870" y="532"/>
                  </a:lnTo>
                  <a:lnTo>
                    <a:pt x="870" y="534"/>
                  </a:lnTo>
                  <a:lnTo>
                    <a:pt x="873" y="534"/>
                  </a:lnTo>
                  <a:lnTo>
                    <a:pt x="875" y="534"/>
                  </a:lnTo>
                  <a:lnTo>
                    <a:pt x="875" y="537"/>
                  </a:lnTo>
                  <a:lnTo>
                    <a:pt x="877" y="537"/>
                  </a:lnTo>
                  <a:lnTo>
                    <a:pt x="877" y="539"/>
                  </a:lnTo>
                  <a:lnTo>
                    <a:pt x="880" y="539"/>
                  </a:lnTo>
                  <a:lnTo>
                    <a:pt x="880" y="541"/>
                  </a:lnTo>
                  <a:lnTo>
                    <a:pt x="882" y="541"/>
                  </a:lnTo>
                  <a:lnTo>
                    <a:pt x="882" y="539"/>
                  </a:lnTo>
                  <a:lnTo>
                    <a:pt x="882" y="541"/>
                  </a:lnTo>
                  <a:lnTo>
                    <a:pt x="885" y="541"/>
                  </a:lnTo>
                  <a:lnTo>
                    <a:pt x="885" y="544"/>
                  </a:lnTo>
                  <a:lnTo>
                    <a:pt x="887" y="544"/>
                  </a:lnTo>
                  <a:lnTo>
                    <a:pt x="887" y="546"/>
                  </a:lnTo>
                  <a:lnTo>
                    <a:pt x="889" y="546"/>
                  </a:lnTo>
                  <a:lnTo>
                    <a:pt x="887" y="546"/>
                  </a:lnTo>
                  <a:lnTo>
                    <a:pt x="885" y="546"/>
                  </a:lnTo>
                  <a:lnTo>
                    <a:pt x="882" y="546"/>
                  </a:lnTo>
                  <a:lnTo>
                    <a:pt x="885" y="546"/>
                  </a:lnTo>
                  <a:lnTo>
                    <a:pt x="887" y="546"/>
                  </a:lnTo>
                  <a:lnTo>
                    <a:pt x="887" y="548"/>
                  </a:lnTo>
                  <a:lnTo>
                    <a:pt x="887" y="551"/>
                  </a:lnTo>
                  <a:lnTo>
                    <a:pt x="889" y="551"/>
                  </a:lnTo>
                  <a:lnTo>
                    <a:pt x="889" y="553"/>
                  </a:lnTo>
                  <a:lnTo>
                    <a:pt x="892" y="556"/>
                  </a:lnTo>
                  <a:lnTo>
                    <a:pt x="892" y="558"/>
                  </a:lnTo>
                  <a:lnTo>
                    <a:pt x="894" y="558"/>
                  </a:lnTo>
                  <a:lnTo>
                    <a:pt x="892" y="558"/>
                  </a:lnTo>
                  <a:lnTo>
                    <a:pt x="892" y="560"/>
                  </a:lnTo>
                  <a:lnTo>
                    <a:pt x="894" y="560"/>
                  </a:lnTo>
                  <a:lnTo>
                    <a:pt x="894" y="563"/>
                  </a:lnTo>
                  <a:lnTo>
                    <a:pt x="892" y="563"/>
                  </a:lnTo>
                  <a:lnTo>
                    <a:pt x="894" y="563"/>
                  </a:lnTo>
                  <a:lnTo>
                    <a:pt x="892" y="563"/>
                  </a:lnTo>
                  <a:lnTo>
                    <a:pt x="889" y="563"/>
                  </a:lnTo>
                  <a:lnTo>
                    <a:pt x="887" y="563"/>
                  </a:lnTo>
                  <a:lnTo>
                    <a:pt x="885" y="563"/>
                  </a:lnTo>
                  <a:lnTo>
                    <a:pt x="882" y="563"/>
                  </a:lnTo>
                  <a:lnTo>
                    <a:pt x="880" y="563"/>
                  </a:lnTo>
                  <a:lnTo>
                    <a:pt x="880" y="560"/>
                  </a:lnTo>
                  <a:lnTo>
                    <a:pt x="880" y="563"/>
                  </a:lnTo>
                  <a:lnTo>
                    <a:pt x="875" y="563"/>
                  </a:lnTo>
                  <a:lnTo>
                    <a:pt x="873" y="565"/>
                  </a:lnTo>
                  <a:lnTo>
                    <a:pt x="870" y="565"/>
                  </a:lnTo>
                  <a:lnTo>
                    <a:pt x="870" y="563"/>
                  </a:lnTo>
                  <a:lnTo>
                    <a:pt x="868" y="565"/>
                  </a:lnTo>
                  <a:lnTo>
                    <a:pt x="866" y="565"/>
                  </a:lnTo>
                  <a:lnTo>
                    <a:pt x="863" y="565"/>
                  </a:lnTo>
                  <a:lnTo>
                    <a:pt x="861" y="565"/>
                  </a:lnTo>
                  <a:lnTo>
                    <a:pt x="861" y="567"/>
                  </a:lnTo>
                  <a:lnTo>
                    <a:pt x="858" y="567"/>
                  </a:lnTo>
                  <a:lnTo>
                    <a:pt x="858" y="565"/>
                  </a:lnTo>
                  <a:lnTo>
                    <a:pt x="856" y="565"/>
                  </a:lnTo>
                  <a:lnTo>
                    <a:pt x="854" y="567"/>
                  </a:lnTo>
                  <a:lnTo>
                    <a:pt x="851" y="567"/>
                  </a:lnTo>
                  <a:lnTo>
                    <a:pt x="849" y="567"/>
                  </a:lnTo>
                  <a:lnTo>
                    <a:pt x="849" y="570"/>
                  </a:lnTo>
                  <a:lnTo>
                    <a:pt x="847" y="570"/>
                  </a:lnTo>
                  <a:lnTo>
                    <a:pt x="844" y="570"/>
                  </a:lnTo>
                  <a:lnTo>
                    <a:pt x="847" y="570"/>
                  </a:lnTo>
                  <a:lnTo>
                    <a:pt x="844" y="570"/>
                  </a:lnTo>
                  <a:lnTo>
                    <a:pt x="847" y="570"/>
                  </a:lnTo>
                  <a:lnTo>
                    <a:pt x="849" y="570"/>
                  </a:lnTo>
                  <a:lnTo>
                    <a:pt x="849" y="572"/>
                  </a:lnTo>
                  <a:lnTo>
                    <a:pt x="849" y="575"/>
                  </a:lnTo>
                  <a:lnTo>
                    <a:pt x="847" y="575"/>
                  </a:lnTo>
                  <a:lnTo>
                    <a:pt x="847" y="577"/>
                  </a:lnTo>
                  <a:lnTo>
                    <a:pt x="844" y="577"/>
                  </a:lnTo>
                  <a:lnTo>
                    <a:pt x="842" y="577"/>
                  </a:lnTo>
                  <a:lnTo>
                    <a:pt x="840" y="579"/>
                  </a:lnTo>
                  <a:lnTo>
                    <a:pt x="837" y="579"/>
                  </a:lnTo>
                  <a:lnTo>
                    <a:pt x="837" y="582"/>
                  </a:lnTo>
                  <a:lnTo>
                    <a:pt x="835" y="582"/>
                  </a:lnTo>
                  <a:lnTo>
                    <a:pt x="835" y="584"/>
                  </a:lnTo>
                  <a:lnTo>
                    <a:pt x="835" y="586"/>
                  </a:lnTo>
                  <a:lnTo>
                    <a:pt x="835" y="589"/>
                  </a:lnTo>
                  <a:lnTo>
                    <a:pt x="835" y="591"/>
                  </a:lnTo>
                  <a:lnTo>
                    <a:pt x="832" y="591"/>
                  </a:lnTo>
                  <a:lnTo>
                    <a:pt x="835" y="591"/>
                  </a:lnTo>
                  <a:lnTo>
                    <a:pt x="832" y="591"/>
                  </a:lnTo>
                  <a:lnTo>
                    <a:pt x="835" y="591"/>
                  </a:lnTo>
                  <a:lnTo>
                    <a:pt x="837" y="591"/>
                  </a:lnTo>
                  <a:lnTo>
                    <a:pt x="837" y="594"/>
                  </a:lnTo>
                  <a:lnTo>
                    <a:pt x="840" y="594"/>
                  </a:lnTo>
                  <a:lnTo>
                    <a:pt x="842" y="594"/>
                  </a:lnTo>
                  <a:lnTo>
                    <a:pt x="842" y="596"/>
                  </a:lnTo>
                  <a:lnTo>
                    <a:pt x="844" y="596"/>
                  </a:lnTo>
                  <a:lnTo>
                    <a:pt x="847" y="596"/>
                  </a:lnTo>
                  <a:lnTo>
                    <a:pt x="849" y="598"/>
                  </a:lnTo>
                  <a:lnTo>
                    <a:pt x="851" y="598"/>
                  </a:lnTo>
                  <a:lnTo>
                    <a:pt x="854" y="598"/>
                  </a:lnTo>
                  <a:lnTo>
                    <a:pt x="856" y="601"/>
                  </a:lnTo>
                  <a:lnTo>
                    <a:pt x="858" y="603"/>
                  </a:lnTo>
                  <a:lnTo>
                    <a:pt x="856" y="605"/>
                  </a:lnTo>
                  <a:lnTo>
                    <a:pt x="858" y="605"/>
                  </a:lnTo>
                  <a:lnTo>
                    <a:pt x="856" y="605"/>
                  </a:lnTo>
                  <a:lnTo>
                    <a:pt x="854" y="605"/>
                  </a:lnTo>
                  <a:lnTo>
                    <a:pt x="854" y="608"/>
                  </a:lnTo>
                  <a:lnTo>
                    <a:pt x="854" y="605"/>
                  </a:lnTo>
                  <a:lnTo>
                    <a:pt x="856" y="605"/>
                  </a:lnTo>
                  <a:lnTo>
                    <a:pt x="858" y="605"/>
                  </a:lnTo>
                  <a:lnTo>
                    <a:pt x="858" y="608"/>
                  </a:lnTo>
                  <a:lnTo>
                    <a:pt x="861" y="608"/>
                  </a:lnTo>
                  <a:lnTo>
                    <a:pt x="861" y="610"/>
                  </a:lnTo>
                  <a:lnTo>
                    <a:pt x="863" y="613"/>
                  </a:lnTo>
                  <a:lnTo>
                    <a:pt x="863" y="615"/>
                  </a:lnTo>
                  <a:lnTo>
                    <a:pt x="866" y="615"/>
                  </a:lnTo>
                  <a:lnTo>
                    <a:pt x="866" y="617"/>
                  </a:lnTo>
                  <a:lnTo>
                    <a:pt x="868" y="617"/>
                  </a:lnTo>
                  <a:lnTo>
                    <a:pt x="870" y="617"/>
                  </a:lnTo>
                  <a:lnTo>
                    <a:pt x="870" y="620"/>
                  </a:lnTo>
                  <a:lnTo>
                    <a:pt x="868" y="620"/>
                  </a:lnTo>
                  <a:lnTo>
                    <a:pt x="868" y="622"/>
                  </a:lnTo>
                  <a:lnTo>
                    <a:pt x="866" y="622"/>
                  </a:lnTo>
                  <a:lnTo>
                    <a:pt x="866" y="624"/>
                  </a:lnTo>
                  <a:lnTo>
                    <a:pt x="868" y="624"/>
                  </a:lnTo>
                  <a:lnTo>
                    <a:pt x="866" y="624"/>
                  </a:lnTo>
                  <a:lnTo>
                    <a:pt x="866" y="627"/>
                  </a:lnTo>
                  <a:lnTo>
                    <a:pt x="866" y="629"/>
                  </a:lnTo>
                  <a:lnTo>
                    <a:pt x="866" y="627"/>
                  </a:lnTo>
                  <a:lnTo>
                    <a:pt x="866" y="624"/>
                  </a:lnTo>
                  <a:lnTo>
                    <a:pt x="868" y="624"/>
                  </a:lnTo>
                  <a:lnTo>
                    <a:pt x="866" y="624"/>
                  </a:lnTo>
                  <a:lnTo>
                    <a:pt x="866" y="622"/>
                  </a:lnTo>
                  <a:lnTo>
                    <a:pt x="868" y="622"/>
                  </a:lnTo>
                  <a:lnTo>
                    <a:pt x="868" y="620"/>
                  </a:lnTo>
                  <a:lnTo>
                    <a:pt x="870" y="620"/>
                  </a:lnTo>
                  <a:lnTo>
                    <a:pt x="873" y="620"/>
                  </a:lnTo>
                  <a:lnTo>
                    <a:pt x="875" y="620"/>
                  </a:lnTo>
                  <a:lnTo>
                    <a:pt x="877" y="620"/>
                  </a:lnTo>
                  <a:lnTo>
                    <a:pt x="880" y="620"/>
                  </a:lnTo>
                  <a:lnTo>
                    <a:pt x="882" y="617"/>
                  </a:lnTo>
                  <a:lnTo>
                    <a:pt x="885" y="617"/>
                  </a:lnTo>
                  <a:lnTo>
                    <a:pt x="887" y="617"/>
                  </a:lnTo>
                  <a:lnTo>
                    <a:pt x="889" y="617"/>
                  </a:lnTo>
                  <a:lnTo>
                    <a:pt x="889" y="620"/>
                  </a:lnTo>
                  <a:lnTo>
                    <a:pt x="887" y="620"/>
                  </a:lnTo>
                  <a:lnTo>
                    <a:pt x="887" y="622"/>
                  </a:lnTo>
                  <a:lnTo>
                    <a:pt x="885" y="622"/>
                  </a:lnTo>
                  <a:lnTo>
                    <a:pt x="882" y="622"/>
                  </a:lnTo>
                  <a:lnTo>
                    <a:pt x="882" y="624"/>
                  </a:lnTo>
                  <a:lnTo>
                    <a:pt x="885" y="624"/>
                  </a:lnTo>
                  <a:lnTo>
                    <a:pt x="885" y="627"/>
                  </a:lnTo>
                  <a:lnTo>
                    <a:pt x="882" y="627"/>
                  </a:lnTo>
                  <a:lnTo>
                    <a:pt x="885" y="627"/>
                  </a:lnTo>
                  <a:lnTo>
                    <a:pt x="885" y="629"/>
                  </a:lnTo>
                  <a:lnTo>
                    <a:pt x="887" y="629"/>
                  </a:lnTo>
                  <a:lnTo>
                    <a:pt x="885" y="629"/>
                  </a:lnTo>
                  <a:lnTo>
                    <a:pt x="885" y="632"/>
                  </a:lnTo>
                  <a:lnTo>
                    <a:pt x="887" y="632"/>
                  </a:lnTo>
                  <a:lnTo>
                    <a:pt x="885" y="632"/>
                  </a:lnTo>
                  <a:lnTo>
                    <a:pt x="887" y="632"/>
                  </a:lnTo>
                  <a:lnTo>
                    <a:pt x="885" y="632"/>
                  </a:lnTo>
                  <a:lnTo>
                    <a:pt x="885" y="629"/>
                  </a:lnTo>
                  <a:lnTo>
                    <a:pt x="887" y="629"/>
                  </a:lnTo>
                  <a:lnTo>
                    <a:pt x="885" y="629"/>
                  </a:lnTo>
                  <a:lnTo>
                    <a:pt x="885" y="627"/>
                  </a:lnTo>
                  <a:lnTo>
                    <a:pt x="882" y="627"/>
                  </a:lnTo>
                  <a:lnTo>
                    <a:pt x="885" y="627"/>
                  </a:lnTo>
                  <a:lnTo>
                    <a:pt x="885" y="624"/>
                  </a:lnTo>
                  <a:lnTo>
                    <a:pt x="882" y="624"/>
                  </a:lnTo>
                  <a:lnTo>
                    <a:pt x="885" y="624"/>
                  </a:lnTo>
                  <a:lnTo>
                    <a:pt x="885" y="622"/>
                  </a:lnTo>
                  <a:lnTo>
                    <a:pt x="887" y="622"/>
                  </a:lnTo>
                  <a:lnTo>
                    <a:pt x="889" y="620"/>
                  </a:lnTo>
                  <a:lnTo>
                    <a:pt x="887" y="620"/>
                  </a:lnTo>
                  <a:lnTo>
                    <a:pt x="889" y="620"/>
                  </a:lnTo>
                  <a:lnTo>
                    <a:pt x="887" y="620"/>
                  </a:lnTo>
                  <a:lnTo>
                    <a:pt x="889" y="620"/>
                  </a:lnTo>
                  <a:lnTo>
                    <a:pt x="892" y="620"/>
                  </a:lnTo>
                  <a:lnTo>
                    <a:pt x="894" y="620"/>
                  </a:lnTo>
                  <a:lnTo>
                    <a:pt x="896" y="620"/>
                  </a:lnTo>
                  <a:lnTo>
                    <a:pt x="899" y="617"/>
                  </a:lnTo>
                  <a:lnTo>
                    <a:pt x="899" y="620"/>
                  </a:lnTo>
                  <a:lnTo>
                    <a:pt x="901" y="620"/>
                  </a:lnTo>
                  <a:lnTo>
                    <a:pt x="899" y="620"/>
                  </a:lnTo>
                  <a:lnTo>
                    <a:pt x="901" y="620"/>
                  </a:lnTo>
                  <a:lnTo>
                    <a:pt x="899" y="620"/>
                  </a:lnTo>
                  <a:lnTo>
                    <a:pt x="901" y="620"/>
                  </a:lnTo>
                  <a:lnTo>
                    <a:pt x="899" y="620"/>
                  </a:lnTo>
                  <a:lnTo>
                    <a:pt x="901" y="620"/>
                  </a:lnTo>
                  <a:lnTo>
                    <a:pt x="899" y="620"/>
                  </a:lnTo>
                  <a:lnTo>
                    <a:pt x="899" y="622"/>
                  </a:lnTo>
                  <a:lnTo>
                    <a:pt x="901" y="620"/>
                  </a:lnTo>
                  <a:lnTo>
                    <a:pt x="901" y="622"/>
                  </a:lnTo>
                  <a:lnTo>
                    <a:pt x="901" y="620"/>
                  </a:lnTo>
                  <a:lnTo>
                    <a:pt x="899" y="620"/>
                  </a:lnTo>
                  <a:lnTo>
                    <a:pt x="901" y="620"/>
                  </a:lnTo>
                  <a:lnTo>
                    <a:pt x="899" y="620"/>
                  </a:lnTo>
                  <a:lnTo>
                    <a:pt x="901" y="620"/>
                  </a:lnTo>
                  <a:lnTo>
                    <a:pt x="899" y="620"/>
                  </a:lnTo>
                  <a:lnTo>
                    <a:pt x="901" y="620"/>
                  </a:lnTo>
                  <a:lnTo>
                    <a:pt x="901" y="617"/>
                  </a:lnTo>
                  <a:lnTo>
                    <a:pt x="904" y="617"/>
                  </a:lnTo>
                  <a:lnTo>
                    <a:pt x="906" y="617"/>
                  </a:lnTo>
                  <a:lnTo>
                    <a:pt x="908" y="617"/>
                  </a:lnTo>
                  <a:lnTo>
                    <a:pt x="911" y="615"/>
                  </a:lnTo>
                  <a:lnTo>
                    <a:pt x="913" y="615"/>
                  </a:lnTo>
                  <a:lnTo>
                    <a:pt x="915" y="615"/>
                  </a:lnTo>
                  <a:lnTo>
                    <a:pt x="918" y="615"/>
                  </a:lnTo>
                  <a:lnTo>
                    <a:pt x="920" y="615"/>
                  </a:lnTo>
                  <a:lnTo>
                    <a:pt x="923" y="615"/>
                  </a:lnTo>
                  <a:lnTo>
                    <a:pt x="923" y="617"/>
                  </a:lnTo>
                  <a:lnTo>
                    <a:pt x="920" y="617"/>
                  </a:lnTo>
                  <a:lnTo>
                    <a:pt x="923" y="617"/>
                  </a:lnTo>
                  <a:lnTo>
                    <a:pt x="925" y="617"/>
                  </a:lnTo>
                  <a:lnTo>
                    <a:pt x="925" y="620"/>
                  </a:lnTo>
                  <a:lnTo>
                    <a:pt x="927" y="620"/>
                  </a:lnTo>
                  <a:lnTo>
                    <a:pt x="925" y="620"/>
                  </a:lnTo>
                  <a:lnTo>
                    <a:pt x="927" y="622"/>
                  </a:lnTo>
                  <a:lnTo>
                    <a:pt x="927" y="624"/>
                  </a:lnTo>
                  <a:lnTo>
                    <a:pt x="927" y="622"/>
                  </a:lnTo>
                  <a:lnTo>
                    <a:pt x="930" y="622"/>
                  </a:lnTo>
                  <a:lnTo>
                    <a:pt x="930" y="624"/>
                  </a:lnTo>
                  <a:lnTo>
                    <a:pt x="927" y="624"/>
                  </a:lnTo>
                  <a:lnTo>
                    <a:pt x="930" y="624"/>
                  </a:lnTo>
                  <a:lnTo>
                    <a:pt x="932" y="624"/>
                  </a:lnTo>
                  <a:lnTo>
                    <a:pt x="930" y="624"/>
                  </a:lnTo>
                  <a:lnTo>
                    <a:pt x="930" y="627"/>
                  </a:lnTo>
                  <a:lnTo>
                    <a:pt x="932" y="627"/>
                  </a:lnTo>
                  <a:lnTo>
                    <a:pt x="934" y="627"/>
                  </a:lnTo>
                  <a:lnTo>
                    <a:pt x="932" y="627"/>
                  </a:lnTo>
                  <a:lnTo>
                    <a:pt x="932" y="629"/>
                  </a:lnTo>
                  <a:lnTo>
                    <a:pt x="932" y="627"/>
                  </a:lnTo>
                  <a:lnTo>
                    <a:pt x="934" y="627"/>
                  </a:lnTo>
                  <a:lnTo>
                    <a:pt x="932" y="627"/>
                  </a:lnTo>
                  <a:lnTo>
                    <a:pt x="930" y="627"/>
                  </a:lnTo>
                  <a:lnTo>
                    <a:pt x="930" y="624"/>
                  </a:lnTo>
                  <a:lnTo>
                    <a:pt x="932" y="624"/>
                  </a:lnTo>
                  <a:lnTo>
                    <a:pt x="930" y="624"/>
                  </a:lnTo>
                  <a:lnTo>
                    <a:pt x="927" y="624"/>
                  </a:lnTo>
                  <a:lnTo>
                    <a:pt x="930" y="624"/>
                  </a:lnTo>
                  <a:lnTo>
                    <a:pt x="930" y="622"/>
                  </a:lnTo>
                  <a:lnTo>
                    <a:pt x="927" y="622"/>
                  </a:lnTo>
                  <a:lnTo>
                    <a:pt x="925" y="622"/>
                  </a:lnTo>
                  <a:lnTo>
                    <a:pt x="925" y="620"/>
                  </a:lnTo>
                  <a:lnTo>
                    <a:pt x="927" y="620"/>
                  </a:lnTo>
                  <a:lnTo>
                    <a:pt x="925" y="620"/>
                  </a:lnTo>
                  <a:lnTo>
                    <a:pt x="925" y="617"/>
                  </a:lnTo>
                  <a:lnTo>
                    <a:pt x="923" y="617"/>
                  </a:lnTo>
                  <a:lnTo>
                    <a:pt x="923" y="615"/>
                  </a:lnTo>
                  <a:lnTo>
                    <a:pt x="923" y="613"/>
                  </a:lnTo>
                  <a:lnTo>
                    <a:pt x="925" y="613"/>
                  </a:lnTo>
                  <a:lnTo>
                    <a:pt x="925" y="610"/>
                  </a:lnTo>
                  <a:lnTo>
                    <a:pt x="927" y="610"/>
                  </a:lnTo>
                  <a:lnTo>
                    <a:pt x="927" y="608"/>
                  </a:lnTo>
                  <a:lnTo>
                    <a:pt x="927" y="605"/>
                  </a:lnTo>
                  <a:lnTo>
                    <a:pt x="927" y="603"/>
                  </a:lnTo>
                  <a:lnTo>
                    <a:pt x="927" y="601"/>
                  </a:lnTo>
                  <a:lnTo>
                    <a:pt x="930" y="601"/>
                  </a:lnTo>
                  <a:lnTo>
                    <a:pt x="930" y="603"/>
                  </a:lnTo>
                  <a:lnTo>
                    <a:pt x="930" y="601"/>
                  </a:lnTo>
                  <a:lnTo>
                    <a:pt x="930" y="603"/>
                  </a:lnTo>
                  <a:lnTo>
                    <a:pt x="932" y="603"/>
                  </a:lnTo>
                  <a:lnTo>
                    <a:pt x="930" y="603"/>
                  </a:lnTo>
                  <a:lnTo>
                    <a:pt x="930" y="601"/>
                  </a:lnTo>
                  <a:lnTo>
                    <a:pt x="930" y="603"/>
                  </a:lnTo>
                  <a:lnTo>
                    <a:pt x="930" y="601"/>
                  </a:lnTo>
                  <a:lnTo>
                    <a:pt x="927" y="601"/>
                  </a:lnTo>
                  <a:lnTo>
                    <a:pt x="927" y="598"/>
                  </a:lnTo>
                  <a:lnTo>
                    <a:pt x="925" y="598"/>
                  </a:lnTo>
                  <a:lnTo>
                    <a:pt x="927" y="598"/>
                  </a:lnTo>
                  <a:lnTo>
                    <a:pt x="927" y="596"/>
                  </a:lnTo>
                  <a:lnTo>
                    <a:pt x="930" y="596"/>
                  </a:lnTo>
                  <a:lnTo>
                    <a:pt x="930" y="594"/>
                  </a:lnTo>
                  <a:lnTo>
                    <a:pt x="927" y="594"/>
                  </a:lnTo>
                  <a:lnTo>
                    <a:pt x="927" y="591"/>
                  </a:lnTo>
                  <a:lnTo>
                    <a:pt x="930" y="591"/>
                  </a:lnTo>
                  <a:lnTo>
                    <a:pt x="932" y="591"/>
                  </a:lnTo>
                  <a:lnTo>
                    <a:pt x="930" y="591"/>
                  </a:lnTo>
                  <a:lnTo>
                    <a:pt x="927" y="591"/>
                  </a:lnTo>
                  <a:lnTo>
                    <a:pt x="930" y="591"/>
                  </a:lnTo>
                  <a:lnTo>
                    <a:pt x="930" y="589"/>
                  </a:lnTo>
                  <a:lnTo>
                    <a:pt x="932" y="589"/>
                  </a:lnTo>
                  <a:lnTo>
                    <a:pt x="934" y="589"/>
                  </a:lnTo>
                  <a:lnTo>
                    <a:pt x="932" y="589"/>
                  </a:lnTo>
                  <a:lnTo>
                    <a:pt x="930" y="589"/>
                  </a:lnTo>
                  <a:lnTo>
                    <a:pt x="932" y="586"/>
                  </a:lnTo>
                  <a:lnTo>
                    <a:pt x="934" y="586"/>
                  </a:lnTo>
                  <a:lnTo>
                    <a:pt x="932" y="586"/>
                  </a:lnTo>
                  <a:lnTo>
                    <a:pt x="934" y="584"/>
                  </a:lnTo>
                  <a:lnTo>
                    <a:pt x="934" y="582"/>
                  </a:lnTo>
                  <a:lnTo>
                    <a:pt x="937" y="582"/>
                  </a:lnTo>
                  <a:lnTo>
                    <a:pt x="934" y="582"/>
                  </a:lnTo>
                  <a:lnTo>
                    <a:pt x="932" y="582"/>
                  </a:lnTo>
                  <a:lnTo>
                    <a:pt x="932" y="579"/>
                  </a:lnTo>
                  <a:lnTo>
                    <a:pt x="932" y="577"/>
                  </a:lnTo>
                  <a:lnTo>
                    <a:pt x="930" y="577"/>
                  </a:lnTo>
                  <a:lnTo>
                    <a:pt x="932" y="575"/>
                  </a:lnTo>
                  <a:lnTo>
                    <a:pt x="934" y="575"/>
                  </a:lnTo>
                  <a:lnTo>
                    <a:pt x="937" y="572"/>
                  </a:lnTo>
                  <a:lnTo>
                    <a:pt x="937" y="575"/>
                  </a:lnTo>
                  <a:lnTo>
                    <a:pt x="939" y="575"/>
                  </a:lnTo>
                  <a:lnTo>
                    <a:pt x="939" y="577"/>
                  </a:lnTo>
                  <a:lnTo>
                    <a:pt x="939" y="575"/>
                  </a:lnTo>
                  <a:lnTo>
                    <a:pt x="942" y="575"/>
                  </a:lnTo>
                  <a:lnTo>
                    <a:pt x="944" y="572"/>
                  </a:lnTo>
                  <a:lnTo>
                    <a:pt x="946" y="572"/>
                  </a:lnTo>
                  <a:lnTo>
                    <a:pt x="949" y="572"/>
                  </a:lnTo>
                  <a:lnTo>
                    <a:pt x="951" y="572"/>
                  </a:lnTo>
                  <a:lnTo>
                    <a:pt x="953" y="572"/>
                  </a:lnTo>
                  <a:lnTo>
                    <a:pt x="956" y="570"/>
                  </a:lnTo>
                  <a:lnTo>
                    <a:pt x="958" y="570"/>
                  </a:lnTo>
                  <a:lnTo>
                    <a:pt x="961" y="570"/>
                  </a:lnTo>
                  <a:lnTo>
                    <a:pt x="958" y="570"/>
                  </a:lnTo>
                  <a:lnTo>
                    <a:pt x="961" y="570"/>
                  </a:lnTo>
                  <a:lnTo>
                    <a:pt x="963" y="570"/>
                  </a:lnTo>
                  <a:lnTo>
                    <a:pt x="961" y="570"/>
                  </a:lnTo>
                  <a:lnTo>
                    <a:pt x="963" y="570"/>
                  </a:lnTo>
                  <a:lnTo>
                    <a:pt x="965" y="570"/>
                  </a:lnTo>
                  <a:lnTo>
                    <a:pt x="965" y="572"/>
                  </a:lnTo>
                  <a:lnTo>
                    <a:pt x="968" y="572"/>
                  </a:lnTo>
                  <a:lnTo>
                    <a:pt x="970" y="572"/>
                  </a:lnTo>
                  <a:lnTo>
                    <a:pt x="968" y="572"/>
                  </a:lnTo>
                  <a:lnTo>
                    <a:pt x="968" y="575"/>
                  </a:lnTo>
                  <a:lnTo>
                    <a:pt x="965" y="575"/>
                  </a:lnTo>
                  <a:lnTo>
                    <a:pt x="968" y="575"/>
                  </a:lnTo>
                  <a:lnTo>
                    <a:pt x="965" y="575"/>
                  </a:lnTo>
                  <a:lnTo>
                    <a:pt x="968" y="575"/>
                  </a:lnTo>
                  <a:lnTo>
                    <a:pt x="968" y="572"/>
                  </a:lnTo>
                  <a:lnTo>
                    <a:pt x="968" y="575"/>
                  </a:lnTo>
                  <a:lnTo>
                    <a:pt x="970" y="575"/>
                  </a:lnTo>
                  <a:lnTo>
                    <a:pt x="970" y="577"/>
                  </a:lnTo>
                  <a:lnTo>
                    <a:pt x="970" y="575"/>
                  </a:lnTo>
                  <a:lnTo>
                    <a:pt x="970" y="577"/>
                  </a:lnTo>
                  <a:lnTo>
                    <a:pt x="972" y="577"/>
                  </a:lnTo>
                  <a:lnTo>
                    <a:pt x="970" y="575"/>
                  </a:lnTo>
                  <a:lnTo>
                    <a:pt x="972" y="575"/>
                  </a:lnTo>
                  <a:lnTo>
                    <a:pt x="972" y="577"/>
                  </a:lnTo>
                  <a:lnTo>
                    <a:pt x="972" y="575"/>
                  </a:lnTo>
                  <a:lnTo>
                    <a:pt x="972" y="577"/>
                  </a:lnTo>
                  <a:lnTo>
                    <a:pt x="970" y="577"/>
                  </a:lnTo>
                  <a:lnTo>
                    <a:pt x="972" y="577"/>
                  </a:lnTo>
                  <a:lnTo>
                    <a:pt x="970" y="577"/>
                  </a:lnTo>
                  <a:lnTo>
                    <a:pt x="972" y="579"/>
                  </a:lnTo>
                  <a:lnTo>
                    <a:pt x="970" y="579"/>
                  </a:lnTo>
                  <a:lnTo>
                    <a:pt x="972" y="579"/>
                  </a:lnTo>
                  <a:lnTo>
                    <a:pt x="970" y="579"/>
                  </a:lnTo>
                  <a:lnTo>
                    <a:pt x="972" y="579"/>
                  </a:lnTo>
                  <a:lnTo>
                    <a:pt x="975" y="579"/>
                  </a:lnTo>
                  <a:lnTo>
                    <a:pt x="977" y="579"/>
                  </a:lnTo>
                  <a:lnTo>
                    <a:pt x="975" y="579"/>
                  </a:lnTo>
                  <a:lnTo>
                    <a:pt x="972" y="579"/>
                  </a:lnTo>
                  <a:lnTo>
                    <a:pt x="970" y="579"/>
                  </a:lnTo>
                  <a:lnTo>
                    <a:pt x="972" y="579"/>
                  </a:lnTo>
                  <a:lnTo>
                    <a:pt x="972" y="577"/>
                  </a:lnTo>
                  <a:lnTo>
                    <a:pt x="970" y="577"/>
                  </a:lnTo>
                  <a:lnTo>
                    <a:pt x="972" y="577"/>
                  </a:lnTo>
                  <a:lnTo>
                    <a:pt x="970" y="577"/>
                  </a:lnTo>
                  <a:lnTo>
                    <a:pt x="972" y="577"/>
                  </a:lnTo>
                  <a:lnTo>
                    <a:pt x="972" y="575"/>
                  </a:lnTo>
                  <a:lnTo>
                    <a:pt x="970" y="575"/>
                  </a:lnTo>
                  <a:lnTo>
                    <a:pt x="972" y="575"/>
                  </a:lnTo>
                  <a:lnTo>
                    <a:pt x="970" y="575"/>
                  </a:lnTo>
                  <a:lnTo>
                    <a:pt x="970" y="572"/>
                  </a:lnTo>
                  <a:lnTo>
                    <a:pt x="970" y="575"/>
                  </a:lnTo>
                  <a:lnTo>
                    <a:pt x="970" y="572"/>
                  </a:lnTo>
                  <a:lnTo>
                    <a:pt x="968" y="572"/>
                  </a:lnTo>
                  <a:lnTo>
                    <a:pt x="968" y="570"/>
                  </a:lnTo>
                  <a:lnTo>
                    <a:pt x="965" y="570"/>
                  </a:lnTo>
                  <a:lnTo>
                    <a:pt x="965" y="567"/>
                  </a:lnTo>
                  <a:lnTo>
                    <a:pt x="963" y="567"/>
                  </a:lnTo>
                  <a:lnTo>
                    <a:pt x="961" y="567"/>
                  </a:lnTo>
                  <a:lnTo>
                    <a:pt x="961" y="570"/>
                  </a:lnTo>
                  <a:lnTo>
                    <a:pt x="961" y="567"/>
                  </a:lnTo>
                  <a:lnTo>
                    <a:pt x="963" y="565"/>
                  </a:lnTo>
                  <a:lnTo>
                    <a:pt x="961" y="565"/>
                  </a:lnTo>
                  <a:lnTo>
                    <a:pt x="963" y="565"/>
                  </a:lnTo>
                  <a:lnTo>
                    <a:pt x="963" y="563"/>
                  </a:lnTo>
                  <a:lnTo>
                    <a:pt x="961" y="563"/>
                  </a:lnTo>
                  <a:lnTo>
                    <a:pt x="961" y="560"/>
                  </a:lnTo>
                  <a:lnTo>
                    <a:pt x="958" y="560"/>
                  </a:lnTo>
                  <a:lnTo>
                    <a:pt x="961" y="560"/>
                  </a:lnTo>
                  <a:lnTo>
                    <a:pt x="958" y="558"/>
                  </a:lnTo>
                  <a:lnTo>
                    <a:pt x="958" y="560"/>
                  </a:lnTo>
                  <a:lnTo>
                    <a:pt x="958" y="558"/>
                  </a:lnTo>
                  <a:lnTo>
                    <a:pt x="956" y="558"/>
                  </a:lnTo>
                  <a:lnTo>
                    <a:pt x="956" y="556"/>
                  </a:lnTo>
                  <a:lnTo>
                    <a:pt x="956" y="558"/>
                  </a:lnTo>
                  <a:lnTo>
                    <a:pt x="958" y="558"/>
                  </a:lnTo>
                  <a:lnTo>
                    <a:pt x="961" y="560"/>
                  </a:lnTo>
                  <a:lnTo>
                    <a:pt x="963" y="560"/>
                  </a:lnTo>
                  <a:lnTo>
                    <a:pt x="965" y="563"/>
                  </a:lnTo>
                  <a:lnTo>
                    <a:pt x="968" y="563"/>
                  </a:lnTo>
                  <a:lnTo>
                    <a:pt x="970" y="560"/>
                  </a:lnTo>
                  <a:lnTo>
                    <a:pt x="972" y="560"/>
                  </a:lnTo>
                  <a:lnTo>
                    <a:pt x="975" y="560"/>
                  </a:lnTo>
                  <a:lnTo>
                    <a:pt x="982" y="558"/>
                  </a:lnTo>
                  <a:lnTo>
                    <a:pt x="984" y="556"/>
                  </a:lnTo>
                  <a:lnTo>
                    <a:pt x="987" y="556"/>
                  </a:lnTo>
                  <a:lnTo>
                    <a:pt x="989" y="553"/>
                  </a:lnTo>
                  <a:lnTo>
                    <a:pt x="996" y="551"/>
                  </a:lnTo>
                  <a:lnTo>
                    <a:pt x="998" y="551"/>
                  </a:lnTo>
                  <a:lnTo>
                    <a:pt x="1001" y="548"/>
                  </a:lnTo>
                  <a:lnTo>
                    <a:pt x="1003" y="546"/>
                  </a:lnTo>
                  <a:lnTo>
                    <a:pt x="1003" y="548"/>
                  </a:lnTo>
                  <a:lnTo>
                    <a:pt x="1001" y="548"/>
                  </a:lnTo>
                  <a:lnTo>
                    <a:pt x="1001" y="551"/>
                  </a:lnTo>
                  <a:lnTo>
                    <a:pt x="998" y="551"/>
                  </a:lnTo>
                  <a:lnTo>
                    <a:pt x="996" y="551"/>
                  </a:lnTo>
                  <a:lnTo>
                    <a:pt x="996" y="553"/>
                  </a:lnTo>
                  <a:lnTo>
                    <a:pt x="996" y="551"/>
                  </a:lnTo>
                  <a:lnTo>
                    <a:pt x="996" y="553"/>
                  </a:lnTo>
                  <a:lnTo>
                    <a:pt x="998" y="553"/>
                  </a:lnTo>
                  <a:lnTo>
                    <a:pt x="998" y="551"/>
                  </a:lnTo>
                  <a:lnTo>
                    <a:pt x="1001" y="551"/>
                  </a:lnTo>
                  <a:lnTo>
                    <a:pt x="1001" y="548"/>
                  </a:lnTo>
                  <a:lnTo>
                    <a:pt x="1003" y="548"/>
                  </a:lnTo>
                  <a:lnTo>
                    <a:pt x="1003" y="551"/>
                  </a:lnTo>
                  <a:lnTo>
                    <a:pt x="1003" y="548"/>
                  </a:lnTo>
                  <a:lnTo>
                    <a:pt x="1003" y="546"/>
                  </a:lnTo>
                  <a:lnTo>
                    <a:pt x="1003" y="548"/>
                  </a:lnTo>
                  <a:lnTo>
                    <a:pt x="1003" y="546"/>
                  </a:lnTo>
                  <a:lnTo>
                    <a:pt x="1006" y="546"/>
                  </a:lnTo>
                  <a:lnTo>
                    <a:pt x="1006" y="544"/>
                  </a:lnTo>
                  <a:lnTo>
                    <a:pt x="1010" y="544"/>
                  </a:lnTo>
                  <a:lnTo>
                    <a:pt x="1013" y="541"/>
                  </a:lnTo>
                  <a:lnTo>
                    <a:pt x="1017" y="539"/>
                  </a:lnTo>
                  <a:lnTo>
                    <a:pt x="1017" y="537"/>
                  </a:lnTo>
                  <a:lnTo>
                    <a:pt x="1022" y="534"/>
                  </a:lnTo>
                  <a:lnTo>
                    <a:pt x="1025" y="534"/>
                  </a:lnTo>
                  <a:lnTo>
                    <a:pt x="1025" y="532"/>
                  </a:lnTo>
                  <a:lnTo>
                    <a:pt x="1027" y="532"/>
                  </a:lnTo>
                  <a:lnTo>
                    <a:pt x="1027" y="529"/>
                  </a:lnTo>
                  <a:lnTo>
                    <a:pt x="1029" y="529"/>
                  </a:lnTo>
                  <a:lnTo>
                    <a:pt x="1029" y="532"/>
                  </a:lnTo>
                  <a:lnTo>
                    <a:pt x="1032" y="532"/>
                  </a:lnTo>
                  <a:lnTo>
                    <a:pt x="1034" y="532"/>
                  </a:lnTo>
                  <a:lnTo>
                    <a:pt x="1036" y="532"/>
                  </a:lnTo>
                  <a:lnTo>
                    <a:pt x="1039" y="532"/>
                  </a:lnTo>
                  <a:lnTo>
                    <a:pt x="1039" y="529"/>
                  </a:lnTo>
                  <a:lnTo>
                    <a:pt x="1041" y="529"/>
                  </a:lnTo>
                  <a:lnTo>
                    <a:pt x="1044" y="529"/>
                  </a:lnTo>
                  <a:lnTo>
                    <a:pt x="1046" y="529"/>
                  </a:lnTo>
                  <a:lnTo>
                    <a:pt x="1046" y="527"/>
                  </a:lnTo>
                  <a:lnTo>
                    <a:pt x="1048" y="527"/>
                  </a:lnTo>
                  <a:lnTo>
                    <a:pt x="1051" y="527"/>
                  </a:lnTo>
                  <a:lnTo>
                    <a:pt x="1053" y="527"/>
                  </a:lnTo>
                  <a:lnTo>
                    <a:pt x="1055" y="527"/>
                  </a:lnTo>
                  <a:lnTo>
                    <a:pt x="1053" y="527"/>
                  </a:lnTo>
                  <a:lnTo>
                    <a:pt x="1055" y="525"/>
                  </a:lnTo>
                  <a:lnTo>
                    <a:pt x="1053" y="525"/>
                  </a:lnTo>
                  <a:lnTo>
                    <a:pt x="1053" y="527"/>
                  </a:lnTo>
                  <a:lnTo>
                    <a:pt x="1053" y="525"/>
                  </a:lnTo>
                  <a:lnTo>
                    <a:pt x="1053" y="527"/>
                  </a:lnTo>
                  <a:lnTo>
                    <a:pt x="1051" y="527"/>
                  </a:lnTo>
                  <a:lnTo>
                    <a:pt x="1051" y="525"/>
                  </a:lnTo>
                  <a:lnTo>
                    <a:pt x="1053" y="525"/>
                  </a:lnTo>
                  <a:lnTo>
                    <a:pt x="1053" y="522"/>
                  </a:lnTo>
                  <a:lnTo>
                    <a:pt x="1055" y="522"/>
                  </a:lnTo>
                  <a:lnTo>
                    <a:pt x="1058" y="522"/>
                  </a:lnTo>
                  <a:lnTo>
                    <a:pt x="1060" y="522"/>
                  </a:lnTo>
                  <a:lnTo>
                    <a:pt x="1063" y="522"/>
                  </a:lnTo>
                  <a:lnTo>
                    <a:pt x="1065" y="522"/>
                  </a:lnTo>
                  <a:lnTo>
                    <a:pt x="1067" y="522"/>
                  </a:lnTo>
                  <a:lnTo>
                    <a:pt x="1067" y="520"/>
                  </a:lnTo>
                  <a:lnTo>
                    <a:pt x="1070" y="520"/>
                  </a:lnTo>
                  <a:lnTo>
                    <a:pt x="1074" y="518"/>
                  </a:lnTo>
                  <a:lnTo>
                    <a:pt x="1077" y="518"/>
                  </a:lnTo>
                  <a:lnTo>
                    <a:pt x="1077" y="520"/>
                  </a:lnTo>
                  <a:lnTo>
                    <a:pt x="1077" y="518"/>
                  </a:lnTo>
                  <a:lnTo>
                    <a:pt x="1077" y="520"/>
                  </a:lnTo>
                  <a:lnTo>
                    <a:pt x="1074" y="520"/>
                  </a:lnTo>
                  <a:lnTo>
                    <a:pt x="1077" y="520"/>
                  </a:lnTo>
                  <a:lnTo>
                    <a:pt x="1074" y="520"/>
                  </a:lnTo>
                  <a:lnTo>
                    <a:pt x="1072" y="520"/>
                  </a:lnTo>
                  <a:lnTo>
                    <a:pt x="1072" y="522"/>
                  </a:lnTo>
                  <a:lnTo>
                    <a:pt x="1070" y="522"/>
                  </a:lnTo>
                  <a:lnTo>
                    <a:pt x="1067" y="522"/>
                  </a:lnTo>
                  <a:lnTo>
                    <a:pt x="1070" y="522"/>
                  </a:lnTo>
                  <a:lnTo>
                    <a:pt x="1070" y="525"/>
                  </a:lnTo>
                  <a:lnTo>
                    <a:pt x="1070" y="522"/>
                  </a:lnTo>
                  <a:lnTo>
                    <a:pt x="1072" y="522"/>
                  </a:lnTo>
                  <a:lnTo>
                    <a:pt x="1074" y="522"/>
                  </a:lnTo>
                  <a:lnTo>
                    <a:pt x="1074" y="525"/>
                  </a:lnTo>
                  <a:lnTo>
                    <a:pt x="1077" y="525"/>
                  </a:lnTo>
                  <a:lnTo>
                    <a:pt x="1074" y="525"/>
                  </a:lnTo>
                  <a:lnTo>
                    <a:pt x="1077" y="525"/>
                  </a:lnTo>
                  <a:lnTo>
                    <a:pt x="1079" y="525"/>
                  </a:lnTo>
                  <a:lnTo>
                    <a:pt x="1077" y="525"/>
                  </a:lnTo>
                  <a:lnTo>
                    <a:pt x="1079" y="527"/>
                  </a:lnTo>
                  <a:lnTo>
                    <a:pt x="1077" y="527"/>
                  </a:lnTo>
                  <a:lnTo>
                    <a:pt x="1074" y="529"/>
                  </a:lnTo>
                  <a:lnTo>
                    <a:pt x="1072" y="529"/>
                  </a:lnTo>
                  <a:lnTo>
                    <a:pt x="1074" y="529"/>
                  </a:lnTo>
                  <a:lnTo>
                    <a:pt x="1072" y="529"/>
                  </a:lnTo>
                  <a:lnTo>
                    <a:pt x="1072" y="532"/>
                  </a:lnTo>
                  <a:lnTo>
                    <a:pt x="1074" y="532"/>
                  </a:lnTo>
                  <a:lnTo>
                    <a:pt x="1077" y="532"/>
                  </a:lnTo>
                  <a:lnTo>
                    <a:pt x="1077" y="534"/>
                  </a:lnTo>
                  <a:lnTo>
                    <a:pt x="1077" y="532"/>
                  </a:lnTo>
                  <a:lnTo>
                    <a:pt x="1077" y="534"/>
                  </a:lnTo>
                  <a:lnTo>
                    <a:pt x="1077" y="537"/>
                  </a:lnTo>
                  <a:lnTo>
                    <a:pt x="1077" y="534"/>
                  </a:lnTo>
                  <a:lnTo>
                    <a:pt x="1079" y="534"/>
                  </a:lnTo>
                  <a:lnTo>
                    <a:pt x="1077" y="534"/>
                  </a:lnTo>
                  <a:lnTo>
                    <a:pt x="1079" y="534"/>
                  </a:lnTo>
                  <a:lnTo>
                    <a:pt x="1079" y="532"/>
                  </a:lnTo>
                  <a:lnTo>
                    <a:pt x="1079" y="534"/>
                  </a:lnTo>
                  <a:lnTo>
                    <a:pt x="1079" y="532"/>
                  </a:lnTo>
                  <a:lnTo>
                    <a:pt x="1082" y="532"/>
                  </a:lnTo>
                  <a:lnTo>
                    <a:pt x="1084" y="532"/>
                  </a:lnTo>
                  <a:lnTo>
                    <a:pt x="1086" y="529"/>
                  </a:lnTo>
                  <a:lnTo>
                    <a:pt x="1086" y="532"/>
                  </a:lnTo>
                  <a:lnTo>
                    <a:pt x="1086" y="529"/>
                  </a:lnTo>
                  <a:lnTo>
                    <a:pt x="1089" y="529"/>
                  </a:lnTo>
                  <a:lnTo>
                    <a:pt x="1089" y="527"/>
                  </a:lnTo>
                  <a:lnTo>
                    <a:pt x="1091" y="527"/>
                  </a:lnTo>
                  <a:lnTo>
                    <a:pt x="1091" y="525"/>
                  </a:lnTo>
                  <a:lnTo>
                    <a:pt x="1093" y="525"/>
                  </a:lnTo>
                  <a:lnTo>
                    <a:pt x="1091" y="525"/>
                  </a:lnTo>
                  <a:lnTo>
                    <a:pt x="1093" y="525"/>
                  </a:lnTo>
                  <a:lnTo>
                    <a:pt x="1093" y="522"/>
                  </a:lnTo>
                  <a:lnTo>
                    <a:pt x="1091" y="525"/>
                  </a:lnTo>
                  <a:lnTo>
                    <a:pt x="1091" y="522"/>
                  </a:lnTo>
                  <a:lnTo>
                    <a:pt x="1089" y="522"/>
                  </a:lnTo>
                  <a:lnTo>
                    <a:pt x="1086" y="522"/>
                  </a:lnTo>
                  <a:lnTo>
                    <a:pt x="1086" y="520"/>
                  </a:lnTo>
                  <a:lnTo>
                    <a:pt x="1086" y="518"/>
                  </a:lnTo>
                  <a:lnTo>
                    <a:pt x="1084" y="518"/>
                  </a:lnTo>
                  <a:lnTo>
                    <a:pt x="1084" y="515"/>
                  </a:lnTo>
                  <a:lnTo>
                    <a:pt x="1084" y="518"/>
                  </a:lnTo>
                  <a:lnTo>
                    <a:pt x="1084" y="515"/>
                  </a:lnTo>
                  <a:lnTo>
                    <a:pt x="1086" y="515"/>
                  </a:lnTo>
                  <a:lnTo>
                    <a:pt x="1089" y="515"/>
                  </a:lnTo>
                  <a:lnTo>
                    <a:pt x="1086" y="515"/>
                  </a:lnTo>
                  <a:lnTo>
                    <a:pt x="1084" y="515"/>
                  </a:lnTo>
                  <a:lnTo>
                    <a:pt x="1086" y="515"/>
                  </a:lnTo>
                  <a:lnTo>
                    <a:pt x="1084" y="515"/>
                  </a:lnTo>
                  <a:lnTo>
                    <a:pt x="1084" y="518"/>
                  </a:lnTo>
                  <a:lnTo>
                    <a:pt x="1082" y="518"/>
                  </a:lnTo>
                  <a:lnTo>
                    <a:pt x="1079" y="518"/>
                  </a:lnTo>
                  <a:lnTo>
                    <a:pt x="1077" y="518"/>
                  </a:lnTo>
                  <a:lnTo>
                    <a:pt x="1084" y="513"/>
                  </a:lnTo>
                  <a:lnTo>
                    <a:pt x="1086" y="513"/>
                  </a:lnTo>
                  <a:lnTo>
                    <a:pt x="1091" y="510"/>
                  </a:lnTo>
                  <a:lnTo>
                    <a:pt x="1096" y="508"/>
                  </a:lnTo>
                  <a:lnTo>
                    <a:pt x="1101" y="506"/>
                  </a:lnTo>
                  <a:lnTo>
                    <a:pt x="1103" y="506"/>
                  </a:lnTo>
                  <a:lnTo>
                    <a:pt x="1103" y="508"/>
                  </a:lnTo>
                  <a:lnTo>
                    <a:pt x="1101" y="508"/>
                  </a:lnTo>
                  <a:lnTo>
                    <a:pt x="1103" y="508"/>
                  </a:lnTo>
                  <a:lnTo>
                    <a:pt x="1101" y="508"/>
                  </a:lnTo>
                  <a:lnTo>
                    <a:pt x="1101" y="510"/>
                  </a:lnTo>
                  <a:lnTo>
                    <a:pt x="1098" y="510"/>
                  </a:lnTo>
                  <a:lnTo>
                    <a:pt x="1096" y="510"/>
                  </a:lnTo>
                  <a:lnTo>
                    <a:pt x="1096" y="513"/>
                  </a:lnTo>
                  <a:lnTo>
                    <a:pt x="1098" y="513"/>
                  </a:lnTo>
                  <a:lnTo>
                    <a:pt x="1101" y="513"/>
                  </a:lnTo>
                  <a:lnTo>
                    <a:pt x="1101" y="515"/>
                  </a:lnTo>
                  <a:lnTo>
                    <a:pt x="1103" y="515"/>
                  </a:lnTo>
                  <a:lnTo>
                    <a:pt x="1103" y="518"/>
                  </a:lnTo>
                  <a:lnTo>
                    <a:pt x="1105" y="518"/>
                  </a:lnTo>
                  <a:lnTo>
                    <a:pt x="1108" y="518"/>
                  </a:lnTo>
                  <a:lnTo>
                    <a:pt x="1108" y="515"/>
                  </a:lnTo>
                  <a:lnTo>
                    <a:pt x="1108" y="518"/>
                  </a:lnTo>
                  <a:lnTo>
                    <a:pt x="1108" y="515"/>
                  </a:lnTo>
                  <a:lnTo>
                    <a:pt x="1110" y="515"/>
                  </a:lnTo>
                  <a:lnTo>
                    <a:pt x="1110" y="513"/>
                  </a:lnTo>
                  <a:lnTo>
                    <a:pt x="1108" y="513"/>
                  </a:lnTo>
                  <a:lnTo>
                    <a:pt x="1108" y="515"/>
                  </a:lnTo>
                  <a:lnTo>
                    <a:pt x="1105" y="515"/>
                  </a:lnTo>
                  <a:lnTo>
                    <a:pt x="1103" y="515"/>
                  </a:lnTo>
                  <a:lnTo>
                    <a:pt x="1105" y="513"/>
                  </a:lnTo>
                  <a:lnTo>
                    <a:pt x="1103" y="513"/>
                  </a:lnTo>
                  <a:lnTo>
                    <a:pt x="1105" y="513"/>
                  </a:lnTo>
                  <a:lnTo>
                    <a:pt x="1103" y="513"/>
                  </a:lnTo>
                  <a:lnTo>
                    <a:pt x="1105" y="513"/>
                  </a:lnTo>
                  <a:lnTo>
                    <a:pt x="1103" y="513"/>
                  </a:lnTo>
                  <a:lnTo>
                    <a:pt x="1105" y="513"/>
                  </a:lnTo>
                  <a:lnTo>
                    <a:pt x="1103" y="513"/>
                  </a:lnTo>
                  <a:lnTo>
                    <a:pt x="1103" y="510"/>
                  </a:lnTo>
                  <a:lnTo>
                    <a:pt x="1101" y="510"/>
                  </a:lnTo>
                  <a:lnTo>
                    <a:pt x="1103" y="510"/>
                  </a:lnTo>
                  <a:lnTo>
                    <a:pt x="1105" y="510"/>
                  </a:lnTo>
                  <a:lnTo>
                    <a:pt x="1105" y="513"/>
                  </a:lnTo>
                  <a:lnTo>
                    <a:pt x="1108" y="513"/>
                  </a:lnTo>
                  <a:lnTo>
                    <a:pt x="1108" y="510"/>
                  </a:lnTo>
                  <a:lnTo>
                    <a:pt x="1105" y="510"/>
                  </a:lnTo>
                  <a:lnTo>
                    <a:pt x="1108" y="510"/>
                  </a:lnTo>
                  <a:lnTo>
                    <a:pt x="1105" y="510"/>
                  </a:lnTo>
                  <a:lnTo>
                    <a:pt x="1105" y="508"/>
                  </a:lnTo>
                  <a:lnTo>
                    <a:pt x="1108" y="508"/>
                  </a:lnTo>
                  <a:lnTo>
                    <a:pt x="1108" y="510"/>
                  </a:lnTo>
                  <a:lnTo>
                    <a:pt x="1108" y="508"/>
                  </a:lnTo>
                  <a:lnTo>
                    <a:pt x="1105" y="508"/>
                  </a:lnTo>
                  <a:lnTo>
                    <a:pt x="1105" y="506"/>
                  </a:lnTo>
                  <a:lnTo>
                    <a:pt x="1105" y="508"/>
                  </a:lnTo>
                  <a:lnTo>
                    <a:pt x="1105" y="506"/>
                  </a:lnTo>
                  <a:lnTo>
                    <a:pt x="1103" y="506"/>
                  </a:lnTo>
                  <a:lnTo>
                    <a:pt x="1103" y="503"/>
                  </a:lnTo>
                  <a:lnTo>
                    <a:pt x="1112" y="501"/>
                  </a:lnTo>
                  <a:lnTo>
                    <a:pt x="1115" y="499"/>
                  </a:lnTo>
                  <a:lnTo>
                    <a:pt x="1117" y="499"/>
                  </a:lnTo>
                  <a:lnTo>
                    <a:pt x="1122" y="499"/>
                  </a:lnTo>
                  <a:lnTo>
                    <a:pt x="1127" y="496"/>
                  </a:lnTo>
                  <a:lnTo>
                    <a:pt x="1129" y="496"/>
                  </a:lnTo>
                  <a:lnTo>
                    <a:pt x="1131" y="496"/>
                  </a:lnTo>
                  <a:lnTo>
                    <a:pt x="1134" y="494"/>
                  </a:lnTo>
                  <a:lnTo>
                    <a:pt x="1136" y="494"/>
                  </a:lnTo>
                  <a:lnTo>
                    <a:pt x="1138" y="494"/>
                  </a:lnTo>
                  <a:lnTo>
                    <a:pt x="1141" y="494"/>
                  </a:lnTo>
                  <a:lnTo>
                    <a:pt x="1143" y="494"/>
                  </a:lnTo>
                  <a:lnTo>
                    <a:pt x="1146" y="494"/>
                  </a:lnTo>
                  <a:lnTo>
                    <a:pt x="1148" y="494"/>
                  </a:lnTo>
                  <a:lnTo>
                    <a:pt x="1150" y="494"/>
                  </a:lnTo>
                  <a:lnTo>
                    <a:pt x="1153" y="494"/>
                  </a:lnTo>
                  <a:lnTo>
                    <a:pt x="1150" y="496"/>
                  </a:lnTo>
                  <a:lnTo>
                    <a:pt x="1148" y="494"/>
                  </a:lnTo>
                  <a:lnTo>
                    <a:pt x="1148" y="496"/>
                  </a:lnTo>
                  <a:lnTo>
                    <a:pt x="1146" y="496"/>
                  </a:lnTo>
                  <a:lnTo>
                    <a:pt x="1143" y="496"/>
                  </a:lnTo>
                  <a:lnTo>
                    <a:pt x="1141" y="496"/>
                  </a:lnTo>
                  <a:lnTo>
                    <a:pt x="1138" y="496"/>
                  </a:lnTo>
                  <a:lnTo>
                    <a:pt x="1136" y="496"/>
                  </a:lnTo>
                  <a:lnTo>
                    <a:pt x="1136" y="499"/>
                  </a:lnTo>
                  <a:lnTo>
                    <a:pt x="1134" y="499"/>
                  </a:lnTo>
                  <a:lnTo>
                    <a:pt x="1129" y="499"/>
                  </a:lnTo>
                  <a:lnTo>
                    <a:pt x="1127" y="499"/>
                  </a:lnTo>
                  <a:lnTo>
                    <a:pt x="1124" y="499"/>
                  </a:lnTo>
                  <a:lnTo>
                    <a:pt x="1122" y="499"/>
                  </a:lnTo>
                  <a:lnTo>
                    <a:pt x="1119" y="499"/>
                  </a:lnTo>
                  <a:lnTo>
                    <a:pt x="1119" y="501"/>
                  </a:lnTo>
                  <a:lnTo>
                    <a:pt x="1119" y="499"/>
                  </a:lnTo>
                  <a:lnTo>
                    <a:pt x="1122" y="499"/>
                  </a:lnTo>
                  <a:lnTo>
                    <a:pt x="1122" y="501"/>
                  </a:lnTo>
                  <a:lnTo>
                    <a:pt x="1119" y="501"/>
                  </a:lnTo>
                  <a:lnTo>
                    <a:pt x="1122" y="501"/>
                  </a:lnTo>
                  <a:lnTo>
                    <a:pt x="1122" y="503"/>
                  </a:lnTo>
                  <a:lnTo>
                    <a:pt x="1124" y="503"/>
                  </a:lnTo>
                  <a:lnTo>
                    <a:pt x="1124" y="501"/>
                  </a:lnTo>
                  <a:lnTo>
                    <a:pt x="1124" y="503"/>
                  </a:lnTo>
                  <a:lnTo>
                    <a:pt x="1124" y="501"/>
                  </a:lnTo>
                  <a:lnTo>
                    <a:pt x="1124" y="503"/>
                  </a:lnTo>
                  <a:lnTo>
                    <a:pt x="1124" y="501"/>
                  </a:lnTo>
                  <a:lnTo>
                    <a:pt x="1122" y="501"/>
                  </a:lnTo>
                  <a:lnTo>
                    <a:pt x="1124" y="501"/>
                  </a:lnTo>
                  <a:lnTo>
                    <a:pt x="1127" y="501"/>
                  </a:lnTo>
                  <a:lnTo>
                    <a:pt x="1129" y="501"/>
                  </a:lnTo>
                  <a:lnTo>
                    <a:pt x="1131" y="501"/>
                  </a:lnTo>
                  <a:lnTo>
                    <a:pt x="1131" y="503"/>
                  </a:lnTo>
                  <a:lnTo>
                    <a:pt x="1134" y="503"/>
                  </a:lnTo>
                  <a:lnTo>
                    <a:pt x="1134" y="506"/>
                  </a:lnTo>
                  <a:lnTo>
                    <a:pt x="1131" y="506"/>
                  </a:lnTo>
                  <a:lnTo>
                    <a:pt x="1129" y="506"/>
                  </a:lnTo>
                  <a:lnTo>
                    <a:pt x="1129" y="508"/>
                  </a:lnTo>
                  <a:lnTo>
                    <a:pt x="1129" y="510"/>
                  </a:lnTo>
                  <a:lnTo>
                    <a:pt x="1129" y="513"/>
                  </a:lnTo>
                  <a:lnTo>
                    <a:pt x="1127" y="513"/>
                  </a:lnTo>
                  <a:lnTo>
                    <a:pt x="1124" y="513"/>
                  </a:lnTo>
                  <a:lnTo>
                    <a:pt x="1124" y="515"/>
                  </a:lnTo>
                  <a:lnTo>
                    <a:pt x="1124" y="518"/>
                  </a:lnTo>
                  <a:lnTo>
                    <a:pt x="1127" y="518"/>
                  </a:lnTo>
                  <a:lnTo>
                    <a:pt x="1127" y="520"/>
                  </a:lnTo>
                  <a:lnTo>
                    <a:pt x="1129" y="520"/>
                  </a:lnTo>
                  <a:lnTo>
                    <a:pt x="1131" y="520"/>
                  </a:lnTo>
                  <a:lnTo>
                    <a:pt x="1129" y="520"/>
                  </a:lnTo>
                  <a:lnTo>
                    <a:pt x="1131" y="520"/>
                  </a:lnTo>
                  <a:lnTo>
                    <a:pt x="1131" y="522"/>
                  </a:lnTo>
                  <a:lnTo>
                    <a:pt x="1131" y="525"/>
                  </a:lnTo>
                  <a:lnTo>
                    <a:pt x="1131" y="527"/>
                  </a:lnTo>
                  <a:lnTo>
                    <a:pt x="1131" y="529"/>
                  </a:lnTo>
                  <a:lnTo>
                    <a:pt x="1129" y="529"/>
                  </a:lnTo>
                  <a:lnTo>
                    <a:pt x="1127" y="529"/>
                  </a:lnTo>
                  <a:lnTo>
                    <a:pt x="1127" y="532"/>
                  </a:lnTo>
                  <a:lnTo>
                    <a:pt x="1129" y="532"/>
                  </a:lnTo>
                  <a:lnTo>
                    <a:pt x="1127" y="532"/>
                  </a:lnTo>
                  <a:lnTo>
                    <a:pt x="1124" y="532"/>
                  </a:lnTo>
                  <a:lnTo>
                    <a:pt x="1124" y="529"/>
                  </a:lnTo>
                  <a:lnTo>
                    <a:pt x="1122" y="529"/>
                  </a:lnTo>
                  <a:lnTo>
                    <a:pt x="1122" y="527"/>
                  </a:lnTo>
                  <a:lnTo>
                    <a:pt x="1122" y="529"/>
                  </a:lnTo>
                  <a:lnTo>
                    <a:pt x="1119" y="529"/>
                  </a:lnTo>
                  <a:lnTo>
                    <a:pt x="1122" y="529"/>
                  </a:lnTo>
                  <a:lnTo>
                    <a:pt x="1119" y="529"/>
                  </a:lnTo>
                  <a:lnTo>
                    <a:pt x="1122" y="529"/>
                  </a:lnTo>
                  <a:lnTo>
                    <a:pt x="1122" y="532"/>
                  </a:lnTo>
                  <a:lnTo>
                    <a:pt x="1122" y="529"/>
                  </a:lnTo>
                  <a:lnTo>
                    <a:pt x="1122" y="532"/>
                  </a:lnTo>
                  <a:lnTo>
                    <a:pt x="1122" y="534"/>
                  </a:lnTo>
                  <a:lnTo>
                    <a:pt x="1122" y="532"/>
                  </a:lnTo>
                  <a:lnTo>
                    <a:pt x="1119" y="532"/>
                  </a:lnTo>
                  <a:lnTo>
                    <a:pt x="1122" y="532"/>
                  </a:lnTo>
                  <a:lnTo>
                    <a:pt x="1119" y="532"/>
                  </a:lnTo>
                  <a:lnTo>
                    <a:pt x="1119" y="529"/>
                  </a:lnTo>
                  <a:lnTo>
                    <a:pt x="1119" y="532"/>
                  </a:lnTo>
                  <a:lnTo>
                    <a:pt x="1122" y="532"/>
                  </a:lnTo>
                  <a:lnTo>
                    <a:pt x="1119" y="532"/>
                  </a:lnTo>
                  <a:lnTo>
                    <a:pt x="1117" y="532"/>
                  </a:lnTo>
                  <a:lnTo>
                    <a:pt x="1117" y="529"/>
                  </a:lnTo>
                  <a:lnTo>
                    <a:pt x="1117" y="532"/>
                  </a:lnTo>
                  <a:lnTo>
                    <a:pt x="1117" y="529"/>
                  </a:lnTo>
                  <a:lnTo>
                    <a:pt x="1115" y="529"/>
                  </a:lnTo>
                  <a:lnTo>
                    <a:pt x="1117" y="529"/>
                  </a:lnTo>
                  <a:lnTo>
                    <a:pt x="1115" y="529"/>
                  </a:lnTo>
                  <a:lnTo>
                    <a:pt x="1117" y="529"/>
                  </a:lnTo>
                  <a:lnTo>
                    <a:pt x="1115" y="529"/>
                  </a:lnTo>
                  <a:lnTo>
                    <a:pt x="1115" y="532"/>
                  </a:lnTo>
                  <a:lnTo>
                    <a:pt x="1112" y="532"/>
                  </a:lnTo>
                  <a:lnTo>
                    <a:pt x="1110" y="532"/>
                  </a:lnTo>
                  <a:lnTo>
                    <a:pt x="1112" y="532"/>
                  </a:lnTo>
                  <a:lnTo>
                    <a:pt x="1110" y="532"/>
                  </a:lnTo>
                  <a:lnTo>
                    <a:pt x="1110" y="534"/>
                  </a:lnTo>
                  <a:lnTo>
                    <a:pt x="1108" y="534"/>
                  </a:lnTo>
                  <a:lnTo>
                    <a:pt x="1108" y="537"/>
                  </a:lnTo>
                  <a:lnTo>
                    <a:pt x="1108" y="539"/>
                  </a:lnTo>
                  <a:lnTo>
                    <a:pt x="1105" y="539"/>
                  </a:lnTo>
                  <a:lnTo>
                    <a:pt x="1108" y="539"/>
                  </a:lnTo>
                  <a:lnTo>
                    <a:pt x="1105" y="539"/>
                  </a:lnTo>
                  <a:lnTo>
                    <a:pt x="1105" y="541"/>
                  </a:lnTo>
                  <a:lnTo>
                    <a:pt x="1108" y="541"/>
                  </a:lnTo>
                  <a:lnTo>
                    <a:pt x="1105" y="541"/>
                  </a:lnTo>
                  <a:lnTo>
                    <a:pt x="1108" y="541"/>
                  </a:lnTo>
                  <a:lnTo>
                    <a:pt x="1108" y="544"/>
                  </a:lnTo>
                  <a:lnTo>
                    <a:pt x="1105" y="544"/>
                  </a:lnTo>
                  <a:lnTo>
                    <a:pt x="1103" y="544"/>
                  </a:lnTo>
                  <a:lnTo>
                    <a:pt x="1105" y="544"/>
                  </a:lnTo>
                  <a:lnTo>
                    <a:pt x="1103" y="544"/>
                  </a:lnTo>
                  <a:lnTo>
                    <a:pt x="1103" y="546"/>
                  </a:lnTo>
                  <a:lnTo>
                    <a:pt x="1101" y="546"/>
                  </a:lnTo>
                  <a:lnTo>
                    <a:pt x="1101" y="548"/>
                  </a:lnTo>
                  <a:lnTo>
                    <a:pt x="1101" y="546"/>
                  </a:lnTo>
                  <a:lnTo>
                    <a:pt x="1103" y="546"/>
                  </a:lnTo>
                  <a:lnTo>
                    <a:pt x="1101" y="546"/>
                  </a:lnTo>
                  <a:lnTo>
                    <a:pt x="1101" y="548"/>
                  </a:lnTo>
                  <a:lnTo>
                    <a:pt x="1101" y="551"/>
                  </a:lnTo>
                  <a:lnTo>
                    <a:pt x="1098" y="551"/>
                  </a:lnTo>
                  <a:lnTo>
                    <a:pt x="1101" y="551"/>
                  </a:lnTo>
                  <a:lnTo>
                    <a:pt x="1101" y="553"/>
                  </a:lnTo>
                  <a:lnTo>
                    <a:pt x="1098" y="553"/>
                  </a:lnTo>
                  <a:lnTo>
                    <a:pt x="1101" y="553"/>
                  </a:lnTo>
                  <a:lnTo>
                    <a:pt x="1098" y="553"/>
                  </a:lnTo>
                  <a:lnTo>
                    <a:pt x="1098" y="556"/>
                  </a:lnTo>
                  <a:lnTo>
                    <a:pt x="1098" y="553"/>
                  </a:lnTo>
                  <a:lnTo>
                    <a:pt x="1096" y="553"/>
                  </a:lnTo>
                  <a:lnTo>
                    <a:pt x="1096" y="556"/>
                  </a:lnTo>
                  <a:lnTo>
                    <a:pt x="1093" y="556"/>
                  </a:lnTo>
                  <a:lnTo>
                    <a:pt x="1091" y="556"/>
                  </a:lnTo>
                  <a:lnTo>
                    <a:pt x="1091" y="558"/>
                  </a:lnTo>
                  <a:lnTo>
                    <a:pt x="1089" y="558"/>
                  </a:lnTo>
                  <a:lnTo>
                    <a:pt x="1089" y="560"/>
                  </a:lnTo>
                  <a:lnTo>
                    <a:pt x="1086" y="560"/>
                  </a:lnTo>
                  <a:lnTo>
                    <a:pt x="1089" y="560"/>
                  </a:lnTo>
                  <a:lnTo>
                    <a:pt x="1086" y="560"/>
                  </a:lnTo>
                  <a:lnTo>
                    <a:pt x="1084" y="560"/>
                  </a:lnTo>
                  <a:lnTo>
                    <a:pt x="1086" y="560"/>
                  </a:lnTo>
                  <a:lnTo>
                    <a:pt x="1086" y="563"/>
                  </a:lnTo>
                  <a:lnTo>
                    <a:pt x="1084" y="563"/>
                  </a:lnTo>
                  <a:lnTo>
                    <a:pt x="1082" y="563"/>
                  </a:lnTo>
                  <a:lnTo>
                    <a:pt x="1079" y="563"/>
                  </a:lnTo>
                  <a:lnTo>
                    <a:pt x="1079" y="565"/>
                  </a:lnTo>
                  <a:lnTo>
                    <a:pt x="1077" y="565"/>
                  </a:lnTo>
                  <a:lnTo>
                    <a:pt x="1077" y="567"/>
                  </a:lnTo>
                  <a:lnTo>
                    <a:pt x="1077" y="565"/>
                  </a:lnTo>
                  <a:lnTo>
                    <a:pt x="1077" y="567"/>
                  </a:lnTo>
                  <a:lnTo>
                    <a:pt x="1079" y="567"/>
                  </a:lnTo>
                  <a:lnTo>
                    <a:pt x="1079" y="565"/>
                  </a:lnTo>
                  <a:lnTo>
                    <a:pt x="1082" y="565"/>
                  </a:lnTo>
                  <a:lnTo>
                    <a:pt x="1084" y="565"/>
                  </a:lnTo>
                  <a:lnTo>
                    <a:pt x="1086" y="565"/>
                  </a:lnTo>
                  <a:lnTo>
                    <a:pt x="1086" y="563"/>
                  </a:lnTo>
                  <a:lnTo>
                    <a:pt x="1089" y="563"/>
                  </a:lnTo>
                  <a:lnTo>
                    <a:pt x="1091" y="563"/>
                  </a:lnTo>
                  <a:lnTo>
                    <a:pt x="1091" y="560"/>
                  </a:lnTo>
                  <a:lnTo>
                    <a:pt x="1089" y="560"/>
                  </a:lnTo>
                  <a:lnTo>
                    <a:pt x="1091" y="560"/>
                  </a:lnTo>
                  <a:lnTo>
                    <a:pt x="1093" y="560"/>
                  </a:lnTo>
                  <a:lnTo>
                    <a:pt x="1096" y="560"/>
                  </a:lnTo>
                  <a:lnTo>
                    <a:pt x="1098" y="560"/>
                  </a:lnTo>
                  <a:lnTo>
                    <a:pt x="1098" y="558"/>
                  </a:lnTo>
                  <a:lnTo>
                    <a:pt x="1101" y="558"/>
                  </a:lnTo>
                  <a:lnTo>
                    <a:pt x="1103" y="558"/>
                  </a:lnTo>
                  <a:lnTo>
                    <a:pt x="1103" y="556"/>
                  </a:lnTo>
                  <a:lnTo>
                    <a:pt x="1101" y="556"/>
                  </a:lnTo>
                  <a:lnTo>
                    <a:pt x="1101" y="558"/>
                  </a:lnTo>
                  <a:lnTo>
                    <a:pt x="1101" y="556"/>
                  </a:lnTo>
                  <a:lnTo>
                    <a:pt x="1098" y="556"/>
                  </a:lnTo>
                  <a:lnTo>
                    <a:pt x="1098" y="553"/>
                  </a:lnTo>
                  <a:lnTo>
                    <a:pt x="1101" y="553"/>
                  </a:lnTo>
                  <a:lnTo>
                    <a:pt x="1103" y="556"/>
                  </a:lnTo>
                  <a:lnTo>
                    <a:pt x="1105" y="556"/>
                  </a:lnTo>
                  <a:lnTo>
                    <a:pt x="1108" y="556"/>
                  </a:lnTo>
                  <a:lnTo>
                    <a:pt x="1108" y="558"/>
                  </a:lnTo>
                  <a:lnTo>
                    <a:pt x="1108" y="556"/>
                  </a:lnTo>
                  <a:lnTo>
                    <a:pt x="1110" y="556"/>
                  </a:lnTo>
                  <a:lnTo>
                    <a:pt x="1108" y="558"/>
                  </a:lnTo>
                  <a:lnTo>
                    <a:pt x="1105" y="558"/>
                  </a:lnTo>
                  <a:lnTo>
                    <a:pt x="1105" y="560"/>
                  </a:lnTo>
                  <a:lnTo>
                    <a:pt x="1103" y="560"/>
                  </a:lnTo>
                  <a:lnTo>
                    <a:pt x="1101" y="563"/>
                  </a:lnTo>
                  <a:lnTo>
                    <a:pt x="1098" y="563"/>
                  </a:lnTo>
                  <a:lnTo>
                    <a:pt x="1101" y="563"/>
                  </a:lnTo>
                  <a:lnTo>
                    <a:pt x="1103" y="563"/>
                  </a:lnTo>
                  <a:lnTo>
                    <a:pt x="1103" y="560"/>
                  </a:lnTo>
                  <a:lnTo>
                    <a:pt x="1105" y="560"/>
                  </a:lnTo>
                  <a:lnTo>
                    <a:pt x="1103" y="560"/>
                  </a:lnTo>
                  <a:lnTo>
                    <a:pt x="1103" y="563"/>
                  </a:lnTo>
                  <a:lnTo>
                    <a:pt x="1103" y="560"/>
                  </a:lnTo>
                  <a:lnTo>
                    <a:pt x="1105" y="560"/>
                  </a:lnTo>
                  <a:lnTo>
                    <a:pt x="1105" y="563"/>
                  </a:lnTo>
                  <a:lnTo>
                    <a:pt x="1103" y="563"/>
                  </a:lnTo>
                  <a:lnTo>
                    <a:pt x="1101" y="563"/>
                  </a:lnTo>
                  <a:lnTo>
                    <a:pt x="1098" y="563"/>
                  </a:lnTo>
                  <a:lnTo>
                    <a:pt x="1098" y="565"/>
                  </a:lnTo>
                  <a:lnTo>
                    <a:pt x="1096" y="565"/>
                  </a:lnTo>
                  <a:lnTo>
                    <a:pt x="1093" y="565"/>
                  </a:lnTo>
                  <a:lnTo>
                    <a:pt x="1096" y="565"/>
                  </a:lnTo>
                  <a:lnTo>
                    <a:pt x="1096" y="563"/>
                  </a:lnTo>
                  <a:lnTo>
                    <a:pt x="1098" y="563"/>
                  </a:lnTo>
                  <a:lnTo>
                    <a:pt x="1096" y="563"/>
                  </a:lnTo>
                  <a:lnTo>
                    <a:pt x="1096" y="565"/>
                  </a:lnTo>
                  <a:lnTo>
                    <a:pt x="1093" y="565"/>
                  </a:lnTo>
                  <a:lnTo>
                    <a:pt x="1091" y="565"/>
                  </a:lnTo>
                  <a:lnTo>
                    <a:pt x="1089" y="567"/>
                  </a:lnTo>
                  <a:lnTo>
                    <a:pt x="1089" y="565"/>
                  </a:lnTo>
                  <a:lnTo>
                    <a:pt x="1089" y="567"/>
                  </a:lnTo>
                  <a:lnTo>
                    <a:pt x="1086" y="567"/>
                  </a:lnTo>
                  <a:lnTo>
                    <a:pt x="1086" y="570"/>
                  </a:lnTo>
                  <a:lnTo>
                    <a:pt x="1084" y="570"/>
                  </a:lnTo>
                  <a:lnTo>
                    <a:pt x="1082" y="570"/>
                  </a:lnTo>
                  <a:lnTo>
                    <a:pt x="1079" y="570"/>
                  </a:lnTo>
                  <a:lnTo>
                    <a:pt x="1079" y="572"/>
                  </a:lnTo>
                  <a:lnTo>
                    <a:pt x="1077" y="572"/>
                  </a:lnTo>
                  <a:lnTo>
                    <a:pt x="1074" y="572"/>
                  </a:lnTo>
                  <a:lnTo>
                    <a:pt x="1074" y="575"/>
                  </a:lnTo>
                  <a:lnTo>
                    <a:pt x="1072" y="575"/>
                  </a:lnTo>
                  <a:lnTo>
                    <a:pt x="1070" y="575"/>
                  </a:lnTo>
                  <a:lnTo>
                    <a:pt x="1070" y="577"/>
                  </a:lnTo>
                  <a:lnTo>
                    <a:pt x="1067" y="577"/>
                  </a:lnTo>
                  <a:lnTo>
                    <a:pt x="1065" y="577"/>
                  </a:lnTo>
                  <a:lnTo>
                    <a:pt x="1065" y="579"/>
                  </a:lnTo>
                  <a:lnTo>
                    <a:pt x="1065" y="582"/>
                  </a:lnTo>
                  <a:lnTo>
                    <a:pt x="1063" y="582"/>
                  </a:lnTo>
                  <a:lnTo>
                    <a:pt x="1063" y="584"/>
                  </a:lnTo>
                  <a:lnTo>
                    <a:pt x="1060" y="584"/>
                  </a:lnTo>
                  <a:lnTo>
                    <a:pt x="1063" y="584"/>
                  </a:lnTo>
                  <a:lnTo>
                    <a:pt x="1060" y="584"/>
                  </a:lnTo>
                  <a:lnTo>
                    <a:pt x="1060" y="586"/>
                  </a:lnTo>
                  <a:lnTo>
                    <a:pt x="1063" y="586"/>
                  </a:lnTo>
                  <a:lnTo>
                    <a:pt x="1063" y="584"/>
                  </a:lnTo>
                  <a:lnTo>
                    <a:pt x="1063" y="586"/>
                  </a:lnTo>
                  <a:lnTo>
                    <a:pt x="1060" y="586"/>
                  </a:lnTo>
                  <a:lnTo>
                    <a:pt x="1058" y="586"/>
                  </a:lnTo>
                  <a:lnTo>
                    <a:pt x="1060" y="586"/>
                  </a:lnTo>
                  <a:lnTo>
                    <a:pt x="1058" y="586"/>
                  </a:lnTo>
                  <a:lnTo>
                    <a:pt x="1055" y="589"/>
                  </a:lnTo>
                  <a:lnTo>
                    <a:pt x="1058" y="589"/>
                  </a:lnTo>
                  <a:lnTo>
                    <a:pt x="1058" y="591"/>
                  </a:lnTo>
                  <a:lnTo>
                    <a:pt x="1058" y="589"/>
                  </a:lnTo>
                  <a:lnTo>
                    <a:pt x="1058" y="591"/>
                  </a:lnTo>
                  <a:lnTo>
                    <a:pt x="1058" y="589"/>
                  </a:lnTo>
                  <a:lnTo>
                    <a:pt x="1058" y="591"/>
                  </a:lnTo>
                  <a:lnTo>
                    <a:pt x="1055" y="591"/>
                  </a:lnTo>
                  <a:lnTo>
                    <a:pt x="1058" y="591"/>
                  </a:lnTo>
                  <a:lnTo>
                    <a:pt x="1055" y="591"/>
                  </a:lnTo>
                  <a:lnTo>
                    <a:pt x="1055" y="594"/>
                  </a:lnTo>
                  <a:lnTo>
                    <a:pt x="1055" y="596"/>
                  </a:lnTo>
                  <a:lnTo>
                    <a:pt x="1058" y="596"/>
                  </a:lnTo>
                  <a:lnTo>
                    <a:pt x="1058" y="598"/>
                  </a:lnTo>
                  <a:lnTo>
                    <a:pt x="1058" y="596"/>
                  </a:lnTo>
                  <a:lnTo>
                    <a:pt x="1058" y="598"/>
                  </a:lnTo>
                  <a:lnTo>
                    <a:pt x="1060" y="598"/>
                  </a:lnTo>
                  <a:lnTo>
                    <a:pt x="1058" y="598"/>
                  </a:lnTo>
                  <a:lnTo>
                    <a:pt x="1060" y="598"/>
                  </a:lnTo>
                  <a:lnTo>
                    <a:pt x="1058" y="598"/>
                  </a:lnTo>
                  <a:lnTo>
                    <a:pt x="1060" y="598"/>
                  </a:lnTo>
                  <a:lnTo>
                    <a:pt x="1060" y="601"/>
                  </a:lnTo>
                  <a:lnTo>
                    <a:pt x="1063" y="601"/>
                  </a:lnTo>
                  <a:lnTo>
                    <a:pt x="1060" y="601"/>
                  </a:lnTo>
                  <a:lnTo>
                    <a:pt x="1063" y="601"/>
                  </a:lnTo>
                  <a:lnTo>
                    <a:pt x="1063" y="598"/>
                  </a:lnTo>
                  <a:lnTo>
                    <a:pt x="1060" y="598"/>
                  </a:lnTo>
                  <a:lnTo>
                    <a:pt x="1063" y="598"/>
                  </a:lnTo>
                  <a:lnTo>
                    <a:pt x="1060" y="598"/>
                  </a:lnTo>
                  <a:lnTo>
                    <a:pt x="1060" y="596"/>
                  </a:lnTo>
                  <a:lnTo>
                    <a:pt x="1063" y="596"/>
                  </a:lnTo>
                  <a:lnTo>
                    <a:pt x="1065" y="596"/>
                  </a:lnTo>
                  <a:lnTo>
                    <a:pt x="1067" y="596"/>
                  </a:lnTo>
                  <a:lnTo>
                    <a:pt x="1065" y="596"/>
                  </a:lnTo>
                  <a:lnTo>
                    <a:pt x="1067" y="596"/>
                  </a:lnTo>
                  <a:lnTo>
                    <a:pt x="1065" y="596"/>
                  </a:lnTo>
                  <a:lnTo>
                    <a:pt x="1063" y="596"/>
                  </a:lnTo>
                  <a:lnTo>
                    <a:pt x="1063" y="594"/>
                  </a:lnTo>
                  <a:lnTo>
                    <a:pt x="1063" y="596"/>
                  </a:lnTo>
                  <a:lnTo>
                    <a:pt x="1060" y="596"/>
                  </a:lnTo>
                  <a:lnTo>
                    <a:pt x="1063" y="596"/>
                  </a:lnTo>
                  <a:lnTo>
                    <a:pt x="1063" y="594"/>
                  </a:lnTo>
                  <a:lnTo>
                    <a:pt x="1063" y="596"/>
                  </a:lnTo>
                  <a:lnTo>
                    <a:pt x="1060" y="596"/>
                  </a:lnTo>
                  <a:lnTo>
                    <a:pt x="1063" y="596"/>
                  </a:lnTo>
                  <a:lnTo>
                    <a:pt x="1060" y="596"/>
                  </a:lnTo>
                  <a:lnTo>
                    <a:pt x="1060" y="594"/>
                  </a:lnTo>
                  <a:lnTo>
                    <a:pt x="1060" y="596"/>
                  </a:lnTo>
                  <a:lnTo>
                    <a:pt x="1060" y="594"/>
                  </a:lnTo>
                  <a:lnTo>
                    <a:pt x="1063" y="596"/>
                  </a:lnTo>
                  <a:lnTo>
                    <a:pt x="1063" y="594"/>
                  </a:lnTo>
                  <a:lnTo>
                    <a:pt x="1060" y="594"/>
                  </a:lnTo>
                  <a:lnTo>
                    <a:pt x="1063" y="594"/>
                  </a:lnTo>
                  <a:lnTo>
                    <a:pt x="1060" y="594"/>
                  </a:lnTo>
                  <a:lnTo>
                    <a:pt x="1060" y="591"/>
                  </a:lnTo>
                  <a:lnTo>
                    <a:pt x="1063" y="591"/>
                  </a:lnTo>
                  <a:lnTo>
                    <a:pt x="1063" y="594"/>
                  </a:lnTo>
                  <a:lnTo>
                    <a:pt x="1063" y="591"/>
                  </a:lnTo>
                  <a:lnTo>
                    <a:pt x="1060" y="591"/>
                  </a:lnTo>
                  <a:lnTo>
                    <a:pt x="1063" y="591"/>
                  </a:lnTo>
                  <a:lnTo>
                    <a:pt x="1060" y="591"/>
                  </a:lnTo>
                  <a:lnTo>
                    <a:pt x="1063" y="589"/>
                  </a:lnTo>
                  <a:lnTo>
                    <a:pt x="1060" y="589"/>
                  </a:lnTo>
                  <a:lnTo>
                    <a:pt x="1063" y="589"/>
                  </a:lnTo>
                  <a:lnTo>
                    <a:pt x="1063" y="591"/>
                  </a:lnTo>
                  <a:lnTo>
                    <a:pt x="1063" y="589"/>
                  </a:lnTo>
                  <a:lnTo>
                    <a:pt x="1060" y="589"/>
                  </a:lnTo>
                  <a:lnTo>
                    <a:pt x="1063" y="589"/>
                  </a:lnTo>
                  <a:lnTo>
                    <a:pt x="1063" y="586"/>
                  </a:lnTo>
                  <a:lnTo>
                    <a:pt x="1063" y="584"/>
                  </a:lnTo>
                  <a:lnTo>
                    <a:pt x="1063" y="586"/>
                  </a:lnTo>
                  <a:lnTo>
                    <a:pt x="1063" y="589"/>
                  </a:lnTo>
                  <a:lnTo>
                    <a:pt x="1065" y="589"/>
                  </a:lnTo>
                  <a:lnTo>
                    <a:pt x="1065" y="591"/>
                  </a:lnTo>
                  <a:lnTo>
                    <a:pt x="1067" y="591"/>
                  </a:lnTo>
                  <a:lnTo>
                    <a:pt x="1070" y="591"/>
                  </a:lnTo>
                  <a:lnTo>
                    <a:pt x="1070" y="594"/>
                  </a:lnTo>
                  <a:lnTo>
                    <a:pt x="1070" y="596"/>
                  </a:lnTo>
                  <a:lnTo>
                    <a:pt x="1070" y="594"/>
                  </a:lnTo>
                  <a:lnTo>
                    <a:pt x="1067" y="594"/>
                  </a:lnTo>
                  <a:lnTo>
                    <a:pt x="1067" y="596"/>
                  </a:lnTo>
                  <a:lnTo>
                    <a:pt x="1070" y="596"/>
                  </a:lnTo>
                  <a:lnTo>
                    <a:pt x="1072" y="596"/>
                  </a:lnTo>
                  <a:lnTo>
                    <a:pt x="1070" y="596"/>
                  </a:lnTo>
                  <a:lnTo>
                    <a:pt x="1070" y="598"/>
                  </a:lnTo>
                  <a:lnTo>
                    <a:pt x="1072" y="598"/>
                  </a:lnTo>
                  <a:lnTo>
                    <a:pt x="1072" y="601"/>
                  </a:lnTo>
                  <a:lnTo>
                    <a:pt x="1072" y="603"/>
                  </a:lnTo>
                  <a:lnTo>
                    <a:pt x="1070" y="603"/>
                  </a:lnTo>
                  <a:lnTo>
                    <a:pt x="1067" y="603"/>
                  </a:lnTo>
                  <a:lnTo>
                    <a:pt x="1070" y="603"/>
                  </a:lnTo>
                  <a:lnTo>
                    <a:pt x="1070" y="605"/>
                  </a:lnTo>
                  <a:lnTo>
                    <a:pt x="1072" y="605"/>
                  </a:lnTo>
                  <a:lnTo>
                    <a:pt x="1074" y="605"/>
                  </a:lnTo>
                  <a:lnTo>
                    <a:pt x="1072" y="608"/>
                  </a:lnTo>
                  <a:lnTo>
                    <a:pt x="1072" y="610"/>
                  </a:lnTo>
                  <a:lnTo>
                    <a:pt x="1074" y="610"/>
                  </a:lnTo>
                  <a:lnTo>
                    <a:pt x="1074" y="613"/>
                  </a:lnTo>
                  <a:lnTo>
                    <a:pt x="1074" y="615"/>
                  </a:lnTo>
                  <a:lnTo>
                    <a:pt x="1074" y="613"/>
                  </a:lnTo>
                  <a:lnTo>
                    <a:pt x="1077" y="613"/>
                  </a:lnTo>
                  <a:lnTo>
                    <a:pt x="1077" y="615"/>
                  </a:lnTo>
                  <a:lnTo>
                    <a:pt x="1079" y="615"/>
                  </a:lnTo>
                  <a:lnTo>
                    <a:pt x="1079" y="617"/>
                  </a:lnTo>
                  <a:lnTo>
                    <a:pt x="1077" y="617"/>
                  </a:lnTo>
                  <a:lnTo>
                    <a:pt x="1077" y="620"/>
                  </a:lnTo>
                  <a:lnTo>
                    <a:pt x="1077" y="622"/>
                  </a:lnTo>
                  <a:lnTo>
                    <a:pt x="1077" y="620"/>
                  </a:lnTo>
                  <a:lnTo>
                    <a:pt x="1079" y="620"/>
                  </a:lnTo>
                  <a:lnTo>
                    <a:pt x="1079" y="622"/>
                  </a:lnTo>
                  <a:lnTo>
                    <a:pt x="1077" y="622"/>
                  </a:lnTo>
                  <a:lnTo>
                    <a:pt x="1077" y="624"/>
                  </a:lnTo>
                  <a:lnTo>
                    <a:pt x="1079" y="624"/>
                  </a:lnTo>
                  <a:lnTo>
                    <a:pt x="1079" y="627"/>
                  </a:lnTo>
                  <a:lnTo>
                    <a:pt x="1079" y="629"/>
                  </a:lnTo>
                  <a:lnTo>
                    <a:pt x="1079" y="627"/>
                  </a:lnTo>
                  <a:lnTo>
                    <a:pt x="1079" y="629"/>
                  </a:lnTo>
                  <a:lnTo>
                    <a:pt x="1079" y="627"/>
                  </a:lnTo>
                  <a:lnTo>
                    <a:pt x="1079" y="624"/>
                  </a:lnTo>
                  <a:lnTo>
                    <a:pt x="1079" y="627"/>
                  </a:lnTo>
                  <a:lnTo>
                    <a:pt x="1079" y="629"/>
                  </a:lnTo>
                  <a:lnTo>
                    <a:pt x="1082" y="629"/>
                  </a:lnTo>
                  <a:lnTo>
                    <a:pt x="1082" y="632"/>
                  </a:lnTo>
                  <a:lnTo>
                    <a:pt x="1084" y="632"/>
                  </a:lnTo>
                  <a:lnTo>
                    <a:pt x="1082" y="634"/>
                  </a:lnTo>
                  <a:lnTo>
                    <a:pt x="1082" y="636"/>
                  </a:lnTo>
                  <a:lnTo>
                    <a:pt x="1082" y="634"/>
                  </a:lnTo>
                  <a:lnTo>
                    <a:pt x="1082" y="636"/>
                  </a:lnTo>
                  <a:lnTo>
                    <a:pt x="1082" y="639"/>
                  </a:lnTo>
                  <a:lnTo>
                    <a:pt x="1079" y="639"/>
                  </a:lnTo>
                  <a:lnTo>
                    <a:pt x="1079" y="641"/>
                  </a:lnTo>
                  <a:lnTo>
                    <a:pt x="1082" y="641"/>
                  </a:lnTo>
                  <a:lnTo>
                    <a:pt x="1082" y="643"/>
                  </a:lnTo>
                  <a:lnTo>
                    <a:pt x="1082" y="646"/>
                  </a:lnTo>
                  <a:lnTo>
                    <a:pt x="1082" y="648"/>
                  </a:lnTo>
                  <a:lnTo>
                    <a:pt x="1084" y="648"/>
                  </a:lnTo>
                  <a:lnTo>
                    <a:pt x="1084" y="651"/>
                  </a:lnTo>
                  <a:lnTo>
                    <a:pt x="1084" y="653"/>
                  </a:lnTo>
                  <a:lnTo>
                    <a:pt x="1082" y="653"/>
                  </a:lnTo>
                  <a:lnTo>
                    <a:pt x="1084" y="651"/>
                  </a:lnTo>
                  <a:lnTo>
                    <a:pt x="1082" y="653"/>
                  </a:lnTo>
                  <a:lnTo>
                    <a:pt x="1084" y="653"/>
                  </a:lnTo>
                  <a:lnTo>
                    <a:pt x="1084" y="655"/>
                  </a:lnTo>
                  <a:lnTo>
                    <a:pt x="1084" y="658"/>
                  </a:lnTo>
                  <a:lnTo>
                    <a:pt x="1084" y="660"/>
                  </a:lnTo>
                  <a:lnTo>
                    <a:pt x="1084" y="662"/>
                  </a:lnTo>
                  <a:lnTo>
                    <a:pt x="1082" y="662"/>
                  </a:lnTo>
                  <a:lnTo>
                    <a:pt x="1082" y="665"/>
                  </a:lnTo>
                  <a:lnTo>
                    <a:pt x="1084" y="665"/>
                  </a:lnTo>
                  <a:lnTo>
                    <a:pt x="1082" y="665"/>
                  </a:lnTo>
                  <a:lnTo>
                    <a:pt x="1084" y="665"/>
                  </a:lnTo>
                  <a:lnTo>
                    <a:pt x="1082" y="665"/>
                  </a:lnTo>
                  <a:lnTo>
                    <a:pt x="1082" y="667"/>
                  </a:lnTo>
                  <a:lnTo>
                    <a:pt x="1082" y="670"/>
                  </a:lnTo>
                  <a:lnTo>
                    <a:pt x="1082" y="672"/>
                  </a:lnTo>
                  <a:lnTo>
                    <a:pt x="1079" y="672"/>
                  </a:lnTo>
                  <a:lnTo>
                    <a:pt x="1077" y="672"/>
                  </a:lnTo>
                  <a:lnTo>
                    <a:pt x="1077" y="674"/>
                  </a:lnTo>
                  <a:lnTo>
                    <a:pt x="1077" y="672"/>
                  </a:lnTo>
                  <a:lnTo>
                    <a:pt x="1074" y="672"/>
                  </a:lnTo>
                  <a:lnTo>
                    <a:pt x="1077" y="672"/>
                  </a:lnTo>
                  <a:lnTo>
                    <a:pt x="1077" y="674"/>
                  </a:lnTo>
                  <a:lnTo>
                    <a:pt x="1074" y="674"/>
                  </a:lnTo>
                  <a:lnTo>
                    <a:pt x="1077" y="674"/>
                  </a:lnTo>
                  <a:lnTo>
                    <a:pt x="1077" y="672"/>
                  </a:lnTo>
                  <a:lnTo>
                    <a:pt x="1077" y="674"/>
                  </a:lnTo>
                  <a:lnTo>
                    <a:pt x="1077" y="672"/>
                  </a:lnTo>
                  <a:lnTo>
                    <a:pt x="1077" y="674"/>
                  </a:lnTo>
                  <a:lnTo>
                    <a:pt x="1077" y="672"/>
                  </a:lnTo>
                  <a:lnTo>
                    <a:pt x="1079" y="672"/>
                  </a:lnTo>
                  <a:lnTo>
                    <a:pt x="1077" y="672"/>
                  </a:lnTo>
                  <a:lnTo>
                    <a:pt x="1079" y="672"/>
                  </a:lnTo>
                  <a:lnTo>
                    <a:pt x="1077" y="672"/>
                  </a:lnTo>
                  <a:lnTo>
                    <a:pt x="1077" y="674"/>
                  </a:lnTo>
                  <a:lnTo>
                    <a:pt x="1074" y="674"/>
                  </a:lnTo>
                  <a:lnTo>
                    <a:pt x="1074" y="677"/>
                  </a:lnTo>
                  <a:lnTo>
                    <a:pt x="1074" y="674"/>
                  </a:lnTo>
                  <a:lnTo>
                    <a:pt x="1077" y="674"/>
                  </a:lnTo>
                  <a:lnTo>
                    <a:pt x="1074" y="677"/>
                  </a:lnTo>
                  <a:lnTo>
                    <a:pt x="1074" y="679"/>
                  </a:lnTo>
                  <a:lnTo>
                    <a:pt x="1072" y="679"/>
                  </a:lnTo>
                  <a:lnTo>
                    <a:pt x="1072" y="682"/>
                  </a:lnTo>
                  <a:lnTo>
                    <a:pt x="1074" y="679"/>
                  </a:lnTo>
                  <a:lnTo>
                    <a:pt x="1074" y="682"/>
                  </a:lnTo>
                  <a:lnTo>
                    <a:pt x="1074" y="684"/>
                  </a:lnTo>
                  <a:lnTo>
                    <a:pt x="1072" y="684"/>
                  </a:lnTo>
                  <a:lnTo>
                    <a:pt x="1074" y="684"/>
                  </a:lnTo>
                  <a:lnTo>
                    <a:pt x="1072" y="686"/>
                  </a:lnTo>
                  <a:lnTo>
                    <a:pt x="1072" y="689"/>
                  </a:lnTo>
                  <a:lnTo>
                    <a:pt x="1072" y="691"/>
                  </a:lnTo>
                  <a:lnTo>
                    <a:pt x="1072" y="693"/>
                  </a:lnTo>
                  <a:lnTo>
                    <a:pt x="1070" y="693"/>
                  </a:lnTo>
                  <a:lnTo>
                    <a:pt x="1072" y="693"/>
                  </a:lnTo>
                  <a:lnTo>
                    <a:pt x="1070" y="696"/>
                  </a:lnTo>
                  <a:lnTo>
                    <a:pt x="1070" y="693"/>
                  </a:lnTo>
                  <a:lnTo>
                    <a:pt x="1067" y="693"/>
                  </a:lnTo>
                  <a:lnTo>
                    <a:pt x="1070" y="693"/>
                  </a:lnTo>
                  <a:lnTo>
                    <a:pt x="1070" y="696"/>
                  </a:lnTo>
                  <a:lnTo>
                    <a:pt x="1072" y="696"/>
                  </a:lnTo>
                  <a:lnTo>
                    <a:pt x="1070" y="696"/>
                  </a:lnTo>
                  <a:lnTo>
                    <a:pt x="1072" y="696"/>
                  </a:lnTo>
                  <a:lnTo>
                    <a:pt x="1072" y="698"/>
                  </a:lnTo>
                  <a:lnTo>
                    <a:pt x="1070" y="698"/>
                  </a:lnTo>
                  <a:lnTo>
                    <a:pt x="1070" y="696"/>
                  </a:lnTo>
                  <a:lnTo>
                    <a:pt x="1067" y="696"/>
                  </a:lnTo>
                  <a:lnTo>
                    <a:pt x="1070" y="696"/>
                  </a:lnTo>
                  <a:lnTo>
                    <a:pt x="1070" y="698"/>
                  </a:lnTo>
                  <a:lnTo>
                    <a:pt x="1067" y="698"/>
                  </a:lnTo>
                  <a:lnTo>
                    <a:pt x="1070" y="698"/>
                  </a:lnTo>
                  <a:lnTo>
                    <a:pt x="1067" y="698"/>
                  </a:lnTo>
                  <a:lnTo>
                    <a:pt x="1067" y="696"/>
                  </a:lnTo>
                  <a:lnTo>
                    <a:pt x="1065" y="696"/>
                  </a:lnTo>
                  <a:lnTo>
                    <a:pt x="1065" y="698"/>
                  </a:lnTo>
                  <a:lnTo>
                    <a:pt x="1063" y="698"/>
                  </a:lnTo>
                  <a:lnTo>
                    <a:pt x="1060" y="701"/>
                  </a:lnTo>
                  <a:lnTo>
                    <a:pt x="1060" y="698"/>
                  </a:lnTo>
                  <a:lnTo>
                    <a:pt x="1060" y="696"/>
                  </a:lnTo>
                  <a:lnTo>
                    <a:pt x="1058" y="696"/>
                  </a:lnTo>
                  <a:lnTo>
                    <a:pt x="1055" y="698"/>
                  </a:lnTo>
                  <a:lnTo>
                    <a:pt x="1055" y="696"/>
                  </a:lnTo>
                  <a:lnTo>
                    <a:pt x="1053" y="696"/>
                  </a:lnTo>
                  <a:lnTo>
                    <a:pt x="1053" y="698"/>
                  </a:lnTo>
                  <a:lnTo>
                    <a:pt x="1051" y="698"/>
                  </a:lnTo>
                  <a:lnTo>
                    <a:pt x="1051" y="696"/>
                  </a:lnTo>
                  <a:lnTo>
                    <a:pt x="1048" y="696"/>
                  </a:lnTo>
                  <a:lnTo>
                    <a:pt x="1048" y="698"/>
                  </a:lnTo>
                  <a:lnTo>
                    <a:pt x="1051" y="698"/>
                  </a:lnTo>
                  <a:lnTo>
                    <a:pt x="1048" y="698"/>
                  </a:lnTo>
                  <a:lnTo>
                    <a:pt x="1046" y="698"/>
                  </a:lnTo>
                  <a:lnTo>
                    <a:pt x="1046" y="696"/>
                  </a:lnTo>
                  <a:lnTo>
                    <a:pt x="1046" y="698"/>
                  </a:lnTo>
                  <a:lnTo>
                    <a:pt x="1044" y="698"/>
                  </a:lnTo>
                  <a:lnTo>
                    <a:pt x="1041" y="698"/>
                  </a:lnTo>
                  <a:lnTo>
                    <a:pt x="1039" y="698"/>
                  </a:lnTo>
                  <a:lnTo>
                    <a:pt x="1041" y="696"/>
                  </a:lnTo>
                  <a:lnTo>
                    <a:pt x="1039" y="696"/>
                  </a:lnTo>
                  <a:lnTo>
                    <a:pt x="1036" y="696"/>
                  </a:lnTo>
                  <a:lnTo>
                    <a:pt x="1034" y="696"/>
                  </a:lnTo>
                  <a:lnTo>
                    <a:pt x="1032" y="698"/>
                  </a:lnTo>
                  <a:lnTo>
                    <a:pt x="1034" y="698"/>
                  </a:lnTo>
                  <a:lnTo>
                    <a:pt x="1034" y="696"/>
                  </a:lnTo>
                  <a:lnTo>
                    <a:pt x="1036" y="696"/>
                  </a:lnTo>
                  <a:lnTo>
                    <a:pt x="1039" y="696"/>
                  </a:lnTo>
                  <a:lnTo>
                    <a:pt x="1036" y="696"/>
                  </a:lnTo>
                  <a:lnTo>
                    <a:pt x="1039" y="696"/>
                  </a:lnTo>
                  <a:lnTo>
                    <a:pt x="1041" y="696"/>
                  </a:lnTo>
                  <a:lnTo>
                    <a:pt x="1039" y="696"/>
                  </a:lnTo>
                  <a:lnTo>
                    <a:pt x="1039" y="698"/>
                  </a:lnTo>
                  <a:lnTo>
                    <a:pt x="1041" y="698"/>
                  </a:lnTo>
                  <a:lnTo>
                    <a:pt x="1044" y="698"/>
                  </a:lnTo>
                  <a:lnTo>
                    <a:pt x="1046" y="698"/>
                  </a:lnTo>
                  <a:lnTo>
                    <a:pt x="1046" y="696"/>
                  </a:lnTo>
                  <a:lnTo>
                    <a:pt x="1046" y="698"/>
                  </a:lnTo>
                  <a:lnTo>
                    <a:pt x="1048" y="698"/>
                  </a:lnTo>
                  <a:lnTo>
                    <a:pt x="1051" y="698"/>
                  </a:lnTo>
                  <a:lnTo>
                    <a:pt x="1048" y="698"/>
                  </a:lnTo>
                  <a:lnTo>
                    <a:pt x="1048" y="696"/>
                  </a:lnTo>
                  <a:lnTo>
                    <a:pt x="1051" y="698"/>
                  </a:lnTo>
                  <a:lnTo>
                    <a:pt x="1053" y="698"/>
                  </a:lnTo>
                  <a:lnTo>
                    <a:pt x="1053" y="696"/>
                  </a:lnTo>
                  <a:lnTo>
                    <a:pt x="1055" y="696"/>
                  </a:lnTo>
                  <a:lnTo>
                    <a:pt x="1055" y="698"/>
                  </a:lnTo>
                  <a:lnTo>
                    <a:pt x="1058" y="698"/>
                  </a:lnTo>
                  <a:lnTo>
                    <a:pt x="1058" y="696"/>
                  </a:lnTo>
                  <a:lnTo>
                    <a:pt x="1060" y="698"/>
                  </a:lnTo>
                  <a:lnTo>
                    <a:pt x="1060" y="701"/>
                  </a:lnTo>
                  <a:lnTo>
                    <a:pt x="1063" y="698"/>
                  </a:lnTo>
                  <a:lnTo>
                    <a:pt x="1065" y="698"/>
                  </a:lnTo>
                  <a:lnTo>
                    <a:pt x="1065" y="696"/>
                  </a:lnTo>
                  <a:lnTo>
                    <a:pt x="1067" y="698"/>
                  </a:lnTo>
                  <a:lnTo>
                    <a:pt x="1065" y="698"/>
                  </a:lnTo>
                  <a:lnTo>
                    <a:pt x="1067" y="698"/>
                  </a:lnTo>
                  <a:lnTo>
                    <a:pt x="1070" y="698"/>
                  </a:lnTo>
                  <a:lnTo>
                    <a:pt x="1067" y="698"/>
                  </a:lnTo>
                  <a:lnTo>
                    <a:pt x="1070" y="698"/>
                  </a:lnTo>
                  <a:lnTo>
                    <a:pt x="1072" y="698"/>
                  </a:lnTo>
                  <a:lnTo>
                    <a:pt x="1070" y="698"/>
                  </a:lnTo>
                  <a:lnTo>
                    <a:pt x="1072" y="698"/>
                  </a:lnTo>
                  <a:lnTo>
                    <a:pt x="1072" y="701"/>
                  </a:lnTo>
                  <a:lnTo>
                    <a:pt x="1070" y="701"/>
                  </a:lnTo>
                  <a:lnTo>
                    <a:pt x="1072" y="701"/>
                  </a:lnTo>
                  <a:lnTo>
                    <a:pt x="1074" y="701"/>
                  </a:lnTo>
                  <a:lnTo>
                    <a:pt x="1077" y="701"/>
                  </a:lnTo>
                  <a:lnTo>
                    <a:pt x="1079" y="701"/>
                  </a:lnTo>
                  <a:lnTo>
                    <a:pt x="1082" y="701"/>
                  </a:lnTo>
                  <a:lnTo>
                    <a:pt x="1084" y="701"/>
                  </a:lnTo>
                  <a:lnTo>
                    <a:pt x="1086" y="701"/>
                  </a:lnTo>
                  <a:lnTo>
                    <a:pt x="1089" y="701"/>
                  </a:lnTo>
                  <a:lnTo>
                    <a:pt x="1091" y="703"/>
                  </a:lnTo>
                  <a:lnTo>
                    <a:pt x="1093" y="703"/>
                  </a:lnTo>
                  <a:lnTo>
                    <a:pt x="1091" y="703"/>
                  </a:lnTo>
                  <a:lnTo>
                    <a:pt x="1093" y="703"/>
                  </a:lnTo>
                  <a:lnTo>
                    <a:pt x="1093" y="705"/>
                  </a:lnTo>
                  <a:lnTo>
                    <a:pt x="1091" y="705"/>
                  </a:lnTo>
                  <a:lnTo>
                    <a:pt x="1089" y="705"/>
                  </a:lnTo>
                  <a:lnTo>
                    <a:pt x="1089" y="708"/>
                  </a:lnTo>
                  <a:lnTo>
                    <a:pt x="1089" y="705"/>
                  </a:lnTo>
                  <a:lnTo>
                    <a:pt x="1091" y="705"/>
                  </a:lnTo>
                  <a:lnTo>
                    <a:pt x="1093" y="705"/>
                  </a:lnTo>
                  <a:lnTo>
                    <a:pt x="1093" y="703"/>
                  </a:lnTo>
                  <a:lnTo>
                    <a:pt x="1093" y="705"/>
                  </a:lnTo>
                  <a:lnTo>
                    <a:pt x="1093" y="703"/>
                  </a:lnTo>
                  <a:lnTo>
                    <a:pt x="1093" y="705"/>
                  </a:lnTo>
                  <a:lnTo>
                    <a:pt x="1096" y="705"/>
                  </a:lnTo>
                  <a:lnTo>
                    <a:pt x="1096" y="703"/>
                  </a:lnTo>
                  <a:lnTo>
                    <a:pt x="1096" y="705"/>
                  </a:lnTo>
                  <a:lnTo>
                    <a:pt x="1096" y="703"/>
                  </a:lnTo>
                  <a:lnTo>
                    <a:pt x="1096" y="705"/>
                  </a:lnTo>
                  <a:lnTo>
                    <a:pt x="1096" y="708"/>
                  </a:lnTo>
                  <a:lnTo>
                    <a:pt x="1098" y="708"/>
                  </a:lnTo>
                  <a:lnTo>
                    <a:pt x="1101" y="708"/>
                  </a:lnTo>
                  <a:lnTo>
                    <a:pt x="1103" y="708"/>
                  </a:lnTo>
                  <a:lnTo>
                    <a:pt x="1105" y="708"/>
                  </a:lnTo>
                  <a:lnTo>
                    <a:pt x="1108" y="708"/>
                  </a:lnTo>
                  <a:lnTo>
                    <a:pt x="1105" y="708"/>
                  </a:lnTo>
                  <a:lnTo>
                    <a:pt x="1108" y="708"/>
                  </a:lnTo>
                  <a:lnTo>
                    <a:pt x="1110" y="708"/>
                  </a:lnTo>
                  <a:lnTo>
                    <a:pt x="1112" y="708"/>
                  </a:lnTo>
                  <a:lnTo>
                    <a:pt x="1110" y="708"/>
                  </a:lnTo>
                  <a:lnTo>
                    <a:pt x="1112" y="708"/>
                  </a:lnTo>
                  <a:lnTo>
                    <a:pt x="1115" y="708"/>
                  </a:lnTo>
                  <a:lnTo>
                    <a:pt x="1115" y="710"/>
                  </a:lnTo>
                  <a:lnTo>
                    <a:pt x="1117" y="710"/>
                  </a:lnTo>
                  <a:lnTo>
                    <a:pt x="1119" y="710"/>
                  </a:lnTo>
                  <a:lnTo>
                    <a:pt x="1122" y="710"/>
                  </a:lnTo>
                  <a:lnTo>
                    <a:pt x="1122" y="712"/>
                  </a:lnTo>
                  <a:lnTo>
                    <a:pt x="1124" y="715"/>
                  </a:lnTo>
                  <a:lnTo>
                    <a:pt x="1127" y="715"/>
                  </a:lnTo>
                  <a:lnTo>
                    <a:pt x="1127" y="717"/>
                  </a:lnTo>
                  <a:lnTo>
                    <a:pt x="1129" y="717"/>
                  </a:lnTo>
                  <a:lnTo>
                    <a:pt x="1129" y="720"/>
                  </a:lnTo>
                  <a:lnTo>
                    <a:pt x="1131" y="720"/>
                  </a:lnTo>
                  <a:lnTo>
                    <a:pt x="1131" y="722"/>
                  </a:lnTo>
                  <a:lnTo>
                    <a:pt x="1129" y="722"/>
                  </a:lnTo>
                  <a:lnTo>
                    <a:pt x="1131" y="722"/>
                  </a:lnTo>
                  <a:lnTo>
                    <a:pt x="1129" y="722"/>
                  </a:lnTo>
                  <a:lnTo>
                    <a:pt x="1129" y="724"/>
                  </a:lnTo>
                  <a:lnTo>
                    <a:pt x="1127" y="727"/>
                  </a:lnTo>
                  <a:lnTo>
                    <a:pt x="1127" y="729"/>
                  </a:lnTo>
                  <a:lnTo>
                    <a:pt x="1127" y="731"/>
                  </a:lnTo>
                  <a:lnTo>
                    <a:pt x="1127" y="734"/>
                  </a:lnTo>
                  <a:lnTo>
                    <a:pt x="1124" y="734"/>
                  </a:lnTo>
                  <a:lnTo>
                    <a:pt x="1122" y="734"/>
                  </a:lnTo>
                  <a:lnTo>
                    <a:pt x="1119" y="734"/>
                  </a:lnTo>
                  <a:lnTo>
                    <a:pt x="1119" y="736"/>
                  </a:lnTo>
                  <a:lnTo>
                    <a:pt x="1117" y="736"/>
                  </a:lnTo>
                  <a:lnTo>
                    <a:pt x="1115" y="736"/>
                  </a:lnTo>
                  <a:lnTo>
                    <a:pt x="1112" y="739"/>
                  </a:lnTo>
                  <a:lnTo>
                    <a:pt x="1112" y="741"/>
                  </a:lnTo>
                  <a:lnTo>
                    <a:pt x="1110" y="741"/>
                  </a:lnTo>
                  <a:lnTo>
                    <a:pt x="1110" y="743"/>
                  </a:lnTo>
                  <a:lnTo>
                    <a:pt x="1112" y="743"/>
                  </a:lnTo>
                  <a:lnTo>
                    <a:pt x="1112" y="746"/>
                  </a:lnTo>
                  <a:lnTo>
                    <a:pt x="1115" y="746"/>
                  </a:lnTo>
                  <a:lnTo>
                    <a:pt x="1112" y="748"/>
                  </a:lnTo>
                  <a:lnTo>
                    <a:pt x="1112" y="750"/>
                  </a:lnTo>
                  <a:lnTo>
                    <a:pt x="1112" y="753"/>
                  </a:lnTo>
                  <a:lnTo>
                    <a:pt x="1112" y="755"/>
                  </a:lnTo>
                  <a:lnTo>
                    <a:pt x="1115" y="755"/>
                  </a:lnTo>
                  <a:lnTo>
                    <a:pt x="1117" y="755"/>
                  </a:lnTo>
                  <a:lnTo>
                    <a:pt x="1117" y="758"/>
                  </a:lnTo>
                  <a:lnTo>
                    <a:pt x="1119" y="758"/>
                  </a:lnTo>
                  <a:lnTo>
                    <a:pt x="1119" y="755"/>
                  </a:lnTo>
                  <a:lnTo>
                    <a:pt x="1122" y="755"/>
                  </a:lnTo>
                  <a:lnTo>
                    <a:pt x="1122" y="758"/>
                  </a:lnTo>
                  <a:lnTo>
                    <a:pt x="1124" y="758"/>
                  </a:lnTo>
                  <a:lnTo>
                    <a:pt x="1122" y="758"/>
                  </a:lnTo>
                  <a:lnTo>
                    <a:pt x="1122" y="760"/>
                  </a:lnTo>
                  <a:lnTo>
                    <a:pt x="1119" y="760"/>
                  </a:lnTo>
                  <a:lnTo>
                    <a:pt x="1119" y="762"/>
                  </a:lnTo>
                  <a:lnTo>
                    <a:pt x="1122" y="765"/>
                  </a:lnTo>
                  <a:lnTo>
                    <a:pt x="1119" y="765"/>
                  </a:lnTo>
                  <a:lnTo>
                    <a:pt x="1119" y="767"/>
                  </a:lnTo>
                  <a:lnTo>
                    <a:pt x="1119" y="769"/>
                  </a:lnTo>
                  <a:lnTo>
                    <a:pt x="1117" y="769"/>
                  </a:lnTo>
                  <a:lnTo>
                    <a:pt x="1115" y="769"/>
                  </a:lnTo>
                  <a:lnTo>
                    <a:pt x="1115" y="772"/>
                  </a:lnTo>
                  <a:lnTo>
                    <a:pt x="1117" y="772"/>
                  </a:lnTo>
                  <a:lnTo>
                    <a:pt x="1117" y="774"/>
                  </a:lnTo>
                  <a:lnTo>
                    <a:pt x="1119" y="774"/>
                  </a:lnTo>
                  <a:lnTo>
                    <a:pt x="1117" y="774"/>
                  </a:lnTo>
                  <a:lnTo>
                    <a:pt x="1117" y="777"/>
                  </a:lnTo>
                  <a:lnTo>
                    <a:pt x="1119" y="777"/>
                  </a:lnTo>
                  <a:lnTo>
                    <a:pt x="1122" y="777"/>
                  </a:lnTo>
                  <a:lnTo>
                    <a:pt x="1122" y="779"/>
                  </a:lnTo>
                  <a:lnTo>
                    <a:pt x="1122" y="781"/>
                  </a:lnTo>
                  <a:lnTo>
                    <a:pt x="1124" y="781"/>
                  </a:lnTo>
                  <a:lnTo>
                    <a:pt x="1124" y="784"/>
                  </a:lnTo>
                  <a:lnTo>
                    <a:pt x="1127" y="784"/>
                  </a:lnTo>
                  <a:lnTo>
                    <a:pt x="1124" y="784"/>
                  </a:lnTo>
                  <a:lnTo>
                    <a:pt x="1127" y="784"/>
                  </a:lnTo>
                  <a:lnTo>
                    <a:pt x="1124" y="784"/>
                  </a:lnTo>
                  <a:lnTo>
                    <a:pt x="1127" y="784"/>
                  </a:lnTo>
                  <a:lnTo>
                    <a:pt x="1124" y="784"/>
                  </a:lnTo>
                  <a:lnTo>
                    <a:pt x="1124" y="781"/>
                  </a:lnTo>
                  <a:lnTo>
                    <a:pt x="1122" y="781"/>
                  </a:lnTo>
                  <a:lnTo>
                    <a:pt x="1122" y="779"/>
                  </a:lnTo>
                  <a:lnTo>
                    <a:pt x="1122" y="777"/>
                  </a:lnTo>
                  <a:lnTo>
                    <a:pt x="1119" y="777"/>
                  </a:lnTo>
                  <a:lnTo>
                    <a:pt x="1117" y="777"/>
                  </a:lnTo>
                  <a:lnTo>
                    <a:pt x="1117" y="774"/>
                  </a:lnTo>
                  <a:lnTo>
                    <a:pt x="1119" y="774"/>
                  </a:lnTo>
                  <a:lnTo>
                    <a:pt x="1117" y="774"/>
                  </a:lnTo>
                  <a:lnTo>
                    <a:pt x="1117" y="772"/>
                  </a:lnTo>
                  <a:lnTo>
                    <a:pt x="1115" y="772"/>
                  </a:lnTo>
                  <a:lnTo>
                    <a:pt x="1115" y="769"/>
                  </a:lnTo>
                  <a:lnTo>
                    <a:pt x="1117" y="769"/>
                  </a:lnTo>
                  <a:lnTo>
                    <a:pt x="1119" y="769"/>
                  </a:lnTo>
                  <a:lnTo>
                    <a:pt x="1119" y="767"/>
                  </a:lnTo>
                  <a:lnTo>
                    <a:pt x="1119" y="765"/>
                  </a:lnTo>
                  <a:lnTo>
                    <a:pt x="1122" y="765"/>
                  </a:lnTo>
                  <a:lnTo>
                    <a:pt x="1122" y="762"/>
                  </a:lnTo>
                  <a:lnTo>
                    <a:pt x="1119" y="760"/>
                  </a:lnTo>
                  <a:lnTo>
                    <a:pt x="1122" y="760"/>
                  </a:lnTo>
                  <a:lnTo>
                    <a:pt x="1124" y="758"/>
                  </a:lnTo>
                  <a:lnTo>
                    <a:pt x="1122" y="758"/>
                  </a:lnTo>
                  <a:lnTo>
                    <a:pt x="1122" y="755"/>
                  </a:lnTo>
                  <a:lnTo>
                    <a:pt x="1119" y="755"/>
                  </a:lnTo>
                  <a:lnTo>
                    <a:pt x="1117" y="758"/>
                  </a:lnTo>
                  <a:lnTo>
                    <a:pt x="1117" y="755"/>
                  </a:lnTo>
                  <a:lnTo>
                    <a:pt x="1115" y="755"/>
                  </a:lnTo>
                  <a:lnTo>
                    <a:pt x="1112" y="755"/>
                  </a:lnTo>
                  <a:lnTo>
                    <a:pt x="1112" y="753"/>
                  </a:lnTo>
                  <a:lnTo>
                    <a:pt x="1112" y="750"/>
                  </a:lnTo>
                  <a:lnTo>
                    <a:pt x="1112" y="748"/>
                  </a:lnTo>
                  <a:lnTo>
                    <a:pt x="1115" y="748"/>
                  </a:lnTo>
                  <a:lnTo>
                    <a:pt x="1115" y="746"/>
                  </a:lnTo>
                  <a:lnTo>
                    <a:pt x="1112" y="746"/>
                  </a:lnTo>
                  <a:lnTo>
                    <a:pt x="1112" y="743"/>
                  </a:lnTo>
                  <a:lnTo>
                    <a:pt x="1110" y="743"/>
                  </a:lnTo>
                  <a:lnTo>
                    <a:pt x="1110" y="741"/>
                  </a:lnTo>
                  <a:lnTo>
                    <a:pt x="1112" y="741"/>
                  </a:lnTo>
                  <a:lnTo>
                    <a:pt x="1112" y="739"/>
                  </a:lnTo>
                  <a:lnTo>
                    <a:pt x="1115" y="739"/>
                  </a:lnTo>
                  <a:lnTo>
                    <a:pt x="1115" y="736"/>
                  </a:lnTo>
                  <a:lnTo>
                    <a:pt x="1117" y="736"/>
                  </a:lnTo>
                  <a:lnTo>
                    <a:pt x="1119" y="736"/>
                  </a:lnTo>
                  <a:lnTo>
                    <a:pt x="1119" y="734"/>
                  </a:lnTo>
                  <a:lnTo>
                    <a:pt x="1122" y="734"/>
                  </a:lnTo>
                  <a:lnTo>
                    <a:pt x="1124" y="734"/>
                  </a:lnTo>
                  <a:lnTo>
                    <a:pt x="1127" y="734"/>
                  </a:lnTo>
                  <a:lnTo>
                    <a:pt x="1127" y="731"/>
                  </a:lnTo>
                  <a:lnTo>
                    <a:pt x="1127" y="729"/>
                  </a:lnTo>
                  <a:lnTo>
                    <a:pt x="1127" y="727"/>
                  </a:lnTo>
                  <a:lnTo>
                    <a:pt x="1127" y="724"/>
                  </a:lnTo>
                  <a:lnTo>
                    <a:pt x="1129" y="724"/>
                  </a:lnTo>
                  <a:lnTo>
                    <a:pt x="1129" y="722"/>
                  </a:lnTo>
                  <a:lnTo>
                    <a:pt x="1131" y="722"/>
                  </a:lnTo>
                  <a:lnTo>
                    <a:pt x="1131" y="720"/>
                  </a:lnTo>
                  <a:lnTo>
                    <a:pt x="1131" y="717"/>
                  </a:lnTo>
                  <a:lnTo>
                    <a:pt x="1129" y="717"/>
                  </a:lnTo>
                  <a:lnTo>
                    <a:pt x="1127" y="715"/>
                  </a:lnTo>
                  <a:lnTo>
                    <a:pt x="1124" y="715"/>
                  </a:lnTo>
                  <a:lnTo>
                    <a:pt x="1124" y="712"/>
                  </a:lnTo>
                  <a:lnTo>
                    <a:pt x="1122" y="712"/>
                  </a:lnTo>
                  <a:lnTo>
                    <a:pt x="1122" y="710"/>
                  </a:lnTo>
                  <a:lnTo>
                    <a:pt x="1119" y="710"/>
                  </a:lnTo>
                  <a:lnTo>
                    <a:pt x="1117" y="710"/>
                  </a:lnTo>
                  <a:lnTo>
                    <a:pt x="1115" y="710"/>
                  </a:lnTo>
                  <a:lnTo>
                    <a:pt x="1115" y="708"/>
                  </a:lnTo>
                  <a:lnTo>
                    <a:pt x="1112" y="708"/>
                  </a:lnTo>
                  <a:lnTo>
                    <a:pt x="1110" y="708"/>
                  </a:lnTo>
                  <a:lnTo>
                    <a:pt x="1108" y="708"/>
                  </a:lnTo>
                  <a:lnTo>
                    <a:pt x="1108" y="705"/>
                  </a:lnTo>
                  <a:lnTo>
                    <a:pt x="1110" y="708"/>
                  </a:lnTo>
                  <a:lnTo>
                    <a:pt x="1110" y="705"/>
                  </a:lnTo>
                  <a:lnTo>
                    <a:pt x="1108" y="705"/>
                  </a:lnTo>
                  <a:lnTo>
                    <a:pt x="1105" y="708"/>
                  </a:lnTo>
                  <a:lnTo>
                    <a:pt x="1103" y="708"/>
                  </a:lnTo>
                  <a:lnTo>
                    <a:pt x="1101" y="708"/>
                  </a:lnTo>
                  <a:lnTo>
                    <a:pt x="1103" y="708"/>
                  </a:lnTo>
                  <a:lnTo>
                    <a:pt x="1101" y="708"/>
                  </a:lnTo>
                  <a:lnTo>
                    <a:pt x="1098" y="708"/>
                  </a:lnTo>
                  <a:lnTo>
                    <a:pt x="1098" y="705"/>
                  </a:lnTo>
                  <a:lnTo>
                    <a:pt x="1101" y="703"/>
                  </a:lnTo>
                  <a:lnTo>
                    <a:pt x="1103" y="703"/>
                  </a:lnTo>
                  <a:lnTo>
                    <a:pt x="1105" y="703"/>
                  </a:lnTo>
                  <a:lnTo>
                    <a:pt x="1108" y="703"/>
                  </a:lnTo>
                  <a:lnTo>
                    <a:pt x="1110" y="703"/>
                  </a:lnTo>
                  <a:lnTo>
                    <a:pt x="1112" y="705"/>
                  </a:lnTo>
                  <a:lnTo>
                    <a:pt x="1115" y="705"/>
                  </a:lnTo>
                  <a:lnTo>
                    <a:pt x="1115" y="703"/>
                  </a:lnTo>
                  <a:lnTo>
                    <a:pt x="1115" y="705"/>
                  </a:lnTo>
                  <a:lnTo>
                    <a:pt x="1115" y="703"/>
                  </a:lnTo>
                  <a:lnTo>
                    <a:pt x="1117" y="703"/>
                  </a:lnTo>
                  <a:lnTo>
                    <a:pt x="1115" y="703"/>
                  </a:lnTo>
                  <a:lnTo>
                    <a:pt x="1115" y="705"/>
                  </a:lnTo>
                  <a:lnTo>
                    <a:pt x="1115" y="703"/>
                  </a:lnTo>
                  <a:lnTo>
                    <a:pt x="1117" y="703"/>
                  </a:lnTo>
                  <a:lnTo>
                    <a:pt x="1119" y="701"/>
                  </a:lnTo>
                  <a:lnTo>
                    <a:pt x="1122" y="701"/>
                  </a:lnTo>
                  <a:lnTo>
                    <a:pt x="1124" y="698"/>
                  </a:lnTo>
                  <a:lnTo>
                    <a:pt x="1127" y="698"/>
                  </a:lnTo>
                  <a:lnTo>
                    <a:pt x="1129" y="698"/>
                  </a:lnTo>
                  <a:lnTo>
                    <a:pt x="1131" y="698"/>
                  </a:lnTo>
                  <a:lnTo>
                    <a:pt x="1134" y="698"/>
                  </a:lnTo>
                  <a:lnTo>
                    <a:pt x="1134" y="696"/>
                  </a:lnTo>
                  <a:lnTo>
                    <a:pt x="1136" y="696"/>
                  </a:lnTo>
                  <a:lnTo>
                    <a:pt x="1138" y="696"/>
                  </a:lnTo>
                  <a:lnTo>
                    <a:pt x="1141" y="698"/>
                  </a:lnTo>
                  <a:lnTo>
                    <a:pt x="1143" y="698"/>
                  </a:lnTo>
                  <a:lnTo>
                    <a:pt x="1146" y="698"/>
                  </a:lnTo>
                  <a:lnTo>
                    <a:pt x="1146" y="696"/>
                  </a:lnTo>
                  <a:lnTo>
                    <a:pt x="1148" y="693"/>
                  </a:lnTo>
                  <a:lnTo>
                    <a:pt x="1148" y="696"/>
                  </a:lnTo>
                  <a:lnTo>
                    <a:pt x="1148" y="693"/>
                  </a:lnTo>
                  <a:lnTo>
                    <a:pt x="1150" y="693"/>
                  </a:lnTo>
                  <a:lnTo>
                    <a:pt x="1153" y="693"/>
                  </a:lnTo>
                  <a:lnTo>
                    <a:pt x="1153" y="691"/>
                  </a:lnTo>
                  <a:lnTo>
                    <a:pt x="1153" y="693"/>
                  </a:lnTo>
                  <a:lnTo>
                    <a:pt x="1153" y="691"/>
                  </a:lnTo>
                  <a:lnTo>
                    <a:pt x="1150" y="693"/>
                  </a:lnTo>
                  <a:lnTo>
                    <a:pt x="1148" y="693"/>
                  </a:lnTo>
                  <a:lnTo>
                    <a:pt x="1150" y="693"/>
                  </a:lnTo>
                  <a:lnTo>
                    <a:pt x="1148" y="693"/>
                  </a:lnTo>
                  <a:lnTo>
                    <a:pt x="1146" y="696"/>
                  </a:lnTo>
                  <a:lnTo>
                    <a:pt x="1146" y="693"/>
                  </a:lnTo>
                  <a:lnTo>
                    <a:pt x="1148" y="693"/>
                  </a:lnTo>
                  <a:lnTo>
                    <a:pt x="1146" y="693"/>
                  </a:lnTo>
                  <a:lnTo>
                    <a:pt x="1146" y="696"/>
                  </a:lnTo>
                  <a:lnTo>
                    <a:pt x="1146" y="693"/>
                  </a:lnTo>
                  <a:lnTo>
                    <a:pt x="1148" y="693"/>
                  </a:lnTo>
                  <a:lnTo>
                    <a:pt x="1148" y="691"/>
                  </a:lnTo>
                  <a:lnTo>
                    <a:pt x="1150" y="689"/>
                  </a:lnTo>
                  <a:lnTo>
                    <a:pt x="1150" y="686"/>
                  </a:lnTo>
                  <a:lnTo>
                    <a:pt x="1150" y="689"/>
                  </a:lnTo>
                  <a:lnTo>
                    <a:pt x="1150" y="686"/>
                  </a:lnTo>
                  <a:lnTo>
                    <a:pt x="1153" y="686"/>
                  </a:lnTo>
                  <a:lnTo>
                    <a:pt x="1153" y="684"/>
                  </a:lnTo>
                  <a:lnTo>
                    <a:pt x="1155" y="684"/>
                  </a:lnTo>
                  <a:lnTo>
                    <a:pt x="1157" y="684"/>
                  </a:lnTo>
                  <a:lnTo>
                    <a:pt x="1160" y="684"/>
                  </a:lnTo>
                  <a:lnTo>
                    <a:pt x="1162" y="682"/>
                  </a:lnTo>
                  <a:lnTo>
                    <a:pt x="1165" y="679"/>
                  </a:lnTo>
                  <a:lnTo>
                    <a:pt x="1165" y="677"/>
                  </a:lnTo>
                  <a:lnTo>
                    <a:pt x="1167" y="677"/>
                  </a:lnTo>
                  <a:lnTo>
                    <a:pt x="1167" y="674"/>
                  </a:lnTo>
                  <a:lnTo>
                    <a:pt x="1169" y="674"/>
                  </a:lnTo>
                  <a:lnTo>
                    <a:pt x="1172" y="674"/>
                  </a:lnTo>
                  <a:lnTo>
                    <a:pt x="1172" y="672"/>
                  </a:lnTo>
                  <a:lnTo>
                    <a:pt x="1174" y="672"/>
                  </a:lnTo>
                  <a:lnTo>
                    <a:pt x="1174" y="670"/>
                  </a:lnTo>
                  <a:lnTo>
                    <a:pt x="1174" y="667"/>
                  </a:lnTo>
                  <a:lnTo>
                    <a:pt x="1172" y="667"/>
                  </a:lnTo>
                  <a:lnTo>
                    <a:pt x="1174" y="667"/>
                  </a:lnTo>
                  <a:lnTo>
                    <a:pt x="1172" y="667"/>
                  </a:lnTo>
                  <a:lnTo>
                    <a:pt x="1172" y="665"/>
                  </a:lnTo>
                  <a:lnTo>
                    <a:pt x="1172" y="662"/>
                  </a:lnTo>
                  <a:lnTo>
                    <a:pt x="1174" y="662"/>
                  </a:lnTo>
                  <a:lnTo>
                    <a:pt x="1174" y="660"/>
                  </a:lnTo>
                  <a:lnTo>
                    <a:pt x="1176" y="660"/>
                  </a:lnTo>
                  <a:lnTo>
                    <a:pt x="1176" y="658"/>
                  </a:lnTo>
                  <a:lnTo>
                    <a:pt x="1179" y="658"/>
                  </a:lnTo>
                  <a:lnTo>
                    <a:pt x="1181" y="658"/>
                  </a:lnTo>
                  <a:lnTo>
                    <a:pt x="1181" y="655"/>
                  </a:lnTo>
                  <a:lnTo>
                    <a:pt x="1181" y="658"/>
                  </a:lnTo>
                  <a:lnTo>
                    <a:pt x="1179" y="658"/>
                  </a:lnTo>
                  <a:lnTo>
                    <a:pt x="1181" y="658"/>
                  </a:lnTo>
                  <a:lnTo>
                    <a:pt x="1179" y="658"/>
                  </a:lnTo>
                  <a:lnTo>
                    <a:pt x="1181" y="655"/>
                  </a:lnTo>
                  <a:lnTo>
                    <a:pt x="1184" y="655"/>
                  </a:lnTo>
                  <a:lnTo>
                    <a:pt x="1184" y="653"/>
                  </a:lnTo>
                  <a:lnTo>
                    <a:pt x="1186" y="653"/>
                  </a:lnTo>
                  <a:lnTo>
                    <a:pt x="1188" y="651"/>
                  </a:lnTo>
                  <a:lnTo>
                    <a:pt x="1191" y="651"/>
                  </a:lnTo>
                  <a:lnTo>
                    <a:pt x="1193" y="651"/>
                  </a:lnTo>
                  <a:lnTo>
                    <a:pt x="1195" y="651"/>
                  </a:lnTo>
                  <a:lnTo>
                    <a:pt x="1195" y="648"/>
                  </a:lnTo>
                  <a:lnTo>
                    <a:pt x="1195" y="651"/>
                  </a:lnTo>
                  <a:lnTo>
                    <a:pt x="1195" y="648"/>
                  </a:lnTo>
                  <a:lnTo>
                    <a:pt x="1198" y="648"/>
                  </a:lnTo>
                  <a:lnTo>
                    <a:pt x="1200" y="648"/>
                  </a:lnTo>
                  <a:lnTo>
                    <a:pt x="1200" y="651"/>
                  </a:lnTo>
                  <a:lnTo>
                    <a:pt x="1200" y="648"/>
                  </a:lnTo>
                  <a:lnTo>
                    <a:pt x="1203" y="648"/>
                  </a:lnTo>
                  <a:lnTo>
                    <a:pt x="1200" y="648"/>
                  </a:lnTo>
                  <a:lnTo>
                    <a:pt x="1198" y="648"/>
                  </a:lnTo>
                  <a:lnTo>
                    <a:pt x="1200" y="648"/>
                  </a:lnTo>
                  <a:lnTo>
                    <a:pt x="1198" y="648"/>
                  </a:lnTo>
                  <a:lnTo>
                    <a:pt x="1200" y="648"/>
                  </a:lnTo>
                  <a:lnTo>
                    <a:pt x="1203" y="648"/>
                  </a:lnTo>
                  <a:lnTo>
                    <a:pt x="1205" y="648"/>
                  </a:lnTo>
                  <a:lnTo>
                    <a:pt x="1203" y="648"/>
                  </a:lnTo>
                  <a:lnTo>
                    <a:pt x="1205" y="648"/>
                  </a:lnTo>
                  <a:lnTo>
                    <a:pt x="1207" y="648"/>
                  </a:lnTo>
                  <a:lnTo>
                    <a:pt x="1210" y="648"/>
                  </a:lnTo>
                  <a:lnTo>
                    <a:pt x="1207" y="648"/>
                  </a:lnTo>
                  <a:lnTo>
                    <a:pt x="1210" y="648"/>
                  </a:lnTo>
                  <a:lnTo>
                    <a:pt x="1212" y="648"/>
                  </a:lnTo>
                  <a:lnTo>
                    <a:pt x="1214" y="648"/>
                  </a:lnTo>
                  <a:lnTo>
                    <a:pt x="1214" y="651"/>
                  </a:lnTo>
                  <a:lnTo>
                    <a:pt x="1214" y="653"/>
                  </a:lnTo>
                  <a:lnTo>
                    <a:pt x="1217" y="653"/>
                  </a:lnTo>
                  <a:lnTo>
                    <a:pt x="1217" y="655"/>
                  </a:lnTo>
                  <a:lnTo>
                    <a:pt x="1219" y="658"/>
                  </a:lnTo>
                  <a:lnTo>
                    <a:pt x="1219" y="655"/>
                  </a:lnTo>
                  <a:lnTo>
                    <a:pt x="1222" y="655"/>
                  </a:lnTo>
                  <a:lnTo>
                    <a:pt x="1222" y="658"/>
                  </a:lnTo>
                  <a:lnTo>
                    <a:pt x="1222" y="660"/>
                  </a:lnTo>
                  <a:lnTo>
                    <a:pt x="1222" y="662"/>
                  </a:lnTo>
                  <a:lnTo>
                    <a:pt x="1222" y="660"/>
                  </a:lnTo>
                  <a:lnTo>
                    <a:pt x="1222" y="662"/>
                  </a:lnTo>
                  <a:lnTo>
                    <a:pt x="1222" y="665"/>
                  </a:lnTo>
                  <a:lnTo>
                    <a:pt x="1224" y="665"/>
                  </a:lnTo>
                  <a:lnTo>
                    <a:pt x="1224" y="667"/>
                  </a:lnTo>
                  <a:lnTo>
                    <a:pt x="1224" y="665"/>
                  </a:lnTo>
                  <a:lnTo>
                    <a:pt x="1226" y="667"/>
                  </a:lnTo>
                  <a:lnTo>
                    <a:pt x="1229" y="667"/>
                  </a:lnTo>
                  <a:lnTo>
                    <a:pt x="1231" y="667"/>
                  </a:lnTo>
                  <a:lnTo>
                    <a:pt x="1231" y="670"/>
                  </a:lnTo>
                  <a:lnTo>
                    <a:pt x="1229" y="670"/>
                  </a:lnTo>
                  <a:lnTo>
                    <a:pt x="1226" y="670"/>
                  </a:lnTo>
                  <a:lnTo>
                    <a:pt x="1226" y="672"/>
                  </a:lnTo>
                  <a:lnTo>
                    <a:pt x="1226" y="674"/>
                  </a:lnTo>
                  <a:lnTo>
                    <a:pt x="1224" y="674"/>
                  </a:lnTo>
                  <a:lnTo>
                    <a:pt x="1224" y="677"/>
                  </a:lnTo>
                  <a:lnTo>
                    <a:pt x="1224" y="679"/>
                  </a:lnTo>
                  <a:lnTo>
                    <a:pt x="1222" y="679"/>
                  </a:lnTo>
                  <a:lnTo>
                    <a:pt x="1222" y="682"/>
                  </a:lnTo>
                  <a:lnTo>
                    <a:pt x="1224" y="684"/>
                  </a:lnTo>
                  <a:lnTo>
                    <a:pt x="1224" y="682"/>
                  </a:lnTo>
                  <a:lnTo>
                    <a:pt x="1224" y="684"/>
                  </a:lnTo>
                  <a:lnTo>
                    <a:pt x="1226" y="684"/>
                  </a:lnTo>
                  <a:lnTo>
                    <a:pt x="1224" y="684"/>
                  </a:lnTo>
                  <a:lnTo>
                    <a:pt x="1226" y="684"/>
                  </a:lnTo>
                  <a:lnTo>
                    <a:pt x="1229" y="684"/>
                  </a:lnTo>
                  <a:lnTo>
                    <a:pt x="1226" y="686"/>
                  </a:lnTo>
                  <a:lnTo>
                    <a:pt x="1226" y="689"/>
                  </a:lnTo>
                  <a:lnTo>
                    <a:pt x="1229" y="689"/>
                  </a:lnTo>
                  <a:lnTo>
                    <a:pt x="1231" y="689"/>
                  </a:lnTo>
                  <a:lnTo>
                    <a:pt x="1229" y="689"/>
                  </a:lnTo>
                  <a:lnTo>
                    <a:pt x="1229" y="691"/>
                  </a:lnTo>
                  <a:lnTo>
                    <a:pt x="1231" y="691"/>
                  </a:lnTo>
                  <a:lnTo>
                    <a:pt x="1233" y="693"/>
                  </a:lnTo>
                  <a:lnTo>
                    <a:pt x="1233" y="696"/>
                  </a:lnTo>
                  <a:lnTo>
                    <a:pt x="1236" y="693"/>
                  </a:lnTo>
                  <a:lnTo>
                    <a:pt x="1236" y="696"/>
                  </a:lnTo>
                  <a:lnTo>
                    <a:pt x="1233" y="698"/>
                  </a:lnTo>
                  <a:lnTo>
                    <a:pt x="1236" y="698"/>
                  </a:lnTo>
                  <a:lnTo>
                    <a:pt x="1233" y="698"/>
                  </a:lnTo>
                  <a:lnTo>
                    <a:pt x="1233" y="701"/>
                  </a:lnTo>
                  <a:lnTo>
                    <a:pt x="1233" y="703"/>
                  </a:lnTo>
                  <a:lnTo>
                    <a:pt x="1233" y="705"/>
                  </a:lnTo>
                  <a:lnTo>
                    <a:pt x="1233" y="708"/>
                  </a:lnTo>
                  <a:lnTo>
                    <a:pt x="1233" y="710"/>
                  </a:lnTo>
                  <a:lnTo>
                    <a:pt x="1233" y="712"/>
                  </a:lnTo>
                  <a:lnTo>
                    <a:pt x="1231" y="715"/>
                  </a:lnTo>
                  <a:lnTo>
                    <a:pt x="1233" y="715"/>
                  </a:lnTo>
                  <a:lnTo>
                    <a:pt x="1233" y="712"/>
                  </a:lnTo>
                  <a:lnTo>
                    <a:pt x="1233" y="715"/>
                  </a:lnTo>
                  <a:lnTo>
                    <a:pt x="1236" y="715"/>
                  </a:lnTo>
                  <a:lnTo>
                    <a:pt x="1236" y="717"/>
                  </a:lnTo>
                  <a:lnTo>
                    <a:pt x="1238" y="717"/>
                  </a:lnTo>
                  <a:lnTo>
                    <a:pt x="1240" y="717"/>
                  </a:lnTo>
                  <a:lnTo>
                    <a:pt x="1240" y="715"/>
                  </a:lnTo>
                  <a:lnTo>
                    <a:pt x="1240" y="717"/>
                  </a:lnTo>
                  <a:lnTo>
                    <a:pt x="1240" y="715"/>
                  </a:lnTo>
                  <a:lnTo>
                    <a:pt x="1243" y="715"/>
                  </a:lnTo>
                  <a:lnTo>
                    <a:pt x="1243" y="717"/>
                  </a:lnTo>
                  <a:lnTo>
                    <a:pt x="1243" y="720"/>
                  </a:lnTo>
                  <a:lnTo>
                    <a:pt x="1240" y="720"/>
                  </a:lnTo>
                  <a:lnTo>
                    <a:pt x="1240" y="722"/>
                  </a:lnTo>
                  <a:lnTo>
                    <a:pt x="1243" y="722"/>
                  </a:lnTo>
                  <a:lnTo>
                    <a:pt x="1245" y="722"/>
                  </a:lnTo>
                  <a:lnTo>
                    <a:pt x="1248" y="722"/>
                  </a:lnTo>
                  <a:lnTo>
                    <a:pt x="1248" y="724"/>
                  </a:lnTo>
                  <a:lnTo>
                    <a:pt x="1250" y="727"/>
                  </a:lnTo>
                  <a:lnTo>
                    <a:pt x="1252" y="727"/>
                  </a:lnTo>
                  <a:lnTo>
                    <a:pt x="1250" y="727"/>
                  </a:lnTo>
                  <a:lnTo>
                    <a:pt x="1252" y="727"/>
                  </a:lnTo>
                  <a:lnTo>
                    <a:pt x="1252" y="729"/>
                  </a:lnTo>
                  <a:lnTo>
                    <a:pt x="1255" y="729"/>
                  </a:lnTo>
                  <a:lnTo>
                    <a:pt x="1255" y="731"/>
                  </a:lnTo>
                  <a:lnTo>
                    <a:pt x="1257" y="731"/>
                  </a:lnTo>
                  <a:lnTo>
                    <a:pt x="1255" y="731"/>
                  </a:lnTo>
                  <a:lnTo>
                    <a:pt x="1257" y="731"/>
                  </a:lnTo>
                  <a:lnTo>
                    <a:pt x="1259" y="731"/>
                  </a:lnTo>
                  <a:lnTo>
                    <a:pt x="1257" y="731"/>
                  </a:lnTo>
                  <a:lnTo>
                    <a:pt x="1259" y="731"/>
                  </a:lnTo>
                  <a:lnTo>
                    <a:pt x="1259" y="734"/>
                  </a:lnTo>
                  <a:lnTo>
                    <a:pt x="1262" y="734"/>
                  </a:lnTo>
                  <a:lnTo>
                    <a:pt x="1262" y="736"/>
                  </a:lnTo>
                  <a:lnTo>
                    <a:pt x="1262" y="739"/>
                  </a:lnTo>
                  <a:lnTo>
                    <a:pt x="1262" y="741"/>
                  </a:lnTo>
                  <a:lnTo>
                    <a:pt x="1262" y="743"/>
                  </a:lnTo>
                  <a:lnTo>
                    <a:pt x="1262" y="741"/>
                  </a:lnTo>
                  <a:lnTo>
                    <a:pt x="1262" y="743"/>
                  </a:lnTo>
                  <a:lnTo>
                    <a:pt x="1259" y="743"/>
                  </a:lnTo>
                  <a:lnTo>
                    <a:pt x="1259" y="746"/>
                  </a:lnTo>
                  <a:lnTo>
                    <a:pt x="1259" y="748"/>
                  </a:lnTo>
                  <a:lnTo>
                    <a:pt x="1259" y="750"/>
                  </a:lnTo>
                  <a:lnTo>
                    <a:pt x="1259" y="753"/>
                  </a:lnTo>
                  <a:lnTo>
                    <a:pt x="1257" y="753"/>
                  </a:lnTo>
                  <a:lnTo>
                    <a:pt x="1257" y="750"/>
                  </a:lnTo>
                  <a:lnTo>
                    <a:pt x="1255" y="750"/>
                  </a:lnTo>
                  <a:lnTo>
                    <a:pt x="1255" y="753"/>
                  </a:lnTo>
                  <a:lnTo>
                    <a:pt x="1257" y="753"/>
                  </a:lnTo>
                  <a:lnTo>
                    <a:pt x="1259" y="755"/>
                  </a:lnTo>
                  <a:lnTo>
                    <a:pt x="1259" y="758"/>
                  </a:lnTo>
                  <a:lnTo>
                    <a:pt x="1257" y="758"/>
                  </a:lnTo>
                  <a:lnTo>
                    <a:pt x="1255" y="758"/>
                  </a:lnTo>
                  <a:lnTo>
                    <a:pt x="1255" y="760"/>
                  </a:lnTo>
                  <a:lnTo>
                    <a:pt x="1255" y="758"/>
                  </a:lnTo>
                  <a:lnTo>
                    <a:pt x="1257" y="760"/>
                  </a:lnTo>
                  <a:lnTo>
                    <a:pt x="1257" y="762"/>
                  </a:lnTo>
                  <a:lnTo>
                    <a:pt x="1255" y="760"/>
                  </a:lnTo>
                  <a:lnTo>
                    <a:pt x="1252" y="760"/>
                  </a:lnTo>
                  <a:lnTo>
                    <a:pt x="1252" y="762"/>
                  </a:lnTo>
                  <a:lnTo>
                    <a:pt x="1255" y="762"/>
                  </a:lnTo>
                  <a:lnTo>
                    <a:pt x="1255" y="765"/>
                  </a:lnTo>
                  <a:lnTo>
                    <a:pt x="1252" y="765"/>
                  </a:lnTo>
                  <a:lnTo>
                    <a:pt x="1250" y="765"/>
                  </a:lnTo>
                  <a:lnTo>
                    <a:pt x="1250" y="767"/>
                  </a:lnTo>
                  <a:lnTo>
                    <a:pt x="1248" y="767"/>
                  </a:lnTo>
                  <a:lnTo>
                    <a:pt x="1248" y="769"/>
                  </a:lnTo>
                  <a:lnTo>
                    <a:pt x="1250" y="769"/>
                  </a:lnTo>
                  <a:lnTo>
                    <a:pt x="1252" y="769"/>
                  </a:lnTo>
                  <a:lnTo>
                    <a:pt x="1255" y="769"/>
                  </a:lnTo>
                  <a:lnTo>
                    <a:pt x="1255" y="772"/>
                  </a:lnTo>
                  <a:lnTo>
                    <a:pt x="1252" y="772"/>
                  </a:lnTo>
                  <a:lnTo>
                    <a:pt x="1250" y="772"/>
                  </a:lnTo>
                  <a:lnTo>
                    <a:pt x="1252" y="772"/>
                  </a:lnTo>
                  <a:lnTo>
                    <a:pt x="1252" y="774"/>
                  </a:lnTo>
                  <a:lnTo>
                    <a:pt x="1255" y="774"/>
                  </a:lnTo>
                  <a:lnTo>
                    <a:pt x="1255" y="777"/>
                  </a:lnTo>
                  <a:lnTo>
                    <a:pt x="1252" y="777"/>
                  </a:lnTo>
                  <a:lnTo>
                    <a:pt x="1250" y="779"/>
                  </a:lnTo>
                  <a:lnTo>
                    <a:pt x="1250" y="781"/>
                  </a:lnTo>
                  <a:lnTo>
                    <a:pt x="1250" y="784"/>
                  </a:lnTo>
                  <a:lnTo>
                    <a:pt x="1248" y="784"/>
                  </a:lnTo>
                  <a:lnTo>
                    <a:pt x="1245" y="784"/>
                  </a:lnTo>
                  <a:lnTo>
                    <a:pt x="1243" y="784"/>
                  </a:lnTo>
                  <a:lnTo>
                    <a:pt x="1243" y="786"/>
                  </a:lnTo>
                  <a:lnTo>
                    <a:pt x="1243" y="784"/>
                  </a:lnTo>
                  <a:lnTo>
                    <a:pt x="1243" y="786"/>
                  </a:lnTo>
                  <a:lnTo>
                    <a:pt x="1240" y="786"/>
                  </a:lnTo>
                  <a:lnTo>
                    <a:pt x="1238" y="786"/>
                  </a:lnTo>
                  <a:lnTo>
                    <a:pt x="1236" y="786"/>
                  </a:lnTo>
                  <a:lnTo>
                    <a:pt x="1233" y="786"/>
                  </a:lnTo>
                  <a:lnTo>
                    <a:pt x="1233" y="784"/>
                  </a:lnTo>
                  <a:lnTo>
                    <a:pt x="1233" y="786"/>
                  </a:lnTo>
                  <a:lnTo>
                    <a:pt x="1231" y="786"/>
                  </a:lnTo>
                  <a:lnTo>
                    <a:pt x="1231" y="784"/>
                  </a:lnTo>
                  <a:lnTo>
                    <a:pt x="1229" y="784"/>
                  </a:lnTo>
                  <a:lnTo>
                    <a:pt x="1229" y="786"/>
                  </a:lnTo>
                  <a:lnTo>
                    <a:pt x="1229" y="784"/>
                  </a:lnTo>
                  <a:lnTo>
                    <a:pt x="1231" y="784"/>
                  </a:lnTo>
                  <a:lnTo>
                    <a:pt x="1231" y="786"/>
                  </a:lnTo>
                  <a:lnTo>
                    <a:pt x="1229" y="786"/>
                  </a:lnTo>
                  <a:lnTo>
                    <a:pt x="1226" y="786"/>
                  </a:lnTo>
                  <a:lnTo>
                    <a:pt x="1226" y="788"/>
                  </a:lnTo>
                  <a:lnTo>
                    <a:pt x="1224" y="788"/>
                  </a:lnTo>
                  <a:lnTo>
                    <a:pt x="1224" y="791"/>
                  </a:lnTo>
                  <a:lnTo>
                    <a:pt x="1224" y="793"/>
                  </a:lnTo>
                  <a:lnTo>
                    <a:pt x="1222" y="796"/>
                  </a:lnTo>
                  <a:lnTo>
                    <a:pt x="1224" y="796"/>
                  </a:lnTo>
                  <a:lnTo>
                    <a:pt x="1222" y="796"/>
                  </a:lnTo>
                  <a:lnTo>
                    <a:pt x="1222" y="798"/>
                  </a:lnTo>
                  <a:lnTo>
                    <a:pt x="1222" y="800"/>
                  </a:lnTo>
                  <a:lnTo>
                    <a:pt x="1219" y="800"/>
                  </a:lnTo>
                  <a:lnTo>
                    <a:pt x="1219" y="803"/>
                  </a:lnTo>
                  <a:lnTo>
                    <a:pt x="1217" y="803"/>
                  </a:lnTo>
                  <a:lnTo>
                    <a:pt x="1214" y="803"/>
                  </a:lnTo>
                  <a:lnTo>
                    <a:pt x="1214" y="805"/>
                  </a:lnTo>
                  <a:lnTo>
                    <a:pt x="1214" y="807"/>
                  </a:lnTo>
                  <a:lnTo>
                    <a:pt x="1217" y="807"/>
                  </a:lnTo>
                  <a:lnTo>
                    <a:pt x="1219" y="807"/>
                  </a:lnTo>
                  <a:lnTo>
                    <a:pt x="1219" y="810"/>
                  </a:lnTo>
                  <a:lnTo>
                    <a:pt x="1219" y="812"/>
                  </a:lnTo>
                  <a:lnTo>
                    <a:pt x="1217" y="812"/>
                  </a:lnTo>
                  <a:lnTo>
                    <a:pt x="1217" y="810"/>
                  </a:lnTo>
                  <a:lnTo>
                    <a:pt x="1214" y="810"/>
                  </a:lnTo>
                  <a:lnTo>
                    <a:pt x="1212" y="812"/>
                  </a:lnTo>
                  <a:lnTo>
                    <a:pt x="1214" y="810"/>
                  </a:lnTo>
                  <a:lnTo>
                    <a:pt x="1214" y="812"/>
                  </a:lnTo>
                  <a:lnTo>
                    <a:pt x="1214" y="815"/>
                  </a:lnTo>
                  <a:lnTo>
                    <a:pt x="1217" y="815"/>
                  </a:lnTo>
                  <a:lnTo>
                    <a:pt x="1217" y="817"/>
                  </a:lnTo>
                  <a:lnTo>
                    <a:pt x="1214" y="817"/>
                  </a:lnTo>
                  <a:lnTo>
                    <a:pt x="1212" y="817"/>
                  </a:lnTo>
                  <a:lnTo>
                    <a:pt x="1210" y="817"/>
                  </a:lnTo>
                  <a:lnTo>
                    <a:pt x="1210" y="819"/>
                  </a:lnTo>
                  <a:lnTo>
                    <a:pt x="1207" y="819"/>
                  </a:lnTo>
                  <a:lnTo>
                    <a:pt x="1205" y="819"/>
                  </a:lnTo>
                  <a:lnTo>
                    <a:pt x="1205" y="822"/>
                  </a:lnTo>
                  <a:lnTo>
                    <a:pt x="1205" y="824"/>
                  </a:lnTo>
                  <a:lnTo>
                    <a:pt x="1203" y="824"/>
                  </a:lnTo>
                  <a:lnTo>
                    <a:pt x="1200" y="824"/>
                  </a:lnTo>
                  <a:lnTo>
                    <a:pt x="1200" y="822"/>
                  </a:lnTo>
                  <a:lnTo>
                    <a:pt x="1200" y="824"/>
                  </a:lnTo>
                  <a:lnTo>
                    <a:pt x="1200" y="822"/>
                  </a:lnTo>
                  <a:lnTo>
                    <a:pt x="1198" y="822"/>
                  </a:lnTo>
                  <a:lnTo>
                    <a:pt x="1195" y="822"/>
                  </a:lnTo>
                  <a:lnTo>
                    <a:pt x="1195" y="824"/>
                  </a:lnTo>
                  <a:lnTo>
                    <a:pt x="1195" y="826"/>
                  </a:lnTo>
                  <a:lnTo>
                    <a:pt x="1198" y="826"/>
                  </a:lnTo>
                  <a:lnTo>
                    <a:pt x="1200" y="826"/>
                  </a:lnTo>
                  <a:lnTo>
                    <a:pt x="1198" y="826"/>
                  </a:lnTo>
                  <a:lnTo>
                    <a:pt x="1200" y="829"/>
                  </a:lnTo>
                  <a:lnTo>
                    <a:pt x="1198" y="829"/>
                  </a:lnTo>
                  <a:lnTo>
                    <a:pt x="1200" y="829"/>
                  </a:lnTo>
                  <a:lnTo>
                    <a:pt x="1198" y="829"/>
                  </a:lnTo>
                  <a:lnTo>
                    <a:pt x="1198" y="831"/>
                  </a:lnTo>
                  <a:lnTo>
                    <a:pt x="1200" y="831"/>
                  </a:lnTo>
                  <a:lnTo>
                    <a:pt x="1203" y="831"/>
                  </a:lnTo>
                  <a:lnTo>
                    <a:pt x="1203" y="834"/>
                  </a:lnTo>
                  <a:lnTo>
                    <a:pt x="1203" y="836"/>
                  </a:lnTo>
                  <a:lnTo>
                    <a:pt x="1205" y="836"/>
                  </a:lnTo>
                  <a:lnTo>
                    <a:pt x="1205" y="838"/>
                  </a:lnTo>
                  <a:lnTo>
                    <a:pt x="1207" y="838"/>
                  </a:lnTo>
                  <a:lnTo>
                    <a:pt x="1207" y="841"/>
                  </a:lnTo>
                  <a:lnTo>
                    <a:pt x="1207" y="843"/>
                  </a:lnTo>
                  <a:lnTo>
                    <a:pt x="1210" y="843"/>
                  </a:lnTo>
                  <a:lnTo>
                    <a:pt x="1207" y="845"/>
                  </a:lnTo>
                  <a:lnTo>
                    <a:pt x="1207" y="848"/>
                  </a:lnTo>
                  <a:lnTo>
                    <a:pt x="1207" y="850"/>
                  </a:lnTo>
                  <a:lnTo>
                    <a:pt x="1210" y="850"/>
                  </a:lnTo>
                  <a:lnTo>
                    <a:pt x="1212" y="850"/>
                  </a:lnTo>
                  <a:lnTo>
                    <a:pt x="1214" y="850"/>
                  </a:lnTo>
                  <a:lnTo>
                    <a:pt x="1214" y="853"/>
                  </a:lnTo>
                  <a:lnTo>
                    <a:pt x="1217" y="853"/>
                  </a:lnTo>
                  <a:lnTo>
                    <a:pt x="1217" y="855"/>
                  </a:lnTo>
                  <a:lnTo>
                    <a:pt x="1219" y="855"/>
                  </a:lnTo>
                  <a:lnTo>
                    <a:pt x="1222" y="855"/>
                  </a:lnTo>
                  <a:lnTo>
                    <a:pt x="1224" y="857"/>
                  </a:lnTo>
                  <a:lnTo>
                    <a:pt x="1224" y="860"/>
                  </a:lnTo>
                  <a:lnTo>
                    <a:pt x="1224" y="857"/>
                  </a:lnTo>
                  <a:lnTo>
                    <a:pt x="1222" y="855"/>
                  </a:lnTo>
                  <a:lnTo>
                    <a:pt x="1219" y="855"/>
                  </a:lnTo>
                  <a:lnTo>
                    <a:pt x="1217" y="855"/>
                  </a:lnTo>
                  <a:lnTo>
                    <a:pt x="1217" y="853"/>
                  </a:lnTo>
                  <a:lnTo>
                    <a:pt x="1214" y="853"/>
                  </a:lnTo>
                  <a:lnTo>
                    <a:pt x="1214" y="850"/>
                  </a:lnTo>
                  <a:lnTo>
                    <a:pt x="1212" y="850"/>
                  </a:lnTo>
                  <a:lnTo>
                    <a:pt x="1210" y="850"/>
                  </a:lnTo>
                  <a:lnTo>
                    <a:pt x="1207" y="850"/>
                  </a:lnTo>
                  <a:lnTo>
                    <a:pt x="1207" y="848"/>
                  </a:lnTo>
                  <a:lnTo>
                    <a:pt x="1207" y="845"/>
                  </a:lnTo>
                  <a:lnTo>
                    <a:pt x="1210" y="843"/>
                  </a:lnTo>
                  <a:lnTo>
                    <a:pt x="1207" y="843"/>
                  </a:lnTo>
                  <a:lnTo>
                    <a:pt x="1207" y="841"/>
                  </a:lnTo>
                  <a:lnTo>
                    <a:pt x="1207" y="838"/>
                  </a:lnTo>
                  <a:lnTo>
                    <a:pt x="1205" y="838"/>
                  </a:lnTo>
                  <a:lnTo>
                    <a:pt x="1205" y="836"/>
                  </a:lnTo>
                  <a:lnTo>
                    <a:pt x="1205" y="834"/>
                  </a:lnTo>
                  <a:lnTo>
                    <a:pt x="1203" y="834"/>
                  </a:lnTo>
                  <a:lnTo>
                    <a:pt x="1203" y="831"/>
                  </a:lnTo>
                  <a:lnTo>
                    <a:pt x="1200" y="831"/>
                  </a:lnTo>
                  <a:lnTo>
                    <a:pt x="1203" y="831"/>
                  </a:lnTo>
                  <a:lnTo>
                    <a:pt x="1200" y="831"/>
                  </a:lnTo>
                  <a:lnTo>
                    <a:pt x="1203" y="831"/>
                  </a:lnTo>
                  <a:lnTo>
                    <a:pt x="1200" y="831"/>
                  </a:lnTo>
                  <a:lnTo>
                    <a:pt x="1198" y="831"/>
                  </a:lnTo>
                  <a:lnTo>
                    <a:pt x="1198" y="829"/>
                  </a:lnTo>
                  <a:lnTo>
                    <a:pt x="1200" y="829"/>
                  </a:lnTo>
                  <a:lnTo>
                    <a:pt x="1200" y="826"/>
                  </a:lnTo>
                  <a:lnTo>
                    <a:pt x="1198" y="826"/>
                  </a:lnTo>
                  <a:lnTo>
                    <a:pt x="1195" y="824"/>
                  </a:lnTo>
                  <a:lnTo>
                    <a:pt x="1195" y="822"/>
                  </a:lnTo>
                  <a:lnTo>
                    <a:pt x="1198" y="822"/>
                  </a:lnTo>
                  <a:lnTo>
                    <a:pt x="1200" y="822"/>
                  </a:lnTo>
                  <a:lnTo>
                    <a:pt x="1200" y="824"/>
                  </a:lnTo>
                  <a:lnTo>
                    <a:pt x="1203" y="824"/>
                  </a:lnTo>
                  <a:lnTo>
                    <a:pt x="1205" y="824"/>
                  </a:lnTo>
                  <a:lnTo>
                    <a:pt x="1205" y="822"/>
                  </a:lnTo>
                  <a:lnTo>
                    <a:pt x="1205" y="819"/>
                  </a:lnTo>
                  <a:lnTo>
                    <a:pt x="1207" y="819"/>
                  </a:lnTo>
                  <a:lnTo>
                    <a:pt x="1210" y="822"/>
                  </a:lnTo>
                  <a:lnTo>
                    <a:pt x="1210" y="819"/>
                  </a:lnTo>
                  <a:lnTo>
                    <a:pt x="1212" y="819"/>
                  </a:lnTo>
                  <a:lnTo>
                    <a:pt x="1210" y="817"/>
                  </a:lnTo>
                  <a:lnTo>
                    <a:pt x="1212" y="817"/>
                  </a:lnTo>
                  <a:lnTo>
                    <a:pt x="1214" y="817"/>
                  </a:lnTo>
                  <a:lnTo>
                    <a:pt x="1217" y="817"/>
                  </a:lnTo>
                  <a:lnTo>
                    <a:pt x="1217" y="815"/>
                  </a:lnTo>
                  <a:lnTo>
                    <a:pt x="1214" y="815"/>
                  </a:lnTo>
                  <a:lnTo>
                    <a:pt x="1214" y="812"/>
                  </a:lnTo>
                  <a:lnTo>
                    <a:pt x="1214" y="810"/>
                  </a:lnTo>
                  <a:lnTo>
                    <a:pt x="1217" y="810"/>
                  </a:lnTo>
                  <a:lnTo>
                    <a:pt x="1217" y="812"/>
                  </a:lnTo>
                  <a:lnTo>
                    <a:pt x="1219" y="812"/>
                  </a:lnTo>
                  <a:lnTo>
                    <a:pt x="1219" y="810"/>
                  </a:lnTo>
                  <a:lnTo>
                    <a:pt x="1219" y="807"/>
                  </a:lnTo>
                  <a:lnTo>
                    <a:pt x="1217" y="807"/>
                  </a:lnTo>
                  <a:lnTo>
                    <a:pt x="1214" y="807"/>
                  </a:lnTo>
                  <a:lnTo>
                    <a:pt x="1214" y="805"/>
                  </a:lnTo>
                  <a:lnTo>
                    <a:pt x="1214" y="803"/>
                  </a:lnTo>
                  <a:lnTo>
                    <a:pt x="1217" y="803"/>
                  </a:lnTo>
                  <a:lnTo>
                    <a:pt x="1219" y="803"/>
                  </a:lnTo>
                  <a:lnTo>
                    <a:pt x="1219" y="800"/>
                  </a:lnTo>
                  <a:lnTo>
                    <a:pt x="1222" y="800"/>
                  </a:lnTo>
                  <a:lnTo>
                    <a:pt x="1222" y="798"/>
                  </a:lnTo>
                  <a:lnTo>
                    <a:pt x="1224" y="796"/>
                  </a:lnTo>
                  <a:lnTo>
                    <a:pt x="1224" y="798"/>
                  </a:lnTo>
                  <a:lnTo>
                    <a:pt x="1224" y="796"/>
                  </a:lnTo>
                  <a:lnTo>
                    <a:pt x="1222" y="796"/>
                  </a:lnTo>
                  <a:lnTo>
                    <a:pt x="1224" y="796"/>
                  </a:lnTo>
                  <a:lnTo>
                    <a:pt x="1224" y="793"/>
                  </a:lnTo>
                  <a:lnTo>
                    <a:pt x="1224" y="791"/>
                  </a:lnTo>
                  <a:lnTo>
                    <a:pt x="1224" y="788"/>
                  </a:lnTo>
                  <a:lnTo>
                    <a:pt x="1226" y="788"/>
                  </a:lnTo>
                  <a:lnTo>
                    <a:pt x="1226" y="786"/>
                  </a:lnTo>
                  <a:lnTo>
                    <a:pt x="1229" y="786"/>
                  </a:lnTo>
                  <a:lnTo>
                    <a:pt x="1231" y="786"/>
                  </a:lnTo>
                  <a:lnTo>
                    <a:pt x="1233" y="786"/>
                  </a:lnTo>
                  <a:lnTo>
                    <a:pt x="1236" y="786"/>
                  </a:lnTo>
                  <a:lnTo>
                    <a:pt x="1238" y="788"/>
                  </a:lnTo>
                  <a:lnTo>
                    <a:pt x="1238" y="786"/>
                  </a:lnTo>
                  <a:lnTo>
                    <a:pt x="1240" y="786"/>
                  </a:lnTo>
                  <a:lnTo>
                    <a:pt x="1240" y="788"/>
                  </a:lnTo>
                  <a:lnTo>
                    <a:pt x="1240" y="786"/>
                  </a:lnTo>
                  <a:lnTo>
                    <a:pt x="1243" y="786"/>
                  </a:lnTo>
                  <a:lnTo>
                    <a:pt x="1240" y="788"/>
                  </a:lnTo>
                  <a:lnTo>
                    <a:pt x="1240" y="786"/>
                  </a:lnTo>
                  <a:lnTo>
                    <a:pt x="1243" y="786"/>
                  </a:lnTo>
                  <a:lnTo>
                    <a:pt x="1243" y="784"/>
                  </a:lnTo>
                  <a:lnTo>
                    <a:pt x="1245" y="784"/>
                  </a:lnTo>
                  <a:lnTo>
                    <a:pt x="1248" y="784"/>
                  </a:lnTo>
                  <a:lnTo>
                    <a:pt x="1250" y="784"/>
                  </a:lnTo>
                  <a:lnTo>
                    <a:pt x="1252" y="784"/>
                  </a:lnTo>
                  <a:lnTo>
                    <a:pt x="1252" y="781"/>
                  </a:lnTo>
                  <a:lnTo>
                    <a:pt x="1250" y="781"/>
                  </a:lnTo>
                  <a:lnTo>
                    <a:pt x="1250" y="779"/>
                  </a:lnTo>
                  <a:lnTo>
                    <a:pt x="1252" y="779"/>
                  </a:lnTo>
                  <a:lnTo>
                    <a:pt x="1252" y="777"/>
                  </a:lnTo>
                  <a:lnTo>
                    <a:pt x="1255" y="777"/>
                  </a:lnTo>
                  <a:lnTo>
                    <a:pt x="1255" y="774"/>
                  </a:lnTo>
                  <a:lnTo>
                    <a:pt x="1252" y="772"/>
                  </a:lnTo>
                  <a:lnTo>
                    <a:pt x="1250" y="772"/>
                  </a:lnTo>
                  <a:lnTo>
                    <a:pt x="1252" y="772"/>
                  </a:lnTo>
                  <a:lnTo>
                    <a:pt x="1255" y="772"/>
                  </a:lnTo>
                  <a:lnTo>
                    <a:pt x="1255" y="769"/>
                  </a:lnTo>
                  <a:lnTo>
                    <a:pt x="1252" y="769"/>
                  </a:lnTo>
                  <a:lnTo>
                    <a:pt x="1250" y="769"/>
                  </a:lnTo>
                  <a:lnTo>
                    <a:pt x="1248" y="769"/>
                  </a:lnTo>
                  <a:lnTo>
                    <a:pt x="1248" y="767"/>
                  </a:lnTo>
                  <a:lnTo>
                    <a:pt x="1250" y="767"/>
                  </a:lnTo>
                  <a:lnTo>
                    <a:pt x="1252" y="765"/>
                  </a:lnTo>
                  <a:lnTo>
                    <a:pt x="1255" y="765"/>
                  </a:lnTo>
                  <a:lnTo>
                    <a:pt x="1255" y="762"/>
                  </a:lnTo>
                  <a:lnTo>
                    <a:pt x="1255" y="760"/>
                  </a:lnTo>
                  <a:lnTo>
                    <a:pt x="1255" y="762"/>
                  </a:lnTo>
                  <a:lnTo>
                    <a:pt x="1257" y="762"/>
                  </a:lnTo>
                  <a:lnTo>
                    <a:pt x="1257" y="760"/>
                  </a:lnTo>
                  <a:lnTo>
                    <a:pt x="1257" y="758"/>
                  </a:lnTo>
                  <a:lnTo>
                    <a:pt x="1255" y="758"/>
                  </a:lnTo>
                  <a:lnTo>
                    <a:pt x="1257" y="758"/>
                  </a:lnTo>
                  <a:lnTo>
                    <a:pt x="1259" y="758"/>
                  </a:lnTo>
                  <a:lnTo>
                    <a:pt x="1259" y="755"/>
                  </a:lnTo>
                  <a:lnTo>
                    <a:pt x="1257" y="753"/>
                  </a:lnTo>
                  <a:lnTo>
                    <a:pt x="1257" y="750"/>
                  </a:lnTo>
                  <a:lnTo>
                    <a:pt x="1257" y="753"/>
                  </a:lnTo>
                  <a:lnTo>
                    <a:pt x="1259" y="753"/>
                  </a:lnTo>
                  <a:lnTo>
                    <a:pt x="1262" y="750"/>
                  </a:lnTo>
                  <a:lnTo>
                    <a:pt x="1259" y="750"/>
                  </a:lnTo>
                  <a:lnTo>
                    <a:pt x="1259" y="748"/>
                  </a:lnTo>
                  <a:lnTo>
                    <a:pt x="1259" y="746"/>
                  </a:lnTo>
                  <a:lnTo>
                    <a:pt x="1259" y="743"/>
                  </a:lnTo>
                  <a:lnTo>
                    <a:pt x="1262" y="743"/>
                  </a:lnTo>
                  <a:lnTo>
                    <a:pt x="1262" y="741"/>
                  </a:lnTo>
                  <a:lnTo>
                    <a:pt x="1262" y="739"/>
                  </a:lnTo>
                  <a:lnTo>
                    <a:pt x="1262" y="741"/>
                  </a:lnTo>
                  <a:lnTo>
                    <a:pt x="1264" y="739"/>
                  </a:lnTo>
                  <a:lnTo>
                    <a:pt x="1264" y="736"/>
                  </a:lnTo>
                  <a:lnTo>
                    <a:pt x="1264" y="734"/>
                  </a:lnTo>
                  <a:lnTo>
                    <a:pt x="1262" y="734"/>
                  </a:lnTo>
                  <a:lnTo>
                    <a:pt x="1262" y="731"/>
                  </a:lnTo>
                  <a:lnTo>
                    <a:pt x="1259" y="731"/>
                  </a:lnTo>
                  <a:lnTo>
                    <a:pt x="1257" y="731"/>
                  </a:lnTo>
                  <a:lnTo>
                    <a:pt x="1255" y="731"/>
                  </a:lnTo>
                  <a:lnTo>
                    <a:pt x="1255" y="729"/>
                  </a:lnTo>
                  <a:lnTo>
                    <a:pt x="1255" y="727"/>
                  </a:lnTo>
                  <a:lnTo>
                    <a:pt x="1252" y="727"/>
                  </a:lnTo>
                  <a:lnTo>
                    <a:pt x="1250" y="724"/>
                  </a:lnTo>
                  <a:lnTo>
                    <a:pt x="1250" y="727"/>
                  </a:lnTo>
                  <a:lnTo>
                    <a:pt x="1250" y="724"/>
                  </a:lnTo>
                  <a:lnTo>
                    <a:pt x="1248" y="724"/>
                  </a:lnTo>
                  <a:lnTo>
                    <a:pt x="1248" y="722"/>
                  </a:lnTo>
                  <a:lnTo>
                    <a:pt x="1250" y="722"/>
                  </a:lnTo>
                  <a:lnTo>
                    <a:pt x="1248" y="722"/>
                  </a:lnTo>
                  <a:lnTo>
                    <a:pt x="1245" y="722"/>
                  </a:lnTo>
                  <a:lnTo>
                    <a:pt x="1243" y="722"/>
                  </a:lnTo>
                  <a:lnTo>
                    <a:pt x="1240" y="722"/>
                  </a:lnTo>
                  <a:lnTo>
                    <a:pt x="1240" y="720"/>
                  </a:lnTo>
                  <a:lnTo>
                    <a:pt x="1243" y="720"/>
                  </a:lnTo>
                  <a:lnTo>
                    <a:pt x="1243" y="717"/>
                  </a:lnTo>
                  <a:lnTo>
                    <a:pt x="1243" y="720"/>
                  </a:lnTo>
                  <a:lnTo>
                    <a:pt x="1243" y="717"/>
                  </a:lnTo>
                  <a:lnTo>
                    <a:pt x="1243" y="715"/>
                  </a:lnTo>
                  <a:lnTo>
                    <a:pt x="1243" y="717"/>
                  </a:lnTo>
                  <a:lnTo>
                    <a:pt x="1243" y="715"/>
                  </a:lnTo>
                  <a:lnTo>
                    <a:pt x="1243" y="717"/>
                  </a:lnTo>
                  <a:lnTo>
                    <a:pt x="1243" y="715"/>
                  </a:lnTo>
                  <a:lnTo>
                    <a:pt x="1240" y="715"/>
                  </a:lnTo>
                  <a:lnTo>
                    <a:pt x="1238" y="715"/>
                  </a:lnTo>
                  <a:lnTo>
                    <a:pt x="1238" y="717"/>
                  </a:lnTo>
                  <a:lnTo>
                    <a:pt x="1238" y="715"/>
                  </a:lnTo>
                  <a:lnTo>
                    <a:pt x="1238" y="717"/>
                  </a:lnTo>
                  <a:lnTo>
                    <a:pt x="1236" y="717"/>
                  </a:lnTo>
                  <a:lnTo>
                    <a:pt x="1236" y="715"/>
                  </a:lnTo>
                  <a:lnTo>
                    <a:pt x="1233" y="715"/>
                  </a:lnTo>
                  <a:lnTo>
                    <a:pt x="1236" y="715"/>
                  </a:lnTo>
                  <a:lnTo>
                    <a:pt x="1236" y="712"/>
                  </a:lnTo>
                  <a:lnTo>
                    <a:pt x="1233" y="710"/>
                  </a:lnTo>
                  <a:lnTo>
                    <a:pt x="1236" y="710"/>
                  </a:lnTo>
                  <a:lnTo>
                    <a:pt x="1236" y="712"/>
                  </a:lnTo>
                  <a:lnTo>
                    <a:pt x="1236" y="710"/>
                  </a:lnTo>
                  <a:lnTo>
                    <a:pt x="1236" y="712"/>
                  </a:lnTo>
                  <a:lnTo>
                    <a:pt x="1236" y="710"/>
                  </a:lnTo>
                  <a:lnTo>
                    <a:pt x="1236" y="708"/>
                  </a:lnTo>
                  <a:lnTo>
                    <a:pt x="1236" y="705"/>
                  </a:lnTo>
                  <a:lnTo>
                    <a:pt x="1236" y="703"/>
                  </a:lnTo>
                  <a:lnTo>
                    <a:pt x="1233" y="703"/>
                  </a:lnTo>
                  <a:lnTo>
                    <a:pt x="1236" y="703"/>
                  </a:lnTo>
                  <a:lnTo>
                    <a:pt x="1236" y="701"/>
                  </a:lnTo>
                  <a:lnTo>
                    <a:pt x="1236" y="703"/>
                  </a:lnTo>
                  <a:lnTo>
                    <a:pt x="1236" y="701"/>
                  </a:lnTo>
                  <a:lnTo>
                    <a:pt x="1236" y="698"/>
                  </a:lnTo>
                  <a:lnTo>
                    <a:pt x="1236" y="696"/>
                  </a:lnTo>
                  <a:lnTo>
                    <a:pt x="1236" y="698"/>
                  </a:lnTo>
                  <a:lnTo>
                    <a:pt x="1236" y="696"/>
                  </a:lnTo>
                  <a:lnTo>
                    <a:pt x="1236" y="698"/>
                  </a:lnTo>
                  <a:lnTo>
                    <a:pt x="1236" y="696"/>
                  </a:lnTo>
                  <a:lnTo>
                    <a:pt x="1238" y="696"/>
                  </a:lnTo>
                  <a:lnTo>
                    <a:pt x="1236" y="696"/>
                  </a:lnTo>
                  <a:lnTo>
                    <a:pt x="1236" y="693"/>
                  </a:lnTo>
                  <a:lnTo>
                    <a:pt x="1236" y="691"/>
                  </a:lnTo>
                  <a:lnTo>
                    <a:pt x="1233" y="691"/>
                  </a:lnTo>
                  <a:lnTo>
                    <a:pt x="1236" y="691"/>
                  </a:lnTo>
                  <a:lnTo>
                    <a:pt x="1233" y="691"/>
                  </a:lnTo>
                  <a:lnTo>
                    <a:pt x="1233" y="689"/>
                  </a:lnTo>
                  <a:lnTo>
                    <a:pt x="1231" y="689"/>
                  </a:lnTo>
                  <a:lnTo>
                    <a:pt x="1229" y="689"/>
                  </a:lnTo>
                  <a:lnTo>
                    <a:pt x="1229" y="686"/>
                  </a:lnTo>
                  <a:lnTo>
                    <a:pt x="1226" y="686"/>
                  </a:lnTo>
                  <a:lnTo>
                    <a:pt x="1229" y="686"/>
                  </a:lnTo>
                  <a:lnTo>
                    <a:pt x="1226" y="686"/>
                  </a:lnTo>
                  <a:lnTo>
                    <a:pt x="1229" y="686"/>
                  </a:lnTo>
                  <a:lnTo>
                    <a:pt x="1231" y="689"/>
                  </a:lnTo>
                  <a:lnTo>
                    <a:pt x="1231" y="686"/>
                  </a:lnTo>
                  <a:lnTo>
                    <a:pt x="1229" y="686"/>
                  </a:lnTo>
                  <a:lnTo>
                    <a:pt x="1229" y="684"/>
                  </a:lnTo>
                  <a:lnTo>
                    <a:pt x="1226" y="684"/>
                  </a:lnTo>
                  <a:lnTo>
                    <a:pt x="1224" y="684"/>
                  </a:lnTo>
                  <a:lnTo>
                    <a:pt x="1226" y="684"/>
                  </a:lnTo>
                  <a:lnTo>
                    <a:pt x="1224" y="684"/>
                  </a:lnTo>
                  <a:lnTo>
                    <a:pt x="1224" y="682"/>
                  </a:lnTo>
                  <a:lnTo>
                    <a:pt x="1224" y="679"/>
                  </a:lnTo>
                  <a:lnTo>
                    <a:pt x="1224" y="677"/>
                  </a:lnTo>
                  <a:lnTo>
                    <a:pt x="1226" y="677"/>
                  </a:lnTo>
                  <a:lnTo>
                    <a:pt x="1226" y="674"/>
                  </a:lnTo>
                  <a:lnTo>
                    <a:pt x="1226" y="677"/>
                  </a:lnTo>
                  <a:lnTo>
                    <a:pt x="1224" y="677"/>
                  </a:lnTo>
                  <a:lnTo>
                    <a:pt x="1226" y="677"/>
                  </a:lnTo>
                  <a:lnTo>
                    <a:pt x="1226" y="674"/>
                  </a:lnTo>
                  <a:lnTo>
                    <a:pt x="1229" y="674"/>
                  </a:lnTo>
                  <a:lnTo>
                    <a:pt x="1229" y="672"/>
                  </a:lnTo>
                  <a:lnTo>
                    <a:pt x="1229" y="670"/>
                  </a:lnTo>
                  <a:lnTo>
                    <a:pt x="1231" y="670"/>
                  </a:lnTo>
                  <a:lnTo>
                    <a:pt x="1233" y="670"/>
                  </a:lnTo>
                  <a:lnTo>
                    <a:pt x="1236" y="672"/>
                  </a:lnTo>
                  <a:lnTo>
                    <a:pt x="1238" y="672"/>
                  </a:lnTo>
                  <a:lnTo>
                    <a:pt x="1240" y="672"/>
                  </a:lnTo>
                  <a:lnTo>
                    <a:pt x="1238" y="672"/>
                  </a:lnTo>
                  <a:lnTo>
                    <a:pt x="1240" y="672"/>
                  </a:lnTo>
                  <a:lnTo>
                    <a:pt x="1243" y="672"/>
                  </a:lnTo>
                  <a:lnTo>
                    <a:pt x="1245" y="672"/>
                  </a:lnTo>
                  <a:lnTo>
                    <a:pt x="1245" y="670"/>
                  </a:lnTo>
                  <a:lnTo>
                    <a:pt x="1248" y="670"/>
                  </a:lnTo>
                  <a:lnTo>
                    <a:pt x="1250" y="670"/>
                  </a:lnTo>
                  <a:lnTo>
                    <a:pt x="1252" y="670"/>
                  </a:lnTo>
                  <a:lnTo>
                    <a:pt x="1255" y="670"/>
                  </a:lnTo>
                  <a:lnTo>
                    <a:pt x="1257" y="670"/>
                  </a:lnTo>
                  <a:lnTo>
                    <a:pt x="1257" y="667"/>
                  </a:lnTo>
                  <a:lnTo>
                    <a:pt x="1257" y="670"/>
                  </a:lnTo>
                  <a:lnTo>
                    <a:pt x="1257" y="667"/>
                  </a:lnTo>
                  <a:lnTo>
                    <a:pt x="1259" y="667"/>
                  </a:lnTo>
                  <a:lnTo>
                    <a:pt x="1262" y="667"/>
                  </a:lnTo>
                  <a:lnTo>
                    <a:pt x="1264" y="667"/>
                  </a:lnTo>
                  <a:lnTo>
                    <a:pt x="1267" y="667"/>
                  </a:lnTo>
                  <a:lnTo>
                    <a:pt x="1267" y="670"/>
                  </a:lnTo>
                  <a:lnTo>
                    <a:pt x="1264" y="670"/>
                  </a:lnTo>
                  <a:lnTo>
                    <a:pt x="1264" y="672"/>
                  </a:lnTo>
                  <a:lnTo>
                    <a:pt x="1267" y="670"/>
                  </a:lnTo>
                  <a:lnTo>
                    <a:pt x="1267" y="667"/>
                  </a:lnTo>
                  <a:lnTo>
                    <a:pt x="1269" y="667"/>
                  </a:lnTo>
                  <a:lnTo>
                    <a:pt x="1269" y="665"/>
                  </a:lnTo>
                  <a:lnTo>
                    <a:pt x="1271" y="665"/>
                  </a:lnTo>
                  <a:lnTo>
                    <a:pt x="1269" y="662"/>
                  </a:lnTo>
                  <a:lnTo>
                    <a:pt x="1269" y="660"/>
                  </a:lnTo>
                  <a:lnTo>
                    <a:pt x="1271" y="660"/>
                  </a:lnTo>
                  <a:lnTo>
                    <a:pt x="1271" y="658"/>
                  </a:lnTo>
                  <a:lnTo>
                    <a:pt x="1271" y="660"/>
                  </a:lnTo>
                  <a:lnTo>
                    <a:pt x="1274" y="658"/>
                  </a:lnTo>
                  <a:lnTo>
                    <a:pt x="1274" y="655"/>
                  </a:lnTo>
                  <a:lnTo>
                    <a:pt x="1274" y="658"/>
                  </a:lnTo>
                  <a:lnTo>
                    <a:pt x="1274" y="655"/>
                  </a:lnTo>
                  <a:lnTo>
                    <a:pt x="1276" y="655"/>
                  </a:lnTo>
                  <a:lnTo>
                    <a:pt x="1278" y="653"/>
                  </a:lnTo>
                  <a:lnTo>
                    <a:pt x="1281" y="653"/>
                  </a:lnTo>
                  <a:lnTo>
                    <a:pt x="1283" y="653"/>
                  </a:lnTo>
                  <a:lnTo>
                    <a:pt x="1283" y="651"/>
                  </a:lnTo>
                  <a:lnTo>
                    <a:pt x="1283" y="648"/>
                  </a:lnTo>
                  <a:lnTo>
                    <a:pt x="1286" y="648"/>
                  </a:lnTo>
                  <a:lnTo>
                    <a:pt x="1288" y="648"/>
                  </a:lnTo>
                  <a:lnTo>
                    <a:pt x="1286" y="648"/>
                  </a:lnTo>
                  <a:lnTo>
                    <a:pt x="1288" y="648"/>
                  </a:lnTo>
                  <a:lnTo>
                    <a:pt x="1288" y="646"/>
                  </a:lnTo>
                  <a:lnTo>
                    <a:pt x="1290" y="646"/>
                  </a:lnTo>
                  <a:lnTo>
                    <a:pt x="1293" y="643"/>
                  </a:lnTo>
                  <a:lnTo>
                    <a:pt x="1295" y="643"/>
                  </a:lnTo>
                  <a:lnTo>
                    <a:pt x="1293" y="643"/>
                  </a:lnTo>
                  <a:lnTo>
                    <a:pt x="1295" y="643"/>
                  </a:lnTo>
                  <a:lnTo>
                    <a:pt x="1297" y="643"/>
                  </a:lnTo>
                  <a:lnTo>
                    <a:pt x="1300" y="643"/>
                  </a:lnTo>
                  <a:lnTo>
                    <a:pt x="1302" y="641"/>
                  </a:lnTo>
                  <a:lnTo>
                    <a:pt x="1302" y="639"/>
                  </a:lnTo>
                  <a:lnTo>
                    <a:pt x="1302" y="636"/>
                  </a:lnTo>
                  <a:lnTo>
                    <a:pt x="1305" y="636"/>
                  </a:lnTo>
                  <a:lnTo>
                    <a:pt x="1305" y="634"/>
                  </a:lnTo>
                  <a:lnTo>
                    <a:pt x="1307" y="634"/>
                  </a:lnTo>
                  <a:lnTo>
                    <a:pt x="1309" y="634"/>
                  </a:lnTo>
                  <a:lnTo>
                    <a:pt x="1312" y="634"/>
                  </a:lnTo>
                  <a:lnTo>
                    <a:pt x="1312" y="636"/>
                  </a:lnTo>
                  <a:lnTo>
                    <a:pt x="1314" y="636"/>
                  </a:lnTo>
                  <a:lnTo>
                    <a:pt x="1316" y="636"/>
                  </a:lnTo>
                  <a:lnTo>
                    <a:pt x="1316" y="639"/>
                  </a:lnTo>
                  <a:lnTo>
                    <a:pt x="1319" y="639"/>
                  </a:lnTo>
                  <a:lnTo>
                    <a:pt x="1319" y="641"/>
                  </a:lnTo>
                  <a:lnTo>
                    <a:pt x="1321" y="641"/>
                  </a:lnTo>
                  <a:lnTo>
                    <a:pt x="1319" y="641"/>
                  </a:lnTo>
                  <a:lnTo>
                    <a:pt x="1321" y="641"/>
                  </a:lnTo>
                  <a:lnTo>
                    <a:pt x="1321" y="643"/>
                  </a:lnTo>
                  <a:lnTo>
                    <a:pt x="1321" y="646"/>
                  </a:lnTo>
                  <a:lnTo>
                    <a:pt x="1321" y="648"/>
                  </a:lnTo>
                  <a:lnTo>
                    <a:pt x="1324" y="648"/>
                  </a:lnTo>
                  <a:lnTo>
                    <a:pt x="1324" y="651"/>
                  </a:lnTo>
                  <a:lnTo>
                    <a:pt x="1326" y="651"/>
                  </a:lnTo>
                  <a:lnTo>
                    <a:pt x="1324" y="651"/>
                  </a:lnTo>
                  <a:lnTo>
                    <a:pt x="1324" y="648"/>
                  </a:lnTo>
                  <a:lnTo>
                    <a:pt x="1326" y="651"/>
                  </a:lnTo>
                  <a:lnTo>
                    <a:pt x="1328" y="651"/>
                  </a:lnTo>
                  <a:lnTo>
                    <a:pt x="1326" y="653"/>
                  </a:lnTo>
                  <a:lnTo>
                    <a:pt x="1328" y="655"/>
                  </a:lnTo>
                  <a:lnTo>
                    <a:pt x="1331" y="655"/>
                  </a:lnTo>
                  <a:lnTo>
                    <a:pt x="1328" y="655"/>
                  </a:lnTo>
                  <a:lnTo>
                    <a:pt x="1328" y="658"/>
                  </a:lnTo>
                  <a:lnTo>
                    <a:pt x="1326" y="658"/>
                  </a:lnTo>
                  <a:lnTo>
                    <a:pt x="1326" y="660"/>
                  </a:lnTo>
                  <a:lnTo>
                    <a:pt x="1328" y="660"/>
                  </a:lnTo>
                  <a:lnTo>
                    <a:pt x="1326" y="660"/>
                  </a:lnTo>
                  <a:lnTo>
                    <a:pt x="1326" y="662"/>
                  </a:lnTo>
                  <a:lnTo>
                    <a:pt x="1326" y="665"/>
                  </a:lnTo>
                  <a:lnTo>
                    <a:pt x="1324" y="662"/>
                  </a:lnTo>
                  <a:lnTo>
                    <a:pt x="1321" y="662"/>
                  </a:lnTo>
                  <a:lnTo>
                    <a:pt x="1321" y="665"/>
                  </a:lnTo>
                  <a:lnTo>
                    <a:pt x="1324" y="665"/>
                  </a:lnTo>
                  <a:lnTo>
                    <a:pt x="1326" y="665"/>
                  </a:lnTo>
                  <a:lnTo>
                    <a:pt x="1324" y="665"/>
                  </a:lnTo>
                  <a:lnTo>
                    <a:pt x="1324" y="667"/>
                  </a:lnTo>
                  <a:lnTo>
                    <a:pt x="1321" y="667"/>
                  </a:lnTo>
                  <a:lnTo>
                    <a:pt x="1321" y="670"/>
                  </a:lnTo>
                  <a:lnTo>
                    <a:pt x="1319" y="670"/>
                  </a:lnTo>
                  <a:lnTo>
                    <a:pt x="1319" y="672"/>
                  </a:lnTo>
                  <a:lnTo>
                    <a:pt x="1316" y="672"/>
                  </a:lnTo>
                  <a:lnTo>
                    <a:pt x="1314" y="672"/>
                  </a:lnTo>
                  <a:lnTo>
                    <a:pt x="1314" y="674"/>
                  </a:lnTo>
                  <a:lnTo>
                    <a:pt x="1312" y="674"/>
                  </a:lnTo>
                  <a:lnTo>
                    <a:pt x="1309" y="677"/>
                  </a:lnTo>
                  <a:lnTo>
                    <a:pt x="1309" y="679"/>
                  </a:lnTo>
                  <a:lnTo>
                    <a:pt x="1307" y="679"/>
                  </a:lnTo>
                  <a:lnTo>
                    <a:pt x="1305" y="679"/>
                  </a:lnTo>
                  <a:lnTo>
                    <a:pt x="1305" y="682"/>
                  </a:lnTo>
                  <a:lnTo>
                    <a:pt x="1302" y="682"/>
                  </a:lnTo>
                  <a:lnTo>
                    <a:pt x="1305" y="682"/>
                  </a:lnTo>
                  <a:lnTo>
                    <a:pt x="1302" y="682"/>
                  </a:lnTo>
                  <a:lnTo>
                    <a:pt x="1302" y="684"/>
                  </a:lnTo>
                  <a:lnTo>
                    <a:pt x="1305" y="684"/>
                  </a:lnTo>
                  <a:lnTo>
                    <a:pt x="1302" y="682"/>
                  </a:lnTo>
                  <a:lnTo>
                    <a:pt x="1305" y="682"/>
                  </a:lnTo>
                  <a:lnTo>
                    <a:pt x="1302" y="682"/>
                  </a:lnTo>
                  <a:lnTo>
                    <a:pt x="1305" y="682"/>
                  </a:lnTo>
                  <a:lnTo>
                    <a:pt x="1305" y="679"/>
                  </a:lnTo>
                  <a:lnTo>
                    <a:pt x="1307" y="679"/>
                  </a:lnTo>
                  <a:lnTo>
                    <a:pt x="1309" y="679"/>
                  </a:lnTo>
                  <a:lnTo>
                    <a:pt x="1309" y="677"/>
                  </a:lnTo>
                  <a:lnTo>
                    <a:pt x="1309" y="674"/>
                  </a:lnTo>
                  <a:lnTo>
                    <a:pt x="1312" y="674"/>
                  </a:lnTo>
                  <a:lnTo>
                    <a:pt x="1314" y="674"/>
                  </a:lnTo>
                  <a:lnTo>
                    <a:pt x="1314" y="672"/>
                  </a:lnTo>
                  <a:lnTo>
                    <a:pt x="1316" y="672"/>
                  </a:lnTo>
                  <a:lnTo>
                    <a:pt x="1319" y="672"/>
                  </a:lnTo>
                  <a:lnTo>
                    <a:pt x="1319" y="670"/>
                  </a:lnTo>
                  <a:lnTo>
                    <a:pt x="1321" y="670"/>
                  </a:lnTo>
                  <a:lnTo>
                    <a:pt x="1321" y="667"/>
                  </a:lnTo>
                  <a:lnTo>
                    <a:pt x="1324" y="665"/>
                  </a:lnTo>
                  <a:lnTo>
                    <a:pt x="1326" y="665"/>
                  </a:lnTo>
                  <a:lnTo>
                    <a:pt x="1324" y="665"/>
                  </a:lnTo>
                  <a:lnTo>
                    <a:pt x="1321" y="665"/>
                  </a:lnTo>
                  <a:lnTo>
                    <a:pt x="1321" y="662"/>
                  </a:lnTo>
                  <a:lnTo>
                    <a:pt x="1324" y="662"/>
                  </a:lnTo>
                  <a:lnTo>
                    <a:pt x="1324" y="665"/>
                  </a:lnTo>
                  <a:lnTo>
                    <a:pt x="1326" y="665"/>
                  </a:lnTo>
                  <a:lnTo>
                    <a:pt x="1326" y="662"/>
                  </a:lnTo>
                  <a:lnTo>
                    <a:pt x="1326" y="660"/>
                  </a:lnTo>
                  <a:lnTo>
                    <a:pt x="1328" y="660"/>
                  </a:lnTo>
                  <a:lnTo>
                    <a:pt x="1326" y="660"/>
                  </a:lnTo>
                  <a:lnTo>
                    <a:pt x="1328" y="660"/>
                  </a:lnTo>
                  <a:lnTo>
                    <a:pt x="1328" y="658"/>
                  </a:lnTo>
                  <a:lnTo>
                    <a:pt x="1328" y="655"/>
                  </a:lnTo>
                  <a:lnTo>
                    <a:pt x="1331" y="655"/>
                  </a:lnTo>
                  <a:lnTo>
                    <a:pt x="1328" y="655"/>
                  </a:lnTo>
                  <a:lnTo>
                    <a:pt x="1326" y="653"/>
                  </a:lnTo>
                  <a:lnTo>
                    <a:pt x="1328" y="653"/>
                  </a:lnTo>
                  <a:lnTo>
                    <a:pt x="1328" y="651"/>
                  </a:lnTo>
                  <a:lnTo>
                    <a:pt x="1331" y="651"/>
                  </a:lnTo>
                  <a:lnTo>
                    <a:pt x="1328" y="651"/>
                  </a:lnTo>
                  <a:lnTo>
                    <a:pt x="1328" y="648"/>
                  </a:lnTo>
                  <a:lnTo>
                    <a:pt x="1331" y="648"/>
                  </a:lnTo>
                  <a:lnTo>
                    <a:pt x="1331" y="646"/>
                  </a:lnTo>
                  <a:lnTo>
                    <a:pt x="1333" y="646"/>
                  </a:lnTo>
                  <a:lnTo>
                    <a:pt x="1335" y="646"/>
                  </a:lnTo>
                  <a:lnTo>
                    <a:pt x="1338" y="646"/>
                  </a:lnTo>
                  <a:lnTo>
                    <a:pt x="1340" y="646"/>
                  </a:lnTo>
                  <a:lnTo>
                    <a:pt x="1340" y="643"/>
                  </a:lnTo>
                  <a:lnTo>
                    <a:pt x="1343" y="643"/>
                  </a:lnTo>
                  <a:lnTo>
                    <a:pt x="1345" y="643"/>
                  </a:lnTo>
                  <a:lnTo>
                    <a:pt x="1345" y="641"/>
                  </a:lnTo>
                  <a:lnTo>
                    <a:pt x="1347" y="641"/>
                  </a:lnTo>
                  <a:lnTo>
                    <a:pt x="1347" y="639"/>
                  </a:lnTo>
                  <a:lnTo>
                    <a:pt x="1350" y="636"/>
                  </a:lnTo>
                  <a:lnTo>
                    <a:pt x="1352" y="639"/>
                  </a:lnTo>
                  <a:lnTo>
                    <a:pt x="1354" y="639"/>
                  </a:lnTo>
                  <a:lnTo>
                    <a:pt x="1357" y="641"/>
                  </a:lnTo>
                  <a:lnTo>
                    <a:pt x="1359" y="641"/>
                  </a:lnTo>
                  <a:lnTo>
                    <a:pt x="1362" y="641"/>
                  </a:lnTo>
                  <a:lnTo>
                    <a:pt x="1364" y="641"/>
                  </a:lnTo>
                  <a:lnTo>
                    <a:pt x="1364" y="639"/>
                  </a:lnTo>
                  <a:lnTo>
                    <a:pt x="1366" y="636"/>
                  </a:lnTo>
                  <a:lnTo>
                    <a:pt x="1369" y="639"/>
                  </a:lnTo>
                  <a:lnTo>
                    <a:pt x="1371" y="639"/>
                  </a:lnTo>
                  <a:lnTo>
                    <a:pt x="1373" y="639"/>
                  </a:lnTo>
                  <a:lnTo>
                    <a:pt x="1376" y="639"/>
                  </a:lnTo>
                  <a:lnTo>
                    <a:pt x="1376" y="636"/>
                  </a:lnTo>
                  <a:lnTo>
                    <a:pt x="1378" y="636"/>
                  </a:lnTo>
                  <a:lnTo>
                    <a:pt x="1380" y="636"/>
                  </a:lnTo>
                  <a:lnTo>
                    <a:pt x="1383" y="636"/>
                  </a:lnTo>
                  <a:lnTo>
                    <a:pt x="1385" y="636"/>
                  </a:lnTo>
                  <a:lnTo>
                    <a:pt x="1388" y="636"/>
                  </a:lnTo>
                  <a:lnTo>
                    <a:pt x="1390" y="636"/>
                  </a:lnTo>
                  <a:lnTo>
                    <a:pt x="1390" y="639"/>
                  </a:lnTo>
                  <a:lnTo>
                    <a:pt x="1392" y="639"/>
                  </a:lnTo>
                  <a:lnTo>
                    <a:pt x="1395" y="639"/>
                  </a:lnTo>
                  <a:lnTo>
                    <a:pt x="1397" y="639"/>
                  </a:lnTo>
                  <a:lnTo>
                    <a:pt x="1399" y="641"/>
                  </a:lnTo>
                  <a:lnTo>
                    <a:pt x="1397" y="641"/>
                  </a:lnTo>
                  <a:lnTo>
                    <a:pt x="1399" y="641"/>
                  </a:lnTo>
                  <a:lnTo>
                    <a:pt x="1397" y="639"/>
                  </a:lnTo>
                  <a:lnTo>
                    <a:pt x="1395" y="639"/>
                  </a:lnTo>
                  <a:lnTo>
                    <a:pt x="1392" y="639"/>
                  </a:lnTo>
                  <a:lnTo>
                    <a:pt x="1390" y="636"/>
                  </a:lnTo>
                  <a:lnTo>
                    <a:pt x="1392" y="639"/>
                  </a:lnTo>
                  <a:lnTo>
                    <a:pt x="1395" y="639"/>
                  </a:lnTo>
                  <a:lnTo>
                    <a:pt x="1395" y="636"/>
                  </a:lnTo>
                  <a:lnTo>
                    <a:pt x="1397" y="639"/>
                  </a:lnTo>
                  <a:lnTo>
                    <a:pt x="1397" y="636"/>
                  </a:lnTo>
                  <a:lnTo>
                    <a:pt x="1399" y="636"/>
                  </a:lnTo>
                  <a:lnTo>
                    <a:pt x="1402" y="636"/>
                  </a:lnTo>
                  <a:lnTo>
                    <a:pt x="1404" y="636"/>
                  </a:lnTo>
                  <a:lnTo>
                    <a:pt x="1404" y="634"/>
                  </a:lnTo>
                  <a:lnTo>
                    <a:pt x="1407" y="634"/>
                  </a:lnTo>
                  <a:lnTo>
                    <a:pt x="1409" y="634"/>
                  </a:lnTo>
                  <a:lnTo>
                    <a:pt x="1411" y="634"/>
                  </a:lnTo>
                  <a:lnTo>
                    <a:pt x="1414" y="634"/>
                  </a:lnTo>
                  <a:lnTo>
                    <a:pt x="1414" y="632"/>
                  </a:lnTo>
                  <a:lnTo>
                    <a:pt x="1416" y="632"/>
                  </a:lnTo>
                  <a:lnTo>
                    <a:pt x="1418" y="632"/>
                  </a:lnTo>
                  <a:lnTo>
                    <a:pt x="1418" y="629"/>
                  </a:lnTo>
                  <a:lnTo>
                    <a:pt x="1421" y="629"/>
                  </a:lnTo>
                  <a:lnTo>
                    <a:pt x="1421" y="627"/>
                  </a:lnTo>
                  <a:lnTo>
                    <a:pt x="1423" y="627"/>
                  </a:lnTo>
                  <a:lnTo>
                    <a:pt x="1426" y="627"/>
                  </a:lnTo>
                  <a:lnTo>
                    <a:pt x="1423" y="627"/>
                  </a:lnTo>
                  <a:lnTo>
                    <a:pt x="1423" y="624"/>
                  </a:lnTo>
                  <a:lnTo>
                    <a:pt x="1426" y="624"/>
                  </a:lnTo>
                  <a:lnTo>
                    <a:pt x="1428" y="624"/>
                  </a:lnTo>
                  <a:lnTo>
                    <a:pt x="1428" y="622"/>
                  </a:lnTo>
                  <a:lnTo>
                    <a:pt x="1430" y="622"/>
                  </a:lnTo>
                  <a:lnTo>
                    <a:pt x="1430" y="620"/>
                  </a:lnTo>
                  <a:lnTo>
                    <a:pt x="1428" y="620"/>
                  </a:lnTo>
                  <a:lnTo>
                    <a:pt x="1428" y="617"/>
                  </a:lnTo>
                  <a:lnTo>
                    <a:pt x="1430" y="617"/>
                  </a:lnTo>
                  <a:lnTo>
                    <a:pt x="1428" y="617"/>
                  </a:lnTo>
                  <a:lnTo>
                    <a:pt x="1428" y="615"/>
                  </a:lnTo>
                  <a:lnTo>
                    <a:pt x="1430" y="613"/>
                  </a:lnTo>
                  <a:lnTo>
                    <a:pt x="1428" y="613"/>
                  </a:lnTo>
                  <a:lnTo>
                    <a:pt x="1430" y="610"/>
                  </a:lnTo>
                  <a:lnTo>
                    <a:pt x="1430" y="608"/>
                  </a:lnTo>
                  <a:lnTo>
                    <a:pt x="1433" y="608"/>
                  </a:lnTo>
                  <a:lnTo>
                    <a:pt x="1435" y="608"/>
                  </a:lnTo>
                  <a:lnTo>
                    <a:pt x="1435" y="605"/>
                  </a:lnTo>
                  <a:lnTo>
                    <a:pt x="1433" y="605"/>
                  </a:lnTo>
                  <a:lnTo>
                    <a:pt x="1435" y="605"/>
                  </a:lnTo>
                  <a:lnTo>
                    <a:pt x="1437" y="605"/>
                  </a:lnTo>
                  <a:lnTo>
                    <a:pt x="1440" y="605"/>
                  </a:lnTo>
                  <a:lnTo>
                    <a:pt x="1440" y="608"/>
                  </a:lnTo>
                  <a:lnTo>
                    <a:pt x="1442" y="608"/>
                  </a:lnTo>
                  <a:lnTo>
                    <a:pt x="1445" y="608"/>
                  </a:lnTo>
                  <a:lnTo>
                    <a:pt x="1447" y="608"/>
                  </a:lnTo>
                  <a:lnTo>
                    <a:pt x="1449" y="608"/>
                  </a:lnTo>
                  <a:lnTo>
                    <a:pt x="1447" y="608"/>
                  </a:lnTo>
                  <a:lnTo>
                    <a:pt x="1445" y="608"/>
                  </a:lnTo>
                  <a:lnTo>
                    <a:pt x="1442" y="608"/>
                  </a:lnTo>
                  <a:lnTo>
                    <a:pt x="1440" y="608"/>
                  </a:lnTo>
                  <a:lnTo>
                    <a:pt x="1440" y="605"/>
                  </a:lnTo>
                  <a:lnTo>
                    <a:pt x="1437" y="605"/>
                  </a:lnTo>
                  <a:lnTo>
                    <a:pt x="1435" y="605"/>
                  </a:lnTo>
                  <a:lnTo>
                    <a:pt x="1433" y="605"/>
                  </a:lnTo>
                  <a:lnTo>
                    <a:pt x="1433" y="608"/>
                  </a:lnTo>
                  <a:lnTo>
                    <a:pt x="1430" y="608"/>
                  </a:lnTo>
                  <a:lnTo>
                    <a:pt x="1430" y="610"/>
                  </a:lnTo>
                  <a:lnTo>
                    <a:pt x="1428" y="610"/>
                  </a:lnTo>
                  <a:lnTo>
                    <a:pt x="1428" y="613"/>
                  </a:lnTo>
                  <a:lnTo>
                    <a:pt x="1428" y="615"/>
                  </a:lnTo>
                  <a:lnTo>
                    <a:pt x="1428" y="617"/>
                  </a:lnTo>
                  <a:lnTo>
                    <a:pt x="1430" y="617"/>
                  </a:lnTo>
                  <a:lnTo>
                    <a:pt x="1428" y="617"/>
                  </a:lnTo>
                  <a:lnTo>
                    <a:pt x="1428" y="620"/>
                  </a:lnTo>
                  <a:lnTo>
                    <a:pt x="1430" y="620"/>
                  </a:lnTo>
                  <a:lnTo>
                    <a:pt x="1430" y="622"/>
                  </a:lnTo>
                  <a:lnTo>
                    <a:pt x="1428" y="622"/>
                  </a:lnTo>
                  <a:lnTo>
                    <a:pt x="1428" y="624"/>
                  </a:lnTo>
                  <a:lnTo>
                    <a:pt x="1426" y="624"/>
                  </a:lnTo>
                  <a:lnTo>
                    <a:pt x="1423" y="624"/>
                  </a:lnTo>
                  <a:lnTo>
                    <a:pt x="1423" y="627"/>
                  </a:lnTo>
                  <a:lnTo>
                    <a:pt x="1426" y="627"/>
                  </a:lnTo>
                  <a:lnTo>
                    <a:pt x="1423" y="627"/>
                  </a:lnTo>
                  <a:lnTo>
                    <a:pt x="1421" y="627"/>
                  </a:lnTo>
                  <a:lnTo>
                    <a:pt x="1421" y="629"/>
                  </a:lnTo>
                  <a:lnTo>
                    <a:pt x="1418" y="629"/>
                  </a:lnTo>
                  <a:lnTo>
                    <a:pt x="1418" y="632"/>
                  </a:lnTo>
                  <a:lnTo>
                    <a:pt x="1416" y="632"/>
                  </a:lnTo>
                  <a:lnTo>
                    <a:pt x="1414" y="632"/>
                  </a:lnTo>
                  <a:lnTo>
                    <a:pt x="1414" y="634"/>
                  </a:lnTo>
                  <a:lnTo>
                    <a:pt x="1411" y="634"/>
                  </a:lnTo>
                  <a:lnTo>
                    <a:pt x="1409" y="634"/>
                  </a:lnTo>
                  <a:lnTo>
                    <a:pt x="1407" y="634"/>
                  </a:lnTo>
                  <a:lnTo>
                    <a:pt x="1404" y="634"/>
                  </a:lnTo>
                  <a:lnTo>
                    <a:pt x="1404" y="636"/>
                  </a:lnTo>
                  <a:lnTo>
                    <a:pt x="1402" y="636"/>
                  </a:lnTo>
                  <a:lnTo>
                    <a:pt x="1399" y="636"/>
                  </a:lnTo>
                  <a:lnTo>
                    <a:pt x="1397" y="636"/>
                  </a:lnTo>
                  <a:lnTo>
                    <a:pt x="1395" y="636"/>
                  </a:lnTo>
                  <a:lnTo>
                    <a:pt x="1395" y="639"/>
                  </a:lnTo>
                  <a:lnTo>
                    <a:pt x="1392" y="636"/>
                  </a:lnTo>
                  <a:lnTo>
                    <a:pt x="1392" y="639"/>
                  </a:lnTo>
                  <a:lnTo>
                    <a:pt x="1392" y="636"/>
                  </a:lnTo>
                  <a:lnTo>
                    <a:pt x="1390" y="636"/>
                  </a:lnTo>
                  <a:lnTo>
                    <a:pt x="1388" y="636"/>
                  </a:lnTo>
                  <a:lnTo>
                    <a:pt x="1390" y="636"/>
                  </a:lnTo>
                  <a:lnTo>
                    <a:pt x="1388" y="636"/>
                  </a:lnTo>
                  <a:lnTo>
                    <a:pt x="1385" y="636"/>
                  </a:lnTo>
                  <a:lnTo>
                    <a:pt x="1383" y="636"/>
                  </a:lnTo>
                  <a:lnTo>
                    <a:pt x="1380" y="636"/>
                  </a:lnTo>
                  <a:lnTo>
                    <a:pt x="1378" y="636"/>
                  </a:lnTo>
                  <a:lnTo>
                    <a:pt x="1376" y="636"/>
                  </a:lnTo>
                  <a:lnTo>
                    <a:pt x="1376" y="639"/>
                  </a:lnTo>
                  <a:lnTo>
                    <a:pt x="1373" y="639"/>
                  </a:lnTo>
                  <a:lnTo>
                    <a:pt x="1371" y="636"/>
                  </a:lnTo>
                  <a:lnTo>
                    <a:pt x="1369" y="636"/>
                  </a:lnTo>
                  <a:lnTo>
                    <a:pt x="1366" y="636"/>
                  </a:lnTo>
                  <a:lnTo>
                    <a:pt x="1364" y="636"/>
                  </a:lnTo>
                  <a:lnTo>
                    <a:pt x="1364" y="639"/>
                  </a:lnTo>
                  <a:lnTo>
                    <a:pt x="1364" y="641"/>
                  </a:lnTo>
                  <a:lnTo>
                    <a:pt x="1362" y="641"/>
                  </a:lnTo>
                  <a:lnTo>
                    <a:pt x="1359" y="641"/>
                  </a:lnTo>
                  <a:lnTo>
                    <a:pt x="1357" y="641"/>
                  </a:lnTo>
                  <a:lnTo>
                    <a:pt x="1357" y="639"/>
                  </a:lnTo>
                  <a:lnTo>
                    <a:pt x="1354" y="639"/>
                  </a:lnTo>
                  <a:lnTo>
                    <a:pt x="1352" y="639"/>
                  </a:lnTo>
                  <a:lnTo>
                    <a:pt x="1352" y="636"/>
                  </a:lnTo>
                  <a:lnTo>
                    <a:pt x="1350" y="636"/>
                  </a:lnTo>
                  <a:lnTo>
                    <a:pt x="1352" y="636"/>
                  </a:lnTo>
                  <a:lnTo>
                    <a:pt x="1352" y="639"/>
                  </a:lnTo>
                  <a:lnTo>
                    <a:pt x="1352" y="636"/>
                  </a:lnTo>
                  <a:lnTo>
                    <a:pt x="1350" y="636"/>
                  </a:lnTo>
                  <a:lnTo>
                    <a:pt x="1347" y="636"/>
                  </a:lnTo>
                  <a:lnTo>
                    <a:pt x="1347" y="639"/>
                  </a:lnTo>
                  <a:lnTo>
                    <a:pt x="1345" y="641"/>
                  </a:lnTo>
                  <a:lnTo>
                    <a:pt x="1345" y="643"/>
                  </a:lnTo>
                  <a:lnTo>
                    <a:pt x="1343" y="643"/>
                  </a:lnTo>
                  <a:lnTo>
                    <a:pt x="1340" y="643"/>
                  </a:lnTo>
                  <a:lnTo>
                    <a:pt x="1338" y="646"/>
                  </a:lnTo>
                  <a:lnTo>
                    <a:pt x="1340" y="643"/>
                  </a:lnTo>
                  <a:lnTo>
                    <a:pt x="1338" y="646"/>
                  </a:lnTo>
                  <a:lnTo>
                    <a:pt x="1338" y="643"/>
                  </a:lnTo>
                  <a:lnTo>
                    <a:pt x="1335" y="646"/>
                  </a:lnTo>
                  <a:lnTo>
                    <a:pt x="1333" y="646"/>
                  </a:lnTo>
                  <a:lnTo>
                    <a:pt x="1335" y="646"/>
                  </a:lnTo>
                  <a:lnTo>
                    <a:pt x="1338" y="646"/>
                  </a:lnTo>
                  <a:lnTo>
                    <a:pt x="1340" y="643"/>
                  </a:lnTo>
                  <a:lnTo>
                    <a:pt x="1340" y="646"/>
                  </a:lnTo>
                  <a:lnTo>
                    <a:pt x="1340" y="643"/>
                  </a:lnTo>
                  <a:lnTo>
                    <a:pt x="1340" y="646"/>
                  </a:lnTo>
                  <a:lnTo>
                    <a:pt x="1338" y="646"/>
                  </a:lnTo>
                  <a:lnTo>
                    <a:pt x="1335" y="646"/>
                  </a:lnTo>
                  <a:lnTo>
                    <a:pt x="1333" y="646"/>
                  </a:lnTo>
                  <a:lnTo>
                    <a:pt x="1331" y="646"/>
                  </a:lnTo>
                  <a:lnTo>
                    <a:pt x="1331" y="648"/>
                  </a:lnTo>
                  <a:lnTo>
                    <a:pt x="1328" y="648"/>
                  </a:lnTo>
                  <a:lnTo>
                    <a:pt x="1326" y="648"/>
                  </a:lnTo>
                  <a:lnTo>
                    <a:pt x="1324" y="648"/>
                  </a:lnTo>
                  <a:lnTo>
                    <a:pt x="1321" y="648"/>
                  </a:lnTo>
                  <a:lnTo>
                    <a:pt x="1321" y="646"/>
                  </a:lnTo>
                  <a:lnTo>
                    <a:pt x="1321" y="648"/>
                  </a:lnTo>
                  <a:lnTo>
                    <a:pt x="1321" y="646"/>
                  </a:lnTo>
                  <a:lnTo>
                    <a:pt x="1321" y="648"/>
                  </a:lnTo>
                  <a:lnTo>
                    <a:pt x="1321" y="646"/>
                  </a:lnTo>
                  <a:lnTo>
                    <a:pt x="1321" y="643"/>
                  </a:lnTo>
                  <a:lnTo>
                    <a:pt x="1321" y="641"/>
                  </a:lnTo>
                  <a:lnTo>
                    <a:pt x="1321" y="639"/>
                  </a:lnTo>
                  <a:lnTo>
                    <a:pt x="1319" y="639"/>
                  </a:lnTo>
                  <a:lnTo>
                    <a:pt x="1316" y="636"/>
                  </a:lnTo>
                  <a:lnTo>
                    <a:pt x="1314" y="636"/>
                  </a:lnTo>
                  <a:lnTo>
                    <a:pt x="1312" y="634"/>
                  </a:lnTo>
                  <a:lnTo>
                    <a:pt x="1309" y="634"/>
                  </a:lnTo>
                  <a:lnTo>
                    <a:pt x="1309" y="632"/>
                  </a:lnTo>
                  <a:lnTo>
                    <a:pt x="1307" y="634"/>
                  </a:lnTo>
                  <a:lnTo>
                    <a:pt x="1305" y="634"/>
                  </a:lnTo>
                  <a:lnTo>
                    <a:pt x="1305" y="636"/>
                  </a:lnTo>
                  <a:lnTo>
                    <a:pt x="1302" y="636"/>
                  </a:lnTo>
                  <a:lnTo>
                    <a:pt x="1302" y="639"/>
                  </a:lnTo>
                  <a:lnTo>
                    <a:pt x="1302" y="641"/>
                  </a:lnTo>
                  <a:lnTo>
                    <a:pt x="1300" y="641"/>
                  </a:lnTo>
                  <a:lnTo>
                    <a:pt x="1297" y="643"/>
                  </a:lnTo>
                  <a:lnTo>
                    <a:pt x="1295" y="643"/>
                  </a:lnTo>
                  <a:lnTo>
                    <a:pt x="1293" y="643"/>
                  </a:lnTo>
                  <a:lnTo>
                    <a:pt x="1290" y="643"/>
                  </a:lnTo>
                  <a:lnTo>
                    <a:pt x="1293" y="643"/>
                  </a:lnTo>
                  <a:lnTo>
                    <a:pt x="1290" y="643"/>
                  </a:lnTo>
                  <a:lnTo>
                    <a:pt x="1290" y="646"/>
                  </a:lnTo>
                  <a:lnTo>
                    <a:pt x="1288" y="646"/>
                  </a:lnTo>
                  <a:lnTo>
                    <a:pt x="1288" y="648"/>
                  </a:lnTo>
                  <a:lnTo>
                    <a:pt x="1286" y="648"/>
                  </a:lnTo>
                  <a:lnTo>
                    <a:pt x="1283" y="648"/>
                  </a:lnTo>
                  <a:lnTo>
                    <a:pt x="1286" y="648"/>
                  </a:lnTo>
                  <a:lnTo>
                    <a:pt x="1283" y="648"/>
                  </a:lnTo>
                  <a:lnTo>
                    <a:pt x="1283" y="651"/>
                  </a:lnTo>
                  <a:lnTo>
                    <a:pt x="1283" y="653"/>
                  </a:lnTo>
                  <a:lnTo>
                    <a:pt x="1281" y="653"/>
                  </a:lnTo>
                  <a:lnTo>
                    <a:pt x="1278" y="653"/>
                  </a:lnTo>
                  <a:lnTo>
                    <a:pt x="1278" y="651"/>
                  </a:lnTo>
                  <a:lnTo>
                    <a:pt x="1276" y="653"/>
                  </a:lnTo>
                  <a:lnTo>
                    <a:pt x="1278" y="653"/>
                  </a:lnTo>
                  <a:lnTo>
                    <a:pt x="1278" y="651"/>
                  </a:lnTo>
                  <a:lnTo>
                    <a:pt x="1278" y="653"/>
                  </a:lnTo>
                  <a:lnTo>
                    <a:pt x="1276" y="653"/>
                  </a:lnTo>
                  <a:lnTo>
                    <a:pt x="1276" y="655"/>
                  </a:lnTo>
                  <a:lnTo>
                    <a:pt x="1274" y="655"/>
                  </a:lnTo>
                  <a:lnTo>
                    <a:pt x="1274" y="658"/>
                  </a:lnTo>
                  <a:lnTo>
                    <a:pt x="1271" y="658"/>
                  </a:lnTo>
                  <a:lnTo>
                    <a:pt x="1271" y="660"/>
                  </a:lnTo>
                  <a:lnTo>
                    <a:pt x="1269" y="660"/>
                  </a:lnTo>
                  <a:lnTo>
                    <a:pt x="1269" y="662"/>
                  </a:lnTo>
                  <a:lnTo>
                    <a:pt x="1269" y="665"/>
                  </a:lnTo>
                  <a:lnTo>
                    <a:pt x="1269" y="667"/>
                  </a:lnTo>
                  <a:lnTo>
                    <a:pt x="1267" y="667"/>
                  </a:lnTo>
                  <a:lnTo>
                    <a:pt x="1264" y="667"/>
                  </a:lnTo>
                  <a:lnTo>
                    <a:pt x="1262" y="667"/>
                  </a:lnTo>
                  <a:lnTo>
                    <a:pt x="1259" y="667"/>
                  </a:lnTo>
                  <a:lnTo>
                    <a:pt x="1257" y="667"/>
                  </a:lnTo>
                  <a:lnTo>
                    <a:pt x="1255" y="670"/>
                  </a:lnTo>
                  <a:lnTo>
                    <a:pt x="1255" y="667"/>
                  </a:lnTo>
                  <a:lnTo>
                    <a:pt x="1252" y="667"/>
                  </a:lnTo>
                  <a:lnTo>
                    <a:pt x="1252" y="670"/>
                  </a:lnTo>
                  <a:lnTo>
                    <a:pt x="1250" y="670"/>
                  </a:lnTo>
                  <a:lnTo>
                    <a:pt x="1248" y="670"/>
                  </a:lnTo>
                  <a:lnTo>
                    <a:pt x="1245" y="670"/>
                  </a:lnTo>
                  <a:lnTo>
                    <a:pt x="1243" y="670"/>
                  </a:lnTo>
                  <a:lnTo>
                    <a:pt x="1245" y="670"/>
                  </a:lnTo>
                  <a:lnTo>
                    <a:pt x="1245" y="667"/>
                  </a:lnTo>
                  <a:lnTo>
                    <a:pt x="1243" y="667"/>
                  </a:lnTo>
                  <a:lnTo>
                    <a:pt x="1240" y="667"/>
                  </a:lnTo>
                  <a:lnTo>
                    <a:pt x="1240" y="665"/>
                  </a:lnTo>
                  <a:lnTo>
                    <a:pt x="1238" y="665"/>
                  </a:lnTo>
                  <a:lnTo>
                    <a:pt x="1238" y="662"/>
                  </a:lnTo>
                  <a:lnTo>
                    <a:pt x="1240" y="662"/>
                  </a:lnTo>
                  <a:lnTo>
                    <a:pt x="1240" y="660"/>
                  </a:lnTo>
                  <a:lnTo>
                    <a:pt x="1240" y="658"/>
                  </a:lnTo>
                  <a:lnTo>
                    <a:pt x="1243" y="658"/>
                  </a:lnTo>
                  <a:lnTo>
                    <a:pt x="1243" y="655"/>
                  </a:lnTo>
                  <a:lnTo>
                    <a:pt x="1243" y="653"/>
                  </a:lnTo>
                  <a:lnTo>
                    <a:pt x="1240" y="653"/>
                  </a:lnTo>
                  <a:lnTo>
                    <a:pt x="1243" y="653"/>
                  </a:lnTo>
                  <a:lnTo>
                    <a:pt x="1243" y="651"/>
                  </a:lnTo>
                  <a:lnTo>
                    <a:pt x="1243" y="648"/>
                  </a:lnTo>
                  <a:lnTo>
                    <a:pt x="1245" y="648"/>
                  </a:lnTo>
                  <a:lnTo>
                    <a:pt x="1245" y="646"/>
                  </a:lnTo>
                  <a:lnTo>
                    <a:pt x="1243" y="646"/>
                  </a:lnTo>
                  <a:lnTo>
                    <a:pt x="1240" y="646"/>
                  </a:lnTo>
                  <a:lnTo>
                    <a:pt x="1238" y="646"/>
                  </a:lnTo>
                  <a:lnTo>
                    <a:pt x="1238" y="643"/>
                  </a:lnTo>
                  <a:lnTo>
                    <a:pt x="1238" y="646"/>
                  </a:lnTo>
                  <a:lnTo>
                    <a:pt x="1240" y="646"/>
                  </a:lnTo>
                  <a:lnTo>
                    <a:pt x="1243" y="646"/>
                  </a:lnTo>
                  <a:lnTo>
                    <a:pt x="1245" y="646"/>
                  </a:lnTo>
                  <a:lnTo>
                    <a:pt x="1245" y="648"/>
                  </a:lnTo>
                  <a:lnTo>
                    <a:pt x="1243" y="648"/>
                  </a:lnTo>
                  <a:lnTo>
                    <a:pt x="1243" y="651"/>
                  </a:lnTo>
                  <a:lnTo>
                    <a:pt x="1243" y="653"/>
                  </a:lnTo>
                  <a:lnTo>
                    <a:pt x="1240" y="653"/>
                  </a:lnTo>
                  <a:lnTo>
                    <a:pt x="1243" y="653"/>
                  </a:lnTo>
                  <a:lnTo>
                    <a:pt x="1243" y="655"/>
                  </a:lnTo>
                  <a:lnTo>
                    <a:pt x="1243" y="658"/>
                  </a:lnTo>
                  <a:lnTo>
                    <a:pt x="1240" y="658"/>
                  </a:lnTo>
                  <a:lnTo>
                    <a:pt x="1240" y="660"/>
                  </a:lnTo>
                  <a:lnTo>
                    <a:pt x="1240" y="662"/>
                  </a:lnTo>
                  <a:lnTo>
                    <a:pt x="1238" y="662"/>
                  </a:lnTo>
                  <a:lnTo>
                    <a:pt x="1238" y="665"/>
                  </a:lnTo>
                  <a:lnTo>
                    <a:pt x="1240" y="667"/>
                  </a:lnTo>
                  <a:lnTo>
                    <a:pt x="1243" y="667"/>
                  </a:lnTo>
                  <a:lnTo>
                    <a:pt x="1245" y="667"/>
                  </a:lnTo>
                  <a:lnTo>
                    <a:pt x="1245" y="670"/>
                  </a:lnTo>
                  <a:lnTo>
                    <a:pt x="1243" y="670"/>
                  </a:lnTo>
                  <a:lnTo>
                    <a:pt x="1243" y="672"/>
                  </a:lnTo>
                  <a:lnTo>
                    <a:pt x="1240" y="672"/>
                  </a:lnTo>
                  <a:lnTo>
                    <a:pt x="1238" y="672"/>
                  </a:lnTo>
                  <a:lnTo>
                    <a:pt x="1236" y="672"/>
                  </a:lnTo>
                  <a:lnTo>
                    <a:pt x="1236" y="670"/>
                  </a:lnTo>
                  <a:lnTo>
                    <a:pt x="1233" y="670"/>
                  </a:lnTo>
                  <a:lnTo>
                    <a:pt x="1236" y="670"/>
                  </a:lnTo>
                  <a:lnTo>
                    <a:pt x="1233" y="670"/>
                  </a:lnTo>
                  <a:lnTo>
                    <a:pt x="1231" y="670"/>
                  </a:lnTo>
                  <a:lnTo>
                    <a:pt x="1231" y="667"/>
                  </a:lnTo>
                  <a:lnTo>
                    <a:pt x="1229" y="667"/>
                  </a:lnTo>
                  <a:lnTo>
                    <a:pt x="1229" y="665"/>
                  </a:lnTo>
                  <a:lnTo>
                    <a:pt x="1229" y="662"/>
                  </a:lnTo>
                  <a:lnTo>
                    <a:pt x="1226" y="662"/>
                  </a:lnTo>
                  <a:lnTo>
                    <a:pt x="1224" y="662"/>
                  </a:lnTo>
                  <a:lnTo>
                    <a:pt x="1224" y="660"/>
                  </a:lnTo>
                  <a:lnTo>
                    <a:pt x="1224" y="658"/>
                  </a:lnTo>
                  <a:lnTo>
                    <a:pt x="1222" y="658"/>
                  </a:lnTo>
                  <a:lnTo>
                    <a:pt x="1222" y="655"/>
                  </a:lnTo>
                  <a:lnTo>
                    <a:pt x="1219" y="655"/>
                  </a:lnTo>
                  <a:lnTo>
                    <a:pt x="1217" y="655"/>
                  </a:lnTo>
                  <a:lnTo>
                    <a:pt x="1217" y="653"/>
                  </a:lnTo>
                  <a:lnTo>
                    <a:pt x="1217" y="651"/>
                  </a:lnTo>
                  <a:lnTo>
                    <a:pt x="1217" y="653"/>
                  </a:lnTo>
                  <a:lnTo>
                    <a:pt x="1217" y="651"/>
                  </a:lnTo>
                  <a:lnTo>
                    <a:pt x="1217" y="648"/>
                  </a:lnTo>
                  <a:lnTo>
                    <a:pt x="1214" y="646"/>
                  </a:lnTo>
                  <a:lnTo>
                    <a:pt x="1212" y="646"/>
                  </a:lnTo>
                  <a:lnTo>
                    <a:pt x="1210" y="646"/>
                  </a:lnTo>
                  <a:lnTo>
                    <a:pt x="1207" y="646"/>
                  </a:lnTo>
                  <a:lnTo>
                    <a:pt x="1205" y="646"/>
                  </a:lnTo>
                  <a:lnTo>
                    <a:pt x="1203" y="646"/>
                  </a:lnTo>
                  <a:lnTo>
                    <a:pt x="1200" y="646"/>
                  </a:lnTo>
                  <a:lnTo>
                    <a:pt x="1198" y="646"/>
                  </a:lnTo>
                  <a:lnTo>
                    <a:pt x="1195" y="648"/>
                  </a:lnTo>
                  <a:lnTo>
                    <a:pt x="1193" y="648"/>
                  </a:lnTo>
                  <a:lnTo>
                    <a:pt x="1191" y="648"/>
                  </a:lnTo>
                  <a:lnTo>
                    <a:pt x="1188" y="651"/>
                  </a:lnTo>
                  <a:lnTo>
                    <a:pt x="1186" y="651"/>
                  </a:lnTo>
                  <a:lnTo>
                    <a:pt x="1184" y="653"/>
                  </a:lnTo>
                  <a:lnTo>
                    <a:pt x="1181" y="655"/>
                  </a:lnTo>
                  <a:lnTo>
                    <a:pt x="1179" y="655"/>
                  </a:lnTo>
                  <a:lnTo>
                    <a:pt x="1176" y="655"/>
                  </a:lnTo>
                  <a:lnTo>
                    <a:pt x="1174" y="655"/>
                  </a:lnTo>
                  <a:lnTo>
                    <a:pt x="1176" y="655"/>
                  </a:lnTo>
                  <a:lnTo>
                    <a:pt x="1174" y="655"/>
                  </a:lnTo>
                  <a:lnTo>
                    <a:pt x="1174" y="658"/>
                  </a:lnTo>
                  <a:lnTo>
                    <a:pt x="1172" y="658"/>
                  </a:lnTo>
                  <a:lnTo>
                    <a:pt x="1172" y="660"/>
                  </a:lnTo>
                  <a:lnTo>
                    <a:pt x="1172" y="662"/>
                  </a:lnTo>
                  <a:lnTo>
                    <a:pt x="1172" y="665"/>
                  </a:lnTo>
                  <a:lnTo>
                    <a:pt x="1172" y="667"/>
                  </a:lnTo>
                  <a:lnTo>
                    <a:pt x="1172" y="670"/>
                  </a:lnTo>
                  <a:lnTo>
                    <a:pt x="1169" y="672"/>
                  </a:lnTo>
                  <a:lnTo>
                    <a:pt x="1167" y="672"/>
                  </a:lnTo>
                  <a:lnTo>
                    <a:pt x="1167" y="674"/>
                  </a:lnTo>
                  <a:lnTo>
                    <a:pt x="1165" y="674"/>
                  </a:lnTo>
                  <a:lnTo>
                    <a:pt x="1162" y="677"/>
                  </a:lnTo>
                  <a:lnTo>
                    <a:pt x="1162" y="679"/>
                  </a:lnTo>
                  <a:lnTo>
                    <a:pt x="1162" y="682"/>
                  </a:lnTo>
                  <a:lnTo>
                    <a:pt x="1160" y="682"/>
                  </a:lnTo>
                  <a:lnTo>
                    <a:pt x="1160" y="684"/>
                  </a:lnTo>
                  <a:lnTo>
                    <a:pt x="1160" y="682"/>
                  </a:lnTo>
                  <a:lnTo>
                    <a:pt x="1157" y="682"/>
                  </a:lnTo>
                  <a:lnTo>
                    <a:pt x="1160" y="682"/>
                  </a:lnTo>
                  <a:lnTo>
                    <a:pt x="1157" y="682"/>
                  </a:lnTo>
                  <a:lnTo>
                    <a:pt x="1160" y="682"/>
                  </a:lnTo>
                  <a:lnTo>
                    <a:pt x="1157" y="682"/>
                  </a:lnTo>
                  <a:lnTo>
                    <a:pt x="1157" y="684"/>
                  </a:lnTo>
                  <a:lnTo>
                    <a:pt x="1155" y="684"/>
                  </a:lnTo>
                  <a:lnTo>
                    <a:pt x="1153" y="684"/>
                  </a:lnTo>
                  <a:lnTo>
                    <a:pt x="1150" y="686"/>
                  </a:lnTo>
                  <a:lnTo>
                    <a:pt x="1148" y="686"/>
                  </a:lnTo>
                  <a:lnTo>
                    <a:pt x="1148" y="689"/>
                  </a:lnTo>
                  <a:lnTo>
                    <a:pt x="1148" y="691"/>
                  </a:lnTo>
                  <a:lnTo>
                    <a:pt x="1146" y="691"/>
                  </a:lnTo>
                  <a:lnTo>
                    <a:pt x="1146" y="693"/>
                  </a:lnTo>
                  <a:lnTo>
                    <a:pt x="1146" y="696"/>
                  </a:lnTo>
                  <a:lnTo>
                    <a:pt x="1143" y="696"/>
                  </a:lnTo>
                  <a:lnTo>
                    <a:pt x="1141" y="696"/>
                  </a:lnTo>
                  <a:lnTo>
                    <a:pt x="1138" y="696"/>
                  </a:lnTo>
                  <a:lnTo>
                    <a:pt x="1134" y="696"/>
                  </a:lnTo>
                  <a:lnTo>
                    <a:pt x="1131" y="696"/>
                  </a:lnTo>
                  <a:lnTo>
                    <a:pt x="1129" y="696"/>
                  </a:lnTo>
                  <a:lnTo>
                    <a:pt x="1127" y="696"/>
                  </a:lnTo>
                  <a:lnTo>
                    <a:pt x="1129" y="696"/>
                  </a:lnTo>
                  <a:lnTo>
                    <a:pt x="1127" y="696"/>
                  </a:lnTo>
                  <a:lnTo>
                    <a:pt x="1129" y="696"/>
                  </a:lnTo>
                  <a:lnTo>
                    <a:pt x="1127" y="696"/>
                  </a:lnTo>
                  <a:lnTo>
                    <a:pt x="1129" y="696"/>
                  </a:lnTo>
                  <a:lnTo>
                    <a:pt x="1127" y="696"/>
                  </a:lnTo>
                  <a:lnTo>
                    <a:pt x="1129" y="696"/>
                  </a:lnTo>
                  <a:lnTo>
                    <a:pt x="1127" y="696"/>
                  </a:lnTo>
                  <a:lnTo>
                    <a:pt x="1124" y="696"/>
                  </a:lnTo>
                  <a:lnTo>
                    <a:pt x="1124" y="698"/>
                  </a:lnTo>
                  <a:lnTo>
                    <a:pt x="1122" y="698"/>
                  </a:lnTo>
                  <a:lnTo>
                    <a:pt x="1119" y="698"/>
                  </a:lnTo>
                  <a:lnTo>
                    <a:pt x="1119" y="701"/>
                  </a:lnTo>
                  <a:lnTo>
                    <a:pt x="1117" y="701"/>
                  </a:lnTo>
                  <a:lnTo>
                    <a:pt x="1117" y="703"/>
                  </a:lnTo>
                  <a:lnTo>
                    <a:pt x="1115" y="703"/>
                  </a:lnTo>
                  <a:lnTo>
                    <a:pt x="1112" y="703"/>
                  </a:lnTo>
                  <a:lnTo>
                    <a:pt x="1110" y="703"/>
                  </a:lnTo>
                  <a:lnTo>
                    <a:pt x="1108" y="703"/>
                  </a:lnTo>
                  <a:lnTo>
                    <a:pt x="1105" y="703"/>
                  </a:lnTo>
                  <a:lnTo>
                    <a:pt x="1108" y="703"/>
                  </a:lnTo>
                  <a:lnTo>
                    <a:pt x="1105" y="703"/>
                  </a:lnTo>
                  <a:lnTo>
                    <a:pt x="1103" y="703"/>
                  </a:lnTo>
                  <a:lnTo>
                    <a:pt x="1101" y="703"/>
                  </a:lnTo>
                  <a:lnTo>
                    <a:pt x="1098" y="703"/>
                  </a:lnTo>
                  <a:lnTo>
                    <a:pt x="1096" y="703"/>
                  </a:lnTo>
                  <a:lnTo>
                    <a:pt x="1093" y="701"/>
                  </a:lnTo>
                  <a:lnTo>
                    <a:pt x="1091" y="701"/>
                  </a:lnTo>
                  <a:lnTo>
                    <a:pt x="1089" y="701"/>
                  </a:lnTo>
                  <a:lnTo>
                    <a:pt x="1086" y="701"/>
                  </a:lnTo>
                  <a:lnTo>
                    <a:pt x="1084" y="698"/>
                  </a:lnTo>
                  <a:lnTo>
                    <a:pt x="1082" y="698"/>
                  </a:lnTo>
                  <a:lnTo>
                    <a:pt x="1079" y="698"/>
                  </a:lnTo>
                  <a:lnTo>
                    <a:pt x="1077" y="698"/>
                  </a:lnTo>
                  <a:lnTo>
                    <a:pt x="1074" y="698"/>
                  </a:lnTo>
                  <a:lnTo>
                    <a:pt x="1072" y="698"/>
                  </a:lnTo>
                  <a:lnTo>
                    <a:pt x="1072" y="696"/>
                  </a:lnTo>
                  <a:lnTo>
                    <a:pt x="1072" y="693"/>
                  </a:lnTo>
                  <a:lnTo>
                    <a:pt x="1074" y="693"/>
                  </a:lnTo>
                  <a:lnTo>
                    <a:pt x="1074" y="691"/>
                  </a:lnTo>
                  <a:lnTo>
                    <a:pt x="1074" y="689"/>
                  </a:lnTo>
                  <a:lnTo>
                    <a:pt x="1074" y="686"/>
                  </a:lnTo>
                  <a:lnTo>
                    <a:pt x="1074" y="684"/>
                  </a:lnTo>
                  <a:lnTo>
                    <a:pt x="1077" y="684"/>
                  </a:lnTo>
                  <a:lnTo>
                    <a:pt x="1074" y="684"/>
                  </a:lnTo>
                  <a:lnTo>
                    <a:pt x="1074" y="682"/>
                  </a:lnTo>
                  <a:lnTo>
                    <a:pt x="1077" y="679"/>
                  </a:lnTo>
                  <a:lnTo>
                    <a:pt x="1077" y="677"/>
                  </a:lnTo>
                  <a:lnTo>
                    <a:pt x="1077" y="679"/>
                  </a:lnTo>
                  <a:lnTo>
                    <a:pt x="1077" y="677"/>
                  </a:lnTo>
                  <a:lnTo>
                    <a:pt x="1079" y="677"/>
                  </a:lnTo>
                  <a:lnTo>
                    <a:pt x="1077" y="677"/>
                  </a:lnTo>
                  <a:lnTo>
                    <a:pt x="1077" y="674"/>
                  </a:lnTo>
                  <a:lnTo>
                    <a:pt x="1079" y="674"/>
                  </a:lnTo>
                  <a:lnTo>
                    <a:pt x="1079" y="672"/>
                  </a:lnTo>
                  <a:lnTo>
                    <a:pt x="1082" y="672"/>
                  </a:lnTo>
                  <a:lnTo>
                    <a:pt x="1084" y="672"/>
                  </a:lnTo>
                  <a:lnTo>
                    <a:pt x="1084" y="670"/>
                  </a:lnTo>
                  <a:lnTo>
                    <a:pt x="1086" y="670"/>
                  </a:lnTo>
                  <a:lnTo>
                    <a:pt x="1086" y="667"/>
                  </a:lnTo>
                  <a:lnTo>
                    <a:pt x="1089" y="667"/>
                  </a:lnTo>
                  <a:lnTo>
                    <a:pt x="1089" y="665"/>
                  </a:lnTo>
                  <a:lnTo>
                    <a:pt x="1086" y="665"/>
                  </a:lnTo>
                  <a:lnTo>
                    <a:pt x="1086" y="662"/>
                  </a:lnTo>
                  <a:lnTo>
                    <a:pt x="1086" y="660"/>
                  </a:lnTo>
                  <a:lnTo>
                    <a:pt x="1086" y="658"/>
                  </a:lnTo>
                  <a:lnTo>
                    <a:pt x="1086" y="655"/>
                  </a:lnTo>
                  <a:lnTo>
                    <a:pt x="1086" y="653"/>
                  </a:lnTo>
                  <a:lnTo>
                    <a:pt x="1086" y="651"/>
                  </a:lnTo>
                  <a:lnTo>
                    <a:pt x="1086" y="648"/>
                  </a:lnTo>
                  <a:lnTo>
                    <a:pt x="1089" y="648"/>
                  </a:lnTo>
                  <a:lnTo>
                    <a:pt x="1086" y="648"/>
                  </a:lnTo>
                  <a:lnTo>
                    <a:pt x="1086" y="646"/>
                  </a:lnTo>
                  <a:lnTo>
                    <a:pt x="1086" y="648"/>
                  </a:lnTo>
                  <a:lnTo>
                    <a:pt x="1086" y="646"/>
                  </a:lnTo>
                  <a:lnTo>
                    <a:pt x="1086" y="643"/>
                  </a:lnTo>
                  <a:lnTo>
                    <a:pt x="1086" y="641"/>
                  </a:lnTo>
                  <a:lnTo>
                    <a:pt x="1084" y="641"/>
                  </a:lnTo>
                  <a:lnTo>
                    <a:pt x="1086" y="639"/>
                  </a:lnTo>
                  <a:lnTo>
                    <a:pt x="1086" y="641"/>
                  </a:lnTo>
                  <a:lnTo>
                    <a:pt x="1086" y="639"/>
                  </a:lnTo>
                  <a:lnTo>
                    <a:pt x="1084" y="639"/>
                  </a:lnTo>
                  <a:lnTo>
                    <a:pt x="1084" y="636"/>
                  </a:lnTo>
                  <a:lnTo>
                    <a:pt x="1084" y="634"/>
                  </a:lnTo>
                  <a:lnTo>
                    <a:pt x="1086" y="634"/>
                  </a:lnTo>
                  <a:lnTo>
                    <a:pt x="1084" y="634"/>
                  </a:lnTo>
                  <a:lnTo>
                    <a:pt x="1086" y="632"/>
                  </a:lnTo>
                  <a:lnTo>
                    <a:pt x="1084" y="629"/>
                  </a:lnTo>
                  <a:lnTo>
                    <a:pt x="1084" y="627"/>
                  </a:lnTo>
                  <a:lnTo>
                    <a:pt x="1082" y="627"/>
                  </a:lnTo>
                  <a:lnTo>
                    <a:pt x="1082" y="624"/>
                  </a:lnTo>
                  <a:lnTo>
                    <a:pt x="1084" y="624"/>
                  </a:lnTo>
                  <a:lnTo>
                    <a:pt x="1086" y="627"/>
                  </a:lnTo>
                  <a:lnTo>
                    <a:pt x="1086" y="624"/>
                  </a:lnTo>
                  <a:lnTo>
                    <a:pt x="1089" y="624"/>
                  </a:lnTo>
                  <a:lnTo>
                    <a:pt x="1086" y="624"/>
                  </a:lnTo>
                  <a:lnTo>
                    <a:pt x="1086" y="627"/>
                  </a:lnTo>
                  <a:lnTo>
                    <a:pt x="1084" y="624"/>
                  </a:lnTo>
                  <a:lnTo>
                    <a:pt x="1082" y="624"/>
                  </a:lnTo>
                  <a:lnTo>
                    <a:pt x="1084" y="624"/>
                  </a:lnTo>
                  <a:lnTo>
                    <a:pt x="1082" y="624"/>
                  </a:lnTo>
                  <a:lnTo>
                    <a:pt x="1084" y="624"/>
                  </a:lnTo>
                  <a:lnTo>
                    <a:pt x="1082" y="624"/>
                  </a:lnTo>
                  <a:lnTo>
                    <a:pt x="1082" y="622"/>
                  </a:lnTo>
                  <a:lnTo>
                    <a:pt x="1082" y="620"/>
                  </a:lnTo>
                  <a:lnTo>
                    <a:pt x="1082" y="617"/>
                  </a:lnTo>
                  <a:lnTo>
                    <a:pt x="1082" y="615"/>
                  </a:lnTo>
                  <a:lnTo>
                    <a:pt x="1082" y="613"/>
                  </a:lnTo>
                  <a:lnTo>
                    <a:pt x="1082" y="610"/>
                  </a:lnTo>
                  <a:lnTo>
                    <a:pt x="1082" y="613"/>
                  </a:lnTo>
                  <a:lnTo>
                    <a:pt x="1084" y="613"/>
                  </a:lnTo>
                  <a:lnTo>
                    <a:pt x="1082" y="613"/>
                  </a:lnTo>
                  <a:lnTo>
                    <a:pt x="1082" y="610"/>
                  </a:lnTo>
                  <a:lnTo>
                    <a:pt x="1082" y="608"/>
                  </a:lnTo>
                  <a:lnTo>
                    <a:pt x="1084" y="608"/>
                  </a:lnTo>
                  <a:lnTo>
                    <a:pt x="1082" y="608"/>
                  </a:lnTo>
                  <a:lnTo>
                    <a:pt x="1082" y="605"/>
                  </a:lnTo>
                  <a:lnTo>
                    <a:pt x="1084" y="605"/>
                  </a:lnTo>
                  <a:lnTo>
                    <a:pt x="1082" y="605"/>
                  </a:lnTo>
                  <a:lnTo>
                    <a:pt x="1084" y="605"/>
                  </a:lnTo>
                  <a:lnTo>
                    <a:pt x="1084" y="608"/>
                  </a:lnTo>
                  <a:lnTo>
                    <a:pt x="1084" y="605"/>
                  </a:lnTo>
                  <a:lnTo>
                    <a:pt x="1084" y="608"/>
                  </a:lnTo>
                  <a:lnTo>
                    <a:pt x="1086" y="608"/>
                  </a:lnTo>
                  <a:lnTo>
                    <a:pt x="1089" y="608"/>
                  </a:lnTo>
                  <a:lnTo>
                    <a:pt x="1086" y="608"/>
                  </a:lnTo>
                  <a:lnTo>
                    <a:pt x="1086" y="605"/>
                  </a:lnTo>
                  <a:lnTo>
                    <a:pt x="1084" y="605"/>
                  </a:lnTo>
                  <a:lnTo>
                    <a:pt x="1086" y="605"/>
                  </a:lnTo>
                  <a:lnTo>
                    <a:pt x="1084" y="605"/>
                  </a:lnTo>
                  <a:lnTo>
                    <a:pt x="1086" y="605"/>
                  </a:lnTo>
                  <a:lnTo>
                    <a:pt x="1084" y="605"/>
                  </a:lnTo>
                  <a:lnTo>
                    <a:pt x="1082" y="605"/>
                  </a:lnTo>
                  <a:lnTo>
                    <a:pt x="1082" y="603"/>
                  </a:lnTo>
                  <a:lnTo>
                    <a:pt x="1082" y="601"/>
                  </a:lnTo>
                  <a:lnTo>
                    <a:pt x="1082" y="603"/>
                  </a:lnTo>
                  <a:lnTo>
                    <a:pt x="1079" y="603"/>
                  </a:lnTo>
                  <a:lnTo>
                    <a:pt x="1079" y="601"/>
                  </a:lnTo>
                  <a:lnTo>
                    <a:pt x="1077" y="601"/>
                  </a:lnTo>
                  <a:lnTo>
                    <a:pt x="1077" y="598"/>
                  </a:lnTo>
                  <a:lnTo>
                    <a:pt x="1077" y="596"/>
                  </a:lnTo>
                  <a:lnTo>
                    <a:pt x="1074" y="594"/>
                  </a:lnTo>
                  <a:lnTo>
                    <a:pt x="1072" y="594"/>
                  </a:lnTo>
                  <a:lnTo>
                    <a:pt x="1072" y="591"/>
                  </a:lnTo>
                  <a:lnTo>
                    <a:pt x="1074" y="591"/>
                  </a:lnTo>
                  <a:lnTo>
                    <a:pt x="1074" y="589"/>
                  </a:lnTo>
                  <a:lnTo>
                    <a:pt x="1074" y="586"/>
                  </a:lnTo>
                  <a:lnTo>
                    <a:pt x="1077" y="586"/>
                  </a:lnTo>
                  <a:lnTo>
                    <a:pt x="1077" y="584"/>
                  </a:lnTo>
                  <a:lnTo>
                    <a:pt x="1074" y="584"/>
                  </a:lnTo>
                  <a:lnTo>
                    <a:pt x="1074" y="582"/>
                  </a:lnTo>
                  <a:lnTo>
                    <a:pt x="1072" y="582"/>
                  </a:lnTo>
                  <a:lnTo>
                    <a:pt x="1074" y="582"/>
                  </a:lnTo>
                  <a:lnTo>
                    <a:pt x="1074" y="579"/>
                  </a:lnTo>
                  <a:lnTo>
                    <a:pt x="1072" y="579"/>
                  </a:lnTo>
                  <a:lnTo>
                    <a:pt x="1072" y="577"/>
                  </a:lnTo>
                  <a:lnTo>
                    <a:pt x="1072" y="575"/>
                  </a:lnTo>
                  <a:lnTo>
                    <a:pt x="1074" y="575"/>
                  </a:lnTo>
                  <a:lnTo>
                    <a:pt x="1072" y="575"/>
                  </a:lnTo>
                  <a:lnTo>
                    <a:pt x="1072" y="577"/>
                  </a:lnTo>
                  <a:lnTo>
                    <a:pt x="1072" y="575"/>
                  </a:lnTo>
                  <a:lnTo>
                    <a:pt x="1074" y="575"/>
                  </a:lnTo>
                  <a:lnTo>
                    <a:pt x="1072" y="575"/>
                  </a:lnTo>
                  <a:lnTo>
                    <a:pt x="1074" y="577"/>
                  </a:lnTo>
                  <a:lnTo>
                    <a:pt x="1072" y="577"/>
                  </a:lnTo>
                  <a:lnTo>
                    <a:pt x="1074" y="577"/>
                  </a:lnTo>
                  <a:lnTo>
                    <a:pt x="1074" y="575"/>
                  </a:lnTo>
                  <a:lnTo>
                    <a:pt x="1077" y="575"/>
                  </a:lnTo>
                  <a:lnTo>
                    <a:pt x="1079" y="575"/>
                  </a:lnTo>
                  <a:lnTo>
                    <a:pt x="1079" y="577"/>
                  </a:lnTo>
                  <a:lnTo>
                    <a:pt x="1082" y="577"/>
                  </a:lnTo>
                  <a:lnTo>
                    <a:pt x="1084" y="575"/>
                  </a:lnTo>
                  <a:lnTo>
                    <a:pt x="1084" y="572"/>
                  </a:lnTo>
                  <a:lnTo>
                    <a:pt x="1086" y="572"/>
                  </a:lnTo>
                  <a:lnTo>
                    <a:pt x="1086" y="575"/>
                  </a:lnTo>
                  <a:lnTo>
                    <a:pt x="1086" y="572"/>
                  </a:lnTo>
                  <a:lnTo>
                    <a:pt x="1089" y="572"/>
                  </a:lnTo>
                  <a:lnTo>
                    <a:pt x="1091" y="572"/>
                  </a:lnTo>
                  <a:lnTo>
                    <a:pt x="1093" y="572"/>
                  </a:lnTo>
                  <a:lnTo>
                    <a:pt x="1091" y="572"/>
                  </a:lnTo>
                  <a:lnTo>
                    <a:pt x="1093" y="572"/>
                  </a:lnTo>
                  <a:lnTo>
                    <a:pt x="1096" y="572"/>
                  </a:lnTo>
                  <a:lnTo>
                    <a:pt x="1098" y="572"/>
                  </a:lnTo>
                  <a:lnTo>
                    <a:pt x="1101" y="572"/>
                  </a:lnTo>
                  <a:lnTo>
                    <a:pt x="1103" y="572"/>
                  </a:lnTo>
                  <a:lnTo>
                    <a:pt x="1101" y="572"/>
                  </a:lnTo>
                  <a:lnTo>
                    <a:pt x="1098" y="572"/>
                  </a:lnTo>
                  <a:lnTo>
                    <a:pt x="1096" y="572"/>
                  </a:lnTo>
                  <a:lnTo>
                    <a:pt x="1093" y="572"/>
                  </a:lnTo>
                  <a:lnTo>
                    <a:pt x="1096" y="572"/>
                  </a:lnTo>
                  <a:lnTo>
                    <a:pt x="1093" y="572"/>
                  </a:lnTo>
                  <a:lnTo>
                    <a:pt x="1091" y="572"/>
                  </a:lnTo>
                  <a:lnTo>
                    <a:pt x="1091" y="575"/>
                  </a:lnTo>
                  <a:lnTo>
                    <a:pt x="1093" y="575"/>
                  </a:lnTo>
                  <a:lnTo>
                    <a:pt x="1091" y="575"/>
                  </a:lnTo>
                  <a:lnTo>
                    <a:pt x="1089" y="575"/>
                  </a:lnTo>
                  <a:lnTo>
                    <a:pt x="1086" y="575"/>
                  </a:lnTo>
                  <a:lnTo>
                    <a:pt x="1086" y="577"/>
                  </a:lnTo>
                  <a:lnTo>
                    <a:pt x="1084" y="577"/>
                  </a:lnTo>
                  <a:lnTo>
                    <a:pt x="1084" y="579"/>
                  </a:lnTo>
                  <a:lnTo>
                    <a:pt x="1082" y="579"/>
                  </a:lnTo>
                  <a:lnTo>
                    <a:pt x="1084" y="577"/>
                  </a:lnTo>
                  <a:lnTo>
                    <a:pt x="1082" y="577"/>
                  </a:lnTo>
                  <a:lnTo>
                    <a:pt x="1084" y="577"/>
                  </a:lnTo>
                  <a:lnTo>
                    <a:pt x="1082" y="577"/>
                  </a:lnTo>
                  <a:lnTo>
                    <a:pt x="1084" y="577"/>
                  </a:lnTo>
                  <a:lnTo>
                    <a:pt x="1082" y="579"/>
                  </a:lnTo>
                  <a:lnTo>
                    <a:pt x="1084" y="579"/>
                  </a:lnTo>
                  <a:lnTo>
                    <a:pt x="1084" y="577"/>
                  </a:lnTo>
                  <a:lnTo>
                    <a:pt x="1086" y="577"/>
                  </a:lnTo>
                  <a:lnTo>
                    <a:pt x="1086" y="579"/>
                  </a:lnTo>
                  <a:lnTo>
                    <a:pt x="1089" y="579"/>
                  </a:lnTo>
                  <a:lnTo>
                    <a:pt x="1086" y="579"/>
                  </a:lnTo>
                  <a:lnTo>
                    <a:pt x="1086" y="582"/>
                  </a:lnTo>
                  <a:lnTo>
                    <a:pt x="1086" y="579"/>
                  </a:lnTo>
                  <a:lnTo>
                    <a:pt x="1084" y="579"/>
                  </a:lnTo>
                  <a:lnTo>
                    <a:pt x="1084" y="582"/>
                  </a:lnTo>
                  <a:lnTo>
                    <a:pt x="1086" y="582"/>
                  </a:lnTo>
                  <a:lnTo>
                    <a:pt x="1084" y="582"/>
                  </a:lnTo>
                  <a:lnTo>
                    <a:pt x="1086" y="582"/>
                  </a:lnTo>
                  <a:lnTo>
                    <a:pt x="1086" y="579"/>
                  </a:lnTo>
                  <a:lnTo>
                    <a:pt x="1086" y="582"/>
                  </a:lnTo>
                  <a:lnTo>
                    <a:pt x="1086" y="579"/>
                  </a:lnTo>
                  <a:lnTo>
                    <a:pt x="1089" y="579"/>
                  </a:lnTo>
                  <a:lnTo>
                    <a:pt x="1091" y="579"/>
                  </a:lnTo>
                  <a:lnTo>
                    <a:pt x="1089" y="579"/>
                  </a:lnTo>
                  <a:lnTo>
                    <a:pt x="1091" y="579"/>
                  </a:lnTo>
                  <a:lnTo>
                    <a:pt x="1093" y="579"/>
                  </a:lnTo>
                  <a:lnTo>
                    <a:pt x="1091" y="579"/>
                  </a:lnTo>
                  <a:lnTo>
                    <a:pt x="1091" y="577"/>
                  </a:lnTo>
                  <a:lnTo>
                    <a:pt x="1089" y="579"/>
                  </a:lnTo>
                  <a:lnTo>
                    <a:pt x="1089" y="577"/>
                  </a:lnTo>
                  <a:lnTo>
                    <a:pt x="1086" y="577"/>
                  </a:lnTo>
                  <a:lnTo>
                    <a:pt x="1086" y="575"/>
                  </a:lnTo>
                  <a:lnTo>
                    <a:pt x="1089" y="575"/>
                  </a:lnTo>
                  <a:lnTo>
                    <a:pt x="1091" y="575"/>
                  </a:lnTo>
                  <a:lnTo>
                    <a:pt x="1093" y="575"/>
                  </a:lnTo>
                  <a:lnTo>
                    <a:pt x="1093" y="572"/>
                  </a:lnTo>
                  <a:lnTo>
                    <a:pt x="1096" y="572"/>
                  </a:lnTo>
                  <a:lnTo>
                    <a:pt x="1098" y="572"/>
                  </a:lnTo>
                  <a:lnTo>
                    <a:pt x="1096" y="572"/>
                  </a:lnTo>
                  <a:lnTo>
                    <a:pt x="1098" y="572"/>
                  </a:lnTo>
                  <a:lnTo>
                    <a:pt x="1098" y="575"/>
                  </a:lnTo>
                  <a:lnTo>
                    <a:pt x="1096" y="575"/>
                  </a:lnTo>
                  <a:lnTo>
                    <a:pt x="1096" y="577"/>
                  </a:lnTo>
                  <a:lnTo>
                    <a:pt x="1093" y="577"/>
                  </a:lnTo>
                  <a:lnTo>
                    <a:pt x="1093" y="575"/>
                  </a:lnTo>
                  <a:lnTo>
                    <a:pt x="1093" y="577"/>
                  </a:lnTo>
                  <a:lnTo>
                    <a:pt x="1093" y="575"/>
                  </a:lnTo>
                  <a:lnTo>
                    <a:pt x="1093" y="577"/>
                  </a:lnTo>
                  <a:lnTo>
                    <a:pt x="1093" y="575"/>
                  </a:lnTo>
                  <a:lnTo>
                    <a:pt x="1093" y="577"/>
                  </a:lnTo>
                  <a:lnTo>
                    <a:pt x="1093" y="575"/>
                  </a:lnTo>
                  <a:lnTo>
                    <a:pt x="1093" y="577"/>
                  </a:lnTo>
                  <a:lnTo>
                    <a:pt x="1096" y="577"/>
                  </a:lnTo>
                  <a:lnTo>
                    <a:pt x="1096" y="575"/>
                  </a:lnTo>
                  <a:lnTo>
                    <a:pt x="1096" y="577"/>
                  </a:lnTo>
                  <a:lnTo>
                    <a:pt x="1096" y="575"/>
                  </a:lnTo>
                  <a:lnTo>
                    <a:pt x="1096" y="577"/>
                  </a:lnTo>
                  <a:lnTo>
                    <a:pt x="1096" y="575"/>
                  </a:lnTo>
                  <a:lnTo>
                    <a:pt x="1098" y="575"/>
                  </a:lnTo>
                  <a:lnTo>
                    <a:pt x="1101" y="575"/>
                  </a:lnTo>
                  <a:lnTo>
                    <a:pt x="1098" y="575"/>
                  </a:lnTo>
                  <a:lnTo>
                    <a:pt x="1098" y="572"/>
                  </a:lnTo>
                  <a:lnTo>
                    <a:pt x="1098" y="575"/>
                  </a:lnTo>
                  <a:lnTo>
                    <a:pt x="1098" y="572"/>
                  </a:lnTo>
                  <a:lnTo>
                    <a:pt x="1101" y="572"/>
                  </a:lnTo>
                  <a:lnTo>
                    <a:pt x="1098" y="572"/>
                  </a:lnTo>
                  <a:lnTo>
                    <a:pt x="1101" y="572"/>
                  </a:lnTo>
                  <a:lnTo>
                    <a:pt x="1101" y="575"/>
                  </a:lnTo>
                  <a:lnTo>
                    <a:pt x="1101" y="572"/>
                  </a:lnTo>
                  <a:lnTo>
                    <a:pt x="1103" y="572"/>
                  </a:lnTo>
                  <a:lnTo>
                    <a:pt x="1101" y="572"/>
                  </a:lnTo>
                  <a:lnTo>
                    <a:pt x="1103" y="572"/>
                  </a:lnTo>
                  <a:lnTo>
                    <a:pt x="1101" y="572"/>
                  </a:lnTo>
                  <a:lnTo>
                    <a:pt x="1103" y="572"/>
                  </a:lnTo>
                  <a:lnTo>
                    <a:pt x="1103" y="570"/>
                  </a:lnTo>
                  <a:lnTo>
                    <a:pt x="1105" y="570"/>
                  </a:lnTo>
                  <a:lnTo>
                    <a:pt x="1105" y="567"/>
                  </a:lnTo>
                  <a:lnTo>
                    <a:pt x="1108" y="567"/>
                  </a:lnTo>
                  <a:lnTo>
                    <a:pt x="1108" y="565"/>
                  </a:lnTo>
                  <a:lnTo>
                    <a:pt x="1110" y="565"/>
                  </a:lnTo>
                  <a:lnTo>
                    <a:pt x="1112" y="565"/>
                  </a:lnTo>
                  <a:lnTo>
                    <a:pt x="1115" y="565"/>
                  </a:lnTo>
                  <a:lnTo>
                    <a:pt x="1117" y="565"/>
                  </a:lnTo>
                  <a:lnTo>
                    <a:pt x="1117" y="563"/>
                  </a:lnTo>
                  <a:lnTo>
                    <a:pt x="1117" y="565"/>
                  </a:lnTo>
                  <a:lnTo>
                    <a:pt x="1117" y="563"/>
                  </a:lnTo>
                  <a:lnTo>
                    <a:pt x="1119" y="563"/>
                  </a:lnTo>
                  <a:lnTo>
                    <a:pt x="1119" y="560"/>
                  </a:lnTo>
                  <a:lnTo>
                    <a:pt x="1122" y="560"/>
                  </a:lnTo>
                  <a:lnTo>
                    <a:pt x="1119" y="560"/>
                  </a:lnTo>
                  <a:lnTo>
                    <a:pt x="1122" y="560"/>
                  </a:lnTo>
                  <a:lnTo>
                    <a:pt x="1119" y="560"/>
                  </a:lnTo>
                  <a:lnTo>
                    <a:pt x="1119" y="563"/>
                  </a:lnTo>
                  <a:lnTo>
                    <a:pt x="1122" y="563"/>
                  </a:lnTo>
                  <a:lnTo>
                    <a:pt x="1119" y="563"/>
                  </a:lnTo>
                  <a:lnTo>
                    <a:pt x="1122" y="563"/>
                  </a:lnTo>
                  <a:lnTo>
                    <a:pt x="1119" y="563"/>
                  </a:lnTo>
                  <a:lnTo>
                    <a:pt x="1119" y="560"/>
                  </a:lnTo>
                  <a:lnTo>
                    <a:pt x="1122" y="560"/>
                  </a:lnTo>
                  <a:lnTo>
                    <a:pt x="1124" y="560"/>
                  </a:lnTo>
                  <a:lnTo>
                    <a:pt x="1124" y="558"/>
                  </a:lnTo>
                  <a:lnTo>
                    <a:pt x="1127" y="558"/>
                  </a:lnTo>
                  <a:lnTo>
                    <a:pt x="1127" y="556"/>
                  </a:lnTo>
                  <a:lnTo>
                    <a:pt x="1127" y="558"/>
                  </a:lnTo>
                  <a:lnTo>
                    <a:pt x="1127" y="556"/>
                  </a:lnTo>
                  <a:lnTo>
                    <a:pt x="1129" y="556"/>
                  </a:lnTo>
                  <a:lnTo>
                    <a:pt x="1129" y="553"/>
                  </a:lnTo>
                  <a:lnTo>
                    <a:pt x="1131" y="553"/>
                  </a:lnTo>
                  <a:lnTo>
                    <a:pt x="1131" y="556"/>
                  </a:lnTo>
                  <a:lnTo>
                    <a:pt x="1131" y="553"/>
                  </a:lnTo>
                  <a:lnTo>
                    <a:pt x="1134" y="553"/>
                  </a:lnTo>
                  <a:lnTo>
                    <a:pt x="1134" y="551"/>
                  </a:lnTo>
                  <a:lnTo>
                    <a:pt x="1136" y="551"/>
                  </a:lnTo>
                  <a:lnTo>
                    <a:pt x="1136" y="548"/>
                  </a:lnTo>
                  <a:lnTo>
                    <a:pt x="1138" y="548"/>
                  </a:lnTo>
                  <a:lnTo>
                    <a:pt x="1138" y="546"/>
                  </a:lnTo>
                  <a:lnTo>
                    <a:pt x="1138" y="548"/>
                  </a:lnTo>
                  <a:lnTo>
                    <a:pt x="1138" y="546"/>
                  </a:lnTo>
                  <a:lnTo>
                    <a:pt x="1141" y="546"/>
                  </a:lnTo>
                  <a:lnTo>
                    <a:pt x="1138" y="544"/>
                  </a:lnTo>
                  <a:lnTo>
                    <a:pt x="1141" y="544"/>
                  </a:lnTo>
                  <a:lnTo>
                    <a:pt x="1141" y="541"/>
                  </a:lnTo>
                  <a:lnTo>
                    <a:pt x="1141" y="539"/>
                  </a:lnTo>
                  <a:lnTo>
                    <a:pt x="1143" y="539"/>
                  </a:lnTo>
                  <a:lnTo>
                    <a:pt x="1146" y="539"/>
                  </a:lnTo>
                  <a:lnTo>
                    <a:pt x="1146" y="537"/>
                  </a:lnTo>
                  <a:lnTo>
                    <a:pt x="1148" y="537"/>
                  </a:lnTo>
                  <a:lnTo>
                    <a:pt x="1148" y="534"/>
                  </a:lnTo>
                  <a:lnTo>
                    <a:pt x="1150" y="534"/>
                  </a:lnTo>
                  <a:lnTo>
                    <a:pt x="1153" y="534"/>
                  </a:lnTo>
                  <a:lnTo>
                    <a:pt x="1153" y="537"/>
                  </a:lnTo>
                  <a:lnTo>
                    <a:pt x="1153" y="539"/>
                  </a:lnTo>
                  <a:lnTo>
                    <a:pt x="1155" y="539"/>
                  </a:lnTo>
                  <a:lnTo>
                    <a:pt x="1155" y="541"/>
                  </a:lnTo>
                  <a:lnTo>
                    <a:pt x="1155" y="539"/>
                  </a:lnTo>
                  <a:lnTo>
                    <a:pt x="1155" y="541"/>
                  </a:lnTo>
                  <a:lnTo>
                    <a:pt x="1157" y="541"/>
                  </a:lnTo>
                  <a:lnTo>
                    <a:pt x="1157" y="544"/>
                  </a:lnTo>
                  <a:lnTo>
                    <a:pt x="1160" y="544"/>
                  </a:lnTo>
                  <a:lnTo>
                    <a:pt x="1162" y="544"/>
                  </a:lnTo>
                  <a:lnTo>
                    <a:pt x="1160" y="546"/>
                  </a:lnTo>
                  <a:lnTo>
                    <a:pt x="1162" y="544"/>
                  </a:lnTo>
                  <a:lnTo>
                    <a:pt x="1162" y="541"/>
                  </a:lnTo>
                  <a:lnTo>
                    <a:pt x="1165" y="541"/>
                  </a:lnTo>
                  <a:lnTo>
                    <a:pt x="1162" y="541"/>
                  </a:lnTo>
                  <a:lnTo>
                    <a:pt x="1165" y="541"/>
                  </a:lnTo>
                  <a:lnTo>
                    <a:pt x="1165" y="539"/>
                  </a:lnTo>
                  <a:lnTo>
                    <a:pt x="1162" y="539"/>
                  </a:lnTo>
                  <a:lnTo>
                    <a:pt x="1165" y="539"/>
                  </a:lnTo>
                  <a:lnTo>
                    <a:pt x="1167" y="539"/>
                  </a:lnTo>
                  <a:lnTo>
                    <a:pt x="1165" y="539"/>
                  </a:lnTo>
                  <a:lnTo>
                    <a:pt x="1165" y="537"/>
                  </a:lnTo>
                  <a:lnTo>
                    <a:pt x="1165" y="534"/>
                  </a:lnTo>
                  <a:lnTo>
                    <a:pt x="1162" y="534"/>
                  </a:lnTo>
                  <a:lnTo>
                    <a:pt x="1165" y="534"/>
                  </a:lnTo>
                  <a:lnTo>
                    <a:pt x="1162" y="534"/>
                  </a:lnTo>
                  <a:lnTo>
                    <a:pt x="1165" y="534"/>
                  </a:lnTo>
                  <a:lnTo>
                    <a:pt x="1165" y="532"/>
                  </a:lnTo>
                  <a:lnTo>
                    <a:pt x="1165" y="534"/>
                  </a:lnTo>
                  <a:lnTo>
                    <a:pt x="1165" y="532"/>
                  </a:lnTo>
                  <a:lnTo>
                    <a:pt x="1165" y="529"/>
                  </a:lnTo>
                  <a:lnTo>
                    <a:pt x="1167" y="529"/>
                  </a:lnTo>
                  <a:lnTo>
                    <a:pt x="1167" y="527"/>
                  </a:lnTo>
                  <a:lnTo>
                    <a:pt x="1169" y="527"/>
                  </a:lnTo>
                  <a:lnTo>
                    <a:pt x="1172" y="525"/>
                  </a:lnTo>
                  <a:lnTo>
                    <a:pt x="1174" y="525"/>
                  </a:lnTo>
                  <a:lnTo>
                    <a:pt x="1176" y="525"/>
                  </a:lnTo>
                  <a:lnTo>
                    <a:pt x="1174" y="525"/>
                  </a:lnTo>
                  <a:lnTo>
                    <a:pt x="1174" y="522"/>
                  </a:lnTo>
                  <a:lnTo>
                    <a:pt x="1176" y="522"/>
                  </a:lnTo>
                  <a:lnTo>
                    <a:pt x="1176" y="520"/>
                  </a:lnTo>
                  <a:lnTo>
                    <a:pt x="1179" y="520"/>
                  </a:lnTo>
                  <a:lnTo>
                    <a:pt x="1181" y="520"/>
                  </a:lnTo>
                  <a:lnTo>
                    <a:pt x="1184" y="520"/>
                  </a:lnTo>
                  <a:lnTo>
                    <a:pt x="1186" y="520"/>
                  </a:lnTo>
                  <a:lnTo>
                    <a:pt x="1188" y="520"/>
                  </a:lnTo>
                  <a:lnTo>
                    <a:pt x="1191" y="520"/>
                  </a:lnTo>
                  <a:lnTo>
                    <a:pt x="1191" y="518"/>
                  </a:lnTo>
                  <a:lnTo>
                    <a:pt x="1193" y="518"/>
                  </a:lnTo>
                  <a:lnTo>
                    <a:pt x="1195" y="518"/>
                  </a:lnTo>
                  <a:lnTo>
                    <a:pt x="1195" y="515"/>
                  </a:lnTo>
                  <a:lnTo>
                    <a:pt x="1195" y="518"/>
                  </a:lnTo>
                  <a:lnTo>
                    <a:pt x="1195" y="515"/>
                  </a:lnTo>
                  <a:lnTo>
                    <a:pt x="1198" y="515"/>
                  </a:lnTo>
                  <a:lnTo>
                    <a:pt x="1200" y="515"/>
                  </a:lnTo>
                  <a:lnTo>
                    <a:pt x="1203" y="515"/>
                  </a:lnTo>
                  <a:lnTo>
                    <a:pt x="1205" y="515"/>
                  </a:lnTo>
                  <a:lnTo>
                    <a:pt x="1205" y="518"/>
                  </a:lnTo>
                  <a:lnTo>
                    <a:pt x="1207" y="518"/>
                  </a:lnTo>
                  <a:lnTo>
                    <a:pt x="1210" y="518"/>
                  </a:lnTo>
                  <a:lnTo>
                    <a:pt x="1212" y="518"/>
                  </a:lnTo>
                  <a:lnTo>
                    <a:pt x="1214" y="518"/>
                  </a:lnTo>
                  <a:lnTo>
                    <a:pt x="1212" y="518"/>
                  </a:lnTo>
                  <a:lnTo>
                    <a:pt x="1214" y="518"/>
                  </a:lnTo>
                  <a:lnTo>
                    <a:pt x="1217" y="518"/>
                  </a:lnTo>
                  <a:lnTo>
                    <a:pt x="1217" y="515"/>
                  </a:lnTo>
                  <a:lnTo>
                    <a:pt x="1219" y="518"/>
                  </a:lnTo>
                  <a:lnTo>
                    <a:pt x="1217" y="515"/>
                  </a:lnTo>
                  <a:lnTo>
                    <a:pt x="1219" y="515"/>
                  </a:lnTo>
                  <a:lnTo>
                    <a:pt x="1219" y="518"/>
                  </a:lnTo>
                  <a:lnTo>
                    <a:pt x="1219" y="515"/>
                  </a:lnTo>
                  <a:lnTo>
                    <a:pt x="1219" y="518"/>
                  </a:lnTo>
                  <a:lnTo>
                    <a:pt x="1217" y="518"/>
                  </a:lnTo>
                  <a:lnTo>
                    <a:pt x="1217" y="520"/>
                  </a:lnTo>
                  <a:lnTo>
                    <a:pt x="1217" y="522"/>
                  </a:lnTo>
                  <a:lnTo>
                    <a:pt x="1219" y="522"/>
                  </a:lnTo>
                  <a:lnTo>
                    <a:pt x="1217" y="522"/>
                  </a:lnTo>
                  <a:lnTo>
                    <a:pt x="1219" y="522"/>
                  </a:lnTo>
                  <a:lnTo>
                    <a:pt x="1222" y="522"/>
                  </a:lnTo>
                  <a:lnTo>
                    <a:pt x="1222" y="525"/>
                  </a:lnTo>
                  <a:lnTo>
                    <a:pt x="1224" y="525"/>
                  </a:lnTo>
                  <a:lnTo>
                    <a:pt x="1222" y="525"/>
                  </a:lnTo>
                  <a:lnTo>
                    <a:pt x="1222" y="527"/>
                  </a:lnTo>
                  <a:lnTo>
                    <a:pt x="1224" y="527"/>
                  </a:lnTo>
                  <a:lnTo>
                    <a:pt x="1226" y="527"/>
                  </a:lnTo>
                  <a:lnTo>
                    <a:pt x="1224" y="527"/>
                  </a:lnTo>
                  <a:lnTo>
                    <a:pt x="1226" y="527"/>
                  </a:lnTo>
                  <a:lnTo>
                    <a:pt x="1226" y="529"/>
                  </a:lnTo>
                  <a:lnTo>
                    <a:pt x="1229" y="529"/>
                  </a:lnTo>
                  <a:lnTo>
                    <a:pt x="1229" y="532"/>
                  </a:lnTo>
                  <a:lnTo>
                    <a:pt x="1231" y="532"/>
                  </a:lnTo>
                  <a:lnTo>
                    <a:pt x="1231" y="529"/>
                  </a:lnTo>
                  <a:lnTo>
                    <a:pt x="1231" y="532"/>
                  </a:lnTo>
                  <a:lnTo>
                    <a:pt x="1231" y="534"/>
                  </a:lnTo>
                  <a:lnTo>
                    <a:pt x="1233" y="534"/>
                  </a:lnTo>
                  <a:lnTo>
                    <a:pt x="1236" y="534"/>
                  </a:lnTo>
                  <a:lnTo>
                    <a:pt x="1236" y="537"/>
                  </a:lnTo>
                  <a:lnTo>
                    <a:pt x="1238" y="537"/>
                  </a:lnTo>
                  <a:lnTo>
                    <a:pt x="1238" y="539"/>
                  </a:lnTo>
                  <a:lnTo>
                    <a:pt x="1240" y="539"/>
                  </a:lnTo>
                  <a:lnTo>
                    <a:pt x="1240" y="537"/>
                  </a:lnTo>
                  <a:lnTo>
                    <a:pt x="1240" y="539"/>
                  </a:lnTo>
                  <a:lnTo>
                    <a:pt x="1240" y="541"/>
                  </a:lnTo>
                  <a:lnTo>
                    <a:pt x="1243" y="541"/>
                  </a:lnTo>
                  <a:lnTo>
                    <a:pt x="1243" y="544"/>
                  </a:lnTo>
                  <a:lnTo>
                    <a:pt x="1243" y="546"/>
                  </a:lnTo>
                  <a:lnTo>
                    <a:pt x="1240" y="546"/>
                  </a:lnTo>
                  <a:lnTo>
                    <a:pt x="1243" y="546"/>
                  </a:lnTo>
                  <a:lnTo>
                    <a:pt x="1240" y="546"/>
                  </a:lnTo>
                  <a:lnTo>
                    <a:pt x="1238" y="546"/>
                  </a:lnTo>
                  <a:lnTo>
                    <a:pt x="1236" y="546"/>
                  </a:lnTo>
                  <a:lnTo>
                    <a:pt x="1236" y="544"/>
                  </a:lnTo>
                  <a:lnTo>
                    <a:pt x="1233" y="544"/>
                  </a:lnTo>
                  <a:lnTo>
                    <a:pt x="1233" y="546"/>
                  </a:lnTo>
                  <a:lnTo>
                    <a:pt x="1231" y="546"/>
                  </a:lnTo>
                  <a:lnTo>
                    <a:pt x="1231" y="544"/>
                  </a:lnTo>
                  <a:lnTo>
                    <a:pt x="1229" y="544"/>
                  </a:lnTo>
                  <a:lnTo>
                    <a:pt x="1231" y="544"/>
                  </a:lnTo>
                  <a:lnTo>
                    <a:pt x="1231" y="541"/>
                  </a:lnTo>
                  <a:lnTo>
                    <a:pt x="1229" y="541"/>
                  </a:lnTo>
                  <a:lnTo>
                    <a:pt x="1229" y="544"/>
                  </a:lnTo>
                  <a:lnTo>
                    <a:pt x="1229" y="541"/>
                  </a:lnTo>
                  <a:lnTo>
                    <a:pt x="1226" y="544"/>
                  </a:lnTo>
                  <a:lnTo>
                    <a:pt x="1226" y="541"/>
                  </a:lnTo>
                  <a:lnTo>
                    <a:pt x="1226" y="544"/>
                  </a:lnTo>
                  <a:lnTo>
                    <a:pt x="1224" y="544"/>
                  </a:lnTo>
                  <a:lnTo>
                    <a:pt x="1222" y="544"/>
                  </a:lnTo>
                  <a:lnTo>
                    <a:pt x="1219" y="544"/>
                  </a:lnTo>
                  <a:lnTo>
                    <a:pt x="1219" y="541"/>
                  </a:lnTo>
                  <a:lnTo>
                    <a:pt x="1219" y="544"/>
                  </a:lnTo>
                  <a:lnTo>
                    <a:pt x="1219" y="541"/>
                  </a:lnTo>
                  <a:lnTo>
                    <a:pt x="1217" y="541"/>
                  </a:lnTo>
                  <a:lnTo>
                    <a:pt x="1217" y="544"/>
                  </a:lnTo>
                  <a:lnTo>
                    <a:pt x="1214" y="541"/>
                  </a:lnTo>
                  <a:lnTo>
                    <a:pt x="1217" y="541"/>
                  </a:lnTo>
                  <a:lnTo>
                    <a:pt x="1217" y="544"/>
                  </a:lnTo>
                  <a:lnTo>
                    <a:pt x="1217" y="541"/>
                  </a:lnTo>
                  <a:lnTo>
                    <a:pt x="1217" y="544"/>
                  </a:lnTo>
                  <a:lnTo>
                    <a:pt x="1217" y="541"/>
                  </a:lnTo>
                  <a:lnTo>
                    <a:pt x="1219" y="541"/>
                  </a:lnTo>
                  <a:lnTo>
                    <a:pt x="1219" y="544"/>
                  </a:lnTo>
                  <a:lnTo>
                    <a:pt x="1219" y="541"/>
                  </a:lnTo>
                  <a:lnTo>
                    <a:pt x="1219" y="544"/>
                  </a:lnTo>
                  <a:lnTo>
                    <a:pt x="1222" y="544"/>
                  </a:lnTo>
                  <a:lnTo>
                    <a:pt x="1224" y="544"/>
                  </a:lnTo>
                  <a:lnTo>
                    <a:pt x="1226" y="544"/>
                  </a:lnTo>
                  <a:lnTo>
                    <a:pt x="1229" y="544"/>
                  </a:lnTo>
                  <a:lnTo>
                    <a:pt x="1229" y="541"/>
                  </a:lnTo>
                  <a:lnTo>
                    <a:pt x="1231" y="541"/>
                  </a:lnTo>
                  <a:lnTo>
                    <a:pt x="1231" y="544"/>
                  </a:lnTo>
                  <a:lnTo>
                    <a:pt x="1229" y="544"/>
                  </a:lnTo>
                  <a:lnTo>
                    <a:pt x="1231" y="544"/>
                  </a:lnTo>
                  <a:lnTo>
                    <a:pt x="1231" y="546"/>
                  </a:lnTo>
                  <a:lnTo>
                    <a:pt x="1233" y="546"/>
                  </a:lnTo>
                  <a:lnTo>
                    <a:pt x="1233" y="544"/>
                  </a:lnTo>
                  <a:lnTo>
                    <a:pt x="1236" y="544"/>
                  </a:lnTo>
                  <a:lnTo>
                    <a:pt x="1236" y="546"/>
                  </a:lnTo>
                  <a:lnTo>
                    <a:pt x="1238" y="546"/>
                  </a:lnTo>
                  <a:lnTo>
                    <a:pt x="1240" y="546"/>
                  </a:lnTo>
                  <a:lnTo>
                    <a:pt x="1240" y="548"/>
                  </a:lnTo>
                  <a:lnTo>
                    <a:pt x="1240" y="546"/>
                  </a:lnTo>
                  <a:lnTo>
                    <a:pt x="1240" y="548"/>
                  </a:lnTo>
                  <a:lnTo>
                    <a:pt x="1243" y="548"/>
                  </a:lnTo>
                  <a:lnTo>
                    <a:pt x="1240" y="548"/>
                  </a:lnTo>
                  <a:lnTo>
                    <a:pt x="1243" y="548"/>
                  </a:lnTo>
                  <a:lnTo>
                    <a:pt x="1240" y="548"/>
                  </a:lnTo>
                  <a:lnTo>
                    <a:pt x="1240" y="546"/>
                  </a:lnTo>
                  <a:lnTo>
                    <a:pt x="1243" y="546"/>
                  </a:lnTo>
                  <a:lnTo>
                    <a:pt x="1240" y="546"/>
                  </a:lnTo>
                  <a:lnTo>
                    <a:pt x="1243" y="546"/>
                  </a:lnTo>
                  <a:lnTo>
                    <a:pt x="1243" y="544"/>
                  </a:lnTo>
                  <a:lnTo>
                    <a:pt x="1243" y="546"/>
                  </a:lnTo>
                  <a:lnTo>
                    <a:pt x="1243" y="544"/>
                  </a:lnTo>
                  <a:lnTo>
                    <a:pt x="1243" y="541"/>
                  </a:lnTo>
                  <a:lnTo>
                    <a:pt x="1240" y="541"/>
                  </a:lnTo>
                  <a:lnTo>
                    <a:pt x="1240" y="539"/>
                  </a:lnTo>
                  <a:lnTo>
                    <a:pt x="1240" y="537"/>
                  </a:lnTo>
                  <a:lnTo>
                    <a:pt x="1238" y="537"/>
                  </a:lnTo>
                  <a:lnTo>
                    <a:pt x="1238" y="539"/>
                  </a:lnTo>
                  <a:lnTo>
                    <a:pt x="1238" y="537"/>
                  </a:lnTo>
                  <a:lnTo>
                    <a:pt x="1236" y="537"/>
                  </a:lnTo>
                  <a:lnTo>
                    <a:pt x="1236" y="534"/>
                  </a:lnTo>
                  <a:lnTo>
                    <a:pt x="1233" y="534"/>
                  </a:lnTo>
                  <a:lnTo>
                    <a:pt x="1233" y="532"/>
                  </a:lnTo>
                  <a:lnTo>
                    <a:pt x="1231" y="532"/>
                  </a:lnTo>
                  <a:lnTo>
                    <a:pt x="1231" y="529"/>
                  </a:lnTo>
                  <a:lnTo>
                    <a:pt x="1229" y="529"/>
                  </a:lnTo>
                  <a:lnTo>
                    <a:pt x="1226" y="529"/>
                  </a:lnTo>
                  <a:lnTo>
                    <a:pt x="1226" y="527"/>
                  </a:lnTo>
                  <a:lnTo>
                    <a:pt x="1224" y="527"/>
                  </a:lnTo>
                  <a:lnTo>
                    <a:pt x="1222" y="527"/>
                  </a:lnTo>
                  <a:lnTo>
                    <a:pt x="1222" y="525"/>
                  </a:lnTo>
                  <a:lnTo>
                    <a:pt x="1224" y="525"/>
                  </a:lnTo>
                  <a:lnTo>
                    <a:pt x="1222" y="525"/>
                  </a:lnTo>
                  <a:lnTo>
                    <a:pt x="1222" y="522"/>
                  </a:lnTo>
                  <a:lnTo>
                    <a:pt x="1219" y="522"/>
                  </a:lnTo>
                  <a:lnTo>
                    <a:pt x="1217" y="522"/>
                  </a:lnTo>
                  <a:lnTo>
                    <a:pt x="1217" y="520"/>
                  </a:lnTo>
                  <a:lnTo>
                    <a:pt x="1219" y="520"/>
                  </a:lnTo>
                  <a:lnTo>
                    <a:pt x="1217" y="520"/>
                  </a:lnTo>
                  <a:lnTo>
                    <a:pt x="1219" y="520"/>
                  </a:lnTo>
                  <a:lnTo>
                    <a:pt x="1217" y="520"/>
                  </a:lnTo>
                  <a:lnTo>
                    <a:pt x="1219" y="520"/>
                  </a:lnTo>
                  <a:lnTo>
                    <a:pt x="1219" y="518"/>
                  </a:lnTo>
                  <a:lnTo>
                    <a:pt x="1217" y="520"/>
                  </a:lnTo>
                  <a:lnTo>
                    <a:pt x="1219" y="518"/>
                  </a:lnTo>
                  <a:lnTo>
                    <a:pt x="1219" y="515"/>
                  </a:lnTo>
                  <a:lnTo>
                    <a:pt x="1222" y="515"/>
                  </a:lnTo>
                  <a:lnTo>
                    <a:pt x="1219" y="515"/>
                  </a:lnTo>
                  <a:lnTo>
                    <a:pt x="1222" y="515"/>
                  </a:lnTo>
                  <a:lnTo>
                    <a:pt x="1222" y="518"/>
                  </a:lnTo>
                  <a:lnTo>
                    <a:pt x="1222" y="515"/>
                  </a:lnTo>
                  <a:lnTo>
                    <a:pt x="1224" y="515"/>
                  </a:lnTo>
                  <a:lnTo>
                    <a:pt x="1224" y="518"/>
                  </a:lnTo>
                  <a:lnTo>
                    <a:pt x="1226" y="518"/>
                  </a:lnTo>
                  <a:lnTo>
                    <a:pt x="1224" y="518"/>
                  </a:lnTo>
                  <a:lnTo>
                    <a:pt x="1226" y="518"/>
                  </a:lnTo>
                  <a:lnTo>
                    <a:pt x="1224" y="518"/>
                  </a:lnTo>
                  <a:lnTo>
                    <a:pt x="1224" y="520"/>
                  </a:lnTo>
                  <a:lnTo>
                    <a:pt x="1224" y="518"/>
                  </a:lnTo>
                  <a:lnTo>
                    <a:pt x="1224" y="520"/>
                  </a:lnTo>
                  <a:lnTo>
                    <a:pt x="1226" y="520"/>
                  </a:lnTo>
                  <a:lnTo>
                    <a:pt x="1226" y="518"/>
                  </a:lnTo>
                  <a:lnTo>
                    <a:pt x="1226" y="520"/>
                  </a:lnTo>
                  <a:lnTo>
                    <a:pt x="1226" y="518"/>
                  </a:lnTo>
                  <a:lnTo>
                    <a:pt x="1226" y="520"/>
                  </a:lnTo>
                  <a:lnTo>
                    <a:pt x="1229" y="520"/>
                  </a:lnTo>
                  <a:lnTo>
                    <a:pt x="1226" y="520"/>
                  </a:lnTo>
                  <a:lnTo>
                    <a:pt x="1229" y="520"/>
                  </a:lnTo>
                  <a:lnTo>
                    <a:pt x="1226" y="520"/>
                  </a:lnTo>
                  <a:lnTo>
                    <a:pt x="1229" y="520"/>
                  </a:lnTo>
                  <a:lnTo>
                    <a:pt x="1226" y="520"/>
                  </a:lnTo>
                  <a:lnTo>
                    <a:pt x="1229" y="520"/>
                  </a:lnTo>
                  <a:lnTo>
                    <a:pt x="1231" y="520"/>
                  </a:lnTo>
                  <a:lnTo>
                    <a:pt x="1233" y="520"/>
                  </a:lnTo>
                  <a:lnTo>
                    <a:pt x="1233" y="522"/>
                  </a:lnTo>
                  <a:lnTo>
                    <a:pt x="1236" y="522"/>
                  </a:lnTo>
                  <a:lnTo>
                    <a:pt x="1238" y="522"/>
                  </a:lnTo>
                  <a:lnTo>
                    <a:pt x="1240" y="522"/>
                  </a:lnTo>
                  <a:lnTo>
                    <a:pt x="1238" y="522"/>
                  </a:lnTo>
                  <a:lnTo>
                    <a:pt x="1240" y="522"/>
                  </a:lnTo>
                  <a:lnTo>
                    <a:pt x="1243" y="522"/>
                  </a:lnTo>
                  <a:lnTo>
                    <a:pt x="1245" y="520"/>
                  </a:lnTo>
                  <a:lnTo>
                    <a:pt x="1245" y="522"/>
                  </a:lnTo>
                  <a:lnTo>
                    <a:pt x="1243" y="522"/>
                  </a:lnTo>
                  <a:lnTo>
                    <a:pt x="1245" y="522"/>
                  </a:lnTo>
                  <a:lnTo>
                    <a:pt x="1245" y="520"/>
                  </a:lnTo>
                  <a:lnTo>
                    <a:pt x="1248" y="520"/>
                  </a:lnTo>
                  <a:lnTo>
                    <a:pt x="1245" y="520"/>
                  </a:lnTo>
                  <a:lnTo>
                    <a:pt x="1248" y="520"/>
                  </a:lnTo>
                  <a:lnTo>
                    <a:pt x="1248" y="518"/>
                  </a:lnTo>
                  <a:lnTo>
                    <a:pt x="1250" y="518"/>
                  </a:lnTo>
                  <a:lnTo>
                    <a:pt x="1248" y="518"/>
                  </a:lnTo>
                  <a:lnTo>
                    <a:pt x="1250" y="518"/>
                  </a:lnTo>
                  <a:lnTo>
                    <a:pt x="1248" y="518"/>
                  </a:lnTo>
                  <a:lnTo>
                    <a:pt x="1250" y="518"/>
                  </a:lnTo>
                  <a:lnTo>
                    <a:pt x="1248" y="518"/>
                  </a:lnTo>
                  <a:lnTo>
                    <a:pt x="1250" y="518"/>
                  </a:lnTo>
                  <a:lnTo>
                    <a:pt x="1248" y="518"/>
                  </a:lnTo>
                  <a:lnTo>
                    <a:pt x="1250" y="518"/>
                  </a:lnTo>
                  <a:lnTo>
                    <a:pt x="1250" y="515"/>
                  </a:lnTo>
                  <a:lnTo>
                    <a:pt x="1250" y="513"/>
                  </a:lnTo>
                  <a:lnTo>
                    <a:pt x="1252" y="513"/>
                  </a:lnTo>
                  <a:lnTo>
                    <a:pt x="1255" y="510"/>
                  </a:lnTo>
                  <a:lnTo>
                    <a:pt x="1255" y="508"/>
                  </a:lnTo>
                  <a:lnTo>
                    <a:pt x="1257" y="508"/>
                  </a:lnTo>
                  <a:lnTo>
                    <a:pt x="1259" y="508"/>
                  </a:lnTo>
                  <a:lnTo>
                    <a:pt x="1262" y="508"/>
                  </a:lnTo>
                  <a:lnTo>
                    <a:pt x="1264" y="508"/>
                  </a:lnTo>
                  <a:lnTo>
                    <a:pt x="1264" y="510"/>
                  </a:lnTo>
                  <a:lnTo>
                    <a:pt x="1262" y="510"/>
                  </a:lnTo>
                  <a:lnTo>
                    <a:pt x="1262" y="513"/>
                  </a:lnTo>
                  <a:lnTo>
                    <a:pt x="1259" y="513"/>
                  </a:lnTo>
                  <a:lnTo>
                    <a:pt x="1262" y="513"/>
                  </a:lnTo>
                  <a:lnTo>
                    <a:pt x="1262" y="510"/>
                  </a:lnTo>
                  <a:lnTo>
                    <a:pt x="1264" y="510"/>
                  </a:lnTo>
                  <a:lnTo>
                    <a:pt x="1264" y="508"/>
                  </a:lnTo>
                  <a:lnTo>
                    <a:pt x="1267" y="508"/>
                  </a:lnTo>
                  <a:lnTo>
                    <a:pt x="1267" y="506"/>
                  </a:lnTo>
                  <a:lnTo>
                    <a:pt x="1264" y="506"/>
                  </a:lnTo>
                  <a:lnTo>
                    <a:pt x="1264" y="503"/>
                  </a:lnTo>
                  <a:lnTo>
                    <a:pt x="1267" y="503"/>
                  </a:lnTo>
                  <a:lnTo>
                    <a:pt x="1269" y="503"/>
                  </a:lnTo>
                  <a:lnTo>
                    <a:pt x="1271" y="503"/>
                  </a:lnTo>
                  <a:lnTo>
                    <a:pt x="1274" y="501"/>
                  </a:lnTo>
                  <a:lnTo>
                    <a:pt x="1276" y="501"/>
                  </a:lnTo>
                  <a:lnTo>
                    <a:pt x="1278" y="501"/>
                  </a:lnTo>
                  <a:lnTo>
                    <a:pt x="1281" y="501"/>
                  </a:lnTo>
                  <a:lnTo>
                    <a:pt x="1281" y="499"/>
                  </a:lnTo>
                  <a:lnTo>
                    <a:pt x="1283" y="499"/>
                  </a:lnTo>
                  <a:lnTo>
                    <a:pt x="1286" y="499"/>
                  </a:lnTo>
                  <a:lnTo>
                    <a:pt x="1288" y="496"/>
                  </a:lnTo>
                  <a:lnTo>
                    <a:pt x="1290" y="496"/>
                  </a:lnTo>
                  <a:lnTo>
                    <a:pt x="1295" y="494"/>
                  </a:lnTo>
                  <a:lnTo>
                    <a:pt x="1297" y="494"/>
                  </a:lnTo>
                  <a:lnTo>
                    <a:pt x="1300" y="494"/>
                  </a:lnTo>
                  <a:lnTo>
                    <a:pt x="1302" y="494"/>
                  </a:lnTo>
                  <a:lnTo>
                    <a:pt x="1305" y="494"/>
                  </a:lnTo>
                  <a:lnTo>
                    <a:pt x="1307" y="494"/>
                  </a:lnTo>
                  <a:lnTo>
                    <a:pt x="1309" y="494"/>
                  </a:lnTo>
                  <a:lnTo>
                    <a:pt x="1307" y="494"/>
                  </a:lnTo>
                  <a:lnTo>
                    <a:pt x="1309" y="496"/>
                  </a:lnTo>
                  <a:lnTo>
                    <a:pt x="1307" y="496"/>
                  </a:lnTo>
                  <a:lnTo>
                    <a:pt x="1305" y="496"/>
                  </a:lnTo>
                  <a:lnTo>
                    <a:pt x="1302" y="496"/>
                  </a:lnTo>
                  <a:lnTo>
                    <a:pt x="1300" y="496"/>
                  </a:lnTo>
                  <a:lnTo>
                    <a:pt x="1300" y="499"/>
                  </a:lnTo>
                  <a:lnTo>
                    <a:pt x="1297" y="496"/>
                  </a:lnTo>
                  <a:lnTo>
                    <a:pt x="1297" y="499"/>
                  </a:lnTo>
                  <a:lnTo>
                    <a:pt x="1297" y="496"/>
                  </a:lnTo>
                  <a:lnTo>
                    <a:pt x="1297" y="499"/>
                  </a:lnTo>
                  <a:lnTo>
                    <a:pt x="1300" y="499"/>
                  </a:lnTo>
                  <a:lnTo>
                    <a:pt x="1297" y="499"/>
                  </a:lnTo>
                  <a:lnTo>
                    <a:pt x="1300" y="499"/>
                  </a:lnTo>
                  <a:lnTo>
                    <a:pt x="1302" y="499"/>
                  </a:lnTo>
                  <a:lnTo>
                    <a:pt x="1305" y="501"/>
                  </a:lnTo>
                  <a:lnTo>
                    <a:pt x="1307" y="501"/>
                  </a:lnTo>
                  <a:lnTo>
                    <a:pt x="1307" y="503"/>
                  </a:lnTo>
                  <a:lnTo>
                    <a:pt x="1309" y="503"/>
                  </a:lnTo>
                  <a:lnTo>
                    <a:pt x="1309" y="506"/>
                  </a:lnTo>
                  <a:lnTo>
                    <a:pt x="1312" y="506"/>
                  </a:lnTo>
                  <a:lnTo>
                    <a:pt x="1309" y="506"/>
                  </a:lnTo>
                  <a:lnTo>
                    <a:pt x="1307" y="506"/>
                  </a:lnTo>
                  <a:lnTo>
                    <a:pt x="1309" y="506"/>
                  </a:lnTo>
                  <a:lnTo>
                    <a:pt x="1307" y="506"/>
                  </a:lnTo>
                  <a:lnTo>
                    <a:pt x="1309" y="506"/>
                  </a:lnTo>
                  <a:lnTo>
                    <a:pt x="1312" y="506"/>
                  </a:lnTo>
                  <a:lnTo>
                    <a:pt x="1314" y="506"/>
                  </a:lnTo>
                  <a:lnTo>
                    <a:pt x="1314" y="508"/>
                  </a:lnTo>
                  <a:lnTo>
                    <a:pt x="1314" y="510"/>
                  </a:lnTo>
                  <a:lnTo>
                    <a:pt x="1314" y="513"/>
                  </a:lnTo>
                  <a:lnTo>
                    <a:pt x="1314" y="510"/>
                  </a:lnTo>
                  <a:lnTo>
                    <a:pt x="1312" y="510"/>
                  </a:lnTo>
                  <a:lnTo>
                    <a:pt x="1314" y="510"/>
                  </a:lnTo>
                  <a:lnTo>
                    <a:pt x="1314" y="513"/>
                  </a:lnTo>
                  <a:lnTo>
                    <a:pt x="1312" y="513"/>
                  </a:lnTo>
                  <a:lnTo>
                    <a:pt x="1309" y="513"/>
                  </a:lnTo>
                  <a:lnTo>
                    <a:pt x="1309" y="510"/>
                  </a:lnTo>
                  <a:lnTo>
                    <a:pt x="1309" y="513"/>
                  </a:lnTo>
                  <a:lnTo>
                    <a:pt x="1307" y="513"/>
                  </a:lnTo>
                  <a:lnTo>
                    <a:pt x="1305" y="513"/>
                  </a:lnTo>
                  <a:lnTo>
                    <a:pt x="1307" y="513"/>
                  </a:lnTo>
                  <a:lnTo>
                    <a:pt x="1305" y="513"/>
                  </a:lnTo>
                  <a:lnTo>
                    <a:pt x="1302" y="513"/>
                  </a:lnTo>
                  <a:lnTo>
                    <a:pt x="1302" y="515"/>
                  </a:lnTo>
                  <a:lnTo>
                    <a:pt x="1302" y="513"/>
                  </a:lnTo>
                  <a:lnTo>
                    <a:pt x="1302" y="515"/>
                  </a:lnTo>
                  <a:lnTo>
                    <a:pt x="1302" y="513"/>
                  </a:lnTo>
                  <a:lnTo>
                    <a:pt x="1305" y="515"/>
                  </a:lnTo>
                  <a:lnTo>
                    <a:pt x="1305" y="513"/>
                  </a:lnTo>
                  <a:lnTo>
                    <a:pt x="1305" y="515"/>
                  </a:lnTo>
                  <a:lnTo>
                    <a:pt x="1302" y="515"/>
                  </a:lnTo>
                  <a:lnTo>
                    <a:pt x="1305" y="515"/>
                  </a:lnTo>
                  <a:lnTo>
                    <a:pt x="1302" y="515"/>
                  </a:lnTo>
                  <a:lnTo>
                    <a:pt x="1305" y="515"/>
                  </a:lnTo>
                  <a:lnTo>
                    <a:pt x="1302" y="515"/>
                  </a:lnTo>
                  <a:lnTo>
                    <a:pt x="1300" y="515"/>
                  </a:lnTo>
                  <a:lnTo>
                    <a:pt x="1302" y="515"/>
                  </a:lnTo>
                  <a:lnTo>
                    <a:pt x="1300" y="515"/>
                  </a:lnTo>
                  <a:lnTo>
                    <a:pt x="1302" y="515"/>
                  </a:lnTo>
                  <a:lnTo>
                    <a:pt x="1300" y="515"/>
                  </a:lnTo>
                  <a:lnTo>
                    <a:pt x="1302" y="515"/>
                  </a:lnTo>
                  <a:lnTo>
                    <a:pt x="1300" y="515"/>
                  </a:lnTo>
                  <a:lnTo>
                    <a:pt x="1302" y="515"/>
                  </a:lnTo>
                  <a:lnTo>
                    <a:pt x="1300" y="515"/>
                  </a:lnTo>
                  <a:lnTo>
                    <a:pt x="1302" y="515"/>
                  </a:lnTo>
                  <a:lnTo>
                    <a:pt x="1302" y="518"/>
                  </a:lnTo>
                  <a:lnTo>
                    <a:pt x="1300" y="518"/>
                  </a:lnTo>
                  <a:lnTo>
                    <a:pt x="1302" y="518"/>
                  </a:lnTo>
                  <a:lnTo>
                    <a:pt x="1300" y="518"/>
                  </a:lnTo>
                  <a:lnTo>
                    <a:pt x="1302" y="518"/>
                  </a:lnTo>
                  <a:lnTo>
                    <a:pt x="1300" y="518"/>
                  </a:lnTo>
                  <a:lnTo>
                    <a:pt x="1300" y="520"/>
                  </a:lnTo>
                  <a:lnTo>
                    <a:pt x="1300" y="518"/>
                  </a:lnTo>
                  <a:lnTo>
                    <a:pt x="1297" y="518"/>
                  </a:lnTo>
                  <a:lnTo>
                    <a:pt x="1297" y="515"/>
                  </a:lnTo>
                  <a:lnTo>
                    <a:pt x="1297" y="518"/>
                  </a:lnTo>
                  <a:lnTo>
                    <a:pt x="1300" y="518"/>
                  </a:lnTo>
                  <a:lnTo>
                    <a:pt x="1297" y="518"/>
                  </a:lnTo>
                  <a:lnTo>
                    <a:pt x="1300" y="518"/>
                  </a:lnTo>
                  <a:lnTo>
                    <a:pt x="1297" y="518"/>
                  </a:lnTo>
                  <a:lnTo>
                    <a:pt x="1297" y="515"/>
                  </a:lnTo>
                  <a:lnTo>
                    <a:pt x="1295" y="515"/>
                  </a:lnTo>
                  <a:lnTo>
                    <a:pt x="1295" y="518"/>
                  </a:lnTo>
                  <a:lnTo>
                    <a:pt x="1297" y="518"/>
                  </a:lnTo>
                  <a:lnTo>
                    <a:pt x="1297" y="515"/>
                  </a:lnTo>
                  <a:lnTo>
                    <a:pt x="1297" y="518"/>
                  </a:lnTo>
                  <a:lnTo>
                    <a:pt x="1295" y="518"/>
                  </a:lnTo>
                  <a:lnTo>
                    <a:pt x="1297" y="518"/>
                  </a:lnTo>
                  <a:lnTo>
                    <a:pt x="1295" y="518"/>
                  </a:lnTo>
                  <a:lnTo>
                    <a:pt x="1295" y="515"/>
                  </a:lnTo>
                  <a:lnTo>
                    <a:pt x="1293" y="515"/>
                  </a:lnTo>
                  <a:lnTo>
                    <a:pt x="1295" y="515"/>
                  </a:lnTo>
                  <a:lnTo>
                    <a:pt x="1295" y="518"/>
                  </a:lnTo>
                  <a:lnTo>
                    <a:pt x="1297" y="518"/>
                  </a:lnTo>
                  <a:lnTo>
                    <a:pt x="1297" y="520"/>
                  </a:lnTo>
                  <a:lnTo>
                    <a:pt x="1297" y="518"/>
                  </a:lnTo>
                  <a:lnTo>
                    <a:pt x="1297" y="520"/>
                  </a:lnTo>
                  <a:lnTo>
                    <a:pt x="1297" y="518"/>
                  </a:lnTo>
                  <a:lnTo>
                    <a:pt x="1297" y="520"/>
                  </a:lnTo>
                  <a:lnTo>
                    <a:pt x="1300" y="520"/>
                  </a:lnTo>
                  <a:lnTo>
                    <a:pt x="1300" y="518"/>
                  </a:lnTo>
                  <a:lnTo>
                    <a:pt x="1300" y="520"/>
                  </a:lnTo>
                  <a:lnTo>
                    <a:pt x="1300" y="518"/>
                  </a:lnTo>
                  <a:lnTo>
                    <a:pt x="1300" y="520"/>
                  </a:lnTo>
                  <a:lnTo>
                    <a:pt x="1300" y="518"/>
                  </a:lnTo>
                  <a:lnTo>
                    <a:pt x="1302" y="518"/>
                  </a:lnTo>
                  <a:lnTo>
                    <a:pt x="1300" y="520"/>
                  </a:lnTo>
                  <a:lnTo>
                    <a:pt x="1302" y="518"/>
                  </a:lnTo>
                  <a:lnTo>
                    <a:pt x="1302" y="520"/>
                  </a:lnTo>
                  <a:lnTo>
                    <a:pt x="1302" y="522"/>
                  </a:lnTo>
                  <a:lnTo>
                    <a:pt x="1305" y="522"/>
                  </a:lnTo>
                  <a:lnTo>
                    <a:pt x="1305" y="525"/>
                  </a:lnTo>
                  <a:lnTo>
                    <a:pt x="1302" y="525"/>
                  </a:lnTo>
                  <a:lnTo>
                    <a:pt x="1305" y="525"/>
                  </a:lnTo>
                  <a:lnTo>
                    <a:pt x="1302" y="525"/>
                  </a:lnTo>
                  <a:lnTo>
                    <a:pt x="1302" y="527"/>
                  </a:lnTo>
                  <a:lnTo>
                    <a:pt x="1300" y="527"/>
                  </a:lnTo>
                  <a:lnTo>
                    <a:pt x="1302" y="527"/>
                  </a:lnTo>
                  <a:lnTo>
                    <a:pt x="1300" y="527"/>
                  </a:lnTo>
                  <a:lnTo>
                    <a:pt x="1302" y="527"/>
                  </a:lnTo>
                  <a:lnTo>
                    <a:pt x="1302" y="529"/>
                  </a:lnTo>
                  <a:lnTo>
                    <a:pt x="1305" y="529"/>
                  </a:lnTo>
                  <a:lnTo>
                    <a:pt x="1307" y="529"/>
                  </a:lnTo>
                  <a:lnTo>
                    <a:pt x="1309" y="529"/>
                  </a:lnTo>
                  <a:lnTo>
                    <a:pt x="1312" y="529"/>
                  </a:lnTo>
                  <a:lnTo>
                    <a:pt x="1314" y="532"/>
                  </a:lnTo>
                  <a:lnTo>
                    <a:pt x="1316" y="532"/>
                  </a:lnTo>
                  <a:lnTo>
                    <a:pt x="1319" y="532"/>
                  </a:lnTo>
                  <a:lnTo>
                    <a:pt x="1321" y="532"/>
                  </a:lnTo>
                  <a:lnTo>
                    <a:pt x="1321" y="534"/>
                  </a:lnTo>
                  <a:lnTo>
                    <a:pt x="1321" y="532"/>
                  </a:lnTo>
                  <a:lnTo>
                    <a:pt x="1321" y="534"/>
                  </a:lnTo>
                  <a:lnTo>
                    <a:pt x="1324" y="534"/>
                  </a:lnTo>
                  <a:lnTo>
                    <a:pt x="1321" y="534"/>
                  </a:lnTo>
                  <a:lnTo>
                    <a:pt x="1321" y="532"/>
                  </a:lnTo>
                  <a:lnTo>
                    <a:pt x="1324" y="532"/>
                  </a:lnTo>
                  <a:lnTo>
                    <a:pt x="1321" y="532"/>
                  </a:lnTo>
                  <a:lnTo>
                    <a:pt x="1324" y="532"/>
                  </a:lnTo>
                  <a:lnTo>
                    <a:pt x="1321" y="532"/>
                  </a:lnTo>
                  <a:lnTo>
                    <a:pt x="1324" y="532"/>
                  </a:lnTo>
                  <a:lnTo>
                    <a:pt x="1321" y="532"/>
                  </a:lnTo>
                  <a:lnTo>
                    <a:pt x="1324" y="532"/>
                  </a:lnTo>
                  <a:lnTo>
                    <a:pt x="1326" y="532"/>
                  </a:lnTo>
                  <a:lnTo>
                    <a:pt x="1328" y="532"/>
                  </a:lnTo>
                  <a:lnTo>
                    <a:pt x="1328" y="529"/>
                  </a:lnTo>
                  <a:lnTo>
                    <a:pt x="1328" y="532"/>
                  </a:lnTo>
                  <a:lnTo>
                    <a:pt x="1328" y="529"/>
                  </a:lnTo>
                  <a:lnTo>
                    <a:pt x="1328" y="527"/>
                  </a:lnTo>
                  <a:lnTo>
                    <a:pt x="1331" y="527"/>
                  </a:lnTo>
                  <a:lnTo>
                    <a:pt x="1331" y="529"/>
                  </a:lnTo>
                  <a:lnTo>
                    <a:pt x="1331" y="527"/>
                  </a:lnTo>
                  <a:lnTo>
                    <a:pt x="1331" y="525"/>
                  </a:lnTo>
                  <a:lnTo>
                    <a:pt x="1331" y="522"/>
                  </a:lnTo>
                  <a:lnTo>
                    <a:pt x="1328" y="520"/>
                  </a:lnTo>
                  <a:lnTo>
                    <a:pt x="1328" y="518"/>
                  </a:lnTo>
                  <a:lnTo>
                    <a:pt x="1328" y="520"/>
                  </a:lnTo>
                  <a:lnTo>
                    <a:pt x="1326" y="518"/>
                  </a:lnTo>
                  <a:lnTo>
                    <a:pt x="1326" y="515"/>
                  </a:lnTo>
                  <a:lnTo>
                    <a:pt x="1326" y="513"/>
                  </a:lnTo>
                  <a:lnTo>
                    <a:pt x="1331" y="510"/>
                  </a:lnTo>
                  <a:lnTo>
                    <a:pt x="1333" y="510"/>
                  </a:lnTo>
                  <a:lnTo>
                    <a:pt x="1333" y="513"/>
                  </a:lnTo>
                  <a:lnTo>
                    <a:pt x="1335" y="513"/>
                  </a:lnTo>
                  <a:lnTo>
                    <a:pt x="1338" y="513"/>
                  </a:lnTo>
                  <a:lnTo>
                    <a:pt x="1340" y="513"/>
                  </a:lnTo>
                  <a:lnTo>
                    <a:pt x="1343" y="513"/>
                  </a:lnTo>
                  <a:lnTo>
                    <a:pt x="1345" y="513"/>
                  </a:lnTo>
                  <a:lnTo>
                    <a:pt x="1345" y="510"/>
                  </a:lnTo>
                  <a:lnTo>
                    <a:pt x="1347" y="510"/>
                  </a:lnTo>
                  <a:lnTo>
                    <a:pt x="1350" y="510"/>
                  </a:lnTo>
                  <a:lnTo>
                    <a:pt x="1350" y="513"/>
                  </a:lnTo>
                  <a:lnTo>
                    <a:pt x="1350" y="510"/>
                  </a:lnTo>
                  <a:lnTo>
                    <a:pt x="1352" y="508"/>
                  </a:lnTo>
                  <a:lnTo>
                    <a:pt x="1354" y="506"/>
                  </a:lnTo>
                  <a:lnTo>
                    <a:pt x="1357" y="506"/>
                  </a:lnTo>
                  <a:lnTo>
                    <a:pt x="1357" y="508"/>
                  </a:lnTo>
                  <a:lnTo>
                    <a:pt x="1357" y="510"/>
                  </a:lnTo>
                  <a:lnTo>
                    <a:pt x="1359" y="510"/>
                  </a:lnTo>
                  <a:lnTo>
                    <a:pt x="1359" y="513"/>
                  </a:lnTo>
                  <a:lnTo>
                    <a:pt x="1359" y="510"/>
                  </a:lnTo>
                  <a:lnTo>
                    <a:pt x="1359" y="513"/>
                  </a:lnTo>
                  <a:lnTo>
                    <a:pt x="1362" y="513"/>
                  </a:lnTo>
                  <a:lnTo>
                    <a:pt x="1362" y="510"/>
                  </a:lnTo>
                  <a:lnTo>
                    <a:pt x="1359" y="510"/>
                  </a:lnTo>
                  <a:lnTo>
                    <a:pt x="1357" y="510"/>
                  </a:lnTo>
                  <a:lnTo>
                    <a:pt x="1357" y="508"/>
                  </a:lnTo>
                  <a:lnTo>
                    <a:pt x="1357" y="506"/>
                  </a:lnTo>
                  <a:lnTo>
                    <a:pt x="1359" y="506"/>
                  </a:lnTo>
                  <a:lnTo>
                    <a:pt x="1359" y="503"/>
                  </a:lnTo>
                  <a:lnTo>
                    <a:pt x="1359" y="506"/>
                  </a:lnTo>
                  <a:lnTo>
                    <a:pt x="1357" y="506"/>
                  </a:lnTo>
                  <a:lnTo>
                    <a:pt x="1357" y="503"/>
                  </a:lnTo>
                  <a:lnTo>
                    <a:pt x="1357" y="506"/>
                  </a:lnTo>
                  <a:lnTo>
                    <a:pt x="1357" y="503"/>
                  </a:lnTo>
                  <a:lnTo>
                    <a:pt x="1359" y="501"/>
                  </a:lnTo>
                  <a:lnTo>
                    <a:pt x="1362" y="501"/>
                  </a:lnTo>
                  <a:lnTo>
                    <a:pt x="1364" y="501"/>
                  </a:lnTo>
                  <a:lnTo>
                    <a:pt x="1362" y="501"/>
                  </a:lnTo>
                  <a:lnTo>
                    <a:pt x="1364" y="501"/>
                  </a:lnTo>
                  <a:lnTo>
                    <a:pt x="1364" y="503"/>
                  </a:lnTo>
                  <a:lnTo>
                    <a:pt x="1364" y="501"/>
                  </a:lnTo>
                  <a:lnTo>
                    <a:pt x="1364" y="503"/>
                  </a:lnTo>
                  <a:lnTo>
                    <a:pt x="1366" y="503"/>
                  </a:lnTo>
                  <a:lnTo>
                    <a:pt x="1364" y="503"/>
                  </a:lnTo>
                  <a:lnTo>
                    <a:pt x="1366" y="503"/>
                  </a:lnTo>
                  <a:lnTo>
                    <a:pt x="1364" y="503"/>
                  </a:lnTo>
                  <a:lnTo>
                    <a:pt x="1366" y="503"/>
                  </a:lnTo>
                  <a:lnTo>
                    <a:pt x="1364" y="503"/>
                  </a:lnTo>
                  <a:lnTo>
                    <a:pt x="1366" y="503"/>
                  </a:lnTo>
                  <a:lnTo>
                    <a:pt x="1366" y="501"/>
                  </a:lnTo>
                  <a:lnTo>
                    <a:pt x="1366" y="503"/>
                  </a:lnTo>
                  <a:lnTo>
                    <a:pt x="1369" y="503"/>
                  </a:lnTo>
                  <a:lnTo>
                    <a:pt x="1371" y="503"/>
                  </a:lnTo>
                  <a:lnTo>
                    <a:pt x="1371" y="506"/>
                  </a:lnTo>
                  <a:lnTo>
                    <a:pt x="1371" y="508"/>
                  </a:lnTo>
                  <a:lnTo>
                    <a:pt x="1373" y="508"/>
                  </a:lnTo>
                  <a:lnTo>
                    <a:pt x="1373" y="510"/>
                  </a:lnTo>
                  <a:lnTo>
                    <a:pt x="1373" y="508"/>
                  </a:lnTo>
                  <a:lnTo>
                    <a:pt x="1376" y="508"/>
                  </a:lnTo>
                  <a:lnTo>
                    <a:pt x="1373" y="508"/>
                  </a:lnTo>
                  <a:lnTo>
                    <a:pt x="1376" y="510"/>
                  </a:lnTo>
                  <a:lnTo>
                    <a:pt x="1373" y="510"/>
                  </a:lnTo>
                  <a:lnTo>
                    <a:pt x="1376" y="510"/>
                  </a:lnTo>
                  <a:lnTo>
                    <a:pt x="1376" y="513"/>
                  </a:lnTo>
                  <a:lnTo>
                    <a:pt x="1376" y="510"/>
                  </a:lnTo>
                  <a:lnTo>
                    <a:pt x="1373" y="510"/>
                  </a:lnTo>
                  <a:lnTo>
                    <a:pt x="1376" y="510"/>
                  </a:lnTo>
                  <a:lnTo>
                    <a:pt x="1376" y="508"/>
                  </a:lnTo>
                  <a:lnTo>
                    <a:pt x="1373" y="508"/>
                  </a:lnTo>
                  <a:lnTo>
                    <a:pt x="1376" y="508"/>
                  </a:lnTo>
                  <a:lnTo>
                    <a:pt x="1376" y="510"/>
                  </a:lnTo>
                  <a:lnTo>
                    <a:pt x="1376" y="508"/>
                  </a:lnTo>
                  <a:lnTo>
                    <a:pt x="1373" y="508"/>
                  </a:lnTo>
                  <a:lnTo>
                    <a:pt x="1371" y="508"/>
                  </a:lnTo>
                  <a:lnTo>
                    <a:pt x="1371" y="506"/>
                  </a:lnTo>
                  <a:lnTo>
                    <a:pt x="1373" y="506"/>
                  </a:lnTo>
                  <a:lnTo>
                    <a:pt x="1376" y="506"/>
                  </a:lnTo>
                  <a:lnTo>
                    <a:pt x="1373" y="506"/>
                  </a:lnTo>
                  <a:lnTo>
                    <a:pt x="1376" y="506"/>
                  </a:lnTo>
                  <a:lnTo>
                    <a:pt x="1376" y="508"/>
                  </a:lnTo>
                  <a:lnTo>
                    <a:pt x="1378" y="508"/>
                  </a:lnTo>
                  <a:lnTo>
                    <a:pt x="1378" y="510"/>
                  </a:lnTo>
                  <a:lnTo>
                    <a:pt x="1378" y="508"/>
                  </a:lnTo>
                  <a:lnTo>
                    <a:pt x="1378" y="510"/>
                  </a:lnTo>
                  <a:lnTo>
                    <a:pt x="1378" y="508"/>
                  </a:lnTo>
                  <a:lnTo>
                    <a:pt x="1378" y="510"/>
                  </a:lnTo>
                  <a:lnTo>
                    <a:pt x="1378" y="513"/>
                  </a:lnTo>
                  <a:lnTo>
                    <a:pt x="1378" y="515"/>
                  </a:lnTo>
                  <a:lnTo>
                    <a:pt x="1380" y="515"/>
                  </a:lnTo>
                  <a:lnTo>
                    <a:pt x="1378" y="515"/>
                  </a:lnTo>
                  <a:lnTo>
                    <a:pt x="1378" y="518"/>
                  </a:lnTo>
                  <a:lnTo>
                    <a:pt x="1380" y="518"/>
                  </a:lnTo>
                  <a:lnTo>
                    <a:pt x="1383" y="518"/>
                  </a:lnTo>
                  <a:lnTo>
                    <a:pt x="1383" y="520"/>
                  </a:lnTo>
                  <a:lnTo>
                    <a:pt x="1383" y="522"/>
                  </a:lnTo>
                  <a:lnTo>
                    <a:pt x="1383" y="525"/>
                  </a:lnTo>
                  <a:lnTo>
                    <a:pt x="1385" y="525"/>
                  </a:lnTo>
                  <a:lnTo>
                    <a:pt x="1388" y="525"/>
                  </a:lnTo>
                  <a:lnTo>
                    <a:pt x="1388" y="527"/>
                  </a:lnTo>
                  <a:lnTo>
                    <a:pt x="1388" y="525"/>
                  </a:lnTo>
                  <a:lnTo>
                    <a:pt x="1390" y="525"/>
                  </a:lnTo>
                  <a:lnTo>
                    <a:pt x="1388" y="525"/>
                  </a:lnTo>
                  <a:lnTo>
                    <a:pt x="1385" y="525"/>
                  </a:lnTo>
                  <a:lnTo>
                    <a:pt x="1383" y="525"/>
                  </a:lnTo>
                  <a:lnTo>
                    <a:pt x="1383" y="522"/>
                  </a:lnTo>
                  <a:lnTo>
                    <a:pt x="1383" y="520"/>
                  </a:lnTo>
                  <a:lnTo>
                    <a:pt x="1383" y="518"/>
                  </a:lnTo>
                  <a:lnTo>
                    <a:pt x="1380" y="518"/>
                  </a:lnTo>
                  <a:lnTo>
                    <a:pt x="1380" y="515"/>
                  </a:lnTo>
                  <a:lnTo>
                    <a:pt x="1378" y="513"/>
                  </a:lnTo>
                  <a:lnTo>
                    <a:pt x="1378" y="510"/>
                  </a:lnTo>
                  <a:lnTo>
                    <a:pt x="1378" y="513"/>
                  </a:lnTo>
                  <a:lnTo>
                    <a:pt x="1378" y="510"/>
                  </a:lnTo>
                  <a:lnTo>
                    <a:pt x="1378" y="513"/>
                  </a:lnTo>
                  <a:lnTo>
                    <a:pt x="1380" y="513"/>
                  </a:lnTo>
                  <a:lnTo>
                    <a:pt x="1380" y="510"/>
                  </a:lnTo>
                  <a:lnTo>
                    <a:pt x="1378" y="510"/>
                  </a:lnTo>
                  <a:lnTo>
                    <a:pt x="1378" y="508"/>
                  </a:lnTo>
                  <a:lnTo>
                    <a:pt x="1376" y="508"/>
                  </a:lnTo>
                  <a:lnTo>
                    <a:pt x="1378" y="508"/>
                  </a:lnTo>
                  <a:lnTo>
                    <a:pt x="1380" y="508"/>
                  </a:lnTo>
                  <a:lnTo>
                    <a:pt x="1380" y="510"/>
                  </a:lnTo>
                  <a:lnTo>
                    <a:pt x="1380" y="508"/>
                  </a:lnTo>
                  <a:lnTo>
                    <a:pt x="1378" y="508"/>
                  </a:lnTo>
                  <a:lnTo>
                    <a:pt x="1380" y="508"/>
                  </a:lnTo>
                  <a:lnTo>
                    <a:pt x="1383" y="508"/>
                  </a:lnTo>
                  <a:lnTo>
                    <a:pt x="1380" y="508"/>
                  </a:lnTo>
                  <a:lnTo>
                    <a:pt x="1378" y="508"/>
                  </a:lnTo>
                  <a:lnTo>
                    <a:pt x="1378" y="506"/>
                  </a:lnTo>
                  <a:lnTo>
                    <a:pt x="1376" y="506"/>
                  </a:lnTo>
                  <a:lnTo>
                    <a:pt x="1373" y="506"/>
                  </a:lnTo>
                  <a:lnTo>
                    <a:pt x="1371" y="506"/>
                  </a:lnTo>
                  <a:lnTo>
                    <a:pt x="1373" y="506"/>
                  </a:lnTo>
                  <a:lnTo>
                    <a:pt x="1371" y="506"/>
                  </a:lnTo>
                  <a:lnTo>
                    <a:pt x="1371" y="503"/>
                  </a:lnTo>
                  <a:lnTo>
                    <a:pt x="1371" y="501"/>
                  </a:lnTo>
                  <a:lnTo>
                    <a:pt x="1369" y="501"/>
                  </a:lnTo>
                  <a:lnTo>
                    <a:pt x="1371" y="501"/>
                  </a:lnTo>
                  <a:lnTo>
                    <a:pt x="1373" y="501"/>
                  </a:lnTo>
                  <a:lnTo>
                    <a:pt x="1373" y="499"/>
                  </a:lnTo>
                  <a:lnTo>
                    <a:pt x="1373" y="501"/>
                  </a:lnTo>
                  <a:lnTo>
                    <a:pt x="1371" y="501"/>
                  </a:lnTo>
                  <a:lnTo>
                    <a:pt x="1369" y="501"/>
                  </a:lnTo>
                  <a:lnTo>
                    <a:pt x="1369" y="499"/>
                  </a:lnTo>
                  <a:lnTo>
                    <a:pt x="1369" y="501"/>
                  </a:lnTo>
                  <a:lnTo>
                    <a:pt x="1369" y="499"/>
                  </a:lnTo>
                  <a:lnTo>
                    <a:pt x="1369" y="501"/>
                  </a:lnTo>
                  <a:lnTo>
                    <a:pt x="1366" y="501"/>
                  </a:lnTo>
                  <a:lnTo>
                    <a:pt x="1366" y="499"/>
                  </a:lnTo>
                  <a:lnTo>
                    <a:pt x="1364" y="499"/>
                  </a:lnTo>
                  <a:lnTo>
                    <a:pt x="1362" y="499"/>
                  </a:lnTo>
                  <a:lnTo>
                    <a:pt x="1364" y="499"/>
                  </a:lnTo>
                  <a:lnTo>
                    <a:pt x="1364" y="496"/>
                  </a:lnTo>
                  <a:lnTo>
                    <a:pt x="1364" y="494"/>
                  </a:lnTo>
                  <a:lnTo>
                    <a:pt x="1366" y="494"/>
                  </a:lnTo>
                  <a:lnTo>
                    <a:pt x="1364" y="494"/>
                  </a:lnTo>
                  <a:lnTo>
                    <a:pt x="1366" y="494"/>
                  </a:lnTo>
                  <a:lnTo>
                    <a:pt x="1366" y="496"/>
                  </a:lnTo>
                  <a:lnTo>
                    <a:pt x="1366" y="494"/>
                  </a:lnTo>
                  <a:lnTo>
                    <a:pt x="1369" y="494"/>
                  </a:lnTo>
                  <a:lnTo>
                    <a:pt x="1369" y="496"/>
                  </a:lnTo>
                  <a:lnTo>
                    <a:pt x="1371" y="496"/>
                  </a:lnTo>
                  <a:lnTo>
                    <a:pt x="1369" y="496"/>
                  </a:lnTo>
                  <a:lnTo>
                    <a:pt x="1369" y="494"/>
                  </a:lnTo>
                  <a:lnTo>
                    <a:pt x="1366" y="494"/>
                  </a:lnTo>
                  <a:lnTo>
                    <a:pt x="1364" y="494"/>
                  </a:lnTo>
                  <a:lnTo>
                    <a:pt x="1364" y="491"/>
                  </a:lnTo>
                  <a:lnTo>
                    <a:pt x="1364" y="489"/>
                  </a:lnTo>
                  <a:lnTo>
                    <a:pt x="1362" y="489"/>
                  </a:lnTo>
                  <a:lnTo>
                    <a:pt x="1362" y="487"/>
                  </a:lnTo>
                  <a:lnTo>
                    <a:pt x="1362" y="484"/>
                  </a:lnTo>
                  <a:lnTo>
                    <a:pt x="1359" y="484"/>
                  </a:lnTo>
                  <a:lnTo>
                    <a:pt x="1357" y="484"/>
                  </a:lnTo>
                  <a:lnTo>
                    <a:pt x="1357" y="482"/>
                  </a:lnTo>
                  <a:lnTo>
                    <a:pt x="1357" y="484"/>
                  </a:lnTo>
                  <a:lnTo>
                    <a:pt x="1357" y="482"/>
                  </a:lnTo>
                  <a:lnTo>
                    <a:pt x="1357" y="484"/>
                  </a:lnTo>
                  <a:lnTo>
                    <a:pt x="1354" y="484"/>
                  </a:lnTo>
                  <a:lnTo>
                    <a:pt x="1357" y="484"/>
                  </a:lnTo>
                  <a:lnTo>
                    <a:pt x="1357" y="487"/>
                  </a:lnTo>
                  <a:lnTo>
                    <a:pt x="1357" y="484"/>
                  </a:lnTo>
                  <a:lnTo>
                    <a:pt x="1357" y="487"/>
                  </a:lnTo>
                  <a:lnTo>
                    <a:pt x="1354" y="487"/>
                  </a:lnTo>
                  <a:lnTo>
                    <a:pt x="1357" y="487"/>
                  </a:lnTo>
                  <a:lnTo>
                    <a:pt x="1354" y="487"/>
                  </a:lnTo>
                  <a:lnTo>
                    <a:pt x="1357" y="487"/>
                  </a:lnTo>
                  <a:lnTo>
                    <a:pt x="1357" y="489"/>
                  </a:lnTo>
                  <a:lnTo>
                    <a:pt x="1357" y="487"/>
                  </a:lnTo>
                  <a:lnTo>
                    <a:pt x="1357" y="489"/>
                  </a:lnTo>
                  <a:lnTo>
                    <a:pt x="1357" y="487"/>
                  </a:lnTo>
                  <a:lnTo>
                    <a:pt x="1357" y="489"/>
                  </a:lnTo>
                  <a:lnTo>
                    <a:pt x="1354" y="487"/>
                  </a:lnTo>
                  <a:lnTo>
                    <a:pt x="1352" y="487"/>
                  </a:lnTo>
                  <a:lnTo>
                    <a:pt x="1352" y="484"/>
                  </a:lnTo>
                  <a:lnTo>
                    <a:pt x="1352" y="480"/>
                  </a:lnTo>
                  <a:lnTo>
                    <a:pt x="1352" y="482"/>
                  </a:lnTo>
                  <a:lnTo>
                    <a:pt x="1354" y="482"/>
                  </a:lnTo>
                  <a:lnTo>
                    <a:pt x="1357" y="482"/>
                  </a:lnTo>
                  <a:lnTo>
                    <a:pt x="1354" y="482"/>
                  </a:lnTo>
                  <a:lnTo>
                    <a:pt x="1354" y="480"/>
                  </a:lnTo>
                  <a:lnTo>
                    <a:pt x="1352" y="480"/>
                  </a:lnTo>
                  <a:lnTo>
                    <a:pt x="1354" y="480"/>
                  </a:lnTo>
                  <a:lnTo>
                    <a:pt x="1352" y="480"/>
                  </a:lnTo>
                  <a:lnTo>
                    <a:pt x="1352" y="477"/>
                  </a:lnTo>
                  <a:lnTo>
                    <a:pt x="1350" y="477"/>
                  </a:lnTo>
                  <a:lnTo>
                    <a:pt x="1350" y="475"/>
                  </a:lnTo>
                  <a:lnTo>
                    <a:pt x="1347" y="472"/>
                  </a:lnTo>
                  <a:lnTo>
                    <a:pt x="1350" y="472"/>
                  </a:lnTo>
                  <a:lnTo>
                    <a:pt x="1347" y="472"/>
                  </a:lnTo>
                  <a:lnTo>
                    <a:pt x="1347" y="470"/>
                  </a:lnTo>
                  <a:lnTo>
                    <a:pt x="1345" y="470"/>
                  </a:lnTo>
                  <a:lnTo>
                    <a:pt x="1347" y="470"/>
                  </a:lnTo>
                  <a:lnTo>
                    <a:pt x="1345" y="470"/>
                  </a:lnTo>
                  <a:lnTo>
                    <a:pt x="1345" y="468"/>
                  </a:lnTo>
                  <a:lnTo>
                    <a:pt x="1343" y="468"/>
                  </a:lnTo>
                  <a:lnTo>
                    <a:pt x="1343" y="465"/>
                  </a:lnTo>
                  <a:lnTo>
                    <a:pt x="1340" y="465"/>
                  </a:lnTo>
                  <a:lnTo>
                    <a:pt x="1340" y="463"/>
                  </a:lnTo>
                  <a:lnTo>
                    <a:pt x="1340" y="461"/>
                  </a:lnTo>
                  <a:lnTo>
                    <a:pt x="1338" y="461"/>
                  </a:lnTo>
                  <a:lnTo>
                    <a:pt x="1338" y="458"/>
                  </a:lnTo>
                  <a:lnTo>
                    <a:pt x="1340" y="458"/>
                  </a:lnTo>
                  <a:lnTo>
                    <a:pt x="1338" y="458"/>
                  </a:lnTo>
                  <a:lnTo>
                    <a:pt x="1340" y="458"/>
                  </a:lnTo>
                  <a:lnTo>
                    <a:pt x="1338" y="458"/>
                  </a:lnTo>
                  <a:lnTo>
                    <a:pt x="1340" y="456"/>
                  </a:lnTo>
                  <a:lnTo>
                    <a:pt x="1338" y="456"/>
                  </a:lnTo>
                  <a:lnTo>
                    <a:pt x="1340" y="456"/>
                  </a:lnTo>
                  <a:lnTo>
                    <a:pt x="1343" y="456"/>
                  </a:lnTo>
                  <a:lnTo>
                    <a:pt x="1345" y="453"/>
                  </a:lnTo>
                  <a:lnTo>
                    <a:pt x="1345" y="456"/>
                  </a:lnTo>
                  <a:lnTo>
                    <a:pt x="1347" y="456"/>
                  </a:lnTo>
                  <a:lnTo>
                    <a:pt x="1350" y="456"/>
                  </a:lnTo>
                  <a:lnTo>
                    <a:pt x="1352" y="456"/>
                  </a:lnTo>
                  <a:lnTo>
                    <a:pt x="1352" y="453"/>
                  </a:lnTo>
                  <a:lnTo>
                    <a:pt x="1352" y="456"/>
                  </a:lnTo>
                  <a:lnTo>
                    <a:pt x="1354" y="456"/>
                  </a:lnTo>
                  <a:lnTo>
                    <a:pt x="1357" y="456"/>
                  </a:lnTo>
                  <a:lnTo>
                    <a:pt x="1357" y="458"/>
                  </a:lnTo>
                  <a:lnTo>
                    <a:pt x="1354" y="456"/>
                  </a:lnTo>
                  <a:lnTo>
                    <a:pt x="1357" y="458"/>
                  </a:lnTo>
                  <a:lnTo>
                    <a:pt x="1357" y="461"/>
                  </a:lnTo>
                  <a:lnTo>
                    <a:pt x="1359" y="461"/>
                  </a:lnTo>
                  <a:lnTo>
                    <a:pt x="1362" y="461"/>
                  </a:lnTo>
                  <a:lnTo>
                    <a:pt x="1362" y="463"/>
                  </a:lnTo>
                  <a:lnTo>
                    <a:pt x="1364" y="463"/>
                  </a:lnTo>
                  <a:lnTo>
                    <a:pt x="1364" y="465"/>
                  </a:lnTo>
                  <a:lnTo>
                    <a:pt x="1366" y="465"/>
                  </a:lnTo>
                  <a:lnTo>
                    <a:pt x="1369" y="465"/>
                  </a:lnTo>
                  <a:lnTo>
                    <a:pt x="1371" y="465"/>
                  </a:lnTo>
                  <a:lnTo>
                    <a:pt x="1369" y="465"/>
                  </a:lnTo>
                  <a:lnTo>
                    <a:pt x="1371" y="465"/>
                  </a:lnTo>
                  <a:lnTo>
                    <a:pt x="1373" y="465"/>
                  </a:lnTo>
                  <a:lnTo>
                    <a:pt x="1376" y="465"/>
                  </a:lnTo>
                  <a:lnTo>
                    <a:pt x="1376" y="468"/>
                  </a:lnTo>
                  <a:lnTo>
                    <a:pt x="1376" y="465"/>
                  </a:lnTo>
                  <a:lnTo>
                    <a:pt x="1376" y="468"/>
                  </a:lnTo>
                  <a:lnTo>
                    <a:pt x="1378" y="468"/>
                  </a:lnTo>
                  <a:lnTo>
                    <a:pt x="1380" y="468"/>
                  </a:lnTo>
                  <a:lnTo>
                    <a:pt x="1380" y="470"/>
                  </a:lnTo>
                  <a:lnTo>
                    <a:pt x="1380" y="472"/>
                  </a:lnTo>
                  <a:lnTo>
                    <a:pt x="1380" y="475"/>
                  </a:lnTo>
                  <a:lnTo>
                    <a:pt x="1380" y="477"/>
                  </a:lnTo>
                  <a:lnTo>
                    <a:pt x="1383" y="477"/>
                  </a:lnTo>
                  <a:lnTo>
                    <a:pt x="1383" y="480"/>
                  </a:lnTo>
                  <a:lnTo>
                    <a:pt x="1385" y="480"/>
                  </a:lnTo>
                  <a:lnTo>
                    <a:pt x="1385" y="477"/>
                  </a:lnTo>
                  <a:lnTo>
                    <a:pt x="1385" y="480"/>
                  </a:lnTo>
                  <a:lnTo>
                    <a:pt x="1385" y="477"/>
                  </a:lnTo>
                  <a:lnTo>
                    <a:pt x="1388" y="477"/>
                  </a:lnTo>
                  <a:lnTo>
                    <a:pt x="1385" y="477"/>
                  </a:lnTo>
                  <a:lnTo>
                    <a:pt x="1388" y="477"/>
                  </a:lnTo>
                  <a:lnTo>
                    <a:pt x="1390" y="477"/>
                  </a:lnTo>
                  <a:lnTo>
                    <a:pt x="1388" y="477"/>
                  </a:lnTo>
                  <a:lnTo>
                    <a:pt x="1390" y="477"/>
                  </a:lnTo>
                  <a:lnTo>
                    <a:pt x="1392" y="477"/>
                  </a:lnTo>
                  <a:lnTo>
                    <a:pt x="1395" y="477"/>
                  </a:lnTo>
                  <a:lnTo>
                    <a:pt x="1395" y="480"/>
                  </a:lnTo>
                  <a:lnTo>
                    <a:pt x="1392" y="480"/>
                  </a:lnTo>
                  <a:lnTo>
                    <a:pt x="1395" y="480"/>
                  </a:lnTo>
                  <a:lnTo>
                    <a:pt x="1392" y="480"/>
                  </a:lnTo>
                  <a:lnTo>
                    <a:pt x="1395" y="480"/>
                  </a:lnTo>
                  <a:lnTo>
                    <a:pt x="1395" y="482"/>
                  </a:lnTo>
                  <a:lnTo>
                    <a:pt x="1397" y="482"/>
                  </a:lnTo>
                  <a:lnTo>
                    <a:pt x="1395" y="482"/>
                  </a:lnTo>
                  <a:lnTo>
                    <a:pt x="1395" y="480"/>
                  </a:lnTo>
                  <a:lnTo>
                    <a:pt x="1392" y="480"/>
                  </a:lnTo>
                  <a:lnTo>
                    <a:pt x="1395" y="480"/>
                  </a:lnTo>
                  <a:lnTo>
                    <a:pt x="1395" y="477"/>
                  </a:lnTo>
                  <a:lnTo>
                    <a:pt x="1392" y="477"/>
                  </a:lnTo>
                  <a:lnTo>
                    <a:pt x="1390" y="477"/>
                  </a:lnTo>
                  <a:lnTo>
                    <a:pt x="1388" y="477"/>
                  </a:lnTo>
                  <a:lnTo>
                    <a:pt x="1385" y="477"/>
                  </a:lnTo>
                  <a:lnTo>
                    <a:pt x="1385" y="480"/>
                  </a:lnTo>
                  <a:lnTo>
                    <a:pt x="1385" y="477"/>
                  </a:lnTo>
                  <a:lnTo>
                    <a:pt x="1385" y="480"/>
                  </a:lnTo>
                  <a:lnTo>
                    <a:pt x="1383" y="480"/>
                  </a:lnTo>
                  <a:lnTo>
                    <a:pt x="1383" y="477"/>
                  </a:lnTo>
                  <a:lnTo>
                    <a:pt x="1380" y="477"/>
                  </a:lnTo>
                  <a:lnTo>
                    <a:pt x="1380" y="475"/>
                  </a:lnTo>
                  <a:lnTo>
                    <a:pt x="1380" y="472"/>
                  </a:lnTo>
                  <a:lnTo>
                    <a:pt x="1380" y="470"/>
                  </a:lnTo>
                  <a:lnTo>
                    <a:pt x="1380" y="468"/>
                  </a:lnTo>
                  <a:lnTo>
                    <a:pt x="1380" y="470"/>
                  </a:lnTo>
                  <a:lnTo>
                    <a:pt x="1380" y="468"/>
                  </a:lnTo>
                  <a:lnTo>
                    <a:pt x="1380" y="470"/>
                  </a:lnTo>
                  <a:lnTo>
                    <a:pt x="1380" y="468"/>
                  </a:lnTo>
                  <a:lnTo>
                    <a:pt x="1383" y="468"/>
                  </a:lnTo>
                  <a:lnTo>
                    <a:pt x="1380" y="468"/>
                  </a:lnTo>
                  <a:lnTo>
                    <a:pt x="1378" y="468"/>
                  </a:lnTo>
                  <a:lnTo>
                    <a:pt x="1376" y="468"/>
                  </a:lnTo>
                  <a:lnTo>
                    <a:pt x="1376" y="465"/>
                  </a:lnTo>
                  <a:lnTo>
                    <a:pt x="1378" y="465"/>
                  </a:lnTo>
                  <a:lnTo>
                    <a:pt x="1376" y="465"/>
                  </a:lnTo>
                  <a:lnTo>
                    <a:pt x="1376" y="468"/>
                  </a:lnTo>
                  <a:lnTo>
                    <a:pt x="1376" y="465"/>
                  </a:lnTo>
                  <a:lnTo>
                    <a:pt x="1373" y="465"/>
                  </a:lnTo>
                  <a:lnTo>
                    <a:pt x="1371" y="465"/>
                  </a:lnTo>
                  <a:lnTo>
                    <a:pt x="1369" y="465"/>
                  </a:lnTo>
                  <a:lnTo>
                    <a:pt x="1366" y="465"/>
                  </a:lnTo>
                  <a:lnTo>
                    <a:pt x="1364" y="465"/>
                  </a:lnTo>
                  <a:lnTo>
                    <a:pt x="1366" y="463"/>
                  </a:lnTo>
                  <a:lnTo>
                    <a:pt x="1364" y="463"/>
                  </a:lnTo>
                  <a:lnTo>
                    <a:pt x="1362" y="463"/>
                  </a:lnTo>
                  <a:lnTo>
                    <a:pt x="1362" y="461"/>
                  </a:lnTo>
                  <a:lnTo>
                    <a:pt x="1359" y="461"/>
                  </a:lnTo>
                  <a:lnTo>
                    <a:pt x="1357" y="461"/>
                  </a:lnTo>
                  <a:lnTo>
                    <a:pt x="1357" y="458"/>
                  </a:lnTo>
                  <a:lnTo>
                    <a:pt x="1357" y="456"/>
                  </a:lnTo>
                  <a:lnTo>
                    <a:pt x="1357" y="458"/>
                  </a:lnTo>
                  <a:lnTo>
                    <a:pt x="1357" y="456"/>
                  </a:lnTo>
                  <a:lnTo>
                    <a:pt x="1357" y="458"/>
                  </a:lnTo>
                  <a:lnTo>
                    <a:pt x="1357" y="456"/>
                  </a:lnTo>
                  <a:lnTo>
                    <a:pt x="1357" y="453"/>
                  </a:lnTo>
                  <a:lnTo>
                    <a:pt x="1357" y="456"/>
                  </a:lnTo>
                  <a:lnTo>
                    <a:pt x="1357" y="453"/>
                  </a:lnTo>
                  <a:lnTo>
                    <a:pt x="1354" y="453"/>
                  </a:lnTo>
                  <a:lnTo>
                    <a:pt x="1354" y="451"/>
                  </a:lnTo>
                  <a:lnTo>
                    <a:pt x="1357" y="451"/>
                  </a:lnTo>
                  <a:lnTo>
                    <a:pt x="1357" y="449"/>
                  </a:lnTo>
                  <a:lnTo>
                    <a:pt x="1357" y="446"/>
                  </a:lnTo>
                  <a:lnTo>
                    <a:pt x="1354" y="446"/>
                  </a:lnTo>
                  <a:lnTo>
                    <a:pt x="1357" y="446"/>
                  </a:lnTo>
                  <a:lnTo>
                    <a:pt x="1357" y="444"/>
                  </a:lnTo>
                  <a:lnTo>
                    <a:pt x="1359" y="444"/>
                  </a:lnTo>
                  <a:lnTo>
                    <a:pt x="1362" y="444"/>
                  </a:lnTo>
                  <a:lnTo>
                    <a:pt x="1364" y="444"/>
                  </a:lnTo>
                  <a:lnTo>
                    <a:pt x="1366" y="444"/>
                  </a:lnTo>
                  <a:lnTo>
                    <a:pt x="1369" y="444"/>
                  </a:lnTo>
                  <a:lnTo>
                    <a:pt x="1369" y="442"/>
                  </a:lnTo>
                  <a:lnTo>
                    <a:pt x="1369" y="444"/>
                  </a:lnTo>
                  <a:lnTo>
                    <a:pt x="1369" y="446"/>
                  </a:lnTo>
                  <a:lnTo>
                    <a:pt x="1369" y="444"/>
                  </a:lnTo>
                  <a:lnTo>
                    <a:pt x="1371" y="444"/>
                  </a:lnTo>
                  <a:lnTo>
                    <a:pt x="1371" y="446"/>
                  </a:lnTo>
                  <a:lnTo>
                    <a:pt x="1373" y="444"/>
                  </a:lnTo>
                  <a:lnTo>
                    <a:pt x="1373" y="446"/>
                  </a:lnTo>
                  <a:lnTo>
                    <a:pt x="1373" y="444"/>
                  </a:lnTo>
                  <a:lnTo>
                    <a:pt x="1373" y="446"/>
                  </a:lnTo>
                  <a:lnTo>
                    <a:pt x="1376" y="446"/>
                  </a:lnTo>
                  <a:lnTo>
                    <a:pt x="1378" y="446"/>
                  </a:lnTo>
                  <a:lnTo>
                    <a:pt x="1378" y="449"/>
                  </a:lnTo>
                  <a:lnTo>
                    <a:pt x="1380" y="449"/>
                  </a:lnTo>
                  <a:lnTo>
                    <a:pt x="1383" y="449"/>
                  </a:lnTo>
                  <a:lnTo>
                    <a:pt x="1385" y="449"/>
                  </a:lnTo>
                  <a:lnTo>
                    <a:pt x="1383" y="449"/>
                  </a:lnTo>
                  <a:lnTo>
                    <a:pt x="1385" y="449"/>
                  </a:lnTo>
                  <a:lnTo>
                    <a:pt x="1383" y="449"/>
                  </a:lnTo>
                  <a:lnTo>
                    <a:pt x="1380" y="449"/>
                  </a:lnTo>
                  <a:lnTo>
                    <a:pt x="1383" y="449"/>
                  </a:lnTo>
                  <a:lnTo>
                    <a:pt x="1380" y="449"/>
                  </a:lnTo>
                  <a:lnTo>
                    <a:pt x="1383" y="449"/>
                  </a:lnTo>
                  <a:lnTo>
                    <a:pt x="1385" y="449"/>
                  </a:lnTo>
                  <a:lnTo>
                    <a:pt x="1388" y="449"/>
                  </a:lnTo>
                  <a:lnTo>
                    <a:pt x="1385" y="449"/>
                  </a:lnTo>
                  <a:lnTo>
                    <a:pt x="1388" y="449"/>
                  </a:lnTo>
                  <a:lnTo>
                    <a:pt x="1385" y="449"/>
                  </a:lnTo>
                  <a:lnTo>
                    <a:pt x="1388" y="449"/>
                  </a:lnTo>
                  <a:lnTo>
                    <a:pt x="1390" y="449"/>
                  </a:lnTo>
                  <a:lnTo>
                    <a:pt x="1392" y="449"/>
                  </a:lnTo>
                  <a:lnTo>
                    <a:pt x="1395" y="449"/>
                  </a:lnTo>
                  <a:lnTo>
                    <a:pt x="1397" y="449"/>
                  </a:lnTo>
                  <a:lnTo>
                    <a:pt x="1397" y="451"/>
                  </a:lnTo>
                  <a:lnTo>
                    <a:pt x="1402" y="451"/>
                  </a:lnTo>
                  <a:lnTo>
                    <a:pt x="1407" y="451"/>
                  </a:lnTo>
                  <a:lnTo>
                    <a:pt x="1409" y="451"/>
                  </a:lnTo>
                  <a:lnTo>
                    <a:pt x="1411" y="451"/>
                  </a:lnTo>
                  <a:lnTo>
                    <a:pt x="1414" y="451"/>
                  </a:lnTo>
                  <a:lnTo>
                    <a:pt x="1416" y="451"/>
                  </a:lnTo>
                  <a:lnTo>
                    <a:pt x="1418" y="451"/>
                  </a:lnTo>
                  <a:lnTo>
                    <a:pt x="1421" y="451"/>
                  </a:lnTo>
                  <a:lnTo>
                    <a:pt x="1418" y="453"/>
                  </a:lnTo>
                  <a:lnTo>
                    <a:pt x="1416" y="453"/>
                  </a:lnTo>
                  <a:lnTo>
                    <a:pt x="1414" y="453"/>
                  </a:lnTo>
                  <a:lnTo>
                    <a:pt x="1416" y="453"/>
                  </a:lnTo>
                  <a:lnTo>
                    <a:pt x="1418" y="453"/>
                  </a:lnTo>
                  <a:lnTo>
                    <a:pt x="1421" y="453"/>
                  </a:lnTo>
                  <a:lnTo>
                    <a:pt x="1421" y="451"/>
                  </a:lnTo>
                  <a:lnTo>
                    <a:pt x="1423" y="451"/>
                  </a:lnTo>
                  <a:lnTo>
                    <a:pt x="1426" y="451"/>
                  </a:lnTo>
                  <a:lnTo>
                    <a:pt x="1430" y="453"/>
                  </a:lnTo>
                  <a:lnTo>
                    <a:pt x="1428" y="453"/>
                  </a:lnTo>
                  <a:lnTo>
                    <a:pt x="1430" y="453"/>
                  </a:lnTo>
                  <a:lnTo>
                    <a:pt x="1428" y="453"/>
                  </a:lnTo>
                  <a:lnTo>
                    <a:pt x="1430" y="453"/>
                  </a:lnTo>
                  <a:lnTo>
                    <a:pt x="1428" y="453"/>
                  </a:lnTo>
                  <a:lnTo>
                    <a:pt x="1430" y="453"/>
                  </a:lnTo>
                  <a:lnTo>
                    <a:pt x="1428" y="453"/>
                  </a:lnTo>
                  <a:lnTo>
                    <a:pt x="1428" y="456"/>
                  </a:lnTo>
                  <a:lnTo>
                    <a:pt x="1426" y="453"/>
                  </a:lnTo>
                  <a:lnTo>
                    <a:pt x="1426" y="456"/>
                  </a:lnTo>
                  <a:lnTo>
                    <a:pt x="1426" y="453"/>
                  </a:lnTo>
                  <a:lnTo>
                    <a:pt x="1428" y="456"/>
                  </a:lnTo>
                  <a:lnTo>
                    <a:pt x="1428" y="453"/>
                  </a:lnTo>
                  <a:lnTo>
                    <a:pt x="1430" y="453"/>
                  </a:lnTo>
                  <a:lnTo>
                    <a:pt x="1435" y="453"/>
                  </a:lnTo>
                  <a:lnTo>
                    <a:pt x="1433" y="453"/>
                  </a:lnTo>
                  <a:lnTo>
                    <a:pt x="1433" y="456"/>
                  </a:lnTo>
                  <a:lnTo>
                    <a:pt x="1435" y="456"/>
                  </a:lnTo>
                  <a:lnTo>
                    <a:pt x="1433" y="456"/>
                  </a:lnTo>
                  <a:lnTo>
                    <a:pt x="1433" y="453"/>
                  </a:lnTo>
                  <a:lnTo>
                    <a:pt x="1435" y="453"/>
                  </a:lnTo>
                  <a:lnTo>
                    <a:pt x="1433" y="453"/>
                  </a:lnTo>
                  <a:lnTo>
                    <a:pt x="1435" y="453"/>
                  </a:lnTo>
                  <a:lnTo>
                    <a:pt x="1437" y="453"/>
                  </a:lnTo>
                  <a:lnTo>
                    <a:pt x="1449" y="456"/>
                  </a:lnTo>
                  <a:lnTo>
                    <a:pt x="1456" y="458"/>
                  </a:lnTo>
                  <a:lnTo>
                    <a:pt x="1459" y="458"/>
                  </a:lnTo>
                  <a:lnTo>
                    <a:pt x="1461" y="461"/>
                  </a:lnTo>
                  <a:lnTo>
                    <a:pt x="1471" y="463"/>
                  </a:lnTo>
                  <a:lnTo>
                    <a:pt x="1473" y="463"/>
                  </a:lnTo>
                  <a:lnTo>
                    <a:pt x="1475" y="465"/>
                  </a:lnTo>
                  <a:lnTo>
                    <a:pt x="1478" y="465"/>
                  </a:lnTo>
                  <a:lnTo>
                    <a:pt x="1480" y="468"/>
                  </a:lnTo>
                  <a:lnTo>
                    <a:pt x="1483" y="470"/>
                  </a:lnTo>
                  <a:lnTo>
                    <a:pt x="1487" y="470"/>
                  </a:lnTo>
                  <a:lnTo>
                    <a:pt x="1490" y="472"/>
                  </a:lnTo>
                  <a:lnTo>
                    <a:pt x="1492" y="475"/>
                  </a:lnTo>
                  <a:lnTo>
                    <a:pt x="1497" y="477"/>
                  </a:lnTo>
                  <a:lnTo>
                    <a:pt x="1494" y="477"/>
                  </a:lnTo>
                  <a:lnTo>
                    <a:pt x="1492" y="477"/>
                  </a:lnTo>
                  <a:lnTo>
                    <a:pt x="1490" y="477"/>
                  </a:lnTo>
                  <a:lnTo>
                    <a:pt x="1492" y="477"/>
                  </a:lnTo>
                  <a:lnTo>
                    <a:pt x="1490" y="477"/>
                  </a:lnTo>
                  <a:lnTo>
                    <a:pt x="1492" y="477"/>
                  </a:lnTo>
                  <a:lnTo>
                    <a:pt x="1490" y="477"/>
                  </a:lnTo>
                  <a:lnTo>
                    <a:pt x="1487" y="477"/>
                  </a:lnTo>
                  <a:lnTo>
                    <a:pt x="1487" y="475"/>
                  </a:lnTo>
                  <a:lnTo>
                    <a:pt x="1485" y="475"/>
                  </a:lnTo>
                  <a:lnTo>
                    <a:pt x="1485" y="477"/>
                  </a:lnTo>
                  <a:lnTo>
                    <a:pt x="1485" y="475"/>
                  </a:lnTo>
                  <a:lnTo>
                    <a:pt x="1485" y="477"/>
                  </a:lnTo>
                  <a:lnTo>
                    <a:pt x="1483" y="477"/>
                  </a:lnTo>
                  <a:lnTo>
                    <a:pt x="1483" y="475"/>
                  </a:lnTo>
                  <a:lnTo>
                    <a:pt x="1483" y="477"/>
                  </a:lnTo>
                  <a:lnTo>
                    <a:pt x="1483" y="475"/>
                  </a:lnTo>
                  <a:lnTo>
                    <a:pt x="1483" y="477"/>
                  </a:lnTo>
                  <a:lnTo>
                    <a:pt x="1485" y="477"/>
                  </a:lnTo>
                  <a:lnTo>
                    <a:pt x="1485" y="475"/>
                  </a:lnTo>
                  <a:lnTo>
                    <a:pt x="1487" y="475"/>
                  </a:lnTo>
                  <a:lnTo>
                    <a:pt x="1487" y="477"/>
                  </a:lnTo>
                  <a:lnTo>
                    <a:pt x="1490" y="477"/>
                  </a:lnTo>
                  <a:lnTo>
                    <a:pt x="1490" y="480"/>
                  </a:lnTo>
                  <a:lnTo>
                    <a:pt x="1490" y="477"/>
                  </a:lnTo>
                  <a:lnTo>
                    <a:pt x="1490" y="480"/>
                  </a:lnTo>
                  <a:lnTo>
                    <a:pt x="1487" y="480"/>
                  </a:lnTo>
                  <a:lnTo>
                    <a:pt x="1485" y="480"/>
                  </a:lnTo>
                  <a:lnTo>
                    <a:pt x="1487" y="480"/>
                  </a:lnTo>
                  <a:lnTo>
                    <a:pt x="1490" y="480"/>
                  </a:lnTo>
                  <a:lnTo>
                    <a:pt x="1487" y="482"/>
                  </a:lnTo>
                  <a:lnTo>
                    <a:pt x="1485" y="482"/>
                  </a:lnTo>
                  <a:lnTo>
                    <a:pt x="1483" y="484"/>
                  </a:lnTo>
                  <a:lnTo>
                    <a:pt x="1480" y="482"/>
                  </a:lnTo>
                  <a:lnTo>
                    <a:pt x="1483" y="484"/>
                  </a:lnTo>
                  <a:lnTo>
                    <a:pt x="1480" y="484"/>
                  </a:lnTo>
                  <a:lnTo>
                    <a:pt x="1483" y="484"/>
                  </a:lnTo>
                  <a:lnTo>
                    <a:pt x="1485" y="482"/>
                  </a:lnTo>
                  <a:lnTo>
                    <a:pt x="1487" y="482"/>
                  </a:lnTo>
                  <a:lnTo>
                    <a:pt x="1490" y="480"/>
                  </a:lnTo>
                  <a:lnTo>
                    <a:pt x="1490" y="482"/>
                  </a:lnTo>
                  <a:lnTo>
                    <a:pt x="1487" y="482"/>
                  </a:lnTo>
                  <a:lnTo>
                    <a:pt x="1487" y="484"/>
                  </a:lnTo>
                  <a:lnTo>
                    <a:pt x="1485" y="484"/>
                  </a:lnTo>
                  <a:lnTo>
                    <a:pt x="1485" y="487"/>
                  </a:lnTo>
                  <a:lnTo>
                    <a:pt x="1483" y="487"/>
                  </a:lnTo>
                  <a:lnTo>
                    <a:pt x="1483" y="489"/>
                  </a:lnTo>
                  <a:lnTo>
                    <a:pt x="1480" y="489"/>
                  </a:lnTo>
                  <a:lnTo>
                    <a:pt x="1480" y="491"/>
                  </a:lnTo>
                  <a:lnTo>
                    <a:pt x="1478" y="491"/>
                  </a:lnTo>
                  <a:lnTo>
                    <a:pt x="1478" y="494"/>
                  </a:lnTo>
                  <a:lnTo>
                    <a:pt x="1480" y="494"/>
                  </a:lnTo>
                  <a:lnTo>
                    <a:pt x="1478" y="494"/>
                  </a:lnTo>
                  <a:lnTo>
                    <a:pt x="1478" y="496"/>
                  </a:lnTo>
                  <a:lnTo>
                    <a:pt x="1475" y="496"/>
                  </a:lnTo>
                  <a:lnTo>
                    <a:pt x="1475" y="499"/>
                  </a:lnTo>
                  <a:lnTo>
                    <a:pt x="1475" y="496"/>
                  </a:lnTo>
                  <a:lnTo>
                    <a:pt x="1478" y="496"/>
                  </a:lnTo>
                  <a:lnTo>
                    <a:pt x="1480" y="496"/>
                  </a:lnTo>
                  <a:lnTo>
                    <a:pt x="1478" y="496"/>
                  </a:lnTo>
                  <a:lnTo>
                    <a:pt x="1478" y="494"/>
                  </a:lnTo>
                  <a:lnTo>
                    <a:pt x="1480" y="494"/>
                  </a:lnTo>
                  <a:lnTo>
                    <a:pt x="1483" y="494"/>
                  </a:lnTo>
                  <a:lnTo>
                    <a:pt x="1483" y="496"/>
                  </a:lnTo>
                  <a:lnTo>
                    <a:pt x="1483" y="494"/>
                  </a:lnTo>
                  <a:lnTo>
                    <a:pt x="1483" y="496"/>
                  </a:lnTo>
                  <a:lnTo>
                    <a:pt x="1485" y="496"/>
                  </a:lnTo>
                  <a:lnTo>
                    <a:pt x="1483" y="496"/>
                  </a:lnTo>
                  <a:lnTo>
                    <a:pt x="1485" y="496"/>
                  </a:lnTo>
                  <a:lnTo>
                    <a:pt x="1485" y="499"/>
                  </a:lnTo>
                  <a:lnTo>
                    <a:pt x="1483" y="499"/>
                  </a:lnTo>
                  <a:lnTo>
                    <a:pt x="1483" y="501"/>
                  </a:lnTo>
                  <a:lnTo>
                    <a:pt x="1485" y="501"/>
                  </a:lnTo>
                  <a:lnTo>
                    <a:pt x="1487" y="501"/>
                  </a:lnTo>
                  <a:lnTo>
                    <a:pt x="1490" y="501"/>
                  </a:lnTo>
                  <a:lnTo>
                    <a:pt x="1487" y="501"/>
                  </a:lnTo>
                  <a:lnTo>
                    <a:pt x="1490" y="501"/>
                  </a:lnTo>
                  <a:lnTo>
                    <a:pt x="1490" y="499"/>
                  </a:lnTo>
                  <a:lnTo>
                    <a:pt x="1490" y="501"/>
                  </a:lnTo>
                  <a:lnTo>
                    <a:pt x="1492" y="501"/>
                  </a:lnTo>
                  <a:lnTo>
                    <a:pt x="1494" y="501"/>
                  </a:lnTo>
                  <a:lnTo>
                    <a:pt x="1494" y="503"/>
                  </a:lnTo>
                  <a:lnTo>
                    <a:pt x="1497" y="503"/>
                  </a:lnTo>
                  <a:lnTo>
                    <a:pt x="1499" y="503"/>
                  </a:lnTo>
                  <a:lnTo>
                    <a:pt x="1499" y="506"/>
                  </a:lnTo>
                  <a:lnTo>
                    <a:pt x="1501" y="506"/>
                  </a:lnTo>
                  <a:lnTo>
                    <a:pt x="1501" y="503"/>
                  </a:lnTo>
                  <a:lnTo>
                    <a:pt x="1504" y="503"/>
                  </a:lnTo>
                  <a:lnTo>
                    <a:pt x="1504" y="506"/>
                  </a:lnTo>
                  <a:lnTo>
                    <a:pt x="1504" y="503"/>
                  </a:lnTo>
                  <a:lnTo>
                    <a:pt x="1506" y="503"/>
                  </a:lnTo>
                  <a:lnTo>
                    <a:pt x="1506" y="506"/>
                  </a:lnTo>
                  <a:lnTo>
                    <a:pt x="1506" y="503"/>
                  </a:lnTo>
                  <a:lnTo>
                    <a:pt x="1509" y="503"/>
                  </a:lnTo>
                  <a:lnTo>
                    <a:pt x="1509" y="506"/>
                  </a:lnTo>
                  <a:lnTo>
                    <a:pt x="1511" y="506"/>
                  </a:lnTo>
                  <a:lnTo>
                    <a:pt x="1509" y="506"/>
                  </a:lnTo>
                  <a:lnTo>
                    <a:pt x="1511" y="506"/>
                  </a:lnTo>
                  <a:lnTo>
                    <a:pt x="1509" y="506"/>
                  </a:lnTo>
                  <a:lnTo>
                    <a:pt x="1509" y="508"/>
                  </a:lnTo>
                  <a:lnTo>
                    <a:pt x="1509" y="510"/>
                  </a:lnTo>
                  <a:lnTo>
                    <a:pt x="1511" y="510"/>
                  </a:lnTo>
                  <a:lnTo>
                    <a:pt x="1511" y="508"/>
                  </a:lnTo>
                  <a:lnTo>
                    <a:pt x="1511" y="510"/>
                  </a:lnTo>
                  <a:lnTo>
                    <a:pt x="1511" y="513"/>
                  </a:lnTo>
                  <a:lnTo>
                    <a:pt x="1511" y="515"/>
                  </a:lnTo>
                  <a:lnTo>
                    <a:pt x="1513" y="515"/>
                  </a:lnTo>
                  <a:lnTo>
                    <a:pt x="1516" y="515"/>
                  </a:lnTo>
                  <a:lnTo>
                    <a:pt x="1516" y="518"/>
                  </a:lnTo>
                  <a:lnTo>
                    <a:pt x="1518" y="518"/>
                  </a:lnTo>
                  <a:lnTo>
                    <a:pt x="1518" y="520"/>
                  </a:lnTo>
                  <a:lnTo>
                    <a:pt x="1516" y="522"/>
                  </a:lnTo>
                  <a:lnTo>
                    <a:pt x="1516" y="525"/>
                  </a:lnTo>
                  <a:lnTo>
                    <a:pt x="1513" y="525"/>
                  </a:lnTo>
                  <a:lnTo>
                    <a:pt x="1516" y="525"/>
                  </a:lnTo>
                  <a:lnTo>
                    <a:pt x="1513" y="525"/>
                  </a:lnTo>
                  <a:lnTo>
                    <a:pt x="1513" y="527"/>
                  </a:lnTo>
                  <a:lnTo>
                    <a:pt x="1511" y="527"/>
                  </a:lnTo>
                  <a:lnTo>
                    <a:pt x="1513" y="527"/>
                  </a:lnTo>
                  <a:lnTo>
                    <a:pt x="1511" y="527"/>
                  </a:lnTo>
                  <a:lnTo>
                    <a:pt x="1511" y="529"/>
                  </a:lnTo>
                  <a:lnTo>
                    <a:pt x="1511" y="532"/>
                  </a:lnTo>
                  <a:lnTo>
                    <a:pt x="1511" y="529"/>
                  </a:lnTo>
                  <a:lnTo>
                    <a:pt x="1511" y="532"/>
                  </a:lnTo>
                  <a:lnTo>
                    <a:pt x="1509" y="532"/>
                  </a:lnTo>
                  <a:lnTo>
                    <a:pt x="1509" y="534"/>
                  </a:lnTo>
                  <a:lnTo>
                    <a:pt x="1509" y="537"/>
                  </a:lnTo>
                  <a:lnTo>
                    <a:pt x="1506" y="537"/>
                  </a:lnTo>
                  <a:lnTo>
                    <a:pt x="1506" y="539"/>
                  </a:lnTo>
                  <a:lnTo>
                    <a:pt x="1506" y="541"/>
                  </a:lnTo>
                  <a:lnTo>
                    <a:pt x="1506" y="544"/>
                  </a:lnTo>
                  <a:lnTo>
                    <a:pt x="1506" y="546"/>
                  </a:lnTo>
                  <a:lnTo>
                    <a:pt x="1509" y="546"/>
                  </a:lnTo>
                  <a:lnTo>
                    <a:pt x="1509" y="548"/>
                  </a:lnTo>
                  <a:lnTo>
                    <a:pt x="1506" y="548"/>
                  </a:lnTo>
                  <a:lnTo>
                    <a:pt x="1509" y="548"/>
                  </a:lnTo>
                  <a:lnTo>
                    <a:pt x="1509" y="551"/>
                  </a:lnTo>
                  <a:lnTo>
                    <a:pt x="1506" y="551"/>
                  </a:lnTo>
                  <a:lnTo>
                    <a:pt x="1509" y="551"/>
                  </a:lnTo>
                  <a:lnTo>
                    <a:pt x="1506" y="551"/>
                  </a:lnTo>
                  <a:lnTo>
                    <a:pt x="1509" y="551"/>
                  </a:lnTo>
                  <a:lnTo>
                    <a:pt x="1509" y="553"/>
                  </a:lnTo>
                  <a:lnTo>
                    <a:pt x="1509" y="556"/>
                  </a:lnTo>
                  <a:lnTo>
                    <a:pt x="1511" y="556"/>
                  </a:lnTo>
                  <a:lnTo>
                    <a:pt x="1511" y="558"/>
                  </a:lnTo>
                  <a:lnTo>
                    <a:pt x="1511" y="556"/>
                  </a:lnTo>
                  <a:lnTo>
                    <a:pt x="1513" y="556"/>
                  </a:lnTo>
                  <a:lnTo>
                    <a:pt x="1516" y="556"/>
                  </a:lnTo>
                  <a:lnTo>
                    <a:pt x="1518" y="556"/>
                  </a:lnTo>
                  <a:lnTo>
                    <a:pt x="1520" y="556"/>
                  </a:lnTo>
                  <a:lnTo>
                    <a:pt x="1523" y="556"/>
                  </a:lnTo>
                  <a:lnTo>
                    <a:pt x="1525" y="556"/>
                  </a:lnTo>
                  <a:lnTo>
                    <a:pt x="1528" y="553"/>
                  </a:lnTo>
                  <a:lnTo>
                    <a:pt x="1528" y="556"/>
                  </a:lnTo>
                  <a:lnTo>
                    <a:pt x="1530" y="556"/>
                  </a:lnTo>
                  <a:lnTo>
                    <a:pt x="1532" y="556"/>
                  </a:lnTo>
                  <a:lnTo>
                    <a:pt x="1530" y="558"/>
                  </a:lnTo>
                  <a:lnTo>
                    <a:pt x="1532" y="558"/>
                  </a:lnTo>
                  <a:lnTo>
                    <a:pt x="1532" y="560"/>
                  </a:lnTo>
                  <a:lnTo>
                    <a:pt x="1532" y="563"/>
                  </a:lnTo>
                  <a:lnTo>
                    <a:pt x="1530" y="563"/>
                  </a:lnTo>
                  <a:lnTo>
                    <a:pt x="1532" y="563"/>
                  </a:lnTo>
                  <a:lnTo>
                    <a:pt x="1532" y="565"/>
                  </a:lnTo>
                  <a:lnTo>
                    <a:pt x="1535" y="565"/>
                  </a:lnTo>
                  <a:lnTo>
                    <a:pt x="1537" y="565"/>
                  </a:lnTo>
                  <a:lnTo>
                    <a:pt x="1539" y="567"/>
                  </a:lnTo>
                  <a:lnTo>
                    <a:pt x="1537" y="567"/>
                  </a:lnTo>
                  <a:lnTo>
                    <a:pt x="1537" y="570"/>
                  </a:lnTo>
                  <a:lnTo>
                    <a:pt x="1535" y="572"/>
                  </a:lnTo>
                  <a:lnTo>
                    <a:pt x="1532" y="572"/>
                  </a:lnTo>
                  <a:lnTo>
                    <a:pt x="1532" y="570"/>
                  </a:lnTo>
                  <a:lnTo>
                    <a:pt x="1530" y="570"/>
                  </a:lnTo>
                  <a:lnTo>
                    <a:pt x="1528" y="570"/>
                  </a:lnTo>
                  <a:lnTo>
                    <a:pt x="1528" y="572"/>
                  </a:lnTo>
                  <a:lnTo>
                    <a:pt x="1525" y="570"/>
                  </a:lnTo>
                  <a:lnTo>
                    <a:pt x="1523" y="572"/>
                  </a:lnTo>
                  <a:lnTo>
                    <a:pt x="1523" y="575"/>
                  </a:lnTo>
                  <a:lnTo>
                    <a:pt x="1525" y="575"/>
                  </a:lnTo>
                  <a:lnTo>
                    <a:pt x="1523" y="575"/>
                  </a:lnTo>
                  <a:lnTo>
                    <a:pt x="1523" y="577"/>
                  </a:lnTo>
                  <a:lnTo>
                    <a:pt x="1523" y="579"/>
                  </a:lnTo>
                  <a:lnTo>
                    <a:pt x="1525" y="577"/>
                  </a:lnTo>
                  <a:lnTo>
                    <a:pt x="1528" y="577"/>
                  </a:lnTo>
                  <a:lnTo>
                    <a:pt x="1530" y="577"/>
                  </a:lnTo>
                  <a:lnTo>
                    <a:pt x="1532" y="579"/>
                  </a:lnTo>
                  <a:lnTo>
                    <a:pt x="1532" y="582"/>
                  </a:lnTo>
                  <a:lnTo>
                    <a:pt x="1530" y="584"/>
                  </a:lnTo>
                  <a:lnTo>
                    <a:pt x="1530" y="586"/>
                  </a:lnTo>
                  <a:lnTo>
                    <a:pt x="1528" y="586"/>
                  </a:lnTo>
                  <a:lnTo>
                    <a:pt x="1525" y="586"/>
                  </a:lnTo>
                  <a:lnTo>
                    <a:pt x="1523" y="586"/>
                  </a:lnTo>
                  <a:lnTo>
                    <a:pt x="1520" y="586"/>
                  </a:lnTo>
                  <a:lnTo>
                    <a:pt x="1520" y="589"/>
                  </a:lnTo>
                  <a:lnTo>
                    <a:pt x="1520" y="591"/>
                  </a:lnTo>
                  <a:lnTo>
                    <a:pt x="1518" y="591"/>
                  </a:lnTo>
                  <a:lnTo>
                    <a:pt x="1516" y="591"/>
                  </a:lnTo>
                  <a:lnTo>
                    <a:pt x="1516" y="594"/>
                  </a:lnTo>
                  <a:lnTo>
                    <a:pt x="1513" y="594"/>
                  </a:lnTo>
                  <a:lnTo>
                    <a:pt x="1513" y="596"/>
                  </a:lnTo>
                  <a:lnTo>
                    <a:pt x="1511" y="598"/>
                  </a:lnTo>
                  <a:lnTo>
                    <a:pt x="1511" y="596"/>
                  </a:lnTo>
                  <a:lnTo>
                    <a:pt x="1509" y="596"/>
                  </a:lnTo>
                  <a:lnTo>
                    <a:pt x="1506" y="598"/>
                  </a:lnTo>
                  <a:lnTo>
                    <a:pt x="1506" y="601"/>
                  </a:lnTo>
                  <a:lnTo>
                    <a:pt x="1504" y="601"/>
                  </a:lnTo>
                  <a:lnTo>
                    <a:pt x="1501" y="601"/>
                  </a:lnTo>
                  <a:lnTo>
                    <a:pt x="1504" y="601"/>
                  </a:lnTo>
                  <a:lnTo>
                    <a:pt x="1504" y="603"/>
                  </a:lnTo>
                  <a:lnTo>
                    <a:pt x="1504" y="605"/>
                  </a:lnTo>
                  <a:lnTo>
                    <a:pt x="1501" y="605"/>
                  </a:lnTo>
                  <a:lnTo>
                    <a:pt x="1499" y="608"/>
                  </a:lnTo>
                  <a:lnTo>
                    <a:pt x="1499" y="610"/>
                  </a:lnTo>
                  <a:lnTo>
                    <a:pt x="1501" y="613"/>
                  </a:lnTo>
                  <a:lnTo>
                    <a:pt x="1501" y="615"/>
                  </a:lnTo>
                  <a:lnTo>
                    <a:pt x="1499" y="615"/>
                  </a:lnTo>
                  <a:lnTo>
                    <a:pt x="1499" y="617"/>
                  </a:lnTo>
                  <a:lnTo>
                    <a:pt x="1497" y="617"/>
                  </a:lnTo>
                  <a:lnTo>
                    <a:pt x="1494" y="617"/>
                  </a:lnTo>
                  <a:lnTo>
                    <a:pt x="1492" y="617"/>
                  </a:lnTo>
                  <a:lnTo>
                    <a:pt x="1492" y="620"/>
                  </a:lnTo>
                  <a:lnTo>
                    <a:pt x="1490" y="620"/>
                  </a:lnTo>
                  <a:lnTo>
                    <a:pt x="1487" y="620"/>
                  </a:lnTo>
                  <a:lnTo>
                    <a:pt x="1485" y="620"/>
                  </a:lnTo>
                  <a:lnTo>
                    <a:pt x="1483" y="620"/>
                  </a:lnTo>
                  <a:lnTo>
                    <a:pt x="1483" y="622"/>
                  </a:lnTo>
                  <a:lnTo>
                    <a:pt x="1483" y="624"/>
                  </a:lnTo>
                  <a:lnTo>
                    <a:pt x="1480" y="624"/>
                  </a:lnTo>
                  <a:lnTo>
                    <a:pt x="1480" y="627"/>
                  </a:lnTo>
                  <a:lnTo>
                    <a:pt x="1480" y="624"/>
                  </a:lnTo>
                  <a:lnTo>
                    <a:pt x="1478" y="624"/>
                  </a:lnTo>
                  <a:lnTo>
                    <a:pt x="1475" y="627"/>
                  </a:lnTo>
                  <a:lnTo>
                    <a:pt x="1473" y="627"/>
                  </a:lnTo>
                  <a:lnTo>
                    <a:pt x="1473" y="629"/>
                  </a:lnTo>
                  <a:lnTo>
                    <a:pt x="1471" y="629"/>
                  </a:lnTo>
                  <a:lnTo>
                    <a:pt x="1468" y="629"/>
                  </a:lnTo>
                  <a:lnTo>
                    <a:pt x="1466" y="629"/>
                  </a:lnTo>
                  <a:lnTo>
                    <a:pt x="1464" y="629"/>
                  </a:lnTo>
                  <a:lnTo>
                    <a:pt x="1461" y="632"/>
                  </a:lnTo>
                  <a:lnTo>
                    <a:pt x="1461" y="634"/>
                  </a:lnTo>
                  <a:lnTo>
                    <a:pt x="1459" y="634"/>
                  </a:lnTo>
                  <a:lnTo>
                    <a:pt x="1456" y="636"/>
                  </a:lnTo>
                  <a:lnTo>
                    <a:pt x="1454" y="636"/>
                  </a:lnTo>
                  <a:lnTo>
                    <a:pt x="1452" y="636"/>
                  </a:lnTo>
                  <a:lnTo>
                    <a:pt x="1449" y="639"/>
                  </a:lnTo>
                  <a:lnTo>
                    <a:pt x="1449" y="641"/>
                  </a:lnTo>
                  <a:lnTo>
                    <a:pt x="1447" y="641"/>
                  </a:lnTo>
                  <a:lnTo>
                    <a:pt x="1447" y="639"/>
                  </a:lnTo>
                  <a:lnTo>
                    <a:pt x="1445" y="639"/>
                  </a:lnTo>
                  <a:lnTo>
                    <a:pt x="1445" y="641"/>
                  </a:lnTo>
                  <a:lnTo>
                    <a:pt x="1442" y="641"/>
                  </a:lnTo>
                  <a:lnTo>
                    <a:pt x="1442" y="643"/>
                  </a:lnTo>
                  <a:lnTo>
                    <a:pt x="1440" y="643"/>
                  </a:lnTo>
                  <a:lnTo>
                    <a:pt x="1440" y="646"/>
                  </a:lnTo>
                  <a:lnTo>
                    <a:pt x="1437" y="648"/>
                  </a:lnTo>
                  <a:lnTo>
                    <a:pt x="1437" y="651"/>
                  </a:lnTo>
                  <a:lnTo>
                    <a:pt x="1440" y="651"/>
                  </a:lnTo>
                  <a:lnTo>
                    <a:pt x="1440" y="653"/>
                  </a:lnTo>
                  <a:lnTo>
                    <a:pt x="1437" y="653"/>
                  </a:lnTo>
                  <a:lnTo>
                    <a:pt x="1435" y="653"/>
                  </a:lnTo>
                  <a:lnTo>
                    <a:pt x="1435" y="651"/>
                  </a:lnTo>
                  <a:lnTo>
                    <a:pt x="1435" y="653"/>
                  </a:lnTo>
                  <a:lnTo>
                    <a:pt x="1433" y="655"/>
                  </a:lnTo>
                  <a:lnTo>
                    <a:pt x="1430" y="655"/>
                  </a:lnTo>
                  <a:lnTo>
                    <a:pt x="1430" y="658"/>
                  </a:lnTo>
                  <a:lnTo>
                    <a:pt x="1430" y="660"/>
                  </a:lnTo>
                  <a:lnTo>
                    <a:pt x="1428" y="660"/>
                  </a:lnTo>
                  <a:lnTo>
                    <a:pt x="1428" y="662"/>
                  </a:lnTo>
                  <a:lnTo>
                    <a:pt x="1426" y="662"/>
                  </a:lnTo>
                  <a:lnTo>
                    <a:pt x="1426" y="665"/>
                  </a:lnTo>
                  <a:lnTo>
                    <a:pt x="1423" y="665"/>
                  </a:lnTo>
                  <a:lnTo>
                    <a:pt x="1423" y="667"/>
                  </a:lnTo>
                  <a:lnTo>
                    <a:pt x="1426" y="667"/>
                  </a:lnTo>
                  <a:lnTo>
                    <a:pt x="1428" y="667"/>
                  </a:lnTo>
                  <a:lnTo>
                    <a:pt x="1428" y="670"/>
                  </a:lnTo>
                  <a:lnTo>
                    <a:pt x="1426" y="670"/>
                  </a:lnTo>
                  <a:lnTo>
                    <a:pt x="1423" y="670"/>
                  </a:lnTo>
                  <a:lnTo>
                    <a:pt x="1423" y="672"/>
                  </a:lnTo>
                  <a:lnTo>
                    <a:pt x="1426" y="672"/>
                  </a:lnTo>
                  <a:lnTo>
                    <a:pt x="1426" y="674"/>
                  </a:lnTo>
                  <a:lnTo>
                    <a:pt x="1423" y="674"/>
                  </a:lnTo>
                  <a:lnTo>
                    <a:pt x="1421" y="674"/>
                  </a:lnTo>
                  <a:lnTo>
                    <a:pt x="1418" y="674"/>
                  </a:lnTo>
                  <a:lnTo>
                    <a:pt x="1416" y="674"/>
                  </a:lnTo>
                  <a:lnTo>
                    <a:pt x="1414" y="674"/>
                  </a:lnTo>
                  <a:lnTo>
                    <a:pt x="1414" y="677"/>
                  </a:lnTo>
                  <a:lnTo>
                    <a:pt x="1411" y="677"/>
                  </a:lnTo>
                  <a:lnTo>
                    <a:pt x="1409" y="677"/>
                  </a:lnTo>
                  <a:lnTo>
                    <a:pt x="1409" y="679"/>
                  </a:lnTo>
                  <a:lnTo>
                    <a:pt x="1407" y="679"/>
                  </a:lnTo>
                  <a:lnTo>
                    <a:pt x="1404" y="679"/>
                  </a:lnTo>
                  <a:lnTo>
                    <a:pt x="1402" y="679"/>
                  </a:lnTo>
                  <a:lnTo>
                    <a:pt x="1402" y="682"/>
                  </a:lnTo>
                  <a:lnTo>
                    <a:pt x="1399" y="682"/>
                  </a:lnTo>
                  <a:lnTo>
                    <a:pt x="1397" y="682"/>
                  </a:lnTo>
                  <a:lnTo>
                    <a:pt x="1397" y="684"/>
                  </a:lnTo>
                  <a:lnTo>
                    <a:pt x="1395" y="684"/>
                  </a:lnTo>
                  <a:lnTo>
                    <a:pt x="1392" y="684"/>
                  </a:lnTo>
                  <a:lnTo>
                    <a:pt x="1392" y="686"/>
                  </a:lnTo>
                  <a:lnTo>
                    <a:pt x="1390" y="686"/>
                  </a:lnTo>
                  <a:lnTo>
                    <a:pt x="1390" y="689"/>
                  </a:lnTo>
                  <a:lnTo>
                    <a:pt x="1388" y="689"/>
                  </a:lnTo>
                  <a:lnTo>
                    <a:pt x="1388" y="691"/>
                  </a:lnTo>
                  <a:lnTo>
                    <a:pt x="1385" y="691"/>
                  </a:lnTo>
                  <a:lnTo>
                    <a:pt x="1383" y="693"/>
                  </a:lnTo>
                  <a:lnTo>
                    <a:pt x="1383" y="696"/>
                  </a:lnTo>
                  <a:lnTo>
                    <a:pt x="1380" y="698"/>
                  </a:lnTo>
                  <a:lnTo>
                    <a:pt x="1380" y="701"/>
                  </a:lnTo>
                  <a:lnTo>
                    <a:pt x="1378" y="703"/>
                  </a:lnTo>
                  <a:lnTo>
                    <a:pt x="1376" y="703"/>
                  </a:lnTo>
                  <a:lnTo>
                    <a:pt x="1376" y="705"/>
                  </a:lnTo>
                  <a:lnTo>
                    <a:pt x="1373" y="708"/>
                  </a:lnTo>
                  <a:lnTo>
                    <a:pt x="1373" y="710"/>
                  </a:lnTo>
                  <a:lnTo>
                    <a:pt x="1373" y="712"/>
                  </a:lnTo>
                  <a:lnTo>
                    <a:pt x="1371" y="712"/>
                  </a:lnTo>
                  <a:lnTo>
                    <a:pt x="1369" y="712"/>
                  </a:lnTo>
                  <a:lnTo>
                    <a:pt x="1369" y="717"/>
                  </a:lnTo>
                  <a:lnTo>
                    <a:pt x="1366" y="717"/>
                  </a:lnTo>
                  <a:lnTo>
                    <a:pt x="1366" y="720"/>
                  </a:lnTo>
                  <a:lnTo>
                    <a:pt x="1364" y="722"/>
                  </a:lnTo>
                  <a:lnTo>
                    <a:pt x="1362" y="722"/>
                  </a:lnTo>
                  <a:lnTo>
                    <a:pt x="1359" y="722"/>
                  </a:lnTo>
                  <a:lnTo>
                    <a:pt x="1357" y="722"/>
                  </a:lnTo>
                  <a:lnTo>
                    <a:pt x="1357" y="724"/>
                  </a:lnTo>
                  <a:lnTo>
                    <a:pt x="1357" y="727"/>
                  </a:lnTo>
                  <a:lnTo>
                    <a:pt x="1354" y="727"/>
                  </a:lnTo>
                  <a:lnTo>
                    <a:pt x="1352" y="729"/>
                  </a:lnTo>
                  <a:lnTo>
                    <a:pt x="1350" y="727"/>
                  </a:lnTo>
                  <a:lnTo>
                    <a:pt x="1345" y="722"/>
                  </a:lnTo>
                  <a:lnTo>
                    <a:pt x="1347" y="720"/>
                  </a:lnTo>
                  <a:lnTo>
                    <a:pt x="1345" y="720"/>
                  </a:lnTo>
                  <a:lnTo>
                    <a:pt x="1340" y="720"/>
                  </a:lnTo>
                  <a:lnTo>
                    <a:pt x="1338" y="720"/>
                  </a:lnTo>
                  <a:lnTo>
                    <a:pt x="1335" y="720"/>
                  </a:lnTo>
                  <a:lnTo>
                    <a:pt x="1333" y="722"/>
                  </a:lnTo>
                  <a:lnTo>
                    <a:pt x="1333" y="724"/>
                  </a:lnTo>
                  <a:lnTo>
                    <a:pt x="1331" y="724"/>
                  </a:lnTo>
                  <a:lnTo>
                    <a:pt x="1331" y="727"/>
                  </a:lnTo>
                  <a:lnTo>
                    <a:pt x="1328" y="729"/>
                  </a:lnTo>
                  <a:lnTo>
                    <a:pt x="1326" y="729"/>
                  </a:lnTo>
                  <a:lnTo>
                    <a:pt x="1324" y="731"/>
                  </a:lnTo>
                  <a:lnTo>
                    <a:pt x="1321" y="734"/>
                  </a:lnTo>
                  <a:lnTo>
                    <a:pt x="1319" y="734"/>
                  </a:lnTo>
                  <a:lnTo>
                    <a:pt x="1319" y="736"/>
                  </a:lnTo>
                  <a:lnTo>
                    <a:pt x="1319" y="739"/>
                  </a:lnTo>
                  <a:lnTo>
                    <a:pt x="1321" y="739"/>
                  </a:lnTo>
                  <a:lnTo>
                    <a:pt x="1324" y="741"/>
                  </a:lnTo>
                  <a:lnTo>
                    <a:pt x="1324" y="743"/>
                  </a:lnTo>
                  <a:lnTo>
                    <a:pt x="1321" y="743"/>
                  </a:lnTo>
                  <a:lnTo>
                    <a:pt x="1319" y="743"/>
                  </a:lnTo>
                  <a:lnTo>
                    <a:pt x="1319" y="746"/>
                  </a:lnTo>
                  <a:lnTo>
                    <a:pt x="1316" y="748"/>
                  </a:lnTo>
                  <a:lnTo>
                    <a:pt x="1314" y="750"/>
                  </a:lnTo>
                  <a:lnTo>
                    <a:pt x="1316" y="753"/>
                  </a:lnTo>
                  <a:lnTo>
                    <a:pt x="1319" y="753"/>
                  </a:lnTo>
                  <a:lnTo>
                    <a:pt x="1319" y="758"/>
                  </a:lnTo>
                  <a:lnTo>
                    <a:pt x="1319" y="760"/>
                  </a:lnTo>
                  <a:lnTo>
                    <a:pt x="1319" y="762"/>
                  </a:lnTo>
                  <a:lnTo>
                    <a:pt x="1319" y="765"/>
                  </a:lnTo>
                  <a:lnTo>
                    <a:pt x="1319" y="767"/>
                  </a:lnTo>
                  <a:lnTo>
                    <a:pt x="1321" y="769"/>
                  </a:lnTo>
                  <a:lnTo>
                    <a:pt x="1324" y="769"/>
                  </a:lnTo>
                  <a:lnTo>
                    <a:pt x="1326" y="772"/>
                  </a:lnTo>
                  <a:lnTo>
                    <a:pt x="1326" y="774"/>
                  </a:lnTo>
                  <a:lnTo>
                    <a:pt x="1324" y="779"/>
                  </a:lnTo>
                  <a:lnTo>
                    <a:pt x="1321" y="781"/>
                  </a:lnTo>
                  <a:lnTo>
                    <a:pt x="1316" y="784"/>
                  </a:lnTo>
                  <a:lnTo>
                    <a:pt x="1319" y="786"/>
                  </a:lnTo>
                  <a:lnTo>
                    <a:pt x="1316" y="788"/>
                  </a:lnTo>
                  <a:lnTo>
                    <a:pt x="1316" y="791"/>
                  </a:lnTo>
                  <a:lnTo>
                    <a:pt x="1316" y="793"/>
                  </a:lnTo>
                  <a:lnTo>
                    <a:pt x="1316" y="796"/>
                  </a:lnTo>
                  <a:lnTo>
                    <a:pt x="1314" y="803"/>
                  </a:lnTo>
                  <a:lnTo>
                    <a:pt x="1312" y="807"/>
                  </a:lnTo>
                  <a:lnTo>
                    <a:pt x="1309" y="812"/>
                  </a:lnTo>
                  <a:lnTo>
                    <a:pt x="1312" y="815"/>
                  </a:lnTo>
                  <a:lnTo>
                    <a:pt x="1309" y="815"/>
                  </a:lnTo>
                  <a:lnTo>
                    <a:pt x="1309" y="817"/>
                  </a:lnTo>
                  <a:lnTo>
                    <a:pt x="1309" y="819"/>
                  </a:lnTo>
                  <a:lnTo>
                    <a:pt x="1312" y="819"/>
                  </a:lnTo>
                  <a:lnTo>
                    <a:pt x="1309" y="822"/>
                  </a:lnTo>
                  <a:lnTo>
                    <a:pt x="1307" y="824"/>
                  </a:lnTo>
                  <a:lnTo>
                    <a:pt x="1309" y="826"/>
                  </a:lnTo>
                  <a:lnTo>
                    <a:pt x="1309" y="829"/>
                  </a:lnTo>
                  <a:lnTo>
                    <a:pt x="1307" y="829"/>
                  </a:lnTo>
                  <a:lnTo>
                    <a:pt x="1305" y="831"/>
                  </a:lnTo>
                  <a:lnTo>
                    <a:pt x="1307" y="834"/>
                  </a:lnTo>
                  <a:lnTo>
                    <a:pt x="1309" y="834"/>
                  </a:lnTo>
                  <a:lnTo>
                    <a:pt x="1309" y="836"/>
                  </a:lnTo>
                  <a:lnTo>
                    <a:pt x="1312" y="836"/>
                  </a:lnTo>
                  <a:lnTo>
                    <a:pt x="1314" y="838"/>
                  </a:lnTo>
                  <a:lnTo>
                    <a:pt x="1314" y="841"/>
                  </a:lnTo>
                  <a:lnTo>
                    <a:pt x="1314" y="845"/>
                  </a:lnTo>
                  <a:lnTo>
                    <a:pt x="1312" y="848"/>
                  </a:lnTo>
                  <a:lnTo>
                    <a:pt x="1312" y="850"/>
                  </a:lnTo>
                  <a:lnTo>
                    <a:pt x="1314" y="855"/>
                  </a:lnTo>
                  <a:lnTo>
                    <a:pt x="1314" y="857"/>
                  </a:lnTo>
                  <a:lnTo>
                    <a:pt x="1316" y="857"/>
                  </a:lnTo>
                  <a:lnTo>
                    <a:pt x="1321" y="860"/>
                  </a:lnTo>
                  <a:lnTo>
                    <a:pt x="1319" y="862"/>
                  </a:lnTo>
                  <a:lnTo>
                    <a:pt x="1319" y="864"/>
                  </a:lnTo>
                  <a:lnTo>
                    <a:pt x="1319" y="867"/>
                  </a:lnTo>
                  <a:lnTo>
                    <a:pt x="1319" y="869"/>
                  </a:lnTo>
                  <a:lnTo>
                    <a:pt x="1316" y="872"/>
                  </a:lnTo>
                  <a:lnTo>
                    <a:pt x="1316" y="874"/>
                  </a:lnTo>
                  <a:lnTo>
                    <a:pt x="1314" y="876"/>
                  </a:lnTo>
                  <a:lnTo>
                    <a:pt x="1312" y="879"/>
                  </a:lnTo>
                  <a:lnTo>
                    <a:pt x="1312" y="881"/>
                  </a:lnTo>
                  <a:lnTo>
                    <a:pt x="1312" y="883"/>
                  </a:lnTo>
                  <a:lnTo>
                    <a:pt x="1314" y="886"/>
                  </a:lnTo>
                  <a:lnTo>
                    <a:pt x="1314" y="888"/>
                  </a:lnTo>
                  <a:lnTo>
                    <a:pt x="1314" y="891"/>
                  </a:lnTo>
                  <a:lnTo>
                    <a:pt x="1314" y="893"/>
                  </a:lnTo>
                  <a:lnTo>
                    <a:pt x="1312" y="893"/>
                  </a:lnTo>
                  <a:lnTo>
                    <a:pt x="1312" y="895"/>
                  </a:lnTo>
                  <a:lnTo>
                    <a:pt x="1309" y="895"/>
                  </a:lnTo>
                  <a:lnTo>
                    <a:pt x="1309" y="898"/>
                  </a:lnTo>
                  <a:lnTo>
                    <a:pt x="1312" y="900"/>
                  </a:lnTo>
                  <a:lnTo>
                    <a:pt x="1312" y="902"/>
                  </a:lnTo>
                  <a:lnTo>
                    <a:pt x="1309" y="905"/>
                  </a:lnTo>
                  <a:lnTo>
                    <a:pt x="1309" y="907"/>
                  </a:lnTo>
                  <a:lnTo>
                    <a:pt x="1312" y="910"/>
                  </a:lnTo>
                  <a:lnTo>
                    <a:pt x="1312" y="912"/>
                  </a:lnTo>
                  <a:lnTo>
                    <a:pt x="1312" y="914"/>
                  </a:lnTo>
                  <a:lnTo>
                    <a:pt x="1314" y="914"/>
                  </a:lnTo>
                  <a:lnTo>
                    <a:pt x="1312" y="917"/>
                  </a:lnTo>
                  <a:lnTo>
                    <a:pt x="1312" y="919"/>
                  </a:lnTo>
                  <a:lnTo>
                    <a:pt x="1312" y="921"/>
                  </a:lnTo>
                  <a:lnTo>
                    <a:pt x="1309" y="921"/>
                  </a:lnTo>
                  <a:lnTo>
                    <a:pt x="1309" y="924"/>
                  </a:lnTo>
                  <a:lnTo>
                    <a:pt x="1307" y="926"/>
                  </a:lnTo>
                  <a:lnTo>
                    <a:pt x="1307" y="929"/>
                  </a:lnTo>
                  <a:lnTo>
                    <a:pt x="1307" y="931"/>
                  </a:lnTo>
                  <a:lnTo>
                    <a:pt x="1307" y="933"/>
                  </a:lnTo>
                  <a:lnTo>
                    <a:pt x="1309" y="933"/>
                  </a:lnTo>
                  <a:lnTo>
                    <a:pt x="1309" y="936"/>
                  </a:lnTo>
                  <a:lnTo>
                    <a:pt x="1309" y="938"/>
                  </a:lnTo>
                  <a:lnTo>
                    <a:pt x="1309" y="940"/>
                  </a:lnTo>
                  <a:lnTo>
                    <a:pt x="1309" y="943"/>
                  </a:lnTo>
                  <a:lnTo>
                    <a:pt x="1312" y="943"/>
                  </a:lnTo>
                  <a:lnTo>
                    <a:pt x="1312" y="945"/>
                  </a:lnTo>
                  <a:lnTo>
                    <a:pt x="1314" y="945"/>
                  </a:lnTo>
                  <a:lnTo>
                    <a:pt x="1314" y="948"/>
                  </a:lnTo>
                  <a:lnTo>
                    <a:pt x="1314" y="950"/>
                  </a:lnTo>
                  <a:lnTo>
                    <a:pt x="1314" y="952"/>
                  </a:lnTo>
                  <a:lnTo>
                    <a:pt x="1314" y="955"/>
                  </a:lnTo>
                  <a:lnTo>
                    <a:pt x="1314" y="957"/>
                  </a:lnTo>
                  <a:lnTo>
                    <a:pt x="1312" y="962"/>
                  </a:lnTo>
                  <a:lnTo>
                    <a:pt x="1312" y="964"/>
                  </a:lnTo>
                  <a:lnTo>
                    <a:pt x="1312" y="969"/>
                  </a:lnTo>
                  <a:lnTo>
                    <a:pt x="1309" y="969"/>
                  </a:lnTo>
                  <a:lnTo>
                    <a:pt x="1307" y="969"/>
                  </a:lnTo>
                  <a:lnTo>
                    <a:pt x="1307" y="971"/>
                  </a:lnTo>
                  <a:lnTo>
                    <a:pt x="1305" y="974"/>
                  </a:lnTo>
                  <a:lnTo>
                    <a:pt x="1305" y="976"/>
                  </a:lnTo>
                  <a:lnTo>
                    <a:pt x="1305" y="978"/>
                  </a:lnTo>
                  <a:lnTo>
                    <a:pt x="1305" y="981"/>
                  </a:lnTo>
                  <a:lnTo>
                    <a:pt x="1302" y="983"/>
                  </a:lnTo>
                  <a:lnTo>
                    <a:pt x="1302" y="986"/>
                  </a:lnTo>
                  <a:lnTo>
                    <a:pt x="1302" y="988"/>
                  </a:lnTo>
                  <a:lnTo>
                    <a:pt x="1300" y="990"/>
                  </a:lnTo>
                  <a:lnTo>
                    <a:pt x="1300" y="993"/>
                  </a:lnTo>
                  <a:lnTo>
                    <a:pt x="1297" y="995"/>
                  </a:lnTo>
                  <a:lnTo>
                    <a:pt x="1297" y="997"/>
                  </a:lnTo>
                  <a:lnTo>
                    <a:pt x="1300" y="997"/>
                  </a:lnTo>
                  <a:lnTo>
                    <a:pt x="1297" y="1000"/>
                  </a:lnTo>
                  <a:lnTo>
                    <a:pt x="1295" y="997"/>
                  </a:lnTo>
                  <a:lnTo>
                    <a:pt x="1293" y="1002"/>
                  </a:lnTo>
                  <a:lnTo>
                    <a:pt x="1293" y="1005"/>
                  </a:lnTo>
                  <a:lnTo>
                    <a:pt x="1288" y="1005"/>
                  </a:lnTo>
                  <a:lnTo>
                    <a:pt x="1286" y="1012"/>
                  </a:lnTo>
                  <a:lnTo>
                    <a:pt x="1283" y="1012"/>
                  </a:lnTo>
                  <a:lnTo>
                    <a:pt x="1281" y="1012"/>
                  </a:lnTo>
                  <a:lnTo>
                    <a:pt x="1278" y="1019"/>
                  </a:lnTo>
                  <a:lnTo>
                    <a:pt x="1278" y="1021"/>
                  </a:lnTo>
                  <a:lnTo>
                    <a:pt x="1276" y="1024"/>
                  </a:lnTo>
                  <a:lnTo>
                    <a:pt x="1278" y="1024"/>
                  </a:lnTo>
                  <a:lnTo>
                    <a:pt x="1281" y="1024"/>
                  </a:lnTo>
                  <a:lnTo>
                    <a:pt x="1283" y="1026"/>
                  </a:lnTo>
                  <a:lnTo>
                    <a:pt x="1283" y="1028"/>
                  </a:lnTo>
                  <a:lnTo>
                    <a:pt x="1286" y="1031"/>
                  </a:lnTo>
                  <a:lnTo>
                    <a:pt x="1288" y="1033"/>
                  </a:lnTo>
                  <a:lnTo>
                    <a:pt x="1290" y="1033"/>
                  </a:lnTo>
                  <a:lnTo>
                    <a:pt x="1290" y="1035"/>
                  </a:lnTo>
                  <a:lnTo>
                    <a:pt x="1297" y="1035"/>
                  </a:lnTo>
                  <a:lnTo>
                    <a:pt x="1300" y="1035"/>
                  </a:lnTo>
                  <a:lnTo>
                    <a:pt x="1300" y="1038"/>
                  </a:lnTo>
                  <a:lnTo>
                    <a:pt x="1302" y="1040"/>
                  </a:lnTo>
                  <a:lnTo>
                    <a:pt x="1305" y="1040"/>
                  </a:lnTo>
                  <a:lnTo>
                    <a:pt x="1302" y="1045"/>
                  </a:lnTo>
                  <a:lnTo>
                    <a:pt x="1302" y="1047"/>
                  </a:lnTo>
                  <a:lnTo>
                    <a:pt x="1302" y="1050"/>
                  </a:lnTo>
                  <a:lnTo>
                    <a:pt x="1305" y="1050"/>
                  </a:lnTo>
                  <a:lnTo>
                    <a:pt x="1305" y="1054"/>
                  </a:lnTo>
                  <a:lnTo>
                    <a:pt x="1302" y="1054"/>
                  </a:lnTo>
                  <a:lnTo>
                    <a:pt x="1300" y="1054"/>
                  </a:lnTo>
                  <a:lnTo>
                    <a:pt x="1300" y="1057"/>
                  </a:lnTo>
                  <a:lnTo>
                    <a:pt x="1302" y="1059"/>
                  </a:lnTo>
                  <a:lnTo>
                    <a:pt x="1302" y="1062"/>
                  </a:lnTo>
                  <a:lnTo>
                    <a:pt x="1305" y="1062"/>
                  </a:lnTo>
                  <a:lnTo>
                    <a:pt x="1305" y="1064"/>
                  </a:lnTo>
                  <a:lnTo>
                    <a:pt x="1307" y="1064"/>
                  </a:lnTo>
                  <a:lnTo>
                    <a:pt x="1309" y="1064"/>
                  </a:lnTo>
                  <a:lnTo>
                    <a:pt x="1312" y="1064"/>
                  </a:lnTo>
                  <a:lnTo>
                    <a:pt x="1314" y="1066"/>
                  </a:lnTo>
                  <a:lnTo>
                    <a:pt x="1312" y="1069"/>
                  </a:lnTo>
                  <a:lnTo>
                    <a:pt x="1314" y="1076"/>
                  </a:lnTo>
                  <a:lnTo>
                    <a:pt x="1312" y="1078"/>
                  </a:lnTo>
                  <a:lnTo>
                    <a:pt x="1309" y="1078"/>
                  </a:lnTo>
                  <a:lnTo>
                    <a:pt x="1307" y="1081"/>
                  </a:lnTo>
                  <a:lnTo>
                    <a:pt x="1305" y="1085"/>
                  </a:lnTo>
                  <a:lnTo>
                    <a:pt x="1302" y="1088"/>
                  </a:lnTo>
                  <a:lnTo>
                    <a:pt x="1300" y="1090"/>
                  </a:lnTo>
                  <a:lnTo>
                    <a:pt x="1297" y="1090"/>
                  </a:lnTo>
                  <a:lnTo>
                    <a:pt x="1295" y="1090"/>
                  </a:lnTo>
                  <a:lnTo>
                    <a:pt x="1293" y="1090"/>
                  </a:lnTo>
                  <a:lnTo>
                    <a:pt x="1293" y="1092"/>
                  </a:lnTo>
                  <a:lnTo>
                    <a:pt x="1290" y="1092"/>
                  </a:lnTo>
                  <a:lnTo>
                    <a:pt x="1288" y="1095"/>
                  </a:lnTo>
                  <a:lnTo>
                    <a:pt x="1288" y="1097"/>
                  </a:lnTo>
                  <a:lnTo>
                    <a:pt x="1288" y="1100"/>
                  </a:lnTo>
                  <a:lnTo>
                    <a:pt x="1286" y="1100"/>
                  </a:lnTo>
                  <a:lnTo>
                    <a:pt x="1286" y="1102"/>
                  </a:lnTo>
                  <a:lnTo>
                    <a:pt x="1288" y="1104"/>
                  </a:lnTo>
                  <a:lnTo>
                    <a:pt x="1288" y="1107"/>
                  </a:lnTo>
                  <a:lnTo>
                    <a:pt x="1290" y="1107"/>
                  </a:lnTo>
                  <a:lnTo>
                    <a:pt x="1290" y="1109"/>
                  </a:lnTo>
                  <a:lnTo>
                    <a:pt x="1295" y="1109"/>
                  </a:lnTo>
                  <a:lnTo>
                    <a:pt x="1295" y="1112"/>
                  </a:lnTo>
                  <a:lnTo>
                    <a:pt x="1295" y="1114"/>
                  </a:lnTo>
                  <a:lnTo>
                    <a:pt x="1293" y="1116"/>
                  </a:lnTo>
                  <a:lnTo>
                    <a:pt x="1283" y="1123"/>
                  </a:lnTo>
                  <a:lnTo>
                    <a:pt x="1281" y="1123"/>
                  </a:lnTo>
                  <a:lnTo>
                    <a:pt x="1281" y="1119"/>
                  </a:lnTo>
                  <a:lnTo>
                    <a:pt x="1271" y="1116"/>
                  </a:lnTo>
                  <a:lnTo>
                    <a:pt x="1269" y="1119"/>
                  </a:lnTo>
                  <a:lnTo>
                    <a:pt x="1269" y="1121"/>
                  </a:lnTo>
                  <a:lnTo>
                    <a:pt x="1267" y="1121"/>
                  </a:lnTo>
                  <a:lnTo>
                    <a:pt x="1267" y="1123"/>
                  </a:lnTo>
                  <a:lnTo>
                    <a:pt x="1264" y="1126"/>
                  </a:lnTo>
                  <a:lnTo>
                    <a:pt x="1264" y="1128"/>
                  </a:lnTo>
                  <a:lnTo>
                    <a:pt x="1267" y="1128"/>
                  </a:lnTo>
                  <a:lnTo>
                    <a:pt x="1264" y="1135"/>
                  </a:lnTo>
                  <a:lnTo>
                    <a:pt x="1264" y="1138"/>
                  </a:lnTo>
                  <a:lnTo>
                    <a:pt x="1267" y="1138"/>
                  </a:lnTo>
                  <a:lnTo>
                    <a:pt x="1267" y="1140"/>
                  </a:lnTo>
                  <a:lnTo>
                    <a:pt x="1267" y="1142"/>
                  </a:lnTo>
                  <a:lnTo>
                    <a:pt x="1264" y="1142"/>
                  </a:lnTo>
                  <a:lnTo>
                    <a:pt x="1267" y="1142"/>
                  </a:lnTo>
                  <a:lnTo>
                    <a:pt x="1267" y="1145"/>
                  </a:lnTo>
                  <a:lnTo>
                    <a:pt x="1269" y="1145"/>
                  </a:lnTo>
                  <a:lnTo>
                    <a:pt x="1269" y="1147"/>
                  </a:lnTo>
                  <a:lnTo>
                    <a:pt x="1267" y="1147"/>
                  </a:lnTo>
                  <a:lnTo>
                    <a:pt x="1269" y="1147"/>
                  </a:lnTo>
                  <a:lnTo>
                    <a:pt x="1269" y="1150"/>
                  </a:lnTo>
                  <a:lnTo>
                    <a:pt x="1267" y="1150"/>
                  </a:lnTo>
                  <a:lnTo>
                    <a:pt x="1264" y="1150"/>
                  </a:lnTo>
                  <a:lnTo>
                    <a:pt x="1267" y="1150"/>
                  </a:lnTo>
                  <a:lnTo>
                    <a:pt x="1267" y="1147"/>
                  </a:lnTo>
                  <a:lnTo>
                    <a:pt x="1264" y="1147"/>
                  </a:lnTo>
                  <a:lnTo>
                    <a:pt x="1264" y="1150"/>
                  </a:lnTo>
                  <a:lnTo>
                    <a:pt x="1262" y="1150"/>
                  </a:lnTo>
                  <a:lnTo>
                    <a:pt x="1259" y="1154"/>
                  </a:lnTo>
                  <a:lnTo>
                    <a:pt x="1257" y="1154"/>
                  </a:lnTo>
                  <a:lnTo>
                    <a:pt x="1257" y="1157"/>
                  </a:lnTo>
                  <a:lnTo>
                    <a:pt x="1255" y="1157"/>
                  </a:lnTo>
                  <a:lnTo>
                    <a:pt x="1252" y="1157"/>
                  </a:lnTo>
                  <a:lnTo>
                    <a:pt x="1250" y="1159"/>
                  </a:lnTo>
                  <a:lnTo>
                    <a:pt x="1248" y="1159"/>
                  </a:lnTo>
                  <a:lnTo>
                    <a:pt x="1248" y="1157"/>
                  </a:lnTo>
                  <a:lnTo>
                    <a:pt x="1245" y="1157"/>
                  </a:lnTo>
                  <a:lnTo>
                    <a:pt x="1243" y="1157"/>
                  </a:lnTo>
                  <a:lnTo>
                    <a:pt x="1240" y="1159"/>
                  </a:lnTo>
                  <a:lnTo>
                    <a:pt x="1240" y="1161"/>
                  </a:lnTo>
                  <a:lnTo>
                    <a:pt x="1243" y="1164"/>
                  </a:lnTo>
                  <a:lnTo>
                    <a:pt x="1243" y="1166"/>
                  </a:lnTo>
                  <a:lnTo>
                    <a:pt x="1243" y="1169"/>
                  </a:lnTo>
                  <a:lnTo>
                    <a:pt x="1245" y="1169"/>
                  </a:lnTo>
                  <a:lnTo>
                    <a:pt x="1248" y="1169"/>
                  </a:lnTo>
                  <a:lnTo>
                    <a:pt x="1248" y="1171"/>
                  </a:lnTo>
                  <a:lnTo>
                    <a:pt x="1245" y="1173"/>
                  </a:lnTo>
                  <a:lnTo>
                    <a:pt x="1248" y="1173"/>
                  </a:lnTo>
                  <a:lnTo>
                    <a:pt x="1245" y="1173"/>
                  </a:lnTo>
                  <a:lnTo>
                    <a:pt x="1245" y="1176"/>
                  </a:lnTo>
                  <a:lnTo>
                    <a:pt x="1245" y="1178"/>
                  </a:lnTo>
                  <a:lnTo>
                    <a:pt x="1245" y="1180"/>
                  </a:lnTo>
                  <a:lnTo>
                    <a:pt x="1243" y="1183"/>
                  </a:lnTo>
                  <a:lnTo>
                    <a:pt x="1243" y="1185"/>
                  </a:lnTo>
                  <a:lnTo>
                    <a:pt x="1245" y="1185"/>
                  </a:lnTo>
                  <a:lnTo>
                    <a:pt x="1245" y="1188"/>
                  </a:lnTo>
                  <a:lnTo>
                    <a:pt x="1248" y="1188"/>
                  </a:lnTo>
                  <a:lnTo>
                    <a:pt x="1248" y="1190"/>
                  </a:lnTo>
                  <a:lnTo>
                    <a:pt x="1245" y="1190"/>
                  </a:lnTo>
                  <a:lnTo>
                    <a:pt x="1248" y="1190"/>
                  </a:lnTo>
                  <a:lnTo>
                    <a:pt x="1248" y="1192"/>
                  </a:lnTo>
                  <a:lnTo>
                    <a:pt x="1250" y="1192"/>
                  </a:lnTo>
                  <a:lnTo>
                    <a:pt x="1250" y="1195"/>
                  </a:lnTo>
                  <a:lnTo>
                    <a:pt x="1248" y="1197"/>
                  </a:lnTo>
                  <a:lnTo>
                    <a:pt x="1250" y="1197"/>
                  </a:lnTo>
                  <a:lnTo>
                    <a:pt x="1250" y="1199"/>
                  </a:lnTo>
                  <a:lnTo>
                    <a:pt x="1252" y="1199"/>
                  </a:lnTo>
                  <a:lnTo>
                    <a:pt x="1255" y="1199"/>
                  </a:lnTo>
                  <a:lnTo>
                    <a:pt x="1255" y="1197"/>
                  </a:lnTo>
                  <a:lnTo>
                    <a:pt x="1257" y="1197"/>
                  </a:lnTo>
                  <a:lnTo>
                    <a:pt x="1259" y="1197"/>
                  </a:lnTo>
                  <a:lnTo>
                    <a:pt x="1262" y="1197"/>
                  </a:lnTo>
                  <a:lnTo>
                    <a:pt x="1264" y="1199"/>
                  </a:lnTo>
                  <a:lnTo>
                    <a:pt x="1267" y="1197"/>
                  </a:lnTo>
                  <a:lnTo>
                    <a:pt x="1267" y="1199"/>
                  </a:lnTo>
                  <a:lnTo>
                    <a:pt x="1269" y="1197"/>
                  </a:lnTo>
                  <a:lnTo>
                    <a:pt x="1271" y="1197"/>
                  </a:lnTo>
                  <a:lnTo>
                    <a:pt x="1274" y="1197"/>
                  </a:lnTo>
                  <a:lnTo>
                    <a:pt x="1274" y="1199"/>
                  </a:lnTo>
                  <a:lnTo>
                    <a:pt x="1276" y="1199"/>
                  </a:lnTo>
                  <a:lnTo>
                    <a:pt x="1276" y="1197"/>
                  </a:lnTo>
                  <a:lnTo>
                    <a:pt x="1278" y="1197"/>
                  </a:lnTo>
                  <a:lnTo>
                    <a:pt x="1278" y="1199"/>
                  </a:lnTo>
                  <a:lnTo>
                    <a:pt x="1276" y="1199"/>
                  </a:lnTo>
                  <a:lnTo>
                    <a:pt x="1278" y="1199"/>
                  </a:lnTo>
                  <a:lnTo>
                    <a:pt x="1281" y="1197"/>
                  </a:lnTo>
                  <a:lnTo>
                    <a:pt x="1283" y="1197"/>
                  </a:lnTo>
                  <a:lnTo>
                    <a:pt x="1283" y="1195"/>
                  </a:lnTo>
                  <a:lnTo>
                    <a:pt x="1286" y="1195"/>
                  </a:lnTo>
                  <a:lnTo>
                    <a:pt x="1286" y="1197"/>
                  </a:lnTo>
                  <a:lnTo>
                    <a:pt x="1288" y="1197"/>
                  </a:lnTo>
                  <a:lnTo>
                    <a:pt x="1290" y="1197"/>
                  </a:lnTo>
                  <a:lnTo>
                    <a:pt x="1290" y="1199"/>
                  </a:lnTo>
                  <a:lnTo>
                    <a:pt x="1293" y="1199"/>
                  </a:lnTo>
                  <a:lnTo>
                    <a:pt x="1295" y="1199"/>
                  </a:lnTo>
                  <a:lnTo>
                    <a:pt x="1295" y="1202"/>
                  </a:lnTo>
                  <a:lnTo>
                    <a:pt x="1297" y="1202"/>
                  </a:lnTo>
                  <a:lnTo>
                    <a:pt x="1297" y="1199"/>
                  </a:lnTo>
                  <a:lnTo>
                    <a:pt x="1300" y="1197"/>
                  </a:lnTo>
                  <a:lnTo>
                    <a:pt x="1300" y="1195"/>
                  </a:lnTo>
                  <a:lnTo>
                    <a:pt x="1300" y="1197"/>
                  </a:lnTo>
                  <a:lnTo>
                    <a:pt x="1302" y="1197"/>
                  </a:lnTo>
                  <a:lnTo>
                    <a:pt x="1305" y="1197"/>
                  </a:lnTo>
                  <a:lnTo>
                    <a:pt x="1307" y="1197"/>
                  </a:lnTo>
                  <a:lnTo>
                    <a:pt x="1307" y="1195"/>
                  </a:lnTo>
                  <a:lnTo>
                    <a:pt x="1309" y="1197"/>
                  </a:lnTo>
                  <a:lnTo>
                    <a:pt x="1309" y="1195"/>
                  </a:lnTo>
                  <a:lnTo>
                    <a:pt x="1309" y="1197"/>
                  </a:lnTo>
                  <a:lnTo>
                    <a:pt x="1309" y="1199"/>
                  </a:lnTo>
                  <a:lnTo>
                    <a:pt x="1309" y="1202"/>
                  </a:lnTo>
                  <a:lnTo>
                    <a:pt x="1307" y="1202"/>
                  </a:lnTo>
                  <a:lnTo>
                    <a:pt x="1305" y="1202"/>
                  </a:lnTo>
                  <a:lnTo>
                    <a:pt x="1305" y="1204"/>
                  </a:lnTo>
                  <a:lnTo>
                    <a:pt x="1305" y="1207"/>
                  </a:lnTo>
                  <a:lnTo>
                    <a:pt x="1307" y="1207"/>
                  </a:lnTo>
                  <a:lnTo>
                    <a:pt x="1307" y="1209"/>
                  </a:lnTo>
                  <a:lnTo>
                    <a:pt x="1305" y="1209"/>
                  </a:lnTo>
                  <a:lnTo>
                    <a:pt x="1305" y="1211"/>
                  </a:lnTo>
                  <a:lnTo>
                    <a:pt x="1307" y="1211"/>
                  </a:lnTo>
                  <a:lnTo>
                    <a:pt x="1305" y="1214"/>
                  </a:lnTo>
                  <a:lnTo>
                    <a:pt x="1302" y="1214"/>
                  </a:lnTo>
                  <a:lnTo>
                    <a:pt x="1305" y="1214"/>
                  </a:lnTo>
                  <a:lnTo>
                    <a:pt x="1307" y="1214"/>
                  </a:lnTo>
                  <a:lnTo>
                    <a:pt x="1309" y="1216"/>
                  </a:lnTo>
                  <a:lnTo>
                    <a:pt x="1309" y="1218"/>
                  </a:lnTo>
                  <a:lnTo>
                    <a:pt x="1307" y="1218"/>
                  </a:lnTo>
                  <a:lnTo>
                    <a:pt x="1309" y="1218"/>
                  </a:lnTo>
                  <a:lnTo>
                    <a:pt x="1309" y="1221"/>
                  </a:lnTo>
                  <a:lnTo>
                    <a:pt x="1309" y="1223"/>
                  </a:lnTo>
                  <a:lnTo>
                    <a:pt x="1307" y="1223"/>
                  </a:lnTo>
                  <a:lnTo>
                    <a:pt x="1307" y="1226"/>
                  </a:lnTo>
                  <a:lnTo>
                    <a:pt x="1309" y="1223"/>
                  </a:lnTo>
                  <a:lnTo>
                    <a:pt x="1312" y="1223"/>
                  </a:lnTo>
                  <a:lnTo>
                    <a:pt x="1314" y="1223"/>
                  </a:lnTo>
                  <a:lnTo>
                    <a:pt x="1314" y="1226"/>
                  </a:lnTo>
                  <a:lnTo>
                    <a:pt x="1316" y="1226"/>
                  </a:lnTo>
                  <a:lnTo>
                    <a:pt x="1319" y="1226"/>
                  </a:lnTo>
                  <a:lnTo>
                    <a:pt x="1319" y="1223"/>
                  </a:lnTo>
                  <a:lnTo>
                    <a:pt x="1319" y="1226"/>
                  </a:lnTo>
                  <a:lnTo>
                    <a:pt x="1321" y="1226"/>
                  </a:lnTo>
                  <a:lnTo>
                    <a:pt x="1319" y="1226"/>
                  </a:lnTo>
                  <a:lnTo>
                    <a:pt x="1319" y="1228"/>
                  </a:lnTo>
                  <a:lnTo>
                    <a:pt x="1316" y="1228"/>
                  </a:lnTo>
                  <a:lnTo>
                    <a:pt x="1316" y="1230"/>
                  </a:lnTo>
                  <a:lnTo>
                    <a:pt x="1314" y="1230"/>
                  </a:lnTo>
                  <a:lnTo>
                    <a:pt x="1312" y="1230"/>
                  </a:lnTo>
                  <a:lnTo>
                    <a:pt x="1309" y="1230"/>
                  </a:lnTo>
                  <a:lnTo>
                    <a:pt x="1307" y="1230"/>
                  </a:lnTo>
                  <a:lnTo>
                    <a:pt x="1305" y="1230"/>
                  </a:lnTo>
                  <a:lnTo>
                    <a:pt x="1305" y="1233"/>
                  </a:lnTo>
                  <a:lnTo>
                    <a:pt x="1305" y="1235"/>
                  </a:lnTo>
                  <a:lnTo>
                    <a:pt x="1305" y="1237"/>
                  </a:lnTo>
                  <a:lnTo>
                    <a:pt x="1302" y="1237"/>
                  </a:lnTo>
                  <a:lnTo>
                    <a:pt x="1302" y="1240"/>
                  </a:lnTo>
                  <a:lnTo>
                    <a:pt x="1302" y="1237"/>
                  </a:lnTo>
                  <a:lnTo>
                    <a:pt x="1302" y="1240"/>
                  </a:lnTo>
                  <a:lnTo>
                    <a:pt x="1300" y="1240"/>
                  </a:lnTo>
                  <a:lnTo>
                    <a:pt x="1300" y="1242"/>
                  </a:lnTo>
                  <a:lnTo>
                    <a:pt x="1297" y="1242"/>
                  </a:lnTo>
                  <a:lnTo>
                    <a:pt x="1297" y="1240"/>
                  </a:lnTo>
                  <a:lnTo>
                    <a:pt x="1297" y="1237"/>
                  </a:lnTo>
                  <a:lnTo>
                    <a:pt x="1295" y="1237"/>
                  </a:lnTo>
                  <a:lnTo>
                    <a:pt x="1293" y="1237"/>
                  </a:lnTo>
                  <a:lnTo>
                    <a:pt x="1293" y="1240"/>
                  </a:lnTo>
                  <a:lnTo>
                    <a:pt x="1295" y="1240"/>
                  </a:lnTo>
                  <a:lnTo>
                    <a:pt x="1297" y="1240"/>
                  </a:lnTo>
                  <a:lnTo>
                    <a:pt x="1297" y="1242"/>
                  </a:lnTo>
                  <a:lnTo>
                    <a:pt x="1295" y="1242"/>
                  </a:lnTo>
                  <a:lnTo>
                    <a:pt x="1295" y="1240"/>
                  </a:lnTo>
                  <a:lnTo>
                    <a:pt x="1293" y="1240"/>
                  </a:lnTo>
                  <a:lnTo>
                    <a:pt x="1290" y="1240"/>
                  </a:lnTo>
                  <a:lnTo>
                    <a:pt x="1288" y="1242"/>
                  </a:lnTo>
                  <a:lnTo>
                    <a:pt x="1290" y="1245"/>
                  </a:lnTo>
                  <a:lnTo>
                    <a:pt x="1290" y="1247"/>
                  </a:lnTo>
                  <a:lnTo>
                    <a:pt x="1288" y="1247"/>
                  </a:lnTo>
                  <a:lnTo>
                    <a:pt x="1288" y="1245"/>
                  </a:lnTo>
                  <a:lnTo>
                    <a:pt x="1286" y="1245"/>
                  </a:lnTo>
                  <a:lnTo>
                    <a:pt x="1286" y="1247"/>
                  </a:lnTo>
                  <a:lnTo>
                    <a:pt x="1288" y="1247"/>
                  </a:lnTo>
                  <a:lnTo>
                    <a:pt x="1288" y="1249"/>
                  </a:lnTo>
                  <a:lnTo>
                    <a:pt x="1290" y="1249"/>
                  </a:lnTo>
                  <a:lnTo>
                    <a:pt x="1293" y="1252"/>
                  </a:lnTo>
                  <a:lnTo>
                    <a:pt x="1290" y="1252"/>
                  </a:lnTo>
                  <a:lnTo>
                    <a:pt x="1293" y="1252"/>
                  </a:lnTo>
                  <a:lnTo>
                    <a:pt x="1293" y="1254"/>
                  </a:lnTo>
                  <a:lnTo>
                    <a:pt x="1290" y="1254"/>
                  </a:lnTo>
                  <a:lnTo>
                    <a:pt x="1290" y="1256"/>
                  </a:lnTo>
                  <a:lnTo>
                    <a:pt x="1288" y="1256"/>
                  </a:lnTo>
                  <a:lnTo>
                    <a:pt x="1286" y="1256"/>
                  </a:lnTo>
                  <a:lnTo>
                    <a:pt x="1283" y="1256"/>
                  </a:lnTo>
                  <a:lnTo>
                    <a:pt x="1283" y="1254"/>
                  </a:lnTo>
                  <a:lnTo>
                    <a:pt x="1281" y="1254"/>
                  </a:lnTo>
                  <a:lnTo>
                    <a:pt x="1281" y="1252"/>
                  </a:lnTo>
                  <a:lnTo>
                    <a:pt x="1278" y="1249"/>
                  </a:lnTo>
                  <a:lnTo>
                    <a:pt x="1278" y="1247"/>
                  </a:lnTo>
                  <a:lnTo>
                    <a:pt x="1276" y="1247"/>
                  </a:lnTo>
                  <a:lnTo>
                    <a:pt x="1274" y="1247"/>
                  </a:lnTo>
                  <a:lnTo>
                    <a:pt x="1271" y="1247"/>
                  </a:lnTo>
                  <a:lnTo>
                    <a:pt x="1271" y="1249"/>
                  </a:lnTo>
                  <a:lnTo>
                    <a:pt x="1269" y="1249"/>
                  </a:lnTo>
                  <a:lnTo>
                    <a:pt x="1271" y="1249"/>
                  </a:lnTo>
                  <a:lnTo>
                    <a:pt x="1271" y="1252"/>
                  </a:lnTo>
                  <a:lnTo>
                    <a:pt x="1271" y="1249"/>
                  </a:lnTo>
                  <a:lnTo>
                    <a:pt x="1271" y="1252"/>
                  </a:lnTo>
                  <a:lnTo>
                    <a:pt x="1271" y="1254"/>
                  </a:lnTo>
                  <a:lnTo>
                    <a:pt x="1269" y="1254"/>
                  </a:lnTo>
                  <a:lnTo>
                    <a:pt x="1269" y="1256"/>
                  </a:lnTo>
                  <a:lnTo>
                    <a:pt x="1271" y="1256"/>
                  </a:lnTo>
                  <a:lnTo>
                    <a:pt x="1269" y="1256"/>
                  </a:lnTo>
                  <a:lnTo>
                    <a:pt x="1269" y="1259"/>
                  </a:lnTo>
                  <a:lnTo>
                    <a:pt x="1267" y="1259"/>
                  </a:lnTo>
                  <a:lnTo>
                    <a:pt x="1264" y="1259"/>
                  </a:lnTo>
                  <a:lnTo>
                    <a:pt x="1264" y="1256"/>
                  </a:lnTo>
                  <a:lnTo>
                    <a:pt x="1267" y="1256"/>
                  </a:lnTo>
                  <a:lnTo>
                    <a:pt x="1267" y="1254"/>
                  </a:lnTo>
                  <a:lnTo>
                    <a:pt x="1267" y="1252"/>
                  </a:lnTo>
                  <a:lnTo>
                    <a:pt x="1267" y="1249"/>
                  </a:lnTo>
                  <a:lnTo>
                    <a:pt x="1264" y="1249"/>
                  </a:lnTo>
                  <a:lnTo>
                    <a:pt x="1267" y="1249"/>
                  </a:lnTo>
                  <a:lnTo>
                    <a:pt x="1267" y="1247"/>
                  </a:lnTo>
                  <a:lnTo>
                    <a:pt x="1264" y="1247"/>
                  </a:lnTo>
                  <a:lnTo>
                    <a:pt x="1267" y="1247"/>
                  </a:lnTo>
                  <a:lnTo>
                    <a:pt x="1269" y="1247"/>
                  </a:lnTo>
                  <a:lnTo>
                    <a:pt x="1269" y="1245"/>
                  </a:lnTo>
                  <a:lnTo>
                    <a:pt x="1271" y="1245"/>
                  </a:lnTo>
                  <a:lnTo>
                    <a:pt x="1269" y="1245"/>
                  </a:lnTo>
                  <a:lnTo>
                    <a:pt x="1267" y="1242"/>
                  </a:lnTo>
                  <a:lnTo>
                    <a:pt x="1267" y="1240"/>
                  </a:lnTo>
                  <a:lnTo>
                    <a:pt x="1264" y="1240"/>
                  </a:lnTo>
                  <a:lnTo>
                    <a:pt x="1262" y="1240"/>
                  </a:lnTo>
                  <a:lnTo>
                    <a:pt x="1257" y="1240"/>
                  </a:lnTo>
                  <a:lnTo>
                    <a:pt x="1255" y="1240"/>
                  </a:lnTo>
                  <a:lnTo>
                    <a:pt x="1252" y="1240"/>
                  </a:lnTo>
                  <a:lnTo>
                    <a:pt x="1250" y="1237"/>
                  </a:lnTo>
                  <a:lnTo>
                    <a:pt x="1248" y="1237"/>
                  </a:lnTo>
                  <a:lnTo>
                    <a:pt x="1248" y="1240"/>
                  </a:lnTo>
                  <a:lnTo>
                    <a:pt x="1245" y="1240"/>
                  </a:lnTo>
                  <a:lnTo>
                    <a:pt x="1243" y="1240"/>
                  </a:lnTo>
                  <a:lnTo>
                    <a:pt x="1243" y="1242"/>
                  </a:lnTo>
                  <a:lnTo>
                    <a:pt x="1240" y="1242"/>
                  </a:lnTo>
                  <a:lnTo>
                    <a:pt x="1240" y="1245"/>
                  </a:lnTo>
                  <a:lnTo>
                    <a:pt x="1240" y="1242"/>
                  </a:lnTo>
                  <a:lnTo>
                    <a:pt x="1240" y="1245"/>
                  </a:lnTo>
                  <a:lnTo>
                    <a:pt x="1240" y="1247"/>
                  </a:lnTo>
                  <a:lnTo>
                    <a:pt x="1238" y="1249"/>
                  </a:lnTo>
                  <a:lnTo>
                    <a:pt x="1238" y="1252"/>
                  </a:lnTo>
                  <a:lnTo>
                    <a:pt x="1238" y="1254"/>
                  </a:lnTo>
                  <a:lnTo>
                    <a:pt x="1240" y="1254"/>
                  </a:lnTo>
                  <a:lnTo>
                    <a:pt x="1238" y="1254"/>
                  </a:lnTo>
                  <a:lnTo>
                    <a:pt x="1238" y="1256"/>
                  </a:lnTo>
                  <a:lnTo>
                    <a:pt x="1240" y="1256"/>
                  </a:lnTo>
                  <a:lnTo>
                    <a:pt x="1240" y="1259"/>
                  </a:lnTo>
                  <a:lnTo>
                    <a:pt x="1238" y="1261"/>
                  </a:lnTo>
                  <a:lnTo>
                    <a:pt x="1238" y="1264"/>
                  </a:lnTo>
                  <a:lnTo>
                    <a:pt x="1240" y="1266"/>
                  </a:lnTo>
                  <a:lnTo>
                    <a:pt x="1243" y="1268"/>
                  </a:lnTo>
                  <a:lnTo>
                    <a:pt x="1245" y="1268"/>
                  </a:lnTo>
                  <a:lnTo>
                    <a:pt x="1248" y="1268"/>
                  </a:lnTo>
                  <a:lnTo>
                    <a:pt x="1248" y="1271"/>
                  </a:lnTo>
                  <a:lnTo>
                    <a:pt x="1250" y="1271"/>
                  </a:lnTo>
                  <a:lnTo>
                    <a:pt x="1248" y="1271"/>
                  </a:lnTo>
                  <a:lnTo>
                    <a:pt x="1250" y="1273"/>
                  </a:lnTo>
                  <a:lnTo>
                    <a:pt x="1252" y="1271"/>
                  </a:lnTo>
                  <a:lnTo>
                    <a:pt x="1252" y="1273"/>
                  </a:lnTo>
                  <a:lnTo>
                    <a:pt x="1255" y="1275"/>
                  </a:lnTo>
                  <a:lnTo>
                    <a:pt x="1257" y="1275"/>
                  </a:lnTo>
                  <a:lnTo>
                    <a:pt x="1257" y="1278"/>
                  </a:lnTo>
                  <a:lnTo>
                    <a:pt x="1257" y="1280"/>
                  </a:lnTo>
                  <a:lnTo>
                    <a:pt x="1259" y="1280"/>
                  </a:lnTo>
                  <a:lnTo>
                    <a:pt x="1262" y="1283"/>
                  </a:lnTo>
                  <a:lnTo>
                    <a:pt x="1262" y="1285"/>
                  </a:lnTo>
                  <a:lnTo>
                    <a:pt x="1264" y="1285"/>
                  </a:lnTo>
                  <a:lnTo>
                    <a:pt x="1267" y="1285"/>
                  </a:lnTo>
                  <a:lnTo>
                    <a:pt x="1269" y="1283"/>
                  </a:lnTo>
                  <a:lnTo>
                    <a:pt x="1271" y="1280"/>
                  </a:lnTo>
                  <a:lnTo>
                    <a:pt x="1274" y="1280"/>
                  </a:lnTo>
                  <a:lnTo>
                    <a:pt x="1276" y="1278"/>
                  </a:lnTo>
                  <a:lnTo>
                    <a:pt x="1278" y="1278"/>
                  </a:lnTo>
                  <a:lnTo>
                    <a:pt x="1281" y="1278"/>
                  </a:lnTo>
                  <a:lnTo>
                    <a:pt x="1283" y="1280"/>
                  </a:lnTo>
                  <a:lnTo>
                    <a:pt x="1283" y="1283"/>
                  </a:lnTo>
                  <a:lnTo>
                    <a:pt x="1286" y="1283"/>
                  </a:lnTo>
                  <a:lnTo>
                    <a:pt x="1290" y="1280"/>
                  </a:lnTo>
                  <a:lnTo>
                    <a:pt x="1290" y="1278"/>
                  </a:lnTo>
                  <a:lnTo>
                    <a:pt x="1293" y="1278"/>
                  </a:lnTo>
                  <a:lnTo>
                    <a:pt x="1295" y="1278"/>
                  </a:lnTo>
                  <a:lnTo>
                    <a:pt x="1295" y="1275"/>
                  </a:lnTo>
                  <a:lnTo>
                    <a:pt x="1297" y="1275"/>
                  </a:lnTo>
                  <a:lnTo>
                    <a:pt x="1300" y="1273"/>
                  </a:lnTo>
                  <a:lnTo>
                    <a:pt x="1302" y="1273"/>
                  </a:lnTo>
                  <a:lnTo>
                    <a:pt x="1305" y="1273"/>
                  </a:lnTo>
                  <a:lnTo>
                    <a:pt x="1307" y="1273"/>
                  </a:lnTo>
                  <a:lnTo>
                    <a:pt x="1307" y="1275"/>
                  </a:lnTo>
                  <a:lnTo>
                    <a:pt x="1309" y="1273"/>
                  </a:lnTo>
                  <a:lnTo>
                    <a:pt x="1309" y="1271"/>
                  </a:lnTo>
                  <a:lnTo>
                    <a:pt x="1312" y="1268"/>
                  </a:lnTo>
                  <a:lnTo>
                    <a:pt x="1314" y="1268"/>
                  </a:lnTo>
                  <a:lnTo>
                    <a:pt x="1314" y="1266"/>
                  </a:lnTo>
                  <a:lnTo>
                    <a:pt x="1316" y="1266"/>
                  </a:lnTo>
                  <a:lnTo>
                    <a:pt x="1316" y="1264"/>
                  </a:lnTo>
                  <a:lnTo>
                    <a:pt x="1316" y="1261"/>
                  </a:lnTo>
                  <a:lnTo>
                    <a:pt x="1319" y="1261"/>
                  </a:lnTo>
                  <a:lnTo>
                    <a:pt x="1319" y="1259"/>
                  </a:lnTo>
                  <a:lnTo>
                    <a:pt x="1321" y="1259"/>
                  </a:lnTo>
                  <a:lnTo>
                    <a:pt x="1321" y="1261"/>
                  </a:lnTo>
                  <a:lnTo>
                    <a:pt x="1324" y="1261"/>
                  </a:lnTo>
                  <a:lnTo>
                    <a:pt x="1326" y="1261"/>
                  </a:lnTo>
                  <a:lnTo>
                    <a:pt x="1326" y="1264"/>
                  </a:lnTo>
                  <a:lnTo>
                    <a:pt x="1328" y="1264"/>
                  </a:lnTo>
                  <a:lnTo>
                    <a:pt x="1328" y="1261"/>
                  </a:lnTo>
                  <a:lnTo>
                    <a:pt x="1331" y="1261"/>
                  </a:lnTo>
                  <a:lnTo>
                    <a:pt x="1331" y="1264"/>
                  </a:lnTo>
                  <a:lnTo>
                    <a:pt x="1328" y="1266"/>
                  </a:lnTo>
                  <a:lnTo>
                    <a:pt x="1331" y="1266"/>
                  </a:lnTo>
                  <a:lnTo>
                    <a:pt x="1331" y="1268"/>
                  </a:lnTo>
                  <a:lnTo>
                    <a:pt x="1328" y="1268"/>
                  </a:lnTo>
                  <a:lnTo>
                    <a:pt x="1328" y="1271"/>
                  </a:lnTo>
                  <a:lnTo>
                    <a:pt x="1328" y="1273"/>
                  </a:lnTo>
                  <a:lnTo>
                    <a:pt x="1326" y="1275"/>
                  </a:lnTo>
                  <a:lnTo>
                    <a:pt x="1324" y="1278"/>
                  </a:lnTo>
                  <a:lnTo>
                    <a:pt x="1321" y="1278"/>
                  </a:lnTo>
                  <a:lnTo>
                    <a:pt x="1321" y="1280"/>
                  </a:lnTo>
                  <a:lnTo>
                    <a:pt x="1321" y="1283"/>
                  </a:lnTo>
                  <a:lnTo>
                    <a:pt x="1324" y="1283"/>
                  </a:lnTo>
                  <a:lnTo>
                    <a:pt x="1324" y="1285"/>
                  </a:lnTo>
                  <a:lnTo>
                    <a:pt x="1324" y="1287"/>
                  </a:lnTo>
                  <a:lnTo>
                    <a:pt x="1321" y="1287"/>
                  </a:lnTo>
                  <a:lnTo>
                    <a:pt x="1324" y="1290"/>
                  </a:lnTo>
                  <a:lnTo>
                    <a:pt x="1324" y="1292"/>
                  </a:lnTo>
                  <a:lnTo>
                    <a:pt x="1326" y="1292"/>
                  </a:lnTo>
                  <a:lnTo>
                    <a:pt x="1324" y="1294"/>
                  </a:lnTo>
                  <a:lnTo>
                    <a:pt x="1321" y="1297"/>
                  </a:lnTo>
                  <a:lnTo>
                    <a:pt x="1321" y="1299"/>
                  </a:lnTo>
                  <a:lnTo>
                    <a:pt x="1321" y="1297"/>
                  </a:lnTo>
                  <a:lnTo>
                    <a:pt x="1319" y="1297"/>
                  </a:lnTo>
                  <a:lnTo>
                    <a:pt x="1316" y="1297"/>
                  </a:lnTo>
                  <a:lnTo>
                    <a:pt x="1314" y="1297"/>
                  </a:lnTo>
                  <a:lnTo>
                    <a:pt x="1312" y="1297"/>
                  </a:lnTo>
                  <a:lnTo>
                    <a:pt x="1309" y="1297"/>
                  </a:lnTo>
                  <a:lnTo>
                    <a:pt x="1307" y="1299"/>
                  </a:lnTo>
                  <a:lnTo>
                    <a:pt x="1307" y="1302"/>
                  </a:lnTo>
                  <a:lnTo>
                    <a:pt x="1305" y="1304"/>
                  </a:lnTo>
                  <a:lnTo>
                    <a:pt x="1305" y="1306"/>
                  </a:lnTo>
                  <a:lnTo>
                    <a:pt x="1302" y="1306"/>
                  </a:lnTo>
                  <a:lnTo>
                    <a:pt x="1302" y="1309"/>
                  </a:lnTo>
                  <a:lnTo>
                    <a:pt x="1302" y="1306"/>
                  </a:lnTo>
                  <a:lnTo>
                    <a:pt x="1300" y="1306"/>
                  </a:lnTo>
                  <a:lnTo>
                    <a:pt x="1300" y="1309"/>
                  </a:lnTo>
                  <a:lnTo>
                    <a:pt x="1297" y="1306"/>
                  </a:lnTo>
                  <a:lnTo>
                    <a:pt x="1297" y="1309"/>
                  </a:lnTo>
                  <a:lnTo>
                    <a:pt x="1295" y="1309"/>
                  </a:lnTo>
                  <a:lnTo>
                    <a:pt x="1297" y="1311"/>
                  </a:lnTo>
                  <a:lnTo>
                    <a:pt x="1295" y="1311"/>
                  </a:lnTo>
                  <a:lnTo>
                    <a:pt x="1295" y="1313"/>
                  </a:lnTo>
                  <a:lnTo>
                    <a:pt x="1297" y="1316"/>
                  </a:lnTo>
                  <a:lnTo>
                    <a:pt x="1295" y="1316"/>
                  </a:lnTo>
                  <a:lnTo>
                    <a:pt x="1295" y="1318"/>
                  </a:lnTo>
                  <a:lnTo>
                    <a:pt x="1295" y="1321"/>
                  </a:lnTo>
                  <a:lnTo>
                    <a:pt x="1295" y="1323"/>
                  </a:lnTo>
                  <a:lnTo>
                    <a:pt x="1293" y="1325"/>
                  </a:lnTo>
                  <a:lnTo>
                    <a:pt x="1293" y="1328"/>
                  </a:lnTo>
                  <a:lnTo>
                    <a:pt x="1295" y="1328"/>
                  </a:lnTo>
                  <a:lnTo>
                    <a:pt x="1295" y="1330"/>
                  </a:lnTo>
                  <a:lnTo>
                    <a:pt x="1295" y="1337"/>
                  </a:lnTo>
                  <a:lnTo>
                    <a:pt x="1295" y="1340"/>
                  </a:lnTo>
                  <a:lnTo>
                    <a:pt x="1295" y="1342"/>
                  </a:lnTo>
                  <a:lnTo>
                    <a:pt x="1295" y="1344"/>
                  </a:lnTo>
                  <a:lnTo>
                    <a:pt x="1295" y="1351"/>
                  </a:lnTo>
                  <a:lnTo>
                    <a:pt x="1297" y="1354"/>
                  </a:lnTo>
                  <a:lnTo>
                    <a:pt x="1295" y="1354"/>
                  </a:lnTo>
                  <a:lnTo>
                    <a:pt x="1293" y="1354"/>
                  </a:lnTo>
                  <a:lnTo>
                    <a:pt x="1295" y="1359"/>
                  </a:lnTo>
                  <a:lnTo>
                    <a:pt x="1293" y="1359"/>
                  </a:lnTo>
                  <a:lnTo>
                    <a:pt x="1293" y="1361"/>
                  </a:lnTo>
                  <a:lnTo>
                    <a:pt x="1290" y="1361"/>
                  </a:lnTo>
                  <a:lnTo>
                    <a:pt x="1290" y="1363"/>
                  </a:lnTo>
                  <a:lnTo>
                    <a:pt x="1290" y="1366"/>
                  </a:lnTo>
                  <a:lnTo>
                    <a:pt x="1293" y="1368"/>
                  </a:lnTo>
                  <a:lnTo>
                    <a:pt x="1293" y="1370"/>
                  </a:lnTo>
                  <a:lnTo>
                    <a:pt x="1290" y="1370"/>
                  </a:lnTo>
                  <a:lnTo>
                    <a:pt x="1293" y="1370"/>
                  </a:lnTo>
                  <a:lnTo>
                    <a:pt x="1290" y="1370"/>
                  </a:lnTo>
                  <a:lnTo>
                    <a:pt x="1293" y="1370"/>
                  </a:lnTo>
                  <a:lnTo>
                    <a:pt x="1290" y="1370"/>
                  </a:lnTo>
                  <a:lnTo>
                    <a:pt x="1290" y="1373"/>
                  </a:lnTo>
                  <a:lnTo>
                    <a:pt x="1290" y="1375"/>
                  </a:lnTo>
                  <a:lnTo>
                    <a:pt x="1293" y="1375"/>
                  </a:lnTo>
                  <a:lnTo>
                    <a:pt x="1293" y="1378"/>
                  </a:lnTo>
                  <a:lnTo>
                    <a:pt x="1293" y="1380"/>
                  </a:lnTo>
                  <a:lnTo>
                    <a:pt x="1290" y="1380"/>
                  </a:lnTo>
                  <a:lnTo>
                    <a:pt x="1290" y="1382"/>
                  </a:lnTo>
                  <a:lnTo>
                    <a:pt x="1293" y="1382"/>
                  </a:lnTo>
                  <a:lnTo>
                    <a:pt x="1293" y="1385"/>
                  </a:lnTo>
                  <a:lnTo>
                    <a:pt x="1295" y="1385"/>
                  </a:lnTo>
                  <a:lnTo>
                    <a:pt x="1295" y="1382"/>
                  </a:lnTo>
                  <a:lnTo>
                    <a:pt x="1297" y="1382"/>
                  </a:lnTo>
                  <a:lnTo>
                    <a:pt x="1297" y="1385"/>
                  </a:lnTo>
                  <a:lnTo>
                    <a:pt x="1300" y="1385"/>
                  </a:lnTo>
                  <a:lnTo>
                    <a:pt x="1297" y="1385"/>
                  </a:lnTo>
                  <a:lnTo>
                    <a:pt x="1300" y="1385"/>
                  </a:lnTo>
                  <a:lnTo>
                    <a:pt x="1300" y="1387"/>
                  </a:lnTo>
                  <a:lnTo>
                    <a:pt x="1302" y="1389"/>
                  </a:lnTo>
                  <a:lnTo>
                    <a:pt x="1305" y="1392"/>
                  </a:lnTo>
                  <a:lnTo>
                    <a:pt x="1305" y="1389"/>
                  </a:lnTo>
                  <a:lnTo>
                    <a:pt x="1307" y="1389"/>
                  </a:lnTo>
                  <a:lnTo>
                    <a:pt x="1307" y="1387"/>
                  </a:lnTo>
                  <a:lnTo>
                    <a:pt x="1305" y="1385"/>
                  </a:lnTo>
                  <a:lnTo>
                    <a:pt x="1307" y="1385"/>
                  </a:lnTo>
                  <a:lnTo>
                    <a:pt x="1307" y="1382"/>
                  </a:lnTo>
                  <a:lnTo>
                    <a:pt x="1307" y="1380"/>
                  </a:lnTo>
                  <a:lnTo>
                    <a:pt x="1307" y="1382"/>
                  </a:lnTo>
                  <a:lnTo>
                    <a:pt x="1307" y="1380"/>
                  </a:lnTo>
                  <a:lnTo>
                    <a:pt x="1307" y="1382"/>
                  </a:lnTo>
                  <a:lnTo>
                    <a:pt x="1309" y="1380"/>
                  </a:lnTo>
                  <a:lnTo>
                    <a:pt x="1309" y="1382"/>
                  </a:lnTo>
                  <a:lnTo>
                    <a:pt x="1312" y="1382"/>
                  </a:lnTo>
                  <a:lnTo>
                    <a:pt x="1312" y="1380"/>
                  </a:lnTo>
                  <a:lnTo>
                    <a:pt x="1314" y="1382"/>
                  </a:lnTo>
                  <a:lnTo>
                    <a:pt x="1314" y="1385"/>
                  </a:lnTo>
                  <a:lnTo>
                    <a:pt x="1316" y="1385"/>
                  </a:lnTo>
                  <a:lnTo>
                    <a:pt x="1316" y="1382"/>
                  </a:lnTo>
                  <a:lnTo>
                    <a:pt x="1319" y="1382"/>
                  </a:lnTo>
                  <a:lnTo>
                    <a:pt x="1321" y="1382"/>
                  </a:lnTo>
                  <a:lnTo>
                    <a:pt x="1321" y="1385"/>
                  </a:lnTo>
                  <a:lnTo>
                    <a:pt x="1324" y="1385"/>
                  </a:lnTo>
                  <a:lnTo>
                    <a:pt x="1324" y="1382"/>
                  </a:lnTo>
                  <a:lnTo>
                    <a:pt x="1326" y="1380"/>
                  </a:lnTo>
                  <a:lnTo>
                    <a:pt x="1326" y="1382"/>
                  </a:lnTo>
                  <a:lnTo>
                    <a:pt x="1328" y="1382"/>
                  </a:lnTo>
                  <a:lnTo>
                    <a:pt x="1328" y="1385"/>
                  </a:lnTo>
                  <a:lnTo>
                    <a:pt x="1331" y="1385"/>
                  </a:lnTo>
                  <a:lnTo>
                    <a:pt x="1333" y="1385"/>
                  </a:lnTo>
                  <a:lnTo>
                    <a:pt x="1335" y="1385"/>
                  </a:lnTo>
                  <a:lnTo>
                    <a:pt x="1338" y="1385"/>
                  </a:lnTo>
                  <a:lnTo>
                    <a:pt x="1338" y="1387"/>
                  </a:lnTo>
                  <a:lnTo>
                    <a:pt x="1338" y="1389"/>
                  </a:lnTo>
                  <a:lnTo>
                    <a:pt x="1338" y="1392"/>
                  </a:lnTo>
                  <a:lnTo>
                    <a:pt x="1335" y="1392"/>
                  </a:lnTo>
                  <a:lnTo>
                    <a:pt x="1335" y="1394"/>
                  </a:lnTo>
                  <a:lnTo>
                    <a:pt x="1333" y="1394"/>
                  </a:lnTo>
                  <a:lnTo>
                    <a:pt x="1333" y="1397"/>
                  </a:lnTo>
                  <a:lnTo>
                    <a:pt x="1331" y="1397"/>
                  </a:lnTo>
                  <a:lnTo>
                    <a:pt x="1331" y="1399"/>
                  </a:lnTo>
                  <a:lnTo>
                    <a:pt x="1328" y="1399"/>
                  </a:lnTo>
                  <a:lnTo>
                    <a:pt x="1328" y="1401"/>
                  </a:lnTo>
                  <a:lnTo>
                    <a:pt x="1328" y="1404"/>
                  </a:lnTo>
                  <a:lnTo>
                    <a:pt x="1331" y="1404"/>
                  </a:lnTo>
                  <a:lnTo>
                    <a:pt x="1333" y="1406"/>
                  </a:lnTo>
                  <a:lnTo>
                    <a:pt x="1331" y="1406"/>
                  </a:lnTo>
                  <a:lnTo>
                    <a:pt x="1333" y="1408"/>
                  </a:lnTo>
                  <a:lnTo>
                    <a:pt x="1335" y="1411"/>
                  </a:lnTo>
                  <a:lnTo>
                    <a:pt x="1333" y="1411"/>
                  </a:lnTo>
                  <a:lnTo>
                    <a:pt x="1335" y="1411"/>
                  </a:lnTo>
                  <a:lnTo>
                    <a:pt x="1338" y="1411"/>
                  </a:lnTo>
                  <a:lnTo>
                    <a:pt x="1335" y="1411"/>
                  </a:lnTo>
                  <a:lnTo>
                    <a:pt x="1335" y="1408"/>
                  </a:lnTo>
                  <a:lnTo>
                    <a:pt x="1338" y="1411"/>
                  </a:lnTo>
                  <a:lnTo>
                    <a:pt x="1343" y="1413"/>
                  </a:lnTo>
                  <a:lnTo>
                    <a:pt x="1345" y="1416"/>
                  </a:lnTo>
                  <a:lnTo>
                    <a:pt x="1347" y="1416"/>
                  </a:lnTo>
                  <a:lnTo>
                    <a:pt x="1350" y="1416"/>
                  </a:lnTo>
                  <a:lnTo>
                    <a:pt x="1347" y="1416"/>
                  </a:lnTo>
                  <a:lnTo>
                    <a:pt x="1347" y="1418"/>
                  </a:lnTo>
                  <a:lnTo>
                    <a:pt x="1345" y="1418"/>
                  </a:lnTo>
                  <a:lnTo>
                    <a:pt x="1345" y="1420"/>
                  </a:lnTo>
                  <a:lnTo>
                    <a:pt x="1343" y="1420"/>
                  </a:lnTo>
                  <a:lnTo>
                    <a:pt x="1345" y="1420"/>
                  </a:lnTo>
                  <a:lnTo>
                    <a:pt x="1345" y="1423"/>
                  </a:lnTo>
                  <a:lnTo>
                    <a:pt x="1350" y="1423"/>
                  </a:lnTo>
                  <a:lnTo>
                    <a:pt x="1362" y="1423"/>
                  </a:lnTo>
                  <a:lnTo>
                    <a:pt x="1362" y="1425"/>
                  </a:lnTo>
                  <a:lnTo>
                    <a:pt x="1362" y="1427"/>
                  </a:lnTo>
                  <a:lnTo>
                    <a:pt x="1364" y="1427"/>
                  </a:lnTo>
                  <a:lnTo>
                    <a:pt x="1364" y="1430"/>
                  </a:lnTo>
                  <a:lnTo>
                    <a:pt x="1364" y="1432"/>
                  </a:lnTo>
                  <a:lnTo>
                    <a:pt x="1366" y="1432"/>
                  </a:lnTo>
                  <a:lnTo>
                    <a:pt x="1369" y="1432"/>
                  </a:lnTo>
                  <a:lnTo>
                    <a:pt x="1371" y="1432"/>
                  </a:lnTo>
                  <a:lnTo>
                    <a:pt x="1373" y="1432"/>
                  </a:lnTo>
                  <a:lnTo>
                    <a:pt x="1376" y="1432"/>
                  </a:lnTo>
                  <a:lnTo>
                    <a:pt x="1378" y="1432"/>
                  </a:lnTo>
                  <a:lnTo>
                    <a:pt x="1378" y="1435"/>
                  </a:lnTo>
                  <a:lnTo>
                    <a:pt x="1378" y="1432"/>
                  </a:lnTo>
                  <a:lnTo>
                    <a:pt x="1378" y="1435"/>
                  </a:lnTo>
                  <a:lnTo>
                    <a:pt x="1380" y="1435"/>
                  </a:lnTo>
                  <a:lnTo>
                    <a:pt x="1383" y="1437"/>
                  </a:lnTo>
                  <a:lnTo>
                    <a:pt x="1388" y="1442"/>
                  </a:lnTo>
                  <a:lnTo>
                    <a:pt x="1383" y="1442"/>
                  </a:lnTo>
                  <a:lnTo>
                    <a:pt x="1383" y="1451"/>
                  </a:lnTo>
                  <a:lnTo>
                    <a:pt x="1380" y="1456"/>
                  </a:lnTo>
                  <a:lnTo>
                    <a:pt x="1380" y="1463"/>
                  </a:lnTo>
                  <a:lnTo>
                    <a:pt x="1364" y="1468"/>
                  </a:lnTo>
                  <a:lnTo>
                    <a:pt x="1359" y="1470"/>
                  </a:lnTo>
                  <a:lnTo>
                    <a:pt x="1357" y="1470"/>
                  </a:lnTo>
                  <a:lnTo>
                    <a:pt x="1354" y="1470"/>
                  </a:lnTo>
                  <a:lnTo>
                    <a:pt x="1352" y="1470"/>
                  </a:lnTo>
                  <a:lnTo>
                    <a:pt x="1350" y="1470"/>
                  </a:lnTo>
                  <a:lnTo>
                    <a:pt x="1347" y="1470"/>
                  </a:lnTo>
                  <a:lnTo>
                    <a:pt x="1345" y="1470"/>
                  </a:lnTo>
                  <a:lnTo>
                    <a:pt x="1343" y="1470"/>
                  </a:lnTo>
                  <a:lnTo>
                    <a:pt x="1340" y="1468"/>
                  </a:lnTo>
                  <a:lnTo>
                    <a:pt x="1338" y="1463"/>
                  </a:lnTo>
                  <a:lnTo>
                    <a:pt x="1333" y="1461"/>
                  </a:lnTo>
                  <a:lnTo>
                    <a:pt x="1331" y="1463"/>
                  </a:lnTo>
                  <a:lnTo>
                    <a:pt x="1331" y="1465"/>
                  </a:lnTo>
                  <a:lnTo>
                    <a:pt x="1331" y="1468"/>
                  </a:lnTo>
                  <a:lnTo>
                    <a:pt x="1331" y="1470"/>
                  </a:lnTo>
                  <a:lnTo>
                    <a:pt x="1328" y="1473"/>
                  </a:lnTo>
                  <a:lnTo>
                    <a:pt x="1326" y="1477"/>
                  </a:lnTo>
                  <a:lnTo>
                    <a:pt x="1324" y="1477"/>
                  </a:lnTo>
                  <a:lnTo>
                    <a:pt x="1319" y="1477"/>
                  </a:lnTo>
                  <a:lnTo>
                    <a:pt x="1316" y="1477"/>
                  </a:lnTo>
                  <a:lnTo>
                    <a:pt x="1314" y="1477"/>
                  </a:lnTo>
                  <a:lnTo>
                    <a:pt x="1314" y="1475"/>
                  </a:lnTo>
                  <a:lnTo>
                    <a:pt x="1316" y="1475"/>
                  </a:lnTo>
                  <a:lnTo>
                    <a:pt x="1316" y="1473"/>
                  </a:lnTo>
                  <a:lnTo>
                    <a:pt x="1314" y="1473"/>
                  </a:lnTo>
                  <a:lnTo>
                    <a:pt x="1312" y="1473"/>
                  </a:lnTo>
                  <a:lnTo>
                    <a:pt x="1309" y="1470"/>
                  </a:lnTo>
                  <a:lnTo>
                    <a:pt x="1307" y="1473"/>
                  </a:lnTo>
                  <a:lnTo>
                    <a:pt x="1307" y="1470"/>
                  </a:lnTo>
                  <a:lnTo>
                    <a:pt x="1305" y="1470"/>
                  </a:lnTo>
                  <a:lnTo>
                    <a:pt x="1302" y="1470"/>
                  </a:lnTo>
                  <a:lnTo>
                    <a:pt x="1300" y="1470"/>
                  </a:lnTo>
                  <a:lnTo>
                    <a:pt x="1297" y="1468"/>
                  </a:lnTo>
                  <a:lnTo>
                    <a:pt x="1295" y="1468"/>
                  </a:lnTo>
                  <a:lnTo>
                    <a:pt x="1293" y="1468"/>
                  </a:lnTo>
                  <a:lnTo>
                    <a:pt x="1295" y="1468"/>
                  </a:lnTo>
                  <a:lnTo>
                    <a:pt x="1293" y="1468"/>
                  </a:lnTo>
                  <a:lnTo>
                    <a:pt x="1293" y="1465"/>
                  </a:lnTo>
                  <a:lnTo>
                    <a:pt x="1290" y="1465"/>
                  </a:lnTo>
                  <a:lnTo>
                    <a:pt x="1293" y="1463"/>
                  </a:lnTo>
                  <a:lnTo>
                    <a:pt x="1293" y="1465"/>
                  </a:lnTo>
                  <a:lnTo>
                    <a:pt x="1290" y="1463"/>
                  </a:lnTo>
                  <a:lnTo>
                    <a:pt x="1288" y="1463"/>
                  </a:lnTo>
                  <a:lnTo>
                    <a:pt x="1288" y="1461"/>
                  </a:lnTo>
                  <a:lnTo>
                    <a:pt x="1286" y="1461"/>
                  </a:lnTo>
                  <a:lnTo>
                    <a:pt x="1286" y="1458"/>
                  </a:lnTo>
                  <a:lnTo>
                    <a:pt x="1286" y="1456"/>
                  </a:lnTo>
                  <a:lnTo>
                    <a:pt x="1288" y="1454"/>
                  </a:lnTo>
                  <a:lnTo>
                    <a:pt x="1286" y="1454"/>
                  </a:lnTo>
                  <a:lnTo>
                    <a:pt x="1286" y="1451"/>
                  </a:lnTo>
                  <a:lnTo>
                    <a:pt x="1283" y="1451"/>
                  </a:lnTo>
                  <a:lnTo>
                    <a:pt x="1283" y="1449"/>
                  </a:lnTo>
                  <a:lnTo>
                    <a:pt x="1281" y="1451"/>
                  </a:lnTo>
                  <a:lnTo>
                    <a:pt x="1278" y="1451"/>
                  </a:lnTo>
                  <a:lnTo>
                    <a:pt x="1278" y="1449"/>
                  </a:lnTo>
                  <a:lnTo>
                    <a:pt x="1276" y="1446"/>
                  </a:lnTo>
                  <a:lnTo>
                    <a:pt x="1276" y="1444"/>
                  </a:lnTo>
                  <a:lnTo>
                    <a:pt x="1276" y="1446"/>
                  </a:lnTo>
                  <a:lnTo>
                    <a:pt x="1274" y="1446"/>
                  </a:lnTo>
                  <a:lnTo>
                    <a:pt x="1271" y="1449"/>
                  </a:lnTo>
                  <a:lnTo>
                    <a:pt x="1274" y="1449"/>
                  </a:lnTo>
                  <a:lnTo>
                    <a:pt x="1271" y="1449"/>
                  </a:lnTo>
                  <a:lnTo>
                    <a:pt x="1271" y="1451"/>
                  </a:lnTo>
                  <a:lnTo>
                    <a:pt x="1269" y="1451"/>
                  </a:lnTo>
                  <a:lnTo>
                    <a:pt x="1269" y="1449"/>
                  </a:lnTo>
                  <a:lnTo>
                    <a:pt x="1267" y="1449"/>
                  </a:lnTo>
                  <a:lnTo>
                    <a:pt x="1264" y="1449"/>
                  </a:lnTo>
                  <a:lnTo>
                    <a:pt x="1262" y="1449"/>
                  </a:lnTo>
                  <a:lnTo>
                    <a:pt x="1259" y="1449"/>
                  </a:lnTo>
                  <a:lnTo>
                    <a:pt x="1259" y="1446"/>
                  </a:lnTo>
                  <a:lnTo>
                    <a:pt x="1257" y="1446"/>
                  </a:lnTo>
                  <a:lnTo>
                    <a:pt x="1257" y="1451"/>
                  </a:lnTo>
                  <a:lnTo>
                    <a:pt x="1257" y="1456"/>
                  </a:lnTo>
                  <a:lnTo>
                    <a:pt x="1257" y="1458"/>
                  </a:lnTo>
                  <a:lnTo>
                    <a:pt x="1255" y="1458"/>
                  </a:lnTo>
                  <a:lnTo>
                    <a:pt x="1252" y="1458"/>
                  </a:lnTo>
                  <a:lnTo>
                    <a:pt x="1250" y="1458"/>
                  </a:lnTo>
                  <a:lnTo>
                    <a:pt x="1250" y="1461"/>
                  </a:lnTo>
                  <a:lnTo>
                    <a:pt x="1248" y="1461"/>
                  </a:lnTo>
                  <a:lnTo>
                    <a:pt x="1248" y="1458"/>
                  </a:lnTo>
                  <a:lnTo>
                    <a:pt x="1245" y="1458"/>
                  </a:lnTo>
                  <a:lnTo>
                    <a:pt x="1243" y="1458"/>
                  </a:lnTo>
                  <a:lnTo>
                    <a:pt x="1243" y="1456"/>
                  </a:lnTo>
                  <a:lnTo>
                    <a:pt x="1243" y="1454"/>
                  </a:lnTo>
                  <a:lnTo>
                    <a:pt x="1240" y="1454"/>
                  </a:lnTo>
                  <a:lnTo>
                    <a:pt x="1240" y="1451"/>
                  </a:lnTo>
                  <a:lnTo>
                    <a:pt x="1238" y="1449"/>
                  </a:lnTo>
                  <a:lnTo>
                    <a:pt x="1233" y="1451"/>
                  </a:lnTo>
                  <a:lnTo>
                    <a:pt x="1231" y="1451"/>
                  </a:lnTo>
                  <a:lnTo>
                    <a:pt x="1231" y="1449"/>
                  </a:lnTo>
                  <a:lnTo>
                    <a:pt x="1229" y="1451"/>
                  </a:lnTo>
                  <a:lnTo>
                    <a:pt x="1226" y="1449"/>
                  </a:lnTo>
                  <a:lnTo>
                    <a:pt x="1224" y="1449"/>
                  </a:lnTo>
                  <a:lnTo>
                    <a:pt x="1224" y="1451"/>
                  </a:lnTo>
                  <a:lnTo>
                    <a:pt x="1224" y="1456"/>
                  </a:lnTo>
                  <a:lnTo>
                    <a:pt x="1222" y="1454"/>
                  </a:lnTo>
                  <a:lnTo>
                    <a:pt x="1219" y="1454"/>
                  </a:lnTo>
                  <a:lnTo>
                    <a:pt x="1219" y="1451"/>
                  </a:lnTo>
                  <a:lnTo>
                    <a:pt x="1217" y="1451"/>
                  </a:lnTo>
                  <a:lnTo>
                    <a:pt x="1217" y="1449"/>
                  </a:lnTo>
                  <a:lnTo>
                    <a:pt x="1214" y="1451"/>
                  </a:lnTo>
                  <a:lnTo>
                    <a:pt x="1214" y="1456"/>
                  </a:lnTo>
                  <a:lnTo>
                    <a:pt x="1212" y="1456"/>
                  </a:lnTo>
                  <a:lnTo>
                    <a:pt x="1212" y="1458"/>
                  </a:lnTo>
                  <a:lnTo>
                    <a:pt x="1210" y="1458"/>
                  </a:lnTo>
                  <a:lnTo>
                    <a:pt x="1207" y="1458"/>
                  </a:lnTo>
                  <a:lnTo>
                    <a:pt x="1205" y="1456"/>
                  </a:lnTo>
                  <a:lnTo>
                    <a:pt x="1205" y="1458"/>
                  </a:lnTo>
                  <a:lnTo>
                    <a:pt x="1205" y="1461"/>
                  </a:lnTo>
                  <a:lnTo>
                    <a:pt x="1205" y="1463"/>
                  </a:lnTo>
                  <a:lnTo>
                    <a:pt x="1205" y="1465"/>
                  </a:lnTo>
                  <a:lnTo>
                    <a:pt x="1203" y="1468"/>
                  </a:lnTo>
                  <a:lnTo>
                    <a:pt x="1200" y="1470"/>
                  </a:lnTo>
                  <a:lnTo>
                    <a:pt x="1198" y="1470"/>
                  </a:lnTo>
                  <a:lnTo>
                    <a:pt x="1198" y="1473"/>
                  </a:lnTo>
                  <a:lnTo>
                    <a:pt x="1195" y="1473"/>
                  </a:lnTo>
                  <a:lnTo>
                    <a:pt x="1193" y="1473"/>
                  </a:lnTo>
                  <a:lnTo>
                    <a:pt x="1193" y="1475"/>
                  </a:lnTo>
                  <a:lnTo>
                    <a:pt x="1191" y="1475"/>
                  </a:lnTo>
                  <a:lnTo>
                    <a:pt x="1188" y="1475"/>
                  </a:lnTo>
                  <a:lnTo>
                    <a:pt x="1186" y="1473"/>
                  </a:lnTo>
                  <a:lnTo>
                    <a:pt x="1184" y="1473"/>
                  </a:lnTo>
                  <a:lnTo>
                    <a:pt x="1184" y="1470"/>
                  </a:lnTo>
                  <a:lnTo>
                    <a:pt x="1181" y="1470"/>
                  </a:lnTo>
                  <a:lnTo>
                    <a:pt x="1179" y="1470"/>
                  </a:lnTo>
                  <a:lnTo>
                    <a:pt x="1176" y="1468"/>
                  </a:lnTo>
                  <a:lnTo>
                    <a:pt x="1172" y="1463"/>
                  </a:lnTo>
                  <a:lnTo>
                    <a:pt x="1169" y="1463"/>
                  </a:lnTo>
                  <a:lnTo>
                    <a:pt x="1169" y="1461"/>
                  </a:lnTo>
                  <a:lnTo>
                    <a:pt x="1172" y="1461"/>
                  </a:lnTo>
                  <a:lnTo>
                    <a:pt x="1172" y="1458"/>
                  </a:lnTo>
                  <a:lnTo>
                    <a:pt x="1169" y="1458"/>
                  </a:lnTo>
                  <a:lnTo>
                    <a:pt x="1167" y="1458"/>
                  </a:lnTo>
                  <a:lnTo>
                    <a:pt x="1165" y="1458"/>
                  </a:lnTo>
                  <a:lnTo>
                    <a:pt x="1165" y="1456"/>
                  </a:lnTo>
                  <a:lnTo>
                    <a:pt x="1162" y="1456"/>
                  </a:lnTo>
                  <a:lnTo>
                    <a:pt x="1165" y="1456"/>
                  </a:lnTo>
                  <a:lnTo>
                    <a:pt x="1162" y="1456"/>
                  </a:lnTo>
                  <a:lnTo>
                    <a:pt x="1160" y="1454"/>
                  </a:lnTo>
                  <a:lnTo>
                    <a:pt x="1157" y="1454"/>
                  </a:lnTo>
                  <a:lnTo>
                    <a:pt x="1157" y="1451"/>
                  </a:lnTo>
                  <a:lnTo>
                    <a:pt x="1157" y="1454"/>
                  </a:lnTo>
                  <a:lnTo>
                    <a:pt x="1155" y="1454"/>
                  </a:lnTo>
                  <a:lnTo>
                    <a:pt x="1153" y="1454"/>
                  </a:lnTo>
                  <a:lnTo>
                    <a:pt x="1153" y="1456"/>
                  </a:lnTo>
                  <a:lnTo>
                    <a:pt x="1153" y="1458"/>
                  </a:lnTo>
                  <a:lnTo>
                    <a:pt x="1153" y="1456"/>
                  </a:lnTo>
                  <a:lnTo>
                    <a:pt x="1153" y="1458"/>
                  </a:lnTo>
                  <a:lnTo>
                    <a:pt x="1153" y="1456"/>
                  </a:lnTo>
                  <a:lnTo>
                    <a:pt x="1153" y="1458"/>
                  </a:lnTo>
                  <a:lnTo>
                    <a:pt x="1150" y="1458"/>
                  </a:lnTo>
                  <a:lnTo>
                    <a:pt x="1153" y="1458"/>
                  </a:lnTo>
                  <a:lnTo>
                    <a:pt x="1155" y="1458"/>
                  </a:lnTo>
                  <a:lnTo>
                    <a:pt x="1157" y="1458"/>
                  </a:lnTo>
                  <a:lnTo>
                    <a:pt x="1157" y="1463"/>
                  </a:lnTo>
                  <a:lnTo>
                    <a:pt x="1155" y="1463"/>
                  </a:lnTo>
                  <a:lnTo>
                    <a:pt x="1157" y="1465"/>
                  </a:lnTo>
                  <a:lnTo>
                    <a:pt x="1157" y="1468"/>
                  </a:lnTo>
                  <a:lnTo>
                    <a:pt x="1157" y="1470"/>
                  </a:lnTo>
                  <a:lnTo>
                    <a:pt x="1157" y="1473"/>
                  </a:lnTo>
                  <a:lnTo>
                    <a:pt x="1157" y="1475"/>
                  </a:lnTo>
                  <a:lnTo>
                    <a:pt x="1155" y="1475"/>
                  </a:lnTo>
                  <a:lnTo>
                    <a:pt x="1155" y="1477"/>
                  </a:lnTo>
                  <a:lnTo>
                    <a:pt x="1153" y="1477"/>
                  </a:lnTo>
                  <a:lnTo>
                    <a:pt x="1153" y="1475"/>
                  </a:lnTo>
                  <a:lnTo>
                    <a:pt x="1153" y="1477"/>
                  </a:lnTo>
                  <a:lnTo>
                    <a:pt x="1150" y="1477"/>
                  </a:lnTo>
                  <a:lnTo>
                    <a:pt x="1150" y="1475"/>
                  </a:lnTo>
                  <a:lnTo>
                    <a:pt x="1148" y="1473"/>
                  </a:lnTo>
                  <a:lnTo>
                    <a:pt x="1148" y="1470"/>
                  </a:lnTo>
                  <a:lnTo>
                    <a:pt x="1148" y="1468"/>
                  </a:lnTo>
                  <a:lnTo>
                    <a:pt x="1148" y="1465"/>
                  </a:lnTo>
                  <a:lnTo>
                    <a:pt x="1150" y="1465"/>
                  </a:lnTo>
                  <a:lnTo>
                    <a:pt x="1150" y="1463"/>
                  </a:lnTo>
                  <a:lnTo>
                    <a:pt x="1150" y="1461"/>
                  </a:lnTo>
                  <a:lnTo>
                    <a:pt x="1148" y="1461"/>
                  </a:lnTo>
                  <a:lnTo>
                    <a:pt x="1146" y="1461"/>
                  </a:lnTo>
                  <a:lnTo>
                    <a:pt x="1146" y="1458"/>
                  </a:lnTo>
                  <a:lnTo>
                    <a:pt x="1143" y="1458"/>
                  </a:lnTo>
                  <a:lnTo>
                    <a:pt x="1143" y="1456"/>
                  </a:lnTo>
                  <a:lnTo>
                    <a:pt x="1141" y="1456"/>
                  </a:lnTo>
                  <a:lnTo>
                    <a:pt x="1141" y="1454"/>
                  </a:lnTo>
                  <a:lnTo>
                    <a:pt x="1138" y="1454"/>
                  </a:lnTo>
                  <a:lnTo>
                    <a:pt x="1141" y="1454"/>
                  </a:lnTo>
                  <a:lnTo>
                    <a:pt x="1138" y="1454"/>
                  </a:lnTo>
                  <a:lnTo>
                    <a:pt x="1141" y="1454"/>
                  </a:lnTo>
                  <a:lnTo>
                    <a:pt x="1141" y="1451"/>
                  </a:lnTo>
                  <a:lnTo>
                    <a:pt x="1138" y="1451"/>
                  </a:lnTo>
                  <a:lnTo>
                    <a:pt x="1138" y="1449"/>
                  </a:lnTo>
                  <a:lnTo>
                    <a:pt x="1136" y="1449"/>
                  </a:lnTo>
                  <a:lnTo>
                    <a:pt x="1136" y="1446"/>
                  </a:lnTo>
                  <a:lnTo>
                    <a:pt x="1134" y="1446"/>
                  </a:lnTo>
                  <a:lnTo>
                    <a:pt x="1131" y="1444"/>
                  </a:lnTo>
                  <a:lnTo>
                    <a:pt x="1129" y="1444"/>
                  </a:lnTo>
                  <a:lnTo>
                    <a:pt x="1127" y="1444"/>
                  </a:lnTo>
                  <a:lnTo>
                    <a:pt x="1124" y="1444"/>
                  </a:lnTo>
                  <a:lnTo>
                    <a:pt x="1124" y="1442"/>
                  </a:lnTo>
                  <a:lnTo>
                    <a:pt x="1124" y="1444"/>
                  </a:lnTo>
                  <a:lnTo>
                    <a:pt x="1124" y="1442"/>
                  </a:lnTo>
                  <a:lnTo>
                    <a:pt x="1124" y="1444"/>
                  </a:lnTo>
                  <a:lnTo>
                    <a:pt x="1124" y="1442"/>
                  </a:lnTo>
                  <a:lnTo>
                    <a:pt x="1124" y="1444"/>
                  </a:lnTo>
                  <a:lnTo>
                    <a:pt x="1122" y="1442"/>
                  </a:lnTo>
                  <a:lnTo>
                    <a:pt x="1122" y="1444"/>
                  </a:lnTo>
                  <a:lnTo>
                    <a:pt x="1122" y="1442"/>
                  </a:lnTo>
                  <a:lnTo>
                    <a:pt x="1122" y="1439"/>
                  </a:lnTo>
                  <a:lnTo>
                    <a:pt x="1122" y="1442"/>
                  </a:lnTo>
                  <a:lnTo>
                    <a:pt x="1122" y="1439"/>
                  </a:lnTo>
                  <a:lnTo>
                    <a:pt x="1122" y="1442"/>
                  </a:lnTo>
                  <a:lnTo>
                    <a:pt x="1122" y="1439"/>
                  </a:lnTo>
                  <a:lnTo>
                    <a:pt x="1119" y="1439"/>
                  </a:lnTo>
                  <a:lnTo>
                    <a:pt x="1122" y="1439"/>
                  </a:lnTo>
                  <a:lnTo>
                    <a:pt x="1122" y="1437"/>
                  </a:lnTo>
                  <a:lnTo>
                    <a:pt x="1122" y="1439"/>
                  </a:lnTo>
                  <a:lnTo>
                    <a:pt x="1122" y="1437"/>
                  </a:lnTo>
                  <a:lnTo>
                    <a:pt x="1119" y="1437"/>
                  </a:lnTo>
                  <a:lnTo>
                    <a:pt x="1122" y="1437"/>
                  </a:lnTo>
                  <a:lnTo>
                    <a:pt x="1119" y="1437"/>
                  </a:lnTo>
                  <a:lnTo>
                    <a:pt x="1122" y="1437"/>
                  </a:lnTo>
                  <a:lnTo>
                    <a:pt x="1122" y="1435"/>
                  </a:lnTo>
                  <a:lnTo>
                    <a:pt x="1122" y="1437"/>
                  </a:lnTo>
                  <a:lnTo>
                    <a:pt x="1122" y="1435"/>
                  </a:lnTo>
                  <a:lnTo>
                    <a:pt x="1119" y="1435"/>
                  </a:lnTo>
                  <a:lnTo>
                    <a:pt x="1119" y="1432"/>
                  </a:lnTo>
                  <a:lnTo>
                    <a:pt x="1117" y="1432"/>
                  </a:lnTo>
                  <a:lnTo>
                    <a:pt x="1115" y="1432"/>
                  </a:lnTo>
                  <a:lnTo>
                    <a:pt x="1112" y="1430"/>
                  </a:lnTo>
                  <a:lnTo>
                    <a:pt x="1110" y="1430"/>
                  </a:lnTo>
                  <a:lnTo>
                    <a:pt x="1108" y="1430"/>
                  </a:lnTo>
                  <a:lnTo>
                    <a:pt x="1108" y="1427"/>
                  </a:lnTo>
                  <a:lnTo>
                    <a:pt x="1105" y="1427"/>
                  </a:lnTo>
                  <a:lnTo>
                    <a:pt x="1105" y="1430"/>
                  </a:lnTo>
                  <a:lnTo>
                    <a:pt x="1103" y="1430"/>
                  </a:lnTo>
                  <a:lnTo>
                    <a:pt x="1101" y="1430"/>
                  </a:lnTo>
                  <a:lnTo>
                    <a:pt x="1098" y="1430"/>
                  </a:lnTo>
                  <a:lnTo>
                    <a:pt x="1098" y="1432"/>
                  </a:lnTo>
                  <a:lnTo>
                    <a:pt x="1101" y="1432"/>
                  </a:lnTo>
                  <a:lnTo>
                    <a:pt x="1098" y="1432"/>
                  </a:lnTo>
                  <a:lnTo>
                    <a:pt x="1098" y="1430"/>
                  </a:lnTo>
                  <a:lnTo>
                    <a:pt x="1096" y="1430"/>
                  </a:lnTo>
                  <a:lnTo>
                    <a:pt x="1098" y="1430"/>
                  </a:lnTo>
                  <a:lnTo>
                    <a:pt x="1096" y="1430"/>
                  </a:lnTo>
                  <a:lnTo>
                    <a:pt x="1093" y="1430"/>
                  </a:lnTo>
                  <a:lnTo>
                    <a:pt x="1096" y="1430"/>
                  </a:lnTo>
                  <a:lnTo>
                    <a:pt x="1093" y="1430"/>
                  </a:lnTo>
                  <a:lnTo>
                    <a:pt x="1093" y="1427"/>
                  </a:lnTo>
                  <a:lnTo>
                    <a:pt x="1093" y="1430"/>
                  </a:lnTo>
                  <a:lnTo>
                    <a:pt x="1091" y="1430"/>
                  </a:lnTo>
                  <a:lnTo>
                    <a:pt x="1091" y="1432"/>
                  </a:lnTo>
                  <a:lnTo>
                    <a:pt x="1089" y="1430"/>
                  </a:lnTo>
                  <a:lnTo>
                    <a:pt x="1089" y="1432"/>
                  </a:lnTo>
                  <a:lnTo>
                    <a:pt x="1089" y="1430"/>
                  </a:lnTo>
                  <a:lnTo>
                    <a:pt x="1089" y="1432"/>
                  </a:lnTo>
                  <a:lnTo>
                    <a:pt x="1086" y="1432"/>
                  </a:lnTo>
                  <a:lnTo>
                    <a:pt x="1089" y="1430"/>
                  </a:lnTo>
                  <a:lnTo>
                    <a:pt x="1086" y="1430"/>
                  </a:lnTo>
                  <a:lnTo>
                    <a:pt x="1086" y="1432"/>
                  </a:lnTo>
                  <a:lnTo>
                    <a:pt x="1086" y="1430"/>
                  </a:lnTo>
                  <a:lnTo>
                    <a:pt x="1084" y="1430"/>
                  </a:lnTo>
                  <a:lnTo>
                    <a:pt x="1084" y="1427"/>
                  </a:lnTo>
                  <a:lnTo>
                    <a:pt x="1084" y="1425"/>
                  </a:lnTo>
                  <a:lnTo>
                    <a:pt x="1084" y="1423"/>
                  </a:lnTo>
                  <a:lnTo>
                    <a:pt x="1082" y="1423"/>
                  </a:lnTo>
                  <a:lnTo>
                    <a:pt x="1082" y="1420"/>
                  </a:lnTo>
                  <a:lnTo>
                    <a:pt x="1079" y="1418"/>
                  </a:lnTo>
                  <a:lnTo>
                    <a:pt x="1082" y="1418"/>
                  </a:lnTo>
                  <a:lnTo>
                    <a:pt x="1079" y="1416"/>
                  </a:lnTo>
                  <a:lnTo>
                    <a:pt x="1079" y="1418"/>
                  </a:lnTo>
                  <a:lnTo>
                    <a:pt x="1077" y="1418"/>
                  </a:lnTo>
                  <a:lnTo>
                    <a:pt x="1074" y="1418"/>
                  </a:lnTo>
                  <a:lnTo>
                    <a:pt x="1074" y="1420"/>
                  </a:lnTo>
                  <a:lnTo>
                    <a:pt x="1072" y="1420"/>
                  </a:lnTo>
                  <a:lnTo>
                    <a:pt x="1070" y="1423"/>
                  </a:lnTo>
                  <a:lnTo>
                    <a:pt x="1070" y="1420"/>
                  </a:lnTo>
                  <a:lnTo>
                    <a:pt x="1067" y="1420"/>
                  </a:lnTo>
                  <a:lnTo>
                    <a:pt x="1065" y="1420"/>
                  </a:lnTo>
                  <a:lnTo>
                    <a:pt x="1063" y="1420"/>
                  </a:lnTo>
                  <a:lnTo>
                    <a:pt x="1063" y="1423"/>
                  </a:lnTo>
                  <a:lnTo>
                    <a:pt x="1060" y="1423"/>
                  </a:lnTo>
                  <a:lnTo>
                    <a:pt x="1060" y="1425"/>
                  </a:lnTo>
                  <a:lnTo>
                    <a:pt x="1063" y="1430"/>
                  </a:lnTo>
                  <a:lnTo>
                    <a:pt x="1058" y="1430"/>
                  </a:lnTo>
                  <a:lnTo>
                    <a:pt x="1060" y="1432"/>
                  </a:lnTo>
                  <a:lnTo>
                    <a:pt x="1055" y="1432"/>
                  </a:lnTo>
                  <a:lnTo>
                    <a:pt x="1055" y="1430"/>
                  </a:lnTo>
                  <a:lnTo>
                    <a:pt x="1055" y="1427"/>
                  </a:lnTo>
                  <a:lnTo>
                    <a:pt x="1053" y="1427"/>
                  </a:lnTo>
                  <a:lnTo>
                    <a:pt x="1053" y="1430"/>
                  </a:lnTo>
                  <a:lnTo>
                    <a:pt x="1051" y="1430"/>
                  </a:lnTo>
                  <a:lnTo>
                    <a:pt x="1048" y="1430"/>
                  </a:lnTo>
                  <a:lnTo>
                    <a:pt x="1044" y="1430"/>
                  </a:lnTo>
                  <a:lnTo>
                    <a:pt x="1044" y="1427"/>
                  </a:lnTo>
                  <a:lnTo>
                    <a:pt x="1048" y="1427"/>
                  </a:lnTo>
                  <a:lnTo>
                    <a:pt x="1048" y="1423"/>
                  </a:lnTo>
                  <a:lnTo>
                    <a:pt x="1046" y="1423"/>
                  </a:lnTo>
                  <a:lnTo>
                    <a:pt x="1044" y="1420"/>
                  </a:lnTo>
                  <a:lnTo>
                    <a:pt x="1041" y="1420"/>
                  </a:lnTo>
                  <a:lnTo>
                    <a:pt x="1039" y="1420"/>
                  </a:lnTo>
                  <a:lnTo>
                    <a:pt x="1036" y="1420"/>
                  </a:lnTo>
                  <a:lnTo>
                    <a:pt x="1034" y="1420"/>
                  </a:lnTo>
                  <a:lnTo>
                    <a:pt x="1032" y="1420"/>
                  </a:lnTo>
                  <a:lnTo>
                    <a:pt x="1032" y="1418"/>
                  </a:lnTo>
                  <a:lnTo>
                    <a:pt x="1029" y="1418"/>
                  </a:lnTo>
                  <a:lnTo>
                    <a:pt x="1027" y="1416"/>
                  </a:lnTo>
                  <a:lnTo>
                    <a:pt x="1027" y="1418"/>
                  </a:lnTo>
                  <a:lnTo>
                    <a:pt x="1027" y="1420"/>
                  </a:lnTo>
                  <a:lnTo>
                    <a:pt x="1029" y="1420"/>
                  </a:lnTo>
                  <a:lnTo>
                    <a:pt x="1029" y="1423"/>
                  </a:lnTo>
                  <a:lnTo>
                    <a:pt x="1029" y="1425"/>
                  </a:lnTo>
                  <a:lnTo>
                    <a:pt x="1027" y="1425"/>
                  </a:lnTo>
                  <a:lnTo>
                    <a:pt x="1025" y="1425"/>
                  </a:lnTo>
                  <a:lnTo>
                    <a:pt x="1027" y="1425"/>
                  </a:lnTo>
                  <a:lnTo>
                    <a:pt x="1027" y="1423"/>
                  </a:lnTo>
                  <a:lnTo>
                    <a:pt x="1022" y="1423"/>
                  </a:lnTo>
                  <a:lnTo>
                    <a:pt x="1022" y="1425"/>
                  </a:lnTo>
                  <a:lnTo>
                    <a:pt x="1020" y="1425"/>
                  </a:lnTo>
                  <a:lnTo>
                    <a:pt x="1020" y="1430"/>
                  </a:lnTo>
                  <a:lnTo>
                    <a:pt x="1020" y="1432"/>
                  </a:lnTo>
                  <a:lnTo>
                    <a:pt x="1017" y="1432"/>
                  </a:lnTo>
                  <a:lnTo>
                    <a:pt x="1015" y="1432"/>
                  </a:lnTo>
                  <a:lnTo>
                    <a:pt x="1015" y="1435"/>
                  </a:lnTo>
                  <a:lnTo>
                    <a:pt x="1013" y="1435"/>
                  </a:lnTo>
                  <a:lnTo>
                    <a:pt x="1015" y="1437"/>
                  </a:lnTo>
                  <a:lnTo>
                    <a:pt x="1013" y="1439"/>
                  </a:lnTo>
                  <a:lnTo>
                    <a:pt x="1010" y="1439"/>
                  </a:lnTo>
                  <a:lnTo>
                    <a:pt x="1003" y="1442"/>
                  </a:lnTo>
                  <a:lnTo>
                    <a:pt x="1001" y="1442"/>
                  </a:lnTo>
                  <a:lnTo>
                    <a:pt x="1001" y="1444"/>
                  </a:lnTo>
                  <a:lnTo>
                    <a:pt x="998" y="1444"/>
                  </a:lnTo>
                  <a:lnTo>
                    <a:pt x="994" y="1449"/>
                  </a:lnTo>
                  <a:lnTo>
                    <a:pt x="987" y="1449"/>
                  </a:lnTo>
                  <a:lnTo>
                    <a:pt x="984" y="1449"/>
                  </a:lnTo>
                  <a:lnTo>
                    <a:pt x="982" y="1449"/>
                  </a:lnTo>
                  <a:lnTo>
                    <a:pt x="982" y="1451"/>
                  </a:lnTo>
                  <a:lnTo>
                    <a:pt x="982" y="1454"/>
                  </a:lnTo>
                  <a:lnTo>
                    <a:pt x="979" y="1454"/>
                  </a:lnTo>
                  <a:lnTo>
                    <a:pt x="982" y="1454"/>
                  </a:lnTo>
                  <a:lnTo>
                    <a:pt x="982" y="1456"/>
                  </a:lnTo>
                  <a:lnTo>
                    <a:pt x="982" y="1458"/>
                  </a:lnTo>
                  <a:lnTo>
                    <a:pt x="984" y="1458"/>
                  </a:lnTo>
                  <a:lnTo>
                    <a:pt x="984" y="1461"/>
                  </a:lnTo>
                  <a:lnTo>
                    <a:pt x="982" y="1461"/>
                  </a:lnTo>
                  <a:lnTo>
                    <a:pt x="977" y="1463"/>
                  </a:lnTo>
                  <a:lnTo>
                    <a:pt x="972" y="1465"/>
                  </a:lnTo>
                  <a:lnTo>
                    <a:pt x="972" y="1468"/>
                  </a:lnTo>
                  <a:lnTo>
                    <a:pt x="970" y="1470"/>
                  </a:lnTo>
                  <a:lnTo>
                    <a:pt x="968" y="1470"/>
                  </a:lnTo>
                  <a:lnTo>
                    <a:pt x="965" y="1473"/>
                  </a:lnTo>
                  <a:lnTo>
                    <a:pt x="963" y="1473"/>
                  </a:lnTo>
                  <a:lnTo>
                    <a:pt x="961" y="1473"/>
                  </a:lnTo>
                  <a:lnTo>
                    <a:pt x="958" y="1473"/>
                  </a:lnTo>
                  <a:lnTo>
                    <a:pt x="958" y="1470"/>
                  </a:lnTo>
                  <a:lnTo>
                    <a:pt x="956" y="1470"/>
                  </a:lnTo>
                  <a:lnTo>
                    <a:pt x="956" y="1473"/>
                  </a:lnTo>
                  <a:lnTo>
                    <a:pt x="958" y="1473"/>
                  </a:lnTo>
                  <a:lnTo>
                    <a:pt x="958" y="1475"/>
                  </a:lnTo>
                  <a:lnTo>
                    <a:pt x="958" y="1477"/>
                  </a:lnTo>
                  <a:lnTo>
                    <a:pt x="958" y="1480"/>
                  </a:lnTo>
                  <a:lnTo>
                    <a:pt x="958" y="1487"/>
                  </a:lnTo>
                  <a:lnTo>
                    <a:pt x="961" y="1489"/>
                  </a:lnTo>
                  <a:lnTo>
                    <a:pt x="961" y="1492"/>
                  </a:lnTo>
                  <a:lnTo>
                    <a:pt x="963" y="1492"/>
                  </a:lnTo>
                  <a:lnTo>
                    <a:pt x="963" y="1494"/>
                  </a:lnTo>
                  <a:lnTo>
                    <a:pt x="961" y="1499"/>
                  </a:lnTo>
                  <a:lnTo>
                    <a:pt x="963" y="1499"/>
                  </a:lnTo>
                  <a:lnTo>
                    <a:pt x="965" y="1499"/>
                  </a:lnTo>
                  <a:lnTo>
                    <a:pt x="965" y="1501"/>
                  </a:lnTo>
                  <a:lnTo>
                    <a:pt x="961" y="1506"/>
                  </a:lnTo>
                  <a:lnTo>
                    <a:pt x="958" y="1508"/>
                  </a:lnTo>
                  <a:lnTo>
                    <a:pt x="951" y="1511"/>
                  </a:lnTo>
                  <a:lnTo>
                    <a:pt x="951" y="1513"/>
                  </a:lnTo>
                  <a:lnTo>
                    <a:pt x="949" y="1511"/>
                  </a:lnTo>
                  <a:lnTo>
                    <a:pt x="946" y="1511"/>
                  </a:lnTo>
                  <a:lnTo>
                    <a:pt x="946" y="1508"/>
                  </a:lnTo>
                  <a:lnTo>
                    <a:pt x="946" y="1511"/>
                  </a:lnTo>
                  <a:lnTo>
                    <a:pt x="944" y="1511"/>
                  </a:lnTo>
                  <a:lnTo>
                    <a:pt x="944" y="1508"/>
                  </a:lnTo>
                  <a:lnTo>
                    <a:pt x="944" y="1506"/>
                  </a:lnTo>
                  <a:lnTo>
                    <a:pt x="942" y="1506"/>
                  </a:lnTo>
                  <a:lnTo>
                    <a:pt x="942" y="1503"/>
                  </a:lnTo>
                  <a:lnTo>
                    <a:pt x="939" y="1503"/>
                  </a:lnTo>
                  <a:lnTo>
                    <a:pt x="939" y="1501"/>
                  </a:lnTo>
                  <a:lnTo>
                    <a:pt x="939" y="1499"/>
                  </a:lnTo>
                  <a:lnTo>
                    <a:pt x="937" y="1496"/>
                  </a:lnTo>
                  <a:lnTo>
                    <a:pt x="937" y="1494"/>
                  </a:lnTo>
                  <a:lnTo>
                    <a:pt x="934" y="1494"/>
                  </a:lnTo>
                  <a:lnTo>
                    <a:pt x="934" y="1492"/>
                  </a:lnTo>
                  <a:lnTo>
                    <a:pt x="932" y="1492"/>
                  </a:lnTo>
                  <a:lnTo>
                    <a:pt x="932" y="1489"/>
                  </a:lnTo>
                  <a:lnTo>
                    <a:pt x="932" y="1487"/>
                  </a:lnTo>
                  <a:lnTo>
                    <a:pt x="930" y="1487"/>
                  </a:lnTo>
                  <a:lnTo>
                    <a:pt x="927" y="1487"/>
                  </a:lnTo>
                  <a:lnTo>
                    <a:pt x="927" y="1484"/>
                  </a:lnTo>
                  <a:lnTo>
                    <a:pt x="925" y="1484"/>
                  </a:lnTo>
                  <a:lnTo>
                    <a:pt x="925" y="1482"/>
                  </a:lnTo>
                  <a:lnTo>
                    <a:pt x="923" y="1482"/>
                  </a:lnTo>
                  <a:lnTo>
                    <a:pt x="923" y="1480"/>
                  </a:lnTo>
                  <a:lnTo>
                    <a:pt x="925" y="1480"/>
                  </a:lnTo>
                  <a:lnTo>
                    <a:pt x="923" y="1480"/>
                  </a:lnTo>
                  <a:lnTo>
                    <a:pt x="920" y="1480"/>
                  </a:lnTo>
                  <a:lnTo>
                    <a:pt x="920" y="1482"/>
                  </a:lnTo>
                  <a:lnTo>
                    <a:pt x="918" y="1482"/>
                  </a:lnTo>
                  <a:lnTo>
                    <a:pt x="918" y="1484"/>
                  </a:lnTo>
                  <a:lnTo>
                    <a:pt x="915" y="1487"/>
                  </a:lnTo>
                  <a:lnTo>
                    <a:pt x="913" y="1487"/>
                  </a:lnTo>
                  <a:lnTo>
                    <a:pt x="913" y="1489"/>
                  </a:lnTo>
                  <a:lnTo>
                    <a:pt x="913" y="1492"/>
                  </a:lnTo>
                  <a:lnTo>
                    <a:pt x="911" y="1494"/>
                  </a:lnTo>
                  <a:lnTo>
                    <a:pt x="913" y="1496"/>
                  </a:lnTo>
                  <a:lnTo>
                    <a:pt x="915" y="1499"/>
                  </a:lnTo>
                  <a:lnTo>
                    <a:pt x="908" y="1506"/>
                  </a:lnTo>
                  <a:lnTo>
                    <a:pt x="906" y="1508"/>
                  </a:lnTo>
                  <a:lnTo>
                    <a:pt x="901" y="1508"/>
                  </a:lnTo>
                  <a:lnTo>
                    <a:pt x="899" y="1508"/>
                  </a:lnTo>
                  <a:lnTo>
                    <a:pt x="899" y="1511"/>
                  </a:lnTo>
                  <a:lnTo>
                    <a:pt x="899" y="1513"/>
                  </a:lnTo>
                  <a:lnTo>
                    <a:pt x="899" y="1515"/>
                  </a:lnTo>
                  <a:lnTo>
                    <a:pt x="899" y="1520"/>
                  </a:lnTo>
                  <a:lnTo>
                    <a:pt x="896" y="1525"/>
                  </a:lnTo>
                  <a:lnTo>
                    <a:pt x="896" y="1530"/>
                  </a:lnTo>
                  <a:lnTo>
                    <a:pt x="896" y="1534"/>
                  </a:lnTo>
                  <a:lnTo>
                    <a:pt x="896" y="1537"/>
                  </a:lnTo>
                  <a:lnTo>
                    <a:pt x="899" y="1537"/>
                  </a:lnTo>
                  <a:lnTo>
                    <a:pt x="901" y="1537"/>
                  </a:lnTo>
                  <a:lnTo>
                    <a:pt x="904" y="1539"/>
                  </a:lnTo>
                  <a:lnTo>
                    <a:pt x="904" y="1542"/>
                  </a:lnTo>
                  <a:lnTo>
                    <a:pt x="904" y="1544"/>
                  </a:lnTo>
                  <a:lnTo>
                    <a:pt x="904" y="1546"/>
                  </a:lnTo>
                  <a:lnTo>
                    <a:pt x="901" y="1551"/>
                  </a:lnTo>
                  <a:lnTo>
                    <a:pt x="899" y="1551"/>
                  </a:lnTo>
                  <a:lnTo>
                    <a:pt x="896" y="1553"/>
                  </a:lnTo>
                  <a:lnTo>
                    <a:pt x="892" y="1563"/>
                  </a:lnTo>
                  <a:lnTo>
                    <a:pt x="889" y="1568"/>
                  </a:lnTo>
                  <a:lnTo>
                    <a:pt x="887" y="1580"/>
                  </a:lnTo>
                  <a:lnTo>
                    <a:pt x="889" y="1580"/>
                  </a:lnTo>
                  <a:lnTo>
                    <a:pt x="892" y="1580"/>
                  </a:lnTo>
                  <a:lnTo>
                    <a:pt x="894" y="1582"/>
                  </a:lnTo>
                  <a:lnTo>
                    <a:pt x="896" y="1582"/>
                  </a:lnTo>
                  <a:lnTo>
                    <a:pt x="899" y="1584"/>
                  </a:lnTo>
                  <a:lnTo>
                    <a:pt x="901" y="1584"/>
                  </a:lnTo>
                  <a:lnTo>
                    <a:pt x="904" y="1584"/>
                  </a:lnTo>
                  <a:lnTo>
                    <a:pt x="906" y="1587"/>
                  </a:lnTo>
                  <a:lnTo>
                    <a:pt x="906" y="1589"/>
                  </a:lnTo>
                  <a:lnTo>
                    <a:pt x="906" y="1591"/>
                  </a:lnTo>
                  <a:lnTo>
                    <a:pt x="906" y="1594"/>
                  </a:lnTo>
                  <a:lnTo>
                    <a:pt x="911" y="1596"/>
                  </a:lnTo>
                  <a:lnTo>
                    <a:pt x="908" y="1596"/>
                  </a:lnTo>
                  <a:lnTo>
                    <a:pt x="908" y="1599"/>
                  </a:lnTo>
                  <a:lnTo>
                    <a:pt x="904" y="1599"/>
                  </a:lnTo>
                  <a:lnTo>
                    <a:pt x="906" y="1603"/>
                  </a:lnTo>
                  <a:lnTo>
                    <a:pt x="908" y="1606"/>
                  </a:lnTo>
                  <a:lnTo>
                    <a:pt x="906" y="1608"/>
                  </a:lnTo>
                  <a:lnTo>
                    <a:pt x="908" y="1610"/>
                  </a:lnTo>
                  <a:lnTo>
                    <a:pt x="911" y="1610"/>
                  </a:lnTo>
                  <a:lnTo>
                    <a:pt x="915" y="1613"/>
                  </a:lnTo>
                  <a:lnTo>
                    <a:pt x="915" y="1615"/>
                  </a:lnTo>
                  <a:lnTo>
                    <a:pt x="915" y="1610"/>
                  </a:lnTo>
                  <a:lnTo>
                    <a:pt x="915" y="1608"/>
                  </a:lnTo>
                  <a:lnTo>
                    <a:pt x="918" y="1608"/>
                  </a:lnTo>
                  <a:lnTo>
                    <a:pt x="923" y="1610"/>
                  </a:lnTo>
                  <a:lnTo>
                    <a:pt x="925" y="1610"/>
                  </a:lnTo>
                  <a:lnTo>
                    <a:pt x="927" y="1610"/>
                  </a:lnTo>
                  <a:lnTo>
                    <a:pt x="934" y="1610"/>
                  </a:lnTo>
                  <a:lnTo>
                    <a:pt x="937" y="1610"/>
                  </a:lnTo>
                  <a:lnTo>
                    <a:pt x="939" y="1613"/>
                  </a:lnTo>
                  <a:lnTo>
                    <a:pt x="942" y="1613"/>
                  </a:lnTo>
                  <a:lnTo>
                    <a:pt x="951" y="1627"/>
                  </a:lnTo>
                  <a:lnTo>
                    <a:pt x="953" y="1627"/>
                  </a:lnTo>
                  <a:lnTo>
                    <a:pt x="956" y="1632"/>
                  </a:lnTo>
                  <a:lnTo>
                    <a:pt x="958" y="1639"/>
                  </a:lnTo>
                  <a:lnTo>
                    <a:pt x="958" y="1641"/>
                  </a:lnTo>
                  <a:lnTo>
                    <a:pt x="965" y="1653"/>
                  </a:lnTo>
                  <a:lnTo>
                    <a:pt x="968" y="1653"/>
                  </a:lnTo>
                  <a:lnTo>
                    <a:pt x="968" y="1656"/>
                  </a:lnTo>
                  <a:lnTo>
                    <a:pt x="970" y="1658"/>
                  </a:lnTo>
                  <a:lnTo>
                    <a:pt x="965" y="1660"/>
                  </a:lnTo>
                  <a:lnTo>
                    <a:pt x="961" y="1660"/>
                  </a:lnTo>
                  <a:lnTo>
                    <a:pt x="958" y="1658"/>
                  </a:lnTo>
                  <a:lnTo>
                    <a:pt x="956" y="1658"/>
                  </a:lnTo>
                  <a:lnTo>
                    <a:pt x="953" y="1658"/>
                  </a:lnTo>
                  <a:lnTo>
                    <a:pt x="953" y="1660"/>
                  </a:lnTo>
                  <a:lnTo>
                    <a:pt x="953" y="1663"/>
                  </a:lnTo>
                  <a:lnTo>
                    <a:pt x="951" y="1663"/>
                  </a:lnTo>
                  <a:lnTo>
                    <a:pt x="953" y="1663"/>
                  </a:lnTo>
                  <a:lnTo>
                    <a:pt x="953" y="1665"/>
                  </a:lnTo>
                  <a:lnTo>
                    <a:pt x="956" y="1665"/>
                  </a:lnTo>
                  <a:lnTo>
                    <a:pt x="953" y="1667"/>
                  </a:lnTo>
                  <a:lnTo>
                    <a:pt x="956" y="1667"/>
                  </a:lnTo>
                  <a:lnTo>
                    <a:pt x="958" y="1667"/>
                  </a:lnTo>
                  <a:lnTo>
                    <a:pt x="961" y="1667"/>
                  </a:lnTo>
                  <a:lnTo>
                    <a:pt x="963" y="1670"/>
                  </a:lnTo>
                  <a:lnTo>
                    <a:pt x="963" y="1672"/>
                  </a:lnTo>
                  <a:lnTo>
                    <a:pt x="965" y="1672"/>
                  </a:lnTo>
                  <a:lnTo>
                    <a:pt x="968" y="1672"/>
                  </a:lnTo>
                  <a:lnTo>
                    <a:pt x="968" y="1675"/>
                  </a:lnTo>
                  <a:lnTo>
                    <a:pt x="970" y="1675"/>
                  </a:lnTo>
                  <a:lnTo>
                    <a:pt x="972" y="1675"/>
                  </a:lnTo>
                  <a:lnTo>
                    <a:pt x="972" y="1677"/>
                  </a:lnTo>
                  <a:lnTo>
                    <a:pt x="975" y="1677"/>
                  </a:lnTo>
                  <a:lnTo>
                    <a:pt x="975" y="1679"/>
                  </a:lnTo>
                  <a:lnTo>
                    <a:pt x="977" y="1679"/>
                  </a:lnTo>
                  <a:lnTo>
                    <a:pt x="977" y="1682"/>
                  </a:lnTo>
                  <a:lnTo>
                    <a:pt x="977" y="1684"/>
                  </a:lnTo>
                  <a:lnTo>
                    <a:pt x="979" y="1684"/>
                  </a:lnTo>
                  <a:lnTo>
                    <a:pt x="979" y="1686"/>
                  </a:lnTo>
                  <a:lnTo>
                    <a:pt x="977" y="1686"/>
                  </a:lnTo>
                  <a:lnTo>
                    <a:pt x="977" y="1684"/>
                  </a:lnTo>
                  <a:lnTo>
                    <a:pt x="977" y="1686"/>
                  </a:lnTo>
                  <a:lnTo>
                    <a:pt x="977" y="1689"/>
                  </a:lnTo>
                  <a:lnTo>
                    <a:pt x="977" y="1686"/>
                  </a:lnTo>
                  <a:lnTo>
                    <a:pt x="977" y="1689"/>
                  </a:lnTo>
                  <a:lnTo>
                    <a:pt x="977" y="1686"/>
                  </a:lnTo>
                  <a:lnTo>
                    <a:pt x="977" y="1689"/>
                  </a:lnTo>
                  <a:lnTo>
                    <a:pt x="977" y="1691"/>
                  </a:lnTo>
                  <a:lnTo>
                    <a:pt x="977" y="1694"/>
                  </a:lnTo>
                  <a:lnTo>
                    <a:pt x="975" y="1694"/>
                  </a:lnTo>
                  <a:lnTo>
                    <a:pt x="975" y="1691"/>
                  </a:lnTo>
                  <a:lnTo>
                    <a:pt x="975" y="1694"/>
                  </a:lnTo>
                  <a:lnTo>
                    <a:pt x="972" y="1694"/>
                  </a:lnTo>
                  <a:lnTo>
                    <a:pt x="975" y="1694"/>
                  </a:lnTo>
                  <a:lnTo>
                    <a:pt x="975" y="1691"/>
                  </a:lnTo>
                  <a:lnTo>
                    <a:pt x="972" y="1691"/>
                  </a:lnTo>
                  <a:lnTo>
                    <a:pt x="972" y="1689"/>
                  </a:lnTo>
                  <a:lnTo>
                    <a:pt x="972" y="1691"/>
                  </a:lnTo>
                  <a:lnTo>
                    <a:pt x="972" y="1689"/>
                  </a:lnTo>
                  <a:lnTo>
                    <a:pt x="970" y="1689"/>
                  </a:lnTo>
                  <a:lnTo>
                    <a:pt x="972" y="1689"/>
                  </a:lnTo>
                  <a:lnTo>
                    <a:pt x="972" y="1686"/>
                  </a:lnTo>
                  <a:lnTo>
                    <a:pt x="970" y="1686"/>
                  </a:lnTo>
                  <a:lnTo>
                    <a:pt x="972" y="1686"/>
                  </a:lnTo>
                  <a:lnTo>
                    <a:pt x="970" y="1686"/>
                  </a:lnTo>
                  <a:lnTo>
                    <a:pt x="970" y="1689"/>
                  </a:lnTo>
                  <a:lnTo>
                    <a:pt x="970" y="1686"/>
                  </a:lnTo>
                  <a:lnTo>
                    <a:pt x="970" y="1689"/>
                  </a:lnTo>
                  <a:lnTo>
                    <a:pt x="970" y="1691"/>
                  </a:lnTo>
                  <a:lnTo>
                    <a:pt x="970" y="1689"/>
                  </a:lnTo>
                  <a:lnTo>
                    <a:pt x="968" y="1689"/>
                  </a:lnTo>
                  <a:lnTo>
                    <a:pt x="970" y="1689"/>
                  </a:lnTo>
                  <a:lnTo>
                    <a:pt x="968" y="1689"/>
                  </a:lnTo>
                  <a:lnTo>
                    <a:pt x="970" y="1689"/>
                  </a:lnTo>
                  <a:lnTo>
                    <a:pt x="968" y="1689"/>
                  </a:lnTo>
                  <a:lnTo>
                    <a:pt x="970" y="1689"/>
                  </a:lnTo>
                  <a:lnTo>
                    <a:pt x="968" y="1689"/>
                  </a:lnTo>
                  <a:lnTo>
                    <a:pt x="968" y="1691"/>
                  </a:lnTo>
                  <a:lnTo>
                    <a:pt x="970" y="1691"/>
                  </a:lnTo>
                  <a:lnTo>
                    <a:pt x="968" y="1691"/>
                  </a:lnTo>
                  <a:lnTo>
                    <a:pt x="968" y="1689"/>
                  </a:lnTo>
                  <a:lnTo>
                    <a:pt x="968" y="1691"/>
                  </a:lnTo>
                  <a:lnTo>
                    <a:pt x="968" y="1689"/>
                  </a:lnTo>
                  <a:lnTo>
                    <a:pt x="965" y="1689"/>
                  </a:lnTo>
                  <a:lnTo>
                    <a:pt x="968" y="1689"/>
                  </a:lnTo>
                  <a:lnTo>
                    <a:pt x="968" y="1691"/>
                  </a:lnTo>
                  <a:lnTo>
                    <a:pt x="968" y="1689"/>
                  </a:lnTo>
                  <a:lnTo>
                    <a:pt x="965" y="1691"/>
                  </a:lnTo>
                  <a:lnTo>
                    <a:pt x="968" y="1691"/>
                  </a:lnTo>
                  <a:lnTo>
                    <a:pt x="968" y="1694"/>
                  </a:lnTo>
                  <a:lnTo>
                    <a:pt x="968" y="1691"/>
                  </a:lnTo>
                  <a:lnTo>
                    <a:pt x="968" y="1694"/>
                  </a:lnTo>
                  <a:lnTo>
                    <a:pt x="968" y="1691"/>
                  </a:lnTo>
                  <a:lnTo>
                    <a:pt x="970" y="1691"/>
                  </a:lnTo>
                  <a:lnTo>
                    <a:pt x="968" y="1691"/>
                  </a:lnTo>
                  <a:lnTo>
                    <a:pt x="970" y="1691"/>
                  </a:lnTo>
                  <a:lnTo>
                    <a:pt x="970" y="1694"/>
                  </a:lnTo>
                  <a:lnTo>
                    <a:pt x="970" y="1691"/>
                  </a:lnTo>
                  <a:lnTo>
                    <a:pt x="970" y="1694"/>
                  </a:lnTo>
                  <a:lnTo>
                    <a:pt x="970" y="1691"/>
                  </a:lnTo>
                  <a:lnTo>
                    <a:pt x="968" y="1694"/>
                  </a:lnTo>
                  <a:lnTo>
                    <a:pt x="970" y="1694"/>
                  </a:lnTo>
                  <a:lnTo>
                    <a:pt x="968" y="1694"/>
                  </a:lnTo>
                  <a:lnTo>
                    <a:pt x="970" y="1694"/>
                  </a:lnTo>
                  <a:lnTo>
                    <a:pt x="968" y="1694"/>
                  </a:lnTo>
                  <a:lnTo>
                    <a:pt x="970" y="1694"/>
                  </a:lnTo>
                  <a:lnTo>
                    <a:pt x="970" y="1696"/>
                  </a:lnTo>
                  <a:lnTo>
                    <a:pt x="970" y="1694"/>
                  </a:lnTo>
                  <a:lnTo>
                    <a:pt x="970" y="1696"/>
                  </a:lnTo>
                  <a:lnTo>
                    <a:pt x="970" y="1698"/>
                  </a:lnTo>
                  <a:lnTo>
                    <a:pt x="970" y="1696"/>
                  </a:lnTo>
                  <a:lnTo>
                    <a:pt x="970" y="1694"/>
                  </a:lnTo>
                  <a:lnTo>
                    <a:pt x="968" y="1694"/>
                  </a:lnTo>
                  <a:lnTo>
                    <a:pt x="968" y="1691"/>
                  </a:lnTo>
                  <a:lnTo>
                    <a:pt x="965" y="1691"/>
                  </a:lnTo>
                  <a:lnTo>
                    <a:pt x="968" y="1691"/>
                  </a:lnTo>
                  <a:lnTo>
                    <a:pt x="965" y="1691"/>
                  </a:lnTo>
                  <a:lnTo>
                    <a:pt x="965" y="1694"/>
                  </a:lnTo>
                  <a:lnTo>
                    <a:pt x="965" y="1691"/>
                  </a:lnTo>
                  <a:lnTo>
                    <a:pt x="965" y="1694"/>
                  </a:lnTo>
                  <a:lnTo>
                    <a:pt x="965" y="1691"/>
                  </a:lnTo>
                  <a:lnTo>
                    <a:pt x="965" y="1694"/>
                  </a:lnTo>
                  <a:lnTo>
                    <a:pt x="965" y="1691"/>
                  </a:lnTo>
                  <a:lnTo>
                    <a:pt x="965" y="1694"/>
                  </a:lnTo>
                  <a:lnTo>
                    <a:pt x="968" y="1694"/>
                  </a:lnTo>
                  <a:lnTo>
                    <a:pt x="965" y="1694"/>
                  </a:lnTo>
                  <a:lnTo>
                    <a:pt x="968" y="1694"/>
                  </a:lnTo>
                  <a:lnTo>
                    <a:pt x="968" y="1696"/>
                  </a:lnTo>
                  <a:lnTo>
                    <a:pt x="970" y="1696"/>
                  </a:lnTo>
                  <a:lnTo>
                    <a:pt x="968" y="1696"/>
                  </a:lnTo>
                  <a:lnTo>
                    <a:pt x="968" y="1694"/>
                  </a:lnTo>
                  <a:lnTo>
                    <a:pt x="968" y="1696"/>
                  </a:lnTo>
                  <a:lnTo>
                    <a:pt x="968" y="1694"/>
                  </a:lnTo>
                  <a:lnTo>
                    <a:pt x="968" y="1696"/>
                  </a:lnTo>
                  <a:lnTo>
                    <a:pt x="965" y="1696"/>
                  </a:lnTo>
                  <a:lnTo>
                    <a:pt x="968" y="1696"/>
                  </a:lnTo>
                  <a:lnTo>
                    <a:pt x="968" y="1698"/>
                  </a:lnTo>
                  <a:lnTo>
                    <a:pt x="965" y="1698"/>
                  </a:lnTo>
                  <a:lnTo>
                    <a:pt x="968" y="1698"/>
                  </a:lnTo>
                  <a:lnTo>
                    <a:pt x="965" y="1698"/>
                  </a:lnTo>
                  <a:lnTo>
                    <a:pt x="965" y="1696"/>
                  </a:lnTo>
                  <a:lnTo>
                    <a:pt x="965" y="1698"/>
                  </a:lnTo>
                  <a:lnTo>
                    <a:pt x="965" y="1696"/>
                  </a:lnTo>
                  <a:lnTo>
                    <a:pt x="965" y="1698"/>
                  </a:lnTo>
                  <a:lnTo>
                    <a:pt x="965" y="1701"/>
                  </a:lnTo>
                  <a:lnTo>
                    <a:pt x="963" y="1701"/>
                  </a:lnTo>
                  <a:lnTo>
                    <a:pt x="965" y="1701"/>
                  </a:lnTo>
                  <a:lnTo>
                    <a:pt x="963" y="1701"/>
                  </a:lnTo>
                  <a:lnTo>
                    <a:pt x="963" y="1703"/>
                  </a:lnTo>
                  <a:lnTo>
                    <a:pt x="965" y="1703"/>
                  </a:lnTo>
                  <a:lnTo>
                    <a:pt x="965" y="1705"/>
                  </a:lnTo>
                  <a:lnTo>
                    <a:pt x="965" y="1703"/>
                  </a:lnTo>
                  <a:lnTo>
                    <a:pt x="965" y="1705"/>
                  </a:lnTo>
                  <a:lnTo>
                    <a:pt x="965" y="1703"/>
                  </a:lnTo>
                  <a:lnTo>
                    <a:pt x="963" y="1703"/>
                  </a:lnTo>
                  <a:lnTo>
                    <a:pt x="965" y="1703"/>
                  </a:lnTo>
                  <a:lnTo>
                    <a:pt x="963" y="1703"/>
                  </a:lnTo>
                  <a:lnTo>
                    <a:pt x="963" y="1701"/>
                  </a:lnTo>
                  <a:lnTo>
                    <a:pt x="963" y="1698"/>
                  </a:lnTo>
                  <a:lnTo>
                    <a:pt x="963" y="1701"/>
                  </a:lnTo>
                  <a:lnTo>
                    <a:pt x="963" y="1698"/>
                  </a:lnTo>
                  <a:lnTo>
                    <a:pt x="961" y="1698"/>
                  </a:lnTo>
                  <a:lnTo>
                    <a:pt x="961" y="1701"/>
                  </a:lnTo>
                  <a:lnTo>
                    <a:pt x="961" y="1698"/>
                  </a:lnTo>
                  <a:lnTo>
                    <a:pt x="961" y="1701"/>
                  </a:lnTo>
                  <a:lnTo>
                    <a:pt x="961" y="1703"/>
                  </a:lnTo>
                  <a:lnTo>
                    <a:pt x="963" y="1703"/>
                  </a:lnTo>
                  <a:lnTo>
                    <a:pt x="961" y="1703"/>
                  </a:lnTo>
                  <a:lnTo>
                    <a:pt x="961" y="1705"/>
                  </a:lnTo>
                  <a:lnTo>
                    <a:pt x="961" y="1703"/>
                  </a:lnTo>
                  <a:lnTo>
                    <a:pt x="961" y="1705"/>
                  </a:lnTo>
                  <a:lnTo>
                    <a:pt x="961" y="1708"/>
                  </a:lnTo>
                  <a:lnTo>
                    <a:pt x="961" y="1710"/>
                  </a:lnTo>
                  <a:lnTo>
                    <a:pt x="961" y="1708"/>
                  </a:lnTo>
                  <a:lnTo>
                    <a:pt x="961" y="1710"/>
                  </a:lnTo>
                  <a:lnTo>
                    <a:pt x="961" y="1708"/>
                  </a:lnTo>
                  <a:lnTo>
                    <a:pt x="961" y="1710"/>
                  </a:lnTo>
                  <a:lnTo>
                    <a:pt x="961" y="1708"/>
                  </a:lnTo>
                  <a:lnTo>
                    <a:pt x="961" y="1710"/>
                  </a:lnTo>
                  <a:lnTo>
                    <a:pt x="963" y="1710"/>
                  </a:lnTo>
                  <a:lnTo>
                    <a:pt x="961" y="1710"/>
                  </a:lnTo>
                  <a:lnTo>
                    <a:pt x="963" y="1710"/>
                  </a:lnTo>
                  <a:lnTo>
                    <a:pt x="963" y="1708"/>
                  </a:lnTo>
                  <a:lnTo>
                    <a:pt x="961" y="1708"/>
                  </a:lnTo>
                  <a:lnTo>
                    <a:pt x="963" y="1708"/>
                  </a:lnTo>
                  <a:lnTo>
                    <a:pt x="963" y="1705"/>
                  </a:lnTo>
                  <a:lnTo>
                    <a:pt x="963" y="1708"/>
                  </a:lnTo>
                  <a:lnTo>
                    <a:pt x="963" y="1705"/>
                  </a:lnTo>
                  <a:lnTo>
                    <a:pt x="963" y="1708"/>
                  </a:lnTo>
                  <a:lnTo>
                    <a:pt x="963" y="1705"/>
                  </a:lnTo>
                  <a:lnTo>
                    <a:pt x="965" y="1705"/>
                  </a:lnTo>
                  <a:lnTo>
                    <a:pt x="965" y="1708"/>
                  </a:lnTo>
                  <a:lnTo>
                    <a:pt x="965" y="1705"/>
                  </a:lnTo>
                  <a:lnTo>
                    <a:pt x="965" y="1708"/>
                  </a:lnTo>
                  <a:lnTo>
                    <a:pt x="965" y="1705"/>
                  </a:lnTo>
                  <a:lnTo>
                    <a:pt x="965" y="1708"/>
                  </a:lnTo>
                  <a:lnTo>
                    <a:pt x="963" y="1708"/>
                  </a:lnTo>
                  <a:lnTo>
                    <a:pt x="965" y="1708"/>
                  </a:lnTo>
                  <a:lnTo>
                    <a:pt x="965" y="1705"/>
                  </a:lnTo>
                  <a:lnTo>
                    <a:pt x="965" y="1708"/>
                  </a:lnTo>
                  <a:lnTo>
                    <a:pt x="965" y="1705"/>
                  </a:lnTo>
                  <a:lnTo>
                    <a:pt x="965" y="1708"/>
                  </a:lnTo>
                  <a:lnTo>
                    <a:pt x="963" y="1708"/>
                  </a:lnTo>
                  <a:lnTo>
                    <a:pt x="965" y="1708"/>
                  </a:lnTo>
                  <a:lnTo>
                    <a:pt x="963" y="1708"/>
                  </a:lnTo>
                  <a:lnTo>
                    <a:pt x="963" y="1705"/>
                  </a:lnTo>
                  <a:lnTo>
                    <a:pt x="963" y="1708"/>
                  </a:lnTo>
                  <a:lnTo>
                    <a:pt x="963" y="1705"/>
                  </a:lnTo>
                  <a:lnTo>
                    <a:pt x="963" y="1708"/>
                  </a:lnTo>
                  <a:lnTo>
                    <a:pt x="963" y="1705"/>
                  </a:lnTo>
                  <a:lnTo>
                    <a:pt x="963" y="1708"/>
                  </a:lnTo>
                  <a:lnTo>
                    <a:pt x="963" y="1705"/>
                  </a:lnTo>
                  <a:lnTo>
                    <a:pt x="963" y="1708"/>
                  </a:lnTo>
                  <a:lnTo>
                    <a:pt x="965" y="1708"/>
                  </a:lnTo>
                  <a:lnTo>
                    <a:pt x="963" y="1708"/>
                  </a:lnTo>
                  <a:lnTo>
                    <a:pt x="963" y="1710"/>
                  </a:lnTo>
                  <a:lnTo>
                    <a:pt x="961" y="1710"/>
                  </a:lnTo>
                  <a:lnTo>
                    <a:pt x="961" y="1713"/>
                  </a:lnTo>
                  <a:lnTo>
                    <a:pt x="958" y="1713"/>
                  </a:lnTo>
                  <a:lnTo>
                    <a:pt x="958" y="1710"/>
                  </a:lnTo>
                  <a:lnTo>
                    <a:pt x="958" y="1713"/>
                  </a:lnTo>
                  <a:lnTo>
                    <a:pt x="958" y="1710"/>
                  </a:lnTo>
                  <a:lnTo>
                    <a:pt x="958" y="1713"/>
                  </a:lnTo>
                  <a:lnTo>
                    <a:pt x="958" y="1710"/>
                  </a:lnTo>
                  <a:lnTo>
                    <a:pt x="956" y="1710"/>
                  </a:lnTo>
                  <a:lnTo>
                    <a:pt x="958" y="1713"/>
                  </a:lnTo>
                  <a:lnTo>
                    <a:pt x="956" y="1713"/>
                  </a:lnTo>
                  <a:lnTo>
                    <a:pt x="958" y="1713"/>
                  </a:lnTo>
                  <a:lnTo>
                    <a:pt x="956" y="1713"/>
                  </a:lnTo>
                  <a:lnTo>
                    <a:pt x="956" y="1710"/>
                  </a:lnTo>
                  <a:lnTo>
                    <a:pt x="956" y="1713"/>
                  </a:lnTo>
                  <a:lnTo>
                    <a:pt x="956" y="1710"/>
                  </a:lnTo>
                  <a:lnTo>
                    <a:pt x="953" y="1710"/>
                  </a:lnTo>
                  <a:lnTo>
                    <a:pt x="956" y="1710"/>
                  </a:lnTo>
                  <a:lnTo>
                    <a:pt x="953" y="1710"/>
                  </a:lnTo>
                  <a:lnTo>
                    <a:pt x="956" y="1710"/>
                  </a:lnTo>
                  <a:lnTo>
                    <a:pt x="953" y="1710"/>
                  </a:lnTo>
                  <a:lnTo>
                    <a:pt x="956" y="1710"/>
                  </a:lnTo>
                  <a:lnTo>
                    <a:pt x="953" y="1710"/>
                  </a:lnTo>
                  <a:lnTo>
                    <a:pt x="953" y="1708"/>
                  </a:lnTo>
                  <a:lnTo>
                    <a:pt x="956" y="1708"/>
                  </a:lnTo>
                  <a:lnTo>
                    <a:pt x="956" y="1710"/>
                  </a:lnTo>
                  <a:lnTo>
                    <a:pt x="956" y="1708"/>
                  </a:lnTo>
                  <a:lnTo>
                    <a:pt x="953" y="1708"/>
                  </a:lnTo>
                  <a:lnTo>
                    <a:pt x="953" y="1710"/>
                  </a:lnTo>
                  <a:lnTo>
                    <a:pt x="953" y="1708"/>
                  </a:lnTo>
                  <a:lnTo>
                    <a:pt x="953" y="1710"/>
                  </a:lnTo>
                  <a:lnTo>
                    <a:pt x="953" y="1713"/>
                  </a:lnTo>
                  <a:lnTo>
                    <a:pt x="951" y="1713"/>
                  </a:lnTo>
                  <a:lnTo>
                    <a:pt x="951" y="1715"/>
                  </a:lnTo>
                  <a:lnTo>
                    <a:pt x="949" y="1715"/>
                  </a:lnTo>
                  <a:lnTo>
                    <a:pt x="946" y="1715"/>
                  </a:lnTo>
                  <a:lnTo>
                    <a:pt x="949" y="1715"/>
                  </a:lnTo>
                  <a:lnTo>
                    <a:pt x="946" y="1715"/>
                  </a:lnTo>
                  <a:lnTo>
                    <a:pt x="949" y="1715"/>
                  </a:lnTo>
                  <a:lnTo>
                    <a:pt x="946" y="1715"/>
                  </a:lnTo>
                  <a:lnTo>
                    <a:pt x="949" y="1715"/>
                  </a:lnTo>
                  <a:lnTo>
                    <a:pt x="949" y="1713"/>
                  </a:lnTo>
                  <a:lnTo>
                    <a:pt x="946" y="1713"/>
                  </a:lnTo>
                  <a:lnTo>
                    <a:pt x="949" y="1713"/>
                  </a:lnTo>
                  <a:lnTo>
                    <a:pt x="946" y="1713"/>
                  </a:lnTo>
                  <a:lnTo>
                    <a:pt x="946" y="1710"/>
                  </a:lnTo>
                  <a:lnTo>
                    <a:pt x="946" y="1708"/>
                  </a:lnTo>
                  <a:lnTo>
                    <a:pt x="946" y="1705"/>
                  </a:lnTo>
                  <a:lnTo>
                    <a:pt x="944" y="1705"/>
                  </a:lnTo>
                  <a:lnTo>
                    <a:pt x="944" y="1708"/>
                  </a:lnTo>
                  <a:lnTo>
                    <a:pt x="946" y="1708"/>
                  </a:lnTo>
                  <a:lnTo>
                    <a:pt x="944" y="1708"/>
                  </a:lnTo>
                  <a:lnTo>
                    <a:pt x="946" y="1708"/>
                  </a:lnTo>
                  <a:lnTo>
                    <a:pt x="944" y="1708"/>
                  </a:lnTo>
                  <a:lnTo>
                    <a:pt x="944" y="1705"/>
                  </a:lnTo>
                  <a:lnTo>
                    <a:pt x="944" y="1708"/>
                  </a:lnTo>
                  <a:lnTo>
                    <a:pt x="944" y="1705"/>
                  </a:lnTo>
                  <a:lnTo>
                    <a:pt x="944" y="1708"/>
                  </a:lnTo>
                  <a:lnTo>
                    <a:pt x="942" y="1708"/>
                  </a:lnTo>
                  <a:lnTo>
                    <a:pt x="942" y="1710"/>
                  </a:lnTo>
                  <a:lnTo>
                    <a:pt x="939" y="1710"/>
                  </a:lnTo>
                  <a:lnTo>
                    <a:pt x="942" y="1710"/>
                  </a:lnTo>
                  <a:lnTo>
                    <a:pt x="939" y="1710"/>
                  </a:lnTo>
                  <a:lnTo>
                    <a:pt x="942" y="1710"/>
                  </a:lnTo>
                  <a:lnTo>
                    <a:pt x="939" y="1710"/>
                  </a:lnTo>
                  <a:lnTo>
                    <a:pt x="939" y="1713"/>
                  </a:lnTo>
                  <a:lnTo>
                    <a:pt x="942" y="1713"/>
                  </a:lnTo>
                  <a:lnTo>
                    <a:pt x="942" y="1715"/>
                  </a:lnTo>
                  <a:lnTo>
                    <a:pt x="942" y="1713"/>
                  </a:lnTo>
                  <a:lnTo>
                    <a:pt x="942" y="1715"/>
                  </a:lnTo>
                  <a:lnTo>
                    <a:pt x="939" y="1715"/>
                  </a:lnTo>
                  <a:lnTo>
                    <a:pt x="942" y="1715"/>
                  </a:lnTo>
                  <a:lnTo>
                    <a:pt x="942" y="1717"/>
                  </a:lnTo>
                  <a:lnTo>
                    <a:pt x="942" y="1715"/>
                  </a:lnTo>
                  <a:lnTo>
                    <a:pt x="944" y="1715"/>
                  </a:lnTo>
                  <a:lnTo>
                    <a:pt x="944" y="1717"/>
                  </a:lnTo>
                  <a:lnTo>
                    <a:pt x="944" y="1720"/>
                  </a:lnTo>
                  <a:lnTo>
                    <a:pt x="942" y="1720"/>
                  </a:lnTo>
                  <a:lnTo>
                    <a:pt x="942" y="1722"/>
                  </a:lnTo>
                  <a:lnTo>
                    <a:pt x="942" y="1720"/>
                  </a:lnTo>
                  <a:lnTo>
                    <a:pt x="942" y="1722"/>
                  </a:lnTo>
                  <a:lnTo>
                    <a:pt x="944" y="1722"/>
                  </a:lnTo>
                  <a:lnTo>
                    <a:pt x="942" y="1722"/>
                  </a:lnTo>
                  <a:lnTo>
                    <a:pt x="944" y="1722"/>
                  </a:lnTo>
                  <a:lnTo>
                    <a:pt x="942" y="1722"/>
                  </a:lnTo>
                  <a:lnTo>
                    <a:pt x="944" y="1722"/>
                  </a:lnTo>
                  <a:lnTo>
                    <a:pt x="944" y="1720"/>
                  </a:lnTo>
                  <a:lnTo>
                    <a:pt x="944" y="1722"/>
                  </a:lnTo>
                  <a:lnTo>
                    <a:pt x="946" y="1722"/>
                  </a:lnTo>
                  <a:lnTo>
                    <a:pt x="944" y="1722"/>
                  </a:lnTo>
                  <a:lnTo>
                    <a:pt x="946" y="1722"/>
                  </a:lnTo>
                  <a:lnTo>
                    <a:pt x="944" y="1722"/>
                  </a:lnTo>
                  <a:lnTo>
                    <a:pt x="944" y="1724"/>
                  </a:lnTo>
                  <a:lnTo>
                    <a:pt x="944" y="1722"/>
                  </a:lnTo>
                  <a:lnTo>
                    <a:pt x="944" y="1724"/>
                  </a:lnTo>
                  <a:lnTo>
                    <a:pt x="942" y="1724"/>
                  </a:lnTo>
                  <a:lnTo>
                    <a:pt x="942" y="1722"/>
                  </a:lnTo>
                  <a:lnTo>
                    <a:pt x="939" y="1722"/>
                  </a:lnTo>
                  <a:lnTo>
                    <a:pt x="942" y="1722"/>
                  </a:lnTo>
                  <a:lnTo>
                    <a:pt x="939" y="1722"/>
                  </a:lnTo>
                  <a:lnTo>
                    <a:pt x="942" y="1722"/>
                  </a:lnTo>
                  <a:lnTo>
                    <a:pt x="939" y="1722"/>
                  </a:lnTo>
                  <a:lnTo>
                    <a:pt x="942" y="1722"/>
                  </a:lnTo>
                  <a:lnTo>
                    <a:pt x="939" y="1722"/>
                  </a:lnTo>
                  <a:lnTo>
                    <a:pt x="942" y="1722"/>
                  </a:lnTo>
                  <a:lnTo>
                    <a:pt x="939" y="1722"/>
                  </a:lnTo>
                  <a:lnTo>
                    <a:pt x="939" y="1720"/>
                  </a:lnTo>
                  <a:lnTo>
                    <a:pt x="939" y="1722"/>
                  </a:lnTo>
                  <a:lnTo>
                    <a:pt x="939" y="1720"/>
                  </a:lnTo>
                  <a:lnTo>
                    <a:pt x="942" y="1722"/>
                  </a:lnTo>
                  <a:lnTo>
                    <a:pt x="942" y="1720"/>
                  </a:lnTo>
                  <a:lnTo>
                    <a:pt x="939" y="1720"/>
                  </a:lnTo>
                  <a:lnTo>
                    <a:pt x="939" y="1717"/>
                  </a:lnTo>
                  <a:lnTo>
                    <a:pt x="939" y="1720"/>
                  </a:lnTo>
                  <a:lnTo>
                    <a:pt x="939" y="1717"/>
                  </a:lnTo>
                  <a:lnTo>
                    <a:pt x="939" y="1720"/>
                  </a:lnTo>
                  <a:lnTo>
                    <a:pt x="939" y="1717"/>
                  </a:lnTo>
                  <a:lnTo>
                    <a:pt x="939" y="1720"/>
                  </a:lnTo>
                  <a:lnTo>
                    <a:pt x="939" y="1717"/>
                  </a:lnTo>
                  <a:lnTo>
                    <a:pt x="939" y="1720"/>
                  </a:lnTo>
                  <a:lnTo>
                    <a:pt x="939" y="1717"/>
                  </a:lnTo>
                  <a:lnTo>
                    <a:pt x="939" y="1715"/>
                  </a:lnTo>
                  <a:lnTo>
                    <a:pt x="939" y="1717"/>
                  </a:lnTo>
                  <a:lnTo>
                    <a:pt x="939" y="1715"/>
                  </a:lnTo>
                  <a:lnTo>
                    <a:pt x="939" y="1713"/>
                  </a:lnTo>
                  <a:lnTo>
                    <a:pt x="939" y="1715"/>
                  </a:lnTo>
                  <a:lnTo>
                    <a:pt x="937" y="1715"/>
                  </a:lnTo>
                  <a:lnTo>
                    <a:pt x="939" y="1715"/>
                  </a:lnTo>
                  <a:lnTo>
                    <a:pt x="937" y="1715"/>
                  </a:lnTo>
                  <a:lnTo>
                    <a:pt x="937" y="1713"/>
                  </a:lnTo>
                  <a:lnTo>
                    <a:pt x="937" y="1710"/>
                  </a:lnTo>
                  <a:lnTo>
                    <a:pt x="937" y="1713"/>
                  </a:lnTo>
                  <a:lnTo>
                    <a:pt x="939" y="1713"/>
                  </a:lnTo>
                  <a:lnTo>
                    <a:pt x="937" y="1713"/>
                  </a:lnTo>
                  <a:lnTo>
                    <a:pt x="939" y="1713"/>
                  </a:lnTo>
                  <a:lnTo>
                    <a:pt x="937" y="1713"/>
                  </a:lnTo>
                  <a:lnTo>
                    <a:pt x="939" y="1713"/>
                  </a:lnTo>
                  <a:lnTo>
                    <a:pt x="937" y="1713"/>
                  </a:lnTo>
                  <a:lnTo>
                    <a:pt x="939" y="1713"/>
                  </a:lnTo>
                  <a:lnTo>
                    <a:pt x="937" y="1713"/>
                  </a:lnTo>
                  <a:lnTo>
                    <a:pt x="939" y="1713"/>
                  </a:lnTo>
                  <a:lnTo>
                    <a:pt x="937" y="1713"/>
                  </a:lnTo>
                  <a:lnTo>
                    <a:pt x="939" y="1713"/>
                  </a:lnTo>
                  <a:lnTo>
                    <a:pt x="937" y="1713"/>
                  </a:lnTo>
                  <a:lnTo>
                    <a:pt x="939" y="1713"/>
                  </a:lnTo>
                  <a:lnTo>
                    <a:pt x="939" y="1710"/>
                  </a:lnTo>
                  <a:lnTo>
                    <a:pt x="937" y="1710"/>
                  </a:lnTo>
                  <a:lnTo>
                    <a:pt x="939" y="1710"/>
                  </a:lnTo>
                  <a:lnTo>
                    <a:pt x="937" y="1710"/>
                  </a:lnTo>
                  <a:lnTo>
                    <a:pt x="937" y="1708"/>
                  </a:lnTo>
                  <a:lnTo>
                    <a:pt x="937" y="1710"/>
                  </a:lnTo>
                  <a:lnTo>
                    <a:pt x="937" y="1708"/>
                  </a:lnTo>
                  <a:lnTo>
                    <a:pt x="937" y="1710"/>
                  </a:lnTo>
                  <a:lnTo>
                    <a:pt x="937" y="1713"/>
                  </a:lnTo>
                  <a:lnTo>
                    <a:pt x="937" y="1710"/>
                  </a:lnTo>
                  <a:lnTo>
                    <a:pt x="934" y="1710"/>
                  </a:lnTo>
                  <a:lnTo>
                    <a:pt x="937" y="1710"/>
                  </a:lnTo>
                  <a:lnTo>
                    <a:pt x="937" y="1713"/>
                  </a:lnTo>
                  <a:lnTo>
                    <a:pt x="934" y="1713"/>
                  </a:lnTo>
                  <a:lnTo>
                    <a:pt x="937" y="1713"/>
                  </a:lnTo>
                  <a:lnTo>
                    <a:pt x="937" y="1715"/>
                  </a:lnTo>
                  <a:lnTo>
                    <a:pt x="937" y="1713"/>
                  </a:lnTo>
                  <a:lnTo>
                    <a:pt x="937" y="1715"/>
                  </a:lnTo>
                  <a:lnTo>
                    <a:pt x="937" y="1717"/>
                  </a:lnTo>
                  <a:lnTo>
                    <a:pt x="937" y="1720"/>
                  </a:lnTo>
                  <a:lnTo>
                    <a:pt x="937" y="1722"/>
                  </a:lnTo>
                  <a:lnTo>
                    <a:pt x="937" y="1724"/>
                  </a:lnTo>
                  <a:lnTo>
                    <a:pt x="934" y="1724"/>
                  </a:lnTo>
                  <a:lnTo>
                    <a:pt x="937" y="1724"/>
                  </a:lnTo>
                  <a:lnTo>
                    <a:pt x="934" y="1724"/>
                  </a:lnTo>
                  <a:lnTo>
                    <a:pt x="937" y="1724"/>
                  </a:lnTo>
                  <a:lnTo>
                    <a:pt x="934" y="1724"/>
                  </a:lnTo>
                  <a:lnTo>
                    <a:pt x="937" y="1724"/>
                  </a:lnTo>
                  <a:lnTo>
                    <a:pt x="934" y="1724"/>
                  </a:lnTo>
                  <a:lnTo>
                    <a:pt x="932" y="1724"/>
                  </a:lnTo>
                  <a:lnTo>
                    <a:pt x="932" y="1722"/>
                  </a:lnTo>
                  <a:lnTo>
                    <a:pt x="932" y="1720"/>
                  </a:lnTo>
                  <a:lnTo>
                    <a:pt x="930" y="1720"/>
                  </a:lnTo>
                  <a:lnTo>
                    <a:pt x="930" y="1717"/>
                  </a:lnTo>
                  <a:lnTo>
                    <a:pt x="932" y="1717"/>
                  </a:lnTo>
                  <a:lnTo>
                    <a:pt x="932" y="1720"/>
                  </a:lnTo>
                  <a:lnTo>
                    <a:pt x="932" y="1717"/>
                  </a:lnTo>
                  <a:lnTo>
                    <a:pt x="930" y="1717"/>
                  </a:lnTo>
                  <a:lnTo>
                    <a:pt x="932" y="1717"/>
                  </a:lnTo>
                  <a:lnTo>
                    <a:pt x="930" y="1717"/>
                  </a:lnTo>
                  <a:lnTo>
                    <a:pt x="930" y="1715"/>
                  </a:lnTo>
                  <a:lnTo>
                    <a:pt x="930" y="1713"/>
                  </a:lnTo>
                  <a:lnTo>
                    <a:pt x="930" y="1715"/>
                  </a:lnTo>
                  <a:lnTo>
                    <a:pt x="930" y="1713"/>
                  </a:lnTo>
                  <a:lnTo>
                    <a:pt x="927" y="1713"/>
                  </a:lnTo>
                  <a:lnTo>
                    <a:pt x="930" y="1713"/>
                  </a:lnTo>
                  <a:lnTo>
                    <a:pt x="927" y="1713"/>
                  </a:lnTo>
                  <a:lnTo>
                    <a:pt x="930" y="1713"/>
                  </a:lnTo>
                  <a:lnTo>
                    <a:pt x="930" y="1710"/>
                  </a:lnTo>
                  <a:lnTo>
                    <a:pt x="927" y="1713"/>
                  </a:lnTo>
                  <a:lnTo>
                    <a:pt x="927" y="1710"/>
                  </a:lnTo>
                  <a:lnTo>
                    <a:pt x="927" y="1713"/>
                  </a:lnTo>
                  <a:lnTo>
                    <a:pt x="927" y="1710"/>
                  </a:lnTo>
                  <a:lnTo>
                    <a:pt x="927" y="1713"/>
                  </a:lnTo>
                  <a:lnTo>
                    <a:pt x="927" y="1710"/>
                  </a:lnTo>
                  <a:lnTo>
                    <a:pt x="927" y="1713"/>
                  </a:lnTo>
                  <a:lnTo>
                    <a:pt x="927" y="1710"/>
                  </a:lnTo>
                  <a:lnTo>
                    <a:pt x="927" y="1713"/>
                  </a:lnTo>
                  <a:lnTo>
                    <a:pt x="927" y="1715"/>
                  </a:lnTo>
                  <a:lnTo>
                    <a:pt x="927" y="1713"/>
                  </a:lnTo>
                  <a:lnTo>
                    <a:pt x="927" y="1715"/>
                  </a:lnTo>
                  <a:lnTo>
                    <a:pt x="930" y="1715"/>
                  </a:lnTo>
                  <a:lnTo>
                    <a:pt x="927" y="1715"/>
                  </a:lnTo>
                  <a:lnTo>
                    <a:pt x="927" y="1717"/>
                  </a:lnTo>
                  <a:lnTo>
                    <a:pt x="930" y="1717"/>
                  </a:lnTo>
                  <a:lnTo>
                    <a:pt x="927" y="1717"/>
                  </a:lnTo>
                  <a:lnTo>
                    <a:pt x="927" y="1720"/>
                  </a:lnTo>
                  <a:lnTo>
                    <a:pt x="927" y="1717"/>
                  </a:lnTo>
                  <a:lnTo>
                    <a:pt x="927" y="1715"/>
                  </a:lnTo>
                  <a:lnTo>
                    <a:pt x="927" y="1713"/>
                  </a:lnTo>
                  <a:lnTo>
                    <a:pt x="927" y="1710"/>
                  </a:lnTo>
                  <a:lnTo>
                    <a:pt x="925" y="1708"/>
                  </a:lnTo>
                  <a:lnTo>
                    <a:pt x="925" y="1705"/>
                  </a:lnTo>
                  <a:lnTo>
                    <a:pt x="925" y="1703"/>
                  </a:lnTo>
                  <a:lnTo>
                    <a:pt x="925" y="1705"/>
                  </a:lnTo>
                  <a:lnTo>
                    <a:pt x="927" y="1705"/>
                  </a:lnTo>
                  <a:lnTo>
                    <a:pt x="927" y="1708"/>
                  </a:lnTo>
                  <a:lnTo>
                    <a:pt x="927" y="1705"/>
                  </a:lnTo>
                  <a:lnTo>
                    <a:pt x="925" y="1703"/>
                  </a:lnTo>
                  <a:lnTo>
                    <a:pt x="925" y="1701"/>
                  </a:lnTo>
                  <a:lnTo>
                    <a:pt x="927" y="1701"/>
                  </a:lnTo>
                  <a:lnTo>
                    <a:pt x="927" y="1698"/>
                  </a:lnTo>
                  <a:lnTo>
                    <a:pt x="927" y="1701"/>
                  </a:lnTo>
                  <a:lnTo>
                    <a:pt x="925" y="1701"/>
                  </a:lnTo>
                  <a:lnTo>
                    <a:pt x="923" y="1701"/>
                  </a:lnTo>
                  <a:lnTo>
                    <a:pt x="923" y="1698"/>
                  </a:lnTo>
                  <a:lnTo>
                    <a:pt x="925" y="1698"/>
                  </a:lnTo>
                  <a:lnTo>
                    <a:pt x="925" y="1696"/>
                  </a:lnTo>
                  <a:lnTo>
                    <a:pt x="925" y="1694"/>
                  </a:lnTo>
                  <a:lnTo>
                    <a:pt x="927" y="1694"/>
                  </a:lnTo>
                  <a:lnTo>
                    <a:pt x="927" y="1691"/>
                  </a:lnTo>
                  <a:lnTo>
                    <a:pt x="927" y="1689"/>
                  </a:lnTo>
                  <a:lnTo>
                    <a:pt x="930" y="1689"/>
                  </a:lnTo>
                  <a:lnTo>
                    <a:pt x="927" y="1689"/>
                  </a:lnTo>
                  <a:lnTo>
                    <a:pt x="930" y="1689"/>
                  </a:lnTo>
                  <a:lnTo>
                    <a:pt x="930" y="1686"/>
                  </a:lnTo>
                  <a:lnTo>
                    <a:pt x="930" y="1689"/>
                  </a:lnTo>
                  <a:lnTo>
                    <a:pt x="927" y="1689"/>
                  </a:lnTo>
                  <a:lnTo>
                    <a:pt x="927" y="1691"/>
                  </a:lnTo>
                  <a:lnTo>
                    <a:pt x="925" y="1694"/>
                  </a:lnTo>
                  <a:lnTo>
                    <a:pt x="925" y="1696"/>
                  </a:lnTo>
                  <a:lnTo>
                    <a:pt x="923" y="1696"/>
                  </a:lnTo>
                  <a:lnTo>
                    <a:pt x="925" y="1696"/>
                  </a:lnTo>
                  <a:lnTo>
                    <a:pt x="925" y="1698"/>
                  </a:lnTo>
                  <a:lnTo>
                    <a:pt x="923" y="1698"/>
                  </a:lnTo>
                  <a:lnTo>
                    <a:pt x="923" y="1701"/>
                  </a:lnTo>
                  <a:lnTo>
                    <a:pt x="920" y="1701"/>
                  </a:lnTo>
                  <a:lnTo>
                    <a:pt x="923" y="1701"/>
                  </a:lnTo>
                  <a:lnTo>
                    <a:pt x="925" y="1701"/>
                  </a:lnTo>
                  <a:lnTo>
                    <a:pt x="923" y="1701"/>
                  </a:lnTo>
                  <a:lnTo>
                    <a:pt x="923" y="1703"/>
                  </a:lnTo>
                  <a:lnTo>
                    <a:pt x="923" y="1701"/>
                  </a:lnTo>
                  <a:lnTo>
                    <a:pt x="920" y="1701"/>
                  </a:lnTo>
                  <a:lnTo>
                    <a:pt x="920" y="1703"/>
                  </a:lnTo>
                  <a:lnTo>
                    <a:pt x="923" y="1705"/>
                  </a:lnTo>
                  <a:lnTo>
                    <a:pt x="925" y="1708"/>
                  </a:lnTo>
                  <a:lnTo>
                    <a:pt x="925" y="1710"/>
                  </a:lnTo>
                  <a:lnTo>
                    <a:pt x="927" y="1710"/>
                  </a:lnTo>
                  <a:lnTo>
                    <a:pt x="927" y="1713"/>
                  </a:lnTo>
                  <a:lnTo>
                    <a:pt x="927" y="1715"/>
                  </a:lnTo>
                  <a:lnTo>
                    <a:pt x="927" y="1717"/>
                  </a:lnTo>
                  <a:lnTo>
                    <a:pt x="927" y="1720"/>
                  </a:lnTo>
                  <a:lnTo>
                    <a:pt x="930" y="1722"/>
                  </a:lnTo>
                  <a:lnTo>
                    <a:pt x="927" y="1722"/>
                  </a:lnTo>
                  <a:lnTo>
                    <a:pt x="930" y="1722"/>
                  </a:lnTo>
                  <a:lnTo>
                    <a:pt x="927" y="1724"/>
                  </a:lnTo>
                  <a:lnTo>
                    <a:pt x="927" y="1722"/>
                  </a:lnTo>
                  <a:lnTo>
                    <a:pt x="930" y="1722"/>
                  </a:lnTo>
                  <a:lnTo>
                    <a:pt x="927" y="1722"/>
                  </a:lnTo>
                  <a:lnTo>
                    <a:pt x="927" y="1720"/>
                  </a:lnTo>
                  <a:lnTo>
                    <a:pt x="927" y="1717"/>
                  </a:lnTo>
                  <a:lnTo>
                    <a:pt x="927" y="1715"/>
                  </a:lnTo>
                  <a:lnTo>
                    <a:pt x="927" y="1717"/>
                  </a:lnTo>
                  <a:lnTo>
                    <a:pt x="927" y="1715"/>
                  </a:lnTo>
                  <a:lnTo>
                    <a:pt x="925" y="1715"/>
                  </a:lnTo>
                  <a:lnTo>
                    <a:pt x="927" y="1715"/>
                  </a:lnTo>
                  <a:lnTo>
                    <a:pt x="925" y="1715"/>
                  </a:lnTo>
                  <a:lnTo>
                    <a:pt x="925" y="1713"/>
                  </a:lnTo>
                  <a:lnTo>
                    <a:pt x="927" y="1713"/>
                  </a:lnTo>
                  <a:lnTo>
                    <a:pt x="925" y="1713"/>
                  </a:lnTo>
                  <a:lnTo>
                    <a:pt x="927" y="1713"/>
                  </a:lnTo>
                  <a:lnTo>
                    <a:pt x="925" y="1713"/>
                  </a:lnTo>
                  <a:lnTo>
                    <a:pt x="927" y="1713"/>
                  </a:lnTo>
                  <a:lnTo>
                    <a:pt x="925" y="1713"/>
                  </a:lnTo>
                  <a:lnTo>
                    <a:pt x="925" y="1710"/>
                  </a:lnTo>
                  <a:lnTo>
                    <a:pt x="925" y="1713"/>
                  </a:lnTo>
                  <a:lnTo>
                    <a:pt x="925" y="1710"/>
                  </a:lnTo>
                  <a:lnTo>
                    <a:pt x="925" y="1713"/>
                  </a:lnTo>
                  <a:lnTo>
                    <a:pt x="925" y="1715"/>
                  </a:lnTo>
                  <a:lnTo>
                    <a:pt x="925" y="1717"/>
                  </a:lnTo>
                  <a:lnTo>
                    <a:pt x="925" y="1715"/>
                  </a:lnTo>
                  <a:lnTo>
                    <a:pt x="925" y="1717"/>
                  </a:lnTo>
                  <a:lnTo>
                    <a:pt x="925" y="1720"/>
                  </a:lnTo>
                  <a:lnTo>
                    <a:pt x="925" y="1717"/>
                  </a:lnTo>
                  <a:lnTo>
                    <a:pt x="925" y="1720"/>
                  </a:lnTo>
                  <a:lnTo>
                    <a:pt x="925" y="1717"/>
                  </a:lnTo>
                  <a:lnTo>
                    <a:pt x="923" y="1717"/>
                  </a:lnTo>
                  <a:lnTo>
                    <a:pt x="925" y="1717"/>
                  </a:lnTo>
                  <a:lnTo>
                    <a:pt x="923" y="1717"/>
                  </a:lnTo>
                  <a:lnTo>
                    <a:pt x="925" y="1717"/>
                  </a:lnTo>
                  <a:lnTo>
                    <a:pt x="923" y="1717"/>
                  </a:lnTo>
                  <a:lnTo>
                    <a:pt x="923" y="1720"/>
                  </a:lnTo>
                  <a:lnTo>
                    <a:pt x="923" y="1717"/>
                  </a:lnTo>
                  <a:lnTo>
                    <a:pt x="923" y="1720"/>
                  </a:lnTo>
                  <a:lnTo>
                    <a:pt x="923" y="1722"/>
                  </a:lnTo>
                  <a:lnTo>
                    <a:pt x="923" y="1720"/>
                  </a:lnTo>
                  <a:lnTo>
                    <a:pt x="923" y="1722"/>
                  </a:lnTo>
                  <a:lnTo>
                    <a:pt x="923" y="1720"/>
                  </a:lnTo>
                  <a:lnTo>
                    <a:pt x="920" y="1720"/>
                  </a:lnTo>
                  <a:lnTo>
                    <a:pt x="923" y="1720"/>
                  </a:lnTo>
                  <a:lnTo>
                    <a:pt x="920" y="1722"/>
                  </a:lnTo>
                  <a:lnTo>
                    <a:pt x="920" y="1720"/>
                  </a:lnTo>
                  <a:lnTo>
                    <a:pt x="920" y="1722"/>
                  </a:lnTo>
                  <a:lnTo>
                    <a:pt x="920" y="1720"/>
                  </a:lnTo>
                  <a:lnTo>
                    <a:pt x="920" y="1722"/>
                  </a:lnTo>
                  <a:lnTo>
                    <a:pt x="920" y="1724"/>
                  </a:lnTo>
                  <a:lnTo>
                    <a:pt x="918" y="1724"/>
                  </a:lnTo>
                  <a:lnTo>
                    <a:pt x="920" y="1724"/>
                  </a:lnTo>
                  <a:lnTo>
                    <a:pt x="918" y="1724"/>
                  </a:lnTo>
                  <a:lnTo>
                    <a:pt x="918" y="1727"/>
                  </a:lnTo>
                  <a:lnTo>
                    <a:pt x="918" y="1724"/>
                  </a:lnTo>
                  <a:lnTo>
                    <a:pt x="918" y="1727"/>
                  </a:lnTo>
                  <a:lnTo>
                    <a:pt x="918" y="1729"/>
                  </a:lnTo>
                  <a:lnTo>
                    <a:pt x="918" y="1732"/>
                  </a:lnTo>
                  <a:lnTo>
                    <a:pt x="918" y="1734"/>
                  </a:lnTo>
                  <a:lnTo>
                    <a:pt x="915" y="1734"/>
                  </a:lnTo>
                  <a:lnTo>
                    <a:pt x="915" y="1732"/>
                  </a:lnTo>
                  <a:lnTo>
                    <a:pt x="915" y="1734"/>
                  </a:lnTo>
                  <a:lnTo>
                    <a:pt x="915" y="1736"/>
                  </a:lnTo>
                  <a:lnTo>
                    <a:pt x="915" y="1734"/>
                  </a:lnTo>
                  <a:lnTo>
                    <a:pt x="915" y="1736"/>
                  </a:lnTo>
                  <a:lnTo>
                    <a:pt x="913" y="1736"/>
                  </a:lnTo>
                  <a:lnTo>
                    <a:pt x="915" y="1736"/>
                  </a:lnTo>
                  <a:lnTo>
                    <a:pt x="913" y="1736"/>
                  </a:lnTo>
                  <a:lnTo>
                    <a:pt x="913" y="1734"/>
                  </a:lnTo>
                  <a:lnTo>
                    <a:pt x="913" y="1736"/>
                  </a:lnTo>
                  <a:lnTo>
                    <a:pt x="913" y="1739"/>
                  </a:lnTo>
                  <a:lnTo>
                    <a:pt x="913" y="1736"/>
                  </a:lnTo>
                  <a:lnTo>
                    <a:pt x="913" y="1739"/>
                  </a:lnTo>
                  <a:lnTo>
                    <a:pt x="913" y="1741"/>
                  </a:lnTo>
                  <a:lnTo>
                    <a:pt x="911" y="1741"/>
                  </a:lnTo>
                  <a:lnTo>
                    <a:pt x="911" y="1743"/>
                  </a:lnTo>
                  <a:lnTo>
                    <a:pt x="911" y="1746"/>
                  </a:lnTo>
                  <a:lnTo>
                    <a:pt x="911" y="1748"/>
                  </a:lnTo>
                  <a:lnTo>
                    <a:pt x="911" y="1751"/>
                  </a:lnTo>
                  <a:lnTo>
                    <a:pt x="911" y="1748"/>
                  </a:lnTo>
                  <a:lnTo>
                    <a:pt x="908" y="1748"/>
                  </a:lnTo>
                  <a:lnTo>
                    <a:pt x="908" y="1751"/>
                  </a:lnTo>
                  <a:lnTo>
                    <a:pt x="908" y="1753"/>
                  </a:lnTo>
                  <a:lnTo>
                    <a:pt x="908" y="1755"/>
                  </a:lnTo>
                  <a:lnTo>
                    <a:pt x="908" y="1753"/>
                  </a:lnTo>
                  <a:lnTo>
                    <a:pt x="906" y="1753"/>
                  </a:lnTo>
                  <a:lnTo>
                    <a:pt x="906" y="1751"/>
                  </a:lnTo>
                  <a:lnTo>
                    <a:pt x="904" y="1751"/>
                  </a:lnTo>
                  <a:lnTo>
                    <a:pt x="904" y="1753"/>
                  </a:lnTo>
                  <a:lnTo>
                    <a:pt x="901" y="1753"/>
                  </a:lnTo>
                  <a:lnTo>
                    <a:pt x="904" y="1753"/>
                  </a:lnTo>
                  <a:lnTo>
                    <a:pt x="906" y="1753"/>
                  </a:lnTo>
                  <a:lnTo>
                    <a:pt x="906" y="1755"/>
                  </a:lnTo>
                  <a:lnTo>
                    <a:pt x="906" y="1758"/>
                  </a:lnTo>
                  <a:lnTo>
                    <a:pt x="904" y="1758"/>
                  </a:lnTo>
                  <a:lnTo>
                    <a:pt x="904" y="1755"/>
                  </a:lnTo>
                  <a:lnTo>
                    <a:pt x="904" y="1758"/>
                  </a:lnTo>
                  <a:lnTo>
                    <a:pt x="904" y="1755"/>
                  </a:lnTo>
                  <a:lnTo>
                    <a:pt x="901" y="1755"/>
                  </a:lnTo>
                  <a:lnTo>
                    <a:pt x="901" y="1758"/>
                  </a:lnTo>
                  <a:lnTo>
                    <a:pt x="899" y="1758"/>
                  </a:lnTo>
                  <a:lnTo>
                    <a:pt x="899" y="1755"/>
                  </a:lnTo>
                  <a:lnTo>
                    <a:pt x="899" y="1758"/>
                  </a:lnTo>
                  <a:lnTo>
                    <a:pt x="896" y="1758"/>
                  </a:lnTo>
                  <a:lnTo>
                    <a:pt x="899" y="1758"/>
                  </a:lnTo>
                  <a:lnTo>
                    <a:pt x="896" y="1758"/>
                  </a:lnTo>
                  <a:lnTo>
                    <a:pt x="896" y="1760"/>
                  </a:lnTo>
                  <a:lnTo>
                    <a:pt x="899" y="1760"/>
                  </a:lnTo>
                  <a:lnTo>
                    <a:pt x="896" y="1760"/>
                  </a:lnTo>
                  <a:lnTo>
                    <a:pt x="899" y="1760"/>
                  </a:lnTo>
                  <a:lnTo>
                    <a:pt x="899" y="1762"/>
                  </a:lnTo>
                  <a:lnTo>
                    <a:pt x="899" y="1765"/>
                  </a:lnTo>
                  <a:lnTo>
                    <a:pt x="901" y="1765"/>
                  </a:lnTo>
                  <a:lnTo>
                    <a:pt x="899" y="1765"/>
                  </a:lnTo>
                  <a:lnTo>
                    <a:pt x="901" y="1765"/>
                  </a:lnTo>
                  <a:lnTo>
                    <a:pt x="899" y="1765"/>
                  </a:lnTo>
                  <a:lnTo>
                    <a:pt x="901" y="1765"/>
                  </a:lnTo>
                  <a:lnTo>
                    <a:pt x="899" y="1765"/>
                  </a:lnTo>
                  <a:lnTo>
                    <a:pt x="896" y="1765"/>
                  </a:lnTo>
                  <a:lnTo>
                    <a:pt x="894" y="1765"/>
                  </a:lnTo>
                  <a:lnTo>
                    <a:pt x="894" y="1762"/>
                  </a:lnTo>
                  <a:lnTo>
                    <a:pt x="894" y="1765"/>
                  </a:lnTo>
                  <a:lnTo>
                    <a:pt x="896" y="1765"/>
                  </a:lnTo>
                  <a:lnTo>
                    <a:pt x="896" y="1767"/>
                  </a:lnTo>
                  <a:lnTo>
                    <a:pt x="899" y="1767"/>
                  </a:lnTo>
                  <a:lnTo>
                    <a:pt x="896" y="1767"/>
                  </a:lnTo>
                  <a:lnTo>
                    <a:pt x="899" y="1767"/>
                  </a:lnTo>
                  <a:lnTo>
                    <a:pt x="899" y="1765"/>
                  </a:lnTo>
                  <a:lnTo>
                    <a:pt x="899" y="1767"/>
                  </a:lnTo>
                  <a:lnTo>
                    <a:pt x="901" y="1767"/>
                  </a:lnTo>
                  <a:lnTo>
                    <a:pt x="901" y="1770"/>
                  </a:lnTo>
                  <a:lnTo>
                    <a:pt x="904" y="1770"/>
                  </a:lnTo>
                  <a:lnTo>
                    <a:pt x="904" y="1772"/>
                  </a:lnTo>
                  <a:lnTo>
                    <a:pt x="906" y="1774"/>
                  </a:lnTo>
                  <a:lnTo>
                    <a:pt x="906" y="1777"/>
                  </a:lnTo>
                  <a:lnTo>
                    <a:pt x="906" y="1774"/>
                  </a:lnTo>
                  <a:lnTo>
                    <a:pt x="906" y="1777"/>
                  </a:lnTo>
                  <a:lnTo>
                    <a:pt x="908" y="1777"/>
                  </a:lnTo>
                  <a:lnTo>
                    <a:pt x="906" y="1777"/>
                  </a:lnTo>
                  <a:lnTo>
                    <a:pt x="908" y="1777"/>
                  </a:lnTo>
                  <a:lnTo>
                    <a:pt x="911" y="1777"/>
                  </a:lnTo>
                  <a:lnTo>
                    <a:pt x="911" y="1779"/>
                  </a:lnTo>
                  <a:lnTo>
                    <a:pt x="911" y="1781"/>
                  </a:lnTo>
                  <a:lnTo>
                    <a:pt x="913" y="1781"/>
                  </a:lnTo>
                  <a:lnTo>
                    <a:pt x="913" y="1784"/>
                  </a:lnTo>
                  <a:lnTo>
                    <a:pt x="913" y="1786"/>
                  </a:lnTo>
                  <a:lnTo>
                    <a:pt x="915" y="1786"/>
                  </a:lnTo>
                  <a:lnTo>
                    <a:pt x="915" y="1789"/>
                  </a:lnTo>
                  <a:lnTo>
                    <a:pt x="915" y="1791"/>
                  </a:lnTo>
                  <a:lnTo>
                    <a:pt x="918" y="1791"/>
                  </a:lnTo>
                  <a:lnTo>
                    <a:pt x="918" y="1793"/>
                  </a:lnTo>
                  <a:lnTo>
                    <a:pt x="920" y="1793"/>
                  </a:lnTo>
                  <a:lnTo>
                    <a:pt x="920" y="1796"/>
                  </a:lnTo>
                  <a:lnTo>
                    <a:pt x="920" y="1793"/>
                  </a:lnTo>
                  <a:lnTo>
                    <a:pt x="920" y="1796"/>
                  </a:lnTo>
                  <a:lnTo>
                    <a:pt x="920" y="1793"/>
                  </a:lnTo>
                  <a:lnTo>
                    <a:pt x="920" y="1796"/>
                  </a:lnTo>
                  <a:lnTo>
                    <a:pt x="920" y="1793"/>
                  </a:lnTo>
                  <a:lnTo>
                    <a:pt x="920" y="1796"/>
                  </a:lnTo>
                  <a:lnTo>
                    <a:pt x="920" y="1793"/>
                  </a:lnTo>
                  <a:lnTo>
                    <a:pt x="923" y="1793"/>
                  </a:lnTo>
                  <a:lnTo>
                    <a:pt x="925" y="1791"/>
                  </a:lnTo>
                  <a:lnTo>
                    <a:pt x="927" y="1791"/>
                  </a:lnTo>
                  <a:lnTo>
                    <a:pt x="927" y="1793"/>
                  </a:lnTo>
                  <a:lnTo>
                    <a:pt x="925" y="1793"/>
                  </a:lnTo>
                  <a:lnTo>
                    <a:pt x="925" y="1796"/>
                  </a:lnTo>
                  <a:lnTo>
                    <a:pt x="925" y="1798"/>
                  </a:lnTo>
                  <a:lnTo>
                    <a:pt x="923" y="1798"/>
                  </a:lnTo>
                  <a:lnTo>
                    <a:pt x="923" y="1800"/>
                  </a:lnTo>
                  <a:lnTo>
                    <a:pt x="923" y="1803"/>
                  </a:lnTo>
                  <a:lnTo>
                    <a:pt x="920" y="1805"/>
                  </a:lnTo>
                  <a:lnTo>
                    <a:pt x="923" y="1803"/>
                  </a:lnTo>
                  <a:lnTo>
                    <a:pt x="920" y="1805"/>
                  </a:lnTo>
                  <a:lnTo>
                    <a:pt x="923" y="1805"/>
                  </a:lnTo>
                  <a:lnTo>
                    <a:pt x="920" y="1805"/>
                  </a:lnTo>
                  <a:lnTo>
                    <a:pt x="923" y="1805"/>
                  </a:lnTo>
                  <a:lnTo>
                    <a:pt x="920" y="1808"/>
                  </a:lnTo>
                  <a:lnTo>
                    <a:pt x="920" y="1810"/>
                  </a:lnTo>
                  <a:lnTo>
                    <a:pt x="920" y="1815"/>
                  </a:lnTo>
                  <a:lnTo>
                    <a:pt x="920" y="1817"/>
                  </a:lnTo>
                  <a:lnTo>
                    <a:pt x="920" y="1819"/>
                  </a:lnTo>
                  <a:lnTo>
                    <a:pt x="923" y="1819"/>
                  </a:lnTo>
                  <a:lnTo>
                    <a:pt x="920" y="1819"/>
                  </a:lnTo>
                  <a:lnTo>
                    <a:pt x="923" y="1819"/>
                  </a:lnTo>
                  <a:lnTo>
                    <a:pt x="920" y="1819"/>
                  </a:lnTo>
                  <a:lnTo>
                    <a:pt x="923" y="1819"/>
                  </a:lnTo>
                  <a:lnTo>
                    <a:pt x="920" y="1819"/>
                  </a:lnTo>
                  <a:lnTo>
                    <a:pt x="923" y="1819"/>
                  </a:lnTo>
                  <a:lnTo>
                    <a:pt x="920" y="1822"/>
                  </a:lnTo>
                  <a:lnTo>
                    <a:pt x="920" y="1824"/>
                  </a:lnTo>
                  <a:lnTo>
                    <a:pt x="918" y="1827"/>
                  </a:lnTo>
                  <a:lnTo>
                    <a:pt x="918" y="1831"/>
                  </a:lnTo>
                  <a:lnTo>
                    <a:pt x="918" y="1834"/>
                  </a:lnTo>
                  <a:lnTo>
                    <a:pt x="920" y="1834"/>
                  </a:lnTo>
                  <a:lnTo>
                    <a:pt x="923" y="1836"/>
                  </a:lnTo>
                  <a:lnTo>
                    <a:pt x="923" y="1838"/>
                  </a:lnTo>
                  <a:lnTo>
                    <a:pt x="925" y="1838"/>
                  </a:lnTo>
                  <a:lnTo>
                    <a:pt x="927" y="1841"/>
                  </a:lnTo>
                  <a:lnTo>
                    <a:pt x="927" y="1843"/>
                  </a:lnTo>
                  <a:lnTo>
                    <a:pt x="927" y="1846"/>
                  </a:lnTo>
                  <a:lnTo>
                    <a:pt x="927" y="1848"/>
                  </a:lnTo>
                  <a:lnTo>
                    <a:pt x="927" y="1850"/>
                  </a:lnTo>
                  <a:lnTo>
                    <a:pt x="930" y="1850"/>
                  </a:lnTo>
                  <a:lnTo>
                    <a:pt x="930" y="1853"/>
                  </a:lnTo>
                  <a:lnTo>
                    <a:pt x="930" y="1850"/>
                  </a:lnTo>
                  <a:lnTo>
                    <a:pt x="930" y="1853"/>
                  </a:lnTo>
                  <a:lnTo>
                    <a:pt x="932" y="1853"/>
                  </a:lnTo>
                  <a:lnTo>
                    <a:pt x="932" y="1855"/>
                  </a:lnTo>
                  <a:lnTo>
                    <a:pt x="934" y="1857"/>
                  </a:lnTo>
                  <a:lnTo>
                    <a:pt x="934" y="1860"/>
                  </a:lnTo>
                  <a:lnTo>
                    <a:pt x="937" y="1860"/>
                  </a:lnTo>
                  <a:lnTo>
                    <a:pt x="937" y="1862"/>
                  </a:lnTo>
                  <a:lnTo>
                    <a:pt x="939" y="1865"/>
                  </a:lnTo>
                  <a:lnTo>
                    <a:pt x="942" y="1867"/>
                  </a:lnTo>
                  <a:lnTo>
                    <a:pt x="942" y="1869"/>
                  </a:lnTo>
                  <a:lnTo>
                    <a:pt x="944" y="1872"/>
                  </a:lnTo>
                  <a:lnTo>
                    <a:pt x="944" y="1874"/>
                  </a:lnTo>
                  <a:lnTo>
                    <a:pt x="946" y="1874"/>
                  </a:lnTo>
                  <a:lnTo>
                    <a:pt x="946" y="1876"/>
                  </a:lnTo>
                  <a:lnTo>
                    <a:pt x="946" y="1879"/>
                  </a:lnTo>
                  <a:lnTo>
                    <a:pt x="946" y="1881"/>
                  </a:lnTo>
                  <a:lnTo>
                    <a:pt x="949" y="1881"/>
                  </a:lnTo>
                  <a:lnTo>
                    <a:pt x="949" y="1884"/>
                  </a:lnTo>
                  <a:lnTo>
                    <a:pt x="951" y="1884"/>
                  </a:lnTo>
                  <a:lnTo>
                    <a:pt x="953" y="1884"/>
                  </a:lnTo>
                  <a:lnTo>
                    <a:pt x="953" y="1886"/>
                  </a:lnTo>
                  <a:lnTo>
                    <a:pt x="956" y="1886"/>
                  </a:lnTo>
                  <a:lnTo>
                    <a:pt x="956" y="1888"/>
                  </a:lnTo>
                  <a:lnTo>
                    <a:pt x="953" y="1888"/>
                  </a:lnTo>
                  <a:lnTo>
                    <a:pt x="953" y="1891"/>
                  </a:lnTo>
                  <a:lnTo>
                    <a:pt x="951" y="1891"/>
                  </a:lnTo>
                  <a:lnTo>
                    <a:pt x="951" y="1893"/>
                  </a:lnTo>
                  <a:lnTo>
                    <a:pt x="951" y="1895"/>
                  </a:lnTo>
                  <a:lnTo>
                    <a:pt x="949" y="1895"/>
                  </a:lnTo>
                  <a:lnTo>
                    <a:pt x="949" y="1898"/>
                  </a:lnTo>
                  <a:lnTo>
                    <a:pt x="946" y="1898"/>
                  </a:lnTo>
                  <a:lnTo>
                    <a:pt x="946" y="1900"/>
                  </a:lnTo>
                  <a:lnTo>
                    <a:pt x="944" y="1900"/>
                  </a:lnTo>
                  <a:lnTo>
                    <a:pt x="942" y="1903"/>
                  </a:lnTo>
                  <a:lnTo>
                    <a:pt x="939" y="1903"/>
                  </a:lnTo>
                  <a:lnTo>
                    <a:pt x="937" y="1903"/>
                  </a:lnTo>
                  <a:lnTo>
                    <a:pt x="937" y="1905"/>
                  </a:lnTo>
                  <a:lnTo>
                    <a:pt x="939" y="1905"/>
                  </a:lnTo>
                  <a:lnTo>
                    <a:pt x="937" y="1905"/>
                  </a:lnTo>
                  <a:lnTo>
                    <a:pt x="937" y="1907"/>
                  </a:lnTo>
                  <a:lnTo>
                    <a:pt x="934" y="1910"/>
                  </a:lnTo>
                  <a:lnTo>
                    <a:pt x="932" y="1912"/>
                  </a:lnTo>
                  <a:lnTo>
                    <a:pt x="932" y="1914"/>
                  </a:lnTo>
                  <a:lnTo>
                    <a:pt x="930" y="1914"/>
                  </a:lnTo>
                  <a:lnTo>
                    <a:pt x="930" y="1917"/>
                  </a:lnTo>
                  <a:lnTo>
                    <a:pt x="927" y="1917"/>
                  </a:lnTo>
                  <a:lnTo>
                    <a:pt x="927" y="1914"/>
                  </a:lnTo>
                  <a:lnTo>
                    <a:pt x="925" y="1914"/>
                  </a:lnTo>
                  <a:lnTo>
                    <a:pt x="923" y="1914"/>
                  </a:lnTo>
                  <a:lnTo>
                    <a:pt x="923" y="1917"/>
                  </a:lnTo>
                  <a:lnTo>
                    <a:pt x="920" y="1917"/>
                  </a:lnTo>
                  <a:lnTo>
                    <a:pt x="920" y="1914"/>
                  </a:lnTo>
                  <a:lnTo>
                    <a:pt x="920" y="1912"/>
                  </a:lnTo>
                  <a:lnTo>
                    <a:pt x="918" y="1912"/>
                  </a:lnTo>
                  <a:lnTo>
                    <a:pt x="915" y="1912"/>
                  </a:lnTo>
                  <a:lnTo>
                    <a:pt x="913" y="1912"/>
                  </a:lnTo>
                  <a:lnTo>
                    <a:pt x="913" y="1910"/>
                  </a:lnTo>
                  <a:lnTo>
                    <a:pt x="911" y="1910"/>
                  </a:lnTo>
                  <a:lnTo>
                    <a:pt x="911" y="1907"/>
                  </a:lnTo>
                  <a:lnTo>
                    <a:pt x="911" y="1905"/>
                  </a:lnTo>
                  <a:lnTo>
                    <a:pt x="911" y="1903"/>
                  </a:lnTo>
                  <a:lnTo>
                    <a:pt x="908" y="1903"/>
                  </a:lnTo>
                  <a:lnTo>
                    <a:pt x="908" y="1900"/>
                  </a:lnTo>
                  <a:lnTo>
                    <a:pt x="906" y="1900"/>
                  </a:lnTo>
                  <a:lnTo>
                    <a:pt x="906" y="1898"/>
                  </a:lnTo>
                  <a:lnTo>
                    <a:pt x="906" y="1900"/>
                  </a:lnTo>
                  <a:lnTo>
                    <a:pt x="904" y="1900"/>
                  </a:lnTo>
                  <a:lnTo>
                    <a:pt x="904" y="1898"/>
                  </a:lnTo>
                  <a:lnTo>
                    <a:pt x="904" y="1895"/>
                  </a:lnTo>
                  <a:lnTo>
                    <a:pt x="901" y="1895"/>
                  </a:lnTo>
                  <a:lnTo>
                    <a:pt x="901" y="1893"/>
                  </a:lnTo>
                  <a:lnTo>
                    <a:pt x="901" y="1891"/>
                  </a:lnTo>
                  <a:lnTo>
                    <a:pt x="899" y="1891"/>
                  </a:lnTo>
                  <a:lnTo>
                    <a:pt x="899" y="1893"/>
                  </a:lnTo>
                  <a:lnTo>
                    <a:pt x="899" y="1891"/>
                  </a:lnTo>
                  <a:lnTo>
                    <a:pt x="896" y="1891"/>
                  </a:lnTo>
                  <a:lnTo>
                    <a:pt x="896" y="1888"/>
                  </a:lnTo>
                  <a:lnTo>
                    <a:pt x="894" y="1886"/>
                  </a:lnTo>
                  <a:lnTo>
                    <a:pt x="894" y="1888"/>
                  </a:lnTo>
                  <a:lnTo>
                    <a:pt x="894" y="1886"/>
                  </a:lnTo>
                  <a:lnTo>
                    <a:pt x="892" y="1886"/>
                  </a:lnTo>
                  <a:lnTo>
                    <a:pt x="889" y="1886"/>
                  </a:lnTo>
                  <a:lnTo>
                    <a:pt x="889" y="1888"/>
                  </a:lnTo>
                  <a:lnTo>
                    <a:pt x="887" y="1886"/>
                  </a:lnTo>
                  <a:lnTo>
                    <a:pt x="889" y="1886"/>
                  </a:lnTo>
                  <a:lnTo>
                    <a:pt x="887" y="1886"/>
                  </a:lnTo>
                  <a:lnTo>
                    <a:pt x="887" y="1884"/>
                  </a:lnTo>
                  <a:lnTo>
                    <a:pt x="887" y="1886"/>
                  </a:lnTo>
                  <a:lnTo>
                    <a:pt x="885" y="1886"/>
                  </a:lnTo>
                  <a:lnTo>
                    <a:pt x="885" y="1884"/>
                  </a:lnTo>
                  <a:lnTo>
                    <a:pt x="882" y="1884"/>
                  </a:lnTo>
                  <a:lnTo>
                    <a:pt x="882" y="1881"/>
                  </a:lnTo>
                  <a:lnTo>
                    <a:pt x="882" y="1884"/>
                  </a:lnTo>
                  <a:lnTo>
                    <a:pt x="882" y="1881"/>
                  </a:lnTo>
                  <a:lnTo>
                    <a:pt x="880" y="1881"/>
                  </a:lnTo>
                  <a:lnTo>
                    <a:pt x="880" y="1884"/>
                  </a:lnTo>
                  <a:lnTo>
                    <a:pt x="880" y="1881"/>
                  </a:lnTo>
                  <a:lnTo>
                    <a:pt x="877" y="1881"/>
                  </a:lnTo>
                  <a:lnTo>
                    <a:pt x="877" y="1879"/>
                  </a:lnTo>
                  <a:lnTo>
                    <a:pt x="875" y="1879"/>
                  </a:lnTo>
                  <a:lnTo>
                    <a:pt x="873" y="1879"/>
                  </a:lnTo>
                  <a:lnTo>
                    <a:pt x="873" y="1881"/>
                  </a:lnTo>
                  <a:lnTo>
                    <a:pt x="873" y="1879"/>
                  </a:lnTo>
                  <a:lnTo>
                    <a:pt x="873" y="1876"/>
                  </a:lnTo>
                  <a:lnTo>
                    <a:pt x="873" y="1879"/>
                  </a:lnTo>
                  <a:lnTo>
                    <a:pt x="870" y="1879"/>
                  </a:lnTo>
                  <a:lnTo>
                    <a:pt x="870" y="1876"/>
                  </a:lnTo>
                  <a:lnTo>
                    <a:pt x="868" y="1879"/>
                  </a:lnTo>
                  <a:lnTo>
                    <a:pt x="868" y="1876"/>
                  </a:lnTo>
                  <a:lnTo>
                    <a:pt x="868" y="1874"/>
                  </a:lnTo>
                  <a:lnTo>
                    <a:pt x="866" y="1874"/>
                  </a:lnTo>
                  <a:lnTo>
                    <a:pt x="863" y="1874"/>
                  </a:lnTo>
                  <a:lnTo>
                    <a:pt x="861" y="1874"/>
                  </a:lnTo>
                  <a:lnTo>
                    <a:pt x="861" y="1872"/>
                  </a:lnTo>
                  <a:lnTo>
                    <a:pt x="858" y="1872"/>
                  </a:lnTo>
                  <a:lnTo>
                    <a:pt x="858" y="1869"/>
                  </a:lnTo>
                  <a:lnTo>
                    <a:pt x="856" y="1869"/>
                  </a:lnTo>
                  <a:lnTo>
                    <a:pt x="858" y="1867"/>
                  </a:lnTo>
                  <a:lnTo>
                    <a:pt x="861" y="1867"/>
                  </a:lnTo>
                  <a:lnTo>
                    <a:pt x="861" y="1865"/>
                  </a:lnTo>
                  <a:lnTo>
                    <a:pt x="861" y="1862"/>
                  </a:lnTo>
                  <a:lnTo>
                    <a:pt x="861" y="1860"/>
                  </a:lnTo>
                  <a:lnTo>
                    <a:pt x="863" y="1860"/>
                  </a:lnTo>
                  <a:lnTo>
                    <a:pt x="863" y="1857"/>
                  </a:lnTo>
                  <a:lnTo>
                    <a:pt x="861" y="1857"/>
                  </a:lnTo>
                  <a:lnTo>
                    <a:pt x="858" y="1855"/>
                  </a:lnTo>
                  <a:lnTo>
                    <a:pt x="858" y="1857"/>
                  </a:lnTo>
                  <a:lnTo>
                    <a:pt x="858" y="1855"/>
                  </a:lnTo>
                  <a:lnTo>
                    <a:pt x="856" y="1855"/>
                  </a:lnTo>
                  <a:lnTo>
                    <a:pt x="854" y="1855"/>
                  </a:lnTo>
                  <a:lnTo>
                    <a:pt x="851" y="1855"/>
                  </a:lnTo>
                  <a:lnTo>
                    <a:pt x="849" y="1855"/>
                  </a:lnTo>
                  <a:lnTo>
                    <a:pt x="847" y="1855"/>
                  </a:lnTo>
                  <a:lnTo>
                    <a:pt x="847" y="1853"/>
                  </a:lnTo>
                  <a:lnTo>
                    <a:pt x="847" y="1850"/>
                  </a:lnTo>
                  <a:lnTo>
                    <a:pt x="847" y="1853"/>
                  </a:lnTo>
                  <a:lnTo>
                    <a:pt x="844" y="1850"/>
                  </a:lnTo>
                  <a:lnTo>
                    <a:pt x="844" y="1848"/>
                  </a:lnTo>
                  <a:lnTo>
                    <a:pt x="842" y="1848"/>
                  </a:lnTo>
                  <a:lnTo>
                    <a:pt x="840" y="1848"/>
                  </a:lnTo>
                  <a:lnTo>
                    <a:pt x="837" y="1848"/>
                  </a:lnTo>
                  <a:lnTo>
                    <a:pt x="837" y="1846"/>
                  </a:lnTo>
                  <a:lnTo>
                    <a:pt x="835" y="1846"/>
                  </a:lnTo>
                  <a:lnTo>
                    <a:pt x="832" y="1846"/>
                  </a:lnTo>
                  <a:lnTo>
                    <a:pt x="832" y="1848"/>
                  </a:lnTo>
                  <a:lnTo>
                    <a:pt x="832" y="1850"/>
                  </a:lnTo>
                  <a:lnTo>
                    <a:pt x="830" y="1850"/>
                  </a:lnTo>
                  <a:lnTo>
                    <a:pt x="832" y="1850"/>
                  </a:lnTo>
                  <a:lnTo>
                    <a:pt x="830" y="1850"/>
                  </a:lnTo>
                  <a:lnTo>
                    <a:pt x="830" y="1848"/>
                  </a:lnTo>
                  <a:lnTo>
                    <a:pt x="828" y="1848"/>
                  </a:lnTo>
                  <a:lnTo>
                    <a:pt x="828" y="1846"/>
                  </a:lnTo>
                  <a:lnTo>
                    <a:pt x="825" y="1846"/>
                  </a:lnTo>
                  <a:lnTo>
                    <a:pt x="823" y="1846"/>
                  </a:lnTo>
                  <a:lnTo>
                    <a:pt x="823" y="1843"/>
                  </a:lnTo>
                  <a:lnTo>
                    <a:pt x="823" y="1846"/>
                  </a:lnTo>
                  <a:lnTo>
                    <a:pt x="821" y="1846"/>
                  </a:lnTo>
                  <a:lnTo>
                    <a:pt x="821" y="1848"/>
                  </a:lnTo>
                  <a:lnTo>
                    <a:pt x="818" y="1846"/>
                  </a:lnTo>
                  <a:lnTo>
                    <a:pt x="818" y="1848"/>
                  </a:lnTo>
                  <a:lnTo>
                    <a:pt x="816" y="1846"/>
                  </a:lnTo>
                  <a:lnTo>
                    <a:pt x="813" y="1846"/>
                  </a:lnTo>
                  <a:lnTo>
                    <a:pt x="813" y="1848"/>
                  </a:lnTo>
                  <a:lnTo>
                    <a:pt x="811" y="1848"/>
                  </a:lnTo>
                  <a:lnTo>
                    <a:pt x="811" y="1850"/>
                  </a:lnTo>
                  <a:lnTo>
                    <a:pt x="809" y="1850"/>
                  </a:lnTo>
                  <a:lnTo>
                    <a:pt x="809" y="1853"/>
                  </a:lnTo>
                  <a:lnTo>
                    <a:pt x="809" y="1850"/>
                  </a:lnTo>
                  <a:lnTo>
                    <a:pt x="806" y="1850"/>
                  </a:lnTo>
                  <a:lnTo>
                    <a:pt x="806" y="1853"/>
                  </a:lnTo>
                  <a:lnTo>
                    <a:pt x="804" y="1853"/>
                  </a:lnTo>
                  <a:lnTo>
                    <a:pt x="804" y="1855"/>
                  </a:lnTo>
                  <a:lnTo>
                    <a:pt x="802" y="1855"/>
                  </a:lnTo>
                  <a:lnTo>
                    <a:pt x="802" y="1853"/>
                  </a:lnTo>
                  <a:lnTo>
                    <a:pt x="799" y="1853"/>
                  </a:lnTo>
                  <a:lnTo>
                    <a:pt x="797" y="1853"/>
                  </a:lnTo>
                  <a:lnTo>
                    <a:pt x="797" y="1850"/>
                  </a:lnTo>
                  <a:lnTo>
                    <a:pt x="794" y="1850"/>
                  </a:lnTo>
                  <a:lnTo>
                    <a:pt x="797" y="1850"/>
                  </a:lnTo>
                  <a:lnTo>
                    <a:pt x="797" y="1848"/>
                  </a:lnTo>
                  <a:lnTo>
                    <a:pt x="797" y="1846"/>
                  </a:lnTo>
                  <a:lnTo>
                    <a:pt x="797" y="1843"/>
                  </a:lnTo>
                  <a:lnTo>
                    <a:pt x="794" y="1843"/>
                  </a:lnTo>
                  <a:lnTo>
                    <a:pt x="792" y="1843"/>
                  </a:lnTo>
                  <a:lnTo>
                    <a:pt x="792" y="1841"/>
                  </a:lnTo>
                  <a:lnTo>
                    <a:pt x="792" y="1843"/>
                  </a:lnTo>
                  <a:lnTo>
                    <a:pt x="792" y="1841"/>
                  </a:lnTo>
                  <a:lnTo>
                    <a:pt x="790" y="1841"/>
                  </a:lnTo>
                  <a:lnTo>
                    <a:pt x="790" y="1838"/>
                  </a:lnTo>
                  <a:lnTo>
                    <a:pt x="787" y="1838"/>
                  </a:lnTo>
                  <a:lnTo>
                    <a:pt x="785" y="1838"/>
                  </a:lnTo>
                  <a:lnTo>
                    <a:pt x="783" y="1838"/>
                  </a:lnTo>
                  <a:lnTo>
                    <a:pt x="780" y="1838"/>
                  </a:lnTo>
                  <a:lnTo>
                    <a:pt x="780" y="1836"/>
                  </a:lnTo>
                  <a:lnTo>
                    <a:pt x="778" y="1836"/>
                  </a:lnTo>
                  <a:lnTo>
                    <a:pt x="775" y="1836"/>
                  </a:lnTo>
                  <a:lnTo>
                    <a:pt x="775" y="1834"/>
                  </a:lnTo>
                  <a:lnTo>
                    <a:pt x="773" y="1834"/>
                  </a:lnTo>
                  <a:lnTo>
                    <a:pt x="773" y="1831"/>
                  </a:lnTo>
                  <a:lnTo>
                    <a:pt x="771" y="1831"/>
                  </a:lnTo>
                  <a:lnTo>
                    <a:pt x="771" y="1829"/>
                  </a:lnTo>
                  <a:lnTo>
                    <a:pt x="773" y="1829"/>
                  </a:lnTo>
                  <a:lnTo>
                    <a:pt x="771" y="1829"/>
                  </a:lnTo>
                  <a:lnTo>
                    <a:pt x="771" y="1827"/>
                  </a:lnTo>
                  <a:lnTo>
                    <a:pt x="768" y="1827"/>
                  </a:lnTo>
                  <a:lnTo>
                    <a:pt x="768" y="1829"/>
                  </a:lnTo>
                  <a:lnTo>
                    <a:pt x="768" y="1827"/>
                  </a:lnTo>
                  <a:lnTo>
                    <a:pt x="766" y="1827"/>
                  </a:lnTo>
                  <a:lnTo>
                    <a:pt x="766" y="1824"/>
                  </a:lnTo>
                  <a:lnTo>
                    <a:pt x="766" y="1827"/>
                  </a:lnTo>
                  <a:lnTo>
                    <a:pt x="764" y="1827"/>
                  </a:lnTo>
                  <a:lnTo>
                    <a:pt x="764" y="1824"/>
                  </a:lnTo>
                  <a:lnTo>
                    <a:pt x="761" y="1824"/>
                  </a:lnTo>
                  <a:lnTo>
                    <a:pt x="761" y="1827"/>
                  </a:lnTo>
                  <a:lnTo>
                    <a:pt x="761" y="1824"/>
                  </a:lnTo>
                  <a:lnTo>
                    <a:pt x="761" y="1827"/>
                  </a:lnTo>
                  <a:lnTo>
                    <a:pt x="759" y="1827"/>
                  </a:lnTo>
                  <a:lnTo>
                    <a:pt x="756" y="1827"/>
                  </a:lnTo>
                  <a:lnTo>
                    <a:pt x="756" y="1824"/>
                  </a:lnTo>
                  <a:lnTo>
                    <a:pt x="754" y="1824"/>
                  </a:lnTo>
                  <a:lnTo>
                    <a:pt x="752" y="1824"/>
                  </a:lnTo>
                  <a:lnTo>
                    <a:pt x="752" y="1822"/>
                  </a:lnTo>
                  <a:lnTo>
                    <a:pt x="754" y="1822"/>
                  </a:lnTo>
                  <a:lnTo>
                    <a:pt x="752" y="1822"/>
                  </a:lnTo>
                  <a:lnTo>
                    <a:pt x="749" y="1822"/>
                  </a:lnTo>
                  <a:lnTo>
                    <a:pt x="749" y="1824"/>
                  </a:lnTo>
                  <a:lnTo>
                    <a:pt x="747" y="1824"/>
                  </a:lnTo>
                  <a:lnTo>
                    <a:pt x="747" y="1822"/>
                  </a:lnTo>
                  <a:lnTo>
                    <a:pt x="745" y="1822"/>
                  </a:lnTo>
                  <a:lnTo>
                    <a:pt x="745" y="1824"/>
                  </a:lnTo>
                  <a:lnTo>
                    <a:pt x="742" y="1824"/>
                  </a:lnTo>
                  <a:lnTo>
                    <a:pt x="740" y="1824"/>
                  </a:lnTo>
                  <a:lnTo>
                    <a:pt x="737" y="1824"/>
                  </a:lnTo>
                  <a:lnTo>
                    <a:pt x="735" y="1824"/>
                  </a:lnTo>
                  <a:lnTo>
                    <a:pt x="735" y="1822"/>
                  </a:lnTo>
                  <a:lnTo>
                    <a:pt x="733" y="1822"/>
                  </a:lnTo>
                  <a:lnTo>
                    <a:pt x="733" y="1824"/>
                  </a:lnTo>
                  <a:lnTo>
                    <a:pt x="730" y="1824"/>
                  </a:lnTo>
                  <a:lnTo>
                    <a:pt x="730" y="1822"/>
                  </a:lnTo>
                  <a:lnTo>
                    <a:pt x="728" y="1822"/>
                  </a:lnTo>
                  <a:lnTo>
                    <a:pt x="728" y="1824"/>
                  </a:lnTo>
                  <a:lnTo>
                    <a:pt x="728" y="1822"/>
                  </a:lnTo>
                  <a:lnTo>
                    <a:pt x="726" y="1822"/>
                  </a:lnTo>
                  <a:lnTo>
                    <a:pt x="726" y="1824"/>
                  </a:lnTo>
                  <a:lnTo>
                    <a:pt x="726" y="1822"/>
                  </a:lnTo>
                  <a:lnTo>
                    <a:pt x="723" y="1822"/>
                  </a:lnTo>
                  <a:lnTo>
                    <a:pt x="721" y="1819"/>
                  </a:lnTo>
                  <a:lnTo>
                    <a:pt x="719" y="1819"/>
                  </a:lnTo>
                  <a:lnTo>
                    <a:pt x="719" y="1817"/>
                  </a:lnTo>
                  <a:lnTo>
                    <a:pt x="716" y="1817"/>
                  </a:lnTo>
                  <a:lnTo>
                    <a:pt x="714" y="1817"/>
                  </a:lnTo>
                  <a:lnTo>
                    <a:pt x="711" y="1817"/>
                  </a:lnTo>
                  <a:lnTo>
                    <a:pt x="711" y="1815"/>
                  </a:lnTo>
                  <a:lnTo>
                    <a:pt x="709" y="1815"/>
                  </a:lnTo>
                  <a:lnTo>
                    <a:pt x="707" y="1815"/>
                  </a:lnTo>
                  <a:lnTo>
                    <a:pt x="704" y="1815"/>
                  </a:lnTo>
                  <a:lnTo>
                    <a:pt x="702" y="1815"/>
                  </a:lnTo>
                  <a:lnTo>
                    <a:pt x="702" y="1812"/>
                  </a:lnTo>
                  <a:lnTo>
                    <a:pt x="702" y="1810"/>
                  </a:lnTo>
                  <a:lnTo>
                    <a:pt x="700" y="1810"/>
                  </a:lnTo>
                  <a:lnTo>
                    <a:pt x="697" y="1810"/>
                  </a:lnTo>
                  <a:lnTo>
                    <a:pt x="695" y="1810"/>
                  </a:lnTo>
                  <a:lnTo>
                    <a:pt x="695" y="1808"/>
                  </a:lnTo>
                  <a:lnTo>
                    <a:pt x="692" y="1808"/>
                  </a:lnTo>
                  <a:lnTo>
                    <a:pt x="692" y="1810"/>
                  </a:lnTo>
                  <a:lnTo>
                    <a:pt x="690" y="1810"/>
                  </a:lnTo>
                  <a:lnTo>
                    <a:pt x="688" y="1810"/>
                  </a:lnTo>
                  <a:lnTo>
                    <a:pt x="688" y="1808"/>
                  </a:lnTo>
                  <a:lnTo>
                    <a:pt x="685" y="1808"/>
                  </a:lnTo>
                  <a:lnTo>
                    <a:pt x="683" y="1808"/>
                  </a:lnTo>
                  <a:lnTo>
                    <a:pt x="681" y="1808"/>
                  </a:lnTo>
                  <a:lnTo>
                    <a:pt x="678" y="1808"/>
                  </a:lnTo>
                  <a:lnTo>
                    <a:pt x="676" y="1808"/>
                  </a:lnTo>
                  <a:lnTo>
                    <a:pt x="676" y="1810"/>
                  </a:lnTo>
                  <a:lnTo>
                    <a:pt x="673" y="1810"/>
                  </a:lnTo>
                  <a:lnTo>
                    <a:pt x="673" y="1812"/>
                  </a:lnTo>
                  <a:lnTo>
                    <a:pt x="673" y="1815"/>
                  </a:lnTo>
                  <a:lnTo>
                    <a:pt x="671" y="1815"/>
                  </a:lnTo>
                  <a:lnTo>
                    <a:pt x="669" y="1815"/>
                  </a:lnTo>
                  <a:lnTo>
                    <a:pt x="669" y="1812"/>
                  </a:lnTo>
                  <a:lnTo>
                    <a:pt x="669" y="1810"/>
                  </a:lnTo>
                  <a:lnTo>
                    <a:pt x="666" y="1810"/>
                  </a:lnTo>
                  <a:lnTo>
                    <a:pt x="666" y="1808"/>
                  </a:lnTo>
                  <a:lnTo>
                    <a:pt x="664" y="1808"/>
                  </a:lnTo>
                  <a:lnTo>
                    <a:pt x="662" y="1808"/>
                  </a:lnTo>
                  <a:lnTo>
                    <a:pt x="662" y="1805"/>
                  </a:lnTo>
                  <a:lnTo>
                    <a:pt x="662" y="1803"/>
                  </a:lnTo>
                  <a:lnTo>
                    <a:pt x="659" y="1803"/>
                  </a:lnTo>
                  <a:lnTo>
                    <a:pt x="659" y="1800"/>
                  </a:lnTo>
                  <a:lnTo>
                    <a:pt x="657" y="1800"/>
                  </a:lnTo>
                  <a:lnTo>
                    <a:pt x="657" y="1798"/>
                  </a:lnTo>
                  <a:lnTo>
                    <a:pt x="654" y="1798"/>
                  </a:lnTo>
                  <a:lnTo>
                    <a:pt x="654" y="1796"/>
                  </a:lnTo>
                  <a:lnTo>
                    <a:pt x="652" y="1796"/>
                  </a:lnTo>
                  <a:lnTo>
                    <a:pt x="652" y="1793"/>
                  </a:lnTo>
                  <a:lnTo>
                    <a:pt x="650" y="1791"/>
                  </a:lnTo>
                  <a:lnTo>
                    <a:pt x="647" y="1789"/>
                  </a:lnTo>
                  <a:lnTo>
                    <a:pt x="645" y="1789"/>
                  </a:lnTo>
                  <a:lnTo>
                    <a:pt x="645" y="1786"/>
                  </a:lnTo>
                  <a:lnTo>
                    <a:pt x="643" y="1786"/>
                  </a:lnTo>
                  <a:lnTo>
                    <a:pt x="643" y="1784"/>
                  </a:lnTo>
                  <a:lnTo>
                    <a:pt x="640" y="1784"/>
                  </a:lnTo>
                  <a:lnTo>
                    <a:pt x="640" y="1781"/>
                  </a:lnTo>
                  <a:lnTo>
                    <a:pt x="640" y="1779"/>
                  </a:lnTo>
                  <a:lnTo>
                    <a:pt x="638" y="1779"/>
                  </a:lnTo>
                  <a:lnTo>
                    <a:pt x="635" y="1779"/>
                  </a:lnTo>
                  <a:lnTo>
                    <a:pt x="635" y="1777"/>
                  </a:lnTo>
                  <a:lnTo>
                    <a:pt x="633" y="1777"/>
                  </a:lnTo>
                  <a:lnTo>
                    <a:pt x="633" y="1774"/>
                  </a:lnTo>
                  <a:lnTo>
                    <a:pt x="631" y="1774"/>
                  </a:lnTo>
                  <a:lnTo>
                    <a:pt x="628" y="1774"/>
                  </a:lnTo>
                  <a:lnTo>
                    <a:pt x="628" y="1772"/>
                  </a:lnTo>
                  <a:lnTo>
                    <a:pt x="626" y="1772"/>
                  </a:lnTo>
                  <a:lnTo>
                    <a:pt x="624" y="1772"/>
                  </a:lnTo>
                  <a:lnTo>
                    <a:pt x="624" y="1770"/>
                  </a:lnTo>
                  <a:lnTo>
                    <a:pt x="624" y="1772"/>
                  </a:lnTo>
                  <a:lnTo>
                    <a:pt x="621" y="1770"/>
                  </a:lnTo>
                  <a:lnTo>
                    <a:pt x="619" y="1770"/>
                  </a:lnTo>
                  <a:lnTo>
                    <a:pt x="616" y="1770"/>
                  </a:lnTo>
                  <a:lnTo>
                    <a:pt x="616" y="1767"/>
                  </a:lnTo>
                  <a:lnTo>
                    <a:pt x="614" y="1767"/>
                  </a:lnTo>
                  <a:lnTo>
                    <a:pt x="612" y="1767"/>
                  </a:lnTo>
                  <a:lnTo>
                    <a:pt x="612" y="1765"/>
                  </a:lnTo>
                  <a:lnTo>
                    <a:pt x="609" y="1765"/>
                  </a:lnTo>
                  <a:lnTo>
                    <a:pt x="609" y="1762"/>
                  </a:lnTo>
                  <a:lnTo>
                    <a:pt x="607" y="1762"/>
                  </a:lnTo>
                  <a:lnTo>
                    <a:pt x="609" y="1762"/>
                  </a:lnTo>
                  <a:lnTo>
                    <a:pt x="609" y="1760"/>
                  </a:lnTo>
                  <a:lnTo>
                    <a:pt x="607" y="1760"/>
                  </a:lnTo>
                  <a:lnTo>
                    <a:pt x="605" y="1760"/>
                  </a:lnTo>
                  <a:lnTo>
                    <a:pt x="602" y="1758"/>
                  </a:lnTo>
                  <a:lnTo>
                    <a:pt x="605" y="1758"/>
                  </a:lnTo>
                  <a:lnTo>
                    <a:pt x="602" y="1755"/>
                  </a:lnTo>
                  <a:lnTo>
                    <a:pt x="600" y="1755"/>
                  </a:lnTo>
                  <a:lnTo>
                    <a:pt x="600" y="1753"/>
                  </a:lnTo>
                  <a:lnTo>
                    <a:pt x="600" y="1755"/>
                  </a:lnTo>
                  <a:lnTo>
                    <a:pt x="597" y="1758"/>
                  </a:lnTo>
                  <a:lnTo>
                    <a:pt x="595" y="1758"/>
                  </a:lnTo>
                  <a:lnTo>
                    <a:pt x="595" y="1755"/>
                  </a:lnTo>
                  <a:lnTo>
                    <a:pt x="593" y="1755"/>
                  </a:lnTo>
                  <a:lnTo>
                    <a:pt x="590" y="1755"/>
                  </a:lnTo>
                  <a:lnTo>
                    <a:pt x="588" y="1755"/>
                  </a:lnTo>
                  <a:lnTo>
                    <a:pt x="588" y="1753"/>
                  </a:lnTo>
                  <a:lnTo>
                    <a:pt x="586" y="1753"/>
                  </a:lnTo>
                  <a:lnTo>
                    <a:pt x="586" y="1751"/>
                  </a:lnTo>
                  <a:lnTo>
                    <a:pt x="586" y="1748"/>
                  </a:lnTo>
                  <a:lnTo>
                    <a:pt x="583" y="1748"/>
                  </a:lnTo>
                  <a:lnTo>
                    <a:pt x="583" y="1746"/>
                  </a:lnTo>
                  <a:lnTo>
                    <a:pt x="583" y="1743"/>
                  </a:lnTo>
                  <a:lnTo>
                    <a:pt x="581" y="1741"/>
                  </a:lnTo>
                  <a:lnTo>
                    <a:pt x="579" y="1741"/>
                  </a:lnTo>
                  <a:lnTo>
                    <a:pt x="579" y="1739"/>
                  </a:lnTo>
                  <a:lnTo>
                    <a:pt x="576" y="1739"/>
                  </a:lnTo>
                  <a:lnTo>
                    <a:pt x="574" y="1739"/>
                  </a:lnTo>
                  <a:lnTo>
                    <a:pt x="574" y="1736"/>
                  </a:lnTo>
                  <a:lnTo>
                    <a:pt x="571" y="1736"/>
                  </a:lnTo>
                  <a:lnTo>
                    <a:pt x="569" y="1736"/>
                  </a:lnTo>
                  <a:lnTo>
                    <a:pt x="567" y="1736"/>
                  </a:lnTo>
                  <a:lnTo>
                    <a:pt x="564" y="1736"/>
                  </a:lnTo>
                  <a:lnTo>
                    <a:pt x="564" y="1734"/>
                  </a:lnTo>
                  <a:lnTo>
                    <a:pt x="562" y="1734"/>
                  </a:lnTo>
                  <a:lnTo>
                    <a:pt x="560" y="1734"/>
                  </a:lnTo>
                  <a:lnTo>
                    <a:pt x="560" y="1732"/>
                  </a:lnTo>
                  <a:lnTo>
                    <a:pt x="562" y="1732"/>
                  </a:lnTo>
                  <a:lnTo>
                    <a:pt x="562" y="1729"/>
                  </a:lnTo>
                  <a:lnTo>
                    <a:pt x="564" y="1729"/>
                  </a:lnTo>
                  <a:lnTo>
                    <a:pt x="564" y="1732"/>
                  </a:lnTo>
                  <a:lnTo>
                    <a:pt x="564" y="1729"/>
                  </a:lnTo>
                  <a:lnTo>
                    <a:pt x="567" y="1729"/>
                  </a:lnTo>
                  <a:lnTo>
                    <a:pt x="569" y="1729"/>
                  </a:lnTo>
                  <a:lnTo>
                    <a:pt x="571" y="1729"/>
                  </a:lnTo>
                  <a:lnTo>
                    <a:pt x="571" y="1727"/>
                  </a:lnTo>
                  <a:lnTo>
                    <a:pt x="574" y="1727"/>
                  </a:lnTo>
                  <a:lnTo>
                    <a:pt x="574" y="1724"/>
                  </a:lnTo>
                  <a:lnTo>
                    <a:pt x="571" y="1724"/>
                  </a:lnTo>
                  <a:lnTo>
                    <a:pt x="569" y="1727"/>
                  </a:lnTo>
                  <a:lnTo>
                    <a:pt x="567" y="1727"/>
                  </a:lnTo>
                  <a:lnTo>
                    <a:pt x="567" y="1724"/>
                  </a:lnTo>
                  <a:lnTo>
                    <a:pt x="564" y="1722"/>
                  </a:lnTo>
                  <a:lnTo>
                    <a:pt x="567" y="1722"/>
                  </a:lnTo>
                  <a:lnTo>
                    <a:pt x="567" y="1724"/>
                  </a:lnTo>
                  <a:lnTo>
                    <a:pt x="567" y="1722"/>
                  </a:lnTo>
                  <a:lnTo>
                    <a:pt x="567" y="1724"/>
                  </a:lnTo>
                  <a:lnTo>
                    <a:pt x="569" y="1724"/>
                  </a:lnTo>
                  <a:lnTo>
                    <a:pt x="569" y="1722"/>
                  </a:lnTo>
                  <a:lnTo>
                    <a:pt x="569" y="1724"/>
                  </a:lnTo>
                  <a:lnTo>
                    <a:pt x="569" y="1722"/>
                  </a:lnTo>
                  <a:lnTo>
                    <a:pt x="567" y="1722"/>
                  </a:lnTo>
                  <a:lnTo>
                    <a:pt x="564" y="1722"/>
                  </a:lnTo>
                  <a:lnTo>
                    <a:pt x="564" y="1724"/>
                  </a:lnTo>
                  <a:lnTo>
                    <a:pt x="562" y="1724"/>
                  </a:lnTo>
                  <a:lnTo>
                    <a:pt x="562" y="1727"/>
                  </a:lnTo>
                  <a:lnTo>
                    <a:pt x="562" y="1724"/>
                  </a:lnTo>
                  <a:lnTo>
                    <a:pt x="562" y="1727"/>
                  </a:lnTo>
                  <a:lnTo>
                    <a:pt x="560" y="1727"/>
                  </a:lnTo>
                  <a:lnTo>
                    <a:pt x="562" y="1727"/>
                  </a:lnTo>
                  <a:lnTo>
                    <a:pt x="562" y="1724"/>
                  </a:lnTo>
                  <a:lnTo>
                    <a:pt x="564" y="1724"/>
                  </a:lnTo>
                  <a:lnTo>
                    <a:pt x="564" y="1722"/>
                  </a:lnTo>
                  <a:lnTo>
                    <a:pt x="567" y="1720"/>
                  </a:lnTo>
                  <a:lnTo>
                    <a:pt x="569" y="1720"/>
                  </a:lnTo>
                  <a:lnTo>
                    <a:pt x="571" y="1720"/>
                  </a:lnTo>
                  <a:lnTo>
                    <a:pt x="571" y="1722"/>
                  </a:lnTo>
                  <a:lnTo>
                    <a:pt x="574" y="1722"/>
                  </a:lnTo>
                  <a:lnTo>
                    <a:pt x="576" y="1724"/>
                  </a:lnTo>
                  <a:lnTo>
                    <a:pt x="579" y="1724"/>
                  </a:lnTo>
                  <a:lnTo>
                    <a:pt x="581" y="1724"/>
                  </a:lnTo>
                  <a:lnTo>
                    <a:pt x="583" y="1724"/>
                  </a:lnTo>
                  <a:lnTo>
                    <a:pt x="586" y="1724"/>
                  </a:lnTo>
                  <a:lnTo>
                    <a:pt x="586" y="1727"/>
                  </a:lnTo>
                  <a:lnTo>
                    <a:pt x="586" y="1724"/>
                  </a:lnTo>
                  <a:lnTo>
                    <a:pt x="588" y="1724"/>
                  </a:lnTo>
                  <a:lnTo>
                    <a:pt x="590" y="1722"/>
                  </a:lnTo>
                  <a:lnTo>
                    <a:pt x="593" y="1722"/>
                  </a:lnTo>
                  <a:lnTo>
                    <a:pt x="593" y="1720"/>
                  </a:lnTo>
                  <a:lnTo>
                    <a:pt x="593" y="1717"/>
                  </a:lnTo>
                  <a:lnTo>
                    <a:pt x="593" y="1715"/>
                  </a:lnTo>
                  <a:lnTo>
                    <a:pt x="593" y="1713"/>
                  </a:lnTo>
                  <a:lnTo>
                    <a:pt x="593" y="1710"/>
                  </a:lnTo>
                  <a:lnTo>
                    <a:pt x="595" y="1708"/>
                  </a:lnTo>
                  <a:lnTo>
                    <a:pt x="597" y="1708"/>
                  </a:lnTo>
                  <a:lnTo>
                    <a:pt x="597" y="1705"/>
                  </a:lnTo>
                  <a:lnTo>
                    <a:pt x="600" y="1705"/>
                  </a:lnTo>
                  <a:lnTo>
                    <a:pt x="602" y="1703"/>
                  </a:lnTo>
                  <a:lnTo>
                    <a:pt x="602" y="1701"/>
                  </a:lnTo>
                  <a:lnTo>
                    <a:pt x="602" y="1698"/>
                  </a:lnTo>
                  <a:lnTo>
                    <a:pt x="605" y="1696"/>
                  </a:lnTo>
                  <a:lnTo>
                    <a:pt x="605" y="1694"/>
                  </a:lnTo>
                  <a:lnTo>
                    <a:pt x="605" y="1691"/>
                  </a:lnTo>
                  <a:lnTo>
                    <a:pt x="607" y="1691"/>
                  </a:lnTo>
                  <a:lnTo>
                    <a:pt x="609" y="1691"/>
                  </a:lnTo>
                  <a:lnTo>
                    <a:pt x="609" y="1694"/>
                  </a:lnTo>
                  <a:lnTo>
                    <a:pt x="609" y="1696"/>
                  </a:lnTo>
                  <a:lnTo>
                    <a:pt x="609" y="1694"/>
                  </a:lnTo>
                  <a:lnTo>
                    <a:pt x="612" y="1694"/>
                  </a:lnTo>
                  <a:lnTo>
                    <a:pt x="612" y="1691"/>
                  </a:lnTo>
                  <a:lnTo>
                    <a:pt x="612" y="1689"/>
                  </a:lnTo>
                  <a:lnTo>
                    <a:pt x="614" y="1686"/>
                  </a:lnTo>
                  <a:lnTo>
                    <a:pt x="614" y="1684"/>
                  </a:lnTo>
                  <a:lnTo>
                    <a:pt x="614" y="1682"/>
                  </a:lnTo>
                  <a:lnTo>
                    <a:pt x="616" y="1682"/>
                  </a:lnTo>
                  <a:lnTo>
                    <a:pt x="614" y="1682"/>
                  </a:lnTo>
                  <a:lnTo>
                    <a:pt x="614" y="1684"/>
                  </a:lnTo>
                  <a:lnTo>
                    <a:pt x="614" y="1686"/>
                  </a:lnTo>
                  <a:lnTo>
                    <a:pt x="616" y="1686"/>
                  </a:lnTo>
                  <a:lnTo>
                    <a:pt x="614" y="1686"/>
                  </a:lnTo>
                  <a:lnTo>
                    <a:pt x="616" y="1686"/>
                  </a:lnTo>
                  <a:lnTo>
                    <a:pt x="616" y="1689"/>
                  </a:lnTo>
                  <a:lnTo>
                    <a:pt x="619" y="1689"/>
                  </a:lnTo>
                  <a:lnTo>
                    <a:pt x="619" y="1691"/>
                  </a:lnTo>
                  <a:lnTo>
                    <a:pt x="621" y="1691"/>
                  </a:lnTo>
                  <a:lnTo>
                    <a:pt x="624" y="1691"/>
                  </a:lnTo>
                  <a:lnTo>
                    <a:pt x="626" y="1691"/>
                  </a:lnTo>
                  <a:lnTo>
                    <a:pt x="626" y="1689"/>
                  </a:lnTo>
                  <a:lnTo>
                    <a:pt x="624" y="1689"/>
                  </a:lnTo>
                  <a:lnTo>
                    <a:pt x="624" y="1686"/>
                  </a:lnTo>
                  <a:lnTo>
                    <a:pt x="621" y="1686"/>
                  </a:lnTo>
                  <a:lnTo>
                    <a:pt x="619" y="1686"/>
                  </a:lnTo>
                  <a:lnTo>
                    <a:pt x="619" y="1684"/>
                  </a:lnTo>
                  <a:lnTo>
                    <a:pt x="616" y="1684"/>
                  </a:lnTo>
                  <a:lnTo>
                    <a:pt x="616" y="1682"/>
                  </a:lnTo>
                  <a:lnTo>
                    <a:pt x="614" y="1682"/>
                  </a:lnTo>
                  <a:lnTo>
                    <a:pt x="614" y="1679"/>
                  </a:lnTo>
                  <a:lnTo>
                    <a:pt x="612" y="1677"/>
                  </a:lnTo>
                  <a:lnTo>
                    <a:pt x="609" y="1675"/>
                  </a:lnTo>
                  <a:lnTo>
                    <a:pt x="607" y="1675"/>
                  </a:lnTo>
                  <a:lnTo>
                    <a:pt x="605" y="1675"/>
                  </a:lnTo>
                  <a:lnTo>
                    <a:pt x="607" y="1675"/>
                  </a:lnTo>
                  <a:lnTo>
                    <a:pt x="607" y="1677"/>
                  </a:lnTo>
                  <a:lnTo>
                    <a:pt x="605" y="1677"/>
                  </a:lnTo>
                  <a:lnTo>
                    <a:pt x="605" y="1675"/>
                  </a:lnTo>
                  <a:lnTo>
                    <a:pt x="602" y="1675"/>
                  </a:lnTo>
                  <a:lnTo>
                    <a:pt x="602" y="1672"/>
                  </a:lnTo>
                  <a:lnTo>
                    <a:pt x="600" y="1670"/>
                  </a:lnTo>
                  <a:lnTo>
                    <a:pt x="600" y="1667"/>
                  </a:lnTo>
                  <a:lnTo>
                    <a:pt x="600" y="1665"/>
                  </a:lnTo>
                  <a:lnTo>
                    <a:pt x="597" y="1663"/>
                  </a:lnTo>
                  <a:lnTo>
                    <a:pt x="597" y="1660"/>
                  </a:lnTo>
                  <a:lnTo>
                    <a:pt x="600" y="1663"/>
                  </a:lnTo>
                  <a:lnTo>
                    <a:pt x="602" y="1663"/>
                  </a:lnTo>
                  <a:lnTo>
                    <a:pt x="602" y="1665"/>
                  </a:lnTo>
                  <a:lnTo>
                    <a:pt x="605" y="1665"/>
                  </a:lnTo>
                  <a:lnTo>
                    <a:pt x="607" y="1665"/>
                  </a:lnTo>
                  <a:lnTo>
                    <a:pt x="607" y="1663"/>
                  </a:lnTo>
                  <a:lnTo>
                    <a:pt x="609" y="1663"/>
                  </a:lnTo>
                  <a:lnTo>
                    <a:pt x="609" y="1660"/>
                  </a:lnTo>
                  <a:lnTo>
                    <a:pt x="612" y="1660"/>
                  </a:lnTo>
                  <a:lnTo>
                    <a:pt x="614" y="1660"/>
                  </a:lnTo>
                  <a:lnTo>
                    <a:pt x="616" y="1660"/>
                  </a:lnTo>
                  <a:lnTo>
                    <a:pt x="616" y="1658"/>
                  </a:lnTo>
                  <a:lnTo>
                    <a:pt x="616" y="1660"/>
                  </a:lnTo>
                  <a:lnTo>
                    <a:pt x="616" y="1663"/>
                  </a:lnTo>
                  <a:lnTo>
                    <a:pt x="619" y="1663"/>
                  </a:lnTo>
                  <a:lnTo>
                    <a:pt x="621" y="1663"/>
                  </a:lnTo>
                  <a:lnTo>
                    <a:pt x="624" y="1663"/>
                  </a:lnTo>
                  <a:lnTo>
                    <a:pt x="626" y="1663"/>
                  </a:lnTo>
                  <a:lnTo>
                    <a:pt x="626" y="1660"/>
                  </a:lnTo>
                  <a:lnTo>
                    <a:pt x="624" y="1660"/>
                  </a:lnTo>
                  <a:lnTo>
                    <a:pt x="624" y="1658"/>
                  </a:lnTo>
                  <a:lnTo>
                    <a:pt x="621" y="1658"/>
                  </a:lnTo>
                  <a:lnTo>
                    <a:pt x="619" y="1658"/>
                  </a:lnTo>
                  <a:lnTo>
                    <a:pt x="619" y="1660"/>
                  </a:lnTo>
                  <a:lnTo>
                    <a:pt x="619" y="1658"/>
                  </a:lnTo>
                  <a:lnTo>
                    <a:pt x="619" y="1656"/>
                  </a:lnTo>
                  <a:lnTo>
                    <a:pt x="621" y="1656"/>
                  </a:lnTo>
                  <a:lnTo>
                    <a:pt x="621" y="1653"/>
                  </a:lnTo>
                  <a:lnTo>
                    <a:pt x="624" y="1653"/>
                  </a:lnTo>
                  <a:lnTo>
                    <a:pt x="626" y="1653"/>
                  </a:lnTo>
                  <a:lnTo>
                    <a:pt x="628" y="1653"/>
                  </a:lnTo>
                  <a:lnTo>
                    <a:pt x="631" y="1653"/>
                  </a:lnTo>
                  <a:lnTo>
                    <a:pt x="631" y="1651"/>
                  </a:lnTo>
                  <a:lnTo>
                    <a:pt x="633" y="1651"/>
                  </a:lnTo>
                  <a:lnTo>
                    <a:pt x="635" y="1651"/>
                  </a:lnTo>
                  <a:lnTo>
                    <a:pt x="635" y="1648"/>
                  </a:lnTo>
                  <a:lnTo>
                    <a:pt x="638" y="1648"/>
                  </a:lnTo>
                  <a:lnTo>
                    <a:pt x="640" y="1646"/>
                  </a:lnTo>
                  <a:lnTo>
                    <a:pt x="643" y="1646"/>
                  </a:lnTo>
                  <a:lnTo>
                    <a:pt x="643" y="1644"/>
                  </a:lnTo>
                  <a:lnTo>
                    <a:pt x="643" y="1646"/>
                  </a:lnTo>
                  <a:lnTo>
                    <a:pt x="645" y="1646"/>
                  </a:lnTo>
                  <a:lnTo>
                    <a:pt x="647" y="1646"/>
                  </a:lnTo>
                  <a:lnTo>
                    <a:pt x="650" y="1646"/>
                  </a:lnTo>
                  <a:lnTo>
                    <a:pt x="650" y="1644"/>
                  </a:lnTo>
                  <a:lnTo>
                    <a:pt x="650" y="1641"/>
                  </a:lnTo>
                  <a:lnTo>
                    <a:pt x="652" y="1641"/>
                  </a:lnTo>
                  <a:lnTo>
                    <a:pt x="654" y="1641"/>
                  </a:lnTo>
                  <a:lnTo>
                    <a:pt x="654" y="1639"/>
                  </a:lnTo>
                  <a:lnTo>
                    <a:pt x="657" y="1639"/>
                  </a:lnTo>
                  <a:lnTo>
                    <a:pt x="657" y="1641"/>
                  </a:lnTo>
                  <a:lnTo>
                    <a:pt x="657" y="1639"/>
                  </a:lnTo>
                  <a:lnTo>
                    <a:pt x="659" y="1639"/>
                  </a:lnTo>
                  <a:lnTo>
                    <a:pt x="659" y="1641"/>
                  </a:lnTo>
                  <a:lnTo>
                    <a:pt x="662" y="1641"/>
                  </a:lnTo>
                  <a:lnTo>
                    <a:pt x="659" y="1641"/>
                  </a:lnTo>
                  <a:lnTo>
                    <a:pt x="659" y="1639"/>
                  </a:lnTo>
                  <a:lnTo>
                    <a:pt x="659" y="1641"/>
                  </a:lnTo>
                  <a:lnTo>
                    <a:pt x="659" y="1639"/>
                  </a:lnTo>
                  <a:lnTo>
                    <a:pt x="657" y="1639"/>
                  </a:lnTo>
                  <a:lnTo>
                    <a:pt x="659" y="1639"/>
                  </a:lnTo>
                  <a:lnTo>
                    <a:pt x="662" y="1637"/>
                  </a:lnTo>
                  <a:lnTo>
                    <a:pt x="664" y="1637"/>
                  </a:lnTo>
                  <a:lnTo>
                    <a:pt x="666" y="1637"/>
                  </a:lnTo>
                  <a:lnTo>
                    <a:pt x="666" y="1634"/>
                  </a:lnTo>
                  <a:lnTo>
                    <a:pt x="669" y="1634"/>
                  </a:lnTo>
                  <a:lnTo>
                    <a:pt x="669" y="1637"/>
                  </a:lnTo>
                  <a:lnTo>
                    <a:pt x="671" y="1637"/>
                  </a:lnTo>
                  <a:lnTo>
                    <a:pt x="671" y="1634"/>
                  </a:lnTo>
                  <a:lnTo>
                    <a:pt x="671" y="1637"/>
                  </a:lnTo>
                  <a:lnTo>
                    <a:pt x="673" y="1637"/>
                  </a:lnTo>
                  <a:lnTo>
                    <a:pt x="673" y="1634"/>
                  </a:lnTo>
                  <a:lnTo>
                    <a:pt x="673" y="1637"/>
                  </a:lnTo>
                  <a:lnTo>
                    <a:pt x="676" y="1637"/>
                  </a:lnTo>
                  <a:lnTo>
                    <a:pt x="676" y="1634"/>
                  </a:lnTo>
                  <a:lnTo>
                    <a:pt x="678" y="1634"/>
                  </a:lnTo>
                  <a:lnTo>
                    <a:pt x="678" y="1637"/>
                  </a:lnTo>
                  <a:lnTo>
                    <a:pt x="681" y="1637"/>
                  </a:lnTo>
                  <a:lnTo>
                    <a:pt x="681" y="1634"/>
                  </a:lnTo>
                  <a:lnTo>
                    <a:pt x="683" y="1634"/>
                  </a:lnTo>
                  <a:lnTo>
                    <a:pt x="683" y="1632"/>
                  </a:lnTo>
                  <a:lnTo>
                    <a:pt x="685" y="1632"/>
                  </a:lnTo>
                  <a:lnTo>
                    <a:pt x="685" y="1629"/>
                  </a:lnTo>
                  <a:lnTo>
                    <a:pt x="685" y="1632"/>
                  </a:lnTo>
                  <a:lnTo>
                    <a:pt x="683" y="1632"/>
                  </a:lnTo>
                  <a:lnTo>
                    <a:pt x="681" y="1634"/>
                  </a:lnTo>
                  <a:lnTo>
                    <a:pt x="681" y="1637"/>
                  </a:lnTo>
                  <a:lnTo>
                    <a:pt x="678" y="1637"/>
                  </a:lnTo>
                  <a:lnTo>
                    <a:pt x="678" y="1634"/>
                  </a:lnTo>
                  <a:lnTo>
                    <a:pt x="676" y="1634"/>
                  </a:lnTo>
                  <a:lnTo>
                    <a:pt x="676" y="1637"/>
                  </a:lnTo>
                  <a:lnTo>
                    <a:pt x="673" y="1637"/>
                  </a:lnTo>
                  <a:lnTo>
                    <a:pt x="673" y="1634"/>
                  </a:lnTo>
                  <a:lnTo>
                    <a:pt x="671" y="1634"/>
                  </a:lnTo>
                  <a:lnTo>
                    <a:pt x="671" y="1637"/>
                  </a:lnTo>
                  <a:lnTo>
                    <a:pt x="669" y="1637"/>
                  </a:lnTo>
                  <a:lnTo>
                    <a:pt x="669" y="1634"/>
                  </a:lnTo>
                  <a:lnTo>
                    <a:pt x="671" y="1634"/>
                  </a:lnTo>
                  <a:lnTo>
                    <a:pt x="671" y="1632"/>
                  </a:lnTo>
                  <a:lnTo>
                    <a:pt x="671" y="1634"/>
                  </a:lnTo>
                  <a:lnTo>
                    <a:pt x="669" y="1634"/>
                  </a:lnTo>
                  <a:lnTo>
                    <a:pt x="666" y="1634"/>
                  </a:lnTo>
                  <a:lnTo>
                    <a:pt x="666" y="1637"/>
                  </a:lnTo>
                  <a:lnTo>
                    <a:pt x="664" y="1637"/>
                  </a:lnTo>
                  <a:lnTo>
                    <a:pt x="662" y="1637"/>
                  </a:lnTo>
                  <a:lnTo>
                    <a:pt x="659" y="1639"/>
                  </a:lnTo>
                  <a:lnTo>
                    <a:pt x="657" y="1639"/>
                  </a:lnTo>
                  <a:lnTo>
                    <a:pt x="654" y="1639"/>
                  </a:lnTo>
                  <a:lnTo>
                    <a:pt x="652" y="1639"/>
                  </a:lnTo>
                  <a:lnTo>
                    <a:pt x="650" y="1639"/>
                  </a:lnTo>
                  <a:lnTo>
                    <a:pt x="650" y="1637"/>
                  </a:lnTo>
                  <a:lnTo>
                    <a:pt x="647" y="1637"/>
                  </a:lnTo>
                  <a:lnTo>
                    <a:pt x="647" y="1634"/>
                  </a:lnTo>
                  <a:lnTo>
                    <a:pt x="647" y="1637"/>
                  </a:lnTo>
                  <a:lnTo>
                    <a:pt x="647" y="1634"/>
                  </a:lnTo>
                  <a:lnTo>
                    <a:pt x="650" y="1634"/>
                  </a:lnTo>
                  <a:lnTo>
                    <a:pt x="652" y="1634"/>
                  </a:lnTo>
                  <a:lnTo>
                    <a:pt x="654" y="1634"/>
                  </a:lnTo>
                  <a:lnTo>
                    <a:pt x="657" y="1634"/>
                  </a:lnTo>
                  <a:lnTo>
                    <a:pt x="657" y="1637"/>
                  </a:lnTo>
                  <a:lnTo>
                    <a:pt x="659" y="1637"/>
                  </a:lnTo>
                  <a:lnTo>
                    <a:pt x="657" y="1637"/>
                  </a:lnTo>
                  <a:lnTo>
                    <a:pt x="654" y="1634"/>
                  </a:lnTo>
                  <a:lnTo>
                    <a:pt x="652" y="1634"/>
                  </a:lnTo>
                  <a:lnTo>
                    <a:pt x="650" y="1634"/>
                  </a:lnTo>
                  <a:lnTo>
                    <a:pt x="647" y="1634"/>
                  </a:lnTo>
                  <a:lnTo>
                    <a:pt x="645" y="1634"/>
                  </a:lnTo>
                  <a:lnTo>
                    <a:pt x="643" y="1634"/>
                  </a:lnTo>
                  <a:lnTo>
                    <a:pt x="643" y="1632"/>
                  </a:lnTo>
                  <a:lnTo>
                    <a:pt x="643" y="1634"/>
                  </a:lnTo>
                  <a:lnTo>
                    <a:pt x="640" y="1634"/>
                  </a:lnTo>
                  <a:lnTo>
                    <a:pt x="638" y="1634"/>
                  </a:lnTo>
                  <a:lnTo>
                    <a:pt x="638" y="1637"/>
                  </a:lnTo>
                  <a:lnTo>
                    <a:pt x="635" y="1637"/>
                  </a:lnTo>
                  <a:lnTo>
                    <a:pt x="635" y="1639"/>
                  </a:lnTo>
                  <a:lnTo>
                    <a:pt x="633" y="1639"/>
                  </a:lnTo>
                  <a:lnTo>
                    <a:pt x="631" y="1639"/>
                  </a:lnTo>
                  <a:lnTo>
                    <a:pt x="628" y="1639"/>
                  </a:lnTo>
                  <a:lnTo>
                    <a:pt x="626" y="1639"/>
                  </a:lnTo>
                  <a:lnTo>
                    <a:pt x="624" y="1641"/>
                  </a:lnTo>
                  <a:lnTo>
                    <a:pt x="626" y="1641"/>
                  </a:lnTo>
                  <a:lnTo>
                    <a:pt x="624" y="1641"/>
                  </a:lnTo>
                  <a:lnTo>
                    <a:pt x="621" y="1639"/>
                  </a:lnTo>
                  <a:lnTo>
                    <a:pt x="624" y="1639"/>
                  </a:lnTo>
                  <a:lnTo>
                    <a:pt x="624" y="1637"/>
                  </a:lnTo>
                  <a:lnTo>
                    <a:pt x="624" y="1639"/>
                  </a:lnTo>
                  <a:lnTo>
                    <a:pt x="621" y="1639"/>
                  </a:lnTo>
                  <a:lnTo>
                    <a:pt x="619" y="1639"/>
                  </a:lnTo>
                  <a:lnTo>
                    <a:pt x="619" y="1641"/>
                  </a:lnTo>
                  <a:lnTo>
                    <a:pt x="619" y="1639"/>
                  </a:lnTo>
                  <a:lnTo>
                    <a:pt x="616" y="1641"/>
                  </a:lnTo>
                  <a:lnTo>
                    <a:pt x="616" y="1639"/>
                  </a:lnTo>
                  <a:lnTo>
                    <a:pt x="616" y="1641"/>
                  </a:lnTo>
                  <a:lnTo>
                    <a:pt x="616" y="1639"/>
                  </a:lnTo>
                  <a:lnTo>
                    <a:pt x="616" y="1641"/>
                  </a:lnTo>
                  <a:lnTo>
                    <a:pt x="614" y="1641"/>
                  </a:lnTo>
                  <a:lnTo>
                    <a:pt x="614" y="1639"/>
                  </a:lnTo>
                  <a:lnTo>
                    <a:pt x="614" y="1637"/>
                  </a:lnTo>
                  <a:lnTo>
                    <a:pt x="616" y="1634"/>
                  </a:lnTo>
                  <a:lnTo>
                    <a:pt x="616" y="1632"/>
                  </a:lnTo>
                  <a:lnTo>
                    <a:pt x="614" y="1632"/>
                  </a:lnTo>
                  <a:lnTo>
                    <a:pt x="614" y="1629"/>
                  </a:lnTo>
                  <a:lnTo>
                    <a:pt x="616" y="1629"/>
                  </a:lnTo>
                  <a:lnTo>
                    <a:pt x="616" y="1627"/>
                  </a:lnTo>
                  <a:lnTo>
                    <a:pt x="616" y="1625"/>
                  </a:lnTo>
                  <a:lnTo>
                    <a:pt x="616" y="1622"/>
                  </a:lnTo>
                  <a:lnTo>
                    <a:pt x="616" y="1620"/>
                  </a:lnTo>
                  <a:lnTo>
                    <a:pt x="619" y="1620"/>
                  </a:lnTo>
                  <a:lnTo>
                    <a:pt x="619" y="1618"/>
                  </a:lnTo>
                  <a:lnTo>
                    <a:pt x="621" y="1618"/>
                  </a:lnTo>
                  <a:lnTo>
                    <a:pt x="621" y="1615"/>
                  </a:lnTo>
                  <a:lnTo>
                    <a:pt x="626" y="1615"/>
                  </a:lnTo>
                  <a:lnTo>
                    <a:pt x="628" y="1615"/>
                  </a:lnTo>
                  <a:lnTo>
                    <a:pt x="628" y="1613"/>
                  </a:lnTo>
                  <a:lnTo>
                    <a:pt x="631" y="1613"/>
                  </a:lnTo>
                  <a:lnTo>
                    <a:pt x="631" y="1615"/>
                  </a:lnTo>
                  <a:lnTo>
                    <a:pt x="631" y="1613"/>
                  </a:lnTo>
                  <a:lnTo>
                    <a:pt x="633" y="1610"/>
                  </a:lnTo>
                  <a:lnTo>
                    <a:pt x="633" y="1608"/>
                  </a:lnTo>
                  <a:lnTo>
                    <a:pt x="633" y="1606"/>
                  </a:lnTo>
                  <a:lnTo>
                    <a:pt x="635" y="1606"/>
                  </a:lnTo>
                  <a:lnTo>
                    <a:pt x="638" y="1606"/>
                  </a:lnTo>
                  <a:lnTo>
                    <a:pt x="640" y="1606"/>
                  </a:lnTo>
                  <a:lnTo>
                    <a:pt x="643" y="1606"/>
                  </a:lnTo>
                  <a:lnTo>
                    <a:pt x="645" y="1606"/>
                  </a:lnTo>
                  <a:lnTo>
                    <a:pt x="647" y="1606"/>
                  </a:lnTo>
                  <a:lnTo>
                    <a:pt x="650" y="1606"/>
                  </a:lnTo>
                  <a:lnTo>
                    <a:pt x="652" y="1606"/>
                  </a:lnTo>
                  <a:lnTo>
                    <a:pt x="652" y="1608"/>
                  </a:lnTo>
                  <a:lnTo>
                    <a:pt x="652" y="1606"/>
                  </a:lnTo>
                  <a:lnTo>
                    <a:pt x="654" y="1606"/>
                  </a:lnTo>
                  <a:lnTo>
                    <a:pt x="657" y="1608"/>
                  </a:lnTo>
                  <a:lnTo>
                    <a:pt x="659" y="1606"/>
                  </a:lnTo>
                  <a:lnTo>
                    <a:pt x="662" y="1608"/>
                  </a:lnTo>
                  <a:lnTo>
                    <a:pt x="664" y="1608"/>
                  </a:lnTo>
                  <a:lnTo>
                    <a:pt x="664" y="1606"/>
                  </a:lnTo>
                  <a:lnTo>
                    <a:pt x="666" y="1606"/>
                  </a:lnTo>
                  <a:lnTo>
                    <a:pt x="666" y="1603"/>
                  </a:lnTo>
                  <a:lnTo>
                    <a:pt x="666" y="1601"/>
                  </a:lnTo>
                  <a:lnTo>
                    <a:pt x="666" y="1599"/>
                  </a:lnTo>
                  <a:lnTo>
                    <a:pt x="664" y="1599"/>
                  </a:lnTo>
                  <a:lnTo>
                    <a:pt x="664" y="1596"/>
                  </a:lnTo>
                  <a:lnTo>
                    <a:pt x="669" y="1596"/>
                  </a:lnTo>
                  <a:lnTo>
                    <a:pt x="666" y="1596"/>
                  </a:lnTo>
                  <a:lnTo>
                    <a:pt x="669" y="1596"/>
                  </a:lnTo>
                  <a:lnTo>
                    <a:pt x="669" y="1594"/>
                  </a:lnTo>
                  <a:lnTo>
                    <a:pt x="669" y="1591"/>
                  </a:lnTo>
                  <a:lnTo>
                    <a:pt x="671" y="1591"/>
                  </a:lnTo>
                  <a:lnTo>
                    <a:pt x="671" y="1589"/>
                  </a:lnTo>
                  <a:lnTo>
                    <a:pt x="673" y="1589"/>
                  </a:lnTo>
                  <a:lnTo>
                    <a:pt x="673" y="1587"/>
                  </a:lnTo>
                  <a:lnTo>
                    <a:pt x="671" y="1584"/>
                  </a:lnTo>
                  <a:lnTo>
                    <a:pt x="669" y="1584"/>
                  </a:lnTo>
                  <a:lnTo>
                    <a:pt x="666" y="1584"/>
                  </a:lnTo>
                  <a:lnTo>
                    <a:pt x="666" y="1582"/>
                  </a:lnTo>
                  <a:lnTo>
                    <a:pt x="669" y="1582"/>
                  </a:lnTo>
                  <a:lnTo>
                    <a:pt x="671" y="1582"/>
                  </a:lnTo>
                  <a:lnTo>
                    <a:pt x="671" y="1580"/>
                  </a:lnTo>
                  <a:lnTo>
                    <a:pt x="669" y="1582"/>
                  </a:lnTo>
                  <a:lnTo>
                    <a:pt x="669" y="1580"/>
                  </a:lnTo>
                  <a:lnTo>
                    <a:pt x="669" y="1577"/>
                  </a:lnTo>
                  <a:lnTo>
                    <a:pt x="666" y="1577"/>
                  </a:lnTo>
                  <a:lnTo>
                    <a:pt x="666" y="1575"/>
                  </a:lnTo>
                  <a:lnTo>
                    <a:pt x="669" y="1575"/>
                  </a:lnTo>
                  <a:lnTo>
                    <a:pt x="666" y="1572"/>
                  </a:lnTo>
                  <a:lnTo>
                    <a:pt x="666" y="1570"/>
                  </a:lnTo>
                  <a:lnTo>
                    <a:pt x="664" y="1570"/>
                  </a:lnTo>
                  <a:lnTo>
                    <a:pt x="662" y="1570"/>
                  </a:lnTo>
                  <a:lnTo>
                    <a:pt x="662" y="1568"/>
                  </a:lnTo>
                  <a:lnTo>
                    <a:pt x="664" y="1565"/>
                  </a:lnTo>
                  <a:lnTo>
                    <a:pt x="662" y="1565"/>
                  </a:lnTo>
                  <a:lnTo>
                    <a:pt x="664" y="1565"/>
                  </a:lnTo>
                  <a:lnTo>
                    <a:pt x="662" y="1565"/>
                  </a:lnTo>
                  <a:lnTo>
                    <a:pt x="664" y="1565"/>
                  </a:lnTo>
                  <a:lnTo>
                    <a:pt x="662" y="1565"/>
                  </a:lnTo>
                  <a:lnTo>
                    <a:pt x="664" y="1565"/>
                  </a:lnTo>
                  <a:lnTo>
                    <a:pt x="664" y="1563"/>
                  </a:lnTo>
                  <a:lnTo>
                    <a:pt x="664" y="1561"/>
                  </a:lnTo>
                  <a:lnTo>
                    <a:pt x="666" y="1561"/>
                  </a:lnTo>
                  <a:lnTo>
                    <a:pt x="666" y="1558"/>
                  </a:lnTo>
                  <a:lnTo>
                    <a:pt x="669" y="1561"/>
                  </a:lnTo>
                  <a:lnTo>
                    <a:pt x="671" y="1561"/>
                  </a:lnTo>
                  <a:lnTo>
                    <a:pt x="673" y="1558"/>
                  </a:lnTo>
                  <a:lnTo>
                    <a:pt x="676" y="1558"/>
                  </a:lnTo>
                  <a:lnTo>
                    <a:pt x="673" y="1556"/>
                  </a:lnTo>
                  <a:lnTo>
                    <a:pt x="671" y="1556"/>
                  </a:lnTo>
                  <a:lnTo>
                    <a:pt x="671" y="1558"/>
                  </a:lnTo>
                  <a:lnTo>
                    <a:pt x="671" y="1556"/>
                  </a:lnTo>
                  <a:lnTo>
                    <a:pt x="669" y="1556"/>
                  </a:lnTo>
                  <a:lnTo>
                    <a:pt x="666" y="1556"/>
                  </a:lnTo>
                  <a:lnTo>
                    <a:pt x="664" y="1556"/>
                  </a:lnTo>
                  <a:lnTo>
                    <a:pt x="664" y="1553"/>
                  </a:lnTo>
                  <a:lnTo>
                    <a:pt x="666" y="1553"/>
                  </a:lnTo>
                  <a:lnTo>
                    <a:pt x="664" y="1553"/>
                  </a:lnTo>
                  <a:lnTo>
                    <a:pt x="664" y="1551"/>
                  </a:lnTo>
                  <a:lnTo>
                    <a:pt x="662" y="1551"/>
                  </a:lnTo>
                  <a:lnTo>
                    <a:pt x="662" y="1549"/>
                  </a:lnTo>
                  <a:lnTo>
                    <a:pt x="664" y="1549"/>
                  </a:lnTo>
                  <a:lnTo>
                    <a:pt x="666" y="1549"/>
                  </a:lnTo>
                  <a:lnTo>
                    <a:pt x="669" y="1549"/>
                  </a:lnTo>
                  <a:lnTo>
                    <a:pt x="671" y="1549"/>
                  </a:lnTo>
                  <a:lnTo>
                    <a:pt x="671" y="1546"/>
                  </a:lnTo>
                  <a:lnTo>
                    <a:pt x="671" y="1544"/>
                  </a:lnTo>
                  <a:lnTo>
                    <a:pt x="673" y="1542"/>
                  </a:lnTo>
                  <a:lnTo>
                    <a:pt x="676" y="1542"/>
                  </a:lnTo>
                  <a:lnTo>
                    <a:pt x="676" y="1539"/>
                  </a:lnTo>
                  <a:lnTo>
                    <a:pt x="678" y="1539"/>
                  </a:lnTo>
                  <a:lnTo>
                    <a:pt x="678" y="1537"/>
                  </a:lnTo>
                  <a:lnTo>
                    <a:pt x="678" y="1534"/>
                  </a:lnTo>
                  <a:lnTo>
                    <a:pt x="678" y="1532"/>
                  </a:lnTo>
                  <a:lnTo>
                    <a:pt x="676" y="1532"/>
                  </a:lnTo>
                  <a:lnTo>
                    <a:pt x="673" y="1530"/>
                  </a:lnTo>
                  <a:lnTo>
                    <a:pt x="673" y="1527"/>
                  </a:lnTo>
                  <a:lnTo>
                    <a:pt x="673" y="1525"/>
                  </a:lnTo>
                  <a:lnTo>
                    <a:pt x="676" y="1525"/>
                  </a:lnTo>
                  <a:lnTo>
                    <a:pt x="678" y="1522"/>
                  </a:lnTo>
                  <a:lnTo>
                    <a:pt x="676" y="1522"/>
                  </a:lnTo>
                  <a:lnTo>
                    <a:pt x="673" y="1522"/>
                  </a:lnTo>
                  <a:lnTo>
                    <a:pt x="671" y="1522"/>
                  </a:lnTo>
                  <a:lnTo>
                    <a:pt x="669" y="1525"/>
                  </a:lnTo>
                  <a:lnTo>
                    <a:pt x="666" y="1525"/>
                  </a:lnTo>
                  <a:lnTo>
                    <a:pt x="664" y="1522"/>
                  </a:lnTo>
                  <a:lnTo>
                    <a:pt x="662" y="1522"/>
                  </a:lnTo>
                  <a:lnTo>
                    <a:pt x="659" y="1520"/>
                  </a:lnTo>
                  <a:lnTo>
                    <a:pt x="659" y="1518"/>
                  </a:lnTo>
                  <a:lnTo>
                    <a:pt x="659" y="1515"/>
                  </a:lnTo>
                  <a:lnTo>
                    <a:pt x="657" y="1515"/>
                  </a:lnTo>
                  <a:lnTo>
                    <a:pt x="654" y="1515"/>
                  </a:lnTo>
                  <a:lnTo>
                    <a:pt x="652" y="1515"/>
                  </a:lnTo>
                  <a:lnTo>
                    <a:pt x="650" y="1515"/>
                  </a:lnTo>
                  <a:lnTo>
                    <a:pt x="647" y="1513"/>
                  </a:lnTo>
                  <a:lnTo>
                    <a:pt x="647" y="1511"/>
                  </a:lnTo>
                  <a:lnTo>
                    <a:pt x="645" y="1508"/>
                  </a:lnTo>
                  <a:lnTo>
                    <a:pt x="643" y="1511"/>
                  </a:lnTo>
                  <a:lnTo>
                    <a:pt x="640" y="1511"/>
                  </a:lnTo>
                  <a:lnTo>
                    <a:pt x="638" y="1513"/>
                  </a:lnTo>
                  <a:lnTo>
                    <a:pt x="635" y="1513"/>
                  </a:lnTo>
                  <a:lnTo>
                    <a:pt x="635" y="1511"/>
                  </a:lnTo>
                  <a:lnTo>
                    <a:pt x="635" y="1508"/>
                  </a:lnTo>
                  <a:lnTo>
                    <a:pt x="633" y="1508"/>
                  </a:lnTo>
                  <a:lnTo>
                    <a:pt x="631" y="1508"/>
                  </a:lnTo>
                  <a:lnTo>
                    <a:pt x="631" y="1506"/>
                  </a:lnTo>
                  <a:lnTo>
                    <a:pt x="628" y="1506"/>
                  </a:lnTo>
                  <a:lnTo>
                    <a:pt x="628" y="1503"/>
                  </a:lnTo>
                  <a:lnTo>
                    <a:pt x="631" y="1503"/>
                  </a:lnTo>
                  <a:lnTo>
                    <a:pt x="628" y="1503"/>
                  </a:lnTo>
                  <a:lnTo>
                    <a:pt x="628" y="1506"/>
                  </a:lnTo>
                  <a:lnTo>
                    <a:pt x="626" y="1503"/>
                  </a:lnTo>
                  <a:lnTo>
                    <a:pt x="624" y="1506"/>
                  </a:lnTo>
                  <a:lnTo>
                    <a:pt x="624" y="1503"/>
                  </a:lnTo>
                  <a:lnTo>
                    <a:pt x="621" y="1503"/>
                  </a:lnTo>
                  <a:lnTo>
                    <a:pt x="619" y="1503"/>
                  </a:lnTo>
                  <a:lnTo>
                    <a:pt x="616" y="1501"/>
                  </a:lnTo>
                  <a:lnTo>
                    <a:pt x="616" y="1499"/>
                  </a:lnTo>
                  <a:lnTo>
                    <a:pt x="614" y="1499"/>
                  </a:lnTo>
                  <a:lnTo>
                    <a:pt x="612" y="1499"/>
                  </a:lnTo>
                  <a:lnTo>
                    <a:pt x="612" y="1501"/>
                  </a:lnTo>
                  <a:lnTo>
                    <a:pt x="614" y="1503"/>
                  </a:lnTo>
                  <a:lnTo>
                    <a:pt x="612" y="1503"/>
                  </a:lnTo>
                  <a:lnTo>
                    <a:pt x="612" y="1506"/>
                  </a:lnTo>
                  <a:lnTo>
                    <a:pt x="609" y="1506"/>
                  </a:lnTo>
                  <a:lnTo>
                    <a:pt x="607" y="1506"/>
                  </a:lnTo>
                  <a:lnTo>
                    <a:pt x="607" y="1508"/>
                  </a:lnTo>
                  <a:lnTo>
                    <a:pt x="607" y="1506"/>
                  </a:lnTo>
                  <a:lnTo>
                    <a:pt x="607" y="1503"/>
                  </a:lnTo>
                  <a:lnTo>
                    <a:pt x="605" y="1503"/>
                  </a:lnTo>
                  <a:lnTo>
                    <a:pt x="605" y="1501"/>
                  </a:lnTo>
                  <a:lnTo>
                    <a:pt x="602" y="1501"/>
                  </a:lnTo>
                  <a:lnTo>
                    <a:pt x="600" y="1499"/>
                  </a:lnTo>
                  <a:lnTo>
                    <a:pt x="597" y="1499"/>
                  </a:lnTo>
                  <a:lnTo>
                    <a:pt x="595" y="1496"/>
                  </a:lnTo>
                  <a:lnTo>
                    <a:pt x="595" y="1494"/>
                  </a:lnTo>
                  <a:lnTo>
                    <a:pt x="593" y="1494"/>
                  </a:lnTo>
                  <a:lnTo>
                    <a:pt x="593" y="1492"/>
                  </a:lnTo>
                  <a:lnTo>
                    <a:pt x="593" y="1489"/>
                  </a:lnTo>
                  <a:lnTo>
                    <a:pt x="595" y="1487"/>
                  </a:lnTo>
                  <a:lnTo>
                    <a:pt x="593" y="1487"/>
                  </a:lnTo>
                  <a:lnTo>
                    <a:pt x="590" y="1487"/>
                  </a:lnTo>
                  <a:lnTo>
                    <a:pt x="590" y="1484"/>
                  </a:lnTo>
                  <a:lnTo>
                    <a:pt x="588" y="1484"/>
                  </a:lnTo>
                  <a:lnTo>
                    <a:pt x="588" y="1482"/>
                  </a:lnTo>
                  <a:lnTo>
                    <a:pt x="590" y="1480"/>
                  </a:lnTo>
                  <a:lnTo>
                    <a:pt x="588" y="1480"/>
                  </a:lnTo>
                  <a:lnTo>
                    <a:pt x="588" y="1482"/>
                  </a:lnTo>
                  <a:lnTo>
                    <a:pt x="586" y="1482"/>
                  </a:lnTo>
                  <a:lnTo>
                    <a:pt x="583" y="1482"/>
                  </a:lnTo>
                  <a:lnTo>
                    <a:pt x="583" y="1484"/>
                  </a:lnTo>
                  <a:lnTo>
                    <a:pt x="581" y="1484"/>
                  </a:lnTo>
                  <a:lnTo>
                    <a:pt x="579" y="1484"/>
                  </a:lnTo>
                  <a:lnTo>
                    <a:pt x="576" y="1484"/>
                  </a:lnTo>
                  <a:lnTo>
                    <a:pt x="576" y="1487"/>
                  </a:lnTo>
                  <a:lnTo>
                    <a:pt x="574" y="1487"/>
                  </a:lnTo>
                  <a:lnTo>
                    <a:pt x="571" y="1487"/>
                  </a:lnTo>
                  <a:lnTo>
                    <a:pt x="569" y="1487"/>
                  </a:lnTo>
                  <a:lnTo>
                    <a:pt x="567" y="1487"/>
                  </a:lnTo>
                  <a:lnTo>
                    <a:pt x="567" y="1489"/>
                  </a:lnTo>
                  <a:lnTo>
                    <a:pt x="564" y="1489"/>
                  </a:lnTo>
                  <a:lnTo>
                    <a:pt x="562" y="1489"/>
                  </a:lnTo>
                  <a:lnTo>
                    <a:pt x="562" y="1492"/>
                  </a:lnTo>
                  <a:lnTo>
                    <a:pt x="560" y="1492"/>
                  </a:lnTo>
                  <a:lnTo>
                    <a:pt x="560" y="1489"/>
                  </a:lnTo>
                  <a:lnTo>
                    <a:pt x="557" y="1489"/>
                  </a:lnTo>
                  <a:lnTo>
                    <a:pt x="557" y="1487"/>
                  </a:lnTo>
                  <a:lnTo>
                    <a:pt x="555" y="1487"/>
                  </a:lnTo>
                  <a:lnTo>
                    <a:pt x="552" y="1487"/>
                  </a:lnTo>
                  <a:lnTo>
                    <a:pt x="552" y="1489"/>
                  </a:lnTo>
                  <a:lnTo>
                    <a:pt x="550" y="1489"/>
                  </a:lnTo>
                  <a:lnTo>
                    <a:pt x="550" y="1487"/>
                  </a:lnTo>
                  <a:lnTo>
                    <a:pt x="548" y="1484"/>
                  </a:lnTo>
                  <a:lnTo>
                    <a:pt x="545" y="1482"/>
                  </a:lnTo>
                  <a:lnTo>
                    <a:pt x="543" y="1482"/>
                  </a:lnTo>
                  <a:lnTo>
                    <a:pt x="543" y="1480"/>
                  </a:lnTo>
                  <a:lnTo>
                    <a:pt x="543" y="1482"/>
                  </a:lnTo>
                  <a:lnTo>
                    <a:pt x="541" y="1482"/>
                  </a:lnTo>
                  <a:lnTo>
                    <a:pt x="538" y="1482"/>
                  </a:lnTo>
                  <a:lnTo>
                    <a:pt x="536" y="1482"/>
                  </a:lnTo>
                  <a:lnTo>
                    <a:pt x="533" y="1482"/>
                  </a:lnTo>
                  <a:lnTo>
                    <a:pt x="533" y="1484"/>
                  </a:lnTo>
                  <a:lnTo>
                    <a:pt x="531" y="1484"/>
                  </a:lnTo>
                  <a:lnTo>
                    <a:pt x="529" y="1484"/>
                  </a:lnTo>
                  <a:lnTo>
                    <a:pt x="529" y="1487"/>
                  </a:lnTo>
                  <a:lnTo>
                    <a:pt x="529" y="1484"/>
                  </a:lnTo>
                  <a:lnTo>
                    <a:pt x="526" y="1484"/>
                  </a:lnTo>
                  <a:lnTo>
                    <a:pt x="526" y="1482"/>
                  </a:lnTo>
                  <a:lnTo>
                    <a:pt x="526" y="1480"/>
                  </a:lnTo>
                  <a:lnTo>
                    <a:pt x="524" y="1480"/>
                  </a:lnTo>
                  <a:lnTo>
                    <a:pt x="522" y="1477"/>
                  </a:lnTo>
                  <a:lnTo>
                    <a:pt x="522" y="1475"/>
                  </a:lnTo>
                  <a:lnTo>
                    <a:pt x="519" y="1475"/>
                  </a:lnTo>
                  <a:lnTo>
                    <a:pt x="522" y="1475"/>
                  </a:lnTo>
                  <a:lnTo>
                    <a:pt x="522" y="1473"/>
                  </a:lnTo>
                  <a:lnTo>
                    <a:pt x="519" y="1473"/>
                  </a:lnTo>
                  <a:lnTo>
                    <a:pt x="519" y="1470"/>
                  </a:lnTo>
                  <a:lnTo>
                    <a:pt x="522" y="1470"/>
                  </a:lnTo>
                  <a:lnTo>
                    <a:pt x="524" y="1470"/>
                  </a:lnTo>
                  <a:lnTo>
                    <a:pt x="522" y="1470"/>
                  </a:lnTo>
                  <a:lnTo>
                    <a:pt x="522" y="1468"/>
                  </a:lnTo>
                  <a:lnTo>
                    <a:pt x="522" y="1465"/>
                  </a:lnTo>
                  <a:lnTo>
                    <a:pt x="524" y="1465"/>
                  </a:lnTo>
                  <a:lnTo>
                    <a:pt x="522" y="1465"/>
                  </a:lnTo>
                  <a:lnTo>
                    <a:pt x="522" y="1463"/>
                  </a:lnTo>
                  <a:lnTo>
                    <a:pt x="522" y="1461"/>
                  </a:lnTo>
                  <a:lnTo>
                    <a:pt x="519" y="1461"/>
                  </a:lnTo>
                  <a:lnTo>
                    <a:pt x="519" y="1458"/>
                  </a:lnTo>
                  <a:lnTo>
                    <a:pt x="522" y="1458"/>
                  </a:lnTo>
                  <a:lnTo>
                    <a:pt x="519" y="1458"/>
                  </a:lnTo>
                  <a:lnTo>
                    <a:pt x="519" y="1456"/>
                  </a:lnTo>
                  <a:lnTo>
                    <a:pt x="519" y="1454"/>
                  </a:lnTo>
                  <a:lnTo>
                    <a:pt x="522" y="1454"/>
                  </a:lnTo>
                  <a:lnTo>
                    <a:pt x="522" y="1451"/>
                  </a:lnTo>
                  <a:lnTo>
                    <a:pt x="519" y="1451"/>
                  </a:lnTo>
                  <a:lnTo>
                    <a:pt x="517" y="1451"/>
                  </a:lnTo>
                  <a:lnTo>
                    <a:pt x="514" y="1451"/>
                  </a:lnTo>
                  <a:lnTo>
                    <a:pt x="512" y="1451"/>
                  </a:lnTo>
                  <a:lnTo>
                    <a:pt x="512" y="1449"/>
                  </a:lnTo>
                  <a:lnTo>
                    <a:pt x="512" y="1446"/>
                  </a:lnTo>
                  <a:lnTo>
                    <a:pt x="512" y="1444"/>
                  </a:lnTo>
                  <a:lnTo>
                    <a:pt x="512" y="1442"/>
                  </a:lnTo>
                  <a:lnTo>
                    <a:pt x="510" y="1442"/>
                  </a:lnTo>
                  <a:lnTo>
                    <a:pt x="510" y="1444"/>
                  </a:lnTo>
                  <a:lnTo>
                    <a:pt x="507" y="1444"/>
                  </a:lnTo>
                  <a:lnTo>
                    <a:pt x="507" y="1442"/>
                  </a:lnTo>
                  <a:lnTo>
                    <a:pt x="505" y="1444"/>
                  </a:lnTo>
                  <a:lnTo>
                    <a:pt x="503" y="1444"/>
                  </a:lnTo>
                  <a:lnTo>
                    <a:pt x="503" y="1446"/>
                  </a:lnTo>
                  <a:lnTo>
                    <a:pt x="500" y="1446"/>
                  </a:lnTo>
                  <a:lnTo>
                    <a:pt x="500" y="1444"/>
                  </a:lnTo>
                  <a:lnTo>
                    <a:pt x="500" y="1446"/>
                  </a:lnTo>
                  <a:lnTo>
                    <a:pt x="500" y="1444"/>
                  </a:lnTo>
                  <a:lnTo>
                    <a:pt x="498" y="1444"/>
                  </a:lnTo>
                  <a:lnTo>
                    <a:pt x="498" y="1446"/>
                  </a:lnTo>
                  <a:lnTo>
                    <a:pt x="498" y="1444"/>
                  </a:lnTo>
                  <a:lnTo>
                    <a:pt x="495" y="1444"/>
                  </a:lnTo>
                  <a:lnTo>
                    <a:pt x="495" y="1442"/>
                  </a:lnTo>
                  <a:lnTo>
                    <a:pt x="493" y="1442"/>
                  </a:lnTo>
                  <a:lnTo>
                    <a:pt x="491" y="1442"/>
                  </a:lnTo>
                  <a:lnTo>
                    <a:pt x="488" y="1442"/>
                  </a:lnTo>
                  <a:lnTo>
                    <a:pt x="486" y="1442"/>
                  </a:lnTo>
                  <a:lnTo>
                    <a:pt x="484" y="1442"/>
                  </a:lnTo>
                  <a:lnTo>
                    <a:pt x="481" y="1442"/>
                  </a:lnTo>
                  <a:lnTo>
                    <a:pt x="481" y="1439"/>
                  </a:lnTo>
                  <a:lnTo>
                    <a:pt x="484" y="1439"/>
                  </a:lnTo>
                  <a:lnTo>
                    <a:pt x="484" y="1437"/>
                  </a:lnTo>
                  <a:lnTo>
                    <a:pt x="486" y="1437"/>
                  </a:lnTo>
                  <a:lnTo>
                    <a:pt x="484" y="1437"/>
                  </a:lnTo>
                  <a:lnTo>
                    <a:pt x="484" y="1435"/>
                  </a:lnTo>
                  <a:lnTo>
                    <a:pt x="481" y="1435"/>
                  </a:lnTo>
                  <a:lnTo>
                    <a:pt x="481" y="1432"/>
                  </a:lnTo>
                  <a:lnTo>
                    <a:pt x="484" y="1432"/>
                  </a:lnTo>
                  <a:lnTo>
                    <a:pt x="484" y="1430"/>
                  </a:lnTo>
                  <a:lnTo>
                    <a:pt x="484" y="1427"/>
                  </a:lnTo>
                  <a:lnTo>
                    <a:pt x="481" y="1425"/>
                  </a:lnTo>
                  <a:lnTo>
                    <a:pt x="481" y="1423"/>
                  </a:lnTo>
                  <a:lnTo>
                    <a:pt x="479" y="1423"/>
                  </a:lnTo>
                  <a:lnTo>
                    <a:pt x="476" y="1423"/>
                  </a:lnTo>
                  <a:lnTo>
                    <a:pt x="476" y="1420"/>
                  </a:lnTo>
                  <a:lnTo>
                    <a:pt x="479" y="1420"/>
                  </a:lnTo>
                  <a:lnTo>
                    <a:pt x="481" y="1420"/>
                  </a:lnTo>
                  <a:lnTo>
                    <a:pt x="484" y="1420"/>
                  </a:lnTo>
                  <a:lnTo>
                    <a:pt x="484" y="1418"/>
                  </a:lnTo>
                  <a:lnTo>
                    <a:pt x="486" y="1418"/>
                  </a:lnTo>
                  <a:lnTo>
                    <a:pt x="488" y="1418"/>
                  </a:lnTo>
                  <a:lnTo>
                    <a:pt x="488" y="1416"/>
                  </a:lnTo>
                  <a:lnTo>
                    <a:pt x="488" y="1413"/>
                  </a:lnTo>
                  <a:lnTo>
                    <a:pt x="486" y="1413"/>
                  </a:lnTo>
                  <a:lnTo>
                    <a:pt x="486" y="1411"/>
                  </a:lnTo>
                  <a:lnTo>
                    <a:pt x="484" y="1411"/>
                  </a:lnTo>
                  <a:lnTo>
                    <a:pt x="484" y="1408"/>
                  </a:lnTo>
                  <a:lnTo>
                    <a:pt x="481" y="1408"/>
                  </a:lnTo>
                  <a:lnTo>
                    <a:pt x="481" y="1406"/>
                  </a:lnTo>
                  <a:lnTo>
                    <a:pt x="479" y="1406"/>
                  </a:lnTo>
                  <a:lnTo>
                    <a:pt x="479" y="1404"/>
                  </a:lnTo>
                  <a:lnTo>
                    <a:pt x="476" y="1404"/>
                  </a:lnTo>
                  <a:lnTo>
                    <a:pt x="476" y="1401"/>
                  </a:lnTo>
                  <a:lnTo>
                    <a:pt x="476" y="1399"/>
                  </a:lnTo>
                  <a:lnTo>
                    <a:pt x="479" y="1399"/>
                  </a:lnTo>
                  <a:lnTo>
                    <a:pt x="476" y="1397"/>
                  </a:lnTo>
                  <a:lnTo>
                    <a:pt x="476" y="1394"/>
                  </a:lnTo>
                  <a:lnTo>
                    <a:pt x="474" y="1394"/>
                  </a:lnTo>
                  <a:lnTo>
                    <a:pt x="472" y="1394"/>
                  </a:lnTo>
                  <a:lnTo>
                    <a:pt x="472" y="1392"/>
                  </a:lnTo>
                  <a:lnTo>
                    <a:pt x="472" y="1389"/>
                  </a:lnTo>
                  <a:lnTo>
                    <a:pt x="469" y="1389"/>
                  </a:lnTo>
                  <a:lnTo>
                    <a:pt x="469" y="1387"/>
                  </a:lnTo>
                  <a:lnTo>
                    <a:pt x="467" y="1387"/>
                  </a:lnTo>
                  <a:lnTo>
                    <a:pt x="465" y="1387"/>
                  </a:lnTo>
                  <a:lnTo>
                    <a:pt x="462" y="1387"/>
                  </a:lnTo>
                  <a:lnTo>
                    <a:pt x="462" y="1389"/>
                  </a:lnTo>
                  <a:lnTo>
                    <a:pt x="460" y="1389"/>
                  </a:lnTo>
                  <a:lnTo>
                    <a:pt x="458" y="1389"/>
                  </a:lnTo>
                  <a:lnTo>
                    <a:pt x="458" y="1387"/>
                  </a:lnTo>
                  <a:lnTo>
                    <a:pt x="455" y="1387"/>
                  </a:lnTo>
                  <a:lnTo>
                    <a:pt x="453" y="1387"/>
                  </a:lnTo>
                  <a:lnTo>
                    <a:pt x="450" y="1387"/>
                  </a:lnTo>
                  <a:lnTo>
                    <a:pt x="448" y="1387"/>
                  </a:lnTo>
                  <a:lnTo>
                    <a:pt x="446" y="1387"/>
                  </a:lnTo>
                  <a:lnTo>
                    <a:pt x="448" y="1387"/>
                  </a:lnTo>
                  <a:lnTo>
                    <a:pt x="446" y="1387"/>
                  </a:lnTo>
                  <a:lnTo>
                    <a:pt x="446" y="1389"/>
                  </a:lnTo>
                  <a:lnTo>
                    <a:pt x="443" y="1389"/>
                  </a:lnTo>
                  <a:lnTo>
                    <a:pt x="441" y="1389"/>
                  </a:lnTo>
                  <a:lnTo>
                    <a:pt x="441" y="1392"/>
                  </a:lnTo>
                  <a:lnTo>
                    <a:pt x="439" y="1392"/>
                  </a:lnTo>
                  <a:lnTo>
                    <a:pt x="436" y="1392"/>
                  </a:lnTo>
                  <a:lnTo>
                    <a:pt x="439" y="1392"/>
                  </a:lnTo>
                  <a:lnTo>
                    <a:pt x="436" y="1392"/>
                  </a:lnTo>
                  <a:lnTo>
                    <a:pt x="434" y="1392"/>
                  </a:lnTo>
                  <a:lnTo>
                    <a:pt x="431" y="1392"/>
                  </a:lnTo>
                  <a:lnTo>
                    <a:pt x="429" y="1389"/>
                  </a:lnTo>
                  <a:lnTo>
                    <a:pt x="427" y="1389"/>
                  </a:lnTo>
                  <a:lnTo>
                    <a:pt x="424" y="1389"/>
                  </a:lnTo>
                  <a:lnTo>
                    <a:pt x="422" y="1389"/>
                  </a:lnTo>
                  <a:lnTo>
                    <a:pt x="422" y="1387"/>
                  </a:lnTo>
                  <a:lnTo>
                    <a:pt x="420" y="1387"/>
                  </a:lnTo>
                  <a:lnTo>
                    <a:pt x="420" y="1389"/>
                  </a:lnTo>
                  <a:lnTo>
                    <a:pt x="420" y="1392"/>
                  </a:lnTo>
                  <a:lnTo>
                    <a:pt x="422" y="1392"/>
                  </a:lnTo>
                  <a:lnTo>
                    <a:pt x="420" y="1394"/>
                  </a:lnTo>
                  <a:lnTo>
                    <a:pt x="420" y="1392"/>
                  </a:lnTo>
                  <a:lnTo>
                    <a:pt x="420" y="1394"/>
                  </a:lnTo>
                  <a:lnTo>
                    <a:pt x="420" y="1392"/>
                  </a:lnTo>
                  <a:lnTo>
                    <a:pt x="420" y="1394"/>
                  </a:lnTo>
                  <a:lnTo>
                    <a:pt x="420" y="1397"/>
                  </a:lnTo>
                  <a:lnTo>
                    <a:pt x="420" y="1399"/>
                  </a:lnTo>
                  <a:lnTo>
                    <a:pt x="417" y="1399"/>
                  </a:lnTo>
                  <a:lnTo>
                    <a:pt x="417" y="1401"/>
                  </a:lnTo>
                  <a:lnTo>
                    <a:pt x="415" y="1401"/>
                  </a:lnTo>
                  <a:lnTo>
                    <a:pt x="412" y="1401"/>
                  </a:lnTo>
                  <a:lnTo>
                    <a:pt x="412" y="1404"/>
                  </a:lnTo>
                  <a:lnTo>
                    <a:pt x="410" y="1404"/>
                  </a:lnTo>
                  <a:lnTo>
                    <a:pt x="410" y="1401"/>
                  </a:lnTo>
                  <a:lnTo>
                    <a:pt x="408" y="1401"/>
                  </a:lnTo>
                  <a:lnTo>
                    <a:pt x="405" y="1404"/>
                  </a:lnTo>
                  <a:lnTo>
                    <a:pt x="405" y="1401"/>
                  </a:lnTo>
                  <a:lnTo>
                    <a:pt x="405" y="1404"/>
                  </a:lnTo>
                  <a:lnTo>
                    <a:pt x="405" y="1401"/>
                  </a:lnTo>
                  <a:lnTo>
                    <a:pt x="408" y="1401"/>
                  </a:lnTo>
                  <a:lnTo>
                    <a:pt x="405" y="1401"/>
                  </a:lnTo>
                  <a:lnTo>
                    <a:pt x="405" y="1399"/>
                  </a:lnTo>
                  <a:lnTo>
                    <a:pt x="403" y="1399"/>
                  </a:lnTo>
                  <a:lnTo>
                    <a:pt x="401" y="1399"/>
                  </a:lnTo>
                  <a:lnTo>
                    <a:pt x="401" y="1397"/>
                  </a:lnTo>
                  <a:lnTo>
                    <a:pt x="398" y="1397"/>
                  </a:lnTo>
                  <a:lnTo>
                    <a:pt x="398" y="1394"/>
                  </a:lnTo>
                  <a:lnTo>
                    <a:pt x="398" y="1392"/>
                  </a:lnTo>
                  <a:lnTo>
                    <a:pt x="396" y="1392"/>
                  </a:lnTo>
                  <a:lnTo>
                    <a:pt x="396" y="1389"/>
                  </a:lnTo>
                  <a:lnTo>
                    <a:pt x="396" y="1387"/>
                  </a:lnTo>
                  <a:lnTo>
                    <a:pt x="396" y="1385"/>
                  </a:lnTo>
                  <a:lnTo>
                    <a:pt x="396" y="1382"/>
                  </a:lnTo>
                  <a:lnTo>
                    <a:pt x="393" y="1382"/>
                  </a:lnTo>
                  <a:lnTo>
                    <a:pt x="393" y="1380"/>
                  </a:lnTo>
                  <a:lnTo>
                    <a:pt x="396" y="1380"/>
                  </a:lnTo>
                  <a:lnTo>
                    <a:pt x="393" y="1380"/>
                  </a:lnTo>
                  <a:lnTo>
                    <a:pt x="396" y="1380"/>
                  </a:lnTo>
                  <a:lnTo>
                    <a:pt x="396" y="1378"/>
                  </a:lnTo>
                  <a:lnTo>
                    <a:pt x="398" y="1378"/>
                  </a:lnTo>
                  <a:lnTo>
                    <a:pt x="396" y="1378"/>
                  </a:lnTo>
                  <a:lnTo>
                    <a:pt x="396" y="1375"/>
                  </a:lnTo>
                  <a:lnTo>
                    <a:pt x="393" y="1375"/>
                  </a:lnTo>
                  <a:lnTo>
                    <a:pt x="393" y="1373"/>
                  </a:lnTo>
                  <a:lnTo>
                    <a:pt x="391" y="1370"/>
                  </a:lnTo>
                  <a:lnTo>
                    <a:pt x="393" y="1370"/>
                  </a:lnTo>
                  <a:lnTo>
                    <a:pt x="393" y="1368"/>
                  </a:lnTo>
                  <a:lnTo>
                    <a:pt x="396" y="1368"/>
                  </a:lnTo>
                  <a:lnTo>
                    <a:pt x="396" y="1366"/>
                  </a:lnTo>
                  <a:lnTo>
                    <a:pt x="393" y="1366"/>
                  </a:lnTo>
                  <a:lnTo>
                    <a:pt x="393" y="1363"/>
                  </a:lnTo>
                  <a:lnTo>
                    <a:pt x="391" y="1363"/>
                  </a:lnTo>
                  <a:lnTo>
                    <a:pt x="391" y="1361"/>
                  </a:lnTo>
                  <a:lnTo>
                    <a:pt x="389" y="1361"/>
                  </a:lnTo>
                  <a:lnTo>
                    <a:pt x="389" y="1359"/>
                  </a:lnTo>
                  <a:lnTo>
                    <a:pt x="389" y="1356"/>
                  </a:lnTo>
                  <a:lnTo>
                    <a:pt x="386" y="1356"/>
                  </a:lnTo>
                  <a:lnTo>
                    <a:pt x="384" y="1354"/>
                  </a:lnTo>
                  <a:lnTo>
                    <a:pt x="386" y="1354"/>
                  </a:lnTo>
                  <a:lnTo>
                    <a:pt x="386" y="1351"/>
                  </a:lnTo>
                  <a:lnTo>
                    <a:pt x="389" y="1351"/>
                  </a:lnTo>
                  <a:lnTo>
                    <a:pt x="389" y="1349"/>
                  </a:lnTo>
                  <a:lnTo>
                    <a:pt x="386" y="1349"/>
                  </a:lnTo>
                  <a:lnTo>
                    <a:pt x="389" y="1347"/>
                  </a:lnTo>
                  <a:lnTo>
                    <a:pt x="389" y="1344"/>
                  </a:lnTo>
                  <a:lnTo>
                    <a:pt x="391" y="1344"/>
                  </a:lnTo>
                  <a:lnTo>
                    <a:pt x="393" y="1347"/>
                  </a:lnTo>
                  <a:lnTo>
                    <a:pt x="396" y="1344"/>
                  </a:lnTo>
                  <a:lnTo>
                    <a:pt x="398" y="1344"/>
                  </a:lnTo>
                  <a:lnTo>
                    <a:pt x="398" y="1347"/>
                  </a:lnTo>
                  <a:lnTo>
                    <a:pt x="401" y="1347"/>
                  </a:lnTo>
                  <a:lnTo>
                    <a:pt x="403" y="1349"/>
                  </a:lnTo>
                  <a:lnTo>
                    <a:pt x="405" y="1349"/>
                  </a:lnTo>
                  <a:lnTo>
                    <a:pt x="405" y="1351"/>
                  </a:lnTo>
                  <a:lnTo>
                    <a:pt x="408" y="1351"/>
                  </a:lnTo>
                  <a:lnTo>
                    <a:pt x="410" y="1351"/>
                  </a:lnTo>
                  <a:lnTo>
                    <a:pt x="412" y="1351"/>
                  </a:lnTo>
                  <a:lnTo>
                    <a:pt x="415" y="1351"/>
                  </a:lnTo>
                  <a:lnTo>
                    <a:pt x="415" y="1349"/>
                  </a:lnTo>
                  <a:lnTo>
                    <a:pt x="415" y="1351"/>
                  </a:lnTo>
                  <a:lnTo>
                    <a:pt x="417" y="1349"/>
                  </a:lnTo>
                  <a:lnTo>
                    <a:pt x="420" y="1349"/>
                  </a:lnTo>
                  <a:lnTo>
                    <a:pt x="420" y="1347"/>
                  </a:lnTo>
                  <a:lnTo>
                    <a:pt x="422" y="1347"/>
                  </a:lnTo>
                  <a:lnTo>
                    <a:pt x="422" y="1344"/>
                  </a:lnTo>
                  <a:lnTo>
                    <a:pt x="424" y="1342"/>
                  </a:lnTo>
                  <a:lnTo>
                    <a:pt x="424" y="1340"/>
                  </a:lnTo>
                  <a:lnTo>
                    <a:pt x="427" y="1340"/>
                  </a:lnTo>
                  <a:lnTo>
                    <a:pt x="427" y="1342"/>
                  </a:lnTo>
                  <a:lnTo>
                    <a:pt x="427" y="1340"/>
                  </a:lnTo>
                  <a:lnTo>
                    <a:pt x="429" y="1340"/>
                  </a:lnTo>
                  <a:lnTo>
                    <a:pt x="431" y="1340"/>
                  </a:lnTo>
                  <a:lnTo>
                    <a:pt x="434" y="1340"/>
                  </a:lnTo>
                  <a:lnTo>
                    <a:pt x="434" y="1337"/>
                  </a:lnTo>
                  <a:lnTo>
                    <a:pt x="431" y="1337"/>
                  </a:lnTo>
                  <a:lnTo>
                    <a:pt x="434" y="1335"/>
                  </a:lnTo>
                  <a:lnTo>
                    <a:pt x="434" y="1332"/>
                  </a:lnTo>
                  <a:lnTo>
                    <a:pt x="431" y="1332"/>
                  </a:lnTo>
                  <a:lnTo>
                    <a:pt x="429" y="1332"/>
                  </a:lnTo>
                  <a:lnTo>
                    <a:pt x="429" y="1330"/>
                  </a:lnTo>
                  <a:lnTo>
                    <a:pt x="429" y="1332"/>
                  </a:lnTo>
                  <a:lnTo>
                    <a:pt x="429" y="1330"/>
                  </a:lnTo>
                  <a:lnTo>
                    <a:pt x="427" y="1330"/>
                  </a:lnTo>
                  <a:lnTo>
                    <a:pt x="427" y="1328"/>
                  </a:lnTo>
                  <a:lnTo>
                    <a:pt x="424" y="1328"/>
                  </a:lnTo>
                  <a:lnTo>
                    <a:pt x="422" y="1325"/>
                  </a:lnTo>
                  <a:lnTo>
                    <a:pt x="422" y="1323"/>
                  </a:lnTo>
                  <a:lnTo>
                    <a:pt x="424" y="1323"/>
                  </a:lnTo>
                  <a:lnTo>
                    <a:pt x="424" y="1321"/>
                  </a:lnTo>
                  <a:lnTo>
                    <a:pt x="424" y="1318"/>
                  </a:lnTo>
                  <a:lnTo>
                    <a:pt x="422" y="1318"/>
                  </a:lnTo>
                  <a:lnTo>
                    <a:pt x="420" y="1318"/>
                  </a:lnTo>
                  <a:lnTo>
                    <a:pt x="420" y="1321"/>
                  </a:lnTo>
                  <a:lnTo>
                    <a:pt x="420" y="1318"/>
                  </a:lnTo>
                  <a:lnTo>
                    <a:pt x="417" y="1318"/>
                  </a:lnTo>
                  <a:lnTo>
                    <a:pt x="417" y="1316"/>
                  </a:lnTo>
                  <a:lnTo>
                    <a:pt x="417" y="1318"/>
                  </a:lnTo>
                  <a:lnTo>
                    <a:pt x="415" y="1318"/>
                  </a:lnTo>
                  <a:lnTo>
                    <a:pt x="415" y="1316"/>
                  </a:lnTo>
                  <a:lnTo>
                    <a:pt x="412" y="1316"/>
                  </a:lnTo>
                  <a:lnTo>
                    <a:pt x="412" y="1313"/>
                  </a:lnTo>
                  <a:lnTo>
                    <a:pt x="412" y="1316"/>
                  </a:lnTo>
                  <a:lnTo>
                    <a:pt x="410" y="1316"/>
                  </a:lnTo>
                  <a:lnTo>
                    <a:pt x="408" y="1316"/>
                  </a:lnTo>
                  <a:lnTo>
                    <a:pt x="405" y="1316"/>
                  </a:lnTo>
                  <a:lnTo>
                    <a:pt x="403" y="1316"/>
                  </a:lnTo>
                  <a:lnTo>
                    <a:pt x="401" y="1316"/>
                  </a:lnTo>
                  <a:lnTo>
                    <a:pt x="401" y="1313"/>
                  </a:lnTo>
                  <a:lnTo>
                    <a:pt x="403" y="1313"/>
                  </a:lnTo>
                  <a:lnTo>
                    <a:pt x="403" y="1311"/>
                  </a:lnTo>
                  <a:lnTo>
                    <a:pt x="403" y="1309"/>
                  </a:lnTo>
                  <a:lnTo>
                    <a:pt x="403" y="1306"/>
                  </a:lnTo>
                  <a:lnTo>
                    <a:pt x="405" y="1306"/>
                  </a:lnTo>
                  <a:lnTo>
                    <a:pt x="403" y="1306"/>
                  </a:lnTo>
                  <a:lnTo>
                    <a:pt x="403" y="1304"/>
                  </a:lnTo>
                  <a:lnTo>
                    <a:pt x="405" y="1304"/>
                  </a:lnTo>
                  <a:lnTo>
                    <a:pt x="405" y="1302"/>
                  </a:lnTo>
                  <a:lnTo>
                    <a:pt x="403" y="1302"/>
                  </a:lnTo>
                  <a:lnTo>
                    <a:pt x="401" y="1302"/>
                  </a:lnTo>
                  <a:lnTo>
                    <a:pt x="401" y="1299"/>
                  </a:lnTo>
                  <a:lnTo>
                    <a:pt x="398" y="1299"/>
                  </a:lnTo>
                  <a:lnTo>
                    <a:pt x="396" y="1299"/>
                  </a:lnTo>
                  <a:lnTo>
                    <a:pt x="393" y="1299"/>
                  </a:lnTo>
                  <a:lnTo>
                    <a:pt x="393" y="1297"/>
                  </a:lnTo>
                  <a:lnTo>
                    <a:pt x="391" y="1297"/>
                  </a:lnTo>
                  <a:lnTo>
                    <a:pt x="391" y="1294"/>
                  </a:lnTo>
                  <a:lnTo>
                    <a:pt x="389" y="1294"/>
                  </a:lnTo>
                  <a:lnTo>
                    <a:pt x="389" y="1292"/>
                  </a:lnTo>
                  <a:lnTo>
                    <a:pt x="386" y="1292"/>
                  </a:lnTo>
                  <a:lnTo>
                    <a:pt x="386" y="1294"/>
                  </a:lnTo>
                  <a:lnTo>
                    <a:pt x="386" y="1292"/>
                  </a:lnTo>
                  <a:lnTo>
                    <a:pt x="386" y="1290"/>
                  </a:lnTo>
                  <a:lnTo>
                    <a:pt x="384" y="1290"/>
                  </a:lnTo>
                  <a:lnTo>
                    <a:pt x="386" y="1287"/>
                  </a:lnTo>
                  <a:lnTo>
                    <a:pt x="384" y="1287"/>
                  </a:lnTo>
                  <a:lnTo>
                    <a:pt x="384" y="1285"/>
                  </a:lnTo>
                  <a:lnTo>
                    <a:pt x="384" y="1283"/>
                  </a:lnTo>
                  <a:lnTo>
                    <a:pt x="382" y="1283"/>
                  </a:lnTo>
                  <a:lnTo>
                    <a:pt x="382" y="1280"/>
                  </a:lnTo>
                  <a:lnTo>
                    <a:pt x="382" y="1283"/>
                  </a:lnTo>
                  <a:lnTo>
                    <a:pt x="379" y="1280"/>
                  </a:lnTo>
                  <a:lnTo>
                    <a:pt x="379" y="1278"/>
                  </a:lnTo>
                  <a:lnTo>
                    <a:pt x="379" y="1275"/>
                  </a:lnTo>
                  <a:lnTo>
                    <a:pt x="382" y="1275"/>
                  </a:lnTo>
                  <a:lnTo>
                    <a:pt x="382" y="1273"/>
                  </a:lnTo>
                  <a:lnTo>
                    <a:pt x="382" y="1271"/>
                  </a:lnTo>
                  <a:lnTo>
                    <a:pt x="379" y="1271"/>
                  </a:lnTo>
                  <a:lnTo>
                    <a:pt x="379" y="1273"/>
                  </a:lnTo>
                  <a:lnTo>
                    <a:pt x="379" y="1271"/>
                  </a:lnTo>
                  <a:lnTo>
                    <a:pt x="377" y="1271"/>
                  </a:lnTo>
                  <a:lnTo>
                    <a:pt x="374" y="1271"/>
                  </a:lnTo>
                  <a:lnTo>
                    <a:pt x="377" y="1268"/>
                  </a:lnTo>
                  <a:lnTo>
                    <a:pt x="374" y="1268"/>
                  </a:lnTo>
                  <a:lnTo>
                    <a:pt x="374" y="1271"/>
                  </a:lnTo>
                  <a:lnTo>
                    <a:pt x="374" y="1268"/>
                  </a:lnTo>
                  <a:lnTo>
                    <a:pt x="372" y="1268"/>
                  </a:lnTo>
                  <a:lnTo>
                    <a:pt x="372" y="1266"/>
                  </a:lnTo>
                  <a:lnTo>
                    <a:pt x="370" y="1266"/>
                  </a:lnTo>
                  <a:lnTo>
                    <a:pt x="367" y="1266"/>
                  </a:lnTo>
                  <a:lnTo>
                    <a:pt x="367" y="1264"/>
                  </a:lnTo>
                  <a:lnTo>
                    <a:pt x="367" y="1261"/>
                  </a:lnTo>
                  <a:lnTo>
                    <a:pt x="370" y="1261"/>
                  </a:lnTo>
                  <a:lnTo>
                    <a:pt x="370" y="1259"/>
                  </a:lnTo>
                  <a:lnTo>
                    <a:pt x="370" y="1256"/>
                  </a:lnTo>
                  <a:lnTo>
                    <a:pt x="372" y="1256"/>
                  </a:lnTo>
                  <a:lnTo>
                    <a:pt x="374" y="1256"/>
                  </a:lnTo>
                  <a:lnTo>
                    <a:pt x="374" y="1254"/>
                  </a:lnTo>
                  <a:lnTo>
                    <a:pt x="372" y="1254"/>
                  </a:lnTo>
                  <a:lnTo>
                    <a:pt x="374" y="1254"/>
                  </a:lnTo>
                  <a:lnTo>
                    <a:pt x="377" y="1252"/>
                  </a:lnTo>
                  <a:lnTo>
                    <a:pt x="374" y="1252"/>
                  </a:lnTo>
                  <a:lnTo>
                    <a:pt x="374" y="1249"/>
                  </a:lnTo>
                  <a:lnTo>
                    <a:pt x="377" y="1249"/>
                  </a:lnTo>
                  <a:lnTo>
                    <a:pt x="377" y="1247"/>
                  </a:lnTo>
                  <a:lnTo>
                    <a:pt x="374" y="1247"/>
                  </a:lnTo>
                  <a:lnTo>
                    <a:pt x="374" y="1245"/>
                  </a:lnTo>
                  <a:lnTo>
                    <a:pt x="372" y="1245"/>
                  </a:lnTo>
                  <a:lnTo>
                    <a:pt x="372" y="1242"/>
                  </a:lnTo>
                  <a:lnTo>
                    <a:pt x="370" y="1240"/>
                  </a:lnTo>
                  <a:lnTo>
                    <a:pt x="370" y="1237"/>
                  </a:lnTo>
                  <a:lnTo>
                    <a:pt x="372" y="1237"/>
                  </a:lnTo>
                  <a:lnTo>
                    <a:pt x="372" y="1235"/>
                  </a:lnTo>
                  <a:lnTo>
                    <a:pt x="372" y="1233"/>
                  </a:lnTo>
                  <a:lnTo>
                    <a:pt x="372" y="1230"/>
                  </a:lnTo>
                  <a:lnTo>
                    <a:pt x="374" y="1230"/>
                  </a:lnTo>
                  <a:lnTo>
                    <a:pt x="374" y="1228"/>
                  </a:lnTo>
                  <a:lnTo>
                    <a:pt x="372" y="1228"/>
                  </a:lnTo>
                  <a:lnTo>
                    <a:pt x="374" y="1228"/>
                  </a:lnTo>
                  <a:lnTo>
                    <a:pt x="374" y="1226"/>
                  </a:lnTo>
                  <a:lnTo>
                    <a:pt x="372" y="1226"/>
                  </a:lnTo>
                  <a:lnTo>
                    <a:pt x="374" y="1226"/>
                  </a:lnTo>
                  <a:lnTo>
                    <a:pt x="372" y="1223"/>
                  </a:lnTo>
                  <a:lnTo>
                    <a:pt x="370" y="1223"/>
                  </a:lnTo>
                  <a:lnTo>
                    <a:pt x="370" y="1226"/>
                  </a:lnTo>
                  <a:lnTo>
                    <a:pt x="367" y="1226"/>
                  </a:lnTo>
                  <a:lnTo>
                    <a:pt x="367" y="1223"/>
                  </a:lnTo>
                  <a:lnTo>
                    <a:pt x="367" y="1221"/>
                  </a:lnTo>
                  <a:lnTo>
                    <a:pt x="365" y="1221"/>
                  </a:lnTo>
                  <a:lnTo>
                    <a:pt x="365" y="1223"/>
                  </a:lnTo>
                  <a:lnTo>
                    <a:pt x="365" y="1221"/>
                  </a:lnTo>
                  <a:lnTo>
                    <a:pt x="363" y="1221"/>
                  </a:lnTo>
                  <a:lnTo>
                    <a:pt x="363" y="1218"/>
                  </a:lnTo>
                  <a:lnTo>
                    <a:pt x="363" y="1216"/>
                  </a:lnTo>
                  <a:lnTo>
                    <a:pt x="360" y="1216"/>
                  </a:lnTo>
                  <a:lnTo>
                    <a:pt x="358" y="1216"/>
                  </a:lnTo>
                  <a:lnTo>
                    <a:pt x="360" y="1214"/>
                  </a:lnTo>
                  <a:lnTo>
                    <a:pt x="358" y="1214"/>
                  </a:lnTo>
                  <a:lnTo>
                    <a:pt x="355" y="1214"/>
                  </a:lnTo>
                  <a:lnTo>
                    <a:pt x="353" y="1214"/>
                  </a:lnTo>
                  <a:lnTo>
                    <a:pt x="353" y="1211"/>
                  </a:lnTo>
                  <a:lnTo>
                    <a:pt x="351" y="1211"/>
                  </a:lnTo>
                  <a:lnTo>
                    <a:pt x="348" y="1211"/>
                  </a:lnTo>
                  <a:lnTo>
                    <a:pt x="346" y="1211"/>
                  </a:lnTo>
                  <a:lnTo>
                    <a:pt x="346" y="1214"/>
                  </a:lnTo>
                  <a:lnTo>
                    <a:pt x="346" y="1211"/>
                  </a:lnTo>
                  <a:lnTo>
                    <a:pt x="344" y="1211"/>
                  </a:lnTo>
                  <a:lnTo>
                    <a:pt x="341" y="1211"/>
                  </a:lnTo>
                  <a:lnTo>
                    <a:pt x="339" y="1211"/>
                  </a:lnTo>
                  <a:lnTo>
                    <a:pt x="339" y="1214"/>
                  </a:lnTo>
                  <a:lnTo>
                    <a:pt x="336" y="1214"/>
                  </a:lnTo>
                  <a:lnTo>
                    <a:pt x="336" y="1216"/>
                  </a:lnTo>
                  <a:lnTo>
                    <a:pt x="334" y="1216"/>
                  </a:lnTo>
                  <a:lnTo>
                    <a:pt x="334" y="1214"/>
                  </a:lnTo>
                  <a:lnTo>
                    <a:pt x="332" y="1214"/>
                  </a:lnTo>
                  <a:lnTo>
                    <a:pt x="332" y="1216"/>
                  </a:lnTo>
                  <a:lnTo>
                    <a:pt x="329" y="1216"/>
                  </a:lnTo>
                  <a:lnTo>
                    <a:pt x="329" y="1218"/>
                  </a:lnTo>
                  <a:lnTo>
                    <a:pt x="327" y="1218"/>
                  </a:lnTo>
                  <a:lnTo>
                    <a:pt x="325" y="1218"/>
                  </a:lnTo>
                  <a:lnTo>
                    <a:pt x="322" y="1216"/>
                  </a:lnTo>
                  <a:lnTo>
                    <a:pt x="322" y="1214"/>
                  </a:lnTo>
                  <a:lnTo>
                    <a:pt x="322" y="1211"/>
                  </a:lnTo>
                  <a:lnTo>
                    <a:pt x="322" y="1209"/>
                  </a:lnTo>
                  <a:lnTo>
                    <a:pt x="325" y="1209"/>
                  </a:lnTo>
                  <a:lnTo>
                    <a:pt x="325" y="1207"/>
                  </a:lnTo>
                  <a:lnTo>
                    <a:pt x="322" y="1207"/>
                  </a:lnTo>
                  <a:lnTo>
                    <a:pt x="325" y="1207"/>
                  </a:lnTo>
                  <a:lnTo>
                    <a:pt x="322" y="1207"/>
                  </a:lnTo>
                  <a:lnTo>
                    <a:pt x="320" y="1207"/>
                  </a:lnTo>
                  <a:lnTo>
                    <a:pt x="320" y="1204"/>
                  </a:lnTo>
                  <a:lnTo>
                    <a:pt x="318" y="1204"/>
                  </a:lnTo>
                  <a:lnTo>
                    <a:pt x="315" y="1204"/>
                  </a:lnTo>
                  <a:lnTo>
                    <a:pt x="315" y="1202"/>
                  </a:lnTo>
                  <a:lnTo>
                    <a:pt x="313" y="1202"/>
                  </a:lnTo>
                  <a:lnTo>
                    <a:pt x="313" y="1204"/>
                  </a:lnTo>
                  <a:lnTo>
                    <a:pt x="313" y="1202"/>
                  </a:lnTo>
                  <a:lnTo>
                    <a:pt x="310" y="1202"/>
                  </a:lnTo>
                  <a:lnTo>
                    <a:pt x="310" y="1204"/>
                  </a:lnTo>
                  <a:lnTo>
                    <a:pt x="308" y="1204"/>
                  </a:lnTo>
                  <a:lnTo>
                    <a:pt x="306" y="1204"/>
                  </a:lnTo>
                  <a:lnTo>
                    <a:pt x="303" y="1204"/>
                  </a:lnTo>
                  <a:lnTo>
                    <a:pt x="303" y="1207"/>
                  </a:lnTo>
                  <a:lnTo>
                    <a:pt x="303" y="1204"/>
                  </a:lnTo>
                  <a:lnTo>
                    <a:pt x="303" y="1207"/>
                  </a:lnTo>
                  <a:lnTo>
                    <a:pt x="301" y="1204"/>
                  </a:lnTo>
                  <a:lnTo>
                    <a:pt x="301" y="1207"/>
                  </a:lnTo>
                  <a:lnTo>
                    <a:pt x="301" y="1204"/>
                  </a:lnTo>
                  <a:lnTo>
                    <a:pt x="299" y="1204"/>
                  </a:lnTo>
                  <a:lnTo>
                    <a:pt x="299" y="1202"/>
                  </a:lnTo>
                  <a:lnTo>
                    <a:pt x="296" y="1199"/>
                  </a:lnTo>
                  <a:lnTo>
                    <a:pt x="299" y="1199"/>
                  </a:lnTo>
                  <a:lnTo>
                    <a:pt x="296" y="1199"/>
                  </a:lnTo>
                  <a:lnTo>
                    <a:pt x="294" y="1197"/>
                  </a:lnTo>
                  <a:lnTo>
                    <a:pt x="294" y="1199"/>
                  </a:lnTo>
                  <a:lnTo>
                    <a:pt x="291" y="1199"/>
                  </a:lnTo>
                  <a:lnTo>
                    <a:pt x="289" y="1199"/>
                  </a:lnTo>
                  <a:lnTo>
                    <a:pt x="289" y="1202"/>
                  </a:lnTo>
                  <a:lnTo>
                    <a:pt x="287" y="1199"/>
                  </a:lnTo>
                  <a:lnTo>
                    <a:pt x="287" y="1202"/>
                  </a:lnTo>
                  <a:lnTo>
                    <a:pt x="287" y="1199"/>
                  </a:lnTo>
                  <a:lnTo>
                    <a:pt x="284" y="1199"/>
                  </a:lnTo>
                  <a:lnTo>
                    <a:pt x="284" y="1197"/>
                  </a:lnTo>
                  <a:lnTo>
                    <a:pt x="282" y="1197"/>
                  </a:lnTo>
                  <a:lnTo>
                    <a:pt x="282" y="1195"/>
                  </a:lnTo>
                  <a:lnTo>
                    <a:pt x="282" y="1192"/>
                  </a:lnTo>
                  <a:lnTo>
                    <a:pt x="284" y="1192"/>
                  </a:lnTo>
                  <a:lnTo>
                    <a:pt x="282" y="1192"/>
                  </a:lnTo>
                  <a:lnTo>
                    <a:pt x="284" y="1192"/>
                  </a:lnTo>
                  <a:lnTo>
                    <a:pt x="284" y="1190"/>
                  </a:lnTo>
                  <a:lnTo>
                    <a:pt x="284" y="1188"/>
                  </a:lnTo>
                  <a:lnTo>
                    <a:pt x="282" y="1188"/>
                  </a:lnTo>
                  <a:lnTo>
                    <a:pt x="282" y="1185"/>
                  </a:lnTo>
                  <a:lnTo>
                    <a:pt x="282" y="1183"/>
                  </a:lnTo>
                  <a:lnTo>
                    <a:pt x="282" y="1180"/>
                  </a:lnTo>
                  <a:lnTo>
                    <a:pt x="280" y="1178"/>
                  </a:lnTo>
                  <a:lnTo>
                    <a:pt x="282" y="1178"/>
                  </a:lnTo>
                  <a:lnTo>
                    <a:pt x="280" y="1178"/>
                  </a:lnTo>
                  <a:lnTo>
                    <a:pt x="280" y="1176"/>
                  </a:lnTo>
                  <a:lnTo>
                    <a:pt x="282" y="1176"/>
                  </a:lnTo>
                  <a:lnTo>
                    <a:pt x="282" y="1173"/>
                  </a:lnTo>
                  <a:lnTo>
                    <a:pt x="280" y="1173"/>
                  </a:lnTo>
                  <a:lnTo>
                    <a:pt x="277" y="1173"/>
                  </a:lnTo>
                  <a:lnTo>
                    <a:pt x="277" y="1171"/>
                  </a:lnTo>
                  <a:lnTo>
                    <a:pt x="277" y="1169"/>
                  </a:lnTo>
                  <a:lnTo>
                    <a:pt x="275" y="1169"/>
                  </a:lnTo>
                  <a:lnTo>
                    <a:pt x="275" y="1166"/>
                  </a:lnTo>
                  <a:lnTo>
                    <a:pt x="272" y="1166"/>
                  </a:lnTo>
                  <a:lnTo>
                    <a:pt x="272" y="1164"/>
                  </a:lnTo>
                  <a:lnTo>
                    <a:pt x="275" y="1164"/>
                  </a:lnTo>
                  <a:lnTo>
                    <a:pt x="275" y="1161"/>
                  </a:lnTo>
                  <a:lnTo>
                    <a:pt x="275" y="1164"/>
                  </a:lnTo>
                  <a:lnTo>
                    <a:pt x="275" y="1161"/>
                  </a:lnTo>
                  <a:lnTo>
                    <a:pt x="272" y="1161"/>
                  </a:lnTo>
                  <a:lnTo>
                    <a:pt x="272" y="1159"/>
                  </a:lnTo>
                  <a:lnTo>
                    <a:pt x="270" y="1159"/>
                  </a:lnTo>
                  <a:lnTo>
                    <a:pt x="268" y="1159"/>
                  </a:lnTo>
                  <a:lnTo>
                    <a:pt x="268" y="1161"/>
                  </a:lnTo>
                  <a:lnTo>
                    <a:pt x="268" y="1159"/>
                  </a:lnTo>
                  <a:lnTo>
                    <a:pt x="268" y="1161"/>
                  </a:lnTo>
                  <a:lnTo>
                    <a:pt x="265" y="1161"/>
                  </a:lnTo>
                  <a:lnTo>
                    <a:pt x="265" y="1159"/>
                  </a:lnTo>
                  <a:lnTo>
                    <a:pt x="265" y="1157"/>
                  </a:lnTo>
                  <a:lnTo>
                    <a:pt x="268" y="1157"/>
                  </a:lnTo>
                  <a:lnTo>
                    <a:pt x="268" y="1154"/>
                  </a:lnTo>
                  <a:lnTo>
                    <a:pt x="268" y="1152"/>
                  </a:lnTo>
                  <a:lnTo>
                    <a:pt x="268" y="1150"/>
                  </a:lnTo>
                  <a:lnTo>
                    <a:pt x="268" y="1147"/>
                  </a:lnTo>
                  <a:lnTo>
                    <a:pt x="268" y="1145"/>
                  </a:lnTo>
                  <a:lnTo>
                    <a:pt x="270" y="1145"/>
                  </a:lnTo>
                  <a:lnTo>
                    <a:pt x="270" y="1142"/>
                  </a:lnTo>
                  <a:lnTo>
                    <a:pt x="270" y="1140"/>
                  </a:lnTo>
                  <a:lnTo>
                    <a:pt x="272" y="1140"/>
                  </a:lnTo>
                  <a:lnTo>
                    <a:pt x="272" y="1138"/>
                  </a:lnTo>
                  <a:lnTo>
                    <a:pt x="270" y="1135"/>
                  </a:lnTo>
                  <a:lnTo>
                    <a:pt x="268" y="1135"/>
                  </a:lnTo>
                  <a:lnTo>
                    <a:pt x="268" y="1133"/>
                  </a:lnTo>
                  <a:lnTo>
                    <a:pt x="265" y="1133"/>
                  </a:lnTo>
                  <a:lnTo>
                    <a:pt x="263" y="1133"/>
                  </a:lnTo>
                  <a:lnTo>
                    <a:pt x="263" y="1131"/>
                  </a:lnTo>
                  <a:lnTo>
                    <a:pt x="261" y="1131"/>
                  </a:lnTo>
                  <a:lnTo>
                    <a:pt x="261" y="1128"/>
                  </a:lnTo>
                  <a:lnTo>
                    <a:pt x="261" y="1126"/>
                  </a:lnTo>
                  <a:lnTo>
                    <a:pt x="263" y="1126"/>
                  </a:lnTo>
                  <a:lnTo>
                    <a:pt x="261" y="1126"/>
                  </a:lnTo>
                  <a:lnTo>
                    <a:pt x="258" y="1126"/>
                  </a:lnTo>
                  <a:lnTo>
                    <a:pt x="256" y="1126"/>
                  </a:lnTo>
                  <a:lnTo>
                    <a:pt x="253" y="1123"/>
                  </a:lnTo>
                  <a:lnTo>
                    <a:pt x="256" y="1121"/>
                  </a:lnTo>
                  <a:lnTo>
                    <a:pt x="256" y="1119"/>
                  </a:lnTo>
                  <a:lnTo>
                    <a:pt x="256" y="1116"/>
                  </a:lnTo>
                  <a:lnTo>
                    <a:pt x="258" y="1116"/>
                  </a:lnTo>
                  <a:lnTo>
                    <a:pt x="261" y="1116"/>
                  </a:lnTo>
                  <a:lnTo>
                    <a:pt x="261" y="1114"/>
                  </a:lnTo>
                  <a:lnTo>
                    <a:pt x="261" y="1112"/>
                  </a:lnTo>
                  <a:lnTo>
                    <a:pt x="261" y="1109"/>
                  </a:lnTo>
                  <a:lnTo>
                    <a:pt x="263" y="1109"/>
                  </a:lnTo>
                  <a:lnTo>
                    <a:pt x="265" y="1109"/>
                  </a:lnTo>
                  <a:lnTo>
                    <a:pt x="268" y="1109"/>
                  </a:lnTo>
                  <a:lnTo>
                    <a:pt x="270" y="1109"/>
                  </a:lnTo>
                  <a:lnTo>
                    <a:pt x="270" y="1107"/>
                  </a:lnTo>
                  <a:lnTo>
                    <a:pt x="268" y="1107"/>
                  </a:lnTo>
                  <a:lnTo>
                    <a:pt x="268" y="1104"/>
                  </a:lnTo>
                  <a:lnTo>
                    <a:pt x="265" y="1104"/>
                  </a:lnTo>
                  <a:lnTo>
                    <a:pt x="265" y="1102"/>
                  </a:lnTo>
                  <a:lnTo>
                    <a:pt x="265" y="1100"/>
                  </a:lnTo>
                  <a:lnTo>
                    <a:pt x="265" y="1102"/>
                  </a:lnTo>
                  <a:lnTo>
                    <a:pt x="265" y="1100"/>
                  </a:lnTo>
                  <a:lnTo>
                    <a:pt x="263" y="1100"/>
                  </a:lnTo>
                  <a:lnTo>
                    <a:pt x="263" y="1097"/>
                  </a:lnTo>
                  <a:lnTo>
                    <a:pt x="265" y="1095"/>
                  </a:lnTo>
                  <a:lnTo>
                    <a:pt x="263" y="1095"/>
                  </a:lnTo>
                  <a:lnTo>
                    <a:pt x="261" y="1090"/>
                  </a:lnTo>
                  <a:lnTo>
                    <a:pt x="261" y="1085"/>
                  </a:lnTo>
                  <a:lnTo>
                    <a:pt x="261" y="1083"/>
                  </a:lnTo>
                  <a:lnTo>
                    <a:pt x="261" y="1081"/>
                  </a:lnTo>
                  <a:lnTo>
                    <a:pt x="261" y="1076"/>
                  </a:lnTo>
                  <a:lnTo>
                    <a:pt x="258" y="1069"/>
                  </a:lnTo>
                  <a:lnTo>
                    <a:pt x="256" y="1064"/>
                  </a:lnTo>
                  <a:lnTo>
                    <a:pt x="256" y="1059"/>
                  </a:lnTo>
                  <a:lnTo>
                    <a:pt x="258" y="1057"/>
                  </a:lnTo>
                  <a:lnTo>
                    <a:pt x="261" y="1054"/>
                  </a:lnTo>
                  <a:lnTo>
                    <a:pt x="268" y="1050"/>
                  </a:lnTo>
                  <a:lnTo>
                    <a:pt x="268" y="1047"/>
                  </a:lnTo>
                  <a:lnTo>
                    <a:pt x="268" y="1045"/>
                  </a:lnTo>
                  <a:lnTo>
                    <a:pt x="270" y="1045"/>
                  </a:lnTo>
                  <a:lnTo>
                    <a:pt x="270" y="1043"/>
                  </a:lnTo>
                  <a:lnTo>
                    <a:pt x="270" y="1040"/>
                  </a:lnTo>
                  <a:lnTo>
                    <a:pt x="272" y="1040"/>
                  </a:lnTo>
                  <a:lnTo>
                    <a:pt x="272" y="1038"/>
                  </a:lnTo>
                  <a:lnTo>
                    <a:pt x="272" y="1035"/>
                  </a:lnTo>
                  <a:lnTo>
                    <a:pt x="275" y="1035"/>
                  </a:lnTo>
                  <a:lnTo>
                    <a:pt x="275" y="1033"/>
                  </a:lnTo>
                  <a:lnTo>
                    <a:pt x="277" y="1033"/>
                  </a:lnTo>
                  <a:lnTo>
                    <a:pt x="280" y="1033"/>
                  </a:lnTo>
                  <a:lnTo>
                    <a:pt x="282" y="1033"/>
                  </a:lnTo>
                  <a:lnTo>
                    <a:pt x="282" y="1031"/>
                  </a:lnTo>
                  <a:lnTo>
                    <a:pt x="284" y="1031"/>
                  </a:lnTo>
                  <a:lnTo>
                    <a:pt x="284" y="1028"/>
                  </a:lnTo>
                  <a:lnTo>
                    <a:pt x="282" y="1028"/>
                  </a:lnTo>
                  <a:lnTo>
                    <a:pt x="284" y="1028"/>
                  </a:lnTo>
                  <a:lnTo>
                    <a:pt x="282" y="1028"/>
                  </a:lnTo>
                  <a:lnTo>
                    <a:pt x="282" y="1026"/>
                  </a:lnTo>
                  <a:lnTo>
                    <a:pt x="280" y="1026"/>
                  </a:lnTo>
                  <a:lnTo>
                    <a:pt x="280" y="1024"/>
                  </a:lnTo>
                  <a:lnTo>
                    <a:pt x="277" y="1024"/>
                  </a:lnTo>
                  <a:lnTo>
                    <a:pt x="280" y="1021"/>
                  </a:lnTo>
                  <a:lnTo>
                    <a:pt x="280" y="1019"/>
                  </a:lnTo>
                  <a:lnTo>
                    <a:pt x="280" y="1016"/>
                  </a:lnTo>
                  <a:lnTo>
                    <a:pt x="277" y="1016"/>
                  </a:lnTo>
                  <a:lnTo>
                    <a:pt x="277" y="1014"/>
                  </a:lnTo>
                  <a:lnTo>
                    <a:pt x="277" y="1012"/>
                  </a:lnTo>
                  <a:lnTo>
                    <a:pt x="277" y="1009"/>
                  </a:lnTo>
                  <a:lnTo>
                    <a:pt x="280" y="1009"/>
                  </a:lnTo>
                  <a:lnTo>
                    <a:pt x="280" y="1007"/>
                  </a:lnTo>
                  <a:lnTo>
                    <a:pt x="280" y="1009"/>
                  </a:lnTo>
                  <a:lnTo>
                    <a:pt x="280" y="1007"/>
                  </a:lnTo>
                  <a:lnTo>
                    <a:pt x="282" y="1007"/>
                  </a:lnTo>
                  <a:lnTo>
                    <a:pt x="282" y="1009"/>
                  </a:lnTo>
                  <a:lnTo>
                    <a:pt x="284" y="1009"/>
                  </a:lnTo>
                  <a:lnTo>
                    <a:pt x="284" y="1012"/>
                  </a:lnTo>
                  <a:lnTo>
                    <a:pt x="287" y="1012"/>
                  </a:lnTo>
                  <a:lnTo>
                    <a:pt x="287" y="1014"/>
                  </a:lnTo>
                  <a:lnTo>
                    <a:pt x="284" y="1014"/>
                  </a:lnTo>
                  <a:lnTo>
                    <a:pt x="282" y="1014"/>
                  </a:lnTo>
                  <a:lnTo>
                    <a:pt x="282" y="1016"/>
                  </a:lnTo>
                  <a:lnTo>
                    <a:pt x="282" y="1019"/>
                  </a:lnTo>
                  <a:lnTo>
                    <a:pt x="284" y="1019"/>
                  </a:lnTo>
                  <a:lnTo>
                    <a:pt x="282" y="1019"/>
                  </a:lnTo>
                  <a:lnTo>
                    <a:pt x="282" y="1016"/>
                  </a:lnTo>
                  <a:lnTo>
                    <a:pt x="282" y="1014"/>
                  </a:lnTo>
                  <a:lnTo>
                    <a:pt x="284" y="1014"/>
                  </a:lnTo>
                  <a:lnTo>
                    <a:pt x="287" y="1014"/>
                  </a:lnTo>
                  <a:lnTo>
                    <a:pt x="287" y="1012"/>
                  </a:lnTo>
                  <a:lnTo>
                    <a:pt x="287" y="1014"/>
                  </a:lnTo>
                  <a:lnTo>
                    <a:pt x="289" y="1014"/>
                  </a:lnTo>
                  <a:lnTo>
                    <a:pt x="289" y="1012"/>
                  </a:lnTo>
                  <a:lnTo>
                    <a:pt x="291" y="1012"/>
                  </a:lnTo>
                  <a:lnTo>
                    <a:pt x="291" y="1009"/>
                  </a:lnTo>
                  <a:lnTo>
                    <a:pt x="291" y="1007"/>
                  </a:lnTo>
                  <a:lnTo>
                    <a:pt x="291" y="1005"/>
                  </a:lnTo>
                  <a:lnTo>
                    <a:pt x="294" y="1005"/>
                  </a:lnTo>
                  <a:lnTo>
                    <a:pt x="296" y="1005"/>
                  </a:lnTo>
                  <a:lnTo>
                    <a:pt x="299" y="1005"/>
                  </a:lnTo>
                  <a:lnTo>
                    <a:pt x="299" y="1007"/>
                  </a:lnTo>
                  <a:lnTo>
                    <a:pt x="301" y="1007"/>
                  </a:lnTo>
                  <a:lnTo>
                    <a:pt x="303" y="1007"/>
                  </a:lnTo>
                  <a:lnTo>
                    <a:pt x="306" y="1007"/>
                  </a:lnTo>
                  <a:lnTo>
                    <a:pt x="306" y="1005"/>
                  </a:lnTo>
                  <a:lnTo>
                    <a:pt x="306" y="1007"/>
                  </a:lnTo>
                  <a:lnTo>
                    <a:pt x="306" y="1005"/>
                  </a:lnTo>
                  <a:lnTo>
                    <a:pt x="306" y="1007"/>
                  </a:lnTo>
                  <a:lnTo>
                    <a:pt x="308" y="1007"/>
                  </a:lnTo>
                  <a:lnTo>
                    <a:pt x="308" y="1005"/>
                  </a:lnTo>
                  <a:lnTo>
                    <a:pt x="310" y="1005"/>
                  </a:lnTo>
                  <a:lnTo>
                    <a:pt x="310" y="1002"/>
                  </a:lnTo>
                  <a:lnTo>
                    <a:pt x="310" y="1000"/>
                  </a:lnTo>
                  <a:lnTo>
                    <a:pt x="308" y="1000"/>
                  </a:lnTo>
                  <a:lnTo>
                    <a:pt x="310" y="1000"/>
                  </a:lnTo>
                  <a:lnTo>
                    <a:pt x="310" y="997"/>
                  </a:lnTo>
                  <a:lnTo>
                    <a:pt x="313" y="997"/>
                  </a:lnTo>
                  <a:lnTo>
                    <a:pt x="313" y="995"/>
                  </a:lnTo>
                  <a:lnTo>
                    <a:pt x="313" y="997"/>
                  </a:lnTo>
                  <a:lnTo>
                    <a:pt x="315" y="997"/>
                  </a:lnTo>
                  <a:lnTo>
                    <a:pt x="318" y="997"/>
                  </a:lnTo>
                  <a:lnTo>
                    <a:pt x="315" y="995"/>
                  </a:lnTo>
                  <a:lnTo>
                    <a:pt x="318" y="995"/>
                  </a:lnTo>
                  <a:lnTo>
                    <a:pt x="318" y="997"/>
                  </a:lnTo>
                  <a:lnTo>
                    <a:pt x="320" y="997"/>
                  </a:lnTo>
                  <a:lnTo>
                    <a:pt x="322" y="997"/>
                  </a:lnTo>
                  <a:lnTo>
                    <a:pt x="325" y="997"/>
                  </a:lnTo>
                  <a:lnTo>
                    <a:pt x="327" y="997"/>
                  </a:lnTo>
                  <a:lnTo>
                    <a:pt x="329" y="997"/>
                  </a:lnTo>
                  <a:lnTo>
                    <a:pt x="329" y="1000"/>
                  </a:lnTo>
                  <a:lnTo>
                    <a:pt x="332" y="1000"/>
                  </a:lnTo>
                  <a:lnTo>
                    <a:pt x="332" y="997"/>
                  </a:lnTo>
                  <a:lnTo>
                    <a:pt x="332" y="1000"/>
                  </a:lnTo>
                  <a:lnTo>
                    <a:pt x="334" y="1000"/>
                  </a:lnTo>
                  <a:lnTo>
                    <a:pt x="336" y="1000"/>
                  </a:lnTo>
                  <a:lnTo>
                    <a:pt x="339" y="1000"/>
                  </a:lnTo>
                  <a:lnTo>
                    <a:pt x="339" y="1002"/>
                  </a:lnTo>
                  <a:lnTo>
                    <a:pt x="341" y="1002"/>
                  </a:lnTo>
                  <a:lnTo>
                    <a:pt x="344" y="1002"/>
                  </a:lnTo>
                  <a:lnTo>
                    <a:pt x="346" y="1002"/>
                  </a:lnTo>
                  <a:lnTo>
                    <a:pt x="348" y="1002"/>
                  </a:lnTo>
                  <a:lnTo>
                    <a:pt x="346" y="1002"/>
                  </a:lnTo>
                  <a:lnTo>
                    <a:pt x="348" y="1002"/>
                  </a:lnTo>
                  <a:lnTo>
                    <a:pt x="346" y="1000"/>
                  </a:lnTo>
                  <a:lnTo>
                    <a:pt x="348" y="1002"/>
                  </a:lnTo>
                  <a:lnTo>
                    <a:pt x="348" y="1000"/>
                  </a:lnTo>
                  <a:lnTo>
                    <a:pt x="351" y="1000"/>
                  </a:lnTo>
                  <a:lnTo>
                    <a:pt x="348" y="1000"/>
                  </a:lnTo>
                  <a:lnTo>
                    <a:pt x="351" y="1000"/>
                  </a:lnTo>
                  <a:lnTo>
                    <a:pt x="353" y="1000"/>
                  </a:lnTo>
                  <a:lnTo>
                    <a:pt x="353" y="997"/>
                  </a:lnTo>
                  <a:lnTo>
                    <a:pt x="355" y="997"/>
                  </a:lnTo>
                  <a:lnTo>
                    <a:pt x="355" y="1000"/>
                  </a:lnTo>
                  <a:lnTo>
                    <a:pt x="358" y="1000"/>
                  </a:lnTo>
                  <a:lnTo>
                    <a:pt x="358" y="1002"/>
                  </a:lnTo>
                  <a:lnTo>
                    <a:pt x="358" y="1005"/>
                  </a:lnTo>
                  <a:lnTo>
                    <a:pt x="360" y="1005"/>
                  </a:lnTo>
                  <a:lnTo>
                    <a:pt x="363" y="1005"/>
                  </a:lnTo>
                  <a:lnTo>
                    <a:pt x="363" y="1007"/>
                  </a:lnTo>
                  <a:lnTo>
                    <a:pt x="365" y="1007"/>
                  </a:lnTo>
                  <a:lnTo>
                    <a:pt x="367" y="1007"/>
                  </a:lnTo>
                  <a:lnTo>
                    <a:pt x="365" y="1007"/>
                  </a:lnTo>
                  <a:lnTo>
                    <a:pt x="363" y="1007"/>
                  </a:lnTo>
                  <a:lnTo>
                    <a:pt x="363" y="1005"/>
                  </a:lnTo>
                  <a:lnTo>
                    <a:pt x="360" y="1005"/>
                  </a:lnTo>
                  <a:lnTo>
                    <a:pt x="358" y="1005"/>
                  </a:lnTo>
                  <a:lnTo>
                    <a:pt x="358" y="1002"/>
                  </a:lnTo>
                  <a:lnTo>
                    <a:pt x="358" y="1000"/>
                  </a:lnTo>
                  <a:lnTo>
                    <a:pt x="355" y="1000"/>
                  </a:lnTo>
                  <a:lnTo>
                    <a:pt x="355" y="997"/>
                  </a:lnTo>
                  <a:lnTo>
                    <a:pt x="353" y="997"/>
                  </a:lnTo>
                  <a:lnTo>
                    <a:pt x="351" y="997"/>
                  </a:lnTo>
                  <a:lnTo>
                    <a:pt x="348" y="997"/>
                  </a:lnTo>
                  <a:lnTo>
                    <a:pt x="348" y="995"/>
                  </a:lnTo>
                  <a:lnTo>
                    <a:pt x="346" y="995"/>
                  </a:lnTo>
                  <a:lnTo>
                    <a:pt x="348" y="995"/>
                  </a:lnTo>
                  <a:lnTo>
                    <a:pt x="348" y="997"/>
                  </a:lnTo>
                  <a:lnTo>
                    <a:pt x="346" y="995"/>
                  </a:lnTo>
                  <a:lnTo>
                    <a:pt x="344" y="995"/>
                  </a:lnTo>
                  <a:lnTo>
                    <a:pt x="341" y="995"/>
                  </a:lnTo>
                  <a:lnTo>
                    <a:pt x="344" y="995"/>
                  </a:lnTo>
                  <a:lnTo>
                    <a:pt x="341" y="995"/>
                  </a:lnTo>
                  <a:lnTo>
                    <a:pt x="341" y="993"/>
                  </a:lnTo>
                  <a:lnTo>
                    <a:pt x="341" y="995"/>
                  </a:lnTo>
                  <a:lnTo>
                    <a:pt x="341" y="993"/>
                  </a:lnTo>
                  <a:lnTo>
                    <a:pt x="341" y="990"/>
                  </a:lnTo>
                  <a:lnTo>
                    <a:pt x="339" y="990"/>
                  </a:lnTo>
                  <a:lnTo>
                    <a:pt x="341" y="990"/>
                  </a:lnTo>
                  <a:lnTo>
                    <a:pt x="339" y="990"/>
                  </a:lnTo>
                  <a:lnTo>
                    <a:pt x="341" y="990"/>
                  </a:lnTo>
                  <a:lnTo>
                    <a:pt x="341" y="988"/>
                  </a:lnTo>
                  <a:lnTo>
                    <a:pt x="339" y="988"/>
                  </a:lnTo>
                  <a:lnTo>
                    <a:pt x="336" y="988"/>
                  </a:lnTo>
                  <a:lnTo>
                    <a:pt x="336" y="986"/>
                  </a:lnTo>
                  <a:lnTo>
                    <a:pt x="334" y="986"/>
                  </a:lnTo>
                  <a:lnTo>
                    <a:pt x="332" y="986"/>
                  </a:lnTo>
                  <a:lnTo>
                    <a:pt x="329" y="986"/>
                  </a:lnTo>
                  <a:lnTo>
                    <a:pt x="327" y="986"/>
                  </a:lnTo>
                  <a:lnTo>
                    <a:pt x="325" y="986"/>
                  </a:lnTo>
                  <a:lnTo>
                    <a:pt x="325" y="988"/>
                  </a:lnTo>
                  <a:lnTo>
                    <a:pt x="322" y="988"/>
                  </a:lnTo>
                  <a:lnTo>
                    <a:pt x="320" y="988"/>
                  </a:lnTo>
                  <a:lnTo>
                    <a:pt x="318" y="988"/>
                  </a:lnTo>
                  <a:lnTo>
                    <a:pt x="315" y="986"/>
                  </a:lnTo>
                  <a:lnTo>
                    <a:pt x="315" y="988"/>
                  </a:lnTo>
                  <a:lnTo>
                    <a:pt x="313" y="986"/>
                  </a:lnTo>
                  <a:lnTo>
                    <a:pt x="310" y="986"/>
                  </a:lnTo>
                  <a:lnTo>
                    <a:pt x="308" y="986"/>
                  </a:lnTo>
                  <a:lnTo>
                    <a:pt x="308" y="983"/>
                  </a:lnTo>
                  <a:lnTo>
                    <a:pt x="310" y="983"/>
                  </a:lnTo>
                  <a:lnTo>
                    <a:pt x="308" y="983"/>
                  </a:lnTo>
                  <a:lnTo>
                    <a:pt x="308" y="981"/>
                  </a:lnTo>
                  <a:lnTo>
                    <a:pt x="308" y="983"/>
                  </a:lnTo>
                  <a:lnTo>
                    <a:pt x="308" y="981"/>
                  </a:lnTo>
                  <a:lnTo>
                    <a:pt x="306" y="981"/>
                  </a:lnTo>
                  <a:lnTo>
                    <a:pt x="303" y="981"/>
                  </a:lnTo>
                  <a:lnTo>
                    <a:pt x="303" y="978"/>
                  </a:lnTo>
                  <a:lnTo>
                    <a:pt x="303" y="976"/>
                  </a:lnTo>
                  <a:lnTo>
                    <a:pt x="303" y="978"/>
                  </a:lnTo>
                  <a:lnTo>
                    <a:pt x="301" y="978"/>
                  </a:lnTo>
                  <a:lnTo>
                    <a:pt x="299" y="978"/>
                  </a:lnTo>
                  <a:lnTo>
                    <a:pt x="299" y="976"/>
                  </a:lnTo>
                  <a:lnTo>
                    <a:pt x="296" y="976"/>
                  </a:lnTo>
                  <a:lnTo>
                    <a:pt x="296" y="974"/>
                  </a:lnTo>
                  <a:lnTo>
                    <a:pt x="294" y="974"/>
                  </a:lnTo>
                  <a:lnTo>
                    <a:pt x="294" y="971"/>
                  </a:lnTo>
                  <a:lnTo>
                    <a:pt x="294" y="969"/>
                  </a:lnTo>
                  <a:lnTo>
                    <a:pt x="291" y="969"/>
                  </a:lnTo>
                  <a:lnTo>
                    <a:pt x="291" y="967"/>
                  </a:lnTo>
                  <a:lnTo>
                    <a:pt x="294" y="967"/>
                  </a:lnTo>
                  <a:lnTo>
                    <a:pt x="294" y="969"/>
                  </a:lnTo>
                  <a:lnTo>
                    <a:pt x="296" y="971"/>
                  </a:lnTo>
                  <a:lnTo>
                    <a:pt x="299" y="971"/>
                  </a:lnTo>
                  <a:lnTo>
                    <a:pt x="299" y="974"/>
                  </a:lnTo>
                  <a:lnTo>
                    <a:pt x="299" y="971"/>
                  </a:lnTo>
                  <a:lnTo>
                    <a:pt x="301" y="971"/>
                  </a:lnTo>
                  <a:lnTo>
                    <a:pt x="299" y="971"/>
                  </a:lnTo>
                  <a:lnTo>
                    <a:pt x="299" y="969"/>
                  </a:lnTo>
                  <a:lnTo>
                    <a:pt x="299" y="967"/>
                  </a:lnTo>
                  <a:lnTo>
                    <a:pt x="299" y="969"/>
                  </a:lnTo>
                  <a:lnTo>
                    <a:pt x="299" y="967"/>
                  </a:lnTo>
                  <a:lnTo>
                    <a:pt x="296" y="967"/>
                  </a:lnTo>
                  <a:lnTo>
                    <a:pt x="296" y="969"/>
                  </a:lnTo>
                  <a:lnTo>
                    <a:pt x="296" y="967"/>
                  </a:lnTo>
                  <a:lnTo>
                    <a:pt x="299" y="967"/>
                  </a:lnTo>
                  <a:lnTo>
                    <a:pt x="299" y="969"/>
                  </a:lnTo>
                  <a:lnTo>
                    <a:pt x="299" y="967"/>
                  </a:lnTo>
                  <a:lnTo>
                    <a:pt x="299" y="964"/>
                  </a:lnTo>
                  <a:lnTo>
                    <a:pt x="299" y="962"/>
                  </a:lnTo>
                  <a:lnTo>
                    <a:pt x="299" y="959"/>
                  </a:lnTo>
                  <a:lnTo>
                    <a:pt x="299" y="962"/>
                  </a:lnTo>
                  <a:lnTo>
                    <a:pt x="299" y="959"/>
                  </a:lnTo>
                  <a:lnTo>
                    <a:pt x="299" y="962"/>
                  </a:lnTo>
                  <a:lnTo>
                    <a:pt x="301" y="962"/>
                  </a:lnTo>
                  <a:lnTo>
                    <a:pt x="299" y="962"/>
                  </a:lnTo>
                  <a:lnTo>
                    <a:pt x="299" y="959"/>
                  </a:lnTo>
                  <a:lnTo>
                    <a:pt x="301" y="959"/>
                  </a:lnTo>
                  <a:lnTo>
                    <a:pt x="301" y="957"/>
                  </a:lnTo>
                  <a:lnTo>
                    <a:pt x="301" y="955"/>
                  </a:lnTo>
                  <a:lnTo>
                    <a:pt x="299" y="955"/>
                  </a:lnTo>
                  <a:lnTo>
                    <a:pt x="301" y="955"/>
                  </a:lnTo>
                  <a:lnTo>
                    <a:pt x="301" y="952"/>
                  </a:lnTo>
                  <a:lnTo>
                    <a:pt x="301" y="955"/>
                  </a:lnTo>
                  <a:lnTo>
                    <a:pt x="299" y="955"/>
                  </a:lnTo>
                  <a:lnTo>
                    <a:pt x="299" y="957"/>
                  </a:lnTo>
                  <a:lnTo>
                    <a:pt x="299" y="955"/>
                  </a:lnTo>
                  <a:lnTo>
                    <a:pt x="299" y="957"/>
                  </a:lnTo>
                  <a:lnTo>
                    <a:pt x="296" y="957"/>
                  </a:lnTo>
                  <a:lnTo>
                    <a:pt x="296" y="959"/>
                  </a:lnTo>
                  <a:lnTo>
                    <a:pt x="299" y="959"/>
                  </a:lnTo>
                  <a:lnTo>
                    <a:pt x="296" y="959"/>
                  </a:lnTo>
                  <a:lnTo>
                    <a:pt x="296" y="962"/>
                  </a:lnTo>
                  <a:lnTo>
                    <a:pt x="296" y="959"/>
                  </a:lnTo>
                  <a:lnTo>
                    <a:pt x="294" y="959"/>
                  </a:lnTo>
                  <a:lnTo>
                    <a:pt x="291" y="959"/>
                  </a:lnTo>
                  <a:lnTo>
                    <a:pt x="294" y="959"/>
                  </a:lnTo>
                  <a:lnTo>
                    <a:pt x="291" y="959"/>
                  </a:lnTo>
                  <a:lnTo>
                    <a:pt x="291" y="962"/>
                  </a:lnTo>
                  <a:lnTo>
                    <a:pt x="291" y="959"/>
                  </a:lnTo>
                  <a:lnTo>
                    <a:pt x="291" y="962"/>
                  </a:lnTo>
                  <a:lnTo>
                    <a:pt x="289" y="962"/>
                  </a:lnTo>
                  <a:lnTo>
                    <a:pt x="289" y="959"/>
                  </a:lnTo>
                  <a:lnTo>
                    <a:pt x="289" y="962"/>
                  </a:lnTo>
                  <a:lnTo>
                    <a:pt x="289" y="964"/>
                  </a:lnTo>
                  <a:lnTo>
                    <a:pt x="289" y="962"/>
                  </a:lnTo>
                  <a:lnTo>
                    <a:pt x="289" y="964"/>
                  </a:lnTo>
                  <a:lnTo>
                    <a:pt x="289" y="962"/>
                  </a:lnTo>
                  <a:lnTo>
                    <a:pt x="287" y="962"/>
                  </a:lnTo>
                  <a:lnTo>
                    <a:pt x="289" y="962"/>
                  </a:lnTo>
                  <a:lnTo>
                    <a:pt x="287" y="962"/>
                  </a:lnTo>
                  <a:lnTo>
                    <a:pt x="287" y="964"/>
                  </a:lnTo>
                  <a:lnTo>
                    <a:pt x="284" y="964"/>
                  </a:lnTo>
                  <a:lnTo>
                    <a:pt x="287" y="964"/>
                  </a:lnTo>
                  <a:lnTo>
                    <a:pt x="284" y="964"/>
                  </a:lnTo>
                  <a:lnTo>
                    <a:pt x="287" y="964"/>
                  </a:lnTo>
                  <a:lnTo>
                    <a:pt x="284" y="964"/>
                  </a:lnTo>
                  <a:lnTo>
                    <a:pt x="284" y="967"/>
                  </a:lnTo>
                  <a:lnTo>
                    <a:pt x="284" y="969"/>
                  </a:lnTo>
                  <a:lnTo>
                    <a:pt x="284" y="967"/>
                  </a:lnTo>
                  <a:lnTo>
                    <a:pt x="282" y="967"/>
                  </a:lnTo>
                  <a:lnTo>
                    <a:pt x="282" y="969"/>
                  </a:lnTo>
                  <a:lnTo>
                    <a:pt x="280" y="969"/>
                  </a:lnTo>
                  <a:lnTo>
                    <a:pt x="280" y="967"/>
                  </a:lnTo>
                  <a:lnTo>
                    <a:pt x="280" y="969"/>
                  </a:lnTo>
                  <a:lnTo>
                    <a:pt x="280" y="967"/>
                  </a:lnTo>
                  <a:lnTo>
                    <a:pt x="280" y="969"/>
                  </a:lnTo>
                  <a:lnTo>
                    <a:pt x="277" y="969"/>
                  </a:lnTo>
                  <a:lnTo>
                    <a:pt x="280" y="969"/>
                  </a:lnTo>
                  <a:lnTo>
                    <a:pt x="277" y="969"/>
                  </a:lnTo>
                  <a:lnTo>
                    <a:pt x="277" y="967"/>
                  </a:lnTo>
                  <a:lnTo>
                    <a:pt x="277" y="969"/>
                  </a:lnTo>
                  <a:lnTo>
                    <a:pt x="275" y="969"/>
                  </a:lnTo>
                  <a:lnTo>
                    <a:pt x="272" y="969"/>
                  </a:lnTo>
                  <a:lnTo>
                    <a:pt x="272" y="967"/>
                  </a:lnTo>
                  <a:lnTo>
                    <a:pt x="270" y="967"/>
                  </a:lnTo>
                  <a:lnTo>
                    <a:pt x="270" y="969"/>
                  </a:lnTo>
                  <a:lnTo>
                    <a:pt x="272" y="969"/>
                  </a:lnTo>
                  <a:lnTo>
                    <a:pt x="270" y="969"/>
                  </a:lnTo>
                  <a:lnTo>
                    <a:pt x="272" y="969"/>
                  </a:lnTo>
                  <a:lnTo>
                    <a:pt x="270" y="969"/>
                  </a:lnTo>
                  <a:lnTo>
                    <a:pt x="270" y="971"/>
                  </a:lnTo>
                  <a:lnTo>
                    <a:pt x="270" y="969"/>
                  </a:lnTo>
                  <a:lnTo>
                    <a:pt x="270" y="971"/>
                  </a:lnTo>
                  <a:lnTo>
                    <a:pt x="270" y="969"/>
                  </a:lnTo>
                  <a:lnTo>
                    <a:pt x="270" y="967"/>
                  </a:lnTo>
                  <a:lnTo>
                    <a:pt x="270" y="964"/>
                  </a:lnTo>
                  <a:lnTo>
                    <a:pt x="272" y="964"/>
                  </a:lnTo>
                  <a:lnTo>
                    <a:pt x="272" y="962"/>
                  </a:lnTo>
                  <a:lnTo>
                    <a:pt x="277" y="957"/>
                  </a:lnTo>
                  <a:lnTo>
                    <a:pt x="280" y="957"/>
                  </a:lnTo>
                  <a:lnTo>
                    <a:pt x="282" y="957"/>
                  </a:lnTo>
                  <a:lnTo>
                    <a:pt x="282" y="955"/>
                  </a:lnTo>
                  <a:lnTo>
                    <a:pt x="284" y="955"/>
                  </a:lnTo>
                  <a:lnTo>
                    <a:pt x="284" y="952"/>
                  </a:lnTo>
                  <a:lnTo>
                    <a:pt x="287" y="950"/>
                  </a:lnTo>
                  <a:lnTo>
                    <a:pt x="291" y="948"/>
                  </a:lnTo>
                  <a:lnTo>
                    <a:pt x="291" y="945"/>
                  </a:lnTo>
                  <a:lnTo>
                    <a:pt x="294" y="945"/>
                  </a:lnTo>
                  <a:lnTo>
                    <a:pt x="296" y="945"/>
                  </a:lnTo>
                  <a:lnTo>
                    <a:pt x="299" y="945"/>
                  </a:lnTo>
                  <a:lnTo>
                    <a:pt x="299" y="943"/>
                  </a:lnTo>
                  <a:lnTo>
                    <a:pt x="299" y="940"/>
                  </a:lnTo>
                  <a:lnTo>
                    <a:pt x="301" y="940"/>
                  </a:lnTo>
                  <a:lnTo>
                    <a:pt x="301" y="938"/>
                  </a:lnTo>
                  <a:lnTo>
                    <a:pt x="303" y="938"/>
                  </a:lnTo>
                  <a:lnTo>
                    <a:pt x="303" y="936"/>
                  </a:lnTo>
                  <a:lnTo>
                    <a:pt x="306" y="936"/>
                  </a:lnTo>
                  <a:lnTo>
                    <a:pt x="306" y="933"/>
                  </a:lnTo>
                  <a:lnTo>
                    <a:pt x="308" y="933"/>
                  </a:lnTo>
                  <a:lnTo>
                    <a:pt x="310" y="931"/>
                  </a:lnTo>
                  <a:lnTo>
                    <a:pt x="313" y="931"/>
                  </a:lnTo>
                  <a:lnTo>
                    <a:pt x="315" y="929"/>
                  </a:lnTo>
                  <a:lnTo>
                    <a:pt x="318" y="929"/>
                  </a:lnTo>
                  <a:lnTo>
                    <a:pt x="318" y="926"/>
                  </a:lnTo>
                  <a:lnTo>
                    <a:pt x="320" y="924"/>
                  </a:lnTo>
                  <a:lnTo>
                    <a:pt x="322" y="921"/>
                  </a:lnTo>
                  <a:lnTo>
                    <a:pt x="327" y="917"/>
                  </a:lnTo>
                  <a:lnTo>
                    <a:pt x="325" y="917"/>
                  </a:lnTo>
                  <a:lnTo>
                    <a:pt x="327" y="917"/>
                  </a:lnTo>
                  <a:lnTo>
                    <a:pt x="329" y="914"/>
                  </a:lnTo>
                  <a:lnTo>
                    <a:pt x="332" y="912"/>
                  </a:lnTo>
                  <a:lnTo>
                    <a:pt x="334" y="912"/>
                  </a:lnTo>
                  <a:lnTo>
                    <a:pt x="334" y="910"/>
                  </a:lnTo>
                  <a:lnTo>
                    <a:pt x="336" y="907"/>
                  </a:lnTo>
                  <a:lnTo>
                    <a:pt x="339" y="905"/>
                  </a:lnTo>
                  <a:lnTo>
                    <a:pt x="344" y="900"/>
                  </a:lnTo>
                  <a:lnTo>
                    <a:pt x="344" y="898"/>
                  </a:lnTo>
                  <a:lnTo>
                    <a:pt x="346" y="895"/>
                  </a:lnTo>
                  <a:lnTo>
                    <a:pt x="348" y="895"/>
                  </a:lnTo>
                  <a:lnTo>
                    <a:pt x="348" y="893"/>
                  </a:lnTo>
                  <a:lnTo>
                    <a:pt x="351" y="893"/>
                  </a:lnTo>
                  <a:lnTo>
                    <a:pt x="351" y="891"/>
                  </a:lnTo>
                  <a:lnTo>
                    <a:pt x="353" y="891"/>
                  </a:lnTo>
                  <a:lnTo>
                    <a:pt x="353" y="888"/>
                  </a:lnTo>
                  <a:lnTo>
                    <a:pt x="355" y="888"/>
                  </a:lnTo>
                  <a:lnTo>
                    <a:pt x="355" y="886"/>
                  </a:lnTo>
                  <a:lnTo>
                    <a:pt x="360" y="881"/>
                  </a:lnTo>
                  <a:lnTo>
                    <a:pt x="363" y="881"/>
                  </a:lnTo>
                  <a:lnTo>
                    <a:pt x="363" y="879"/>
                  </a:lnTo>
                  <a:lnTo>
                    <a:pt x="363" y="876"/>
                  </a:lnTo>
                  <a:lnTo>
                    <a:pt x="365" y="876"/>
                  </a:lnTo>
                  <a:lnTo>
                    <a:pt x="367" y="876"/>
                  </a:lnTo>
                  <a:lnTo>
                    <a:pt x="367" y="874"/>
                  </a:lnTo>
                  <a:lnTo>
                    <a:pt x="370" y="874"/>
                  </a:lnTo>
                  <a:lnTo>
                    <a:pt x="372" y="872"/>
                  </a:lnTo>
                  <a:lnTo>
                    <a:pt x="374" y="872"/>
                  </a:lnTo>
                  <a:lnTo>
                    <a:pt x="374" y="869"/>
                  </a:lnTo>
                  <a:lnTo>
                    <a:pt x="379" y="864"/>
                  </a:lnTo>
                  <a:lnTo>
                    <a:pt x="382" y="864"/>
                  </a:lnTo>
                  <a:lnTo>
                    <a:pt x="382" y="862"/>
                  </a:lnTo>
                  <a:lnTo>
                    <a:pt x="384" y="860"/>
                  </a:lnTo>
                  <a:lnTo>
                    <a:pt x="386" y="853"/>
                  </a:lnTo>
                  <a:lnTo>
                    <a:pt x="389" y="853"/>
                  </a:lnTo>
                  <a:lnTo>
                    <a:pt x="389" y="850"/>
                  </a:lnTo>
                  <a:lnTo>
                    <a:pt x="389" y="845"/>
                  </a:lnTo>
                  <a:lnTo>
                    <a:pt x="391" y="845"/>
                  </a:lnTo>
                  <a:lnTo>
                    <a:pt x="391" y="843"/>
                  </a:lnTo>
                  <a:lnTo>
                    <a:pt x="393" y="838"/>
                  </a:lnTo>
                  <a:lnTo>
                    <a:pt x="391" y="834"/>
                  </a:lnTo>
                  <a:lnTo>
                    <a:pt x="391" y="831"/>
                  </a:lnTo>
                  <a:lnTo>
                    <a:pt x="389" y="831"/>
                  </a:lnTo>
                  <a:lnTo>
                    <a:pt x="386" y="829"/>
                  </a:lnTo>
                  <a:lnTo>
                    <a:pt x="384" y="829"/>
                  </a:lnTo>
                  <a:lnTo>
                    <a:pt x="384" y="826"/>
                  </a:lnTo>
                  <a:lnTo>
                    <a:pt x="384" y="824"/>
                  </a:lnTo>
                  <a:lnTo>
                    <a:pt x="384" y="822"/>
                  </a:lnTo>
                  <a:lnTo>
                    <a:pt x="382" y="822"/>
                  </a:lnTo>
                  <a:lnTo>
                    <a:pt x="382" y="819"/>
                  </a:lnTo>
                  <a:lnTo>
                    <a:pt x="379" y="819"/>
                  </a:lnTo>
                  <a:lnTo>
                    <a:pt x="377" y="817"/>
                  </a:lnTo>
                  <a:lnTo>
                    <a:pt x="374" y="817"/>
                  </a:lnTo>
                  <a:lnTo>
                    <a:pt x="374" y="815"/>
                  </a:lnTo>
                  <a:lnTo>
                    <a:pt x="372" y="815"/>
                  </a:lnTo>
                  <a:lnTo>
                    <a:pt x="370" y="815"/>
                  </a:lnTo>
                  <a:lnTo>
                    <a:pt x="370" y="812"/>
                  </a:lnTo>
                  <a:lnTo>
                    <a:pt x="367" y="812"/>
                  </a:lnTo>
                  <a:lnTo>
                    <a:pt x="365" y="810"/>
                  </a:lnTo>
                  <a:lnTo>
                    <a:pt x="363" y="810"/>
                  </a:lnTo>
                  <a:lnTo>
                    <a:pt x="358" y="807"/>
                  </a:lnTo>
                  <a:lnTo>
                    <a:pt x="355" y="803"/>
                  </a:lnTo>
                  <a:lnTo>
                    <a:pt x="353" y="803"/>
                  </a:lnTo>
                  <a:lnTo>
                    <a:pt x="351" y="800"/>
                  </a:lnTo>
                  <a:lnTo>
                    <a:pt x="346" y="798"/>
                  </a:lnTo>
                  <a:lnTo>
                    <a:pt x="346" y="796"/>
                  </a:lnTo>
                  <a:lnTo>
                    <a:pt x="344" y="796"/>
                  </a:lnTo>
                  <a:lnTo>
                    <a:pt x="341" y="791"/>
                  </a:lnTo>
                  <a:lnTo>
                    <a:pt x="348" y="788"/>
                  </a:lnTo>
                  <a:lnTo>
                    <a:pt x="351" y="788"/>
                  </a:lnTo>
                  <a:lnTo>
                    <a:pt x="353" y="784"/>
                  </a:lnTo>
                  <a:lnTo>
                    <a:pt x="353" y="781"/>
                  </a:lnTo>
                  <a:lnTo>
                    <a:pt x="355" y="781"/>
                  </a:lnTo>
                  <a:lnTo>
                    <a:pt x="358" y="779"/>
                  </a:lnTo>
                  <a:lnTo>
                    <a:pt x="358" y="777"/>
                  </a:lnTo>
                  <a:lnTo>
                    <a:pt x="360" y="777"/>
                  </a:lnTo>
                  <a:lnTo>
                    <a:pt x="360" y="774"/>
                  </a:lnTo>
                  <a:lnTo>
                    <a:pt x="360" y="772"/>
                  </a:lnTo>
                  <a:lnTo>
                    <a:pt x="360" y="769"/>
                  </a:lnTo>
                  <a:lnTo>
                    <a:pt x="358" y="767"/>
                  </a:lnTo>
                  <a:lnTo>
                    <a:pt x="360" y="767"/>
                  </a:lnTo>
                  <a:lnTo>
                    <a:pt x="358" y="765"/>
                  </a:lnTo>
                  <a:lnTo>
                    <a:pt x="355" y="762"/>
                  </a:lnTo>
                  <a:lnTo>
                    <a:pt x="353" y="762"/>
                  </a:lnTo>
                  <a:lnTo>
                    <a:pt x="355" y="762"/>
                  </a:lnTo>
                  <a:lnTo>
                    <a:pt x="351" y="760"/>
                  </a:lnTo>
                  <a:lnTo>
                    <a:pt x="348" y="760"/>
                  </a:lnTo>
                  <a:lnTo>
                    <a:pt x="346" y="758"/>
                  </a:lnTo>
                  <a:lnTo>
                    <a:pt x="344" y="755"/>
                  </a:lnTo>
                  <a:lnTo>
                    <a:pt x="344" y="753"/>
                  </a:lnTo>
                  <a:lnTo>
                    <a:pt x="344" y="750"/>
                  </a:lnTo>
                  <a:lnTo>
                    <a:pt x="341" y="748"/>
                  </a:lnTo>
                  <a:lnTo>
                    <a:pt x="341" y="746"/>
                  </a:lnTo>
                  <a:lnTo>
                    <a:pt x="344" y="743"/>
                  </a:lnTo>
                  <a:lnTo>
                    <a:pt x="346" y="743"/>
                  </a:lnTo>
                  <a:lnTo>
                    <a:pt x="344" y="739"/>
                  </a:lnTo>
                  <a:lnTo>
                    <a:pt x="344" y="736"/>
                  </a:lnTo>
                  <a:lnTo>
                    <a:pt x="346" y="736"/>
                  </a:lnTo>
                  <a:lnTo>
                    <a:pt x="344" y="734"/>
                  </a:lnTo>
                  <a:lnTo>
                    <a:pt x="341" y="734"/>
                  </a:lnTo>
                  <a:lnTo>
                    <a:pt x="339" y="734"/>
                  </a:lnTo>
                  <a:lnTo>
                    <a:pt x="336" y="734"/>
                  </a:lnTo>
                  <a:lnTo>
                    <a:pt x="334" y="734"/>
                  </a:lnTo>
                  <a:lnTo>
                    <a:pt x="332" y="734"/>
                  </a:lnTo>
                  <a:lnTo>
                    <a:pt x="332" y="731"/>
                  </a:lnTo>
                  <a:lnTo>
                    <a:pt x="329" y="729"/>
                  </a:lnTo>
                  <a:lnTo>
                    <a:pt x="329" y="727"/>
                  </a:lnTo>
                  <a:lnTo>
                    <a:pt x="329" y="724"/>
                  </a:lnTo>
                  <a:lnTo>
                    <a:pt x="329" y="722"/>
                  </a:lnTo>
                  <a:lnTo>
                    <a:pt x="329" y="720"/>
                  </a:lnTo>
                  <a:lnTo>
                    <a:pt x="334" y="717"/>
                  </a:lnTo>
                  <a:lnTo>
                    <a:pt x="336" y="717"/>
                  </a:lnTo>
                  <a:lnTo>
                    <a:pt x="339" y="717"/>
                  </a:lnTo>
                  <a:lnTo>
                    <a:pt x="339" y="715"/>
                  </a:lnTo>
                  <a:lnTo>
                    <a:pt x="336" y="715"/>
                  </a:lnTo>
                  <a:lnTo>
                    <a:pt x="339" y="712"/>
                  </a:lnTo>
                  <a:lnTo>
                    <a:pt x="339" y="710"/>
                  </a:lnTo>
                  <a:lnTo>
                    <a:pt x="336" y="710"/>
                  </a:lnTo>
                  <a:lnTo>
                    <a:pt x="334" y="710"/>
                  </a:lnTo>
                  <a:lnTo>
                    <a:pt x="332" y="710"/>
                  </a:lnTo>
                  <a:lnTo>
                    <a:pt x="329" y="710"/>
                  </a:lnTo>
                  <a:lnTo>
                    <a:pt x="329" y="708"/>
                  </a:lnTo>
                  <a:lnTo>
                    <a:pt x="332" y="705"/>
                  </a:lnTo>
                  <a:lnTo>
                    <a:pt x="334" y="703"/>
                  </a:lnTo>
                  <a:lnTo>
                    <a:pt x="334" y="701"/>
                  </a:lnTo>
                  <a:lnTo>
                    <a:pt x="334" y="696"/>
                  </a:lnTo>
                  <a:lnTo>
                    <a:pt x="334" y="693"/>
                  </a:lnTo>
                  <a:lnTo>
                    <a:pt x="339" y="691"/>
                  </a:lnTo>
                  <a:lnTo>
                    <a:pt x="334" y="689"/>
                  </a:lnTo>
                  <a:lnTo>
                    <a:pt x="332" y="686"/>
                  </a:lnTo>
                  <a:lnTo>
                    <a:pt x="339" y="686"/>
                  </a:lnTo>
                  <a:lnTo>
                    <a:pt x="339" y="684"/>
                  </a:lnTo>
                  <a:lnTo>
                    <a:pt x="344" y="684"/>
                  </a:lnTo>
                  <a:lnTo>
                    <a:pt x="346" y="686"/>
                  </a:lnTo>
                  <a:lnTo>
                    <a:pt x="346" y="684"/>
                  </a:lnTo>
                  <a:lnTo>
                    <a:pt x="346" y="682"/>
                  </a:lnTo>
                  <a:lnTo>
                    <a:pt x="346" y="677"/>
                  </a:lnTo>
                  <a:lnTo>
                    <a:pt x="344" y="672"/>
                  </a:lnTo>
                  <a:lnTo>
                    <a:pt x="344" y="667"/>
                  </a:lnTo>
                  <a:lnTo>
                    <a:pt x="341" y="667"/>
                  </a:lnTo>
                  <a:lnTo>
                    <a:pt x="341" y="665"/>
                  </a:lnTo>
                  <a:lnTo>
                    <a:pt x="339" y="660"/>
                  </a:lnTo>
                  <a:lnTo>
                    <a:pt x="339" y="658"/>
                  </a:lnTo>
                  <a:lnTo>
                    <a:pt x="334" y="651"/>
                  </a:lnTo>
                  <a:lnTo>
                    <a:pt x="332" y="651"/>
                  </a:lnTo>
                  <a:lnTo>
                    <a:pt x="332" y="648"/>
                  </a:lnTo>
                  <a:lnTo>
                    <a:pt x="329" y="646"/>
                  </a:lnTo>
                  <a:lnTo>
                    <a:pt x="327" y="636"/>
                  </a:lnTo>
                  <a:lnTo>
                    <a:pt x="325" y="634"/>
                  </a:lnTo>
                  <a:lnTo>
                    <a:pt x="322" y="634"/>
                  </a:lnTo>
                  <a:lnTo>
                    <a:pt x="322" y="632"/>
                  </a:lnTo>
                  <a:lnTo>
                    <a:pt x="320" y="629"/>
                  </a:lnTo>
                  <a:lnTo>
                    <a:pt x="318" y="624"/>
                  </a:lnTo>
                  <a:lnTo>
                    <a:pt x="315" y="622"/>
                  </a:lnTo>
                  <a:lnTo>
                    <a:pt x="313" y="622"/>
                  </a:lnTo>
                  <a:lnTo>
                    <a:pt x="313" y="620"/>
                  </a:lnTo>
                  <a:lnTo>
                    <a:pt x="310" y="617"/>
                  </a:lnTo>
                  <a:lnTo>
                    <a:pt x="310" y="615"/>
                  </a:lnTo>
                  <a:lnTo>
                    <a:pt x="310" y="613"/>
                  </a:lnTo>
                  <a:lnTo>
                    <a:pt x="310" y="610"/>
                  </a:lnTo>
                  <a:lnTo>
                    <a:pt x="313" y="608"/>
                  </a:lnTo>
                  <a:lnTo>
                    <a:pt x="322" y="598"/>
                  </a:lnTo>
                  <a:lnTo>
                    <a:pt x="325" y="594"/>
                  </a:lnTo>
                  <a:lnTo>
                    <a:pt x="327" y="594"/>
                  </a:lnTo>
                  <a:lnTo>
                    <a:pt x="327" y="591"/>
                  </a:lnTo>
                  <a:lnTo>
                    <a:pt x="329" y="591"/>
                  </a:lnTo>
                  <a:lnTo>
                    <a:pt x="327" y="591"/>
                  </a:lnTo>
                  <a:lnTo>
                    <a:pt x="329" y="591"/>
                  </a:lnTo>
                  <a:lnTo>
                    <a:pt x="329" y="589"/>
                  </a:lnTo>
                  <a:lnTo>
                    <a:pt x="332" y="589"/>
                  </a:lnTo>
                  <a:lnTo>
                    <a:pt x="329" y="589"/>
                  </a:lnTo>
                  <a:lnTo>
                    <a:pt x="332" y="589"/>
                  </a:lnTo>
                  <a:lnTo>
                    <a:pt x="332" y="586"/>
                  </a:lnTo>
                  <a:lnTo>
                    <a:pt x="334" y="586"/>
                  </a:lnTo>
                  <a:lnTo>
                    <a:pt x="334" y="584"/>
                  </a:lnTo>
                  <a:lnTo>
                    <a:pt x="336" y="582"/>
                  </a:lnTo>
                  <a:lnTo>
                    <a:pt x="339" y="579"/>
                  </a:lnTo>
                  <a:lnTo>
                    <a:pt x="341" y="572"/>
                  </a:lnTo>
                  <a:lnTo>
                    <a:pt x="344" y="570"/>
                  </a:lnTo>
                  <a:lnTo>
                    <a:pt x="332" y="563"/>
                  </a:lnTo>
                  <a:lnTo>
                    <a:pt x="320" y="548"/>
                  </a:lnTo>
                  <a:lnTo>
                    <a:pt x="299" y="541"/>
                  </a:lnTo>
                  <a:lnTo>
                    <a:pt x="296" y="537"/>
                  </a:lnTo>
                  <a:lnTo>
                    <a:pt x="291" y="520"/>
                  </a:lnTo>
                  <a:lnTo>
                    <a:pt x="294" y="515"/>
                  </a:lnTo>
                  <a:lnTo>
                    <a:pt x="296" y="513"/>
                  </a:lnTo>
                  <a:lnTo>
                    <a:pt x="301" y="508"/>
                  </a:lnTo>
                  <a:lnTo>
                    <a:pt x="303" y="501"/>
                  </a:lnTo>
                  <a:lnTo>
                    <a:pt x="299" y="501"/>
                  </a:lnTo>
                  <a:lnTo>
                    <a:pt x="291" y="501"/>
                  </a:lnTo>
                  <a:lnTo>
                    <a:pt x="289" y="499"/>
                  </a:lnTo>
                  <a:lnTo>
                    <a:pt x="294" y="499"/>
                  </a:lnTo>
                  <a:lnTo>
                    <a:pt x="303" y="491"/>
                  </a:lnTo>
                  <a:lnTo>
                    <a:pt x="308" y="491"/>
                  </a:lnTo>
                  <a:lnTo>
                    <a:pt x="310" y="491"/>
                  </a:lnTo>
                  <a:lnTo>
                    <a:pt x="313" y="491"/>
                  </a:lnTo>
                  <a:lnTo>
                    <a:pt x="313" y="489"/>
                  </a:lnTo>
                  <a:lnTo>
                    <a:pt x="315" y="489"/>
                  </a:lnTo>
                  <a:lnTo>
                    <a:pt x="318" y="487"/>
                  </a:lnTo>
                  <a:lnTo>
                    <a:pt x="318" y="484"/>
                  </a:lnTo>
                  <a:lnTo>
                    <a:pt x="318" y="482"/>
                  </a:lnTo>
                  <a:lnTo>
                    <a:pt x="320" y="482"/>
                  </a:lnTo>
                  <a:lnTo>
                    <a:pt x="320" y="480"/>
                  </a:lnTo>
                  <a:lnTo>
                    <a:pt x="318" y="480"/>
                  </a:lnTo>
                  <a:lnTo>
                    <a:pt x="318" y="477"/>
                  </a:lnTo>
                  <a:lnTo>
                    <a:pt x="320" y="477"/>
                  </a:lnTo>
                  <a:lnTo>
                    <a:pt x="320" y="475"/>
                  </a:lnTo>
                  <a:lnTo>
                    <a:pt x="322" y="475"/>
                  </a:lnTo>
                  <a:lnTo>
                    <a:pt x="325" y="475"/>
                  </a:lnTo>
                  <a:lnTo>
                    <a:pt x="327" y="475"/>
                  </a:lnTo>
                  <a:lnTo>
                    <a:pt x="329" y="475"/>
                  </a:lnTo>
                  <a:lnTo>
                    <a:pt x="332" y="472"/>
                  </a:lnTo>
                  <a:lnTo>
                    <a:pt x="334" y="470"/>
                  </a:lnTo>
                  <a:lnTo>
                    <a:pt x="336" y="470"/>
                  </a:lnTo>
                  <a:lnTo>
                    <a:pt x="336" y="468"/>
                  </a:lnTo>
                  <a:lnTo>
                    <a:pt x="339" y="468"/>
                  </a:lnTo>
                  <a:lnTo>
                    <a:pt x="339" y="470"/>
                  </a:lnTo>
                  <a:lnTo>
                    <a:pt x="341" y="470"/>
                  </a:lnTo>
                  <a:lnTo>
                    <a:pt x="344" y="470"/>
                  </a:lnTo>
                  <a:lnTo>
                    <a:pt x="344" y="468"/>
                  </a:lnTo>
                  <a:lnTo>
                    <a:pt x="346" y="465"/>
                  </a:lnTo>
                  <a:lnTo>
                    <a:pt x="346" y="463"/>
                  </a:lnTo>
                  <a:lnTo>
                    <a:pt x="348" y="463"/>
                  </a:lnTo>
                  <a:lnTo>
                    <a:pt x="348" y="461"/>
                  </a:lnTo>
                  <a:lnTo>
                    <a:pt x="348" y="458"/>
                  </a:lnTo>
                  <a:lnTo>
                    <a:pt x="346" y="456"/>
                  </a:lnTo>
                  <a:lnTo>
                    <a:pt x="346" y="453"/>
                  </a:lnTo>
                  <a:lnTo>
                    <a:pt x="346" y="456"/>
                  </a:lnTo>
                  <a:lnTo>
                    <a:pt x="346" y="453"/>
                  </a:lnTo>
                  <a:lnTo>
                    <a:pt x="348" y="453"/>
                  </a:lnTo>
                  <a:lnTo>
                    <a:pt x="351" y="456"/>
                  </a:lnTo>
                  <a:lnTo>
                    <a:pt x="353" y="456"/>
                  </a:lnTo>
                  <a:lnTo>
                    <a:pt x="355" y="458"/>
                  </a:lnTo>
                  <a:lnTo>
                    <a:pt x="360" y="461"/>
                  </a:lnTo>
                  <a:lnTo>
                    <a:pt x="363" y="461"/>
                  </a:lnTo>
                  <a:lnTo>
                    <a:pt x="367" y="463"/>
                  </a:lnTo>
                  <a:lnTo>
                    <a:pt x="370" y="463"/>
                  </a:lnTo>
                  <a:lnTo>
                    <a:pt x="370" y="461"/>
                  </a:lnTo>
                  <a:lnTo>
                    <a:pt x="372" y="461"/>
                  </a:lnTo>
                  <a:lnTo>
                    <a:pt x="374" y="461"/>
                  </a:lnTo>
                  <a:lnTo>
                    <a:pt x="374" y="458"/>
                  </a:lnTo>
                  <a:lnTo>
                    <a:pt x="374" y="456"/>
                  </a:lnTo>
                  <a:lnTo>
                    <a:pt x="372" y="456"/>
                  </a:lnTo>
                  <a:lnTo>
                    <a:pt x="372" y="453"/>
                  </a:lnTo>
                  <a:lnTo>
                    <a:pt x="374" y="453"/>
                  </a:lnTo>
                  <a:lnTo>
                    <a:pt x="372" y="453"/>
                  </a:lnTo>
                  <a:lnTo>
                    <a:pt x="372" y="451"/>
                  </a:lnTo>
                  <a:lnTo>
                    <a:pt x="372" y="449"/>
                  </a:lnTo>
                  <a:lnTo>
                    <a:pt x="370" y="449"/>
                  </a:lnTo>
                  <a:lnTo>
                    <a:pt x="370" y="446"/>
                  </a:lnTo>
                  <a:lnTo>
                    <a:pt x="372" y="446"/>
                  </a:lnTo>
                  <a:lnTo>
                    <a:pt x="372" y="449"/>
                  </a:lnTo>
                  <a:lnTo>
                    <a:pt x="374" y="449"/>
                  </a:lnTo>
                  <a:lnTo>
                    <a:pt x="372" y="449"/>
                  </a:lnTo>
                  <a:lnTo>
                    <a:pt x="372" y="446"/>
                  </a:lnTo>
                  <a:lnTo>
                    <a:pt x="374" y="446"/>
                  </a:lnTo>
                  <a:lnTo>
                    <a:pt x="374" y="449"/>
                  </a:lnTo>
                  <a:lnTo>
                    <a:pt x="377" y="449"/>
                  </a:lnTo>
                  <a:lnTo>
                    <a:pt x="379" y="449"/>
                  </a:lnTo>
                  <a:lnTo>
                    <a:pt x="382" y="449"/>
                  </a:lnTo>
                  <a:lnTo>
                    <a:pt x="382" y="451"/>
                  </a:lnTo>
                  <a:lnTo>
                    <a:pt x="384" y="451"/>
                  </a:lnTo>
                  <a:lnTo>
                    <a:pt x="382" y="451"/>
                  </a:lnTo>
                  <a:lnTo>
                    <a:pt x="382" y="449"/>
                  </a:lnTo>
                  <a:lnTo>
                    <a:pt x="384" y="449"/>
                  </a:lnTo>
                  <a:lnTo>
                    <a:pt x="384" y="451"/>
                  </a:lnTo>
                  <a:lnTo>
                    <a:pt x="386" y="451"/>
                  </a:lnTo>
                  <a:lnTo>
                    <a:pt x="389" y="451"/>
                  </a:lnTo>
                  <a:lnTo>
                    <a:pt x="389" y="453"/>
                  </a:lnTo>
                  <a:lnTo>
                    <a:pt x="391" y="453"/>
                  </a:lnTo>
                  <a:lnTo>
                    <a:pt x="389" y="453"/>
                  </a:lnTo>
                  <a:lnTo>
                    <a:pt x="389" y="456"/>
                  </a:lnTo>
                  <a:lnTo>
                    <a:pt x="386" y="456"/>
                  </a:lnTo>
                  <a:lnTo>
                    <a:pt x="389" y="456"/>
                  </a:lnTo>
                  <a:lnTo>
                    <a:pt x="386" y="456"/>
                  </a:lnTo>
                  <a:lnTo>
                    <a:pt x="386" y="458"/>
                  </a:lnTo>
                  <a:lnTo>
                    <a:pt x="384" y="458"/>
                  </a:lnTo>
                  <a:lnTo>
                    <a:pt x="384" y="461"/>
                  </a:lnTo>
                  <a:lnTo>
                    <a:pt x="382" y="461"/>
                  </a:lnTo>
                  <a:lnTo>
                    <a:pt x="384" y="461"/>
                  </a:lnTo>
                  <a:lnTo>
                    <a:pt x="384" y="458"/>
                  </a:lnTo>
                  <a:lnTo>
                    <a:pt x="386" y="458"/>
                  </a:lnTo>
                  <a:lnTo>
                    <a:pt x="389" y="458"/>
                  </a:lnTo>
                  <a:lnTo>
                    <a:pt x="389" y="456"/>
                  </a:lnTo>
                  <a:lnTo>
                    <a:pt x="391" y="456"/>
                  </a:lnTo>
                  <a:lnTo>
                    <a:pt x="391" y="453"/>
                  </a:lnTo>
                  <a:lnTo>
                    <a:pt x="391" y="456"/>
                  </a:lnTo>
                  <a:lnTo>
                    <a:pt x="393" y="456"/>
                  </a:lnTo>
                  <a:lnTo>
                    <a:pt x="393" y="453"/>
                  </a:lnTo>
                  <a:lnTo>
                    <a:pt x="391" y="453"/>
                  </a:lnTo>
                  <a:lnTo>
                    <a:pt x="393" y="453"/>
                  </a:lnTo>
                  <a:lnTo>
                    <a:pt x="391" y="453"/>
                  </a:lnTo>
                  <a:lnTo>
                    <a:pt x="393" y="453"/>
                  </a:lnTo>
                  <a:lnTo>
                    <a:pt x="396" y="453"/>
                  </a:lnTo>
                  <a:lnTo>
                    <a:pt x="393" y="453"/>
                  </a:lnTo>
                  <a:lnTo>
                    <a:pt x="396" y="453"/>
                  </a:lnTo>
                  <a:lnTo>
                    <a:pt x="398" y="453"/>
                  </a:lnTo>
                  <a:lnTo>
                    <a:pt x="401" y="453"/>
                  </a:lnTo>
                  <a:lnTo>
                    <a:pt x="401" y="456"/>
                  </a:lnTo>
                  <a:lnTo>
                    <a:pt x="403" y="456"/>
                  </a:lnTo>
                  <a:lnTo>
                    <a:pt x="401" y="453"/>
                  </a:lnTo>
                  <a:lnTo>
                    <a:pt x="398" y="451"/>
                  </a:lnTo>
                  <a:lnTo>
                    <a:pt x="398" y="449"/>
                  </a:lnTo>
                  <a:lnTo>
                    <a:pt x="398" y="446"/>
                  </a:lnTo>
                  <a:lnTo>
                    <a:pt x="401" y="446"/>
                  </a:lnTo>
                  <a:lnTo>
                    <a:pt x="401" y="444"/>
                  </a:lnTo>
                  <a:lnTo>
                    <a:pt x="403" y="444"/>
                  </a:lnTo>
                  <a:lnTo>
                    <a:pt x="403" y="446"/>
                  </a:lnTo>
                  <a:lnTo>
                    <a:pt x="405" y="446"/>
                  </a:lnTo>
                  <a:lnTo>
                    <a:pt x="408" y="446"/>
                  </a:lnTo>
                  <a:lnTo>
                    <a:pt x="408" y="449"/>
                  </a:lnTo>
                  <a:lnTo>
                    <a:pt x="410" y="449"/>
                  </a:lnTo>
                  <a:lnTo>
                    <a:pt x="412" y="449"/>
                  </a:lnTo>
                  <a:lnTo>
                    <a:pt x="410" y="449"/>
                  </a:lnTo>
                  <a:lnTo>
                    <a:pt x="410" y="446"/>
                  </a:lnTo>
                  <a:lnTo>
                    <a:pt x="410" y="444"/>
                  </a:lnTo>
                  <a:lnTo>
                    <a:pt x="408" y="444"/>
                  </a:lnTo>
                  <a:lnTo>
                    <a:pt x="408" y="442"/>
                  </a:lnTo>
                  <a:lnTo>
                    <a:pt x="405" y="442"/>
                  </a:lnTo>
                  <a:lnTo>
                    <a:pt x="405" y="439"/>
                  </a:lnTo>
                  <a:lnTo>
                    <a:pt x="405" y="437"/>
                  </a:lnTo>
                  <a:lnTo>
                    <a:pt x="408" y="437"/>
                  </a:lnTo>
                  <a:lnTo>
                    <a:pt x="405" y="437"/>
                  </a:lnTo>
                  <a:lnTo>
                    <a:pt x="408" y="437"/>
                  </a:lnTo>
                  <a:lnTo>
                    <a:pt x="408" y="439"/>
                  </a:lnTo>
                  <a:lnTo>
                    <a:pt x="410" y="439"/>
                  </a:lnTo>
                  <a:lnTo>
                    <a:pt x="410" y="437"/>
                  </a:lnTo>
                  <a:lnTo>
                    <a:pt x="410" y="439"/>
                  </a:lnTo>
                  <a:lnTo>
                    <a:pt x="410" y="437"/>
                  </a:lnTo>
                  <a:lnTo>
                    <a:pt x="412" y="439"/>
                  </a:lnTo>
                  <a:lnTo>
                    <a:pt x="415" y="439"/>
                  </a:lnTo>
                  <a:lnTo>
                    <a:pt x="415" y="442"/>
                  </a:lnTo>
                  <a:lnTo>
                    <a:pt x="417" y="442"/>
                  </a:lnTo>
                  <a:lnTo>
                    <a:pt x="420" y="442"/>
                  </a:lnTo>
                  <a:lnTo>
                    <a:pt x="417" y="442"/>
                  </a:lnTo>
                  <a:lnTo>
                    <a:pt x="420" y="442"/>
                  </a:lnTo>
                  <a:lnTo>
                    <a:pt x="422" y="442"/>
                  </a:lnTo>
                  <a:lnTo>
                    <a:pt x="420" y="442"/>
                  </a:lnTo>
                  <a:lnTo>
                    <a:pt x="422" y="442"/>
                  </a:lnTo>
                  <a:lnTo>
                    <a:pt x="422" y="444"/>
                  </a:lnTo>
                  <a:lnTo>
                    <a:pt x="424" y="444"/>
                  </a:lnTo>
                  <a:lnTo>
                    <a:pt x="424" y="446"/>
                  </a:lnTo>
                  <a:lnTo>
                    <a:pt x="427" y="446"/>
                  </a:lnTo>
                  <a:lnTo>
                    <a:pt x="429" y="446"/>
                  </a:lnTo>
                  <a:lnTo>
                    <a:pt x="429" y="449"/>
                  </a:lnTo>
                  <a:lnTo>
                    <a:pt x="429" y="446"/>
                  </a:lnTo>
                  <a:lnTo>
                    <a:pt x="429" y="449"/>
                  </a:lnTo>
                  <a:lnTo>
                    <a:pt x="431" y="449"/>
                  </a:lnTo>
                  <a:lnTo>
                    <a:pt x="431" y="446"/>
                  </a:lnTo>
                  <a:lnTo>
                    <a:pt x="434" y="446"/>
                  </a:lnTo>
                  <a:lnTo>
                    <a:pt x="434" y="449"/>
                  </a:lnTo>
                  <a:lnTo>
                    <a:pt x="436" y="449"/>
                  </a:lnTo>
                  <a:lnTo>
                    <a:pt x="439" y="449"/>
                  </a:lnTo>
                  <a:lnTo>
                    <a:pt x="441" y="449"/>
                  </a:lnTo>
                  <a:lnTo>
                    <a:pt x="443" y="449"/>
                  </a:lnTo>
                  <a:lnTo>
                    <a:pt x="443" y="451"/>
                  </a:lnTo>
                  <a:lnTo>
                    <a:pt x="443" y="449"/>
                  </a:lnTo>
                  <a:lnTo>
                    <a:pt x="446" y="451"/>
                  </a:lnTo>
                  <a:lnTo>
                    <a:pt x="443" y="451"/>
                  </a:lnTo>
                  <a:lnTo>
                    <a:pt x="446" y="451"/>
                  </a:lnTo>
                  <a:lnTo>
                    <a:pt x="443" y="451"/>
                  </a:lnTo>
                  <a:lnTo>
                    <a:pt x="446" y="453"/>
                  </a:lnTo>
                  <a:lnTo>
                    <a:pt x="443" y="453"/>
                  </a:lnTo>
                  <a:lnTo>
                    <a:pt x="446" y="453"/>
                  </a:lnTo>
                  <a:lnTo>
                    <a:pt x="443" y="453"/>
                  </a:lnTo>
                  <a:lnTo>
                    <a:pt x="443" y="456"/>
                  </a:lnTo>
                  <a:lnTo>
                    <a:pt x="446" y="456"/>
                  </a:lnTo>
                  <a:lnTo>
                    <a:pt x="443" y="456"/>
                  </a:lnTo>
                  <a:lnTo>
                    <a:pt x="441" y="456"/>
                  </a:lnTo>
                  <a:lnTo>
                    <a:pt x="441" y="458"/>
                  </a:lnTo>
                  <a:lnTo>
                    <a:pt x="439" y="458"/>
                  </a:lnTo>
                  <a:lnTo>
                    <a:pt x="439" y="461"/>
                  </a:lnTo>
                  <a:lnTo>
                    <a:pt x="436" y="461"/>
                  </a:lnTo>
                  <a:lnTo>
                    <a:pt x="434" y="461"/>
                  </a:lnTo>
                  <a:lnTo>
                    <a:pt x="434" y="458"/>
                  </a:lnTo>
                  <a:lnTo>
                    <a:pt x="431" y="458"/>
                  </a:lnTo>
                  <a:lnTo>
                    <a:pt x="429" y="458"/>
                  </a:lnTo>
                  <a:lnTo>
                    <a:pt x="427" y="458"/>
                  </a:lnTo>
                  <a:lnTo>
                    <a:pt x="424" y="458"/>
                  </a:lnTo>
                  <a:lnTo>
                    <a:pt x="424" y="456"/>
                  </a:lnTo>
                  <a:lnTo>
                    <a:pt x="422" y="456"/>
                  </a:lnTo>
                  <a:lnTo>
                    <a:pt x="422" y="458"/>
                  </a:lnTo>
                  <a:lnTo>
                    <a:pt x="420" y="456"/>
                  </a:lnTo>
                  <a:lnTo>
                    <a:pt x="417" y="456"/>
                  </a:lnTo>
                  <a:lnTo>
                    <a:pt x="415" y="456"/>
                  </a:lnTo>
                  <a:lnTo>
                    <a:pt x="412" y="456"/>
                  </a:lnTo>
                  <a:lnTo>
                    <a:pt x="412" y="453"/>
                  </a:lnTo>
                  <a:lnTo>
                    <a:pt x="415" y="453"/>
                  </a:lnTo>
                  <a:lnTo>
                    <a:pt x="415" y="451"/>
                  </a:lnTo>
                  <a:lnTo>
                    <a:pt x="412" y="451"/>
                  </a:lnTo>
                  <a:lnTo>
                    <a:pt x="412" y="449"/>
                  </a:lnTo>
                  <a:lnTo>
                    <a:pt x="412" y="451"/>
                  </a:lnTo>
                  <a:lnTo>
                    <a:pt x="410" y="451"/>
                  </a:lnTo>
                  <a:lnTo>
                    <a:pt x="412" y="451"/>
                  </a:lnTo>
                  <a:lnTo>
                    <a:pt x="412" y="453"/>
                  </a:lnTo>
                  <a:lnTo>
                    <a:pt x="412" y="456"/>
                  </a:lnTo>
                  <a:lnTo>
                    <a:pt x="410" y="456"/>
                  </a:lnTo>
                  <a:lnTo>
                    <a:pt x="408" y="456"/>
                  </a:lnTo>
                  <a:lnTo>
                    <a:pt x="408" y="458"/>
                  </a:lnTo>
                  <a:lnTo>
                    <a:pt x="410" y="458"/>
                  </a:lnTo>
                  <a:lnTo>
                    <a:pt x="410" y="461"/>
                  </a:lnTo>
                  <a:lnTo>
                    <a:pt x="408" y="461"/>
                  </a:lnTo>
                  <a:lnTo>
                    <a:pt x="410" y="461"/>
                  </a:lnTo>
                  <a:lnTo>
                    <a:pt x="412" y="458"/>
                  </a:lnTo>
                  <a:lnTo>
                    <a:pt x="412" y="461"/>
                  </a:lnTo>
                  <a:lnTo>
                    <a:pt x="412" y="458"/>
                  </a:lnTo>
                  <a:lnTo>
                    <a:pt x="415" y="458"/>
                  </a:lnTo>
                  <a:lnTo>
                    <a:pt x="417" y="461"/>
                  </a:lnTo>
                  <a:lnTo>
                    <a:pt x="420" y="461"/>
                  </a:lnTo>
                  <a:lnTo>
                    <a:pt x="422" y="461"/>
                  </a:lnTo>
                  <a:lnTo>
                    <a:pt x="422" y="463"/>
                  </a:lnTo>
                  <a:lnTo>
                    <a:pt x="424" y="463"/>
                  </a:lnTo>
                  <a:lnTo>
                    <a:pt x="424" y="465"/>
                  </a:lnTo>
                  <a:close/>
                  <a:moveTo>
                    <a:pt x="522" y="765"/>
                  </a:moveTo>
                  <a:lnTo>
                    <a:pt x="519" y="765"/>
                  </a:lnTo>
                  <a:lnTo>
                    <a:pt x="522" y="762"/>
                  </a:lnTo>
                  <a:lnTo>
                    <a:pt x="522" y="765"/>
                  </a:lnTo>
                  <a:lnTo>
                    <a:pt x="519" y="765"/>
                  </a:lnTo>
                  <a:lnTo>
                    <a:pt x="522" y="765"/>
                  </a:lnTo>
                  <a:close/>
                  <a:moveTo>
                    <a:pt x="1250" y="781"/>
                  </a:moveTo>
                  <a:lnTo>
                    <a:pt x="1252" y="781"/>
                  </a:lnTo>
                  <a:lnTo>
                    <a:pt x="1250" y="781"/>
                  </a:lnTo>
                  <a:close/>
                  <a:moveTo>
                    <a:pt x="1300" y="686"/>
                  </a:moveTo>
                  <a:lnTo>
                    <a:pt x="1302" y="686"/>
                  </a:lnTo>
                  <a:lnTo>
                    <a:pt x="1302" y="684"/>
                  </a:lnTo>
                  <a:lnTo>
                    <a:pt x="1302" y="686"/>
                  </a:lnTo>
                  <a:lnTo>
                    <a:pt x="1300" y="686"/>
                  </a:lnTo>
                  <a:lnTo>
                    <a:pt x="1300" y="684"/>
                  </a:lnTo>
                  <a:lnTo>
                    <a:pt x="1300" y="686"/>
                  </a:lnTo>
                  <a:lnTo>
                    <a:pt x="1300" y="689"/>
                  </a:lnTo>
                  <a:lnTo>
                    <a:pt x="1297" y="689"/>
                  </a:lnTo>
                  <a:lnTo>
                    <a:pt x="1300" y="689"/>
                  </a:lnTo>
                  <a:lnTo>
                    <a:pt x="1300" y="686"/>
                  </a:lnTo>
                  <a:close/>
                  <a:moveTo>
                    <a:pt x="1300" y="684"/>
                  </a:moveTo>
                  <a:lnTo>
                    <a:pt x="1302" y="684"/>
                  </a:lnTo>
                  <a:lnTo>
                    <a:pt x="1300" y="684"/>
                  </a:lnTo>
                  <a:close/>
                  <a:moveTo>
                    <a:pt x="1452" y="608"/>
                  </a:moveTo>
                  <a:lnTo>
                    <a:pt x="1449" y="608"/>
                  </a:lnTo>
                  <a:lnTo>
                    <a:pt x="1452" y="608"/>
                  </a:lnTo>
                  <a:close/>
                  <a:moveTo>
                    <a:pt x="1089" y="582"/>
                  </a:moveTo>
                  <a:lnTo>
                    <a:pt x="1089" y="579"/>
                  </a:lnTo>
                  <a:lnTo>
                    <a:pt x="1089" y="582"/>
                  </a:lnTo>
                  <a:lnTo>
                    <a:pt x="1089" y="579"/>
                  </a:lnTo>
                  <a:lnTo>
                    <a:pt x="1089" y="582"/>
                  </a:lnTo>
                  <a:close/>
                  <a:moveTo>
                    <a:pt x="1316" y="534"/>
                  </a:moveTo>
                  <a:lnTo>
                    <a:pt x="1314" y="534"/>
                  </a:lnTo>
                  <a:lnTo>
                    <a:pt x="1316" y="534"/>
                  </a:lnTo>
                  <a:close/>
                  <a:moveTo>
                    <a:pt x="1214" y="541"/>
                  </a:moveTo>
                  <a:lnTo>
                    <a:pt x="1214" y="544"/>
                  </a:lnTo>
                  <a:lnTo>
                    <a:pt x="1214" y="541"/>
                  </a:lnTo>
                  <a:close/>
                  <a:moveTo>
                    <a:pt x="773" y="838"/>
                  </a:moveTo>
                  <a:lnTo>
                    <a:pt x="775" y="838"/>
                  </a:lnTo>
                  <a:lnTo>
                    <a:pt x="773" y="836"/>
                  </a:lnTo>
                  <a:lnTo>
                    <a:pt x="773" y="838"/>
                  </a:lnTo>
                  <a:lnTo>
                    <a:pt x="775" y="838"/>
                  </a:lnTo>
                  <a:lnTo>
                    <a:pt x="773" y="838"/>
                  </a:lnTo>
                  <a:close/>
                  <a:moveTo>
                    <a:pt x="773" y="836"/>
                  </a:moveTo>
                  <a:lnTo>
                    <a:pt x="771" y="836"/>
                  </a:lnTo>
                  <a:lnTo>
                    <a:pt x="771" y="834"/>
                  </a:lnTo>
                  <a:lnTo>
                    <a:pt x="771" y="836"/>
                  </a:lnTo>
                  <a:lnTo>
                    <a:pt x="773" y="836"/>
                  </a:lnTo>
                  <a:close/>
                  <a:moveTo>
                    <a:pt x="771" y="836"/>
                  </a:moveTo>
                  <a:lnTo>
                    <a:pt x="773" y="836"/>
                  </a:lnTo>
                  <a:lnTo>
                    <a:pt x="771" y="836"/>
                  </a:lnTo>
                  <a:close/>
                  <a:moveTo>
                    <a:pt x="771" y="834"/>
                  </a:moveTo>
                  <a:lnTo>
                    <a:pt x="771" y="831"/>
                  </a:lnTo>
                  <a:lnTo>
                    <a:pt x="771" y="834"/>
                  </a:lnTo>
                  <a:close/>
                  <a:moveTo>
                    <a:pt x="771" y="831"/>
                  </a:moveTo>
                  <a:lnTo>
                    <a:pt x="768" y="831"/>
                  </a:lnTo>
                  <a:lnTo>
                    <a:pt x="771" y="831"/>
                  </a:lnTo>
                  <a:lnTo>
                    <a:pt x="768" y="831"/>
                  </a:lnTo>
                  <a:lnTo>
                    <a:pt x="771" y="831"/>
                  </a:lnTo>
                  <a:lnTo>
                    <a:pt x="771" y="834"/>
                  </a:lnTo>
                  <a:lnTo>
                    <a:pt x="771" y="831"/>
                  </a:lnTo>
                  <a:close/>
                  <a:moveTo>
                    <a:pt x="1259" y="734"/>
                  </a:moveTo>
                  <a:lnTo>
                    <a:pt x="1259" y="731"/>
                  </a:lnTo>
                  <a:lnTo>
                    <a:pt x="1259" y="734"/>
                  </a:lnTo>
                  <a:close/>
                  <a:moveTo>
                    <a:pt x="1229" y="667"/>
                  </a:moveTo>
                  <a:lnTo>
                    <a:pt x="1229" y="670"/>
                  </a:lnTo>
                  <a:lnTo>
                    <a:pt x="1229" y="667"/>
                  </a:lnTo>
                  <a:close/>
                  <a:moveTo>
                    <a:pt x="1112" y="708"/>
                  </a:moveTo>
                  <a:lnTo>
                    <a:pt x="1115" y="708"/>
                  </a:lnTo>
                  <a:lnTo>
                    <a:pt x="1112" y="708"/>
                  </a:lnTo>
                  <a:close/>
                  <a:moveTo>
                    <a:pt x="1034" y="696"/>
                  </a:moveTo>
                  <a:lnTo>
                    <a:pt x="1036" y="696"/>
                  </a:lnTo>
                  <a:lnTo>
                    <a:pt x="1034" y="696"/>
                  </a:lnTo>
                  <a:close/>
                  <a:moveTo>
                    <a:pt x="1084" y="655"/>
                  </a:moveTo>
                  <a:lnTo>
                    <a:pt x="1082" y="655"/>
                  </a:lnTo>
                  <a:lnTo>
                    <a:pt x="1084" y="655"/>
                  </a:lnTo>
                  <a:close/>
                  <a:moveTo>
                    <a:pt x="1063" y="594"/>
                  </a:moveTo>
                  <a:lnTo>
                    <a:pt x="1063" y="596"/>
                  </a:lnTo>
                  <a:lnTo>
                    <a:pt x="1063" y="594"/>
                  </a:lnTo>
                  <a:lnTo>
                    <a:pt x="1063" y="596"/>
                  </a:lnTo>
                  <a:lnTo>
                    <a:pt x="1063" y="594"/>
                  </a:lnTo>
                  <a:close/>
                  <a:moveTo>
                    <a:pt x="1093" y="563"/>
                  </a:moveTo>
                  <a:lnTo>
                    <a:pt x="1096" y="563"/>
                  </a:lnTo>
                  <a:lnTo>
                    <a:pt x="1093" y="563"/>
                  </a:lnTo>
                  <a:close/>
                  <a:moveTo>
                    <a:pt x="1122" y="527"/>
                  </a:moveTo>
                  <a:lnTo>
                    <a:pt x="1122" y="529"/>
                  </a:lnTo>
                  <a:lnTo>
                    <a:pt x="1122" y="527"/>
                  </a:lnTo>
                  <a:lnTo>
                    <a:pt x="1122" y="529"/>
                  </a:lnTo>
                  <a:lnTo>
                    <a:pt x="1122" y="527"/>
                  </a:lnTo>
                  <a:lnTo>
                    <a:pt x="1122" y="529"/>
                  </a:lnTo>
                  <a:lnTo>
                    <a:pt x="1122" y="527"/>
                  </a:lnTo>
                  <a:lnTo>
                    <a:pt x="1124" y="527"/>
                  </a:lnTo>
                  <a:lnTo>
                    <a:pt x="1122" y="527"/>
                  </a:lnTo>
                  <a:close/>
                  <a:moveTo>
                    <a:pt x="821" y="615"/>
                  </a:moveTo>
                  <a:lnTo>
                    <a:pt x="823" y="615"/>
                  </a:lnTo>
                  <a:lnTo>
                    <a:pt x="821" y="615"/>
                  </a:lnTo>
                  <a:close/>
                  <a:moveTo>
                    <a:pt x="759" y="843"/>
                  </a:moveTo>
                  <a:lnTo>
                    <a:pt x="756" y="843"/>
                  </a:lnTo>
                  <a:lnTo>
                    <a:pt x="759" y="843"/>
                  </a:lnTo>
                  <a:lnTo>
                    <a:pt x="756" y="843"/>
                  </a:lnTo>
                  <a:lnTo>
                    <a:pt x="759" y="843"/>
                  </a:lnTo>
                  <a:close/>
                  <a:moveTo>
                    <a:pt x="726" y="810"/>
                  </a:moveTo>
                  <a:lnTo>
                    <a:pt x="728" y="810"/>
                  </a:lnTo>
                  <a:lnTo>
                    <a:pt x="728" y="807"/>
                  </a:lnTo>
                  <a:lnTo>
                    <a:pt x="728" y="810"/>
                  </a:lnTo>
                  <a:lnTo>
                    <a:pt x="726" y="810"/>
                  </a:lnTo>
                  <a:lnTo>
                    <a:pt x="728" y="810"/>
                  </a:lnTo>
                  <a:lnTo>
                    <a:pt x="726" y="810"/>
                  </a:lnTo>
                  <a:close/>
                  <a:moveTo>
                    <a:pt x="1169" y="389"/>
                  </a:moveTo>
                  <a:lnTo>
                    <a:pt x="1167" y="389"/>
                  </a:lnTo>
                  <a:lnTo>
                    <a:pt x="1169" y="389"/>
                  </a:lnTo>
                  <a:lnTo>
                    <a:pt x="1167" y="389"/>
                  </a:lnTo>
                  <a:lnTo>
                    <a:pt x="1169" y="389"/>
                  </a:lnTo>
                  <a:close/>
                  <a:moveTo>
                    <a:pt x="1108" y="354"/>
                  </a:moveTo>
                  <a:lnTo>
                    <a:pt x="1110" y="354"/>
                  </a:lnTo>
                  <a:lnTo>
                    <a:pt x="1108" y="354"/>
                  </a:lnTo>
                  <a:lnTo>
                    <a:pt x="1110" y="354"/>
                  </a:lnTo>
                  <a:lnTo>
                    <a:pt x="1108" y="354"/>
                  </a:lnTo>
                  <a:lnTo>
                    <a:pt x="1110" y="354"/>
                  </a:lnTo>
                  <a:lnTo>
                    <a:pt x="1110" y="356"/>
                  </a:lnTo>
                  <a:lnTo>
                    <a:pt x="1112" y="356"/>
                  </a:lnTo>
                  <a:lnTo>
                    <a:pt x="1112" y="358"/>
                  </a:lnTo>
                  <a:lnTo>
                    <a:pt x="1115" y="358"/>
                  </a:lnTo>
                  <a:lnTo>
                    <a:pt x="1112" y="358"/>
                  </a:lnTo>
                  <a:lnTo>
                    <a:pt x="1115" y="358"/>
                  </a:lnTo>
                  <a:lnTo>
                    <a:pt x="1112" y="358"/>
                  </a:lnTo>
                  <a:lnTo>
                    <a:pt x="1112" y="356"/>
                  </a:lnTo>
                  <a:lnTo>
                    <a:pt x="1110" y="356"/>
                  </a:lnTo>
                  <a:lnTo>
                    <a:pt x="1110" y="358"/>
                  </a:lnTo>
                  <a:lnTo>
                    <a:pt x="1110" y="356"/>
                  </a:lnTo>
                  <a:lnTo>
                    <a:pt x="1108" y="356"/>
                  </a:lnTo>
                  <a:lnTo>
                    <a:pt x="1110" y="356"/>
                  </a:lnTo>
                  <a:lnTo>
                    <a:pt x="1108" y="354"/>
                  </a:lnTo>
                  <a:lnTo>
                    <a:pt x="1105" y="354"/>
                  </a:lnTo>
                  <a:lnTo>
                    <a:pt x="1108" y="354"/>
                  </a:lnTo>
                  <a:close/>
                  <a:moveTo>
                    <a:pt x="1108" y="347"/>
                  </a:moveTo>
                  <a:lnTo>
                    <a:pt x="1108" y="349"/>
                  </a:lnTo>
                  <a:lnTo>
                    <a:pt x="1110" y="349"/>
                  </a:lnTo>
                  <a:lnTo>
                    <a:pt x="1108" y="349"/>
                  </a:lnTo>
                  <a:lnTo>
                    <a:pt x="1110" y="349"/>
                  </a:lnTo>
                  <a:lnTo>
                    <a:pt x="1108" y="349"/>
                  </a:lnTo>
                  <a:lnTo>
                    <a:pt x="1108" y="347"/>
                  </a:lnTo>
                  <a:close/>
                  <a:moveTo>
                    <a:pt x="1195" y="266"/>
                  </a:moveTo>
                  <a:lnTo>
                    <a:pt x="1193" y="266"/>
                  </a:lnTo>
                  <a:lnTo>
                    <a:pt x="1195" y="266"/>
                  </a:lnTo>
                  <a:lnTo>
                    <a:pt x="1193" y="266"/>
                  </a:lnTo>
                  <a:lnTo>
                    <a:pt x="1193" y="268"/>
                  </a:lnTo>
                  <a:lnTo>
                    <a:pt x="1191" y="268"/>
                  </a:lnTo>
                  <a:lnTo>
                    <a:pt x="1188" y="268"/>
                  </a:lnTo>
                  <a:lnTo>
                    <a:pt x="1188" y="266"/>
                  </a:lnTo>
                  <a:lnTo>
                    <a:pt x="1186" y="266"/>
                  </a:lnTo>
                  <a:lnTo>
                    <a:pt x="1184" y="266"/>
                  </a:lnTo>
                  <a:lnTo>
                    <a:pt x="1186" y="266"/>
                  </a:lnTo>
                  <a:lnTo>
                    <a:pt x="1184" y="266"/>
                  </a:lnTo>
                  <a:lnTo>
                    <a:pt x="1181" y="268"/>
                  </a:lnTo>
                  <a:lnTo>
                    <a:pt x="1184" y="268"/>
                  </a:lnTo>
                  <a:lnTo>
                    <a:pt x="1181" y="268"/>
                  </a:lnTo>
                  <a:lnTo>
                    <a:pt x="1184" y="268"/>
                  </a:lnTo>
                  <a:lnTo>
                    <a:pt x="1186" y="268"/>
                  </a:lnTo>
                  <a:lnTo>
                    <a:pt x="1188" y="268"/>
                  </a:lnTo>
                  <a:lnTo>
                    <a:pt x="1186" y="268"/>
                  </a:lnTo>
                  <a:lnTo>
                    <a:pt x="1188" y="268"/>
                  </a:lnTo>
                  <a:lnTo>
                    <a:pt x="1191" y="268"/>
                  </a:lnTo>
                  <a:lnTo>
                    <a:pt x="1193" y="268"/>
                  </a:lnTo>
                  <a:lnTo>
                    <a:pt x="1195" y="268"/>
                  </a:lnTo>
                  <a:lnTo>
                    <a:pt x="1195" y="271"/>
                  </a:lnTo>
                  <a:lnTo>
                    <a:pt x="1198" y="273"/>
                  </a:lnTo>
                  <a:lnTo>
                    <a:pt x="1198" y="275"/>
                  </a:lnTo>
                  <a:lnTo>
                    <a:pt x="1195" y="275"/>
                  </a:lnTo>
                  <a:lnTo>
                    <a:pt x="1193" y="275"/>
                  </a:lnTo>
                  <a:lnTo>
                    <a:pt x="1193" y="273"/>
                  </a:lnTo>
                  <a:lnTo>
                    <a:pt x="1191" y="275"/>
                  </a:lnTo>
                  <a:lnTo>
                    <a:pt x="1191" y="273"/>
                  </a:lnTo>
                  <a:lnTo>
                    <a:pt x="1188" y="273"/>
                  </a:lnTo>
                  <a:lnTo>
                    <a:pt x="1188" y="275"/>
                  </a:lnTo>
                  <a:lnTo>
                    <a:pt x="1191" y="275"/>
                  </a:lnTo>
                  <a:lnTo>
                    <a:pt x="1191" y="278"/>
                  </a:lnTo>
                  <a:lnTo>
                    <a:pt x="1188" y="278"/>
                  </a:lnTo>
                  <a:lnTo>
                    <a:pt x="1188" y="280"/>
                  </a:lnTo>
                  <a:lnTo>
                    <a:pt x="1186" y="280"/>
                  </a:lnTo>
                  <a:lnTo>
                    <a:pt x="1186" y="282"/>
                  </a:lnTo>
                  <a:lnTo>
                    <a:pt x="1186" y="280"/>
                  </a:lnTo>
                  <a:lnTo>
                    <a:pt x="1186" y="282"/>
                  </a:lnTo>
                  <a:lnTo>
                    <a:pt x="1184" y="282"/>
                  </a:lnTo>
                  <a:lnTo>
                    <a:pt x="1184" y="280"/>
                  </a:lnTo>
                  <a:lnTo>
                    <a:pt x="1181" y="280"/>
                  </a:lnTo>
                  <a:lnTo>
                    <a:pt x="1179" y="280"/>
                  </a:lnTo>
                  <a:lnTo>
                    <a:pt x="1176" y="280"/>
                  </a:lnTo>
                  <a:lnTo>
                    <a:pt x="1176" y="278"/>
                  </a:lnTo>
                  <a:lnTo>
                    <a:pt x="1174" y="278"/>
                  </a:lnTo>
                  <a:lnTo>
                    <a:pt x="1176" y="278"/>
                  </a:lnTo>
                  <a:lnTo>
                    <a:pt x="1176" y="280"/>
                  </a:lnTo>
                  <a:lnTo>
                    <a:pt x="1179" y="280"/>
                  </a:lnTo>
                  <a:lnTo>
                    <a:pt x="1181" y="280"/>
                  </a:lnTo>
                  <a:lnTo>
                    <a:pt x="1184" y="280"/>
                  </a:lnTo>
                  <a:lnTo>
                    <a:pt x="1184" y="282"/>
                  </a:lnTo>
                  <a:lnTo>
                    <a:pt x="1181" y="282"/>
                  </a:lnTo>
                  <a:lnTo>
                    <a:pt x="1184" y="282"/>
                  </a:lnTo>
                  <a:lnTo>
                    <a:pt x="1186" y="282"/>
                  </a:lnTo>
                  <a:lnTo>
                    <a:pt x="1186" y="285"/>
                  </a:lnTo>
                  <a:lnTo>
                    <a:pt x="1186" y="287"/>
                  </a:lnTo>
                  <a:lnTo>
                    <a:pt x="1184" y="287"/>
                  </a:lnTo>
                  <a:lnTo>
                    <a:pt x="1181" y="287"/>
                  </a:lnTo>
                  <a:lnTo>
                    <a:pt x="1179" y="287"/>
                  </a:lnTo>
                  <a:lnTo>
                    <a:pt x="1176" y="287"/>
                  </a:lnTo>
                  <a:lnTo>
                    <a:pt x="1174" y="287"/>
                  </a:lnTo>
                  <a:lnTo>
                    <a:pt x="1172" y="287"/>
                  </a:lnTo>
                  <a:lnTo>
                    <a:pt x="1169" y="287"/>
                  </a:lnTo>
                  <a:lnTo>
                    <a:pt x="1167" y="287"/>
                  </a:lnTo>
                  <a:lnTo>
                    <a:pt x="1165" y="287"/>
                  </a:lnTo>
                  <a:lnTo>
                    <a:pt x="1167" y="287"/>
                  </a:lnTo>
                  <a:lnTo>
                    <a:pt x="1169" y="287"/>
                  </a:lnTo>
                  <a:lnTo>
                    <a:pt x="1172" y="287"/>
                  </a:lnTo>
                  <a:lnTo>
                    <a:pt x="1174" y="287"/>
                  </a:lnTo>
                  <a:lnTo>
                    <a:pt x="1176" y="287"/>
                  </a:lnTo>
                  <a:lnTo>
                    <a:pt x="1179" y="287"/>
                  </a:lnTo>
                  <a:lnTo>
                    <a:pt x="1181" y="287"/>
                  </a:lnTo>
                  <a:lnTo>
                    <a:pt x="1181" y="290"/>
                  </a:lnTo>
                  <a:lnTo>
                    <a:pt x="1181" y="287"/>
                  </a:lnTo>
                  <a:lnTo>
                    <a:pt x="1184" y="287"/>
                  </a:lnTo>
                  <a:lnTo>
                    <a:pt x="1184" y="290"/>
                  </a:lnTo>
                  <a:lnTo>
                    <a:pt x="1184" y="292"/>
                  </a:lnTo>
                  <a:lnTo>
                    <a:pt x="1181" y="292"/>
                  </a:lnTo>
                  <a:lnTo>
                    <a:pt x="1181" y="294"/>
                  </a:lnTo>
                  <a:lnTo>
                    <a:pt x="1184" y="294"/>
                  </a:lnTo>
                  <a:lnTo>
                    <a:pt x="1181" y="294"/>
                  </a:lnTo>
                  <a:lnTo>
                    <a:pt x="1181" y="297"/>
                  </a:lnTo>
                  <a:lnTo>
                    <a:pt x="1179" y="297"/>
                  </a:lnTo>
                  <a:lnTo>
                    <a:pt x="1181" y="297"/>
                  </a:lnTo>
                  <a:lnTo>
                    <a:pt x="1179" y="297"/>
                  </a:lnTo>
                  <a:lnTo>
                    <a:pt x="1179" y="299"/>
                  </a:lnTo>
                  <a:lnTo>
                    <a:pt x="1181" y="297"/>
                  </a:lnTo>
                  <a:lnTo>
                    <a:pt x="1184" y="299"/>
                  </a:lnTo>
                  <a:lnTo>
                    <a:pt x="1181" y="299"/>
                  </a:lnTo>
                  <a:lnTo>
                    <a:pt x="1184" y="299"/>
                  </a:lnTo>
                  <a:lnTo>
                    <a:pt x="1186" y="299"/>
                  </a:lnTo>
                  <a:lnTo>
                    <a:pt x="1184" y="299"/>
                  </a:lnTo>
                  <a:lnTo>
                    <a:pt x="1184" y="301"/>
                  </a:lnTo>
                  <a:lnTo>
                    <a:pt x="1186" y="301"/>
                  </a:lnTo>
                  <a:lnTo>
                    <a:pt x="1186" y="304"/>
                  </a:lnTo>
                  <a:lnTo>
                    <a:pt x="1184" y="304"/>
                  </a:lnTo>
                  <a:lnTo>
                    <a:pt x="1184" y="306"/>
                  </a:lnTo>
                  <a:lnTo>
                    <a:pt x="1181" y="306"/>
                  </a:lnTo>
                  <a:lnTo>
                    <a:pt x="1181" y="309"/>
                  </a:lnTo>
                  <a:lnTo>
                    <a:pt x="1181" y="311"/>
                  </a:lnTo>
                  <a:lnTo>
                    <a:pt x="1181" y="313"/>
                  </a:lnTo>
                  <a:lnTo>
                    <a:pt x="1179" y="313"/>
                  </a:lnTo>
                  <a:lnTo>
                    <a:pt x="1179" y="316"/>
                  </a:lnTo>
                  <a:lnTo>
                    <a:pt x="1181" y="316"/>
                  </a:lnTo>
                  <a:lnTo>
                    <a:pt x="1179" y="316"/>
                  </a:lnTo>
                  <a:lnTo>
                    <a:pt x="1179" y="318"/>
                  </a:lnTo>
                  <a:lnTo>
                    <a:pt x="1181" y="318"/>
                  </a:lnTo>
                  <a:lnTo>
                    <a:pt x="1181" y="316"/>
                  </a:lnTo>
                  <a:lnTo>
                    <a:pt x="1181" y="318"/>
                  </a:lnTo>
                  <a:lnTo>
                    <a:pt x="1179" y="318"/>
                  </a:lnTo>
                  <a:lnTo>
                    <a:pt x="1176" y="318"/>
                  </a:lnTo>
                  <a:lnTo>
                    <a:pt x="1174" y="318"/>
                  </a:lnTo>
                  <a:lnTo>
                    <a:pt x="1174" y="320"/>
                  </a:lnTo>
                  <a:lnTo>
                    <a:pt x="1172" y="320"/>
                  </a:lnTo>
                  <a:lnTo>
                    <a:pt x="1172" y="318"/>
                  </a:lnTo>
                  <a:lnTo>
                    <a:pt x="1169" y="318"/>
                  </a:lnTo>
                  <a:lnTo>
                    <a:pt x="1172" y="320"/>
                  </a:lnTo>
                  <a:lnTo>
                    <a:pt x="1174" y="320"/>
                  </a:lnTo>
                  <a:lnTo>
                    <a:pt x="1176" y="318"/>
                  </a:lnTo>
                  <a:lnTo>
                    <a:pt x="1179" y="318"/>
                  </a:lnTo>
                  <a:lnTo>
                    <a:pt x="1181" y="318"/>
                  </a:lnTo>
                  <a:lnTo>
                    <a:pt x="1181" y="320"/>
                  </a:lnTo>
                  <a:lnTo>
                    <a:pt x="1184" y="320"/>
                  </a:lnTo>
                  <a:lnTo>
                    <a:pt x="1181" y="320"/>
                  </a:lnTo>
                  <a:lnTo>
                    <a:pt x="1184" y="320"/>
                  </a:lnTo>
                  <a:lnTo>
                    <a:pt x="1184" y="323"/>
                  </a:lnTo>
                  <a:lnTo>
                    <a:pt x="1186" y="323"/>
                  </a:lnTo>
                  <a:lnTo>
                    <a:pt x="1184" y="323"/>
                  </a:lnTo>
                  <a:lnTo>
                    <a:pt x="1184" y="325"/>
                  </a:lnTo>
                  <a:lnTo>
                    <a:pt x="1184" y="328"/>
                  </a:lnTo>
                  <a:lnTo>
                    <a:pt x="1186" y="328"/>
                  </a:lnTo>
                  <a:lnTo>
                    <a:pt x="1186" y="330"/>
                  </a:lnTo>
                  <a:lnTo>
                    <a:pt x="1186" y="332"/>
                  </a:lnTo>
                  <a:lnTo>
                    <a:pt x="1188" y="332"/>
                  </a:lnTo>
                  <a:lnTo>
                    <a:pt x="1188" y="335"/>
                  </a:lnTo>
                  <a:lnTo>
                    <a:pt x="1186" y="335"/>
                  </a:lnTo>
                  <a:lnTo>
                    <a:pt x="1188" y="335"/>
                  </a:lnTo>
                  <a:lnTo>
                    <a:pt x="1188" y="337"/>
                  </a:lnTo>
                  <a:lnTo>
                    <a:pt x="1191" y="337"/>
                  </a:lnTo>
                  <a:lnTo>
                    <a:pt x="1188" y="337"/>
                  </a:lnTo>
                  <a:lnTo>
                    <a:pt x="1191" y="337"/>
                  </a:lnTo>
                  <a:lnTo>
                    <a:pt x="1191" y="339"/>
                  </a:lnTo>
                  <a:lnTo>
                    <a:pt x="1191" y="342"/>
                  </a:lnTo>
                  <a:lnTo>
                    <a:pt x="1191" y="339"/>
                  </a:lnTo>
                  <a:lnTo>
                    <a:pt x="1191" y="342"/>
                  </a:lnTo>
                  <a:lnTo>
                    <a:pt x="1193" y="342"/>
                  </a:lnTo>
                  <a:lnTo>
                    <a:pt x="1193" y="344"/>
                  </a:lnTo>
                  <a:lnTo>
                    <a:pt x="1195" y="344"/>
                  </a:lnTo>
                  <a:lnTo>
                    <a:pt x="1195" y="347"/>
                  </a:lnTo>
                  <a:lnTo>
                    <a:pt x="1195" y="349"/>
                  </a:lnTo>
                  <a:lnTo>
                    <a:pt x="1198" y="349"/>
                  </a:lnTo>
                  <a:lnTo>
                    <a:pt x="1198" y="351"/>
                  </a:lnTo>
                  <a:lnTo>
                    <a:pt x="1200" y="351"/>
                  </a:lnTo>
                  <a:lnTo>
                    <a:pt x="1200" y="354"/>
                  </a:lnTo>
                  <a:lnTo>
                    <a:pt x="1200" y="356"/>
                  </a:lnTo>
                  <a:lnTo>
                    <a:pt x="1203" y="356"/>
                  </a:lnTo>
                  <a:lnTo>
                    <a:pt x="1203" y="358"/>
                  </a:lnTo>
                  <a:lnTo>
                    <a:pt x="1205" y="361"/>
                  </a:lnTo>
                  <a:lnTo>
                    <a:pt x="1207" y="363"/>
                  </a:lnTo>
                  <a:lnTo>
                    <a:pt x="1210" y="366"/>
                  </a:lnTo>
                  <a:lnTo>
                    <a:pt x="1212" y="366"/>
                  </a:lnTo>
                  <a:lnTo>
                    <a:pt x="1212" y="368"/>
                  </a:lnTo>
                  <a:lnTo>
                    <a:pt x="1214" y="368"/>
                  </a:lnTo>
                  <a:lnTo>
                    <a:pt x="1217" y="370"/>
                  </a:lnTo>
                  <a:lnTo>
                    <a:pt x="1219" y="370"/>
                  </a:lnTo>
                  <a:lnTo>
                    <a:pt x="1219" y="373"/>
                  </a:lnTo>
                  <a:lnTo>
                    <a:pt x="1222" y="373"/>
                  </a:lnTo>
                  <a:lnTo>
                    <a:pt x="1222" y="375"/>
                  </a:lnTo>
                  <a:lnTo>
                    <a:pt x="1224" y="375"/>
                  </a:lnTo>
                  <a:lnTo>
                    <a:pt x="1226" y="377"/>
                  </a:lnTo>
                  <a:lnTo>
                    <a:pt x="1229" y="380"/>
                  </a:lnTo>
                  <a:lnTo>
                    <a:pt x="1231" y="380"/>
                  </a:lnTo>
                  <a:lnTo>
                    <a:pt x="1231" y="382"/>
                  </a:lnTo>
                  <a:lnTo>
                    <a:pt x="1233" y="382"/>
                  </a:lnTo>
                  <a:lnTo>
                    <a:pt x="1233" y="385"/>
                  </a:lnTo>
                  <a:lnTo>
                    <a:pt x="1233" y="382"/>
                  </a:lnTo>
                  <a:lnTo>
                    <a:pt x="1233" y="385"/>
                  </a:lnTo>
                  <a:lnTo>
                    <a:pt x="1236" y="385"/>
                  </a:lnTo>
                  <a:lnTo>
                    <a:pt x="1238" y="385"/>
                  </a:lnTo>
                  <a:lnTo>
                    <a:pt x="1240" y="385"/>
                  </a:lnTo>
                  <a:lnTo>
                    <a:pt x="1240" y="387"/>
                  </a:lnTo>
                  <a:lnTo>
                    <a:pt x="1240" y="385"/>
                  </a:lnTo>
                  <a:lnTo>
                    <a:pt x="1243" y="387"/>
                  </a:lnTo>
                  <a:lnTo>
                    <a:pt x="1245" y="387"/>
                  </a:lnTo>
                  <a:lnTo>
                    <a:pt x="1248" y="387"/>
                  </a:lnTo>
                  <a:lnTo>
                    <a:pt x="1248" y="389"/>
                  </a:lnTo>
                  <a:lnTo>
                    <a:pt x="1250" y="389"/>
                  </a:lnTo>
                  <a:lnTo>
                    <a:pt x="1252" y="389"/>
                  </a:lnTo>
                  <a:lnTo>
                    <a:pt x="1252" y="392"/>
                  </a:lnTo>
                  <a:lnTo>
                    <a:pt x="1250" y="392"/>
                  </a:lnTo>
                  <a:lnTo>
                    <a:pt x="1248" y="392"/>
                  </a:lnTo>
                  <a:lnTo>
                    <a:pt x="1250" y="392"/>
                  </a:lnTo>
                  <a:lnTo>
                    <a:pt x="1250" y="394"/>
                  </a:lnTo>
                  <a:lnTo>
                    <a:pt x="1248" y="394"/>
                  </a:lnTo>
                  <a:lnTo>
                    <a:pt x="1248" y="396"/>
                  </a:lnTo>
                  <a:lnTo>
                    <a:pt x="1250" y="396"/>
                  </a:lnTo>
                  <a:lnTo>
                    <a:pt x="1248" y="396"/>
                  </a:lnTo>
                  <a:lnTo>
                    <a:pt x="1248" y="399"/>
                  </a:lnTo>
                  <a:lnTo>
                    <a:pt x="1245" y="399"/>
                  </a:lnTo>
                  <a:lnTo>
                    <a:pt x="1248" y="399"/>
                  </a:lnTo>
                  <a:lnTo>
                    <a:pt x="1245" y="399"/>
                  </a:lnTo>
                  <a:lnTo>
                    <a:pt x="1243" y="399"/>
                  </a:lnTo>
                  <a:lnTo>
                    <a:pt x="1240" y="399"/>
                  </a:lnTo>
                  <a:lnTo>
                    <a:pt x="1240" y="396"/>
                  </a:lnTo>
                  <a:lnTo>
                    <a:pt x="1238" y="396"/>
                  </a:lnTo>
                  <a:lnTo>
                    <a:pt x="1236" y="396"/>
                  </a:lnTo>
                  <a:lnTo>
                    <a:pt x="1233" y="396"/>
                  </a:lnTo>
                  <a:lnTo>
                    <a:pt x="1233" y="394"/>
                  </a:lnTo>
                  <a:lnTo>
                    <a:pt x="1233" y="396"/>
                  </a:lnTo>
                  <a:lnTo>
                    <a:pt x="1231" y="396"/>
                  </a:lnTo>
                  <a:lnTo>
                    <a:pt x="1233" y="396"/>
                  </a:lnTo>
                  <a:lnTo>
                    <a:pt x="1231" y="396"/>
                  </a:lnTo>
                  <a:lnTo>
                    <a:pt x="1229" y="396"/>
                  </a:lnTo>
                  <a:lnTo>
                    <a:pt x="1229" y="394"/>
                  </a:lnTo>
                  <a:lnTo>
                    <a:pt x="1226" y="394"/>
                  </a:lnTo>
                  <a:lnTo>
                    <a:pt x="1224" y="394"/>
                  </a:lnTo>
                  <a:lnTo>
                    <a:pt x="1226" y="394"/>
                  </a:lnTo>
                  <a:lnTo>
                    <a:pt x="1226" y="396"/>
                  </a:lnTo>
                  <a:lnTo>
                    <a:pt x="1229" y="396"/>
                  </a:lnTo>
                  <a:lnTo>
                    <a:pt x="1231" y="396"/>
                  </a:lnTo>
                  <a:lnTo>
                    <a:pt x="1231" y="399"/>
                  </a:lnTo>
                  <a:lnTo>
                    <a:pt x="1233" y="399"/>
                  </a:lnTo>
                  <a:lnTo>
                    <a:pt x="1236" y="399"/>
                  </a:lnTo>
                  <a:lnTo>
                    <a:pt x="1236" y="396"/>
                  </a:lnTo>
                  <a:lnTo>
                    <a:pt x="1238" y="396"/>
                  </a:lnTo>
                  <a:lnTo>
                    <a:pt x="1238" y="399"/>
                  </a:lnTo>
                  <a:lnTo>
                    <a:pt x="1240" y="399"/>
                  </a:lnTo>
                  <a:lnTo>
                    <a:pt x="1238" y="399"/>
                  </a:lnTo>
                  <a:lnTo>
                    <a:pt x="1240" y="399"/>
                  </a:lnTo>
                  <a:lnTo>
                    <a:pt x="1240" y="401"/>
                  </a:lnTo>
                  <a:lnTo>
                    <a:pt x="1243" y="401"/>
                  </a:lnTo>
                  <a:lnTo>
                    <a:pt x="1240" y="401"/>
                  </a:lnTo>
                  <a:lnTo>
                    <a:pt x="1238" y="401"/>
                  </a:lnTo>
                  <a:lnTo>
                    <a:pt x="1236" y="401"/>
                  </a:lnTo>
                  <a:lnTo>
                    <a:pt x="1238" y="401"/>
                  </a:lnTo>
                  <a:lnTo>
                    <a:pt x="1236" y="401"/>
                  </a:lnTo>
                  <a:lnTo>
                    <a:pt x="1233" y="401"/>
                  </a:lnTo>
                  <a:lnTo>
                    <a:pt x="1231" y="399"/>
                  </a:lnTo>
                  <a:lnTo>
                    <a:pt x="1231" y="401"/>
                  </a:lnTo>
                  <a:lnTo>
                    <a:pt x="1233" y="401"/>
                  </a:lnTo>
                  <a:lnTo>
                    <a:pt x="1231" y="401"/>
                  </a:lnTo>
                  <a:lnTo>
                    <a:pt x="1231" y="399"/>
                  </a:lnTo>
                  <a:lnTo>
                    <a:pt x="1229" y="399"/>
                  </a:lnTo>
                  <a:lnTo>
                    <a:pt x="1229" y="401"/>
                  </a:lnTo>
                  <a:lnTo>
                    <a:pt x="1231" y="401"/>
                  </a:lnTo>
                  <a:lnTo>
                    <a:pt x="1233" y="401"/>
                  </a:lnTo>
                  <a:lnTo>
                    <a:pt x="1236" y="401"/>
                  </a:lnTo>
                  <a:lnTo>
                    <a:pt x="1233" y="401"/>
                  </a:lnTo>
                  <a:lnTo>
                    <a:pt x="1236" y="401"/>
                  </a:lnTo>
                  <a:lnTo>
                    <a:pt x="1233" y="401"/>
                  </a:lnTo>
                  <a:lnTo>
                    <a:pt x="1236" y="404"/>
                  </a:lnTo>
                  <a:lnTo>
                    <a:pt x="1236" y="401"/>
                  </a:lnTo>
                  <a:lnTo>
                    <a:pt x="1236" y="404"/>
                  </a:lnTo>
                  <a:lnTo>
                    <a:pt x="1238" y="404"/>
                  </a:lnTo>
                  <a:lnTo>
                    <a:pt x="1240" y="404"/>
                  </a:lnTo>
                  <a:lnTo>
                    <a:pt x="1238" y="404"/>
                  </a:lnTo>
                  <a:lnTo>
                    <a:pt x="1240" y="406"/>
                  </a:lnTo>
                  <a:lnTo>
                    <a:pt x="1238" y="406"/>
                  </a:lnTo>
                  <a:lnTo>
                    <a:pt x="1238" y="404"/>
                  </a:lnTo>
                  <a:lnTo>
                    <a:pt x="1236" y="404"/>
                  </a:lnTo>
                  <a:lnTo>
                    <a:pt x="1233" y="404"/>
                  </a:lnTo>
                  <a:lnTo>
                    <a:pt x="1236" y="404"/>
                  </a:lnTo>
                  <a:lnTo>
                    <a:pt x="1236" y="406"/>
                  </a:lnTo>
                  <a:lnTo>
                    <a:pt x="1238" y="406"/>
                  </a:lnTo>
                  <a:lnTo>
                    <a:pt x="1236" y="406"/>
                  </a:lnTo>
                  <a:lnTo>
                    <a:pt x="1233" y="406"/>
                  </a:lnTo>
                  <a:lnTo>
                    <a:pt x="1233" y="404"/>
                  </a:lnTo>
                  <a:lnTo>
                    <a:pt x="1231" y="406"/>
                  </a:lnTo>
                  <a:lnTo>
                    <a:pt x="1231" y="404"/>
                  </a:lnTo>
                  <a:lnTo>
                    <a:pt x="1229" y="404"/>
                  </a:lnTo>
                  <a:lnTo>
                    <a:pt x="1229" y="401"/>
                  </a:lnTo>
                  <a:lnTo>
                    <a:pt x="1229" y="404"/>
                  </a:lnTo>
                  <a:lnTo>
                    <a:pt x="1231" y="404"/>
                  </a:lnTo>
                  <a:lnTo>
                    <a:pt x="1231" y="401"/>
                  </a:lnTo>
                  <a:lnTo>
                    <a:pt x="1229" y="401"/>
                  </a:lnTo>
                  <a:lnTo>
                    <a:pt x="1231" y="401"/>
                  </a:lnTo>
                  <a:lnTo>
                    <a:pt x="1229" y="401"/>
                  </a:lnTo>
                  <a:lnTo>
                    <a:pt x="1226" y="401"/>
                  </a:lnTo>
                  <a:lnTo>
                    <a:pt x="1226" y="399"/>
                  </a:lnTo>
                  <a:lnTo>
                    <a:pt x="1229" y="399"/>
                  </a:lnTo>
                  <a:lnTo>
                    <a:pt x="1226" y="399"/>
                  </a:lnTo>
                  <a:lnTo>
                    <a:pt x="1226" y="396"/>
                  </a:lnTo>
                  <a:lnTo>
                    <a:pt x="1224" y="399"/>
                  </a:lnTo>
                  <a:lnTo>
                    <a:pt x="1224" y="396"/>
                  </a:lnTo>
                  <a:lnTo>
                    <a:pt x="1222" y="396"/>
                  </a:lnTo>
                  <a:lnTo>
                    <a:pt x="1222" y="394"/>
                  </a:lnTo>
                  <a:lnTo>
                    <a:pt x="1219" y="394"/>
                  </a:lnTo>
                  <a:lnTo>
                    <a:pt x="1219" y="396"/>
                  </a:lnTo>
                  <a:lnTo>
                    <a:pt x="1219" y="394"/>
                  </a:lnTo>
                  <a:lnTo>
                    <a:pt x="1219" y="396"/>
                  </a:lnTo>
                  <a:lnTo>
                    <a:pt x="1219" y="394"/>
                  </a:lnTo>
                  <a:lnTo>
                    <a:pt x="1219" y="396"/>
                  </a:lnTo>
                  <a:lnTo>
                    <a:pt x="1222" y="396"/>
                  </a:lnTo>
                  <a:lnTo>
                    <a:pt x="1219" y="396"/>
                  </a:lnTo>
                  <a:lnTo>
                    <a:pt x="1222" y="396"/>
                  </a:lnTo>
                  <a:lnTo>
                    <a:pt x="1222" y="399"/>
                  </a:lnTo>
                  <a:lnTo>
                    <a:pt x="1222" y="396"/>
                  </a:lnTo>
                  <a:lnTo>
                    <a:pt x="1222" y="399"/>
                  </a:lnTo>
                  <a:lnTo>
                    <a:pt x="1219" y="399"/>
                  </a:lnTo>
                  <a:lnTo>
                    <a:pt x="1219" y="396"/>
                  </a:lnTo>
                  <a:lnTo>
                    <a:pt x="1217" y="396"/>
                  </a:lnTo>
                  <a:lnTo>
                    <a:pt x="1217" y="394"/>
                  </a:lnTo>
                  <a:lnTo>
                    <a:pt x="1217" y="392"/>
                  </a:lnTo>
                  <a:lnTo>
                    <a:pt x="1219" y="392"/>
                  </a:lnTo>
                  <a:lnTo>
                    <a:pt x="1219" y="389"/>
                  </a:lnTo>
                  <a:lnTo>
                    <a:pt x="1217" y="389"/>
                  </a:lnTo>
                  <a:lnTo>
                    <a:pt x="1217" y="392"/>
                  </a:lnTo>
                  <a:lnTo>
                    <a:pt x="1214" y="392"/>
                  </a:lnTo>
                  <a:lnTo>
                    <a:pt x="1217" y="392"/>
                  </a:lnTo>
                  <a:lnTo>
                    <a:pt x="1214" y="392"/>
                  </a:lnTo>
                  <a:lnTo>
                    <a:pt x="1212" y="392"/>
                  </a:lnTo>
                  <a:lnTo>
                    <a:pt x="1210" y="392"/>
                  </a:lnTo>
                  <a:lnTo>
                    <a:pt x="1212" y="392"/>
                  </a:lnTo>
                  <a:lnTo>
                    <a:pt x="1210" y="392"/>
                  </a:lnTo>
                  <a:lnTo>
                    <a:pt x="1207" y="392"/>
                  </a:lnTo>
                  <a:lnTo>
                    <a:pt x="1207" y="389"/>
                  </a:lnTo>
                  <a:lnTo>
                    <a:pt x="1207" y="392"/>
                  </a:lnTo>
                  <a:lnTo>
                    <a:pt x="1205" y="392"/>
                  </a:lnTo>
                  <a:lnTo>
                    <a:pt x="1207" y="392"/>
                  </a:lnTo>
                  <a:lnTo>
                    <a:pt x="1210" y="392"/>
                  </a:lnTo>
                  <a:lnTo>
                    <a:pt x="1210" y="394"/>
                  </a:lnTo>
                  <a:lnTo>
                    <a:pt x="1207" y="394"/>
                  </a:lnTo>
                  <a:lnTo>
                    <a:pt x="1207" y="392"/>
                  </a:lnTo>
                  <a:lnTo>
                    <a:pt x="1207" y="394"/>
                  </a:lnTo>
                  <a:lnTo>
                    <a:pt x="1205" y="394"/>
                  </a:lnTo>
                  <a:lnTo>
                    <a:pt x="1207" y="394"/>
                  </a:lnTo>
                  <a:lnTo>
                    <a:pt x="1210" y="394"/>
                  </a:lnTo>
                  <a:lnTo>
                    <a:pt x="1210" y="396"/>
                  </a:lnTo>
                  <a:lnTo>
                    <a:pt x="1207" y="396"/>
                  </a:lnTo>
                  <a:lnTo>
                    <a:pt x="1210" y="396"/>
                  </a:lnTo>
                  <a:lnTo>
                    <a:pt x="1212" y="396"/>
                  </a:lnTo>
                  <a:lnTo>
                    <a:pt x="1214" y="396"/>
                  </a:lnTo>
                  <a:lnTo>
                    <a:pt x="1212" y="396"/>
                  </a:lnTo>
                  <a:lnTo>
                    <a:pt x="1212" y="394"/>
                  </a:lnTo>
                  <a:lnTo>
                    <a:pt x="1214" y="394"/>
                  </a:lnTo>
                  <a:lnTo>
                    <a:pt x="1214" y="396"/>
                  </a:lnTo>
                  <a:lnTo>
                    <a:pt x="1217" y="396"/>
                  </a:lnTo>
                  <a:lnTo>
                    <a:pt x="1214" y="396"/>
                  </a:lnTo>
                  <a:lnTo>
                    <a:pt x="1214" y="399"/>
                  </a:lnTo>
                  <a:lnTo>
                    <a:pt x="1217" y="399"/>
                  </a:lnTo>
                  <a:lnTo>
                    <a:pt x="1219" y="399"/>
                  </a:lnTo>
                  <a:lnTo>
                    <a:pt x="1217" y="399"/>
                  </a:lnTo>
                  <a:lnTo>
                    <a:pt x="1214" y="399"/>
                  </a:lnTo>
                  <a:lnTo>
                    <a:pt x="1217" y="399"/>
                  </a:lnTo>
                  <a:lnTo>
                    <a:pt x="1219" y="399"/>
                  </a:lnTo>
                  <a:lnTo>
                    <a:pt x="1219" y="401"/>
                  </a:lnTo>
                  <a:lnTo>
                    <a:pt x="1222" y="401"/>
                  </a:lnTo>
                  <a:lnTo>
                    <a:pt x="1219" y="401"/>
                  </a:lnTo>
                  <a:lnTo>
                    <a:pt x="1222" y="401"/>
                  </a:lnTo>
                  <a:lnTo>
                    <a:pt x="1219" y="401"/>
                  </a:lnTo>
                  <a:lnTo>
                    <a:pt x="1222" y="401"/>
                  </a:lnTo>
                  <a:lnTo>
                    <a:pt x="1219" y="401"/>
                  </a:lnTo>
                  <a:lnTo>
                    <a:pt x="1219" y="399"/>
                  </a:lnTo>
                  <a:lnTo>
                    <a:pt x="1219" y="401"/>
                  </a:lnTo>
                  <a:lnTo>
                    <a:pt x="1219" y="399"/>
                  </a:lnTo>
                  <a:lnTo>
                    <a:pt x="1217" y="399"/>
                  </a:lnTo>
                  <a:lnTo>
                    <a:pt x="1217" y="401"/>
                  </a:lnTo>
                  <a:lnTo>
                    <a:pt x="1214" y="401"/>
                  </a:lnTo>
                  <a:lnTo>
                    <a:pt x="1212" y="401"/>
                  </a:lnTo>
                  <a:lnTo>
                    <a:pt x="1214" y="401"/>
                  </a:lnTo>
                  <a:lnTo>
                    <a:pt x="1212" y="401"/>
                  </a:lnTo>
                  <a:lnTo>
                    <a:pt x="1212" y="399"/>
                  </a:lnTo>
                  <a:lnTo>
                    <a:pt x="1210" y="399"/>
                  </a:lnTo>
                  <a:lnTo>
                    <a:pt x="1207" y="399"/>
                  </a:lnTo>
                  <a:lnTo>
                    <a:pt x="1210" y="399"/>
                  </a:lnTo>
                  <a:lnTo>
                    <a:pt x="1207" y="399"/>
                  </a:lnTo>
                  <a:lnTo>
                    <a:pt x="1207" y="396"/>
                  </a:lnTo>
                  <a:lnTo>
                    <a:pt x="1205" y="396"/>
                  </a:lnTo>
                  <a:lnTo>
                    <a:pt x="1207" y="396"/>
                  </a:lnTo>
                  <a:lnTo>
                    <a:pt x="1205" y="396"/>
                  </a:lnTo>
                  <a:lnTo>
                    <a:pt x="1207" y="396"/>
                  </a:lnTo>
                  <a:lnTo>
                    <a:pt x="1205" y="396"/>
                  </a:lnTo>
                  <a:lnTo>
                    <a:pt x="1203" y="396"/>
                  </a:lnTo>
                  <a:lnTo>
                    <a:pt x="1205" y="396"/>
                  </a:lnTo>
                  <a:lnTo>
                    <a:pt x="1203" y="396"/>
                  </a:lnTo>
                  <a:lnTo>
                    <a:pt x="1200" y="396"/>
                  </a:lnTo>
                  <a:lnTo>
                    <a:pt x="1200" y="394"/>
                  </a:lnTo>
                  <a:lnTo>
                    <a:pt x="1198" y="394"/>
                  </a:lnTo>
                  <a:lnTo>
                    <a:pt x="1200" y="394"/>
                  </a:lnTo>
                  <a:lnTo>
                    <a:pt x="1200" y="396"/>
                  </a:lnTo>
                  <a:lnTo>
                    <a:pt x="1203" y="396"/>
                  </a:lnTo>
                  <a:lnTo>
                    <a:pt x="1200" y="396"/>
                  </a:lnTo>
                  <a:lnTo>
                    <a:pt x="1203" y="396"/>
                  </a:lnTo>
                  <a:lnTo>
                    <a:pt x="1205" y="396"/>
                  </a:lnTo>
                  <a:lnTo>
                    <a:pt x="1205" y="399"/>
                  </a:lnTo>
                  <a:lnTo>
                    <a:pt x="1203" y="399"/>
                  </a:lnTo>
                  <a:lnTo>
                    <a:pt x="1200" y="399"/>
                  </a:lnTo>
                  <a:lnTo>
                    <a:pt x="1200" y="396"/>
                  </a:lnTo>
                  <a:lnTo>
                    <a:pt x="1198" y="396"/>
                  </a:lnTo>
                  <a:lnTo>
                    <a:pt x="1195" y="394"/>
                  </a:lnTo>
                  <a:lnTo>
                    <a:pt x="1193" y="394"/>
                  </a:lnTo>
                  <a:lnTo>
                    <a:pt x="1195" y="394"/>
                  </a:lnTo>
                  <a:lnTo>
                    <a:pt x="1195" y="396"/>
                  </a:lnTo>
                  <a:lnTo>
                    <a:pt x="1198" y="399"/>
                  </a:lnTo>
                  <a:lnTo>
                    <a:pt x="1200" y="399"/>
                  </a:lnTo>
                  <a:lnTo>
                    <a:pt x="1198" y="399"/>
                  </a:lnTo>
                  <a:lnTo>
                    <a:pt x="1200" y="399"/>
                  </a:lnTo>
                  <a:lnTo>
                    <a:pt x="1200" y="401"/>
                  </a:lnTo>
                  <a:lnTo>
                    <a:pt x="1198" y="401"/>
                  </a:lnTo>
                  <a:lnTo>
                    <a:pt x="1198" y="399"/>
                  </a:lnTo>
                  <a:lnTo>
                    <a:pt x="1195" y="399"/>
                  </a:lnTo>
                  <a:lnTo>
                    <a:pt x="1195" y="401"/>
                  </a:lnTo>
                  <a:lnTo>
                    <a:pt x="1195" y="399"/>
                  </a:lnTo>
                  <a:lnTo>
                    <a:pt x="1193" y="399"/>
                  </a:lnTo>
                  <a:lnTo>
                    <a:pt x="1195" y="399"/>
                  </a:lnTo>
                  <a:lnTo>
                    <a:pt x="1193" y="399"/>
                  </a:lnTo>
                  <a:lnTo>
                    <a:pt x="1195" y="399"/>
                  </a:lnTo>
                  <a:lnTo>
                    <a:pt x="1193" y="399"/>
                  </a:lnTo>
                  <a:lnTo>
                    <a:pt x="1191" y="399"/>
                  </a:lnTo>
                  <a:lnTo>
                    <a:pt x="1188" y="399"/>
                  </a:lnTo>
                  <a:lnTo>
                    <a:pt x="1188" y="396"/>
                  </a:lnTo>
                  <a:lnTo>
                    <a:pt x="1191" y="396"/>
                  </a:lnTo>
                  <a:lnTo>
                    <a:pt x="1191" y="399"/>
                  </a:lnTo>
                  <a:lnTo>
                    <a:pt x="1191" y="396"/>
                  </a:lnTo>
                  <a:lnTo>
                    <a:pt x="1188" y="396"/>
                  </a:lnTo>
                  <a:lnTo>
                    <a:pt x="1186" y="394"/>
                  </a:lnTo>
                  <a:lnTo>
                    <a:pt x="1184" y="394"/>
                  </a:lnTo>
                  <a:lnTo>
                    <a:pt x="1181" y="392"/>
                  </a:lnTo>
                  <a:lnTo>
                    <a:pt x="1184" y="392"/>
                  </a:lnTo>
                  <a:lnTo>
                    <a:pt x="1181" y="392"/>
                  </a:lnTo>
                  <a:lnTo>
                    <a:pt x="1181" y="389"/>
                  </a:lnTo>
                  <a:lnTo>
                    <a:pt x="1181" y="392"/>
                  </a:lnTo>
                  <a:lnTo>
                    <a:pt x="1179" y="392"/>
                  </a:lnTo>
                  <a:lnTo>
                    <a:pt x="1179" y="394"/>
                  </a:lnTo>
                  <a:lnTo>
                    <a:pt x="1176" y="392"/>
                  </a:lnTo>
                  <a:lnTo>
                    <a:pt x="1174" y="392"/>
                  </a:lnTo>
                  <a:lnTo>
                    <a:pt x="1172" y="392"/>
                  </a:lnTo>
                  <a:lnTo>
                    <a:pt x="1172" y="389"/>
                  </a:lnTo>
                  <a:lnTo>
                    <a:pt x="1172" y="392"/>
                  </a:lnTo>
                  <a:lnTo>
                    <a:pt x="1172" y="389"/>
                  </a:lnTo>
                  <a:lnTo>
                    <a:pt x="1169" y="389"/>
                  </a:lnTo>
                  <a:lnTo>
                    <a:pt x="1172" y="389"/>
                  </a:lnTo>
                  <a:lnTo>
                    <a:pt x="1172" y="387"/>
                  </a:lnTo>
                  <a:lnTo>
                    <a:pt x="1169" y="387"/>
                  </a:lnTo>
                  <a:lnTo>
                    <a:pt x="1172" y="387"/>
                  </a:lnTo>
                  <a:lnTo>
                    <a:pt x="1172" y="389"/>
                  </a:lnTo>
                  <a:lnTo>
                    <a:pt x="1169" y="389"/>
                  </a:lnTo>
                  <a:lnTo>
                    <a:pt x="1167" y="389"/>
                  </a:lnTo>
                  <a:lnTo>
                    <a:pt x="1165" y="389"/>
                  </a:lnTo>
                  <a:lnTo>
                    <a:pt x="1167" y="389"/>
                  </a:lnTo>
                  <a:lnTo>
                    <a:pt x="1169" y="392"/>
                  </a:lnTo>
                  <a:lnTo>
                    <a:pt x="1172" y="392"/>
                  </a:lnTo>
                  <a:lnTo>
                    <a:pt x="1174" y="392"/>
                  </a:lnTo>
                  <a:lnTo>
                    <a:pt x="1172" y="392"/>
                  </a:lnTo>
                  <a:lnTo>
                    <a:pt x="1172" y="394"/>
                  </a:lnTo>
                  <a:lnTo>
                    <a:pt x="1174" y="392"/>
                  </a:lnTo>
                  <a:lnTo>
                    <a:pt x="1176" y="392"/>
                  </a:lnTo>
                  <a:lnTo>
                    <a:pt x="1176" y="394"/>
                  </a:lnTo>
                  <a:lnTo>
                    <a:pt x="1179" y="394"/>
                  </a:lnTo>
                  <a:lnTo>
                    <a:pt x="1181" y="394"/>
                  </a:lnTo>
                  <a:lnTo>
                    <a:pt x="1184" y="396"/>
                  </a:lnTo>
                  <a:lnTo>
                    <a:pt x="1181" y="396"/>
                  </a:lnTo>
                  <a:lnTo>
                    <a:pt x="1181" y="394"/>
                  </a:lnTo>
                  <a:lnTo>
                    <a:pt x="1179" y="394"/>
                  </a:lnTo>
                  <a:lnTo>
                    <a:pt x="1181" y="396"/>
                  </a:lnTo>
                  <a:lnTo>
                    <a:pt x="1179" y="394"/>
                  </a:lnTo>
                  <a:lnTo>
                    <a:pt x="1181" y="394"/>
                  </a:lnTo>
                  <a:lnTo>
                    <a:pt x="1181" y="396"/>
                  </a:lnTo>
                  <a:lnTo>
                    <a:pt x="1179" y="396"/>
                  </a:lnTo>
                  <a:lnTo>
                    <a:pt x="1179" y="394"/>
                  </a:lnTo>
                  <a:lnTo>
                    <a:pt x="1176" y="394"/>
                  </a:lnTo>
                  <a:lnTo>
                    <a:pt x="1174" y="394"/>
                  </a:lnTo>
                  <a:lnTo>
                    <a:pt x="1174" y="396"/>
                  </a:lnTo>
                  <a:lnTo>
                    <a:pt x="1176" y="396"/>
                  </a:lnTo>
                  <a:lnTo>
                    <a:pt x="1176" y="399"/>
                  </a:lnTo>
                  <a:lnTo>
                    <a:pt x="1176" y="401"/>
                  </a:lnTo>
                  <a:lnTo>
                    <a:pt x="1174" y="401"/>
                  </a:lnTo>
                  <a:lnTo>
                    <a:pt x="1172" y="401"/>
                  </a:lnTo>
                  <a:lnTo>
                    <a:pt x="1169" y="401"/>
                  </a:lnTo>
                  <a:lnTo>
                    <a:pt x="1169" y="399"/>
                  </a:lnTo>
                  <a:lnTo>
                    <a:pt x="1167" y="399"/>
                  </a:lnTo>
                  <a:lnTo>
                    <a:pt x="1167" y="396"/>
                  </a:lnTo>
                  <a:lnTo>
                    <a:pt x="1165" y="396"/>
                  </a:lnTo>
                  <a:lnTo>
                    <a:pt x="1162" y="396"/>
                  </a:lnTo>
                  <a:lnTo>
                    <a:pt x="1162" y="394"/>
                  </a:lnTo>
                  <a:lnTo>
                    <a:pt x="1160" y="394"/>
                  </a:lnTo>
                  <a:lnTo>
                    <a:pt x="1162" y="394"/>
                  </a:lnTo>
                  <a:lnTo>
                    <a:pt x="1162" y="396"/>
                  </a:lnTo>
                  <a:lnTo>
                    <a:pt x="1160" y="396"/>
                  </a:lnTo>
                  <a:lnTo>
                    <a:pt x="1162" y="396"/>
                  </a:lnTo>
                  <a:lnTo>
                    <a:pt x="1160" y="396"/>
                  </a:lnTo>
                  <a:lnTo>
                    <a:pt x="1160" y="394"/>
                  </a:lnTo>
                  <a:lnTo>
                    <a:pt x="1157" y="394"/>
                  </a:lnTo>
                  <a:lnTo>
                    <a:pt x="1157" y="392"/>
                  </a:lnTo>
                  <a:lnTo>
                    <a:pt x="1157" y="389"/>
                  </a:lnTo>
                  <a:lnTo>
                    <a:pt x="1155" y="389"/>
                  </a:lnTo>
                  <a:lnTo>
                    <a:pt x="1153" y="389"/>
                  </a:lnTo>
                  <a:lnTo>
                    <a:pt x="1153" y="387"/>
                  </a:lnTo>
                  <a:lnTo>
                    <a:pt x="1150" y="387"/>
                  </a:lnTo>
                  <a:lnTo>
                    <a:pt x="1150" y="385"/>
                  </a:lnTo>
                  <a:lnTo>
                    <a:pt x="1153" y="385"/>
                  </a:lnTo>
                  <a:lnTo>
                    <a:pt x="1150" y="385"/>
                  </a:lnTo>
                  <a:lnTo>
                    <a:pt x="1150" y="387"/>
                  </a:lnTo>
                  <a:lnTo>
                    <a:pt x="1150" y="389"/>
                  </a:lnTo>
                  <a:lnTo>
                    <a:pt x="1153" y="389"/>
                  </a:lnTo>
                  <a:lnTo>
                    <a:pt x="1150" y="389"/>
                  </a:lnTo>
                  <a:lnTo>
                    <a:pt x="1150" y="387"/>
                  </a:lnTo>
                  <a:lnTo>
                    <a:pt x="1150" y="389"/>
                  </a:lnTo>
                  <a:lnTo>
                    <a:pt x="1150" y="387"/>
                  </a:lnTo>
                  <a:lnTo>
                    <a:pt x="1148" y="387"/>
                  </a:lnTo>
                  <a:lnTo>
                    <a:pt x="1150" y="387"/>
                  </a:lnTo>
                  <a:lnTo>
                    <a:pt x="1150" y="389"/>
                  </a:lnTo>
                  <a:lnTo>
                    <a:pt x="1150" y="392"/>
                  </a:lnTo>
                  <a:lnTo>
                    <a:pt x="1150" y="389"/>
                  </a:lnTo>
                  <a:lnTo>
                    <a:pt x="1150" y="392"/>
                  </a:lnTo>
                  <a:lnTo>
                    <a:pt x="1148" y="392"/>
                  </a:lnTo>
                  <a:lnTo>
                    <a:pt x="1148" y="389"/>
                  </a:lnTo>
                  <a:lnTo>
                    <a:pt x="1148" y="392"/>
                  </a:lnTo>
                  <a:lnTo>
                    <a:pt x="1150" y="392"/>
                  </a:lnTo>
                  <a:lnTo>
                    <a:pt x="1148" y="392"/>
                  </a:lnTo>
                  <a:lnTo>
                    <a:pt x="1150" y="392"/>
                  </a:lnTo>
                  <a:lnTo>
                    <a:pt x="1153" y="392"/>
                  </a:lnTo>
                  <a:lnTo>
                    <a:pt x="1153" y="394"/>
                  </a:lnTo>
                  <a:lnTo>
                    <a:pt x="1155" y="394"/>
                  </a:lnTo>
                  <a:lnTo>
                    <a:pt x="1153" y="394"/>
                  </a:lnTo>
                  <a:lnTo>
                    <a:pt x="1153" y="392"/>
                  </a:lnTo>
                  <a:lnTo>
                    <a:pt x="1150" y="392"/>
                  </a:lnTo>
                  <a:lnTo>
                    <a:pt x="1148" y="392"/>
                  </a:lnTo>
                  <a:lnTo>
                    <a:pt x="1146" y="389"/>
                  </a:lnTo>
                  <a:lnTo>
                    <a:pt x="1143" y="389"/>
                  </a:lnTo>
                  <a:lnTo>
                    <a:pt x="1141" y="389"/>
                  </a:lnTo>
                  <a:lnTo>
                    <a:pt x="1143" y="389"/>
                  </a:lnTo>
                  <a:lnTo>
                    <a:pt x="1141" y="389"/>
                  </a:lnTo>
                  <a:lnTo>
                    <a:pt x="1143" y="389"/>
                  </a:lnTo>
                  <a:lnTo>
                    <a:pt x="1143" y="392"/>
                  </a:lnTo>
                  <a:lnTo>
                    <a:pt x="1141" y="392"/>
                  </a:lnTo>
                  <a:lnTo>
                    <a:pt x="1138" y="392"/>
                  </a:lnTo>
                  <a:lnTo>
                    <a:pt x="1138" y="389"/>
                  </a:lnTo>
                  <a:lnTo>
                    <a:pt x="1136" y="389"/>
                  </a:lnTo>
                  <a:lnTo>
                    <a:pt x="1138" y="389"/>
                  </a:lnTo>
                  <a:lnTo>
                    <a:pt x="1136" y="389"/>
                  </a:lnTo>
                  <a:lnTo>
                    <a:pt x="1136" y="392"/>
                  </a:lnTo>
                  <a:lnTo>
                    <a:pt x="1138" y="392"/>
                  </a:lnTo>
                  <a:lnTo>
                    <a:pt x="1136" y="392"/>
                  </a:lnTo>
                  <a:lnTo>
                    <a:pt x="1134" y="392"/>
                  </a:lnTo>
                  <a:lnTo>
                    <a:pt x="1134" y="389"/>
                  </a:lnTo>
                  <a:lnTo>
                    <a:pt x="1131" y="389"/>
                  </a:lnTo>
                  <a:lnTo>
                    <a:pt x="1131" y="387"/>
                  </a:lnTo>
                  <a:lnTo>
                    <a:pt x="1131" y="385"/>
                  </a:lnTo>
                  <a:lnTo>
                    <a:pt x="1129" y="387"/>
                  </a:lnTo>
                  <a:lnTo>
                    <a:pt x="1131" y="387"/>
                  </a:lnTo>
                  <a:lnTo>
                    <a:pt x="1131" y="389"/>
                  </a:lnTo>
                  <a:lnTo>
                    <a:pt x="1129" y="389"/>
                  </a:lnTo>
                  <a:lnTo>
                    <a:pt x="1129" y="387"/>
                  </a:lnTo>
                  <a:lnTo>
                    <a:pt x="1127" y="387"/>
                  </a:lnTo>
                  <a:lnTo>
                    <a:pt x="1127" y="389"/>
                  </a:lnTo>
                  <a:lnTo>
                    <a:pt x="1127" y="387"/>
                  </a:lnTo>
                  <a:lnTo>
                    <a:pt x="1124" y="387"/>
                  </a:lnTo>
                  <a:lnTo>
                    <a:pt x="1122" y="385"/>
                  </a:lnTo>
                  <a:lnTo>
                    <a:pt x="1119" y="385"/>
                  </a:lnTo>
                  <a:lnTo>
                    <a:pt x="1119" y="382"/>
                  </a:lnTo>
                  <a:lnTo>
                    <a:pt x="1122" y="382"/>
                  </a:lnTo>
                  <a:lnTo>
                    <a:pt x="1124" y="385"/>
                  </a:lnTo>
                  <a:lnTo>
                    <a:pt x="1124" y="387"/>
                  </a:lnTo>
                  <a:lnTo>
                    <a:pt x="1127" y="387"/>
                  </a:lnTo>
                  <a:lnTo>
                    <a:pt x="1124" y="385"/>
                  </a:lnTo>
                  <a:lnTo>
                    <a:pt x="1124" y="382"/>
                  </a:lnTo>
                  <a:lnTo>
                    <a:pt x="1122" y="382"/>
                  </a:lnTo>
                  <a:lnTo>
                    <a:pt x="1124" y="382"/>
                  </a:lnTo>
                  <a:lnTo>
                    <a:pt x="1124" y="380"/>
                  </a:lnTo>
                  <a:lnTo>
                    <a:pt x="1127" y="380"/>
                  </a:lnTo>
                  <a:lnTo>
                    <a:pt x="1127" y="377"/>
                  </a:lnTo>
                  <a:lnTo>
                    <a:pt x="1124" y="377"/>
                  </a:lnTo>
                  <a:lnTo>
                    <a:pt x="1124" y="375"/>
                  </a:lnTo>
                  <a:lnTo>
                    <a:pt x="1122" y="375"/>
                  </a:lnTo>
                  <a:lnTo>
                    <a:pt x="1122" y="373"/>
                  </a:lnTo>
                  <a:lnTo>
                    <a:pt x="1119" y="373"/>
                  </a:lnTo>
                  <a:lnTo>
                    <a:pt x="1117" y="370"/>
                  </a:lnTo>
                  <a:lnTo>
                    <a:pt x="1119" y="370"/>
                  </a:lnTo>
                  <a:lnTo>
                    <a:pt x="1117" y="370"/>
                  </a:lnTo>
                  <a:lnTo>
                    <a:pt x="1119" y="370"/>
                  </a:lnTo>
                  <a:lnTo>
                    <a:pt x="1119" y="373"/>
                  </a:lnTo>
                  <a:lnTo>
                    <a:pt x="1119" y="370"/>
                  </a:lnTo>
                  <a:lnTo>
                    <a:pt x="1122" y="370"/>
                  </a:lnTo>
                  <a:lnTo>
                    <a:pt x="1122" y="373"/>
                  </a:lnTo>
                  <a:lnTo>
                    <a:pt x="1122" y="370"/>
                  </a:lnTo>
                  <a:lnTo>
                    <a:pt x="1124" y="370"/>
                  </a:lnTo>
                  <a:lnTo>
                    <a:pt x="1122" y="370"/>
                  </a:lnTo>
                  <a:lnTo>
                    <a:pt x="1124" y="370"/>
                  </a:lnTo>
                  <a:lnTo>
                    <a:pt x="1127" y="370"/>
                  </a:lnTo>
                  <a:lnTo>
                    <a:pt x="1127" y="373"/>
                  </a:lnTo>
                  <a:lnTo>
                    <a:pt x="1127" y="370"/>
                  </a:lnTo>
                  <a:lnTo>
                    <a:pt x="1124" y="370"/>
                  </a:lnTo>
                  <a:lnTo>
                    <a:pt x="1127" y="370"/>
                  </a:lnTo>
                  <a:lnTo>
                    <a:pt x="1129" y="370"/>
                  </a:lnTo>
                  <a:lnTo>
                    <a:pt x="1129" y="373"/>
                  </a:lnTo>
                  <a:lnTo>
                    <a:pt x="1131" y="373"/>
                  </a:lnTo>
                  <a:lnTo>
                    <a:pt x="1134" y="373"/>
                  </a:lnTo>
                  <a:lnTo>
                    <a:pt x="1134" y="375"/>
                  </a:lnTo>
                  <a:lnTo>
                    <a:pt x="1134" y="373"/>
                  </a:lnTo>
                  <a:lnTo>
                    <a:pt x="1131" y="373"/>
                  </a:lnTo>
                  <a:lnTo>
                    <a:pt x="1131" y="370"/>
                  </a:lnTo>
                  <a:lnTo>
                    <a:pt x="1134" y="370"/>
                  </a:lnTo>
                  <a:lnTo>
                    <a:pt x="1136" y="370"/>
                  </a:lnTo>
                  <a:lnTo>
                    <a:pt x="1138" y="370"/>
                  </a:lnTo>
                  <a:lnTo>
                    <a:pt x="1141" y="370"/>
                  </a:lnTo>
                  <a:lnTo>
                    <a:pt x="1143" y="370"/>
                  </a:lnTo>
                  <a:lnTo>
                    <a:pt x="1143" y="368"/>
                  </a:lnTo>
                  <a:lnTo>
                    <a:pt x="1141" y="368"/>
                  </a:lnTo>
                  <a:lnTo>
                    <a:pt x="1138" y="368"/>
                  </a:lnTo>
                  <a:lnTo>
                    <a:pt x="1138" y="370"/>
                  </a:lnTo>
                  <a:lnTo>
                    <a:pt x="1138" y="368"/>
                  </a:lnTo>
                  <a:lnTo>
                    <a:pt x="1136" y="368"/>
                  </a:lnTo>
                  <a:lnTo>
                    <a:pt x="1134" y="368"/>
                  </a:lnTo>
                  <a:lnTo>
                    <a:pt x="1134" y="366"/>
                  </a:lnTo>
                  <a:lnTo>
                    <a:pt x="1136" y="366"/>
                  </a:lnTo>
                  <a:lnTo>
                    <a:pt x="1138" y="366"/>
                  </a:lnTo>
                  <a:lnTo>
                    <a:pt x="1141" y="366"/>
                  </a:lnTo>
                  <a:lnTo>
                    <a:pt x="1143" y="366"/>
                  </a:lnTo>
                  <a:lnTo>
                    <a:pt x="1143" y="368"/>
                  </a:lnTo>
                  <a:lnTo>
                    <a:pt x="1146" y="368"/>
                  </a:lnTo>
                  <a:lnTo>
                    <a:pt x="1143" y="368"/>
                  </a:lnTo>
                  <a:lnTo>
                    <a:pt x="1146" y="368"/>
                  </a:lnTo>
                  <a:lnTo>
                    <a:pt x="1148" y="368"/>
                  </a:lnTo>
                  <a:lnTo>
                    <a:pt x="1148" y="370"/>
                  </a:lnTo>
                  <a:lnTo>
                    <a:pt x="1150" y="370"/>
                  </a:lnTo>
                  <a:lnTo>
                    <a:pt x="1148" y="370"/>
                  </a:lnTo>
                  <a:lnTo>
                    <a:pt x="1150" y="370"/>
                  </a:lnTo>
                  <a:lnTo>
                    <a:pt x="1148" y="370"/>
                  </a:lnTo>
                  <a:lnTo>
                    <a:pt x="1148" y="368"/>
                  </a:lnTo>
                  <a:lnTo>
                    <a:pt x="1146" y="368"/>
                  </a:lnTo>
                  <a:lnTo>
                    <a:pt x="1148" y="368"/>
                  </a:lnTo>
                  <a:lnTo>
                    <a:pt x="1146" y="366"/>
                  </a:lnTo>
                  <a:lnTo>
                    <a:pt x="1148" y="368"/>
                  </a:lnTo>
                  <a:lnTo>
                    <a:pt x="1148" y="366"/>
                  </a:lnTo>
                  <a:lnTo>
                    <a:pt x="1146" y="368"/>
                  </a:lnTo>
                  <a:lnTo>
                    <a:pt x="1143" y="368"/>
                  </a:lnTo>
                  <a:lnTo>
                    <a:pt x="1143" y="366"/>
                  </a:lnTo>
                  <a:lnTo>
                    <a:pt x="1141" y="366"/>
                  </a:lnTo>
                  <a:lnTo>
                    <a:pt x="1138" y="366"/>
                  </a:lnTo>
                  <a:lnTo>
                    <a:pt x="1138" y="363"/>
                  </a:lnTo>
                  <a:lnTo>
                    <a:pt x="1141" y="363"/>
                  </a:lnTo>
                  <a:lnTo>
                    <a:pt x="1141" y="366"/>
                  </a:lnTo>
                  <a:lnTo>
                    <a:pt x="1138" y="363"/>
                  </a:lnTo>
                  <a:lnTo>
                    <a:pt x="1138" y="361"/>
                  </a:lnTo>
                  <a:lnTo>
                    <a:pt x="1136" y="361"/>
                  </a:lnTo>
                  <a:lnTo>
                    <a:pt x="1136" y="363"/>
                  </a:lnTo>
                  <a:lnTo>
                    <a:pt x="1136" y="361"/>
                  </a:lnTo>
                  <a:lnTo>
                    <a:pt x="1136" y="363"/>
                  </a:lnTo>
                  <a:lnTo>
                    <a:pt x="1134" y="363"/>
                  </a:lnTo>
                  <a:lnTo>
                    <a:pt x="1136" y="363"/>
                  </a:lnTo>
                  <a:lnTo>
                    <a:pt x="1134" y="363"/>
                  </a:lnTo>
                  <a:lnTo>
                    <a:pt x="1134" y="366"/>
                  </a:lnTo>
                  <a:lnTo>
                    <a:pt x="1131" y="366"/>
                  </a:lnTo>
                  <a:lnTo>
                    <a:pt x="1129" y="363"/>
                  </a:lnTo>
                  <a:lnTo>
                    <a:pt x="1127" y="363"/>
                  </a:lnTo>
                  <a:lnTo>
                    <a:pt x="1129" y="363"/>
                  </a:lnTo>
                  <a:lnTo>
                    <a:pt x="1129" y="366"/>
                  </a:lnTo>
                  <a:lnTo>
                    <a:pt x="1127" y="366"/>
                  </a:lnTo>
                  <a:lnTo>
                    <a:pt x="1124" y="366"/>
                  </a:lnTo>
                  <a:lnTo>
                    <a:pt x="1127" y="366"/>
                  </a:lnTo>
                  <a:lnTo>
                    <a:pt x="1124" y="363"/>
                  </a:lnTo>
                  <a:lnTo>
                    <a:pt x="1122" y="363"/>
                  </a:lnTo>
                  <a:lnTo>
                    <a:pt x="1119" y="363"/>
                  </a:lnTo>
                  <a:lnTo>
                    <a:pt x="1122" y="363"/>
                  </a:lnTo>
                  <a:lnTo>
                    <a:pt x="1119" y="363"/>
                  </a:lnTo>
                  <a:lnTo>
                    <a:pt x="1117" y="361"/>
                  </a:lnTo>
                  <a:lnTo>
                    <a:pt x="1117" y="358"/>
                  </a:lnTo>
                  <a:lnTo>
                    <a:pt x="1117" y="361"/>
                  </a:lnTo>
                  <a:lnTo>
                    <a:pt x="1117" y="358"/>
                  </a:lnTo>
                  <a:lnTo>
                    <a:pt x="1119" y="358"/>
                  </a:lnTo>
                  <a:lnTo>
                    <a:pt x="1117" y="358"/>
                  </a:lnTo>
                  <a:lnTo>
                    <a:pt x="1115" y="358"/>
                  </a:lnTo>
                  <a:lnTo>
                    <a:pt x="1115" y="356"/>
                  </a:lnTo>
                  <a:lnTo>
                    <a:pt x="1112" y="356"/>
                  </a:lnTo>
                  <a:lnTo>
                    <a:pt x="1112" y="354"/>
                  </a:lnTo>
                  <a:lnTo>
                    <a:pt x="1112" y="351"/>
                  </a:lnTo>
                  <a:lnTo>
                    <a:pt x="1112" y="349"/>
                  </a:lnTo>
                  <a:lnTo>
                    <a:pt x="1112" y="351"/>
                  </a:lnTo>
                  <a:lnTo>
                    <a:pt x="1112" y="349"/>
                  </a:lnTo>
                  <a:lnTo>
                    <a:pt x="1110" y="349"/>
                  </a:lnTo>
                  <a:lnTo>
                    <a:pt x="1112" y="349"/>
                  </a:lnTo>
                  <a:lnTo>
                    <a:pt x="1110" y="349"/>
                  </a:lnTo>
                  <a:lnTo>
                    <a:pt x="1112" y="349"/>
                  </a:lnTo>
                  <a:lnTo>
                    <a:pt x="1112" y="347"/>
                  </a:lnTo>
                  <a:lnTo>
                    <a:pt x="1110" y="347"/>
                  </a:lnTo>
                  <a:lnTo>
                    <a:pt x="1112" y="347"/>
                  </a:lnTo>
                  <a:lnTo>
                    <a:pt x="1112" y="349"/>
                  </a:lnTo>
                  <a:lnTo>
                    <a:pt x="1112" y="347"/>
                  </a:lnTo>
                  <a:lnTo>
                    <a:pt x="1112" y="349"/>
                  </a:lnTo>
                  <a:lnTo>
                    <a:pt x="1112" y="347"/>
                  </a:lnTo>
                  <a:lnTo>
                    <a:pt x="1115" y="347"/>
                  </a:lnTo>
                  <a:lnTo>
                    <a:pt x="1112" y="347"/>
                  </a:lnTo>
                  <a:lnTo>
                    <a:pt x="1115" y="347"/>
                  </a:lnTo>
                  <a:lnTo>
                    <a:pt x="1112" y="347"/>
                  </a:lnTo>
                  <a:lnTo>
                    <a:pt x="1112" y="344"/>
                  </a:lnTo>
                  <a:lnTo>
                    <a:pt x="1115" y="344"/>
                  </a:lnTo>
                  <a:lnTo>
                    <a:pt x="1117" y="342"/>
                  </a:lnTo>
                  <a:lnTo>
                    <a:pt x="1117" y="344"/>
                  </a:lnTo>
                  <a:lnTo>
                    <a:pt x="1117" y="342"/>
                  </a:lnTo>
                  <a:lnTo>
                    <a:pt x="1115" y="342"/>
                  </a:lnTo>
                  <a:lnTo>
                    <a:pt x="1112" y="342"/>
                  </a:lnTo>
                  <a:lnTo>
                    <a:pt x="1110" y="344"/>
                  </a:lnTo>
                  <a:lnTo>
                    <a:pt x="1110" y="342"/>
                  </a:lnTo>
                  <a:lnTo>
                    <a:pt x="1110" y="344"/>
                  </a:lnTo>
                  <a:lnTo>
                    <a:pt x="1108" y="344"/>
                  </a:lnTo>
                  <a:lnTo>
                    <a:pt x="1110" y="344"/>
                  </a:lnTo>
                  <a:lnTo>
                    <a:pt x="1108" y="344"/>
                  </a:lnTo>
                  <a:lnTo>
                    <a:pt x="1110" y="344"/>
                  </a:lnTo>
                  <a:lnTo>
                    <a:pt x="1108" y="344"/>
                  </a:lnTo>
                  <a:lnTo>
                    <a:pt x="1108" y="347"/>
                  </a:lnTo>
                  <a:lnTo>
                    <a:pt x="1108" y="344"/>
                  </a:lnTo>
                  <a:lnTo>
                    <a:pt x="1108" y="347"/>
                  </a:lnTo>
                  <a:lnTo>
                    <a:pt x="1105" y="347"/>
                  </a:lnTo>
                  <a:lnTo>
                    <a:pt x="1108" y="347"/>
                  </a:lnTo>
                  <a:lnTo>
                    <a:pt x="1105" y="347"/>
                  </a:lnTo>
                  <a:lnTo>
                    <a:pt x="1105" y="349"/>
                  </a:lnTo>
                  <a:lnTo>
                    <a:pt x="1108" y="349"/>
                  </a:lnTo>
                  <a:lnTo>
                    <a:pt x="1105" y="349"/>
                  </a:lnTo>
                  <a:lnTo>
                    <a:pt x="1105" y="347"/>
                  </a:lnTo>
                  <a:lnTo>
                    <a:pt x="1103" y="347"/>
                  </a:lnTo>
                  <a:lnTo>
                    <a:pt x="1103" y="344"/>
                  </a:lnTo>
                  <a:lnTo>
                    <a:pt x="1101" y="344"/>
                  </a:lnTo>
                  <a:lnTo>
                    <a:pt x="1103" y="347"/>
                  </a:lnTo>
                  <a:lnTo>
                    <a:pt x="1101" y="347"/>
                  </a:lnTo>
                  <a:lnTo>
                    <a:pt x="1098" y="347"/>
                  </a:lnTo>
                  <a:lnTo>
                    <a:pt x="1098" y="349"/>
                  </a:lnTo>
                  <a:lnTo>
                    <a:pt x="1101" y="349"/>
                  </a:lnTo>
                  <a:lnTo>
                    <a:pt x="1103" y="351"/>
                  </a:lnTo>
                  <a:lnTo>
                    <a:pt x="1101" y="351"/>
                  </a:lnTo>
                  <a:lnTo>
                    <a:pt x="1098" y="351"/>
                  </a:lnTo>
                  <a:lnTo>
                    <a:pt x="1098" y="349"/>
                  </a:lnTo>
                  <a:lnTo>
                    <a:pt x="1098" y="351"/>
                  </a:lnTo>
                  <a:lnTo>
                    <a:pt x="1101" y="351"/>
                  </a:lnTo>
                  <a:lnTo>
                    <a:pt x="1098" y="351"/>
                  </a:lnTo>
                  <a:lnTo>
                    <a:pt x="1098" y="349"/>
                  </a:lnTo>
                  <a:lnTo>
                    <a:pt x="1098" y="347"/>
                  </a:lnTo>
                  <a:lnTo>
                    <a:pt x="1096" y="347"/>
                  </a:lnTo>
                  <a:lnTo>
                    <a:pt x="1098" y="347"/>
                  </a:lnTo>
                  <a:lnTo>
                    <a:pt x="1096" y="347"/>
                  </a:lnTo>
                  <a:lnTo>
                    <a:pt x="1098" y="347"/>
                  </a:lnTo>
                  <a:lnTo>
                    <a:pt x="1096" y="347"/>
                  </a:lnTo>
                  <a:lnTo>
                    <a:pt x="1093" y="347"/>
                  </a:lnTo>
                  <a:lnTo>
                    <a:pt x="1096" y="349"/>
                  </a:lnTo>
                  <a:lnTo>
                    <a:pt x="1093" y="347"/>
                  </a:lnTo>
                  <a:lnTo>
                    <a:pt x="1096" y="349"/>
                  </a:lnTo>
                  <a:lnTo>
                    <a:pt x="1093" y="349"/>
                  </a:lnTo>
                  <a:lnTo>
                    <a:pt x="1096" y="349"/>
                  </a:lnTo>
                  <a:lnTo>
                    <a:pt x="1093" y="349"/>
                  </a:lnTo>
                  <a:lnTo>
                    <a:pt x="1093" y="347"/>
                  </a:lnTo>
                  <a:lnTo>
                    <a:pt x="1091" y="347"/>
                  </a:lnTo>
                  <a:lnTo>
                    <a:pt x="1091" y="344"/>
                  </a:lnTo>
                  <a:lnTo>
                    <a:pt x="1091" y="342"/>
                  </a:lnTo>
                  <a:lnTo>
                    <a:pt x="1089" y="342"/>
                  </a:lnTo>
                  <a:lnTo>
                    <a:pt x="1089" y="339"/>
                  </a:lnTo>
                  <a:lnTo>
                    <a:pt x="1086" y="339"/>
                  </a:lnTo>
                  <a:lnTo>
                    <a:pt x="1089" y="339"/>
                  </a:lnTo>
                  <a:lnTo>
                    <a:pt x="1089" y="337"/>
                  </a:lnTo>
                  <a:lnTo>
                    <a:pt x="1086" y="337"/>
                  </a:lnTo>
                  <a:lnTo>
                    <a:pt x="1086" y="335"/>
                  </a:lnTo>
                  <a:lnTo>
                    <a:pt x="1086" y="332"/>
                  </a:lnTo>
                  <a:lnTo>
                    <a:pt x="1086" y="330"/>
                  </a:lnTo>
                  <a:lnTo>
                    <a:pt x="1084" y="330"/>
                  </a:lnTo>
                  <a:lnTo>
                    <a:pt x="1084" y="332"/>
                  </a:lnTo>
                  <a:lnTo>
                    <a:pt x="1086" y="332"/>
                  </a:lnTo>
                  <a:lnTo>
                    <a:pt x="1084" y="332"/>
                  </a:lnTo>
                  <a:lnTo>
                    <a:pt x="1084" y="335"/>
                  </a:lnTo>
                  <a:lnTo>
                    <a:pt x="1086" y="335"/>
                  </a:lnTo>
                  <a:lnTo>
                    <a:pt x="1086" y="337"/>
                  </a:lnTo>
                  <a:lnTo>
                    <a:pt x="1086" y="339"/>
                  </a:lnTo>
                  <a:lnTo>
                    <a:pt x="1084" y="339"/>
                  </a:lnTo>
                  <a:lnTo>
                    <a:pt x="1086" y="339"/>
                  </a:lnTo>
                  <a:lnTo>
                    <a:pt x="1084" y="339"/>
                  </a:lnTo>
                  <a:lnTo>
                    <a:pt x="1086" y="339"/>
                  </a:lnTo>
                  <a:lnTo>
                    <a:pt x="1084" y="342"/>
                  </a:lnTo>
                  <a:lnTo>
                    <a:pt x="1082" y="342"/>
                  </a:lnTo>
                  <a:lnTo>
                    <a:pt x="1084" y="342"/>
                  </a:lnTo>
                  <a:lnTo>
                    <a:pt x="1082" y="342"/>
                  </a:lnTo>
                  <a:lnTo>
                    <a:pt x="1082" y="339"/>
                  </a:lnTo>
                  <a:lnTo>
                    <a:pt x="1082" y="342"/>
                  </a:lnTo>
                  <a:lnTo>
                    <a:pt x="1082" y="344"/>
                  </a:lnTo>
                  <a:lnTo>
                    <a:pt x="1079" y="344"/>
                  </a:lnTo>
                  <a:lnTo>
                    <a:pt x="1079" y="342"/>
                  </a:lnTo>
                  <a:lnTo>
                    <a:pt x="1077" y="342"/>
                  </a:lnTo>
                  <a:lnTo>
                    <a:pt x="1077" y="339"/>
                  </a:lnTo>
                  <a:lnTo>
                    <a:pt x="1079" y="339"/>
                  </a:lnTo>
                  <a:lnTo>
                    <a:pt x="1077" y="339"/>
                  </a:lnTo>
                  <a:lnTo>
                    <a:pt x="1077" y="337"/>
                  </a:lnTo>
                  <a:lnTo>
                    <a:pt x="1077" y="335"/>
                  </a:lnTo>
                  <a:lnTo>
                    <a:pt x="1077" y="337"/>
                  </a:lnTo>
                  <a:lnTo>
                    <a:pt x="1077" y="339"/>
                  </a:lnTo>
                  <a:lnTo>
                    <a:pt x="1074" y="339"/>
                  </a:lnTo>
                  <a:lnTo>
                    <a:pt x="1077" y="339"/>
                  </a:lnTo>
                  <a:lnTo>
                    <a:pt x="1077" y="342"/>
                  </a:lnTo>
                  <a:lnTo>
                    <a:pt x="1074" y="342"/>
                  </a:lnTo>
                  <a:lnTo>
                    <a:pt x="1074" y="344"/>
                  </a:lnTo>
                  <a:lnTo>
                    <a:pt x="1077" y="344"/>
                  </a:lnTo>
                  <a:lnTo>
                    <a:pt x="1077" y="347"/>
                  </a:lnTo>
                  <a:lnTo>
                    <a:pt x="1074" y="347"/>
                  </a:lnTo>
                  <a:lnTo>
                    <a:pt x="1077" y="347"/>
                  </a:lnTo>
                  <a:lnTo>
                    <a:pt x="1074" y="347"/>
                  </a:lnTo>
                  <a:lnTo>
                    <a:pt x="1074" y="344"/>
                  </a:lnTo>
                  <a:lnTo>
                    <a:pt x="1074" y="347"/>
                  </a:lnTo>
                  <a:lnTo>
                    <a:pt x="1072" y="347"/>
                  </a:lnTo>
                  <a:lnTo>
                    <a:pt x="1070" y="347"/>
                  </a:lnTo>
                  <a:lnTo>
                    <a:pt x="1067" y="347"/>
                  </a:lnTo>
                  <a:lnTo>
                    <a:pt x="1065" y="347"/>
                  </a:lnTo>
                  <a:lnTo>
                    <a:pt x="1063" y="344"/>
                  </a:lnTo>
                  <a:lnTo>
                    <a:pt x="1060" y="344"/>
                  </a:lnTo>
                  <a:lnTo>
                    <a:pt x="1058" y="344"/>
                  </a:lnTo>
                  <a:lnTo>
                    <a:pt x="1058" y="342"/>
                  </a:lnTo>
                  <a:lnTo>
                    <a:pt x="1058" y="344"/>
                  </a:lnTo>
                  <a:lnTo>
                    <a:pt x="1055" y="342"/>
                  </a:lnTo>
                  <a:lnTo>
                    <a:pt x="1055" y="339"/>
                  </a:lnTo>
                  <a:lnTo>
                    <a:pt x="1053" y="339"/>
                  </a:lnTo>
                  <a:lnTo>
                    <a:pt x="1055" y="339"/>
                  </a:lnTo>
                  <a:lnTo>
                    <a:pt x="1053" y="339"/>
                  </a:lnTo>
                  <a:lnTo>
                    <a:pt x="1055" y="339"/>
                  </a:lnTo>
                  <a:lnTo>
                    <a:pt x="1055" y="337"/>
                  </a:lnTo>
                  <a:lnTo>
                    <a:pt x="1053" y="337"/>
                  </a:lnTo>
                  <a:lnTo>
                    <a:pt x="1053" y="335"/>
                  </a:lnTo>
                  <a:lnTo>
                    <a:pt x="1053" y="332"/>
                  </a:lnTo>
                  <a:lnTo>
                    <a:pt x="1051" y="332"/>
                  </a:lnTo>
                  <a:lnTo>
                    <a:pt x="1053" y="332"/>
                  </a:lnTo>
                  <a:lnTo>
                    <a:pt x="1051" y="332"/>
                  </a:lnTo>
                  <a:lnTo>
                    <a:pt x="1051" y="330"/>
                  </a:lnTo>
                  <a:lnTo>
                    <a:pt x="1051" y="328"/>
                  </a:lnTo>
                  <a:lnTo>
                    <a:pt x="1048" y="325"/>
                  </a:lnTo>
                  <a:lnTo>
                    <a:pt x="1048" y="323"/>
                  </a:lnTo>
                  <a:lnTo>
                    <a:pt x="1051" y="323"/>
                  </a:lnTo>
                  <a:lnTo>
                    <a:pt x="1051" y="320"/>
                  </a:lnTo>
                  <a:lnTo>
                    <a:pt x="1051" y="318"/>
                  </a:lnTo>
                  <a:lnTo>
                    <a:pt x="1051" y="316"/>
                  </a:lnTo>
                  <a:lnTo>
                    <a:pt x="1053" y="316"/>
                  </a:lnTo>
                  <a:lnTo>
                    <a:pt x="1053" y="313"/>
                  </a:lnTo>
                  <a:lnTo>
                    <a:pt x="1053" y="311"/>
                  </a:lnTo>
                  <a:lnTo>
                    <a:pt x="1055" y="311"/>
                  </a:lnTo>
                  <a:lnTo>
                    <a:pt x="1055" y="309"/>
                  </a:lnTo>
                  <a:lnTo>
                    <a:pt x="1058" y="309"/>
                  </a:lnTo>
                  <a:lnTo>
                    <a:pt x="1060" y="306"/>
                  </a:lnTo>
                  <a:lnTo>
                    <a:pt x="1063" y="306"/>
                  </a:lnTo>
                  <a:lnTo>
                    <a:pt x="1063" y="304"/>
                  </a:lnTo>
                  <a:lnTo>
                    <a:pt x="1063" y="306"/>
                  </a:lnTo>
                  <a:lnTo>
                    <a:pt x="1063" y="304"/>
                  </a:lnTo>
                  <a:lnTo>
                    <a:pt x="1063" y="306"/>
                  </a:lnTo>
                  <a:lnTo>
                    <a:pt x="1065" y="306"/>
                  </a:lnTo>
                  <a:lnTo>
                    <a:pt x="1065" y="309"/>
                  </a:lnTo>
                  <a:lnTo>
                    <a:pt x="1067" y="309"/>
                  </a:lnTo>
                  <a:lnTo>
                    <a:pt x="1065" y="309"/>
                  </a:lnTo>
                  <a:lnTo>
                    <a:pt x="1067" y="309"/>
                  </a:lnTo>
                  <a:lnTo>
                    <a:pt x="1065" y="309"/>
                  </a:lnTo>
                  <a:lnTo>
                    <a:pt x="1067" y="309"/>
                  </a:lnTo>
                  <a:lnTo>
                    <a:pt x="1070" y="309"/>
                  </a:lnTo>
                  <a:lnTo>
                    <a:pt x="1070" y="311"/>
                  </a:lnTo>
                  <a:lnTo>
                    <a:pt x="1070" y="309"/>
                  </a:lnTo>
                  <a:lnTo>
                    <a:pt x="1072" y="309"/>
                  </a:lnTo>
                  <a:lnTo>
                    <a:pt x="1072" y="311"/>
                  </a:lnTo>
                  <a:lnTo>
                    <a:pt x="1072" y="309"/>
                  </a:lnTo>
                  <a:lnTo>
                    <a:pt x="1074" y="309"/>
                  </a:lnTo>
                  <a:lnTo>
                    <a:pt x="1074" y="306"/>
                  </a:lnTo>
                  <a:lnTo>
                    <a:pt x="1077" y="306"/>
                  </a:lnTo>
                  <a:lnTo>
                    <a:pt x="1074" y="306"/>
                  </a:lnTo>
                  <a:lnTo>
                    <a:pt x="1074" y="309"/>
                  </a:lnTo>
                  <a:lnTo>
                    <a:pt x="1077" y="309"/>
                  </a:lnTo>
                  <a:lnTo>
                    <a:pt x="1074" y="309"/>
                  </a:lnTo>
                  <a:lnTo>
                    <a:pt x="1074" y="311"/>
                  </a:lnTo>
                  <a:lnTo>
                    <a:pt x="1074" y="309"/>
                  </a:lnTo>
                  <a:lnTo>
                    <a:pt x="1077" y="309"/>
                  </a:lnTo>
                  <a:lnTo>
                    <a:pt x="1077" y="311"/>
                  </a:lnTo>
                  <a:lnTo>
                    <a:pt x="1077" y="309"/>
                  </a:lnTo>
                  <a:lnTo>
                    <a:pt x="1077" y="311"/>
                  </a:lnTo>
                  <a:lnTo>
                    <a:pt x="1077" y="309"/>
                  </a:lnTo>
                  <a:lnTo>
                    <a:pt x="1079" y="311"/>
                  </a:lnTo>
                  <a:lnTo>
                    <a:pt x="1082" y="311"/>
                  </a:lnTo>
                  <a:lnTo>
                    <a:pt x="1084" y="311"/>
                  </a:lnTo>
                  <a:lnTo>
                    <a:pt x="1082" y="311"/>
                  </a:lnTo>
                  <a:lnTo>
                    <a:pt x="1084" y="311"/>
                  </a:lnTo>
                  <a:lnTo>
                    <a:pt x="1082" y="311"/>
                  </a:lnTo>
                  <a:lnTo>
                    <a:pt x="1084" y="311"/>
                  </a:lnTo>
                  <a:lnTo>
                    <a:pt x="1084" y="309"/>
                  </a:lnTo>
                  <a:lnTo>
                    <a:pt x="1082" y="309"/>
                  </a:lnTo>
                  <a:lnTo>
                    <a:pt x="1082" y="306"/>
                  </a:lnTo>
                  <a:lnTo>
                    <a:pt x="1082" y="304"/>
                  </a:lnTo>
                  <a:lnTo>
                    <a:pt x="1082" y="306"/>
                  </a:lnTo>
                  <a:lnTo>
                    <a:pt x="1082" y="304"/>
                  </a:lnTo>
                  <a:lnTo>
                    <a:pt x="1084" y="304"/>
                  </a:lnTo>
                  <a:lnTo>
                    <a:pt x="1084" y="306"/>
                  </a:lnTo>
                  <a:lnTo>
                    <a:pt x="1086" y="306"/>
                  </a:lnTo>
                  <a:lnTo>
                    <a:pt x="1084" y="306"/>
                  </a:lnTo>
                  <a:lnTo>
                    <a:pt x="1086" y="306"/>
                  </a:lnTo>
                  <a:lnTo>
                    <a:pt x="1084" y="306"/>
                  </a:lnTo>
                  <a:lnTo>
                    <a:pt x="1084" y="304"/>
                  </a:lnTo>
                  <a:lnTo>
                    <a:pt x="1084" y="306"/>
                  </a:lnTo>
                  <a:lnTo>
                    <a:pt x="1086" y="306"/>
                  </a:lnTo>
                  <a:lnTo>
                    <a:pt x="1086" y="304"/>
                  </a:lnTo>
                  <a:lnTo>
                    <a:pt x="1084" y="304"/>
                  </a:lnTo>
                  <a:lnTo>
                    <a:pt x="1086" y="304"/>
                  </a:lnTo>
                  <a:lnTo>
                    <a:pt x="1084" y="304"/>
                  </a:lnTo>
                  <a:lnTo>
                    <a:pt x="1084" y="301"/>
                  </a:lnTo>
                  <a:lnTo>
                    <a:pt x="1082" y="301"/>
                  </a:lnTo>
                  <a:lnTo>
                    <a:pt x="1084" y="301"/>
                  </a:lnTo>
                  <a:lnTo>
                    <a:pt x="1086" y="301"/>
                  </a:lnTo>
                  <a:lnTo>
                    <a:pt x="1086" y="299"/>
                  </a:lnTo>
                  <a:lnTo>
                    <a:pt x="1084" y="299"/>
                  </a:lnTo>
                  <a:lnTo>
                    <a:pt x="1086" y="299"/>
                  </a:lnTo>
                  <a:lnTo>
                    <a:pt x="1084" y="299"/>
                  </a:lnTo>
                  <a:lnTo>
                    <a:pt x="1084" y="297"/>
                  </a:lnTo>
                  <a:lnTo>
                    <a:pt x="1084" y="299"/>
                  </a:lnTo>
                  <a:lnTo>
                    <a:pt x="1084" y="297"/>
                  </a:lnTo>
                  <a:lnTo>
                    <a:pt x="1084" y="299"/>
                  </a:lnTo>
                  <a:lnTo>
                    <a:pt x="1086" y="299"/>
                  </a:lnTo>
                  <a:lnTo>
                    <a:pt x="1089" y="299"/>
                  </a:lnTo>
                  <a:lnTo>
                    <a:pt x="1089" y="297"/>
                  </a:lnTo>
                  <a:lnTo>
                    <a:pt x="1091" y="297"/>
                  </a:lnTo>
                  <a:lnTo>
                    <a:pt x="1091" y="294"/>
                  </a:lnTo>
                  <a:lnTo>
                    <a:pt x="1089" y="294"/>
                  </a:lnTo>
                  <a:lnTo>
                    <a:pt x="1089" y="292"/>
                  </a:lnTo>
                  <a:lnTo>
                    <a:pt x="1086" y="292"/>
                  </a:lnTo>
                  <a:lnTo>
                    <a:pt x="1089" y="292"/>
                  </a:lnTo>
                  <a:lnTo>
                    <a:pt x="1091" y="292"/>
                  </a:lnTo>
                  <a:lnTo>
                    <a:pt x="1091" y="294"/>
                  </a:lnTo>
                  <a:lnTo>
                    <a:pt x="1093" y="294"/>
                  </a:lnTo>
                  <a:lnTo>
                    <a:pt x="1096" y="294"/>
                  </a:lnTo>
                  <a:lnTo>
                    <a:pt x="1098" y="294"/>
                  </a:lnTo>
                  <a:lnTo>
                    <a:pt x="1098" y="292"/>
                  </a:lnTo>
                  <a:lnTo>
                    <a:pt x="1098" y="294"/>
                  </a:lnTo>
                  <a:lnTo>
                    <a:pt x="1096" y="294"/>
                  </a:lnTo>
                  <a:lnTo>
                    <a:pt x="1093" y="294"/>
                  </a:lnTo>
                  <a:lnTo>
                    <a:pt x="1091" y="292"/>
                  </a:lnTo>
                  <a:lnTo>
                    <a:pt x="1093" y="290"/>
                  </a:lnTo>
                  <a:lnTo>
                    <a:pt x="1091" y="290"/>
                  </a:lnTo>
                  <a:lnTo>
                    <a:pt x="1091" y="287"/>
                  </a:lnTo>
                  <a:lnTo>
                    <a:pt x="1091" y="290"/>
                  </a:lnTo>
                  <a:lnTo>
                    <a:pt x="1093" y="287"/>
                  </a:lnTo>
                  <a:lnTo>
                    <a:pt x="1093" y="290"/>
                  </a:lnTo>
                  <a:lnTo>
                    <a:pt x="1093" y="287"/>
                  </a:lnTo>
                  <a:lnTo>
                    <a:pt x="1096" y="287"/>
                  </a:lnTo>
                  <a:lnTo>
                    <a:pt x="1093" y="287"/>
                  </a:lnTo>
                  <a:lnTo>
                    <a:pt x="1096" y="287"/>
                  </a:lnTo>
                  <a:lnTo>
                    <a:pt x="1093" y="287"/>
                  </a:lnTo>
                  <a:lnTo>
                    <a:pt x="1091" y="285"/>
                  </a:lnTo>
                  <a:lnTo>
                    <a:pt x="1093" y="285"/>
                  </a:lnTo>
                  <a:lnTo>
                    <a:pt x="1091" y="285"/>
                  </a:lnTo>
                  <a:lnTo>
                    <a:pt x="1091" y="287"/>
                  </a:lnTo>
                  <a:lnTo>
                    <a:pt x="1091" y="285"/>
                  </a:lnTo>
                  <a:lnTo>
                    <a:pt x="1093" y="285"/>
                  </a:lnTo>
                  <a:lnTo>
                    <a:pt x="1096" y="285"/>
                  </a:lnTo>
                  <a:lnTo>
                    <a:pt x="1096" y="282"/>
                  </a:lnTo>
                  <a:lnTo>
                    <a:pt x="1098" y="285"/>
                  </a:lnTo>
                  <a:lnTo>
                    <a:pt x="1098" y="282"/>
                  </a:lnTo>
                  <a:lnTo>
                    <a:pt x="1096" y="282"/>
                  </a:lnTo>
                  <a:lnTo>
                    <a:pt x="1098" y="282"/>
                  </a:lnTo>
                  <a:lnTo>
                    <a:pt x="1101" y="280"/>
                  </a:lnTo>
                  <a:lnTo>
                    <a:pt x="1098" y="280"/>
                  </a:lnTo>
                  <a:lnTo>
                    <a:pt x="1101" y="280"/>
                  </a:lnTo>
                  <a:lnTo>
                    <a:pt x="1103" y="280"/>
                  </a:lnTo>
                  <a:lnTo>
                    <a:pt x="1103" y="278"/>
                  </a:lnTo>
                  <a:lnTo>
                    <a:pt x="1105" y="280"/>
                  </a:lnTo>
                  <a:lnTo>
                    <a:pt x="1105" y="278"/>
                  </a:lnTo>
                  <a:lnTo>
                    <a:pt x="1105" y="280"/>
                  </a:lnTo>
                  <a:lnTo>
                    <a:pt x="1108" y="280"/>
                  </a:lnTo>
                  <a:lnTo>
                    <a:pt x="1110" y="280"/>
                  </a:lnTo>
                  <a:lnTo>
                    <a:pt x="1112" y="280"/>
                  </a:lnTo>
                  <a:lnTo>
                    <a:pt x="1110" y="280"/>
                  </a:lnTo>
                  <a:lnTo>
                    <a:pt x="1112" y="280"/>
                  </a:lnTo>
                  <a:lnTo>
                    <a:pt x="1110" y="280"/>
                  </a:lnTo>
                  <a:lnTo>
                    <a:pt x="1108" y="280"/>
                  </a:lnTo>
                  <a:lnTo>
                    <a:pt x="1108" y="278"/>
                  </a:lnTo>
                  <a:lnTo>
                    <a:pt x="1105" y="278"/>
                  </a:lnTo>
                  <a:lnTo>
                    <a:pt x="1103" y="278"/>
                  </a:lnTo>
                  <a:lnTo>
                    <a:pt x="1101" y="278"/>
                  </a:lnTo>
                  <a:lnTo>
                    <a:pt x="1098" y="278"/>
                  </a:lnTo>
                  <a:lnTo>
                    <a:pt x="1098" y="280"/>
                  </a:lnTo>
                  <a:lnTo>
                    <a:pt x="1096" y="280"/>
                  </a:lnTo>
                  <a:lnTo>
                    <a:pt x="1093" y="280"/>
                  </a:lnTo>
                  <a:lnTo>
                    <a:pt x="1091" y="280"/>
                  </a:lnTo>
                  <a:lnTo>
                    <a:pt x="1093" y="280"/>
                  </a:lnTo>
                  <a:lnTo>
                    <a:pt x="1091" y="280"/>
                  </a:lnTo>
                  <a:lnTo>
                    <a:pt x="1093" y="280"/>
                  </a:lnTo>
                  <a:lnTo>
                    <a:pt x="1093" y="278"/>
                  </a:lnTo>
                  <a:lnTo>
                    <a:pt x="1096" y="278"/>
                  </a:lnTo>
                  <a:lnTo>
                    <a:pt x="1096" y="275"/>
                  </a:lnTo>
                  <a:lnTo>
                    <a:pt x="1093" y="278"/>
                  </a:lnTo>
                  <a:lnTo>
                    <a:pt x="1093" y="275"/>
                  </a:lnTo>
                  <a:lnTo>
                    <a:pt x="1093" y="278"/>
                  </a:lnTo>
                  <a:lnTo>
                    <a:pt x="1093" y="275"/>
                  </a:lnTo>
                  <a:lnTo>
                    <a:pt x="1096" y="275"/>
                  </a:lnTo>
                  <a:lnTo>
                    <a:pt x="1098" y="275"/>
                  </a:lnTo>
                  <a:lnTo>
                    <a:pt x="1096" y="275"/>
                  </a:lnTo>
                  <a:lnTo>
                    <a:pt x="1098" y="275"/>
                  </a:lnTo>
                  <a:lnTo>
                    <a:pt x="1101" y="273"/>
                  </a:lnTo>
                  <a:lnTo>
                    <a:pt x="1103" y="273"/>
                  </a:lnTo>
                  <a:lnTo>
                    <a:pt x="1103" y="275"/>
                  </a:lnTo>
                  <a:lnTo>
                    <a:pt x="1105" y="275"/>
                  </a:lnTo>
                  <a:lnTo>
                    <a:pt x="1108" y="275"/>
                  </a:lnTo>
                  <a:lnTo>
                    <a:pt x="1110" y="275"/>
                  </a:lnTo>
                  <a:lnTo>
                    <a:pt x="1108" y="275"/>
                  </a:lnTo>
                  <a:lnTo>
                    <a:pt x="1110" y="275"/>
                  </a:lnTo>
                  <a:lnTo>
                    <a:pt x="1108" y="275"/>
                  </a:lnTo>
                  <a:lnTo>
                    <a:pt x="1105" y="275"/>
                  </a:lnTo>
                  <a:lnTo>
                    <a:pt x="1105" y="273"/>
                  </a:lnTo>
                  <a:lnTo>
                    <a:pt x="1103" y="273"/>
                  </a:lnTo>
                  <a:lnTo>
                    <a:pt x="1101" y="273"/>
                  </a:lnTo>
                  <a:lnTo>
                    <a:pt x="1098" y="273"/>
                  </a:lnTo>
                  <a:lnTo>
                    <a:pt x="1096" y="273"/>
                  </a:lnTo>
                  <a:lnTo>
                    <a:pt x="1096" y="275"/>
                  </a:lnTo>
                  <a:lnTo>
                    <a:pt x="1093" y="275"/>
                  </a:lnTo>
                  <a:lnTo>
                    <a:pt x="1093" y="273"/>
                  </a:lnTo>
                  <a:lnTo>
                    <a:pt x="1093" y="275"/>
                  </a:lnTo>
                  <a:lnTo>
                    <a:pt x="1091" y="273"/>
                  </a:lnTo>
                  <a:lnTo>
                    <a:pt x="1089" y="273"/>
                  </a:lnTo>
                  <a:lnTo>
                    <a:pt x="1089" y="275"/>
                  </a:lnTo>
                  <a:lnTo>
                    <a:pt x="1089" y="273"/>
                  </a:lnTo>
                  <a:lnTo>
                    <a:pt x="1086" y="273"/>
                  </a:lnTo>
                  <a:lnTo>
                    <a:pt x="1084" y="273"/>
                  </a:lnTo>
                  <a:lnTo>
                    <a:pt x="1084" y="271"/>
                  </a:lnTo>
                  <a:lnTo>
                    <a:pt x="1082" y="271"/>
                  </a:lnTo>
                  <a:lnTo>
                    <a:pt x="1082" y="268"/>
                  </a:lnTo>
                  <a:lnTo>
                    <a:pt x="1082" y="271"/>
                  </a:lnTo>
                  <a:lnTo>
                    <a:pt x="1084" y="271"/>
                  </a:lnTo>
                  <a:lnTo>
                    <a:pt x="1082" y="271"/>
                  </a:lnTo>
                  <a:lnTo>
                    <a:pt x="1084" y="268"/>
                  </a:lnTo>
                  <a:lnTo>
                    <a:pt x="1084" y="266"/>
                  </a:lnTo>
                  <a:lnTo>
                    <a:pt x="1086" y="266"/>
                  </a:lnTo>
                  <a:lnTo>
                    <a:pt x="1086" y="263"/>
                  </a:lnTo>
                  <a:lnTo>
                    <a:pt x="1089" y="263"/>
                  </a:lnTo>
                  <a:lnTo>
                    <a:pt x="1089" y="261"/>
                  </a:lnTo>
                  <a:lnTo>
                    <a:pt x="1091" y="261"/>
                  </a:lnTo>
                  <a:lnTo>
                    <a:pt x="1093" y="261"/>
                  </a:lnTo>
                  <a:lnTo>
                    <a:pt x="1096" y="261"/>
                  </a:lnTo>
                  <a:lnTo>
                    <a:pt x="1096" y="259"/>
                  </a:lnTo>
                  <a:lnTo>
                    <a:pt x="1098" y="259"/>
                  </a:lnTo>
                  <a:lnTo>
                    <a:pt x="1101" y="259"/>
                  </a:lnTo>
                  <a:lnTo>
                    <a:pt x="1103" y="259"/>
                  </a:lnTo>
                  <a:lnTo>
                    <a:pt x="1105" y="259"/>
                  </a:lnTo>
                  <a:lnTo>
                    <a:pt x="1108" y="259"/>
                  </a:lnTo>
                  <a:lnTo>
                    <a:pt x="1108" y="261"/>
                  </a:lnTo>
                  <a:lnTo>
                    <a:pt x="1110" y="261"/>
                  </a:lnTo>
                  <a:lnTo>
                    <a:pt x="1112" y="261"/>
                  </a:lnTo>
                  <a:lnTo>
                    <a:pt x="1110" y="261"/>
                  </a:lnTo>
                  <a:lnTo>
                    <a:pt x="1112" y="261"/>
                  </a:lnTo>
                  <a:lnTo>
                    <a:pt x="1115" y="261"/>
                  </a:lnTo>
                  <a:lnTo>
                    <a:pt x="1117" y="261"/>
                  </a:lnTo>
                  <a:lnTo>
                    <a:pt x="1119" y="261"/>
                  </a:lnTo>
                  <a:lnTo>
                    <a:pt x="1122" y="259"/>
                  </a:lnTo>
                  <a:lnTo>
                    <a:pt x="1119" y="259"/>
                  </a:lnTo>
                  <a:lnTo>
                    <a:pt x="1119" y="261"/>
                  </a:lnTo>
                  <a:lnTo>
                    <a:pt x="1119" y="259"/>
                  </a:lnTo>
                  <a:lnTo>
                    <a:pt x="1119" y="261"/>
                  </a:lnTo>
                  <a:lnTo>
                    <a:pt x="1117" y="261"/>
                  </a:lnTo>
                  <a:lnTo>
                    <a:pt x="1115" y="261"/>
                  </a:lnTo>
                  <a:lnTo>
                    <a:pt x="1117" y="261"/>
                  </a:lnTo>
                  <a:lnTo>
                    <a:pt x="1115" y="261"/>
                  </a:lnTo>
                  <a:lnTo>
                    <a:pt x="1115" y="259"/>
                  </a:lnTo>
                  <a:lnTo>
                    <a:pt x="1112" y="259"/>
                  </a:lnTo>
                  <a:lnTo>
                    <a:pt x="1110" y="259"/>
                  </a:lnTo>
                  <a:lnTo>
                    <a:pt x="1112" y="259"/>
                  </a:lnTo>
                  <a:lnTo>
                    <a:pt x="1115" y="259"/>
                  </a:lnTo>
                  <a:lnTo>
                    <a:pt x="1112" y="259"/>
                  </a:lnTo>
                  <a:lnTo>
                    <a:pt x="1110" y="259"/>
                  </a:lnTo>
                  <a:lnTo>
                    <a:pt x="1108" y="259"/>
                  </a:lnTo>
                  <a:lnTo>
                    <a:pt x="1105" y="259"/>
                  </a:lnTo>
                  <a:lnTo>
                    <a:pt x="1105" y="256"/>
                  </a:lnTo>
                  <a:lnTo>
                    <a:pt x="1103" y="256"/>
                  </a:lnTo>
                  <a:lnTo>
                    <a:pt x="1105" y="256"/>
                  </a:lnTo>
                  <a:lnTo>
                    <a:pt x="1105" y="254"/>
                  </a:lnTo>
                  <a:lnTo>
                    <a:pt x="1108" y="254"/>
                  </a:lnTo>
                  <a:lnTo>
                    <a:pt x="1108" y="252"/>
                  </a:lnTo>
                  <a:lnTo>
                    <a:pt x="1110" y="252"/>
                  </a:lnTo>
                  <a:lnTo>
                    <a:pt x="1110" y="254"/>
                  </a:lnTo>
                  <a:lnTo>
                    <a:pt x="1112" y="254"/>
                  </a:lnTo>
                  <a:lnTo>
                    <a:pt x="1115" y="254"/>
                  </a:lnTo>
                  <a:lnTo>
                    <a:pt x="1115" y="252"/>
                  </a:lnTo>
                  <a:lnTo>
                    <a:pt x="1112" y="252"/>
                  </a:lnTo>
                  <a:lnTo>
                    <a:pt x="1110" y="252"/>
                  </a:lnTo>
                  <a:lnTo>
                    <a:pt x="1112" y="252"/>
                  </a:lnTo>
                  <a:lnTo>
                    <a:pt x="1110" y="252"/>
                  </a:lnTo>
                  <a:lnTo>
                    <a:pt x="1112" y="252"/>
                  </a:lnTo>
                  <a:lnTo>
                    <a:pt x="1112" y="249"/>
                  </a:lnTo>
                  <a:lnTo>
                    <a:pt x="1110" y="249"/>
                  </a:lnTo>
                  <a:lnTo>
                    <a:pt x="1108" y="249"/>
                  </a:lnTo>
                  <a:lnTo>
                    <a:pt x="1108" y="247"/>
                  </a:lnTo>
                  <a:lnTo>
                    <a:pt x="1105" y="247"/>
                  </a:lnTo>
                  <a:lnTo>
                    <a:pt x="1108" y="247"/>
                  </a:lnTo>
                  <a:lnTo>
                    <a:pt x="1108" y="244"/>
                  </a:lnTo>
                  <a:lnTo>
                    <a:pt x="1110" y="244"/>
                  </a:lnTo>
                  <a:lnTo>
                    <a:pt x="1110" y="242"/>
                  </a:lnTo>
                  <a:lnTo>
                    <a:pt x="1112" y="242"/>
                  </a:lnTo>
                  <a:lnTo>
                    <a:pt x="1112" y="240"/>
                  </a:lnTo>
                  <a:lnTo>
                    <a:pt x="1115" y="240"/>
                  </a:lnTo>
                  <a:lnTo>
                    <a:pt x="1115" y="237"/>
                  </a:lnTo>
                  <a:lnTo>
                    <a:pt x="1117" y="237"/>
                  </a:lnTo>
                  <a:lnTo>
                    <a:pt x="1117" y="240"/>
                  </a:lnTo>
                  <a:lnTo>
                    <a:pt x="1117" y="237"/>
                  </a:lnTo>
                  <a:lnTo>
                    <a:pt x="1117" y="240"/>
                  </a:lnTo>
                  <a:lnTo>
                    <a:pt x="1119" y="240"/>
                  </a:lnTo>
                  <a:lnTo>
                    <a:pt x="1122" y="240"/>
                  </a:lnTo>
                  <a:lnTo>
                    <a:pt x="1122" y="237"/>
                  </a:lnTo>
                  <a:lnTo>
                    <a:pt x="1124" y="237"/>
                  </a:lnTo>
                  <a:lnTo>
                    <a:pt x="1124" y="235"/>
                  </a:lnTo>
                  <a:lnTo>
                    <a:pt x="1127" y="235"/>
                  </a:lnTo>
                  <a:lnTo>
                    <a:pt x="1129" y="235"/>
                  </a:lnTo>
                  <a:lnTo>
                    <a:pt x="1131" y="235"/>
                  </a:lnTo>
                  <a:lnTo>
                    <a:pt x="1129" y="235"/>
                  </a:lnTo>
                  <a:lnTo>
                    <a:pt x="1131" y="235"/>
                  </a:lnTo>
                  <a:lnTo>
                    <a:pt x="1134" y="235"/>
                  </a:lnTo>
                  <a:lnTo>
                    <a:pt x="1136" y="235"/>
                  </a:lnTo>
                  <a:lnTo>
                    <a:pt x="1134" y="235"/>
                  </a:lnTo>
                  <a:lnTo>
                    <a:pt x="1136" y="235"/>
                  </a:lnTo>
                  <a:lnTo>
                    <a:pt x="1134" y="235"/>
                  </a:lnTo>
                  <a:lnTo>
                    <a:pt x="1134" y="237"/>
                  </a:lnTo>
                  <a:lnTo>
                    <a:pt x="1136" y="237"/>
                  </a:lnTo>
                  <a:lnTo>
                    <a:pt x="1138" y="237"/>
                  </a:lnTo>
                  <a:lnTo>
                    <a:pt x="1141" y="237"/>
                  </a:lnTo>
                  <a:lnTo>
                    <a:pt x="1143" y="237"/>
                  </a:lnTo>
                  <a:lnTo>
                    <a:pt x="1143" y="235"/>
                  </a:lnTo>
                  <a:lnTo>
                    <a:pt x="1146" y="235"/>
                  </a:lnTo>
                  <a:lnTo>
                    <a:pt x="1148" y="235"/>
                  </a:lnTo>
                  <a:lnTo>
                    <a:pt x="1150" y="235"/>
                  </a:lnTo>
                  <a:lnTo>
                    <a:pt x="1148" y="235"/>
                  </a:lnTo>
                  <a:lnTo>
                    <a:pt x="1150" y="235"/>
                  </a:lnTo>
                  <a:lnTo>
                    <a:pt x="1150" y="237"/>
                  </a:lnTo>
                  <a:lnTo>
                    <a:pt x="1150" y="235"/>
                  </a:lnTo>
                  <a:lnTo>
                    <a:pt x="1150" y="237"/>
                  </a:lnTo>
                  <a:lnTo>
                    <a:pt x="1150" y="235"/>
                  </a:lnTo>
                  <a:lnTo>
                    <a:pt x="1150" y="237"/>
                  </a:lnTo>
                  <a:lnTo>
                    <a:pt x="1150" y="235"/>
                  </a:lnTo>
                  <a:lnTo>
                    <a:pt x="1153" y="235"/>
                  </a:lnTo>
                  <a:lnTo>
                    <a:pt x="1150" y="235"/>
                  </a:lnTo>
                  <a:lnTo>
                    <a:pt x="1148" y="235"/>
                  </a:lnTo>
                  <a:lnTo>
                    <a:pt x="1148" y="232"/>
                  </a:lnTo>
                  <a:lnTo>
                    <a:pt x="1148" y="235"/>
                  </a:lnTo>
                  <a:lnTo>
                    <a:pt x="1148" y="232"/>
                  </a:lnTo>
                  <a:lnTo>
                    <a:pt x="1150" y="232"/>
                  </a:lnTo>
                  <a:lnTo>
                    <a:pt x="1150" y="230"/>
                  </a:lnTo>
                  <a:lnTo>
                    <a:pt x="1153" y="230"/>
                  </a:lnTo>
                  <a:lnTo>
                    <a:pt x="1155" y="230"/>
                  </a:lnTo>
                  <a:lnTo>
                    <a:pt x="1157" y="230"/>
                  </a:lnTo>
                  <a:lnTo>
                    <a:pt x="1160" y="230"/>
                  </a:lnTo>
                  <a:lnTo>
                    <a:pt x="1160" y="232"/>
                  </a:lnTo>
                  <a:lnTo>
                    <a:pt x="1160" y="230"/>
                  </a:lnTo>
                  <a:lnTo>
                    <a:pt x="1157" y="230"/>
                  </a:lnTo>
                  <a:lnTo>
                    <a:pt x="1155" y="230"/>
                  </a:lnTo>
                  <a:lnTo>
                    <a:pt x="1157" y="230"/>
                  </a:lnTo>
                  <a:lnTo>
                    <a:pt x="1157" y="228"/>
                  </a:lnTo>
                  <a:lnTo>
                    <a:pt x="1160" y="228"/>
                  </a:lnTo>
                  <a:lnTo>
                    <a:pt x="1162" y="228"/>
                  </a:lnTo>
                  <a:lnTo>
                    <a:pt x="1165" y="228"/>
                  </a:lnTo>
                  <a:lnTo>
                    <a:pt x="1165" y="225"/>
                  </a:lnTo>
                  <a:lnTo>
                    <a:pt x="1165" y="228"/>
                  </a:lnTo>
                  <a:lnTo>
                    <a:pt x="1167" y="228"/>
                  </a:lnTo>
                  <a:lnTo>
                    <a:pt x="1169" y="228"/>
                  </a:lnTo>
                  <a:lnTo>
                    <a:pt x="1172" y="228"/>
                  </a:lnTo>
                  <a:lnTo>
                    <a:pt x="1174" y="230"/>
                  </a:lnTo>
                  <a:lnTo>
                    <a:pt x="1176" y="230"/>
                  </a:lnTo>
                  <a:lnTo>
                    <a:pt x="1176" y="232"/>
                  </a:lnTo>
                  <a:lnTo>
                    <a:pt x="1179" y="232"/>
                  </a:lnTo>
                  <a:lnTo>
                    <a:pt x="1181" y="232"/>
                  </a:lnTo>
                  <a:lnTo>
                    <a:pt x="1184" y="232"/>
                  </a:lnTo>
                  <a:lnTo>
                    <a:pt x="1184" y="235"/>
                  </a:lnTo>
                  <a:lnTo>
                    <a:pt x="1184" y="232"/>
                  </a:lnTo>
                  <a:lnTo>
                    <a:pt x="1186" y="232"/>
                  </a:lnTo>
                  <a:lnTo>
                    <a:pt x="1188" y="232"/>
                  </a:lnTo>
                  <a:lnTo>
                    <a:pt x="1191" y="232"/>
                  </a:lnTo>
                  <a:lnTo>
                    <a:pt x="1193" y="232"/>
                  </a:lnTo>
                  <a:lnTo>
                    <a:pt x="1193" y="235"/>
                  </a:lnTo>
                  <a:lnTo>
                    <a:pt x="1195" y="235"/>
                  </a:lnTo>
                  <a:lnTo>
                    <a:pt x="1193" y="235"/>
                  </a:lnTo>
                  <a:lnTo>
                    <a:pt x="1195" y="235"/>
                  </a:lnTo>
                  <a:lnTo>
                    <a:pt x="1198" y="237"/>
                  </a:lnTo>
                  <a:lnTo>
                    <a:pt x="1198" y="235"/>
                  </a:lnTo>
                  <a:lnTo>
                    <a:pt x="1198" y="237"/>
                  </a:lnTo>
                  <a:lnTo>
                    <a:pt x="1198" y="235"/>
                  </a:lnTo>
                  <a:lnTo>
                    <a:pt x="1198" y="237"/>
                  </a:lnTo>
                  <a:lnTo>
                    <a:pt x="1198" y="235"/>
                  </a:lnTo>
                  <a:lnTo>
                    <a:pt x="1198" y="237"/>
                  </a:lnTo>
                  <a:lnTo>
                    <a:pt x="1200" y="237"/>
                  </a:lnTo>
                  <a:lnTo>
                    <a:pt x="1198" y="237"/>
                  </a:lnTo>
                  <a:lnTo>
                    <a:pt x="1200" y="237"/>
                  </a:lnTo>
                  <a:lnTo>
                    <a:pt x="1198" y="237"/>
                  </a:lnTo>
                  <a:lnTo>
                    <a:pt x="1200" y="237"/>
                  </a:lnTo>
                  <a:lnTo>
                    <a:pt x="1203" y="237"/>
                  </a:lnTo>
                  <a:lnTo>
                    <a:pt x="1205" y="237"/>
                  </a:lnTo>
                  <a:lnTo>
                    <a:pt x="1207" y="237"/>
                  </a:lnTo>
                  <a:lnTo>
                    <a:pt x="1210" y="237"/>
                  </a:lnTo>
                  <a:lnTo>
                    <a:pt x="1212" y="240"/>
                  </a:lnTo>
                  <a:lnTo>
                    <a:pt x="1214" y="240"/>
                  </a:lnTo>
                  <a:lnTo>
                    <a:pt x="1217" y="240"/>
                  </a:lnTo>
                  <a:lnTo>
                    <a:pt x="1217" y="242"/>
                  </a:lnTo>
                  <a:lnTo>
                    <a:pt x="1219" y="242"/>
                  </a:lnTo>
                  <a:lnTo>
                    <a:pt x="1219" y="244"/>
                  </a:lnTo>
                  <a:lnTo>
                    <a:pt x="1219" y="247"/>
                  </a:lnTo>
                  <a:lnTo>
                    <a:pt x="1217" y="247"/>
                  </a:lnTo>
                  <a:lnTo>
                    <a:pt x="1214" y="247"/>
                  </a:lnTo>
                  <a:lnTo>
                    <a:pt x="1212" y="247"/>
                  </a:lnTo>
                  <a:lnTo>
                    <a:pt x="1210" y="247"/>
                  </a:lnTo>
                  <a:lnTo>
                    <a:pt x="1207" y="247"/>
                  </a:lnTo>
                  <a:lnTo>
                    <a:pt x="1207" y="249"/>
                  </a:lnTo>
                  <a:lnTo>
                    <a:pt x="1205" y="249"/>
                  </a:lnTo>
                  <a:lnTo>
                    <a:pt x="1203" y="249"/>
                  </a:lnTo>
                  <a:lnTo>
                    <a:pt x="1205" y="249"/>
                  </a:lnTo>
                  <a:lnTo>
                    <a:pt x="1203" y="249"/>
                  </a:lnTo>
                  <a:lnTo>
                    <a:pt x="1200" y="249"/>
                  </a:lnTo>
                  <a:lnTo>
                    <a:pt x="1198" y="249"/>
                  </a:lnTo>
                  <a:lnTo>
                    <a:pt x="1195" y="249"/>
                  </a:lnTo>
                  <a:lnTo>
                    <a:pt x="1198" y="249"/>
                  </a:lnTo>
                  <a:lnTo>
                    <a:pt x="1200" y="249"/>
                  </a:lnTo>
                  <a:lnTo>
                    <a:pt x="1203" y="249"/>
                  </a:lnTo>
                  <a:lnTo>
                    <a:pt x="1205" y="249"/>
                  </a:lnTo>
                  <a:lnTo>
                    <a:pt x="1207" y="249"/>
                  </a:lnTo>
                  <a:lnTo>
                    <a:pt x="1210" y="249"/>
                  </a:lnTo>
                  <a:lnTo>
                    <a:pt x="1212" y="252"/>
                  </a:lnTo>
                  <a:lnTo>
                    <a:pt x="1214" y="252"/>
                  </a:lnTo>
                  <a:lnTo>
                    <a:pt x="1212" y="252"/>
                  </a:lnTo>
                  <a:lnTo>
                    <a:pt x="1210" y="254"/>
                  </a:lnTo>
                  <a:lnTo>
                    <a:pt x="1207" y="254"/>
                  </a:lnTo>
                  <a:lnTo>
                    <a:pt x="1205" y="254"/>
                  </a:lnTo>
                  <a:lnTo>
                    <a:pt x="1203" y="254"/>
                  </a:lnTo>
                  <a:lnTo>
                    <a:pt x="1200" y="254"/>
                  </a:lnTo>
                  <a:lnTo>
                    <a:pt x="1198" y="254"/>
                  </a:lnTo>
                  <a:lnTo>
                    <a:pt x="1198" y="256"/>
                  </a:lnTo>
                  <a:lnTo>
                    <a:pt x="1195" y="256"/>
                  </a:lnTo>
                  <a:lnTo>
                    <a:pt x="1193" y="256"/>
                  </a:lnTo>
                  <a:lnTo>
                    <a:pt x="1191" y="256"/>
                  </a:lnTo>
                  <a:lnTo>
                    <a:pt x="1188" y="256"/>
                  </a:lnTo>
                  <a:lnTo>
                    <a:pt x="1186" y="256"/>
                  </a:lnTo>
                  <a:lnTo>
                    <a:pt x="1188" y="256"/>
                  </a:lnTo>
                  <a:lnTo>
                    <a:pt x="1191" y="256"/>
                  </a:lnTo>
                  <a:lnTo>
                    <a:pt x="1193" y="256"/>
                  </a:lnTo>
                  <a:lnTo>
                    <a:pt x="1195" y="256"/>
                  </a:lnTo>
                  <a:lnTo>
                    <a:pt x="1198" y="256"/>
                  </a:lnTo>
                  <a:lnTo>
                    <a:pt x="1200" y="256"/>
                  </a:lnTo>
                  <a:lnTo>
                    <a:pt x="1203" y="256"/>
                  </a:lnTo>
                  <a:lnTo>
                    <a:pt x="1205" y="256"/>
                  </a:lnTo>
                  <a:lnTo>
                    <a:pt x="1207" y="256"/>
                  </a:lnTo>
                  <a:lnTo>
                    <a:pt x="1210" y="256"/>
                  </a:lnTo>
                  <a:lnTo>
                    <a:pt x="1207" y="256"/>
                  </a:lnTo>
                  <a:lnTo>
                    <a:pt x="1207" y="259"/>
                  </a:lnTo>
                  <a:lnTo>
                    <a:pt x="1207" y="261"/>
                  </a:lnTo>
                  <a:lnTo>
                    <a:pt x="1207" y="263"/>
                  </a:lnTo>
                  <a:lnTo>
                    <a:pt x="1205" y="263"/>
                  </a:lnTo>
                  <a:lnTo>
                    <a:pt x="1205" y="266"/>
                  </a:lnTo>
                  <a:lnTo>
                    <a:pt x="1203" y="266"/>
                  </a:lnTo>
                  <a:lnTo>
                    <a:pt x="1200" y="266"/>
                  </a:lnTo>
                  <a:lnTo>
                    <a:pt x="1198" y="266"/>
                  </a:lnTo>
                  <a:lnTo>
                    <a:pt x="1200" y="266"/>
                  </a:lnTo>
                  <a:lnTo>
                    <a:pt x="1198" y="266"/>
                  </a:lnTo>
                  <a:lnTo>
                    <a:pt x="1195" y="266"/>
                  </a:lnTo>
                  <a:close/>
                  <a:moveTo>
                    <a:pt x="1224" y="211"/>
                  </a:moveTo>
                  <a:lnTo>
                    <a:pt x="1222" y="209"/>
                  </a:lnTo>
                  <a:lnTo>
                    <a:pt x="1224" y="211"/>
                  </a:lnTo>
                  <a:close/>
                  <a:moveTo>
                    <a:pt x="1286" y="166"/>
                  </a:moveTo>
                  <a:lnTo>
                    <a:pt x="1286" y="164"/>
                  </a:lnTo>
                  <a:lnTo>
                    <a:pt x="1286" y="166"/>
                  </a:lnTo>
                  <a:lnTo>
                    <a:pt x="1288" y="166"/>
                  </a:lnTo>
                  <a:lnTo>
                    <a:pt x="1286" y="166"/>
                  </a:lnTo>
                  <a:close/>
                  <a:moveTo>
                    <a:pt x="1630" y="14"/>
                  </a:moveTo>
                  <a:lnTo>
                    <a:pt x="1627" y="14"/>
                  </a:lnTo>
                  <a:lnTo>
                    <a:pt x="1630" y="14"/>
                  </a:lnTo>
                  <a:lnTo>
                    <a:pt x="1627" y="14"/>
                  </a:lnTo>
                  <a:lnTo>
                    <a:pt x="1627" y="16"/>
                  </a:lnTo>
                  <a:lnTo>
                    <a:pt x="1627" y="19"/>
                  </a:lnTo>
                  <a:lnTo>
                    <a:pt x="1627" y="16"/>
                  </a:lnTo>
                  <a:lnTo>
                    <a:pt x="1627" y="19"/>
                  </a:lnTo>
                  <a:lnTo>
                    <a:pt x="1630" y="19"/>
                  </a:lnTo>
                  <a:lnTo>
                    <a:pt x="1630" y="21"/>
                  </a:lnTo>
                  <a:lnTo>
                    <a:pt x="1627" y="21"/>
                  </a:lnTo>
                  <a:lnTo>
                    <a:pt x="1625" y="21"/>
                  </a:lnTo>
                  <a:lnTo>
                    <a:pt x="1625" y="23"/>
                  </a:lnTo>
                  <a:lnTo>
                    <a:pt x="1625" y="21"/>
                  </a:lnTo>
                  <a:lnTo>
                    <a:pt x="1625" y="23"/>
                  </a:lnTo>
                  <a:lnTo>
                    <a:pt x="1623" y="23"/>
                  </a:lnTo>
                  <a:lnTo>
                    <a:pt x="1623" y="26"/>
                  </a:lnTo>
                  <a:lnTo>
                    <a:pt x="1620" y="26"/>
                  </a:lnTo>
                  <a:lnTo>
                    <a:pt x="1623" y="26"/>
                  </a:lnTo>
                  <a:lnTo>
                    <a:pt x="1623" y="28"/>
                  </a:lnTo>
                  <a:lnTo>
                    <a:pt x="1625" y="28"/>
                  </a:lnTo>
                  <a:lnTo>
                    <a:pt x="1623" y="28"/>
                  </a:lnTo>
                  <a:lnTo>
                    <a:pt x="1625" y="28"/>
                  </a:lnTo>
                  <a:lnTo>
                    <a:pt x="1627" y="28"/>
                  </a:lnTo>
                  <a:lnTo>
                    <a:pt x="1625" y="28"/>
                  </a:lnTo>
                  <a:lnTo>
                    <a:pt x="1627" y="28"/>
                  </a:lnTo>
                  <a:lnTo>
                    <a:pt x="1627" y="31"/>
                  </a:lnTo>
                  <a:lnTo>
                    <a:pt x="1625" y="31"/>
                  </a:lnTo>
                  <a:lnTo>
                    <a:pt x="1623" y="31"/>
                  </a:lnTo>
                  <a:lnTo>
                    <a:pt x="1623" y="33"/>
                  </a:lnTo>
                  <a:lnTo>
                    <a:pt x="1620" y="33"/>
                  </a:lnTo>
                  <a:lnTo>
                    <a:pt x="1623" y="33"/>
                  </a:lnTo>
                  <a:lnTo>
                    <a:pt x="1620" y="33"/>
                  </a:lnTo>
                  <a:lnTo>
                    <a:pt x="1618" y="33"/>
                  </a:lnTo>
                  <a:lnTo>
                    <a:pt x="1620" y="33"/>
                  </a:lnTo>
                  <a:lnTo>
                    <a:pt x="1618" y="33"/>
                  </a:lnTo>
                  <a:lnTo>
                    <a:pt x="1620" y="33"/>
                  </a:lnTo>
                  <a:lnTo>
                    <a:pt x="1618" y="35"/>
                  </a:lnTo>
                  <a:lnTo>
                    <a:pt x="1615" y="35"/>
                  </a:lnTo>
                  <a:lnTo>
                    <a:pt x="1618" y="35"/>
                  </a:lnTo>
                  <a:lnTo>
                    <a:pt x="1615" y="38"/>
                  </a:lnTo>
                  <a:lnTo>
                    <a:pt x="1613" y="38"/>
                  </a:lnTo>
                  <a:lnTo>
                    <a:pt x="1611" y="38"/>
                  </a:lnTo>
                  <a:lnTo>
                    <a:pt x="1611" y="40"/>
                  </a:lnTo>
                  <a:lnTo>
                    <a:pt x="1611" y="42"/>
                  </a:lnTo>
                  <a:lnTo>
                    <a:pt x="1608" y="42"/>
                  </a:lnTo>
                  <a:lnTo>
                    <a:pt x="1606" y="42"/>
                  </a:lnTo>
                  <a:lnTo>
                    <a:pt x="1608" y="42"/>
                  </a:lnTo>
                  <a:lnTo>
                    <a:pt x="1608" y="45"/>
                  </a:lnTo>
                  <a:lnTo>
                    <a:pt x="1606" y="42"/>
                  </a:lnTo>
                  <a:lnTo>
                    <a:pt x="1606" y="45"/>
                  </a:lnTo>
                  <a:lnTo>
                    <a:pt x="1604" y="45"/>
                  </a:lnTo>
                  <a:lnTo>
                    <a:pt x="1601" y="45"/>
                  </a:lnTo>
                  <a:lnTo>
                    <a:pt x="1604" y="45"/>
                  </a:lnTo>
                  <a:lnTo>
                    <a:pt x="1601" y="45"/>
                  </a:lnTo>
                  <a:lnTo>
                    <a:pt x="1604" y="45"/>
                  </a:lnTo>
                  <a:lnTo>
                    <a:pt x="1604" y="47"/>
                  </a:lnTo>
                  <a:lnTo>
                    <a:pt x="1606" y="47"/>
                  </a:lnTo>
                  <a:lnTo>
                    <a:pt x="1604" y="47"/>
                  </a:lnTo>
                  <a:lnTo>
                    <a:pt x="1601" y="47"/>
                  </a:lnTo>
                  <a:lnTo>
                    <a:pt x="1599" y="47"/>
                  </a:lnTo>
                  <a:lnTo>
                    <a:pt x="1599" y="50"/>
                  </a:lnTo>
                  <a:lnTo>
                    <a:pt x="1599" y="47"/>
                  </a:lnTo>
                  <a:lnTo>
                    <a:pt x="1596" y="47"/>
                  </a:lnTo>
                  <a:lnTo>
                    <a:pt x="1596" y="50"/>
                  </a:lnTo>
                  <a:lnTo>
                    <a:pt x="1596" y="47"/>
                  </a:lnTo>
                  <a:lnTo>
                    <a:pt x="1596" y="50"/>
                  </a:lnTo>
                  <a:lnTo>
                    <a:pt x="1594" y="50"/>
                  </a:lnTo>
                  <a:lnTo>
                    <a:pt x="1592" y="50"/>
                  </a:lnTo>
                  <a:lnTo>
                    <a:pt x="1589" y="50"/>
                  </a:lnTo>
                  <a:lnTo>
                    <a:pt x="1589" y="52"/>
                  </a:lnTo>
                  <a:lnTo>
                    <a:pt x="1587" y="52"/>
                  </a:lnTo>
                  <a:lnTo>
                    <a:pt x="1585" y="52"/>
                  </a:lnTo>
                  <a:lnTo>
                    <a:pt x="1587" y="52"/>
                  </a:lnTo>
                  <a:lnTo>
                    <a:pt x="1585" y="52"/>
                  </a:lnTo>
                  <a:lnTo>
                    <a:pt x="1582" y="52"/>
                  </a:lnTo>
                  <a:lnTo>
                    <a:pt x="1582" y="54"/>
                  </a:lnTo>
                  <a:lnTo>
                    <a:pt x="1580" y="54"/>
                  </a:lnTo>
                  <a:lnTo>
                    <a:pt x="1577" y="54"/>
                  </a:lnTo>
                  <a:lnTo>
                    <a:pt x="1575" y="54"/>
                  </a:lnTo>
                  <a:lnTo>
                    <a:pt x="1573" y="57"/>
                  </a:lnTo>
                  <a:lnTo>
                    <a:pt x="1570" y="57"/>
                  </a:lnTo>
                  <a:lnTo>
                    <a:pt x="1573" y="57"/>
                  </a:lnTo>
                  <a:lnTo>
                    <a:pt x="1570" y="57"/>
                  </a:lnTo>
                  <a:lnTo>
                    <a:pt x="1568" y="59"/>
                  </a:lnTo>
                  <a:lnTo>
                    <a:pt x="1566" y="59"/>
                  </a:lnTo>
                  <a:lnTo>
                    <a:pt x="1563" y="59"/>
                  </a:lnTo>
                  <a:lnTo>
                    <a:pt x="1561" y="59"/>
                  </a:lnTo>
                  <a:lnTo>
                    <a:pt x="1558" y="61"/>
                  </a:lnTo>
                  <a:lnTo>
                    <a:pt x="1556" y="61"/>
                  </a:lnTo>
                  <a:lnTo>
                    <a:pt x="1554" y="61"/>
                  </a:lnTo>
                  <a:lnTo>
                    <a:pt x="1551" y="61"/>
                  </a:lnTo>
                  <a:lnTo>
                    <a:pt x="1549" y="61"/>
                  </a:lnTo>
                  <a:lnTo>
                    <a:pt x="1549" y="64"/>
                  </a:lnTo>
                  <a:lnTo>
                    <a:pt x="1547" y="64"/>
                  </a:lnTo>
                  <a:lnTo>
                    <a:pt x="1544" y="64"/>
                  </a:lnTo>
                  <a:lnTo>
                    <a:pt x="1547" y="64"/>
                  </a:lnTo>
                  <a:lnTo>
                    <a:pt x="1544" y="64"/>
                  </a:lnTo>
                  <a:lnTo>
                    <a:pt x="1547" y="64"/>
                  </a:lnTo>
                  <a:lnTo>
                    <a:pt x="1544" y="64"/>
                  </a:lnTo>
                  <a:lnTo>
                    <a:pt x="1542" y="64"/>
                  </a:lnTo>
                  <a:lnTo>
                    <a:pt x="1539" y="64"/>
                  </a:lnTo>
                  <a:lnTo>
                    <a:pt x="1537" y="64"/>
                  </a:lnTo>
                  <a:lnTo>
                    <a:pt x="1539" y="64"/>
                  </a:lnTo>
                  <a:lnTo>
                    <a:pt x="1539" y="66"/>
                  </a:lnTo>
                  <a:lnTo>
                    <a:pt x="1537" y="66"/>
                  </a:lnTo>
                  <a:lnTo>
                    <a:pt x="1535" y="66"/>
                  </a:lnTo>
                  <a:lnTo>
                    <a:pt x="1535" y="69"/>
                  </a:lnTo>
                  <a:lnTo>
                    <a:pt x="1532" y="69"/>
                  </a:lnTo>
                  <a:lnTo>
                    <a:pt x="1530" y="69"/>
                  </a:lnTo>
                  <a:lnTo>
                    <a:pt x="1528" y="69"/>
                  </a:lnTo>
                  <a:lnTo>
                    <a:pt x="1525" y="69"/>
                  </a:lnTo>
                  <a:lnTo>
                    <a:pt x="1523" y="69"/>
                  </a:lnTo>
                  <a:lnTo>
                    <a:pt x="1520" y="69"/>
                  </a:lnTo>
                  <a:lnTo>
                    <a:pt x="1520" y="71"/>
                  </a:lnTo>
                  <a:lnTo>
                    <a:pt x="1518" y="71"/>
                  </a:lnTo>
                  <a:lnTo>
                    <a:pt x="1516" y="71"/>
                  </a:lnTo>
                  <a:lnTo>
                    <a:pt x="1513" y="71"/>
                  </a:lnTo>
                  <a:lnTo>
                    <a:pt x="1511" y="73"/>
                  </a:lnTo>
                  <a:lnTo>
                    <a:pt x="1509" y="73"/>
                  </a:lnTo>
                  <a:lnTo>
                    <a:pt x="1506" y="73"/>
                  </a:lnTo>
                  <a:lnTo>
                    <a:pt x="1504" y="76"/>
                  </a:lnTo>
                  <a:lnTo>
                    <a:pt x="1501" y="76"/>
                  </a:lnTo>
                  <a:lnTo>
                    <a:pt x="1501" y="78"/>
                  </a:lnTo>
                  <a:lnTo>
                    <a:pt x="1501" y="76"/>
                  </a:lnTo>
                  <a:lnTo>
                    <a:pt x="1499" y="76"/>
                  </a:lnTo>
                  <a:lnTo>
                    <a:pt x="1499" y="78"/>
                  </a:lnTo>
                  <a:lnTo>
                    <a:pt x="1497" y="78"/>
                  </a:lnTo>
                  <a:lnTo>
                    <a:pt x="1494" y="78"/>
                  </a:lnTo>
                  <a:lnTo>
                    <a:pt x="1492" y="78"/>
                  </a:lnTo>
                  <a:lnTo>
                    <a:pt x="1490" y="78"/>
                  </a:lnTo>
                  <a:lnTo>
                    <a:pt x="1487" y="78"/>
                  </a:lnTo>
                  <a:lnTo>
                    <a:pt x="1487" y="80"/>
                  </a:lnTo>
                  <a:lnTo>
                    <a:pt x="1485" y="80"/>
                  </a:lnTo>
                  <a:lnTo>
                    <a:pt x="1480" y="80"/>
                  </a:lnTo>
                  <a:lnTo>
                    <a:pt x="1478" y="80"/>
                  </a:lnTo>
                  <a:lnTo>
                    <a:pt x="1478" y="83"/>
                  </a:lnTo>
                  <a:lnTo>
                    <a:pt x="1475" y="83"/>
                  </a:lnTo>
                  <a:lnTo>
                    <a:pt x="1473" y="83"/>
                  </a:lnTo>
                  <a:lnTo>
                    <a:pt x="1471" y="83"/>
                  </a:lnTo>
                  <a:lnTo>
                    <a:pt x="1468" y="83"/>
                  </a:lnTo>
                  <a:lnTo>
                    <a:pt x="1466" y="83"/>
                  </a:lnTo>
                  <a:lnTo>
                    <a:pt x="1466" y="85"/>
                  </a:lnTo>
                  <a:lnTo>
                    <a:pt x="1464" y="85"/>
                  </a:lnTo>
                  <a:lnTo>
                    <a:pt x="1461" y="85"/>
                  </a:lnTo>
                  <a:lnTo>
                    <a:pt x="1459" y="85"/>
                  </a:lnTo>
                  <a:lnTo>
                    <a:pt x="1459" y="88"/>
                  </a:lnTo>
                  <a:lnTo>
                    <a:pt x="1456" y="90"/>
                  </a:lnTo>
                  <a:lnTo>
                    <a:pt x="1456" y="88"/>
                  </a:lnTo>
                  <a:lnTo>
                    <a:pt x="1459" y="88"/>
                  </a:lnTo>
                  <a:lnTo>
                    <a:pt x="1456" y="85"/>
                  </a:lnTo>
                  <a:lnTo>
                    <a:pt x="1454" y="85"/>
                  </a:lnTo>
                  <a:lnTo>
                    <a:pt x="1454" y="83"/>
                  </a:lnTo>
                  <a:lnTo>
                    <a:pt x="1452" y="83"/>
                  </a:lnTo>
                  <a:lnTo>
                    <a:pt x="1449" y="83"/>
                  </a:lnTo>
                  <a:lnTo>
                    <a:pt x="1452" y="83"/>
                  </a:lnTo>
                  <a:lnTo>
                    <a:pt x="1449" y="83"/>
                  </a:lnTo>
                  <a:lnTo>
                    <a:pt x="1452" y="83"/>
                  </a:lnTo>
                  <a:lnTo>
                    <a:pt x="1454" y="83"/>
                  </a:lnTo>
                  <a:lnTo>
                    <a:pt x="1452" y="85"/>
                  </a:lnTo>
                  <a:lnTo>
                    <a:pt x="1449" y="85"/>
                  </a:lnTo>
                  <a:lnTo>
                    <a:pt x="1452" y="85"/>
                  </a:lnTo>
                  <a:lnTo>
                    <a:pt x="1449" y="85"/>
                  </a:lnTo>
                  <a:lnTo>
                    <a:pt x="1449" y="88"/>
                  </a:lnTo>
                  <a:lnTo>
                    <a:pt x="1447" y="88"/>
                  </a:lnTo>
                  <a:lnTo>
                    <a:pt x="1449" y="88"/>
                  </a:lnTo>
                  <a:lnTo>
                    <a:pt x="1447" y="88"/>
                  </a:lnTo>
                  <a:lnTo>
                    <a:pt x="1447" y="90"/>
                  </a:lnTo>
                  <a:lnTo>
                    <a:pt x="1445" y="90"/>
                  </a:lnTo>
                  <a:lnTo>
                    <a:pt x="1442" y="90"/>
                  </a:lnTo>
                  <a:lnTo>
                    <a:pt x="1440" y="92"/>
                  </a:lnTo>
                  <a:lnTo>
                    <a:pt x="1437" y="92"/>
                  </a:lnTo>
                  <a:lnTo>
                    <a:pt x="1435" y="92"/>
                  </a:lnTo>
                  <a:lnTo>
                    <a:pt x="1433" y="92"/>
                  </a:lnTo>
                  <a:lnTo>
                    <a:pt x="1430" y="92"/>
                  </a:lnTo>
                  <a:lnTo>
                    <a:pt x="1428" y="92"/>
                  </a:lnTo>
                  <a:lnTo>
                    <a:pt x="1428" y="95"/>
                  </a:lnTo>
                  <a:lnTo>
                    <a:pt x="1426" y="95"/>
                  </a:lnTo>
                  <a:lnTo>
                    <a:pt x="1423" y="95"/>
                  </a:lnTo>
                  <a:lnTo>
                    <a:pt x="1421" y="97"/>
                  </a:lnTo>
                  <a:lnTo>
                    <a:pt x="1418" y="97"/>
                  </a:lnTo>
                  <a:lnTo>
                    <a:pt x="1416" y="97"/>
                  </a:lnTo>
                  <a:lnTo>
                    <a:pt x="1414" y="97"/>
                  </a:lnTo>
                  <a:lnTo>
                    <a:pt x="1414" y="99"/>
                  </a:lnTo>
                  <a:lnTo>
                    <a:pt x="1411" y="99"/>
                  </a:lnTo>
                  <a:lnTo>
                    <a:pt x="1409" y="99"/>
                  </a:lnTo>
                  <a:lnTo>
                    <a:pt x="1409" y="102"/>
                  </a:lnTo>
                  <a:lnTo>
                    <a:pt x="1407" y="102"/>
                  </a:lnTo>
                  <a:lnTo>
                    <a:pt x="1407" y="99"/>
                  </a:lnTo>
                  <a:lnTo>
                    <a:pt x="1407" y="102"/>
                  </a:lnTo>
                  <a:lnTo>
                    <a:pt x="1407" y="99"/>
                  </a:lnTo>
                  <a:lnTo>
                    <a:pt x="1404" y="99"/>
                  </a:lnTo>
                  <a:lnTo>
                    <a:pt x="1402" y="99"/>
                  </a:lnTo>
                  <a:lnTo>
                    <a:pt x="1399" y="99"/>
                  </a:lnTo>
                  <a:lnTo>
                    <a:pt x="1397" y="99"/>
                  </a:lnTo>
                  <a:lnTo>
                    <a:pt x="1395" y="99"/>
                  </a:lnTo>
                  <a:lnTo>
                    <a:pt x="1395" y="102"/>
                  </a:lnTo>
                  <a:lnTo>
                    <a:pt x="1395" y="104"/>
                  </a:lnTo>
                  <a:lnTo>
                    <a:pt x="1395" y="102"/>
                  </a:lnTo>
                  <a:lnTo>
                    <a:pt x="1397" y="102"/>
                  </a:lnTo>
                  <a:lnTo>
                    <a:pt x="1397" y="104"/>
                  </a:lnTo>
                  <a:lnTo>
                    <a:pt x="1395" y="104"/>
                  </a:lnTo>
                  <a:lnTo>
                    <a:pt x="1392" y="104"/>
                  </a:lnTo>
                  <a:lnTo>
                    <a:pt x="1392" y="107"/>
                  </a:lnTo>
                  <a:lnTo>
                    <a:pt x="1390" y="104"/>
                  </a:lnTo>
                  <a:lnTo>
                    <a:pt x="1388" y="104"/>
                  </a:lnTo>
                  <a:lnTo>
                    <a:pt x="1388" y="107"/>
                  </a:lnTo>
                  <a:lnTo>
                    <a:pt x="1388" y="109"/>
                  </a:lnTo>
                  <a:lnTo>
                    <a:pt x="1385" y="109"/>
                  </a:lnTo>
                  <a:lnTo>
                    <a:pt x="1388" y="109"/>
                  </a:lnTo>
                  <a:lnTo>
                    <a:pt x="1385" y="109"/>
                  </a:lnTo>
                  <a:lnTo>
                    <a:pt x="1388" y="109"/>
                  </a:lnTo>
                  <a:lnTo>
                    <a:pt x="1385" y="109"/>
                  </a:lnTo>
                  <a:lnTo>
                    <a:pt x="1385" y="111"/>
                  </a:lnTo>
                  <a:lnTo>
                    <a:pt x="1383" y="111"/>
                  </a:lnTo>
                  <a:lnTo>
                    <a:pt x="1383" y="114"/>
                  </a:lnTo>
                  <a:lnTo>
                    <a:pt x="1380" y="114"/>
                  </a:lnTo>
                  <a:lnTo>
                    <a:pt x="1378" y="114"/>
                  </a:lnTo>
                  <a:lnTo>
                    <a:pt x="1378" y="111"/>
                  </a:lnTo>
                  <a:lnTo>
                    <a:pt x="1378" y="109"/>
                  </a:lnTo>
                  <a:lnTo>
                    <a:pt x="1376" y="109"/>
                  </a:lnTo>
                  <a:lnTo>
                    <a:pt x="1378" y="109"/>
                  </a:lnTo>
                  <a:lnTo>
                    <a:pt x="1376" y="109"/>
                  </a:lnTo>
                  <a:lnTo>
                    <a:pt x="1373" y="107"/>
                  </a:lnTo>
                  <a:lnTo>
                    <a:pt x="1376" y="107"/>
                  </a:lnTo>
                  <a:lnTo>
                    <a:pt x="1376" y="109"/>
                  </a:lnTo>
                  <a:lnTo>
                    <a:pt x="1373" y="109"/>
                  </a:lnTo>
                  <a:lnTo>
                    <a:pt x="1376" y="109"/>
                  </a:lnTo>
                  <a:lnTo>
                    <a:pt x="1373" y="109"/>
                  </a:lnTo>
                  <a:lnTo>
                    <a:pt x="1376" y="109"/>
                  </a:lnTo>
                  <a:lnTo>
                    <a:pt x="1376" y="111"/>
                  </a:lnTo>
                  <a:lnTo>
                    <a:pt x="1373" y="111"/>
                  </a:lnTo>
                  <a:lnTo>
                    <a:pt x="1371" y="111"/>
                  </a:lnTo>
                  <a:lnTo>
                    <a:pt x="1371" y="114"/>
                  </a:lnTo>
                  <a:lnTo>
                    <a:pt x="1369" y="114"/>
                  </a:lnTo>
                  <a:lnTo>
                    <a:pt x="1369" y="116"/>
                  </a:lnTo>
                  <a:lnTo>
                    <a:pt x="1366" y="116"/>
                  </a:lnTo>
                  <a:lnTo>
                    <a:pt x="1364" y="116"/>
                  </a:lnTo>
                  <a:lnTo>
                    <a:pt x="1364" y="118"/>
                  </a:lnTo>
                  <a:lnTo>
                    <a:pt x="1362" y="118"/>
                  </a:lnTo>
                  <a:lnTo>
                    <a:pt x="1359" y="118"/>
                  </a:lnTo>
                  <a:lnTo>
                    <a:pt x="1357" y="118"/>
                  </a:lnTo>
                  <a:lnTo>
                    <a:pt x="1357" y="121"/>
                  </a:lnTo>
                  <a:lnTo>
                    <a:pt x="1359" y="121"/>
                  </a:lnTo>
                  <a:lnTo>
                    <a:pt x="1357" y="121"/>
                  </a:lnTo>
                  <a:lnTo>
                    <a:pt x="1357" y="123"/>
                  </a:lnTo>
                  <a:lnTo>
                    <a:pt x="1359" y="123"/>
                  </a:lnTo>
                  <a:lnTo>
                    <a:pt x="1357" y="123"/>
                  </a:lnTo>
                  <a:lnTo>
                    <a:pt x="1357" y="126"/>
                  </a:lnTo>
                  <a:lnTo>
                    <a:pt x="1357" y="128"/>
                  </a:lnTo>
                  <a:lnTo>
                    <a:pt x="1354" y="128"/>
                  </a:lnTo>
                  <a:lnTo>
                    <a:pt x="1354" y="126"/>
                  </a:lnTo>
                  <a:lnTo>
                    <a:pt x="1352" y="126"/>
                  </a:lnTo>
                  <a:lnTo>
                    <a:pt x="1352" y="123"/>
                  </a:lnTo>
                  <a:lnTo>
                    <a:pt x="1354" y="123"/>
                  </a:lnTo>
                  <a:lnTo>
                    <a:pt x="1354" y="121"/>
                  </a:lnTo>
                  <a:lnTo>
                    <a:pt x="1352" y="121"/>
                  </a:lnTo>
                  <a:lnTo>
                    <a:pt x="1352" y="123"/>
                  </a:lnTo>
                  <a:lnTo>
                    <a:pt x="1352" y="121"/>
                  </a:lnTo>
                  <a:lnTo>
                    <a:pt x="1350" y="121"/>
                  </a:lnTo>
                  <a:lnTo>
                    <a:pt x="1347" y="121"/>
                  </a:lnTo>
                  <a:lnTo>
                    <a:pt x="1350" y="121"/>
                  </a:lnTo>
                  <a:lnTo>
                    <a:pt x="1347" y="121"/>
                  </a:lnTo>
                  <a:lnTo>
                    <a:pt x="1347" y="123"/>
                  </a:lnTo>
                  <a:lnTo>
                    <a:pt x="1350" y="123"/>
                  </a:lnTo>
                  <a:lnTo>
                    <a:pt x="1350" y="121"/>
                  </a:lnTo>
                  <a:lnTo>
                    <a:pt x="1350" y="123"/>
                  </a:lnTo>
                  <a:lnTo>
                    <a:pt x="1347" y="123"/>
                  </a:lnTo>
                  <a:lnTo>
                    <a:pt x="1345" y="123"/>
                  </a:lnTo>
                  <a:lnTo>
                    <a:pt x="1343" y="123"/>
                  </a:lnTo>
                  <a:lnTo>
                    <a:pt x="1345" y="123"/>
                  </a:lnTo>
                  <a:lnTo>
                    <a:pt x="1347" y="123"/>
                  </a:lnTo>
                  <a:lnTo>
                    <a:pt x="1347" y="126"/>
                  </a:lnTo>
                  <a:lnTo>
                    <a:pt x="1345" y="126"/>
                  </a:lnTo>
                  <a:lnTo>
                    <a:pt x="1347" y="126"/>
                  </a:lnTo>
                  <a:lnTo>
                    <a:pt x="1347" y="128"/>
                  </a:lnTo>
                  <a:lnTo>
                    <a:pt x="1345" y="128"/>
                  </a:lnTo>
                  <a:lnTo>
                    <a:pt x="1343" y="128"/>
                  </a:lnTo>
                  <a:lnTo>
                    <a:pt x="1340" y="128"/>
                  </a:lnTo>
                  <a:lnTo>
                    <a:pt x="1338" y="130"/>
                  </a:lnTo>
                  <a:lnTo>
                    <a:pt x="1340" y="128"/>
                  </a:lnTo>
                  <a:lnTo>
                    <a:pt x="1338" y="128"/>
                  </a:lnTo>
                  <a:lnTo>
                    <a:pt x="1338" y="130"/>
                  </a:lnTo>
                  <a:lnTo>
                    <a:pt x="1335" y="130"/>
                  </a:lnTo>
                  <a:lnTo>
                    <a:pt x="1333" y="128"/>
                  </a:lnTo>
                  <a:lnTo>
                    <a:pt x="1331" y="128"/>
                  </a:lnTo>
                  <a:lnTo>
                    <a:pt x="1331" y="130"/>
                  </a:lnTo>
                  <a:lnTo>
                    <a:pt x="1333" y="130"/>
                  </a:lnTo>
                  <a:lnTo>
                    <a:pt x="1335" y="130"/>
                  </a:lnTo>
                  <a:lnTo>
                    <a:pt x="1338" y="133"/>
                  </a:lnTo>
                  <a:lnTo>
                    <a:pt x="1338" y="130"/>
                  </a:lnTo>
                  <a:lnTo>
                    <a:pt x="1340" y="133"/>
                  </a:lnTo>
                  <a:lnTo>
                    <a:pt x="1338" y="133"/>
                  </a:lnTo>
                  <a:lnTo>
                    <a:pt x="1340" y="133"/>
                  </a:lnTo>
                  <a:lnTo>
                    <a:pt x="1340" y="130"/>
                  </a:lnTo>
                  <a:lnTo>
                    <a:pt x="1343" y="130"/>
                  </a:lnTo>
                  <a:lnTo>
                    <a:pt x="1345" y="133"/>
                  </a:lnTo>
                  <a:lnTo>
                    <a:pt x="1347" y="133"/>
                  </a:lnTo>
                  <a:lnTo>
                    <a:pt x="1350" y="130"/>
                  </a:lnTo>
                  <a:lnTo>
                    <a:pt x="1352" y="133"/>
                  </a:lnTo>
                  <a:lnTo>
                    <a:pt x="1352" y="135"/>
                  </a:lnTo>
                  <a:lnTo>
                    <a:pt x="1350" y="135"/>
                  </a:lnTo>
                  <a:lnTo>
                    <a:pt x="1350" y="137"/>
                  </a:lnTo>
                  <a:lnTo>
                    <a:pt x="1347" y="137"/>
                  </a:lnTo>
                  <a:lnTo>
                    <a:pt x="1345" y="137"/>
                  </a:lnTo>
                  <a:lnTo>
                    <a:pt x="1343" y="137"/>
                  </a:lnTo>
                  <a:lnTo>
                    <a:pt x="1340" y="137"/>
                  </a:lnTo>
                  <a:lnTo>
                    <a:pt x="1338" y="137"/>
                  </a:lnTo>
                  <a:lnTo>
                    <a:pt x="1335" y="137"/>
                  </a:lnTo>
                  <a:lnTo>
                    <a:pt x="1338" y="137"/>
                  </a:lnTo>
                  <a:lnTo>
                    <a:pt x="1338" y="140"/>
                  </a:lnTo>
                  <a:lnTo>
                    <a:pt x="1335" y="140"/>
                  </a:lnTo>
                  <a:lnTo>
                    <a:pt x="1338" y="140"/>
                  </a:lnTo>
                  <a:lnTo>
                    <a:pt x="1340" y="140"/>
                  </a:lnTo>
                  <a:lnTo>
                    <a:pt x="1343" y="142"/>
                  </a:lnTo>
                  <a:lnTo>
                    <a:pt x="1340" y="145"/>
                  </a:lnTo>
                  <a:lnTo>
                    <a:pt x="1338" y="145"/>
                  </a:lnTo>
                  <a:lnTo>
                    <a:pt x="1335" y="145"/>
                  </a:lnTo>
                  <a:lnTo>
                    <a:pt x="1333" y="145"/>
                  </a:lnTo>
                  <a:lnTo>
                    <a:pt x="1331" y="147"/>
                  </a:lnTo>
                  <a:lnTo>
                    <a:pt x="1328" y="147"/>
                  </a:lnTo>
                  <a:lnTo>
                    <a:pt x="1326" y="147"/>
                  </a:lnTo>
                  <a:lnTo>
                    <a:pt x="1326" y="145"/>
                  </a:lnTo>
                  <a:lnTo>
                    <a:pt x="1324" y="145"/>
                  </a:lnTo>
                  <a:lnTo>
                    <a:pt x="1321" y="145"/>
                  </a:lnTo>
                  <a:lnTo>
                    <a:pt x="1319" y="145"/>
                  </a:lnTo>
                  <a:lnTo>
                    <a:pt x="1319" y="142"/>
                  </a:lnTo>
                  <a:lnTo>
                    <a:pt x="1316" y="142"/>
                  </a:lnTo>
                  <a:lnTo>
                    <a:pt x="1314" y="142"/>
                  </a:lnTo>
                  <a:lnTo>
                    <a:pt x="1314" y="140"/>
                  </a:lnTo>
                  <a:lnTo>
                    <a:pt x="1312" y="140"/>
                  </a:lnTo>
                  <a:lnTo>
                    <a:pt x="1309" y="140"/>
                  </a:lnTo>
                  <a:lnTo>
                    <a:pt x="1312" y="140"/>
                  </a:lnTo>
                  <a:lnTo>
                    <a:pt x="1309" y="140"/>
                  </a:lnTo>
                  <a:lnTo>
                    <a:pt x="1312" y="140"/>
                  </a:lnTo>
                  <a:lnTo>
                    <a:pt x="1314" y="140"/>
                  </a:lnTo>
                  <a:lnTo>
                    <a:pt x="1314" y="142"/>
                  </a:lnTo>
                  <a:lnTo>
                    <a:pt x="1316" y="142"/>
                  </a:lnTo>
                  <a:lnTo>
                    <a:pt x="1316" y="145"/>
                  </a:lnTo>
                  <a:lnTo>
                    <a:pt x="1319" y="145"/>
                  </a:lnTo>
                  <a:lnTo>
                    <a:pt x="1316" y="145"/>
                  </a:lnTo>
                  <a:lnTo>
                    <a:pt x="1314" y="145"/>
                  </a:lnTo>
                  <a:lnTo>
                    <a:pt x="1316" y="145"/>
                  </a:lnTo>
                  <a:lnTo>
                    <a:pt x="1319" y="145"/>
                  </a:lnTo>
                  <a:lnTo>
                    <a:pt x="1319" y="147"/>
                  </a:lnTo>
                  <a:lnTo>
                    <a:pt x="1321" y="147"/>
                  </a:lnTo>
                  <a:lnTo>
                    <a:pt x="1324" y="147"/>
                  </a:lnTo>
                  <a:lnTo>
                    <a:pt x="1324" y="149"/>
                  </a:lnTo>
                  <a:lnTo>
                    <a:pt x="1326" y="149"/>
                  </a:lnTo>
                  <a:lnTo>
                    <a:pt x="1326" y="152"/>
                  </a:lnTo>
                  <a:lnTo>
                    <a:pt x="1326" y="149"/>
                  </a:lnTo>
                  <a:lnTo>
                    <a:pt x="1326" y="152"/>
                  </a:lnTo>
                  <a:lnTo>
                    <a:pt x="1328" y="152"/>
                  </a:lnTo>
                  <a:lnTo>
                    <a:pt x="1326" y="154"/>
                  </a:lnTo>
                  <a:lnTo>
                    <a:pt x="1324" y="154"/>
                  </a:lnTo>
                  <a:lnTo>
                    <a:pt x="1321" y="154"/>
                  </a:lnTo>
                  <a:lnTo>
                    <a:pt x="1319" y="154"/>
                  </a:lnTo>
                  <a:lnTo>
                    <a:pt x="1316" y="154"/>
                  </a:lnTo>
                  <a:lnTo>
                    <a:pt x="1316" y="152"/>
                  </a:lnTo>
                  <a:lnTo>
                    <a:pt x="1314" y="152"/>
                  </a:lnTo>
                  <a:lnTo>
                    <a:pt x="1312" y="152"/>
                  </a:lnTo>
                  <a:lnTo>
                    <a:pt x="1312" y="149"/>
                  </a:lnTo>
                  <a:lnTo>
                    <a:pt x="1309" y="149"/>
                  </a:lnTo>
                  <a:lnTo>
                    <a:pt x="1309" y="147"/>
                  </a:lnTo>
                  <a:lnTo>
                    <a:pt x="1307" y="147"/>
                  </a:lnTo>
                  <a:lnTo>
                    <a:pt x="1305" y="147"/>
                  </a:lnTo>
                  <a:lnTo>
                    <a:pt x="1305" y="145"/>
                  </a:lnTo>
                  <a:lnTo>
                    <a:pt x="1302" y="145"/>
                  </a:lnTo>
                  <a:lnTo>
                    <a:pt x="1302" y="147"/>
                  </a:lnTo>
                  <a:lnTo>
                    <a:pt x="1302" y="149"/>
                  </a:lnTo>
                  <a:lnTo>
                    <a:pt x="1305" y="149"/>
                  </a:lnTo>
                  <a:lnTo>
                    <a:pt x="1307" y="149"/>
                  </a:lnTo>
                  <a:lnTo>
                    <a:pt x="1305" y="152"/>
                  </a:lnTo>
                  <a:lnTo>
                    <a:pt x="1307" y="152"/>
                  </a:lnTo>
                  <a:lnTo>
                    <a:pt x="1305" y="152"/>
                  </a:lnTo>
                  <a:lnTo>
                    <a:pt x="1305" y="149"/>
                  </a:lnTo>
                  <a:lnTo>
                    <a:pt x="1302" y="152"/>
                  </a:lnTo>
                  <a:lnTo>
                    <a:pt x="1300" y="152"/>
                  </a:lnTo>
                  <a:lnTo>
                    <a:pt x="1300" y="149"/>
                  </a:lnTo>
                  <a:lnTo>
                    <a:pt x="1297" y="149"/>
                  </a:lnTo>
                  <a:lnTo>
                    <a:pt x="1300" y="152"/>
                  </a:lnTo>
                  <a:lnTo>
                    <a:pt x="1302" y="152"/>
                  </a:lnTo>
                  <a:lnTo>
                    <a:pt x="1305" y="152"/>
                  </a:lnTo>
                  <a:lnTo>
                    <a:pt x="1305" y="154"/>
                  </a:lnTo>
                  <a:lnTo>
                    <a:pt x="1305" y="156"/>
                  </a:lnTo>
                  <a:lnTo>
                    <a:pt x="1302" y="156"/>
                  </a:lnTo>
                  <a:lnTo>
                    <a:pt x="1305" y="156"/>
                  </a:lnTo>
                  <a:lnTo>
                    <a:pt x="1302" y="156"/>
                  </a:lnTo>
                  <a:lnTo>
                    <a:pt x="1302" y="159"/>
                  </a:lnTo>
                  <a:lnTo>
                    <a:pt x="1302" y="156"/>
                  </a:lnTo>
                  <a:lnTo>
                    <a:pt x="1302" y="159"/>
                  </a:lnTo>
                  <a:lnTo>
                    <a:pt x="1302" y="161"/>
                  </a:lnTo>
                  <a:lnTo>
                    <a:pt x="1302" y="159"/>
                  </a:lnTo>
                  <a:lnTo>
                    <a:pt x="1302" y="161"/>
                  </a:lnTo>
                  <a:lnTo>
                    <a:pt x="1300" y="161"/>
                  </a:lnTo>
                  <a:lnTo>
                    <a:pt x="1302" y="161"/>
                  </a:lnTo>
                  <a:lnTo>
                    <a:pt x="1302" y="164"/>
                  </a:lnTo>
                  <a:lnTo>
                    <a:pt x="1305" y="164"/>
                  </a:lnTo>
                  <a:lnTo>
                    <a:pt x="1302" y="164"/>
                  </a:lnTo>
                  <a:lnTo>
                    <a:pt x="1300" y="164"/>
                  </a:lnTo>
                  <a:lnTo>
                    <a:pt x="1297" y="164"/>
                  </a:lnTo>
                  <a:lnTo>
                    <a:pt x="1295" y="164"/>
                  </a:lnTo>
                  <a:lnTo>
                    <a:pt x="1293" y="164"/>
                  </a:lnTo>
                  <a:lnTo>
                    <a:pt x="1293" y="161"/>
                  </a:lnTo>
                  <a:lnTo>
                    <a:pt x="1290" y="161"/>
                  </a:lnTo>
                  <a:lnTo>
                    <a:pt x="1293" y="161"/>
                  </a:lnTo>
                  <a:lnTo>
                    <a:pt x="1290" y="161"/>
                  </a:lnTo>
                  <a:lnTo>
                    <a:pt x="1288" y="159"/>
                  </a:lnTo>
                  <a:lnTo>
                    <a:pt x="1286" y="159"/>
                  </a:lnTo>
                  <a:lnTo>
                    <a:pt x="1283" y="159"/>
                  </a:lnTo>
                  <a:lnTo>
                    <a:pt x="1281" y="159"/>
                  </a:lnTo>
                  <a:lnTo>
                    <a:pt x="1281" y="156"/>
                  </a:lnTo>
                  <a:lnTo>
                    <a:pt x="1278" y="156"/>
                  </a:lnTo>
                  <a:lnTo>
                    <a:pt x="1276" y="156"/>
                  </a:lnTo>
                  <a:lnTo>
                    <a:pt x="1274" y="156"/>
                  </a:lnTo>
                  <a:lnTo>
                    <a:pt x="1271" y="156"/>
                  </a:lnTo>
                  <a:lnTo>
                    <a:pt x="1274" y="156"/>
                  </a:lnTo>
                  <a:lnTo>
                    <a:pt x="1271" y="156"/>
                  </a:lnTo>
                  <a:lnTo>
                    <a:pt x="1274" y="156"/>
                  </a:lnTo>
                  <a:lnTo>
                    <a:pt x="1274" y="159"/>
                  </a:lnTo>
                  <a:lnTo>
                    <a:pt x="1276" y="159"/>
                  </a:lnTo>
                  <a:lnTo>
                    <a:pt x="1278" y="159"/>
                  </a:lnTo>
                  <a:lnTo>
                    <a:pt x="1281" y="159"/>
                  </a:lnTo>
                  <a:lnTo>
                    <a:pt x="1283" y="159"/>
                  </a:lnTo>
                  <a:lnTo>
                    <a:pt x="1283" y="161"/>
                  </a:lnTo>
                  <a:lnTo>
                    <a:pt x="1286" y="161"/>
                  </a:lnTo>
                  <a:lnTo>
                    <a:pt x="1286" y="164"/>
                  </a:lnTo>
                  <a:lnTo>
                    <a:pt x="1286" y="166"/>
                  </a:lnTo>
                  <a:lnTo>
                    <a:pt x="1283" y="166"/>
                  </a:lnTo>
                  <a:lnTo>
                    <a:pt x="1283" y="164"/>
                  </a:lnTo>
                  <a:lnTo>
                    <a:pt x="1281" y="164"/>
                  </a:lnTo>
                  <a:lnTo>
                    <a:pt x="1278" y="164"/>
                  </a:lnTo>
                  <a:lnTo>
                    <a:pt x="1276" y="164"/>
                  </a:lnTo>
                  <a:lnTo>
                    <a:pt x="1278" y="164"/>
                  </a:lnTo>
                  <a:lnTo>
                    <a:pt x="1281" y="164"/>
                  </a:lnTo>
                  <a:lnTo>
                    <a:pt x="1283" y="164"/>
                  </a:lnTo>
                  <a:lnTo>
                    <a:pt x="1283" y="166"/>
                  </a:lnTo>
                  <a:lnTo>
                    <a:pt x="1286" y="166"/>
                  </a:lnTo>
                  <a:lnTo>
                    <a:pt x="1286" y="168"/>
                  </a:lnTo>
                  <a:lnTo>
                    <a:pt x="1288" y="168"/>
                  </a:lnTo>
                  <a:lnTo>
                    <a:pt x="1288" y="171"/>
                  </a:lnTo>
                  <a:lnTo>
                    <a:pt x="1288" y="173"/>
                  </a:lnTo>
                  <a:lnTo>
                    <a:pt x="1288" y="175"/>
                  </a:lnTo>
                  <a:lnTo>
                    <a:pt x="1290" y="175"/>
                  </a:lnTo>
                  <a:lnTo>
                    <a:pt x="1288" y="175"/>
                  </a:lnTo>
                  <a:lnTo>
                    <a:pt x="1286" y="175"/>
                  </a:lnTo>
                  <a:lnTo>
                    <a:pt x="1288" y="175"/>
                  </a:lnTo>
                  <a:lnTo>
                    <a:pt x="1290" y="175"/>
                  </a:lnTo>
                  <a:lnTo>
                    <a:pt x="1290" y="178"/>
                  </a:lnTo>
                  <a:lnTo>
                    <a:pt x="1288" y="178"/>
                  </a:lnTo>
                  <a:lnTo>
                    <a:pt x="1286" y="178"/>
                  </a:lnTo>
                  <a:lnTo>
                    <a:pt x="1283" y="178"/>
                  </a:lnTo>
                  <a:lnTo>
                    <a:pt x="1286" y="178"/>
                  </a:lnTo>
                  <a:lnTo>
                    <a:pt x="1288" y="178"/>
                  </a:lnTo>
                  <a:lnTo>
                    <a:pt x="1286" y="178"/>
                  </a:lnTo>
                  <a:lnTo>
                    <a:pt x="1283" y="178"/>
                  </a:lnTo>
                  <a:lnTo>
                    <a:pt x="1281" y="178"/>
                  </a:lnTo>
                  <a:lnTo>
                    <a:pt x="1281" y="180"/>
                  </a:lnTo>
                  <a:lnTo>
                    <a:pt x="1283" y="180"/>
                  </a:lnTo>
                  <a:lnTo>
                    <a:pt x="1283" y="183"/>
                  </a:lnTo>
                  <a:lnTo>
                    <a:pt x="1281" y="183"/>
                  </a:lnTo>
                  <a:lnTo>
                    <a:pt x="1281" y="180"/>
                  </a:lnTo>
                  <a:lnTo>
                    <a:pt x="1283" y="180"/>
                  </a:lnTo>
                  <a:lnTo>
                    <a:pt x="1281" y="180"/>
                  </a:lnTo>
                  <a:lnTo>
                    <a:pt x="1278" y="180"/>
                  </a:lnTo>
                  <a:lnTo>
                    <a:pt x="1276" y="180"/>
                  </a:lnTo>
                  <a:lnTo>
                    <a:pt x="1274" y="180"/>
                  </a:lnTo>
                  <a:lnTo>
                    <a:pt x="1276" y="180"/>
                  </a:lnTo>
                  <a:lnTo>
                    <a:pt x="1276" y="178"/>
                  </a:lnTo>
                  <a:lnTo>
                    <a:pt x="1276" y="180"/>
                  </a:lnTo>
                  <a:lnTo>
                    <a:pt x="1274" y="180"/>
                  </a:lnTo>
                  <a:lnTo>
                    <a:pt x="1276" y="180"/>
                  </a:lnTo>
                  <a:lnTo>
                    <a:pt x="1276" y="183"/>
                  </a:lnTo>
                  <a:lnTo>
                    <a:pt x="1278" y="183"/>
                  </a:lnTo>
                  <a:lnTo>
                    <a:pt x="1281" y="183"/>
                  </a:lnTo>
                  <a:lnTo>
                    <a:pt x="1283" y="183"/>
                  </a:lnTo>
                  <a:lnTo>
                    <a:pt x="1283" y="185"/>
                  </a:lnTo>
                  <a:lnTo>
                    <a:pt x="1283" y="183"/>
                  </a:lnTo>
                  <a:lnTo>
                    <a:pt x="1281" y="183"/>
                  </a:lnTo>
                  <a:lnTo>
                    <a:pt x="1278" y="183"/>
                  </a:lnTo>
                  <a:lnTo>
                    <a:pt x="1276" y="183"/>
                  </a:lnTo>
                  <a:lnTo>
                    <a:pt x="1276" y="185"/>
                  </a:lnTo>
                  <a:lnTo>
                    <a:pt x="1274" y="185"/>
                  </a:lnTo>
                  <a:lnTo>
                    <a:pt x="1276" y="185"/>
                  </a:lnTo>
                  <a:lnTo>
                    <a:pt x="1276" y="183"/>
                  </a:lnTo>
                  <a:lnTo>
                    <a:pt x="1274" y="183"/>
                  </a:lnTo>
                  <a:lnTo>
                    <a:pt x="1271" y="183"/>
                  </a:lnTo>
                  <a:lnTo>
                    <a:pt x="1271" y="185"/>
                  </a:lnTo>
                  <a:lnTo>
                    <a:pt x="1271" y="187"/>
                  </a:lnTo>
                  <a:lnTo>
                    <a:pt x="1271" y="185"/>
                  </a:lnTo>
                  <a:lnTo>
                    <a:pt x="1271" y="187"/>
                  </a:lnTo>
                  <a:lnTo>
                    <a:pt x="1269" y="187"/>
                  </a:lnTo>
                  <a:lnTo>
                    <a:pt x="1269" y="190"/>
                  </a:lnTo>
                  <a:lnTo>
                    <a:pt x="1271" y="190"/>
                  </a:lnTo>
                  <a:lnTo>
                    <a:pt x="1271" y="187"/>
                  </a:lnTo>
                  <a:lnTo>
                    <a:pt x="1271" y="190"/>
                  </a:lnTo>
                  <a:lnTo>
                    <a:pt x="1274" y="190"/>
                  </a:lnTo>
                  <a:lnTo>
                    <a:pt x="1274" y="192"/>
                  </a:lnTo>
                  <a:lnTo>
                    <a:pt x="1274" y="190"/>
                  </a:lnTo>
                  <a:lnTo>
                    <a:pt x="1271" y="190"/>
                  </a:lnTo>
                  <a:lnTo>
                    <a:pt x="1271" y="192"/>
                  </a:lnTo>
                  <a:lnTo>
                    <a:pt x="1269" y="192"/>
                  </a:lnTo>
                  <a:lnTo>
                    <a:pt x="1271" y="192"/>
                  </a:lnTo>
                  <a:lnTo>
                    <a:pt x="1269" y="192"/>
                  </a:lnTo>
                  <a:lnTo>
                    <a:pt x="1267" y="192"/>
                  </a:lnTo>
                  <a:lnTo>
                    <a:pt x="1264" y="190"/>
                  </a:lnTo>
                  <a:lnTo>
                    <a:pt x="1262" y="190"/>
                  </a:lnTo>
                  <a:lnTo>
                    <a:pt x="1259" y="190"/>
                  </a:lnTo>
                  <a:lnTo>
                    <a:pt x="1259" y="187"/>
                  </a:lnTo>
                  <a:lnTo>
                    <a:pt x="1257" y="187"/>
                  </a:lnTo>
                  <a:lnTo>
                    <a:pt x="1255" y="187"/>
                  </a:lnTo>
                  <a:lnTo>
                    <a:pt x="1257" y="187"/>
                  </a:lnTo>
                  <a:lnTo>
                    <a:pt x="1255" y="185"/>
                  </a:lnTo>
                  <a:lnTo>
                    <a:pt x="1255" y="183"/>
                  </a:lnTo>
                  <a:lnTo>
                    <a:pt x="1252" y="183"/>
                  </a:lnTo>
                  <a:lnTo>
                    <a:pt x="1255" y="183"/>
                  </a:lnTo>
                  <a:lnTo>
                    <a:pt x="1252" y="183"/>
                  </a:lnTo>
                  <a:lnTo>
                    <a:pt x="1252" y="180"/>
                  </a:lnTo>
                  <a:lnTo>
                    <a:pt x="1250" y="180"/>
                  </a:lnTo>
                  <a:lnTo>
                    <a:pt x="1250" y="178"/>
                  </a:lnTo>
                  <a:lnTo>
                    <a:pt x="1248" y="178"/>
                  </a:lnTo>
                  <a:lnTo>
                    <a:pt x="1245" y="178"/>
                  </a:lnTo>
                  <a:lnTo>
                    <a:pt x="1245" y="180"/>
                  </a:lnTo>
                  <a:lnTo>
                    <a:pt x="1248" y="180"/>
                  </a:lnTo>
                  <a:lnTo>
                    <a:pt x="1248" y="183"/>
                  </a:lnTo>
                  <a:lnTo>
                    <a:pt x="1250" y="183"/>
                  </a:lnTo>
                  <a:lnTo>
                    <a:pt x="1250" y="185"/>
                  </a:lnTo>
                  <a:lnTo>
                    <a:pt x="1248" y="185"/>
                  </a:lnTo>
                  <a:lnTo>
                    <a:pt x="1248" y="187"/>
                  </a:lnTo>
                  <a:lnTo>
                    <a:pt x="1248" y="185"/>
                  </a:lnTo>
                  <a:lnTo>
                    <a:pt x="1248" y="187"/>
                  </a:lnTo>
                  <a:lnTo>
                    <a:pt x="1248" y="185"/>
                  </a:lnTo>
                  <a:lnTo>
                    <a:pt x="1245" y="185"/>
                  </a:lnTo>
                  <a:lnTo>
                    <a:pt x="1243" y="185"/>
                  </a:lnTo>
                  <a:lnTo>
                    <a:pt x="1240" y="185"/>
                  </a:lnTo>
                  <a:lnTo>
                    <a:pt x="1240" y="187"/>
                  </a:lnTo>
                  <a:lnTo>
                    <a:pt x="1240" y="185"/>
                  </a:lnTo>
                  <a:lnTo>
                    <a:pt x="1238" y="185"/>
                  </a:lnTo>
                  <a:lnTo>
                    <a:pt x="1240" y="185"/>
                  </a:lnTo>
                  <a:lnTo>
                    <a:pt x="1240" y="187"/>
                  </a:lnTo>
                  <a:lnTo>
                    <a:pt x="1240" y="185"/>
                  </a:lnTo>
                  <a:lnTo>
                    <a:pt x="1240" y="187"/>
                  </a:lnTo>
                  <a:lnTo>
                    <a:pt x="1243" y="187"/>
                  </a:lnTo>
                  <a:lnTo>
                    <a:pt x="1245" y="187"/>
                  </a:lnTo>
                  <a:lnTo>
                    <a:pt x="1248" y="187"/>
                  </a:lnTo>
                  <a:lnTo>
                    <a:pt x="1250" y="187"/>
                  </a:lnTo>
                  <a:lnTo>
                    <a:pt x="1252" y="187"/>
                  </a:lnTo>
                  <a:lnTo>
                    <a:pt x="1252" y="190"/>
                  </a:lnTo>
                  <a:lnTo>
                    <a:pt x="1255" y="190"/>
                  </a:lnTo>
                  <a:lnTo>
                    <a:pt x="1255" y="192"/>
                  </a:lnTo>
                  <a:lnTo>
                    <a:pt x="1255" y="190"/>
                  </a:lnTo>
                  <a:lnTo>
                    <a:pt x="1255" y="192"/>
                  </a:lnTo>
                  <a:lnTo>
                    <a:pt x="1257" y="192"/>
                  </a:lnTo>
                  <a:lnTo>
                    <a:pt x="1259" y="192"/>
                  </a:lnTo>
                  <a:lnTo>
                    <a:pt x="1259" y="194"/>
                  </a:lnTo>
                  <a:lnTo>
                    <a:pt x="1259" y="197"/>
                  </a:lnTo>
                  <a:lnTo>
                    <a:pt x="1262" y="197"/>
                  </a:lnTo>
                  <a:lnTo>
                    <a:pt x="1259" y="197"/>
                  </a:lnTo>
                  <a:lnTo>
                    <a:pt x="1257" y="197"/>
                  </a:lnTo>
                  <a:lnTo>
                    <a:pt x="1257" y="199"/>
                  </a:lnTo>
                  <a:lnTo>
                    <a:pt x="1259" y="199"/>
                  </a:lnTo>
                  <a:lnTo>
                    <a:pt x="1262" y="199"/>
                  </a:lnTo>
                  <a:lnTo>
                    <a:pt x="1259" y="199"/>
                  </a:lnTo>
                  <a:lnTo>
                    <a:pt x="1259" y="202"/>
                  </a:lnTo>
                  <a:lnTo>
                    <a:pt x="1262" y="204"/>
                  </a:lnTo>
                  <a:lnTo>
                    <a:pt x="1262" y="206"/>
                  </a:lnTo>
                  <a:lnTo>
                    <a:pt x="1259" y="206"/>
                  </a:lnTo>
                  <a:lnTo>
                    <a:pt x="1257" y="206"/>
                  </a:lnTo>
                  <a:lnTo>
                    <a:pt x="1257" y="209"/>
                  </a:lnTo>
                  <a:lnTo>
                    <a:pt x="1255" y="209"/>
                  </a:lnTo>
                  <a:lnTo>
                    <a:pt x="1255" y="206"/>
                  </a:lnTo>
                  <a:lnTo>
                    <a:pt x="1252" y="206"/>
                  </a:lnTo>
                  <a:lnTo>
                    <a:pt x="1252" y="204"/>
                  </a:lnTo>
                  <a:lnTo>
                    <a:pt x="1250" y="204"/>
                  </a:lnTo>
                  <a:lnTo>
                    <a:pt x="1250" y="202"/>
                  </a:lnTo>
                  <a:lnTo>
                    <a:pt x="1248" y="202"/>
                  </a:lnTo>
                  <a:lnTo>
                    <a:pt x="1245" y="202"/>
                  </a:lnTo>
                  <a:lnTo>
                    <a:pt x="1243" y="202"/>
                  </a:lnTo>
                  <a:lnTo>
                    <a:pt x="1240" y="202"/>
                  </a:lnTo>
                  <a:lnTo>
                    <a:pt x="1240" y="199"/>
                  </a:lnTo>
                  <a:lnTo>
                    <a:pt x="1240" y="202"/>
                  </a:lnTo>
                  <a:lnTo>
                    <a:pt x="1238" y="202"/>
                  </a:lnTo>
                  <a:lnTo>
                    <a:pt x="1238" y="199"/>
                  </a:lnTo>
                  <a:lnTo>
                    <a:pt x="1238" y="202"/>
                  </a:lnTo>
                  <a:lnTo>
                    <a:pt x="1238" y="199"/>
                  </a:lnTo>
                  <a:lnTo>
                    <a:pt x="1236" y="199"/>
                  </a:lnTo>
                  <a:lnTo>
                    <a:pt x="1233" y="199"/>
                  </a:lnTo>
                  <a:lnTo>
                    <a:pt x="1231" y="199"/>
                  </a:lnTo>
                  <a:lnTo>
                    <a:pt x="1229" y="199"/>
                  </a:lnTo>
                  <a:lnTo>
                    <a:pt x="1226" y="199"/>
                  </a:lnTo>
                  <a:lnTo>
                    <a:pt x="1224" y="199"/>
                  </a:lnTo>
                  <a:lnTo>
                    <a:pt x="1222" y="199"/>
                  </a:lnTo>
                  <a:lnTo>
                    <a:pt x="1219" y="199"/>
                  </a:lnTo>
                  <a:lnTo>
                    <a:pt x="1222" y="199"/>
                  </a:lnTo>
                  <a:lnTo>
                    <a:pt x="1224" y="199"/>
                  </a:lnTo>
                  <a:lnTo>
                    <a:pt x="1224" y="202"/>
                  </a:lnTo>
                  <a:lnTo>
                    <a:pt x="1226" y="202"/>
                  </a:lnTo>
                  <a:lnTo>
                    <a:pt x="1229" y="202"/>
                  </a:lnTo>
                  <a:lnTo>
                    <a:pt x="1226" y="202"/>
                  </a:lnTo>
                  <a:lnTo>
                    <a:pt x="1229" y="202"/>
                  </a:lnTo>
                  <a:lnTo>
                    <a:pt x="1231" y="202"/>
                  </a:lnTo>
                  <a:lnTo>
                    <a:pt x="1233" y="202"/>
                  </a:lnTo>
                  <a:lnTo>
                    <a:pt x="1236" y="202"/>
                  </a:lnTo>
                  <a:lnTo>
                    <a:pt x="1238" y="202"/>
                  </a:lnTo>
                  <a:lnTo>
                    <a:pt x="1240" y="202"/>
                  </a:lnTo>
                  <a:lnTo>
                    <a:pt x="1243" y="202"/>
                  </a:lnTo>
                  <a:lnTo>
                    <a:pt x="1243" y="204"/>
                  </a:lnTo>
                  <a:lnTo>
                    <a:pt x="1245" y="204"/>
                  </a:lnTo>
                  <a:lnTo>
                    <a:pt x="1243" y="204"/>
                  </a:lnTo>
                  <a:lnTo>
                    <a:pt x="1245" y="204"/>
                  </a:lnTo>
                  <a:lnTo>
                    <a:pt x="1248" y="206"/>
                  </a:lnTo>
                  <a:lnTo>
                    <a:pt x="1250" y="206"/>
                  </a:lnTo>
                  <a:lnTo>
                    <a:pt x="1250" y="209"/>
                  </a:lnTo>
                  <a:lnTo>
                    <a:pt x="1250" y="211"/>
                  </a:lnTo>
                  <a:lnTo>
                    <a:pt x="1252" y="211"/>
                  </a:lnTo>
                  <a:lnTo>
                    <a:pt x="1252" y="213"/>
                  </a:lnTo>
                  <a:lnTo>
                    <a:pt x="1252" y="216"/>
                  </a:lnTo>
                  <a:lnTo>
                    <a:pt x="1250" y="216"/>
                  </a:lnTo>
                  <a:lnTo>
                    <a:pt x="1248" y="216"/>
                  </a:lnTo>
                  <a:lnTo>
                    <a:pt x="1245" y="216"/>
                  </a:lnTo>
                  <a:lnTo>
                    <a:pt x="1245" y="218"/>
                  </a:lnTo>
                  <a:lnTo>
                    <a:pt x="1243" y="218"/>
                  </a:lnTo>
                  <a:lnTo>
                    <a:pt x="1245" y="218"/>
                  </a:lnTo>
                  <a:lnTo>
                    <a:pt x="1243" y="218"/>
                  </a:lnTo>
                  <a:lnTo>
                    <a:pt x="1240" y="218"/>
                  </a:lnTo>
                  <a:lnTo>
                    <a:pt x="1238" y="218"/>
                  </a:lnTo>
                  <a:lnTo>
                    <a:pt x="1236" y="218"/>
                  </a:lnTo>
                  <a:lnTo>
                    <a:pt x="1233" y="216"/>
                  </a:lnTo>
                  <a:lnTo>
                    <a:pt x="1231" y="216"/>
                  </a:lnTo>
                  <a:lnTo>
                    <a:pt x="1231" y="213"/>
                  </a:lnTo>
                  <a:lnTo>
                    <a:pt x="1229" y="213"/>
                  </a:lnTo>
                  <a:lnTo>
                    <a:pt x="1226" y="213"/>
                  </a:lnTo>
                  <a:lnTo>
                    <a:pt x="1226" y="211"/>
                  </a:lnTo>
                  <a:lnTo>
                    <a:pt x="1224" y="211"/>
                  </a:lnTo>
                  <a:lnTo>
                    <a:pt x="1224" y="209"/>
                  </a:lnTo>
                  <a:lnTo>
                    <a:pt x="1222" y="209"/>
                  </a:lnTo>
                  <a:lnTo>
                    <a:pt x="1222" y="211"/>
                  </a:lnTo>
                  <a:lnTo>
                    <a:pt x="1224" y="211"/>
                  </a:lnTo>
                  <a:lnTo>
                    <a:pt x="1224" y="213"/>
                  </a:lnTo>
                  <a:lnTo>
                    <a:pt x="1226" y="213"/>
                  </a:lnTo>
                  <a:lnTo>
                    <a:pt x="1226" y="216"/>
                  </a:lnTo>
                  <a:lnTo>
                    <a:pt x="1229" y="216"/>
                  </a:lnTo>
                  <a:lnTo>
                    <a:pt x="1226" y="216"/>
                  </a:lnTo>
                  <a:lnTo>
                    <a:pt x="1224" y="216"/>
                  </a:lnTo>
                  <a:lnTo>
                    <a:pt x="1226" y="216"/>
                  </a:lnTo>
                  <a:lnTo>
                    <a:pt x="1224" y="216"/>
                  </a:lnTo>
                  <a:lnTo>
                    <a:pt x="1226" y="216"/>
                  </a:lnTo>
                  <a:lnTo>
                    <a:pt x="1229" y="216"/>
                  </a:lnTo>
                  <a:lnTo>
                    <a:pt x="1231" y="216"/>
                  </a:lnTo>
                  <a:lnTo>
                    <a:pt x="1231" y="218"/>
                  </a:lnTo>
                  <a:lnTo>
                    <a:pt x="1233" y="218"/>
                  </a:lnTo>
                  <a:lnTo>
                    <a:pt x="1231" y="218"/>
                  </a:lnTo>
                  <a:lnTo>
                    <a:pt x="1233" y="218"/>
                  </a:lnTo>
                  <a:lnTo>
                    <a:pt x="1236" y="221"/>
                  </a:lnTo>
                  <a:lnTo>
                    <a:pt x="1238" y="221"/>
                  </a:lnTo>
                  <a:lnTo>
                    <a:pt x="1240" y="223"/>
                  </a:lnTo>
                  <a:lnTo>
                    <a:pt x="1240" y="225"/>
                  </a:lnTo>
                  <a:lnTo>
                    <a:pt x="1238" y="225"/>
                  </a:lnTo>
                  <a:lnTo>
                    <a:pt x="1238" y="228"/>
                  </a:lnTo>
                  <a:lnTo>
                    <a:pt x="1236" y="228"/>
                  </a:lnTo>
                  <a:lnTo>
                    <a:pt x="1236" y="230"/>
                  </a:lnTo>
                  <a:lnTo>
                    <a:pt x="1233" y="232"/>
                  </a:lnTo>
                  <a:lnTo>
                    <a:pt x="1233" y="230"/>
                  </a:lnTo>
                  <a:lnTo>
                    <a:pt x="1233" y="232"/>
                  </a:lnTo>
                  <a:lnTo>
                    <a:pt x="1231" y="232"/>
                  </a:lnTo>
                  <a:lnTo>
                    <a:pt x="1229" y="235"/>
                  </a:lnTo>
                  <a:lnTo>
                    <a:pt x="1229" y="232"/>
                  </a:lnTo>
                  <a:lnTo>
                    <a:pt x="1229" y="235"/>
                  </a:lnTo>
                  <a:lnTo>
                    <a:pt x="1229" y="232"/>
                  </a:lnTo>
                  <a:lnTo>
                    <a:pt x="1226" y="232"/>
                  </a:lnTo>
                  <a:lnTo>
                    <a:pt x="1226" y="230"/>
                  </a:lnTo>
                  <a:lnTo>
                    <a:pt x="1224" y="230"/>
                  </a:lnTo>
                  <a:lnTo>
                    <a:pt x="1226" y="232"/>
                  </a:lnTo>
                  <a:lnTo>
                    <a:pt x="1226" y="230"/>
                  </a:lnTo>
                  <a:lnTo>
                    <a:pt x="1226" y="232"/>
                  </a:lnTo>
                  <a:lnTo>
                    <a:pt x="1224" y="232"/>
                  </a:lnTo>
                  <a:lnTo>
                    <a:pt x="1226" y="232"/>
                  </a:lnTo>
                  <a:lnTo>
                    <a:pt x="1226" y="235"/>
                  </a:lnTo>
                  <a:lnTo>
                    <a:pt x="1226" y="232"/>
                  </a:lnTo>
                  <a:lnTo>
                    <a:pt x="1226" y="235"/>
                  </a:lnTo>
                  <a:lnTo>
                    <a:pt x="1224" y="235"/>
                  </a:lnTo>
                  <a:lnTo>
                    <a:pt x="1224" y="237"/>
                  </a:lnTo>
                  <a:lnTo>
                    <a:pt x="1222" y="237"/>
                  </a:lnTo>
                  <a:lnTo>
                    <a:pt x="1219" y="237"/>
                  </a:lnTo>
                  <a:lnTo>
                    <a:pt x="1217" y="237"/>
                  </a:lnTo>
                  <a:lnTo>
                    <a:pt x="1214" y="237"/>
                  </a:lnTo>
                  <a:lnTo>
                    <a:pt x="1212" y="237"/>
                  </a:lnTo>
                  <a:lnTo>
                    <a:pt x="1210" y="237"/>
                  </a:lnTo>
                  <a:lnTo>
                    <a:pt x="1207" y="237"/>
                  </a:lnTo>
                  <a:lnTo>
                    <a:pt x="1205" y="237"/>
                  </a:lnTo>
                  <a:lnTo>
                    <a:pt x="1203" y="237"/>
                  </a:lnTo>
                  <a:lnTo>
                    <a:pt x="1203" y="235"/>
                  </a:lnTo>
                  <a:lnTo>
                    <a:pt x="1200" y="235"/>
                  </a:lnTo>
                  <a:lnTo>
                    <a:pt x="1203" y="235"/>
                  </a:lnTo>
                  <a:lnTo>
                    <a:pt x="1200" y="232"/>
                  </a:lnTo>
                  <a:lnTo>
                    <a:pt x="1203" y="232"/>
                  </a:lnTo>
                  <a:lnTo>
                    <a:pt x="1200" y="232"/>
                  </a:lnTo>
                  <a:lnTo>
                    <a:pt x="1203" y="232"/>
                  </a:lnTo>
                  <a:lnTo>
                    <a:pt x="1203" y="230"/>
                  </a:lnTo>
                  <a:lnTo>
                    <a:pt x="1203" y="232"/>
                  </a:lnTo>
                  <a:lnTo>
                    <a:pt x="1200" y="230"/>
                  </a:lnTo>
                  <a:lnTo>
                    <a:pt x="1203" y="230"/>
                  </a:lnTo>
                  <a:lnTo>
                    <a:pt x="1200" y="230"/>
                  </a:lnTo>
                  <a:lnTo>
                    <a:pt x="1203" y="230"/>
                  </a:lnTo>
                  <a:lnTo>
                    <a:pt x="1200" y="230"/>
                  </a:lnTo>
                  <a:lnTo>
                    <a:pt x="1203" y="230"/>
                  </a:lnTo>
                  <a:lnTo>
                    <a:pt x="1200" y="230"/>
                  </a:lnTo>
                  <a:lnTo>
                    <a:pt x="1200" y="228"/>
                  </a:lnTo>
                  <a:lnTo>
                    <a:pt x="1200" y="230"/>
                  </a:lnTo>
                  <a:lnTo>
                    <a:pt x="1200" y="228"/>
                  </a:lnTo>
                  <a:lnTo>
                    <a:pt x="1198" y="228"/>
                  </a:lnTo>
                  <a:lnTo>
                    <a:pt x="1198" y="225"/>
                  </a:lnTo>
                  <a:lnTo>
                    <a:pt x="1195" y="225"/>
                  </a:lnTo>
                  <a:lnTo>
                    <a:pt x="1198" y="225"/>
                  </a:lnTo>
                  <a:lnTo>
                    <a:pt x="1195" y="225"/>
                  </a:lnTo>
                  <a:lnTo>
                    <a:pt x="1195" y="223"/>
                  </a:lnTo>
                  <a:lnTo>
                    <a:pt x="1193" y="223"/>
                  </a:lnTo>
                  <a:lnTo>
                    <a:pt x="1195" y="223"/>
                  </a:lnTo>
                  <a:lnTo>
                    <a:pt x="1195" y="225"/>
                  </a:lnTo>
                  <a:lnTo>
                    <a:pt x="1195" y="223"/>
                  </a:lnTo>
                  <a:lnTo>
                    <a:pt x="1195" y="225"/>
                  </a:lnTo>
                  <a:lnTo>
                    <a:pt x="1198" y="225"/>
                  </a:lnTo>
                  <a:lnTo>
                    <a:pt x="1195" y="225"/>
                  </a:lnTo>
                  <a:lnTo>
                    <a:pt x="1195" y="228"/>
                  </a:lnTo>
                  <a:lnTo>
                    <a:pt x="1198" y="228"/>
                  </a:lnTo>
                  <a:lnTo>
                    <a:pt x="1200" y="228"/>
                  </a:lnTo>
                  <a:lnTo>
                    <a:pt x="1200" y="230"/>
                  </a:lnTo>
                  <a:lnTo>
                    <a:pt x="1198" y="230"/>
                  </a:lnTo>
                  <a:lnTo>
                    <a:pt x="1200" y="230"/>
                  </a:lnTo>
                  <a:lnTo>
                    <a:pt x="1198" y="230"/>
                  </a:lnTo>
                  <a:lnTo>
                    <a:pt x="1200" y="230"/>
                  </a:lnTo>
                  <a:lnTo>
                    <a:pt x="1198" y="230"/>
                  </a:lnTo>
                  <a:lnTo>
                    <a:pt x="1200" y="230"/>
                  </a:lnTo>
                  <a:lnTo>
                    <a:pt x="1198" y="230"/>
                  </a:lnTo>
                  <a:lnTo>
                    <a:pt x="1200" y="230"/>
                  </a:lnTo>
                  <a:lnTo>
                    <a:pt x="1198" y="230"/>
                  </a:lnTo>
                  <a:lnTo>
                    <a:pt x="1200" y="232"/>
                  </a:lnTo>
                  <a:lnTo>
                    <a:pt x="1200" y="235"/>
                  </a:lnTo>
                  <a:lnTo>
                    <a:pt x="1200" y="232"/>
                  </a:lnTo>
                  <a:lnTo>
                    <a:pt x="1200" y="235"/>
                  </a:lnTo>
                  <a:lnTo>
                    <a:pt x="1198" y="235"/>
                  </a:lnTo>
                  <a:lnTo>
                    <a:pt x="1195" y="235"/>
                  </a:lnTo>
                  <a:lnTo>
                    <a:pt x="1195" y="232"/>
                  </a:lnTo>
                  <a:lnTo>
                    <a:pt x="1195" y="235"/>
                  </a:lnTo>
                  <a:lnTo>
                    <a:pt x="1195" y="232"/>
                  </a:lnTo>
                  <a:lnTo>
                    <a:pt x="1193" y="232"/>
                  </a:lnTo>
                  <a:lnTo>
                    <a:pt x="1191" y="232"/>
                  </a:lnTo>
                  <a:lnTo>
                    <a:pt x="1188" y="232"/>
                  </a:lnTo>
                  <a:lnTo>
                    <a:pt x="1186" y="232"/>
                  </a:lnTo>
                  <a:lnTo>
                    <a:pt x="1184" y="232"/>
                  </a:lnTo>
                  <a:lnTo>
                    <a:pt x="1181" y="232"/>
                  </a:lnTo>
                  <a:lnTo>
                    <a:pt x="1179" y="232"/>
                  </a:lnTo>
                  <a:lnTo>
                    <a:pt x="1176" y="232"/>
                  </a:lnTo>
                  <a:lnTo>
                    <a:pt x="1176" y="230"/>
                  </a:lnTo>
                  <a:lnTo>
                    <a:pt x="1176" y="228"/>
                  </a:lnTo>
                  <a:lnTo>
                    <a:pt x="1174" y="228"/>
                  </a:lnTo>
                  <a:lnTo>
                    <a:pt x="1172" y="228"/>
                  </a:lnTo>
                  <a:lnTo>
                    <a:pt x="1169" y="228"/>
                  </a:lnTo>
                  <a:lnTo>
                    <a:pt x="1169" y="225"/>
                  </a:lnTo>
                  <a:lnTo>
                    <a:pt x="1169" y="228"/>
                  </a:lnTo>
                  <a:lnTo>
                    <a:pt x="1167" y="225"/>
                  </a:lnTo>
                  <a:lnTo>
                    <a:pt x="1165" y="225"/>
                  </a:lnTo>
                  <a:lnTo>
                    <a:pt x="1162" y="225"/>
                  </a:lnTo>
                  <a:lnTo>
                    <a:pt x="1160" y="225"/>
                  </a:lnTo>
                  <a:lnTo>
                    <a:pt x="1160" y="228"/>
                  </a:lnTo>
                  <a:lnTo>
                    <a:pt x="1157" y="228"/>
                  </a:lnTo>
                  <a:lnTo>
                    <a:pt x="1155" y="228"/>
                  </a:lnTo>
                  <a:lnTo>
                    <a:pt x="1155" y="230"/>
                  </a:lnTo>
                  <a:lnTo>
                    <a:pt x="1155" y="228"/>
                  </a:lnTo>
                  <a:lnTo>
                    <a:pt x="1155" y="230"/>
                  </a:lnTo>
                  <a:lnTo>
                    <a:pt x="1155" y="228"/>
                  </a:lnTo>
                  <a:lnTo>
                    <a:pt x="1155" y="230"/>
                  </a:lnTo>
                  <a:lnTo>
                    <a:pt x="1153" y="230"/>
                  </a:lnTo>
                  <a:lnTo>
                    <a:pt x="1153" y="228"/>
                  </a:lnTo>
                  <a:lnTo>
                    <a:pt x="1150" y="230"/>
                  </a:lnTo>
                  <a:lnTo>
                    <a:pt x="1148" y="230"/>
                  </a:lnTo>
                  <a:lnTo>
                    <a:pt x="1148" y="232"/>
                  </a:lnTo>
                  <a:lnTo>
                    <a:pt x="1146" y="232"/>
                  </a:lnTo>
                  <a:lnTo>
                    <a:pt x="1143" y="232"/>
                  </a:lnTo>
                  <a:lnTo>
                    <a:pt x="1141" y="232"/>
                  </a:lnTo>
                  <a:lnTo>
                    <a:pt x="1138" y="232"/>
                  </a:lnTo>
                  <a:lnTo>
                    <a:pt x="1138" y="230"/>
                  </a:lnTo>
                  <a:lnTo>
                    <a:pt x="1138" y="232"/>
                  </a:lnTo>
                  <a:lnTo>
                    <a:pt x="1138" y="230"/>
                  </a:lnTo>
                  <a:lnTo>
                    <a:pt x="1136" y="232"/>
                  </a:lnTo>
                  <a:lnTo>
                    <a:pt x="1136" y="230"/>
                  </a:lnTo>
                  <a:lnTo>
                    <a:pt x="1138" y="230"/>
                  </a:lnTo>
                  <a:lnTo>
                    <a:pt x="1138" y="228"/>
                  </a:lnTo>
                  <a:lnTo>
                    <a:pt x="1138" y="230"/>
                  </a:lnTo>
                  <a:lnTo>
                    <a:pt x="1138" y="228"/>
                  </a:lnTo>
                  <a:lnTo>
                    <a:pt x="1141" y="228"/>
                  </a:lnTo>
                  <a:lnTo>
                    <a:pt x="1143" y="228"/>
                  </a:lnTo>
                  <a:lnTo>
                    <a:pt x="1141" y="228"/>
                  </a:lnTo>
                  <a:lnTo>
                    <a:pt x="1143" y="228"/>
                  </a:lnTo>
                  <a:lnTo>
                    <a:pt x="1146" y="228"/>
                  </a:lnTo>
                  <a:lnTo>
                    <a:pt x="1143" y="228"/>
                  </a:lnTo>
                  <a:lnTo>
                    <a:pt x="1146" y="228"/>
                  </a:lnTo>
                  <a:lnTo>
                    <a:pt x="1143" y="228"/>
                  </a:lnTo>
                  <a:lnTo>
                    <a:pt x="1146" y="228"/>
                  </a:lnTo>
                  <a:lnTo>
                    <a:pt x="1146" y="225"/>
                  </a:lnTo>
                  <a:lnTo>
                    <a:pt x="1148" y="225"/>
                  </a:lnTo>
                  <a:lnTo>
                    <a:pt x="1150" y="225"/>
                  </a:lnTo>
                  <a:lnTo>
                    <a:pt x="1150" y="223"/>
                  </a:lnTo>
                  <a:lnTo>
                    <a:pt x="1148" y="223"/>
                  </a:lnTo>
                  <a:lnTo>
                    <a:pt x="1146" y="225"/>
                  </a:lnTo>
                  <a:lnTo>
                    <a:pt x="1146" y="223"/>
                  </a:lnTo>
                  <a:lnTo>
                    <a:pt x="1143" y="223"/>
                  </a:lnTo>
                  <a:lnTo>
                    <a:pt x="1141" y="223"/>
                  </a:lnTo>
                  <a:lnTo>
                    <a:pt x="1143" y="223"/>
                  </a:lnTo>
                  <a:lnTo>
                    <a:pt x="1143" y="221"/>
                  </a:lnTo>
                  <a:lnTo>
                    <a:pt x="1146" y="221"/>
                  </a:lnTo>
                  <a:lnTo>
                    <a:pt x="1143" y="221"/>
                  </a:lnTo>
                  <a:lnTo>
                    <a:pt x="1146" y="221"/>
                  </a:lnTo>
                  <a:lnTo>
                    <a:pt x="1146" y="218"/>
                  </a:lnTo>
                  <a:lnTo>
                    <a:pt x="1148" y="218"/>
                  </a:lnTo>
                  <a:lnTo>
                    <a:pt x="1150" y="218"/>
                  </a:lnTo>
                  <a:lnTo>
                    <a:pt x="1150" y="216"/>
                  </a:lnTo>
                  <a:lnTo>
                    <a:pt x="1150" y="218"/>
                  </a:lnTo>
                  <a:lnTo>
                    <a:pt x="1150" y="216"/>
                  </a:lnTo>
                  <a:lnTo>
                    <a:pt x="1153" y="216"/>
                  </a:lnTo>
                  <a:lnTo>
                    <a:pt x="1155" y="216"/>
                  </a:lnTo>
                  <a:lnTo>
                    <a:pt x="1157" y="216"/>
                  </a:lnTo>
                  <a:lnTo>
                    <a:pt x="1157" y="213"/>
                  </a:lnTo>
                  <a:lnTo>
                    <a:pt x="1157" y="216"/>
                  </a:lnTo>
                  <a:lnTo>
                    <a:pt x="1157" y="213"/>
                  </a:lnTo>
                  <a:lnTo>
                    <a:pt x="1160" y="213"/>
                  </a:lnTo>
                  <a:lnTo>
                    <a:pt x="1162" y="213"/>
                  </a:lnTo>
                  <a:lnTo>
                    <a:pt x="1165" y="213"/>
                  </a:lnTo>
                  <a:lnTo>
                    <a:pt x="1165" y="211"/>
                  </a:lnTo>
                  <a:lnTo>
                    <a:pt x="1167" y="211"/>
                  </a:lnTo>
                  <a:lnTo>
                    <a:pt x="1169" y="211"/>
                  </a:lnTo>
                  <a:lnTo>
                    <a:pt x="1172" y="211"/>
                  </a:lnTo>
                  <a:lnTo>
                    <a:pt x="1172" y="209"/>
                  </a:lnTo>
                  <a:lnTo>
                    <a:pt x="1174" y="209"/>
                  </a:lnTo>
                  <a:lnTo>
                    <a:pt x="1174" y="211"/>
                  </a:lnTo>
                  <a:lnTo>
                    <a:pt x="1176" y="209"/>
                  </a:lnTo>
                  <a:lnTo>
                    <a:pt x="1179" y="209"/>
                  </a:lnTo>
                  <a:lnTo>
                    <a:pt x="1179" y="211"/>
                  </a:lnTo>
                  <a:lnTo>
                    <a:pt x="1181" y="211"/>
                  </a:lnTo>
                  <a:lnTo>
                    <a:pt x="1184" y="211"/>
                  </a:lnTo>
                  <a:lnTo>
                    <a:pt x="1181" y="211"/>
                  </a:lnTo>
                  <a:lnTo>
                    <a:pt x="1184" y="211"/>
                  </a:lnTo>
                  <a:lnTo>
                    <a:pt x="1184" y="213"/>
                  </a:lnTo>
                  <a:lnTo>
                    <a:pt x="1184" y="211"/>
                  </a:lnTo>
                  <a:lnTo>
                    <a:pt x="1186" y="211"/>
                  </a:lnTo>
                  <a:lnTo>
                    <a:pt x="1186" y="213"/>
                  </a:lnTo>
                  <a:lnTo>
                    <a:pt x="1186" y="211"/>
                  </a:lnTo>
                  <a:lnTo>
                    <a:pt x="1186" y="213"/>
                  </a:lnTo>
                  <a:lnTo>
                    <a:pt x="1188" y="213"/>
                  </a:lnTo>
                  <a:lnTo>
                    <a:pt x="1191" y="213"/>
                  </a:lnTo>
                  <a:lnTo>
                    <a:pt x="1188" y="213"/>
                  </a:lnTo>
                  <a:lnTo>
                    <a:pt x="1186" y="213"/>
                  </a:lnTo>
                  <a:lnTo>
                    <a:pt x="1186" y="211"/>
                  </a:lnTo>
                  <a:lnTo>
                    <a:pt x="1184" y="211"/>
                  </a:lnTo>
                  <a:lnTo>
                    <a:pt x="1181" y="211"/>
                  </a:lnTo>
                  <a:lnTo>
                    <a:pt x="1181" y="209"/>
                  </a:lnTo>
                  <a:lnTo>
                    <a:pt x="1179" y="209"/>
                  </a:lnTo>
                  <a:lnTo>
                    <a:pt x="1176" y="209"/>
                  </a:lnTo>
                  <a:lnTo>
                    <a:pt x="1174" y="209"/>
                  </a:lnTo>
                  <a:lnTo>
                    <a:pt x="1172" y="209"/>
                  </a:lnTo>
                  <a:lnTo>
                    <a:pt x="1172" y="206"/>
                  </a:lnTo>
                  <a:lnTo>
                    <a:pt x="1174" y="206"/>
                  </a:lnTo>
                  <a:lnTo>
                    <a:pt x="1174" y="209"/>
                  </a:lnTo>
                  <a:lnTo>
                    <a:pt x="1176" y="206"/>
                  </a:lnTo>
                  <a:lnTo>
                    <a:pt x="1174" y="206"/>
                  </a:lnTo>
                  <a:lnTo>
                    <a:pt x="1172" y="206"/>
                  </a:lnTo>
                  <a:lnTo>
                    <a:pt x="1172" y="209"/>
                  </a:lnTo>
                  <a:lnTo>
                    <a:pt x="1172" y="206"/>
                  </a:lnTo>
                  <a:lnTo>
                    <a:pt x="1172" y="209"/>
                  </a:lnTo>
                  <a:lnTo>
                    <a:pt x="1169" y="209"/>
                  </a:lnTo>
                  <a:lnTo>
                    <a:pt x="1167" y="209"/>
                  </a:lnTo>
                  <a:lnTo>
                    <a:pt x="1165" y="209"/>
                  </a:lnTo>
                  <a:lnTo>
                    <a:pt x="1165" y="211"/>
                  </a:lnTo>
                  <a:lnTo>
                    <a:pt x="1162" y="211"/>
                  </a:lnTo>
                  <a:lnTo>
                    <a:pt x="1162" y="209"/>
                  </a:lnTo>
                  <a:lnTo>
                    <a:pt x="1165" y="209"/>
                  </a:lnTo>
                  <a:lnTo>
                    <a:pt x="1162" y="209"/>
                  </a:lnTo>
                  <a:lnTo>
                    <a:pt x="1160" y="209"/>
                  </a:lnTo>
                  <a:lnTo>
                    <a:pt x="1162" y="209"/>
                  </a:lnTo>
                  <a:lnTo>
                    <a:pt x="1160" y="209"/>
                  </a:lnTo>
                  <a:lnTo>
                    <a:pt x="1160" y="211"/>
                  </a:lnTo>
                  <a:lnTo>
                    <a:pt x="1157" y="211"/>
                  </a:lnTo>
                  <a:lnTo>
                    <a:pt x="1155" y="211"/>
                  </a:lnTo>
                  <a:lnTo>
                    <a:pt x="1155" y="209"/>
                  </a:lnTo>
                  <a:lnTo>
                    <a:pt x="1153" y="209"/>
                  </a:lnTo>
                  <a:lnTo>
                    <a:pt x="1153" y="211"/>
                  </a:lnTo>
                  <a:lnTo>
                    <a:pt x="1150" y="211"/>
                  </a:lnTo>
                  <a:lnTo>
                    <a:pt x="1148" y="211"/>
                  </a:lnTo>
                  <a:lnTo>
                    <a:pt x="1148" y="213"/>
                  </a:lnTo>
                  <a:lnTo>
                    <a:pt x="1146" y="213"/>
                  </a:lnTo>
                  <a:lnTo>
                    <a:pt x="1143" y="213"/>
                  </a:lnTo>
                  <a:lnTo>
                    <a:pt x="1143" y="216"/>
                  </a:lnTo>
                  <a:lnTo>
                    <a:pt x="1141" y="216"/>
                  </a:lnTo>
                  <a:lnTo>
                    <a:pt x="1138" y="213"/>
                  </a:lnTo>
                  <a:lnTo>
                    <a:pt x="1138" y="216"/>
                  </a:lnTo>
                  <a:lnTo>
                    <a:pt x="1136" y="216"/>
                  </a:lnTo>
                  <a:lnTo>
                    <a:pt x="1136" y="213"/>
                  </a:lnTo>
                  <a:lnTo>
                    <a:pt x="1136" y="216"/>
                  </a:lnTo>
                  <a:lnTo>
                    <a:pt x="1134" y="213"/>
                  </a:lnTo>
                  <a:lnTo>
                    <a:pt x="1131" y="213"/>
                  </a:lnTo>
                  <a:lnTo>
                    <a:pt x="1131" y="211"/>
                  </a:lnTo>
                  <a:lnTo>
                    <a:pt x="1129" y="211"/>
                  </a:lnTo>
                  <a:lnTo>
                    <a:pt x="1129" y="209"/>
                  </a:lnTo>
                  <a:lnTo>
                    <a:pt x="1127" y="209"/>
                  </a:lnTo>
                  <a:lnTo>
                    <a:pt x="1124" y="209"/>
                  </a:lnTo>
                  <a:lnTo>
                    <a:pt x="1124" y="206"/>
                  </a:lnTo>
                  <a:lnTo>
                    <a:pt x="1124" y="204"/>
                  </a:lnTo>
                  <a:lnTo>
                    <a:pt x="1127" y="204"/>
                  </a:lnTo>
                  <a:lnTo>
                    <a:pt x="1127" y="206"/>
                  </a:lnTo>
                  <a:lnTo>
                    <a:pt x="1129" y="206"/>
                  </a:lnTo>
                  <a:lnTo>
                    <a:pt x="1131" y="206"/>
                  </a:lnTo>
                  <a:lnTo>
                    <a:pt x="1134" y="204"/>
                  </a:lnTo>
                  <a:lnTo>
                    <a:pt x="1136" y="204"/>
                  </a:lnTo>
                  <a:lnTo>
                    <a:pt x="1136" y="202"/>
                  </a:lnTo>
                  <a:lnTo>
                    <a:pt x="1136" y="199"/>
                  </a:lnTo>
                  <a:lnTo>
                    <a:pt x="1138" y="199"/>
                  </a:lnTo>
                  <a:lnTo>
                    <a:pt x="1141" y="199"/>
                  </a:lnTo>
                  <a:lnTo>
                    <a:pt x="1141" y="197"/>
                  </a:lnTo>
                  <a:lnTo>
                    <a:pt x="1143" y="197"/>
                  </a:lnTo>
                  <a:lnTo>
                    <a:pt x="1146" y="197"/>
                  </a:lnTo>
                  <a:lnTo>
                    <a:pt x="1146" y="194"/>
                  </a:lnTo>
                  <a:lnTo>
                    <a:pt x="1148" y="194"/>
                  </a:lnTo>
                  <a:lnTo>
                    <a:pt x="1150" y="194"/>
                  </a:lnTo>
                  <a:lnTo>
                    <a:pt x="1148" y="194"/>
                  </a:lnTo>
                  <a:lnTo>
                    <a:pt x="1150" y="194"/>
                  </a:lnTo>
                  <a:lnTo>
                    <a:pt x="1153" y="194"/>
                  </a:lnTo>
                  <a:lnTo>
                    <a:pt x="1155" y="194"/>
                  </a:lnTo>
                  <a:lnTo>
                    <a:pt x="1157" y="194"/>
                  </a:lnTo>
                  <a:lnTo>
                    <a:pt x="1155" y="194"/>
                  </a:lnTo>
                  <a:lnTo>
                    <a:pt x="1155" y="192"/>
                  </a:lnTo>
                  <a:lnTo>
                    <a:pt x="1157" y="192"/>
                  </a:lnTo>
                  <a:lnTo>
                    <a:pt x="1157" y="194"/>
                  </a:lnTo>
                  <a:lnTo>
                    <a:pt x="1157" y="192"/>
                  </a:lnTo>
                  <a:lnTo>
                    <a:pt x="1157" y="194"/>
                  </a:lnTo>
                  <a:lnTo>
                    <a:pt x="1160" y="194"/>
                  </a:lnTo>
                  <a:lnTo>
                    <a:pt x="1162" y="194"/>
                  </a:lnTo>
                  <a:lnTo>
                    <a:pt x="1162" y="197"/>
                  </a:lnTo>
                  <a:lnTo>
                    <a:pt x="1162" y="194"/>
                  </a:lnTo>
                  <a:lnTo>
                    <a:pt x="1162" y="197"/>
                  </a:lnTo>
                  <a:lnTo>
                    <a:pt x="1165" y="197"/>
                  </a:lnTo>
                  <a:lnTo>
                    <a:pt x="1167" y="197"/>
                  </a:lnTo>
                  <a:lnTo>
                    <a:pt x="1165" y="197"/>
                  </a:lnTo>
                  <a:lnTo>
                    <a:pt x="1162" y="194"/>
                  </a:lnTo>
                  <a:lnTo>
                    <a:pt x="1165" y="194"/>
                  </a:lnTo>
                  <a:lnTo>
                    <a:pt x="1162" y="194"/>
                  </a:lnTo>
                  <a:lnTo>
                    <a:pt x="1162" y="192"/>
                  </a:lnTo>
                  <a:lnTo>
                    <a:pt x="1160" y="192"/>
                  </a:lnTo>
                  <a:lnTo>
                    <a:pt x="1160" y="194"/>
                  </a:lnTo>
                  <a:lnTo>
                    <a:pt x="1160" y="192"/>
                  </a:lnTo>
                  <a:lnTo>
                    <a:pt x="1160" y="194"/>
                  </a:lnTo>
                  <a:lnTo>
                    <a:pt x="1162" y="194"/>
                  </a:lnTo>
                  <a:lnTo>
                    <a:pt x="1160" y="194"/>
                  </a:lnTo>
                  <a:lnTo>
                    <a:pt x="1160" y="192"/>
                  </a:lnTo>
                  <a:lnTo>
                    <a:pt x="1157" y="192"/>
                  </a:lnTo>
                  <a:lnTo>
                    <a:pt x="1155" y="192"/>
                  </a:lnTo>
                  <a:lnTo>
                    <a:pt x="1153" y="192"/>
                  </a:lnTo>
                  <a:lnTo>
                    <a:pt x="1153" y="190"/>
                  </a:lnTo>
                  <a:lnTo>
                    <a:pt x="1153" y="192"/>
                  </a:lnTo>
                  <a:lnTo>
                    <a:pt x="1153" y="190"/>
                  </a:lnTo>
                  <a:lnTo>
                    <a:pt x="1155" y="190"/>
                  </a:lnTo>
                  <a:lnTo>
                    <a:pt x="1155" y="187"/>
                  </a:lnTo>
                  <a:lnTo>
                    <a:pt x="1155" y="190"/>
                  </a:lnTo>
                  <a:lnTo>
                    <a:pt x="1155" y="187"/>
                  </a:lnTo>
                  <a:lnTo>
                    <a:pt x="1157" y="187"/>
                  </a:lnTo>
                  <a:lnTo>
                    <a:pt x="1157" y="185"/>
                  </a:lnTo>
                  <a:lnTo>
                    <a:pt x="1160" y="185"/>
                  </a:lnTo>
                  <a:lnTo>
                    <a:pt x="1162" y="185"/>
                  </a:lnTo>
                  <a:lnTo>
                    <a:pt x="1162" y="183"/>
                  </a:lnTo>
                  <a:lnTo>
                    <a:pt x="1165" y="183"/>
                  </a:lnTo>
                  <a:lnTo>
                    <a:pt x="1167" y="183"/>
                  </a:lnTo>
                  <a:lnTo>
                    <a:pt x="1167" y="180"/>
                  </a:lnTo>
                  <a:lnTo>
                    <a:pt x="1169" y="180"/>
                  </a:lnTo>
                  <a:lnTo>
                    <a:pt x="1169" y="183"/>
                  </a:lnTo>
                  <a:lnTo>
                    <a:pt x="1169" y="180"/>
                  </a:lnTo>
                  <a:lnTo>
                    <a:pt x="1172" y="180"/>
                  </a:lnTo>
                  <a:lnTo>
                    <a:pt x="1174" y="180"/>
                  </a:lnTo>
                  <a:lnTo>
                    <a:pt x="1174" y="183"/>
                  </a:lnTo>
                  <a:lnTo>
                    <a:pt x="1176" y="183"/>
                  </a:lnTo>
                  <a:lnTo>
                    <a:pt x="1179" y="183"/>
                  </a:lnTo>
                  <a:lnTo>
                    <a:pt x="1176" y="183"/>
                  </a:lnTo>
                  <a:lnTo>
                    <a:pt x="1179" y="183"/>
                  </a:lnTo>
                  <a:lnTo>
                    <a:pt x="1181" y="183"/>
                  </a:lnTo>
                  <a:lnTo>
                    <a:pt x="1184" y="183"/>
                  </a:lnTo>
                  <a:lnTo>
                    <a:pt x="1186" y="183"/>
                  </a:lnTo>
                  <a:lnTo>
                    <a:pt x="1186" y="185"/>
                  </a:lnTo>
                  <a:lnTo>
                    <a:pt x="1188" y="185"/>
                  </a:lnTo>
                  <a:lnTo>
                    <a:pt x="1191" y="185"/>
                  </a:lnTo>
                  <a:lnTo>
                    <a:pt x="1193" y="185"/>
                  </a:lnTo>
                  <a:lnTo>
                    <a:pt x="1193" y="187"/>
                  </a:lnTo>
                  <a:lnTo>
                    <a:pt x="1195" y="187"/>
                  </a:lnTo>
                  <a:lnTo>
                    <a:pt x="1195" y="190"/>
                  </a:lnTo>
                  <a:lnTo>
                    <a:pt x="1195" y="187"/>
                  </a:lnTo>
                  <a:lnTo>
                    <a:pt x="1198" y="187"/>
                  </a:lnTo>
                  <a:lnTo>
                    <a:pt x="1195" y="187"/>
                  </a:lnTo>
                  <a:lnTo>
                    <a:pt x="1198" y="187"/>
                  </a:lnTo>
                  <a:lnTo>
                    <a:pt x="1198" y="190"/>
                  </a:lnTo>
                  <a:lnTo>
                    <a:pt x="1200" y="190"/>
                  </a:lnTo>
                  <a:lnTo>
                    <a:pt x="1203" y="190"/>
                  </a:lnTo>
                  <a:lnTo>
                    <a:pt x="1203" y="187"/>
                  </a:lnTo>
                  <a:lnTo>
                    <a:pt x="1203" y="190"/>
                  </a:lnTo>
                  <a:lnTo>
                    <a:pt x="1205" y="190"/>
                  </a:lnTo>
                  <a:lnTo>
                    <a:pt x="1205" y="187"/>
                  </a:lnTo>
                  <a:lnTo>
                    <a:pt x="1205" y="190"/>
                  </a:lnTo>
                  <a:lnTo>
                    <a:pt x="1205" y="187"/>
                  </a:lnTo>
                  <a:lnTo>
                    <a:pt x="1207" y="187"/>
                  </a:lnTo>
                  <a:lnTo>
                    <a:pt x="1210" y="187"/>
                  </a:lnTo>
                  <a:lnTo>
                    <a:pt x="1210" y="190"/>
                  </a:lnTo>
                  <a:lnTo>
                    <a:pt x="1212" y="190"/>
                  </a:lnTo>
                  <a:lnTo>
                    <a:pt x="1210" y="190"/>
                  </a:lnTo>
                  <a:lnTo>
                    <a:pt x="1210" y="187"/>
                  </a:lnTo>
                  <a:lnTo>
                    <a:pt x="1207" y="187"/>
                  </a:lnTo>
                  <a:lnTo>
                    <a:pt x="1205" y="187"/>
                  </a:lnTo>
                  <a:lnTo>
                    <a:pt x="1203" y="187"/>
                  </a:lnTo>
                  <a:lnTo>
                    <a:pt x="1205" y="187"/>
                  </a:lnTo>
                  <a:lnTo>
                    <a:pt x="1203" y="187"/>
                  </a:lnTo>
                  <a:lnTo>
                    <a:pt x="1205" y="187"/>
                  </a:lnTo>
                  <a:lnTo>
                    <a:pt x="1203" y="187"/>
                  </a:lnTo>
                  <a:lnTo>
                    <a:pt x="1200" y="187"/>
                  </a:lnTo>
                  <a:lnTo>
                    <a:pt x="1198" y="187"/>
                  </a:lnTo>
                  <a:lnTo>
                    <a:pt x="1195" y="187"/>
                  </a:lnTo>
                  <a:lnTo>
                    <a:pt x="1195" y="185"/>
                  </a:lnTo>
                  <a:lnTo>
                    <a:pt x="1198" y="185"/>
                  </a:lnTo>
                  <a:lnTo>
                    <a:pt x="1198" y="183"/>
                  </a:lnTo>
                  <a:lnTo>
                    <a:pt x="1198" y="185"/>
                  </a:lnTo>
                  <a:lnTo>
                    <a:pt x="1198" y="183"/>
                  </a:lnTo>
                  <a:lnTo>
                    <a:pt x="1198" y="185"/>
                  </a:lnTo>
                  <a:lnTo>
                    <a:pt x="1195" y="185"/>
                  </a:lnTo>
                  <a:lnTo>
                    <a:pt x="1193" y="185"/>
                  </a:lnTo>
                  <a:lnTo>
                    <a:pt x="1193" y="183"/>
                  </a:lnTo>
                  <a:lnTo>
                    <a:pt x="1191" y="183"/>
                  </a:lnTo>
                  <a:lnTo>
                    <a:pt x="1188" y="183"/>
                  </a:lnTo>
                  <a:lnTo>
                    <a:pt x="1186" y="183"/>
                  </a:lnTo>
                  <a:lnTo>
                    <a:pt x="1188" y="180"/>
                  </a:lnTo>
                  <a:lnTo>
                    <a:pt x="1186" y="180"/>
                  </a:lnTo>
                  <a:lnTo>
                    <a:pt x="1188" y="180"/>
                  </a:lnTo>
                  <a:lnTo>
                    <a:pt x="1186" y="180"/>
                  </a:lnTo>
                  <a:lnTo>
                    <a:pt x="1186" y="178"/>
                  </a:lnTo>
                  <a:lnTo>
                    <a:pt x="1184" y="180"/>
                  </a:lnTo>
                  <a:lnTo>
                    <a:pt x="1184" y="178"/>
                  </a:lnTo>
                  <a:lnTo>
                    <a:pt x="1181" y="178"/>
                  </a:lnTo>
                  <a:lnTo>
                    <a:pt x="1179" y="178"/>
                  </a:lnTo>
                  <a:lnTo>
                    <a:pt x="1176" y="178"/>
                  </a:lnTo>
                  <a:lnTo>
                    <a:pt x="1176" y="175"/>
                  </a:lnTo>
                  <a:lnTo>
                    <a:pt x="1176" y="178"/>
                  </a:lnTo>
                  <a:lnTo>
                    <a:pt x="1174" y="175"/>
                  </a:lnTo>
                  <a:lnTo>
                    <a:pt x="1172" y="175"/>
                  </a:lnTo>
                  <a:lnTo>
                    <a:pt x="1169" y="175"/>
                  </a:lnTo>
                  <a:lnTo>
                    <a:pt x="1172" y="175"/>
                  </a:lnTo>
                  <a:lnTo>
                    <a:pt x="1172" y="173"/>
                  </a:lnTo>
                  <a:lnTo>
                    <a:pt x="1174" y="173"/>
                  </a:lnTo>
                  <a:lnTo>
                    <a:pt x="1176" y="173"/>
                  </a:lnTo>
                  <a:lnTo>
                    <a:pt x="1174" y="173"/>
                  </a:lnTo>
                  <a:lnTo>
                    <a:pt x="1174" y="175"/>
                  </a:lnTo>
                  <a:lnTo>
                    <a:pt x="1176" y="175"/>
                  </a:lnTo>
                  <a:lnTo>
                    <a:pt x="1176" y="173"/>
                  </a:lnTo>
                  <a:lnTo>
                    <a:pt x="1179" y="173"/>
                  </a:lnTo>
                  <a:lnTo>
                    <a:pt x="1181" y="173"/>
                  </a:lnTo>
                  <a:lnTo>
                    <a:pt x="1184" y="173"/>
                  </a:lnTo>
                  <a:lnTo>
                    <a:pt x="1186" y="173"/>
                  </a:lnTo>
                  <a:lnTo>
                    <a:pt x="1188" y="173"/>
                  </a:lnTo>
                  <a:lnTo>
                    <a:pt x="1188" y="175"/>
                  </a:lnTo>
                  <a:lnTo>
                    <a:pt x="1191" y="175"/>
                  </a:lnTo>
                  <a:lnTo>
                    <a:pt x="1191" y="173"/>
                  </a:lnTo>
                  <a:lnTo>
                    <a:pt x="1193" y="173"/>
                  </a:lnTo>
                  <a:lnTo>
                    <a:pt x="1191" y="173"/>
                  </a:lnTo>
                  <a:lnTo>
                    <a:pt x="1193" y="173"/>
                  </a:lnTo>
                  <a:lnTo>
                    <a:pt x="1191" y="173"/>
                  </a:lnTo>
                  <a:lnTo>
                    <a:pt x="1191" y="171"/>
                  </a:lnTo>
                  <a:lnTo>
                    <a:pt x="1188" y="171"/>
                  </a:lnTo>
                  <a:lnTo>
                    <a:pt x="1186" y="171"/>
                  </a:lnTo>
                  <a:lnTo>
                    <a:pt x="1184" y="171"/>
                  </a:lnTo>
                  <a:lnTo>
                    <a:pt x="1184" y="168"/>
                  </a:lnTo>
                  <a:lnTo>
                    <a:pt x="1181" y="168"/>
                  </a:lnTo>
                  <a:lnTo>
                    <a:pt x="1179" y="168"/>
                  </a:lnTo>
                  <a:lnTo>
                    <a:pt x="1176" y="168"/>
                  </a:lnTo>
                  <a:lnTo>
                    <a:pt x="1179" y="168"/>
                  </a:lnTo>
                  <a:lnTo>
                    <a:pt x="1179" y="166"/>
                  </a:lnTo>
                  <a:lnTo>
                    <a:pt x="1181" y="166"/>
                  </a:lnTo>
                  <a:lnTo>
                    <a:pt x="1184" y="166"/>
                  </a:lnTo>
                  <a:lnTo>
                    <a:pt x="1186" y="166"/>
                  </a:lnTo>
                  <a:lnTo>
                    <a:pt x="1186" y="164"/>
                  </a:lnTo>
                  <a:lnTo>
                    <a:pt x="1186" y="166"/>
                  </a:lnTo>
                  <a:lnTo>
                    <a:pt x="1186" y="164"/>
                  </a:lnTo>
                  <a:lnTo>
                    <a:pt x="1188" y="164"/>
                  </a:lnTo>
                  <a:lnTo>
                    <a:pt x="1191" y="164"/>
                  </a:lnTo>
                  <a:lnTo>
                    <a:pt x="1193" y="164"/>
                  </a:lnTo>
                  <a:lnTo>
                    <a:pt x="1195" y="164"/>
                  </a:lnTo>
                  <a:lnTo>
                    <a:pt x="1198" y="164"/>
                  </a:lnTo>
                  <a:lnTo>
                    <a:pt x="1200" y="164"/>
                  </a:lnTo>
                  <a:lnTo>
                    <a:pt x="1203" y="164"/>
                  </a:lnTo>
                  <a:lnTo>
                    <a:pt x="1200" y="164"/>
                  </a:lnTo>
                  <a:lnTo>
                    <a:pt x="1203" y="164"/>
                  </a:lnTo>
                  <a:lnTo>
                    <a:pt x="1205" y="164"/>
                  </a:lnTo>
                  <a:lnTo>
                    <a:pt x="1205" y="161"/>
                  </a:lnTo>
                  <a:lnTo>
                    <a:pt x="1205" y="164"/>
                  </a:lnTo>
                  <a:lnTo>
                    <a:pt x="1207" y="164"/>
                  </a:lnTo>
                  <a:lnTo>
                    <a:pt x="1207" y="161"/>
                  </a:lnTo>
                  <a:lnTo>
                    <a:pt x="1207" y="164"/>
                  </a:lnTo>
                  <a:lnTo>
                    <a:pt x="1207" y="161"/>
                  </a:lnTo>
                  <a:lnTo>
                    <a:pt x="1210" y="161"/>
                  </a:lnTo>
                  <a:lnTo>
                    <a:pt x="1212" y="161"/>
                  </a:lnTo>
                  <a:lnTo>
                    <a:pt x="1214" y="161"/>
                  </a:lnTo>
                  <a:lnTo>
                    <a:pt x="1214" y="164"/>
                  </a:lnTo>
                  <a:lnTo>
                    <a:pt x="1217" y="164"/>
                  </a:lnTo>
                  <a:lnTo>
                    <a:pt x="1219" y="164"/>
                  </a:lnTo>
                  <a:lnTo>
                    <a:pt x="1222" y="164"/>
                  </a:lnTo>
                  <a:lnTo>
                    <a:pt x="1224" y="166"/>
                  </a:lnTo>
                  <a:lnTo>
                    <a:pt x="1226" y="166"/>
                  </a:lnTo>
                  <a:lnTo>
                    <a:pt x="1229" y="166"/>
                  </a:lnTo>
                  <a:lnTo>
                    <a:pt x="1226" y="166"/>
                  </a:lnTo>
                  <a:lnTo>
                    <a:pt x="1229" y="166"/>
                  </a:lnTo>
                  <a:lnTo>
                    <a:pt x="1229" y="168"/>
                  </a:lnTo>
                  <a:lnTo>
                    <a:pt x="1231" y="166"/>
                  </a:lnTo>
                  <a:lnTo>
                    <a:pt x="1231" y="168"/>
                  </a:lnTo>
                  <a:lnTo>
                    <a:pt x="1233" y="168"/>
                  </a:lnTo>
                  <a:lnTo>
                    <a:pt x="1236" y="168"/>
                  </a:lnTo>
                  <a:lnTo>
                    <a:pt x="1233" y="168"/>
                  </a:lnTo>
                  <a:lnTo>
                    <a:pt x="1233" y="166"/>
                  </a:lnTo>
                  <a:lnTo>
                    <a:pt x="1231" y="166"/>
                  </a:lnTo>
                  <a:lnTo>
                    <a:pt x="1229" y="166"/>
                  </a:lnTo>
                  <a:lnTo>
                    <a:pt x="1229" y="164"/>
                  </a:lnTo>
                  <a:lnTo>
                    <a:pt x="1226" y="164"/>
                  </a:lnTo>
                  <a:lnTo>
                    <a:pt x="1224" y="164"/>
                  </a:lnTo>
                  <a:lnTo>
                    <a:pt x="1222" y="164"/>
                  </a:lnTo>
                  <a:lnTo>
                    <a:pt x="1222" y="161"/>
                  </a:lnTo>
                  <a:lnTo>
                    <a:pt x="1219" y="161"/>
                  </a:lnTo>
                  <a:lnTo>
                    <a:pt x="1217" y="161"/>
                  </a:lnTo>
                  <a:lnTo>
                    <a:pt x="1214" y="161"/>
                  </a:lnTo>
                  <a:lnTo>
                    <a:pt x="1212" y="161"/>
                  </a:lnTo>
                  <a:lnTo>
                    <a:pt x="1214" y="161"/>
                  </a:lnTo>
                  <a:lnTo>
                    <a:pt x="1212" y="161"/>
                  </a:lnTo>
                  <a:lnTo>
                    <a:pt x="1214" y="161"/>
                  </a:lnTo>
                  <a:lnTo>
                    <a:pt x="1212" y="161"/>
                  </a:lnTo>
                  <a:lnTo>
                    <a:pt x="1210" y="159"/>
                  </a:lnTo>
                  <a:lnTo>
                    <a:pt x="1212" y="159"/>
                  </a:lnTo>
                  <a:lnTo>
                    <a:pt x="1210" y="161"/>
                  </a:lnTo>
                  <a:lnTo>
                    <a:pt x="1207" y="161"/>
                  </a:lnTo>
                  <a:lnTo>
                    <a:pt x="1205" y="161"/>
                  </a:lnTo>
                  <a:lnTo>
                    <a:pt x="1203" y="161"/>
                  </a:lnTo>
                  <a:lnTo>
                    <a:pt x="1205" y="161"/>
                  </a:lnTo>
                  <a:lnTo>
                    <a:pt x="1203" y="161"/>
                  </a:lnTo>
                  <a:lnTo>
                    <a:pt x="1205" y="161"/>
                  </a:lnTo>
                  <a:lnTo>
                    <a:pt x="1203" y="161"/>
                  </a:lnTo>
                  <a:lnTo>
                    <a:pt x="1200" y="161"/>
                  </a:lnTo>
                  <a:lnTo>
                    <a:pt x="1203" y="161"/>
                  </a:lnTo>
                  <a:lnTo>
                    <a:pt x="1203" y="159"/>
                  </a:lnTo>
                  <a:lnTo>
                    <a:pt x="1200" y="159"/>
                  </a:lnTo>
                  <a:lnTo>
                    <a:pt x="1198" y="159"/>
                  </a:lnTo>
                  <a:lnTo>
                    <a:pt x="1195" y="159"/>
                  </a:lnTo>
                  <a:lnTo>
                    <a:pt x="1193" y="159"/>
                  </a:lnTo>
                  <a:lnTo>
                    <a:pt x="1191" y="159"/>
                  </a:lnTo>
                  <a:lnTo>
                    <a:pt x="1191" y="156"/>
                  </a:lnTo>
                  <a:lnTo>
                    <a:pt x="1188" y="156"/>
                  </a:lnTo>
                  <a:lnTo>
                    <a:pt x="1186" y="156"/>
                  </a:lnTo>
                  <a:lnTo>
                    <a:pt x="1186" y="154"/>
                  </a:lnTo>
                  <a:lnTo>
                    <a:pt x="1188" y="154"/>
                  </a:lnTo>
                  <a:lnTo>
                    <a:pt x="1186" y="154"/>
                  </a:lnTo>
                  <a:lnTo>
                    <a:pt x="1188" y="154"/>
                  </a:lnTo>
                  <a:lnTo>
                    <a:pt x="1186" y="154"/>
                  </a:lnTo>
                  <a:lnTo>
                    <a:pt x="1186" y="152"/>
                  </a:lnTo>
                  <a:lnTo>
                    <a:pt x="1188" y="152"/>
                  </a:lnTo>
                  <a:lnTo>
                    <a:pt x="1191" y="152"/>
                  </a:lnTo>
                  <a:lnTo>
                    <a:pt x="1191" y="149"/>
                  </a:lnTo>
                  <a:lnTo>
                    <a:pt x="1193" y="149"/>
                  </a:lnTo>
                  <a:lnTo>
                    <a:pt x="1195" y="149"/>
                  </a:lnTo>
                  <a:lnTo>
                    <a:pt x="1198" y="149"/>
                  </a:lnTo>
                  <a:lnTo>
                    <a:pt x="1195" y="149"/>
                  </a:lnTo>
                  <a:lnTo>
                    <a:pt x="1198" y="149"/>
                  </a:lnTo>
                  <a:lnTo>
                    <a:pt x="1195" y="149"/>
                  </a:lnTo>
                  <a:lnTo>
                    <a:pt x="1198" y="149"/>
                  </a:lnTo>
                  <a:lnTo>
                    <a:pt x="1198" y="152"/>
                  </a:lnTo>
                  <a:lnTo>
                    <a:pt x="1200" y="152"/>
                  </a:lnTo>
                  <a:lnTo>
                    <a:pt x="1203" y="149"/>
                  </a:lnTo>
                  <a:lnTo>
                    <a:pt x="1205" y="149"/>
                  </a:lnTo>
                  <a:lnTo>
                    <a:pt x="1207" y="149"/>
                  </a:lnTo>
                  <a:lnTo>
                    <a:pt x="1210" y="149"/>
                  </a:lnTo>
                  <a:lnTo>
                    <a:pt x="1210" y="147"/>
                  </a:lnTo>
                  <a:lnTo>
                    <a:pt x="1212" y="147"/>
                  </a:lnTo>
                  <a:lnTo>
                    <a:pt x="1214" y="147"/>
                  </a:lnTo>
                  <a:lnTo>
                    <a:pt x="1214" y="149"/>
                  </a:lnTo>
                  <a:lnTo>
                    <a:pt x="1217" y="149"/>
                  </a:lnTo>
                  <a:lnTo>
                    <a:pt x="1214" y="149"/>
                  </a:lnTo>
                  <a:lnTo>
                    <a:pt x="1217" y="149"/>
                  </a:lnTo>
                  <a:lnTo>
                    <a:pt x="1219" y="149"/>
                  </a:lnTo>
                  <a:lnTo>
                    <a:pt x="1219" y="152"/>
                  </a:lnTo>
                  <a:lnTo>
                    <a:pt x="1219" y="149"/>
                  </a:lnTo>
                  <a:lnTo>
                    <a:pt x="1222" y="152"/>
                  </a:lnTo>
                  <a:lnTo>
                    <a:pt x="1222" y="149"/>
                  </a:lnTo>
                  <a:lnTo>
                    <a:pt x="1224" y="149"/>
                  </a:lnTo>
                  <a:lnTo>
                    <a:pt x="1226" y="149"/>
                  </a:lnTo>
                  <a:lnTo>
                    <a:pt x="1229" y="149"/>
                  </a:lnTo>
                  <a:lnTo>
                    <a:pt x="1231" y="149"/>
                  </a:lnTo>
                  <a:lnTo>
                    <a:pt x="1231" y="147"/>
                  </a:lnTo>
                  <a:lnTo>
                    <a:pt x="1231" y="149"/>
                  </a:lnTo>
                  <a:lnTo>
                    <a:pt x="1231" y="147"/>
                  </a:lnTo>
                  <a:lnTo>
                    <a:pt x="1229" y="147"/>
                  </a:lnTo>
                  <a:lnTo>
                    <a:pt x="1226" y="147"/>
                  </a:lnTo>
                  <a:lnTo>
                    <a:pt x="1224" y="149"/>
                  </a:lnTo>
                  <a:lnTo>
                    <a:pt x="1222" y="149"/>
                  </a:lnTo>
                  <a:lnTo>
                    <a:pt x="1219" y="149"/>
                  </a:lnTo>
                  <a:lnTo>
                    <a:pt x="1219" y="147"/>
                  </a:lnTo>
                  <a:lnTo>
                    <a:pt x="1217" y="145"/>
                  </a:lnTo>
                  <a:lnTo>
                    <a:pt x="1214" y="145"/>
                  </a:lnTo>
                  <a:lnTo>
                    <a:pt x="1217" y="145"/>
                  </a:lnTo>
                  <a:lnTo>
                    <a:pt x="1217" y="142"/>
                  </a:lnTo>
                  <a:lnTo>
                    <a:pt x="1217" y="145"/>
                  </a:lnTo>
                  <a:lnTo>
                    <a:pt x="1217" y="142"/>
                  </a:lnTo>
                  <a:lnTo>
                    <a:pt x="1214" y="142"/>
                  </a:lnTo>
                  <a:lnTo>
                    <a:pt x="1217" y="142"/>
                  </a:lnTo>
                  <a:lnTo>
                    <a:pt x="1214" y="142"/>
                  </a:lnTo>
                  <a:lnTo>
                    <a:pt x="1212" y="142"/>
                  </a:lnTo>
                  <a:lnTo>
                    <a:pt x="1210" y="142"/>
                  </a:lnTo>
                  <a:lnTo>
                    <a:pt x="1207" y="142"/>
                  </a:lnTo>
                  <a:lnTo>
                    <a:pt x="1205" y="142"/>
                  </a:lnTo>
                  <a:lnTo>
                    <a:pt x="1203" y="142"/>
                  </a:lnTo>
                  <a:lnTo>
                    <a:pt x="1200" y="145"/>
                  </a:lnTo>
                  <a:lnTo>
                    <a:pt x="1200" y="142"/>
                  </a:lnTo>
                  <a:lnTo>
                    <a:pt x="1198" y="142"/>
                  </a:lnTo>
                  <a:lnTo>
                    <a:pt x="1195" y="142"/>
                  </a:lnTo>
                  <a:lnTo>
                    <a:pt x="1193" y="142"/>
                  </a:lnTo>
                  <a:lnTo>
                    <a:pt x="1195" y="140"/>
                  </a:lnTo>
                  <a:lnTo>
                    <a:pt x="1198" y="140"/>
                  </a:lnTo>
                  <a:lnTo>
                    <a:pt x="1200" y="140"/>
                  </a:lnTo>
                  <a:lnTo>
                    <a:pt x="1200" y="137"/>
                  </a:lnTo>
                  <a:lnTo>
                    <a:pt x="1203" y="137"/>
                  </a:lnTo>
                  <a:lnTo>
                    <a:pt x="1205" y="137"/>
                  </a:lnTo>
                  <a:lnTo>
                    <a:pt x="1207" y="135"/>
                  </a:lnTo>
                  <a:lnTo>
                    <a:pt x="1210" y="135"/>
                  </a:lnTo>
                  <a:lnTo>
                    <a:pt x="1212" y="135"/>
                  </a:lnTo>
                  <a:lnTo>
                    <a:pt x="1214" y="135"/>
                  </a:lnTo>
                  <a:lnTo>
                    <a:pt x="1217" y="135"/>
                  </a:lnTo>
                  <a:lnTo>
                    <a:pt x="1217" y="133"/>
                  </a:lnTo>
                  <a:lnTo>
                    <a:pt x="1219" y="133"/>
                  </a:lnTo>
                  <a:lnTo>
                    <a:pt x="1217" y="133"/>
                  </a:lnTo>
                  <a:lnTo>
                    <a:pt x="1219" y="133"/>
                  </a:lnTo>
                  <a:lnTo>
                    <a:pt x="1222" y="133"/>
                  </a:lnTo>
                  <a:lnTo>
                    <a:pt x="1219" y="133"/>
                  </a:lnTo>
                  <a:lnTo>
                    <a:pt x="1217" y="133"/>
                  </a:lnTo>
                  <a:lnTo>
                    <a:pt x="1219" y="133"/>
                  </a:lnTo>
                  <a:lnTo>
                    <a:pt x="1222" y="133"/>
                  </a:lnTo>
                  <a:lnTo>
                    <a:pt x="1219" y="133"/>
                  </a:lnTo>
                  <a:lnTo>
                    <a:pt x="1217" y="133"/>
                  </a:lnTo>
                  <a:lnTo>
                    <a:pt x="1214" y="133"/>
                  </a:lnTo>
                  <a:lnTo>
                    <a:pt x="1212" y="133"/>
                  </a:lnTo>
                  <a:lnTo>
                    <a:pt x="1210" y="135"/>
                  </a:lnTo>
                  <a:lnTo>
                    <a:pt x="1210" y="133"/>
                  </a:lnTo>
                  <a:lnTo>
                    <a:pt x="1212" y="133"/>
                  </a:lnTo>
                  <a:lnTo>
                    <a:pt x="1210" y="133"/>
                  </a:lnTo>
                  <a:lnTo>
                    <a:pt x="1207" y="133"/>
                  </a:lnTo>
                  <a:lnTo>
                    <a:pt x="1210" y="133"/>
                  </a:lnTo>
                  <a:lnTo>
                    <a:pt x="1210" y="130"/>
                  </a:lnTo>
                  <a:lnTo>
                    <a:pt x="1212" y="130"/>
                  </a:lnTo>
                  <a:lnTo>
                    <a:pt x="1214" y="130"/>
                  </a:lnTo>
                  <a:lnTo>
                    <a:pt x="1212" y="130"/>
                  </a:lnTo>
                  <a:lnTo>
                    <a:pt x="1214" y="130"/>
                  </a:lnTo>
                  <a:lnTo>
                    <a:pt x="1212" y="130"/>
                  </a:lnTo>
                  <a:lnTo>
                    <a:pt x="1212" y="128"/>
                  </a:lnTo>
                  <a:lnTo>
                    <a:pt x="1212" y="130"/>
                  </a:lnTo>
                  <a:lnTo>
                    <a:pt x="1212" y="128"/>
                  </a:lnTo>
                  <a:lnTo>
                    <a:pt x="1210" y="128"/>
                  </a:lnTo>
                  <a:lnTo>
                    <a:pt x="1207" y="128"/>
                  </a:lnTo>
                  <a:lnTo>
                    <a:pt x="1205" y="128"/>
                  </a:lnTo>
                  <a:lnTo>
                    <a:pt x="1203" y="128"/>
                  </a:lnTo>
                  <a:lnTo>
                    <a:pt x="1200" y="128"/>
                  </a:lnTo>
                  <a:lnTo>
                    <a:pt x="1200" y="130"/>
                  </a:lnTo>
                  <a:lnTo>
                    <a:pt x="1198" y="130"/>
                  </a:lnTo>
                  <a:lnTo>
                    <a:pt x="1195" y="130"/>
                  </a:lnTo>
                  <a:lnTo>
                    <a:pt x="1195" y="128"/>
                  </a:lnTo>
                  <a:lnTo>
                    <a:pt x="1195" y="126"/>
                  </a:lnTo>
                  <a:lnTo>
                    <a:pt x="1198" y="126"/>
                  </a:lnTo>
                  <a:lnTo>
                    <a:pt x="1195" y="123"/>
                  </a:lnTo>
                  <a:lnTo>
                    <a:pt x="1193" y="123"/>
                  </a:lnTo>
                  <a:lnTo>
                    <a:pt x="1193" y="126"/>
                  </a:lnTo>
                  <a:lnTo>
                    <a:pt x="1191" y="126"/>
                  </a:lnTo>
                  <a:lnTo>
                    <a:pt x="1191" y="123"/>
                  </a:lnTo>
                  <a:lnTo>
                    <a:pt x="1193" y="123"/>
                  </a:lnTo>
                  <a:lnTo>
                    <a:pt x="1191" y="123"/>
                  </a:lnTo>
                  <a:lnTo>
                    <a:pt x="1193" y="123"/>
                  </a:lnTo>
                  <a:lnTo>
                    <a:pt x="1193" y="121"/>
                  </a:lnTo>
                  <a:lnTo>
                    <a:pt x="1193" y="118"/>
                  </a:lnTo>
                  <a:lnTo>
                    <a:pt x="1195" y="118"/>
                  </a:lnTo>
                  <a:lnTo>
                    <a:pt x="1198" y="116"/>
                  </a:lnTo>
                  <a:lnTo>
                    <a:pt x="1200" y="116"/>
                  </a:lnTo>
                  <a:lnTo>
                    <a:pt x="1200" y="118"/>
                  </a:lnTo>
                  <a:lnTo>
                    <a:pt x="1203" y="118"/>
                  </a:lnTo>
                  <a:lnTo>
                    <a:pt x="1205" y="116"/>
                  </a:lnTo>
                  <a:lnTo>
                    <a:pt x="1203" y="118"/>
                  </a:lnTo>
                  <a:lnTo>
                    <a:pt x="1205" y="121"/>
                  </a:lnTo>
                  <a:lnTo>
                    <a:pt x="1205" y="118"/>
                  </a:lnTo>
                  <a:lnTo>
                    <a:pt x="1207" y="118"/>
                  </a:lnTo>
                  <a:lnTo>
                    <a:pt x="1210" y="118"/>
                  </a:lnTo>
                  <a:lnTo>
                    <a:pt x="1210" y="121"/>
                  </a:lnTo>
                  <a:lnTo>
                    <a:pt x="1212" y="121"/>
                  </a:lnTo>
                  <a:lnTo>
                    <a:pt x="1212" y="123"/>
                  </a:lnTo>
                  <a:lnTo>
                    <a:pt x="1214" y="123"/>
                  </a:lnTo>
                  <a:lnTo>
                    <a:pt x="1212" y="126"/>
                  </a:lnTo>
                  <a:lnTo>
                    <a:pt x="1214" y="126"/>
                  </a:lnTo>
                  <a:lnTo>
                    <a:pt x="1214" y="123"/>
                  </a:lnTo>
                  <a:lnTo>
                    <a:pt x="1217" y="123"/>
                  </a:lnTo>
                  <a:lnTo>
                    <a:pt x="1219" y="123"/>
                  </a:lnTo>
                  <a:lnTo>
                    <a:pt x="1219" y="121"/>
                  </a:lnTo>
                  <a:lnTo>
                    <a:pt x="1219" y="118"/>
                  </a:lnTo>
                  <a:lnTo>
                    <a:pt x="1222" y="118"/>
                  </a:lnTo>
                  <a:lnTo>
                    <a:pt x="1224" y="118"/>
                  </a:lnTo>
                  <a:lnTo>
                    <a:pt x="1224" y="116"/>
                  </a:lnTo>
                  <a:lnTo>
                    <a:pt x="1226" y="116"/>
                  </a:lnTo>
                  <a:lnTo>
                    <a:pt x="1229" y="116"/>
                  </a:lnTo>
                  <a:lnTo>
                    <a:pt x="1226" y="116"/>
                  </a:lnTo>
                  <a:lnTo>
                    <a:pt x="1229" y="114"/>
                  </a:lnTo>
                  <a:lnTo>
                    <a:pt x="1231" y="114"/>
                  </a:lnTo>
                  <a:lnTo>
                    <a:pt x="1233" y="114"/>
                  </a:lnTo>
                  <a:lnTo>
                    <a:pt x="1233" y="111"/>
                  </a:lnTo>
                  <a:lnTo>
                    <a:pt x="1231" y="111"/>
                  </a:lnTo>
                  <a:lnTo>
                    <a:pt x="1229" y="111"/>
                  </a:lnTo>
                  <a:lnTo>
                    <a:pt x="1231" y="111"/>
                  </a:lnTo>
                  <a:lnTo>
                    <a:pt x="1229" y="111"/>
                  </a:lnTo>
                  <a:lnTo>
                    <a:pt x="1226" y="111"/>
                  </a:lnTo>
                  <a:lnTo>
                    <a:pt x="1224" y="111"/>
                  </a:lnTo>
                  <a:lnTo>
                    <a:pt x="1224" y="109"/>
                  </a:lnTo>
                  <a:lnTo>
                    <a:pt x="1226" y="107"/>
                  </a:lnTo>
                  <a:lnTo>
                    <a:pt x="1229" y="104"/>
                  </a:lnTo>
                  <a:lnTo>
                    <a:pt x="1231" y="104"/>
                  </a:lnTo>
                  <a:lnTo>
                    <a:pt x="1233" y="104"/>
                  </a:lnTo>
                  <a:lnTo>
                    <a:pt x="1236" y="104"/>
                  </a:lnTo>
                  <a:lnTo>
                    <a:pt x="1238" y="104"/>
                  </a:lnTo>
                  <a:lnTo>
                    <a:pt x="1240" y="104"/>
                  </a:lnTo>
                  <a:lnTo>
                    <a:pt x="1243" y="104"/>
                  </a:lnTo>
                  <a:lnTo>
                    <a:pt x="1245" y="104"/>
                  </a:lnTo>
                  <a:lnTo>
                    <a:pt x="1245" y="107"/>
                  </a:lnTo>
                  <a:lnTo>
                    <a:pt x="1248" y="107"/>
                  </a:lnTo>
                  <a:lnTo>
                    <a:pt x="1250" y="107"/>
                  </a:lnTo>
                  <a:lnTo>
                    <a:pt x="1250" y="109"/>
                  </a:lnTo>
                  <a:lnTo>
                    <a:pt x="1252" y="109"/>
                  </a:lnTo>
                  <a:lnTo>
                    <a:pt x="1250" y="109"/>
                  </a:lnTo>
                  <a:lnTo>
                    <a:pt x="1252" y="109"/>
                  </a:lnTo>
                  <a:lnTo>
                    <a:pt x="1255" y="109"/>
                  </a:lnTo>
                  <a:lnTo>
                    <a:pt x="1252" y="109"/>
                  </a:lnTo>
                  <a:lnTo>
                    <a:pt x="1255" y="109"/>
                  </a:lnTo>
                  <a:lnTo>
                    <a:pt x="1257" y="109"/>
                  </a:lnTo>
                  <a:lnTo>
                    <a:pt x="1259" y="109"/>
                  </a:lnTo>
                  <a:lnTo>
                    <a:pt x="1262" y="109"/>
                  </a:lnTo>
                  <a:lnTo>
                    <a:pt x="1262" y="107"/>
                  </a:lnTo>
                  <a:lnTo>
                    <a:pt x="1259" y="107"/>
                  </a:lnTo>
                  <a:lnTo>
                    <a:pt x="1257" y="107"/>
                  </a:lnTo>
                  <a:lnTo>
                    <a:pt x="1257" y="104"/>
                  </a:lnTo>
                  <a:lnTo>
                    <a:pt x="1257" y="102"/>
                  </a:lnTo>
                  <a:lnTo>
                    <a:pt x="1259" y="102"/>
                  </a:lnTo>
                  <a:lnTo>
                    <a:pt x="1257" y="102"/>
                  </a:lnTo>
                  <a:lnTo>
                    <a:pt x="1257" y="99"/>
                  </a:lnTo>
                  <a:lnTo>
                    <a:pt x="1255" y="99"/>
                  </a:lnTo>
                  <a:lnTo>
                    <a:pt x="1252" y="99"/>
                  </a:lnTo>
                  <a:lnTo>
                    <a:pt x="1252" y="97"/>
                  </a:lnTo>
                  <a:lnTo>
                    <a:pt x="1250" y="97"/>
                  </a:lnTo>
                  <a:lnTo>
                    <a:pt x="1252" y="97"/>
                  </a:lnTo>
                  <a:lnTo>
                    <a:pt x="1250" y="97"/>
                  </a:lnTo>
                  <a:lnTo>
                    <a:pt x="1252" y="97"/>
                  </a:lnTo>
                  <a:lnTo>
                    <a:pt x="1252" y="95"/>
                  </a:lnTo>
                  <a:lnTo>
                    <a:pt x="1255" y="95"/>
                  </a:lnTo>
                  <a:lnTo>
                    <a:pt x="1257" y="95"/>
                  </a:lnTo>
                  <a:lnTo>
                    <a:pt x="1259" y="95"/>
                  </a:lnTo>
                  <a:lnTo>
                    <a:pt x="1262" y="95"/>
                  </a:lnTo>
                  <a:lnTo>
                    <a:pt x="1262" y="92"/>
                  </a:lnTo>
                  <a:lnTo>
                    <a:pt x="1264" y="92"/>
                  </a:lnTo>
                  <a:lnTo>
                    <a:pt x="1267" y="92"/>
                  </a:lnTo>
                  <a:lnTo>
                    <a:pt x="1269" y="92"/>
                  </a:lnTo>
                  <a:lnTo>
                    <a:pt x="1271" y="92"/>
                  </a:lnTo>
                  <a:lnTo>
                    <a:pt x="1269" y="92"/>
                  </a:lnTo>
                  <a:lnTo>
                    <a:pt x="1271" y="92"/>
                  </a:lnTo>
                  <a:lnTo>
                    <a:pt x="1269" y="92"/>
                  </a:lnTo>
                  <a:lnTo>
                    <a:pt x="1271" y="92"/>
                  </a:lnTo>
                  <a:lnTo>
                    <a:pt x="1274" y="92"/>
                  </a:lnTo>
                  <a:lnTo>
                    <a:pt x="1274" y="90"/>
                  </a:lnTo>
                  <a:lnTo>
                    <a:pt x="1274" y="92"/>
                  </a:lnTo>
                  <a:lnTo>
                    <a:pt x="1274" y="90"/>
                  </a:lnTo>
                  <a:lnTo>
                    <a:pt x="1276" y="90"/>
                  </a:lnTo>
                  <a:lnTo>
                    <a:pt x="1276" y="92"/>
                  </a:lnTo>
                  <a:lnTo>
                    <a:pt x="1276" y="90"/>
                  </a:lnTo>
                  <a:lnTo>
                    <a:pt x="1276" y="92"/>
                  </a:lnTo>
                  <a:lnTo>
                    <a:pt x="1276" y="90"/>
                  </a:lnTo>
                  <a:lnTo>
                    <a:pt x="1278" y="90"/>
                  </a:lnTo>
                  <a:lnTo>
                    <a:pt x="1276" y="90"/>
                  </a:lnTo>
                  <a:lnTo>
                    <a:pt x="1278" y="90"/>
                  </a:lnTo>
                  <a:lnTo>
                    <a:pt x="1276" y="88"/>
                  </a:lnTo>
                  <a:lnTo>
                    <a:pt x="1274" y="88"/>
                  </a:lnTo>
                  <a:lnTo>
                    <a:pt x="1271" y="88"/>
                  </a:lnTo>
                  <a:lnTo>
                    <a:pt x="1271" y="90"/>
                  </a:lnTo>
                  <a:lnTo>
                    <a:pt x="1271" y="88"/>
                  </a:lnTo>
                  <a:lnTo>
                    <a:pt x="1271" y="90"/>
                  </a:lnTo>
                  <a:lnTo>
                    <a:pt x="1269" y="90"/>
                  </a:lnTo>
                  <a:lnTo>
                    <a:pt x="1269" y="88"/>
                  </a:lnTo>
                  <a:lnTo>
                    <a:pt x="1267" y="88"/>
                  </a:lnTo>
                  <a:lnTo>
                    <a:pt x="1264" y="88"/>
                  </a:lnTo>
                  <a:lnTo>
                    <a:pt x="1267" y="88"/>
                  </a:lnTo>
                  <a:lnTo>
                    <a:pt x="1269" y="85"/>
                  </a:lnTo>
                  <a:lnTo>
                    <a:pt x="1271" y="85"/>
                  </a:lnTo>
                  <a:lnTo>
                    <a:pt x="1274" y="85"/>
                  </a:lnTo>
                  <a:lnTo>
                    <a:pt x="1276" y="85"/>
                  </a:lnTo>
                  <a:lnTo>
                    <a:pt x="1278" y="85"/>
                  </a:lnTo>
                  <a:lnTo>
                    <a:pt x="1278" y="83"/>
                  </a:lnTo>
                  <a:lnTo>
                    <a:pt x="1278" y="85"/>
                  </a:lnTo>
                  <a:lnTo>
                    <a:pt x="1278" y="83"/>
                  </a:lnTo>
                  <a:lnTo>
                    <a:pt x="1281" y="83"/>
                  </a:lnTo>
                  <a:lnTo>
                    <a:pt x="1283" y="83"/>
                  </a:lnTo>
                  <a:lnTo>
                    <a:pt x="1286" y="83"/>
                  </a:lnTo>
                  <a:lnTo>
                    <a:pt x="1283" y="83"/>
                  </a:lnTo>
                  <a:lnTo>
                    <a:pt x="1286" y="83"/>
                  </a:lnTo>
                  <a:lnTo>
                    <a:pt x="1288" y="83"/>
                  </a:lnTo>
                  <a:lnTo>
                    <a:pt x="1288" y="80"/>
                  </a:lnTo>
                  <a:lnTo>
                    <a:pt x="1288" y="83"/>
                  </a:lnTo>
                  <a:lnTo>
                    <a:pt x="1290" y="83"/>
                  </a:lnTo>
                  <a:lnTo>
                    <a:pt x="1293" y="83"/>
                  </a:lnTo>
                  <a:lnTo>
                    <a:pt x="1290" y="80"/>
                  </a:lnTo>
                  <a:lnTo>
                    <a:pt x="1293" y="80"/>
                  </a:lnTo>
                  <a:lnTo>
                    <a:pt x="1293" y="78"/>
                  </a:lnTo>
                  <a:lnTo>
                    <a:pt x="1290" y="78"/>
                  </a:lnTo>
                  <a:lnTo>
                    <a:pt x="1290" y="76"/>
                  </a:lnTo>
                  <a:lnTo>
                    <a:pt x="1293" y="76"/>
                  </a:lnTo>
                  <a:lnTo>
                    <a:pt x="1295" y="73"/>
                  </a:lnTo>
                  <a:lnTo>
                    <a:pt x="1297" y="73"/>
                  </a:lnTo>
                  <a:lnTo>
                    <a:pt x="1295" y="73"/>
                  </a:lnTo>
                  <a:lnTo>
                    <a:pt x="1297" y="73"/>
                  </a:lnTo>
                  <a:lnTo>
                    <a:pt x="1300" y="73"/>
                  </a:lnTo>
                  <a:lnTo>
                    <a:pt x="1297" y="73"/>
                  </a:lnTo>
                  <a:lnTo>
                    <a:pt x="1300" y="73"/>
                  </a:lnTo>
                  <a:lnTo>
                    <a:pt x="1302" y="73"/>
                  </a:lnTo>
                  <a:lnTo>
                    <a:pt x="1305" y="73"/>
                  </a:lnTo>
                  <a:lnTo>
                    <a:pt x="1307" y="73"/>
                  </a:lnTo>
                  <a:lnTo>
                    <a:pt x="1309" y="73"/>
                  </a:lnTo>
                  <a:lnTo>
                    <a:pt x="1309" y="71"/>
                  </a:lnTo>
                  <a:lnTo>
                    <a:pt x="1312" y="73"/>
                  </a:lnTo>
                  <a:lnTo>
                    <a:pt x="1312" y="71"/>
                  </a:lnTo>
                  <a:lnTo>
                    <a:pt x="1309" y="71"/>
                  </a:lnTo>
                  <a:lnTo>
                    <a:pt x="1312" y="71"/>
                  </a:lnTo>
                  <a:lnTo>
                    <a:pt x="1312" y="69"/>
                  </a:lnTo>
                  <a:lnTo>
                    <a:pt x="1314" y="69"/>
                  </a:lnTo>
                  <a:lnTo>
                    <a:pt x="1316" y="69"/>
                  </a:lnTo>
                  <a:lnTo>
                    <a:pt x="1319" y="69"/>
                  </a:lnTo>
                  <a:lnTo>
                    <a:pt x="1319" y="71"/>
                  </a:lnTo>
                  <a:lnTo>
                    <a:pt x="1321" y="71"/>
                  </a:lnTo>
                  <a:lnTo>
                    <a:pt x="1324" y="71"/>
                  </a:lnTo>
                  <a:lnTo>
                    <a:pt x="1321" y="71"/>
                  </a:lnTo>
                  <a:lnTo>
                    <a:pt x="1324" y="71"/>
                  </a:lnTo>
                  <a:lnTo>
                    <a:pt x="1326" y="71"/>
                  </a:lnTo>
                  <a:lnTo>
                    <a:pt x="1326" y="69"/>
                  </a:lnTo>
                  <a:lnTo>
                    <a:pt x="1324" y="69"/>
                  </a:lnTo>
                  <a:lnTo>
                    <a:pt x="1326" y="69"/>
                  </a:lnTo>
                  <a:lnTo>
                    <a:pt x="1328" y="69"/>
                  </a:lnTo>
                  <a:lnTo>
                    <a:pt x="1331" y="69"/>
                  </a:lnTo>
                  <a:lnTo>
                    <a:pt x="1331" y="66"/>
                  </a:lnTo>
                  <a:lnTo>
                    <a:pt x="1333" y="66"/>
                  </a:lnTo>
                  <a:lnTo>
                    <a:pt x="1335" y="66"/>
                  </a:lnTo>
                  <a:lnTo>
                    <a:pt x="1338" y="66"/>
                  </a:lnTo>
                  <a:lnTo>
                    <a:pt x="1340" y="66"/>
                  </a:lnTo>
                  <a:lnTo>
                    <a:pt x="1343" y="66"/>
                  </a:lnTo>
                  <a:lnTo>
                    <a:pt x="1345" y="66"/>
                  </a:lnTo>
                  <a:lnTo>
                    <a:pt x="1343" y="66"/>
                  </a:lnTo>
                  <a:lnTo>
                    <a:pt x="1343" y="64"/>
                  </a:lnTo>
                  <a:lnTo>
                    <a:pt x="1345" y="64"/>
                  </a:lnTo>
                  <a:lnTo>
                    <a:pt x="1343" y="64"/>
                  </a:lnTo>
                  <a:lnTo>
                    <a:pt x="1331" y="64"/>
                  </a:lnTo>
                  <a:lnTo>
                    <a:pt x="1343" y="64"/>
                  </a:lnTo>
                  <a:lnTo>
                    <a:pt x="1340" y="64"/>
                  </a:lnTo>
                  <a:lnTo>
                    <a:pt x="1338" y="64"/>
                  </a:lnTo>
                  <a:lnTo>
                    <a:pt x="1335" y="64"/>
                  </a:lnTo>
                  <a:lnTo>
                    <a:pt x="1335" y="61"/>
                  </a:lnTo>
                  <a:lnTo>
                    <a:pt x="1333" y="64"/>
                  </a:lnTo>
                  <a:lnTo>
                    <a:pt x="1333" y="61"/>
                  </a:lnTo>
                  <a:lnTo>
                    <a:pt x="1335" y="61"/>
                  </a:lnTo>
                  <a:lnTo>
                    <a:pt x="1338" y="59"/>
                  </a:lnTo>
                  <a:lnTo>
                    <a:pt x="1340" y="59"/>
                  </a:lnTo>
                  <a:lnTo>
                    <a:pt x="1343" y="59"/>
                  </a:lnTo>
                  <a:lnTo>
                    <a:pt x="1343" y="57"/>
                  </a:lnTo>
                  <a:lnTo>
                    <a:pt x="1345" y="57"/>
                  </a:lnTo>
                  <a:lnTo>
                    <a:pt x="1347" y="57"/>
                  </a:lnTo>
                  <a:lnTo>
                    <a:pt x="1350" y="57"/>
                  </a:lnTo>
                  <a:lnTo>
                    <a:pt x="1352" y="57"/>
                  </a:lnTo>
                  <a:lnTo>
                    <a:pt x="1354" y="57"/>
                  </a:lnTo>
                  <a:lnTo>
                    <a:pt x="1357" y="57"/>
                  </a:lnTo>
                  <a:lnTo>
                    <a:pt x="1357" y="59"/>
                  </a:lnTo>
                  <a:lnTo>
                    <a:pt x="1354" y="59"/>
                  </a:lnTo>
                  <a:lnTo>
                    <a:pt x="1352" y="59"/>
                  </a:lnTo>
                  <a:lnTo>
                    <a:pt x="1352" y="61"/>
                  </a:lnTo>
                  <a:lnTo>
                    <a:pt x="1350" y="61"/>
                  </a:lnTo>
                  <a:lnTo>
                    <a:pt x="1350" y="64"/>
                  </a:lnTo>
                  <a:lnTo>
                    <a:pt x="1347" y="64"/>
                  </a:lnTo>
                  <a:lnTo>
                    <a:pt x="1350" y="64"/>
                  </a:lnTo>
                  <a:lnTo>
                    <a:pt x="1347" y="64"/>
                  </a:lnTo>
                  <a:lnTo>
                    <a:pt x="1350" y="64"/>
                  </a:lnTo>
                  <a:lnTo>
                    <a:pt x="1352" y="64"/>
                  </a:lnTo>
                  <a:lnTo>
                    <a:pt x="1352" y="66"/>
                  </a:lnTo>
                  <a:lnTo>
                    <a:pt x="1354" y="66"/>
                  </a:lnTo>
                  <a:lnTo>
                    <a:pt x="1354" y="64"/>
                  </a:lnTo>
                  <a:lnTo>
                    <a:pt x="1354" y="66"/>
                  </a:lnTo>
                  <a:lnTo>
                    <a:pt x="1354" y="64"/>
                  </a:lnTo>
                  <a:lnTo>
                    <a:pt x="1357" y="64"/>
                  </a:lnTo>
                  <a:lnTo>
                    <a:pt x="1354" y="64"/>
                  </a:lnTo>
                  <a:lnTo>
                    <a:pt x="1357" y="64"/>
                  </a:lnTo>
                  <a:lnTo>
                    <a:pt x="1359" y="64"/>
                  </a:lnTo>
                  <a:lnTo>
                    <a:pt x="1357" y="64"/>
                  </a:lnTo>
                  <a:lnTo>
                    <a:pt x="1357" y="66"/>
                  </a:lnTo>
                  <a:lnTo>
                    <a:pt x="1357" y="64"/>
                  </a:lnTo>
                  <a:lnTo>
                    <a:pt x="1359" y="64"/>
                  </a:lnTo>
                  <a:lnTo>
                    <a:pt x="1359" y="61"/>
                  </a:lnTo>
                  <a:lnTo>
                    <a:pt x="1362" y="61"/>
                  </a:lnTo>
                  <a:lnTo>
                    <a:pt x="1364" y="61"/>
                  </a:lnTo>
                  <a:lnTo>
                    <a:pt x="1366" y="61"/>
                  </a:lnTo>
                  <a:lnTo>
                    <a:pt x="1369" y="61"/>
                  </a:lnTo>
                  <a:lnTo>
                    <a:pt x="1369" y="59"/>
                  </a:lnTo>
                  <a:lnTo>
                    <a:pt x="1369" y="61"/>
                  </a:lnTo>
                  <a:lnTo>
                    <a:pt x="1369" y="59"/>
                  </a:lnTo>
                  <a:lnTo>
                    <a:pt x="1366" y="59"/>
                  </a:lnTo>
                  <a:lnTo>
                    <a:pt x="1369" y="59"/>
                  </a:lnTo>
                  <a:lnTo>
                    <a:pt x="1369" y="57"/>
                  </a:lnTo>
                  <a:lnTo>
                    <a:pt x="1371" y="57"/>
                  </a:lnTo>
                  <a:lnTo>
                    <a:pt x="1369" y="54"/>
                  </a:lnTo>
                  <a:lnTo>
                    <a:pt x="1366" y="54"/>
                  </a:lnTo>
                  <a:lnTo>
                    <a:pt x="1364" y="54"/>
                  </a:lnTo>
                  <a:lnTo>
                    <a:pt x="1362" y="54"/>
                  </a:lnTo>
                  <a:lnTo>
                    <a:pt x="1364" y="54"/>
                  </a:lnTo>
                  <a:lnTo>
                    <a:pt x="1362" y="54"/>
                  </a:lnTo>
                  <a:lnTo>
                    <a:pt x="1364" y="52"/>
                  </a:lnTo>
                  <a:lnTo>
                    <a:pt x="1366" y="52"/>
                  </a:lnTo>
                  <a:lnTo>
                    <a:pt x="1364" y="52"/>
                  </a:lnTo>
                  <a:lnTo>
                    <a:pt x="1364" y="50"/>
                  </a:lnTo>
                  <a:lnTo>
                    <a:pt x="1366" y="50"/>
                  </a:lnTo>
                  <a:lnTo>
                    <a:pt x="1366" y="47"/>
                  </a:lnTo>
                  <a:lnTo>
                    <a:pt x="1369" y="47"/>
                  </a:lnTo>
                  <a:lnTo>
                    <a:pt x="1366" y="47"/>
                  </a:lnTo>
                  <a:lnTo>
                    <a:pt x="1369" y="47"/>
                  </a:lnTo>
                  <a:lnTo>
                    <a:pt x="1366" y="47"/>
                  </a:lnTo>
                  <a:lnTo>
                    <a:pt x="1364" y="47"/>
                  </a:lnTo>
                  <a:lnTo>
                    <a:pt x="1366" y="47"/>
                  </a:lnTo>
                  <a:lnTo>
                    <a:pt x="1369" y="47"/>
                  </a:lnTo>
                  <a:lnTo>
                    <a:pt x="1369" y="45"/>
                  </a:lnTo>
                  <a:lnTo>
                    <a:pt x="1371" y="45"/>
                  </a:lnTo>
                  <a:lnTo>
                    <a:pt x="1371" y="47"/>
                  </a:lnTo>
                  <a:lnTo>
                    <a:pt x="1373" y="47"/>
                  </a:lnTo>
                  <a:lnTo>
                    <a:pt x="1373" y="45"/>
                  </a:lnTo>
                  <a:lnTo>
                    <a:pt x="1376" y="45"/>
                  </a:lnTo>
                  <a:lnTo>
                    <a:pt x="1378" y="45"/>
                  </a:lnTo>
                  <a:lnTo>
                    <a:pt x="1380" y="45"/>
                  </a:lnTo>
                  <a:lnTo>
                    <a:pt x="1378" y="45"/>
                  </a:lnTo>
                  <a:lnTo>
                    <a:pt x="1380" y="45"/>
                  </a:lnTo>
                  <a:lnTo>
                    <a:pt x="1380" y="47"/>
                  </a:lnTo>
                  <a:lnTo>
                    <a:pt x="1383" y="45"/>
                  </a:lnTo>
                  <a:lnTo>
                    <a:pt x="1385" y="45"/>
                  </a:lnTo>
                  <a:lnTo>
                    <a:pt x="1388" y="45"/>
                  </a:lnTo>
                  <a:lnTo>
                    <a:pt x="1390" y="45"/>
                  </a:lnTo>
                  <a:lnTo>
                    <a:pt x="1388" y="45"/>
                  </a:lnTo>
                  <a:lnTo>
                    <a:pt x="1390" y="45"/>
                  </a:lnTo>
                  <a:lnTo>
                    <a:pt x="1388" y="47"/>
                  </a:lnTo>
                  <a:lnTo>
                    <a:pt x="1388" y="45"/>
                  </a:lnTo>
                  <a:lnTo>
                    <a:pt x="1388" y="47"/>
                  </a:lnTo>
                  <a:lnTo>
                    <a:pt x="1390" y="47"/>
                  </a:lnTo>
                  <a:lnTo>
                    <a:pt x="1392" y="45"/>
                  </a:lnTo>
                  <a:lnTo>
                    <a:pt x="1392" y="47"/>
                  </a:lnTo>
                  <a:lnTo>
                    <a:pt x="1395" y="47"/>
                  </a:lnTo>
                  <a:lnTo>
                    <a:pt x="1397" y="47"/>
                  </a:lnTo>
                  <a:lnTo>
                    <a:pt x="1399" y="47"/>
                  </a:lnTo>
                  <a:lnTo>
                    <a:pt x="1402" y="47"/>
                  </a:lnTo>
                  <a:lnTo>
                    <a:pt x="1404" y="47"/>
                  </a:lnTo>
                  <a:lnTo>
                    <a:pt x="1407" y="47"/>
                  </a:lnTo>
                  <a:lnTo>
                    <a:pt x="1409" y="47"/>
                  </a:lnTo>
                  <a:lnTo>
                    <a:pt x="1411" y="47"/>
                  </a:lnTo>
                  <a:lnTo>
                    <a:pt x="1411" y="50"/>
                  </a:lnTo>
                  <a:lnTo>
                    <a:pt x="1409" y="52"/>
                  </a:lnTo>
                  <a:lnTo>
                    <a:pt x="1411" y="52"/>
                  </a:lnTo>
                  <a:lnTo>
                    <a:pt x="1409" y="52"/>
                  </a:lnTo>
                  <a:lnTo>
                    <a:pt x="1411" y="52"/>
                  </a:lnTo>
                  <a:lnTo>
                    <a:pt x="1414" y="52"/>
                  </a:lnTo>
                  <a:lnTo>
                    <a:pt x="1411" y="52"/>
                  </a:lnTo>
                  <a:lnTo>
                    <a:pt x="1411" y="54"/>
                  </a:lnTo>
                  <a:lnTo>
                    <a:pt x="1414" y="54"/>
                  </a:lnTo>
                  <a:lnTo>
                    <a:pt x="1414" y="52"/>
                  </a:lnTo>
                  <a:lnTo>
                    <a:pt x="1414" y="54"/>
                  </a:lnTo>
                  <a:lnTo>
                    <a:pt x="1416" y="54"/>
                  </a:lnTo>
                  <a:lnTo>
                    <a:pt x="1414" y="54"/>
                  </a:lnTo>
                  <a:lnTo>
                    <a:pt x="1416" y="54"/>
                  </a:lnTo>
                  <a:lnTo>
                    <a:pt x="1416" y="52"/>
                  </a:lnTo>
                  <a:lnTo>
                    <a:pt x="1418" y="52"/>
                  </a:lnTo>
                  <a:lnTo>
                    <a:pt x="1416" y="50"/>
                  </a:lnTo>
                  <a:lnTo>
                    <a:pt x="1418" y="50"/>
                  </a:lnTo>
                  <a:lnTo>
                    <a:pt x="1418" y="52"/>
                  </a:lnTo>
                  <a:lnTo>
                    <a:pt x="1418" y="50"/>
                  </a:lnTo>
                  <a:lnTo>
                    <a:pt x="1421" y="50"/>
                  </a:lnTo>
                  <a:lnTo>
                    <a:pt x="1423" y="50"/>
                  </a:lnTo>
                  <a:lnTo>
                    <a:pt x="1423" y="47"/>
                  </a:lnTo>
                  <a:lnTo>
                    <a:pt x="1421" y="47"/>
                  </a:lnTo>
                  <a:lnTo>
                    <a:pt x="1423" y="47"/>
                  </a:lnTo>
                  <a:lnTo>
                    <a:pt x="1426" y="47"/>
                  </a:lnTo>
                  <a:lnTo>
                    <a:pt x="1426" y="50"/>
                  </a:lnTo>
                  <a:lnTo>
                    <a:pt x="1423" y="50"/>
                  </a:lnTo>
                  <a:lnTo>
                    <a:pt x="1426" y="50"/>
                  </a:lnTo>
                  <a:lnTo>
                    <a:pt x="1428" y="50"/>
                  </a:lnTo>
                  <a:lnTo>
                    <a:pt x="1428" y="52"/>
                  </a:lnTo>
                  <a:lnTo>
                    <a:pt x="1428" y="50"/>
                  </a:lnTo>
                  <a:lnTo>
                    <a:pt x="1428" y="52"/>
                  </a:lnTo>
                  <a:lnTo>
                    <a:pt x="1430" y="52"/>
                  </a:lnTo>
                  <a:lnTo>
                    <a:pt x="1430" y="50"/>
                  </a:lnTo>
                  <a:lnTo>
                    <a:pt x="1430" y="52"/>
                  </a:lnTo>
                  <a:lnTo>
                    <a:pt x="1433" y="52"/>
                  </a:lnTo>
                  <a:lnTo>
                    <a:pt x="1433" y="50"/>
                  </a:lnTo>
                  <a:lnTo>
                    <a:pt x="1435" y="50"/>
                  </a:lnTo>
                  <a:lnTo>
                    <a:pt x="1437" y="50"/>
                  </a:lnTo>
                  <a:lnTo>
                    <a:pt x="1437" y="47"/>
                  </a:lnTo>
                  <a:lnTo>
                    <a:pt x="1440" y="47"/>
                  </a:lnTo>
                  <a:lnTo>
                    <a:pt x="1442" y="47"/>
                  </a:lnTo>
                  <a:lnTo>
                    <a:pt x="1445" y="47"/>
                  </a:lnTo>
                  <a:lnTo>
                    <a:pt x="1447" y="47"/>
                  </a:lnTo>
                  <a:lnTo>
                    <a:pt x="1449" y="47"/>
                  </a:lnTo>
                  <a:lnTo>
                    <a:pt x="1449" y="45"/>
                  </a:lnTo>
                  <a:lnTo>
                    <a:pt x="1452" y="45"/>
                  </a:lnTo>
                  <a:lnTo>
                    <a:pt x="1449" y="45"/>
                  </a:lnTo>
                  <a:lnTo>
                    <a:pt x="1452" y="45"/>
                  </a:lnTo>
                  <a:lnTo>
                    <a:pt x="1449" y="45"/>
                  </a:lnTo>
                  <a:lnTo>
                    <a:pt x="1452" y="45"/>
                  </a:lnTo>
                  <a:lnTo>
                    <a:pt x="1454" y="45"/>
                  </a:lnTo>
                  <a:lnTo>
                    <a:pt x="1452" y="45"/>
                  </a:lnTo>
                  <a:lnTo>
                    <a:pt x="1454" y="42"/>
                  </a:lnTo>
                  <a:lnTo>
                    <a:pt x="1456" y="42"/>
                  </a:lnTo>
                  <a:lnTo>
                    <a:pt x="1459" y="42"/>
                  </a:lnTo>
                  <a:lnTo>
                    <a:pt x="1461" y="42"/>
                  </a:lnTo>
                  <a:lnTo>
                    <a:pt x="1464" y="42"/>
                  </a:lnTo>
                  <a:lnTo>
                    <a:pt x="1466" y="42"/>
                  </a:lnTo>
                  <a:lnTo>
                    <a:pt x="1466" y="45"/>
                  </a:lnTo>
                  <a:lnTo>
                    <a:pt x="1468" y="45"/>
                  </a:lnTo>
                  <a:lnTo>
                    <a:pt x="1471" y="45"/>
                  </a:lnTo>
                  <a:lnTo>
                    <a:pt x="1473" y="45"/>
                  </a:lnTo>
                  <a:lnTo>
                    <a:pt x="1475" y="45"/>
                  </a:lnTo>
                  <a:lnTo>
                    <a:pt x="1475" y="47"/>
                  </a:lnTo>
                  <a:lnTo>
                    <a:pt x="1475" y="45"/>
                  </a:lnTo>
                  <a:lnTo>
                    <a:pt x="1473" y="45"/>
                  </a:lnTo>
                  <a:lnTo>
                    <a:pt x="1473" y="42"/>
                  </a:lnTo>
                  <a:lnTo>
                    <a:pt x="1475" y="42"/>
                  </a:lnTo>
                  <a:lnTo>
                    <a:pt x="1478" y="40"/>
                  </a:lnTo>
                  <a:lnTo>
                    <a:pt x="1478" y="42"/>
                  </a:lnTo>
                  <a:lnTo>
                    <a:pt x="1475" y="42"/>
                  </a:lnTo>
                  <a:lnTo>
                    <a:pt x="1478" y="42"/>
                  </a:lnTo>
                  <a:lnTo>
                    <a:pt x="1480" y="42"/>
                  </a:lnTo>
                  <a:lnTo>
                    <a:pt x="1480" y="40"/>
                  </a:lnTo>
                  <a:lnTo>
                    <a:pt x="1483" y="40"/>
                  </a:lnTo>
                  <a:lnTo>
                    <a:pt x="1485" y="40"/>
                  </a:lnTo>
                  <a:lnTo>
                    <a:pt x="1483" y="40"/>
                  </a:lnTo>
                  <a:lnTo>
                    <a:pt x="1485" y="40"/>
                  </a:lnTo>
                  <a:lnTo>
                    <a:pt x="1487" y="40"/>
                  </a:lnTo>
                  <a:lnTo>
                    <a:pt x="1490" y="40"/>
                  </a:lnTo>
                  <a:lnTo>
                    <a:pt x="1490" y="42"/>
                  </a:lnTo>
                  <a:lnTo>
                    <a:pt x="1492" y="42"/>
                  </a:lnTo>
                  <a:lnTo>
                    <a:pt x="1492" y="40"/>
                  </a:lnTo>
                  <a:lnTo>
                    <a:pt x="1490" y="40"/>
                  </a:lnTo>
                  <a:lnTo>
                    <a:pt x="1487" y="40"/>
                  </a:lnTo>
                  <a:lnTo>
                    <a:pt x="1487" y="38"/>
                  </a:lnTo>
                  <a:lnTo>
                    <a:pt x="1490" y="38"/>
                  </a:lnTo>
                  <a:lnTo>
                    <a:pt x="1490" y="35"/>
                  </a:lnTo>
                  <a:lnTo>
                    <a:pt x="1492" y="35"/>
                  </a:lnTo>
                  <a:lnTo>
                    <a:pt x="1494" y="35"/>
                  </a:lnTo>
                  <a:lnTo>
                    <a:pt x="1492" y="35"/>
                  </a:lnTo>
                  <a:lnTo>
                    <a:pt x="1494" y="35"/>
                  </a:lnTo>
                  <a:lnTo>
                    <a:pt x="1494" y="33"/>
                  </a:lnTo>
                  <a:lnTo>
                    <a:pt x="1497" y="33"/>
                  </a:lnTo>
                  <a:lnTo>
                    <a:pt x="1499" y="33"/>
                  </a:lnTo>
                  <a:lnTo>
                    <a:pt x="1501" y="33"/>
                  </a:lnTo>
                  <a:lnTo>
                    <a:pt x="1501" y="35"/>
                  </a:lnTo>
                  <a:lnTo>
                    <a:pt x="1504" y="35"/>
                  </a:lnTo>
                  <a:lnTo>
                    <a:pt x="1504" y="33"/>
                  </a:lnTo>
                  <a:lnTo>
                    <a:pt x="1506" y="35"/>
                  </a:lnTo>
                  <a:lnTo>
                    <a:pt x="1506" y="33"/>
                  </a:lnTo>
                  <a:lnTo>
                    <a:pt x="1509" y="33"/>
                  </a:lnTo>
                  <a:lnTo>
                    <a:pt x="1511" y="33"/>
                  </a:lnTo>
                  <a:lnTo>
                    <a:pt x="1511" y="31"/>
                  </a:lnTo>
                  <a:lnTo>
                    <a:pt x="1511" y="28"/>
                  </a:lnTo>
                  <a:lnTo>
                    <a:pt x="1513" y="28"/>
                  </a:lnTo>
                  <a:lnTo>
                    <a:pt x="1516" y="28"/>
                  </a:lnTo>
                  <a:lnTo>
                    <a:pt x="1518" y="28"/>
                  </a:lnTo>
                  <a:lnTo>
                    <a:pt x="1520" y="28"/>
                  </a:lnTo>
                  <a:lnTo>
                    <a:pt x="1523" y="31"/>
                  </a:lnTo>
                  <a:lnTo>
                    <a:pt x="1525" y="31"/>
                  </a:lnTo>
                  <a:lnTo>
                    <a:pt x="1528" y="31"/>
                  </a:lnTo>
                  <a:lnTo>
                    <a:pt x="1530" y="31"/>
                  </a:lnTo>
                  <a:lnTo>
                    <a:pt x="1530" y="33"/>
                  </a:lnTo>
                  <a:lnTo>
                    <a:pt x="1532" y="31"/>
                  </a:lnTo>
                  <a:lnTo>
                    <a:pt x="1532" y="33"/>
                  </a:lnTo>
                  <a:lnTo>
                    <a:pt x="1535" y="33"/>
                  </a:lnTo>
                  <a:lnTo>
                    <a:pt x="1532" y="31"/>
                  </a:lnTo>
                  <a:lnTo>
                    <a:pt x="1535" y="31"/>
                  </a:lnTo>
                  <a:lnTo>
                    <a:pt x="1532" y="31"/>
                  </a:lnTo>
                  <a:lnTo>
                    <a:pt x="1535" y="31"/>
                  </a:lnTo>
                  <a:lnTo>
                    <a:pt x="1532" y="31"/>
                  </a:lnTo>
                  <a:lnTo>
                    <a:pt x="1535" y="31"/>
                  </a:lnTo>
                  <a:lnTo>
                    <a:pt x="1537" y="31"/>
                  </a:lnTo>
                  <a:lnTo>
                    <a:pt x="1535" y="28"/>
                  </a:lnTo>
                  <a:lnTo>
                    <a:pt x="1537" y="28"/>
                  </a:lnTo>
                  <a:lnTo>
                    <a:pt x="1539" y="28"/>
                  </a:lnTo>
                  <a:lnTo>
                    <a:pt x="1537" y="28"/>
                  </a:lnTo>
                  <a:lnTo>
                    <a:pt x="1535" y="28"/>
                  </a:lnTo>
                  <a:lnTo>
                    <a:pt x="1532" y="28"/>
                  </a:lnTo>
                  <a:lnTo>
                    <a:pt x="1530" y="28"/>
                  </a:lnTo>
                  <a:lnTo>
                    <a:pt x="1532" y="26"/>
                  </a:lnTo>
                  <a:lnTo>
                    <a:pt x="1530" y="26"/>
                  </a:lnTo>
                  <a:lnTo>
                    <a:pt x="1532" y="26"/>
                  </a:lnTo>
                  <a:lnTo>
                    <a:pt x="1530" y="26"/>
                  </a:lnTo>
                  <a:lnTo>
                    <a:pt x="1530" y="23"/>
                  </a:lnTo>
                  <a:lnTo>
                    <a:pt x="1528" y="23"/>
                  </a:lnTo>
                  <a:lnTo>
                    <a:pt x="1525" y="23"/>
                  </a:lnTo>
                  <a:lnTo>
                    <a:pt x="1525" y="21"/>
                  </a:lnTo>
                  <a:lnTo>
                    <a:pt x="1523" y="21"/>
                  </a:lnTo>
                  <a:lnTo>
                    <a:pt x="1525" y="21"/>
                  </a:lnTo>
                  <a:lnTo>
                    <a:pt x="1528" y="19"/>
                  </a:lnTo>
                  <a:lnTo>
                    <a:pt x="1530" y="16"/>
                  </a:lnTo>
                  <a:lnTo>
                    <a:pt x="1532" y="16"/>
                  </a:lnTo>
                  <a:lnTo>
                    <a:pt x="1535" y="16"/>
                  </a:lnTo>
                  <a:lnTo>
                    <a:pt x="1537" y="16"/>
                  </a:lnTo>
                  <a:lnTo>
                    <a:pt x="1537" y="14"/>
                  </a:lnTo>
                  <a:lnTo>
                    <a:pt x="1539" y="14"/>
                  </a:lnTo>
                  <a:lnTo>
                    <a:pt x="1542" y="14"/>
                  </a:lnTo>
                  <a:lnTo>
                    <a:pt x="1544" y="14"/>
                  </a:lnTo>
                  <a:lnTo>
                    <a:pt x="1542" y="14"/>
                  </a:lnTo>
                  <a:lnTo>
                    <a:pt x="1544" y="14"/>
                  </a:lnTo>
                  <a:lnTo>
                    <a:pt x="1544" y="12"/>
                  </a:lnTo>
                  <a:lnTo>
                    <a:pt x="1547" y="12"/>
                  </a:lnTo>
                  <a:lnTo>
                    <a:pt x="1549" y="12"/>
                  </a:lnTo>
                  <a:lnTo>
                    <a:pt x="1547" y="12"/>
                  </a:lnTo>
                  <a:lnTo>
                    <a:pt x="1549" y="12"/>
                  </a:lnTo>
                  <a:lnTo>
                    <a:pt x="1551" y="12"/>
                  </a:lnTo>
                  <a:lnTo>
                    <a:pt x="1554" y="12"/>
                  </a:lnTo>
                  <a:lnTo>
                    <a:pt x="1554" y="9"/>
                  </a:lnTo>
                  <a:lnTo>
                    <a:pt x="1554" y="12"/>
                  </a:lnTo>
                  <a:lnTo>
                    <a:pt x="1554" y="9"/>
                  </a:lnTo>
                  <a:lnTo>
                    <a:pt x="1556" y="9"/>
                  </a:lnTo>
                  <a:lnTo>
                    <a:pt x="1554" y="9"/>
                  </a:lnTo>
                  <a:lnTo>
                    <a:pt x="1554" y="7"/>
                  </a:lnTo>
                  <a:lnTo>
                    <a:pt x="1556" y="7"/>
                  </a:lnTo>
                  <a:lnTo>
                    <a:pt x="1558" y="7"/>
                  </a:lnTo>
                  <a:lnTo>
                    <a:pt x="1556" y="7"/>
                  </a:lnTo>
                  <a:lnTo>
                    <a:pt x="1558" y="7"/>
                  </a:lnTo>
                  <a:lnTo>
                    <a:pt x="1561" y="7"/>
                  </a:lnTo>
                  <a:lnTo>
                    <a:pt x="1563" y="7"/>
                  </a:lnTo>
                  <a:lnTo>
                    <a:pt x="1563" y="4"/>
                  </a:lnTo>
                  <a:lnTo>
                    <a:pt x="1561" y="4"/>
                  </a:lnTo>
                  <a:lnTo>
                    <a:pt x="1563" y="4"/>
                  </a:lnTo>
                  <a:lnTo>
                    <a:pt x="1566" y="4"/>
                  </a:lnTo>
                  <a:lnTo>
                    <a:pt x="1563" y="4"/>
                  </a:lnTo>
                  <a:lnTo>
                    <a:pt x="1566" y="4"/>
                  </a:lnTo>
                  <a:lnTo>
                    <a:pt x="1566" y="2"/>
                  </a:lnTo>
                  <a:lnTo>
                    <a:pt x="1568" y="2"/>
                  </a:lnTo>
                  <a:lnTo>
                    <a:pt x="1568" y="4"/>
                  </a:lnTo>
                  <a:lnTo>
                    <a:pt x="1570" y="4"/>
                  </a:lnTo>
                  <a:lnTo>
                    <a:pt x="1573" y="4"/>
                  </a:lnTo>
                  <a:lnTo>
                    <a:pt x="1573" y="2"/>
                  </a:lnTo>
                  <a:lnTo>
                    <a:pt x="1575" y="2"/>
                  </a:lnTo>
                  <a:lnTo>
                    <a:pt x="1577" y="2"/>
                  </a:lnTo>
                  <a:lnTo>
                    <a:pt x="1577" y="0"/>
                  </a:lnTo>
                  <a:lnTo>
                    <a:pt x="1580" y="0"/>
                  </a:lnTo>
                  <a:lnTo>
                    <a:pt x="1582" y="0"/>
                  </a:lnTo>
                  <a:lnTo>
                    <a:pt x="1585" y="0"/>
                  </a:lnTo>
                  <a:lnTo>
                    <a:pt x="1587" y="0"/>
                  </a:lnTo>
                  <a:lnTo>
                    <a:pt x="1589" y="0"/>
                  </a:lnTo>
                  <a:lnTo>
                    <a:pt x="1592" y="0"/>
                  </a:lnTo>
                  <a:lnTo>
                    <a:pt x="1594" y="0"/>
                  </a:lnTo>
                  <a:lnTo>
                    <a:pt x="1596" y="0"/>
                  </a:lnTo>
                  <a:lnTo>
                    <a:pt x="1599" y="0"/>
                  </a:lnTo>
                  <a:lnTo>
                    <a:pt x="1599" y="2"/>
                  </a:lnTo>
                  <a:lnTo>
                    <a:pt x="1599" y="0"/>
                  </a:lnTo>
                  <a:lnTo>
                    <a:pt x="1599" y="2"/>
                  </a:lnTo>
                  <a:lnTo>
                    <a:pt x="1601" y="2"/>
                  </a:lnTo>
                  <a:lnTo>
                    <a:pt x="1604" y="2"/>
                  </a:lnTo>
                  <a:lnTo>
                    <a:pt x="1606" y="2"/>
                  </a:lnTo>
                  <a:lnTo>
                    <a:pt x="1608" y="2"/>
                  </a:lnTo>
                  <a:lnTo>
                    <a:pt x="1611" y="2"/>
                  </a:lnTo>
                  <a:lnTo>
                    <a:pt x="1613" y="2"/>
                  </a:lnTo>
                  <a:lnTo>
                    <a:pt x="1615" y="2"/>
                  </a:lnTo>
                  <a:lnTo>
                    <a:pt x="1613" y="2"/>
                  </a:lnTo>
                  <a:lnTo>
                    <a:pt x="1613" y="4"/>
                  </a:lnTo>
                  <a:lnTo>
                    <a:pt x="1615" y="4"/>
                  </a:lnTo>
                  <a:lnTo>
                    <a:pt x="1615" y="7"/>
                  </a:lnTo>
                  <a:lnTo>
                    <a:pt x="1618" y="7"/>
                  </a:lnTo>
                  <a:lnTo>
                    <a:pt x="1620" y="7"/>
                  </a:lnTo>
                  <a:lnTo>
                    <a:pt x="1618" y="7"/>
                  </a:lnTo>
                  <a:lnTo>
                    <a:pt x="1620" y="7"/>
                  </a:lnTo>
                  <a:lnTo>
                    <a:pt x="1623" y="9"/>
                  </a:lnTo>
                  <a:lnTo>
                    <a:pt x="1620" y="9"/>
                  </a:lnTo>
                  <a:lnTo>
                    <a:pt x="1623" y="12"/>
                  </a:lnTo>
                  <a:lnTo>
                    <a:pt x="1620" y="12"/>
                  </a:lnTo>
                  <a:lnTo>
                    <a:pt x="1623" y="12"/>
                  </a:lnTo>
                  <a:lnTo>
                    <a:pt x="1625" y="14"/>
                  </a:lnTo>
                  <a:lnTo>
                    <a:pt x="1627" y="14"/>
                  </a:lnTo>
                  <a:lnTo>
                    <a:pt x="1630" y="14"/>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1" name="Freeform 55220"/>
            <p:cNvSpPr>
              <a:spLocks noEditPoints="1"/>
            </p:cNvSpPr>
            <p:nvPr/>
          </p:nvSpPr>
          <p:spPr bwMode="auto">
            <a:xfrm>
              <a:off x="3068634" y="1816108"/>
              <a:ext cx="2354262" cy="3341700"/>
            </a:xfrm>
            <a:custGeom>
              <a:avLst/>
              <a:gdLst>
                <a:gd name="T0" fmla="*/ 918 w 1483"/>
                <a:gd name="T1" fmla="*/ 2043 h 2105"/>
                <a:gd name="T2" fmla="*/ 921 w 1483"/>
                <a:gd name="T3" fmla="*/ 2036 h 2105"/>
                <a:gd name="T4" fmla="*/ 954 w 1483"/>
                <a:gd name="T5" fmla="*/ 2017 h 2105"/>
                <a:gd name="T6" fmla="*/ 638 w 1483"/>
                <a:gd name="T7" fmla="*/ 1955 h 2105"/>
                <a:gd name="T8" fmla="*/ 342 w 1483"/>
                <a:gd name="T9" fmla="*/ 1311 h 2105"/>
                <a:gd name="T10" fmla="*/ 282 w 1483"/>
                <a:gd name="T11" fmla="*/ 1290 h 2105"/>
                <a:gd name="T12" fmla="*/ 285 w 1483"/>
                <a:gd name="T13" fmla="*/ 1273 h 2105"/>
                <a:gd name="T14" fmla="*/ 759 w 1483"/>
                <a:gd name="T15" fmla="*/ 1159 h 2105"/>
                <a:gd name="T16" fmla="*/ 624 w 1483"/>
                <a:gd name="T17" fmla="*/ 1110 h 2105"/>
                <a:gd name="T18" fmla="*/ 717 w 1483"/>
                <a:gd name="T19" fmla="*/ 1076 h 2105"/>
                <a:gd name="T20" fmla="*/ 712 w 1483"/>
                <a:gd name="T21" fmla="*/ 1076 h 2105"/>
                <a:gd name="T22" fmla="*/ 513 w 1483"/>
                <a:gd name="T23" fmla="*/ 1072 h 2105"/>
                <a:gd name="T24" fmla="*/ 674 w 1483"/>
                <a:gd name="T25" fmla="*/ 1062 h 2105"/>
                <a:gd name="T26" fmla="*/ 667 w 1483"/>
                <a:gd name="T27" fmla="*/ 1060 h 2105"/>
                <a:gd name="T28" fmla="*/ 515 w 1483"/>
                <a:gd name="T29" fmla="*/ 1055 h 2105"/>
                <a:gd name="T30" fmla="*/ 776 w 1483"/>
                <a:gd name="T31" fmla="*/ 1055 h 2105"/>
                <a:gd name="T32" fmla="*/ 679 w 1483"/>
                <a:gd name="T33" fmla="*/ 1050 h 2105"/>
                <a:gd name="T34" fmla="*/ 503 w 1483"/>
                <a:gd name="T35" fmla="*/ 1041 h 2105"/>
                <a:gd name="T36" fmla="*/ 494 w 1483"/>
                <a:gd name="T37" fmla="*/ 1031 h 2105"/>
                <a:gd name="T38" fmla="*/ 520 w 1483"/>
                <a:gd name="T39" fmla="*/ 1036 h 2105"/>
                <a:gd name="T40" fmla="*/ 1089 w 1483"/>
                <a:gd name="T41" fmla="*/ 1022 h 2105"/>
                <a:gd name="T42" fmla="*/ 1075 w 1483"/>
                <a:gd name="T43" fmla="*/ 1015 h 2105"/>
                <a:gd name="T44" fmla="*/ 1224 w 1483"/>
                <a:gd name="T45" fmla="*/ 1005 h 2105"/>
                <a:gd name="T46" fmla="*/ 496 w 1483"/>
                <a:gd name="T47" fmla="*/ 998 h 2105"/>
                <a:gd name="T48" fmla="*/ 1160 w 1483"/>
                <a:gd name="T49" fmla="*/ 988 h 2105"/>
                <a:gd name="T50" fmla="*/ 776 w 1483"/>
                <a:gd name="T51" fmla="*/ 979 h 2105"/>
                <a:gd name="T52" fmla="*/ 1208 w 1483"/>
                <a:gd name="T53" fmla="*/ 967 h 2105"/>
                <a:gd name="T54" fmla="*/ 1186 w 1483"/>
                <a:gd name="T55" fmla="*/ 962 h 2105"/>
                <a:gd name="T56" fmla="*/ 446 w 1483"/>
                <a:gd name="T57" fmla="*/ 953 h 2105"/>
                <a:gd name="T58" fmla="*/ 439 w 1483"/>
                <a:gd name="T59" fmla="*/ 946 h 2105"/>
                <a:gd name="T60" fmla="*/ 812 w 1483"/>
                <a:gd name="T61" fmla="*/ 927 h 2105"/>
                <a:gd name="T62" fmla="*/ 1068 w 1483"/>
                <a:gd name="T63" fmla="*/ 915 h 2105"/>
                <a:gd name="T64" fmla="*/ 1068 w 1483"/>
                <a:gd name="T65" fmla="*/ 889 h 2105"/>
                <a:gd name="T66" fmla="*/ 1084 w 1483"/>
                <a:gd name="T67" fmla="*/ 879 h 2105"/>
                <a:gd name="T68" fmla="*/ 1122 w 1483"/>
                <a:gd name="T69" fmla="*/ 867 h 2105"/>
                <a:gd name="T70" fmla="*/ 1094 w 1483"/>
                <a:gd name="T71" fmla="*/ 860 h 2105"/>
                <a:gd name="T72" fmla="*/ 1132 w 1483"/>
                <a:gd name="T73" fmla="*/ 853 h 2105"/>
                <a:gd name="T74" fmla="*/ 1020 w 1483"/>
                <a:gd name="T75" fmla="*/ 846 h 2105"/>
                <a:gd name="T76" fmla="*/ 968 w 1483"/>
                <a:gd name="T77" fmla="*/ 827 h 2105"/>
                <a:gd name="T78" fmla="*/ 1255 w 1483"/>
                <a:gd name="T79" fmla="*/ 820 h 2105"/>
                <a:gd name="T80" fmla="*/ 1175 w 1483"/>
                <a:gd name="T81" fmla="*/ 813 h 2105"/>
                <a:gd name="T82" fmla="*/ 543 w 1483"/>
                <a:gd name="T83" fmla="*/ 803 h 2105"/>
                <a:gd name="T84" fmla="*/ 430 w 1483"/>
                <a:gd name="T85" fmla="*/ 789 h 2105"/>
                <a:gd name="T86" fmla="*/ 432 w 1483"/>
                <a:gd name="T87" fmla="*/ 786 h 2105"/>
                <a:gd name="T88" fmla="*/ 387 w 1483"/>
                <a:gd name="T89" fmla="*/ 758 h 2105"/>
                <a:gd name="T90" fmla="*/ 1205 w 1483"/>
                <a:gd name="T91" fmla="*/ 715 h 2105"/>
                <a:gd name="T92" fmla="*/ 1208 w 1483"/>
                <a:gd name="T93" fmla="*/ 708 h 2105"/>
                <a:gd name="T94" fmla="*/ 1108 w 1483"/>
                <a:gd name="T95" fmla="*/ 684 h 2105"/>
                <a:gd name="T96" fmla="*/ 1129 w 1483"/>
                <a:gd name="T97" fmla="*/ 677 h 2105"/>
                <a:gd name="T98" fmla="*/ 1099 w 1483"/>
                <a:gd name="T99" fmla="*/ 665 h 2105"/>
                <a:gd name="T100" fmla="*/ 1068 w 1483"/>
                <a:gd name="T101" fmla="*/ 656 h 2105"/>
                <a:gd name="T102" fmla="*/ 1125 w 1483"/>
                <a:gd name="T103" fmla="*/ 539 h 2105"/>
                <a:gd name="T104" fmla="*/ 1298 w 1483"/>
                <a:gd name="T105" fmla="*/ 478 h 2105"/>
                <a:gd name="T106" fmla="*/ 1286 w 1483"/>
                <a:gd name="T107" fmla="*/ 385 h 2105"/>
                <a:gd name="T108" fmla="*/ 1279 w 1483"/>
                <a:gd name="T109" fmla="*/ 128 h 2105"/>
                <a:gd name="T110" fmla="*/ 1213 w 1483"/>
                <a:gd name="T111" fmla="*/ 112 h 2105"/>
                <a:gd name="T112" fmla="*/ 1139 w 1483"/>
                <a:gd name="T113" fmla="*/ 97 h 2105"/>
                <a:gd name="T114" fmla="*/ 1080 w 1483"/>
                <a:gd name="T115" fmla="*/ 93 h 2105"/>
                <a:gd name="T116" fmla="*/ 1141 w 1483"/>
                <a:gd name="T117" fmla="*/ 83 h 2105"/>
                <a:gd name="T118" fmla="*/ 1286 w 1483"/>
                <a:gd name="T119" fmla="*/ 71 h 2105"/>
                <a:gd name="T120" fmla="*/ 1279 w 1483"/>
                <a:gd name="T121" fmla="*/ 43 h 2105"/>
                <a:gd name="T122" fmla="*/ 1324 w 1483"/>
                <a:gd name="T123" fmla="*/ 26 h 2105"/>
                <a:gd name="T124" fmla="*/ 1277 w 1483"/>
                <a:gd name="T125" fmla="*/ 5 h 2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3" h="2105">
                  <a:moveTo>
                    <a:pt x="918" y="2103"/>
                  </a:moveTo>
                  <a:lnTo>
                    <a:pt x="921" y="2103"/>
                  </a:lnTo>
                  <a:lnTo>
                    <a:pt x="923" y="2103"/>
                  </a:lnTo>
                  <a:lnTo>
                    <a:pt x="921" y="2103"/>
                  </a:lnTo>
                  <a:lnTo>
                    <a:pt x="921" y="2105"/>
                  </a:lnTo>
                  <a:lnTo>
                    <a:pt x="918" y="2105"/>
                  </a:lnTo>
                  <a:lnTo>
                    <a:pt x="916" y="2105"/>
                  </a:lnTo>
                  <a:lnTo>
                    <a:pt x="916" y="2103"/>
                  </a:lnTo>
                  <a:lnTo>
                    <a:pt x="916" y="2105"/>
                  </a:lnTo>
                  <a:lnTo>
                    <a:pt x="916" y="2103"/>
                  </a:lnTo>
                  <a:lnTo>
                    <a:pt x="918" y="2103"/>
                  </a:lnTo>
                  <a:lnTo>
                    <a:pt x="916" y="2103"/>
                  </a:lnTo>
                  <a:lnTo>
                    <a:pt x="916" y="2105"/>
                  </a:lnTo>
                  <a:lnTo>
                    <a:pt x="918" y="2105"/>
                  </a:lnTo>
                  <a:lnTo>
                    <a:pt x="918" y="2103"/>
                  </a:lnTo>
                  <a:lnTo>
                    <a:pt x="916" y="2103"/>
                  </a:lnTo>
                  <a:lnTo>
                    <a:pt x="916" y="2105"/>
                  </a:lnTo>
                  <a:lnTo>
                    <a:pt x="916" y="2103"/>
                  </a:lnTo>
                  <a:lnTo>
                    <a:pt x="916" y="2100"/>
                  </a:lnTo>
                  <a:lnTo>
                    <a:pt x="918" y="2100"/>
                  </a:lnTo>
                  <a:lnTo>
                    <a:pt x="918" y="2103"/>
                  </a:lnTo>
                  <a:close/>
                  <a:moveTo>
                    <a:pt x="911" y="2079"/>
                  </a:moveTo>
                  <a:lnTo>
                    <a:pt x="914" y="2079"/>
                  </a:lnTo>
                  <a:lnTo>
                    <a:pt x="914" y="2081"/>
                  </a:lnTo>
                  <a:lnTo>
                    <a:pt x="911" y="2081"/>
                  </a:lnTo>
                  <a:lnTo>
                    <a:pt x="911" y="2079"/>
                  </a:lnTo>
                  <a:close/>
                  <a:moveTo>
                    <a:pt x="911" y="2079"/>
                  </a:moveTo>
                  <a:lnTo>
                    <a:pt x="911" y="2081"/>
                  </a:lnTo>
                  <a:lnTo>
                    <a:pt x="909" y="2081"/>
                  </a:lnTo>
                  <a:lnTo>
                    <a:pt x="909" y="2079"/>
                  </a:lnTo>
                  <a:lnTo>
                    <a:pt x="911" y="2079"/>
                  </a:lnTo>
                  <a:close/>
                  <a:moveTo>
                    <a:pt x="904" y="2065"/>
                  </a:moveTo>
                  <a:lnTo>
                    <a:pt x="904" y="2062"/>
                  </a:lnTo>
                  <a:lnTo>
                    <a:pt x="904" y="2060"/>
                  </a:lnTo>
                  <a:lnTo>
                    <a:pt x="904" y="2062"/>
                  </a:lnTo>
                  <a:lnTo>
                    <a:pt x="904" y="2065"/>
                  </a:lnTo>
                  <a:close/>
                  <a:moveTo>
                    <a:pt x="937" y="2055"/>
                  </a:moveTo>
                  <a:lnTo>
                    <a:pt x="937" y="2053"/>
                  </a:lnTo>
                  <a:lnTo>
                    <a:pt x="937" y="2055"/>
                  </a:lnTo>
                  <a:close/>
                  <a:moveTo>
                    <a:pt x="916" y="2048"/>
                  </a:moveTo>
                  <a:lnTo>
                    <a:pt x="918" y="2048"/>
                  </a:lnTo>
                  <a:lnTo>
                    <a:pt x="916" y="2048"/>
                  </a:lnTo>
                  <a:close/>
                  <a:moveTo>
                    <a:pt x="916" y="2048"/>
                  </a:moveTo>
                  <a:lnTo>
                    <a:pt x="918" y="2048"/>
                  </a:lnTo>
                  <a:lnTo>
                    <a:pt x="916" y="2048"/>
                  </a:lnTo>
                  <a:close/>
                  <a:moveTo>
                    <a:pt x="911" y="2048"/>
                  </a:moveTo>
                  <a:lnTo>
                    <a:pt x="909" y="2048"/>
                  </a:lnTo>
                  <a:lnTo>
                    <a:pt x="911" y="2048"/>
                  </a:lnTo>
                  <a:lnTo>
                    <a:pt x="909" y="2048"/>
                  </a:lnTo>
                  <a:lnTo>
                    <a:pt x="909" y="2046"/>
                  </a:lnTo>
                  <a:lnTo>
                    <a:pt x="909" y="2048"/>
                  </a:lnTo>
                  <a:lnTo>
                    <a:pt x="911" y="2048"/>
                  </a:lnTo>
                  <a:lnTo>
                    <a:pt x="909" y="2048"/>
                  </a:lnTo>
                  <a:lnTo>
                    <a:pt x="911" y="2048"/>
                  </a:lnTo>
                  <a:lnTo>
                    <a:pt x="909" y="2048"/>
                  </a:lnTo>
                  <a:lnTo>
                    <a:pt x="911" y="2048"/>
                  </a:lnTo>
                  <a:close/>
                  <a:moveTo>
                    <a:pt x="918" y="2048"/>
                  </a:moveTo>
                  <a:lnTo>
                    <a:pt x="918" y="2046"/>
                  </a:lnTo>
                  <a:lnTo>
                    <a:pt x="918" y="2048"/>
                  </a:lnTo>
                  <a:close/>
                  <a:moveTo>
                    <a:pt x="918" y="2046"/>
                  </a:moveTo>
                  <a:lnTo>
                    <a:pt x="918" y="2048"/>
                  </a:lnTo>
                  <a:lnTo>
                    <a:pt x="918" y="2046"/>
                  </a:lnTo>
                  <a:close/>
                  <a:moveTo>
                    <a:pt x="918" y="2046"/>
                  </a:moveTo>
                  <a:lnTo>
                    <a:pt x="918" y="2043"/>
                  </a:lnTo>
                  <a:lnTo>
                    <a:pt x="918" y="2046"/>
                  </a:lnTo>
                  <a:close/>
                  <a:moveTo>
                    <a:pt x="928" y="2043"/>
                  </a:moveTo>
                  <a:lnTo>
                    <a:pt x="930" y="2043"/>
                  </a:lnTo>
                  <a:lnTo>
                    <a:pt x="930" y="2046"/>
                  </a:lnTo>
                  <a:lnTo>
                    <a:pt x="928" y="2046"/>
                  </a:lnTo>
                  <a:lnTo>
                    <a:pt x="925" y="2046"/>
                  </a:lnTo>
                  <a:lnTo>
                    <a:pt x="925" y="2043"/>
                  </a:lnTo>
                  <a:lnTo>
                    <a:pt x="928" y="2043"/>
                  </a:lnTo>
                  <a:close/>
                  <a:moveTo>
                    <a:pt x="918" y="2041"/>
                  </a:moveTo>
                  <a:lnTo>
                    <a:pt x="918" y="2043"/>
                  </a:lnTo>
                  <a:lnTo>
                    <a:pt x="918" y="2041"/>
                  </a:lnTo>
                  <a:close/>
                  <a:moveTo>
                    <a:pt x="928" y="2038"/>
                  </a:moveTo>
                  <a:lnTo>
                    <a:pt x="928" y="2041"/>
                  </a:lnTo>
                  <a:lnTo>
                    <a:pt x="930" y="2041"/>
                  </a:lnTo>
                  <a:lnTo>
                    <a:pt x="930" y="2038"/>
                  </a:lnTo>
                  <a:lnTo>
                    <a:pt x="930" y="2041"/>
                  </a:lnTo>
                  <a:lnTo>
                    <a:pt x="928" y="2041"/>
                  </a:lnTo>
                  <a:lnTo>
                    <a:pt x="928" y="2038"/>
                  </a:lnTo>
                  <a:close/>
                  <a:moveTo>
                    <a:pt x="918" y="2041"/>
                  </a:moveTo>
                  <a:lnTo>
                    <a:pt x="918" y="2038"/>
                  </a:lnTo>
                  <a:lnTo>
                    <a:pt x="918" y="2041"/>
                  </a:lnTo>
                  <a:close/>
                  <a:moveTo>
                    <a:pt x="928" y="2036"/>
                  </a:moveTo>
                  <a:lnTo>
                    <a:pt x="928" y="2038"/>
                  </a:lnTo>
                  <a:lnTo>
                    <a:pt x="930" y="2038"/>
                  </a:lnTo>
                  <a:lnTo>
                    <a:pt x="928" y="2038"/>
                  </a:lnTo>
                  <a:lnTo>
                    <a:pt x="930" y="2038"/>
                  </a:lnTo>
                  <a:lnTo>
                    <a:pt x="928" y="2038"/>
                  </a:lnTo>
                  <a:lnTo>
                    <a:pt x="928" y="2036"/>
                  </a:lnTo>
                  <a:close/>
                  <a:moveTo>
                    <a:pt x="921" y="2038"/>
                  </a:moveTo>
                  <a:lnTo>
                    <a:pt x="918" y="2038"/>
                  </a:lnTo>
                  <a:lnTo>
                    <a:pt x="921" y="2038"/>
                  </a:lnTo>
                  <a:lnTo>
                    <a:pt x="918" y="2038"/>
                  </a:lnTo>
                  <a:lnTo>
                    <a:pt x="918" y="2041"/>
                  </a:lnTo>
                  <a:lnTo>
                    <a:pt x="921" y="2041"/>
                  </a:lnTo>
                  <a:lnTo>
                    <a:pt x="918" y="2041"/>
                  </a:lnTo>
                  <a:lnTo>
                    <a:pt x="918" y="2043"/>
                  </a:lnTo>
                  <a:lnTo>
                    <a:pt x="918" y="2046"/>
                  </a:lnTo>
                  <a:lnTo>
                    <a:pt x="918" y="2043"/>
                  </a:lnTo>
                  <a:lnTo>
                    <a:pt x="918" y="2041"/>
                  </a:lnTo>
                  <a:lnTo>
                    <a:pt x="918" y="2038"/>
                  </a:lnTo>
                  <a:lnTo>
                    <a:pt x="921" y="2038"/>
                  </a:lnTo>
                  <a:lnTo>
                    <a:pt x="921" y="2036"/>
                  </a:lnTo>
                  <a:lnTo>
                    <a:pt x="921" y="2038"/>
                  </a:lnTo>
                  <a:close/>
                  <a:moveTo>
                    <a:pt x="918" y="2036"/>
                  </a:moveTo>
                  <a:lnTo>
                    <a:pt x="918" y="2038"/>
                  </a:lnTo>
                  <a:lnTo>
                    <a:pt x="918" y="2036"/>
                  </a:lnTo>
                  <a:close/>
                  <a:moveTo>
                    <a:pt x="916" y="2036"/>
                  </a:moveTo>
                  <a:lnTo>
                    <a:pt x="914" y="2036"/>
                  </a:lnTo>
                  <a:lnTo>
                    <a:pt x="916" y="2036"/>
                  </a:lnTo>
                  <a:lnTo>
                    <a:pt x="914" y="2036"/>
                  </a:lnTo>
                  <a:lnTo>
                    <a:pt x="916" y="2036"/>
                  </a:lnTo>
                  <a:lnTo>
                    <a:pt x="914" y="2036"/>
                  </a:lnTo>
                  <a:lnTo>
                    <a:pt x="916" y="2036"/>
                  </a:lnTo>
                  <a:close/>
                  <a:moveTo>
                    <a:pt x="921" y="2036"/>
                  </a:moveTo>
                  <a:lnTo>
                    <a:pt x="921" y="2038"/>
                  </a:lnTo>
                  <a:lnTo>
                    <a:pt x="921" y="2036"/>
                  </a:lnTo>
                  <a:lnTo>
                    <a:pt x="921" y="2038"/>
                  </a:lnTo>
                  <a:lnTo>
                    <a:pt x="921" y="2036"/>
                  </a:lnTo>
                  <a:lnTo>
                    <a:pt x="923" y="2036"/>
                  </a:lnTo>
                  <a:lnTo>
                    <a:pt x="923" y="2038"/>
                  </a:lnTo>
                  <a:lnTo>
                    <a:pt x="923" y="2041"/>
                  </a:lnTo>
                  <a:lnTo>
                    <a:pt x="921" y="2041"/>
                  </a:lnTo>
                  <a:lnTo>
                    <a:pt x="921" y="2038"/>
                  </a:lnTo>
                  <a:lnTo>
                    <a:pt x="921" y="2036"/>
                  </a:lnTo>
                  <a:close/>
                  <a:moveTo>
                    <a:pt x="935" y="2034"/>
                  </a:moveTo>
                  <a:lnTo>
                    <a:pt x="937" y="2034"/>
                  </a:lnTo>
                  <a:lnTo>
                    <a:pt x="937" y="2036"/>
                  </a:lnTo>
                  <a:lnTo>
                    <a:pt x="935" y="2036"/>
                  </a:lnTo>
                  <a:lnTo>
                    <a:pt x="935" y="2034"/>
                  </a:lnTo>
                  <a:close/>
                  <a:moveTo>
                    <a:pt x="921" y="2034"/>
                  </a:moveTo>
                  <a:lnTo>
                    <a:pt x="918" y="2034"/>
                  </a:lnTo>
                  <a:lnTo>
                    <a:pt x="921" y="2034"/>
                  </a:lnTo>
                  <a:close/>
                  <a:moveTo>
                    <a:pt x="937" y="2031"/>
                  </a:moveTo>
                  <a:lnTo>
                    <a:pt x="937" y="2034"/>
                  </a:lnTo>
                  <a:lnTo>
                    <a:pt x="937" y="2031"/>
                  </a:lnTo>
                  <a:lnTo>
                    <a:pt x="935" y="2031"/>
                  </a:lnTo>
                  <a:lnTo>
                    <a:pt x="937" y="2031"/>
                  </a:lnTo>
                  <a:close/>
                  <a:moveTo>
                    <a:pt x="916" y="2034"/>
                  </a:moveTo>
                  <a:lnTo>
                    <a:pt x="916" y="2031"/>
                  </a:lnTo>
                  <a:lnTo>
                    <a:pt x="918" y="2031"/>
                  </a:lnTo>
                  <a:lnTo>
                    <a:pt x="916" y="2034"/>
                  </a:lnTo>
                  <a:close/>
                  <a:moveTo>
                    <a:pt x="940" y="2031"/>
                  </a:moveTo>
                  <a:lnTo>
                    <a:pt x="937" y="2031"/>
                  </a:lnTo>
                  <a:lnTo>
                    <a:pt x="940" y="2031"/>
                  </a:lnTo>
                  <a:close/>
                  <a:moveTo>
                    <a:pt x="940" y="2029"/>
                  </a:moveTo>
                  <a:lnTo>
                    <a:pt x="940" y="2031"/>
                  </a:lnTo>
                  <a:lnTo>
                    <a:pt x="940" y="2029"/>
                  </a:lnTo>
                  <a:lnTo>
                    <a:pt x="937" y="2029"/>
                  </a:lnTo>
                  <a:lnTo>
                    <a:pt x="940" y="2029"/>
                  </a:lnTo>
                  <a:close/>
                  <a:moveTo>
                    <a:pt x="928" y="2029"/>
                  </a:moveTo>
                  <a:lnTo>
                    <a:pt x="928" y="2031"/>
                  </a:lnTo>
                  <a:lnTo>
                    <a:pt x="928" y="2029"/>
                  </a:lnTo>
                  <a:close/>
                  <a:moveTo>
                    <a:pt x="935" y="2027"/>
                  </a:moveTo>
                  <a:lnTo>
                    <a:pt x="933" y="2027"/>
                  </a:lnTo>
                  <a:lnTo>
                    <a:pt x="935" y="2027"/>
                  </a:lnTo>
                  <a:close/>
                  <a:moveTo>
                    <a:pt x="933" y="2024"/>
                  </a:moveTo>
                  <a:lnTo>
                    <a:pt x="933" y="2027"/>
                  </a:lnTo>
                  <a:lnTo>
                    <a:pt x="930" y="2027"/>
                  </a:lnTo>
                  <a:lnTo>
                    <a:pt x="933" y="2027"/>
                  </a:lnTo>
                  <a:lnTo>
                    <a:pt x="933" y="2024"/>
                  </a:lnTo>
                  <a:close/>
                  <a:moveTo>
                    <a:pt x="937" y="2027"/>
                  </a:moveTo>
                  <a:lnTo>
                    <a:pt x="937" y="2024"/>
                  </a:lnTo>
                  <a:lnTo>
                    <a:pt x="937" y="2027"/>
                  </a:lnTo>
                  <a:close/>
                  <a:moveTo>
                    <a:pt x="935" y="2022"/>
                  </a:moveTo>
                  <a:lnTo>
                    <a:pt x="935" y="2024"/>
                  </a:lnTo>
                  <a:lnTo>
                    <a:pt x="933" y="2024"/>
                  </a:lnTo>
                  <a:lnTo>
                    <a:pt x="935" y="2024"/>
                  </a:lnTo>
                  <a:lnTo>
                    <a:pt x="933" y="2024"/>
                  </a:lnTo>
                  <a:lnTo>
                    <a:pt x="933" y="2022"/>
                  </a:lnTo>
                  <a:lnTo>
                    <a:pt x="933" y="2024"/>
                  </a:lnTo>
                  <a:lnTo>
                    <a:pt x="933" y="2022"/>
                  </a:lnTo>
                  <a:lnTo>
                    <a:pt x="935" y="2022"/>
                  </a:lnTo>
                  <a:close/>
                  <a:moveTo>
                    <a:pt x="916" y="2019"/>
                  </a:moveTo>
                  <a:lnTo>
                    <a:pt x="916" y="2022"/>
                  </a:lnTo>
                  <a:lnTo>
                    <a:pt x="916" y="2019"/>
                  </a:lnTo>
                  <a:lnTo>
                    <a:pt x="914" y="2019"/>
                  </a:lnTo>
                  <a:lnTo>
                    <a:pt x="916" y="2019"/>
                  </a:lnTo>
                  <a:close/>
                  <a:moveTo>
                    <a:pt x="954" y="2017"/>
                  </a:moveTo>
                  <a:lnTo>
                    <a:pt x="954" y="2019"/>
                  </a:lnTo>
                  <a:lnTo>
                    <a:pt x="954" y="2017"/>
                  </a:lnTo>
                  <a:lnTo>
                    <a:pt x="954" y="2019"/>
                  </a:lnTo>
                  <a:lnTo>
                    <a:pt x="954" y="2017"/>
                  </a:lnTo>
                  <a:lnTo>
                    <a:pt x="954" y="2019"/>
                  </a:lnTo>
                  <a:lnTo>
                    <a:pt x="954" y="2017"/>
                  </a:lnTo>
                  <a:lnTo>
                    <a:pt x="954" y="2019"/>
                  </a:lnTo>
                  <a:lnTo>
                    <a:pt x="954" y="2017"/>
                  </a:lnTo>
                  <a:lnTo>
                    <a:pt x="954" y="2019"/>
                  </a:lnTo>
                  <a:lnTo>
                    <a:pt x="954" y="2017"/>
                  </a:lnTo>
                  <a:close/>
                  <a:moveTo>
                    <a:pt x="916" y="2017"/>
                  </a:moveTo>
                  <a:lnTo>
                    <a:pt x="916" y="2019"/>
                  </a:lnTo>
                  <a:lnTo>
                    <a:pt x="914" y="2019"/>
                  </a:lnTo>
                  <a:lnTo>
                    <a:pt x="911" y="2017"/>
                  </a:lnTo>
                  <a:lnTo>
                    <a:pt x="914" y="2015"/>
                  </a:lnTo>
                  <a:lnTo>
                    <a:pt x="914" y="2017"/>
                  </a:lnTo>
                  <a:lnTo>
                    <a:pt x="914" y="2015"/>
                  </a:lnTo>
                  <a:lnTo>
                    <a:pt x="916" y="2015"/>
                  </a:lnTo>
                  <a:lnTo>
                    <a:pt x="916" y="2017"/>
                  </a:lnTo>
                  <a:close/>
                  <a:moveTo>
                    <a:pt x="956" y="2012"/>
                  </a:moveTo>
                  <a:lnTo>
                    <a:pt x="956" y="2015"/>
                  </a:lnTo>
                  <a:lnTo>
                    <a:pt x="956" y="2012"/>
                  </a:lnTo>
                  <a:lnTo>
                    <a:pt x="956" y="2015"/>
                  </a:lnTo>
                  <a:lnTo>
                    <a:pt x="956" y="2012"/>
                  </a:lnTo>
                  <a:close/>
                  <a:moveTo>
                    <a:pt x="961" y="2010"/>
                  </a:moveTo>
                  <a:lnTo>
                    <a:pt x="961" y="2012"/>
                  </a:lnTo>
                  <a:lnTo>
                    <a:pt x="961" y="2010"/>
                  </a:lnTo>
                  <a:close/>
                  <a:moveTo>
                    <a:pt x="978" y="2010"/>
                  </a:moveTo>
                  <a:lnTo>
                    <a:pt x="980" y="2010"/>
                  </a:lnTo>
                  <a:lnTo>
                    <a:pt x="980" y="2012"/>
                  </a:lnTo>
                  <a:lnTo>
                    <a:pt x="978" y="2012"/>
                  </a:lnTo>
                  <a:lnTo>
                    <a:pt x="978" y="2010"/>
                  </a:lnTo>
                  <a:close/>
                  <a:moveTo>
                    <a:pt x="973" y="2010"/>
                  </a:moveTo>
                  <a:lnTo>
                    <a:pt x="975" y="2010"/>
                  </a:lnTo>
                  <a:lnTo>
                    <a:pt x="973" y="2010"/>
                  </a:lnTo>
                  <a:lnTo>
                    <a:pt x="973" y="2012"/>
                  </a:lnTo>
                  <a:lnTo>
                    <a:pt x="973" y="2010"/>
                  </a:lnTo>
                  <a:close/>
                  <a:moveTo>
                    <a:pt x="959" y="2005"/>
                  </a:moveTo>
                  <a:lnTo>
                    <a:pt x="959" y="2008"/>
                  </a:lnTo>
                  <a:lnTo>
                    <a:pt x="959" y="2005"/>
                  </a:lnTo>
                  <a:close/>
                  <a:moveTo>
                    <a:pt x="961" y="2005"/>
                  </a:moveTo>
                  <a:lnTo>
                    <a:pt x="961" y="2008"/>
                  </a:lnTo>
                  <a:lnTo>
                    <a:pt x="963" y="2008"/>
                  </a:lnTo>
                  <a:lnTo>
                    <a:pt x="961" y="2008"/>
                  </a:lnTo>
                  <a:lnTo>
                    <a:pt x="961" y="2010"/>
                  </a:lnTo>
                  <a:lnTo>
                    <a:pt x="963" y="2010"/>
                  </a:lnTo>
                  <a:lnTo>
                    <a:pt x="963" y="2008"/>
                  </a:lnTo>
                  <a:lnTo>
                    <a:pt x="966" y="2008"/>
                  </a:lnTo>
                  <a:lnTo>
                    <a:pt x="966" y="2010"/>
                  </a:lnTo>
                  <a:lnTo>
                    <a:pt x="966" y="2012"/>
                  </a:lnTo>
                  <a:lnTo>
                    <a:pt x="966" y="2010"/>
                  </a:lnTo>
                  <a:lnTo>
                    <a:pt x="966" y="2012"/>
                  </a:lnTo>
                  <a:lnTo>
                    <a:pt x="963" y="2012"/>
                  </a:lnTo>
                  <a:lnTo>
                    <a:pt x="963" y="2015"/>
                  </a:lnTo>
                  <a:lnTo>
                    <a:pt x="963" y="2012"/>
                  </a:lnTo>
                  <a:lnTo>
                    <a:pt x="961" y="2012"/>
                  </a:lnTo>
                  <a:lnTo>
                    <a:pt x="963" y="2012"/>
                  </a:lnTo>
                  <a:lnTo>
                    <a:pt x="961" y="2012"/>
                  </a:lnTo>
                  <a:lnTo>
                    <a:pt x="961" y="2010"/>
                  </a:lnTo>
                  <a:lnTo>
                    <a:pt x="963" y="2010"/>
                  </a:lnTo>
                  <a:lnTo>
                    <a:pt x="961" y="2010"/>
                  </a:lnTo>
                  <a:lnTo>
                    <a:pt x="963" y="2010"/>
                  </a:lnTo>
                  <a:lnTo>
                    <a:pt x="961" y="2010"/>
                  </a:lnTo>
                  <a:lnTo>
                    <a:pt x="961" y="2008"/>
                  </a:lnTo>
                  <a:lnTo>
                    <a:pt x="961" y="2005"/>
                  </a:lnTo>
                  <a:close/>
                  <a:moveTo>
                    <a:pt x="968" y="1996"/>
                  </a:moveTo>
                  <a:lnTo>
                    <a:pt x="970" y="1996"/>
                  </a:lnTo>
                  <a:lnTo>
                    <a:pt x="968" y="1996"/>
                  </a:lnTo>
                  <a:close/>
                  <a:moveTo>
                    <a:pt x="607" y="1972"/>
                  </a:moveTo>
                  <a:lnTo>
                    <a:pt x="610" y="1972"/>
                  </a:lnTo>
                  <a:lnTo>
                    <a:pt x="607" y="1972"/>
                  </a:lnTo>
                  <a:close/>
                  <a:moveTo>
                    <a:pt x="638" y="1955"/>
                  </a:moveTo>
                  <a:lnTo>
                    <a:pt x="638" y="1958"/>
                  </a:lnTo>
                  <a:lnTo>
                    <a:pt x="638" y="1955"/>
                  </a:lnTo>
                  <a:lnTo>
                    <a:pt x="641" y="1955"/>
                  </a:lnTo>
                  <a:lnTo>
                    <a:pt x="638" y="1955"/>
                  </a:lnTo>
                  <a:close/>
                  <a:moveTo>
                    <a:pt x="645" y="1953"/>
                  </a:moveTo>
                  <a:lnTo>
                    <a:pt x="645" y="1955"/>
                  </a:lnTo>
                  <a:lnTo>
                    <a:pt x="645" y="1953"/>
                  </a:lnTo>
                  <a:close/>
                  <a:moveTo>
                    <a:pt x="641" y="1953"/>
                  </a:moveTo>
                  <a:lnTo>
                    <a:pt x="643" y="1953"/>
                  </a:lnTo>
                  <a:lnTo>
                    <a:pt x="645" y="1953"/>
                  </a:lnTo>
                  <a:lnTo>
                    <a:pt x="645" y="1955"/>
                  </a:lnTo>
                  <a:lnTo>
                    <a:pt x="643" y="1955"/>
                  </a:lnTo>
                  <a:lnTo>
                    <a:pt x="641" y="1955"/>
                  </a:lnTo>
                  <a:lnTo>
                    <a:pt x="638" y="1955"/>
                  </a:lnTo>
                  <a:lnTo>
                    <a:pt x="638" y="1953"/>
                  </a:lnTo>
                  <a:lnTo>
                    <a:pt x="641" y="1953"/>
                  </a:lnTo>
                  <a:close/>
                  <a:moveTo>
                    <a:pt x="638" y="1953"/>
                  </a:moveTo>
                  <a:lnTo>
                    <a:pt x="638" y="1951"/>
                  </a:lnTo>
                  <a:lnTo>
                    <a:pt x="638" y="1953"/>
                  </a:lnTo>
                  <a:close/>
                  <a:moveTo>
                    <a:pt x="641" y="1951"/>
                  </a:moveTo>
                  <a:lnTo>
                    <a:pt x="641" y="1953"/>
                  </a:lnTo>
                  <a:lnTo>
                    <a:pt x="638" y="1953"/>
                  </a:lnTo>
                  <a:lnTo>
                    <a:pt x="638" y="1955"/>
                  </a:lnTo>
                  <a:lnTo>
                    <a:pt x="638" y="1953"/>
                  </a:lnTo>
                  <a:lnTo>
                    <a:pt x="638" y="1951"/>
                  </a:lnTo>
                  <a:lnTo>
                    <a:pt x="641" y="1951"/>
                  </a:lnTo>
                  <a:close/>
                  <a:moveTo>
                    <a:pt x="655" y="1951"/>
                  </a:moveTo>
                  <a:lnTo>
                    <a:pt x="657" y="1951"/>
                  </a:lnTo>
                  <a:lnTo>
                    <a:pt x="655" y="1951"/>
                  </a:lnTo>
                  <a:close/>
                  <a:moveTo>
                    <a:pt x="0" y="1587"/>
                  </a:moveTo>
                  <a:lnTo>
                    <a:pt x="2" y="1587"/>
                  </a:lnTo>
                  <a:lnTo>
                    <a:pt x="0" y="1587"/>
                  </a:lnTo>
                  <a:close/>
                  <a:moveTo>
                    <a:pt x="7" y="1587"/>
                  </a:moveTo>
                  <a:lnTo>
                    <a:pt x="7" y="1585"/>
                  </a:lnTo>
                  <a:lnTo>
                    <a:pt x="7" y="1587"/>
                  </a:lnTo>
                  <a:close/>
                  <a:moveTo>
                    <a:pt x="12" y="1585"/>
                  </a:moveTo>
                  <a:lnTo>
                    <a:pt x="14" y="1585"/>
                  </a:lnTo>
                  <a:lnTo>
                    <a:pt x="12" y="1585"/>
                  </a:lnTo>
                  <a:close/>
                  <a:moveTo>
                    <a:pt x="10" y="1585"/>
                  </a:moveTo>
                  <a:lnTo>
                    <a:pt x="12" y="1585"/>
                  </a:lnTo>
                  <a:lnTo>
                    <a:pt x="10" y="1585"/>
                  </a:lnTo>
                  <a:close/>
                  <a:moveTo>
                    <a:pt x="233" y="1319"/>
                  </a:moveTo>
                  <a:lnTo>
                    <a:pt x="233" y="1321"/>
                  </a:lnTo>
                  <a:lnTo>
                    <a:pt x="230" y="1321"/>
                  </a:lnTo>
                  <a:lnTo>
                    <a:pt x="230" y="1319"/>
                  </a:lnTo>
                  <a:lnTo>
                    <a:pt x="233" y="1319"/>
                  </a:lnTo>
                  <a:close/>
                  <a:moveTo>
                    <a:pt x="240" y="1319"/>
                  </a:moveTo>
                  <a:lnTo>
                    <a:pt x="240" y="1316"/>
                  </a:lnTo>
                  <a:lnTo>
                    <a:pt x="242" y="1316"/>
                  </a:lnTo>
                  <a:lnTo>
                    <a:pt x="242" y="1319"/>
                  </a:lnTo>
                  <a:lnTo>
                    <a:pt x="240" y="1319"/>
                  </a:lnTo>
                  <a:close/>
                  <a:moveTo>
                    <a:pt x="342" y="1314"/>
                  </a:moveTo>
                  <a:lnTo>
                    <a:pt x="339" y="1314"/>
                  </a:lnTo>
                  <a:lnTo>
                    <a:pt x="339" y="1311"/>
                  </a:lnTo>
                  <a:lnTo>
                    <a:pt x="342" y="1311"/>
                  </a:lnTo>
                  <a:lnTo>
                    <a:pt x="344" y="1311"/>
                  </a:lnTo>
                  <a:lnTo>
                    <a:pt x="342" y="1314"/>
                  </a:lnTo>
                  <a:close/>
                  <a:moveTo>
                    <a:pt x="344" y="1311"/>
                  </a:moveTo>
                  <a:lnTo>
                    <a:pt x="342" y="1311"/>
                  </a:lnTo>
                  <a:lnTo>
                    <a:pt x="344" y="1311"/>
                  </a:lnTo>
                  <a:close/>
                  <a:moveTo>
                    <a:pt x="344" y="1311"/>
                  </a:moveTo>
                  <a:lnTo>
                    <a:pt x="342" y="1311"/>
                  </a:lnTo>
                  <a:lnTo>
                    <a:pt x="339" y="1311"/>
                  </a:lnTo>
                  <a:lnTo>
                    <a:pt x="342" y="1311"/>
                  </a:lnTo>
                  <a:lnTo>
                    <a:pt x="339" y="1311"/>
                  </a:lnTo>
                  <a:lnTo>
                    <a:pt x="342" y="1311"/>
                  </a:lnTo>
                  <a:lnTo>
                    <a:pt x="344" y="1311"/>
                  </a:lnTo>
                  <a:close/>
                  <a:moveTo>
                    <a:pt x="330" y="1307"/>
                  </a:moveTo>
                  <a:lnTo>
                    <a:pt x="330" y="1309"/>
                  </a:lnTo>
                  <a:lnTo>
                    <a:pt x="330" y="1307"/>
                  </a:lnTo>
                  <a:lnTo>
                    <a:pt x="327" y="1309"/>
                  </a:lnTo>
                  <a:lnTo>
                    <a:pt x="330" y="1309"/>
                  </a:lnTo>
                  <a:lnTo>
                    <a:pt x="332" y="1307"/>
                  </a:lnTo>
                  <a:lnTo>
                    <a:pt x="330" y="1307"/>
                  </a:lnTo>
                  <a:close/>
                  <a:moveTo>
                    <a:pt x="268" y="1307"/>
                  </a:moveTo>
                  <a:lnTo>
                    <a:pt x="268" y="1309"/>
                  </a:lnTo>
                  <a:lnTo>
                    <a:pt x="268" y="1307"/>
                  </a:lnTo>
                  <a:close/>
                  <a:moveTo>
                    <a:pt x="280" y="1307"/>
                  </a:moveTo>
                  <a:lnTo>
                    <a:pt x="280" y="1309"/>
                  </a:lnTo>
                  <a:lnTo>
                    <a:pt x="280" y="1307"/>
                  </a:lnTo>
                  <a:lnTo>
                    <a:pt x="280" y="1309"/>
                  </a:lnTo>
                  <a:lnTo>
                    <a:pt x="280" y="1307"/>
                  </a:lnTo>
                  <a:close/>
                  <a:moveTo>
                    <a:pt x="261" y="1307"/>
                  </a:moveTo>
                  <a:lnTo>
                    <a:pt x="261" y="1309"/>
                  </a:lnTo>
                  <a:lnTo>
                    <a:pt x="263" y="1309"/>
                  </a:lnTo>
                  <a:lnTo>
                    <a:pt x="263" y="1311"/>
                  </a:lnTo>
                  <a:lnTo>
                    <a:pt x="263" y="1309"/>
                  </a:lnTo>
                  <a:lnTo>
                    <a:pt x="261" y="1311"/>
                  </a:lnTo>
                  <a:lnTo>
                    <a:pt x="261" y="1309"/>
                  </a:lnTo>
                  <a:lnTo>
                    <a:pt x="261" y="1311"/>
                  </a:lnTo>
                  <a:lnTo>
                    <a:pt x="261" y="1309"/>
                  </a:lnTo>
                  <a:lnTo>
                    <a:pt x="261" y="1307"/>
                  </a:lnTo>
                  <a:close/>
                  <a:moveTo>
                    <a:pt x="233" y="1304"/>
                  </a:moveTo>
                  <a:lnTo>
                    <a:pt x="235" y="1307"/>
                  </a:lnTo>
                  <a:lnTo>
                    <a:pt x="235" y="1309"/>
                  </a:lnTo>
                  <a:lnTo>
                    <a:pt x="233" y="1309"/>
                  </a:lnTo>
                  <a:lnTo>
                    <a:pt x="233" y="1307"/>
                  </a:lnTo>
                  <a:lnTo>
                    <a:pt x="233" y="1304"/>
                  </a:lnTo>
                  <a:close/>
                  <a:moveTo>
                    <a:pt x="285" y="1292"/>
                  </a:moveTo>
                  <a:lnTo>
                    <a:pt x="287" y="1292"/>
                  </a:lnTo>
                  <a:lnTo>
                    <a:pt x="287" y="1290"/>
                  </a:lnTo>
                  <a:lnTo>
                    <a:pt x="287" y="1292"/>
                  </a:lnTo>
                  <a:lnTo>
                    <a:pt x="287" y="1290"/>
                  </a:lnTo>
                  <a:lnTo>
                    <a:pt x="287" y="1292"/>
                  </a:lnTo>
                  <a:lnTo>
                    <a:pt x="287" y="1290"/>
                  </a:lnTo>
                  <a:lnTo>
                    <a:pt x="287" y="1292"/>
                  </a:lnTo>
                  <a:lnTo>
                    <a:pt x="290" y="1292"/>
                  </a:lnTo>
                  <a:lnTo>
                    <a:pt x="290" y="1295"/>
                  </a:lnTo>
                  <a:lnTo>
                    <a:pt x="290" y="1292"/>
                  </a:lnTo>
                  <a:lnTo>
                    <a:pt x="290" y="1295"/>
                  </a:lnTo>
                  <a:lnTo>
                    <a:pt x="290" y="1292"/>
                  </a:lnTo>
                  <a:lnTo>
                    <a:pt x="290" y="1295"/>
                  </a:lnTo>
                  <a:lnTo>
                    <a:pt x="290" y="1292"/>
                  </a:lnTo>
                  <a:lnTo>
                    <a:pt x="290" y="1295"/>
                  </a:lnTo>
                  <a:lnTo>
                    <a:pt x="292" y="1295"/>
                  </a:lnTo>
                  <a:lnTo>
                    <a:pt x="290" y="1295"/>
                  </a:lnTo>
                  <a:lnTo>
                    <a:pt x="287" y="1295"/>
                  </a:lnTo>
                  <a:lnTo>
                    <a:pt x="285" y="1295"/>
                  </a:lnTo>
                  <a:lnTo>
                    <a:pt x="285" y="1292"/>
                  </a:lnTo>
                  <a:lnTo>
                    <a:pt x="285" y="1290"/>
                  </a:lnTo>
                  <a:lnTo>
                    <a:pt x="285" y="1292"/>
                  </a:lnTo>
                  <a:close/>
                  <a:moveTo>
                    <a:pt x="282" y="1290"/>
                  </a:moveTo>
                  <a:lnTo>
                    <a:pt x="285" y="1290"/>
                  </a:lnTo>
                  <a:lnTo>
                    <a:pt x="285" y="1292"/>
                  </a:lnTo>
                  <a:lnTo>
                    <a:pt x="282" y="1292"/>
                  </a:lnTo>
                  <a:lnTo>
                    <a:pt x="282" y="1290"/>
                  </a:lnTo>
                  <a:lnTo>
                    <a:pt x="282" y="1292"/>
                  </a:lnTo>
                  <a:lnTo>
                    <a:pt x="282" y="1290"/>
                  </a:lnTo>
                  <a:lnTo>
                    <a:pt x="280" y="1290"/>
                  </a:lnTo>
                  <a:lnTo>
                    <a:pt x="282" y="1290"/>
                  </a:lnTo>
                  <a:close/>
                  <a:moveTo>
                    <a:pt x="261" y="1285"/>
                  </a:moveTo>
                  <a:lnTo>
                    <a:pt x="259" y="1285"/>
                  </a:lnTo>
                  <a:lnTo>
                    <a:pt x="261" y="1285"/>
                  </a:lnTo>
                  <a:close/>
                  <a:moveTo>
                    <a:pt x="282" y="1285"/>
                  </a:moveTo>
                  <a:lnTo>
                    <a:pt x="282" y="1288"/>
                  </a:lnTo>
                  <a:lnTo>
                    <a:pt x="285" y="1285"/>
                  </a:lnTo>
                  <a:lnTo>
                    <a:pt x="282" y="1288"/>
                  </a:lnTo>
                  <a:lnTo>
                    <a:pt x="285" y="1288"/>
                  </a:lnTo>
                  <a:lnTo>
                    <a:pt x="282" y="1288"/>
                  </a:lnTo>
                  <a:lnTo>
                    <a:pt x="285" y="1288"/>
                  </a:lnTo>
                  <a:lnTo>
                    <a:pt x="285" y="1290"/>
                  </a:lnTo>
                  <a:lnTo>
                    <a:pt x="282" y="1288"/>
                  </a:lnTo>
                  <a:lnTo>
                    <a:pt x="285" y="1288"/>
                  </a:lnTo>
                  <a:lnTo>
                    <a:pt x="282" y="1288"/>
                  </a:lnTo>
                  <a:lnTo>
                    <a:pt x="282" y="1285"/>
                  </a:lnTo>
                  <a:close/>
                  <a:moveTo>
                    <a:pt x="263" y="1285"/>
                  </a:moveTo>
                  <a:lnTo>
                    <a:pt x="263" y="1283"/>
                  </a:lnTo>
                  <a:lnTo>
                    <a:pt x="263" y="1285"/>
                  </a:lnTo>
                  <a:close/>
                  <a:moveTo>
                    <a:pt x="263" y="1283"/>
                  </a:moveTo>
                  <a:lnTo>
                    <a:pt x="263" y="1285"/>
                  </a:lnTo>
                  <a:lnTo>
                    <a:pt x="263" y="1283"/>
                  </a:lnTo>
                  <a:close/>
                  <a:moveTo>
                    <a:pt x="287" y="1281"/>
                  </a:moveTo>
                  <a:lnTo>
                    <a:pt x="287" y="1283"/>
                  </a:lnTo>
                  <a:lnTo>
                    <a:pt x="290" y="1283"/>
                  </a:lnTo>
                  <a:lnTo>
                    <a:pt x="290" y="1285"/>
                  </a:lnTo>
                  <a:lnTo>
                    <a:pt x="287" y="1285"/>
                  </a:lnTo>
                  <a:lnTo>
                    <a:pt x="287" y="1283"/>
                  </a:lnTo>
                  <a:lnTo>
                    <a:pt x="285" y="1283"/>
                  </a:lnTo>
                  <a:lnTo>
                    <a:pt x="287" y="1281"/>
                  </a:lnTo>
                  <a:close/>
                  <a:moveTo>
                    <a:pt x="285" y="1278"/>
                  </a:moveTo>
                  <a:lnTo>
                    <a:pt x="287" y="1281"/>
                  </a:lnTo>
                  <a:lnTo>
                    <a:pt x="285" y="1278"/>
                  </a:lnTo>
                  <a:close/>
                  <a:moveTo>
                    <a:pt x="282" y="1278"/>
                  </a:moveTo>
                  <a:lnTo>
                    <a:pt x="282" y="1281"/>
                  </a:lnTo>
                  <a:lnTo>
                    <a:pt x="280" y="1278"/>
                  </a:lnTo>
                  <a:lnTo>
                    <a:pt x="282" y="1278"/>
                  </a:lnTo>
                  <a:close/>
                  <a:moveTo>
                    <a:pt x="290" y="1278"/>
                  </a:moveTo>
                  <a:lnTo>
                    <a:pt x="290" y="1276"/>
                  </a:lnTo>
                  <a:lnTo>
                    <a:pt x="287" y="1276"/>
                  </a:lnTo>
                  <a:lnTo>
                    <a:pt x="290" y="1276"/>
                  </a:lnTo>
                  <a:lnTo>
                    <a:pt x="290" y="1278"/>
                  </a:lnTo>
                  <a:close/>
                  <a:moveTo>
                    <a:pt x="287" y="1276"/>
                  </a:moveTo>
                  <a:lnTo>
                    <a:pt x="287" y="1278"/>
                  </a:lnTo>
                  <a:lnTo>
                    <a:pt x="287" y="1276"/>
                  </a:lnTo>
                  <a:lnTo>
                    <a:pt x="287" y="1278"/>
                  </a:lnTo>
                  <a:lnTo>
                    <a:pt x="290" y="1278"/>
                  </a:lnTo>
                  <a:lnTo>
                    <a:pt x="287" y="1278"/>
                  </a:lnTo>
                  <a:lnTo>
                    <a:pt x="290" y="1281"/>
                  </a:lnTo>
                  <a:lnTo>
                    <a:pt x="287" y="1278"/>
                  </a:lnTo>
                  <a:lnTo>
                    <a:pt x="287" y="1281"/>
                  </a:lnTo>
                  <a:lnTo>
                    <a:pt x="287" y="1278"/>
                  </a:lnTo>
                  <a:lnTo>
                    <a:pt x="285" y="1278"/>
                  </a:lnTo>
                  <a:lnTo>
                    <a:pt x="287" y="1278"/>
                  </a:lnTo>
                  <a:lnTo>
                    <a:pt x="285" y="1278"/>
                  </a:lnTo>
                  <a:lnTo>
                    <a:pt x="287" y="1278"/>
                  </a:lnTo>
                  <a:lnTo>
                    <a:pt x="287" y="1276"/>
                  </a:lnTo>
                  <a:lnTo>
                    <a:pt x="285" y="1276"/>
                  </a:lnTo>
                  <a:lnTo>
                    <a:pt x="287" y="1276"/>
                  </a:lnTo>
                  <a:close/>
                  <a:moveTo>
                    <a:pt x="287" y="1276"/>
                  </a:moveTo>
                  <a:lnTo>
                    <a:pt x="285" y="1276"/>
                  </a:lnTo>
                  <a:lnTo>
                    <a:pt x="287" y="1276"/>
                  </a:lnTo>
                  <a:close/>
                  <a:moveTo>
                    <a:pt x="285" y="1273"/>
                  </a:moveTo>
                  <a:lnTo>
                    <a:pt x="285" y="1276"/>
                  </a:lnTo>
                  <a:lnTo>
                    <a:pt x="285" y="1273"/>
                  </a:lnTo>
                  <a:close/>
                  <a:moveTo>
                    <a:pt x="287" y="1276"/>
                  </a:moveTo>
                  <a:lnTo>
                    <a:pt x="287" y="1273"/>
                  </a:lnTo>
                  <a:lnTo>
                    <a:pt x="287" y="1276"/>
                  </a:lnTo>
                  <a:close/>
                  <a:moveTo>
                    <a:pt x="292" y="1271"/>
                  </a:moveTo>
                  <a:lnTo>
                    <a:pt x="290" y="1271"/>
                  </a:lnTo>
                  <a:lnTo>
                    <a:pt x="290" y="1269"/>
                  </a:lnTo>
                  <a:lnTo>
                    <a:pt x="292" y="1271"/>
                  </a:lnTo>
                  <a:close/>
                  <a:moveTo>
                    <a:pt x="757" y="1195"/>
                  </a:moveTo>
                  <a:lnTo>
                    <a:pt x="757" y="1197"/>
                  </a:lnTo>
                  <a:lnTo>
                    <a:pt x="757" y="1195"/>
                  </a:lnTo>
                  <a:close/>
                  <a:moveTo>
                    <a:pt x="762" y="1195"/>
                  </a:moveTo>
                  <a:lnTo>
                    <a:pt x="759" y="1195"/>
                  </a:lnTo>
                  <a:lnTo>
                    <a:pt x="762" y="1195"/>
                  </a:lnTo>
                  <a:close/>
                  <a:moveTo>
                    <a:pt x="762" y="1195"/>
                  </a:moveTo>
                  <a:lnTo>
                    <a:pt x="759" y="1195"/>
                  </a:lnTo>
                  <a:lnTo>
                    <a:pt x="762" y="1195"/>
                  </a:lnTo>
                  <a:close/>
                  <a:moveTo>
                    <a:pt x="757" y="1190"/>
                  </a:moveTo>
                  <a:lnTo>
                    <a:pt x="759" y="1190"/>
                  </a:lnTo>
                  <a:lnTo>
                    <a:pt x="757" y="1190"/>
                  </a:lnTo>
                  <a:close/>
                  <a:moveTo>
                    <a:pt x="764" y="1186"/>
                  </a:moveTo>
                  <a:lnTo>
                    <a:pt x="764" y="1188"/>
                  </a:lnTo>
                  <a:lnTo>
                    <a:pt x="764" y="1186"/>
                  </a:lnTo>
                  <a:close/>
                  <a:moveTo>
                    <a:pt x="764" y="1186"/>
                  </a:moveTo>
                  <a:lnTo>
                    <a:pt x="764" y="1183"/>
                  </a:lnTo>
                  <a:lnTo>
                    <a:pt x="764" y="1186"/>
                  </a:lnTo>
                  <a:close/>
                  <a:moveTo>
                    <a:pt x="812" y="1183"/>
                  </a:moveTo>
                  <a:lnTo>
                    <a:pt x="809" y="1183"/>
                  </a:lnTo>
                  <a:lnTo>
                    <a:pt x="812" y="1183"/>
                  </a:lnTo>
                  <a:close/>
                  <a:moveTo>
                    <a:pt x="762" y="1183"/>
                  </a:moveTo>
                  <a:lnTo>
                    <a:pt x="762" y="1181"/>
                  </a:lnTo>
                  <a:lnTo>
                    <a:pt x="762" y="1183"/>
                  </a:lnTo>
                  <a:close/>
                  <a:moveTo>
                    <a:pt x="795" y="1181"/>
                  </a:moveTo>
                  <a:lnTo>
                    <a:pt x="793" y="1181"/>
                  </a:lnTo>
                  <a:lnTo>
                    <a:pt x="795" y="1181"/>
                  </a:lnTo>
                  <a:close/>
                  <a:moveTo>
                    <a:pt x="793" y="1178"/>
                  </a:moveTo>
                  <a:lnTo>
                    <a:pt x="793" y="1181"/>
                  </a:lnTo>
                  <a:lnTo>
                    <a:pt x="793" y="1178"/>
                  </a:lnTo>
                  <a:lnTo>
                    <a:pt x="793" y="1181"/>
                  </a:lnTo>
                  <a:lnTo>
                    <a:pt x="793" y="1178"/>
                  </a:lnTo>
                  <a:lnTo>
                    <a:pt x="793" y="1181"/>
                  </a:lnTo>
                  <a:lnTo>
                    <a:pt x="793" y="1178"/>
                  </a:lnTo>
                  <a:close/>
                  <a:moveTo>
                    <a:pt x="785" y="1174"/>
                  </a:moveTo>
                  <a:lnTo>
                    <a:pt x="788" y="1174"/>
                  </a:lnTo>
                  <a:lnTo>
                    <a:pt x="785" y="1174"/>
                  </a:lnTo>
                  <a:close/>
                  <a:moveTo>
                    <a:pt x="783" y="1171"/>
                  </a:moveTo>
                  <a:lnTo>
                    <a:pt x="785" y="1171"/>
                  </a:lnTo>
                  <a:lnTo>
                    <a:pt x="785" y="1174"/>
                  </a:lnTo>
                  <a:lnTo>
                    <a:pt x="783" y="1171"/>
                  </a:lnTo>
                  <a:close/>
                  <a:moveTo>
                    <a:pt x="783" y="1169"/>
                  </a:moveTo>
                  <a:lnTo>
                    <a:pt x="783" y="1171"/>
                  </a:lnTo>
                  <a:lnTo>
                    <a:pt x="781" y="1169"/>
                  </a:lnTo>
                  <a:lnTo>
                    <a:pt x="783" y="1169"/>
                  </a:lnTo>
                  <a:close/>
                  <a:moveTo>
                    <a:pt x="1208" y="1169"/>
                  </a:moveTo>
                  <a:lnTo>
                    <a:pt x="1208" y="1167"/>
                  </a:lnTo>
                  <a:lnTo>
                    <a:pt x="1208" y="1169"/>
                  </a:lnTo>
                  <a:close/>
                  <a:moveTo>
                    <a:pt x="766" y="1162"/>
                  </a:moveTo>
                  <a:lnTo>
                    <a:pt x="764" y="1162"/>
                  </a:lnTo>
                  <a:lnTo>
                    <a:pt x="766" y="1162"/>
                  </a:lnTo>
                  <a:close/>
                  <a:moveTo>
                    <a:pt x="759" y="1157"/>
                  </a:moveTo>
                  <a:lnTo>
                    <a:pt x="759" y="1159"/>
                  </a:lnTo>
                  <a:lnTo>
                    <a:pt x="759" y="1157"/>
                  </a:lnTo>
                  <a:lnTo>
                    <a:pt x="759" y="1159"/>
                  </a:lnTo>
                  <a:lnTo>
                    <a:pt x="759" y="1157"/>
                  </a:lnTo>
                  <a:lnTo>
                    <a:pt x="759" y="1159"/>
                  </a:lnTo>
                  <a:lnTo>
                    <a:pt x="759" y="1157"/>
                  </a:lnTo>
                  <a:close/>
                  <a:moveTo>
                    <a:pt x="755" y="1155"/>
                  </a:moveTo>
                  <a:lnTo>
                    <a:pt x="757" y="1155"/>
                  </a:lnTo>
                  <a:lnTo>
                    <a:pt x="757" y="1157"/>
                  </a:lnTo>
                  <a:lnTo>
                    <a:pt x="755" y="1155"/>
                  </a:lnTo>
                  <a:lnTo>
                    <a:pt x="752" y="1155"/>
                  </a:lnTo>
                  <a:lnTo>
                    <a:pt x="755" y="1155"/>
                  </a:lnTo>
                  <a:close/>
                  <a:moveTo>
                    <a:pt x="1196" y="1150"/>
                  </a:moveTo>
                  <a:lnTo>
                    <a:pt x="1196" y="1152"/>
                  </a:lnTo>
                  <a:lnTo>
                    <a:pt x="1196" y="1150"/>
                  </a:lnTo>
                  <a:close/>
                  <a:moveTo>
                    <a:pt x="750" y="1150"/>
                  </a:moveTo>
                  <a:lnTo>
                    <a:pt x="747" y="1152"/>
                  </a:lnTo>
                  <a:lnTo>
                    <a:pt x="747" y="1150"/>
                  </a:lnTo>
                  <a:lnTo>
                    <a:pt x="750" y="1150"/>
                  </a:lnTo>
                  <a:close/>
                  <a:moveTo>
                    <a:pt x="747" y="1145"/>
                  </a:moveTo>
                  <a:lnTo>
                    <a:pt x="747" y="1148"/>
                  </a:lnTo>
                  <a:lnTo>
                    <a:pt x="747" y="1145"/>
                  </a:lnTo>
                  <a:close/>
                  <a:moveTo>
                    <a:pt x="728" y="1126"/>
                  </a:moveTo>
                  <a:lnTo>
                    <a:pt x="728" y="1129"/>
                  </a:lnTo>
                  <a:lnTo>
                    <a:pt x="728" y="1126"/>
                  </a:lnTo>
                  <a:close/>
                  <a:moveTo>
                    <a:pt x="726" y="1124"/>
                  </a:moveTo>
                  <a:lnTo>
                    <a:pt x="726" y="1126"/>
                  </a:lnTo>
                  <a:lnTo>
                    <a:pt x="726" y="1124"/>
                  </a:lnTo>
                  <a:lnTo>
                    <a:pt x="726" y="1126"/>
                  </a:lnTo>
                  <a:lnTo>
                    <a:pt x="726" y="1124"/>
                  </a:lnTo>
                  <a:lnTo>
                    <a:pt x="724" y="1124"/>
                  </a:lnTo>
                  <a:lnTo>
                    <a:pt x="726" y="1124"/>
                  </a:lnTo>
                  <a:close/>
                  <a:moveTo>
                    <a:pt x="726" y="1126"/>
                  </a:moveTo>
                  <a:lnTo>
                    <a:pt x="724" y="1124"/>
                  </a:lnTo>
                  <a:lnTo>
                    <a:pt x="726" y="1126"/>
                  </a:lnTo>
                  <a:close/>
                  <a:moveTo>
                    <a:pt x="724" y="1121"/>
                  </a:moveTo>
                  <a:lnTo>
                    <a:pt x="726" y="1121"/>
                  </a:lnTo>
                  <a:lnTo>
                    <a:pt x="724" y="1121"/>
                  </a:lnTo>
                  <a:close/>
                  <a:moveTo>
                    <a:pt x="728" y="1119"/>
                  </a:moveTo>
                  <a:lnTo>
                    <a:pt x="726" y="1119"/>
                  </a:lnTo>
                  <a:lnTo>
                    <a:pt x="728" y="1119"/>
                  </a:lnTo>
                  <a:close/>
                  <a:moveTo>
                    <a:pt x="724" y="1114"/>
                  </a:moveTo>
                  <a:lnTo>
                    <a:pt x="726" y="1117"/>
                  </a:lnTo>
                  <a:lnTo>
                    <a:pt x="724" y="1114"/>
                  </a:lnTo>
                  <a:close/>
                  <a:moveTo>
                    <a:pt x="726" y="1117"/>
                  </a:moveTo>
                  <a:lnTo>
                    <a:pt x="726" y="1119"/>
                  </a:lnTo>
                  <a:lnTo>
                    <a:pt x="726" y="1117"/>
                  </a:lnTo>
                  <a:lnTo>
                    <a:pt x="724" y="1114"/>
                  </a:lnTo>
                  <a:lnTo>
                    <a:pt x="726" y="1114"/>
                  </a:lnTo>
                  <a:lnTo>
                    <a:pt x="726" y="1117"/>
                  </a:lnTo>
                  <a:close/>
                  <a:moveTo>
                    <a:pt x="1210" y="1114"/>
                  </a:moveTo>
                  <a:lnTo>
                    <a:pt x="1213" y="1114"/>
                  </a:lnTo>
                  <a:lnTo>
                    <a:pt x="1210" y="1114"/>
                  </a:lnTo>
                  <a:close/>
                  <a:moveTo>
                    <a:pt x="714" y="1112"/>
                  </a:moveTo>
                  <a:lnTo>
                    <a:pt x="717" y="1112"/>
                  </a:lnTo>
                  <a:lnTo>
                    <a:pt x="714" y="1112"/>
                  </a:lnTo>
                  <a:close/>
                  <a:moveTo>
                    <a:pt x="1215" y="1110"/>
                  </a:moveTo>
                  <a:lnTo>
                    <a:pt x="1215" y="1107"/>
                  </a:lnTo>
                  <a:lnTo>
                    <a:pt x="1215" y="1110"/>
                  </a:lnTo>
                  <a:close/>
                  <a:moveTo>
                    <a:pt x="631" y="1114"/>
                  </a:moveTo>
                  <a:lnTo>
                    <a:pt x="629" y="1114"/>
                  </a:lnTo>
                  <a:lnTo>
                    <a:pt x="629" y="1117"/>
                  </a:lnTo>
                  <a:lnTo>
                    <a:pt x="626" y="1117"/>
                  </a:lnTo>
                  <a:lnTo>
                    <a:pt x="626" y="1114"/>
                  </a:lnTo>
                  <a:lnTo>
                    <a:pt x="624" y="1114"/>
                  </a:lnTo>
                  <a:lnTo>
                    <a:pt x="622" y="1114"/>
                  </a:lnTo>
                  <a:lnTo>
                    <a:pt x="622" y="1112"/>
                  </a:lnTo>
                  <a:lnTo>
                    <a:pt x="622" y="1110"/>
                  </a:lnTo>
                  <a:lnTo>
                    <a:pt x="624" y="1110"/>
                  </a:lnTo>
                  <a:lnTo>
                    <a:pt x="624" y="1107"/>
                  </a:lnTo>
                  <a:lnTo>
                    <a:pt x="626" y="1110"/>
                  </a:lnTo>
                  <a:lnTo>
                    <a:pt x="629" y="1110"/>
                  </a:lnTo>
                  <a:lnTo>
                    <a:pt x="629" y="1112"/>
                  </a:lnTo>
                  <a:lnTo>
                    <a:pt x="631" y="1112"/>
                  </a:lnTo>
                  <a:lnTo>
                    <a:pt x="631" y="1114"/>
                  </a:lnTo>
                  <a:close/>
                  <a:moveTo>
                    <a:pt x="1243" y="1095"/>
                  </a:moveTo>
                  <a:lnTo>
                    <a:pt x="1243" y="1098"/>
                  </a:lnTo>
                  <a:lnTo>
                    <a:pt x="1241" y="1095"/>
                  </a:lnTo>
                  <a:lnTo>
                    <a:pt x="1243" y="1095"/>
                  </a:lnTo>
                  <a:close/>
                  <a:moveTo>
                    <a:pt x="558" y="1091"/>
                  </a:moveTo>
                  <a:lnTo>
                    <a:pt x="555" y="1093"/>
                  </a:lnTo>
                  <a:lnTo>
                    <a:pt x="555" y="1091"/>
                  </a:lnTo>
                  <a:lnTo>
                    <a:pt x="558" y="1091"/>
                  </a:lnTo>
                  <a:lnTo>
                    <a:pt x="555" y="1091"/>
                  </a:lnTo>
                  <a:lnTo>
                    <a:pt x="555" y="1088"/>
                  </a:lnTo>
                  <a:lnTo>
                    <a:pt x="558" y="1088"/>
                  </a:lnTo>
                  <a:lnTo>
                    <a:pt x="558" y="1091"/>
                  </a:lnTo>
                  <a:close/>
                  <a:moveTo>
                    <a:pt x="577" y="1086"/>
                  </a:moveTo>
                  <a:lnTo>
                    <a:pt x="577" y="1088"/>
                  </a:lnTo>
                  <a:lnTo>
                    <a:pt x="579" y="1088"/>
                  </a:lnTo>
                  <a:lnTo>
                    <a:pt x="577" y="1088"/>
                  </a:lnTo>
                  <a:lnTo>
                    <a:pt x="577" y="1086"/>
                  </a:lnTo>
                  <a:close/>
                  <a:moveTo>
                    <a:pt x="553" y="1086"/>
                  </a:moveTo>
                  <a:lnTo>
                    <a:pt x="553" y="1088"/>
                  </a:lnTo>
                  <a:lnTo>
                    <a:pt x="553" y="1086"/>
                  </a:lnTo>
                  <a:lnTo>
                    <a:pt x="553" y="1088"/>
                  </a:lnTo>
                  <a:lnTo>
                    <a:pt x="553" y="1086"/>
                  </a:lnTo>
                  <a:close/>
                  <a:moveTo>
                    <a:pt x="1243" y="1086"/>
                  </a:moveTo>
                  <a:lnTo>
                    <a:pt x="1246" y="1086"/>
                  </a:lnTo>
                  <a:lnTo>
                    <a:pt x="1243" y="1086"/>
                  </a:lnTo>
                  <a:close/>
                  <a:moveTo>
                    <a:pt x="721" y="1086"/>
                  </a:moveTo>
                  <a:lnTo>
                    <a:pt x="724" y="1086"/>
                  </a:lnTo>
                  <a:lnTo>
                    <a:pt x="721" y="1086"/>
                  </a:lnTo>
                  <a:close/>
                  <a:moveTo>
                    <a:pt x="726" y="1086"/>
                  </a:moveTo>
                  <a:lnTo>
                    <a:pt x="724" y="1086"/>
                  </a:lnTo>
                  <a:lnTo>
                    <a:pt x="726" y="1083"/>
                  </a:lnTo>
                  <a:lnTo>
                    <a:pt x="726" y="1086"/>
                  </a:lnTo>
                  <a:lnTo>
                    <a:pt x="726" y="1083"/>
                  </a:lnTo>
                  <a:lnTo>
                    <a:pt x="726" y="1086"/>
                  </a:lnTo>
                  <a:close/>
                  <a:moveTo>
                    <a:pt x="570" y="1083"/>
                  </a:moveTo>
                  <a:lnTo>
                    <a:pt x="570" y="1086"/>
                  </a:lnTo>
                  <a:lnTo>
                    <a:pt x="570" y="1083"/>
                  </a:lnTo>
                  <a:close/>
                  <a:moveTo>
                    <a:pt x="555" y="1081"/>
                  </a:moveTo>
                  <a:lnTo>
                    <a:pt x="555" y="1083"/>
                  </a:lnTo>
                  <a:lnTo>
                    <a:pt x="555" y="1081"/>
                  </a:lnTo>
                  <a:close/>
                  <a:moveTo>
                    <a:pt x="721" y="1081"/>
                  </a:moveTo>
                  <a:lnTo>
                    <a:pt x="724" y="1081"/>
                  </a:lnTo>
                  <a:lnTo>
                    <a:pt x="721" y="1081"/>
                  </a:lnTo>
                  <a:close/>
                  <a:moveTo>
                    <a:pt x="551" y="1079"/>
                  </a:moveTo>
                  <a:lnTo>
                    <a:pt x="553" y="1079"/>
                  </a:lnTo>
                  <a:lnTo>
                    <a:pt x="553" y="1081"/>
                  </a:lnTo>
                  <a:lnTo>
                    <a:pt x="555" y="1081"/>
                  </a:lnTo>
                  <a:lnTo>
                    <a:pt x="553" y="1081"/>
                  </a:lnTo>
                  <a:lnTo>
                    <a:pt x="555" y="1081"/>
                  </a:lnTo>
                  <a:lnTo>
                    <a:pt x="553" y="1081"/>
                  </a:lnTo>
                  <a:lnTo>
                    <a:pt x="551" y="1081"/>
                  </a:lnTo>
                  <a:lnTo>
                    <a:pt x="553" y="1081"/>
                  </a:lnTo>
                  <a:lnTo>
                    <a:pt x="551" y="1081"/>
                  </a:lnTo>
                  <a:lnTo>
                    <a:pt x="551" y="1079"/>
                  </a:lnTo>
                  <a:close/>
                  <a:moveTo>
                    <a:pt x="719" y="1079"/>
                  </a:moveTo>
                  <a:lnTo>
                    <a:pt x="717" y="1076"/>
                  </a:lnTo>
                  <a:lnTo>
                    <a:pt x="719" y="1079"/>
                  </a:lnTo>
                  <a:close/>
                  <a:moveTo>
                    <a:pt x="717" y="1076"/>
                  </a:moveTo>
                  <a:lnTo>
                    <a:pt x="714" y="1076"/>
                  </a:lnTo>
                  <a:lnTo>
                    <a:pt x="717" y="1076"/>
                  </a:lnTo>
                  <a:close/>
                  <a:moveTo>
                    <a:pt x="717" y="1076"/>
                  </a:moveTo>
                  <a:lnTo>
                    <a:pt x="717" y="1079"/>
                  </a:lnTo>
                  <a:lnTo>
                    <a:pt x="717" y="1076"/>
                  </a:lnTo>
                  <a:lnTo>
                    <a:pt x="719" y="1079"/>
                  </a:lnTo>
                  <a:lnTo>
                    <a:pt x="721" y="1079"/>
                  </a:lnTo>
                  <a:lnTo>
                    <a:pt x="724" y="1079"/>
                  </a:lnTo>
                  <a:lnTo>
                    <a:pt x="726" y="1079"/>
                  </a:lnTo>
                  <a:lnTo>
                    <a:pt x="726" y="1081"/>
                  </a:lnTo>
                  <a:lnTo>
                    <a:pt x="724" y="1081"/>
                  </a:lnTo>
                  <a:lnTo>
                    <a:pt x="721" y="1081"/>
                  </a:lnTo>
                  <a:lnTo>
                    <a:pt x="724" y="1081"/>
                  </a:lnTo>
                  <a:lnTo>
                    <a:pt x="721" y="1081"/>
                  </a:lnTo>
                  <a:lnTo>
                    <a:pt x="719" y="1081"/>
                  </a:lnTo>
                  <a:lnTo>
                    <a:pt x="719" y="1079"/>
                  </a:lnTo>
                  <a:lnTo>
                    <a:pt x="717" y="1079"/>
                  </a:lnTo>
                  <a:lnTo>
                    <a:pt x="714" y="1079"/>
                  </a:lnTo>
                  <a:lnTo>
                    <a:pt x="714" y="1076"/>
                  </a:lnTo>
                  <a:lnTo>
                    <a:pt x="717" y="1076"/>
                  </a:lnTo>
                  <a:close/>
                  <a:moveTo>
                    <a:pt x="714" y="1079"/>
                  </a:moveTo>
                  <a:lnTo>
                    <a:pt x="714" y="1076"/>
                  </a:lnTo>
                  <a:lnTo>
                    <a:pt x="712" y="1076"/>
                  </a:lnTo>
                  <a:lnTo>
                    <a:pt x="714" y="1076"/>
                  </a:lnTo>
                  <a:lnTo>
                    <a:pt x="714" y="1079"/>
                  </a:lnTo>
                  <a:close/>
                  <a:moveTo>
                    <a:pt x="548" y="1076"/>
                  </a:moveTo>
                  <a:lnTo>
                    <a:pt x="546" y="1076"/>
                  </a:lnTo>
                  <a:lnTo>
                    <a:pt x="548" y="1076"/>
                  </a:lnTo>
                  <a:close/>
                  <a:moveTo>
                    <a:pt x="714" y="1076"/>
                  </a:moveTo>
                  <a:lnTo>
                    <a:pt x="717" y="1076"/>
                  </a:lnTo>
                  <a:lnTo>
                    <a:pt x="714" y="1076"/>
                  </a:lnTo>
                  <a:close/>
                  <a:moveTo>
                    <a:pt x="543" y="1076"/>
                  </a:moveTo>
                  <a:lnTo>
                    <a:pt x="546" y="1076"/>
                  </a:lnTo>
                  <a:lnTo>
                    <a:pt x="543" y="1076"/>
                  </a:lnTo>
                  <a:close/>
                  <a:moveTo>
                    <a:pt x="712" y="1076"/>
                  </a:moveTo>
                  <a:lnTo>
                    <a:pt x="714" y="1076"/>
                  </a:lnTo>
                  <a:lnTo>
                    <a:pt x="712" y="1076"/>
                  </a:lnTo>
                  <a:lnTo>
                    <a:pt x="712" y="1074"/>
                  </a:lnTo>
                  <a:lnTo>
                    <a:pt x="712" y="1076"/>
                  </a:lnTo>
                  <a:close/>
                  <a:moveTo>
                    <a:pt x="717" y="1076"/>
                  </a:moveTo>
                  <a:lnTo>
                    <a:pt x="719" y="1076"/>
                  </a:lnTo>
                  <a:lnTo>
                    <a:pt x="721" y="1076"/>
                  </a:lnTo>
                  <a:lnTo>
                    <a:pt x="719" y="1076"/>
                  </a:lnTo>
                  <a:lnTo>
                    <a:pt x="721" y="1076"/>
                  </a:lnTo>
                  <a:lnTo>
                    <a:pt x="724" y="1076"/>
                  </a:lnTo>
                  <a:lnTo>
                    <a:pt x="724" y="1079"/>
                  </a:lnTo>
                  <a:lnTo>
                    <a:pt x="721" y="1079"/>
                  </a:lnTo>
                  <a:lnTo>
                    <a:pt x="719" y="1079"/>
                  </a:lnTo>
                  <a:lnTo>
                    <a:pt x="719" y="1076"/>
                  </a:lnTo>
                  <a:lnTo>
                    <a:pt x="717" y="1076"/>
                  </a:lnTo>
                  <a:lnTo>
                    <a:pt x="714" y="1076"/>
                  </a:lnTo>
                  <a:lnTo>
                    <a:pt x="714" y="1074"/>
                  </a:lnTo>
                  <a:lnTo>
                    <a:pt x="714" y="1076"/>
                  </a:lnTo>
                  <a:lnTo>
                    <a:pt x="717" y="1076"/>
                  </a:lnTo>
                  <a:close/>
                  <a:moveTo>
                    <a:pt x="539" y="1074"/>
                  </a:moveTo>
                  <a:lnTo>
                    <a:pt x="539" y="1076"/>
                  </a:lnTo>
                  <a:lnTo>
                    <a:pt x="539" y="1074"/>
                  </a:lnTo>
                  <a:close/>
                  <a:moveTo>
                    <a:pt x="714" y="1074"/>
                  </a:moveTo>
                  <a:lnTo>
                    <a:pt x="714" y="1076"/>
                  </a:lnTo>
                  <a:lnTo>
                    <a:pt x="712" y="1076"/>
                  </a:lnTo>
                  <a:lnTo>
                    <a:pt x="712" y="1074"/>
                  </a:lnTo>
                  <a:lnTo>
                    <a:pt x="712" y="1076"/>
                  </a:lnTo>
                  <a:lnTo>
                    <a:pt x="714" y="1076"/>
                  </a:lnTo>
                  <a:lnTo>
                    <a:pt x="712" y="1076"/>
                  </a:lnTo>
                  <a:lnTo>
                    <a:pt x="712" y="1074"/>
                  </a:lnTo>
                  <a:lnTo>
                    <a:pt x="714" y="1074"/>
                  </a:lnTo>
                  <a:close/>
                  <a:moveTo>
                    <a:pt x="546" y="1074"/>
                  </a:moveTo>
                  <a:lnTo>
                    <a:pt x="548" y="1074"/>
                  </a:lnTo>
                  <a:lnTo>
                    <a:pt x="546" y="1074"/>
                  </a:lnTo>
                  <a:close/>
                  <a:moveTo>
                    <a:pt x="714" y="1074"/>
                  </a:moveTo>
                  <a:lnTo>
                    <a:pt x="717" y="1074"/>
                  </a:lnTo>
                  <a:lnTo>
                    <a:pt x="717" y="1076"/>
                  </a:lnTo>
                  <a:lnTo>
                    <a:pt x="714" y="1074"/>
                  </a:lnTo>
                  <a:lnTo>
                    <a:pt x="714" y="1076"/>
                  </a:lnTo>
                  <a:lnTo>
                    <a:pt x="714" y="1074"/>
                  </a:lnTo>
                  <a:lnTo>
                    <a:pt x="712" y="1074"/>
                  </a:lnTo>
                  <a:lnTo>
                    <a:pt x="714" y="1074"/>
                  </a:lnTo>
                  <a:close/>
                  <a:moveTo>
                    <a:pt x="527" y="1074"/>
                  </a:moveTo>
                  <a:lnTo>
                    <a:pt x="527" y="1076"/>
                  </a:lnTo>
                  <a:lnTo>
                    <a:pt x="527" y="1074"/>
                  </a:lnTo>
                  <a:close/>
                  <a:moveTo>
                    <a:pt x="705" y="1074"/>
                  </a:moveTo>
                  <a:lnTo>
                    <a:pt x="702" y="1074"/>
                  </a:lnTo>
                  <a:lnTo>
                    <a:pt x="705" y="1074"/>
                  </a:lnTo>
                  <a:close/>
                  <a:moveTo>
                    <a:pt x="707" y="1074"/>
                  </a:moveTo>
                  <a:lnTo>
                    <a:pt x="705" y="1074"/>
                  </a:lnTo>
                  <a:lnTo>
                    <a:pt x="707" y="1074"/>
                  </a:lnTo>
                  <a:close/>
                  <a:moveTo>
                    <a:pt x="702" y="1074"/>
                  </a:moveTo>
                  <a:lnTo>
                    <a:pt x="700" y="1074"/>
                  </a:lnTo>
                  <a:lnTo>
                    <a:pt x="702" y="1074"/>
                  </a:lnTo>
                  <a:lnTo>
                    <a:pt x="700" y="1074"/>
                  </a:lnTo>
                  <a:lnTo>
                    <a:pt x="702" y="1074"/>
                  </a:lnTo>
                  <a:close/>
                  <a:moveTo>
                    <a:pt x="534" y="1074"/>
                  </a:moveTo>
                  <a:lnTo>
                    <a:pt x="536" y="1074"/>
                  </a:lnTo>
                  <a:lnTo>
                    <a:pt x="534" y="1074"/>
                  </a:lnTo>
                  <a:close/>
                  <a:moveTo>
                    <a:pt x="695" y="1072"/>
                  </a:moveTo>
                  <a:lnTo>
                    <a:pt x="695" y="1074"/>
                  </a:lnTo>
                  <a:lnTo>
                    <a:pt x="693" y="1074"/>
                  </a:lnTo>
                  <a:lnTo>
                    <a:pt x="693" y="1072"/>
                  </a:lnTo>
                  <a:lnTo>
                    <a:pt x="695" y="1072"/>
                  </a:lnTo>
                  <a:close/>
                  <a:moveTo>
                    <a:pt x="536" y="1072"/>
                  </a:moveTo>
                  <a:lnTo>
                    <a:pt x="534" y="1072"/>
                  </a:lnTo>
                  <a:lnTo>
                    <a:pt x="536" y="1072"/>
                  </a:lnTo>
                  <a:close/>
                  <a:moveTo>
                    <a:pt x="1248" y="1072"/>
                  </a:moveTo>
                  <a:lnTo>
                    <a:pt x="1246" y="1072"/>
                  </a:lnTo>
                  <a:lnTo>
                    <a:pt x="1248" y="1072"/>
                  </a:lnTo>
                  <a:close/>
                  <a:moveTo>
                    <a:pt x="695" y="1072"/>
                  </a:moveTo>
                  <a:lnTo>
                    <a:pt x="693" y="1072"/>
                  </a:lnTo>
                  <a:lnTo>
                    <a:pt x="695" y="1072"/>
                  </a:lnTo>
                  <a:close/>
                  <a:moveTo>
                    <a:pt x="522" y="1072"/>
                  </a:moveTo>
                  <a:lnTo>
                    <a:pt x="524" y="1072"/>
                  </a:lnTo>
                  <a:lnTo>
                    <a:pt x="522" y="1072"/>
                  </a:lnTo>
                  <a:close/>
                  <a:moveTo>
                    <a:pt x="529" y="1072"/>
                  </a:moveTo>
                  <a:lnTo>
                    <a:pt x="532" y="1072"/>
                  </a:lnTo>
                  <a:lnTo>
                    <a:pt x="532" y="1074"/>
                  </a:lnTo>
                  <a:lnTo>
                    <a:pt x="532" y="1076"/>
                  </a:lnTo>
                  <a:lnTo>
                    <a:pt x="529" y="1076"/>
                  </a:lnTo>
                  <a:lnTo>
                    <a:pt x="529" y="1074"/>
                  </a:lnTo>
                  <a:lnTo>
                    <a:pt x="527" y="1074"/>
                  </a:lnTo>
                  <a:lnTo>
                    <a:pt x="527" y="1072"/>
                  </a:lnTo>
                  <a:lnTo>
                    <a:pt x="529" y="1072"/>
                  </a:lnTo>
                  <a:close/>
                  <a:moveTo>
                    <a:pt x="508" y="1072"/>
                  </a:moveTo>
                  <a:lnTo>
                    <a:pt x="508" y="1069"/>
                  </a:lnTo>
                  <a:lnTo>
                    <a:pt x="508" y="1072"/>
                  </a:lnTo>
                  <a:close/>
                  <a:moveTo>
                    <a:pt x="524" y="1072"/>
                  </a:moveTo>
                  <a:lnTo>
                    <a:pt x="524" y="1069"/>
                  </a:lnTo>
                  <a:lnTo>
                    <a:pt x="524" y="1072"/>
                  </a:lnTo>
                  <a:close/>
                  <a:moveTo>
                    <a:pt x="513" y="1069"/>
                  </a:moveTo>
                  <a:lnTo>
                    <a:pt x="513" y="1072"/>
                  </a:lnTo>
                  <a:lnTo>
                    <a:pt x="513" y="1069"/>
                  </a:lnTo>
                  <a:close/>
                  <a:moveTo>
                    <a:pt x="693" y="1072"/>
                  </a:moveTo>
                  <a:lnTo>
                    <a:pt x="691" y="1069"/>
                  </a:lnTo>
                  <a:lnTo>
                    <a:pt x="693" y="1069"/>
                  </a:lnTo>
                  <a:lnTo>
                    <a:pt x="693" y="1072"/>
                  </a:lnTo>
                  <a:close/>
                  <a:moveTo>
                    <a:pt x="517" y="1069"/>
                  </a:moveTo>
                  <a:lnTo>
                    <a:pt x="517" y="1072"/>
                  </a:lnTo>
                  <a:lnTo>
                    <a:pt x="515" y="1072"/>
                  </a:lnTo>
                  <a:lnTo>
                    <a:pt x="515" y="1069"/>
                  </a:lnTo>
                  <a:lnTo>
                    <a:pt x="517" y="1069"/>
                  </a:lnTo>
                  <a:close/>
                  <a:moveTo>
                    <a:pt x="695" y="1069"/>
                  </a:moveTo>
                  <a:lnTo>
                    <a:pt x="695" y="1072"/>
                  </a:lnTo>
                  <a:lnTo>
                    <a:pt x="693" y="1072"/>
                  </a:lnTo>
                  <a:lnTo>
                    <a:pt x="693" y="1069"/>
                  </a:lnTo>
                  <a:lnTo>
                    <a:pt x="695" y="1069"/>
                  </a:lnTo>
                  <a:close/>
                  <a:moveTo>
                    <a:pt x="517" y="1069"/>
                  </a:moveTo>
                  <a:lnTo>
                    <a:pt x="517" y="1067"/>
                  </a:lnTo>
                  <a:lnTo>
                    <a:pt x="517" y="1069"/>
                  </a:lnTo>
                  <a:close/>
                  <a:moveTo>
                    <a:pt x="691" y="1069"/>
                  </a:moveTo>
                  <a:lnTo>
                    <a:pt x="693" y="1069"/>
                  </a:lnTo>
                  <a:lnTo>
                    <a:pt x="691" y="1069"/>
                  </a:lnTo>
                  <a:lnTo>
                    <a:pt x="691" y="1067"/>
                  </a:lnTo>
                  <a:lnTo>
                    <a:pt x="693" y="1069"/>
                  </a:lnTo>
                  <a:lnTo>
                    <a:pt x="693" y="1072"/>
                  </a:lnTo>
                  <a:lnTo>
                    <a:pt x="693" y="1069"/>
                  </a:lnTo>
                  <a:lnTo>
                    <a:pt x="691" y="1069"/>
                  </a:lnTo>
                  <a:lnTo>
                    <a:pt x="691" y="1067"/>
                  </a:lnTo>
                  <a:lnTo>
                    <a:pt x="691" y="1069"/>
                  </a:lnTo>
                  <a:close/>
                  <a:moveTo>
                    <a:pt x="683" y="1064"/>
                  </a:moveTo>
                  <a:lnTo>
                    <a:pt x="683" y="1067"/>
                  </a:lnTo>
                  <a:lnTo>
                    <a:pt x="686" y="1067"/>
                  </a:lnTo>
                  <a:lnTo>
                    <a:pt x="683" y="1067"/>
                  </a:lnTo>
                  <a:lnTo>
                    <a:pt x="683" y="1064"/>
                  </a:lnTo>
                  <a:close/>
                  <a:moveTo>
                    <a:pt x="769" y="1067"/>
                  </a:moveTo>
                  <a:lnTo>
                    <a:pt x="769" y="1064"/>
                  </a:lnTo>
                  <a:lnTo>
                    <a:pt x="771" y="1064"/>
                  </a:lnTo>
                  <a:lnTo>
                    <a:pt x="771" y="1067"/>
                  </a:lnTo>
                  <a:lnTo>
                    <a:pt x="769" y="1067"/>
                  </a:lnTo>
                  <a:close/>
                  <a:moveTo>
                    <a:pt x="771" y="1064"/>
                  </a:moveTo>
                  <a:lnTo>
                    <a:pt x="769" y="1064"/>
                  </a:lnTo>
                  <a:lnTo>
                    <a:pt x="771" y="1064"/>
                  </a:lnTo>
                  <a:close/>
                  <a:moveTo>
                    <a:pt x="683" y="1064"/>
                  </a:moveTo>
                  <a:lnTo>
                    <a:pt x="686" y="1064"/>
                  </a:lnTo>
                  <a:lnTo>
                    <a:pt x="683" y="1064"/>
                  </a:lnTo>
                  <a:close/>
                  <a:moveTo>
                    <a:pt x="679" y="1064"/>
                  </a:moveTo>
                  <a:lnTo>
                    <a:pt x="676" y="1064"/>
                  </a:lnTo>
                  <a:lnTo>
                    <a:pt x="679" y="1064"/>
                  </a:lnTo>
                  <a:lnTo>
                    <a:pt x="679" y="1062"/>
                  </a:lnTo>
                  <a:lnTo>
                    <a:pt x="679" y="1064"/>
                  </a:lnTo>
                  <a:close/>
                  <a:moveTo>
                    <a:pt x="676" y="1062"/>
                  </a:moveTo>
                  <a:lnTo>
                    <a:pt x="679" y="1062"/>
                  </a:lnTo>
                  <a:lnTo>
                    <a:pt x="676" y="1062"/>
                  </a:lnTo>
                  <a:close/>
                  <a:moveTo>
                    <a:pt x="672" y="1062"/>
                  </a:moveTo>
                  <a:lnTo>
                    <a:pt x="669" y="1062"/>
                  </a:lnTo>
                  <a:lnTo>
                    <a:pt x="672" y="1062"/>
                  </a:lnTo>
                  <a:close/>
                  <a:moveTo>
                    <a:pt x="676" y="1060"/>
                  </a:moveTo>
                  <a:lnTo>
                    <a:pt x="679" y="1062"/>
                  </a:lnTo>
                  <a:lnTo>
                    <a:pt x="676" y="1062"/>
                  </a:lnTo>
                  <a:lnTo>
                    <a:pt x="676" y="1060"/>
                  </a:lnTo>
                  <a:close/>
                  <a:moveTo>
                    <a:pt x="674" y="1062"/>
                  </a:moveTo>
                  <a:lnTo>
                    <a:pt x="676" y="1062"/>
                  </a:lnTo>
                  <a:lnTo>
                    <a:pt x="674" y="1062"/>
                  </a:lnTo>
                  <a:lnTo>
                    <a:pt x="674" y="1060"/>
                  </a:lnTo>
                  <a:lnTo>
                    <a:pt x="674" y="1062"/>
                  </a:lnTo>
                  <a:close/>
                  <a:moveTo>
                    <a:pt x="674" y="1062"/>
                  </a:moveTo>
                  <a:lnTo>
                    <a:pt x="672" y="1062"/>
                  </a:lnTo>
                  <a:lnTo>
                    <a:pt x="672" y="1060"/>
                  </a:lnTo>
                  <a:lnTo>
                    <a:pt x="674" y="1060"/>
                  </a:lnTo>
                  <a:lnTo>
                    <a:pt x="674" y="1062"/>
                  </a:lnTo>
                  <a:lnTo>
                    <a:pt x="674" y="1060"/>
                  </a:lnTo>
                  <a:lnTo>
                    <a:pt x="674" y="1062"/>
                  </a:lnTo>
                  <a:close/>
                  <a:moveTo>
                    <a:pt x="676" y="1060"/>
                  </a:moveTo>
                  <a:lnTo>
                    <a:pt x="679" y="1060"/>
                  </a:lnTo>
                  <a:lnTo>
                    <a:pt x="676" y="1060"/>
                  </a:lnTo>
                  <a:lnTo>
                    <a:pt x="679" y="1060"/>
                  </a:lnTo>
                  <a:lnTo>
                    <a:pt x="679" y="1062"/>
                  </a:lnTo>
                  <a:lnTo>
                    <a:pt x="676" y="1060"/>
                  </a:lnTo>
                  <a:close/>
                  <a:moveTo>
                    <a:pt x="660" y="1060"/>
                  </a:moveTo>
                  <a:lnTo>
                    <a:pt x="657" y="1060"/>
                  </a:lnTo>
                  <a:lnTo>
                    <a:pt x="660" y="1060"/>
                  </a:lnTo>
                  <a:close/>
                  <a:moveTo>
                    <a:pt x="674" y="1060"/>
                  </a:moveTo>
                  <a:lnTo>
                    <a:pt x="676" y="1060"/>
                  </a:lnTo>
                  <a:lnTo>
                    <a:pt x="676" y="1062"/>
                  </a:lnTo>
                  <a:lnTo>
                    <a:pt x="674" y="1062"/>
                  </a:lnTo>
                  <a:lnTo>
                    <a:pt x="674" y="1060"/>
                  </a:lnTo>
                  <a:lnTo>
                    <a:pt x="672" y="1060"/>
                  </a:lnTo>
                  <a:lnTo>
                    <a:pt x="674" y="1060"/>
                  </a:lnTo>
                  <a:lnTo>
                    <a:pt x="674" y="1057"/>
                  </a:lnTo>
                  <a:lnTo>
                    <a:pt x="674" y="1060"/>
                  </a:lnTo>
                  <a:close/>
                  <a:moveTo>
                    <a:pt x="679" y="1057"/>
                  </a:moveTo>
                  <a:lnTo>
                    <a:pt x="679" y="1060"/>
                  </a:lnTo>
                  <a:lnTo>
                    <a:pt x="679" y="1062"/>
                  </a:lnTo>
                  <a:lnTo>
                    <a:pt x="679" y="1060"/>
                  </a:lnTo>
                  <a:lnTo>
                    <a:pt x="676" y="1060"/>
                  </a:lnTo>
                  <a:lnTo>
                    <a:pt x="676" y="1057"/>
                  </a:lnTo>
                  <a:lnTo>
                    <a:pt x="676" y="1060"/>
                  </a:lnTo>
                  <a:lnTo>
                    <a:pt x="676" y="1057"/>
                  </a:lnTo>
                  <a:lnTo>
                    <a:pt x="679" y="1057"/>
                  </a:lnTo>
                  <a:close/>
                  <a:moveTo>
                    <a:pt x="667" y="1057"/>
                  </a:moveTo>
                  <a:lnTo>
                    <a:pt x="667" y="1060"/>
                  </a:lnTo>
                  <a:lnTo>
                    <a:pt x="667" y="1057"/>
                  </a:lnTo>
                  <a:lnTo>
                    <a:pt x="667" y="1060"/>
                  </a:lnTo>
                  <a:lnTo>
                    <a:pt x="667" y="1057"/>
                  </a:lnTo>
                  <a:close/>
                  <a:moveTo>
                    <a:pt x="683" y="1060"/>
                  </a:moveTo>
                  <a:lnTo>
                    <a:pt x="683" y="1057"/>
                  </a:lnTo>
                  <a:lnTo>
                    <a:pt x="683" y="1060"/>
                  </a:lnTo>
                  <a:close/>
                  <a:moveTo>
                    <a:pt x="676" y="1057"/>
                  </a:moveTo>
                  <a:lnTo>
                    <a:pt x="676" y="1060"/>
                  </a:lnTo>
                  <a:lnTo>
                    <a:pt x="676" y="1057"/>
                  </a:lnTo>
                  <a:lnTo>
                    <a:pt x="674" y="1057"/>
                  </a:lnTo>
                  <a:lnTo>
                    <a:pt x="676" y="1057"/>
                  </a:lnTo>
                  <a:close/>
                  <a:moveTo>
                    <a:pt x="662" y="1057"/>
                  </a:moveTo>
                  <a:lnTo>
                    <a:pt x="664" y="1057"/>
                  </a:lnTo>
                  <a:lnTo>
                    <a:pt x="662" y="1057"/>
                  </a:lnTo>
                  <a:close/>
                  <a:moveTo>
                    <a:pt x="672" y="1057"/>
                  </a:moveTo>
                  <a:lnTo>
                    <a:pt x="674" y="1057"/>
                  </a:lnTo>
                  <a:lnTo>
                    <a:pt x="674" y="1060"/>
                  </a:lnTo>
                  <a:lnTo>
                    <a:pt x="672" y="1060"/>
                  </a:lnTo>
                  <a:lnTo>
                    <a:pt x="672" y="1062"/>
                  </a:lnTo>
                  <a:lnTo>
                    <a:pt x="672" y="1060"/>
                  </a:lnTo>
                  <a:lnTo>
                    <a:pt x="669" y="1062"/>
                  </a:lnTo>
                  <a:lnTo>
                    <a:pt x="667" y="1060"/>
                  </a:lnTo>
                  <a:lnTo>
                    <a:pt x="669" y="1060"/>
                  </a:lnTo>
                  <a:lnTo>
                    <a:pt x="667" y="1060"/>
                  </a:lnTo>
                  <a:lnTo>
                    <a:pt x="669" y="1060"/>
                  </a:lnTo>
                  <a:lnTo>
                    <a:pt x="667" y="1060"/>
                  </a:lnTo>
                  <a:lnTo>
                    <a:pt x="669" y="1060"/>
                  </a:lnTo>
                  <a:lnTo>
                    <a:pt x="667" y="1060"/>
                  </a:lnTo>
                  <a:lnTo>
                    <a:pt x="669" y="1060"/>
                  </a:lnTo>
                  <a:lnTo>
                    <a:pt x="667" y="1060"/>
                  </a:lnTo>
                  <a:lnTo>
                    <a:pt x="669" y="1060"/>
                  </a:lnTo>
                  <a:lnTo>
                    <a:pt x="669" y="1057"/>
                  </a:lnTo>
                  <a:lnTo>
                    <a:pt x="672" y="1057"/>
                  </a:lnTo>
                  <a:close/>
                  <a:moveTo>
                    <a:pt x="667" y="1057"/>
                  </a:moveTo>
                  <a:lnTo>
                    <a:pt x="664" y="1057"/>
                  </a:lnTo>
                  <a:lnTo>
                    <a:pt x="667" y="1057"/>
                  </a:lnTo>
                  <a:close/>
                  <a:moveTo>
                    <a:pt x="520" y="1057"/>
                  </a:moveTo>
                  <a:lnTo>
                    <a:pt x="522" y="1057"/>
                  </a:lnTo>
                  <a:lnTo>
                    <a:pt x="522" y="1060"/>
                  </a:lnTo>
                  <a:lnTo>
                    <a:pt x="520" y="1057"/>
                  </a:lnTo>
                  <a:close/>
                  <a:moveTo>
                    <a:pt x="662" y="1057"/>
                  </a:moveTo>
                  <a:lnTo>
                    <a:pt x="664" y="1057"/>
                  </a:lnTo>
                  <a:lnTo>
                    <a:pt x="662" y="1057"/>
                  </a:lnTo>
                  <a:close/>
                  <a:moveTo>
                    <a:pt x="672" y="1057"/>
                  </a:moveTo>
                  <a:lnTo>
                    <a:pt x="674" y="1057"/>
                  </a:lnTo>
                  <a:lnTo>
                    <a:pt x="672" y="1057"/>
                  </a:lnTo>
                  <a:lnTo>
                    <a:pt x="674" y="1057"/>
                  </a:lnTo>
                  <a:lnTo>
                    <a:pt x="676" y="1057"/>
                  </a:lnTo>
                  <a:lnTo>
                    <a:pt x="676" y="1060"/>
                  </a:lnTo>
                  <a:lnTo>
                    <a:pt x="676" y="1057"/>
                  </a:lnTo>
                  <a:lnTo>
                    <a:pt x="676" y="1060"/>
                  </a:lnTo>
                  <a:lnTo>
                    <a:pt x="674" y="1060"/>
                  </a:lnTo>
                  <a:lnTo>
                    <a:pt x="674" y="1057"/>
                  </a:lnTo>
                  <a:lnTo>
                    <a:pt x="672" y="1057"/>
                  </a:lnTo>
                  <a:close/>
                  <a:moveTo>
                    <a:pt x="672" y="1057"/>
                  </a:moveTo>
                  <a:lnTo>
                    <a:pt x="669" y="1057"/>
                  </a:lnTo>
                  <a:lnTo>
                    <a:pt x="672" y="1057"/>
                  </a:lnTo>
                  <a:close/>
                  <a:moveTo>
                    <a:pt x="683" y="1057"/>
                  </a:moveTo>
                  <a:lnTo>
                    <a:pt x="683" y="1055"/>
                  </a:lnTo>
                  <a:lnTo>
                    <a:pt x="683" y="1057"/>
                  </a:lnTo>
                  <a:close/>
                  <a:moveTo>
                    <a:pt x="657" y="1057"/>
                  </a:moveTo>
                  <a:lnTo>
                    <a:pt x="660" y="1057"/>
                  </a:lnTo>
                  <a:lnTo>
                    <a:pt x="662" y="1057"/>
                  </a:lnTo>
                  <a:lnTo>
                    <a:pt x="662" y="1060"/>
                  </a:lnTo>
                  <a:lnTo>
                    <a:pt x="660" y="1060"/>
                  </a:lnTo>
                  <a:lnTo>
                    <a:pt x="660" y="1057"/>
                  </a:lnTo>
                  <a:lnTo>
                    <a:pt x="660" y="1060"/>
                  </a:lnTo>
                  <a:lnTo>
                    <a:pt x="657" y="1060"/>
                  </a:lnTo>
                  <a:lnTo>
                    <a:pt x="657" y="1057"/>
                  </a:lnTo>
                  <a:lnTo>
                    <a:pt x="657" y="1060"/>
                  </a:lnTo>
                  <a:lnTo>
                    <a:pt x="655" y="1060"/>
                  </a:lnTo>
                  <a:lnTo>
                    <a:pt x="657" y="1060"/>
                  </a:lnTo>
                  <a:lnTo>
                    <a:pt x="657" y="1057"/>
                  </a:lnTo>
                  <a:lnTo>
                    <a:pt x="657" y="1055"/>
                  </a:lnTo>
                  <a:lnTo>
                    <a:pt x="657" y="1057"/>
                  </a:lnTo>
                  <a:lnTo>
                    <a:pt x="660" y="1057"/>
                  </a:lnTo>
                  <a:lnTo>
                    <a:pt x="657" y="1057"/>
                  </a:lnTo>
                  <a:close/>
                  <a:moveTo>
                    <a:pt x="498" y="1055"/>
                  </a:moveTo>
                  <a:lnTo>
                    <a:pt x="498" y="1057"/>
                  </a:lnTo>
                  <a:lnTo>
                    <a:pt x="498" y="1055"/>
                  </a:lnTo>
                  <a:close/>
                  <a:moveTo>
                    <a:pt x="657" y="1057"/>
                  </a:moveTo>
                  <a:lnTo>
                    <a:pt x="657" y="1055"/>
                  </a:lnTo>
                  <a:lnTo>
                    <a:pt x="657" y="1057"/>
                  </a:lnTo>
                  <a:close/>
                  <a:moveTo>
                    <a:pt x="672" y="1055"/>
                  </a:moveTo>
                  <a:lnTo>
                    <a:pt x="669" y="1055"/>
                  </a:lnTo>
                  <a:lnTo>
                    <a:pt x="672" y="1055"/>
                  </a:lnTo>
                  <a:lnTo>
                    <a:pt x="669" y="1055"/>
                  </a:lnTo>
                  <a:lnTo>
                    <a:pt x="672" y="1055"/>
                  </a:lnTo>
                  <a:lnTo>
                    <a:pt x="669" y="1055"/>
                  </a:lnTo>
                  <a:lnTo>
                    <a:pt x="672" y="1055"/>
                  </a:lnTo>
                  <a:close/>
                  <a:moveTo>
                    <a:pt x="517" y="1055"/>
                  </a:moveTo>
                  <a:lnTo>
                    <a:pt x="515" y="1055"/>
                  </a:lnTo>
                  <a:lnTo>
                    <a:pt x="517" y="1055"/>
                  </a:lnTo>
                  <a:close/>
                  <a:moveTo>
                    <a:pt x="667" y="1053"/>
                  </a:moveTo>
                  <a:lnTo>
                    <a:pt x="667" y="1055"/>
                  </a:lnTo>
                  <a:lnTo>
                    <a:pt x="667" y="1053"/>
                  </a:lnTo>
                  <a:lnTo>
                    <a:pt x="669" y="1055"/>
                  </a:lnTo>
                  <a:lnTo>
                    <a:pt x="669" y="1057"/>
                  </a:lnTo>
                  <a:lnTo>
                    <a:pt x="669" y="1060"/>
                  </a:lnTo>
                  <a:lnTo>
                    <a:pt x="667" y="1060"/>
                  </a:lnTo>
                  <a:lnTo>
                    <a:pt x="667" y="1057"/>
                  </a:lnTo>
                  <a:lnTo>
                    <a:pt x="664" y="1057"/>
                  </a:lnTo>
                  <a:lnTo>
                    <a:pt x="664" y="1055"/>
                  </a:lnTo>
                  <a:lnTo>
                    <a:pt x="662" y="1055"/>
                  </a:lnTo>
                  <a:lnTo>
                    <a:pt x="660" y="1055"/>
                  </a:lnTo>
                  <a:lnTo>
                    <a:pt x="662" y="1055"/>
                  </a:lnTo>
                  <a:lnTo>
                    <a:pt x="660" y="1055"/>
                  </a:lnTo>
                  <a:lnTo>
                    <a:pt x="662" y="1055"/>
                  </a:lnTo>
                  <a:lnTo>
                    <a:pt x="660" y="1055"/>
                  </a:lnTo>
                  <a:lnTo>
                    <a:pt x="662" y="1055"/>
                  </a:lnTo>
                  <a:lnTo>
                    <a:pt x="664" y="1055"/>
                  </a:lnTo>
                  <a:lnTo>
                    <a:pt x="667" y="1055"/>
                  </a:lnTo>
                  <a:lnTo>
                    <a:pt x="667" y="1057"/>
                  </a:lnTo>
                  <a:lnTo>
                    <a:pt x="667" y="1055"/>
                  </a:lnTo>
                  <a:lnTo>
                    <a:pt x="667" y="1057"/>
                  </a:lnTo>
                  <a:lnTo>
                    <a:pt x="669" y="1057"/>
                  </a:lnTo>
                  <a:lnTo>
                    <a:pt x="667" y="1057"/>
                  </a:lnTo>
                  <a:lnTo>
                    <a:pt x="667" y="1055"/>
                  </a:lnTo>
                  <a:lnTo>
                    <a:pt x="667" y="1057"/>
                  </a:lnTo>
                  <a:lnTo>
                    <a:pt x="667" y="1055"/>
                  </a:lnTo>
                  <a:lnTo>
                    <a:pt x="669" y="1055"/>
                  </a:lnTo>
                  <a:lnTo>
                    <a:pt x="667" y="1055"/>
                  </a:lnTo>
                  <a:lnTo>
                    <a:pt x="667" y="1053"/>
                  </a:lnTo>
                  <a:close/>
                  <a:moveTo>
                    <a:pt x="669" y="1053"/>
                  </a:moveTo>
                  <a:lnTo>
                    <a:pt x="669" y="1055"/>
                  </a:lnTo>
                  <a:lnTo>
                    <a:pt x="669" y="1053"/>
                  </a:lnTo>
                  <a:close/>
                  <a:moveTo>
                    <a:pt x="672" y="1055"/>
                  </a:moveTo>
                  <a:lnTo>
                    <a:pt x="669" y="1055"/>
                  </a:lnTo>
                  <a:lnTo>
                    <a:pt x="672" y="1055"/>
                  </a:lnTo>
                  <a:lnTo>
                    <a:pt x="669" y="1055"/>
                  </a:lnTo>
                  <a:lnTo>
                    <a:pt x="672" y="1055"/>
                  </a:lnTo>
                  <a:lnTo>
                    <a:pt x="672" y="1053"/>
                  </a:lnTo>
                  <a:lnTo>
                    <a:pt x="672" y="1055"/>
                  </a:lnTo>
                  <a:close/>
                  <a:moveTo>
                    <a:pt x="669" y="1053"/>
                  </a:moveTo>
                  <a:lnTo>
                    <a:pt x="669" y="1055"/>
                  </a:lnTo>
                  <a:lnTo>
                    <a:pt x="667" y="1053"/>
                  </a:lnTo>
                  <a:lnTo>
                    <a:pt x="669" y="1053"/>
                  </a:lnTo>
                  <a:lnTo>
                    <a:pt x="669" y="1055"/>
                  </a:lnTo>
                  <a:lnTo>
                    <a:pt x="669" y="1053"/>
                  </a:lnTo>
                  <a:lnTo>
                    <a:pt x="669" y="1055"/>
                  </a:lnTo>
                  <a:lnTo>
                    <a:pt x="669" y="1053"/>
                  </a:lnTo>
                  <a:close/>
                  <a:moveTo>
                    <a:pt x="660" y="1053"/>
                  </a:moveTo>
                  <a:lnTo>
                    <a:pt x="662" y="1053"/>
                  </a:lnTo>
                  <a:lnTo>
                    <a:pt x="660" y="1053"/>
                  </a:lnTo>
                  <a:lnTo>
                    <a:pt x="662" y="1053"/>
                  </a:lnTo>
                  <a:lnTo>
                    <a:pt x="660" y="1055"/>
                  </a:lnTo>
                  <a:lnTo>
                    <a:pt x="660" y="1053"/>
                  </a:lnTo>
                  <a:lnTo>
                    <a:pt x="660" y="1055"/>
                  </a:lnTo>
                  <a:lnTo>
                    <a:pt x="660" y="1053"/>
                  </a:lnTo>
                  <a:lnTo>
                    <a:pt x="657" y="1055"/>
                  </a:lnTo>
                  <a:lnTo>
                    <a:pt x="660" y="1053"/>
                  </a:lnTo>
                  <a:close/>
                  <a:moveTo>
                    <a:pt x="662" y="1053"/>
                  </a:moveTo>
                  <a:lnTo>
                    <a:pt x="662" y="1055"/>
                  </a:lnTo>
                  <a:lnTo>
                    <a:pt x="662" y="1053"/>
                  </a:lnTo>
                  <a:close/>
                  <a:moveTo>
                    <a:pt x="776" y="1053"/>
                  </a:moveTo>
                  <a:lnTo>
                    <a:pt x="776" y="1055"/>
                  </a:lnTo>
                  <a:lnTo>
                    <a:pt x="776" y="1057"/>
                  </a:lnTo>
                  <a:lnTo>
                    <a:pt x="774" y="1057"/>
                  </a:lnTo>
                  <a:lnTo>
                    <a:pt x="776" y="1057"/>
                  </a:lnTo>
                  <a:lnTo>
                    <a:pt x="776" y="1055"/>
                  </a:lnTo>
                  <a:lnTo>
                    <a:pt x="776" y="1053"/>
                  </a:lnTo>
                  <a:close/>
                  <a:moveTo>
                    <a:pt x="662" y="1053"/>
                  </a:moveTo>
                  <a:lnTo>
                    <a:pt x="664" y="1053"/>
                  </a:lnTo>
                  <a:lnTo>
                    <a:pt x="662" y="1053"/>
                  </a:lnTo>
                  <a:close/>
                  <a:moveTo>
                    <a:pt x="778" y="1053"/>
                  </a:moveTo>
                  <a:lnTo>
                    <a:pt x="776" y="1053"/>
                  </a:lnTo>
                  <a:lnTo>
                    <a:pt x="778" y="1053"/>
                  </a:lnTo>
                  <a:close/>
                  <a:moveTo>
                    <a:pt x="676" y="1053"/>
                  </a:moveTo>
                  <a:lnTo>
                    <a:pt x="676" y="1055"/>
                  </a:lnTo>
                  <a:lnTo>
                    <a:pt x="676" y="1053"/>
                  </a:lnTo>
                  <a:close/>
                  <a:moveTo>
                    <a:pt x="498" y="1053"/>
                  </a:moveTo>
                  <a:lnTo>
                    <a:pt x="501" y="1053"/>
                  </a:lnTo>
                  <a:lnTo>
                    <a:pt x="501" y="1050"/>
                  </a:lnTo>
                  <a:lnTo>
                    <a:pt x="501" y="1053"/>
                  </a:lnTo>
                  <a:lnTo>
                    <a:pt x="498" y="1053"/>
                  </a:lnTo>
                  <a:close/>
                  <a:moveTo>
                    <a:pt x="674" y="1050"/>
                  </a:moveTo>
                  <a:lnTo>
                    <a:pt x="676" y="1050"/>
                  </a:lnTo>
                  <a:lnTo>
                    <a:pt x="676" y="1053"/>
                  </a:lnTo>
                  <a:lnTo>
                    <a:pt x="674" y="1053"/>
                  </a:lnTo>
                  <a:lnTo>
                    <a:pt x="674" y="1050"/>
                  </a:lnTo>
                  <a:lnTo>
                    <a:pt x="676" y="1053"/>
                  </a:lnTo>
                  <a:lnTo>
                    <a:pt x="674" y="1050"/>
                  </a:lnTo>
                  <a:close/>
                  <a:moveTo>
                    <a:pt x="676" y="1050"/>
                  </a:moveTo>
                  <a:lnTo>
                    <a:pt x="679" y="1050"/>
                  </a:lnTo>
                  <a:lnTo>
                    <a:pt x="676" y="1050"/>
                  </a:lnTo>
                  <a:lnTo>
                    <a:pt x="676" y="1053"/>
                  </a:lnTo>
                  <a:lnTo>
                    <a:pt x="676" y="1050"/>
                  </a:lnTo>
                  <a:close/>
                  <a:moveTo>
                    <a:pt x="498" y="1050"/>
                  </a:moveTo>
                  <a:lnTo>
                    <a:pt x="498" y="1053"/>
                  </a:lnTo>
                  <a:lnTo>
                    <a:pt x="496" y="1053"/>
                  </a:lnTo>
                  <a:lnTo>
                    <a:pt x="498" y="1053"/>
                  </a:lnTo>
                  <a:lnTo>
                    <a:pt x="496" y="1053"/>
                  </a:lnTo>
                  <a:lnTo>
                    <a:pt x="494" y="1053"/>
                  </a:lnTo>
                  <a:lnTo>
                    <a:pt x="496" y="1053"/>
                  </a:lnTo>
                  <a:lnTo>
                    <a:pt x="494" y="1053"/>
                  </a:lnTo>
                  <a:lnTo>
                    <a:pt x="491" y="1053"/>
                  </a:lnTo>
                  <a:lnTo>
                    <a:pt x="494" y="1053"/>
                  </a:lnTo>
                  <a:lnTo>
                    <a:pt x="494" y="1050"/>
                  </a:lnTo>
                  <a:lnTo>
                    <a:pt x="496" y="1050"/>
                  </a:lnTo>
                  <a:lnTo>
                    <a:pt x="498" y="1050"/>
                  </a:lnTo>
                  <a:close/>
                  <a:moveTo>
                    <a:pt x="664" y="1050"/>
                  </a:moveTo>
                  <a:lnTo>
                    <a:pt x="664" y="1053"/>
                  </a:lnTo>
                  <a:lnTo>
                    <a:pt x="662" y="1053"/>
                  </a:lnTo>
                  <a:lnTo>
                    <a:pt x="662" y="1050"/>
                  </a:lnTo>
                  <a:lnTo>
                    <a:pt x="662" y="1053"/>
                  </a:lnTo>
                  <a:lnTo>
                    <a:pt x="662" y="1050"/>
                  </a:lnTo>
                  <a:lnTo>
                    <a:pt x="662" y="1053"/>
                  </a:lnTo>
                  <a:lnTo>
                    <a:pt x="662" y="1050"/>
                  </a:lnTo>
                  <a:lnTo>
                    <a:pt x="662" y="1053"/>
                  </a:lnTo>
                  <a:lnTo>
                    <a:pt x="660" y="1053"/>
                  </a:lnTo>
                  <a:lnTo>
                    <a:pt x="662" y="1050"/>
                  </a:lnTo>
                  <a:lnTo>
                    <a:pt x="664" y="1050"/>
                  </a:lnTo>
                  <a:close/>
                  <a:moveTo>
                    <a:pt x="674" y="1050"/>
                  </a:moveTo>
                  <a:lnTo>
                    <a:pt x="676" y="1050"/>
                  </a:lnTo>
                  <a:lnTo>
                    <a:pt x="674" y="1050"/>
                  </a:lnTo>
                  <a:close/>
                  <a:moveTo>
                    <a:pt x="498" y="1050"/>
                  </a:moveTo>
                  <a:lnTo>
                    <a:pt x="501" y="1050"/>
                  </a:lnTo>
                  <a:lnTo>
                    <a:pt x="498" y="1050"/>
                  </a:lnTo>
                  <a:close/>
                  <a:moveTo>
                    <a:pt x="679" y="1048"/>
                  </a:moveTo>
                  <a:lnTo>
                    <a:pt x="679" y="1050"/>
                  </a:lnTo>
                  <a:lnTo>
                    <a:pt x="679" y="1048"/>
                  </a:lnTo>
                  <a:lnTo>
                    <a:pt x="679" y="1050"/>
                  </a:lnTo>
                  <a:lnTo>
                    <a:pt x="681" y="1050"/>
                  </a:lnTo>
                  <a:lnTo>
                    <a:pt x="679" y="1050"/>
                  </a:lnTo>
                  <a:lnTo>
                    <a:pt x="679" y="1048"/>
                  </a:lnTo>
                  <a:close/>
                  <a:moveTo>
                    <a:pt x="669" y="1048"/>
                  </a:moveTo>
                  <a:lnTo>
                    <a:pt x="669" y="1050"/>
                  </a:lnTo>
                  <a:lnTo>
                    <a:pt x="667" y="1050"/>
                  </a:lnTo>
                  <a:lnTo>
                    <a:pt x="669" y="1050"/>
                  </a:lnTo>
                  <a:lnTo>
                    <a:pt x="667" y="1050"/>
                  </a:lnTo>
                  <a:lnTo>
                    <a:pt x="664" y="1050"/>
                  </a:lnTo>
                  <a:lnTo>
                    <a:pt x="667" y="1050"/>
                  </a:lnTo>
                  <a:lnTo>
                    <a:pt x="667" y="1048"/>
                  </a:lnTo>
                  <a:lnTo>
                    <a:pt x="669" y="1048"/>
                  </a:lnTo>
                  <a:close/>
                  <a:moveTo>
                    <a:pt x="496" y="1048"/>
                  </a:moveTo>
                  <a:lnTo>
                    <a:pt x="498" y="1048"/>
                  </a:lnTo>
                  <a:lnTo>
                    <a:pt x="496" y="1048"/>
                  </a:lnTo>
                  <a:close/>
                  <a:moveTo>
                    <a:pt x="503" y="1048"/>
                  </a:moveTo>
                  <a:lnTo>
                    <a:pt x="501" y="1048"/>
                  </a:lnTo>
                  <a:lnTo>
                    <a:pt x="503" y="1048"/>
                  </a:lnTo>
                  <a:lnTo>
                    <a:pt x="503" y="1045"/>
                  </a:lnTo>
                  <a:lnTo>
                    <a:pt x="503" y="1048"/>
                  </a:lnTo>
                  <a:close/>
                  <a:moveTo>
                    <a:pt x="1253" y="1045"/>
                  </a:moveTo>
                  <a:lnTo>
                    <a:pt x="1253" y="1048"/>
                  </a:lnTo>
                  <a:lnTo>
                    <a:pt x="1250" y="1048"/>
                  </a:lnTo>
                  <a:lnTo>
                    <a:pt x="1250" y="1045"/>
                  </a:lnTo>
                  <a:lnTo>
                    <a:pt x="1253" y="1045"/>
                  </a:lnTo>
                  <a:close/>
                  <a:moveTo>
                    <a:pt x="494" y="1043"/>
                  </a:moveTo>
                  <a:lnTo>
                    <a:pt x="494" y="1041"/>
                  </a:lnTo>
                  <a:lnTo>
                    <a:pt x="494" y="1043"/>
                  </a:lnTo>
                  <a:close/>
                  <a:moveTo>
                    <a:pt x="496" y="1043"/>
                  </a:moveTo>
                  <a:lnTo>
                    <a:pt x="496" y="1041"/>
                  </a:lnTo>
                  <a:lnTo>
                    <a:pt x="496" y="1043"/>
                  </a:lnTo>
                  <a:close/>
                  <a:moveTo>
                    <a:pt x="496" y="1041"/>
                  </a:moveTo>
                  <a:lnTo>
                    <a:pt x="496" y="1043"/>
                  </a:lnTo>
                  <a:lnTo>
                    <a:pt x="494" y="1043"/>
                  </a:lnTo>
                  <a:lnTo>
                    <a:pt x="496" y="1043"/>
                  </a:lnTo>
                  <a:lnTo>
                    <a:pt x="494" y="1043"/>
                  </a:lnTo>
                  <a:lnTo>
                    <a:pt x="494" y="1041"/>
                  </a:lnTo>
                  <a:lnTo>
                    <a:pt x="496" y="1041"/>
                  </a:lnTo>
                  <a:close/>
                  <a:moveTo>
                    <a:pt x="503" y="1041"/>
                  </a:moveTo>
                  <a:lnTo>
                    <a:pt x="501" y="1041"/>
                  </a:lnTo>
                  <a:lnTo>
                    <a:pt x="503" y="1041"/>
                  </a:lnTo>
                  <a:close/>
                  <a:moveTo>
                    <a:pt x="479" y="1041"/>
                  </a:moveTo>
                  <a:lnTo>
                    <a:pt x="477" y="1041"/>
                  </a:lnTo>
                  <a:lnTo>
                    <a:pt x="479" y="1041"/>
                  </a:lnTo>
                  <a:close/>
                  <a:moveTo>
                    <a:pt x="496" y="1041"/>
                  </a:moveTo>
                  <a:lnTo>
                    <a:pt x="494" y="1041"/>
                  </a:lnTo>
                  <a:lnTo>
                    <a:pt x="496" y="1041"/>
                  </a:lnTo>
                  <a:close/>
                  <a:moveTo>
                    <a:pt x="503" y="1041"/>
                  </a:moveTo>
                  <a:lnTo>
                    <a:pt x="501" y="1041"/>
                  </a:lnTo>
                  <a:lnTo>
                    <a:pt x="503" y="1041"/>
                  </a:lnTo>
                  <a:close/>
                  <a:moveTo>
                    <a:pt x="496" y="1041"/>
                  </a:moveTo>
                  <a:lnTo>
                    <a:pt x="496" y="1038"/>
                  </a:lnTo>
                  <a:lnTo>
                    <a:pt x="496" y="1041"/>
                  </a:lnTo>
                  <a:close/>
                  <a:moveTo>
                    <a:pt x="505" y="1041"/>
                  </a:moveTo>
                  <a:lnTo>
                    <a:pt x="503" y="1041"/>
                  </a:lnTo>
                  <a:lnTo>
                    <a:pt x="503" y="1038"/>
                  </a:lnTo>
                  <a:lnTo>
                    <a:pt x="505" y="1041"/>
                  </a:lnTo>
                  <a:lnTo>
                    <a:pt x="503" y="1041"/>
                  </a:lnTo>
                  <a:lnTo>
                    <a:pt x="505" y="1041"/>
                  </a:lnTo>
                  <a:close/>
                  <a:moveTo>
                    <a:pt x="503" y="1041"/>
                  </a:moveTo>
                  <a:lnTo>
                    <a:pt x="503" y="1038"/>
                  </a:lnTo>
                  <a:lnTo>
                    <a:pt x="503" y="1041"/>
                  </a:lnTo>
                  <a:close/>
                  <a:moveTo>
                    <a:pt x="1241" y="1038"/>
                  </a:moveTo>
                  <a:lnTo>
                    <a:pt x="1241" y="1041"/>
                  </a:lnTo>
                  <a:lnTo>
                    <a:pt x="1241" y="1038"/>
                  </a:lnTo>
                  <a:close/>
                  <a:moveTo>
                    <a:pt x="498" y="1038"/>
                  </a:moveTo>
                  <a:lnTo>
                    <a:pt x="498" y="1041"/>
                  </a:lnTo>
                  <a:lnTo>
                    <a:pt x="498" y="1038"/>
                  </a:lnTo>
                  <a:close/>
                  <a:moveTo>
                    <a:pt x="501" y="1038"/>
                  </a:moveTo>
                  <a:lnTo>
                    <a:pt x="498" y="1038"/>
                  </a:lnTo>
                  <a:lnTo>
                    <a:pt x="501" y="1038"/>
                  </a:lnTo>
                  <a:close/>
                  <a:moveTo>
                    <a:pt x="520" y="1038"/>
                  </a:moveTo>
                  <a:lnTo>
                    <a:pt x="522" y="1038"/>
                  </a:lnTo>
                  <a:lnTo>
                    <a:pt x="520" y="1038"/>
                  </a:lnTo>
                  <a:close/>
                  <a:moveTo>
                    <a:pt x="672" y="1041"/>
                  </a:moveTo>
                  <a:lnTo>
                    <a:pt x="674" y="1041"/>
                  </a:lnTo>
                  <a:lnTo>
                    <a:pt x="672" y="1041"/>
                  </a:lnTo>
                  <a:lnTo>
                    <a:pt x="672" y="1043"/>
                  </a:lnTo>
                  <a:lnTo>
                    <a:pt x="674" y="1043"/>
                  </a:lnTo>
                  <a:lnTo>
                    <a:pt x="672" y="1043"/>
                  </a:lnTo>
                  <a:lnTo>
                    <a:pt x="674" y="1043"/>
                  </a:lnTo>
                  <a:lnTo>
                    <a:pt x="672" y="1043"/>
                  </a:lnTo>
                  <a:lnTo>
                    <a:pt x="674" y="1045"/>
                  </a:lnTo>
                  <a:lnTo>
                    <a:pt x="672" y="1045"/>
                  </a:lnTo>
                  <a:lnTo>
                    <a:pt x="672" y="1043"/>
                  </a:lnTo>
                  <a:lnTo>
                    <a:pt x="669" y="1043"/>
                  </a:lnTo>
                  <a:lnTo>
                    <a:pt x="672" y="1043"/>
                  </a:lnTo>
                  <a:lnTo>
                    <a:pt x="669" y="1043"/>
                  </a:lnTo>
                  <a:lnTo>
                    <a:pt x="669" y="1041"/>
                  </a:lnTo>
                  <a:lnTo>
                    <a:pt x="669" y="1038"/>
                  </a:lnTo>
                  <a:lnTo>
                    <a:pt x="672" y="1038"/>
                  </a:lnTo>
                  <a:lnTo>
                    <a:pt x="672" y="1041"/>
                  </a:lnTo>
                  <a:close/>
                  <a:moveTo>
                    <a:pt x="494" y="1038"/>
                  </a:moveTo>
                  <a:lnTo>
                    <a:pt x="491" y="1038"/>
                  </a:lnTo>
                  <a:lnTo>
                    <a:pt x="494" y="1038"/>
                  </a:lnTo>
                  <a:lnTo>
                    <a:pt x="491" y="1038"/>
                  </a:lnTo>
                  <a:lnTo>
                    <a:pt x="494" y="1038"/>
                  </a:lnTo>
                  <a:lnTo>
                    <a:pt x="494" y="1036"/>
                  </a:lnTo>
                  <a:lnTo>
                    <a:pt x="494" y="1038"/>
                  </a:lnTo>
                  <a:close/>
                  <a:moveTo>
                    <a:pt x="496" y="1038"/>
                  </a:moveTo>
                  <a:lnTo>
                    <a:pt x="496" y="1036"/>
                  </a:lnTo>
                  <a:lnTo>
                    <a:pt x="496" y="1038"/>
                  </a:lnTo>
                  <a:close/>
                  <a:moveTo>
                    <a:pt x="669" y="1038"/>
                  </a:moveTo>
                  <a:lnTo>
                    <a:pt x="669" y="1036"/>
                  </a:lnTo>
                  <a:lnTo>
                    <a:pt x="669" y="1038"/>
                  </a:lnTo>
                  <a:close/>
                  <a:moveTo>
                    <a:pt x="529" y="1036"/>
                  </a:moveTo>
                  <a:lnTo>
                    <a:pt x="532" y="1036"/>
                  </a:lnTo>
                  <a:lnTo>
                    <a:pt x="529" y="1036"/>
                  </a:lnTo>
                  <a:lnTo>
                    <a:pt x="532" y="1036"/>
                  </a:lnTo>
                  <a:lnTo>
                    <a:pt x="529" y="1036"/>
                  </a:lnTo>
                  <a:lnTo>
                    <a:pt x="532" y="1036"/>
                  </a:lnTo>
                  <a:lnTo>
                    <a:pt x="529" y="1036"/>
                  </a:lnTo>
                  <a:close/>
                  <a:moveTo>
                    <a:pt x="1231" y="1034"/>
                  </a:moveTo>
                  <a:lnTo>
                    <a:pt x="1231" y="1036"/>
                  </a:lnTo>
                  <a:lnTo>
                    <a:pt x="1231" y="1034"/>
                  </a:lnTo>
                  <a:close/>
                  <a:moveTo>
                    <a:pt x="532" y="1034"/>
                  </a:moveTo>
                  <a:lnTo>
                    <a:pt x="532" y="1036"/>
                  </a:lnTo>
                  <a:lnTo>
                    <a:pt x="529" y="1036"/>
                  </a:lnTo>
                  <a:lnTo>
                    <a:pt x="527" y="1036"/>
                  </a:lnTo>
                  <a:lnTo>
                    <a:pt x="527" y="1034"/>
                  </a:lnTo>
                  <a:lnTo>
                    <a:pt x="527" y="1036"/>
                  </a:lnTo>
                  <a:lnTo>
                    <a:pt x="527" y="1034"/>
                  </a:lnTo>
                  <a:lnTo>
                    <a:pt x="529" y="1034"/>
                  </a:lnTo>
                  <a:lnTo>
                    <a:pt x="532" y="1034"/>
                  </a:lnTo>
                  <a:close/>
                  <a:moveTo>
                    <a:pt x="491" y="1031"/>
                  </a:moveTo>
                  <a:lnTo>
                    <a:pt x="494" y="1031"/>
                  </a:lnTo>
                  <a:lnTo>
                    <a:pt x="491" y="1031"/>
                  </a:lnTo>
                  <a:lnTo>
                    <a:pt x="491" y="1034"/>
                  </a:lnTo>
                  <a:lnTo>
                    <a:pt x="491" y="1031"/>
                  </a:lnTo>
                  <a:close/>
                  <a:moveTo>
                    <a:pt x="489" y="1029"/>
                  </a:moveTo>
                  <a:lnTo>
                    <a:pt x="489" y="1031"/>
                  </a:lnTo>
                  <a:lnTo>
                    <a:pt x="486" y="1031"/>
                  </a:lnTo>
                  <a:lnTo>
                    <a:pt x="489" y="1031"/>
                  </a:lnTo>
                  <a:lnTo>
                    <a:pt x="489" y="1029"/>
                  </a:lnTo>
                  <a:close/>
                  <a:moveTo>
                    <a:pt x="1227" y="1029"/>
                  </a:moveTo>
                  <a:lnTo>
                    <a:pt x="1227" y="1031"/>
                  </a:lnTo>
                  <a:lnTo>
                    <a:pt x="1227" y="1029"/>
                  </a:lnTo>
                  <a:lnTo>
                    <a:pt x="1227" y="1031"/>
                  </a:lnTo>
                  <a:lnTo>
                    <a:pt x="1227" y="1029"/>
                  </a:lnTo>
                  <a:close/>
                  <a:moveTo>
                    <a:pt x="1118" y="1029"/>
                  </a:moveTo>
                  <a:lnTo>
                    <a:pt x="1120" y="1031"/>
                  </a:lnTo>
                  <a:lnTo>
                    <a:pt x="1122" y="1031"/>
                  </a:lnTo>
                  <a:lnTo>
                    <a:pt x="1122" y="1034"/>
                  </a:lnTo>
                  <a:lnTo>
                    <a:pt x="1120" y="1034"/>
                  </a:lnTo>
                  <a:lnTo>
                    <a:pt x="1120" y="1031"/>
                  </a:lnTo>
                  <a:lnTo>
                    <a:pt x="1118" y="1031"/>
                  </a:lnTo>
                  <a:lnTo>
                    <a:pt x="1118" y="1029"/>
                  </a:lnTo>
                  <a:close/>
                  <a:moveTo>
                    <a:pt x="1231" y="1029"/>
                  </a:moveTo>
                  <a:lnTo>
                    <a:pt x="1231" y="1031"/>
                  </a:lnTo>
                  <a:lnTo>
                    <a:pt x="1231" y="1029"/>
                  </a:lnTo>
                  <a:close/>
                  <a:moveTo>
                    <a:pt x="1231" y="1029"/>
                  </a:moveTo>
                  <a:lnTo>
                    <a:pt x="1229" y="1031"/>
                  </a:lnTo>
                  <a:lnTo>
                    <a:pt x="1229" y="1029"/>
                  </a:lnTo>
                  <a:lnTo>
                    <a:pt x="1229" y="1031"/>
                  </a:lnTo>
                  <a:lnTo>
                    <a:pt x="1229" y="1029"/>
                  </a:lnTo>
                  <a:lnTo>
                    <a:pt x="1231" y="1029"/>
                  </a:lnTo>
                  <a:close/>
                  <a:moveTo>
                    <a:pt x="489" y="1029"/>
                  </a:moveTo>
                  <a:lnTo>
                    <a:pt x="486" y="1029"/>
                  </a:lnTo>
                  <a:lnTo>
                    <a:pt x="489" y="1029"/>
                  </a:lnTo>
                  <a:close/>
                  <a:moveTo>
                    <a:pt x="520" y="1029"/>
                  </a:moveTo>
                  <a:lnTo>
                    <a:pt x="517" y="1029"/>
                  </a:lnTo>
                  <a:lnTo>
                    <a:pt x="520" y="1029"/>
                  </a:lnTo>
                  <a:lnTo>
                    <a:pt x="517" y="1029"/>
                  </a:lnTo>
                  <a:lnTo>
                    <a:pt x="520" y="1029"/>
                  </a:lnTo>
                  <a:close/>
                  <a:moveTo>
                    <a:pt x="847" y="1029"/>
                  </a:moveTo>
                  <a:lnTo>
                    <a:pt x="845" y="1029"/>
                  </a:lnTo>
                  <a:lnTo>
                    <a:pt x="847" y="1029"/>
                  </a:lnTo>
                  <a:close/>
                  <a:moveTo>
                    <a:pt x="522" y="1026"/>
                  </a:moveTo>
                  <a:lnTo>
                    <a:pt x="524" y="1026"/>
                  </a:lnTo>
                  <a:lnTo>
                    <a:pt x="524" y="1029"/>
                  </a:lnTo>
                  <a:lnTo>
                    <a:pt x="527" y="1029"/>
                  </a:lnTo>
                  <a:lnTo>
                    <a:pt x="524" y="1029"/>
                  </a:lnTo>
                  <a:lnTo>
                    <a:pt x="527" y="1031"/>
                  </a:lnTo>
                  <a:lnTo>
                    <a:pt x="524" y="1031"/>
                  </a:lnTo>
                  <a:lnTo>
                    <a:pt x="527" y="1031"/>
                  </a:lnTo>
                  <a:lnTo>
                    <a:pt x="527" y="1034"/>
                  </a:lnTo>
                  <a:lnTo>
                    <a:pt x="524" y="1034"/>
                  </a:lnTo>
                  <a:lnTo>
                    <a:pt x="524" y="1031"/>
                  </a:lnTo>
                  <a:lnTo>
                    <a:pt x="524" y="1034"/>
                  </a:lnTo>
                  <a:lnTo>
                    <a:pt x="522" y="1034"/>
                  </a:lnTo>
                  <a:lnTo>
                    <a:pt x="524" y="1034"/>
                  </a:lnTo>
                  <a:lnTo>
                    <a:pt x="522" y="1034"/>
                  </a:lnTo>
                  <a:lnTo>
                    <a:pt x="524" y="1034"/>
                  </a:lnTo>
                  <a:lnTo>
                    <a:pt x="527" y="1034"/>
                  </a:lnTo>
                  <a:lnTo>
                    <a:pt x="527" y="1036"/>
                  </a:lnTo>
                  <a:lnTo>
                    <a:pt x="527" y="1038"/>
                  </a:lnTo>
                  <a:lnTo>
                    <a:pt x="524" y="1038"/>
                  </a:lnTo>
                  <a:lnTo>
                    <a:pt x="522" y="1038"/>
                  </a:lnTo>
                  <a:lnTo>
                    <a:pt x="522" y="1036"/>
                  </a:lnTo>
                  <a:lnTo>
                    <a:pt x="520" y="1036"/>
                  </a:lnTo>
                  <a:lnTo>
                    <a:pt x="522" y="1036"/>
                  </a:lnTo>
                  <a:lnTo>
                    <a:pt x="520" y="1036"/>
                  </a:lnTo>
                  <a:lnTo>
                    <a:pt x="520" y="1034"/>
                  </a:lnTo>
                  <a:lnTo>
                    <a:pt x="520" y="1036"/>
                  </a:lnTo>
                  <a:lnTo>
                    <a:pt x="520" y="1034"/>
                  </a:lnTo>
                  <a:lnTo>
                    <a:pt x="520" y="1036"/>
                  </a:lnTo>
                  <a:lnTo>
                    <a:pt x="520" y="1034"/>
                  </a:lnTo>
                  <a:lnTo>
                    <a:pt x="517" y="1034"/>
                  </a:lnTo>
                  <a:lnTo>
                    <a:pt x="515" y="1034"/>
                  </a:lnTo>
                  <a:lnTo>
                    <a:pt x="515" y="1031"/>
                  </a:lnTo>
                  <a:lnTo>
                    <a:pt x="515" y="1029"/>
                  </a:lnTo>
                  <a:lnTo>
                    <a:pt x="517" y="1029"/>
                  </a:lnTo>
                  <a:lnTo>
                    <a:pt x="520" y="1029"/>
                  </a:lnTo>
                  <a:lnTo>
                    <a:pt x="520" y="1026"/>
                  </a:lnTo>
                  <a:lnTo>
                    <a:pt x="522" y="1026"/>
                  </a:lnTo>
                  <a:close/>
                  <a:moveTo>
                    <a:pt x="532" y="1026"/>
                  </a:moveTo>
                  <a:lnTo>
                    <a:pt x="529" y="1026"/>
                  </a:lnTo>
                  <a:lnTo>
                    <a:pt x="529" y="1029"/>
                  </a:lnTo>
                  <a:lnTo>
                    <a:pt x="532" y="1029"/>
                  </a:lnTo>
                  <a:lnTo>
                    <a:pt x="532" y="1026"/>
                  </a:lnTo>
                  <a:lnTo>
                    <a:pt x="529" y="1026"/>
                  </a:lnTo>
                  <a:lnTo>
                    <a:pt x="532" y="1026"/>
                  </a:lnTo>
                  <a:lnTo>
                    <a:pt x="534" y="1026"/>
                  </a:lnTo>
                  <a:lnTo>
                    <a:pt x="534" y="1029"/>
                  </a:lnTo>
                  <a:lnTo>
                    <a:pt x="536" y="1029"/>
                  </a:lnTo>
                  <a:lnTo>
                    <a:pt x="539" y="1029"/>
                  </a:lnTo>
                  <a:lnTo>
                    <a:pt x="539" y="1026"/>
                  </a:lnTo>
                  <a:lnTo>
                    <a:pt x="541" y="1026"/>
                  </a:lnTo>
                  <a:lnTo>
                    <a:pt x="541" y="1029"/>
                  </a:lnTo>
                  <a:lnTo>
                    <a:pt x="539" y="1029"/>
                  </a:lnTo>
                  <a:lnTo>
                    <a:pt x="536" y="1029"/>
                  </a:lnTo>
                  <a:lnTo>
                    <a:pt x="534" y="1029"/>
                  </a:lnTo>
                  <a:lnTo>
                    <a:pt x="532" y="1029"/>
                  </a:lnTo>
                  <a:lnTo>
                    <a:pt x="529" y="1029"/>
                  </a:lnTo>
                  <a:lnTo>
                    <a:pt x="529" y="1026"/>
                  </a:lnTo>
                  <a:lnTo>
                    <a:pt x="532" y="1026"/>
                  </a:lnTo>
                  <a:close/>
                  <a:moveTo>
                    <a:pt x="842" y="1026"/>
                  </a:moveTo>
                  <a:lnTo>
                    <a:pt x="840" y="1026"/>
                  </a:lnTo>
                  <a:lnTo>
                    <a:pt x="842" y="1026"/>
                  </a:lnTo>
                  <a:lnTo>
                    <a:pt x="840" y="1026"/>
                  </a:lnTo>
                  <a:lnTo>
                    <a:pt x="842" y="1026"/>
                  </a:lnTo>
                  <a:close/>
                  <a:moveTo>
                    <a:pt x="840" y="1026"/>
                  </a:moveTo>
                  <a:lnTo>
                    <a:pt x="840" y="1024"/>
                  </a:lnTo>
                  <a:lnTo>
                    <a:pt x="840" y="1026"/>
                  </a:lnTo>
                  <a:close/>
                  <a:moveTo>
                    <a:pt x="558" y="1024"/>
                  </a:moveTo>
                  <a:lnTo>
                    <a:pt x="558" y="1026"/>
                  </a:lnTo>
                  <a:lnTo>
                    <a:pt x="558" y="1024"/>
                  </a:lnTo>
                  <a:lnTo>
                    <a:pt x="560" y="1024"/>
                  </a:lnTo>
                  <a:lnTo>
                    <a:pt x="558" y="1024"/>
                  </a:lnTo>
                  <a:close/>
                  <a:moveTo>
                    <a:pt x="1227" y="1024"/>
                  </a:moveTo>
                  <a:lnTo>
                    <a:pt x="1224" y="1024"/>
                  </a:lnTo>
                  <a:lnTo>
                    <a:pt x="1227" y="1024"/>
                  </a:lnTo>
                  <a:close/>
                  <a:moveTo>
                    <a:pt x="835" y="1024"/>
                  </a:moveTo>
                  <a:lnTo>
                    <a:pt x="835" y="1022"/>
                  </a:lnTo>
                  <a:lnTo>
                    <a:pt x="835" y="1024"/>
                  </a:lnTo>
                  <a:close/>
                  <a:moveTo>
                    <a:pt x="1227" y="1022"/>
                  </a:moveTo>
                  <a:lnTo>
                    <a:pt x="1227" y="1024"/>
                  </a:lnTo>
                  <a:lnTo>
                    <a:pt x="1224" y="1024"/>
                  </a:lnTo>
                  <a:lnTo>
                    <a:pt x="1224" y="1022"/>
                  </a:lnTo>
                  <a:lnTo>
                    <a:pt x="1227" y="1022"/>
                  </a:lnTo>
                  <a:lnTo>
                    <a:pt x="1224" y="1022"/>
                  </a:lnTo>
                  <a:lnTo>
                    <a:pt x="1227" y="1022"/>
                  </a:lnTo>
                  <a:close/>
                  <a:moveTo>
                    <a:pt x="1092" y="1022"/>
                  </a:moveTo>
                  <a:lnTo>
                    <a:pt x="1089" y="1022"/>
                  </a:lnTo>
                  <a:lnTo>
                    <a:pt x="1092" y="1022"/>
                  </a:lnTo>
                  <a:close/>
                  <a:moveTo>
                    <a:pt x="1096" y="1022"/>
                  </a:moveTo>
                  <a:lnTo>
                    <a:pt x="1099" y="1022"/>
                  </a:lnTo>
                  <a:lnTo>
                    <a:pt x="1096" y="1022"/>
                  </a:lnTo>
                  <a:close/>
                  <a:moveTo>
                    <a:pt x="833" y="1019"/>
                  </a:moveTo>
                  <a:lnTo>
                    <a:pt x="835" y="1019"/>
                  </a:lnTo>
                  <a:lnTo>
                    <a:pt x="833" y="1019"/>
                  </a:lnTo>
                  <a:close/>
                  <a:moveTo>
                    <a:pt x="1092" y="1017"/>
                  </a:moveTo>
                  <a:lnTo>
                    <a:pt x="1089" y="1019"/>
                  </a:lnTo>
                  <a:lnTo>
                    <a:pt x="1089" y="1017"/>
                  </a:lnTo>
                  <a:lnTo>
                    <a:pt x="1092" y="1017"/>
                  </a:lnTo>
                  <a:close/>
                  <a:moveTo>
                    <a:pt x="1087" y="1019"/>
                  </a:moveTo>
                  <a:lnTo>
                    <a:pt x="1087" y="1017"/>
                  </a:lnTo>
                  <a:lnTo>
                    <a:pt x="1089" y="1019"/>
                  </a:lnTo>
                  <a:lnTo>
                    <a:pt x="1087" y="1019"/>
                  </a:lnTo>
                  <a:close/>
                  <a:moveTo>
                    <a:pt x="1089" y="1019"/>
                  </a:moveTo>
                  <a:lnTo>
                    <a:pt x="1087" y="1017"/>
                  </a:lnTo>
                  <a:lnTo>
                    <a:pt x="1089" y="1017"/>
                  </a:lnTo>
                  <a:lnTo>
                    <a:pt x="1089" y="1019"/>
                  </a:lnTo>
                  <a:close/>
                  <a:moveTo>
                    <a:pt x="1089" y="1017"/>
                  </a:moveTo>
                  <a:lnTo>
                    <a:pt x="1092" y="1017"/>
                  </a:lnTo>
                  <a:lnTo>
                    <a:pt x="1089" y="1017"/>
                  </a:lnTo>
                  <a:close/>
                  <a:moveTo>
                    <a:pt x="1106" y="1017"/>
                  </a:moveTo>
                  <a:lnTo>
                    <a:pt x="1103" y="1017"/>
                  </a:lnTo>
                  <a:lnTo>
                    <a:pt x="1106" y="1017"/>
                  </a:lnTo>
                  <a:close/>
                  <a:moveTo>
                    <a:pt x="1092" y="1017"/>
                  </a:moveTo>
                  <a:lnTo>
                    <a:pt x="1094" y="1017"/>
                  </a:lnTo>
                  <a:lnTo>
                    <a:pt x="1092" y="1017"/>
                  </a:lnTo>
                  <a:lnTo>
                    <a:pt x="1089" y="1017"/>
                  </a:lnTo>
                  <a:lnTo>
                    <a:pt x="1092" y="1017"/>
                  </a:lnTo>
                  <a:close/>
                  <a:moveTo>
                    <a:pt x="477" y="1015"/>
                  </a:moveTo>
                  <a:lnTo>
                    <a:pt x="477" y="1017"/>
                  </a:lnTo>
                  <a:lnTo>
                    <a:pt x="477" y="1015"/>
                  </a:lnTo>
                  <a:close/>
                  <a:moveTo>
                    <a:pt x="477" y="1017"/>
                  </a:moveTo>
                  <a:lnTo>
                    <a:pt x="475" y="1015"/>
                  </a:lnTo>
                  <a:lnTo>
                    <a:pt x="477" y="1015"/>
                  </a:lnTo>
                  <a:lnTo>
                    <a:pt x="477" y="1017"/>
                  </a:lnTo>
                  <a:close/>
                  <a:moveTo>
                    <a:pt x="1084" y="1015"/>
                  </a:moveTo>
                  <a:lnTo>
                    <a:pt x="1084" y="1017"/>
                  </a:lnTo>
                  <a:lnTo>
                    <a:pt x="1082" y="1017"/>
                  </a:lnTo>
                  <a:lnTo>
                    <a:pt x="1084" y="1017"/>
                  </a:lnTo>
                  <a:lnTo>
                    <a:pt x="1082" y="1017"/>
                  </a:lnTo>
                  <a:lnTo>
                    <a:pt x="1082" y="1015"/>
                  </a:lnTo>
                  <a:lnTo>
                    <a:pt x="1084" y="1015"/>
                  </a:lnTo>
                  <a:close/>
                  <a:moveTo>
                    <a:pt x="482" y="1015"/>
                  </a:moveTo>
                  <a:lnTo>
                    <a:pt x="484" y="1015"/>
                  </a:lnTo>
                  <a:lnTo>
                    <a:pt x="482" y="1015"/>
                  </a:lnTo>
                  <a:close/>
                  <a:moveTo>
                    <a:pt x="1077" y="1015"/>
                  </a:moveTo>
                  <a:lnTo>
                    <a:pt x="1075" y="1015"/>
                  </a:lnTo>
                  <a:lnTo>
                    <a:pt x="1077" y="1015"/>
                  </a:lnTo>
                  <a:close/>
                  <a:moveTo>
                    <a:pt x="1073" y="1015"/>
                  </a:moveTo>
                  <a:lnTo>
                    <a:pt x="1070" y="1015"/>
                  </a:lnTo>
                  <a:lnTo>
                    <a:pt x="1073" y="1015"/>
                  </a:lnTo>
                  <a:close/>
                  <a:moveTo>
                    <a:pt x="1227" y="1015"/>
                  </a:moveTo>
                  <a:lnTo>
                    <a:pt x="1224" y="1015"/>
                  </a:lnTo>
                  <a:lnTo>
                    <a:pt x="1227" y="1015"/>
                  </a:lnTo>
                  <a:lnTo>
                    <a:pt x="1227" y="1017"/>
                  </a:lnTo>
                  <a:lnTo>
                    <a:pt x="1224" y="1017"/>
                  </a:lnTo>
                  <a:lnTo>
                    <a:pt x="1224" y="1015"/>
                  </a:lnTo>
                  <a:lnTo>
                    <a:pt x="1227" y="1012"/>
                  </a:lnTo>
                  <a:lnTo>
                    <a:pt x="1224" y="1015"/>
                  </a:lnTo>
                  <a:lnTo>
                    <a:pt x="1227" y="1012"/>
                  </a:lnTo>
                  <a:lnTo>
                    <a:pt x="1227" y="1015"/>
                  </a:lnTo>
                  <a:close/>
                  <a:moveTo>
                    <a:pt x="1075" y="1015"/>
                  </a:moveTo>
                  <a:lnTo>
                    <a:pt x="1073" y="1015"/>
                  </a:lnTo>
                  <a:lnTo>
                    <a:pt x="1070" y="1015"/>
                  </a:lnTo>
                  <a:lnTo>
                    <a:pt x="1070" y="1012"/>
                  </a:lnTo>
                  <a:lnTo>
                    <a:pt x="1073" y="1012"/>
                  </a:lnTo>
                  <a:lnTo>
                    <a:pt x="1075" y="1015"/>
                  </a:lnTo>
                  <a:close/>
                  <a:moveTo>
                    <a:pt x="1227" y="1015"/>
                  </a:moveTo>
                  <a:lnTo>
                    <a:pt x="1227" y="1012"/>
                  </a:lnTo>
                  <a:lnTo>
                    <a:pt x="1227" y="1015"/>
                  </a:lnTo>
                  <a:close/>
                  <a:moveTo>
                    <a:pt x="831" y="1012"/>
                  </a:moveTo>
                  <a:lnTo>
                    <a:pt x="831" y="1015"/>
                  </a:lnTo>
                  <a:lnTo>
                    <a:pt x="831" y="1012"/>
                  </a:lnTo>
                  <a:lnTo>
                    <a:pt x="828" y="1012"/>
                  </a:lnTo>
                  <a:lnTo>
                    <a:pt x="831" y="1012"/>
                  </a:lnTo>
                  <a:close/>
                  <a:moveTo>
                    <a:pt x="1063" y="1012"/>
                  </a:moveTo>
                  <a:lnTo>
                    <a:pt x="1065" y="1015"/>
                  </a:lnTo>
                  <a:lnTo>
                    <a:pt x="1063" y="1015"/>
                  </a:lnTo>
                  <a:lnTo>
                    <a:pt x="1063" y="1012"/>
                  </a:lnTo>
                  <a:close/>
                  <a:moveTo>
                    <a:pt x="1118" y="1012"/>
                  </a:moveTo>
                  <a:lnTo>
                    <a:pt x="1115" y="1012"/>
                  </a:lnTo>
                  <a:lnTo>
                    <a:pt x="1113" y="1012"/>
                  </a:lnTo>
                  <a:lnTo>
                    <a:pt x="1113" y="1015"/>
                  </a:lnTo>
                  <a:lnTo>
                    <a:pt x="1113" y="1012"/>
                  </a:lnTo>
                  <a:lnTo>
                    <a:pt x="1115" y="1012"/>
                  </a:lnTo>
                  <a:lnTo>
                    <a:pt x="1113" y="1012"/>
                  </a:lnTo>
                  <a:lnTo>
                    <a:pt x="1115" y="1012"/>
                  </a:lnTo>
                  <a:lnTo>
                    <a:pt x="1118" y="1012"/>
                  </a:lnTo>
                  <a:close/>
                  <a:moveTo>
                    <a:pt x="1125" y="1012"/>
                  </a:moveTo>
                  <a:lnTo>
                    <a:pt x="1122" y="1012"/>
                  </a:lnTo>
                  <a:lnTo>
                    <a:pt x="1120" y="1012"/>
                  </a:lnTo>
                  <a:lnTo>
                    <a:pt x="1118" y="1012"/>
                  </a:lnTo>
                  <a:lnTo>
                    <a:pt x="1120" y="1012"/>
                  </a:lnTo>
                  <a:lnTo>
                    <a:pt x="1122" y="1012"/>
                  </a:lnTo>
                  <a:lnTo>
                    <a:pt x="1125" y="1012"/>
                  </a:lnTo>
                  <a:close/>
                  <a:moveTo>
                    <a:pt x="1118" y="1010"/>
                  </a:moveTo>
                  <a:lnTo>
                    <a:pt x="1120" y="1010"/>
                  </a:lnTo>
                  <a:lnTo>
                    <a:pt x="1118" y="1010"/>
                  </a:lnTo>
                  <a:lnTo>
                    <a:pt x="1115" y="1010"/>
                  </a:lnTo>
                  <a:lnTo>
                    <a:pt x="1118" y="1010"/>
                  </a:lnTo>
                  <a:close/>
                  <a:moveTo>
                    <a:pt x="1134" y="1010"/>
                  </a:moveTo>
                  <a:lnTo>
                    <a:pt x="1134" y="1012"/>
                  </a:lnTo>
                  <a:lnTo>
                    <a:pt x="1132" y="1012"/>
                  </a:lnTo>
                  <a:lnTo>
                    <a:pt x="1134" y="1010"/>
                  </a:lnTo>
                  <a:close/>
                  <a:moveTo>
                    <a:pt x="1137" y="1010"/>
                  </a:moveTo>
                  <a:lnTo>
                    <a:pt x="1137" y="1012"/>
                  </a:lnTo>
                  <a:lnTo>
                    <a:pt x="1134" y="1012"/>
                  </a:lnTo>
                  <a:lnTo>
                    <a:pt x="1137" y="1012"/>
                  </a:lnTo>
                  <a:lnTo>
                    <a:pt x="1137" y="1010"/>
                  </a:lnTo>
                  <a:close/>
                  <a:moveTo>
                    <a:pt x="826" y="1010"/>
                  </a:moveTo>
                  <a:lnTo>
                    <a:pt x="828" y="1010"/>
                  </a:lnTo>
                  <a:lnTo>
                    <a:pt x="828" y="1012"/>
                  </a:lnTo>
                  <a:lnTo>
                    <a:pt x="828" y="1010"/>
                  </a:lnTo>
                  <a:lnTo>
                    <a:pt x="828" y="1012"/>
                  </a:lnTo>
                  <a:lnTo>
                    <a:pt x="828" y="1010"/>
                  </a:lnTo>
                  <a:lnTo>
                    <a:pt x="826" y="1010"/>
                  </a:lnTo>
                  <a:close/>
                  <a:moveTo>
                    <a:pt x="1227" y="1007"/>
                  </a:moveTo>
                  <a:lnTo>
                    <a:pt x="1224" y="1007"/>
                  </a:lnTo>
                  <a:lnTo>
                    <a:pt x="1227" y="1007"/>
                  </a:lnTo>
                  <a:close/>
                  <a:moveTo>
                    <a:pt x="819" y="1007"/>
                  </a:moveTo>
                  <a:lnTo>
                    <a:pt x="821" y="1007"/>
                  </a:lnTo>
                  <a:lnTo>
                    <a:pt x="819" y="1007"/>
                  </a:lnTo>
                  <a:close/>
                  <a:moveTo>
                    <a:pt x="1137" y="1007"/>
                  </a:moveTo>
                  <a:lnTo>
                    <a:pt x="1137" y="1005"/>
                  </a:lnTo>
                  <a:lnTo>
                    <a:pt x="1137" y="1007"/>
                  </a:lnTo>
                  <a:close/>
                  <a:moveTo>
                    <a:pt x="1224" y="1005"/>
                  </a:moveTo>
                  <a:lnTo>
                    <a:pt x="1224" y="1007"/>
                  </a:lnTo>
                  <a:lnTo>
                    <a:pt x="1224" y="1005"/>
                  </a:lnTo>
                  <a:close/>
                  <a:moveTo>
                    <a:pt x="1063" y="1007"/>
                  </a:moveTo>
                  <a:lnTo>
                    <a:pt x="1061" y="1007"/>
                  </a:lnTo>
                  <a:lnTo>
                    <a:pt x="1063" y="1007"/>
                  </a:lnTo>
                  <a:lnTo>
                    <a:pt x="1063" y="1005"/>
                  </a:lnTo>
                  <a:lnTo>
                    <a:pt x="1063" y="1007"/>
                  </a:lnTo>
                  <a:close/>
                  <a:moveTo>
                    <a:pt x="491" y="1005"/>
                  </a:moveTo>
                  <a:lnTo>
                    <a:pt x="489" y="1005"/>
                  </a:lnTo>
                  <a:lnTo>
                    <a:pt x="491" y="1005"/>
                  </a:lnTo>
                  <a:close/>
                  <a:moveTo>
                    <a:pt x="816" y="1003"/>
                  </a:moveTo>
                  <a:lnTo>
                    <a:pt x="814" y="1003"/>
                  </a:lnTo>
                  <a:lnTo>
                    <a:pt x="816" y="1003"/>
                  </a:lnTo>
                  <a:close/>
                  <a:moveTo>
                    <a:pt x="1222" y="1003"/>
                  </a:moveTo>
                  <a:lnTo>
                    <a:pt x="1224" y="1005"/>
                  </a:lnTo>
                  <a:lnTo>
                    <a:pt x="1222" y="1005"/>
                  </a:lnTo>
                  <a:lnTo>
                    <a:pt x="1222" y="1003"/>
                  </a:lnTo>
                  <a:lnTo>
                    <a:pt x="1224" y="1003"/>
                  </a:lnTo>
                  <a:lnTo>
                    <a:pt x="1224" y="1005"/>
                  </a:lnTo>
                  <a:lnTo>
                    <a:pt x="1222" y="1005"/>
                  </a:lnTo>
                  <a:lnTo>
                    <a:pt x="1222" y="1003"/>
                  </a:lnTo>
                  <a:close/>
                  <a:moveTo>
                    <a:pt x="814" y="1003"/>
                  </a:moveTo>
                  <a:lnTo>
                    <a:pt x="812" y="1003"/>
                  </a:lnTo>
                  <a:lnTo>
                    <a:pt x="814" y="1003"/>
                  </a:lnTo>
                  <a:close/>
                  <a:moveTo>
                    <a:pt x="814" y="1003"/>
                  </a:moveTo>
                  <a:lnTo>
                    <a:pt x="812" y="1003"/>
                  </a:lnTo>
                  <a:lnTo>
                    <a:pt x="814" y="1003"/>
                  </a:lnTo>
                  <a:close/>
                  <a:moveTo>
                    <a:pt x="1217" y="1003"/>
                  </a:moveTo>
                  <a:lnTo>
                    <a:pt x="1220" y="1003"/>
                  </a:lnTo>
                  <a:lnTo>
                    <a:pt x="1217" y="1003"/>
                  </a:lnTo>
                  <a:lnTo>
                    <a:pt x="1217" y="1000"/>
                  </a:lnTo>
                  <a:lnTo>
                    <a:pt x="1217" y="1003"/>
                  </a:lnTo>
                  <a:close/>
                  <a:moveTo>
                    <a:pt x="496" y="1003"/>
                  </a:moveTo>
                  <a:lnTo>
                    <a:pt x="496" y="1000"/>
                  </a:lnTo>
                  <a:lnTo>
                    <a:pt x="496" y="1003"/>
                  </a:lnTo>
                  <a:close/>
                  <a:moveTo>
                    <a:pt x="1139" y="1003"/>
                  </a:moveTo>
                  <a:lnTo>
                    <a:pt x="1141" y="1000"/>
                  </a:lnTo>
                  <a:lnTo>
                    <a:pt x="1141" y="1003"/>
                  </a:lnTo>
                  <a:lnTo>
                    <a:pt x="1139" y="1003"/>
                  </a:lnTo>
                  <a:close/>
                  <a:moveTo>
                    <a:pt x="809" y="1000"/>
                  </a:moveTo>
                  <a:lnTo>
                    <a:pt x="807" y="1000"/>
                  </a:lnTo>
                  <a:lnTo>
                    <a:pt x="809" y="1000"/>
                  </a:lnTo>
                  <a:close/>
                  <a:moveTo>
                    <a:pt x="1063" y="1003"/>
                  </a:moveTo>
                  <a:lnTo>
                    <a:pt x="1065" y="1003"/>
                  </a:lnTo>
                  <a:lnTo>
                    <a:pt x="1063" y="1003"/>
                  </a:lnTo>
                  <a:lnTo>
                    <a:pt x="1065" y="1003"/>
                  </a:lnTo>
                  <a:lnTo>
                    <a:pt x="1063" y="1005"/>
                  </a:lnTo>
                  <a:lnTo>
                    <a:pt x="1063" y="1003"/>
                  </a:lnTo>
                  <a:lnTo>
                    <a:pt x="1063" y="1000"/>
                  </a:lnTo>
                  <a:lnTo>
                    <a:pt x="1065" y="1000"/>
                  </a:lnTo>
                  <a:lnTo>
                    <a:pt x="1065" y="1003"/>
                  </a:lnTo>
                  <a:lnTo>
                    <a:pt x="1063" y="1003"/>
                  </a:lnTo>
                  <a:close/>
                  <a:moveTo>
                    <a:pt x="807" y="998"/>
                  </a:moveTo>
                  <a:lnTo>
                    <a:pt x="804" y="998"/>
                  </a:lnTo>
                  <a:lnTo>
                    <a:pt x="807" y="998"/>
                  </a:lnTo>
                  <a:close/>
                  <a:moveTo>
                    <a:pt x="1148" y="998"/>
                  </a:moveTo>
                  <a:lnTo>
                    <a:pt x="1146" y="998"/>
                  </a:lnTo>
                  <a:lnTo>
                    <a:pt x="1148" y="998"/>
                  </a:lnTo>
                  <a:close/>
                  <a:moveTo>
                    <a:pt x="494" y="998"/>
                  </a:moveTo>
                  <a:lnTo>
                    <a:pt x="491" y="998"/>
                  </a:lnTo>
                  <a:lnTo>
                    <a:pt x="494" y="998"/>
                  </a:lnTo>
                  <a:close/>
                  <a:moveTo>
                    <a:pt x="496" y="998"/>
                  </a:moveTo>
                  <a:lnTo>
                    <a:pt x="498" y="998"/>
                  </a:lnTo>
                  <a:lnTo>
                    <a:pt x="496" y="998"/>
                  </a:lnTo>
                  <a:close/>
                  <a:moveTo>
                    <a:pt x="494" y="998"/>
                  </a:moveTo>
                  <a:lnTo>
                    <a:pt x="491" y="998"/>
                  </a:lnTo>
                  <a:lnTo>
                    <a:pt x="494" y="998"/>
                  </a:lnTo>
                  <a:close/>
                  <a:moveTo>
                    <a:pt x="804" y="996"/>
                  </a:moveTo>
                  <a:lnTo>
                    <a:pt x="804" y="998"/>
                  </a:lnTo>
                  <a:lnTo>
                    <a:pt x="804" y="996"/>
                  </a:lnTo>
                  <a:close/>
                  <a:moveTo>
                    <a:pt x="489" y="996"/>
                  </a:moveTo>
                  <a:lnTo>
                    <a:pt x="489" y="998"/>
                  </a:lnTo>
                  <a:lnTo>
                    <a:pt x="489" y="996"/>
                  </a:lnTo>
                  <a:close/>
                  <a:moveTo>
                    <a:pt x="1151" y="996"/>
                  </a:moveTo>
                  <a:lnTo>
                    <a:pt x="1151" y="998"/>
                  </a:lnTo>
                  <a:lnTo>
                    <a:pt x="1151" y="996"/>
                  </a:lnTo>
                  <a:lnTo>
                    <a:pt x="1153" y="996"/>
                  </a:lnTo>
                  <a:lnTo>
                    <a:pt x="1151" y="996"/>
                  </a:lnTo>
                  <a:close/>
                  <a:moveTo>
                    <a:pt x="1215" y="996"/>
                  </a:moveTo>
                  <a:lnTo>
                    <a:pt x="1213" y="996"/>
                  </a:lnTo>
                  <a:lnTo>
                    <a:pt x="1215" y="996"/>
                  </a:lnTo>
                  <a:close/>
                  <a:moveTo>
                    <a:pt x="1065" y="996"/>
                  </a:moveTo>
                  <a:lnTo>
                    <a:pt x="1065" y="993"/>
                  </a:lnTo>
                  <a:lnTo>
                    <a:pt x="1065" y="996"/>
                  </a:lnTo>
                  <a:lnTo>
                    <a:pt x="1065" y="993"/>
                  </a:lnTo>
                  <a:lnTo>
                    <a:pt x="1065" y="996"/>
                  </a:lnTo>
                  <a:close/>
                  <a:moveTo>
                    <a:pt x="1153" y="993"/>
                  </a:moveTo>
                  <a:lnTo>
                    <a:pt x="1156" y="993"/>
                  </a:lnTo>
                  <a:lnTo>
                    <a:pt x="1153" y="993"/>
                  </a:lnTo>
                  <a:close/>
                  <a:moveTo>
                    <a:pt x="804" y="996"/>
                  </a:moveTo>
                  <a:lnTo>
                    <a:pt x="802" y="996"/>
                  </a:lnTo>
                  <a:lnTo>
                    <a:pt x="804" y="996"/>
                  </a:lnTo>
                  <a:lnTo>
                    <a:pt x="802" y="993"/>
                  </a:lnTo>
                  <a:lnTo>
                    <a:pt x="804" y="993"/>
                  </a:lnTo>
                  <a:lnTo>
                    <a:pt x="804" y="996"/>
                  </a:lnTo>
                  <a:close/>
                  <a:moveTo>
                    <a:pt x="1068" y="993"/>
                  </a:moveTo>
                  <a:lnTo>
                    <a:pt x="1065" y="993"/>
                  </a:lnTo>
                  <a:lnTo>
                    <a:pt x="1068" y="993"/>
                  </a:lnTo>
                  <a:lnTo>
                    <a:pt x="1068" y="991"/>
                  </a:lnTo>
                  <a:lnTo>
                    <a:pt x="1068" y="993"/>
                  </a:lnTo>
                  <a:close/>
                  <a:moveTo>
                    <a:pt x="1065" y="991"/>
                  </a:moveTo>
                  <a:lnTo>
                    <a:pt x="1068" y="991"/>
                  </a:lnTo>
                  <a:lnTo>
                    <a:pt x="1065" y="993"/>
                  </a:lnTo>
                  <a:lnTo>
                    <a:pt x="1065" y="991"/>
                  </a:lnTo>
                  <a:close/>
                  <a:moveTo>
                    <a:pt x="802" y="991"/>
                  </a:moveTo>
                  <a:lnTo>
                    <a:pt x="802" y="988"/>
                  </a:lnTo>
                  <a:lnTo>
                    <a:pt x="802" y="991"/>
                  </a:lnTo>
                  <a:lnTo>
                    <a:pt x="802" y="988"/>
                  </a:lnTo>
                  <a:lnTo>
                    <a:pt x="802" y="991"/>
                  </a:lnTo>
                  <a:close/>
                  <a:moveTo>
                    <a:pt x="494" y="991"/>
                  </a:moveTo>
                  <a:lnTo>
                    <a:pt x="494" y="988"/>
                  </a:lnTo>
                  <a:lnTo>
                    <a:pt x="494" y="991"/>
                  </a:lnTo>
                  <a:close/>
                  <a:moveTo>
                    <a:pt x="494" y="988"/>
                  </a:moveTo>
                  <a:lnTo>
                    <a:pt x="494" y="991"/>
                  </a:lnTo>
                  <a:lnTo>
                    <a:pt x="494" y="988"/>
                  </a:lnTo>
                  <a:close/>
                  <a:moveTo>
                    <a:pt x="1068" y="991"/>
                  </a:moveTo>
                  <a:lnTo>
                    <a:pt x="1068" y="988"/>
                  </a:lnTo>
                  <a:lnTo>
                    <a:pt x="1068" y="991"/>
                  </a:lnTo>
                  <a:close/>
                  <a:moveTo>
                    <a:pt x="1220" y="988"/>
                  </a:moveTo>
                  <a:lnTo>
                    <a:pt x="1217" y="988"/>
                  </a:lnTo>
                  <a:lnTo>
                    <a:pt x="1220" y="988"/>
                  </a:lnTo>
                  <a:close/>
                  <a:moveTo>
                    <a:pt x="1217" y="986"/>
                  </a:moveTo>
                  <a:lnTo>
                    <a:pt x="1220" y="988"/>
                  </a:lnTo>
                  <a:lnTo>
                    <a:pt x="1220" y="986"/>
                  </a:lnTo>
                  <a:lnTo>
                    <a:pt x="1220" y="988"/>
                  </a:lnTo>
                  <a:lnTo>
                    <a:pt x="1217" y="988"/>
                  </a:lnTo>
                  <a:lnTo>
                    <a:pt x="1217" y="986"/>
                  </a:lnTo>
                  <a:close/>
                  <a:moveTo>
                    <a:pt x="1160" y="988"/>
                  </a:moveTo>
                  <a:lnTo>
                    <a:pt x="1158" y="988"/>
                  </a:lnTo>
                  <a:lnTo>
                    <a:pt x="1160" y="988"/>
                  </a:lnTo>
                  <a:lnTo>
                    <a:pt x="1158" y="988"/>
                  </a:lnTo>
                  <a:lnTo>
                    <a:pt x="1160" y="988"/>
                  </a:lnTo>
                  <a:lnTo>
                    <a:pt x="1160" y="986"/>
                  </a:lnTo>
                  <a:lnTo>
                    <a:pt x="1160" y="988"/>
                  </a:lnTo>
                  <a:close/>
                  <a:moveTo>
                    <a:pt x="802" y="988"/>
                  </a:moveTo>
                  <a:lnTo>
                    <a:pt x="800" y="988"/>
                  </a:lnTo>
                  <a:lnTo>
                    <a:pt x="800" y="986"/>
                  </a:lnTo>
                  <a:lnTo>
                    <a:pt x="802" y="988"/>
                  </a:lnTo>
                  <a:close/>
                  <a:moveTo>
                    <a:pt x="1160" y="986"/>
                  </a:moveTo>
                  <a:lnTo>
                    <a:pt x="1160" y="988"/>
                  </a:lnTo>
                  <a:lnTo>
                    <a:pt x="1160" y="986"/>
                  </a:lnTo>
                  <a:close/>
                  <a:moveTo>
                    <a:pt x="1070" y="986"/>
                  </a:moveTo>
                  <a:lnTo>
                    <a:pt x="1068" y="988"/>
                  </a:lnTo>
                  <a:lnTo>
                    <a:pt x="1070" y="986"/>
                  </a:lnTo>
                  <a:close/>
                  <a:moveTo>
                    <a:pt x="1073" y="986"/>
                  </a:moveTo>
                  <a:lnTo>
                    <a:pt x="1070" y="986"/>
                  </a:lnTo>
                  <a:lnTo>
                    <a:pt x="1073" y="986"/>
                  </a:lnTo>
                  <a:close/>
                  <a:moveTo>
                    <a:pt x="1229" y="986"/>
                  </a:moveTo>
                  <a:lnTo>
                    <a:pt x="1231" y="986"/>
                  </a:lnTo>
                  <a:lnTo>
                    <a:pt x="1229" y="986"/>
                  </a:lnTo>
                  <a:lnTo>
                    <a:pt x="1227" y="986"/>
                  </a:lnTo>
                  <a:lnTo>
                    <a:pt x="1229" y="986"/>
                  </a:lnTo>
                  <a:close/>
                  <a:moveTo>
                    <a:pt x="1075" y="984"/>
                  </a:moveTo>
                  <a:lnTo>
                    <a:pt x="1073" y="986"/>
                  </a:lnTo>
                  <a:lnTo>
                    <a:pt x="1075" y="986"/>
                  </a:lnTo>
                  <a:lnTo>
                    <a:pt x="1075" y="984"/>
                  </a:lnTo>
                  <a:close/>
                  <a:moveTo>
                    <a:pt x="800" y="984"/>
                  </a:moveTo>
                  <a:lnTo>
                    <a:pt x="800" y="986"/>
                  </a:lnTo>
                  <a:lnTo>
                    <a:pt x="800" y="984"/>
                  </a:lnTo>
                  <a:close/>
                  <a:moveTo>
                    <a:pt x="1077" y="984"/>
                  </a:moveTo>
                  <a:lnTo>
                    <a:pt x="1075" y="984"/>
                  </a:lnTo>
                  <a:lnTo>
                    <a:pt x="1077" y="984"/>
                  </a:lnTo>
                  <a:close/>
                  <a:moveTo>
                    <a:pt x="1246" y="984"/>
                  </a:moveTo>
                  <a:lnTo>
                    <a:pt x="1243" y="984"/>
                  </a:lnTo>
                  <a:lnTo>
                    <a:pt x="1246" y="984"/>
                  </a:lnTo>
                  <a:close/>
                  <a:moveTo>
                    <a:pt x="1077" y="984"/>
                  </a:moveTo>
                  <a:lnTo>
                    <a:pt x="1075" y="984"/>
                  </a:lnTo>
                  <a:lnTo>
                    <a:pt x="1077" y="984"/>
                  </a:lnTo>
                  <a:lnTo>
                    <a:pt x="1077" y="981"/>
                  </a:lnTo>
                  <a:lnTo>
                    <a:pt x="1077" y="984"/>
                  </a:lnTo>
                  <a:close/>
                  <a:moveTo>
                    <a:pt x="1258" y="981"/>
                  </a:moveTo>
                  <a:lnTo>
                    <a:pt x="1260" y="981"/>
                  </a:lnTo>
                  <a:lnTo>
                    <a:pt x="1258" y="981"/>
                  </a:lnTo>
                  <a:close/>
                  <a:moveTo>
                    <a:pt x="1255" y="981"/>
                  </a:moveTo>
                  <a:lnTo>
                    <a:pt x="1253" y="981"/>
                  </a:lnTo>
                  <a:lnTo>
                    <a:pt x="1255" y="981"/>
                  </a:lnTo>
                  <a:close/>
                  <a:moveTo>
                    <a:pt x="1165" y="981"/>
                  </a:moveTo>
                  <a:lnTo>
                    <a:pt x="1163" y="981"/>
                  </a:lnTo>
                  <a:lnTo>
                    <a:pt x="1165" y="981"/>
                  </a:lnTo>
                  <a:close/>
                  <a:moveTo>
                    <a:pt x="1077" y="979"/>
                  </a:moveTo>
                  <a:lnTo>
                    <a:pt x="1077" y="981"/>
                  </a:lnTo>
                  <a:lnTo>
                    <a:pt x="1077" y="979"/>
                  </a:lnTo>
                  <a:close/>
                  <a:moveTo>
                    <a:pt x="1217" y="981"/>
                  </a:moveTo>
                  <a:lnTo>
                    <a:pt x="1217" y="979"/>
                  </a:lnTo>
                  <a:lnTo>
                    <a:pt x="1217" y="981"/>
                  </a:lnTo>
                  <a:close/>
                  <a:moveTo>
                    <a:pt x="1080" y="979"/>
                  </a:moveTo>
                  <a:lnTo>
                    <a:pt x="1080" y="981"/>
                  </a:lnTo>
                  <a:lnTo>
                    <a:pt x="1077" y="979"/>
                  </a:lnTo>
                  <a:lnTo>
                    <a:pt x="1080" y="979"/>
                  </a:lnTo>
                  <a:close/>
                  <a:moveTo>
                    <a:pt x="776" y="979"/>
                  </a:moveTo>
                  <a:lnTo>
                    <a:pt x="776" y="976"/>
                  </a:lnTo>
                  <a:lnTo>
                    <a:pt x="776" y="979"/>
                  </a:lnTo>
                  <a:close/>
                  <a:moveTo>
                    <a:pt x="1077" y="976"/>
                  </a:moveTo>
                  <a:lnTo>
                    <a:pt x="1077" y="979"/>
                  </a:lnTo>
                  <a:lnTo>
                    <a:pt x="1077" y="976"/>
                  </a:lnTo>
                  <a:close/>
                  <a:moveTo>
                    <a:pt x="1163" y="976"/>
                  </a:moveTo>
                  <a:lnTo>
                    <a:pt x="1163" y="979"/>
                  </a:lnTo>
                  <a:lnTo>
                    <a:pt x="1163" y="976"/>
                  </a:lnTo>
                  <a:close/>
                  <a:moveTo>
                    <a:pt x="1213" y="976"/>
                  </a:moveTo>
                  <a:lnTo>
                    <a:pt x="1215" y="976"/>
                  </a:lnTo>
                  <a:lnTo>
                    <a:pt x="1215" y="979"/>
                  </a:lnTo>
                  <a:lnTo>
                    <a:pt x="1213" y="976"/>
                  </a:lnTo>
                  <a:close/>
                  <a:moveTo>
                    <a:pt x="1260" y="976"/>
                  </a:moveTo>
                  <a:lnTo>
                    <a:pt x="1260" y="979"/>
                  </a:lnTo>
                  <a:lnTo>
                    <a:pt x="1260" y="976"/>
                  </a:lnTo>
                  <a:close/>
                  <a:moveTo>
                    <a:pt x="1260" y="976"/>
                  </a:moveTo>
                  <a:lnTo>
                    <a:pt x="1260" y="974"/>
                  </a:lnTo>
                  <a:lnTo>
                    <a:pt x="1260" y="976"/>
                  </a:lnTo>
                  <a:close/>
                  <a:moveTo>
                    <a:pt x="1262" y="974"/>
                  </a:moveTo>
                  <a:lnTo>
                    <a:pt x="1260" y="974"/>
                  </a:lnTo>
                  <a:lnTo>
                    <a:pt x="1260" y="976"/>
                  </a:lnTo>
                  <a:lnTo>
                    <a:pt x="1260" y="974"/>
                  </a:lnTo>
                  <a:lnTo>
                    <a:pt x="1260" y="976"/>
                  </a:lnTo>
                  <a:lnTo>
                    <a:pt x="1260" y="974"/>
                  </a:lnTo>
                  <a:lnTo>
                    <a:pt x="1262" y="974"/>
                  </a:lnTo>
                  <a:lnTo>
                    <a:pt x="1260" y="974"/>
                  </a:lnTo>
                  <a:lnTo>
                    <a:pt x="1262" y="974"/>
                  </a:lnTo>
                  <a:close/>
                  <a:moveTo>
                    <a:pt x="1165" y="974"/>
                  </a:moveTo>
                  <a:lnTo>
                    <a:pt x="1165" y="976"/>
                  </a:lnTo>
                  <a:lnTo>
                    <a:pt x="1165" y="974"/>
                  </a:lnTo>
                  <a:lnTo>
                    <a:pt x="1163" y="976"/>
                  </a:lnTo>
                  <a:lnTo>
                    <a:pt x="1163" y="974"/>
                  </a:lnTo>
                  <a:lnTo>
                    <a:pt x="1165" y="974"/>
                  </a:lnTo>
                  <a:lnTo>
                    <a:pt x="1165" y="972"/>
                  </a:lnTo>
                  <a:lnTo>
                    <a:pt x="1167" y="972"/>
                  </a:lnTo>
                  <a:lnTo>
                    <a:pt x="1167" y="974"/>
                  </a:lnTo>
                  <a:lnTo>
                    <a:pt x="1165" y="974"/>
                  </a:lnTo>
                  <a:close/>
                  <a:moveTo>
                    <a:pt x="1077" y="972"/>
                  </a:moveTo>
                  <a:lnTo>
                    <a:pt x="1077" y="974"/>
                  </a:lnTo>
                  <a:lnTo>
                    <a:pt x="1077" y="972"/>
                  </a:lnTo>
                  <a:close/>
                  <a:moveTo>
                    <a:pt x="472" y="969"/>
                  </a:moveTo>
                  <a:lnTo>
                    <a:pt x="472" y="972"/>
                  </a:lnTo>
                  <a:lnTo>
                    <a:pt x="475" y="972"/>
                  </a:lnTo>
                  <a:lnTo>
                    <a:pt x="472" y="972"/>
                  </a:lnTo>
                  <a:lnTo>
                    <a:pt x="475" y="972"/>
                  </a:lnTo>
                  <a:lnTo>
                    <a:pt x="472" y="972"/>
                  </a:lnTo>
                  <a:lnTo>
                    <a:pt x="472" y="969"/>
                  </a:lnTo>
                  <a:close/>
                  <a:moveTo>
                    <a:pt x="1208" y="969"/>
                  </a:moveTo>
                  <a:lnTo>
                    <a:pt x="1210" y="969"/>
                  </a:lnTo>
                  <a:lnTo>
                    <a:pt x="1213" y="969"/>
                  </a:lnTo>
                  <a:lnTo>
                    <a:pt x="1210" y="969"/>
                  </a:lnTo>
                  <a:lnTo>
                    <a:pt x="1208" y="969"/>
                  </a:lnTo>
                  <a:close/>
                  <a:moveTo>
                    <a:pt x="1267" y="969"/>
                  </a:moveTo>
                  <a:lnTo>
                    <a:pt x="1265" y="969"/>
                  </a:lnTo>
                  <a:lnTo>
                    <a:pt x="1267" y="969"/>
                  </a:lnTo>
                  <a:close/>
                  <a:moveTo>
                    <a:pt x="1075" y="969"/>
                  </a:moveTo>
                  <a:lnTo>
                    <a:pt x="1077" y="969"/>
                  </a:lnTo>
                  <a:lnTo>
                    <a:pt x="1077" y="972"/>
                  </a:lnTo>
                  <a:lnTo>
                    <a:pt x="1075" y="969"/>
                  </a:lnTo>
                  <a:lnTo>
                    <a:pt x="1077" y="969"/>
                  </a:lnTo>
                  <a:lnTo>
                    <a:pt x="1075" y="969"/>
                  </a:lnTo>
                  <a:close/>
                  <a:moveTo>
                    <a:pt x="1208" y="967"/>
                  </a:moveTo>
                  <a:lnTo>
                    <a:pt x="1208" y="969"/>
                  </a:lnTo>
                  <a:lnTo>
                    <a:pt x="1208" y="967"/>
                  </a:lnTo>
                  <a:lnTo>
                    <a:pt x="1208" y="969"/>
                  </a:lnTo>
                  <a:lnTo>
                    <a:pt x="1208" y="967"/>
                  </a:lnTo>
                  <a:close/>
                  <a:moveTo>
                    <a:pt x="463" y="967"/>
                  </a:moveTo>
                  <a:lnTo>
                    <a:pt x="463" y="969"/>
                  </a:lnTo>
                  <a:lnTo>
                    <a:pt x="463" y="967"/>
                  </a:lnTo>
                  <a:close/>
                  <a:moveTo>
                    <a:pt x="1267" y="967"/>
                  </a:moveTo>
                  <a:lnTo>
                    <a:pt x="1267" y="969"/>
                  </a:lnTo>
                  <a:lnTo>
                    <a:pt x="1267" y="967"/>
                  </a:lnTo>
                  <a:lnTo>
                    <a:pt x="1269" y="967"/>
                  </a:lnTo>
                  <a:lnTo>
                    <a:pt x="1267" y="967"/>
                  </a:lnTo>
                  <a:close/>
                  <a:moveTo>
                    <a:pt x="1075" y="965"/>
                  </a:moveTo>
                  <a:lnTo>
                    <a:pt x="1075" y="967"/>
                  </a:lnTo>
                  <a:lnTo>
                    <a:pt x="1075" y="965"/>
                  </a:lnTo>
                  <a:lnTo>
                    <a:pt x="1075" y="967"/>
                  </a:lnTo>
                  <a:lnTo>
                    <a:pt x="1075" y="965"/>
                  </a:lnTo>
                  <a:close/>
                  <a:moveTo>
                    <a:pt x="437" y="965"/>
                  </a:moveTo>
                  <a:lnTo>
                    <a:pt x="434" y="965"/>
                  </a:lnTo>
                  <a:lnTo>
                    <a:pt x="437" y="965"/>
                  </a:lnTo>
                  <a:close/>
                  <a:moveTo>
                    <a:pt x="1177" y="965"/>
                  </a:moveTo>
                  <a:lnTo>
                    <a:pt x="1179" y="965"/>
                  </a:lnTo>
                  <a:lnTo>
                    <a:pt x="1177" y="965"/>
                  </a:lnTo>
                  <a:close/>
                  <a:moveTo>
                    <a:pt x="460" y="965"/>
                  </a:moveTo>
                  <a:lnTo>
                    <a:pt x="463" y="965"/>
                  </a:lnTo>
                  <a:lnTo>
                    <a:pt x="465" y="965"/>
                  </a:lnTo>
                  <a:lnTo>
                    <a:pt x="463" y="965"/>
                  </a:lnTo>
                  <a:lnTo>
                    <a:pt x="463" y="967"/>
                  </a:lnTo>
                  <a:lnTo>
                    <a:pt x="460" y="967"/>
                  </a:lnTo>
                  <a:lnTo>
                    <a:pt x="460" y="965"/>
                  </a:lnTo>
                  <a:lnTo>
                    <a:pt x="458" y="965"/>
                  </a:lnTo>
                  <a:lnTo>
                    <a:pt x="460" y="965"/>
                  </a:lnTo>
                  <a:close/>
                  <a:moveTo>
                    <a:pt x="453" y="965"/>
                  </a:moveTo>
                  <a:lnTo>
                    <a:pt x="456" y="965"/>
                  </a:lnTo>
                  <a:lnTo>
                    <a:pt x="453" y="965"/>
                  </a:lnTo>
                  <a:close/>
                  <a:moveTo>
                    <a:pt x="453" y="965"/>
                  </a:moveTo>
                  <a:lnTo>
                    <a:pt x="453" y="962"/>
                  </a:lnTo>
                  <a:lnTo>
                    <a:pt x="453" y="965"/>
                  </a:lnTo>
                  <a:close/>
                  <a:moveTo>
                    <a:pt x="446" y="962"/>
                  </a:moveTo>
                  <a:lnTo>
                    <a:pt x="444" y="962"/>
                  </a:lnTo>
                  <a:lnTo>
                    <a:pt x="446" y="962"/>
                  </a:lnTo>
                  <a:close/>
                  <a:moveTo>
                    <a:pt x="1319" y="962"/>
                  </a:moveTo>
                  <a:lnTo>
                    <a:pt x="1317" y="962"/>
                  </a:lnTo>
                  <a:lnTo>
                    <a:pt x="1319" y="962"/>
                  </a:lnTo>
                  <a:close/>
                  <a:moveTo>
                    <a:pt x="463" y="962"/>
                  </a:moveTo>
                  <a:lnTo>
                    <a:pt x="460" y="962"/>
                  </a:lnTo>
                  <a:lnTo>
                    <a:pt x="463" y="962"/>
                  </a:lnTo>
                  <a:close/>
                  <a:moveTo>
                    <a:pt x="1208" y="962"/>
                  </a:moveTo>
                  <a:lnTo>
                    <a:pt x="1205" y="962"/>
                  </a:lnTo>
                  <a:lnTo>
                    <a:pt x="1208" y="962"/>
                  </a:lnTo>
                  <a:lnTo>
                    <a:pt x="1205" y="962"/>
                  </a:lnTo>
                  <a:lnTo>
                    <a:pt x="1208" y="962"/>
                  </a:lnTo>
                  <a:close/>
                  <a:moveTo>
                    <a:pt x="446" y="962"/>
                  </a:moveTo>
                  <a:lnTo>
                    <a:pt x="449" y="962"/>
                  </a:lnTo>
                  <a:lnTo>
                    <a:pt x="446" y="962"/>
                  </a:lnTo>
                  <a:close/>
                  <a:moveTo>
                    <a:pt x="460" y="962"/>
                  </a:moveTo>
                  <a:lnTo>
                    <a:pt x="458" y="962"/>
                  </a:lnTo>
                  <a:lnTo>
                    <a:pt x="460" y="962"/>
                  </a:lnTo>
                  <a:close/>
                  <a:moveTo>
                    <a:pt x="1198" y="962"/>
                  </a:moveTo>
                  <a:lnTo>
                    <a:pt x="1196" y="962"/>
                  </a:lnTo>
                  <a:lnTo>
                    <a:pt x="1194" y="962"/>
                  </a:lnTo>
                  <a:lnTo>
                    <a:pt x="1196" y="962"/>
                  </a:lnTo>
                  <a:lnTo>
                    <a:pt x="1198" y="962"/>
                  </a:lnTo>
                  <a:close/>
                  <a:moveTo>
                    <a:pt x="1201" y="962"/>
                  </a:moveTo>
                  <a:lnTo>
                    <a:pt x="1203" y="962"/>
                  </a:lnTo>
                  <a:lnTo>
                    <a:pt x="1201" y="962"/>
                  </a:lnTo>
                  <a:close/>
                  <a:moveTo>
                    <a:pt x="1189" y="962"/>
                  </a:moveTo>
                  <a:lnTo>
                    <a:pt x="1186" y="962"/>
                  </a:lnTo>
                  <a:lnTo>
                    <a:pt x="1189" y="962"/>
                  </a:lnTo>
                  <a:lnTo>
                    <a:pt x="1186" y="962"/>
                  </a:lnTo>
                  <a:lnTo>
                    <a:pt x="1189" y="962"/>
                  </a:lnTo>
                  <a:lnTo>
                    <a:pt x="1191" y="962"/>
                  </a:lnTo>
                  <a:lnTo>
                    <a:pt x="1189" y="962"/>
                  </a:lnTo>
                  <a:close/>
                  <a:moveTo>
                    <a:pt x="458" y="962"/>
                  </a:moveTo>
                  <a:lnTo>
                    <a:pt x="456" y="962"/>
                  </a:lnTo>
                  <a:lnTo>
                    <a:pt x="453" y="962"/>
                  </a:lnTo>
                  <a:lnTo>
                    <a:pt x="456" y="962"/>
                  </a:lnTo>
                  <a:lnTo>
                    <a:pt x="458" y="962"/>
                  </a:lnTo>
                  <a:close/>
                  <a:moveTo>
                    <a:pt x="1194" y="962"/>
                  </a:moveTo>
                  <a:lnTo>
                    <a:pt x="1191" y="962"/>
                  </a:lnTo>
                  <a:lnTo>
                    <a:pt x="1194" y="962"/>
                  </a:lnTo>
                  <a:close/>
                  <a:moveTo>
                    <a:pt x="1194" y="962"/>
                  </a:moveTo>
                  <a:lnTo>
                    <a:pt x="1196" y="960"/>
                  </a:lnTo>
                  <a:lnTo>
                    <a:pt x="1196" y="962"/>
                  </a:lnTo>
                  <a:lnTo>
                    <a:pt x="1194" y="962"/>
                  </a:lnTo>
                  <a:close/>
                  <a:moveTo>
                    <a:pt x="778" y="960"/>
                  </a:moveTo>
                  <a:lnTo>
                    <a:pt x="781" y="962"/>
                  </a:lnTo>
                  <a:lnTo>
                    <a:pt x="781" y="960"/>
                  </a:lnTo>
                  <a:lnTo>
                    <a:pt x="778" y="960"/>
                  </a:lnTo>
                  <a:close/>
                  <a:moveTo>
                    <a:pt x="1205" y="960"/>
                  </a:moveTo>
                  <a:lnTo>
                    <a:pt x="1203" y="960"/>
                  </a:lnTo>
                  <a:lnTo>
                    <a:pt x="1205" y="960"/>
                  </a:lnTo>
                  <a:close/>
                  <a:moveTo>
                    <a:pt x="460" y="960"/>
                  </a:moveTo>
                  <a:lnTo>
                    <a:pt x="460" y="962"/>
                  </a:lnTo>
                  <a:lnTo>
                    <a:pt x="458" y="962"/>
                  </a:lnTo>
                  <a:lnTo>
                    <a:pt x="458" y="960"/>
                  </a:lnTo>
                  <a:lnTo>
                    <a:pt x="460" y="960"/>
                  </a:lnTo>
                  <a:close/>
                  <a:moveTo>
                    <a:pt x="1073" y="957"/>
                  </a:moveTo>
                  <a:lnTo>
                    <a:pt x="1073" y="960"/>
                  </a:lnTo>
                  <a:lnTo>
                    <a:pt x="1073" y="957"/>
                  </a:lnTo>
                  <a:close/>
                  <a:moveTo>
                    <a:pt x="458" y="955"/>
                  </a:moveTo>
                  <a:lnTo>
                    <a:pt x="458" y="957"/>
                  </a:lnTo>
                  <a:lnTo>
                    <a:pt x="456" y="957"/>
                  </a:lnTo>
                  <a:lnTo>
                    <a:pt x="458" y="955"/>
                  </a:lnTo>
                  <a:close/>
                  <a:moveTo>
                    <a:pt x="460" y="957"/>
                  </a:moveTo>
                  <a:lnTo>
                    <a:pt x="458" y="957"/>
                  </a:lnTo>
                  <a:lnTo>
                    <a:pt x="458" y="955"/>
                  </a:lnTo>
                  <a:lnTo>
                    <a:pt x="460" y="957"/>
                  </a:lnTo>
                  <a:lnTo>
                    <a:pt x="458" y="957"/>
                  </a:lnTo>
                  <a:lnTo>
                    <a:pt x="460" y="957"/>
                  </a:lnTo>
                  <a:close/>
                  <a:moveTo>
                    <a:pt x="460" y="955"/>
                  </a:moveTo>
                  <a:lnTo>
                    <a:pt x="460" y="957"/>
                  </a:lnTo>
                  <a:lnTo>
                    <a:pt x="460" y="955"/>
                  </a:lnTo>
                  <a:lnTo>
                    <a:pt x="460" y="957"/>
                  </a:lnTo>
                  <a:lnTo>
                    <a:pt x="460" y="955"/>
                  </a:lnTo>
                  <a:close/>
                  <a:moveTo>
                    <a:pt x="1293" y="955"/>
                  </a:moveTo>
                  <a:lnTo>
                    <a:pt x="1291" y="955"/>
                  </a:lnTo>
                  <a:lnTo>
                    <a:pt x="1291" y="957"/>
                  </a:lnTo>
                  <a:lnTo>
                    <a:pt x="1288" y="957"/>
                  </a:lnTo>
                  <a:lnTo>
                    <a:pt x="1291" y="955"/>
                  </a:lnTo>
                  <a:lnTo>
                    <a:pt x="1293" y="955"/>
                  </a:lnTo>
                  <a:close/>
                  <a:moveTo>
                    <a:pt x="1355" y="955"/>
                  </a:moveTo>
                  <a:lnTo>
                    <a:pt x="1353" y="955"/>
                  </a:lnTo>
                  <a:lnTo>
                    <a:pt x="1355" y="955"/>
                  </a:lnTo>
                  <a:close/>
                  <a:moveTo>
                    <a:pt x="1077" y="955"/>
                  </a:moveTo>
                  <a:lnTo>
                    <a:pt x="1077" y="957"/>
                  </a:lnTo>
                  <a:lnTo>
                    <a:pt x="1077" y="955"/>
                  </a:lnTo>
                  <a:lnTo>
                    <a:pt x="1075" y="955"/>
                  </a:lnTo>
                  <a:lnTo>
                    <a:pt x="1077" y="955"/>
                  </a:lnTo>
                  <a:close/>
                  <a:moveTo>
                    <a:pt x="449" y="955"/>
                  </a:moveTo>
                  <a:lnTo>
                    <a:pt x="446" y="955"/>
                  </a:lnTo>
                  <a:lnTo>
                    <a:pt x="446" y="953"/>
                  </a:lnTo>
                  <a:lnTo>
                    <a:pt x="446" y="955"/>
                  </a:lnTo>
                  <a:lnTo>
                    <a:pt x="449" y="955"/>
                  </a:lnTo>
                  <a:close/>
                  <a:moveTo>
                    <a:pt x="449" y="955"/>
                  </a:moveTo>
                  <a:lnTo>
                    <a:pt x="449" y="953"/>
                  </a:lnTo>
                  <a:lnTo>
                    <a:pt x="449" y="955"/>
                  </a:lnTo>
                  <a:close/>
                  <a:moveTo>
                    <a:pt x="1312" y="955"/>
                  </a:moveTo>
                  <a:lnTo>
                    <a:pt x="1310" y="955"/>
                  </a:lnTo>
                  <a:lnTo>
                    <a:pt x="1310" y="953"/>
                  </a:lnTo>
                  <a:lnTo>
                    <a:pt x="1312" y="953"/>
                  </a:lnTo>
                  <a:lnTo>
                    <a:pt x="1312" y="955"/>
                  </a:lnTo>
                  <a:close/>
                  <a:moveTo>
                    <a:pt x="446" y="953"/>
                  </a:moveTo>
                  <a:lnTo>
                    <a:pt x="444" y="953"/>
                  </a:lnTo>
                  <a:lnTo>
                    <a:pt x="446" y="953"/>
                  </a:lnTo>
                  <a:close/>
                  <a:moveTo>
                    <a:pt x="446" y="953"/>
                  </a:moveTo>
                  <a:lnTo>
                    <a:pt x="444" y="953"/>
                  </a:lnTo>
                  <a:lnTo>
                    <a:pt x="446" y="953"/>
                  </a:lnTo>
                  <a:close/>
                  <a:moveTo>
                    <a:pt x="1364" y="953"/>
                  </a:moveTo>
                  <a:lnTo>
                    <a:pt x="1362" y="953"/>
                  </a:lnTo>
                  <a:lnTo>
                    <a:pt x="1364" y="953"/>
                  </a:lnTo>
                  <a:close/>
                  <a:moveTo>
                    <a:pt x="1075" y="953"/>
                  </a:moveTo>
                  <a:lnTo>
                    <a:pt x="1075" y="955"/>
                  </a:lnTo>
                  <a:lnTo>
                    <a:pt x="1073" y="953"/>
                  </a:lnTo>
                  <a:lnTo>
                    <a:pt x="1075" y="950"/>
                  </a:lnTo>
                  <a:lnTo>
                    <a:pt x="1075" y="953"/>
                  </a:lnTo>
                  <a:close/>
                  <a:moveTo>
                    <a:pt x="434" y="950"/>
                  </a:moveTo>
                  <a:lnTo>
                    <a:pt x="437" y="950"/>
                  </a:lnTo>
                  <a:lnTo>
                    <a:pt x="434" y="950"/>
                  </a:lnTo>
                  <a:lnTo>
                    <a:pt x="432" y="950"/>
                  </a:lnTo>
                  <a:lnTo>
                    <a:pt x="434" y="950"/>
                  </a:lnTo>
                  <a:close/>
                  <a:moveTo>
                    <a:pt x="1303" y="948"/>
                  </a:moveTo>
                  <a:lnTo>
                    <a:pt x="1300" y="948"/>
                  </a:lnTo>
                  <a:lnTo>
                    <a:pt x="1303" y="948"/>
                  </a:lnTo>
                  <a:close/>
                  <a:moveTo>
                    <a:pt x="1075" y="948"/>
                  </a:moveTo>
                  <a:lnTo>
                    <a:pt x="1075" y="946"/>
                  </a:lnTo>
                  <a:lnTo>
                    <a:pt x="1075" y="948"/>
                  </a:lnTo>
                  <a:close/>
                  <a:moveTo>
                    <a:pt x="439" y="946"/>
                  </a:moveTo>
                  <a:lnTo>
                    <a:pt x="441" y="946"/>
                  </a:lnTo>
                  <a:lnTo>
                    <a:pt x="444" y="946"/>
                  </a:lnTo>
                  <a:lnTo>
                    <a:pt x="444" y="948"/>
                  </a:lnTo>
                  <a:lnTo>
                    <a:pt x="446" y="948"/>
                  </a:lnTo>
                  <a:lnTo>
                    <a:pt x="446" y="950"/>
                  </a:lnTo>
                  <a:lnTo>
                    <a:pt x="449" y="950"/>
                  </a:lnTo>
                  <a:lnTo>
                    <a:pt x="451" y="950"/>
                  </a:lnTo>
                  <a:lnTo>
                    <a:pt x="449" y="950"/>
                  </a:lnTo>
                  <a:lnTo>
                    <a:pt x="446" y="950"/>
                  </a:lnTo>
                  <a:lnTo>
                    <a:pt x="444" y="950"/>
                  </a:lnTo>
                  <a:lnTo>
                    <a:pt x="441" y="950"/>
                  </a:lnTo>
                  <a:lnTo>
                    <a:pt x="441" y="948"/>
                  </a:lnTo>
                  <a:lnTo>
                    <a:pt x="439" y="948"/>
                  </a:lnTo>
                  <a:lnTo>
                    <a:pt x="441" y="948"/>
                  </a:lnTo>
                  <a:lnTo>
                    <a:pt x="439" y="948"/>
                  </a:lnTo>
                  <a:lnTo>
                    <a:pt x="437" y="948"/>
                  </a:lnTo>
                  <a:lnTo>
                    <a:pt x="434" y="948"/>
                  </a:lnTo>
                  <a:lnTo>
                    <a:pt x="437" y="948"/>
                  </a:lnTo>
                  <a:lnTo>
                    <a:pt x="439" y="948"/>
                  </a:lnTo>
                  <a:lnTo>
                    <a:pt x="441" y="948"/>
                  </a:lnTo>
                  <a:lnTo>
                    <a:pt x="439" y="948"/>
                  </a:lnTo>
                  <a:lnTo>
                    <a:pt x="439" y="946"/>
                  </a:lnTo>
                  <a:lnTo>
                    <a:pt x="441" y="946"/>
                  </a:lnTo>
                  <a:lnTo>
                    <a:pt x="439" y="946"/>
                  </a:lnTo>
                  <a:lnTo>
                    <a:pt x="441" y="946"/>
                  </a:lnTo>
                  <a:lnTo>
                    <a:pt x="439" y="946"/>
                  </a:lnTo>
                  <a:lnTo>
                    <a:pt x="441" y="946"/>
                  </a:lnTo>
                  <a:lnTo>
                    <a:pt x="439" y="946"/>
                  </a:lnTo>
                  <a:lnTo>
                    <a:pt x="441" y="946"/>
                  </a:lnTo>
                  <a:lnTo>
                    <a:pt x="439" y="946"/>
                  </a:lnTo>
                  <a:close/>
                  <a:moveTo>
                    <a:pt x="439" y="946"/>
                  </a:moveTo>
                  <a:lnTo>
                    <a:pt x="437" y="946"/>
                  </a:lnTo>
                  <a:lnTo>
                    <a:pt x="439" y="943"/>
                  </a:lnTo>
                  <a:lnTo>
                    <a:pt x="439" y="946"/>
                  </a:lnTo>
                  <a:close/>
                  <a:moveTo>
                    <a:pt x="482" y="943"/>
                  </a:moveTo>
                  <a:lnTo>
                    <a:pt x="482" y="946"/>
                  </a:lnTo>
                  <a:lnTo>
                    <a:pt x="482" y="943"/>
                  </a:lnTo>
                  <a:close/>
                  <a:moveTo>
                    <a:pt x="812" y="943"/>
                  </a:moveTo>
                  <a:lnTo>
                    <a:pt x="814" y="943"/>
                  </a:lnTo>
                  <a:lnTo>
                    <a:pt x="812" y="943"/>
                  </a:lnTo>
                  <a:close/>
                  <a:moveTo>
                    <a:pt x="432" y="941"/>
                  </a:moveTo>
                  <a:lnTo>
                    <a:pt x="430" y="941"/>
                  </a:lnTo>
                  <a:lnTo>
                    <a:pt x="432" y="941"/>
                  </a:lnTo>
                  <a:close/>
                  <a:moveTo>
                    <a:pt x="453" y="941"/>
                  </a:moveTo>
                  <a:lnTo>
                    <a:pt x="453" y="938"/>
                  </a:lnTo>
                  <a:lnTo>
                    <a:pt x="453" y="941"/>
                  </a:lnTo>
                  <a:close/>
                  <a:moveTo>
                    <a:pt x="876" y="938"/>
                  </a:moveTo>
                  <a:lnTo>
                    <a:pt x="873" y="938"/>
                  </a:lnTo>
                  <a:lnTo>
                    <a:pt x="873" y="936"/>
                  </a:lnTo>
                  <a:lnTo>
                    <a:pt x="876" y="936"/>
                  </a:lnTo>
                  <a:lnTo>
                    <a:pt x="876" y="938"/>
                  </a:lnTo>
                  <a:close/>
                  <a:moveTo>
                    <a:pt x="752" y="943"/>
                  </a:moveTo>
                  <a:lnTo>
                    <a:pt x="750" y="943"/>
                  </a:lnTo>
                  <a:lnTo>
                    <a:pt x="750" y="941"/>
                  </a:lnTo>
                  <a:lnTo>
                    <a:pt x="747" y="941"/>
                  </a:lnTo>
                  <a:lnTo>
                    <a:pt x="745" y="941"/>
                  </a:lnTo>
                  <a:lnTo>
                    <a:pt x="743" y="938"/>
                  </a:lnTo>
                  <a:lnTo>
                    <a:pt x="743" y="936"/>
                  </a:lnTo>
                  <a:lnTo>
                    <a:pt x="745" y="936"/>
                  </a:lnTo>
                  <a:lnTo>
                    <a:pt x="747" y="936"/>
                  </a:lnTo>
                  <a:lnTo>
                    <a:pt x="750" y="936"/>
                  </a:lnTo>
                  <a:lnTo>
                    <a:pt x="750" y="938"/>
                  </a:lnTo>
                  <a:lnTo>
                    <a:pt x="752" y="941"/>
                  </a:lnTo>
                  <a:lnTo>
                    <a:pt x="752" y="943"/>
                  </a:lnTo>
                  <a:close/>
                  <a:moveTo>
                    <a:pt x="1073" y="936"/>
                  </a:moveTo>
                  <a:lnTo>
                    <a:pt x="1070" y="936"/>
                  </a:lnTo>
                  <a:lnTo>
                    <a:pt x="1073" y="936"/>
                  </a:lnTo>
                  <a:close/>
                  <a:moveTo>
                    <a:pt x="456" y="936"/>
                  </a:moveTo>
                  <a:lnTo>
                    <a:pt x="453" y="936"/>
                  </a:lnTo>
                  <a:lnTo>
                    <a:pt x="456" y="936"/>
                  </a:lnTo>
                  <a:close/>
                  <a:moveTo>
                    <a:pt x="422" y="934"/>
                  </a:moveTo>
                  <a:lnTo>
                    <a:pt x="422" y="936"/>
                  </a:lnTo>
                  <a:lnTo>
                    <a:pt x="422" y="934"/>
                  </a:lnTo>
                  <a:close/>
                  <a:moveTo>
                    <a:pt x="1070" y="934"/>
                  </a:moveTo>
                  <a:lnTo>
                    <a:pt x="1070" y="936"/>
                  </a:lnTo>
                  <a:lnTo>
                    <a:pt x="1070" y="934"/>
                  </a:lnTo>
                  <a:lnTo>
                    <a:pt x="1070" y="936"/>
                  </a:lnTo>
                  <a:lnTo>
                    <a:pt x="1070" y="934"/>
                  </a:lnTo>
                  <a:close/>
                  <a:moveTo>
                    <a:pt x="1070" y="934"/>
                  </a:moveTo>
                  <a:lnTo>
                    <a:pt x="1070" y="936"/>
                  </a:lnTo>
                  <a:lnTo>
                    <a:pt x="1070" y="934"/>
                  </a:lnTo>
                  <a:close/>
                  <a:moveTo>
                    <a:pt x="812" y="931"/>
                  </a:moveTo>
                  <a:lnTo>
                    <a:pt x="812" y="934"/>
                  </a:lnTo>
                  <a:lnTo>
                    <a:pt x="812" y="931"/>
                  </a:lnTo>
                  <a:close/>
                  <a:moveTo>
                    <a:pt x="1070" y="929"/>
                  </a:moveTo>
                  <a:lnTo>
                    <a:pt x="1070" y="931"/>
                  </a:lnTo>
                  <a:lnTo>
                    <a:pt x="1070" y="929"/>
                  </a:lnTo>
                  <a:lnTo>
                    <a:pt x="1070" y="931"/>
                  </a:lnTo>
                  <a:lnTo>
                    <a:pt x="1070" y="929"/>
                  </a:lnTo>
                  <a:close/>
                  <a:moveTo>
                    <a:pt x="809" y="927"/>
                  </a:moveTo>
                  <a:lnTo>
                    <a:pt x="812" y="929"/>
                  </a:lnTo>
                  <a:lnTo>
                    <a:pt x="812" y="927"/>
                  </a:lnTo>
                  <a:lnTo>
                    <a:pt x="812" y="929"/>
                  </a:lnTo>
                  <a:lnTo>
                    <a:pt x="809" y="929"/>
                  </a:lnTo>
                  <a:lnTo>
                    <a:pt x="812" y="929"/>
                  </a:lnTo>
                  <a:lnTo>
                    <a:pt x="809" y="927"/>
                  </a:lnTo>
                  <a:lnTo>
                    <a:pt x="809" y="929"/>
                  </a:lnTo>
                  <a:lnTo>
                    <a:pt x="809" y="927"/>
                  </a:lnTo>
                  <a:lnTo>
                    <a:pt x="812" y="927"/>
                  </a:lnTo>
                  <a:lnTo>
                    <a:pt x="809" y="927"/>
                  </a:lnTo>
                  <a:close/>
                  <a:moveTo>
                    <a:pt x="422" y="924"/>
                  </a:moveTo>
                  <a:lnTo>
                    <a:pt x="422" y="927"/>
                  </a:lnTo>
                  <a:lnTo>
                    <a:pt x="422" y="924"/>
                  </a:lnTo>
                  <a:close/>
                  <a:moveTo>
                    <a:pt x="422" y="924"/>
                  </a:moveTo>
                  <a:lnTo>
                    <a:pt x="420" y="924"/>
                  </a:lnTo>
                  <a:lnTo>
                    <a:pt x="422" y="924"/>
                  </a:lnTo>
                  <a:lnTo>
                    <a:pt x="420" y="924"/>
                  </a:lnTo>
                  <a:lnTo>
                    <a:pt x="422" y="924"/>
                  </a:lnTo>
                  <a:close/>
                  <a:moveTo>
                    <a:pt x="1073" y="924"/>
                  </a:moveTo>
                  <a:lnTo>
                    <a:pt x="1070" y="924"/>
                  </a:lnTo>
                  <a:lnTo>
                    <a:pt x="1073" y="922"/>
                  </a:lnTo>
                  <a:lnTo>
                    <a:pt x="1073" y="924"/>
                  </a:lnTo>
                  <a:close/>
                  <a:moveTo>
                    <a:pt x="707" y="922"/>
                  </a:moveTo>
                  <a:lnTo>
                    <a:pt x="710" y="922"/>
                  </a:lnTo>
                  <a:lnTo>
                    <a:pt x="707" y="922"/>
                  </a:lnTo>
                  <a:close/>
                  <a:moveTo>
                    <a:pt x="418" y="922"/>
                  </a:moveTo>
                  <a:lnTo>
                    <a:pt x="418" y="924"/>
                  </a:lnTo>
                  <a:lnTo>
                    <a:pt x="418" y="922"/>
                  </a:lnTo>
                  <a:close/>
                  <a:moveTo>
                    <a:pt x="418" y="919"/>
                  </a:moveTo>
                  <a:lnTo>
                    <a:pt x="418" y="922"/>
                  </a:lnTo>
                  <a:lnTo>
                    <a:pt x="418" y="919"/>
                  </a:lnTo>
                  <a:lnTo>
                    <a:pt x="420" y="922"/>
                  </a:lnTo>
                  <a:lnTo>
                    <a:pt x="418" y="922"/>
                  </a:lnTo>
                  <a:lnTo>
                    <a:pt x="418" y="919"/>
                  </a:lnTo>
                  <a:close/>
                  <a:moveTo>
                    <a:pt x="1075" y="919"/>
                  </a:moveTo>
                  <a:lnTo>
                    <a:pt x="1077" y="919"/>
                  </a:lnTo>
                  <a:lnTo>
                    <a:pt x="1077" y="922"/>
                  </a:lnTo>
                  <a:lnTo>
                    <a:pt x="1075" y="919"/>
                  </a:lnTo>
                  <a:close/>
                  <a:moveTo>
                    <a:pt x="1073" y="919"/>
                  </a:moveTo>
                  <a:lnTo>
                    <a:pt x="1073" y="922"/>
                  </a:lnTo>
                  <a:lnTo>
                    <a:pt x="1075" y="922"/>
                  </a:lnTo>
                  <a:lnTo>
                    <a:pt x="1073" y="922"/>
                  </a:lnTo>
                  <a:lnTo>
                    <a:pt x="1073" y="919"/>
                  </a:lnTo>
                  <a:lnTo>
                    <a:pt x="1073" y="922"/>
                  </a:lnTo>
                  <a:lnTo>
                    <a:pt x="1073" y="919"/>
                  </a:lnTo>
                  <a:close/>
                  <a:moveTo>
                    <a:pt x="422" y="917"/>
                  </a:moveTo>
                  <a:lnTo>
                    <a:pt x="422" y="919"/>
                  </a:lnTo>
                  <a:lnTo>
                    <a:pt x="422" y="917"/>
                  </a:lnTo>
                  <a:lnTo>
                    <a:pt x="422" y="919"/>
                  </a:lnTo>
                  <a:lnTo>
                    <a:pt x="422" y="917"/>
                  </a:lnTo>
                  <a:lnTo>
                    <a:pt x="422" y="919"/>
                  </a:lnTo>
                  <a:lnTo>
                    <a:pt x="422" y="917"/>
                  </a:lnTo>
                  <a:close/>
                  <a:moveTo>
                    <a:pt x="418" y="917"/>
                  </a:moveTo>
                  <a:lnTo>
                    <a:pt x="415" y="917"/>
                  </a:lnTo>
                  <a:lnTo>
                    <a:pt x="418" y="917"/>
                  </a:lnTo>
                  <a:close/>
                  <a:moveTo>
                    <a:pt x="411" y="917"/>
                  </a:moveTo>
                  <a:lnTo>
                    <a:pt x="413" y="917"/>
                  </a:lnTo>
                  <a:lnTo>
                    <a:pt x="413" y="919"/>
                  </a:lnTo>
                  <a:lnTo>
                    <a:pt x="411" y="919"/>
                  </a:lnTo>
                  <a:lnTo>
                    <a:pt x="411" y="917"/>
                  </a:lnTo>
                  <a:close/>
                  <a:moveTo>
                    <a:pt x="411" y="917"/>
                  </a:moveTo>
                  <a:lnTo>
                    <a:pt x="408" y="917"/>
                  </a:lnTo>
                  <a:lnTo>
                    <a:pt x="411" y="917"/>
                  </a:lnTo>
                  <a:close/>
                  <a:moveTo>
                    <a:pt x="1068" y="915"/>
                  </a:moveTo>
                  <a:lnTo>
                    <a:pt x="1068" y="912"/>
                  </a:lnTo>
                  <a:lnTo>
                    <a:pt x="1068" y="915"/>
                  </a:lnTo>
                  <a:close/>
                  <a:moveTo>
                    <a:pt x="1065" y="912"/>
                  </a:moveTo>
                  <a:lnTo>
                    <a:pt x="1068" y="912"/>
                  </a:lnTo>
                  <a:lnTo>
                    <a:pt x="1065" y="915"/>
                  </a:lnTo>
                  <a:lnTo>
                    <a:pt x="1065" y="912"/>
                  </a:lnTo>
                  <a:close/>
                  <a:moveTo>
                    <a:pt x="1065" y="912"/>
                  </a:moveTo>
                  <a:lnTo>
                    <a:pt x="1065" y="910"/>
                  </a:lnTo>
                  <a:lnTo>
                    <a:pt x="1068" y="912"/>
                  </a:lnTo>
                  <a:lnTo>
                    <a:pt x="1065" y="912"/>
                  </a:lnTo>
                  <a:lnTo>
                    <a:pt x="1065" y="910"/>
                  </a:lnTo>
                  <a:lnTo>
                    <a:pt x="1065" y="912"/>
                  </a:lnTo>
                  <a:close/>
                  <a:moveTo>
                    <a:pt x="1068" y="910"/>
                  </a:moveTo>
                  <a:lnTo>
                    <a:pt x="1068" y="912"/>
                  </a:lnTo>
                  <a:lnTo>
                    <a:pt x="1068" y="910"/>
                  </a:lnTo>
                  <a:lnTo>
                    <a:pt x="1065" y="910"/>
                  </a:lnTo>
                  <a:lnTo>
                    <a:pt x="1068" y="910"/>
                  </a:lnTo>
                  <a:close/>
                  <a:moveTo>
                    <a:pt x="1065" y="910"/>
                  </a:moveTo>
                  <a:lnTo>
                    <a:pt x="1065" y="912"/>
                  </a:lnTo>
                  <a:lnTo>
                    <a:pt x="1065" y="910"/>
                  </a:lnTo>
                  <a:close/>
                  <a:moveTo>
                    <a:pt x="1063" y="908"/>
                  </a:moveTo>
                  <a:lnTo>
                    <a:pt x="1063" y="910"/>
                  </a:lnTo>
                  <a:lnTo>
                    <a:pt x="1063" y="908"/>
                  </a:lnTo>
                  <a:lnTo>
                    <a:pt x="1063" y="910"/>
                  </a:lnTo>
                  <a:lnTo>
                    <a:pt x="1065" y="910"/>
                  </a:lnTo>
                  <a:lnTo>
                    <a:pt x="1063" y="912"/>
                  </a:lnTo>
                  <a:lnTo>
                    <a:pt x="1065" y="912"/>
                  </a:lnTo>
                  <a:lnTo>
                    <a:pt x="1063" y="912"/>
                  </a:lnTo>
                  <a:lnTo>
                    <a:pt x="1063" y="910"/>
                  </a:lnTo>
                  <a:lnTo>
                    <a:pt x="1061" y="910"/>
                  </a:lnTo>
                  <a:lnTo>
                    <a:pt x="1063" y="910"/>
                  </a:lnTo>
                  <a:lnTo>
                    <a:pt x="1061" y="910"/>
                  </a:lnTo>
                  <a:lnTo>
                    <a:pt x="1063" y="910"/>
                  </a:lnTo>
                  <a:lnTo>
                    <a:pt x="1061" y="910"/>
                  </a:lnTo>
                  <a:lnTo>
                    <a:pt x="1063" y="908"/>
                  </a:lnTo>
                  <a:close/>
                  <a:moveTo>
                    <a:pt x="1063" y="908"/>
                  </a:moveTo>
                  <a:lnTo>
                    <a:pt x="1061" y="908"/>
                  </a:lnTo>
                  <a:lnTo>
                    <a:pt x="1061" y="905"/>
                  </a:lnTo>
                  <a:lnTo>
                    <a:pt x="1063" y="905"/>
                  </a:lnTo>
                  <a:lnTo>
                    <a:pt x="1063" y="908"/>
                  </a:lnTo>
                  <a:close/>
                  <a:moveTo>
                    <a:pt x="1065" y="903"/>
                  </a:moveTo>
                  <a:lnTo>
                    <a:pt x="1063" y="905"/>
                  </a:lnTo>
                  <a:lnTo>
                    <a:pt x="1063" y="903"/>
                  </a:lnTo>
                  <a:lnTo>
                    <a:pt x="1063" y="905"/>
                  </a:lnTo>
                  <a:lnTo>
                    <a:pt x="1063" y="903"/>
                  </a:lnTo>
                  <a:lnTo>
                    <a:pt x="1065" y="903"/>
                  </a:lnTo>
                  <a:close/>
                  <a:moveTo>
                    <a:pt x="1065" y="900"/>
                  </a:moveTo>
                  <a:lnTo>
                    <a:pt x="1063" y="903"/>
                  </a:lnTo>
                  <a:lnTo>
                    <a:pt x="1063" y="900"/>
                  </a:lnTo>
                  <a:lnTo>
                    <a:pt x="1065" y="900"/>
                  </a:lnTo>
                  <a:close/>
                  <a:moveTo>
                    <a:pt x="1068" y="898"/>
                  </a:moveTo>
                  <a:lnTo>
                    <a:pt x="1068" y="900"/>
                  </a:lnTo>
                  <a:lnTo>
                    <a:pt x="1068" y="898"/>
                  </a:lnTo>
                  <a:close/>
                  <a:moveTo>
                    <a:pt x="1056" y="893"/>
                  </a:moveTo>
                  <a:lnTo>
                    <a:pt x="1056" y="896"/>
                  </a:lnTo>
                  <a:lnTo>
                    <a:pt x="1056" y="893"/>
                  </a:lnTo>
                  <a:close/>
                  <a:moveTo>
                    <a:pt x="1063" y="893"/>
                  </a:moveTo>
                  <a:lnTo>
                    <a:pt x="1065" y="893"/>
                  </a:lnTo>
                  <a:lnTo>
                    <a:pt x="1063" y="893"/>
                  </a:lnTo>
                  <a:lnTo>
                    <a:pt x="1063" y="896"/>
                  </a:lnTo>
                  <a:lnTo>
                    <a:pt x="1063" y="893"/>
                  </a:lnTo>
                  <a:close/>
                  <a:moveTo>
                    <a:pt x="1061" y="891"/>
                  </a:moveTo>
                  <a:lnTo>
                    <a:pt x="1061" y="889"/>
                  </a:lnTo>
                  <a:lnTo>
                    <a:pt x="1061" y="891"/>
                  </a:lnTo>
                  <a:close/>
                  <a:moveTo>
                    <a:pt x="1068" y="886"/>
                  </a:moveTo>
                  <a:lnTo>
                    <a:pt x="1068" y="889"/>
                  </a:lnTo>
                  <a:lnTo>
                    <a:pt x="1065" y="889"/>
                  </a:lnTo>
                  <a:lnTo>
                    <a:pt x="1065" y="886"/>
                  </a:lnTo>
                  <a:lnTo>
                    <a:pt x="1068" y="886"/>
                  </a:lnTo>
                  <a:close/>
                  <a:moveTo>
                    <a:pt x="1073" y="886"/>
                  </a:moveTo>
                  <a:lnTo>
                    <a:pt x="1070" y="886"/>
                  </a:lnTo>
                  <a:lnTo>
                    <a:pt x="1073" y="886"/>
                  </a:lnTo>
                  <a:lnTo>
                    <a:pt x="1070" y="886"/>
                  </a:lnTo>
                  <a:lnTo>
                    <a:pt x="1073" y="886"/>
                  </a:lnTo>
                  <a:lnTo>
                    <a:pt x="1075" y="884"/>
                  </a:lnTo>
                  <a:lnTo>
                    <a:pt x="1073" y="886"/>
                  </a:lnTo>
                  <a:close/>
                  <a:moveTo>
                    <a:pt x="1094" y="884"/>
                  </a:moveTo>
                  <a:lnTo>
                    <a:pt x="1092" y="884"/>
                  </a:lnTo>
                  <a:lnTo>
                    <a:pt x="1094" y="884"/>
                  </a:lnTo>
                  <a:close/>
                  <a:moveTo>
                    <a:pt x="1084" y="884"/>
                  </a:moveTo>
                  <a:lnTo>
                    <a:pt x="1082" y="886"/>
                  </a:lnTo>
                  <a:lnTo>
                    <a:pt x="1082" y="884"/>
                  </a:lnTo>
                  <a:lnTo>
                    <a:pt x="1084" y="884"/>
                  </a:lnTo>
                  <a:close/>
                  <a:moveTo>
                    <a:pt x="1080" y="886"/>
                  </a:moveTo>
                  <a:lnTo>
                    <a:pt x="1082" y="886"/>
                  </a:lnTo>
                  <a:lnTo>
                    <a:pt x="1080" y="886"/>
                  </a:lnTo>
                  <a:lnTo>
                    <a:pt x="1077" y="886"/>
                  </a:lnTo>
                  <a:lnTo>
                    <a:pt x="1080" y="886"/>
                  </a:lnTo>
                  <a:lnTo>
                    <a:pt x="1077" y="889"/>
                  </a:lnTo>
                  <a:lnTo>
                    <a:pt x="1077" y="886"/>
                  </a:lnTo>
                  <a:lnTo>
                    <a:pt x="1077" y="889"/>
                  </a:lnTo>
                  <a:lnTo>
                    <a:pt x="1077" y="886"/>
                  </a:lnTo>
                  <a:lnTo>
                    <a:pt x="1075" y="886"/>
                  </a:lnTo>
                  <a:lnTo>
                    <a:pt x="1075" y="889"/>
                  </a:lnTo>
                  <a:lnTo>
                    <a:pt x="1073" y="891"/>
                  </a:lnTo>
                  <a:lnTo>
                    <a:pt x="1070" y="891"/>
                  </a:lnTo>
                  <a:lnTo>
                    <a:pt x="1070" y="889"/>
                  </a:lnTo>
                  <a:lnTo>
                    <a:pt x="1068" y="889"/>
                  </a:lnTo>
                  <a:lnTo>
                    <a:pt x="1065" y="889"/>
                  </a:lnTo>
                  <a:lnTo>
                    <a:pt x="1068" y="889"/>
                  </a:lnTo>
                  <a:lnTo>
                    <a:pt x="1070" y="886"/>
                  </a:lnTo>
                  <a:lnTo>
                    <a:pt x="1073" y="886"/>
                  </a:lnTo>
                  <a:lnTo>
                    <a:pt x="1075" y="886"/>
                  </a:lnTo>
                  <a:lnTo>
                    <a:pt x="1075" y="884"/>
                  </a:lnTo>
                  <a:lnTo>
                    <a:pt x="1077" y="884"/>
                  </a:lnTo>
                  <a:lnTo>
                    <a:pt x="1080" y="886"/>
                  </a:lnTo>
                  <a:close/>
                  <a:moveTo>
                    <a:pt x="1080" y="886"/>
                  </a:moveTo>
                  <a:lnTo>
                    <a:pt x="1077" y="884"/>
                  </a:lnTo>
                  <a:lnTo>
                    <a:pt x="1080" y="884"/>
                  </a:lnTo>
                  <a:lnTo>
                    <a:pt x="1080" y="886"/>
                  </a:lnTo>
                  <a:lnTo>
                    <a:pt x="1080" y="884"/>
                  </a:lnTo>
                  <a:lnTo>
                    <a:pt x="1080" y="886"/>
                  </a:lnTo>
                  <a:close/>
                  <a:moveTo>
                    <a:pt x="1096" y="884"/>
                  </a:moveTo>
                  <a:lnTo>
                    <a:pt x="1094" y="884"/>
                  </a:lnTo>
                  <a:lnTo>
                    <a:pt x="1096" y="884"/>
                  </a:lnTo>
                  <a:close/>
                  <a:moveTo>
                    <a:pt x="1096" y="884"/>
                  </a:moveTo>
                  <a:lnTo>
                    <a:pt x="1096" y="881"/>
                  </a:lnTo>
                  <a:lnTo>
                    <a:pt x="1096" y="884"/>
                  </a:lnTo>
                  <a:close/>
                  <a:moveTo>
                    <a:pt x="1096" y="881"/>
                  </a:moveTo>
                  <a:lnTo>
                    <a:pt x="1096" y="884"/>
                  </a:lnTo>
                  <a:lnTo>
                    <a:pt x="1094" y="884"/>
                  </a:lnTo>
                  <a:lnTo>
                    <a:pt x="1094" y="881"/>
                  </a:lnTo>
                  <a:lnTo>
                    <a:pt x="1096" y="881"/>
                  </a:lnTo>
                  <a:close/>
                  <a:moveTo>
                    <a:pt x="1084" y="879"/>
                  </a:moveTo>
                  <a:lnTo>
                    <a:pt x="1084" y="881"/>
                  </a:lnTo>
                  <a:lnTo>
                    <a:pt x="1082" y="881"/>
                  </a:lnTo>
                  <a:lnTo>
                    <a:pt x="1082" y="879"/>
                  </a:lnTo>
                  <a:lnTo>
                    <a:pt x="1084" y="879"/>
                  </a:lnTo>
                  <a:close/>
                  <a:moveTo>
                    <a:pt x="1087" y="879"/>
                  </a:moveTo>
                  <a:lnTo>
                    <a:pt x="1084" y="879"/>
                  </a:lnTo>
                  <a:lnTo>
                    <a:pt x="1087" y="879"/>
                  </a:lnTo>
                  <a:close/>
                  <a:moveTo>
                    <a:pt x="1094" y="877"/>
                  </a:moveTo>
                  <a:lnTo>
                    <a:pt x="1092" y="877"/>
                  </a:lnTo>
                  <a:lnTo>
                    <a:pt x="1092" y="879"/>
                  </a:lnTo>
                  <a:lnTo>
                    <a:pt x="1092" y="877"/>
                  </a:lnTo>
                  <a:lnTo>
                    <a:pt x="1089" y="877"/>
                  </a:lnTo>
                  <a:lnTo>
                    <a:pt x="1092" y="877"/>
                  </a:lnTo>
                  <a:lnTo>
                    <a:pt x="1094" y="877"/>
                  </a:lnTo>
                  <a:close/>
                  <a:moveTo>
                    <a:pt x="1101" y="877"/>
                  </a:moveTo>
                  <a:lnTo>
                    <a:pt x="1099" y="877"/>
                  </a:lnTo>
                  <a:lnTo>
                    <a:pt x="1101" y="877"/>
                  </a:lnTo>
                  <a:close/>
                  <a:moveTo>
                    <a:pt x="681" y="874"/>
                  </a:moveTo>
                  <a:lnTo>
                    <a:pt x="681" y="877"/>
                  </a:lnTo>
                  <a:lnTo>
                    <a:pt x="679" y="877"/>
                  </a:lnTo>
                  <a:lnTo>
                    <a:pt x="679" y="874"/>
                  </a:lnTo>
                  <a:lnTo>
                    <a:pt x="679" y="877"/>
                  </a:lnTo>
                  <a:lnTo>
                    <a:pt x="681" y="877"/>
                  </a:lnTo>
                  <a:lnTo>
                    <a:pt x="681" y="874"/>
                  </a:lnTo>
                  <a:lnTo>
                    <a:pt x="679" y="874"/>
                  </a:lnTo>
                  <a:lnTo>
                    <a:pt x="681" y="874"/>
                  </a:lnTo>
                  <a:close/>
                  <a:moveTo>
                    <a:pt x="1103" y="877"/>
                  </a:moveTo>
                  <a:lnTo>
                    <a:pt x="1101" y="877"/>
                  </a:lnTo>
                  <a:lnTo>
                    <a:pt x="1103" y="874"/>
                  </a:lnTo>
                  <a:lnTo>
                    <a:pt x="1103" y="877"/>
                  </a:lnTo>
                  <a:close/>
                  <a:moveTo>
                    <a:pt x="1115" y="874"/>
                  </a:moveTo>
                  <a:lnTo>
                    <a:pt x="1113" y="874"/>
                  </a:lnTo>
                  <a:lnTo>
                    <a:pt x="1110" y="874"/>
                  </a:lnTo>
                  <a:lnTo>
                    <a:pt x="1113" y="874"/>
                  </a:lnTo>
                  <a:lnTo>
                    <a:pt x="1115" y="874"/>
                  </a:lnTo>
                  <a:close/>
                  <a:moveTo>
                    <a:pt x="1103" y="874"/>
                  </a:moveTo>
                  <a:lnTo>
                    <a:pt x="1101" y="877"/>
                  </a:lnTo>
                  <a:lnTo>
                    <a:pt x="1101" y="874"/>
                  </a:lnTo>
                  <a:lnTo>
                    <a:pt x="1103" y="874"/>
                  </a:lnTo>
                  <a:lnTo>
                    <a:pt x="1103" y="872"/>
                  </a:lnTo>
                  <a:lnTo>
                    <a:pt x="1106" y="872"/>
                  </a:lnTo>
                  <a:lnTo>
                    <a:pt x="1103" y="874"/>
                  </a:lnTo>
                  <a:close/>
                  <a:moveTo>
                    <a:pt x="1118" y="872"/>
                  </a:moveTo>
                  <a:lnTo>
                    <a:pt x="1115" y="872"/>
                  </a:lnTo>
                  <a:lnTo>
                    <a:pt x="1118" y="870"/>
                  </a:lnTo>
                  <a:lnTo>
                    <a:pt x="1118" y="872"/>
                  </a:lnTo>
                  <a:close/>
                  <a:moveTo>
                    <a:pt x="1082" y="872"/>
                  </a:moveTo>
                  <a:lnTo>
                    <a:pt x="1082" y="870"/>
                  </a:lnTo>
                  <a:lnTo>
                    <a:pt x="1082" y="872"/>
                  </a:lnTo>
                  <a:close/>
                  <a:moveTo>
                    <a:pt x="1118" y="870"/>
                  </a:moveTo>
                  <a:lnTo>
                    <a:pt x="1115" y="870"/>
                  </a:lnTo>
                  <a:lnTo>
                    <a:pt x="1118" y="870"/>
                  </a:lnTo>
                  <a:close/>
                  <a:moveTo>
                    <a:pt x="1118" y="870"/>
                  </a:moveTo>
                  <a:lnTo>
                    <a:pt x="1115" y="872"/>
                  </a:lnTo>
                  <a:lnTo>
                    <a:pt x="1113" y="872"/>
                  </a:lnTo>
                  <a:lnTo>
                    <a:pt x="1115" y="872"/>
                  </a:lnTo>
                  <a:lnTo>
                    <a:pt x="1115" y="870"/>
                  </a:lnTo>
                  <a:lnTo>
                    <a:pt x="1115" y="872"/>
                  </a:lnTo>
                  <a:lnTo>
                    <a:pt x="1115" y="870"/>
                  </a:lnTo>
                  <a:lnTo>
                    <a:pt x="1118" y="870"/>
                  </a:lnTo>
                  <a:close/>
                  <a:moveTo>
                    <a:pt x="1118" y="870"/>
                  </a:moveTo>
                  <a:lnTo>
                    <a:pt x="1120" y="870"/>
                  </a:lnTo>
                  <a:lnTo>
                    <a:pt x="1118" y="870"/>
                  </a:lnTo>
                  <a:close/>
                  <a:moveTo>
                    <a:pt x="1122" y="867"/>
                  </a:moveTo>
                  <a:lnTo>
                    <a:pt x="1120" y="867"/>
                  </a:lnTo>
                  <a:lnTo>
                    <a:pt x="1122" y="867"/>
                  </a:lnTo>
                  <a:lnTo>
                    <a:pt x="1120" y="867"/>
                  </a:lnTo>
                  <a:lnTo>
                    <a:pt x="1118" y="867"/>
                  </a:lnTo>
                  <a:lnTo>
                    <a:pt x="1120" y="867"/>
                  </a:lnTo>
                  <a:lnTo>
                    <a:pt x="1122" y="867"/>
                  </a:lnTo>
                  <a:close/>
                  <a:moveTo>
                    <a:pt x="1125" y="867"/>
                  </a:moveTo>
                  <a:lnTo>
                    <a:pt x="1122" y="867"/>
                  </a:lnTo>
                  <a:lnTo>
                    <a:pt x="1125" y="865"/>
                  </a:lnTo>
                  <a:lnTo>
                    <a:pt x="1125" y="867"/>
                  </a:lnTo>
                  <a:close/>
                  <a:moveTo>
                    <a:pt x="1110" y="865"/>
                  </a:moveTo>
                  <a:lnTo>
                    <a:pt x="1108" y="865"/>
                  </a:lnTo>
                  <a:lnTo>
                    <a:pt x="1110" y="865"/>
                  </a:lnTo>
                  <a:close/>
                  <a:moveTo>
                    <a:pt x="1092" y="865"/>
                  </a:moveTo>
                  <a:lnTo>
                    <a:pt x="1092" y="867"/>
                  </a:lnTo>
                  <a:lnTo>
                    <a:pt x="1092" y="865"/>
                  </a:lnTo>
                  <a:close/>
                  <a:moveTo>
                    <a:pt x="650" y="862"/>
                  </a:moveTo>
                  <a:lnTo>
                    <a:pt x="650" y="865"/>
                  </a:lnTo>
                  <a:lnTo>
                    <a:pt x="650" y="862"/>
                  </a:lnTo>
                  <a:close/>
                  <a:moveTo>
                    <a:pt x="1092" y="865"/>
                  </a:moveTo>
                  <a:lnTo>
                    <a:pt x="1092" y="862"/>
                  </a:lnTo>
                  <a:lnTo>
                    <a:pt x="1092" y="865"/>
                  </a:lnTo>
                  <a:lnTo>
                    <a:pt x="1094" y="865"/>
                  </a:lnTo>
                  <a:lnTo>
                    <a:pt x="1092" y="865"/>
                  </a:lnTo>
                  <a:lnTo>
                    <a:pt x="1094" y="865"/>
                  </a:lnTo>
                  <a:lnTo>
                    <a:pt x="1092" y="865"/>
                  </a:lnTo>
                  <a:lnTo>
                    <a:pt x="1092" y="862"/>
                  </a:lnTo>
                  <a:lnTo>
                    <a:pt x="1092" y="865"/>
                  </a:lnTo>
                  <a:lnTo>
                    <a:pt x="1094" y="865"/>
                  </a:lnTo>
                  <a:lnTo>
                    <a:pt x="1096" y="865"/>
                  </a:lnTo>
                  <a:lnTo>
                    <a:pt x="1094" y="865"/>
                  </a:lnTo>
                  <a:lnTo>
                    <a:pt x="1094" y="867"/>
                  </a:lnTo>
                  <a:lnTo>
                    <a:pt x="1092" y="867"/>
                  </a:lnTo>
                  <a:lnTo>
                    <a:pt x="1092" y="865"/>
                  </a:lnTo>
                  <a:close/>
                  <a:moveTo>
                    <a:pt x="650" y="862"/>
                  </a:moveTo>
                  <a:lnTo>
                    <a:pt x="648" y="862"/>
                  </a:lnTo>
                  <a:lnTo>
                    <a:pt x="650" y="862"/>
                  </a:lnTo>
                  <a:close/>
                  <a:moveTo>
                    <a:pt x="887" y="860"/>
                  </a:moveTo>
                  <a:lnTo>
                    <a:pt x="887" y="862"/>
                  </a:lnTo>
                  <a:lnTo>
                    <a:pt x="885" y="862"/>
                  </a:lnTo>
                  <a:lnTo>
                    <a:pt x="885" y="860"/>
                  </a:lnTo>
                  <a:lnTo>
                    <a:pt x="887" y="860"/>
                  </a:lnTo>
                  <a:close/>
                  <a:moveTo>
                    <a:pt x="1110" y="860"/>
                  </a:moveTo>
                  <a:lnTo>
                    <a:pt x="1110" y="862"/>
                  </a:lnTo>
                  <a:lnTo>
                    <a:pt x="1113" y="860"/>
                  </a:lnTo>
                  <a:lnTo>
                    <a:pt x="1113" y="862"/>
                  </a:lnTo>
                  <a:lnTo>
                    <a:pt x="1110" y="862"/>
                  </a:lnTo>
                  <a:lnTo>
                    <a:pt x="1110" y="860"/>
                  </a:lnTo>
                  <a:lnTo>
                    <a:pt x="1113" y="860"/>
                  </a:lnTo>
                  <a:lnTo>
                    <a:pt x="1110" y="860"/>
                  </a:lnTo>
                  <a:close/>
                  <a:moveTo>
                    <a:pt x="650" y="860"/>
                  </a:moveTo>
                  <a:lnTo>
                    <a:pt x="648" y="860"/>
                  </a:lnTo>
                  <a:lnTo>
                    <a:pt x="650" y="860"/>
                  </a:lnTo>
                  <a:close/>
                  <a:moveTo>
                    <a:pt x="645" y="860"/>
                  </a:moveTo>
                  <a:lnTo>
                    <a:pt x="648" y="860"/>
                  </a:lnTo>
                  <a:lnTo>
                    <a:pt x="648" y="862"/>
                  </a:lnTo>
                  <a:lnTo>
                    <a:pt x="648" y="860"/>
                  </a:lnTo>
                  <a:lnTo>
                    <a:pt x="648" y="862"/>
                  </a:lnTo>
                  <a:lnTo>
                    <a:pt x="645" y="860"/>
                  </a:lnTo>
                  <a:close/>
                  <a:moveTo>
                    <a:pt x="645" y="860"/>
                  </a:moveTo>
                  <a:lnTo>
                    <a:pt x="643" y="860"/>
                  </a:lnTo>
                  <a:lnTo>
                    <a:pt x="645" y="860"/>
                  </a:lnTo>
                  <a:close/>
                  <a:moveTo>
                    <a:pt x="1113" y="860"/>
                  </a:moveTo>
                  <a:lnTo>
                    <a:pt x="1110" y="860"/>
                  </a:lnTo>
                  <a:lnTo>
                    <a:pt x="1113" y="860"/>
                  </a:lnTo>
                  <a:close/>
                  <a:moveTo>
                    <a:pt x="645" y="860"/>
                  </a:moveTo>
                  <a:lnTo>
                    <a:pt x="648" y="860"/>
                  </a:lnTo>
                  <a:lnTo>
                    <a:pt x="645" y="860"/>
                  </a:lnTo>
                  <a:close/>
                  <a:moveTo>
                    <a:pt x="1096" y="860"/>
                  </a:moveTo>
                  <a:lnTo>
                    <a:pt x="1094" y="860"/>
                  </a:lnTo>
                  <a:lnTo>
                    <a:pt x="1096" y="860"/>
                  </a:lnTo>
                  <a:lnTo>
                    <a:pt x="1094" y="860"/>
                  </a:lnTo>
                  <a:lnTo>
                    <a:pt x="1096" y="860"/>
                  </a:lnTo>
                  <a:close/>
                  <a:moveTo>
                    <a:pt x="1113" y="860"/>
                  </a:moveTo>
                  <a:lnTo>
                    <a:pt x="1113" y="858"/>
                  </a:lnTo>
                  <a:lnTo>
                    <a:pt x="1113" y="860"/>
                  </a:lnTo>
                  <a:close/>
                  <a:moveTo>
                    <a:pt x="883" y="855"/>
                  </a:moveTo>
                  <a:lnTo>
                    <a:pt x="883" y="858"/>
                  </a:lnTo>
                  <a:lnTo>
                    <a:pt x="883" y="855"/>
                  </a:lnTo>
                  <a:close/>
                  <a:moveTo>
                    <a:pt x="1099" y="855"/>
                  </a:moveTo>
                  <a:lnTo>
                    <a:pt x="1099" y="858"/>
                  </a:lnTo>
                  <a:lnTo>
                    <a:pt x="1099" y="855"/>
                  </a:lnTo>
                  <a:close/>
                  <a:moveTo>
                    <a:pt x="1099" y="853"/>
                  </a:moveTo>
                  <a:lnTo>
                    <a:pt x="1099" y="855"/>
                  </a:lnTo>
                  <a:lnTo>
                    <a:pt x="1099" y="853"/>
                  </a:lnTo>
                  <a:close/>
                  <a:moveTo>
                    <a:pt x="1132" y="855"/>
                  </a:moveTo>
                  <a:lnTo>
                    <a:pt x="1129" y="855"/>
                  </a:lnTo>
                  <a:lnTo>
                    <a:pt x="1132" y="855"/>
                  </a:lnTo>
                  <a:lnTo>
                    <a:pt x="1132" y="853"/>
                  </a:lnTo>
                  <a:lnTo>
                    <a:pt x="1132" y="855"/>
                  </a:lnTo>
                  <a:close/>
                  <a:moveTo>
                    <a:pt x="1122" y="853"/>
                  </a:moveTo>
                  <a:lnTo>
                    <a:pt x="1122" y="855"/>
                  </a:lnTo>
                  <a:lnTo>
                    <a:pt x="1120" y="855"/>
                  </a:lnTo>
                  <a:lnTo>
                    <a:pt x="1120" y="853"/>
                  </a:lnTo>
                  <a:lnTo>
                    <a:pt x="1122" y="853"/>
                  </a:lnTo>
                  <a:close/>
                  <a:moveTo>
                    <a:pt x="1122" y="853"/>
                  </a:moveTo>
                  <a:lnTo>
                    <a:pt x="1122" y="855"/>
                  </a:lnTo>
                  <a:lnTo>
                    <a:pt x="1122" y="853"/>
                  </a:lnTo>
                  <a:close/>
                  <a:moveTo>
                    <a:pt x="1099" y="853"/>
                  </a:moveTo>
                  <a:lnTo>
                    <a:pt x="1099" y="855"/>
                  </a:lnTo>
                  <a:lnTo>
                    <a:pt x="1096" y="855"/>
                  </a:lnTo>
                  <a:lnTo>
                    <a:pt x="1099" y="855"/>
                  </a:lnTo>
                  <a:lnTo>
                    <a:pt x="1096" y="853"/>
                  </a:lnTo>
                  <a:lnTo>
                    <a:pt x="1099" y="853"/>
                  </a:lnTo>
                  <a:close/>
                  <a:moveTo>
                    <a:pt x="1122" y="853"/>
                  </a:moveTo>
                  <a:lnTo>
                    <a:pt x="1120" y="853"/>
                  </a:lnTo>
                  <a:lnTo>
                    <a:pt x="1122" y="853"/>
                  </a:lnTo>
                  <a:lnTo>
                    <a:pt x="1120" y="853"/>
                  </a:lnTo>
                  <a:lnTo>
                    <a:pt x="1122" y="853"/>
                  </a:lnTo>
                  <a:close/>
                  <a:moveTo>
                    <a:pt x="1101" y="853"/>
                  </a:moveTo>
                  <a:lnTo>
                    <a:pt x="1099" y="853"/>
                  </a:lnTo>
                  <a:lnTo>
                    <a:pt x="1101" y="853"/>
                  </a:lnTo>
                  <a:close/>
                  <a:moveTo>
                    <a:pt x="1229" y="853"/>
                  </a:moveTo>
                  <a:lnTo>
                    <a:pt x="1231" y="853"/>
                  </a:lnTo>
                  <a:lnTo>
                    <a:pt x="1229" y="853"/>
                  </a:lnTo>
                  <a:close/>
                  <a:moveTo>
                    <a:pt x="1101" y="853"/>
                  </a:moveTo>
                  <a:lnTo>
                    <a:pt x="1101" y="851"/>
                  </a:lnTo>
                  <a:lnTo>
                    <a:pt x="1101" y="853"/>
                  </a:lnTo>
                  <a:close/>
                  <a:moveTo>
                    <a:pt x="1108" y="851"/>
                  </a:moveTo>
                  <a:lnTo>
                    <a:pt x="1108" y="853"/>
                  </a:lnTo>
                  <a:lnTo>
                    <a:pt x="1108" y="851"/>
                  </a:lnTo>
                  <a:close/>
                  <a:moveTo>
                    <a:pt x="871" y="851"/>
                  </a:moveTo>
                  <a:lnTo>
                    <a:pt x="871" y="853"/>
                  </a:lnTo>
                  <a:lnTo>
                    <a:pt x="873" y="853"/>
                  </a:lnTo>
                  <a:lnTo>
                    <a:pt x="871" y="853"/>
                  </a:lnTo>
                  <a:lnTo>
                    <a:pt x="871" y="851"/>
                  </a:lnTo>
                  <a:close/>
                  <a:moveTo>
                    <a:pt x="1099" y="853"/>
                  </a:moveTo>
                  <a:lnTo>
                    <a:pt x="1099" y="851"/>
                  </a:lnTo>
                  <a:lnTo>
                    <a:pt x="1101" y="851"/>
                  </a:lnTo>
                  <a:lnTo>
                    <a:pt x="1099" y="851"/>
                  </a:lnTo>
                  <a:lnTo>
                    <a:pt x="1099" y="853"/>
                  </a:lnTo>
                  <a:close/>
                  <a:moveTo>
                    <a:pt x="1129" y="851"/>
                  </a:moveTo>
                  <a:lnTo>
                    <a:pt x="1132" y="851"/>
                  </a:lnTo>
                  <a:lnTo>
                    <a:pt x="1132" y="853"/>
                  </a:lnTo>
                  <a:lnTo>
                    <a:pt x="1129" y="853"/>
                  </a:lnTo>
                  <a:lnTo>
                    <a:pt x="1129" y="851"/>
                  </a:lnTo>
                  <a:close/>
                  <a:moveTo>
                    <a:pt x="871" y="851"/>
                  </a:moveTo>
                  <a:lnTo>
                    <a:pt x="871" y="848"/>
                  </a:lnTo>
                  <a:lnTo>
                    <a:pt x="871" y="851"/>
                  </a:lnTo>
                  <a:close/>
                  <a:moveTo>
                    <a:pt x="1129" y="851"/>
                  </a:moveTo>
                  <a:lnTo>
                    <a:pt x="1132" y="851"/>
                  </a:lnTo>
                  <a:lnTo>
                    <a:pt x="1129" y="851"/>
                  </a:lnTo>
                  <a:lnTo>
                    <a:pt x="1129" y="848"/>
                  </a:lnTo>
                  <a:lnTo>
                    <a:pt x="1129" y="851"/>
                  </a:lnTo>
                  <a:lnTo>
                    <a:pt x="1129" y="848"/>
                  </a:lnTo>
                  <a:lnTo>
                    <a:pt x="1129" y="851"/>
                  </a:lnTo>
                  <a:close/>
                  <a:moveTo>
                    <a:pt x="873" y="848"/>
                  </a:moveTo>
                  <a:lnTo>
                    <a:pt x="871" y="848"/>
                  </a:lnTo>
                  <a:lnTo>
                    <a:pt x="873" y="848"/>
                  </a:lnTo>
                  <a:close/>
                  <a:moveTo>
                    <a:pt x="1132" y="851"/>
                  </a:moveTo>
                  <a:lnTo>
                    <a:pt x="1129" y="851"/>
                  </a:lnTo>
                  <a:lnTo>
                    <a:pt x="1129" y="848"/>
                  </a:lnTo>
                  <a:lnTo>
                    <a:pt x="1132" y="848"/>
                  </a:lnTo>
                  <a:lnTo>
                    <a:pt x="1132" y="851"/>
                  </a:lnTo>
                  <a:close/>
                  <a:moveTo>
                    <a:pt x="1129" y="848"/>
                  </a:moveTo>
                  <a:lnTo>
                    <a:pt x="1129" y="846"/>
                  </a:lnTo>
                  <a:lnTo>
                    <a:pt x="1129" y="848"/>
                  </a:lnTo>
                  <a:close/>
                  <a:moveTo>
                    <a:pt x="1134" y="848"/>
                  </a:moveTo>
                  <a:lnTo>
                    <a:pt x="1132" y="848"/>
                  </a:lnTo>
                  <a:lnTo>
                    <a:pt x="1132" y="846"/>
                  </a:lnTo>
                  <a:lnTo>
                    <a:pt x="1132" y="848"/>
                  </a:lnTo>
                  <a:lnTo>
                    <a:pt x="1134" y="848"/>
                  </a:lnTo>
                  <a:lnTo>
                    <a:pt x="1134" y="846"/>
                  </a:lnTo>
                  <a:lnTo>
                    <a:pt x="1134" y="848"/>
                  </a:lnTo>
                  <a:close/>
                  <a:moveTo>
                    <a:pt x="1068" y="848"/>
                  </a:moveTo>
                  <a:lnTo>
                    <a:pt x="1068" y="846"/>
                  </a:lnTo>
                  <a:lnTo>
                    <a:pt x="1068" y="848"/>
                  </a:lnTo>
                  <a:close/>
                  <a:moveTo>
                    <a:pt x="1120" y="846"/>
                  </a:moveTo>
                  <a:lnTo>
                    <a:pt x="1120" y="848"/>
                  </a:lnTo>
                  <a:lnTo>
                    <a:pt x="1118" y="846"/>
                  </a:lnTo>
                  <a:lnTo>
                    <a:pt x="1120" y="846"/>
                  </a:lnTo>
                  <a:close/>
                  <a:moveTo>
                    <a:pt x="873" y="846"/>
                  </a:moveTo>
                  <a:lnTo>
                    <a:pt x="871" y="846"/>
                  </a:lnTo>
                  <a:lnTo>
                    <a:pt x="873" y="846"/>
                  </a:lnTo>
                  <a:lnTo>
                    <a:pt x="873" y="848"/>
                  </a:lnTo>
                  <a:lnTo>
                    <a:pt x="873" y="846"/>
                  </a:lnTo>
                  <a:lnTo>
                    <a:pt x="871" y="848"/>
                  </a:lnTo>
                  <a:lnTo>
                    <a:pt x="871" y="846"/>
                  </a:lnTo>
                  <a:lnTo>
                    <a:pt x="868" y="846"/>
                  </a:lnTo>
                  <a:lnTo>
                    <a:pt x="866" y="846"/>
                  </a:lnTo>
                  <a:lnTo>
                    <a:pt x="868" y="846"/>
                  </a:lnTo>
                  <a:lnTo>
                    <a:pt x="871" y="846"/>
                  </a:lnTo>
                  <a:lnTo>
                    <a:pt x="873" y="846"/>
                  </a:lnTo>
                  <a:close/>
                  <a:moveTo>
                    <a:pt x="1120" y="846"/>
                  </a:moveTo>
                  <a:lnTo>
                    <a:pt x="1120" y="843"/>
                  </a:lnTo>
                  <a:lnTo>
                    <a:pt x="1120" y="846"/>
                  </a:lnTo>
                  <a:close/>
                  <a:moveTo>
                    <a:pt x="1122" y="843"/>
                  </a:moveTo>
                  <a:lnTo>
                    <a:pt x="1125" y="843"/>
                  </a:lnTo>
                  <a:lnTo>
                    <a:pt x="1125" y="846"/>
                  </a:lnTo>
                  <a:lnTo>
                    <a:pt x="1125" y="848"/>
                  </a:lnTo>
                  <a:lnTo>
                    <a:pt x="1122" y="848"/>
                  </a:lnTo>
                  <a:lnTo>
                    <a:pt x="1120" y="848"/>
                  </a:lnTo>
                  <a:lnTo>
                    <a:pt x="1120" y="846"/>
                  </a:lnTo>
                  <a:lnTo>
                    <a:pt x="1122" y="846"/>
                  </a:lnTo>
                  <a:lnTo>
                    <a:pt x="1122" y="843"/>
                  </a:lnTo>
                  <a:close/>
                  <a:moveTo>
                    <a:pt x="1023" y="843"/>
                  </a:moveTo>
                  <a:lnTo>
                    <a:pt x="1023" y="846"/>
                  </a:lnTo>
                  <a:lnTo>
                    <a:pt x="1020" y="846"/>
                  </a:lnTo>
                  <a:lnTo>
                    <a:pt x="1023" y="846"/>
                  </a:lnTo>
                  <a:lnTo>
                    <a:pt x="1020" y="846"/>
                  </a:lnTo>
                  <a:lnTo>
                    <a:pt x="1020" y="843"/>
                  </a:lnTo>
                  <a:lnTo>
                    <a:pt x="1020" y="846"/>
                  </a:lnTo>
                  <a:lnTo>
                    <a:pt x="1020" y="843"/>
                  </a:lnTo>
                  <a:lnTo>
                    <a:pt x="1023" y="843"/>
                  </a:lnTo>
                  <a:close/>
                  <a:moveTo>
                    <a:pt x="612" y="843"/>
                  </a:moveTo>
                  <a:lnTo>
                    <a:pt x="615" y="843"/>
                  </a:lnTo>
                  <a:lnTo>
                    <a:pt x="615" y="846"/>
                  </a:lnTo>
                  <a:lnTo>
                    <a:pt x="612" y="846"/>
                  </a:lnTo>
                  <a:lnTo>
                    <a:pt x="612" y="843"/>
                  </a:lnTo>
                  <a:close/>
                  <a:moveTo>
                    <a:pt x="864" y="843"/>
                  </a:moveTo>
                  <a:lnTo>
                    <a:pt x="866" y="843"/>
                  </a:lnTo>
                  <a:lnTo>
                    <a:pt x="864" y="843"/>
                  </a:lnTo>
                  <a:close/>
                  <a:moveTo>
                    <a:pt x="864" y="841"/>
                  </a:moveTo>
                  <a:lnTo>
                    <a:pt x="861" y="841"/>
                  </a:lnTo>
                  <a:lnTo>
                    <a:pt x="864" y="841"/>
                  </a:lnTo>
                  <a:close/>
                  <a:moveTo>
                    <a:pt x="1042" y="841"/>
                  </a:moveTo>
                  <a:lnTo>
                    <a:pt x="1039" y="841"/>
                  </a:lnTo>
                  <a:lnTo>
                    <a:pt x="1042" y="841"/>
                  </a:lnTo>
                  <a:close/>
                  <a:moveTo>
                    <a:pt x="1042" y="839"/>
                  </a:moveTo>
                  <a:lnTo>
                    <a:pt x="1039" y="839"/>
                  </a:lnTo>
                  <a:lnTo>
                    <a:pt x="1037" y="839"/>
                  </a:lnTo>
                  <a:lnTo>
                    <a:pt x="1037" y="841"/>
                  </a:lnTo>
                  <a:lnTo>
                    <a:pt x="1035" y="841"/>
                  </a:lnTo>
                  <a:lnTo>
                    <a:pt x="1032" y="839"/>
                  </a:lnTo>
                  <a:lnTo>
                    <a:pt x="1032" y="841"/>
                  </a:lnTo>
                  <a:lnTo>
                    <a:pt x="1032" y="839"/>
                  </a:lnTo>
                  <a:lnTo>
                    <a:pt x="1032" y="841"/>
                  </a:lnTo>
                  <a:lnTo>
                    <a:pt x="1030" y="841"/>
                  </a:lnTo>
                  <a:lnTo>
                    <a:pt x="1027" y="841"/>
                  </a:lnTo>
                  <a:lnTo>
                    <a:pt x="1025" y="841"/>
                  </a:lnTo>
                  <a:lnTo>
                    <a:pt x="1025" y="843"/>
                  </a:lnTo>
                  <a:lnTo>
                    <a:pt x="1023" y="843"/>
                  </a:lnTo>
                  <a:lnTo>
                    <a:pt x="1020" y="843"/>
                  </a:lnTo>
                  <a:lnTo>
                    <a:pt x="1023" y="841"/>
                  </a:lnTo>
                  <a:lnTo>
                    <a:pt x="1025" y="841"/>
                  </a:lnTo>
                  <a:lnTo>
                    <a:pt x="1025" y="839"/>
                  </a:lnTo>
                  <a:lnTo>
                    <a:pt x="1027" y="839"/>
                  </a:lnTo>
                  <a:lnTo>
                    <a:pt x="1030" y="839"/>
                  </a:lnTo>
                  <a:lnTo>
                    <a:pt x="1032" y="836"/>
                  </a:lnTo>
                  <a:lnTo>
                    <a:pt x="1035" y="836"/>
                  </a:lnTo>
                  <a:lnTo>
                    <a:pt x="1039" y="836"/>
                  </a:lnTo>
                  <a:lnTo>
                    <a:pt x="1042" y="839"/>
                  </a:lnTo>
                  <a:close/>
                  <a:moveTo>
                    <a:pt x="1070" y="834"/>
                  </a:moveTo>
                  <a:lnTo>
                    <a:pt x="1070" y="836"/>
                  </a:lnTo>
                  <a:lnTo>
                    <a:pt x="1070" y="834"/>
                  </a:lnTo>
                  <a:lnTo>
                    <a:pt x="1070" y="836"/>
                  </a:lnTo>
                  <a:lnTo>
                    <a:pt x="1070" y="834"/>
                  </a:lnTo>
                  <a:lnTo>
                    <a:pt x="1070" y="836"/>
                  </a:lnTo>
                  <a:lnTo>
                    <a:pt x="1070" y="834"/>
                  </a:lnTo>
                  <a:close/>
                  <a:moveTo>
                    <a:pt x="1070" y="834"/>
                  </a:moveTo>
                  <a:lnTo>
                    <a:pt x="1068" y="834"/>
                  </a:lnTo>
                  <a:lnTo>
                    <a:pt x="1070" y="834"/>
                  </a:lnTo>
                  <a:close/>
                  <a:moveTo>
                    <a:pt x="1073" y="832"/>
                  </a:moveTo>
                  <a:lnTo>
                    <a:pt x="1073" y="834"/>
                  </a:lnTo>
                  <a:lnTo>
                    <a:pt x="1073" y="832"/>
                  </a:lnTo>
                  <a:lnTo>
                    <a:pt x="1073" y="834"/>
                  </a:lnTo>
                  <a:lnTo>
                    <a:pt x="1073" y="832"/>
                  </a:lnTo>
                  <a:lnTo>
                    <a:pt x="1073" y="834"/>
                  </a:lnTo>
                  <a:lnTo>
                    <a:pt x="1073" y="832"/>
                  </a:lnTo>
                  <a:close/>
                  <a:moveTo>
                    <a:pt x="968" y="827"/>
                  </a:moveTo>
                  <a:lnTo>
                    <a:pt x="966" y="827"/>
                  </a:lnTo>
                  <a:lnTo>
                    <a:pt x="968" y="827"/>
                  </a:lnTo>
                  <a:close/>
                  <a:moveTo>
                    <a:pt x="1229" y="827"/>
                  </a:moveTo>
                  <a:lnTo>
                    <a:pt x="1231" y="827"/>
                  </a:lnTo>
                  <a:lnTo>
                    <a:pt x="1229" y="827"/>
                  </a:lnTo>
                  <a:close/>
                  <a:moveTo>
                    <a:pt x="980" y="824"/>
                  </a:moveTo>
                  <a:lnTo>
                    <a:pt x="980" y="827"/>
                  </a:lnTo>
                  <a:lnTo>
                    <a:pt x="978" y="827"/>
                  </a:lnTo>
                  <a:lnTo>
                    <a:pt x="975" y="827"/>
                  </a:lnTo>
                  <a:lnTo>
                    <a:pt x="973" y="827"/>
                  </a:lnTo>
                  <a:lnTo>
                    <a:pt x="975" y="827"/>
                  </a:lnTo>
                  <a:lnTo>
                    <a:pt x="978" y="827"/>
                  </a:lnTo>
                  <a:lnTo>
                    <a:pt x="978" y="824"/>
                  </a:lnTo>
                  <a:lnTo>
                    <a:pt x="980" y="824"/>
                  </a:lnTo>
                  <a:lnTo>
                    <a:pt x="980" y="827"/>
                  </a:lnTo>
                  <a:lnTo>
                    <a:pt x="980" y="824"/>
                  </a:lnTo>
                  <a:close/>
                  <a:moveTo>
                    <a:pt x="940" y="822"/>
                  </a:moveTo>
                  <a:lnTo>
                    <a:pt x="942" y="822"/>
                  </a:lnTo>
                  <a:lnTo>
                    <a:pt x="940" y="822"/>
                  </a:lnTo>
                  <a:close/>
                  <a:moveTo>
                    <a:pt x="1369" y="822"/>
                  </a:moveTo>
                  <a:lnTo>
                    <a:pt x="1367" y="822"/>
                  </a:lnTo>
                  <a:lnTo>
                    <a:pt x="1369" y="822"/>
                  </a:lnTo>
                  <a:close/>
                  <a:moveTo>
                    <a:pt x="1255" y="822"/>
                  </a:moveTo>
                  <a:lnTo>
                    <a:pt x="1253" y="822"/>
                  </a:lnTo>
                  <a:lnTo>
                    <a:pt x="1255" y="822"/>
                  </a:lnTo>
                  <a:close/>
                  <a:moveTo>
                    <a:pt x="942" y="822"/>
                  </a:moveTo>
                  <a:lnTo>
                    <a:pt x="944" y="822"/>
                  </a:lnTo>
                  <a:lnTo>
                    <a:pt x="942" y="822"/>
                  </a:lnTo>
                  <a:lnTo>
                    <a:pt x="940" y="822"/>
                  </a:lnTo>
                  <a:lnTo>
                    <a:pt x="940" y="820"/>
                  </a:lnTo>
                  <a:lnTo>
                    <a:pt x="940" y="822"/>
                  </a:lnTo>
                  <a:lnTo>
                    <a:pt x="942" y="822"/>
                  </a:lnTo>
                  <a:close/>
                  <a:moveTo>
                    <a:pt x="579" y="820"/>
                  </a:moveTo>
                  <a:lnTo>
                    <a:pt x="581" y="820"/>
                  </a:lnTo>
                  <a:lnTo>
                    <a:pt x="581" y="822"/>
                  </a:lnTo>
                  <a:lnTo>
                    <a:pt x="579" y="820"/>
                  </a:lnTo>
                  <a:close/>
                  <a:moveTo>
                    <a:pt x="1096" y="820"/>
                  </a:moveTo>
                  <a:lnTo>
                    <a:pt x="1094" y="820"/>
                  </a:lnTo>
                  <a:lnTo>
                    <a:pt x="1096" y="820"/>
                  </a:lnTo>
                  <a:lnTo>
                    <a:pt x="1094" y="820"/>
                  </a:lnTo>
                  <a:lnTo>
                    <a:pt x="1096" y="820"/>
                  </a:lnTo>
                  <a:close/>
                  <a:moveTo>
                    <a:pt x="579" y="820"/>
                  </a:moveTo>
                  <a:lnTo>
                    <a:pt x="577" y="820"/>
                  </a:lnTo>
                  <a:lnTo>
                    <a:pt x="579" y="820"/>
                  </a:lnTo>
                  <a:close/>
                  <a:moveTo>
                    <a:pt x="1253" y="822"/>
                  </a:moveTo>
                  <a:lnTo>
                    <a:pt x="1255" y="822"/>
                  </a:lnTo>
                  <a:lnTo>
                    <a:pt x="1253" y="822"/>
                  </a:lnTo>
                  <a:lnTo>
                    <a:pt x="1250" y="822"/>
                  </a:lnTo>
                  <a:lnTo>
                    <a:pt x="1248" y="822"/>
                  </a:lnTo>
                  <a:lnTo>
                    <a:pt x="1246" y="822"/>
                  </a:lnTo>
                  <a:lnTo>
                    <a:pt x="1243" y="822"/>
                  </a:lnTo>
                  <a:lnTo>
                    <a:pt x="1241" y="822"/>
                  </a:lnTo>
                  <a:lnTo>
                    <a:pt x="1239" y="822"/>
                  </a:lnTo>
                  <a:lnTo>
                    <a:pt x="1239" y="824"/>
                  </a:lnTo>
                  <a:lnTo>
                    <a:pt x="1236" y="824"/>
                  </a:lnTo>
                  <a:lnTo>
                    <a:pt x="1234" y="824"/>
                  </a:lnTo>
                  <a:lnTo>
                    <a:pt x="1231" y="824"/>
                  </a:lnTo>
                  <a:lnTo>
                    <a:pt x="1234" y="824"/>
                  </a:lnTo>
                  <a:lnTo>
                    <a:pt x="1234" y="822"/>
                  </a:lnTo>
                  <a:lnTo>
                    <a:pt x="1236" y="822"/>
                  </a:lnTo>
                  <a:lnTo>
                    <a:pt x="1239" y="822"/>
                  </a:lnTo>
                  <a:lnTo>
                    <a:pt x="1241" y="822"/>
                  </a:lnTo>
                  <a:lnTo>
                    <a:pt x="1243" y="822"/>
                  </a:lnTo>
                  <a:lnTo>
                    <a:pt x="1250" y="820"/>
                  </a:lnTo>
                  <a:lnTo>
                    <a:pt x="1253" y="820"/>
                  </a:lnTo>
                  <a:lnTo>
                    <a:pt x="1255" y="820"/>
                  </a:lnTo>
                  <a:lnTo>
                    <a:pt x="1253" y="822"/>
                  </a:lnTo>
                  <a:close/>
                  <a:moveTo>
                    <a:pt x="1208" y="820"/>
                  </a:moveTo>
                  <a:lnTo>
                    <a:pt x="1208" y="817"/>
                  </a:lnTo>
                  <a:lnTo>
                    <a:pt x="1208" y="820"/>
                  </a:lnTo>
                  <a:close/>
                  <a:moveTo>
                    <a:pt x="1125" y="817"/>
                  </a:moveTo>
                  <a:lnTo>
                    <a:pt x="1125" y="820"/>
                  </a:lnTo>
                  <a:lnTo>
                    <a:pt x="1125" y="817"/>
                  </a:lnTo>
                  <a:close/>
                  <a:moveTo>
                    <a:pt x="574" y="817"/>
                  </a:moveTo>
                  <a:lnTo>
                    <a:pt x="577" y="817"/>
                  </a:lnTo>
                  <a:lnTo>
                    <a:pt x="577" y="820"/>
                  </a:lnTo>
                  <a:lnTo>
                    <a:pt x="574" y="820"/>
                  </a:lnTo>
                  <a:lnTo>
                    <a:pt x="574" y="817"/>
                  </a:lnTo>
                  <a:close/>
                  <a:moveTo>
                    <a:pt x="980" y="817"/>
                  </a:moveTo>
                  <a:lnTo>
                    <a:pt x="978" y="820"/>
                  </a:lnTo>
                  <a:lnTo>
                    <a:pt x="975" y="820"/>
                  </a:lnTo>
                  <a:lnTo>
                    <a:pt x="978" y="820"/>
                  </a:lnTo>
                  <a:lnTo>
                    <a:pt x="978" y="817"/>
                  </a:lnTo>
                  <a:lnTo>
                    <a:pt x="980" y="817"/>
                  </a:lnTo>
                  <a:close/>
                  <a:moveTo>
                    <a:pt x="1132" y="817"/>
                  </a:moveTo>
                  <a:lnTo>
                    <a:pt x="1134" y="817"/>
                  </a:lnTo>
                  <a:lnTo>
                    <a:pt x="1137" y="817"/>
                  </a:lnTo>
                  <a:lnTo>
                    <a:pt x="1137" y="820"/>
                  </a:lnTo>
                  <a:lnTo>
                    <a:pt x="1139" y="820"/>
                  </a:lnTo>
                  <a:lnTo>
                    <a:pt x="1137" y="820"/>
                  </a:lnTo>
                  <a:lnTo>
                    <a:pt x="1134" y="820"/>
                  </a:lnTo>
                  <a:lnTo>
                    <a:pt x="1132" y="820"/>
                  </a:lnTo>
                  <a:lnTo>
                    <a:pt x="1132" y="817"/>
                  </a:lnTo>
                  <a:close/>
                  <a:moveTo>
                    <a:pt x="978" y="817"/>
                  </a:moveTo>
                  <a:lnTo>
                    <a:pt x="980" y="817"/>
                  </a:lnTo>
                  <a:lnTo>
                    <a:pt x="978" y="817"/>
                  </a:lnTo>
                  <a:close/>
                  <a:moveTo>
                    <a:pt x="1355" y="815"/>
                  </a:moveTo>
                  <a:lnTo>
                    <a:pt x="1355" y="817"/>
                  </a:lnTo>
                  <a:lnTo>
                    <a:pt x="1355" y="815"/>
                  </a:lnTo>
                  <a:close/>
                  <a:moveTo>
                    <a:pt x="1357" y="815"/>
                  </a:moveTo>
                  <a:lnTo>
                    <a:pt x="1360" y="815"/>
                  </a:lnTo>
                  <a:lnTo>
                    <a:pt x="1362" y="815"/>
                  </a:lnTo>
                  <a:lnTo>
                    <a:pt x="1362" y="817"/>
                  </a:lnTo>
                  <a:lnTo>
                    <a:pt x="1360" y="817"/>
                  </a:lnTo>
                  <a:lnTo>
                    <a:pt x="1360" y="815"/>
                  </a:lnTo>
                  <a:lnTo>
                    <a:pt x="1357" y="815"/>
                  </a:lnTo>
                  <a:lnTo>
                    <a:pt x="1355" y="815"/>
                  </a:lnTo>
                  <a:lnTo>
                    <a:pt x="1357" y="815"/>
                  </a:lnTo>
                  <a:lnTo>
                    <a:pt x="1355" y="815"/>
                  </a:lnTo>
                  <a:lnTo>
                    <a:pt x="1357" y="815"/>
                  </a:lnTo>
                  <a:close/>
                  <a:moveTo>
                    <a:pt x="987" y="815"/>
                  </a:moveTo>
                  <a:lnTo>
                    <a:pt x="989" y="815"/>
                  </a:lnTo>
                  <a:lnTo>
                    <a:pt x="987" y="815"/>
                  </a:lnTo>
                  <a:close/>
                  <a:moveTo>
                    <a:pt x="1360" y="815"/>
                  </a:moveTo>
                  <a:lnTo>
                    <a:pt x="1360" y="813"/>
                  </a:lnTo>
                  <a:lnTo>
                    <a:pt x="1360" y="815"/>
                  </a:lnTo>
                  <a:close/>
                  <a:moveTo>
                    <a:pt x="1177" y="815"/>
                  </a:moveTo>
                  <a:lnTo>
                    <a:pt x="1175" y="815"/>
                  </a:lnTo>
                  <a:lnTo>
                    <a:pt x="1175" y="813"/>
                  </a:lnTo>
                  <a:lnTo>
                    <a:pt x="1177" y="815"/>
                  </a:lnTo>
                  <a:close/>
                  <a:moveTo>
                    <a:pt x="989" y="813"/>
                  </a:moveTo>
                  <a:lnTo>
                    <a:pt x="987" y="813"/>
                  </a:lnTo>
                  <a:lnTo>
                    <a:pt x="989" y="813"/>
                  </a:lnTo>
                  <a:lnTo>
                    <a:pt x="987" y="813"/>
                  </a:lnTo>
                  <a:lnTo>
                    <a:pt x="985" y="815"/>
                  </a:lnTo>
                  <a:lnTo>
                    <a:pt x="985" y="813"/>
                  </a:lnTo>
                  <a:lnTo>
                    <a:pt x="987" y="813"/>
                  </a:lnTo>
                  <a:lnTo>
                    <a:pt x="989" y="813"/>
                  </a:lnTo>
                  <a:close/>
                  <a:moveTo>
                    <a:pt x="1172" y="813"/>
                  </a:moveTo>
                  <a:lnTo>
                    <a:pt x="1175" y="813"/>
                  </a:lnTo>
                  <a:lnTo>
                    <a:pt x="1177" y="813"/>
                  </a:lnTo>
                  <a:lnTo>
                    <a:pt x="1179" y="815"/>
                  </a:lnTo>
                  <a:lnTo>
                    <a:pt x="1177" y="815"/>
                  </a:lnTo>
                  <a:lnTo>
                    <a:pt x="1177" y="813"/>
                  </a:lnTo>
                  <a:lnTo>
                    <a:pt x="1175" y="813"/>
                  </a:lnTo>
                  <a:lnTo>
                    <a:pt x="1172" y="813"/>
                  </a:lnTo>
                  <a:lnTo>
                    <a:pt x="1170" y="813"/>
                  </a:lnTo>
                  <a:lnTo>
                    <a:pt x="1172" y="813"/>
                  </a:lnTo>
                  <a:close/>
                  <a:moveTo>
                    <a:pt x="1170" y="813"/>
                  </a:moveTo>
                  <a:lnTo>
                    <a:pt x="1167" y="813"/>
                  </a:lnTo>
                  <a:lnTo>
                    <a:pt x="1170" y="813"/>
                  </a:lnTo>
                  <a:close/>
                  <a:moveTo>
                    <a:pt x="1158" y="813"/>
                  </a:moveTo>
                  <a:lnTo>
                    <a:pt x="1156" y="813"/>
                  </a:lnTo>
                  <a:lnTo>
                    <a:pt x="1156" y="810"/>
                  </a:lnTo>
                  <a:lnTo>
                    <a:pt x="1158" y="810"/>
                  </a:lnTo>
                  <a:lnTo>
                    <a:pt x="1158" y="813"/>
                  </a:lnTo>
                  <a:close/>
                  <a:moveTo>
                    <a:pt x="1141" y="810"/>
                  </a:moveTo>
                  <a:lnTo>
                    <a:pt x="1144" y="810"/>
                  </a:lnTo>
                  <a:lnTo>
                    <a:pt x="1141" y="810"/>
                  </a:lnTo>
                  <a:close/>
                  <a:moveTo>
                    <a:pt x="997" y="810"/>
                  </a:moveTo>
                  <a:lnTo>
                    <a:pt x="994" y="810"/>
                  </a:lnTo>
                  <a:lnTo>
                    <a:pt x="992" y="813"/>
                  </a:lnTo>
                  <a:lnTo>
                    <a:pt x="994" y="813"/>
                  </a:lnTo>
                  <a:lnTo>
                    <a:pt x="994" y="810"/>
                  </a:lnTo>
                  <a:lnTo>
                    <a:pt x="997" y="810"/>
                  </a:lnTo>
                  <a:close/>
                  <a:moveTo>
                    <a:pt x="992" y="810"/>
                  </a:moveTo>
                  <a:lnTo>
                    <a:pt x="992" y="808"/>
                  </a:lnTo>
                  <a:lnTo>
                    <a:pt x="992" y="810"/>
                  </a:lnTo>
                  <a:close/>
                  <a:moveTo>
                    <a:pt x="1001" y="808"/>
                  </a:moveTo>
                  <a:lnTo>
                    <a:pt x="1001" y="810"/>
                  </a:lnTo>
                  <a:lnTo>
                    <a:pt x="1001" y="808"/>
                  </a:lnTo>
                  <a:close/>
                  <a:moveTo>
                    <a:pt x="1148" y="810"/>
                  </a:moveTo>
                  <a:lnTo>
                    <a:pt x="1146" y="810"/>
                  </a:lnTo>
                  <a:lnTo>
                    <a:pt x="1144" y="810"/>
                  </a:lnTo>
                  <a:lnTo>
                    <a:pt x="1144" y="808"/>
                  </a:lnTo>
                  <a:lnTo>
                    <a:pt x="1146" y="808"/>
                  </a:lnTo>
                  <a:lnTo>
                    <a:pt x="1148" y="810"/>
                  </a:lnTo>
                  <a:close/>
                  <a:moveTo>
                    <a:pt x="994" y="808"/>
                  </a:moveTo>
                  <a:lnTo>
                    <a:pt x="992" y="808"/>
                  </a:lnTo>
                  <a:lnTo>
                    <a:pt x="994" y="808"/>
                  </a:lnTo>
                  <a:close/>
                  <a:moveTo>
                    <a:pt x="1004" y="808"/>
                  </a:moveTo>
                  <a:lnTo>
                    <a:pt x="1001" y="808"/>
                  </a:lnTo>
                  <a:lnTo>
                    <a:pt x="1004" y="808"/>
                  </a:lnTo>
                  <a:close/>
                  <a:moveTo>
                    <a:pt x="1305" y="805"/>
                  </a:moveTo>
                  <a:lnTo>
                    <a:pt x="1307" y="805"/>
                  </a:lnTo>
                  <a:lnTo>
                    <a:pt x="1305" y="805"/>
                  </a:lnTo>
                  <a:close/>
                  <a:moveTo>
                    <a:pt x="994" y="803"/>
                  </a:moveTo>
                  <a:lnTo>
                    <a:pt x="994" y="805"/>
                  </a:lnTo>
                  <a:lnTo>
                    <a:pt x="994" y="803"/>
                  </a:lnTo>
                  <a:lnTo>
                    <a:pt x="992" y="803"/>
                  </a:lnTo>
                  <a:lnTo>
                    <a:pt x="994" y="803"/>
                  </a:lnTo>
                  <a:close/>
                  <a:moveTo>
                    <a:pt x="1303" y="803"/>
                  </a:moveTo>
                  <a:lnTo>
                    <a:pt x="1305" y="803"/>
                  </a:lnTo>
                  <a:lnTo>
                    <a:pt x="1305" y="805"/>
                  </a:lnTo>
                  <a:lnTo>
                    <a:pt x="1305" y="803"/>
                  </a:lnTo>
                  <a:lnTo>
                    <a:pt x="1305" y="805"/>
                  </a:lnTo>
                  <a:lnTo>
                    <a:pt x="1303" y="803"/>
                  </a:lnTo>
                  <a:close/>
                  <a:moveTo>
                    <a:pt x="543" y="803"/>
                  </a:moveTo>
                  <a:lnTo>
                    <a:pt x="546" y="803"/>
                  </a:lnTo>
                  <a:lnTo>
                    <a:pt x="543" y="803"/>
                  </a:lnTo>
                  <a:lnTo>
                    <a:pt x="546" y="803"/>
                  </a:lnTo>
                  <a:lnTo>
                    <a:pt x="543" y="803"/>
                  </a:lnTo>
                  <a:lnTo>
                    <a:pt x="541" y="803"/>
                  </a:lnTo>
                  <a:lnTo>
                    <a:pt x="543" y="803"/>
                  </a:lnTo>
                  <a:close/>
                  <a:moveTo>
                    <a:pt x="524" y="803"/>
                  </a:moveTo>
                  <a:lnTo>
                    <a:pt x="524" y="801"/>
                  </a:lnTo>
                  <a:lnTo>
                    <a:pt x="524" y="803"/>
                  </a:lnTo>
                  <a:close/>
                  <a:moveTo>
                    <a:pt x="1476" y="803"/>
                  </a:moveTo>
                  <a:lnTo>
                    <a:pt x="1476" y="801"/>
                  </a:lnTo>
                  <a:lnTo>
                    <a:pt x="1478" y="801"/>
                  </a:lnTo>
                  <a:lnTo>
                    <a:pt x="1476" y="803"/>
                  </a:lnTo>
                  <a:close/>
                  <a:moveTo>
                    <a:pt x="1481" y="798"/>
                  </a:moveTo>
                  <a:lnTo>
                    <a:pt x="1481" y="801"/>
                  </a:lnTo>
                  <a:lnTo>
                    <a:pt x="1481" y="798"/>
                  </a:lnTo>
                  <a:close/>
                  <a:moveTo>
                    <a:pt x="1478" y="798"/>
                  </a:moveTo>
                  <a:lnTo>
                    <a:pt x="1481" y="798"/>
                  </a:lnTo>
                  <a:lnTo>
                    <a:pt x="1478" y="798"/>
                  </a:lnTo>
                  <a:lnTo>
                    <a:pt x="1478" y="801"/>
                  </a:lnTo>
                  <a:lnTo>
                    <a:pt x="1476" y="801"/>
                  </a:lnTo>
                  <a:lnTo>
                    <a:pt x="1476" y="798"/>
                  </a:lnTo>
                  <a:lnTo>
                    <a:pt x="1478" y="798"/>
                  </a:lnTo>
                  <a:close/>
                  <a:moveTo>
                    <a:pt x="529" y="796"/>
                  </a:moveTo>
                  <a:lnTo>
                    <a:pt x="529" y="798"/>
                  </a:lnTo>
                  <a:lnTo>
                    <a:pt x="529" y="796"/>
                  </a:lnTo>
                  <a:lnTo>
                    <a:pt x="529" y="798"/>
                  </a:lnTo>
                  <a:lnTo>
                    <a:pt x="527" y="796"/>
                  </a:lnTo>
                  <a:lnTo>
                    <a:pt x="529" y="796"/>
                  </a:lnTo>
                  <a:close/>
                  <a:moveTo>
                    <a:pt x="1483" y="796"/>
                  </a:moveTo>
                  <a:lnTo>
                    <a:pt x="1483" y="798"/>
                  </a:lnTo>
                  <a:lnTo>
                    <a:pt x="1483" y="796"/>
                  </a:lnTo>
                  <a:lnTo>
                    <a:pt x="1483" y="798"/>
                  </a:lnTo>
                  <a:lnTo>
                    <a:pt x="1483" y="796"/>
                  </a:lnTo>
                  <a:close/>
                  <a:moveTo>
                    <a:pt x="1300" y="801"/>
                  </a:moveTo>
                  <a:lnTo>
                    <a:pt x="1298" y="801"/>
                  </a:lnTo>
                  <a:lnTo>
                    <a:pt x="1298" y="798"/>
                  </a:lnTo>
                  <a:lnTo>
                    <a:pt x="1298" y="796"/>
                  </a:lnTo>
                  <a:lnTo>
                    <a:pt x="1300" y="796"/>
                  </a:lnTo>
                  <a:lnTo>
                    <a:pt x="1300" y="798"/>
                  </a:lnTo>
                  <a:lnTo>
                    <a:pt x="1300" y="801"/>
                  </a:lnTo>
                  <a:close/>
                  <a:moveTo>
                    <a:pt x="446" y="794"/>
                  </a:moveTo>
                  <a:lnTo>
                    <a:pt x="449" y="794"/>
                  </a:lnTo>
                  <a:lnTo>
                    <a:pt x="449" y="796"/>
                  </a:lnTo>
                  <a:lnTo>
                    <a:pt x="446" y="796"/>
                  </a:lnTo>
                  <a:lnTo>
                    <a:pt x="446" y="794"/>
                  </a:lnTo>
                  <a:close/>
                  <a:moveTo>
                    <a:pt x="441" y="794"/>
                  </a:moveTo>
                  <a:lnTo>
                    <a:pt x="441" y="791"/>
                  </a:lnTo>
                  <a:lnTo>
                    <a:pt x="441" y="794"/>
                  </a:lnTo>
                  <a:close/>
                  <a:moveTo>
                    <a:pt x="486" y="791"/>
                  </a:moveTo>
                  <a:lnTo>
                    <a:pt x="489" y="791"/>
                  </a:lnTo>
                  <a:lnTo>
                    <a:pt x="491" y="791"/>
                  </a:lnTo>
                  <a:lnTo>
                    <a:pt x="491" y="794"/>
                  </a:lnTo>
                  <a:lnTo>
                    <a:pt x="494" y="794"/>
                  </a:lnTo>
                  <a:lnTo>
                    <a:pt x="491" y="794"/>
                  </a:lnTo>
                  <a:lnTo>
                    <a:pt x="489" y="794"/>
                  </a:lnTo>
                  <a:lnTo>
                    <a:pt x="486" y="794"/>
                  </a:lnTo>
                  <a:lnTo>
                    <a:pt x="486" y="791"/>
                  </a:lnTo>
                  <a:close/>
                  <a:moveTo>
                    <a:pt x="444" y="791"/>
                  </a:moveTo>
                  <a:lnTo>
                    <a:pt x="441" y="791"/>
                  </a:lnTo>
                  <a:lnTo>
                    <a:pt x="444" y="791"/>
                  </a:lnTo>
                  <a:close/>
                  <a:moveTo>
                    <a:pt x="427" y="789"/>
                  </a:moveTo>
                  <a:lnTo>
                    <a:pt x="430" y="789"/>
                  </a:lnTo>
                  <a:lnTo>
                    <a:pt x="427" y="789"/>
                  </a:lnTo>
                  <a:lnTo>
                    <a:pt x="430" y="789"/>
                  </a:lnTo>
                  <a:lnTo>
                    <a:pt x="427" y="791"/>
                  </a:lnTo>
                  <a:lnTo>
                    <a:pt x="427" y="789"/>
                  </a:lnTo>
                  <a:close/>
                  <a:moveTo>
                    <a:pt x="430" y="789"/>
                  </a:moveTo>
                  <a:lnTo>
                    <a:pt x="427" y="789"/>
                  </a:lnTo>
                  <a:lnTo>
                    <a:pt x="430" y="789"/>
                  </a:lnTo>
                  <a:close/>
                  <a:moveTo>
                    <a:pt x="1291" y="789"/>
                  </a:moveTo>
                  <a:lnTo>
                    <a:pt x="1291" y="791"/>
                  </a:lnTo>
                  <a:lnTo>
                    <a:pt x="1293" y="791"/>
                  </a:lnTo>
                  <a:lnTo>
                    <a:pt x="1296" y="791"/>
                  </a:lnTo>
                  <a:lnTo>
                    <a:pt x="1298" y="791"/>
                  </a:lnTo>
                  <a:lnTo>
                    <a:pt x="1298" y="794"/>
                  </a:lnTo>
                  <a:lnTo>
                    <a:pt x="1300" y="794"/>
                  </a:lnTo>
                  <a:lnTo>
                    <a:pt x="1298" y="794"/>
                  </a:lnTo>
                  <a:lnTo>
                    <a:pt x="1300" y="796"/>
                  </a:lnTo>
                  <a:lnTo>
                    <a:pt x="1298" y="796"/>
                  </a:lnTo>
                  <a:lnTo>
                    <a:pt x="1298" y="794"/>
                  </a:lnTo>
                  <a:lnTo>
                    <a:pt x="1298" y="796"/>
                  </a:lnTo>
                  <a:lnTo>
                    <a:pt x="1298" y="798"/>
                  </a:lnTo>
                  <a:lnTo>
                    <a:pt x="1298" y="801"/>
                  </a:lnTo>
                  <a:lnTo>
                    <a:pt x="1300" y="801"/>
                  </a:lnTo>
                  <a:lnTo>
                    <a:pt x="1298" y="801"/>
                  </a:lnTo>
                  <a:lnTo>
                    <a:pt x="1298" y="798"/>
                  </a:lnTo>
                  <a:lnTo>
                    <a:pt x="1298" y="796"/>
                  </a:lnTo>
                  <a:lnTo>
                    <a:pt x="1296" y="796"/>
                  </a:lnTo>
                  <a:lnTo>
                    <a:pt x="1296" y="794"/>
                  </a:lnTo>
                  <a:lnTo>
                    <a:pt x="1293" y="794"/>
                  </a:lnTo>
                  <a:lnTo>
                    <a:pt x="1293" y="791"/>
                  </a:lnTo>
                  <a:lnTo>
                    <a:pt x="1291" y="791"/>
                  </a:lnTo>
                  <a:lnTo>
                    <a:pt x="1288" y="791"/>
                  </a:lnTo>
                  <a:lnTo>
                    <a:pt x="1286" y="791"/>
                  </a:lnTo>
                  <a:lnTo>
                    <a:pt x="1286" y="789"/>
                  </a:lnTo>
                  <a:lnTo>
                    <a:pt x="1284" y="789"/>
                  </a:lnTo>
                  <a:lnTo>
                    <a:pt x="1281" y="789"/>
                  </a:lnTo>
                  <a:lnTo>
                    <a:pt x="1281" y="786"/>
                  </a:lnTo>
                  <a:lnTo>
                    <a:pt x="1284" y="786"/>
                  </a:lnTo>
                  <a:lnTo>
                    <a:pt x="1286" y="789"/>
                  </a:lnTo>
                  <a:lnTo>
                    <a:pt x="1288" y="789"/>
                  </a:lnTo>
                  <a:lnTo>
                    <a:pt x="1291" y="789"/>
                  </a:lnTo>
                  <a:close/>
                  <a:moveTo>
                    <a:pt x="467" y="784"/>
                  </a:moveTo>
                  <a:lnTo>
                    <a:pt x="470" y="784"/>
                  </a:lnTo>
                  <a:lnTo>
                    <a:pt x="472" y="784"/>
                  </a:lnTo>
                  <a:lnTo>
                    <a:pt x="472" y="786"/>
                  </a:lnTo>
                  <a:lnTo>
                    <a:pt x="475" y="786"/>
                  </a:lnTo>
                  <a:lnTo>
                    <a:pt x="477" y="786"/>
                  </a:lnTo>
                  <a:lnTo>
                    <a:pt x="479" y="786"/>
                  </a:lnTo>
                  <a:lnTo>
                    <a:pt x="479" y="789"/>
                  </a:lnTo>
                  <a:lnTo>
                    <a:pt x="477" y="789"/>
                  </a:lnTo>
                  <a:lnTo>
                    <a:pt x="475" y="789"/>
                  </a:lnTo>
                  <a:lnTo>
                    <a:pt x="472" y="789"/>
                  </a:lnTo>
                  <a:lnTo>
                    <a:pt x="470" y="789"/>
                  </a:lnTo>
                  <a:lnTo>
                    <a:pt x="467" y="789"/>
                  </a:lnTo>
                  <a:lnTo>
                    <a:pt x="465" y="786"/>
                  </a:lnTo>
                  <a:lnTo>
                    <a:pt x="465" y="789"/>
                  </a:lnTo>
                  <a:lnTo>
                    <a:pt x="465" y="786"/>
                  </a:lnTo>
                  <a:lnTo>
                    <a:pt x="465" y="789"/>
                  </a:lnTo>
                  <a:lnTo>
                    <a:pt x="465" y="786"/>
                  </a:lnTo>
                  <a:lnTo>
                    <a:pt x="463" y="786"/>
                  </a:lnTo>
                  <a:lnTo>
                    <a:pt x="465" y="786"/>
                  </a:lnTo>
                  <a:lnTo>
                    <a:pt x="465" y="784"/>
                  </a:lnTo>
                  <a:lnTo>
                    <a:pt x="467" y="784"/>
                  </a:lnTo>
                  <a:close/>
                  <a:moveTo>
                    <a:pt x="437" y="782"/>
                  </a:moveTo>
                  <a:lnTo>
                    <a:pt x="439" y="782"/>
                  </a:lnTo>
                  <a:lnTo>
                    <a:pt x="439" y="784"/>
                  </a:lnTo>
                  <a:lnTo>
                    <a:pt x="437" y="784"/>
                  </a:lnTo>
                  <a:lnTo>
                    <a:pt x="437" y="782"/>
                  </a:lnTo>
                  <a:lnTo>
                    <a:pt x="437" y="784"/>
                  </a:lnTo>
                  <a:lnTo>
                    <a:pt x="434" y="784"/>
                  </a:lnTo>
                  <a:lnTo>
                    <a:pt x="432" y="784"/>
                  </a:lnTo>
                  <a:lnTo>
                    <a:pt x="432" y="786"/>
                  </a:lnTo>
                  <a:lnTo>
                    <a:pt x="432" y="784"/>
                  </a:lnTo>
                  <a:lnTo>
                    <a:pt x="434" y="784"/>
                  </a:lnTo>
                  <a:lnTo>
                    <a:pt x="437" y="784"/>
                  </a:lnTo>
                  <a:lnTo>
                    <a:pt x="437" y="782"/>
                  </a:lnTo>
                  <a:close/>
                  <a:moveTo>
                    <a:pt x="430" y="782"/>
                  </a:moveTo>
                  <a:lnTo>
                    <a:pt x="427" y="782"/>
                  </a:lnTo>
                  <a:lnTo>
                    <a:pt x="430" y="782"/>
                  </a:lnTo>
                  <a:close/>
                  <a:moveTo>
                    <a:pt x="418" y="779"/>
                  </a:moveTo>
                  <a:lnTo>
                    <a:pt x="420" y="779"/>
                  </a:lnTo>
                  <a:lnTo>
                    <a:pt x="418" y="779"/>
                  </a:lnTo>
                  <a:close/>
                  <a:moveTo>
                    <a:pt x="430" y="779"/>
                  </a:moveTo>
                  <a:lnTo>
                    <a:pt x="430" y="782"/>
                  </a:lnTo>
                  <a:lnTo>
                    <a:pt x="430" y="779"/>
                  </a:lnTo>
                  <a:close/>
                  <a:moveTo>
                    <a:pt x="1274" y="779"/>
                  </a:moveTo>
                  <a:lnTo>
                    <a:pt x="1277" y="779"/>
                  </a:lnTo>
                  <a:lnTo>
                    <a:pt x="1274" y="779"/>
                  </a:lnTo>
                  <a:lnTo>
                    <a:pt x="1274" y="782"/>
                  </a:lnTo>
                  <a:lnTo>
                    <a:pt x="1272" y="782"/>
                  </a:lnTo>
                  <a:lnTo>
                    <a:pt x="1272" y="779"/>
                  </a:lnTo>
                  <a:lnTo>
                    <a:pt x="1274" y="779"/>
                  </a:lnTo>
                  <a:lnTo>
                    <a:pt x="1272" y="779"/>
                  </a:lnTo>
                  <a:lnTo>
                    <a:pt x="1274" y="779"/>
                  </a:lnTo>
                  <a:close/>
                  <a:moveTo>
                    <a:pt x="418" y="777"/>
                  </a:moveTo>
                  <a:lnTo>
                    <a:pt x="418" y="779"/>
                  </a:lnTo>
                  <a:lnTo>
                    <a:pt x="418" y="777"/>
                  </a:lnTo>
                  <a:close/>
                  <a:moveTo>
                    <a:pt x="401" y="772"/>
                  </a:moveTo>
                  <a:lnTo>
                    <a:pt x="401" y="775"/>
                  </a:lnTo>
                  <a:lnTo>
                    <a:pt x="401" y="772"/>
                  </a:lnTo>
                  <a:close/>
                  <a:moveTo>
                    <a:pt x="1345" y="770"/>
                  </a:moveTo>
                  <a:lnTo>
                    <a:pt x="1345" y="767"/>
                  </a:lnTo>
                  <a:lnTo>
                    <a:pt x="1348" y="767"/>
                  </a:lnTo>
                  <a:lnTo>
                    <a:pt x="1348" y="770"/>
                  </a:lnTo>
                  <a:lnTo>
                    <a:pt x="1345" y="770"/>
                  </a:lnTo>
                  <a:lnTo>
                    <a:pt x="1345" y="767"/>
                  </a:lnTo>
                  <a:lnTo>
                    <a:pt x="1345" y="770"/>
                  </a:lnTo>
                  <a:close/>
                  <a:moveTo>
                    <a:pt x="1345" y="767"/>
                  </a:moveTo>
                  <a:lnTo>
                    <a:pt x="1345" y="770"/>
                  </a:lnTo>
                  <a:lnTo>
                    <a:pt x="1345" y="767"/>
                  </a:lnTo>
                  <a:close/>
                  <a:moveTo>
                    <a:pt x="1345" y="770"/>
                  </a:moveTo>
                  <a:lnTo>
                    <a:pt x="1345" y="767"/>
                  </a:lnTo>
                  <a:lnTo>
                    <a:pt x="1345" y="770"/>
                  </a:lnTo>
                  <a:close/>
                  <a:moveTo>
                    <a:pt x="1345" y="767"/>
                  </a:moveTo>
                  <a:lnTo>
                    <a:pt x="1348" y="767"/>
                  </a:lnTo>
                  <a:lnTo>
                    <a:pt x="1345" y="767"/>
                  </a:lnTo>
                  <a:close/>
                  <a:moveTo>
                    <a:pt x="1426" y="767"/>
                  </a:moveTo>
                  <a:lnTo>
                    <a:pt x="1424" y="767"/>
                  </a:lnTo>
                  <a:lnTo>
                    <a:pt x="1426" y="767"/>
                  </a:lnTo>
                  <a:lnTo>
                    <a:pt x="1424" y="767"/>
                  </a:lnTo>
                  <a:lnTo>
                    <a:pt x="1426" y="767"/>
                  </a:lnTo>
                  <a:close/>
                  <a:moveTo>
                    <a:pt x="1307" y="765"/>
                  </a:moveTo>
                  <a:lnTo>
                    <a:pt x="1310" y="765"/>
                  </a:lnTo>
                  <a:lnTo>
                    <a:pt x="1307" y="765"/>
                  </a:lnTo>
                  <a:close/>
                  <a:moveTo>
                    <a:pt x="387" y="760"/>
                  </a:moveTo>
                  <a:lnTo>
                    <a:pt x="387" y="758"/>
                  </a:lnTo>
                  <a:lnTo>
                    <a:pt x="387" y="760"/>
                  </a:lnTo>
                  <a:close/>
                  <a:moveTo>
                    <a:pt x="1303" y="758"/>
                  </a:moveTo>
                  <a:lnTo>
                    <a:pt x="1305" y="758"/>
                  </a:lnTo>
                  <a:lnTo>
                    <a:pt x="1303" y="758"/>
                  </a:lnTo>
                  <a:close/>
                  <a:moveTo>
                    <a:pt x="1305" y="758"/>
                  </a:moveTo>
                  <a:lnTo>
                    <a:pt x="1307" y="758"/>
                  </a:lnTo>
                  <a:lnTo>
                    <a:pt x="1305" y="758"/>
                  </a:lnTo>
                  <a:close/>
                  <a:moveTo>
                    <a:pt x="387" y="758"/>
                  </a:moveTo>
                  <a:lnTo>
                    <a:pt x="384" y="758"/>
                  </a:lnTo>
                  <a:lnTo>
                    <a:pt x="387" y="758"/>
                  </a:lnTo>
                  <a:close/>
                  <a:moveTo>
                    <a:pt x="1364" y="758"/>
                  </a:moveTo>
                  <a:lnTo>
                    <a:pt x="1362" y="758"/>
                  </a:lnTo>
                  <a:lnTo>
                    <a:pt x="1362" y="756"/>
                  </a:lnTo>
                  <a:lnTo>
                    <a:pt x="1362" y="758"/>
                  </a:lnTo>
                  <a:lnTo>
                    <a:pt x="1364" y="758"/>
                  </a:lnTo>
                  <a:close/>
                  <a:moveTo>
                    <a:pt x="1305" y="756"/>
                  </a:moveTo>
                  <a:lnTo>
                    <a:pt x="1305" y="758"/>
                  </a:lnTo>
                  <a:lnTo>
                    <a:pt x="1305" y="756"/>
                  </a:lnTo>
                  <a:lnTo>
                    <a:pt x="1305" y="758"/>
                  </a:lnTo>
                  <a:lnTo>
                    <a:pt x="1303" y="758"/>
                  </a:lnTo>
                  <a:lnTo>
                    <a:pt x="1305" y="758"/>
                  </a:lnTo>
                  <a:lnTo>
                    <a:pt x="1303" y="758"/>
                  </a:lnTo>
                  <a:lnTo>
                    <a:pt x="1303" y="756"/>
                  </a:lnTo>
                  <a:lnTo>
                    <a:pt x="1305" y="756"/>
                  </a:lnTo>
                  <a:close/>
                  <a:moveTo>
                    <a:pt x="1272" y="737"/>
                  </a:moveTo>
                  <a:lnTo>
                    <a:pt x="1269" y="737"/>
                  </a:lnTo>
                  <a:lnTo>
                    <a:pt x="1272" y="737"/>
                  </a:lnTo>
                  <a:close/>
                  <a:moveTo>
                    <a:pt x="1210" y="722"/>
                  </a:moveTo>
                  <a:lnTo>
                    <a:pt x="1208" y="722"/>
                  </a:lnTo>
                  <a:lnTo>
                    <a:pt x="1210" y="722"/>
                  </a:lnTo>
                  <a:close/>
                  <a:moveTo>
                    <a:pt x="1279" y="720"/>
                  </a:moveTo>
                  <a:lnTo>
                    <a:pt x="1281" y="722"/>
                  </a:lnTo>
                  <a:lnTo>
                    <a:pt x="1279" y="722"/>
                  </a:lnTo>
                  <a:lnTo>
                    <a:pt x="1279" y="720"/>
                  </a:lnTo>
                  <a:close/>
                  <a:moveTo>
                    <a:pt x="1234" y="720"/>
                  </a:moveTo>
                  <a:lnTo>
                    <a:pt x="1236" y="720"/>
                  </a:lnTo>
                  <a:lnTo>
                    <a:pt x="1234" y="720"/>
                  </a:lnTo>
                  <a:close/>
                  <a:moveTo>
                    <a:pt x="1217" y="718"/>
                  </a:moveTo>
                  <a:lnTo>
                    <a:pt x="1217" y="720"/>
                  </a:lnTo>
                  <a:lnTo>
                    <a:pt x="1217" y="718"/>
                  </a:lnTo>
                  <a:close/>
                  <a:moveTo>
                    <a:pt x="1203" y="718"/>
                  </a:moveTo>
                  <a:lnTo>
                    <a:pt x="1205" y="718"/>
                  </a:lnTo>
                  <a:lnTo>
                    <a:pt x="1205" y="720"/>
                  </a:lnTo>
                  <a:lnTo>
                    <a:pt x="1205" y="718"/>
                  </a:lnTo>
                  <a:lnTo>
                    <a:pt x="1203" y="718"/>
                  </a:lnTo>
                  <a:close/>
                  <a:moveTo>
                    <a:pt x="1203" y="718"/>
                  </a:moveTo>
                  <a:lnTo>
                    <a:pt x="1201" y="718"/>
                  </a:lnTo>
                  <a:lnTo>
                    <a:pt x="1201" y="720"/>
                  </a:lnTo>
                  <a:lnTo>
                    <a:pt x="1201" y="718"/>
                  </a:lnTo>
                  <a:lnTo>
                    <a:pt x="1203" y="718"/>
                  </a:lnTo>
                  <a:close/>
                  <a:moveTo>
                    <a:pt x="1208" y="718"/>
                  </a:moveTo>
                  <a:lnTo>
                    <a:pt x="1205" y="718"/>
                  </a:lnTo>
                  <a:lnTo>
                    <a:pt x="1208" y="718"/>
                  </a:lnTo>
                  <a:close/>
                  <a:moveTo>
                    <a:pt x="1215" y="715"/>
                  </a:moveTo>
                  <a:lnTo>
                    <a:pt x="1215" y="718"/>
                  </a:lnTo>
                  <a:lnTo>
                    <a:pt x="1213" y="718"/>
                  </a:lnTo>
                  <a:lnTo>
                    <a:pt x="1210" y="720"/>
                  </a:lnTo>
                  <a:lnTo>
                    <a:pt x="1210" y="718"/>
                  </a:lnTo>
                  <a:lnTo>
                    <a:pt x="1213" y="718"/>
                  </a:lnTo>
                  <a:lnTo>
                    <a:pt x="1213" y="715"/>
                  </a:lnTo>
                  <a:lnTo>
                    <a:pt x="1215" y="715"/>
                  </a:lnTo>
                  <a:close/>
                  <a:moveTo>
                    <a:pt x="1234" y="715"/>
                  </a:moveTo>
                  <a:lnTo>
                    <a:pt x="1236" y="718"/>
                  </a:lnTo>
                  <a:lnTo>
                    <a:pt x="1239" y="718"/>
                  </a:lnTo>
                  <a:lnTo>
                    <a:pt x="1236" y="718"/>
                  </a:lnTo>
                  <a:lnTo>
                    <a:pt x="1234" y="718"/>
                  </a:lnTo>
                  <a:lnTo>
                    <a:pt x="1236" y="718"/>
                  </a:lnTo>
                  <a:lnTo>
                    <a:pt x="1234" y="718"/>
                  </a:lnTo>
                  <a:lnTo>
                    <a:pt x="1234" y="715"/>
                  </a:lnTo>
                  <a:close/>
                  <a:moveTo>
                    <a:pt x="1229" y="715"/>
                  </a:moveTo>
                  <a:lnTo>
                    <a:pt x="1231" y="715"/>
                  </a:lnTo>
                  <a:lnTo>
                    <a:pt x="1231" y="718"/>
                  </a:lnTo>
                  <a:lnTo>
                    <a:pt x="1229" y="715"/>
                  </a:lnTo>
                  <a:close/>
                  <a:moveTo>
                    <a:pt x="1205" y="715"/>
                  </a:moveTo>
                  <a:lnTo>
                    <a:pt x="1208" y="715"/>
                  </a:lnTo>
                  <a:lnTo>
                    <a:pt x="1210" y="715"/>
                  </a:lnTo>
                  <a:lnTo>
                    <a:pt x="1213" y="715"/>
                  </a:lnTo>
                  <a:lnTo>
                    <a:pt x="1210" y="715"/>
                  </a:lnTo>
                  <a:lnTo>
                    <a:pt x="1213" y="715"/>
                  </a:lnTo>
                  <a:lnTo>
                    <a:pt x="1210" y="715"/>
                  </a:lnTo>
                  <a:lnTo>
                    <a:pt x="1208" y="715"/>
                  </a:lnTo>
                  <a:lnTo>
                    <a:pt x="1210" y="715"/>
                  </a:lnTo>
                  <a:lnTo>
                    <a:pt x="1210" y="718"/>
                  </a:lnTo>
                  <a:lnTo>
                    <a:pt x="1208" y="718"/>
                  </a:lnTo>
                  <a:lnTo>
                    <a:pt x="1205" y="718"/>
                  </a:lnTo>
                  <a:lnTo>
                    <a:pt x="1205" y="715"/>
                  </a:lnTo>
                  <a:lnTo>
                    <a:pt x="1205" y="718"/>
                  </a:lnTo>
                  <a:lnTo>
                    <a:pt x="1205" y="715"/>
                  </a:lnTo>
                  <a:lnTo>
                    <a:pt x="1203" y="715"/>
                  </a:lnTo>
                  <a:lnTo>
                    <a:pt x="1205" y="715"/>
                  </a:lnTo>
                  <a:lnTo>
                    <a:pt x="1208" y="715"/>
                  </a:lnTo>
                  <a:lnTo>
                    <a:pt x="1210" y="715"/>
                  </a:lnTo>
                  <a:lnTo>
                    <a:pt x="1208" y="715"/>
                  </a:lnTo>
                  <a:lnTo>
                    <a:pt x="1205" y="715"/>
                  </a:lnTo>
                  <a:close/>
                  <a:moveTo>
                    <a:pt x="1182" y="715"/>
                  </a:moveTo>
                  <a:lnTo>
                    <a:pt x="1179" y="715"/>
                  </a:lnTo>
                  <a:lnTo>
                    <a:pt x="1182" y="715"/>
                  </a:lnTo>
                  <a:close/>
                  <a:moveTo>
                    <a:pt x="1179" y="715"/>
                  </a:moveTo>
                  <a:lnTo>
                    <a:pt x="1179" y="713"/>
                  </a:lnTo>
                  <a:lnTo>
                    <a:pt x="1179" y="715"/>
                  </a:lnTo>
                  <a:close/>
                  <a:moveTo>
                    <a:pt x="1182" y="713"/>
                  </a:moveTo>
                  <a:lnTo>
                    <a:pt x="1179" y="713"/>
                  </a:lnTo>
                  <a:lnTo>
                    <a:pt x="1182" y="715"/>
                  </a:lnTo>
                  <a:lnTo>
                    <a:pt x="1179" y="715"/>
                  </a:lnTo>
                  <a:lnTo>
                    <a:pt x="1179" y="713"/>
                  </a:lnTo>
                  <a:lnTo>
                    <a:pt x="1182" y="713"/>
                  </a:lnTo>
                  <a:close/>
                  <a:moveTo>
                    <a:pt x="1236" y="713"/>
                  </a:moveTo>
                  <a:lnTo>
                    <a:pt x="1236" y="715"/>
                  </a:lnTo>
                  <a:lnTo>
                    <a:pt x="1236" y="713"/>
                  </a:lnTo>
                  <a:close/>
                  <a:moveTo>
                    <a:pt x="1213" y="713"/>
                  </a:moveTo>
                  <a:lnTo>
                    <a:pt x="1215" y="713"/>
                  </a:lnTo>
                  <a:lnTo>
                    <a:pt x="1215" y="715"/>
                  </a:lnTo>
                  <a:lnTo>
                    <a:pt x="1213" y="715"/>
                  </a:lnTo>
                  <a:lnTo>
                    <a:pt x="1215" y="715"/>
                  </a:lnTo>
                  <a:lnTo>
                    <a:pt x="1213" y="715"/>
                  </a:lnTo>
                  <a:lnTo>
                    <a:pt x="1213" y="713"/>
                  </a:lnTo>
                  <a:close/>
                  <a:moveTo>
                    <a:pt x="1213" y="713"/>
                  </a:moveTo>
                  <a:lnTo>
                    <a:pt x="1215" y="713"/>
                  </a:lnTo>
                  <a:lnTo>
                    <a:pt x="1213" y="713"/>
                  </a:lnTo>
                  <a:lnTo>
                    <a:pt x="1215" y="713"/>
                  </a:lnTo>
                  <a:lnTo>
                    <a:pt x="1213" y="713"/>
                  </a:lnTo>
                  <a:lnTo>
                    <a:pt x="1210" y="713"/>
                  </a:lnTo>
                  <a:lnTo>
                    <a:pt x="1213" y="713"/>
                  </a:lnTo>
                  <a:close/>
                  <a:moveTo>
                    <a:pt x="1189" y="710"/>
                  </a:moveTo>
                  <a:lnTo>
                    <a:pt x="1191" y="713"/>
                  </a:lnTo>
                  <a:lnTo>
                    <a:pt x="1194" y="713"/>
                  </a:lnTo>
                  <a:lnTo>
                    <a:pt x="1191" y="713"/>
                  </a:lnTo>
                  <a:lnTo>
                    <a:pt x="1189" y="710"/>
                  </a:lnTo>
                  <a:close/>
                  <a:moveTo>
                    <a:pt x="1227" y="710"/>
                  </a:moveTo>
                  <a:lnTo>
                    <a:pt x="1224" y="710"/>
                  </a:lnTo>
                  <a:lnTo>
                    <a:pt x="1227" y="710"/>
                  </a:lnTo>
                  <a:close/>
                  <a:moveTo>
                    <a:pt x="1186" y="710"/>
                  </a:moveTo>
                  <a:lnTo>
                    <a:pt x="1189" y="710"/>
                  </a:lnTo>
                  <a:lnTo>
                    <a:pt x="1186" y="710"/>
                  </a:lnTo>
                  <a:close/>
                  <a:moveTo>
                    <a:pt x="1177" y="710"/>
                  </a:moveTo>
                  <a:lnTo>
                    <a:pt x="1175" y="710"/>
                  </a:lnTo>
                  <a:lnTo>
                    <a:pt x="1177" y="710"/>
                  </a:lnTo>
                  <a:close/>
                  <a:moveTo>
                    <a:pt x="1208" y="708"/>
                  </a:moveTo>
                  <a:lnTo>
                    <a:pt x="1205" y="708"/>
                  </a:lnTo>
                  <a:lnTo>
                    <a:pt x="1208" y="708"/>
                  </a:lnTo>
                  <a:close/>
                  <a:moveTo>
                    <a:pt x="1144" y="708"/>
                  </a:moveTo>
                  <a:lnTo>
                    <a:pt x="1146" y="708"/>
                  </a:lnTo>
                  <a:lnTo>
                    <a:pt x="1148" y="708"/>
                  </a:lnTo>
                  <a:lnTo>
                    <a:pt x="1148" y="710"/>
                  </a:lnTo>
                  <a:lnTo>
                    <a:pt x="1151" y="710"/>
                  </a:lnTo>
                  <a:lnTo>
                    <a:pt x="1148" y="710"/>
                  </a:lnTo>
                  <a:lnTo>
                    <a:pt x="1146" y="710"/>
                  </a:lnTo>
                  <a:lnTo>
                    <a:pt x="1144" y="710"/>
                  </a:lnTo>
                  <a:lnTo>
                    <a:pt x="1144" y="708"/>
                  </a:lnTo>
                  <a:lnTo>
                    <a:pt x="1141" y="708"/>
                  </a:lnTo>
                  <a:lnTo>
                    <a:pt x="1144" y="708"/>
                  </a:lnTo>
                  <a:close/>
                  <a:moveTo>
                    <a:pt x="1110" y="699"/>
                  </a:moveTo>
                  <a:lnTo>
                    <a:pt x="1113" y="699"/>
                  </a:lnTo>
                  <a:lnTo>
                    <a:pt x="1110" y="699"/>
                  </a:lnTo>
                  <a:lnTo>
                    <a:pt x="1113" y="699"/>
                  </a:lnTo>
                  <a:lnTo>
                    <a:pt x="1113" y="701"/>
                  </a:lnTo>
                  <a:lnTo>
                    <a:pt x="1113" y="699"/>
                  </a:lnTo>
                  <a:lnTo>
                    <a:pt x="1110" y="699"/>
                  </a:lnTo>
                  <a:close/>
                  <a:moveTo>
                    <a:pt x="1110" y="699"/>
                  </a:moveTo>
                  <a:lnTo>
                    <a:pt x="1108" y="699"/>
                  </a:lnTo>
                  <a:lnTo>
                    <a:pt x="1110" y="699"/>
                  </a:lnTo>
                  <a:lnTo>
                    <a:pt x="1108" y="699"/>
                  </a:lnTo>
                  <a:lnTo>
                    <a:pt x="1108" y="701"/>
                  </a:lnTo>
                  <a:lnTo>
                    <a:pt x="1110" y="701"/>
                  </a:lnTo>
                  <a:lnTo>
                    <a:pt x="1108" y="701"/>
                  </a:lnTo>
                  <a:lnTo>
                    <a:pt x="1108" y="699"/>
                  </a:lnTo>
                  <a:lnTo>
                    <a:pt x="1106" y="699"/>
                  </a:lnTo>
                  <a:lnTo>
                    <a:pt x="1103" y="699"/>
                  </a:lnTo>
                  <a:lnTo>
                    <a:pt x="1103" y="696"/>
                  </a:lnTo>
                  <a:lnTo>
                    <a:pt x="1106" y="696"/>
                  </a:lnTo>
                  <a:lnTo>
                    <a:pt x="1106" y="699"/>
                  </a:lnTo>
                  <a:lnTo>
                    <a:pt x="1106" y="696"/>
                  </a:lnTo>
                  <a:lnTo>
                    <a:pt x="1108" y="696"/>
                  </a:lnTo>
                  <a:lnTo>
                    <a:pt x="1110" y="696"/>
                  </a:lnTo>
                  <a:lnTo>
                    <a:pt x="1110" y="699"/>
                  </a:lnTo>
                  <a:lnTo>
                    <a:pt x="1108" y="699"/>
                  </a:lnTo>
                  <a:lnTo>
                    <a:pt x="1110" y="699"/>
                  </a:lnTo>
                  <a:lnTo>
                    <a:pt x="1108" y="699"/>
                  </a:lnTo>
                  <a:lnTo>
                    <a:pt x="1110" y="699"/>
                  </a:lnTo>
                  <a:close/>
                  <a:moveTo>
                    <a:pt x="1110" y="696"/>
                  </a:moveTo>
                  <a:lnTo>
                    <a:pt x="1108" y="694"/>
                  </a:lnTo>
                  <a:lnTo>
                    <a:pt x="1110" y="694"/>
                  </a:lnTo>
                  <a:lnTo>
                    <a:pt x="1110" y="696"/>
                  </a:lnTo>
                  <a:close/>
                  <a:moveTo>
                    <a:pt x="1099" y="691"/>
                  </a:moveTo>
                  <a:lnTo>
                    <a:pt x="1096" y="691"/>
                  </a:lnTo>
                  <a:lnTo>
                    <a:pt x="1099" y="691"/>
                  </a:lnTo>
                  <a:close/>
                  <a:moveTo>
                    <a:pt x="1094" y="687"/>
                  </a:moveTo>
                  <a:lnTo>
                    <a:pt x="1094" y="689"/>
                  </a:lnTo>
                  <a:lnTo>
                    <a:pt x="1094" y="687"/>
                  </a:lnTo>
                  <a:close/>
                  <a:moveTo>
                    <a:pt x="1092" y="687"/>
                  </a:moveTo>
                  <a:lnTo>
                    <a:pt x="1094" y="687"/>
                  </a:lnTo>
                  <a:lnTo>
                    <a:pt x="1094" y="689"/>
                  </a:lnTo>
                  <a:lnTo>
                    <a:pt x="1094" y="691"/>
                  </a:lnTo>
                  <a:lnTo>
                    <a:pt x="1096" y="691"/>
                  </a:lnTo>
                  <a:lnTo>
                    <a:pt x="1094" y="691"/>
                  </a:lnTo>
                  <a:lnTo>
                    <a:pt x="1094" y="689"/>
                  </a:lnTo>
                  <a:lnTo>
                    <a:pt x="1092" y="689"/>
                  </a:lnTo>
                  <a:lnTo>
                    <a:pt x="1092" y="687"/>
                  </a:lnTo>
                  <a:close/>
                  <a:moveTo>
                    <a:pt x="1108" y="684"/>
                  </a:moveTo>
                  <a:lnTo>
                    <a:pt x="1106" y="684"/>
                  </a:lnTo>
                  <a:lnTo>
                    <a:pt x="1108" y="684"/>
                  </a:lnTo>
                  <a:close/>
                  <a:moveTo>
                    <a:pt x="1108" y="684"/>
                  </a:moveTo>
                  <a:lnTo>
                    <a:pt x="1110" y="684"/>
                  </a:lnTo>
                  <a:lnTo>
                    <a:pt x="1108" y="684"/>
                  </a:lnTo>
                  <a:close/>
                  <a:moveTo>
                    <a:pt x="1125" y="682"/>
                  </a:moveTo>
                  <a:lnTo>
                    <a:pt x="1127" y="684"/>
                  </a:lnTo>
                  <a:lnTo>
                    <a:pt x="1125" y="684"/>
                  </a:lnTo>
                  <a:lnTo>
                    <a:pt x="1122" y="684"/>
                  </a:lnTo>
                  <a:lnTo>
                    <a:pt x="1122" y="682"/>
                  </a:lnTo>
                  <a:lnTo>
                    <a:pt x="1125" y="682"/>
                  </a:lnTo>
                  <a:close/>
                  <a:moveTo>
                    <a:pt x="1120" y="682"/>
                  </a:moveTo>
                  <a:lnTo>
                    <a:pt x="1118" y="682"/>
                  </a:lnTo>
                  <a:lnTo>
                    <a:pt x="1120" y="682"/>
                  </a:lnTo>
                  <a:close/>
                  <a:moveTo>
                    <a:pt x="1122" y="682"/>
                  </a:moveTo>
                  <a:lnTo>
                    <a:pt x="1125" y="682"/>
                  </a:lnTo>
                  <a:lnTo>
                    <a:pt x="1127" y="682"/>
                  </a:lnTo>
                  <a:lnTo>
                    <a:pt x="1129" y="682"/>
                  </a:lnTo>
                  <a:lnTo>
                    <a:pt x="1129" y="684"/>
                  </a:lnTo>
                  <a:lnTo>
                    <a:pt x="1127" y="684"/>
                  </a:lnTo>
                  <a:lnTo>
                    <a:pt x="1127" y="682"/>
                  </a:lnTo>
                  <a:lnTo>
                    <a:pt x="1125" y="682"/>
                  </a:lnTo>
                  <a:lnTo>
                    <a:pt x="1127" y="682"/>
                  </a:lnTo>
                  <a:lnTo>
                    <a:pt x="1125" y="682"/>
                  </a:lnTo>
                  <a:lnTo>
                    <a:pt x="1122" y="682"/>
                  </a:lnTo>
                  <a:lnTo>
                    <a:pt x="1122" y="684"/>
                  </a:lnTo>
                  <a:lnTo>
                    <a:pt x="1120" y="684"/>
                  </a:lnTo>
                  <a:lnTo>
                    <a:pt x="1122" y="684"/>
                  </a:lnTo>
                  <a:lnTo>
                    <a:pt x="1120" y="684"/>
                  </a:lnTo>
                  <a:lnTo>
                    <a:pt x="1120" y="682"/>
                  </a:lnTo>
                  <a:lnTo>
                    <a:pt x="1122" y="682"/>
                  </a:lnTo>
                  <a:close/>
                  <a:moveTo>
                    <a:pt x="1108" y="682"/>
                  </a:moveTo>
                  <a:lnTo>
                    <a:pt x="1108" y="680"/>
                  </a:lnTo>
                  <a:lnTo>
                    <a:pt x="1108" y="682"/>
                  </a:lnTo>
                  <a:close/>
                  <a:moveTo>
                    <a:pt x="1110" y="680"/>
                  </a:moveTo>
                  <a:lnTo>
                    <a:pt x="1113" y="680"/>
                  </a:lnTo>
                  <a:lnTo>
                    <a:pt x="1113" y="682"/>
                  </a:lnTo>
                  <a:lnTo>
                    <a:pt x="1113" y="680"/>
                  </a:lnTo>
                  <a:lnTo>
                    <a:pt x="1113" y="682"/>
                  </a:lnTo>
                  <a:lnTo>
                    <a:pt x="1113" y="684"/>
                  </a:lnTo>
                  <a:lnTo>
                    <a:pt x="1113" y="682"/>
                  </a:lnTo>
                  <a:lnTo>
                    <a:pt x="1113" y="684"/>
                  </a:lnTo>
                  <a:lnTo>
                    <a:pt x="1110" y="684"/>
                  </a:lnTo>
                  <a:lnTo>
                    <a:pt x="1110" y="682"/>
                  </a:lnTo>
                  <a:lnTo>
                    <a:pt x="1108" y="682"/>
                  </a:lnTo>
                  <a:lnTo>
                    <a:pt x="1110" y="682"/>
                  </a:lnTo>
                  <a:lnTo>
                    <a:pt x="1108" y="682"/>
                  </a:lnTo>
                  <a:lnTo>
                    <a:pt x="1110" y="682"/>
                  </a:lnTo>
                  <a:lnTo>
                    <a:pt x="1113" y="682"/>
                  </a:lnTo>
                  <a:lnTo>
                    <a:pt x="1110" y="682"/>
                  </a:lnTo>
                  <a:lnTo>
                    <a:pt x="1110" y="680"/>
                  </a:lnTo>
                  <a:close/>
                  <a:moveTo>
                    <a:pt x="1113" y="680"/>
                  </a:moveTo>
                  <a:lnTo>
                    <a:pt x="1113" y="677"/>
                  </a:lnTo>
                  <a:lnTo>
                    <a:pt x="1113" y="680"/>
                  </a:lnTo>
                  <a:close/>
                  <a:moveTo>
                    <a:pt x="1101" y="677"/>
                  </a:moveTo>
                  <a:lnTo>
                    <a:pt x="1103" y="677"/>
                  </a:lnTo>
                  <a:lnTo>
                    <a:pt x="1101" y="677"/>
                  </a:lnTo>
                  <a:close/>
                  <a:moveTo>
                    <a:pt x="1108" y="677"/>
                  </a:moveTo>
                  <a:lnTo>
                    <a:pt x="1106" y="677"/>
                  </a:lnTo>
                  <a:lnTo>
                    <a:pt x="1108" y="677"/>
                  </a:lnTo>
                  <a:lnTo>
                    <a:pt x="1106" y="677"/>
                  </a:lnTo>
                  <a:lnTo>
                    <a:pt x="1108" y="677"/>
                  </a:lnTo>
                  <a:close/>
                  <a:moveTo>
                    <a:pt x="1101" y="677"/>
                  </a:moveTo>
                  <a:lnTo>
                    <a:pt x="1099" y="677"/>
                  </a:lnTo>
                  <a:lnTo>
                    <a:pt x="1101" y="677"/>
                  </a:lnTo>
                  <a:close/>
                  <a:moveTo>
                    <a:pt x="1127" y="677"/>
                  </a:moveTo>
                  <a:lnTo>
                    <a:pt x="1129" y="677"/>
                  </a:lnTo>
                  <a:lnTo>
                    <a:pt x="1127" y="677"/>
                  </a:lnTo>
                  <a:close/>
                  <a:moveTo>
                    <a:pt x="1103" y="677"/>
                  </a:moveTo>
                  <a:lnTo>
                    <a:pt x="1106" y="677"/>
                  </a:lnTo>
                  <a:lnTo>
                    <a:pt x="1103" y="677"/>
                  </a:lnTo>
                  <a:close/>
                  <a:moveTo>
                    <a:pt x="1096" y="675"/>
                  </a:moveTo>
                  <a:lnTo>
                    <a:pt x="1094" y="675"/>
                  </a:lnTo>
                  <a:lnTo>
                    <a:pt x="1096" y="675"/>
                  </a:lnTo>
                  <a:close/>
                  <a:moveTo>
                    <a:pt x="1094" y="672"/>
                  </a:moveTo>
                  <a:lnTo>
                    <a:pt x="1094" y="675"/>
                  </a:lnTo>
                  <a:lnTo>
                    <a:pt x="1094" y="672"/>
                  </a:lnTo>
                  <a:lnTo>
                    <a:pt x="1094" y="675"/>
                  </a:lnTo>
                  <a:lnTo>
                    <a:pt x="1094" y="672"/>
                  </a:lnTo>
                  <a:close/>
                  <a:moveTo>
                    <a:pt x="1103" y="675"/>
                  </a:moveTo>
                  <a:lnTo>
                    <a:pt x="1103" y="672"/>
                  </a:lnTo>
                  <a:lnTo>
                    <a:pt x="1103" y="675"/>
                  </a:lnTo>
                  <a:lnTo>
                    <a:pt x="1106" y="675"/>
                  </a:lnTo>
                  <a:lnTo>
                    <a:pt x="1106" y="677"/>
                  </a:lnTo>
                  <a:lnTo>
                    <a:pt x="1106" y="675"/>
                  </a:lnTo>
                  <a:lnTo>
                    <a:pt x="1103" y="675"/>
                  </a:lnTo>
                  <a:lnTo>
                    <a:pt x="1106" y="675"/>
                  </a:lnTo>
                  <a:lnTo>
                    <a:pt x="1103" y="675"/>
                  </a:lnTo>
                  <a:lnTo>
                    <a:pt x="1103" y="672"/>
                  </a:lnTo>
                  <a:lnTo>
                    <a:pt x="1103" y="675"/>
                  </a:lnTo>
                  <a:close/>
                  <a:moveTo>
                    <a:pt x="1096" y="672"/>
                  </a:moveTo>
                  <a:lnTo>
                    <a:pt x="1099" y="672"/>
                  </a:lnTo>
                  <a:lnTo>
                    <a:pt x="1096" y="672"/>
                  </a:lnTo>
                  <a:close/>
                  <a:moveTo>
                    <a:pt x="1096" y="670"/>
                  </a:moveTo>
                  <a:lnTo>
                    <a:pt x="1096" y="672"/>
                  </a:lnTo>
                  <a:lnTo>
                    <a:pt x="1096" y="670"/>
                  </a:lnTo>
                  <a:close/>
                  <a:moveTo>
                    <a:pt x="1099" y="670"/>
                  </a:moveTo>
                  <a:lnTo>
                    <a:pt x="1101" y="670"/>
                  </a:lnTo>
                  <a:lnTo>
                    <a:pt x="1099" y="670"/>
                  </a:lnTo>
                  <a:lnTo>
                    <a:pt x="1101" y="670"/>
                  </a:lnTo>
                  <a:lnTo>
                    <a:pt x="1101" y="672"/>
                  </a:lnTo>
                  <a:lnTo>
                    <a:pt x="1099" y="672"/>
                  </a:lnTo>
                  <a:lnTo>
                    <a:pt x="1101" y="672"/>
                  </a:lnTo>
                  <a:lnTo>
                    <a:pt x="1099" y="672"/>
                  </a:lnTo>
                  <a:lnTo>
                    <a:pt x="1101" y="672"/>
                  </a:lnTo>
                  <a:lnTo>
                    <a:pt x="1099" y="672"/>
                  </a:lnTo>
                  <a:lnTo>
                    <a:pt x="1101" y="672"/>
                  </a:lnTo>
                  <a:lnTo>
                    <a:pt x="1099" y="672"/>
                  </a:lnTo>
                  <a:lnTo>
                    <a:pt x="1099" y="670"/>
                  </a:lnTo>
                  <a:lnTo>
                    <a:pt x="1096" y="670"/>
                  </a:lnTo>
                  <a:lnTo>
                    <a:pt x="1099" y="670"/>
                  </a:lnTo>
                  <a:close/>
                  <a:moveTo>
                    <a:pt x="1089" y="670"/>
                  </a:moveTo>
                  <a:lnTo>
                    <a:pt x="1092" y="670"/>
                  </a:lnTo>
                  <a:lnTo>
                    <a:pt x="1092" y="672"/>
                  </a:lnTo>
                  <a:lnTo>
                    <a:pt x="1089" y="670"/>
                  </a:lnTo>
                  <a:lnTo>
                    <a:pt x="1092" y="670"/>
                  </a:lnTo>
                  <a:lnTo>
                    <a:pt x="1089" y="670"/>
                  </a:lnTo>
                  <a:close/>
                  <a:moveTo>
                    <a:pt x="1094" y="668"/>
                  </a:moveTo>
                  <a:lnTo>
                    <a:pt x="1094" y="665"/>
                  </a:lnTo>
                  <a:lnTo>
                    <a:pt x="1094" y="668"/>
                  </a:lnTo>
                  <a:close/>
                  <a:moveTo>
                    <a:pt x="1094" y="665"/>
                  </a:moveTo>
                  <a:lnTo>
                    <a:pt x="1092" y="665"/>
                  </a:lnTo>
                  <a:lnTo>
                    <a:pt x="1094" y="665"/>
                  </a:lnTo>
                  <a:lnTo>
                    <a:pt x="1092" y="665"/>
                  </a:lnTo>
                  <a:lnTo>
                    <a:pt x="1094" y="665"/>
                  </a:lnTo>
                  <a:close/>
                  <a:moveTo>
                    <a:pt x="1099" y="665"/>
                  </a:moveTo>
                  <a:lnTo>
                    <a:pt x="1099" y="668"/>
                  </a:lnTo>
                  <a:lnTo>
                    <a:pt x="1099" y="665"/>
                  </a:lnTo>
                  <a:lnTo>
                    <a:pt x="1096" y="665"/>
                  </a:lnTo>
                  <a:lnTo>
                    <a:pt x="1099" y="665"/>
                  </a:lnTo>
                  <a:close/>
                  <a:moveTo>
                    <a:pt x="1099" y="665"/>
                  </a:moveTo>
                  <a:lnTo>
                    <a:pt x="1101" y="665"/>
                  </a:lnTo>
                  <a:lnTo>
                    <a:pt x="1101" y="668"/>
                  </a:lnTo>
                  <a:lnTo>
                    <a:pt x="1101" y="665"/>
                  </a:lnTo>
                  <a:lnTo>
                    <a:pt x="1101" y="668"/>
                  </a:lnTo>
                  <a:lnTo>
                    <a:pt x="1101" y="665"/>
                  </a:lnTo>
                  <a:lnTo>
                    <a:pt x="1101" y="668"/>
                  </a:lnTo>
                  <a:lnTo>
                    <a:pt x="1103" y="668"/>
                  </a:lnTo>
                  <a:lnTo>
                    <a:pt x="1101" y="668"/>
                  </a:lnTo>
                  <a:lnTo>
                    <a:pt x="1099" y="665"/>
                  </a:lnTo>
                  <a:lnTo>
                    <a:pt x="1096" y="665"/>
                  </a:lnTo>
                  <a:lnTo>
                    <a:pt x="1099" y="665"/>
                  </a:lnTo>
                  <a:close/>
                  <a:moveTo>
                    <a:pt x="1094" y="665"/>
                  </a:moveTo>
                  <a:lnTo>
                    <a:pt x="1096" y="665"/>
                  </a:lnTo>
                  <a:lnTo>
                    <a:pt x="1094" y="665"/>
                  </a:lnTo>
                  <a:lnTo>
                    <a:pt x="1096" y="665"/>
                  </a:lnTo>
                  <a:lnTo>
                    <a:pt x="1094" y="665"/>
                  </a:lnTo>
                  <a:close/>
                  <a:moveTo>
                    <a:pt x="1080" y="665"/>
                  </a:moveTo>
                  <a:lnTo>
                    <a:pt x="1082" y="665"/>
                  </a:lnTo>
                  <a:lnTo>
                    <a:pt x="1080" y="665"/>
                  </a:lnTo>
                  <a:lnTo>
                    <a:pt x="1082" y="665"/>
                  </a:lnTo>
                  <a:lnTo>
                    <a:pt x="1080" y="665"/>
                  </a:lnTo>
                  <a:close/>
                  <a:moveTo>
                    <a:pt x="1077" y="663"/>
                  </a:moveTo>
                  <a:lnTo>
                    <a:pt x="1077" y="665"/>
                  </a:lnTo>
                  <a:lnTo>
                    <a:pt x="1077" y="663"/>
                  </a:lnTo>
                  <a:lnTo>
                    <a:pt x="1075" y="663"/>
                  </a:lnTo>
                  <a:lnTo>
                    <a:pt x="1077" y="663"/>
                  </a:lnTo>
                  <a:lnTo>
                    <a:pt x="1075" y="663"/>
                  </a:lnTo>
                  <a:lnTo>
                    <a:pt x="1077" y="663"/>
                  </a:lnTo>
                  <a:close/>
                  <a:moveTo>
                    <a:pt x="1089" y="663"/>
                  </a:moveTo>
                  <a:lnTo>
                    <a:pt x="1087" y="663"/>
                  </a:lnTo>
                  <a:lnTo>
                    <a:pt x="1089" y="663"/>
                  </a:lnTo>
                  <a:close/>
                  <a:moveTo>
                    <a:pt x="1094" y="661"/>
                  </a:moveTo>
                  <a:lnTo>
                    <a:pt x="1096" y="663"/>
                  </a:lnTo>
                  <a:lnTo>
                    <a:pt x="1094" y="663"/>
                  </a:lnTo>
                  <a:lnTo>
                    <a:pt x="1096" y="663"/>
                  </a:lnTo>
                  <a:lnTo>
                    <a:pt x="1094" y="663"/>
                  </a:lnTo>
                  <a:lnTo>
                    <a:pt x="1092" y="663"/>
                  </a:lnTo>
                  <a:lnTo>
                    <a:pt x="1092" y="661"/>
                  </a:lnTo>
                  <a:lnTo>
                    <a:pt x="1094" y="661"/>
                  </a:lnTo>
                  <a:close/>
                  <a:moveTo>
                    <a:pt x="1082" y="661"/>
                  </a:moveTo>
                  <a:lnTo>
                    <a:pt x="1080" y="661"/>
                  </a:lnTo>
                  <a:lnTo>
                    <a:pt x="1080" y="658"/>
                  </a:lnTo>
                  <a:lnTo>
                    <a:pt x="1080" y="661"/>
                  </a:lnTo>
                  <a:lnTo>
                    <a:pt x="1082" y="661"/>
                  </a:lnTo>
                  <a:close/>
                  <a:moveTo>
                    <a:pt x="1101" y="658"/>
                  </a:moveTo>
                  <a:lnTo>
                    <a:pt x="1101" y="661"/>
                  </a:lnTo>
                  <a:lnTo>
                    <a:pt x="1101" y="658"/>
                  </a:lnTo>
                  <a:close/>
                  <a:moveTo>
                    <a:pt x="1073" y="658"/>
                  </a:moveTo>
                  <a:lnTo>
                    <a:pt x="1075" y="658"/>
                  </a:lnTo>
                  <a:lnTo>
                    <a:pt x="1075" y="661"/>
                  </a:lnTo>
                  <a:lnTo>
                    <a:pt x="1073" y="661"/>
                  </a:lnTo>
                  <a:lnTo>
                    <a:pt x="1073" y="658"/>
                  </a:lnTo>
                  <a:close/>
                  <a:moveTo>
                    <a:pt x="1082" y="661"/>
                  </a:moveTo>
                  <a:lnTo>
                    <a:pt x="1080" y="658"/>
                  </a:lnTo>
                  <a:lnTo>
                    <a:pt x="1082" y="658"/>
                  </a:lnTo>
                  <a:lnTo>
                    <a:pt x="1082" y="661"/>
                  </a:lnTo>
                  <a:close/>
                  <a:moveTo>
                    <a:pt x="1070" y="658"/>
                  </a:moveTo>
                  <a:lnTo>
                    <a:pt x="1073" y="658"/>
                  </a:lnTo>
                  <a:lnTo>
                    <a:pt x="1073" y="661"/>
                  </a:lnTo>
                  <a:lnTo>
                    <a:pt x="1073" y="658"/>
                  </a:lnTo>
                  <a:lnTo>
                    <a:pt x="1070" y="658"/>
                  </a:lnTo>
                  <a:close/>
                  <a:moveTo>
                    <a:pt x="1068" y="656"/>
                  </a:moveTo>
                  <a:lnTo>
                    <a:pt x="1068" y="653"/>
                  </a:lnTo>
                  <a:lnTo>
                    <a:pt x="1068" y="656"/>
                  </a:lnTo>
                  <a:close/>
                  <a:moveTo>
                    <a:pt x="1073" y="625"/>
                  </a:moveTo>
                  <a:lnTo>
                    <a:pt x="1075" y="625"/>
                  </a:lnTo>
                  <a:lnTo>
                    <a:pt x="1073" y="625"/>
                  </a:lnTo>
                  <a:lnTo>
                    <a:pt x="1075" y="625"/>
                  </a:lnTo>
                  <a:lnTo>
                    <a:pt x="1073" y="625"/>
                  </a:lnTo>
                  <a:close/>
                  <a:moveTo>
                    <a:pt x="1070" y="620"/>
                  </a:moveTo>
                  <a:lnTo>
                    <a:pt x="1070" y="623"/>
                  </a:lnTo>
                  <a:lnTo>
                    <a:pt x="1068" y="623"/>
                  </a:lnTo>
                  <a:lnTo>
                    <a:pt x="1068" y="620"/>
                  </a:lnTo>
                  <a:lnTo>
                    <a:pt x="1070" y="620"/>
                  </a:lnTo>
                  <a:close/>
                  <a:moveTo>
                    <a:pt x="1073" y="620"/>
                  </a:moveTo>
                  <a:lnTo>
                    <a:pt x="1070" y="620"/>
                  </a:lnTo>
                  <a:lnTo>
                    <a:pt x="1073" y="620"/>
                  </a:lnTo>
                  <a:close/>
                  <a:moveTo>
                    <a:pt x="1073" y="620"/>
                  </a:moveTo>
                  <a:lnTo>
                    <a:pt x="1070" y="620"/>
                  </a:lnTo>
                  <a:lnTo>
                    <a:pt x="1070" y="618"/>
                  </a:lnTo>
                  <a:lnTo>
                    <a:pt x="1073" y="618"/>
                  </a:lnTo>
                  <a:lnTo>
                    <a:pt x="1073" y="620"/>
                  </a:lnTo>
                  <a:close/>
                  <a:moveTo>
                    <a:pt x="1075" y="613"/>
                  </a:moveTo>
                  <a:lnTo>
                    <a:pt x="1075" y="615"/>
                  </a:lnTo>
                  <a:lnTo>
                    <a:pt x="1073" y="613"/>
                  </a:lnTo>
                  <a:lnTo>
                    <a:pt x="1075" y="613"/>
                  </a:lnTo>
                  <a:close/>
                  <a:moveTo>
                    <a:pt x="1077" y="606"/>
                  </a:moveTo>
                  <a:lnTo>
                    <a:pt x="1077" y="608"/>
                  </a:lnTo>
                  <a:lnTo>
                    <a:pt x="1077" y="606"/>
                  </a:lnTo>
                  <a:close/>
                  <a:moveTo>
                    <a:pt x="1082" y="604"/>
                  </a:moveTo>
                  <a:lnTo>
                    <a:pt x="1080" y="604"/>
                  </a:lnTo>
                  <a:lnTo>
                    <a:pt x="1080" y="606"/>
                  </a:lnTo>
                  <a:lnTo>
                    <a:pt x="1080" y="604"/>
                  </a:lnTo>
                  <a:lnTo>
                    <a:pt x="1082" y="604"/>
                  </a:lnTo>
                  <a:close/>
                  <a:moveTo>
                    <a:pt x="1089" y="594"/>
                  </a:moveTo>
                  <a:lnTo>
                    <a:pt x="1089" y="596"/>
                  </a:lnTo>
                  <a:lnTo>
                    <a:pt x="1087" y="596"/>
                  </a:lnTo>
                  <a:lnTo>
                    <a:pt x="1087" y="594"/>
                  </a:lnTo>
                  <a:lnTo>
                    <a:pt x="1089" y="594"/>
                  </a:lnTo>
                  <a:close/>
                  <a:moveTo>
                    <a:pt x="1082" y="589"/>
                  </a:moveTo>
                  <a:lnTo>
                    <a:pt x="1084" y="589"/>
                  </a:lnTo>
                  <a:lnTo>
                    <a:pt x="1082" y="589"/>
                  </a:lnTo>
                  <a:lnTo>
                    <a:pt x="1082" y="592"/>
                  </a:lnTo>
                  <a:lnTo>
                    <a:pt x="1082" y="589"/>
                  </a:lnTo>
                  <a:close/>
                  <a:moveTo>
                    <a:pt x="1080" y="589"/>
                  </a:moveTo>
                  <a:lnTo>
                    <a:pt x="1082" y="589"/>
                  </a:lnTo>
                  <a:lnTo>
                    <a:pt x="1080" y="589"/>
                  </a:lnTo>
                  <a:close/>
                  <a:moveTo>
                    <a:pt x="1101" y="573"/>
                  </a:moveTo>
                  <a:lnTo>
                    <a:pt x="1103" y="573"/>
                  </a:lnTo>
                  <a:lnTo>
                    <a:pt x="1101" y="573"/>
                  </a:lnTo>
                  <a:lnTo>
                    <a:pt x="1099" y="573"/>
                  </a:lnTo>
                  <a:lnTo>
                    <a:pt x="1101" y="573"/>
                  </a:lnTo>
                  <a:close/>
                  <a:moveTo>
                    <a:pt x="1191" y="549"/>
                  </a:moveTo>
                  <a:lnTo>
                    <a:pt x="1191" y="546"/>
                  </a:lnTo>
                  <a:lnTo>
                    <a:pt x="1191" y="549"/>
                  </a:lnTo>
                  <a:close/>
                  <a:moveTo>
                    <a:pt x="1137" y="546"/>
                  </a:moveTo>
                  <a:lnTo>
                    <a:pt x="1137" y="549"/>
                  </a:lnTo>
                  <a:lnTo>
                    <a:pt x="1137" y="546"/>
                  </a:lnTo>
                  <a:lnTo>
                    <a:pt x="1139" y="546"/>
                  </a:lnTo>
                  <a:lnTo>
                    <a:pt x="1137" y="546"/>
                  </a:lnTo>
                  <a:close/>
                  <a:moveTo>
                    <a:pt x="1129" y="539"/>
                  </a:moveTo>
                  <a:lnTo>
                    <a:pt x="1132" y="539"/>
                  </a:lnTo>
                  <a:lnTo>
                    <a:pt x="1129" y="539"/>
                  </a:lnTo>
                  <a:lnTo>
                    <a:pt x="1127" y="542"/>
                  </a:lnTo>
                  <a:lnTo>
                    <a:pt x="1127" y="539"/>
                  </a:lnTo>
                  <a:lnTo>
                    <a:pt x="1127" y="542"/>
                  </a:lnTo>
                  <a:lnTo>
                    <a:pt x="1125" y="542"/>
                  </a:lnTo>
                  <a:lnTo>
                    <a:pt x="1125" y="539"/>
                  </a:lnTo>
                  <a:lnTo>
                    <a:pt x="1127" y="539"/>
                  </a:lnTo>
                  <a:lnTo>
                    <a:pt x="1129" y="539"/>
                  </a:lnTo>
                  <a:close/>
                  <a:moveTo>
                    <a:pt x="1146" y="527"/>
                  </a:moveTo>
                  <a:lnTo>
                    <a:pt x="1144" y="527"/>
                  </a:lnTo>
                  <a:lnTo>
                    <a:pt x="1144" y="525"/>
                  </a:lnTo>
                  <a:lnTo>
                    <a:pt x="1146" y="527"/>
                  </a:lnTo>
                  <a:close/>
                  <a:moveTo>
                    <a:pt x="1255" y="516"/>
                  </a:moveTo>
                  <a:lnTo>
                    <a:pt x="1255" y="513"/>
                  </a:lnTo>
                  <a:lnTo>
                    <a:pt x="1255" y="516"/>
                  </a:lnTo>
                  <a:close/>
                  <a:moveTo>
                    <a:pt x="1272" y="497"/>
                  </a:moveTo>
                  <a:lnTo>
                    <a:pt x="1274" y="499"/>
                  </a:lnTo>
                  <a:lnTo>
                    <a:pt x="1272" y="499"/>
                  </a:lnTo>
                  <a:lnTo>
                    <a:pt x="1272" y="497"/>
                  </a:lnTo>
                  <a:close/>
                  <a:moveTo>
                    <a:pt x="1182" y="497"/>
                  </a:moveTo>
                  <a:lnTo>
                    <a:pt x="1182" y="499"/>
                  </a:lnTo>
                  <a:lnTo>
                    <a:pt x="1182" y="497"/>
                  </a:lnTo>
                  <a:close/>
                  <a:moveTo>
                    <a:pt x="1277" y="494"/>
                  </a:moveTo>
                  <a:lnTo>
                    <a:pt x="1274" y="494"/>
                  </a:lnTo>
                  <a:lnTo>
                    <a:pt x="1277" y="494"/>
                  </a:lnTo>
                  <a:close/>
                  <a:moveTo>
                    <a:pt x="1170" y="494"/>
                  </a:moveTo>
                  <a:lnTo>
                    <a:pt x="1167" y="494"/>
                  </a:lnTo>
                  <a:lnTo>
                    <a:pt x="1170" y="494"/>
                  </a:lnTo>
                  <a:close/>
                  <a:moveTo>
                    <a:pt x="1284" y="485"/>
                  </a:moveTo>
                  <a:lnTo>
                    <a:pt x="1281" y="485"/>
                  </a:lnTo>
                  <a:lnTo>
                    <a:pt x="1281" y="482"/>
                  </a:lnTo>
                  <a:lnTo>
                    <a:pt x="1284" y="482"/>
                  </a:lnTo>
                  <a:lnTo>
                    <a:pt x="1284" y="485"/>
                  </a:lnTo>
                  <a:close/>
                  <a:moveTo>
                    <a:pt x="1298" y="482"/>
                  </a:moveTo>
                  <a:lnTo>
                    <a:pt x="1296" y="482"/>
                  </a:lnTo>
                  <a:lnTo>
                    <a:pt x="1298" y="482"/>
                  </a:lnTo>
                  <a:close/>
                  <a:moveTo>
                    <a:pt x="1291" y="480"/>
                  </a:moveTo>
                  <a:lnTo>
                    <a:pt x="1291" y="482"/>
                  </a:lnTo>
                  <a:lnTo>
                    <a:pt x="1291" y="480"/>
                  </a:lnTo>
                  <a:close/>
                  <a:moveTo>
                    <a:pt x="1279" y="480"/>
                  </a:moveTo>
                  <a:lnTo>
                    <a:pt x="1277" y="480"/>
                  </a:lnTo>
                  <a:lnTo>
                    <a:pt x="1279" y="480"/>
                  </a:lnTo>
                  <a:close/>
                  <a:moveTo>
                    <a:pt x="1293" y="480"/>
                  </a:moveTo>
                  <a:lnTo>
                    <a:pt x="1296" y="480"/>
                  </a:lnTo>
                  <a:lnTo>
                    <a:pt x="1293" y="480"/>
                  </a:lnTo>
                  <a:lnTo>
                    <a:pt x="1293" y="482"/>
                  </a:lnTo>
                  <a:lnTo>
                    <a:pt x="1291" y="482"/>
                  </a:lnTo>
                  <a:lnTo>
                    <a:pt x="1293" y="482"/>
                  </a:lnTo>
                  <a:lnTo>
                    <a:pt x="1291" y="482"/>
                  </a:lnTo>
                  <a:lnTo>
                    <a:pt x="1293" y="482"/>
                  </a:lnTo>
                  <a:lnTo>
                    <a:pt x="1293" y="485"/>
                  </a:lnTo>
                  <a:lnTo>
                    <a:pt x="1291" y="485"/>
                  </a:lnTo>
                  <a:lnTo>
                    <a:pt x="1291" y="482"/>
                  </a:lnTo>
                  <a:lnTo>
                    <a:pt x="1288" y="482"/>
                  </a:lnTo>
                  <a:lnTo>
                    <a:pt x="1288" y="485"/>
                  </a:lnTo>
                  <a:lnTo>
                    <a:pt x="1288" y="482"/>
                  </a:lnTo>
                  <a:lnTo>
                    <a:pt x="1288" y="485"/>
                  </a:lnTo>
                  <a:lnTo>
                    <a:pt x="1288" y="482"/>
                  </a:lnTo>
                  <a:lnTo>
                    <a:pt x="1291" y="482"/>
                  </a:lnTo>
                  <a:lnTo>
                    <a:pt x="1291" y="480"/>
                  </a:lnTo>
                  <a:lnTo>
                    <a:pt x="1293" y="480"/>
                  </a:lnTo>
                  <a:lnTo>
                    <a:pt x="1291" y="480"/>
                  </a:lnTo>
                  <a:lnTo>
                    <a:pt x="1293" y="480"/>
                  </a:lnTo>
                  <a:close/>
                  <a:moveTo>
                    <a:pt x="1293" y="480"/>
                  </a:moveTo>
                  <a:lnTo>
                    <a:pt x="1293" y="478"/>
                  </a:lnTo>
                  <a:lnTo>
                    <a:pt x="1293" y="480"/>
                  </a:lnTo>
                  <a:close/>
                  <a:moveTo>
                    <a:pt x="1281" y="478"/>
                  </a:moveTo>
                  <a:lnTo>
                    <a:pt x="1279" y="478"/>
                  </a:lnTo>
                  <a:lnTo>
                    <a:pt x="1281" y="478"/>
                  </a:lnTo>
                  <a:close/>
                  <a:moveTo>
                    <a:pt x="1298" y="478"/>
                  </a:moveTo>
                  <a:lnTo>
                    <a:pt x="1300" y="478"/>
                  </a:lnTo>
                  <a:lnTo>
                    <a:pt x="1303" y="478"/>
                  </a:lnTo>
                  <a:lnTo>
                    <a:pt x="1300" y="480"/>
                  </a:lnTo>
                  <a:lnTo>
                    <a:pt x="1298" y="480"/>
                  </a:lnTo>
                  <a:lnTo>
                    <a:pt x="1298" y="478"/>
                  </a:lnTo>
                  <a:lnTo>
                    <a:pt x="1296" y="478"/>
                  </a:lnTo>
                  <a:lnTo>
                    <a:pt x="1298" y="478"/>
                  </a:lnTo>
                  <a:close/>
                  <a:moveTo>
                    <a:pt x="1298" y="475"/>
                  </a:moveTo>
                  <a:lnTo>
                    <a:pt x="1296" y="475"/>
                  </a:lnTo>
                  <a:lnTo>
                    <a:pt x="1296" y="473"/>
                  </a:lnTo>
                  <a:lnTo>
                    <a:pt x="1298" y="475"/>
                  </a:lnTo>
                  <a:close/>
                  <a:moveTo>
                    <a:pt x="1298" y="473"/>
                  </a:moveTo>
                  <a:lnTo>
                    <a:pt x="1296" y="473"/>
                  </a:lnTo>
                  <a:lnTo>
                    <a:pt x="1296" y="470"/>
                  </a:lnTo>
                  <a:lnTo>
                    <a:pt x="1298" y="470"/>
                  </a:lnTo>
                  <a:lnTo>
                    <a:pt x="1298" y="468"/>
                  </a:lnTo>
                  <a:lnTo>
                    <a:pt x="1298" y="470"/>
                  </a:lnTo>
                  <a:lnTo>
                    <a:pt x="1298" y="473"/>
                  </a:lnTo>
                  <a:close/>
                  <a:moveTo>
                    <a:pt x="1383" y="421"/>
                  </a:moveTo>
                  <a:lnTo>
                    <a:pt x="1381" y="421"/>
                  </a:lnTo>
                  <a:lnTo>
                    <a:pt x="1383" y="421"/>
                  </a:lnTo>
                  <a:close/>
                  <a:moveTo>
                    <a:pt x="1390" y="418"/>
                  </a:moveTo>
                  <a:lnTo>
                    <a:pt x="1388" y="418"/>
                  </a:lnTo>
                  <a:lnTo>
                    <a:pt x="1390" y="418"/>
                  </a:lnTo>
                  <a:close/>
                  <a:moveTo>
                    <a:pt x="1277" y="394"/>
                  </a:moveTo>
                  <a:lnTo>
                    <a:pt x="1277" y="392"/>
                  </a:lnTo>
                  <a:lnTo>
                    <a:pt x="1279" y="392"/>
                  </a:lnTo>
                  <a:lnTo>
                    <a:pt x="1281" y="392"/>
                  </a:lnTo>
                  <a:lnTo>
                    <a:pt x="1281" y="394"/>
                  </a:lnTo>
                  <a:lnTo>
                    <a:pt x="1279" y="394"/>
                  </a:lnTo>
                  <a:lnTo>
                    <a:pt x="1277" y="394"/>
                  </a:lnTo>
                  <a:close/>
                  <a:moveTo>
                    <a:pt x="1300" y="383"/>
                  </a:moveTo>
                  <a:lnTo>
                    <a:pt x="1300" y="385"/>
                  </a:lnTo>
                  <a:lnTo>
                    <a:pt x="1300" y="383"/>
                  </a:lnTo>
                  <a:close/>
                  <a:moveTo>
                    <a:pt x="1296" y="385"/>
                  </a:moveTo>
                  <a:lnTo>
                    <a:pt x="1298" y="385"/>
                  </a:lnTo>
                  <a:lnTo>
                    <a:pt x="1300" y="385"/>
                  </a:lnTo>
                  <a:lnTo>
                    <a:pt x="1298" y="385"/>
                  </a:lnTo>
                  <a:lnTo>
                    <a:pt x="1296" y="385"/>
                  </a:lnTo>
                  <a:lnTo>
                    <a:pt x="1296" y="387"/>
                  </a:lnTo>
                  <a:lnTo>
                    <a:pt x="1293" y="385"/>
                  </a:lnTo>
                  <a:lnTo>
                    <a:pt x="1291" y="385"/>
                  </a:lnTo>
                  <a:lnTo>
                    <a:pt x="1293" y="385"/>
                  </a:lnTo>
                  <a:lnTo>
                    <a:pt x="1296" y="385"/>
                  </a:lnTo>
                  <a:lnTo>
                    <a:pt x="1298" y="383"/>
                  </a:lnTo>
                  <a:lnTo>
                    <a:pt x="1296" y="385"/>
                  </a:lnTo>
                  <a:close/>
                  <a:moveTo>
                    <a:pt x="1298" y="383"/>
                  </a:moveTo>
                  <a:lnTo>
                    <a:pt x="1300" y="383"/>
                  </a:lnTo>
                  <a:lnTo>
                    <a:pt x="1298" y="383"/>
                  </a:lnTo>
                  <a:close/>
                  <a:moveTo>
                    <a:pt x="1298" y="380"/>
                  </a:moveTo>
                  <a:lnTo>
                    <a:pt x="1298" y="383"/>
                  </a:lnTo>
                  <a:lnTo>
                    <a:pt x="1300" y="383"/>
                  </a:lnTo>
                  <a:lnTo>
                    <a:pt x="1298" y="383"/>
                  </a:lnTo>
                  <a:lnTo>
                    <a:pt x="1300" y="383"/>
                  </a:lnTo>
                  <a:lnTo>
                    <a:pt x="1298" y="383"/>
                  </a:lnTo>
                  <a:lnTo>
                    <a:pt x="1296" y="383"/>
                  </a:lnTo>
                  <a:lnTo>
                    <a:pt x="1293" y="383"/>
                  </a:lnTo>
                  <a:lnTo>
                    <a:pt x="1291" y="385"/>
                  </a:lnTo>
                  <a:lnTo>
                    <a:pt x="1288" y="385"/>
                  </a:lnTo>
                  <a:lnTo>
                    <a:pt x="1286" y="385"/>
                  </a:lnTo>
                  <a:lnTo>
                    <a:pt x="1284" y="385"/>
                  </a:lnTo>
                  <a:lnTo>
                    <a:pt x="1286" y="385"/>
                  </a:lnTo>
                  <a:lnTo>
                    <a:pt x="1286" y="383"/>
                  </a:lnTo>
                  <a:lnTo>
                    <a:pt x="1286" y="385"/>
                  </a:lnTo>
                  <a:lnTo>
                    <a:pt x="1286" y="383"/>
                  </a:lnTo>
                  <a:lnTo>
                    <a:pt x="1286" y="385"/>
                  </a:lnTo>
                  <a:lnTo>
                    <a:pt x="1286" y="383"/>
                  </a:lnTo>
                  <a:lnTo>
                    <a:pt x="1286" y="385"/>
                  </a:lnTo>
                  <a:lnTo>
                    <a:pt x="1288" y="385"/>
                  </a:lnTo>
                  <a:lnTo>
                    <a:pt x="1288" y="383"/>
                  </a:lnTo>
                  <a:lnTo>
                    <a:pt x="1291" y="383"/>
                  </a:lnTo>
                  <a:lnTo>
                    <a:pt x="1293" y="383"/>
                  </a:lnTo>
                  <a:lnTo>
                    <a:pt x="1291" y="383"/>
                  </a:lnTo>
                  <a:lnTo>
                    <a:pt x="1293" y="383"/>
                  </a:lnTo>
                  <a:lnTo>
                    <a:pt x="1296" y="380"/>
                  </a:lnTo>
                  <a:lnTo>
                    <a:pt x="1298" y="380"/>
                  </a:lnTo>
                  <a:close/>
                  <a:moveTo>
                    <a:pt x="1326" y="380"/>
                  </a:moveTo>
                  <a:lnTo>
                    <a:pt x="1329" y="380"/>
                  </a:lnTo>
                  <a:lnTo>
                    <a:pt x="1326" y="380"/>
                  </a:lnTo>
                  <a:close/>
                  <a:moveTo>
                    <a:pt x="1312" y="375"/>
                  </a:moveTo>
                  <a:lnTo>
                    <a:pt x="1315" y="375"/>
                  </a:lnTo>
                  <a:lnTo>
                    <a:pt x="1312" y="375"/>
                  </a:lnTo>
                  <a:lnTo>
                    <a:pt x="1310" y="375"/>
                  </a:lnTo>
                  <a:lnTo>
                    <a:pt x="1310" y="378"/>
                  </a:lnTo>
                  <a:lnTo>
                    <a:pt x="1310" y="375"/>
                  </a:lnTo>
                  <a:lnTo>
                    <a:pt x="1307" y="378"/>
                  </a:lnTo>
                  <a:lnTo>
                    <a:pt x="1307" y="375"/>
                  </a:lnTo>
                  <a:lnTo>
                    <a:pt x="1310" y="375"/>
                  </a:lnTo>
                  <a:lnTo>
                    <a:pt x="1312" y="375"/>
                  </a:lnTo>
                  <a:close/>
                  <a:moveTo>
                    <a:pt x="1307" y="375"/>
                  </a:moveTo>
                  <a:lnTo>
                    <a:pt x="1305" y="375"/>
                  </a:lnTo>
                  <a:lnTo>
                    <a:pt x="1305" y="378"/>
                  </a:lnTo>
                  <a:lnTo>
                    <a:pt x="1303" y="378"/>
                  </a:lnTo>
                  <a:lnTo>
                    <a:pt x="1303" y="375"/>
                  </a:lnTo>
                  <a:lnTo>
                    <a:pt x="1305" y="375"/>
                  </a:lnTo>
                  <a:lnTo>
                    <a:pt x="1307" y="375"/>
                  </a:lnTo>
                  <a:close/>
                  <a:moveTo>
                    <a:pt x="1291" y="375"/>
                  </a:moveTo>
                  <a:lnTo>
                    <a:pt x="1293" y="373"/>
                  </a:lnTo>
                  <a:lnTo>
                    <a:pt x="1291" y="375"/>
                  </a:lnTo>
                  <a:close/>
                  <a:moveTo>
                    <a:pt x="1338" y="366"/>
                  </a:moveTo>
                  <a:lnTo>
                    <a:pt x="1338" y="368"/>
                  </a:lnTo>
                  <a:lnTo>
                    <a:pt x="1336" y="368"/>
                  </a:lnTo>
                  <a:lnTo>
                    <a:pt x="1334" y="371"/>
                  </a:lnTo>
                  <a:lnTo>
                    <a:pt x="1331" y="371"/>
                  </a:lnTo>
                  <a:lnTo>
                    <a:pt x="1331" y="373"/>
                  </a:lnTo>
                  <a:lnTo>
                    <a:pt x="1329" y="373"/>
                  </a:lnTo>
                  <a:lnTo>
                    <a:pt x="1326" y="373"/>
                  </a:lnTo>
                  <a:lnTo>
                    <a:pt x="1326" y="371"/>
                  </a:lnTo>
                  <a:lnTo>
                    <a:pt x="1324" y="371"/>
                  </a:lnTo>
                  <a:lnTo>
                    <a:pt x="1326" y="371"/>
                  </a:lnTo>
                  <a:lnTo>
                    <a:pt x="1324" y="371"/>
                  </a:lnTo>
                  <a:lnTo>
                    <a:pt x="1324" y="373"/>
                  </a:lnTo>
                  <a:lnTo>
                    <a:pt x="1322" y="373"/>
                  </a:lnTo>
                  <a:lnTo>
                    <a:pt x="1319" y="373"/>
                  </a:lnTo>
                  <a:lnTo>
                    <a:pt x="1322" y="371"/>
                  </a:lnTo>
                  <a:lnTo>
                    <a:pt x="1324" y="371"/>
                  </a:lnTo>
                  <a:lnTo>
                    <a:pt x="1324" y="368"/>
                  </a:lnTo>
                  <a:lnTo>
                    <a:pt x="1326" y="368"/>
                  </a:lnTo>
                  <a:lnTo>
                    <a:pt x="1329" y="368"/>
                  </a:lnTo>
                  <a:lnTo>
                    <a:pt x="1331" y="368"/>
                  </a:lnTo>
                  <a:lnTo>
                    <a:pt x="1334" y="368"/>
                  </a:lnTo>
                  <a:lnTo>
                    <a:pt x="1336" y="368"/>
                  </a:lnTo>
                  <a:lnTo>
                    <a:pt x="1338" y="366"/>
                  </a:lnTo>
                  <a:close/>
                  <a:moveTo>
                    <a:pt x="1421" y="364"/>
                  </a:moveTo>
                  <a:lnTo>
                    <a:pt x="1419" y="364"/>
                  </a:lnTo>
                  <a:lnTo>
                    <a:pt x="1421" y="364"/>
                  </a:lnTo>
                  <a:close/>
                  <a:moveTo>
                    <a:pt x="1277" y="128"/>
                  </a:moveTo>
                  <a:lnTo>
                    <a:pt x="1279" y="128"/>
                  </a:lnTo>
                  <a:lnTo>
                    <a:pt x="1277" y="128"/>
                  </a:lnTo>
                  <a:close/>
                  <a:moveTo>
                    <a:pt x="1317" y="119"/>
                  </a:moveTo>
                  <a:lnTo>
                    <a:pt x="1319" y="119"/>
                  </a:lnTo>
                  <a:lnTo>
                    <a:pt x="1322" y="121"/>
                  </a:lnTo>
                  <a:lnTo>
                    <a:pt x="1319" y="121"/>
                  </a:lnTo>
                  <a:lnTo>
                    <a:pt x="1317" y="121"/>
                  </a:lnTo>
                  <a:lnTo>
                    <a:pt x="1315" y="121"/>
                  </a:lnTo>
                  <a:lnTo>
                    <a:pt x="1317" y="121"/>
                  </a:lnTo>
                  <a:lnTo>
                    <a:pt x="1317" y="119"/>
                  </a:lnTo>
                  <a:close/>
                  <a:moveTo>
                    <a:pt x="1279" y="116"/>
                  </a:moveTo>
                  <a:lnTo>
                    <a:pt x="1281" y="119"/>
                  </a:lnTo>
                  <a:lnTo>
                    <a:pt x="1284" y="119"/>
                  </a:lnTo>
                  <a:lnTo>
                    <a:pt x="1286" y="119"/>
                  </a:lnTo>
                  <a:lnTo>
                    <a:pt x="1288" y="121"/>
                  </a:lnTo>
                  <a:lnTo>
                    <a:pt x="1286" y="121"/>
                  </a:lnTo>
                  <a:lnTo>
                    <a:pt x="1284" y="121"/>
                  </a:lnTo>
                  <a:lnTo>
                    <a:pt x="1281" y="121"/>
                  </a:lnTo>
                  <a:lnTo>
                    <a:pt x="1279" y="121"/>
                  </a:lnTo>
                  <a:lnTo>
                    <a:pt x="1279" y="119"/>
                  </a:lnTo>
                  <a:lnTo>
                    <a:pt x="1277" y="119"/>
                  </a:lnTo>
                  <a:lnTo>
                    <a:pt x="1274" y="119"/>
                  </a:lnTo>
                  <a:lnTo>
                    <a:pt x="1272" y="119"/>
                  </a:lnTo>
                  <a:lnTo>
                    <a:pt x="1269" y="119"/>
                  </a:lnTo>
                  <a:lnTo>
                    <a:pt x="1267" y="119"/>
                  </a:lnTo>
                  <a:lnTo>
                    <a:pt x="1265" y="119"/>
                  </a:lnTo>
                  <a:lnTo>
                    <a:pt x="1267" y="119"/>
                  </a:lnTo>
                  <a:lnTo>
                    <a:pt x="1267" y="116"/>
                  </a:lnTo>
                  <a:lnTo>
                    <a:pt x="1269" y="116"/>
                  </a:lnTo>
                  <a:lnTo>
                    <a:pt x="1272" y="116"/>
                  </a:lnTo>
                  <a:lnTo>
                    <a:pt x="1274" y="116"/>
                  </a:lnTo>
                  <a:lnTo>
                    <a:pt x="1277" y="116"/>
                  </a:lnTo>
                  <a:lnTo>
                    <a:pt x="1279" y="114"/>
                  </a:lnTo>
                  <a:lnTo>
                    <a:pt x="1279" y="116"/>
                  </a:lnTo>
                  <a:close/>
                  <a:moveTo>
                    <a:pt x="1001" y="116"/>
                  </a:moveTo>
                  <a:lnTo>
                    <a:pt x="1001" y="119"/>
                  </a:lnTo>
                  <a:lnTo>
                    <a:pt x="1001" y="116"/>
                  </a:lnTo>
                  <a:lnTo>
                    <a:pt x="999" y="116"/>
                  </a:lnTo>
                  <a:lnTo>
                    <a:pt x="997" y="116"/>
                  </a:lnTo>
                  <a:lnTo>
                    <a:pt x="994" y="116"/>
                  </a:lnTo>
                  <a:lnTo>
                    <a:pt x="997" y="116"/>
                  </a:lnTo>
                  <a:lnTo>
                    <a:pt x="999" y="116"/>
                  </a:lnTo>
                  <a:lnTo>
                    <a:pt x="1001" y="114"/>
                  </a:lnTo>
                  <a:lnTo>
                    <a:pt x="1004" y="114"/>
                  </a:lnTo>
                  <a:lnTo>
                    <a:pt x="1004" y="116"/>
                  </a:lnTo>
                  <a:lnTo>
                    <a:pt x="1001" y="116"/>
                  </a:lnTo>
                  <a:close/>
                  <a:moveTo>
                    <a:pt x="970" y="112"/>
                  </a:moveTo>
                  <a:lnTo>
                    <a:pt x="970" y="114"/>
                  </a:lnTo>
                  <a:lnTo>
                    <a:pt x="968" y="114"/>
                  </a:lnTo>
                  <a:lnTo>
                    <a:pt x="966" y="114"/>
                  </a:lnTo>
                  <a:lnTo>
                    <a:pt x="963" y="114"/>
                  </a:lnTo>
                  <a:lnTo>
                    <a:pt x="966" y="112"/>
                  </a:lnTo>
                  <a:lnTo>
                    <a:pt x="966" y="114"/>
                  </a:lnTo>
                  <a:lnTo>
                    <a:pt x="968" y="114"/>
                  </a:lnTo>
                  <a:lnTo>
                    <a:pt x="968" y="112"/>
                  </a:lnTo>
                  <a:lnTo>
                    <a:pt x="970" y="112"/>
                  </a:lnTo>
                  <a:close/>
                  <a:moveTo>
                    <a:pt x="1103" y="112"/>
                  </a:moveTo>
                  <a:lnTo>
                    <a:pt x="1101" y="112"/>
                  </a:lnTo>
                  <a:lnTo>
                    <a:pt x="1103" y="112"/>
                  </a:lnTo>
                  <a:close/>
                  <a:moveTo>
                    <a:pt x="968" y="112"/>
                  </a:moveTo>
                  <a:lnTo>
                    <a:pt x="966" y="112"/>
                  </a:lnTo>
                  <a:lnTo>
                    <a:pt x="963" y="112"/>
                  </a:lnTo>
                  <a:lnTo>
                    <a:pt x="966" y="112"/>
                  </a:lnTo>
                  <a:lnTo>
                    <a:pt x="968" y="112"/>
                  </a:lnTo>
                  <a:close/>
                  <a:moveTo>
                    <a:pt x="1213" y="112"/>
                  </a:moveTo>
                  <a:lnTo>
                    <a:pt x="1210" y="112"/>
                  </a:lnTo>
                  <a:lnTo>
                    <a:pt x="1213" y="112"/>
                  </a:lnTo>
                  <a:close/>
                  <a:moveTo>
                    <a:pt x="1213" y="112"/>
                  </a:moveTo>
                  <a:lnTo>
                    <a:pt x="1215" y="112"/>
                  </a:lnTo>
                  <a:lnTo>
                    <a:pt x="1213" y="112"/>
                  </a:lnTo>
                  <a:close/>
                  <a:moveTo>
                    <a:pt x="1001" y="109"/>
                  </a:moveTo>
                  <a:lnTo>
                    <a:pt x="999" y="109"/>
                  </a:lnTo>
                  <a:lnTo>
                    <a:pt x="1001" y="109"/>
                  </a:lnTo>
                  <a:close/>
                  <a:moveTo>
                    <a:pt x="1073" y="109"/>
                  </a:moveTo>
                  <a:lnTo>
                    <a:pt x="1070" y="109"/>
                  </a:lnTo>
                  <a:lnTo>
                    <a:pt x="1070" y="107"/>
                  </a:lnTo>
                  <a:lnTo>
                    <a:pt x="1073" y="107"/>
                  </a:lnTo>
                  <a:lnTo>
                    <a:pt x="1073" y="109"/>
                  </a:lnTo>
                  <a:close/>
                  <a:moveTo>
                    <a:pt x="973" y="114"/>
                  </a:moveTo>
                  <a:lnTo>
                    <a:pt x="973" y="112"/>
                  </a:lnTo>
                  <a:lnTo>
                    <a:pt x="970" y="112"/>
                  </a:lnTo>
                  <a:lnTo>
                    <a:pt x="970" y="109"/>
                  </a:lnTo>
                  <a:lnTo>
                    <a:pt x="973" y="109"/>
                  </a:lnTo>
                  <a:lnTo>
                    <a:pt x="973" y="107"/>
                  </a:lnTo>
                  <a:lnTo>
                    <a:pt x="975" y="107"/>
                  </a:lnTo>
                  <a:lnTo>
                    <a:pt x="980" y="109"/>
                  </a:lnTo>
                  <a:lnTo>
                    <a:pt x="982" y="109"/>
                  </a:lnTo>
                  <a:lnTo>
                    <a:pt x="982" y="112"/>
                  </a:lnTo>
                  <a:lnTo>
                    <a:pt x="980" y="112"/>
                  </a:lnTo>
                  <a:lnTo>
                    <a:pt x="975" y="112"/>
                  </a:lnTo>
                  <a:lnTo>
                    <a:pt x="973" y="114"/>
                  </a:lnTo>
                  <a:close/>
                  <a:moveTo>
                    <a:pt x="1298" y="105"/>
                  </a:moveTo>
                  <a:lnTo>
                    <a:pt x="1296" y="105"/>
                  </a:lnTo>
                  <a:lnTo>
                    <a:pt x="1293" y="107"/>
                  </a:lnTo>
                  <a:lnTo>
                    <a:pt x="1291" y="107"/>
                  </a:lnTo>
                  <a:lnTo>
                    <a:pt x="1293" y="105"/>
                  </a:lnTo>
                  <a:lnTo>
                    <a:pt x="1296" y="105"/>
                  </a:lnTo>
                  <a:lnTo>
                    <a:pt x="1298" y="105"/>
                  </a:lnTo>
                  <a:close/>
                  <a:moveTo>
                    <a:pt x="1326" y="102"/>
                  </a:moveTo>
                  <a:lnTo>
                    <a:pt x="1329" y="102"/>
                  </a:lnTo>
                  <a:lnTo>
                    <a:pt x="1331" y="105"/>
                  </a:lnTo>
                  <a:lnTo>
                    <a:pt x="1329" y="105"/>
                  </a:lnTo>
                  <a:lnTo>
                    <a:pt x="1326" y="105"/>
                  </a:lnTo>
                  <a:lnTo>
                    <a:pt x="1324" y="105"/>
                  </a:lnTo>
                  <a:lnTo>
                    <a:pt x="1322" y="105"/>
                  </a:lnTo>
                  <a:lnTo>
                    <a:pt x="1322" y="102"/>
                  </a:lnTo>
                  <a:lnTo>
                    <a:pt x="1319" y="102"/>
                  </a:lnTo>
                  <a:lnTo>
                    <a:pt x="1322" y="102"/>
                  </a:lnTo>
                  <a:lnTo>
                    <a:pt x="1324" y="102"/>
                  </a:lnTo>
                  <a:lnTo>
                    <a:pt x="1324" y="100"/>
                  </a:lnTo>
                  <a:lnTo>
                    <a:pt x="1326" y="102"/>
                  </a:lnTo>
                  <a:close/>
                  <a:moveTo>
                    <a:pt x="1319" y="100"/>
                  </a:moveTo>
                  <a:lnTo>
                    <a:pt x="1317" y="100"/>
                  </a:lnTo>
                  <a:lnTo>
                    <a:pt x="1319" y="100"/>
                  </a:lnTo>
                  <a:close/>
                  <a:moveTo>
                    <a:pt x="1286" y="95"/>
                  </a:moveTo>
                  <a:lnTo>
                    <a:pt x="1284" y="95"/>
                  </a:lnTo>
                  <a:lnTo>
                    <a:pt x="1286" y="93"/>
                  </a:lnTo>
                  <a:lnTo>
                    <a:pt x="1286" y="95"/>
                  </a:lnTo>
                  <a:lnTo>
                    <a:pt x="1288" y="95"/>
                  </a:lnTo>
                  <a:lnTo>
                    <a:pt x="1286" y="95"/>
                  </a:lnTo>
                  <a:close/>
                  <a:moveTo>
                    <a:pt x="1127" y="93"/>
                  </a:moveTo>
                  <a:lnTo>
                    <a:pt x="1125" y="93"/>
                  </a:lnTo>
                  <a:lnTo>
                    <a:pt x="1122" y="93"/>
                  </a:lnTo>
                  <a:lnTo>
                    <a:pt x="1125" y="93"/>
                  </a:lnTo>
                  <a:lnTo>
                    <a:pt x="1127" y="93"/>
                  </a:lnTo>
                  <a:close/>
                  <a:moveTo>
                    <a:pt x="1134" y="93"/>
                  </a:moveTo>
                  <a:lnTo>
                    <a:pt x="1137" y="93"/>
                  </a:lnTo>
                  <a:lnTo>
                    <a:pt x="1139" y="95"/>
                  </a:lnTo>
                  <a:lnTo>
                    <a:pt x="1139" y="97"/>
                  </a:lnTo>
                  <a:lnTo>
                    <a:pt x="1139" y="100"/>
                  </a:lnTo>
                  <a:lnTo>
                    <a:pt x="1137" y="100"/>
                  </a:lnTo>
                  <a:lnTo>
                    <a:pt x="1134" y="100"/>
                  </a:lnTo>
                  <a:lnTo>
                    <a:pt x="1132" y="100"/>
                  </a:lnTo>
                  <a:lnTo>
                    <a:pt x="1129" y="100"/>
                  </a:lnTo>
                  <a:lnTo>
                    <a:pt x="1132" y="100"/>
                  </a:lnTo>
                  <a:lnTo>
                    <a:pt x="1129" y="100"/>
                  </a:lnTo>
                  <a:lnTo>
                    <a:pt x="1132" y="97"/>
                  </a:lnTo>
                  <a:lnTo>
                    <a:pt x="1129" y="97"/>
                  </a:lnTo>
                  <a:lnTo>
                    <a:pt x="1129" y="95"/>
                  </a:lnTo>
                  <a:lnTo>
                    <a:pt x="1129" y="93"/>
                  </a:lnTo>
                  <a:lnTo>
                    <a:pt x="1132" y="93"/>
                  </a:lnTo>
                  <a:lnTo>
                    <a:pt x="1134" y="93"/>
                  </a:lnTo>
                  <a:close/>
                  <a:moveTo>
                    <a:pt x="1172" y="93"/>
                  </a:moveTo>
                  <a:lnTo>
                    <a:pt x="1175" y="93"/>
                  </a:lnTo>
                  <a:lnTo>
                    <a:pt x="1177" y="93"/>
                  </a:lnTo>
                  <a:lnTo>
                    <a:pt x="1175" y="93"/>
                  </a:lnTo>
                  <a:lnTo>
                    <a:pt x="1175" y="95"/>
                  </a:lnTo>
                  <a:lnTo>
                    <a:pt x="1172" y="95"/>
                  </a:lnTo>
                  <a:lnTo>
                    <a:pt x="1167" y="97"/>
                  </a:lnTo>
                  <a:lnTo>
                    <a:pt x="1165" y="97"/>
                  </a:lnTo>
                  <a:lnTo>
                    <a:pt x="1165" y="100"/>
                  </a:lnTo>
                  <a:lnTo>
                    <a:pt x="1163" y="100"/>
                  </a:lnTo>
                  <a:lnTo>
                    <a:pt x="1160" y="100"/>
                  </a:lnTo>
                  <a:lnTo>
                    <a:pt x="1158" y="97"/>
                  </a:lnTo>
                  <a:lnTo>
                    <a:pt x="1160" y="97"/>
                  </a:lnTo>
                  <a:lnTo>
                    <a:pt x="1158" y="97"/>
                  </a:lnTo>
                  <a:lnTo>
                    <a:pt x="1156" y="97"/>
                  </a:lnTo>
                  <a:lnTo>
                    <a:pt x="1156" y="95"/>
                  </a:lnTo>
                  <a:lnTo>
                    <a:pt x="1158" y="95"/>
                  </a:lnTo>
                  <a:lnTo>
                    <a:pt x="1158" y="97"/>
                  </a:lnTo>
                  <a:lnTo>
                    <a:pt x="1160" y="97"/>
                  </a:lnTo>
                  <a:lnTo>
                    <a:pt x="1160" y="95"/>
                  </a:lnTo>
                  <a:lnTo>
                    <a:pt x="1163" y="95"/>
                  </a:lnTo>
                  <a:lnTo>
                    <a:pt x="1165" y="95"/>
                  </a:lnTo>
                  <a:lnTo>
                    <a:pt x="1163" y="95"/>
                  </a:lnTo>
                  <a:lnTo>
                    <a:pt x="1163" y="93"/>
                  </a:lnTo>
                  <a:lnTo>
                    <a:pt x="1165" y="93"/>
                  </a:lnTo>
                  <a:lnTo>
                    <a:pt x="1167" y="90"/>
                  </a:lnTo>
                  <a:lnTo>
                    <a:pt x="1170" y="90"/>
                  </a:lnTo>
                  <a:lnTo>
                    <a:pt x="1172" y="93"/>
                  </a:lnTo>
                  <a:close/>
                  <a:moveTo>
                    <a:pt x="1125" y="93"/>
                  </a:moveTo>
                  <a:lnTo>
                    <a:pt x="1122" y="93"/>
                  </a:lnTo>
                  <a:lnTo>
                    <a:pt x="1122" y="90"/>
                  </a:lnTo>
                  <a:lnTo>
                    <a:pt x="1125" y="90"/>
                  </a:lnTo>
                  <a:lnTo>
                    <a:pt x="1127" y="90"/>
                  </a:lnTo>
                  <a:lnTo>
                    <a:pt x="1127" y="93"/>
                  </a:lnTo>
                  <a:lnTo>
                    <a:pt x="1125" y="93"/>
                  </a:lnTo>
                  <a:close/>
                  <a:moveTo>
                    <a:pt x="1046" y="93"/>
                  </a:moveTo>
                  <a:lnTo>
                    <a:pt x="1044" y="93"/>
                  </a:lnTo>
                  <a:lnTo>
                    <a:pt x="1044" y="90"/>
                  </a:lnTo>
                  <a:lnTo>
                    <a:pt x="1046" y="90"/>
                  </a:lnTo>
                  <a:lnTo>
                    <a:pt x="1046" y="93"/>
                  </a:lnTo>
                  <a:close/>
                  <a:moveTo>
                    <a:pt x="1360" y="90"/>
                  </a:moveTo>
                  <a:lnTo>
                    <a:pt x="1362" y="90"/>
                  </a:lnTo>
                  <a:lnTo>
                    <a:pt x="1360" y="90"/>
                  </a:lnTo>
                  <a:close/>
                  <a:moveTo>
                    <a:pt x="1070" y="90"/>
                  </a:moveTo>
                  <a:lnTo>
                    <a:pt x="1073" y="90"/>
                  </a:lnTo>
                  <a:lnTo>
                    <a:pt x="1075" y="90"/>
                  </a:lnTo>
                  <a:lnTo>
                    <a:pt x="1077" y="90"/>
                  </a:lnTo>
                  <a:lnTo>
                    <a:pt x="1080" y="90"/>
                  </a:lnTo>
                  <a:lnTo>
                    <a:pt x="1082" y="90"/>
                  </a:lnTo>
                  <a:lnTo>
                    <a:pt x="1082" y="93"/>
                  </a:lnTo>
                  <a:lnTo>
                    <a:pt x="1080" y="93"/>
                  </a:lnTo>
                  <a:lnTo>
                    <a:pt x="1077" y="93"/>
                  </a:lnTo>
                  <a:lnTo>
                    <a:pt x="1073" y="93"/>
                  </a:lnTo>
                  <a:lnTo>
                    <a:pt x="1070" y="93"/>
                  </a:lnTo>
                  <a:lnTo>
                    <a:pt x="1070" y="90"/>
                  </a:lnTo>
                  <a:lnTo>
                    <a:pt x="1068" y="90"/>
                  </a:lnTo>
                  <a:lnTo>
                    <a:pt x="1070" y="90"/>
                  </a:lnTo>
                  <a:close/>
                  <a:moveTo>
                    <a:pt x="1334" y="90"/>
                  </a:moveTo>
                  <a:lnTo>
                    <a:pt x="1331" y="90"/>
                  </a:lnTo>
                  <a:lnTo>
                    <a:pt x="1329" y="90"/>
                  </a:lnTo>
                  <a:lnTo>
                    <a:pt x="1326" y="90"/>
                  </a:lnTo>
                  <a:lnTo>
                    <a:pt x="1324" y="90"/>
                  </a:lnTo>
                  <a:lnTo>
                    <a:pt x="1326" y="90"/>
                  </a:lnTo>
                  <a:lnTo>
                    <a:pt x="1329" y="90"/>
                  </a:lnTo>
                  <a:lnTo>
                    <a:pt x="1331" y="90"/>
                  </a:lnTo>
                  <a:lnTo>
                    <a:pt x="1334" y="90"/>
                  </a:lnTo>
                  <a:close/>
                  <a:moveTo>
                    <a:pt x="1369" y="90"/>
                  </a:moveTo>
                  <a:lnTo>
                    <a:pt x="1367" y="90"/>
                  </a:lnTo>
                  <a:lnTo>
                    <a:pt x="1369" y="90"/>
                  </a:lnTo>
                  <a:close/>
                  <a:moveTo>
                    <a:pt x="1371" y="88"/>
                  </a:moveTo>
                  <a:lnTo>
                    <a:pt x="1369" y="88"/>
                  </a:lnTo>
                  <a:lnTo>
                    <a:pt x="1371" y="88"/>
                  </a:lnTo>
                  <a:close/>
                  <a:moveTo>
                    <a:pt x="1148" y="90"/>
                  </a:moveTo>
                  <a:lnTo>
                    <a:pt x="1146" y="90"/>
                  </a:lnTo>
                  <a:lnTo>
                    <a:pt x="1146" y="88"/>
                  </a:lnTo>
                  <a:lnTo>
                    <a:pt x="1148" y="88"/>
                  </a:lnTo>
                  <a:lnTo>
                    <a:pt x="1151" y="88"/>
                  </a:lnTo>
                  <a:lnTo>
                    <a:pt x="1153" y="88"/>
                  </a:lnTo>
                  <a:lnTo>
                    <a:pt x="1148" y="90"/>
                  </a:lnTo>
                  <a:close/>
                  <a:moveTo>
                    <a:pt x="1194" y="86"/>
                  </a:moveTo>
                  <a:lnTo>
                    <a:pt x="1196" y="88"/>
                  </a:lnTo>
                  <a:lnTo>
                    <a:pt x="1198" y="88"/>
                  </a:lnTo>
                  <a:lnTo>
                    <a:pt x="1201" y="88"/>
                  </a:lnTo>
                  <a:lnTo>
                    <a:pt x="1201" y="90"/>
                  </a:lnTo>
                  <a:lnTo>
                    <a:pt x="1198" y="90"/>
                  </a:lnTo>
                  <a:lnTo>
                    <a:pt x="1196" y="90"/>
                  </a:lnTo>
                  <a:lnTo>
                    <a:pt x="1194" y="90"/>
                  </a:lnTo>
                  <a:lnTo>
                    <a:pt x="1194" y="88"/>
                  </a:lnTo>
                  <a:lnTo>
                    <a:pt x="1191" y="88"/>
                  </a:lnTo>
                  <a:lnTo>
                    <a:pt x="1189" y="88"/>
                  </a:lnTo>
                  <a:lnTo>
                    <a:pt x="1186" y="88"/>
                  </a:lnTo>
                  <a:lnTo>
                    <a:pt x="1184" y="88"/>
                  </a:lnTo>
                  <a:lnTo>
                    <a:pt x="1182" y="88"/>
                  </a:lnTo>
                  <a:lnTo>
                    <a:pt x="1184" y="86"/>
                  </a:lnTo>
                  <a:lnTo>
                    <a:pt x="1186" y="86"/>
                  </a:lnTo>
                  <a:lnTo>
                    <a:pt x="1189" y="86"/>
                  </a:lnTo>
                  <a:lnTo>
                    <a:pt x="1194" y="86"/>
                  </a:lnTo>
                  <a:close/>
                  <a:moveTo>
                    <a:pt x="1167" y="86"/>
                  </a:moveTo>
                  <a:lnTo>
                    <a:pt x="1170" y="88"/>
                  </a:lnTo>
                  <a:lnTo>
                    <a:pt x="1167" y="88"/>
                  </a:lnTo>
                  <a:lnTo>
                    <a:pt x="1165" y="88"/>
                  </a:lnTo>
                  <a:lnTo>
                    <a:pt x="1163" y="88"/>
                  </a:lnTo>
                  <a:lnTo>
                    <a:pt x="1160" y="88"/>
                  </a:lnTo>
                  <a:lnTo>
                    <a:pt x="1158" y="86"/>
                  </a:lnTo>
                  <a:lnTo>
                    <a:pt x="1160" y="86"/>
                  </a:lnTo>
                  <a:lnTo>
                    <a:pt x="1163" y="86"/>
                  </a:lnTo>
                  <a:lnTo>
                    <a:pt x="1165" y="86"/>
                  </a:lnTo>
                  <a:lnTo>
                    <a:pt x="1165" y="83"/>
                  </a:lnTo>
                  <a:lnTo>
                    <a:pt x="1167" y="83"/>
                  </a:lnTo>
                  <a:lnTo>
                    <a:pt x="1167" y="86"/>
                  </a:lnTo>
                  <a:close/>
                  <a:moveTo>
                    <a:pt x="1144" y="88"/>
                  </a:moveTo>
                  <a:lnTo>
                    <a:pt x="1141" y="88"/>
                  </a:lnTo>
                  <a:lnTo>
                    <a:pt x="1139" y="88"/>
                  </a:lnTo>
                  <a:lnTo>
                    <a:pt x="1141" y="86"/>
                  </a:lnTo>
                  <a:lnTo>
                    <a:pt x="1141" y="83"/>
                  </a:lnTo>
                  <a:lnTo>
                    <a:pt x="1146" y="83"/>
                  </a:lnTo>
                  <a:lnTo>
                    <a:pt x="1144" y="81"/>
                  </a:lnTo>
                  <a:lnTo>
                    <a:pt x="1146" y="81"/>
                  </a:lnTo>
                  <a:lnTo>
                    <a:pt x="1148" y="81"/>
                  </a:lnTo>
                  <a:lnTo>
                    <a:pt x="1148" y="83"/>
                  </a:lnTo>
                  <a:lnTo>
                    <a:pt x="1151" y="83"/>
                  </a:lnTo>
                  <a:lnTo>
                    <a:pt x="1153" y="83"/>
                  </a:lnTo>
                  <a:lnTo>
                    <a:pt x="1153" y="86"/>
                  </a:lnTo>
                  <a:lnTo>
                    <a:pt x="1151" y="86"/>
                  </a:lnTo>
                  <a:lnTo>
                    <a:pt x="1151" y="88"/>
                  </a:lnTo>
                  <a:lnTo>
                    <a:pt x="1148" y="88"/>
                  </a:lnTo>
                  <a:lnTo>
                    <a:pt x="1146" y="88"/>
                  </a:lnTo>
                  <a:lnTo>
                    <a:pt x="1144" y="88"/>
                  </a:lnTo>
                  <a:close/>
                  <a:moveTo>
                    <a:pt x="1215" y="81"/>
                  </a:moveTo>
                  <a:lnTo>
                    <a:pt x="1213" y="81"/>
                  </a:lnTo>
                  <a:lnTo>
                    <a:pt x="1210" y="81"/>
                  </a:lnTo>
                  <a:lnTo>
                    <a:pt x="1208" y="81"/>
                  </a:lnTo>
                  <a:lnTo>
                    <a:pt x="1210" y="81"/>
                  </a:lnTo>
                  <a:lnTo>
                    <a:pt x="1213" y="81"/>
                  </a:lnTo>
                  <a:lnTo>
                    <a:pt x="1215" y="81"/>
                  </a:lnTo>
                  <a:close/>
                  <a:moveTo>
                    <a:pt x="1156" y="78"/>
                  </a:moveTo>
                  <a:lnTo>
                    <a:pt x="1158" y="78"/>
                  </a:lnTo>
                  <a:lnTo>
                    <a:pt x="1160" y="78"/>
                  </a:lnTo>
                  <a:lnTo>
                    <a:pt x="1163" y="81"/>
                  </a:lnTo>
                  <a:lnTo>
                    <a:pt x="1160" y="81"/>
                  </a:lnTo>
                  <a:lnTo>
                    <a:pt x="1160" y="83"/>
                  </a:lnTo>
                  <a:lnTo>
                    <a:pt x="1158" y="83"/>
                  </a:lnTo>
                  <a:lnTo>
                    <a:pt x="1156" y="83"/>
                  </a:lnTo>
                  <a:lnTo>
                    <a:pt x="1153" y="83"/>
                  </a:lnTo>
                  <a:lnTo>
                    <a:pt x="1151" y="81"/>
                  </a:lnTo>
                  <a:lnTo>
                    <a:pt x="1146" y="81"/>
                  </a:lnTo>
                  <a:lnTo>
                    <a:pt x="1146" y="78"/>
                  </a:lnTo>
                  <a:lnTo>
                    <a:pt x="1148" y="78"/>
                  </a:lnTo>
                  <a:lnTo>
                    <a:pt x="1151" y="78"/>
                  </a:lnTo>
                  <a:lnTo>
                    <a:pt x="1153" y="78"/>
                  </a:lnTo>
                  <a:lnTo>
                    <a:pt x="1156" y="78"/>
                  </a:lnTo>
                  <a:close/>
                  <a:moveTo>
                    <a:pt x="1393" y="76"/>
                  </a:moveTo>
                  <a:lnTo>
                    <a:pt x="1393" y="74"/>
                  </a:lnTo>
                  <a:lnTo>
                    <a:pt x="1390" y="74"/>
                  </a:lnTo>
                  <a:lnTo>
                    <a:pt x="1393" y="74"/>
                  </a:lnTo>
                  <a:lnTo>
                    <a:pt x="1393" y="76"/>
                  </a:lnTo>
                  <a:close/>
                  <a:moveTo>
                    <a:pt x="1139" y="76"/>
                  </a:moveTo>
                  <a:lnTo>
                    <a:pt x="1137" y="76"/>
                  </a:lnTo>
                  <a:lnTo>
                    <a:pt x="1134" y="76"/>
                  </a:lnTo>
                  <a:lnTo>
                    <a:pt x="1137" y="74"/>
                  </a:lnTo>
                  <a:lnTo>
                    <a:pt x="1139" y="76"/>
                  </a:lnTo>
                  <a:close/>
                  <a:moveTo>
                    <a:pt x="1284" y="76"/>
                  </a:moveTo>
                  <a:lnTo>
                    <a:pt x="1281" y="76"/>
                  </a:lnTo>
                  <a:lnTo>
                    <a:pt x="1279" y="76"/>
                  </a:lnTo>
                  <a:lnTo>
                    <a:pt x="1277" y="76"/>
                  </a:lnTo>
                  <a:lnTo>
                    <a:pt x="1274" y="74"/>
                  </a:lnTo>
                  <a:lnTo>
                    <a:pt x="1277" y="74"/>
                  </a:lnTo>
                  <a:lnTo>
                    <a:pt x="1279" y="74"/>
                  </a:lnTo>
                  <a:lnTo>
                    <a:pt x="1284" y="74"/>
                  </a:lnTo>
                  <a:lnTo>
                    <a:pt x="1284" y="71"/>
                  </a:lnTo>
                  <a:lnTo>
                    <a:pt x="1286" y="71"/>
                  </a:lnTo>
                  <a:lnTo>
                    <a:pt x="1284" y="74"/>
                  </a:lnTo>
                  <a:lnTo>
                    <a:pt x="1284" y="76"/>
                  </a:lnTo>
                  <a:close/>
                  <a:moveTo>
                    <a:pt x="1258" y="71"/>
                  </a:moveTo>
                  <a:lnTo>
                    <a:pt x="1255" y="71"/>
                  </a:lnTo>
                  <a:lnTo>
                    <a:pt x="1258" y="71"/>
                  </a:lnTo>
                  <a:close/>
                  <a:moveTo>
                    <a:pt x="1286" y="71"/>
                  </a:moveTo>
                  <a:lnTo>
                    <a:pt x="1288" y="71"/>
                  </a:lnTo>
                  <a:lnTo>
                    <a:pt x="1286" y="71"/>
                  </a:lnTo>
                  <a:close/>
                  <a:moveTo>
                    <a:pt x="1108" y="81"/>
                  </a:moveTo>
                  <a:lnTo>
                    <a:pt x="1106" y="81"/>
                  </a:lnTo>
                  <a:lnTo>
                    <a:pt x="1103" y="81"/>
                  </a:lnTo>
                  <a:lnTo>
                    <a:pt x="1101" y="81"/>
                  </a:lnTo>
                  <a:lnTo>
                    <a:pt x="1101" y="78"/>
                  </a:lnTo>
                  <a:lnTo>
                    <a:pt x="1099" y="78"/>
                  </a:lnTo>
                  <a:lnTo>
                    <a:pt x="1101" y="78"/>
                  </a:lnTo>
                  <a:lnTo>
                    <a:pt x="1101" y="76"/>
                  </a:lnTo>
                  <a:lnTo>
                    <a:pt x="1099" y="76"/>
                  </a:lnTo>
                  <a:lnTo>
                    <a:pt x="1101" y="76"/>
                  </a:lnTo>
                  <a:lnTo>
                    <a:pt x="1101" y="74"/>
                  </a:lnTo>
                  <a:lnTo>
                    <a:pt x="1103" y="74"/>
                  </a:lnTo>
                  <a:lnTo>
                    <a:pt x="1101" y="74"/>
                  </a:lnTo>
                  <a:lnTo>
                    <a:pt x="1099" y="74"/>
                  </a:lnTo>
                  <a:lnTo>
                    <a:pt x="1099" y="71"/>
                  </a:lnTo>
                  <a:lnTo>
                    <a:pt x="1096" y="71"/>
                  </a:lnTo>
                  <a:lnTo>
                    <a:pt x="1094" y="71"/>
                  </a:lnTo>
                  <a:lnTo>
                    <a:pt x="1096" y="71"/>
                  </a:lnTo>
                  <a:lnTo>
                    <a:pt x="1099" y="71"/>
                  </a:lnTo>
                  <a:lnTo>
                    <a:pt x="1099" y="69"/>
                  </a:lnTo>
                  <a:lnTo>
                    <a:pt x="1101" y="69"/>
                  </a:lnTo>
                  <a:lnTo>
                    <a:pt x="1101" y="71"/>
                  </a:lnTo>
                  <a:lnTo>
                    <a:pt x="1103" y="71"/>
                  </a:lnTo>
                  <a:lnTo>
                    <a:pt x="1106" y="71"/>
                  </a:lnTo>
                  <a:lnTo>
                    <a:pt x="1106" y="74"/>
                  </a:lnTo>
                  <a:lnTo>
                    <a:pt x="1106" y="76"/>
                  </a:lnTo>
                  <a:lnTo>
                    <a:pt x="1108" y="78"/>
                  </a:lnTo>
                  <a:lnTo>
                    <a:pt x="1110" y="78"/>
                  </a:lnTo>
                  <a:lnTo>
                    <a:pt x="1110" y="81"/>
                  </a:lnTo>
                  <a:lnTo>
                    <a:pt x="1108" y="81"/>
                  </a:lnTo>
                  <a:close/>
                  <a:moveTo>
                    <a:pt x="1445" y="69"/>
                  </a:moveTo>
                  <a:lnTo>
                    <a:pt x="1443" y="69"/>
                  </a:lnTo>
                  <a:lnTo>
                    <a:pt x="1440" y="69"/>
                  </a:lnTo>
                  <a:lnTo>
                    <a:pt x="1443" y="69"/>
                  </a:lnTo>
                  <a:lnTo>
                    <a:pt x="1443" y="67"/>
                  </a:lnTo>
                  <a:lnTo>
                    <a:pt x="1445" y="69"/>
                  </a:lnTo>
                  <a:close/>
                  <a:moveTo>
                    <a:pt x="1326" y="55"/>
                  </a:moveTo>
                  <a:lnTo>
                    <a:pt x="1329" y="55"/>
                  </a:lnTo>
                  <a:lnTo>
                    <a:pt x="1326" y="55"/>
                  </a:lnTo>
                  <a:close/>
                  <a:moveTo>
                    <a:pt x="1426" y="50"/>
                  </a:moveTo>
                  <a:lnTo>
                    <a:pt x="1424" y="50"/>
                  </a:lnTo>
                  <a:lnTo>
                    <a:pt x="1424" y="48"/>
                  </a:lnTo>
                  <a:lnTo>
                    <a:pt x="1426" y="50"/>
                  </a:lnTo>
                  <a:close/>
                  <a:moveTo>
                    <a:pt x="1260" y="50"/>
                  </a:moveTo>
                  <a:lnTo>
                    <a:pt x="1258" y="50"/>
                  </a:lnTo>
                  <a:lnTo>
                    <a:pt x="1255" y="48"/>
                  </a:lnTo>
                  <a:lnTo>
                    <a:pt x="1258" y="48"/>
                  </a:lnTo>
                  <a:lnTo>
                    <a:pt x="1260" y="48"/>
                  </a:lnTo>
                  <a:lnTo>
                    <a:pt x="1262" y="48"/>
                  </a:lnTo>
                  <a:lnTo>
                    <a:pt x="1262" y="50"/>
                  </a:lnTo>
                  <a:lnTo>
                    <a:pt x="1260" y="50"/>
                  </a:lnTo>
                  <a:close/>
                  <a:moveTo>
                    <a:pt x="1279" y="43"/>
                  </a:moveTo>
                  <a:lnTo>
                    <a:pt x="1277" y="43"/>
                  </a:lnTo>
                  <a:lnTo>
                    <a:pt x="1274" y="40"/>
                  </a:lnTo>
                  <a:lnTo>
                    <a:pt x="1272" y="40"/>
                  </a:lnTo>
                  <a:lnTo>
                    <a:pt x="1272" y="38"/>
                  </a:lnTo>
                  <a:lnTo>
                    <a:pt x="1274" y="38"/>
                  </a:lnTo>
                  <a:lnTo>
                    <a:pt x="1277" y="38"/>
                  </a:lnTo>
                  <a:lnTo>
                    <a:pt x="1279" y="38"/>
                  </a:lnTo>
                  <a:lnTo>
                    <a:pt x="1281" y="38"/>
                  </a:lnTo>
                  <a:lnTo>
                    <a:pt x="1284" y="38"/>
                  </a:lnTo>
                  <a:lnTo>
                    <a:pt x="1284" y="40"/>
                  </a:lnTo>
                  <a:lnTo>
                    <a:pt x="1281" y="40"/>
                  </a:lnTo>
                  <a:lnTo>
                    <a:pt x="1279" y="43"/>
                  </a:lnTo>
                  <a:close/>
                  <a:moveTo>
                    <a:pt x="1134" y="40"/>
                  </a:moveTo>
                  <a:lnTo>
                    <a:pt x="1132" y="40"/>
                  </a:lnTo>
                  <a:lnTo>
                    <a:pt x="1132" y="38"/>
                  </a:lnTo>
                  <a:lnTo>
                    <a:pt x="1134" y="38"/>
                  </a:lnTo>
                  <a:lnTo>
                    <a:pt x="1137" y="40"/>
                  </a:lnTo>
                  <a:lnTo>
                    <a:pt x="1134" y="40"/>
                  </a:lnTo>
                  <a:close/>
                  <a:moveTo>
                    <a:pt x="1277" y="36"/>
                  </a:moveTo>
                  <a:lnTo>
                    <a:pt x="1277" y="38"/>
                  </a:lnTo>
                  <a:lnTo>
                    <a:pt x="1274" y="38"/>
                  </a:lnTo>
                  <a:lnTo>
                    <a:pt x="1272" y="38"/>
                  </a:lnTo>
                  <a:lnTo>
                    <a:pt x="1269" y="38"/>
                  </a:lnTo>
                  <a:lnTo>
                    <a:pt x="1272" y="38"/>
                  </a:lnTo>
                  <a:lnTo>
                    <a:pt x="1269" y="38"/>
                  </a:lnTo>
                  <a:lnTo>
                    <a:pt x="1267" y="38"/>
                  </a:lnTo>
                  <a:lnTo>
                    <a:pt x="1265" y="38"/>
                  </a:lnTo>
                  <a:lnTo>
                    <a:pt x="1262" y="38"/>
                  </a:lnTo>
                  <a:lnTo>
                    <a:pt x="1260" y="38"/>
                  </a:lnTo>
                  <a:lnTo>
                    <a:pt x="1262" y="36"/>
                  </a:lnTo>
                  <a:lnTo>
                    <a:pt x="1265" y="36"/>
                  </a:lnTo>
                  <a:lnTo>
                    <a:pt x="1267" y="36"/>
                  </a:lnTo>
                  <a:lnTo>
                    <a:pt x="1269" y="36"/>
                  </a:lnTo>
                  <a:lnTo>
                    <a:pt x="1272" y="36"/>
                  </a:lnTo>
                  <a:lnTo>
                    <a:pt x="1277" y="36"/>
                  </a:lnTo>
                  <a:close/>
                  <a:moveTo>
                    <a:pt x="1267" y="33"/>
                  </a:moveTo>
                  <a:lnTo>
                    <a:pt x="1265" y="33"/>
                  </a:lnTo>
                  <a:lnTo>
                    <a:pt x="1267" y="33"/>
                  </a:lnTo>
                  <a:lnTo>
                    <a:pt x="1267" y="31"/>
                  </a:lnTo>
                  <a:lnTo>
                    <a:pt x="1267" y="33"/>
                  </a:lnTo>
                  <a:close/>
                  <a:moveTo>
                    <a:pt x="1296" y="31"/>
                  </a:moveTo>
                  <a:lnTo>
                    <a:pt x="1298" y="31"/>
                  </a:lnTo>
                  <a:lnTo>
                    <a:pt x="1300" y="31"/>
                  </a:lnTo>
                  <a:lnTo>
                    <a:pt x="1305" y="31"/>
                  </a:lnTo>
                  <a:lnTo>
                    <a:pt x="1307" y="31"/>
                  </a:lnTo>
                  <a:lnTo>
                    <a:pt x="1310" y="31"/>
                  </a:lnTo>
                  <a:lnTo>
                    <a:pt x="1312" y="31"/>
                  </a:lnTo>
                  <a:lnTo>
                    <a:pt x="1312" y="33"/>
                  </a:lnTo>
                  <a:lnTo>
                    <a:pt x="1315" y="33"/>
                  </a:lnTo>
                  <a:lnTo>
                    <a:pt x="1312" y="33"/>
                  </a:lnTo>
                  <a:lnTo>
                    <a:pt x="1310" y="33"/>
                  </a:lnTo>
                  <a:lnTo>
                    <a:pt x="1305" y="33"/>
                  </a:lnTo>
                  <a:lnTo>
                    <a:pt x="1300" y="33"/>
                  </a:lnTo>
                  <a:lnTo>
                    <a:pt x="1296" y="33"/>
                  </a:lnTo>
                  <a:lnTo>
                    <a:pt x="1293" y="33"/>
                  </a:lnTo>
                  <a:lnTo>
                    <a:pt x="1291" y="33"/>
                  </a:lnTo>
                  <a:lnTo>
                    <a:pt x="1291" y="31"/>
                  </a:lnTo>
                  <a:lnTo>
                    <a:pt x="1288" y="31"/>
                  </a:lnTo>
                  <a:lnTo>
                    <a:pt x="1291" y="31"/>
                  </a:lnTo>
                  <a:lnTo>
                    <a:pt x="1293" y="31"/>
                  </a:lnTo>
                  <a:lnTo>
                    <a:pt x="1296" y="31"/>
                  </a:lnTo>
                  <a:close/>
                  <a:moveTo>
                    <a:pt x="1241" y="29"/>
                  </a:moveTo>
                  <a:lnTo>
                    <a:pt x="1239" y="29"/>
                  </a:lnTo>
                  <a:lnTo>
                    <a:pt x="1241" y="29"/>
                  </a:lnTo>
                  <a:close/>
                  <a:moveTo>
                    <a:pt x="1241" y="29"/>
                  </a:moveTo>
                  <a:lnTo>
                    <a:pt x="1241" y="26"/>
                  </a:lnTo>
                  <a:lnTo>
                    <a:pt x="1241" y="29"/>
                  </a:lnTo>
                  <a:close/>
                  <a:moveTo>
                    <a:pt x="1341" y="26"/>
                  </a:moveTo>
                  <a:lnTo>
                    <a:pt x="1343" y="26"/>
                  </a:lnTo>
                  <a:lnTo>
                    <a:pt x="1343" y="29"/>
                  </a:lnTo>
                  <a:lnTo>
                    <a:pt x="1341" y="29"/>
                  </a:lnTo>
                  <a:lnTo>
                    <a:pt x="1338" y="29"/>
                  </a:lnTo>
                  <a:lnTo>
                    <a:pt x="1336" y="29"/>
                  </a:lnTo>
                  <a:lnTo>
                    <a:pt x="1334" y="29"/>
                  </a:lnTo>
                  <a:lnTo>
                    <a:pt x="1326" y="26"/>
                  </a:lnTo>
                  <a:lnTo>
                    <a:pt x="1324" y="26"/>
                  </a:lnTo>
                  <a:lnTo>
                    <a:pt x="1322" y="26"/>
                  </a:lnTo>
                  <a:lnTo>
                    <a:pt x="1319" y="26"/>
                  </a:lnTo>
                  <a:lnTo>
                    <a:pt x="1317" y="26"/>
                  </a:lnTo>
                  <a:lnTo>
                    <a:pt x="1319" y="24"/>
                  </a:lnTo>
                  <a:lnTo>
                    <a:pt x="1322" y="24"/>
                  </a:lnTo>
                  <a:lnTo>
                    <a:pt x="1324" y="24"/>
                  </a:lnTo>
                  <a:lnTo>
                    <a:pt x="1326" y="24"/>
                  </a:lnTo>
                  <a:lnTo>
                    <a:pt x="1331" y="24"/>
                  </a:lnTo>
                  <a:lnTo>
                    <a:pt x="1334" y="24"/>
                  </a:lnTo>
                  <a:lnTo>
                    <a:pt x="1338" y="26"/>
                  </a:lnTo>
                  <a:lnTo>
                    <a:pt x="1341" y="26"/>
                  </a:lnTo>
                  <a:close/>
                  <a:moveTo>
                    <a:pt x="1141" y="26"/>
                  </a:moveTo>
                  <a:lnTo>
                    <a:pt x="1139" y="26"/>
                  </a:lnTo>
                  <a:lnTo>
                    <a:pt x="1137" y="26"/>
                  </a:lnTo>
                  <a:lnTo>
                    <a:pt x="1137" y="24"/>
                  </a:lnTo>
                  <a:lnTo>
                    <a:pt x="1134" y="24"/>
                  </a:lnTo>
                  <a:lnTo>
                    <a:pt x="1134" y="21"/>
                  </a:lnTo>
                  <a:lnTo>
                    <a:pt x="1132" y="21"/>
                  </a:lnTo>
                  <a:lnTo>
                    <a:pt x="1134" y="21"/>
                  </a:lnTo>
                  <a:lnTo>
                    <a:pt x="1137" y="24"/>
                  </a:lnTo>
                  <a:lnTo>
                    <a:pt x="1139" y="24"/>
                  </a:lnTo>
                  <a:lnTo>
                    <a:pt x="1139" y="26"/>
                  </a:lnTo>
                  <a:lnTo>
                    <a:pt x="1141" y="26"/>
                  </a:lnTo>
                  <a:lnTo>
                    <a:pt x="1144" y="26"/>
                  </a:lnTo>
                  <a:lnTo>
                    <a:pt x="1141" y="26"/>
                  </a:lnTo>
                  <a:close/>
                  <a:moveTo>
                    <a:pt x="1156" y="19"/>
                  </a:moveTo>
                  <a:lnTo>
                    <a:pt x="1153" y="19"/>
                  </a:lnTo>
                  <a:lnTo>
                    <a:pt x="1156" y="19"/>
                  </a:lnTo>
                  <a:lnTo>
                    <a:pt x="1153" y="19"/>
                  </a:lnTo>
                  <a:lnTo>
                    <a:pt x="1156" y="19"/>
                  </a:lnTo>
                  <a:close/>
                  <a:moveTo>
                    <a:pt x="1284" y="14"/>
                  </a:moveTo>
                  <a:lnTo>
                    <a:pt x="1281" y="14"/>
                  </a:lnTo>
                  <a:lnTo>
                    <a:pt x="1279" y="14"/>
                  </a:lnTo>
                  <a:lnTo>
                    <a:pt x="1281" y="14"/>
                  </a:lnTo>
                  <a:lnTo>
                    <a:pt x="1284" y="14"/>
                  </a:lnTo>
                  <a:close/>
                  <a:moveTo>
                    <a:pt x="1267" y="10"/>
                  </a:moveTo>
                  <a:lnTo>
                    <a:pt x="1265" y="10"/>
                  </a:lnTo>
                  <a:lnTo>
                    <a:pt x="1267" y="10"/>
                  </a:lnTo>
                  <a:lnTo>
                    <a:pt x="1269" y="10"/>
                  </a:lnTo>
                  <a:lnTo>
                    <a:pt x="1267" y="10"/>
                  </a:lnTo>
                  <a:close/>
                  <a:moveTo>
                    <a:pt x="1265" y="10"/>
                  </a:moveTo>
                  <a:lnTo>
                    <a:pt x="1267" y="10"/>
                  </a:lnTo>
                  <a:lnTo>
                    <a:pt x="1265" y="10"/>
                  </a:lnTo>
                  <a:close/>
                  <a:moveTo>
                    <a:pt x="1393" y="10"/>
                  </a:moveTo>
                  <a:lnTo>
                    <a:pt x="1390" y="10"/>
                  </a:lnTo>
                  <a:lnTo>
                    <a:pt x="1388" y="10"/>
                  </a:lnTo>
                  <a:lnTo>
                    <a:pt x="1386" y="10"/>
                  </a:lnTo>
                  <a:lnTo>
                    <a:pt x="1383" y="7"/>
                  </a:lnTo>
                  <a:lnTo>
                    <a:pt x="1383" y="5"/>
                  </a:lnTo>
                  <a:lnTo>
                    <a:pt x="1381" y="5"/>
                  </a:lnTo>
                  <a:lnTo>
                    <a:pt x="1383" y="5"/>
                  </a:lnTo>
                  <a:lnTo>
                    <a:pt x="1386" y="5"/>
                  </a:lnTo>
                  <a:lnTo>
                    <a:pt x="1390" y="5"/>
                  </a:lnTo>
                  <a:lnTo>
                    <a:pt x="1393" y="5"/>
                  </a:lnTo>
                  <a:lnTo>
                    <a:pt x="1395" y="7"/>
                  </a:lnTo>
                  <a:lnTo>
                    <a:pt x="1398" y="7"/>
                  </a:lnTo>
                  <a:lnTo>
                    <a:pt x="1393" y="10"/>
                  </a:lnTo>
                  <a:close/>
                  <a:moveTo>
                    <a:pt x="1281" y="2"/>
                  </a:moveTo>
                  <a:lnTo>
                    <a:pt x="1279" y="2"/>
                  </a:lnTo>
                  <a:lnTo>
                    <a:pt x="1281" y="2"/>
                  </a:lnTo>
                  <a:close/>
                  <a:moveTo>
                    <a:pt x="1279" y="2"/>
                  </a:moveTo>
                  <a:lnTo>
                    <a:pt x="1281" y="2"/>
                  </a:lnTo>
                  <a:lnTo>
                    <a:pt x="1279" y="5"/>
                  </a:lnTo>
                  <a:lnTo>
                    <a:pt x="1277" y="5"/>
                  </a:lnTo>
                  <a:lnTo>
                    <a:pt x="1274" y="5"/>
                  </a:lnTo>
                  <a:lnTo>
                    <a:pt x="1272" y="5"/>
                  </a:lnTo>
                  <a:lnTo>
                    <a:pt x="1269" y="5"/>
                  </a:lnTo>
                  <a:lnTo>
                    <a:pt x="1267" y="5"/>
                  </a:lnTo>
                  <a:lnTo>
                    <a:pt x="1265" y="5"/>
                  </a:lnTo>
                  <a:lnTo>
                    <a:pt x="1267" y="5"/>
                  </a:lnTo>
                  <a:lnTo>
                    <a:pt x="1269" y="2"/>
                  </a:lnTo>
                  <a:lnTo>
                    <a:pt x="1272" y="2"/>
                  </a:lnTo>
                  <a:lnTo>
                    <a:pt x="1274" y="2"/>
                  </a:lnTo>
                  <a:lnTo>
                    <a:pt x="1277" y="2"/>
                  </a:lnTo>
                  <a:lnTo>
                    <a:pt x="1279" y="2"/>
                  </a:lnTo>
                  <a:close/>
                  <a:moveTo>
                    <a:pt x="1284" y="2"/>
                  </a:moveTo>
                  <a:lnTo>
                    <a:pt x="1281" y="2"/>
                  </a:lnTo>
                  <a:lnTo>
                    <a:pt x="1284" y="2"/>
                  </a:lnTo>
                  <a:close/>
                  <a:moveTo>
                    <a:pt x="1386" y="2"/>
                  </a:moveTo>
                  <a:lnTo>
                    <a:pt x="1386" y="0"/>
                  </a:lnTo>
                  <a:lnTo>
                    <a:pt x="1388" y="0"/>
                  </a:lnTo>
                  <a:lnTo>
                    <a:pt x="1388" y="2"/>
                  </a:lnTo>
                  <a:lnTo>
                    <a:pt x="1386" y="2"/>
                  </a:lnTo>
                  <a:close/>
                  <a:moveTo>
                    <a:pt x="1281" y="0"/>
                  </a:moveTo>
                  <a:lnTo>
                    <a:pt x="1284" y="0"/>
                  </a:lnTo>
                  <a:lnTo>
                    <a:pt x="128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2" name="Freeform 55952"/>
            <p:cNvSpPr>
              <a:spLocks noEditPoints="1"/>
            </p:cNvSpPr>
            <p:nvPr/>
          </p:nvSpPr>
          <p:spPr bwMode="auto">
            <a:xfrm>
              <a:off x="3071809" y="2408247"/>
              <a:ext cx="2351086" cy="2662247"/>
            </a:xfrm>
            <a:custGeom>
              <a:avLst/>
              <a:gdLst>
                <a:gd name="T0" fmla="*/ 926 w 1481"/>
                <a:gd name="T1" fmla="*/ 1658 h 1677"/>
                <a:gd name="T2" fmla="*/ 954 w 1481"/>
                <a:gd name="T3" fmla="*/ 1646 h 1677"/>
                <a:gd name="T4" fmla="*/ 957 w 1481"/>
                <a:gd name="T5" fmla="*/ 1632 h 1677"/>
                <a:gd name="T6" fmla="*/ 3 w 1481"/>
                <a:gd name="T7" fmla="*/ 1214 h 1677"/>
                <a:gd name="T8" fmla="*/ 276 w 1481"/>
                <a:gd name="T9" fmla="*/ 934 h 1677"/>
                <a:gd name="T10" fmla="*/ 264 w 1481"/>
                <a:gd name="T11" fmla="*/ 910 h 1677"/>
                <a:gd name="T12" fmla="*/ 285 w 1481"/>
                <a:gd name="T13" fmla="*/ 903 h 1677"/>
                <a:gd name="T14" fmla="*/ 753 w 1481"/>
                <a:gd name="T15" fmla="*/ 827 h 1677"/>
                <a:gd name="T16" fmla="*/ 791 w 1481"/>
                <a:gd name="T17" fmla="*/ 805 h 1677"/>
                <a:gd name="T18" fmla="*/ 748 w 1481"/>
                <a:gd name="T19" fmla="*/ 777 h 1677"/>
                <a:gd name="T20" fmla="*/ 1189 w 1481"/>
                <a:gd name="T21" fmla="*/ 763 h 1677"/>
                <a:gd name="T22" fmla="*/ 558 w 1481"/>
                <a:gd name="T23" fmla="*/ 722 h 1677"/>
                <a:gd name="T24" fmla="*/ 556 w 1481"/>
                <a:gd name="T25" fmla="*/ 710 h 1677"/>
                <a:gd name="T26" fmla="*/ 712 w 1481"/>
                <a:gd name="T27" fmla="*/ 703 h 1677"/>
                <a:gd name="T28" fmla="*/ 518 w 1481"/>
                <a:gd name="T29" fmla="*/ 699 h 1677"/>
                <a:gd name="T30" fmla="*/ 496 w 1481"/>
                <a:gd name="T31" fmla="*/ 691 h 1677"/>
                <a:gd name="T32" fmla="*/ 665 w 1481"/>
                <a:gd name="T33" fmla="*/ 689 h 1677"/>
                <a:gd name="T34" fmla="*/ 786 w 1481"/>
                <a:gd name="T35" fmla="*/ 680 h 1677"/>
                <a:gd name="T36" fmla="*/ 674 w 1481"/>
                <a:gd name="T37" fmla="*/ 677 h 1677"/>
                <a:gd name="T38" fmla="*/ 492 w 1481"/>
                <a:gd name="T39" fmla="*/ 668 h 1677"/>
                <a:gd name="T40" fmla="*/ 489 w 1481"/>
                <a:gd name="T41" fmla="*/ 665 h 1677"/>
                <a:gd name="T42" fmla="*/ 494 w 1481"/>
                <a:gd name="T43" fmla="*/ 661 h 1677"/>
                <a:gd name="T44" fmla="*/ 484 w 1481"/>
                <a:gd name="T45" fmla="*/ 656 h 1677"/>
                <a:gd name="T46" fmla="*/ 829 w 1481"/>
                <a:gd name="T47" fmla="*/ 646 h 1677"/>
                <a:gd name="T48" fmla="*/ 484 w 1481"/>
                <a:gd name="T49" fmla="*/ 639 h 1677"/>
                <a:gd name="T50" fmla="*/ 487 w 1481"/>
                <a:gd name="T51" fmla="*/ 634 h 1677"/>
                <a:gd name="T52" fmla="*/ 487 w 1481"/>
                <a:gd name="T53" fmla="*/ 625 h 1677"/>
                <a:gd name="T54" fmla="*/ 489 w 1481"/>
                <a:gd name="T55" fmla="*/ 620 h 1677"/>
                <a:gd name="T56" fmla="*/ 494 w 1481"/>
                <a:gd name="T57" fmla="*/ 618 h 1677"/>
                <a:gd name="T58" fmla="*/ 492 w 1481"/>
                <a:gd name="T59" fmla="*/ 613 h 1677"/>
                <a:gd name="T60" fmla="*/ 774 w 1481"/>
                <a:gd name="T61" fmla="*/ 606 h 1677"/>
                <a:gd name="T62" fmla="*/ 1315 w 1481"/>
                <a:gd name="T63" fmla="*/ 592 h 1677"/>
                <a:gd name="T64" fmla="*/ 456 w 1481"/>
                <a:gd name="T65" fmla="*/ 582 h 1677"/>
                <a:gd name="T66" fmla="*/ 805 w 1481"/>
                <a:gd name="T67" fmla="*/ 580 h 1677"/>
                <a:gd name="T68" fmla="*/ 1407 w 1481"/>
                <a:gd name="T69" fmla="*/ 573 h 1677"/>
                <a:gd name="T70" fmla="*/ 425 w 1481"/>
                <a:gd name="T71" fmla="*/ 568 h 1677"/>
                <a:gd name="T72" fmla="*/ 420 w 1481"/>
                <a:gd name="T73" fmla="*/ 561 h 1677"/>
                <a:gd name="T74" fmla="*/ 425 w 1481"/>
                <a:gd name="T75" fmla="*/ 551 h 1677"/>
                <a:gd name="T76" fmla="*/ 413 w 1481"/>
                <a:gd name="T77" fmla="*/ 546 h 1677"/>
                <a:gd name="T78" fmla="*/ 1049 w 1481"/>
                <a:gd name="T79" fmla="*/ 535 h 1677"/>
                <a:gd name="T80" fmla="*/ 1066 w 1481"/>
                <a:gd name="T81" fmla="*/ 506 h 1677"/>
                <a:gd name="T82" fmla="*/ 800 w 1481"/>
                <a:gd name="T83" fmla="*/ 492 h 1677"/>
                <a:gd name="T84" fmla="*/ 883 w 1481"/>
                <a:gd name="T85" fmla="*/ 485 h 1677"/>
                <a:gd name="T86" fmla="*/ 1313 w 1481"/>
                <a:gd name="T87" fmla="*/ 473 h 1677"/>
                <a:gd name="T88" fmla="*/ 1163 w 1481"/>
                <a:gd name="T89" fmla="*/ 463 h 1677"/>
                <a:gd name="T90" fmla="*/ 1071 w 1481"/>
                <a:gd name="T91" fmla="*/ 461 h 1677"/>
                <a:gd name="T92" fmla="*/ 1215 w 1481"/>
                <a:gd name="T93" fmla="*/ 459 h 1677"/>
                <a:gd name="T94" fmla="*/ 1294 w 1481"/>
                <a:gd name="T95" fmla="*/ 456 h 1677"/>
                <a:gd name="T96" fmla="*/ 1310 w 1481"/>
                <a:gd name="T97" fmla="*/ 451 h 1677"/>
                <a:gd name="T98" fmla="*/ 1123 w 1481"/>
                <a:gd name="T99" fmla="*/ 447 h 1677"/>
                <a:gd name="T100" fmla="*/ 1118 w 1481"/>
                <a:gd name="T101" fmla="*/ 442 h 1677"/>
                <a:gd name="T102" fmla="*/ 1298 w 1481"/>
                <a:gd name="T103" fmla="*/ 442 h 1677"/>
                <a:gd name="T104" fmla="*/ 987 w 1481"/>
                <a:gd name="T105" fmla="*/ 435 h 1677"/>
                <a:gd name="T106" fmla="*/ 992 w 1481"/>
                <a:gd name="T107" fmla="*/ 435 h 1677"/>
                <a:gd name="T108" fmla="*/ 1310 w 1481"/>
                <a:gd name="T109" fmla="*/ 430 h 1677"/>
                <a:gd name="T110" fmla="*/ 489 w 1481"/>
                <a:gd name="T111" fmla="*/ 421 h 1677"/>
                <a:gd name="T112" fmla="*/ 1410 w 1481"/>
                <a:gd name="T113" fmla="*/ 392 h 1677"/>
                <a:gd name="T114" fmla="*/ 1168 w 1481"/>
                <a:gd name="T115" fmla="*/ 345 h 1677"/>
                <a:gd name="T116" fmla="*/ 1108 w 1481"/>
                <a:gd name="T117" fmla="*/ 326 h 1677"/>
                <a:gd name="T118" fmla="*/ 1066 w 1481"/>
                <a:gd name="T119" fmla="*/ 283 h 1677"/>
                <a:gd name="T120" fmla="*/ 1184 w 1481"/>
                <a:gd name="T121" fmla="*/ 197 h 1677"/>
                <a:gd name="T122" fmla="*/ 1275 w 1481"/>
                <a:gd name="T123" fmla="*/ 107 h 1677"/>
                <a:gd name="T124" fmla="*/ 1348 w 1481"/>
                <a:gd name="T125" fmla="*/ 2 h 1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1" h="1677">
                  <a:moveTo>
                    <a:pt x="914" y="1675"/>
                  </a:moveTo>
                  <a:lnTo>
                    <a:pt x="914" y="1677"/>
                  </a:lnTo>
                  <a:lnTo>
                    <a:pt x="914" y="1675"/>
                  </a:lnTo>
                  <a:close/>
                  <a:moveTo>
                    <a:pt x="926" y="1673"/>
                  </a:moveTo>
                  <a:lnTo>
                    <a:pt x="926" y="1675"/>
                  </a:lnTo>
                  <a:lnTo>
                    <a:pt x="926" y="1673"/>
                  </a:lnTo>
                  <a:close/>
                  <a:moveTo>
                    <a:pt x="928" y="1665"/>
                  </a:moveTo>
                  <a:lnTo>
                    <a:pt x="928" y="1668"/>
                  </a:lnTo>
                  <a:lnTo>
                    <a:pt x="928" y="1665"/>
                  </a:lnTo>
                  <a:lnTo>
                    <a:pt x="928" y="1668"/>
                  </a:lnTo>
                  <a:lnTo>
                    <a:pt x="928" y="1665"/>
                  </a:lnTo>
                  <a:close/>
                  <a:moveTo>
                    <a:pt x="928" y="1665"/>
                  </a:moveTo>
                  <a:lnTo>
                    <a:pt x="926" y="1665"/>
                  </a:lnTo>
                  <a:lnTo>
                    <a:pt x="928" y="1665"/>
                  </a:lnTo>
                  <a:lnTo>
                    <a:pt x="926" y="1665"/>
                  </a:lnTo>
                  <a:lnTo>
                    <a:pt x="928" y="1665"/>
                  </a:lnTo>
                  <a:close/>
                  <a:moveTo>
                    <a:pt x="928" y="1665"/>
                  </a:moveTo>
                  <a:lnTo>
                    <a:pt x="926" y="1665"/>
                  </a:lnTo>
                  <a:lnTo>
                    <a:pt x="928" y="1665"/>
                  </a:lnTo>
                  <a:close/>
                  <a:moveTo>
                    <a:pt x="921" y="1665"/>
                  </a:moveTo>
                  <a:lnTo>
                    <a:pt x="923" y="1665"/>
                  </a:lnTo>
                  <a:lnTo>
                    <a:pt x="921" y="1665"/>
                  </a:lnTo>
                  <a:close/>
                  <a:moveTo>
                    <a:pt x="919" y="1663"/>
                  </a:moveTo>
                  <a:lnTo>
                    <a:pt x="919" y="1661"/>
                  </a:lnTo>
                  <a:lnTo>
                    <a:pt x="919" y="1663"/>
                  </a:lnTo>
                  <a:close/>
                  <a:moveTo>
                    <a:pt x="919" y="1663"/>
                  </a:moveTo>
                  <a:lnTo>
                    <a:pt x="919" y="1661"/>
                  </a:lnTo>
                  <a:lnTo>
                    <a:pt x="919" y="1663"/>
                  </a:lnTo>
                  <a:close/>
                  <a:moveTo>
                    <a:pt x="933" y="1661"/>
                  </a:moveTo>
                  <a:lnTo>
                    <a:pt x="931" y="1661"/>
                  </a:lnTo>
                  <a:lnTo>
                    <a:pt x="933" y="1661"/>
                  </a:lnTo>
                  <a:close/>
                  <a:moveTo>
                    <a:pt x="926" y="1661"/>
                  </a:moveTo>
                  <a:lnTo>
                    <a:pt x="926" y="1658"/>
                  </a:lnTo>
                  <a:lnTo>
                    <a:pt x="926" y="1661"/>
                  </a:lnTo>
                  <a:close/>
                  <a:moveTo>
                    <a:pt x="933" y="1658"/>
                  </a:moveTo>
                  <a:lnTo>
                    <a:pt x="935" y="1658"/>
                  </a:lnTo>
                  <a:lnTo>
                    <a:pt x="933" y="1658"/>
                  </a:lnTo>
                  <a:close/>
                  <a:moveTo>
                    <a:pt x="926" y="1656"/>
                  </a:moveTo>
                  <a:lnTo>
                    <a:pt x="926" y="1658"/>
                  </a:lnTo>
                  <a:lnTo>
                    <a:pt x="926" y="1656"/>
                  </a:lnTo>
                  <a:close/>
                  <a:moveTo>
                    <a:pt x="916" y="1656"/>
                  </a:moveTo>
                  <a:lnTo>
                    <a:pt x="914" y="1656"/>
                  </a:lnTo>
                  <a:lnTo>
                    <a:pt x="916" y="1656"/>
                  </a:lnTo>
                  <a:close/>
                  <a:moveTo>
                    <a:pt x="928" y="1654"/>
                  </a:moveTo>
                  <a:lnTo>
                    <a:pt x="926" y="1654"/>
                  </a:lnTo>
                  <a:lnTo>
                    <a:pt x="928" y="1654"/>
                  </a:lnTo>
                  <a:close/>
                  <a:moveTo>
                    <a:pt x="923" y="1654"/>
                  </a:moveTo>
                  <a:lnTo>
                    <a:pt x="926" y="1654"/>
                  </a:lnTo>
                  <a:lnTo>
                    <a:pt x="923" y="1654"/>
                  </a:lnTo>
                  <a:close/>
                  <a:moveTo>
                    <a:pt x="935" y="1651"/>
                  </a:moveTo>
                  <a:lnTo>
                    <a:pt x="933" y="1651"/>
                  </a:lnTo>
                  <a:lnTo>
                    <a:pt x="935" y="1651"/>
                  </a:lnTo>
                  <a:close/>
                  <a:moveTo>
                    <a:pt x="950" y="1651"/>
                  </a:moveTo>
                  <a:lnTo>
                    <a:pt x="950" y="1649"/>
                  </a:lnTo>
                  <a:lnTo>
                    <a:pt x="950" y="1651"/>
                  </a:lnTo>
                  <a:close/>
                  <a:moveTo>
                    <a:pt x="926" y="1651"/>
                  </a:moveTo>
                  <a:lnTo>
                    <a:pt x="926" y="1649"/>
                  </a:lnTo>
                  <a:lnTo>
                    <a:pt x="926" y="1651"/>
                  </a:lnTo>
                  <a:close/>
                  <a:moveTo>
                    <a:pt x="954" y="1646"/>
                  </a:moveTo>
                  <a:lnTo>
                    <a:pt x="952" y="1646"/>
                  </a:lnTo>
                  <a:lnTo>
                    <a:pt x="954" y="1646"/>
                  </a:lnTo>
                  <a:close/>
                  <a:moveTo>
                    <a:pt x="952" y="1646"/>
                  </a:moveTo>
                  <a:lnTo>
                    <a:pt x="954" y="1646"/>
                  </a:lnTo>
                  <a:lnTo>
                    <a:pt x="952" y="1646"/>
                  </a:lnTo>
                  <a:close/>
                  <a:moveTo>
                    <a:pt x="952" y="1646"/>
                  </a:moveTo>
                  <a:lnTo>
                    <a:pt x="954" y="1646"/>
                  </a:lnTo>
                  <a:lnTo>
                    <a:pt x="952" y="1646"/>
                  </a:lnTo>
                  <a:close/>
                  <a:moveTo>
                    <a:pt x="954" y="1646"/>
                  </a:moveTo>
                  <a:lnTo>
                    <a:pt x="952" y="1646"/>
                  </a:lnTo>
                  <a:lnTo>
                    <a:pt x="954" y="1646"/>
                  </a:lnTo>
                  <a:close/>
                  <a:moveTo>
                    <a:pt x="952" y="1644"/>
                  </a:moveTo>
                  <a:lnTo>
                    <a:pt x="952" y="1646"/>
                  </a:lnTo>
                  <a:lnTo>
                    <a:pt x="952" y="1644"/>
                  </a:lnTo>
                  <a:close/>
                  <a:moveTo>
                    <a:pt x="952" y="1646"/>
                  </a:moveTo>
                  <a:lnTo>
                    <a:pt x="952" y="1644"/>
                  </a:lnTo>
                  <a:lnTo>
                    <a:pt x="952" y="1646"/>
                  </a:lnTo>
                  <a:close/>
                  <a:moveTo>
                    <a:pt x="952" y="1644"/>
                  </a:moveTo>
                  <a:lnTo>
                    <a:pt x="950" y="1644"/>
                  </a:lnTo>
                  <a:lnTo>
                    <a:pt x="952" y="1644"/>
                  </a:lnTo>
                  <a:close/>
                  <a:moveTo>
                    <a:pt x="952" y="1644"/>
                  </a:moveTo>
                  <a:lnTo>
                    <a:pt x="950" y="1644"/>
                  </a:lnTo>
                  <a:lnTo>
                    <a:pt x="952" y="1644"/>
                  </a:lnTo>
                  <a:close/>
                  <a:moveTo>
                    <a:pt x="952" y="1642"/>
                  </a:moveTo>
                  <a:lnTo>
                    <a:pt x="950" y="1642"/>
                  </a:lnTo>
                  <a:lnTo>
                    <a:pt x="952" y="1642"/>
                  </a:lnTo>
                  <a:close/>
                  <a:moveTo>
                    <a:pt x="964" y="1642"/>
                  </a:moveTo>
                  <a:lnTo>
                    <a:pt x="961" y="1642"/>
                  </a:lnTo>
                  <a:lnTo>
                    <a:pt x="964" y="1642"/>
                  </a:lnTo>
                  <a:close/>
                  <a:moveTo>
                    <a:pt x="952" y="1642"/>
                  </a:moveTo>
                  <a:lnTo>
                    <a:pt x="952" y="1639"/>
                  </a:lnTo>
                  <a:lnTo>
                    <a:pt x="952" y="1642"/>
                  </a:lnTo>
                  <a:close/>
                  <a:moveTo>
                    <a:pt x="952" y="1642"/>
                  </a:moveTo>
                  <a:lnTo>
                    <a:pt x="952" y="1639"/>
                  </a:lnTo>
                  <a:lnTo>
                    <a:pt x="952" y="1642"/>
                  </a:lnTo>
                  <a:close/>
                  <a:moveTo>
                    <a:pt x="952" y="1639"/>
                  </a:moveTo>
                  <a:lnTo>
                    <a:pt x="950" y="1639"/>
                  </a:lnTo>
                  <a:lnTo>
                    <a:pt x="952" y="1639"/>
                  </a:lnTo>
                  <a:close/>
                  <a:moveTo>
                    <a:pt x="957" y="1635"/>
                  </a:moveTo>
                  <a:lnTo>
                    <a:pt x="957" y="1632"/>
                  </a:lnTo>
                  <a:lnTo>
                    <a:pt x="957" y="1635"/>
                  </a:lnTo>
                  <a:close/>
                  <a:moveTo>
                    <a:pt x="957" y="1635"/>
                  </a:moveTo>
                  <a:lnTo>
                    <a:pt x="957" y="1632"/>
                  </a:lnTo>
                  <a:lnTo>
                    <a:pt x="957" y="1635"/>
                  </a:lnTo>
                  <a:close/>
                  <a:moveTo>
                    <a:pt x="959" y="1632"/>
                  </a:moveTo>
                  <a:lnTo>
                    <a:pt x="957" y="1632"/>
                  </a:lnTo>
                  <a:lnTo>
                    <a:pt x="959" y="1632"/>
                  </a:lnTo>
                  <a:close/>
                  <a:moveTo>
                    <a:pt x="959" y="1632"/>
                  </a:moveTo>
                  <a:lnTo>
                    <a:pt x="957" y="1632"/>
                  </a:lnTo>
                  <a:lnTo>
                    <a:pt x="959" y="1632"/>
                  </a:lnTo>
                  <a:close/>
                  <a:moveTo>
                    <a:pt x="959" y="1632"/>
                  </a:moveTo>
                  <a:lnTo>
                    <a:pt x="957" y="1632"/>
                  </a:lnTo>
                  <a:lnTo>
                    <a:pt x="959" y="1632"/>
                  </a:lnTo>
                  <a:close/>
                  <a:moveTo>
                    <a:pt x="968" y="1632"/>
                  </a:moveTo>
                  <a:lnTo>
                    <a:pt x="968" y="1630"/>
                  </a:lnTo>
                  <a:lnTo>
                    <a:pt x="968" y="1632"/>
                  </a:lnTo>
                  <a:close/>
                  <a:moveTo>
                    <a:pt x="959" y="1632"/>
                  </a:moveTo>
                  <a:lnTo>
                    <a:pt x="959" y="1630"/>
                  </a:lnTo>
                  <a:lnTo>
                    <a:pt x="959" y="1632"/>
                  </a:lnTo>
                  <a:close/>
                  <a:moveTo>
                    <a:pt x="966" y="1630"/>
                  </a:moveTo>
                  <a:lnTo>
                    <a:pt x="966" y="1627"/>
                  </a:lnTo>
                  <a:lnTo>
                    <a:pt x="966" y="1630"/>
                  </a:lnTo>
                  <a:close/>
                  <a:moveTo>
                    <a:pt x="605" y="1625"/>
                  </a:moveTo>
                  <a:lnTo>
                    <a:pt x="603" y="1625"/>
                  </a:lnTo>
                  <a:lnTo>
                    <a:pt x="605" y="1625"/>
                  </a:lnTo>
                  <a:close/>
                  <a:moveTo>
                    <a:pt x="966" y="1623"/>
                  </a:moveTo>
                  <a:lnTo>
                    <a:pt x="966" y="1625"/>
                  </a:lnTo>
                  <a:lnTo>
                    <a:pt x="966" y="1623"/>
                  </a:lnTo>
                  <a:close/>
                  <a:moveTo>
                    <a:pt x="610" y="1601"/>
                  </a:moveTo>
                  <a:lnTo>
                    <a:pt x="608" y="1601"/>
                  </a:lnTo>
                  <a:lnTo>
                    <a:pt x="610" y="1601"/>
                  </a:lnTo>
                  <a:close/>
                  <a:moveTo>
                    <a:pt x="0" y="1214"/>
                  </a:moveTo>
                  <a:lnTo>
                    <a:pt x="3" y="1214"/>
                  </a:lnTo>
                  <a:lnTo>
                    <a:pt x="0" y="1214"/>
                  </a:lnTo>
                  <a:close/>
                  <a:moveTo>
                    <a:pt x="15" y="1212"/>
                  </a:moveTo>
                  <a:lnTo>
                    <a:pt x="12" y="1212"/>
                  </a:lnTo>
                  <a:lnTo>
                    <a:pt x="15" y="1212"/>
                  </a:lnTo>
                  <a:close/>
                  <a:moveTo>
                    <a:pt x="266" y="955"/>
                  </a:moveTo>
                  <a:lnTo>
                    <a:pt x="264" y="955"/>
                  </a:lnTo>
                  <a:lnTo>
                    <a:pt x="266" y="955"/>
                  </a:lnTo>
                  <a:close/>
                  <a:moveTo>
                    <a:pt x="280" y="953"/>
                  </a:moveTo>
                  <a:lnTo>
                    <a:pt x="278" y="953"/>
                  </a:lnTo>
                  <a:lnTo>
                    <a:pt x="280" y="953"/>
                  </a:lnTo>
                  <a:close/>
                  <a:moveTo>
                    <a:pt x="269" y="946"/>
                  </a:moveTo>
                  <a:lnTo>
                    <a:pt x="269" y="948"/>
                  </a:lnTo>
                  <a:lnTo>
                    <a:pt x="269" y="946"/>
                  </a:lnTo>
                  <a:close/>
                  <a:moveTo>
                    <a:pt x="328" y="938"/>
                  </a:moveTo>
                  <a:lnTo>
                    <a:pt x="325" y="938"/>
                  </a:lnTo>
                  <a:lnTo>
                    <a:pt x="328" y="938"/>
                  </a:lnTo>
                  <a:close/>
                  <a:moveTo>
                    <a:pt x="323" y="938"/>
                  </a:moveTo>
                  <a:lnTo>
                    <a:pt x="321" y="938"/>
                  </a:lnTo>
                  <a:lnTo>
                    <a:pt x="323" y="938"/>
                  </a:lnTo>
                  <a:close/>
                  <a:moveTo>
                    <a:pt x="278" y="936"/>
                  </a:moveTo>
                  <a:lnTo>
                    <a:pt x="276" y="936"/>
                  </a:lnTo>
                  <a:lnTo>
                    <a:pt x="278" y="936"/>
                  </a:lnTo>
                  <a:close/>
                  <a:moveTo>
                    <a:pt x="325" y="936"/>
                  </a:moveTo>
                  <a:lnTo>
                    <a:pt x="323" y="936"/>
                  </a:lnTo>
                  <a:lnTo>
                    <a:pt x="325" y="936"/>
                  </a:lnTo>
                  <a:close/>
                  <a:moveTo>
                    <a:pt x="259" y="936"/>
                  </a:moveTo>
                  <a:lnTo>
                    <a:pt x="259" y="934"/>
                  </a:lnTo>
                  <a:lnTo>
                    <a:pt x="259" y="936"/>
                  </a:lnTo>
                  <a:close/>
                  <a:moveTo>
                    <a:pt x="276" y="936"/>
                  </a:moveTo>
                  <a:lnTo>
                    <a:pt x="276" y="934"/>
                  </a:lnTo>
                  <a:lnTo>
                    <a:pt x="276" y="936"/>
                  </a:lnTo>
                  <a:close/>
                  <a:moveTo>
                    <a:pt x="278" y="934"/>
                  </a:moveTo>
                  <a:lnTo>
                    <a:pt x="276" y="934"/>
                  </a:lnTo>
                  <a:lnTo>
                    <a:pt x="278" y="934"/>
                  </a:lnTo>
                  <a:close/>
                  <a:moveTo>
                    <a:pt x="323" y="934"/>
                  </a:moveTo>
                  <a:lnTo>
                    <a:pt x="321" y="934"/>
                  </a:lnTo>
                  <a:lnTo>
                    <a:pt x="323" y="934"/>
                  </a:lnTo>
                  <a:close/>
                  <a:moveTo>
                    <a:pt x="285" y="919"/>
                  </a:moveTo>
                  <a:lnTo>
                    <a:pt x="288" y="919"/>
                  </a:lnTo>
                  <a:lnTo>
                    <a:pt x="285" y="919"/>
                  </a:lnTo>
                  <a:close/>
                  <a:moveTo>
                    <a:pt x="257" y="915"/>
                  </a:moveTo>
                  <a:lnTo>
                    <a:pt x="254" y="915"/>
                  </a:lnTo>
                  <a:lnTo>
                    <a:pt x="254" y="912"/>
                  </a:lnTo>
                  <a:lnTo>
                    <a:pt x="257" y="915"/>
                  </a:lnTo>
                  <a:close/>
                  <a:moveTo>
                    <a:pt x="257" y="915"/>
                  </a:moveTo>
                  <a:lnTo>
                    <a:pt x="257" y="912"/>
                  </a:lnTo>
                  <a:lnTo>
                    <a:pt x="257" y="915"/>
                  </a:lnTo>
                  <a:close/>
                  <a:moveTo>
                    <a:pt x="259" y="912"/>
                  </a:moveTo>
                  <a:lnTo>
                    <a:pt x="257" y="912"/>
                  </a:lnTo>
                  <a:lnTo>
                    <a:pt x="259" y="912"/>
                  </a:lnTo>
                  <a:close/>
                  <a:moveTo>
                    <a:pt x="288" y="912"/>
                  </a:moveTo>
                  <a:lnTo>
                    <a:pt x="285" y="912"/>
                  </a:lnTo>
                  <a:lnTo>
                    <a:pt x="288" y="912"/>
                  </a:lnTo>
                  <a:close/>
                  <a:moveTo>
                    <a:pt x="259" y="912"/>
                  </a:moveTo>
                  <a:lnTo>
                    <a:pt x="257" y="912"/>
                  </a:lnTo>
                  <a:lnTo>
                    <a:pt x="259" y="912"/>
                  </a:lnTo>
                  <a:close/>
                  <a:moveTo>
                    <a:pt x="261" y="912"/>
                  </a:moveTo>
                  <a:lnTo>
                    <a:pt x="259" y="912"/>
                  </a:lnTo>
                  <a:lnTo>
                    <a:pt x="259" y="910"/>
                  </a:lnTo>
                  <a:lnTo>
                    <a:pt x="261" y="912"/>
                  </a:lnTo>
                  <a:close/>
                  <a:moveTo>
                    <a:pt x="261" y="910"/>
                  </a:moveTo>
                  <a:lnTo>
                    <a:pt x="259" y="910"/>
                  </a:lnTo>
                  <a:lnTo>
                    <a:pt x="261" y="910"/>
                  </a:lnTo>
                  <a:close/>
                  <a:moveTo>
                    <a:pt x="264" y="910"/>
                  </a:moveTo>
                  <a:lnTo>
                    <a:pt x="261" y="910"/>
                  </a:lnTo>
                  <a:lnTo>
                    <a:pt x="264" y="910"/>
                  </a:lnTo>
                  <a:close/>
                  <a:moveTo>
                    <a:pt x="285" y="908"/>
                  </a:moveTo>
                  <a:lnTo>
                    <a:pt x="283" y="908"/>
                  </a:lnTo>
                  <a:lnTo>
                    <a:pt x="285" y="908"/>
                  </a:lnTo>
                  <a:close/>
                  <a:moveTo>
                    <a:pt x="285" y="905"/>
                  </a:moveTo>
                  <a:lnTo>
                    <a:pt x="285" y="908"/>
                  </a:lnTo>
                  <a:lnTo>
                    <a:pt x="285" y="905"/>
                  </a:lnTo>
                  <a:close/>
                  <a:moveTo>
                    <a:pt x="283" y="905"/>
                  </a:moveTo>
                  <a:lnTo>
                    <a:pt x="283" y="908"/>
                  </a:lnTo>
                  <a:lnTo>
                    <a:pt x="283" y="905"/>
                  </a:lnTo>
                  <a:close/>
                  <a:moveTo>
                    <a:pt x="276" y="905"/>
                  </a:moveTo>
                  <a:lnTo>
                    <a:pt x="276" y="908"/>
                  </a:lnTo>
                  <a:lnTo>
                    <a:pt x="276" y="905"/>
                  </a:lnTo>
                  <a:close/>
                  <a:moveTo>
                    <a:pt x="288" y="905"/>
                  </a:moveTo>
                  <a:lnTo>
                    <a:pt x="285" y="905"/>
                  </a:lnTo>
                  <a:lnTo>
                    <a:pt x="288" y="905"/>
                  </a:lnTo>
                  <a:close/>
                  <a:moveTo>
                    <a:pt x="280" y="905"/>
                  </a:moveTo>
                  <a:lnTo>
                    <a:pt x="278" y="905"/>
                  </a:lnTo>
                  <a:lnTo>
                    <a:pt x="280" y="905"/>
                  </a:lnTo>
                  <a:close/>
                  <a:moveTo>
                    <a:pt x="290" y="903"/>
                  </a:moveTo>
                  <a:lnTo>
                    <a:pt x="288" y="903"/>
                  </a:lnTo>
                  <a:lnTo>
                    <a:pt x="290" y="903"/>
                  </a:lnTo>
                  <a:close/>
                  <a:moveTo>
                    <a:pt x="290" y="903"/>
                  </a:moveTo>
                  <a:lnTo>
                    <a:pt x="288" y="903"/>
                  </a:lnTo>
                  <a:lnTo>
                    <a:pt x="290" y="903"/>
                  </a:lnTo>
                  <a:close/>
                  <a:moveTo>
                    <a:pt x="280" y="903"/>
                  </a:moveTo>
                  <a:lnTo>
                    <a:pt x="278" y="903"/>
                  </a:lnTo>
                  <a:lnTo>
                    <a:pt x="280" y="903"/>
                  </a:lnTo>
                  <a:close/>
                  <a:moveTo>
                    <a:pt x="288" y="903"/>
                  </a:moveTo>
                  <a:lnTo>
                    <a:pt x="285" y="903"/>
                  </a:lnTo>
                  <a:lnTo>
                    <a:pt x="288" y="903"/>
                  </a:lnTo>
                  <a:close/>
                  <a:moveTo>
                    <a:pt x="285" y="903"/>
                  </a:moveTo>
                  <a:lnTo>
                    <a:pt x="283" y="903"/>
                  </a:lnTo>
                  <a:lnTo>
                    <a:pt x="285" y="903"/>
                  </a:lnTo>
                  <a:close/>
                  <a:moveTo>
                    <a:pt x="283" y="903"/>
                  </a:moveTo>
                  <a:lnTo>
                    <a:pt x="280" y="903"/>
                  </a:lnTo>
                  <a:lnTo>
                    <a:pt x="283" y="903"/>
                  </a:lnTo>
                  <a:close/>
                  <a:moveTo>
                    <a:pt x="283" y="900"/>
                  </a:moveTo>
                  <a:lnTo>
                    <a:pt x="283" y="903"/>
                  </a:lnTo>
                  <a:lnTo>
                    <a:pt x="283" y="900"/>
                  </a:lnTo>
                  <a:close/>
                  <a:moveTo>
                    <a:pt x="288" y="898"/>
                  </a:moveTo>
                  <a:lnTo>
                    <a:pt x="288" y="900"/>
                  </a:lnTo>
                  <a:lnTo>
                    <a:pt x="288" y="898"/>
                  </a:lnTo>
                  <a:close/>
                  <a:moveTo>
                    <a:pt x="288" y="900"/>
                  </a:moveTo>
                  <a:lnTo>
                    <a:pt x="288" y="898"/>
                  </a:lnTo>
                  <a:lnTo>
                    <a:pt x="288" y="900"/>
                  </a:lnTo>
                  <a:close/>
                  <a:moveTo>
                    <a:pt x="288" y="898"/>
                  </a:moveTo>
                  <a:lnTo>
                    <a:pt x="285" y="898"/>
                  </a:lnTo>
                  <a:lnTo>
                    <a:pt x="288" y="898"/>
                  </a:lnTo>
                  <a:close/>
                  <a:moveTo>
                    <a:pt x="290" y="896"/>
                  </a:moveTo>
                  <a:lnTo>
                    <a:pt x="288" y="896"/>
                  </a:lnTo>
                  <a:lnTo>
                    <a:pt x="290" y="896"/>
                  </a:lnTo>
                  <a:close/>
                  <a:moveTo>
                    <a:pt x="745" y="858"/>
                  </a:moveTo>
                  <a:lnTo>
                    <a:pt x="743" y="858"/>
                  </a:lnTo>
                  <a:lnTo>
                    <a:pt x="743" y="855"/>
                  </a:lnTo>
                  <a:lnTo>
                    <a:pt x="745" y="855"/>
                  </a:lnTo>
                  <a:lnTo>
                    <a:pt x="745" y="858"/>
                  </a:lnTo>
                  <a:close/>
                  <a:moveTo>
                    <a:pt x="745" y="846"/>
                  </a:moveTo>
                  <a:lnTo>
                    <a:pt x="745" y="848"/>
                  </a:lnTo>
                  <a:lnTo>
                    <a:pt x="745" y="846"/>
                  </a:lnTo>
                  <a:close/>
                  <a:moveTo>
                    <a:pt x="743" y="846"/>
                  </a:moveTo>
                  <a:lnTo>
                    <a:pt x="745" y="846"/>
                  </a:lnTo>
                  <a:lnTo>
                    <a:pt x="743" y="846"/>
                  </a:lnTo>
                  <a:close/>
                  <a:moveTo>
                    <a:pt x="745" y="846"/>
                  </a:moveTo>
                  <a:lnTo>
                    <a:pt x="743" y="846"/>
                  </a:lnTo>
                  <a:lnTo>
                    <a:pt x="745" y="846"/>
                  </a:lnTo>
                  <a:close/>
                  <a:moveTo>
                    <a:pt x="753" y="827"/>
                  </a:moveTo>
                  <a:lnTo>
                    <a:pt x="753" y="829"/>
                  </a:lnTo>
                  <a:lnTo>
                    <a:pt x="753" y="827"/>
                  </a:lnTo>
                  <a:close/>
                  <a:moveTo>
                    <a:pt x="760" y="820"/>
                  </a:moveTo>
                  <a:lnTo>
                    <a:pt x="760" y="822"/>
                  </a:lnTo>
                  <a:lnTo>
                    <a:pt x="760" y="820"/>
                  </a:lnTo>
                  <a:close/>
                  <a:moveTo>
                    <a:pt x="757" y="817"/>
                  </a:moveTo>
                  <a:lnTo>
                    <a:pt x="760" y="820"/>
                  </a:lnTo>
                  <a:lnTo>
                    <a:pt x="757" y="817"/>
                  </a:lnTo>
                  <a:close/>
                  <a:moveTo>
                    <a:pt x="762" y="817"/>
                  </a:moveTo>
                  <a:lnTo>
                    <a:pt x="760" y="817"/>
                  </a:lnTo>
                  <a:lnTo>
                    <a:pt x="762" y="817"/>
                  </a:lnTo>
                  <a:close/>
                  <a:moveTo>
                    <a:pt x="757" y="817"/>
                  </a:moveTo>
                  <a:lnTo>
                    <a:pt x="755" y="817"/>
                  </a:lnTo>
                  <a:lnTo>
                    <a:pt x="757" y="817"/>
                  </a:lnTo>
                  <a:close/>
                  <a:moveTo>
                    <a:pt x="762" y="813"/>
                  </a:moveTo>
                  <a:lnTo>
                    <a:pt x="762" y="815"/>
                  </a:lnTo>
                  <a:lnTo>
                    <a:pt x="762" y="813"/>
                  </a:lnTo>
                  <a:close/>
                  <a:moveTo>
                    <a:pt x="819" y="815"/>
                  </a:moveTo>
                  <a:lnTo>
                    <a:pt x="819" y="813"/>
                  </a:lnTo>
                  <a:lnTo>
                    <a:pt x="819" y="815"/>
                  </a:lnTo>
                  <a:close/>
                  <a:moveTo>
                    <a:pt x="762" y="813"/>
                  </a:moveTo>
                  <a:lnTo>
                    <a:pt x="762" y="810"/>
                  </a:lnTo>
                  <a:lnTo>
                    <a:pt x="762" y="813"/>
                  </a:lnTo>
                  <a:close/>
                  <a:moveTo>
                    <a:pt x="762" y="810"/>
                  </a:moveTo>
                  <a:lnTo>
                    <a:pt x="762" y="808"/>
                  </a:lnTo>
                  <a:lnTo>
                    <a:pt x="762" y="810"/>
                  </a:lnTo>
                  <a:close/>
                  <a:moveTo>
                    <a:pt x="791" y="805"/>
                  </a:moveTo>
                  <a:lnTo>
                    <a:pt x="791" y="808"/>
                  </a:lnTo>
                  <a:lnTo>
                    <a:pt x="791" y="805"/>
                  </a:lnTo>
                  <a:close/>
                  <a:moveTo>
                    <a:pt x="791" y="805"/>
                  </a:moveTo>
                  <a:lnTo>
                    <a:pt x="791" y="808"/>
                  </a:lnTo>
                  <a:lnTo>
                    <a:pt x="791" y="805"/>
                  </a:lnTo>
                  <a:close/>
                  <a:moveTo>
                    <a:pt x="791" y="805"/>
                  </a:moveTo>
                  <a:lnTo>
                    <a:pt x="788" y="803"/>
                  </a:lnTo>
                  <a:lnTo>
                    <a:pt x="791" y="805"/>
                  </a:lnTo>
                  <a:close/>
                  <a:moveTo>
                    <a:pt x="786" y="801"/>
                  </a:moveTo>
                  <a:lnTo>
                    <a:pt x="783" y="801"/>
                  </a:lnTo>
                  <a:lnTo>
                    <a:pt x="786" y="801"/>
                  </a:lnTo>
                  <a:close/>
                  <a:moveTo>
                    <a:pt x="783" y="801"/>
                  </a:moveTo>
                  <a:lnTo>
                    <a:pt x="781" y="801"/>
                  </a:lnTo>
                  <a:lnTo>
                    <a:pt x="783" y="801"/>
                  </a:lnTo>
                  <a:lnTo>
                    <a:pt x="781" y="801"/>
                  </a:lnTo>
                  <a:lnTo>
                    <a:pt x="783" y="801"/>
                  </a:lnTo>
                  <a:close/>
                  <a:moveTo>
                    <a:pt x="786" y="801"/>
                  </a:moveTo>
                  <a:lnTo>
                    <a:pt x="783" y="801"/>
                  </a:lnTo>
                  <a:lnTo>
                    <a:pt x="786" y="801"/>
                  </a:lnTo>
                  <a:close/>
                  <a:moveTo>
                    <a:pt x="783" y="801"/>
                  </a:moveTo>
                  <a:lnTo>
                    <a:pt x="781" y="801"/>
                  </a:lnTo>
                  <a:lnTo>
                    <a:pt x="783" y="801"/>
                  </a:lnTo>
                  <a:close/>
                  <a:moveTo>
                    <a:pt x="779" y="798"/>
                  </a:moveTo>
                  <a:lnTo>
                    <a:pt x="779" y="796"/>
                  </a:lnTo>
                  <a:lnTo>
                    <a:pt x="779" y="798"/>
                  </a:lnTo>
                  <a:close/>
                  <a:moveTo>
                    <a:pt x="779" y="796"/>
                  </a:moveTo>
                  <a:lnTo>
                    <a:pt x="776" y="796"/>
                  </a:lnTo>
                  <a:lnTo>
                    <a:pt x="779" y="796"/>
                  </a:lnTo>
                  <a:close/>
                  <a:moveTo>
                    <a:pt x="772" y="794"/>
                  </a:moveTo>
                  <a:lnTo>
                    <a:pt x="774" y="794"/>
                  </a:lnTo>
                  <a:lnTo>
                    <a:pt x="772" y="794"/>
                  </a:lnTo>
                  <a:close/>
                  <a:moveTo>
                    <a:pt x="760" y="784"/>
                  </a:moveTo>
                  <a:lnTo>
                    <a:pt x="760" y="786"/>
                  </a:lnTo>
                  <a:lnTo>
                    <a:pt x="760" y="784"/>
                  </a:lnTo>
                  <a:close/>
                  <a:moveTo>
                    <a:pt x="748" y="782"/>
                  </a:moveTo>
                  <a:lnTo>
                    <a:pt x="748" y="779"/>
                  </a:lnTo>
                  <a:lnTo>
                    <a:pt x="748" y="782"/>
                  </a:lnTo>
                  <a:close/>
                  <a:moveTo>
                    <a:pt x="748" y="775"/>
                  </a:moveTo>
                  <a:lnTo>
                    <a:pt x="748" y="777"/>
                  </a:lnTo>
                  <a:lnTo>
                    <a:pt x="748" y="775"/>
                  </a:lnTo>
                  <a:close/>
                  <a:moveTo>
                    <a:pt x="755" y="777"/>
                  </a:moveTo>
                  <a:lnTo>
                    <a:pt x="755" y="775"/>
                  </a:lnTo>
                  <a:lnTo>
                    <a:pt x="755" y="777"/>
                  </a:lnTo>
                  <a:close/>
                  <a:moveTo>
                    <a:pt x="748" y="775"/>
                  </a:moveTo>
                  <a:lnTo>
                    <a:pt x="748" y="777"/>
                  </a:lnTo>
                  <a:lnTo>
                    <a:pt x="748" y="775"/>
                  </a:lnTo>
                  <a:close/>
                  <a:moveTo>
                    <a:pt x="760" y="772"/>
                  </a:moveTo>
                  <a:lnTo>
                    <a:pt x="760" y="775"/>
                  </a:lnTo>
                  <a:lnTo>
                    <a:pt x="760" y="772"/>
                  </a:lnTo>
                  <a:close/>
                  <a:moveTo>
                    <a:pt x="736" y="772"/>
                  </a:moveTo>
                  <a:lnTo>
                    <a:pt x="734" y="772"/>
                  </a:lnTo>
                  <a:lnTo>
                    <a:pt x="736" y="772"/>
                  </a:lnTo>
                  <a:close/>
                  <a:moveTo>
                    <a:pt x="731" y="772"/>
                  </a:moveTo>
                  <a:lnTo>
                    <a:pt x="734" y="772"/>
                  </a:lnTo>
                  <a:lnTo>
                    <a:pt x="731" y="772"/>
                  </a:lnTo>
                  <a:close/>
                  <a:moveTo>
                    <a:pt x="734" y="772"/>
                  </a:moveTo>
                  <a:lnTo>
                    <a:pt x="731" y="772"/>
                  </a:lnTo>
                  <a:lnTo>
                    <a:pt x="734" y="772"/>
                  </a:lnTo>
                  <a:close/>
                  <a:moveTo>
                    <a:pt x="734" y="772"/>
                  </a:moveTo>
                  <a:lnTo>
                    <a:pt x="731" y="770"/>
                  </a:lnTo>
                  <a:lnTo>
                    <a:pt x="734" y="772"/>
                  </a:lnTo>
                  <a:close/>
                  <a:moveTo>
                    <a:pt x="731" y="770"/>
                  </a:moveTo>
                  <a:lnTo>
                    <a:pt x="731" y="772"/>
                  </a:lnTo>
                  <a:lnTo>
                    <a:pt x="731" y="770"/>
                  </a:lnTo>
                  <a:close/>
                  <a:moveTo>
                    <a:pt x="1194" y="765"/>
                  </a:moveTo>
                  <a:lnTo>
                    <a:pt x="1192" y="765"/>
                  </a:lnTo>
                  <a:lnTo>
                    <a:pt x="1194" y="765"/>
                  </a:lnTo>
                  <a:close/>
                  <a:moveTo>
                    <a:pt x="1194" y="765"/>
                  </a:moveTo>
                  <a:lnTo>
                    <a:pt x="1194" y="763"/>
                  </a:lnTo>
                  <a:lnTo>
                    <a:pt x="1194" y="765"/>
                  </a:lnTo>
                  <a:close/>
                  <a:moveTo>
                    <a:pt x="1187" y="763"/>
                  </a:moveTo>
                  <a:lnTo>
                    <a:pt x="1189" y="763"/>
                  </a:lnTo>
                  <a:lnTo>
                    <a:pt x="1187" y="763"/>
                  </a:lnTo>
                  <a:close/>
                  <a:moveTo>
                    <a:pt x="726" y="760"/>
                  </a:moveTo>
                  <a:lnTo>
                    <a:pt x="726" y="763"/>
                  </a:lnTo>
                  <a:lnTo>
                    <a:pt x="726" y="760"/>
                  </a:lnTo>
                  <a:close/>
                  <a:moveTo>
                    <a:pt x="724" y="756"/>
                  </a:moveTo>
                  <a:lnTo>
                    <a:pt x="724" y="753"/>
                  </a:lnTo>
                  <a:lnTo>
                    <a:pt x="724" y="756"/>
                  </a:lnTo>
                  <a:close/>
                  <a:moveTo>
                    <a:pt x="724" y="753"/>
                  </a:moveTo>
                  <a:lnTo>
                    <a:pt x="722" y="753"/>
                  </a:lnTo>
                  <a:lnTo>
                    <a:pt x="724" y="753"/>
                  </a:lnTo>
                  <a:close/>
                  <a:moveTo>
                    <a:pt x="722" y="751"/>
                  </a:moveTo>
                  <a:lnTo>
                    <a:pt x="724" y="751"/>
                  </a:lnTo>
                  <a:lnTo>
                    <a:pt x="722" y="751"/>
                  </a:lnTo>
                  <a:close/>
                  <a:moveTo>
                    <a:pt x="722" y="748"/>
                  </a:moveTo>
                  <a:lnTo>
                    <a:pt x="724" y="748"/>
                  </a:lnTo>
                  <a:lnTo>
                    <a:pt x="722" y="748"/>
                  </a:lnTo>
                  <a:close/>
                  <a:moveTo>
                    <a:pt x="722" y="748"/>
                  </a:moveTo>
                  <a:lnTo>
                    <a:pt x="722" y="746"/>
                  </a:lnTo>
                  <a:lnTo>
                    <a:pt x="722" y="748"/>
                  </a:lnTo>
                  <a:close/>
                  <a:moveTo>
                    <a:pt x="724" y="746"/>
                  </a:moveTo>
                  <a:lnTo>
                    <a:pt x="722" y="746"/>
                  </a:lnTo>
                  <a:lnTo>
                    <a:pt x="724" y="746"/>
                  </a:lnTo>
                  <a:close/>
                  <a:moveTo>
                    <a:pt x="629" y="746"/>
                  </a:moveTo>
                  <a:lnTo>
                    <a:pt x="629" y="748"/>
                  </a:lnTo>
                  <a:lnTo>
                    <a:pt x="629" y="746"/>
                  </a:lnTo>
                  <a:close/>
                  <a:moveTo>
                    <a:pt x="719" y="741"/>
                  </a:moveTo>
                  <a:lnTo>
                    <a:pt x="719" y="739"/>
                  </a:lnTo>
                  <a:lnTo>
                    <a:pt x="719" y="741"/>
                  </a:lnTo>
                  <a:close/>
                  <a:moveTo>
                    <a:pt x="1232" y="727"/>
                  </a:moveTo>
                  <a:lnTo>
                    <a:pt x="1232" y="725"/>
                  </a:lnTo>
                  <a:lnTo>
                    <a:pt x="1232" y="727"/>
                  </a:lnTo>
                  <a:close/>
                  <a:moveTo>
                    <a:pt x="558" y="725"/>
                  </a:moveTo>
                  <a:lnTo>
                    <a:pt x="558" y="722"/>
                  </a:lnTo>
                  <a:lnTo>
                    <a:pt x="558" y="725"/>
                  </a:lnTo>
                  <a:close/>
                  <a:moveTo>
                    <a:pt x="556" y="722"/>
                  </a:moveTo>
                  <a:lnTo>
                    <a:pt x="553" y="722"/>
                  </a:lnTo>
                  <a:lnTo>
                    <a:pt x="556" y="722"/>
                  </a:lnTo>
                  <a:close/>
                  <a:moveTo>
                    <a:pt x="568" y="722"/>
                  </a:moveTo>
                  <a:lnTo>
                    <a:pt x="565" y="722"/>
                  </a:lnTo>
                  <a:lnTo>
                    <a:pt x="568" y="722"/>
                  </a:lnTo>
                  <a:close/>
                  <a:moveTo>
                    <a:pt x="549" y="722"/>
                  </a:moveTo>
                  <a:lnTo>
                    <a:pt x="549" y="720"/>
                  </a:lnTo>
                  <a:lnTo>
                    <a:pt x="549" y="722"/>
                  </a:lnTo>
                  <a:close/>
                  <a:moveTo>
                    <a:pt x="1241" y="718"/>
                  </a:moveTo>
                  <a:lnTo>
                    <a:pt x="1244" y="718"/>
                  </a:lnTo>
                  <a:lnTo>
                    <a:pt x="1241" y="718"/>
                  </a:lnTo>
                  <a:close/>
                  <a:moveTo>
                    <a:pt x="544" y="718"/>
                  </a:moveTo>
                  <a:lnTo>
                    <a:pt x="541" y="718"/>
                  </a:lnTo>
                  <a:lnTo>
                    <a:pt x="544" y="718"/>
                  </a:lnTo>
                  <a:close/>
                  <a:moveTo>
                    <a:pt x="544" y="713"/>
                  </a:moveTo>
                  <a:lnTo>
                    <a:pt x="544" y="715"/>
                  </a:lnTo>
                  <a:lnTo>
                    <a:pt x="544" y="713"/>
                  </a:lnTo>
                  <a:close/>
                  <a:moveTo>
                    <a:pt x="556" y="715"/>
                  </a:moveTo>
                  <a:lnTo>
                    <a:pt x="556" y="713"/>
                  </a:lnTo>
                  <a:lnTo>
                    <a:pt x="556" y="715"/>
                  </a:lnTo>
                  <a:close/>
                  <a:moveTo>
                    <a:pt x="539" y="713"/>
                  </a:moveTo>
                  <a:lnTo>
                    <a:pt x="539" y="715"/>
                  </a:lnTo>
                  <a:lnTo>
                    <a:pt x="539" y="713"/>
                  </a:lnTo>
                  <a:close/>
                  <a:moveTo>
                    <a:pt x="558" y="713"/>
                  </a:moveTo>
                  <a:lnTo>
                    <a:pt x="556" y="713"/>
                  </a:lnTo>
                  <a:lnTo>
                    <a:pt x="558" y="713"/>
                  </a:lnTo>
                  <a:close/>
                  <a:moveTo>
                    <a:pt x="570" y="713"/>
                  </a:moveTo>
                  <a:lnTo>
                    <a:pt x="568" y="713"/>
                  </a:lnTo>
                  <a:lnTo>
                    <a:pt x="570" y="713"/>
                  </a:lnTo>
                  <a:close/>
                  <a:moveTo>
                    <a:pt x="556" y="713"/>
                  </a:moveTo>
                  <a:lnTo>
                    <a:pt x="556" y="710"/>
                  </a:lnTo>
                  <a:lnTo>
                    <a:pt x="556" y="713"/>
                  </a:lnTo>
                  <a:close/>
                  <a:moveTo>
                    <a:pt x="558" y="710"/>
                  </a:moveTo>
                  <a:lnTo>
                    <a:pt x="556" y="710"/>
                  </a:lnTo>
                  <a:lnTo>
                    <a:pt x="558" y="710"/>
                  </a:lnTo>
                  <a:close/>
                  <a:moveTo>
                    <a:pt x="544" y="710"/>
                  </a:moveTo>
                  <a:lnTo>
                    <a:pt x="544" y="708"/>
                  </a:lnTo>
                  <a:lnTo>
                    <a:pt x="544" y="710"/>
                  </a:lnTo>
                  <a:close/>
                  <a:moveTo>
                    <a:pt x="541" y="708"/>
                  </a:moveTo>
                  <a:lnTo>
                    <a:pt x="539" y="708"/>
                  </a:lnTo>
                  <a:lnTo>
                    <a:pt x="541" y="708"/>
                  </a:lnTo>
                  <a:close/>
                  <a:moveTo>
                    <a:pt x="544" y="708"/>
                  </a:moveTo>
                  <a:lnTo>
                    <a:pt x="546" y="708"/>
                  </a:lnTo>
                  <a:lnTo>
                    <a:pt x="544" y="708"/>
                  </a:lnTo>
                  <a:close/>
                  <a:moveTo>
                    <a:pt x="549" y="708"/>
                  </a:moveTo>
                  <a:lnTo>
                    <a:pt x="546" y="708"/>
                  </a:lnTo>
                  <a:lnTo>
                    <a:pt x="549" y="708"/>
                  </a:lnTo>
                  <a:close/>
                  <a:moveTo>
                    <a:pt x="575" y="706"/>
                  </a:moveTo>
                  <a:lnTo>
                    <a:pt x="575" y="708"/>
                  </a:lnTo>
                  <a:lnTo>
                    <a:pt x="575" y="706"/>
                  </a:lnTo>
                  <a:close/>
                  <a:moveTo>
                    <a:pt x="724" y="706"/>
                  </a:moveTo>
                  <a:lnTo>
                    <a:pt x="722" y="706"/>
                  </a:lnTo>
                  <a:lnTo>
                    <a:pt x="724" y="706"/>
                  </a:lnTo>
                  <a:close/>
                  <a:moveTo>
                    <a:pt x="527" y="703"/>
                  </a:moveTo>
                  <a:lnTo>
                    <a:pt x="525" y="703"/>
                  </a:lnTo>
                  <a:lnTo>
                    <a:pt x="527" y="703"/>
                  </a:lnTo>
                  <a:close/>
                  <a:moveTo>
                    <a:pt x="537" y="703"/>
                  </a:moveTo>
                  <a:lnTo>
                    <a:pt x="537" y="701"/>
                  </a:lnTo>
                  <a:lnTo>
                    <a:pt x="537" y="703"/>
                  </a:lnTo>
                  <a:close/>
                  <a:moveTo>
                    <a:pt x="525" y="701"/>
                  </a:moveTo>
                  <a:lnTo>
                    <a:pt x="525" y="703"/>
                  </a:lnTo>
                  <a:lnTo>
                    <a:pt x="525" y="701"/>
                  </a:lnTo>
                  <a:close/>
                  <a:moveTo>
                    <a:pt x="712" y="701"/>
                  </a:moveTo>
                  <a:lnTo>
                    <a:pt x="712" y="703"/>
                  </a:lnTo>
                  <a:lnTo>
                    <a:pt x="712" y="701"/>
                  </a:lnTo>
                  <a:close/>
                  <a:moveTo>
                    <a:pt x="1241" y="701"/>
                  </a:moveTo>
                  <a:lnTo>
                    <a:pt x="1244" y="701"/>
                  </a:lnTo>
                  <a:lnTo>
                    <a:pt x="1241" y="701"/>
                  </a:lnTo>
                  <a:close/>
                  <a:moveTo>
                    <a:pt x="705" y="701"/>
                  </a:moveTo>
                  <a:lnTo>
                    <a:pt x="703" y="701"/>
                  </a:lnTo>
                  <a:lnTo>
                    <a:pt x="705" y="701"/>
                  </a:lnTo>
                  <a:close/>
                  <a:moveTo>
                    <a:pt x="764" y="701"/>
                  </a:moveTo>
                  <a:lnTo>
                    <a:pt x="762" y="701"/>
                  </a:lnTo>
                  <a:lnTo>
                    <a:pt x="764" y="701"/>
                  </a:lnTo>
                  <a:close/>
                  <a:moveTo>
                    <a:pt x="506" y="699"/>
                  </a:moveTo>
                  <a:lnTo>
                    <a:pt x="506" y="701"/>
                  </a:lnTo>
                  <a:lnTo>
                    <a:pt x="506" y="699"/>
                  </a:lnTo>
                  <a:close/>
                  <a:moveTo>
                    <a:pt x="508" y="701"/>
                  </a:moveTo>
                  <a:lnTo>
                    <a:pt x="508" y="699"/>
                  </a:lnTo>
                  <a:lnTo>
                    <a:pt x="508" y="701"/>
                  </a:lnTo>
                  <a:close/>
                  <a:moveTo>
                    <a:pt x="503" y="699"/>
                  </a:moveTo>
                  <a:lnTo>
                    <a:pt x="503" y="701"/>
                  </a:lnTo>
                  <a:lnTo>
                    <a:pt x="503" y="699"/>
                  </a:lnTo>
                  <a:lnTo>
                    <a:pt x="503" y="701"/>
                  </a:lnTo>
                  <a:lnTo>
                    <a:pt x="503" y="699"/>
                  </a:lnTo>
                  <a:close/>
                  <a:moveTo>
                    <a:pt x="764" y="701"/>
                  </a:moveTo>
                  <a:lnTo>
                    <a:pt x="764" y="699"/>
                  </a:lnTo>
                  <a:lnTo>
                    <a:pt x="764" y="701"/>
                  </a:lnTo>
                  <a:close/>
                  <a:moveTo>
                    <a:pt x="515" y="699"/>
                  </a:moveTo>
                  <a:lnTo>
                    <a:pt x="513" y="699"/>
                  </a:lnTo>
                  <a:lnTo>
                    <a:pt x="515" y="699"/>
                  </a:lnTo>
                  <a:close/>
                  <a:moveTo>
                    <a:pt x="537" y="699"/>
                  </a:moveTo>
                  <a:lnTo>
                    <a:pt x="534" y="699"/>
                  </a:lnTo>
                  <a:lnTo>
                    <a:pt x="537" y="699"/>
                  </a:lnTo>
                  <a:close/>
                  <a:moveTo>
                    <a:pt x="518" y="699"/>
                  </a:moveTo>
                  <a:lnTo>
                    <a:pt x="515" y="699"/>
                  </a:lnTo>
                  <a:lnTo>
                    <a:pt x="518" y="699"/>
                  </a:lnTo>
                  <a:close/>
                  <a:moveTo>
                    <a:pt x="506" y="696"/>
                  </a:moveTo>
                  <a:lnTo>
                    <a:pt x="506" y="699"/>
                  </a:lnTo>
                  <a:lnTo>
                    <a:pt x="506" y="696"/>
                  </a:lnTo>
                  <a:close/>
                  <a:moveTo>
                    <a:pt x="506" y="696"/>
                  </a:moveTo>
                  <a:lnTo>
                    <a:pt x="503" y="696"/>
                  </a:lnTo>
                  <a:lnTo>
                    <a:pt x="506" y="696"/>
                  </a:lnTo>
                  <a:close/>
                  <a:moveTo>
                    <a:pt x="767" y="696"/>
                  </a:moveTo>
                  <a:lnTo>
                    <a:pt x="764" y="696"/>
                  </a:lnTo>
                  <a:lnTo>
                    <a:pt x="767" y="696"/>
                  </a:lnTo>
                  <a:close/>
                  <a:moveTo>
                    <a:pt x="499" y="696"/>
                  </a:moveTo>
                  <a:lnTo>
                    <a:pt x="501" y="696"/>
                  </a:lnTo>
                  <a:lnTo>
                    <a:pt x="499" y="696"/>
                  </a:lnTo>
                  <a:close/>
                  <a:moveTo>
                    <a:pt x="499" y="696"/>
                  </a:moveTo>
                  <a:lnTo>
                    <a:pt x="499" y="694"/>
                  </a:lnTo>
                  <a:lnTo>
                    <a:pt x="499" y="696"/>
                  </a:lnTo>
                  <a:close/>
                  <a:moveTo>
                    <a:pt x="499" y="696"/>
                  </a:moveTo>
                  <a:lnTo>
                    <a:pt x="499" y="694"/>
                  </a:lnTo>
                  <a:lnTo>
                    <a:pt x="499" y="696"/>
                  </a:lnTo>
                  <a:close/>
                  <a:moveTo>
                    <a:pt x="499" y="696"/>
                  </a:moveTo>
                  <a:lnTo>
                    <a:pt x="499" y="694"/>
                  </a:lnTo>
                  <a:lnTo>
                    <a:pt x="499" y="696"/>
                  </a:lnTo>
                  <a:close/>
                  <a:moveTo>
                    <a:pt x="496" y="694"/>
                  </a:moveTo>
                  <a:lnTo>
                    <a:pt x="496" y="696"/>
                  </a:lnTo>
                  <a:lnTo>
                    <a:pt x="496" y="694"/>
                  </a:lnTo>
                  <a:close/>
                  <a:moveTo>
                    <a:pt x="499" y="694"/>
                  </a:moveTo>
                  <a:lnTo>
                    <a:pt x="496" y="694"/>
                  </a:lnTo>
                  <a:lnTo>
                    <a:pt x="499" y="694"/>
                  </a:lnTo>
                  <a:close/>
                  <a:moveTo>
                    <a:pt x="499" y="691"/>
                  </a:moveTo>
                  <a:lnTo>
                    <a:pt x="499" y="694"/>
                  </a:lnTo>
                  <a:lnTo>
                    <a:pt x="499" y="691"/>
                  </a:lnTo>
                  <a:close/>
                  <a:moveTo>
                    <a:pt x="496" y="691"/>
                  </a:moveTo>
                  <a:lnTo>
                    <a:pt x="494" y="691"/>
                  </a:lnTo>
                  <a:lnTo>
                    <a:pt x="496" y="691"/>
                  </a:lnTo>
                  <a:close/>
                  <a:moveTo>
                    <a:pt x="492" y="691"/>
                  </a:moveTo>
                  <a:lnTo>
                    <a:pt x="489" y="691"/>
                  </a:lnTo>
                  <a:lnTo>
                    <a:pt x="492" y="691"/>
                  </a:lnTo>
                  <a:close/>
                  <a:moveTo>
                    <a:pt x="674" y="691"/>
                  </a:moveTo>
                  <a:lnTo>
                    <a:pt x="672" y="691"/>
                  </a:lnTo>
                  <a:lnTo>
                    <a:pt x="674" y="691"/>
                  </a:lnTo>
                  <a:close/>
                  <a:moveTo>
                    <a:pt x="674" y="691"/>
                  </a:moveTo>
                  <a:lnTo>
                    <a:pt x="677" y="691"/>
                  </a:lnTo>
                  <a:lnTo>
                    <a:pt x="674" y="691"/>
                  </a:lnTo>
                  <a:close/>
                  <a:moveTo>
                    <a:pt x="769" y="691"/>
                  </a:moveTo>
                  <a:lnTo>
                    <a:pt x="769" y="689"/>
                  </a:lnTo>
                  <a:lnTo>
                    <a:pt x="769" y="691"/>
                  </a:lnTo>
                  <a:close/>
                  <a:moveTo>
                    <a:pt x="489" y="691"/>
                  </a:moveTo>
                  <a:lnTo>
                    <a:pt x="489" y="689"/>
                  </a:lnTo>
                  <a:lnTo>
                    <a:pt x="489" y="691"/>
                  </a:lnTo>
                  <a:close/>
                  <a:moveTo>
                    <a:pt x="674" y="691"/>
                  </a:moveTo>
                  <a:lnTo>
                    <a:pt x="674" y="689"/>
                  </a:lnTo>
                  <a:lnTo>
                    <a:pt x="674" y="691"/>
                  </a:lnTo>
                  <a:close/>
                  <a:moveTo>
                    <a:pt x="492" y="689"/>
                  </a:moveTo>
                  <a:lnTo>
                    <a:pt x="489" y="689"/>
                  </a:lnTo>
                  <a:lnTo>
                    <a:pt x="492" y="689"/>
                  </a:lnTo>
                  <a:close/>
                  <a:moveTo>
                    <a:pt x="667" y="689"/>
                  </a:moveTo>
                  <a:lnTo>
                    <a:pt x="665" y="689"/>
                  </a:lnTo>
                  <a:lnTo>
                    <a:pt x="667" y="689"/>
                  </a:lnTo>
                  <a:close/>
                  <a:moveTo>
                    <a:pt x="1248" y="687"/>
                  </a:moveTo>
                  <a:lnTo>
                    <a:pt x="1248" y="689"/>
                  </a:lnTo>
                  <a:lnTo>
                    <a:pt x="1248" y="687"/>
                  </a:lnTo>
                  <a:close/>
                  <a:moveTo>
                    <a:pt x="672" y="687"/>
                  </a:moveTo>
                  <a:lnTo>
                    <a:pt x="672" y="689"/>
                  </a:lnTo>
                  <a:lnTo>
                    <a:pt x="672" y="687"/>
                  </a:lnTo>
                  <a:close/>
                  <a:moveTo>
                    <a:pt x="665" y="689"/>
                  </a:moveTo>
                  <a:lnTo>
                    <a:pt x="665" y="687"/>
                  </a:lnTo>
                  <a:lnTo>
                    <a:pt x="665" y="689"/>
                  </a:lnTo>
                  <a:close/>
                  <a:moveTo>
                    <a:pt x="672" y="687"/>
                  </a:moveTo>
                  <a:lnTo>
                    <a:pt x="670" y="687"/>
                  </a:lnTo>
                  <a:lnTo>
                    <a:pt x="672" y="687"/>
                  </a:lnTo>
                  <a:close/>
                  <a:moveTo>
                    <a:pt x="496" y="684"/>
                  </a:moveTo>
                  <a:lnTo>
                    <a:pt x="494" y="684"/>
                  </a:lnTo>
                  <a:lnTo>
                    <a:pt x="496" y="684"/>
                  </a:lnTo>
                  <a:close/>
                  <a:moveTo>
                    <a:pt x="515" y="684"/>
                  </a:moveTo>
                  <a:lnTo>
                    <a:pt x="518" y="684"/>
                  </a:lnTo>
                  <a:lnTo>
                    <a:pt x="515" y="684"/>
                  </a:lnTo>
                  <a:close/>
                  <a:moveTo>
                    <a:pt x="674" y="682"/>
                  </a:moveTo>
                  <a:lnTo>
                    <a:pt x="674" y="684"/>
                  </a:lnTo>
                  <a:lnTo>
                    <a:pt x="674" y="682"/>
                  </a:lnTo>
                  <a:close/>
                  <a:moveTo>
                    <a:pt x="674" y="684"/>
                  </a:moveTo>
                  <a:lnTo>
                    <a:pt x="674" y="682"/>
                  </a:lnTo>
                  <a:lnTo>
                    <a:pt x="674" y="684"/>
                  </a:lnTo>
                  <a:close/>
                  <a:moveTo>
                    <a:pt x="494" y="682"/>
                  </a:moveTo>
                  <a:lnTo>
                    <a:pt x="492" y="682"/>
                  </a:lnTo>
                  <a:lnTo>
                    <a:pt x="494" y="682"/>
                  </a:lnTo>
                  <a:close/>
                  <a:moveTo>
                    <a:pt x="496" y="680"/>
                  </a:moveTo>
                  <a:lnTo>
                    <a:pt x="496" y="682"/>
                  </a:lnTo>
                  <a:lnTo>
                    <a:pt x="496" y="680"/>
                  </a:lnTo>
                  <a:close/>
                  <a:moveTo>
                    <a:pt x="492" y="682"/>
                  </a:moveTo>
                  <a:lnTo>
                    <a:pt x="492" y="680"/>
                  </a:lnTo>
                  <a:lnTo>
                    <a:pt x="492" y="682"/>
                  </a:lnTo>
                  <a:close/>
                  <a:moveTo>
                    <a:pt x="667" y="682"/>
                  </a:moveTo>
                  <a:lnTo>
                    <a:pt x="667" y="680"/>
                  </a:lnTo>
                  <a:lnTo>
                    <a:pt x="667" y="682"/>
                  </a:lnTo>
                  <a:close/>
                  <a:moveTo>
                    <a:pt x="660" y="680"/>
                  </a:moveTo>
                  <a:lnTo>
                    <a:pt x="660" y="682"/>
                  </a:lnTo>
                  <a:lnTo>
                    <a:pt x="660" y="680"/>
                  </a:lnTo>
                  <a:close/>
                  <a:moveTo>
                    <a:pt x="786" y="680"/>
                  </a:moveTo>
                  <a:lnTo>
                    <a:pt x="786" y="682"/>
                  </a:lnTo>
                  <a:lnTo>
                    <a:pt x="786" y="680"/>
                  </a:lnTo>
                  <a:close/>
                  <a:moveTo>
                    <a:pt x="494" y="680"/>
                  </a:moveTo>
                  <a:lnTo>
                    <a:pt x="492" y="680"/>
                  </a:lnTo>
                  <a:lnTo>
                    <a:pt x="494" y="680"/>
                  </a:lnTo>
                  <a:close/>
                  <a:moveTo>
                    <a:pt x="670" y="680"/>
                  </a:moveTo>
                  <a:lnTo>
                    <a:pt x="667" y="680"/>
                  </a:lnTo>
                  <a:lnTo>
                    <a:pt x="670" y="680"/>
                  </a:lnTo>
                  <a:close/>
                  <a:moveTo>
                    <a:pt x="496" y="680"/>
                  </a:moveTo>
                  <a:lnTo>
                    <a:pt x="494" y="680"/>
                  </a:lnTo>
                  <a:lnTo>
                    <a:pt x="496" y="680"/>
                  </a:lnTo>
                  <a:close/>
                  <a:moveTo>
                    <a:pt x="660" y="680"/>
                  </a:moveTo>
                  <a:lnTo>
                    <a:pt x="658" y="680"/>
                  </a:lnTo>
                  <a:lnTo>
                    <a:pt x="660" y="680"/>
                  </a:lnTo>
                  <a:close/>
                  <a:moveTo>
                    <a:pt x="598" y="680"/>
                  </a:moveTo>
                  <a:lnTo>
                    <a:pt x="596" y="680"/>
                  </a:lnTo>
                  <a:lnTo>
                    <a:pt x="598" y="680"/>
                  </a:lnTo>
                  <a:close/>
                  <a:moveTo>
                    <a:pt x="670" y="680"/>
                  </a:moveTo>
                  <a:lnTo>
                    <a:pt x="667" y="680"/>
                  </a:lnTo>
                  <a:lnTo>
                    <a:pt x="670" y="680"/>
                  </a:lnTo>
                  <a:close/>
                  <a:moveTo>
                    <a:pt x="487" y="677"/>
                  </a:moveTo>
                  <a:lnTo>
                    <a:pt x="487" y="680"/>
                  </a:lnTo>
                  <a:lnTo>
                    <a:pt x="487" y="677"/>
                  </a:lnTo>
                  <a:close/>
                  <a:moveTo>
                    <a:pt x="489" y="677"/>
                  </a:moveTo>
                  <a:lnTo>
                    <a:pt x="489" y="680"/>
                  </a:lnTo>
                  <a:lnTo>
                    <a:pt x="489" y="677"/>
                  </a:lnTo>
                  <a:close/>
                  <a:moveTo>
                    <a:pt x="496" y="677"/>
                  </a:moveTo>
                  <a:lnTo>
                    <a:pt x="494" y="677"/>
                  </a:lnTo>
                  <a:lnTo>
                    <a:pt x="496" y="677"/>
                  </a:lnTo>
                  <a:close/>
                  <a:moveTo>
                    <a:pt x="674" y="677"/>
                  </a:moveTo>
                  <a:lnTo>
                    <a:pt x="672" y="677"/>
                  </a:lnTo>
                  <a:lnTo>
                    <a:pt x="674" y="677"/>
                  </a:lnTo>
                  <a:close/>
                  <a:moveTo>
                    <a:pt x="674" y="677"/>
                  </a:moveTo>
                  <a:lnTo>
                    <a:pt x="672" y="677"/>
                  </a:lnTo>
                  <a:lnTo>
                    <a:pt x="674" y="677"/>
                  </a:lnTo>
                  <a:close/>
                  <a:moveTo>
                    <a:pt x="667" y="675"/>
                  </a:moveTo>
                  <a:lnTo>
                    <a:pt x="667" y="677"/>
                  </a:lnTo>
                  <a:lnTo>
                    <a:pt x="667" y="675"/>
                  </a:lnTo>
                  <a:close/>
                  <a:moveTo>
                    <a:pt x="672" y="675"/>
                  </a:moveTo>
                  <a:lnTo>
                    <a:pt x="672" y="677"/>
                  </a:lnTo>
                  <a:lnTo>
                    <a:pt x="672" y="675"/>
                  </a:lnTo>
                  <a:close/>
                  <a:moveTo>
                    <a:pt x="670" y="675"/>
                  </a:moveTo>
                  <a:lnTo>
                    <a:pt x="670" y="677"/>
                  </a:lnTo>
                  <a:lnTo>
                    <a:pt x="670" y="675"/>
                  </a:lnTo>
                  <a:close/>
                  <a:moveTo>
                    <a:pt x="496" y="675"/>
                  </a:moveTo>
                  <a:lnTo>
                    <a:pt x="494" y="675"/>
                  </a:lnTo>
                  <a:lnTo>
                    <a:pt x="496" y="675"/>
                  </a:lnTo>
                  <a:close/>
                  <a:moveTo>
                    <a:pt x="546" y="675"/>
                  </a:moveTo>
                  <a:lnTo>
                    <a:pt x="546" y="672"/>
                  </a:lnTo>
                  <a:lnTo>
                    <a:pt x="546" y="675"/>
                  </a:lnTo>
                  <a:close/>
                  <a:moveTo>
                    <a:pt x="515" y="675"/>
                  </a:moveTo>
                  <a:lnTo>
                    <a:pt x="515" y="672"/>
                  </a:lnTo>
                  <a:lnTo>
                    <a:pt x="515" y="675"/>
                  </a:lnTo>
                  <a:close/>
                  <a:moveTo>
                    <a:pt x="499" y="675"/>
                  </a:moveTo>
                  <a:lnTo>
                    <a:pt x="496" y="675"/>
                  </a:lnTo>
                  <a:lnTo>
                    <a:pt x="496" y="672"/>
                  </a:lnTo>
                  <a:lnTo>
                    <a:pt x="499" y="675"/>
                  </a:lnTo>
                  <a:close/>
                  <a:moveTo>
                    <a:pt x="672" y="672"/>
                  </a:moveTo>
                  <a:lnTo>
                    <a:pt x="670" y="672"/>
                  </a:lnTo>
                  <a:lnTo>
                    <a:pt x="672" y="672"/>
                  </a:lnTo>
                  <a:close/>
                  <a:moveTo>
                    <a:pt x="499" y="670"/>
                  </a:moveTo>
                  <a:lnTo>
                    <a:pt x="499" y="668"/>
                  </a:lnTo>
                  <a:lnTo>
                    <a:pt x="499" y="670"/>
                  </a:lnTo>
                  <a:close/>
                  <a:moveTo>
                    <a:pt x="501" y="668"/>
                  </a:moveTo>
                  <a:lnTo>
                    <a:pt x="501" y="670"/>
                  </a:lnTo>
                  <a:lnTo>
                    <a:pt x="501" y="668"/>
                  </a:lnTo>
                  <a:close/>
                  <a:moveTo>
                    <a:pt x="489" y="668"/>
                  </a:moveTo>
                  <a:lnTo>
                    <a:pt x="492" y="668"/>
                  </a:lnTo>
                  <a:lnTo>
                    <a:pt x="489" y="668"/>
                  </a:lnTo>
                  <a:close/>
                  <a:moveTo>
                    <a:pt x="503" y="668"/>
                  </a:moveTo>
                  <a:lnTo>
                    <a:pt x="501" y="668"/>
                  </a:lnTo>
                  <a:lnTo>
                    <a:pt x="503" y="668"/>
                  </a:lnTo>
                  <a:close/>
                  <a:moveTo>
                    <a:pt x="499" y="668"/>
                  </a:moveTo>
                  <a:lnTo>
                    <a:pt x="496" y="668"/>
                  </a:lnTo>
                  <a:lnTo>
                    <a:pt x="499" y="668"/>
                  </a:lnTo>
                  <a:close/>
                  <a:moveTo>
                    <a:pt x="1239" y="668"/>
                  </a:moveTo>
                  <a:lnTo>
                    <a:pt x="1241" y="668"/>
                  </a:lnTo>
                  <a:lnTo>
                    <a:pt x="1239" y="668"/>
                  </a:lnTo>
                  <a:close/>
                  <a:moveTo>
                    <a:pt x="494" y="668"/>
                  </a:moveTo>
                  <a:lnTo>
                    <a:pt x="496" y="668"/>
                  </a:lnTo>
                  <a:lnTo>
                    <a:pt x="494" y="668"/>
                  </a:lnTo>
                  <a:close/>
                  <a:moveTo>
                    <a:pt x="484" y="668"/>
                  </a:moveTo>
                  <a:lnTo>
                    <a:pt x="484" y="665"/>
                  </a:lnTo>
                  <a:lnTo>
                    <a:pt x="484" y="668"/>
                  </a:lnTo>
                  <a:close/>
                  <a:moveTo>
                    <a:pt x="492" y="665"/>
                  </a:moveTo>
                  <a:lnTo>
                    <a:pt x="492" y="668"/>
                  </a:lnTo>
                  <a:lnTo>
                    <a:pt x="492" y="665"/>
                  </a:lnTo>
                  <a:close/>
                  <a:moveTo>
                    <a:pt x="492" y="665"/>
                  </a:moveTo>
                  <a:lnTo>
                    <a:pt x="492" y="668"/>
                  </a:lnTo>
                  <a:lnTo>
                    <a:pt x="492" y="665"/>
                  </a:lnTo>
                  <a:close/>
                  <a:moveTo>
                    <a:pt x="492" y="665"/>
                  </a:moveTo>
                  <a:lnTo>
                    <a:pt x="492" y="668"/>
                  </a:lnTo>
                  <a:lnTo>
                    <a:pt x="492" y="665"/>
                  </a:lnTo>
                  <a:close/>
                  <a:moveTo>
                    <a:pt x="487" y="665"/>
                  </a:moveTo>
                  <a:lnTo>
                    <a:pt x="484" y="665"/>
                  </a:lnTo>
                  <a:lnTo>
                    <a:pt x="487" y="665"/>
                  </a:lnTo>
                  <a:close/>
                  <a:moveTo>
                    <a:pt x="1239" y="665"/>
                  </a:moveTo>
                  <a:lnTo>
                    <a:pt x="1237" y="665"/>
                  </a:lnTo>
                  <a:lnTo>
                    <a:pt x="1239" y="665"/>
                  </a:lnTo>
                  <a:close/>
                  <a:moveTo>
                    <a:pt x="492" y="665"/>
                  </a:moveTo>
                  <a:lnTo>
                    <a:pt x="489" y="665"/>
                  </a:lnTo>
                  <a:lnTo>
                    <a:pt x="492" y="665"/>
                  </a:lnTo>
                  <a:close/>
                  <a:moveTo>
                    <a:pt x="499" y="665"/>
                  </a:moveTo>
                  <a:lnTo>
                    <a:pt x="496" y="665"/>
                  </a:lnTo>
                  <a:lnTo>
                    <a:pt x="499" y="665"/>
                  </a:lnTo>
                  <a:close/>
                  <a:moveTo>
                    <a:pt x="494" y="665"/>
                  </a:moveTo>
                  <a:lnTo>
                    <a:pt x="492" y="665"/>
                  </a:lnTo>
                  <a:lnTo>
                    <a:pt x="494" y="665"/>
                  </a:lnTo>
                  <a:close/>
                  <a:moveTo>
                    <a:pt x="494" y="665"/>
                  </a:moveTo>
                  <a:lnTo>
                    <a:pt x="492" y="665"/>
                  </a:lnTo>
                  <a:lnTo>
                    <a:pt x="494" y="665"/>
                  </a:lnTo>
                  <a:close/>
                  <a:moveTo>
                    <a:pt x="520" y="665"/>
                  </a:moveTo>
                  <a:lnTo>
                    <a:pt x="518" y="665"/>
                  </a:lnTo>
                  <a:lnTo>
                    <a:pt x="520" y="665"/>
                  </a:lnTo>
                  <a:close/>
                  <a:moveTo>
                    <a:pt x="492" y="665"/>
                  </a:moveTo>
                  <a:lnTo>
                    <a:pt x="489" y="665"/>
                  </a:lnTo>
                  <a:lnTo>
                    <a:pt x="492" y="665"/>
                  </a:lnTo>
                  <a:close/>
                  <a:moveTo>
                    <a:pt x="492" y="665"/>
                  </a:moveTo>
                  <a:lnTo>
                    <a:pt x="492" y="663"/>
                  </a:lnTo>
                  <a:lnTo>
                    <a:pt x="492" y="665"/>
                  </a:lnTo>
                  <a:close/>
                  <a:moveTo>
                    <a:pt x="518" y="665"/>
                  </a:moveTo>
                  <a:lnTo>
                    <a:pt x="518" y="663"/>
                  </a:lnTo>
                  <a:lnTo>
                    <a:pt x="518" y="665"/>
                  </a:lnTo>
                  <a:close/>
                  <a:moveTo>
                    <a:pt x="520" y="663"/>
                  </a:moveTo>
                  <a:lnTo>
                    <a:pt x="518" y="663"/>
                  </a:lnTo>
                  <a:lnTo>
                    <a:pt x="520" y="663"/>
                  </a:lnTo>
                  <a:close/>
                  <a:moveTo>
                    <a:pt x="667" y="661"/>
                  </a:moveTo>
                  <a:lnTo>
                    <a:pt x="667" y="663"/>
                  </a:lnTo>
                  <a:lnTo>
                    <a:pt x="667" y="661"/>
                  </a:lnTo>
                  <a:close/>
                  <a:moveTo>
                    <a:pt x="499" y="663"/>
                  </a:moveTo>
                  <a:lnTo>
                    <a:pt x="496" y="663"/>
                  </a:lnTo>
                  <a:lnTo>
                    <a:pt x="496" y="661"/>
                  </a:lnTo>
                  <a:lnTo>
                    <a:pt x="499" y="663"/>
                  </a:lnTo>
                  <a:close/>
                  <a:moveTo>
                    <a:pt x="494" y="661"/>
                  </a:moveTo>
                  <a:lnTo>
                    <a:pt x="492" y="661"/>
                  </a:lnTo>
                  <a:lnTo>
                    <a:pt x="494" y="661"/>
                  </a:lnTo>
                  <a:close/>
                  <a:moveTo>
                    <a:pt x="522" y="661"/>
                  </a:moveTo>
                  <a:lnTo>
                    <a:pt x="520" y="661"/>
                  </a:lnTo>
                  <a:lnTo>
                    <a:pt x="522" y="661"/>
                  </a:lnTo>
                  <a:close/>
                  <a:moveTo>
                    <a:pt x="494" y="661"/>
                  </a:moveTo>
                  <a:lnTo>
                    <a:pt x="496" y="661"/>
                  </a:lnTo>
                  <a:lnTo>
                    <a:pt x="494" y="661"/>
                  </a:lnTo>
                  <a:close/>
                  <a:moveTo>
                    <a:pt x="530" y="661"/>
                  </a:moveTo>
                  <a:lnTo>
                    <a:pt x="527" y="661"/>
                  </a:lnTo>
                  <a:lnTo>
                    <a:pt x="530" y="661"/>
                  </a:lnTo>
                  <a:close/>
                  <a:moveTo>
                    <a:pt x="492" y="661"/>
                  </a:moveTo>
                  <a:lnTo>
                    <a:pt x="489" y="661"/>
                  </a:lnTo>
                  <a:lnTo>
                    <a:pt x="492" y="661"/>
                  </a:lnTo>
                  <a:close/>
                  <a:moveTo>
                    <a:pt x="492" y="661"/>
                  </a:moveTo>
                  <a:lnTo>
                    <a:pt x="489" y="661"/>
                  </a:lnTo>
                  <a:lnTo>
                    <a:pt x="492" y="661"/>
                  </a:lnTo>
                  <a:close/>
                  <a:moveTo>
                    <a:pt x="492" y="661"/>
                  </a:moveTo>
                  <a:lnTo>
                    <a:pt x="492" y="658"/>
                  </a:lnTo>
                  <a:lnTo>
                    <a:pt x="492" y="661"/>
                  </a:lnTo>
                  <a:close/>
                  <a:moveTo>
                    <a:pt x="487" y="656"/>
                  </a:moveTo>
                  <a:lnTo>
                    <a:pt x="487" y="658"/>
                  </a:lnTo>
                  <a:lnTo>
                    <a:pt x="487" y="656"/>
                  </a:lnTo>
                  <a:close/>
                  <a:moveTo>
                    <a:pt x="847" y="658"/>
                  </a:moveTo>
                  <a:lnTo>
                    <a:pt x="845" y="658"/>
                  </a:lnTo>
                  <a:lnTo>
                    <a:pt x="845" y="656"/>
                  </a:lnTo>
                  <a:lnTo>
                    <a:pt x="847" y="656"/>
                  </a:lnTo>
                  <a:lnTo>
                    <a:pt x="847" y="658"/>
                  </a:lnTo>
                  <a:close/>
                  <a:moveTo>
                    <a:pt x="487" y="656"/>
                  </a:moveTo>
                  <a:lnTo>
                    <a:pt x="484" y="656"/>
                  </a:lnTo>
                  <a:lnTo>
                    <a:pt x="487" y="656"/>
                  </a:lnTo>
                  <a:close/>
                  <a:moveTo>
                    <a:pt x="487" y="656"/>
                  </a:moveTo>
                  <a:lnTo>
                    <a:pt x="484" y="656"/>
                  </a:lnTo>
                  <a:lnTo>
                    <a:pt x="487" y="656"/>
                  </a:lnTo>
                  <a:close/>
                  <a:moveTo>
                    <a:pt x="843" y="653"/>
                  </a:moveTo>
                  <a:lnTo>
                    <a:pt x="840" y="653"/>
                  </a:lnTo>
                  <a:lnTo>
                    <a:pt x="843" y="653"/>
                  </a:lnTo>
                  <a:close/>
                  <a:moveTo>
                    <a:pt x="1225" y="651"/>
                  </a:moveTo>
                  <a:lnTo>
                    <a:pt x="1222" y="651"/>
                  </a:lnTo>
                  <a:lnTo>
                    <a:pt x="1225" y="651"/>
                  </a:lnTo>
                  <a:close/>
                  <a:moveTo>
                    <a:pt x="836" y="651"/>
                  </a:moveTo>
                  <a:lnTo>
                    <a:pt x="833" y="651"/>
                  </a:lnTo>
                  <a:lnTo>
                    <a:pt x="836" y="651"/>
                  </a:lnTo>
                  <a:close/>
                  <a:moveTo>
                    <a:pt x="484" y="651"/>
                  </a:moveTo>
                  <a:lnTo>
                    <a:pt x="482" y="651"/>
                  </a:lnTo>
                  <a:lnTo>
                    <a:pt x="484" y="651"/>
                  </a:lnTo>
                  <a:close/>
                  <a:moveTo>
                    <a:pt x="1092" y="649"/>
                  </a:moveTo>
                  <a:lnTo>
                    <a:pt x="1090" y="649"/>
                  </a:lnTo>
                  <a:lnTo>
                    <a:pt x="1092" y="649"/>
                  </a:lnTo>
                  <a:close/>
                  <a:moveTo>
                    <a:pt x="482" y="649"/>
                  </a:moveTo>
                  <a:lnTo>
                    <a:pt x="480" y="649"/>
                  </a:lnTo>
                  <a:lnTo>
                    <a:pt x="482" y="649"/>
                  </a:lnTo>
                  <a:close/>
                  <a:moveTo>
                    <a:pt x="482" y="649"/>
                  </a:moveTo>
                  <a:lnTo>
                    <a:pt x="480" y="649"/>
                  </a:lnTo>
                  <a:lnTo>
                    <a:pt x="482" y="649"/>
                  </a:lnTo>
                  <a:close/>
                  <a:moveTo>
                    <a:pt x="482" y="646"/>
                  </a:moveTo>
                  <a:lnTo>
                    <a:pt x="480" y="646"/>
                  </a:lnTo>
                  <a:lnTo>
                    <a:pt x="482" y="646"/>
                  </a:lnTo>
                  <a:close/>
                  <a:moveTo>
                    <a:pt x="482" y="646"/>
                  </a:moveTo>
                  <a:lnTo>
                    <a:pt x="480" y="646"/>
                  </a:lnTo>
                  <a:lnTo>
                    <a:pt x="482" y="646"/>
                  </a:lnTo>
                  <a:close/>
                  <a:moveTo>
                    <a:pt x="480" y="644"/>
                  </a:moveTo>
                  <a:lnTo>
                    <a:pt x="480" y="646"/>
                  </a:lnTo>
                  <a:lnTo>
                    <a:pt x="480" y="644"/>
                  </a:lnTo>
                  <a:close/>
                  <a:moveTo>
                    <a:pt x="829" y="644"/>
                  </a:moveTo>
                  <a:lnTo>
                    <a:pt x="829" y="646"/>
                  </a:lnTo>
                  <a:lnTo>
                    <a:pt x="829" y="644"/>
                  </a:lnTo>
                  <a:close/>
                  <a:moveTo>
                    <a:pt x="477" y="644"/>
                  </a:moveTo>
                  <a:lnTo>
                    <a:pt x="475" y="644"/>
                  </a:lnTo>
                  <a:lnTo>
                    <a:pt x="477" y="644"/>
                  </a:lnTo>
                  <a:close/>
                  <a:moveTo>
                    <a:pt x="477" y="644"/>
                  </a:moveTo>
                  <a:lnTo>
                    <a:pt x="475" y="644"/>
                  </a:lnTo>
                  <a:lnTo>
                    <a:pt x="477" y="644"/>
                  </a:lnTo>
                  <a:close/>
                  <a:moveTo>
                    <a:pt x="477" y="644"/>
                  </a:moveTo>
                  <a:lnTo>
                    <a:pt x="475" y="642"/>
                  </a:lnTo>
                  <a:lnTo>
                    <a:pt x="477" y="642"/>
                  </a:lnTo>
                  <a:lnTo>
                    <a:pt x="477" y="644"/>
                  </a:lnTo>
                  <a:close/>
                  <a:moveTo>
                    <a:pt x="482" y="642"/>
                  </a:moveTo>
                  <a:lnTo>
                    <a:pt x="480" y="642"/>
                  </a:lnTo>
                  <a:lnTo>
                    <a:pt x="482" y="642"/>
                  </a:lnTo>
                  <a:close/>
                  <a:moveTo>
                    <a:pt x="482" y="642"/>
                  </a:moveTo>
                  <a:lnTo>
                    <a:pt x="480" y="642"/>
                  </a:lnTo>
                  <a:lnTo>
                    <a:pt x="482" y="642"/>
                  </a:lnTo>
                  <a:close/>
                  <a:moveTo>
                    <a:pt x="1111" y="642"/>
                  </a:moveTo>
                  <a:lnTo>
                    <a:pt x="1108" y="642"/>
                  </a:lnTo>
                  <a:lnTo>
                    <a:pt x="1111" y="642"/>
                  </a:lnTo>
                  <a:lnTo>
                    <a:pt x="1108" y="642"/>
                  </a:lnTo>
                  <a:lnTo>
                    <a:pt x="1111" y="642"/>
                  </a:lnTo>
                  <a:close/>
                  <a:moveTo>
                    <a:pt x="1061" y="642"/>
                  </a:moveTo>
                  <a:lnTo>
                    <a:pt x="1061" y="639"/>
                  </a:lnTo>
                  <a:lnTo>
                    <a:pt x="1061" y="642"/>
                  </a:lnTo>
                  <a:close/>
                  <a:moveTo>
                    <a:pt x="484" y="639"/>
                  </a:moveTo>
                  <a:lnTo>
                    <a:pt x="482" y="639"/>
                  </a:lnTo>
                  <a:lnTo>
                    <a:pt x="484" y="639"/>
                  </a:lnTo>
                  <a:close/>
                  <a:moveTo>
                    <a:pt x="826" y="642"/>
                  </a:moveTo>
                  <a:lnTo>
                    <a:pt x="826" y="639"/>
                  </a:lnTo>
                  <a:lnTo>
                    <a:pt x="829" y="639"/>
                  </a:lnTo>
                  <a:lnTo>
                    <a:pt x="826" y="642"/>
                  </a:lnTo>
                  <a:close/>
                  <a:moveTo>
                    <a:pt x="484" y="639"/>
                  </a:moveTo>
                  <a:lnTo>
                    <a:pt x="484" y="642"/>
                  </a:lnTo>
                  <a:lnTo>
                    <a:pt x="484" y="639"/>
                  </a:lnTo>
                  <a:close/>
                  <a:moveTo>
                    <a:pt x="484" y="639"/>
                  </a:moveTo>
                  <a:lnTo>
                    <a:pt x="482" y="639"/>
                  </a:lnTo>
                  <a:lnTo>
                    <a:pt x="484" y="639"/>
                  </a:lnTo>
                  <a:close/>
                  <a:moveTo>
                    <a:pt x="1073" y="639"/>
                  </a:moveTo>
                  <a:lnTo>
                    <a:pt x="1071" y="639"/>
                  </a:lnTo>
                  <a:lnTo>
                    <a:pt x="1073" y="639"/>
                  </a:lnTo>
                  <a:close/>
                  <a:moveTo>
                    <a:pt x="487" y="639"/>
                  </a:moveTo>
                  <a:lnTo>
                    <a:pt x="484" y="639"/>
                  </a:lnTo>
                  <a:lnTo>
                    <a:pt x="487" y="639"/>
                  </a:lnTo>
                  <a:close/>
                  <a:moveTo>
                    <a:pt x="487" y="639"/>
                  </a:moveTo>
                  <a:lnTo>
                    <a:pt x="484" y="639"/>
                  </a:lnTo>
                  <a:lnTo>
                    <a:pt x="487" y="639"/>
                  </a:lnTo>
                  <a:close/>
                  <a:moveTo>
                    <a:pt x="1127" y="637"/>
                  </a:moveTo>
                  <a:lnTo>
                    <a:pt x="1125" y="637"/>
                  </a:lnTo>
                  <a:lnTo>
                    <a:pt x="1127" y="637"/>
                  </a:lnTo>
                  <a:close/>
                  <a:moveTo>
                    <a:pt x="487" y="637"/>
                  </a:moveTo>
                  <a:lnTo>
                    <a:pt x="484" y="637"/>
                  </a:lnTo>
                  <a:lnTo>
                    <a:pt x="487" y="637"/>
                  </a:lnTo>
                  <a:close/>
                  <a:moveTo>
                    <a:pt x="821" y="634"/>
                  </a:moveTo>
                  <a:lnTo>
                    <a:pt x="824" y="634"/>
                  </a:lnTo>
                  <a:lnTo>
                    <a:pt x="821" y="634"/>
                  </a:lnTo>
                  <a:close/>
                  <a:moveTo>
                    <a:pt x="821" y="634"/>
                  </a:moveTo>
                  <a:lnTo>
                    <a:pt x="819" y="634"/>
                  </a:lnTo>
                  <a:lnTo>
                    <a:pt x="821" y="634"/>
                  </a:lnTo>
                  <a:close/>
                  <a:moveTo>
                    <a:pt x="817" y="634"/>
                  </a:moveTo>
                  <a:lnTo>
                    <a:pt x="819" y="634"/>
                  </a:lnTo>
                  <a:lnTo>
                    <a:pt x="817" y="634"/>
                  </a:lnTo>
                  <a:close/>
                  <a:moveTo>
                    <a:pt x="489" y="634"/>
                  </a:moveTo>
                  <a:lnTo>
                    <a:pt x="487" y="634"/>
                  </a:lnTo>
                  <a:lnTo>
                    <a:pt x="489" y="634"/>
                  </a:lnTo>
                  <a:lnTo>
                    <a:pt x="487" y="634"/>
                  </a:lnTo>
                  <a:lnTo>
                    <a:pt x="489" y="634"/>
                  </a:lnTo>
                  <a:close/>
                  <a:moveTo>
                    <a:pt x="489" y="634"/>
                  </a:moveTo>
                  <a:lnTo>
                    <a:pt x="487" y="634"/>
                  </a:lnTo>
                  <a:lnTo>
                    <a:pt x="489" y="634"/>
                  </a:lnTo>
                  <a:close/>
                  <a:moveTo>
                    <a:pt x="1142" y="634"/>
                  </a:moveTo>
                  <a:lnTo>
                    <a:pt x="1139" y="634"/>
                  </a:lnTo>
                  <a:lnTo>
                    <a:pt x="1142" y="634"/>
                  </a:lnTo>
                  <a:close/>
                  <a:moveTo>
                    <a:pt x="1142" y="632"/>
                  </a:moveTo>
                  <a:lnTo>
                    <a:pt x="1142" y="634"/>
                  </a:lnTo>
                  <a:lnTo>
                    <a:pt x="1142" y="632"/>
                  </a:lnTo>
                  <a:close/>
                  <a:moveTo>
                    <a:pt x="814" y="632"/>
                  </a:moveTo>
                  <a:lnTo>
                    <a:pt x="814" y="634"/>
                  </a:lnTo>
                  <a:lnTo>
                    <a:pt x="814" y="632"/>
                  </a:lnTo>
                  <a:close/>
                  <a:moveTo>
                    <a:pt x="489" y="630"/>
                  </a:moveTo>
                  <a:lnTo>
                    <a:pt x="487" y="630"/>
                  </a:lnTo>
                  <a:lnTo>
                    <a:pt x="489" y="630"/>
                  </a:lnTo>
                  <a:close/>
                  <a:moveTo>
                    <a:pt x="807" y="630"/>
                  </a:moveTo>
                  <a:lnTo>
                    <a:pt x="807" y="627"/>
                  </a:lnTo>
                  <a:lnTo>
                    <a:pt x="807" y="630"/>
                  </a:lnTo>
                  <a:close/>
                  <a:moveTo>
                    <a:pt x="489" y="627"/>
                  </a:moveTo>
                  <a:lnTo>
                    <a:pt x="487" y="627"/>
                  </a:lnTo>
                  <a:lnTo>
                    <a:pt x="489" y="627"/>
                  </a:lnTo>
                  <a:close/>
                  <a:moveTo>
                    <a:pt x="487" y="627"/>
                  </a:moveTo>
                  <a:lnTo>
                    <a:pt x="487" y="625"/>
                  </a:lnTo>
                  <a:lnTo>
                    <a:pt x="487" y="627"/>
                  </a:lnTo>
                  <a:close/>
                  <a:moveTo>
                    <a:pt x="494" y="625"/>
                  </a:moveTo>
                  <a:lnTo>
                    <a:pt x="494" y="627"/>
                  </a:lnTo>
                  <a:lnTo>
                    <a:pt x="494" y="625"/>
                  </a:lnTo>
                  <a:close/>
                  <a:moveTo>
                    <a:pt x="487" y="625"/>
                  </a:moveTo>
                  <a:lnTo>
                    <a:pt x="487" y="627"/>
                  </a:lnTo>
                  <a:lnTo>
                    <a:pt x="487" y="625"/>
                  </a:lnTo>
                  <a:close/>
                  <a:moveTo>
                    <a:pt x="489" y="625"/>
                  </a:moveTo>
                  <a:lnTo>
                    <a:pt x="487" y="625"/>
                  </a:lnTo>
                  <a:lnTo>
                    <a:pt x="489" y="625"/>
                  </a:lnTo>
                  <a:close/>
                  <a:moveTo>
                    <a:pt x="489" y="625"/>
                  </a:moveTo>
                  <a:lnTo>
                    <a:pt x="487" y="625"/>
                  </a:lnTo>
                  <a:lnTo>
                    <a:pt x="489" y="625"/>
                  </a:lnTo>
                  <a:close/>
                  <a:moveTo>
                    <a:pt x="496" y="623"/>
                  </a:moveTo>
                  <a:lnTo>
                    <a:pt x="494" y="625"/>
                  </a:lnTo>
                  <a:lnTo>
                    <a:pt x="496" y="623"/>
                  </a:lnTo>
                  <a:close/>
                  <a:moveTo>
                    <a:pt x="1213" y="625"/>
                  </a:moveTo>
                  <a:lnTo>
                    <a:pt x="1213" y="623"/>
                  </a:lnTo>
                  <a:lnTo>
                    <a:pt x="1213" y="625"/>
                  </a:lnTo>
                  <a:close/>
                  <a:moveTo>
                    <a:pt x="487" y="623"/>
                  </a:moveTo>
                  <a:lnTo>
                    <a:pt x="487" y="625"/>
                  </a:lnTo>
                  <a:lnTo>
                    <a:pt x="487" y="623"/>
                  </a:lnTo>
                  <a:lnTo>
                    <a:pt x="487" y="625"/>
                  </a:lnTo>
                  <a:lnTo>
                    <a:pt x="487" y="623"/>
                  </a:lnTo>
                  <a:close/>
                  <a:moveTo>
                    <a:pt x="487" y="623"/>
                  </a:moveTo>
                  <a:lnTo>
                    <a:pt x="489" y="623"/>
                  </a:lnTo>
                  <a:lnTo>
                    <a:pt x="487" y="623"/>
                  </a:lnTo>
                  <a:close/>
                  <a:moveTo>
                    <a:pt x="496" y="623"/>
                  </a:moveTo>
                  <a:lnTo>
                    <a:pt x="494" y="623"/>
                  </a:lnTo>
                  <a:lnTo>
                    <a:pt x="496" y="623"/>
                  </a:lnTo>
                  <a:close/>
                  <a:moveTo>
                    <a:pt x="494" y="623"/>
                  </a:moveTo>
                  <a:lnTo>
                    <a:pt x="492" y="623"/>
                  </a:lnTo>
                  <a:lnTo>
                    <a:pt x="494" y="623"/>
                  </a:lnTo>
                  <a:close/>
                  <a:moveTo>
                    <a:pt x="499" y="623"/>
                  </a:moveTo>
                  <a:lnTo>
                    <a:pt x="496" y="623"/>
                  </a:lnTo>
                  <a:lnTo>
                    <a:pt x="499" y="623"/>
                  </a:lnTo>
                  <a:close/>
                  <a:moveTo>
                    <a:pt x="494" y="623"/>
                  </a:moveTo>
                  <a:lnTo>
                    <a:pt x="492" y="623"/>
                  </a:lnTo>
                  <a:lnTo>
                    <a:pt x="494" y="623"/>
                  </a:lnTo>
                  <a:close/>
                  <a:moveTo>
                    <a:pt x="489" y="620"/>
                  </a:moveTo>
                  <a:lnTo>
                    <a:pt x="489" y="623"/>
                  </a:lnTo>
                  <a:lnTo>
                    <a:pt x="489" y="620"/>
                  </a:lnTo>
                  <a:close/>
                  <a:moveTo>
                    <a:pt x="487" y="623"/>
                  </a:moveTo>
                  <a:lnTo>
                    <a:pt x="484" y="623"/>
                  </a:lnTo>
                  <a:lnTo>
                    <a:pt x="487" y="620"/>
                  </a:lnTo>
                  <a:lnTo>
                    <a:pt x="487" y="623"/>
                  </a:lnTo>
                  <a:close/>
                  <a:moveTo>
                    <a:pt x="494" y="620"/>
                  </a:moveTo>
                  <a:lnTo>
                    <a:pt x="494" y="623"/>
                  </a:lnTo>
                  <a:lnTo>
                    <a:pt x="494" y="620"/>
                  </a:lnTo>
                  <a:close/>
                  <a:moveTo>
                    <a:pt x="496" y="623"/>
                  </a:moveTo>
                  <a:lnTo>
                    <a:pt x="496" y="620"/>
                  </a:lnTo>
                  <a:lnTo>
                    <a:pt x="496" y="623"/>
                  </a:lnTo>
                  <a:close/>
                  <a:moveTo>
                    <a:pt x="494" y="620"/>
                  </a:moveTo>
                  <a:lnTo>
                    <a:pt x="492" y="620"/>
                  </a:lnTo>
                  <a:lnTo>
                    <a:pt x="494" y="620"/>
                  </a:lnTo>
                  <a:close/>
                  <a:moveTo>
                    <a:pt x="487" y="620"/>
                  </a:moveTo>
                  <a:lnTo>
                    <a:pt x="484" y="620"/>
                  </a:lnTo>
                  <a:lnTo>
                    <a:pt x="487" y="620"/>
                  </a:lnTo>
                  <a:close/>
                  <a:moveTo>
                    <a:pt x="496" y="620"/>
                  </a:moveTo>
                  <a:lnTo>
                    <a:pt x="494" y="620"/>
                  </a:lnTo>
                  <a:lnTo>
                    <a:pt x="496" y="620"/>
                  </a:lnTo>
                  <a:close/>
                  <a:moveTo>
                    <a:pt x="496" y="620"/>
                  </a:moveTo>
                  <a:lnTo>
                    <a:pt x="496" y="618"/>
                  </a:lnTo>
                  <a:lnTo>
                    <a:pt x="496" y="620"/>
                  </a:lnTo>
                  <a:close/>
                  <a:moveTo>
                    <a:pt x="800" y="618"/>
                  </a:moveTo>
                  <a:lnTo>
                    <a:pt x="800" y="620"/>
                  </a:lnTo>
                  <a:lnTo>
                    <a:pt x="800" y="618"/>
                  </a:lnTo>
                  <a:close/>
                  <a:moveTo>
                    <a:pt x="1063" y="618"/>
                  </a:moveTo>
                  <a:lnTo>
                    <a:pt x="1066" y="618"/>
                  </a:lnTo>
                  <a:lnTo>
                    <a:pt x="1063" y="618"/>
                  </a:lnTo>
                  <a:close/>
                  <a:moveTo>
                    <a:pt x="494" y="618"/>
                  </a:moveTo>
                  <a:lnTo>
                    <a:pt x="492" y="618"/>
                  </a:lnTo>
                  <a:lnTo>
                    <a:pt x="494" y="618"/>
                  </a:lnTo>
                  <a:close/>
                  <a:moveTo>
                    <a:pt x="494" y="615"/>
                  </a:moveTo>
                  <a:lnTo>
                    <a:pt x="494" y="618"/>
                  </a:lnTo>
                  <a:lnTo>
                    <a:pt x="494" y="615"/>
                  </a:lnTo>
                  <a:close/>
                  <a:moveTo>
                    <a:pt x="492" y="618"/>
                  </a:moveTo>
                  <a:lnTo>
                    <a:pt x="492" y="615"/>
                  </a:lnTo>
                  <a:lnTo>
                    <a:pt x="492" y="618"/>
                  </a:lnTo>
                  <a:close/>
                  <a:moveTo>
                    <a:pt x="800" y="615"/>
                  </a:moveTo>
                  <a:lnTo>
                    <a:pt x="800" y="618"/>
                  </a:lnTo>
                  <a:lnTo>
                    <a:pt x="800" y="615"/>
                  </a:lnTo>
                  <a:lnTo>
                    <a:pt x="800" y="618"/>
                  </a:lnTo>
                  <a:lnTo>
                    <a:pt x="800" y="615"/>
                  </a:lnTo>
                  <a:close/>
                  <a:moveTo>
                    <a:pt x="492" y="615"/>
                  </a:moveTo>
                  <a:lnTo>
                    <a:pt x="492" y="618"/>
                  </a:lnTo>
                  <a:lnTo>
                    <a:pt x="492" y="615"/>
                  </a:lnTo>
                  <a:close/>
                  <a:moveTo>
                    <a:pt x="492" y="615"/>
                  </a:moveTo>
                  <a:lnTo>
                    <a:pt x="492" y="618"/>
                  </a:lnTo>
                  <a:lnTo>
                    <a:pt x="492" y="615"/>
                  </a:lnTo>
                  <a:close/>
                  <a:moveTo>
                    <a:pt x="1215" y="615"/>
                  </a:moveTo>
                  <a:lnTo>
                    <a:pt x="1213" y="615"/>
                  </a:lnTo>
                  <a:lnTo>
                    <a:pt x="1215" y="615"/>
                  </a:lnTo>
                  <a:close/>
                  <a:moveTo>
                    <a:pt x="492" y="613"/>
                  </a:moveTo>
                  <a:lnTo>
                    <a:pt x="492" y="615"/>
                  </a:lnTo>
                  <a:lnTo>
                    <a:pt x="492" y="613"/>
                  </a:lnTo>
                  <a:close/>
                  <a:moveTo>
                    <a:pt x="798" y="613"/>
                  </a:moveTo>
                  <a:lnTo>
                    <a:pt x="798" y="615"/>
                  </a:lnTo>
                  <a:lnTo>
                    <a:pt x="798" y="613"/>
                  </a:lnTo>
                  <a:close/>
                  <a:moveTo>
                    <a:pt x="1303" y="613"/>
                  </a:moveTo>
                  <a:lnTo>
                    <a:pt x="1303" y="615"/>
                  </a:lnTo>
                  <a:lnTo>
                    <a:pt x="1303" y="613"/>
                  </a:lnTo>
                  <a:close/>
                  <a:moveTo>
                    <a:pt x="798" y="613"/>
                  </a:moveTo>
                  <a:lnTo>
                    <a:pt x="798" y="615"/>
                  </a:lnTo>
                  <a:lnTo>
                    <a:pt x="798" y="613"/>
                  </a:lnTo>
                  <a:close/>
                  <a:moveTo>
                    <a:pt x="492" y="613"/>
                  </a:moveTo>
                  <a:lnTo>
                    <a:pt x="489" y="613"/>
                  </a:lnTo>
                  <a:lnTo>
                    <a:pt x="492" y="613"/>
                  </a:lnTo>
                  <a:close/>
                  <a:moveTo>
                    <a:pt x="489" y="613"/>
                  </a:moveTo>
                  <a:lnTo>
                    <a:pt x="487" y="613"/>
                  </a:lnTo>
                  <a:lnTo>
                    <a:pt x="489" y="613"/>
                  </a:lnTo>
                  <a:close/>
                  <a:moveTo>
                    <a:pt x="487" y="613"/>
                  </a:moveTo>
                  <a:lnTo>
                    <a:pt x="484" y="613"/>
                  </a:lnTo>
                  <a:lnTo>
                    <a:pt x="487" y="613"/>
                  </a:lnTo>
                  <a:close/>
                  <a:moveTo>
                    <a:pt x="487" y="611"/>
                  </a:moveTo>
                  <a:lnTo>
                    <a:pt x="487" y="613"/>
                  </a:lnTo>
                  <a:lnTo>
                    <a:pt x="487" y="611"/>
                  </a:lnTo>
                  <a:close/>
                  <a:moveTo>
                    <a:pt x="487" y="611"/>
                  </a:moveTo>
                  <a:lnTo>
                    <a:pt x="484" y="611"/>
                  </a:lnTo>
                  <a:lnTo>
                    <a:pt x="487" y="611"/>
                  </a:lnTo>
                  <a:close/>
                  <a:moveTo>
                    <a:pt x="798" y="611"/>
                  </a:moveTo>
                  <a:lnTo>
                    <a:pt x="795" y="611"/>
                  </a:lnTo>
                  <a:lnTo>
                    <a:pt x="798" y="611"/>
                  </a:lnTo>
                  <a:close/>
                  <a:moveTo>
                    <a:pt x="795" y="608"/>
                  </a:moveTo>
                  <a:lnTo>
                    <a:pt x="798" y="611"/>
                  </a:lnTo>
                  <a:lnTo>
                    <a:pt x="795" y="611"/>
                  </a:lnTo>
                  <a:lnTo>
                    <a:pt x="795" y="608"/>
                  </a:lnTo>
                  <a:close/>
                  <a:moveTo>
                    <a:pt x="1248" y="608"/>
                  </a:moveTo>
                  <a:lnTo>
                    <a:pt x="1251" y="608"/>
                  </a:lnTo>
                  <a:lnTo>
                    <a:pt x="1248" y="608"/>
                  </a:lnTo>
                  <a:close/>
                  <a:moveTo>
                    <a:pt x="798" y="606"/>
                  </a:moveTo>
                  <a:lnTo>
                    <a:pt x="795" y="606"/>
                  </a:lnTo>
                  <a:lnTo>
                    <a:pt x="798" y="606"/>
                  </a:lnTo>
                  <a:lnTo>
                    <a:pt x="795" y="606"/>
                  </a:lnTo>
                  <a:lnTo>
                    <a:pt x="798" y="606"/>
                  </a:lnTo>
                  <a:close/>
                  <a:moveTo>
                    <a:pt x="703" y="606"/>
                  </a:moveTo>
                  <a:lnTo>
                    <a:pt x="703" y="603"/>
                  </a:lnTo>
                  <a:lnTo>
                    <a:pt x="703" y="606"/>
                  </a:lnTo>
                  <a:close/>
                  <a:moveTo>
                    <a:pt x="774" y="606"/>
                  </a:moveTo>
                  <a:lnTo>
                    <a:pt x="774" y="603"/>
                  </a:lnTo>
                  <a:lnTo>
                    <a:pt x="774" y="606"/>
                  </a:lnTo>
                  <a:close/>
                  <a:moveTo>
                    <a:pt x="774" y="606"/>
                  </a:moveTo>
                  <a:lnTo>
                    <a:pt x="774" y="603"/>
                  </a:lnTo>
                  <a:lnTo>
                    <a:pt x="774" y="606"/>
                  </a:lnTo>
                  <a:close/>
                  <a:moveTo>
                    <a:pt x="1258" y="606"/>
                  </a:moveTo>
                  <a:lnTo>
                    <a:pt x="1258" y="603"/>
                  </a:lnTo>
                  <a:lnTo>
                    <a:pt x="1258" y="606"/>
                  </a:lnTo>
                  <a:close/>
                  <a:moveTo>
                    <a:pt x="622" y="603"/>
                  </a:moveTo>
                  <a:lnTo>
                    <a:pt x="620" y="603"/>
                  </a:lnTo>
                  <a:lnTo>
                    <a:pt x="622" y="603"/>
                  </a:lnTo>
                  <a:close/>
                  <a:moveTo>
                    <a:pt x="774" y="601"/>
                  </a:moveTo>
                  <a:lnTo>
                    <a:pt x="772" y="601"/>
                  </a:lnTo>
                  <a:lnTo>
                    <a:pt x="774" y="601"/>
                  </a:lnTo>
                  <a:close/>
                  <a:moveTo>
                    <a:pt x="1213" y="601"/>
                  </a:moveTo>
                  <a:lnTo>
                    <a:pt x="1213" y="599"/>
                  </a:lnTo>
                  <a:lnTo>
                    <a:pt x="1213" y="601"/>
                  </a:lnTo>
                  <a:close/>
                  <a:moveTo>
                    <a:pt x="715" y="601"/>
                  </a:moveTo>
                  <a:lnTo>
                    <a:pt x="715" y="599"/>
                  </a:lnTo>
                  <a:lnTo>
                    <a:pt x="715" y="601"/>
                  </a:lnTo>
                  <a:close/>
                  <a:moveTo>
                    <a:pt x="1163" y="596"/>
                  </a:moveTo>
                  <a:lnTo>
                    <a:pt x="1163" y="599"/>
                  </a:lnTo>
                  <a:lnTo>
                    <a:pt x="1163" y="596"/>
                  </a:lnTo>
                  <a:close/>
                  <a:moveTo>
                    <a:pt x="781" y="596"/>
                  </a:moveTo>
                  <a:lnTo>
                    <a:pt x="779" y="596"/>
                  </a:lnTo>
                  <a:lnTo>
                    <a:pt x="781" y="596"/>
                  </a:lnTo>
                  <a:close/>
                  <a:moveTo>
                    <a:pt x="783" y="596"/>
                  </a:moveTo>
                  <a:lnTo>
                    <a:pt x="786" y="596"/>
                  </a:lnTo>
                  <a:lnTo>
                    <a:pt x="783" y="596"/>
                  </a:lnTo>
                  <a:close/>
                  <a:moveTo>
                    <a:pt x="1173" y="594"/>
                  </a:moveTo>
                  <a:lnTo>
                    <a:pt x="1175" y="594"/>
                  </a:lnTo>
                  <a:lnTo>
                    <a:pt x="1173" y="594"/>
                  </a:lnTo>
                  <a:close/>
                  <a:moveTo>
                    <a:pt x="1315" y="592"/>
                  </a:moveTo>
                  <a:lnTo>
                    <a:pt x="1315" y="589"/>
                  </a:lnTo>
                  <a:lnTo>
                    <a:pt x="1315" y="592"/>
                  </a:lnTo>
                  <a:close/>
                  <a:moveTo>
                    <a:pt x="558" y="589"/>
                  </a:moveTo>
                  <a:lnTo>
                    <a:pt x="558" y="592"/>
                  </a:lnTo>
                  <a:lnTo>
                    <a:pt x="558" y="589"/>
                  </a:lnTo>
                  <a:close/>
                  <a:moveTo>
                    <a:pt x="458" y="589"/>
                  </a:moveTo>
                  <a:lnTo>
                    <a:pt x="456" y="589"/>
                  </a:lnTo>
                  <a:lnTo>
                    <a:pt x="458" y="589"/>
                  </a:lnTo>
                  <a:close/>
                  <a:moveTo>
                    <a:pt x="1201" y="589"/>
                  </a:moveTo>
                  <a:lnTo>
                    <a:pt x="1199" y="589"/>
                  </a:lnTo>
                  <a:lnTo>
                    <a:pt x="1201" y="589"/>
                  </a:lnTo>
                  <a:close/>
                  <a:moveTo>
                    <a:pt x="553" y="589"/>
                  </a:moveTo>
                  <a:lnTo>
                    <a:pt x="551" y="589"/>
                  </a:lnTo>
                  <a:lnTo>
                    <a:pt x="553" y="589"/>
                  </a:lnTo>
                  <a:close/>
                  <a:moveTo>
                    <a:pt x="772" y="589"/>
                  </a:moveTo>
                  <a:lnTo>
                    <a:pt x="772" y="587"/>
                  </a:lnTo>
                  <a:lnTo>
                    <a:pt x="772" y="589"/>
                  </a:lnTo>
                  <a:close/>
                  <a:moveTo>
                    <a:pt x="726" y="587"/>
                  </a:moveTo>
                  <a:lnTo>
                    <a:pt x="726" y="589"/>
                  </a:lnTo>
                  <a:lnTo>
                    <a:pt x="726" y="587"/>
                  </a:lnTo>
                  <a:close/>
                  <a:moveTo>
                    <a:pt x="454" y="587"/>
                  </a:moveTo>
                  <a:lnTo>
                    <a:pt x="451" y="587"/>
                  </a:lnTo>
                  <a:lnTo>
                    <a:pt x="454" y="587"/>
                  </a:lnTo>
                  <a:close/>
                  <a:moveTo>
                    <a:pt x="551" y="587"/>
                  </a:moveTo>
                  <a:lnTo>
                    <a:pt x="551" y="589"/>
                  </a:lnTo>
                  <a:lnTo>
                    <a:pt x="551" y="587"/>
                  </a:lnTo>
                  <a:close/>
                  <a:moveTo>
                    <a:pt x="454" y="587"/>
                  </a:moveTo>
                  <a:lnTo>
                    <a:pt x="451" y="587"/>
                  </a:lnTo>
                  <a:lnTo>
                    <a:pt x="454" y="587"/>
                  </a:lnTo>
                  <a:close/>
                  <a:moveTo>
                    <a:pt x="454" y="587"/>
                  </a:moveTo>
                  <a:lnTo>
                    <a:pt x="451" y="587"/>
                  </a:lnTo>
                  <a:lnTo>
                    <a:pt x="454" y="587"/>
                  </a:lnTo>
                  <a:close/>
                  <a:moveTo>
                    <a:pt x="456" y="582"/>
                  </a:moveTo>
                  <a:lnTo>
                    <a:pt x="456" y="584"/>
                  </a:lnTo>
                  <a:lnTo>
                    <a:pt x="456" y="582"/>
                  </a:lnTo>
                  <a:close/>
                  <a:moveTo>
                    <a:pt x="769" y="584"/>
                  </a:moveTo>
                  <a:lnTo>
                    <a:pt x="767" y="584"/>
                  </a:lnTo>
                  <a:lnTo>
                    <a:pt x="767" y="582"/>
                  </a:lnTo>
                  <a:lnTo>
                    <a:pt x="769" y="584"/>
                  </a:lnTo>
                  <a:close/>
                  <a:moveTo>
                    <a:pt x="1310" y="582"/>
                  </a:moveTo>
                  <a:lnTo>
                    <a:pt x="1310" y="584"/>
                  </a:lnTo>
                  <a:lnTo>
                    <a:pt x="1310" y="582"/>
                  </a:lnTo>
                  <a:close/>
                  <a:moveTo>
                    <a:pt x="451" y="582"/>
                  </a:moveTo>
                  <a:lnTo>
                    <a:pt x="449" y="582"/>
                  </a:lnTo>
                  <a:lnTo>
                    <a:pt x="451" y="582"/>
                  </a:lnTo>
                  <a:close/>
                  <a:moveTo>
                    <a:pt x="447" y="582"/>
                  </a:moveTo>
                  <a:lnTo>
                    <a:pt x="447" y="580"/>
                  </a:lnTo>
                  <a:lnTo>
                    <a:pt x="447" y="582"/>
                  </a:lnTo>
                  <a:close/>
                  <a:moveTo>
                    <a:pt x="447" y="582"/>
                  </a:moveTo>
                  <a:lnTo>
                    <a:pt x="447" y="580"/>
                  </a:lnTo>
                  <a:lnTo>
                    <a:pt x="447" y="582"/>
                  </a:lnTo>
                  <a:close/>
                  <a:moveTo>
                    <a:pt x="447" y="580"/>
                  </a:moveTo>
                  <a:lnTo>
                    <a:pt x="449" y="580"/>
                  </a:lnTo>
                  <a:lnTo>
                    <a:pt x="447" y="580"/>
                  </a:lnTo>
                  <a:close/>
                  <a:moveTo>
                    <a:pt x="1310" y="580"/>
                  </a:moveTo>
                  <a:lnTo>
                    <a:pt x="1308" y="580"/>
                  </a:lnTo>
                  <a:lnTo>
                    <a:pt x="1310" y="580"/>
                  </a:lnTo>
                  <a:close/>
                  <a:moveTo>
                    <a:pt x="442" y="580"/>
                  </a:moveTo>
                  <a:lnTo>
                    <a:pt x="439" y="580"/>
                  </a:lnTo>
                  <a:lnTo>
                    <a:pt x="442" y="580"/>
                  </a:lnTo>
                  <a:close/>
                  <a:moveTo>
                    <a:pt x="447" y="580"/>
                  </a:moveTo>
                  <a:lnTo>
                    <a:pt x="444" y="580"/>
                  </a:lnTo>
                  <a:lnTo>
                    <a:pt x="447" y="580"/>
                  </a:lnTo>
                  <a:close/>
                  <a:moveTo>
                    <a:pt x="501" y="580"/>
                  </a:moveTo>
                  <a:lnTo>
                    <a:pt x="499" y="580"/>
                  </a:lnTo>
                  <a:lnTo>
                    <a:pt x="501" y="580"/>
                  </a:lnTo>
                  <a:close/>
                  <a:moveTo>
                    <a:pt x="805" y="577"/>
                  </a:moveTo>
                  <a:lnTo>
                    <a:pt x="805" y="580"/>
                  </a:lnTo>
                  <a:lnTo>
                    <a:pt x="805" y="577"/>
                  </a:lnTo>
                  <a:close/>
                  <a:moveTo>
                    <a:pt x="805" y="577"/>
                  </a:moveTo>
                  <a:lnTo>
                    <a:pt x="805" y="580"/>
                  </a:lnTo>
                  <a:lnTo>
                    <a:pt x="805" y="577"/>
                  </a:lnTo>
                  <a:close/>
                  <a:moveTo>
                    <a:pt x="449" y="577"/>
                  </a:moveTo>
                  <a:lnTo>
                    <a:pt x="449" y="580"/>
                  </a:lnTo>
                  <a:lnTo>
                    <a:pt x="449" y="577"/>
                  </a:lnTo>
                  <a:close/>
                  <a:moveTo>
                    <a:pt x="449" y="577"/>
                  </a:moveTo>
                  <a:lnTo>
                    <a:pt x="447" y="577"/>
                  </a:lnTo>
                  <a:lnTo>
                    <a:pt x="449" y="577"/>
                  </a:lnTo>
                  <a:close/>
                  <a:moveTo>
                    <a:pt x="1294" y="577"/>
                  </a:moveTo>
                  <a:lnTo>
                    <a:pt x="1291" y="577"/>
                  </a:lnTo>
                  <a:lnTo>
                    <a:pt x="1294" y="577"/>
                  </a:lnTo>
                  <a:close/>
                  <a:moveTo>
                    <a:pt x="1073" y="577"/>
                  </a:moveTo>
                  <a:lnTo>
                    <a:pt x="1073" y="575"/>
                  </a:lnTo>
                  <a:lnTo>
                    <a:pt x="1073" y="577"/>
                  </a:lnTo>
                  <a:close/>
                  <a:moveTo>
                    <a:pt x="428" y="575"/>
                  </a:moveTo>
                  <a:lnTo>
                    <a:pt x="425" y="575"/>
                  </a:lnTo>
                  <a:lnTo>
                    <a:pt x="428" y="575"/>
                  </a:lnTo>
                  <a:close/>
                  <a:moveTo>
                    <a:pt x="428" y="575"/>
                  </a:moveTo>
                  <a:lnTo>
                    <a:pt x="428" y="573"/>
                  </a:lnTo>
                  <a:lnTo>
                    <a:pt x="428" y="575"/>
                  </a:lnTo>
                  <a:close/>
                  <a:moveTo>
                    <a:pt x="428" y="573"/>
                  </a:moveTo>
                  <a:lnTo>
                    <a:pt x="428" y="575"/>
                  </a:lnTo>
                  <a:lnTo>
                    <a:pt x="428" y="573"/>
                  </a:lnTo>
                  <a:lnTo>
                    <a:pt x="428" y="575"/>
                  </a:lnTo>
                  <a:lnTo>
                    <a:pt x="428" y="573"/>
                  </a:lnTo>
                  <a:close/>
                  <a:moveTo>
                    <a:pt x="428" y="573"/>
                  </a:moveTo>
                  <a:lnTo>
                    <a:pt x="425" y="573"/>
                  </a:lnTo>
                  <a:lnTo>
                    <a:pt x="428" y="573"/>
                  </a:lnTo>
                  <a:close/>
                  <a:moveTo>
                    <a:pt x="1407" y="573"/>
                  </a:moveTo>
                  <a:lnTo>
                    <a:pt x="1405" y="573"/>
                  </a:lnTo>
                  <a:lnTo>
                    <a:pt x="1407" y="573"/>
                  </a:lnTo>
                  <a:close/>
                  <a:moveTo>
                    <a:pt x="480" y="570"/>
                  </a:moveTo>
                  <a:lnTo>
                    <a:pt x="480" y="573"/>
                  </a:lnTo>
                  <a:lnTo>
                    <a:pt x="477" y="570"/>
                  </a:lnTo>
                  <a:lnTo>
                    <a:pt x="480" y="570"/>
                  </a:lnTo>
                  <a:close/>
                  <a:moveTo>
                    <a:pt x="439" y="570"/>
                  </a:moveTo>
                  <a:lnTo>
                    <a:pt x="439" y="573"/>
                  </a:lnTo>
                  <a:lnTo>
                    <a:pt x="439" y="570"/>
                  </a:lnTo>
                  <a:close/>
                  <a:moveTo>
                    <a:pt x="1071" y="570"/>
                  </a:moveTo>
                  <a:lnTo>
                    <a:pt x="1073" y="570"/>
                  </a:lnTo>
                  <a:lnTo>
                    <a:pt x="1071" y="570"/>
                  </a:lnTo>
                  <a:close/>
                  <a:moveTo>
                    <a:pt x="470" y="568"/>
                  </a:moveTo>
                  <a:lnTo>
                    <a:pt x="468" y="568"/>
                  </a:lnTo>
                  <a:lnTo>
                    <a:pt x="470" y="568"/>
                  </a:lnTo>
                  <a:close/>
                  <a:moveTo>
                    <a:pt x="468" y="568"/>
                  </a:moveTo>
                  <a:lnTo>
                    <a:pt x="468" y="570"/>
                  </a:lnTo>
                  <a:lnTo>
                    <a:pt x="468" y="568"/>
                  </a:lnTo>
                  <a:close/>
                  <a:moveTo>
                    <a:pt x="802" y="568"/>
                  </a:moveTo>
                  <a:lnTo>
                    <a:pt x="800" y="568"/>
                  </a:lnTo>
                  <a:lnTo>
                    <a:pt x="802" y="568"/>
                  </a:lnTo>
                  <a:close/>
                  <a:moveTo>
                    <a:pt x="458" y="568"/>
                  </a:moveTo>
                  <a:lnTo>
                    <a:pt x="461" y="568"/>
                  </a:lnTo>
                  <a:lnTo>
                    <a:pt x="458" y="568"/>
                  </a:lnTo>
                  <a:close/>
                  <a:moveTo>
                    <a:pt x="461" y="568"/>
                  </a:moveTo>
                  <a:lnTo>
                    <a:pt x="458" y="568"/>
                  </a:lnTo>
                  <a:lnTo>
                    <a:pt x="461" y="568"/>
                  </a:lnTo>
                  <a:close/>
                  <a:moveTo>
                    <a:pt x="458" y="568"/>
                  </a:moveTo>
                  <a:lnTo>
                    <a:pt x="456" y="568"/>
                  </a:lnTo>
                  <a:lnTo>
                    <a:pt x="458" y="568"/>
                  </a:lnTo>
                  <a:close/>
                  <a:moveTo>
                    <a:pt x="447" y="568"/>
                  </a:moveTo>
                  <a:lnTo>
                    <a:pt x="447" y="565"/>
                  </a:lnTo>
                  <a:lnTo>
                    <a:pt x="447" y="568"/>
                  </a:lnTo>
                  <a:close/>
                  <a:moveTo>
                    <a:pt x="425" y="565"/>
                  </a:moveTo>
                  <a:lnTo>
                    <a:pt x="425" y="568"/>
                  </a:lnTo>
                  <a:lnTo>
                    <a:pt x="425" y="565"/>
                  </a:lnTo>
                  <a:close/>
                  <a:moveTo>
                    <a:pt x="1068" y="565"/>
                  </a:moveTo>
                  <a:lnTo>
                    <a:pt x="1068" y="568"/>
                  </a:lnTo>
                  <a:lnTo>
                    <a:pt x="1068" y="565"/>
                  </a:lnTo>
                  <a:close/>
                  <a:moveTo>
                    <a:pt x="456" y="565"/>
                  </a:moveTo>
                  <a:lnTo>
                    <a:pt x="456" y="568"/>
                  </a:lnTo>
                  <a:lnTo>
                    <a:pt x="456" y="565"/>
                  </a:lnTo>
                  <a:close/>
                  <a:moveTo>
                    <a:pt x="458" y="565"/>
                  </a:moveTo>
                  <a:lnTo>
                    <a:pt x="456" y="565"/>
                  </a:lnTo>
                  <a:lnTo>
                    <a:pt x="458" y="565"/>
                  </a:lnTo>
                  <a:close/>
                  <a:moveTo>
                    <a:pt x="698" y="565"/>
                  </a:moveTo>
                  <a:lnTo>
                    <a:pt x="696" y="565"/>
                  </a:lnTo>
                  <a:lnTo>
                    <a:pt x="698" y="565"/>
                  </a:lnTo>
                  <a:close/>
                  <a:moveTo>
                    <a:pt x="874" y="565"/>
                  </a:moveTo>
                  <a:lnTo>
                    <a:pt x="871" y="565"/>
                  </a:lnTo>
                  <a:lnTo>
                    <a:pt x="874" y="565"/>
                  </a:lnTo>
                  <a:close/>
                  <a:moveTo>
                    <a:pt x="432" y="565"/>
                  </a:moveTo>
                  <a:lnTo>
                    <a:pt x="430" y="565"/>
                  </a:lnTo>
                  <a:lnTo>
                    <a:pt x="432" y="565"/>
                  </a:lnTo>
                  <a:close/>
                  <a:moveTo>
                    <a:pt x="423" y="565"/>
                  </a:moveTo>
                  <a:lnTo>
                    <a:pt x="420" y="565"/>
                  </a:lnTo>
                  <a:lnTo>
                    <a:pt x="423" y="565"/>
                  </a:lnTo>
                  <a:close/>
                  <a:moveTo>
                    <a:pt x="423" y="565"/>
                  </a:moveTo>
                  <a:lnTo>
                    <a:pt x="420" y="565"/>
                  </a:lnTo>
                  <a:lnTo>
                    <a:pt x="423" y="565"/>
                  </a:lnTo>
                  <a:close/>
                  <a:moveTo>
                    <a:pt x="1071" y="563"/>
                  </a:moveTo>
                  <a:lnTo>
                    <a:pt x="1071" y="565"/>
                  </a:lnTo>
                  <a:lnTo>
                    <a:pt x="1071" y="563"/>
                  </a:lnTo>
                  <a:close/>
                  <a:moveTo>
                    <a:pt x="451" y="563"/>
                  </a:moveTo>
                  <a:lnTo>
                    <a:pt x="451" y="561"/>
                  </a:lnTo>
                  <a:lnTo>
                    <a:pt x="451" y="563"/>
                  </a:lnTo>
                  <a:close/>
                  <a:moveTo>
                    <a:pt x="423" y="561"/>
                  </a:moveTo>
                  <a:lnTo>
                    <a:pt x="420" y="561"/>
                  </a:lnTo>
                  <a:lnTo>
                    <a:pt x="423" y="561"/>
                  </a:lnTo>
                  <a:close/>
                  <a:moveTo>
                    <a:pt x="916" y="561"/>
                  </a:moveTo>
                  <a:lnTo>
                    <a:pt x="914" y="561"/>
                  </a:lnTo>
                  <a:lnTo>
                    <a:pt x="916" y="561"/>
                  </a:lnTo>
                  <a:close/>
                  <a:moveTo>
                    <a:pt x="810" y="561"/>
                  </a:moveTo>
                  <a:lnTo>
                    <a:pt x="807" y="561"/>
                  </a:lnTo>
                  <a:lnTo>
                    <a:pt x="810" y="561"/>
                  </a:lnTo>
                  <a:close/>
                  <a:moveTo>
                    <a:pt x="423" y="558"/>
                  </a:moveTo>
                  <a:lnTo>
                    <a:pt x="423" y="561"/>
                  </a:lnTo>
                  <a:lnTo>
                    <a:pt x="423" y="558"/>
                  </a:lnTo>
                  <a:close/>
                  <a:moveTo>
                    <a:pt x="810" y="558"/>
                  </a:moveTo>
                  <a:lnTo>
                    <a:pt x="807" y="558"/>
                  </a:lnTo>
                  <a:lnTo>
                    <a:pt x="810" y="558"/>
                  </a:lnTo>
                  <a:close/>
                  <a:moveTo>
                    <a:pt x="895" y="558"/>
                  </a:moveTo>
                  <a:lnTo>
                    <a:pt x="893" y="558"/>
                  </a:lnTo>
                  <a:lnTo>
                    <a:pt x="895" y="558"/>
                  </a:lnTo>
                  <a:close/>
                  <a:moveTo>
                    <a:pt x="810" y="558"/>
                  </a:moveTo>
                  <a:lnTo>
                    <a:pt x="807" y="558"/>
                  </a:lnTo>
                  <a:lnTo>
                    <a:pt x="810" y="558"/>
                  </a:lnTo>
                  <a:close/>
                  <a:moveTo>
                    <a:pt x="416" y="558"/>
                  </a:moveTo>
                  <a:lnTo>
                    <a:pt x="413" y="558"/>
                  </a:lnTo>
                  <a:lnTo>
                    <a:pt x="416" y="558"/>
                  </a:lnTo>
                  <a:close/>
                  <a:moveTo>
                    <a:pt x="810" y="556"/>
                  </a:moveTo>
                  <a:lnTo>
                    <a:pt x="807" y="556"/>
                  </a:lnTo>
                  <a:lnTo>
                    <a:pt x="810" y="556"/>
                  </a:lnTo>
                  <a:close/>
                  <a:moveTo>
                    <a:pt x="418" y="551"/>
                  </a:moveTo>
                  <a:lnTo>
                    <a:pt x="418" y="554"/>
                  </a:lnTo>
                  <a:lnTo>
                    <a:pt x="418" y="551"/>
                  </a:lnTo>
                  <a:close/>
                  <a:moveTo>
                    <a:pt x="418" y="551"/>
                  </a:moveTo>
                  <a:lnTo>
                    <a:pt x="418" y="554"/>
                  </a:lnTo>
                  <a:lnTo>
                    <a:pt x="418" y="551"/>
                  </a:lnTo>
                  <a:close/>
                  <a:moveTo>
                    <a:pt x="425" y="549"/>
                  </a:moveTo>
                  <a:lnTo>
                    <a:pt x="425" y="551"/>
                  </a:lnTo>
                  <a:lnTo>
                    <a:pt x="425" y="549"/>
                  </a:lnTo>
                  <a:close/>
                  <a:moveTo>
                    <a:pt x="418" y="549"/>
                  </a:moveTo>
                  <a:lnTo>
                    <a:pt x="420" y="549"/>
                  </a:lnTo>
                  <a:lnTo>
                    <a:pt x="420" y="551"/>
                  </a:lnTo>
                  <a:lnTo>
                    <a:pt x="420" y="549"/>
                  </a:lnTo>
                  <a:lnTo>
                    <a:pt x="418" y="549"/>
                  </a:lnTo>
                  <a:close/>
                  <a:moveTo>
                    <a:pt x="418" y="549"/>
                  </a:moveTo>
                  <a:lnTo>
                    <a:pt x="416" y="549"/>
                  </a:lnTo>
                  <a:lnTo>
                    <a:pt x="418" y="549"/>
                  </a:lnTo>
                  <a:close/>
                  <a:moveTo>
                    <a:pt x="1071" y="549"/>
                  </a:moveTo>
                  <a:lnTo>
                    <a:pt x="1068" y="549"/>
                  </a:lnTo>
                  <a:lnTo>
                    <a:pt x="1071" y="549"/>
                  </a:lnTo>
                  <a:close/>
                  <a:moveTo>
                    <a:pt x="1071" y="549"/>
                  </a:moveTo>
                  <a:lnTo>
                    <a:pt x="1068" y="549"/>
                  </a:lnTo>
                  <a:lnTo>
                    <a:pt x="1071" y="549"/>
                  </a:lnTo>
                  <a:close/>
                  <a:moveTo>
                    <a:pt x="1075" y="546"/>
                  </a:moveTo>
                  <a:lnTo>
                    <a:pt x="1075" y="549"/>
                  </a:lnTo>
                  <a:lnTo>
                    <a:pt x="1075" y="546"/>
                  </a:lnTo>
                  <a:close/>
                  <a:moveTo>
                    <a:pt x="409" y="546"/>
                  </a:moveTo>
                  <a:lnTo>
                    <a:pt x="409" y="549"/>
                  </a:lnTo>
                  <a:lnTo>
                    <a:pt x="409" y="546"/>
                  </a:lnTo>
                  <a:close/>
                  <a:moveTo>
                    <a:pt x="418" y="546"/>
                  </a:moveTo>
                  <a:lnTo>
                    <a:pt x="416" y="546"/>
                  </a:lnTo>
                  <a:lnTo>
                    <a:pt x="418" y="546"/>
                  </a:lnTo>
                  <a:close/>
                  <a:moveTo>
                    <a:pt x="409" y="546"/>
                  </a:moveTo>
                  <a:lnTo>
                    <a:pt x="406" y="546"/>
                  </a:lnTo>
                  <a:lnTo>
                    <a:pt x="409" y="546"/>
                  </a:lnTo>
                  <a:close/>
                  <a:moveTo>
                    <a:pt x="423" y="546"/>
                  </a:moveTo>
                  <a:lnTo>
                    <a:pt x="420" y="546"/>
                  </a:lnTo>
                  <a:lnTo>
                    <a:pt x="423" y="546"/>
                  </a:lnTo>
                  <a:close/>
                  <a:moveTo>
                    <a:pt x="413" y="546"/>
                  </a:moveTo>
                  <a:lnTo>
                    <a:pt x="411" y="546"/>
                  </a:lnTo>
                  <a:lnTo>
                    <a:pt x="413" y="546"/>
                  </a:lnTo>
                  <a:close/>
                  <a:moveTo>
                    <a:pt x="420" y="546"/>
                  </a:moveTo>
                  <a:lnTo>
                    <a:pt x="420" y="544"/>
                  </a:lnTo>
                  <a:lnTo>
                    <a:pt x="420" y="546"/>
                  </a:lnTo>
                  <a:close/>
                  <a:moveTo>
                    <a:pt x="1061" y="544"/>
                  </a:moveTo>
                  <a:lnTo>
                    <a:pt x="1059" y="544"/>
                  </a:lnTo>
                  <a:lnTo>
                    <a:pt x="1061" y="544"/>
                  </a:lnTo>
                  <a:close/>
                  <a:moveTo>
                    <a:pt x="420" y="544"/>
                  </a:moveTo>
                  <a:lnTo>
                    <a:pt x="418" y="544"/>
                  </a:lnTo>
                  <a:lnTo>
                    <a:pt x="420" y="544"/>
                  </a:lnTo>
                  <a:close/>
                  <a:moveTo>
                    <a:pt x="411" y="544"/>
                  </a:moveTo>
                  <a:lnTo>
                    <a:pt x="409" y="544"/>
                  </a:lnTo>
                  <a:lnTo>
                    <a:pt x="411" y="544"/>
                  </a:lnTo>
                  <a:close/>
                  <a:moveTo>
                    <a:pt x="916" y="542"/>
                  </a:moveTo>
                  <a:lnTo>
                    <a:pt x="919" y="542"/>
                  </a:lnTo>
                  <a:lnTo>
                    <a:pt x="916" y="542"/>
                  </a:lnTo>
                  <a:close/>
                  <a:moveTo>
                    <a:pt x="1047" y="537"/>
                  </a:moveTo>
                  <a:lnTo>
                    <a:pt x="1047" y="539"/>
                  </a:lnTo>
                  <a:lnTo>
                    <a:pt x="1047" y="537"/>
                  </a:lnTo>
                  <a:close/>
                  <a:moveTo>
                    <a:pt x="1047" y="537"/>
                  </a:moveTo>
                  <a:lnTo>
                    <a:pt x="1047" y="539"/>
                  </a:lnTo>
                  <a:lnTo>
                    <a:pt x="1047" y="537"/>
                  </a:lnTo>
                  <a:close/>
                  <a:moveTo>
                    <a:pt x="1049" y="537"/>
                  </a:moveTo>
                  <a:lnTo>
                    <a:pt x="1047" y="537"/>
                  </a:lnTo>
                  <a:lnTo>
                    <a:pt x="1049" y="537"/>
                  </a:lnTo>
                  <a:close/>
                  <a:moveTo>
                    <a:pt x="1047" y="535"/>
                  </a:moveTo>
                  <a:lnTo>
                    <a:pt x="1049" y="535"/>
                  </a:lnTo>
                  <a:lnTo>
                    <a:pt x="1047" y="535"/>
                  </a:lnTo>
                  <a:close/>
                  <a:moveTo>
                    <a:pt x="1044" y="535"/>
                  </a:moveTo>
                  <a:lnTo>
                    <a:pt x="1047" y="535"/>
                  </a:lnTo>
                  <a:lnTo>
                    <a:pt x="1044" y="535"/>
                  </a:lnTo>
                  <a:close/>
                  <a:moveTo>
                    <a:pt x="1049" y="535"/>
                  </a:moveTo>
                  <a:lnTo>
                    <a:pt x="1049" y="532"/>
                  </a:lnTo>
                  <a:lnTo>
                    <a:pt x="1049" y="535"/>
                  </a:lnTo>
                  <a:close/>
                  <a:moveTo>
                    <a:pt x="1052" y="532"/>
                  </a:moveTo>
                  <a:lnTo>
                    <a:pt x="1049" y="532"/>
                  </a:lnTo>
                  <a:lnTo>
                    <a:pt x="1052" y="532"/>
                  </a:lnTo>
                  <a:close/>
                  <a:moveTo>
                    <a:pt x="1047" y="530"/>
                  </a:moveTo>
                  <a:lnTo>
                    <a:pt x="1044" y="530"/>
                  </a:lnTo>
                  <a:lnTo>
                    <a:pt x="1047" y="530"/>
                  </a:lnTo>
                  <a:close/>
                  <a:moveTo>
                    <a:pt x="1049" y="527"/>
                  </a:moveTo>
                  <a:lnTo>
                    <a:pt x="1047" y="527"/>
                  </a:lnTo>
                  <a:lnTo>
                    <a:pt x="1049" y="527"/>
                  </a:lnTo>
                  <a:close/>
                  <a:moveTo>
                    <a:pt x="1052" y="527"/>
                  </a:moveTo>
                  <a:lnTo>
                    <a:pt x="1049" y="527"/>
                  </a:lnTo>
                  <a:lnTo>
                    <a:pt x="1052" y="527"/>
                  </a:lnTo>
                  <a:close/>
                  <a:moveTo>
                    <a:pt x="1052" y="527"/>
                  </a:moveTo>
                  <a:lnTo>
                    <a:pt x="1049" y="527"/>
                  </a:lnTo>
                  <a:lnTo>
                    <a:pt x="1052" y="527"/>
                  </a:lnTo>
                  <a:close/>
                  <a:moveTo>
                    <a:pt x="1052" y="527"/>
                  </a:moveTo>
                  <a:lnTo>
                    <a:pt x="1049" y="527"/>
                  </a:lnTo>
                  <a:lnTo>
                    <a:pt x="1052" y="527"/>
                  </a:lnTo>
                  <a:close/>
                  <a:moveTo>
                    <a:pt x="1056" y="520"/>
                  </a:moveTo>
                  <a:lnTo>
                    <a:pt x="1059" y="520"/>
                  </a:lnTo>
                  <a:lnTo>
                    <a:pt x="1056" y="520"/>
                  </a:lnTo>
                  <a:close/>
                  <a:moveTo>
                    <a:pt x="1059" y="518"/>
                  </a:moveTo>
                  <a:lnTo>
                    <a:pt x="1056" y="518"/>
                  </a:lnTo>
                  <a:lnTo>
                    <a:pt x="1059" y="518"/>
                  </a:lnTo>
                  <a:close/>
                  <a:moveTo>
                    <a:pt x="1085" y="513"/>
                  </a:moveTo>
                  <a:lnTo>
                    <a:pt x="1082" y="513"/>
                  </a:lnTo>
                  <a:lnTo>
                    <a:pt x="1085" y="513"/>
                  </a:lnTo>
                  <a:close/>
                  <a:moveTo>
                    <a:pt x="1068" y="506"/>
                  </a:moveTo>
                  <a:lnTo>
                    <a:pt x="1068" y="508"/>
                  </a:lnTo>
                  <a:lnTo>
                    <a:pt x="1068" y="506"/>
                  </a:lnTo>
                  <a:close/>
                  <a:moveTo>
                    <a:pt x="1066" y="506"/>
                  </a:moveTo>
                  <a:lnTo>
                    <a:pt x="1066" y="508"/>
                  </a:lnTo>
                  <a:lnTo>
                    <a:pt x="1066" y="506"/>
                  </a:lnTo>
                  <a:close/>
                  <a:moveTo>
                    <a:pt x="859" y="506"/>
                  </a:moveTo>
                  <a:lnTo>
                    <a:pt x="859" y="504"/>
                  </a:lnTo>
                  <a:lnTo>
                    <a:pt x="859" y="506"/>
                  </a:lnTo>
                  <a:close/>
                  <a:moveTo>
                    <a:pt x="1099" y="504"/>
                  </a:moveTo>
                  <a:lnTo>
                    <a:pt x="1099" y="506"/>
                  </a:lnTo>
                  <a:lnTo>
                    <a:pt x="1099" y="504"/>
                  </a:lnTo>
                  <a:close/>
                  <a:moveTo>
                    <a:pt x="679" y="501"/>
                  </a:moveTo>
                  <a:lnTo>
                    <a:pt x="679" y="504"/>
                  </a:lnTo>
                  <a:lnTo>
                    <a:pt x="679" y="501"/>
                  </a:lnTo>
                  <a:close/>
                  <a:moveTo>
                    <a:pt x="677" y="504"/>
                  </a:moveTo>
                  <a:lnTo>
                    <a:pt x="677" y="501"/>
                  </a:lnTo>
                  <a:lnTo>
                    <a:pt x="677" y="504"/>
                  </a:lnTo>
                  <a:close/>
                  <a:moveTo>
                    <a:pt x="802" y="499"/>
                  </a:moveTo>
                  <a:lnTo>
                    <a:pt x="800" y="499"/>
                  </a:lnTo>
                  <a:lnTo>
                    <a:pt x="802" y="499"/>
                  </a:lnTo>
                  <a:close/>
                  <a:moveTo>
                    <a:pt x="1099" y="499"/>
                  </a:moveTo>
                  <a:lnTo>
                    <a:pt x="1097" y="499"/>
                  </a:lnTo>
                  <a:lnTo>
                    <a:pt x="1099" y="499"/>
                  </a:lnTo>
                  <a:close/>
                  <a:moveTo>
                    <a:pt x="1082" y="499"/>
                  </a:moveTo>
                  <a:lnTo>
                    <a:pt x="1082" y="497"/>
                  </a:lnTo>
                  <a:lnTo>
                    <a:pt x="1082" y="499"/>
                  </a:lnTo>
                  <a:close/>
                  <a:moveTo>
                    <a:pt x="1080" y="499"/>
                  </a:moveTo>
                  <a:lnTo>
                    <a:pt x="1080" y="497"/>
                  </a:lnTo>
                  <a:lnTo>
                    <a:pt x="1080" y="499"/>
                  </a:lnTo>
                  <a:close/>
                  <a:moveTo>
                    <a:pt x="670" y="497"/>
                  </a:moveTo>
                  <a:lnTo>
                    <a:pt x="667" y="497"/>
                  </a:lnTo>
                  <a:lnTo>
                    <a:pt x="670" y="497"/>
                  </a:lnTo>
                  <a:close/>
                  <a:moveTo>
                    <a:pt x="798" y="497"/>
                  </a:moveTo>
                  <a:lnTo>
                    <a:pt x="798" y="494"/>
                  </a:lnTo>
                  <a:lnTo>
                    <a:pt x="798" y="497"/>
                  </a:lnTo>
                  <a:close/>
                  <a:moveTo>
                    <a:pt x="800" y="492"/>
                  </a:moveTo>
                  <a:lnTo>
                    <a:pt x="798" y="492"/>
                  </a:lnTo>
                  <a:lnTo>
                    <a:pt x="800" y="492"/>
                  </a:lnTo>
                  <a:close/>
                  <a:moveTo>
                    <a:pt x="800" y="489"/>
                  </a:moveTo>
                  <a:lnTo>
                    <a:pt x="800" y="492"/>
                  </a:lnTo>
                  <a:lnTo>
                    <a:pt x="800" y="489"/>
                  </a:lnTo>
                  <a:close/>
                  <a:moveTo>
                    <a:pt x="651" y="489"/>
                  </a:moveTo>
                  <a:lnTo>
                    <a:pt x="648" y="489"/>
                  </a:lnTo>
                  <a:lnTo>
                    <a:pt x="651" y="489"/>
                  </a:lnTo>
                  <a:close/>
                  <a:moveTo>
                    <a:pt x="1229" y="487"/>
                  </a:moveTo>
                  <a:lnTo>
                    <a:pt x="1229" y="489"/>
                  </a:lnTo>
                  <a:lnTo>
                    <a:pt x="1229" y="487"/>
                  </a:lnTo>
                  <a:close/>
                  <a:moveTo>
                    <a:pt x="1111" y="489"/>
                  </a:moveTo>
                  <a:lnTo>
                    <a:pt x="1111" y="487"/>
                  </a:lnTo>
                  <a:lnTo>
                    <a:pt x="1111" y="489"/>
                  </a:lnTo>
                  <a:close/>
                  <a:moveTo>
                    <a:pt x="643" y="487"/>
                  </a:moveTo>
                  <a:lnTo>
                    <a:pt x="641" y="487"/>
                  </a:lnTo>
                  <a:lnTo>
                    <a:pt x="643" y="487"/>
                  </a:lnTo>
                  <a:close/>
                  <a:moveTo>
                    <a:pt x="641" y="487"/>
                  </a:moveTo>
                  <a:lnTo>
                    <a:pt x="643" y="487"/>
                  </a:lnTo>
                  <a:lnTo>
                    <a:pt x="641" y="487"/>
                  </a:lnTo>
                  <a:close/>
                  <a:moveTo>
                    <a:pt x="1097" y="487"/>
                  </a:moveTo>
                  <a:lnTo>
                    <a:pt x="1097" y="485"/>
                  </a:lnTo>
                  <a:lnTo>
                    <a:pt x="1097" y="487"/>
                  </a:lnTo>
                  <a:close/>
                  <a:moveTo>
                    <a:pt x="1127" y="485"/>
                  </a:moveTo>
                  <a:lnTo>
                    <a:pt x="1127" y="487"/>
                  </a:lnTo>
                  <a:lnTo>
                    <a:pt x="1127" y="485"/>
                  </a:lnTo>
                  <a:close/>
                  <a:moveTo>
                    <a:pt x="1094" y="485"/>
                  </a:moveTo>
                  <a:lnTo>
                    <a:pt x="1094" y="487"/>
                  </a:lnTo>
                  <a:lnTo>
                    <a:pt x="1094" y="485"/>
                  </a:lnTo>
                  <a:close/>
                  <a:moveTo>
                    <a:pt x="1097" y="485"/>
                  </a:moveTo>
                  <a:lnTo>
                    <a:pt x="1094" y="485"/>
                  </a:lnTo>
                  <a:lnTo>
                    <a:pt x="1097" y="485"/>
                  </a:lnTo>
                  <a:close/>
                  <a:moveTo>
                    <a:pt x="883" y="485"/>
                  </a:moveTo>
                  <a:lnTo>
                    <a:pt x="881" y="485"/>
                  </a:lnTo>
                  <a:lnTo>
                    <a:pt x="883" y="485"/>
                  </a:lnTo>
                  <a:close/>
                  <a:moveTo>
                    <a:pt x="881" y="482"/>
                  </a:moveTo>
                  <a:lnTo>
                    <a:pt x="881" y="485"/>
                  </a:lnTo>
                  <a:lnTo>
                    <a:pt x="881" y="482"/>
                  </a:lnTo>
                  <a:close/>
                  <a:moveTo>
                    <a:pt x="881" y="482"/>
                  </a:moveTo>
                  <a:lnTo>
                    <a:pt x="878" y="482"/>
                  </a:lnTo>
                  <a:lnTo>
                    <a:pt x="881" y="482"/>
                  </a:lnTo>
                  <a:close/>
                  <a:moveTo>
                    <a:pt x="871" y="482"/>
                  </a:moveTo>
                  <a:lnTo>
                    <a:pt x="869" y="482"/>
                  </a:lnTo>
                  <a:lnTo>
                    <a:pt x="871" y="482"/>
                  </a:lnTo>
                  <a:close/>
                  <a:moveTo>
                    <a:pt x="1123" y="480"/>
                  </a:moveTo>
                  <a:lnTo>
                    <a:pt x="1120" y="480"/>
                  </a:lnTo>
                  <a:lnTo>
                    <a:pt x="1123" y="480"/>
                  </a:lnTo>
                  <a:close/>
                  <a:moveTo>
                    <a:pt x="1104" y="478"/>
                  </a:moveTo>
                  <a:lnTo>
                    <a:pt x="1104" y="480"/>
                  </a:lnTo>
                  <a:lnTo>
                    <a:pt x="1104" y="478"/>
                  </a:lnTo>
                  <a:close/>
                  <a:moveTo>
                    <a:pt x="1125" y="480"/>
                  </a:moveTo>
                  <a:lnTo>
                    <a:pt x="1125" y="478"/>
                  </a:lnTo>
                  <a:lnTo>
                    <a:pt x="1125" y="480"/>
                  </a:lnTo>
                  <a:close/>
                  <a:moveTo>
                    <a:pt x="1099" y="478"/>
                  </a:moveTo>
                  <a:lnTo>
                    <a:pt x="1099" y="480"/>
                  </a:lnTo>
                  <a:lnTo>
                    <a:pt x="1099" y="478"/>
                  </a:lnTo>
                  <a:close/>
                  <a:moveTo>
                    <a:pt x="1127" y="480"/>
                  </a:moveTo>
                  <a:lnTo>
                    <a:pt x="1127" y="478"/>
                  </a:lnTo>
                  <a:lnTo>
                    <a:pt x="1127" y="480"/>
                  </a:lnTo>
                  <a:close/>
                  <a:moveTo>
                    <a:pt x="1310" y="473"/>
                  </a:moveTo>
                  <a:lnTo>
                    <a:pt x="1313" y="473"/>
                  </a:lnTo>
                  <a:lnTo>
                    <a:pt x="1310" y="473"/>
                  </a:lnTo>
                  <a:close/>
                  <a:moveTo>
                    <a:pt x="1310" y="473"/>
                  </a:moveTo>
                  <a:lnTo>
                    <a:pt x="1313" y="473"/>
                  </a:lnTo>
                  <a:lnTo>
                    <a:pt x="1310" y="473"/>
                  </a:lnTo>
                  <a:close/>
                  <a:moveTo>
                    <a:pt x="1313" y="473"/>
                  </a:moveTo>
                  <a:lnTo>
                    <a:pt x="1315" y="473"/>
                  </a:lnTo>
                  <a:lnTo>
                    <a:pt x="1313" y="473"/>
                  </a:lnTo>
                  <a:close/>
                  <a:moveTo>
                    <a:pt x="1315" y="470"/>
                  </a:moveTo>
                  <a:lnTo>
                    <a:pt x="1315" y="473"/>
                  </a:lnTo>
                  <a:lnTo>
                    <a:pt x="1315" y="470"/>
                  </a:lnTo>
                  <a:close/>
                  <a:moveTo>
                    <a:pt x="1018" y="470"/>
                  </a:moveTo>
                  <a:lnTo>
                    <a:pt x="1018" y="473"/>
                  </a:lnTo>
                  <a:lnTo>
                    <a:pt x="1018" y="470"/>
                  </a:lnTo>
                  <a:close/>
                  <a:moveTo>
                    <a:pt x="1218" y="470"/>
                  </a:moveTo>
                  <a:lnTo>
                    <a:pt x="1215" y="470"/>
                  </a:lnTo>
                  <a:lnTo>
                    <a:pt x="1218" y="470"/>
                  </a:lnTo>
                  <a:close/>
                  <a:moveTo>
                    <a:pt x="1023" y="470"/>
                  </a:moveTo>
                  <a:lnTo>
                    <a:pt x="1021" y="470"/>
                  </a:lnTo>
                  <a:lnTo>
                    <a:pt x="1023" y="470"/>
                  </a:lnTo>
                  <a:close/>
                  <a:moveTo>
                    <a:pt x="1317" y="468"/>
                  </a:moveTo>
                  <a:lnTo>
                    <a:pt x="1320" y="468"/>
                  </a:lnTo>
                  <a:lnTo>
                    <a:pt x="1317" y="468"/>
                  </a:lnTo>
                  <a:close/>
                  <a:moveTo>
                    <a:pt x="1042" y="468"/>
                  </a:moveTo>
                  <a:lnTo>
                    <a:pt x="1040" y="468"/>
                  </a:lnTo>
                  <a:lnTo>
                    <a:pt x="1042" y="468"/>
                  </a:lnTo>
                  <a:close/>
                  <a:moveTo>
                    <a:pt x="1042" y="466"/>
                  </a:moveTo>
                  <a:lnTo>
                    <a:pt x="1040" y="466"/>
                  </a:lnTo>
                  <a:lnTo>
                    <a:pt x="1042" y="466"/>
                  </a:lnTo>
                  <a:close/>
                  <a:moveTo>
                    <a:pt x="1082" y="466"/>
                  </a:moveTo>
                  <a:lnTo>
                    <a:pt x="1080" y="466"/>
                  </a:lnTo>
                  <a:lnTo>
                    <a:pt x="1082" y="466"/>
                  </a:lnTo>
                  <a:close/>
                  <a:moveTo>
                    <a:pt x="1042" y="466"/>
                  </a:moveTo>
                  <a:lnTo>
                    <a:pt x="1042" y="463"/>
                  </a:lnTo>
                  <a:lnTo>
                    <a:pt x="1042" y="466"/>
                  </a:lnTo>
                  <a:close/>
                  <a:moveTo>
                    <a:pt x="1163" y="466"/>
                  </a:moveTo>
                  <a:lnTo>
                    <a:pt x="1163" y="463"/>
                  </a:lnTo>
                  <a:lnTo>
                    <a:pt x="1163" y="466"/>
                  </a:lnTo>
                  <a:close/>
                  <a:moveTo>
                    <a:pt x="1163" y="463"/>
                  </a:moveTo>
                  <a:lnTo>
                    <a:pt x="1163" y="466"/>
                  </a:lnTo>
                  <a:lnTo>
                    <a:pt x="1163" y="463"/>
                  </a:lnTo>
                  <a:close/>
                  <a:moveTo>
                    <a:pt x="1225" y="463"/>
                  </a:moveTo>
                  <a:lnTo>
                    <a:pt x="1222" y="463"/>
                  </a:lnTo>
                  <a:lnTo>
                    <a:pt x="1222" y="461"/>
                  </a:lnTo>
                  <a:lnTo>
                    <a:pt x="1225" y="463"/>
                  </a:lnTo>
                  <a:close/>
                  <a:moveTo>
                    <a:pt x="1232" y="461"/>
                  </a:moveTo>
                  <a:lnTo>
                    <a:pt x="1232" y="463"/>
                  </a:lnTo>
                  <a:lnTo>
                    <a:pt x="1232" y="461"/>
                  </a:lnTo>
                  <a:close/>
                  <a:moveTo>
                    <a:pt x="1068" y="461"/>
                  </a:moveTo>
                  <a:lnTo>
                    <a:pt x="1068" y="463"/>
                  </a:lnTo>
                  <a:lnTo>
                    <a:pt x="1068" y="461"/>
                  </a:lnTo>
                  <a:close/>
                  <a:moveTo>
                    <a:pt x="1232" y="461"/>
                  </a:moveTo>
                  <a:lnTo>
                    <a:pt x="1232" y="463"/>
                  </a:lnTo>
                  <a:lnTo>
                    <a:pt x="1232" y="461"/>
                  </a:lnTo>
                  <a:close/>
                  <a:moveTo>
                    <a:pt x="1229" y="461"/>
                  </a:moveTo>
                  <a:lnTo>
                    <a:pt x="1229" y="463"/>
                  </a:lnTo>
                  <a:lnTo>
                    <a:pt x="1229" y="461"/>
                  </a:lnTo>
                  <a:close/>
                  <a:moveTo>
                    <a:pt x="1073" y="461"/>
                  </a:moveTo>
                  <a:lnTo>
                    <a:pt x="1071" y="461"/>
                  </a:lnTo>
                  <a:lnTo>
                    <a:pt x="1073" y="461"/>
                  </a:lnTo>
                  <a:close/>
                  <a:moveTo>
                    <a:pt x="1165" y="461"/>
                  </a:moveTo>
                  <a:lnTo>
                    <a:pt x="1165" y="463"/>
                  </a:lnTo>
                  <a:lnTo>
                    <a:pt x="1165" y="461"/>
                  </a:lnTo>
                  <a:close/>
                  <a:moveTo>
                    <a:pt x="1234" y="461"/>
                  </a:moveTo>
                  <a:lnTo>
                    <a:pt x="1232" y="461"/>
                  </a:lnTo>
                  <a:lnTo>
                    <a:pt x="1234" y="461"/>
                  </a:lnTo>
                  <a:close/>
                  <a:moveTo>
                    <a:pt x="1066" y="461"/>
                  </a:moveTo>
                  <a:lnTo>
                    <a:pt x="1063" y="461"/>
                  </a:lnTo>
                  <a:lnTo>
                    <a:pt x="1066" y="461"/>
                  </a:lnTo>
                  <a:lnTo>
                    <a:pt x="1063" y="461"/>
                  </a:lnTo>
                  <a:lnTo>
                    <a:pt x="1066" y="461"/>
                  </a:lnTo>
                  <a:close/>
                  <a:moveTo>
                    <a:pt x="1071" y="461"/>
                  </a:moveTo>
                  <a:lnTo>
                    <a:pt x="1068" y="461"/>
                  </a:lnTo>
                  <a:lnTo>
                    <a:pt x="1071" y="461"/>
                  </a:lnTo>
                  <a:close/>
                  <a:moveTo>
                    <a:pt x="1177" y="461"/>
                  </a:moveTo>
                  <a:lnTo>
                    <a:pt x="1175" y="461"/>
                  </a:lnTo>
                  <a:lnTo>
                    <a:pt x="1177" y="461"/>
                  </a:lnTo>
                  <a:close/>
                  <a:moveTo>
                    <a:pt x="1237" y="459"/>
                  </a:moveTo>
                  <a:lnTo>
                    <a:pt x="1237" y="461"/>
                  </a:lnTo>
                  <a:lnTo>
                    <a:pt x="1237" y="459"/>
                  </a:lnTo>
                  <a:close/>
                  <a:moveTo>
                    <a:pt x="1215" y="461"/>
                  </a:moveTo>
                  <a:lnTo>
                    <a:pt x="1215" y="459"/>
                  </a:lnTo>
                  <a:lnTo>
                    <a:pt x="1215" y="461"/>
                  </a:lnTo>
                  <a:close/>
                  <a:moveTo>
                    <a:pt x="1237" y="461"/>
                  </a:moveTo>
                  <a:lnTo>
                    <a:pt x="1237" y="459"/>
                  </a:lnTo>
                  <a:lnTo>
                    <a:pt x="1237" y="461"/>
                  </a:lnTo>
                  <a:close/>
                  <a:moveTo>
                    <a:pt x="1213" y="461"/>
                  </a:moveTo>
                  <a:lnTo>
                    <a:pt x="1213" y="459"/>
                  </a:lnTo>
                  <a:lnTo>
                    <a:pt x="1213" y="461"/>
                  </a:lnTo>
                  <a:close/>
                  <a:moveTo>
                    <a:pt x="1291" y="459"/>
                  </a:moveTo>
                  <a:lnTo>
                    <a:pt x="1291" y="461"/>
                  </a:lnTo>
                  <a:lnTo>
                    <a:pt x="1291" y="459"/>
                  </a:lnTo>
                  <a:close/>
                  <a:moveTo>
                    <a:pt x="1215" y="459"/>
                  </a:moveTo>
                  <a:lnTo>
                    <a:pt x="1213" y="459"/>
                  </a:lnTo>
                  <a:lnTo>
                    <a:pt x="1215" y="459"/>
                  </a:lnTo>
                  <a:close/>
                  <a:moveTo>
                    <a:pt x="1068" y="459"/>
                  </a:moveTo>
                  <a:lnTo>
                    <a:pt x="1071" y="459"/>
                  </a:lnTo>
                  <a:lnTo>
                    <a:pt x="1068" y="459"/>
                  </a:lnTo>
                  <a:lnTo>
                    <a:pt x="1071" y="459"/>
                  </a:lnTo>
                  <a:lnTo>
                    <a:pt x="1068" y="459"/>
                  </a:lnTo>
                  <a:close/>
                  <a:moveTo>
                    <a:pt x="1208" y="459"/>
                  </a:moveTo>
                  <a:lnTo>
                    <a:pt x="1206" y="459"/>
                  </a:lnTo>
                  <a:lnTo>
                    <a:pt x="1208" y="459"/>
                  </a:lnTo>
                  <a:close/>
                  <a:moveTo>
                    <a:pt x="1068" y="459"/>
                  </a:moveTo>
                  <a:lnTo>
                    <a:pt x="1071" y="459"/>
                  </a:lnTo>
                  <a:lnTo>
                    <a:pt x="1068" y="459"/>
                  </a:lnTo>
                  <a:close/>
                  <a:moveTo>
                    <a:pt x="1215" y="459"/>
                  </a:moveTo>
                  <a:lnTo>
                    <a:pt x="1213" y="459"/>
                  </a:lnTo>
                  <a:lnTo>
                    <a:pt x="1215" y="459"/>
                  </a:lnTo>
                  <a:close/>
                  <a:moveTo>
                    <a:pt x="1215" y="459"/>
                  </a:moveTo>
                  <a:lnTo>
                    <a:pt x="1213" y="459"/>
                  </a:lnTo>
                  <a:lnTo>
                    <a:pt x="1215" y="459"/>
                  </a:lnTo>
                  <a:close/>
                  <a:moveTo>
                    <a:pt x="1199" y="459"/>
                  </a:moveTo>
                  <a:lnTo>
                    <a:pt x="1196" y="459"/>
                  </a:lnTo>
                  <a:lnTo>
                    <a:pt x="1199" y="459"/>
                  </a:lnTo>
                  <a:close/>
                  <a:moveTo>
                    <a:pt x="1284" y="459"/>
                  </a:moveTo>
                  <a:lnTo>
                    <a:pt x="1286" y="459"/>
                  </a:lnTo>
                  <a:lnTo>
                    <a:pt x="1284" y="459"/>
                  </a:lnTo>
                  <a:close/>
                  <a:moveTo>
                    <a:pt x="1066" y="459"/>
                  </a:moveTo>
                  <a:lnTo>
                    <a:pt x="1063" y="459"/>
                  </a:lnTo>
                  <a:lnTo>
                    <a:pt x="1066" y="459"/>
                  </a:lnTo>
                  <a:close/>
                  <a:moveTo>
                    <a:pt x="1213" y="459"/>
                  </a:moveTo>
                  <a:lnTo>
                    <a:pt x="1215" y="459"/>
                  </a:lnTo>
                  <a:lnTo>
                    <a:pt x="1213" y="459"/>
                  </a:lnTo>
                  <a:close/>
                  <a:moveTo>
                    <a:pt x="591" y="456"/>
                  </a:moveTo>
                  <a:lnTo>
                    <a:pt x="589" y="456"/>
                  </a:lnTo>
                  <a:lnTo>
                    <a:pt x="591" y="456"/>
                  </a:lnTo>
                  <a:close/>
                  <a:moveTo>
                    <a:pt x="1291" y="456"/>
                  </a:moveTo>
                  <a:lnTo>
                    <a:pt x="1294" y="456"/>
                  </a:lnTo>
                  <a:lnTo>
                    <a:pt x="1291" y="456"/>
                  </a:lnTo>
                  <a:close/>
                  <a:moveTo>
                    <a:pt x="1294" y="456"/>
                  </a:moveTo>
                  <a:lnTo>
                    <a:pt x="1291" y="456"/>
                  </a:lnTo>
                  <a:lnTo>
                    <a:pt x="1294" y="456"/>
                  </a:lnTo>
                  <a:close/>
                  <a:moveTo>
                    <a:pt x="1294" y="456"/>
                  </a:moveTo>
                  <a:lnTo>
                    <a:pt x="1294" y="454"/>
                  </a:lnTo>
                  <a:lnTo>
                    <a:pt x="1294" y="456"/>
                  </a:lnTo>
                  <a:close/>
                  <a:moveTo>
                    <a:pt x="1294" y="456"/>
                  </a:moveTo>
                  <a:lnTo>
                    <a:pt x="1294" y="454"/>
                  </a:lnTo>
                  <a:lnTo>
                    <a:pt x="1294" y="456"/>
                  </a:lnTo>
                  <a:close/>
                  <a:moveTo>
                    <a:pt x="1294" y="456"/>
                  </a:moveTo>
                  <a:lnTo>
                    <a:pt x="1294" y="454"/>
                  </a:lnTo>
                  <a:lnTo>
                    <a:pt x="1294" y="456"/>
                  </a:lnTo>
                  <a:close/>
                  <a:moveTo>
                    <a:pt x="1294" y="454"/>
                  </a:moveTo>
                  <a:lnTo>
                    <a:pt x="1294" y="456"/>
                  </a:lnTo>
                  <a:lnTo>
                    <a:pt x="1294" y="454"/>
                  </a:lnTo>
                  <a:close/>
                  <a:moveTo>
                    <a:pt x="589" y="454"/>
                  </a:moveTo>
                  <a:lnTo>
                    <a:pt x="586" y="454"/>
                  </a:lnTo>
                  <a:lnTo>
                    <a:pt x="589" y="454"/>
                  </a:lnTo>
                  <a:close/>
                  <a:moveTo>
                    <a:pt x="1296" y="454"/>
                  </a:moveTo>
                  <a:lnTo>
                    <a:pt x="1294" y="454"/>
                  </a:lnTo>
                  <a:lnTo>
                    <a:pt x="1296" y="454"/>
                  </a:lnTo>
                  <a:close/>
                  <a:moveTo>
                    <a:pt x="959" y="451"/>
                  </a:moveTo>
                  <a:lnTo>
                    <a:pt x="959" y="454"/>
                  </a:lnTo>
                  <a:lnTo>
                    <a:pt x="959" y="451"/>
                  </a:lnTo>
                  <a:close/>
                  <a:moveTo>
                    <a:pt x="1094" y="454"/>
                  </a:moveTo>
                  <a:lnTo>
                    <a:pt x="1094" y="451"/>
                  </a:lnTo>
                  <a:lnTo>
                    <a:pt x="1094" y="454"/>
                  </a:lnTo>
                  <a:close/>
                  <a:moveTo>
                    <a:pt x="1092" y="451"/>
                  </a:moveTo>
                  <a:lnTo>
                    <a:pt x="1092" y="454"/>
                  </a:lnTo>
                  <a:lnTo>
                    <a:pt x="1092" y="451"/>
                  </a:lnTo>
                  <a:close/>
                  <a:moveTo>
                    <a:pt x="957" y="451"/>
                  </a:moveTo>
                  <a:lnTo>
                    <a:pt x="959" y="451"/>
                  </a:lnTo>
                  <a:lnTo>
                    <a:pt x="957" y="451"/>
                  </a:lnTo>
                  <a:close/>
                  <a:moveTo>
                    <a:pt x="957" y="451"/>
                  </a:moveTo>
                  <a:lnTo>
                    <a:pt x="959" y="451"/>
                  </a:lnTo>
                  <a:lnTo>
                    <a:pt x="957" y="451"/>
                  </a:lnTo>
                  <a:close/>
                  <a:moveTo>
                    <a:pt x="957" y="451"/>
                  </a:moveTo>
                  <a:lnTo>
                    <a:pt x="959" y="451"/>
                  </a:lnTo>
                  <a:lnTo>
                    <a:pt x="957" y="451"/>
                  </a:lnTo>
                  <a:close/>
                  <a:moveTo>
                    <a:pt x="1310" y="449"/>
                  </a:moveTo>
                  <a:lnTo>
                    <a:pt x="1310" y="451"/>
                  </a:lnTo>
                  <a:lnTo>
                    <a:pt x="1310" y="449"/>
                  </a:lnTo>
                  <a:close/>
                  <a:moveTo>
                    <a:pt x="1310" y="451"/>
                  </a:moveTo>
                  <a:lnTo>
                    <a:pt x="1310" y="449"/>
                  </a:lnTo>
                  <a:lnTo>
                    <a:pt x="1310" y="451"/>
                  </a:lnTo>
                  <a:lnTo>
                    <a:pt x="1310" y="449"/>
                  </a:lnTo>
                  <a:lnTo>
                    <a:pt x="1310" y="451"/>
                  </a:lnTo>
                  <a:close/>
                  <a:moveTo>
                    <a:pt x="579" y="449"/>
                  </a:moveTo>
                  <a:lnTo>
                    <a:pt x="579" y="451"/>
                  </a:lnTo>
                  <a:lnTo>
                    <a:pt x="579" y="449"/>
                  </a:lnTo>
                  <a:close/>
                  <a:moveTo>
                    <a:pt x="1097" y="449"/>
                  </a:moveTo>
                  <a:lnTo>
                    <a:pt x="1094" y="449"/>
                  </a:lnTo>
                  <a:lnTo>
                    <a:pt x="1097" y="449"/>
                  </a:lnTo>
                  <a:close/>
                  <a:moveTo>
                    <a:pt x="1199" y="447"/>
                  </a:moveTo>
                  <a:lnTo>
                    <a:pt x="1199" y="449"/>
                  </a:lnTo>
                  <a:lnTo>
                    <a:pt x="1199" y="447"/>
                  </a:lnTo>
                  <a:close/>
                  <a:moveTo>
                    <a:pt x="938" y="449"/>
                  </a:moveTo>
                  <a:lnTo>
                    <a:pt x="938" y="447"/>
                  </a:lnTo>
                  <a:lnTo>
                    <a:pt x="938" y="449"/>
                  </a:lnTo>
                  <a:close/>
                  <a:moveTo>
                    <a:pt x="1137" y="447"/>
                  </a:moveTo>
                  <a:lnTo>
                    <a:pt x="1135" y="447"/>
                  </a:lnTo>
                  <a:lnTo>
                    <a:pt x="1137" y="447"/>
                  </a:lnTo>
                  <a:close/>
                  <a:moveTo>
                    <a:pt x="1362" y="447"/>
                  </a:moveTo>
                  <a:lnTo>
                    <a:pt x="1360" y="447"/>
                  </a:lnTo>
                  <a:lnTo>
                    <a:pt x="1362" y="447"/>
                  </a:lnTo>
                  <a:close/>
                  <a:moveTo>
                    <a:pt x="1348" y="447"/>
                  </a:moveTo>
                  <a:lnTo>
                    <a:pt x="1346" y="447"/>
                  </a:lnTo>
                  <a:lnTo>
                    <a:pt x="1348" y="447"/>
                  </a:lnTo>
                  <a:close/>
                  <a:moveTo>
                    <a:pt x="1137" y="447"/>
                  </a:moveTo>
                  <a:lnTo>
                    <a:pt x="1135" y="447"/>
                  </a:lnTo>
                  <a:lnTo>
                    <a:pt x="1137" y="447"/>
                  </a:lnTo>
                  <a:close/>
                  <a:moveTo>
                    <a:pt x="935" y="447"/>
                  </a:moveTo>
                  <a:lnTo>
                    <a:pt x="933" y="447"/>
                  </a:lnTo>
                  <a:lnTo>
                    <a:pt x="935" y="447"/>
                  </a:lnTo>
                  <a:close/>
                  <a:moveTo>
                    <a:pt x="1125" y="447"/>
                  </a:moveTo>
                  <a:lnTo>
                    <a:pt x="1123" y="447"/>
                  </a:lnTo>
                  <a:lnTo>
                    <a:pt x="1125" y="447"/>
                  </a:lnTo>
                  <a:close/>
                  <a:moveTo>
                    <a:pt x="1346" y="444"/>
                  </a:moveTo>
                  <a:lnTo>
                    <a:pt x="1346" y="447"/>
                  </a:lnTo>
                  <a:lnTo>
                    <a:pt x="1346" y="444"/>
                  </a:lnTo>
                  <a:close/>
                  <a:moveTo>
                    <a:pt x="1135" y="444"/>
                  </a:moveTo>
                  <a:lnTo>
                    <a:pt x="1135" y="447"/>
                  </a:lnTo>
                  <a:lnTo>
                    <a:pt x="1135" y="444"/>
                  </a:lnTo>
                  <a:close/>
                  <a:moveTo>
                    <a:pt x="1123" y="444"/>
                  </a:moveTo>
                  <a:lnTo>
                    <a:pt x="1123" y="447"/>
                  </a:lnTo>
                  <a:lnTo>
                    <a:pt x="1123" y="444"/>
                  </a:lnTo>
                  <a:close/>
                  <a:moveTo>
                    <a:pt x="1135" y="447"/>
                  </a:moveTo>
                  <a:lnTo>
                    <a:pt x="1135" y="444"/>
                  </a:lnTo>
                  <a:lnTo>
                    <a:pt x="1135" y="447"/>
                  </a:lnTo>
                  <a:close/>
                  <a:moveTo>
                    <a:pt x="1135" y="444"/>
                  </a:moveTo>
                  <a:lnTo>
                    <a:pt x="1132" y="444"/>
                  </a:lnTo>
                  <a:lnTo>
                    <a:pt x="1135" y="444"/>
                  </a:lnTo>
                  <a:close/>
                  <a:moveTo>
                    <a:pt x="1313" y="444"/>
                  </a:moveTo>
                  <a:lnTo>
                    <a:pt x="1310" y="444"/>
                  </a:lnTo>
                  <a:lnTo>
                    <a:pt x="1313" y="444"/>
                  </a:lnTo>
                  <a:close/>
                  <a:moveTo>
                    <a:pt x="1132" y="444"/>
                  </a:moveTo>
                  <a:lnTo>
                    <a:pt x="1130" y="444"/>
                  </a:lnTo>
                  <a:lnTo>
                    <a:pt x="1132" y="444"/>
                  </a:lnTo>
                  <a:close/>
                  <a:moveTo>
                    <a:pt x="1313" y="444"/>
                  </a:moveTo>
                  <a:lnTo>
                    <a:pt x="1310" y="444"/>
                  </a:lnTo>
                  <a:lnTo>
                    <a:pt x="1313" y="444"/>
                  </a:lnTo>
                  <a:close/>
                  <a:moveTo>
                    <a:pt x="1305" y="442"/>
                  </a:moveTo>
                  <a:lnTo>
                    <a:pt x="1305" y="444"/>
                  </a:lnTo>
                  <a:lnTo>
                    <a:pt x="1305" y="442"/>
                  </a:lnTo>
                  <a:close/>
                  <a:moveTo>
                    <a:pt x="1313" y="442"/>
                  </a:moveTo>
                  <a:lnTo>
                    <a:pt x="1313" y="444"/>
                  </a:lnTo>
                  <a:lnTo>
                    <a:pt x="1313" y="442"/>
                  </a:lnTo>
                  <a:close/>
                  <a:moveTo>
                    <a:pt x="1116" y="442"/>
                  </a:moveTo>
                  <a:lnTo>
                    <a:pt x="1118" y="442"/>
                  </a:lnTo>
                  <a:lnTo>
                    <a:pt x="1116" y="442"/>
                  </a:lnTo>
                  <a:close/>
                  <a:moveTo>
                    <a:pt x="1313" y="442"/>
                  </a:moveTo>
                  <a:lnTo>
                    <a:pt x="1310" y="442"/>
                  </a:lnTo>
                  <a:lnTo>
                    <a:pt x="1313" y="442"/>
                  </a:lnTo>
                  <a:close/>
                  <a:moveTo>
                    <a:pt x="1301" y="442"/>
                  </a:moveTo>
                  <a:lnTo>
                    <a:pt x="1298" y="442"/>
                  </a:lnTo>
                  <a:lnTo>
                    <a:pt x="1301" y="442"/>
                  </a:lnTo>
                  <a:close/>
                  <a:moveTo>
                    <a:pt x="1358" y="442"/>
                  </a:moveTo>
                  <a:lnTo>
                    <a:pt x="1355" y="442"/>
                  </a:lnTo>
                  <a:lnTo>
                    <a:pt x="1358" y="442"/>
                  </a:lnTo>
                  <a:close/>
                  <a:moveTo>
                    <a:pt x="1301" y="442"/>
                  </a:moveTo>
                  <a:lnTo>
                    <a:pt x="1301" y="440"/>
                  </a:lnTo>
                  <a:lnTo>
                    <a:pt x="1301" y="442"/>
                  </a:lnTo>
                  <a:close/>
                  <a:moveTo>
                    <a:pt x="1305" y="442"/>
                  </a:moveTo>
                  <a:lnTo>
                    <a:pt x="1305" y="440"/>
                  </a:lnTo>
                  <a:lnTo>
                    <a:pt x="1305" y="442"/>
                  </a:lnTo>
                  <a:close/>
                  <a:moveTo>
                    <a:pt x="1298" y="440"/>
                  </a:moveTo>
                  <a:lnTo>
                    <a:pt x="1298" y="442"/>
                  </a:lnTo>
                  <a:lnTo>
                    <a:pt x="1298" y="440"/>
                  </a:lnTo>
                  <a:close/>
                  <a:moveTo>
                    <a:pt x="1308" y="440"/>
                  </a:moveTo>
                  <a:lnTo>
                    <a:pt x="1308" y="442"/>
                  </a:lnTo>
                  <a:lnTo>
                    <a:pt x="1308" y="440"/>
                  </a:lnTo>
                  <a:close/>
                  <a:moveTo>
                    <a:pt x="983" y="442"/>
                  </a:moveTo>
                  <a:lnTo>
                    <a:pt x="983" y="440"/>
                  </a:lnTo>
                  <a:lnTo>
                    <a:pt x="983" y="442"/>
                  </a:lnTo>
                  <a:close/>
                  <a:moveTo>
                    <a:pt x="1298" y="442"/>
                  </a:moveTo>
                  <a:lnTo>
                    <a:pt x="1298" y="440"/>
                  </a:lnTo>
                  <a:lnTo>
                    <a:pt x="1298" y="442"/>
                  </a:lnTo>
                  <a:close/>
                  <a:moveTo>
                    <a:pt x="1305" y="440"/>
                  </a:moveTo>
                  <a:lnTo>
                    <a:pt x="1305" y="442"/>
                  </a:lnTo>
                  <a:lnTo>
                    <a:pt x="1305" y="440"/>
                  </a:lnTo>
                  <a:close/>
                  <a:moveTo>
                    <a:pt x="1298" y="440"/>
                  </a:moveTo>
                  <a:lnTo>
                    <a:pt x="1298" y="442"/>
                  </a:lnTo>
                  <a:lnTo>
                    <a:pt x="1298" y="440"/>
                  </a:lnTo>
                  <a:close/>
                  <a:moveTo>
                    <a:pt x="558" y="440"/>
                  </a:moveTo>
                  <a:lnTo>
                    <a:pt x="556" y="440"/>
                  </a:lnTo>
                  <a:lnTo>
                    <a:pt x="558" y="440"/>
                  </a:lnTo>
                  <a:close/>
                  <a:moveTo>
                    <a:pt x="985" y="440"/>
                  </a:moveTo>
                  <a:lnTo>
                    <a:pt x="983" y="440"/>
                  </a:lnTo>
                  <a:lnTo>
                    <a:pt x="985" y="440"/>
                  </a:lnTo>
                  <a:close/>
                  <a:moveTo>
                    <a:pt x="985" y="437"/>
                  </a:moveTo>
                  <a:lnTo>
                    <a:pt x="985" y="440"/>
                  </a:lnTo>
                  <a:lnTo>
                    <a:pt x="985" y="437"/>
                  </a:lnTo>
                  <a:close/>
                  <a:moveTo>
                    <a:pt x="556" y="437"/>
                  </a:moveTo>
                  <a:lnTo>
                    <a:pt x="556" y="440"/>
                  </a:lnTo>
                  <a:lnTo>
                    <a:pt x="556" y="437"/>
                  </a:lnTo>
                  <a:close/>
                  <a:moveTo>
                    <a:pt x="985" y="437"/>
                  </a:moveTo>
                  <a:lnTo>
                    <a:pt x="985" y="440"/>
                  </a:lnTo>
                  <a:lnTo>
                    <a:pt x="985" y="437"/>
                  </a:lnTo>
                  <a:close/>
                  <a:moveTo>
                    <a:pt x="990" y="440"/>
                  </a:moveTo>
                  <a:lnTo>
                    <a:pt x="990" y="437"/>
                  </a:lnTo>
                  <a:lnTo>
                    <a:pt x="990" y="440"/>
                  </a:lnTo>
                  <a:close/>
                  <a:moveTo>
                    <a:pt x="990" y="437"/>
                  </a:moveTo>
                  <a:lnTo>
                    <a:pt x="990" y="440"/>
                  </a:lnTo>
                  <a:lnTo>
                    <a:pt x="990" y="437"/>
                  </a:lnTo>
                  <a:close/>
                  <a:moveTo>
                    <a:pt x="990" y="437"/>
                  </a:moveTo>
                  <a:lnTo>
                    <a:pt x="990" y="440"/>
                  </a:lnTo>
                  <a:lnTo>
                    <a:pt x="990" y="437"/>
                  </a:lnTo>
                  <a:close/>
                  <a:moveTo>
                    <a:pt x="1002" y="437"/>
                  </a:moveTo>
                  <a:lnTo>
                    <a:pt x="999" y="437"/>
                  </a:lnTo>
                  <a:lnTo>
                    <a:pt x="1002" y="437"/>
                  </a:lnTo>
                  <a:close/>
                  <a:moveTo>
                    <a:pt x="1142" y="437"/>
                  </a:moveTo>
                  <a:lnTo>
                    <a:pt x="1139" y="437"/>
                  </a:lnTo>
                  <a:lnTo>
                    <a:pt x="1142" y="437"/>
                  </a:lnTo>
                  <a:close/>
                  <a:moveTo>
                    <a:pt x="987" y="437"/>
                  </a:moveTo>
                  <a:lnTo>
                    <a:pt x="987" y="435"/>
                  </a:lnTo>
                  <a:lnTo>
                    <a:pt x="987" y="437"/>
                  </a:lnTo>
                  <a:close/>
                  <a:moveTo>
                    <a:pt x="995" y="435"/>
                  </a:moveTo>
                  <a:lnTo>
                    <a:pt x="995" y="437"/>
                  </a:lnTo>
                  <a:lnTo>
                    <a:pt x="995" y="435"/>
                  </a:lnTo>
                  <a:close/>
                  <a:moveTo>
                    <a:pt x="1004" y="437"/>
                  </a:moveTo>
                  <a:lnTo>
                    <a:pt x="1004" y="435"/>
                  </a:lnTo>
                  <a:lnTo>
                    <a:pt x="1004" y="437"/>
                  </a:lnTo>
                  <a:close/>
                  <a:moveTo>
                    <a:pt x="995" y="435"/>
                  </a:moveTo>
                  <a:lnTo>
                    <a:pt x="992" y="435"/>
                  </a:lnTo>
                  <a:lnTo>
                    <a:pt x="995" y="435"/>
                  </a:lnTo>
                  <a:close/>
                  <a:moveTo>
                    <a:pt x="1004" y="435"/>
                  </a:moveTo>
                  <a:lnTo>
                    <a:pt x="1004" y="437"/>
                  </a:lnTo>
                  <a:lnTo>
                    <a:pt x="1004" y="435"/>
                  </a:lnTo>
                  <a:close/>
                  <a:moveTo>
                    <a:pt x="990" y="435"/>
                  </a:moveTo>
                  <a:lnTo>
                    <a:pt x="987" y="435"/>
                  </a:lnTo>
                  <a:lnTo>
                    <a:pt x="990" y="435"/>
                  </a:lnTo>
                  <a:close/>
                  <a:moveTo>
                    <a:pt x="1002" y="435"/>
                  </a:moveTo>
                  <a:lnTo>
                    <a:pt x="999" y="435"/>
                  </a:lnTo>
                  <a:lnTo>
                    <a:pt x="1002" y="435"/>
                  </a:lnTo>
                  <a:close/>
                  <a:moveTo>
                    <a:pt x="1355" y="435"/>
                  </a:moveTo>
                  <a:lnTo>
                    <a:pt x="1353" y="435"/>
                  </a:lnTo>
                  <a:lnTo>
                    <a:pt x="1355" y="435"/>
                  </a:lnTo>
                  <a:close/>
                  <a:moveTo>
                    <a:pt x="995" y="435"/>
                  </a:moveTo>
                  <a:lnTo>
                    <a:pt x="992" y="435"/>
                  </a:lnTo>
                  <a:lnTo>
                    <a:pt x="995" y="435"/>
                  </a:lnTo>
                  <a:lnTo>
                    <a:pt x="992" y="435"/>
                  </a:lnTo>
                  <a:lnTo>
                    <a:pt x="995" y="435"/>
                  </a:lnTo>
                  <a:close/>
                  <a:moveTo>
                    <a:pt x="990" y="432"/>
                  </a:moveTo>
                  <a:lnTo>
                    <a:pt x="990" y="435"/>
                  </a:lnTo>
                  <a:lnTo>
                    <a:pt x="990" y="432"/>
                  </a:lnTo>
                  <a:close/>
                  <a:moveTo>
                    <a:pt x="992" y="432"/>
                  </a:moveTo>
                  <a:lnTo>
                    <a:pt x="995" y="432"/>
                  </a:lnTo>
                  <a:lnTo>
                    <a:pt x="992" y="435"/>
                  </a:lnTo>
                  <a:lnTo>
                    <a:pt x="992" y="432"/>
                  </a:lnTo>
                  <a:close/>
                  <a:moveTo>
                    <a:pt x="992" y="432"/>
                  </a:moveTo>
                  <a:lnTo>
                    <a:pt x="990" y="432"/>
                  </a:lnTo>
                  <a:lnTo>
                    <a:pt x="992" y="432"/>
                  </a:lnTo>
                  <a:close/>
                  <a:moveTo>
                    <a:pt x="992" y="432"/>
                  </a:moveTo>
                  <a:lnTo>
                    <a:pt x="990" y="432"/>
                  </a:lnTo>
                  <a:lnTo>
                    <a:pt x="992" y="432"/>
                  </a:lnTo>
                  <a:close/>
                  <a:moveTo>
                    <a:pt x="541" y="432"/>
                  </a:moveTo>
                  <a:lnTo>
                    <a:pt x="541" y="430"/>
                  </a:lnTo>
                  <a:lnTo>
                    <a:pt x="541" y="432"/>
                  </a:lnTo>
                  <a:close/>
                  <a:moveTo>
                    <a:pt x="1472" y="430"/>
                  </a:moveTo>
                  <a:lnTo>
                    <a:pt x="1469" y="432"/>
                  </a:lnTo>
                  <a:lnTo>
                    <a:pt x="1469" y="430"/>
                  </a:lnTo>
                  <a:lnTo>
                    <a:pt x="1472" y="430"/>
                  </a:lnTo>
                  <a:close/>
                  <a:moveTo>
                    <a:pt x="1353" y="430"/>
                  </a:moveTo>
                  <a:lnTo>
                    <a:pt x="1351" y="430"/>
                  </a:lnTo>
                  <a:lnTo>
                    <a:pt x="1353" y="430"/>
                  </a:lnTo>
                  <a:close/>
                  <a:moveTo>
                    <a:pt x="995" y="430"/>
                  </a:moveTo>
                  <a:lnTo>
                    <a:pt x="992" y="430"/>
                  </a:lnTo>
                  <a:lnTo>
                    <a:pt x="995" y="430"/>
                  </a:lnTo>
                  <a:close/>
                  <a:moveTo>
                    <a:pt x="1310" y="430"/>
                  </a:moveTo>
                  <a:lnTo>
                    <a:pt x="1313" y="430"/>
                  </a:lnTo>
                  <a:lnTo>
                    <a:pt x="1310" y="430"/>
                  </a:lnTo>
                  <a:close/>
                  <a:moveTo>
                    <a:pt x="995" y="430"/>
                  </a:moveTo>
                  <a:lnTo>
                    <a:pt x="992" y="430"/>
                  </a:lnTo>
                  <a:lnTo>
                    <a:pt x="995" y="430"/>
                  </a:lnTo>
                  <a:close/>
                  <a:moveTo>
                    <a:pt x="995" y="428"/>
                  </a:moveTo>
                  <a:lnTo>
                    <a:pt x="995" y="430"/>
                  </a:lnTo>
                  <a:lnTo>
                    <a:pt x="992" y="430"/>
                  </a:lnTo>
                  <a:lnTo>
                    <a:pt x="992" y="428"/>
                  </a:lnTo>
                  <a:lnTo>
                    <a:pt x="995" y="428"/>
                  </a:lnTo>
                  <a:close/>
                  <a:moveTo>
                    <a:pt x="1310" y="428"/>
                  </a:moveTo>
                  <a:lnTo>
                    <a:pt x="1310" y="430"/>
                  </a:lnTo>
                  <a:lnTo>
                    <a:pt x="1310" y="428"/>
                  </a:lnTo>
                  <a:close/>
                  <a:moveTo>
                    <a:pt x="995" y="428"/>
                  </a:moveTo>
                  <a:lnTo>
                    <a:pt x="995" y="430"/>
                  </a:lnTo>
                  <a:lnTo>
                    <a:pt x="995" y="428"/>
                  </a:lnTo>
                  <a:close/>
                  <a:moveTo>
                    <a:pt x="534" y="428"/>
                  </a:moveTo>
                  <a:lnTo>
                    <a:pt x="537" y="428"/>
                  </a:lnTo>
                  <a:lnTo>
                    <a:pt x="534" y="428"/>
                  </a:lnTo>
                  <a:close/>
                  <a:moveTo>
                    <a:pt x="537" y="428"/>
                  </a:moveTo>
                  <a:lnTo>
                    <a:pt x="534" y="428"/>
                  </a:lnTo>
                  <a:lnTo>
                    <a:pt x="537" y="428"/>
                  </a:lnTo>
                  <a:close/>
                  <a:moveTo>
                    <a:pt x="1303" y="428"/>
                  </a:moveTo>
                  <a:lnTo>
                    <a:pt x="1301" y="428"/>
                  </a:lnTo>
                  <a:lnTo>
                    <a:pt x="1303" y="428"/>
                  </a:lnTo>
                  <a:close/>
                  <a:moveTo>
                    <a:pt x="447" y="428"/>
                  </a:moveTo>
                  <a:lnTo>
                    <a:pt x="444" y="428"/>
                  </a:lnTo>
                  <a:lnTo>
                    <a:pt x="447" y="428"/>
                  </a:lnTo>
                  <a:close/>
                  <a:moveTo>
                    <a:pt x="1476" y="428"/>
                  </a:moveTo>
                  <a:lnTo>
                    <a:pt x="1476" y="425"/>
                  </a:lnTo>
                  <a:lnTo>
                    <a:pt x="1476" y="428"/>
                  </a:lnTo>
                  <a:close/>
                  <a:moveTo>
                    <a:pt x="1481" y="425"/>
                  </a:moveTo>
                  <a:lnTo>
                    <a:pt x="1479" y="425"/>
                  </a:lnTo>
                  <a:lnTo>
                    <a:pt x="1481" y="425"/>
                  </a:lnTo>
                  <a:close/>
                  <a:moveTo>
                    <a:pt x="1479" y="425"/>
                  </a:moveTo>
                  <a:lnTo>
                    <a:pt x="1479" y="423"/>
                  </a:lnTo>
                  <a:lnTo>
                    <a:pt x="1479" y="425"/>
                  </a:lnTo>
                  <a:close/>
                  <a:moveTo>
                    <a:pt x="1481" y="423"/>
                  </a:moveTo>
                  <a:lnTo>
                    <a:pt x="1479" y="423"/>
                  </a:lnTo>
                  <a:lnTo>
                    <a:pt x="1481" y="423"/>
                  </a:lnTo>
                  <a:close/>
                  <a:moveTo>
                    <a:pt x="447" y="423"/>
                  </a:moveTo>
                  <a:lnTo>
                    <a:pt x="447" y="421"/>
                  </a:lnTo>
                  <a:lnTo>
                    <a:pt x="447" y="423"/>
                  </a:lnTo>
                  <a:close/>
                  <a:moveTo>
                    <a:pt x="492" y="421"/>
                  </a:moveTo>
                  <a:lnTo>
                    <a:pt x="489" y="421"/>
                  </a:lnTo>
                  <a:lnTo>
                    <a:pt x="492" y="421"/>
                  </a:lnTo>
                  <a:close/>
                  <a:moveTo>
                    <a:pt x="1479" y="421"/>
                  </a:moveTo>
                  <a:lnTo>
                    <a:pt x="1479" y="418"/>
                  </a:lnTo>
                  <a:lnTo>
                    <a:pt x="1479" y="421"/>
                  </a:lnTo>
                  <a:close/>
                  <a:moveTo>
                    <a:pt x="447" y="421"/>
                  </a:moveTo>
                  <a:lnTo>
                    <a:pt x="447" y="418"/>
                  </a:lnTo>
                  <a:lnTo>
                    <a:pt x="447" y="421"/>
                  </a:lnTo>
                  <a:close/>
                  <a:moveTo>
                    <a:pt x="456" y="416"/>
                  </a:moveTo>
                  <a:lnTo>
                    <a:pt x="454" y="416"/>
                  </a:lnTo>
                  <a:lnTo>
                    <a:pt x="456" y="416"/>
                  </a:lnTo>
                  <a:close/>
                  <a:moveTo>
                    <a:pt x="430" y="411"/>
                  </a:moveTo>
                  <a:lnTo>
                    <a:pt x="430" y="413"/>
                  </a:lnTo>
                  <a:lnTo>
                    <a:pt x="430" y="411"/>
                  </a:lnTo>
                  <a:close/>
                  <a:moveTo>
                    <a:pt x="439" y="409"/>
                  </a:moveTo>
                  <a:lnTo>
                    <a:pt x="437" y="409"/>
                  </a:lnTo>
                  <a:lnTo>
                    <a:pt x="439" y="409"/>
                  </a:lnTo>
                  <a:close/>
                  <a:moveTo>
                    <a:pt x="409" y="409"/>
                  </a:moveTo>
                  <a:lnTo>
                    <a:pt x="406" y="409"/>
                  </a:lnTo>
                  <a:lnTo>
                    <a:pt x="409" y="409"/>
                  </a:lnTo>
                  <a:close/>
                  <a:moveTo>
                    <a:pt x="1343" y="397"/>
                  </a:moveTo>
                  <a:lnTo>
                    <a:pt x="1346" y="397"/>
                  </a:lnTo>
                  <a:lnTo>
                    <a:pt x="1343" y="397"/>
                  </a:lnTo>
                  <a:close/>
                  <a:moveTo>
                    <a:pt x="1346" y="397"/>
                  </a:moveTo>
                  <a:lnTo>
                    <a:pt x="1343" y="397"/>
                  </a:lnTo>
                  <a:lnTo>
                    <a:pt x="1346" y="397"/>
                  </a:lnTo>
                  <a:close/>
                  <a:moveTo>
                    <a:pt x="382" y="394"/>
                  </a:moveTo>
                  <a:lnTo>
                    <a:pt x="380" y="394"/>
                  </a:lnTo>
                  <a:lnTo>
                    <a:pt x="382" y="394"/>
                  </a:lnTo>
                  <a:close/>
                  <a:moveTo>
                    <a:pt x="1322" y="394"/>
                  </a:moveTo>
                  <a:lnTo>
                    <a:pt x="1322" y="392"/>
                  </a:lnTo>
                  <a:lnTo>
                    <a:pt x="1322" y="394"/>
                  </a:lnTo>
                  <a:close/>
                  <a:moveTo>
                    <a:pt x="1412" y="392"/>
                  </a:moveTo>
                  <a:lnTo>
                    <a:pt x="1410" y="392"/>
                  </a:lnTo>
                  <a:lnTo>
                    <a:pt x="1412" y="392"/>
                  </a:lnTo>
                  <a:close/>
                  <a:moveTo>
                    <a:pt x="1339" y="392"/>
                  </a:moveTo>
                  <a:lnTo>
                    <a:pt x="1336" y="392"/>
                  </a:lnTo>
                  <a:lnTo>
                    <a:pt x="1339" y="392"/>
                  </a:lnTo>
                  <a:close/>
                  <a:moveTo>
                    <a:pt x="428" y="390"/>
                  </a:moveTo>
                  <a:lnTo>
                    <a:pt x="425" y="390"/>
                  </a:lnTo>
                  <a:lnTo>
                    <a:pt x="428" y="390"/>
                  </a:lnTo>
                  <a:close/>
                  <a:moveTo>
                    <a:pt x="397" y="385"/>
                  </a:moveTo>
                  <a:lnTo>
                    <a:pt x="394" y="385"/>
                  </a:lnTo>
                  <a:lnTo>
                    <a:pt x="397" y="385"/>
                  </a:lnTo>
                  <a:close/>
                  <a:moveTo>
                    <a:pt x="392" y="383"/>
                  </a:moveTo>
                  <a:lnTo>
                    <a:pt x="392" y="380"/>
                  </a:lnTo>
                  <a:lnTo>
                    <a:pt x="392" y="383"/>
                  </a:lnTo>
                  <a:close/>
                  <a:moveTo>
                    <a:pt x="1265" y="364"/>
                  </a:moveTo>
                  <a:lnTo>
                    <a:pt x="1267" y="364"/>
                  </a:lnTo>
                  <a:lnTo>
                    <a:pt x="1265" y="364"/>
                  </a:lnTo>
                  <a:close/>
                  <a:moveTo>
                    <a:pt x="1265" y="361"/>
                  </a:moveTo>
                  <a:lnTo>
                    <a:pt x="1267" y="361"/>
                  </a:lnTo>
                  <a:lnTo>
                    <a:pt x="1265" y="361"/>
                  </a:lnTo>
                  <a:close/>
                  <a:moveTo>
                    <a:pt x="1272" y="356"/>
                  </a:moveTo>
                  <a:lnTo>
                    <a:pt x="1270" y="356"/>
                  </a:lnTo>
                  <a:lnTo>
                    <a:pt x="1272" y="356"/>
                  </a:lnTo>
                  <a:close/>
                  <a:moveTo>
                    <a:pt x="1277" y="356"/>
                  </a:moveTo>
                  <a:lnTo>
                    <a:pt x="1275" y="356"/>
                  </a:lnTo>
                  <a:lnTo>
                    <a:pt x="1277" y="356"/>
                  </a:lnTo>
                  <a:close/>
                  <a:moveTo>
                    <a:pt x="1215" y="345"/>
                  </a:moveTo>
                  <a:lnTo>
                    <a:pt x="1218" y="345"/>
                  </a:lnTo>
                  <a:lnTo>
                    <a:pt x="1215" y="345"/>
                  </a:lnTo>
                  <a:close/>
                  <a:moveTo>
                    <a:pt x="1229" y="345"/>
                  </a:moveTo>
                  <a:lnTo>
                    <a:pt x="1232" y="345"/>
                  </a:lnTo>
                  <a:lnTo>
                    <a:pt x="1229" y="345"/>
                  </a:lnTo>
                  <a:close/>
                  <a:moveTo>
                    <a:pt x="1168" y="342"/>
                  </a:moveTo>
                  <a:lnTo>
                    <a:pt x="1168" y="345"/>
                  </a:lnTo>
                  <a:lnTo>
                    <a:pt x="1168" y="342"/>
                  </a:lnTo>
                  <a:close/>
                  <a:moveTo>
                    <a:pt x="1232" y="342"/>
                  </a:moveTo>
                  <a:lnTo>
                    <a:pt x="1229" y="342"/>
                  </a:lnTo>
                  <a:lnTo>
                    <a:pt x="1232" y="342"/>
                  </a:lnTo>
                  <a:close/>
                  <a:moveTo>
                    <a:pt x="1201" y="342"/>
                  </a:moveTo>
                  <a:lnTo>
                    <a:pt x="1199" y="342"/>
                  </a:lnTo>
                  <a:lnTo>
                    <a:pt x="1201" y="342"/>
                  </a:lnTo>
                  <a:close/>
                  <a:moveTo>
                    <a:pt x="1180" y="342"/>
                  </a:moveTo>
                  <a:lnTo>
                    <a:pt x="1180" y="340"/>
                  </a:lnTo>
                  <a:lnTo>
                    <a:pt x="1180" y="342"/>
                  </a:lnTo>
                  <a:close/>
                  <a:moveTo>
                    <a:pt x="1156" y="340"/>
                  </a:moveTo>
                  <a:lnTo>
                    <a:pt x="1156" y="337"/>
                  </a:lnTo>
                  <a:lnTo>
                    <a:pt x="1156" y="340"/>
                  </a:lnTo>
                  <a:close/>
                  <a:moveTo>
                    <a:pt x="1187" y="337"/>
                  </a:moveTo>
                  <a:lnTo>
                    <a:pt x="1187" y="340"/>
                  </a:lnTo>
                  <a:lnTo>
                    <a:pt x="1187" y="337"/>
                  </a:lnTo>
                  <a:close/>
                  <a:moveTo>
                    <a:pt x="1168" y="337"/>
                  </a:moveTo>
                  <a:lnTo>
                    <a:pt x="1165" y="337"/>
                  </a:lnTo>
                  <a:lnTo>
                    <a:pt x="1168" y="337"/>
                  </a:lnTo>
                  <a:close/>
                  <a:moveTo>
                    <a:pt x="1177" y="337"/>
                  </a:moveTo>
                  <a:lnTo>
                    <a:pt x="1175" y="337"/>
                  </a:lnTo>
                  <a:lnTo>
                    <a:pt x="1177" y="337"/>
                  </a:lnTo>
                  <a:close/>
                  <a:moveTo>
                    <a:pt x="1206" y="335"/>
                  </a:moveTo>
                  <a:lnTo>
                    <a:pt x="1203" y="335"/>
                  </a:lnTo>
                  <a:lnTo>
                    <a:pt x="1206" y="335"/>
                  </a:lnTo>
                  <a:close/>
                  <a:moveTo>
                    <a:pt x="1142" y="335"/>
                  </a:moveTo>
                  <a:lnTo>
                    <a:pt x="1139" y="335"/>
                  </a:lnTo>
                  <a:lnTo>
                    <a:pt x="1142" y="335"/>
                  </a:lnTo>
                  <a:close/>
                  <a:moveTo>
                    <a:pt x="1146" y="333"/>
                  </a:moveTo>
                  <a:lnTo>
                    <a:pt x="1144" y="333"/>
                  </a:lnTo>
                  <a:lnTo>
                    <a:pt x="1146" y="333"/>
                  </a:lnTo>
                  <a:close/>
                  <a:moveTo>
                    <a:pt x="1108" y="328"/>
                  </a:moveTo>
                  <a:lnTo>
                    <a:pt x="1108" y="326"/>
                  </a:lnTo>
                  <a:lnTo>
                    <a:pt x="1108" y="328"/>
                  </a:lnTo>
                  <a:close/>
                  <a:moveTo>
                    <a:pt x="1139" y="326"/>
                  </a:moveTo>
                  <a:lnTo>
                    <a:pt x="1139" y="328"/>
                  </a:lnTo>
                  <a:lnTo>
                    <a:pt x="1139" y="326"/>
                  </a:lnTo>
                  <a:close/>
                  <a:moveTo>
                    <a:pt x="1094" y="316"/>
                  </a:moveTo>
                  <a:lnTo>
                    <a:pt x="1094" y="318"/>
                  </a:lnTo>
                  <a:lnTo>
                    <a:pt x="1094" y="316"/>
                  </a:lnTo>
                  <a:close/>
                  <a:moveTo>
                    <a:pt x="1104" y="307"/>
                  </a:moveTo>
                  <a:lnTo>
                    <a:pt x="1101" y="307"/>
                  </a:lnTo>
                  <a:lnTo>
                    <a:pt x="1104" y="307"/>
                  </a:lnTo>
                  <a:close/>
                  <a:moveTo>
                    <a:pt x="1125" y="304"/>
                  </a:moveTo>
                  <a:lnTo>
                    <a:pt x="1125" y="302"/>
                  </a:lnTo>
                  <a:lnTo>
                    <a:pt x="1125" y="304"/>
                  </a:lnTo>
                  <a:close/>
                  <a:moveTo>
                    <a:pt x="1078" y="292"/>
                  </a:moveTo>
                  <a:lnTo>
                    <a:pt x="1080" y="292"/>
                  </a:lnTo>
                  <a:lnTo>
                    <a:pt x="1078" y="292"/>
                  </a:lnTo>
                  <a:close/>
                  <a:moveTo>
                    <a:pt x="1189" y="292"/>
                  </a:moveTo>
                  <a:lnTo>
                    <a:pt x="1187" y="292"/>
                  </a:lnTo>
                  <a:lnTo>
                    <a:pt x="1189" y="292"/>
                  </a:lnTo>
                  <a:close/>
                  <a:moveTo>
                    <a:pt x="1099" y="290"/>
                  </a:moveTo>
                  <a:lnTo>
                    <a:pt x="1097" y="290"/>
                  </a:lnTo>
                  <a:lnTo>
                    <a:pt x="1099" y="290"/>
                  </a:lnTo>
                  <a:close/>
                  <a:moveTo>
                    <a:pt x="1099" y="290"/>
                  </a:moveTo>
                  <a:lnTo>
                    <a:pt x="1097" y="290"/>
                  </a:lnTo>
                  <a:lnTo>
                    <a:pt x="1099" y="290"/>
                  </a:lnTo>
                  <a:close/>
                  <a:moveTo>
                    <a:pt x="1101" y="290"/>
                  </a:moveTo>
                  <a:lnTo>
                    <a:pt x="1101" y="288"/>
                  </a:lnTo>
                  <a:lnTo>
                    <a:pt x="1101" y="290"/>
                  </a:lnTo>
                  <a:close/>
                  <a:moveTo>
                    <a:pt x="1099" y="288"/>
                  </a:moveTo>
                  <a:lnTo>
                    <a:pt x="1097" y="288"/>
                  </a:lnTo>
                  <a:lnTo>
                    <a:pt x="1099" y="288"/>
                  </a:lnTo>
                  <a:close/>
                  <a:moveTo>
                    <a:pt x="1066" y="280"/>
                  </a:moveTo>
                  <a:lnTo>
                    <a:pt x="1066" y="283"/>
                  </a:lnTo>
                  <a:lnTo>
                    <a:pt x="1066" y="280"/>
                  </a:lnTo>
                  <a:close/>
                  <a:moveTo>
                    <a:pt x="1161" y="261"/>
                  </a:moveTo>
                  <a:lnTo>
                    <a:pt x="1158" y="261"/>
                  </a:lnTo>
                  <a:lnTo>
                    <a:pt x="1161" y="261"/>
                  </a:lnTo>
                  <a:close/>
                  <a:moveTo>
                    <a:pt x="1061" y="250"/>
                  </a:moveTo>
                  <a:lnTo>
                    <a:pt x="1059" y="250"/>
                  </a:lnTo>
                  <a:lnTo>
                    <a:pt x="1061" y="250"/>
                  </a:lnTo>
                  <a:close/>
                  <a:moveTo>
                    <a:pt x="1078" y="233"/>
                  </a:moveTo>
                  <a:lnTo>
                    <a:pt x="1075" y="233"/>
                  </a:lnTo>
                  <a:lnTo>
                    <a:pt x="1078" y="233"/>
                  </a:lnTo>
                  <a:close/>
                  <a:moveTo>
                    <a:pt x="1080" y="233"/>
                  </a:moveTo>
                  <a:lnTo>
                    <a:pt x="1078" y="233"/>
                  </a:lnTo>
                  <a:lnTo>
                    <a:pt x="1080" y="233"/>
                  </a:lnTo>
                  <a:close/>
                  <a:moveTo>
                    <a:pt x="1080" y="228"/>
                  </a:moveTo>
                  <a:lnTo>
                    <a:pt x="1080" y="226"/>
                  </a:lnTo>
                  <a:lnTo>
                    <a:pt x="1080" y="228"/>
                  </a:lnTo>
                  <a:close/>
                  <a:moveTo>
                    <a:pt x="1082" y="223"/>
                  </a:moveTo>
                  <a:lnTo>
                    <a:pt x="1080" y="223"/>
                  </a:lnTo>
                  <a:lnTo>
                    <a:pt x="1082" y="223"/>
                  </a:lnTo>
                  <a:close/>
                  <a:moveTo>
                    <a:pt x="1168" y="221"/>
                  </a:moveTo>
                  <a:lnTo>
                    <a:pt x="1165" y="221"/>
                  </a:lnTo>
                  <a:lnTo>
                    <a:pt x="1168" y="221"/>
                  </a:lnTo>
                  <a:close/>
                  <a:moveTo>
                    <a:pt x="1165" y="219"/>
                  </a:moveTo>
                  <a:lnTo>
                    <a:pt x="1165" y="221"/>
                  </a:lnTo>
                  <a:lnTo>
                    <a:pt x="1165" y="219"/>
                  </a:lnTo>
                  <a:close/>
                  <a:moveTo>
                    <a:pt x="1165" y="219"/>
                  </a:moveTo>
                  <a:lnTo>
                    <a:pt x="1163" y="219"/>
                  </a:lnTo>
                  <a:lnTo>
                    <a:pt x="1165" y="219"/>
                  </a:lnTo>
                  <a:close/>
                  <a:moveTo>
                    <a:pt x="1082" y="214"/>
                  </a:moveTo>
                  <a:lnTo>
                    <a:pt x="1082" y="216"/>
                  </a:lnTo>
                  <a:lnTo>
                    <a:pt x="1082" y="214"/>
                  </a:lnTo>
                  <a:close/>
                  <a:moveTo>
                    <a:pt x="1187" y="197"/>
                  </a:moveTo>
                  <a:lnTo>
                    <a:pt x="1184" y="197"/>
                  </a:lnTo>
                  <a:lnTo>
                    <a:pt x="1187" y="197"/>
                  </a:lnTo>
                  <a:close/>
                  <a:moveTo>
                    <a:pt x="1099" y="193"/>
                  </a:moveTo>
                  <a:lnTo>
                    <a:pt x="1097" y="193"/>
                  </a:lnTo>
                  <a:lnTo>
                    <a:pt x="1099" y="193"/>
                  </a:lnTo>
                  <a:close/>
                  <a:moveTo>
                    <a:pt x="1094" y="190"/>
                  </a:moveTo>
                  <a:lnTo>
                    <a:pt x="1092" y="190"/>
                  </a:lnTo>
                  <a:lnTo>
                    <a:pt x="1094" y="190"/>
                  </a:lnTo>
                  <a:close/>
                  <a:moveTo>
                    <a:pt x="1101" y="183"/>
                  </a:moveTo>
                  <a:lnTo>
                    <a:pt x="1099" y="183"/>
                  </a:lnTo>
                  <a:lnTo>
                    <a:pt x="1101" y="183"/>
                  </a:lnTo>
                  <a:close/>
                  <a:moveTo>
                    <a:pt x="1104" y="178"/>
                  </a:moveTo>
                  <a:lnTo>
                    <a:pt x="1104" y="181"/>
                  </a:lnTo>
                  <a:lnTo>
                    <a:pt x="1104" y="178"/>
                  </a:lnTo>
                  <a:close/>
                  <a:moveTo>
                    <a:pt x="1192" y="176"/>
                  </a:moveTo>
                  <a:lnTo>
                    <a:pt x="1189" y="176"/>
                  </a:lnTo>
                  <a:lnTo>
                    <a:pt x="1192" y="176"/>
                  </a:lnTo>
                  <a:close/>
                  <a:moveTo>
                    <a:pt x="1227" y="169"/>
                  </a:moveTo>
                  <a:lnTo>
                    <a:pt x="1225" y="169"/>
                  </a:lnTo>
                  <a:lnTo>
                    <a:pt x="1227" y="169"/>
                  </a:lnTo>
                  <a:close/>
                  <a:moveTo>
                    <a:pt x="1241" y="152"/>
                  </a:moveTo>
                  <a:lnTo>
                    <a:pt x="1239" y="152"/>
                  </a:lnTo>
                  <a:lnTo>
                    <a:pt x="1241" y="152"/>
                  </a:lnTo>
                  <a:close/>
                  <a:moveTo>
                    <a:pt x="1213" y="152"/>
                  </a:moveTo>
                  <a:lnTo>
                    <a:pt x="1211" y="152"/>
                  </a:lnTo>
                  <a:lnTo>
                    <a:pt x="1213" y="152"/>
                  </a:lnTo>
                  <a:close/>
                  <a:moveTo>
                    <a:pt x="1232" y="143"/>
                  </a:moveTo>
                  <a:lnTo>
                    <a:pt x="1232" y="145"/>
                  </a:lnTo>
                  <a:lnTo>
                    <a:pt x="1232" y="143"/>
                  </a:lnTo>
                  <a:close/>
                  <a:moveTo>
                    <a:pt x="1177" y="126"/>
                  </a:moveTo>
                  <a:lnTo>
                    <a:pt x="1180" y="126"/>
                  </a:lnTo>
                  <a:lnTo>
                    <a:pt x="1177" y="126"/>
                  </a:lnTo>
                  <a:close/>
                  <a:moveTo>
                    <a:pt x="1277" y="107"/>
                  </a:moveTo>
                  <a:lnTo>
                    <a:pt x="1275" y="107"/>
                  </a:lnTo>
                  <a:lnTo>
                    <a:pt x="1277" y="107"/>
                  </a:lnTo>
                  <a:close/>
                  <a:moveTo>
                    <a:pt x="1211" y="105"/>
                  </a:moveTo>
                  <a:lnTo>
                    <a:pt x="1208" y="105"/>
                  </a:lnTo>
                  <a:lnTo>
                    <a:pt x="1211" y="105"/>
                  </a:lnTo>
                  <a:close/>
                  <a:moveTo>
                    <a:pt x="1270" y="100"/>
                  </a:moveTo>
                  <a:lnTo>
                    <a:pt x="1272" y="100"/>
                  </a:lnTo>
                  <a:lnTo>
                    <a:pt x="1270" y="100"/>
                  </a:lnTo>
                  <a:close/>
                  <a:moveTo>
                    <a:pt x="1301" y="97"/>
                  </a:moveTo>
                  <a:lnTo>
                    <a:pt x="1298" y="97"/>
                  </a:lnTo>
                  <a:lnTo>
                    <a:pt x="1301" y="97"/>
                  </a:lnTo>
                  <a:close/>
                  <a:moveTo>
                    <a:pt x="1201" y="83"/>
                  </a:moveTo>
                  <a:lnTo>
                    <a:pt x="1201" y="86"/>
                  </a:lnTo>
                  <a:lnTo>
                    <a:pt x="1201" y="83"/>
                  </a:lnTo>
                  <a:close/>
                  <a:moveTo>
                    <a:pt x="1270" y="24"/>
                  </a:moveTo>
                  <a:lnTo>
                    <a:pt x="1267" y="24"/>
                  </a:lnTo>
                  <a:lnTo>
                    <a:pt x="1270" y="24"/>
                  </a:lnTo>
                  <a:close/>
                  <a:moveTo>
                    <a:pt x="1289" y="12"/>
                  </a:moveTo>
                  <a:lnTo>
                    <a:pt x="1286" y="12"/>
                  </a:lnTo>
                  <a:lnTo>
                    <a:pt x="1289" y="12"/>
                  </a:lnTo>
                  <a:close/>
                  <a:moveTo>
                    <a:pt x="1324" y="7"/>
                  </a:moveTo>
                  <a:lnTo>
                    <a:pt x="1322" y="7"/>
                  </a:lnTo>
                  <a:lnTo>
                    <a:pt x="1324" y="7"/>
                  </a:lnTo>
                  <a:close/>
                  <a:moveTo>
                    <a:pt x="1348" y="5"/>
                  </a:moveTo>
                  <a:lnTo>
                    <a:pt x="1346" y="5"/>
                  </a:lnTo>
                  <a:lnTo>
                    <a:pt x="1348" y="5"/>
                  </a:lnTo>
                  <a:close/>
                  <a:moveTo>
                    <a:pt x="1339" y="5"/>
                  </a:moveTo>
                  <a:lnTo>
                    <a:pt x="1336" y="5"/>
                  </a:lnTo>
                  <a:lnTo>
                    <a:pt x="1339" y="5"/>
                  </a:lnTo>
                  <a:close/>
                  <a:moveTo>
                    <a:pt x="1346" y="5"/>
                  </a:moveTo>
                  <a:lnTo>
                    <a:pt x="1346" y="2"/>
                  </a:lnTo>
                  <a:lnTo>
                    <a:pt x="1346" y="5"/>
                  </a:lnTo>
                  <a:close/>
                  <a:moveTo>
                    <a:pt x="1346" y="2"/>
                  </a:moveTo>
                  <a:lnTo>
                    <a:pt x="1348" y="2"/>
                  </a:lnTo>
                  <a:lnTo>
                    <a:pt x="1346" y="2"/>
                  </a:lnTo>
                  <a:close/>
                  <a:moveTo>
                    <a:pt x="1358" y="0"/>
                  </a:moveTo>
                  <a:lnTo>
                    <a:pt x="1355" y="0"/>
                  </a:lnTo>
                  <a:lnTo>
                    <a:pt x="135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3" name="Freeform 56634"/>
            <p:cNvSpPr>
              <a:spLocks/>
            </p:cNvSpPr>
            <p:nvPr/>
          </p:nvSpPr>
          <p:spPr bwMode="auto">
            <a:xfrm>
              <a:off x="2676523" y="5154630"/>
              <a:ext cx="4763" cy="3175"/>
            </a:xfrm>
            <a:custGeom>
              <a:avLst/>
              <a:gdLst>
                <a:gd name="T0" fmla="*/ 3 w 3"/>
                <a:gd name="T1" fmla="*/ 2 h 2"/>
                <a:gd name="T2" fmla="*/ 3 w 3"/>
                <a:gd name="T3" fmla="*/ 2 h 2"/>
                <a:gd name="T4" fmla="*/ 3 w 3"/>
                <a:gd name="T5" fmla="*/ 2 h 2"/>
                <a:gd name="T6" fmla="*/ 3 w 3"/>
                <a:gd name="T7" fmla="*/ 2 h 2"/>
                <a:gd name="T8" fmla="*/ 3 w 3"/>
                <a:gd name="T9" fmla="*/ 2 h 2"/>
                <a:gd name="T10" fmla="*/ 0 w 3"/>
                <a:gd name="T11" fmla="*/ 2 h 2"/>
                <a:gd name="T12" fmla="*/ 0 w 3"/>
                <a:gd name="T13" fmla="*/ 2 h 2"/>
                <a:gd name="T14" fmla="*/ 0 w 3"/>
                <a:gd name="T15" fmla="*/ 2 h 2"/>
                <a:gd name="T16" fmla="*/ 0 w 3"/>
                <a:gd name="T17" fmla="*/ 2 h 2"/>
                <a:gd name="T18" fmla="*/ 0 w 3"/>
                <a:gd name="T19" fmla="*/ 2 h 2"/>
                <a:gd name="T20" fmla="*/ 0 w 3"/>
                <a:gd name="T21" fmla="*/ 2 h 2"/>
                <a:gd name="T22" fmla="*/ 0 w 3"/>
                <a:gd name="T23" fmla="*/ 2 h 2"/>
                <a:gd name="T24" fmla="*/ 0 w 3"/>
                <a:gd name="T25" fmla="*/ 2 h 2"/>
                <a:gd name="T26" fmla="*/ 0 w 3"/>
                <a:gd name="T27" fmla="*/ 2 h 2"/>
                <a:gd name="T28" fmla="*/ 0 w 3"/>
                <a:gd name="T29" fmla="*/ 0 h 2"/>
                <a:gd name="T30" fmla="*/ 0 w 3"/>
                <a:gd name="T31" fmla="*/ 0 h 2"/>
                <a:gd name="T32" fmla="*/ 0 w 3"/>
                <a:gd name="T33" fmla="*/ 0 h 2"/>
                <a:gd name="T34" fmla="*/ 0 w 3"/>
                <a:gd name="T35" fmla="*/ 0 h 2"/>
                <a:gd name="T36" fmla="*/ 0 w 3"/>
                <a:gd name="T37" fmla="*/ 0 h 2"/>
                <a:gd name="T38" fmla="*/ 0 w 3"/>
                <a:gd name="T39" fmla="*/ 0 h 2"/>
                <a:gd name="T40" fmla="*/ 0 w 3"/>
                <a:gd name="T41" fmla="*/ 0 h 2"/>
                <a:gd name="T42" fmla="*/ 0 w 3"/>
                <a:gd name="T43" fmla="*/ 0 h 2"/>
                <a:gd name="T44" fmla="*/ 3 w 3"/>
                <a:gd name="T45" fmla="*/ 0 h 2"/>
                <a:gd name="T46" fmla="*/ 3 w 3"/>
                <a:gd name="T47" fmla="*/ 0 h 2"/>
                <a:gd name="T48" fmla="*/ 3 w 3"/>
                <a:gd name="T49" fmla="*/ 0 h 2"/>
                <a:gd name="T50" fmla="*/ 3 w 3"/>
                <a:gd name="T51" fmla="*/ 0 h 2"/>
                <a:gd name="T52" fmla="*/ 3 w 3"/>
                <a:gd name="T53" fmla="*/ 0 h 2"/>
                <a:gd name="T54" fmla="*/ 3 w 3"/>
                <a:gd name="T55" fmla="*/ 0 h 2"/>
                <a:gd name="T56" fmla="*/ 3 w 3"/>
                <a:gd name="T57" fmla="*/ 0 h 2"/>
                <a:gd name="T58" fmla="*/ 3 w 3"/>
                <a:gd name="T59" fmla="*/ 0 h 2"/>
                <a:gd name="T60" fmla="*/ 3 w 3"/>
                <a:gd name="T61" fmla="*/ 0 h 2"/>
                <a:gd name="T62" fmla="*/ 3 w 3"/>
                <a:gd name="T63" fmla="*/ 2 h 2"/>
                <a:gd name="T64" fmla="*/ 3 w 3"/>
                <a:gd name="T65" fmla="*/ 2 h 2"/>
                <a:gd name="T66" fmla="*/ 3 w 3"/>
                <a:gd name="T67" fmla="*/ 2 h 2"/>
                <a:gd name="T68" fmla="*/ 3 w 3"/>
                <a:gd name="T6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2">
                  <a:moveTo>
                    <a:pt x="3" y="2"/>
                  </a:moveTo>
                  <a:lnTo>
                    <a:pt x="3" y="2"/>
                  </a:lnTo>
                  <a:lnTo>
                    <a:pt x="3" y="2"/>
                  </a:lnTo>
                  <a:lnTo>
                    <a:pt x="3" y="2"/>
                  </a:lnTo>
                  <a:lnTo>
                    <a:pt x="3"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3" y="0"/>
                  </a:lnTo>
                  <a:lnTo>
                    <a:pt x="3" y="0"/>
                  </a:lnTo>
                  <a:lnTo>
                    <a:pt x="3" y="0"/>
                  </a:lnTo>
                  <a:lnTo>
                    <a:pt x="3" y="0"/>
                  </a:lnTo>
                  <a:lnTo>
                    <a:pt x="3" y="0"/>
                  </a:lnTo>
                  <a:lnTo>
                    <a:pt x="3" y="0"/>
                  </a:lnTo>
                  <a:lnTo>
                    <a:pt x="3" y="0"/>
                  </a:lnTo>
                  <a:lnTo>
                    <a:pt x="3" y="0"/>
                  </a:lnTo>
                  <a:lnTo>
                    <a:pt x="3" y="0"/>
                  </a:lnTo>
                  <a:lnTo>
                    <a:pt x="3" y="2"/>
                  </a:lnTo>
                  <a:lnTo>
                    <a:pt x="3" y="2"/>
                  </a:lnTo>
                  <a:lnTo>
                    <a:pt x="3" y="2"/>
                  </a:lnTo>
                  <a:lnTo>
                    <a:pt x="3"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4" name="Freeform 56635"/>
            <p:cNvSpPr>
              <a:spLocks noEditPoints="1"/>
            </p:cNvSpPr>
            <p:nvPr/>
          </p:nvSpPr>
          <p:spPr bwMode="auto">
            <a:xfrm>
              <a:off x="3011485" y="4987943"/>
              <a:ext cx="219075" cy="320676"/>
            </a:xfrm>
            <a:custGeom>
              <a:avLst/>
              <a:gdLst>
                <a:gd name="T0" fmla="*/ 36 w 138"/>
                <a:gd name="T1" fmla="*/ 2 h 202"/>
                <a:gd name="T2" fmla="*/ 50 w 138"/>
                <a:gd name="T3" fmla="*/ 7 h 202"/>
                <a:gd name="T4" fmla="*/ 62 w 138"/>
                <a:gd name="T5" fmla="*/ 19 h 202"/>
                <a:gd name="T6" fmla="*/ 67 w 138"/>
                <a:gd name="T7" fmla="*/ 24 h 202"/>
                <a:gd name="T8" fmla="*/ 67 w 138"/>
                <a:gd name="T9" fmla="*/ 31 h 202"/>
                <a:gd name="T10" fmla="*/ 72 w 138"/>
                <a:gd name="T11" fmla="*/ 38 h 202"/>
                <a:gd name="T12" fmla="*/ 79 w 138"/>
                <a:gd name="T13" fmla="*/ 45 h 202"/>
                <a:gd name="T14" fmla="*/ 91 w 138"/>
                <a:gd name="T15" fmla="*/ 50 h 202"/>
                <a:gd name="T16" fmla="*/ 84 w 138"/>
                <a:gd name="T17" fmla="*/ 55 h 202"/>
                <a:gd name="T18" fmla="*/ 88 w 138"/>
                <a:gd name="T19" fmla="*/ 62 h 202"/>
                <a:gd name="T20" fmla="*/ 86 w 138"/>
                <a:gd name="T21" fmla="*/ 67 h 202"/>
                <a:gd name="T22" fmla="*/ 98 w 138"/>
                <a:gd name="T23" fmla="*/ 74 h 202"/>
                <a:gd name="T24" fmla="*/ 107 w 138"/>
                <a:gd name="T25" fmla="*/ 81 h 202"/>
                <a:gd name="T26" fmla="*/ 117 w 138"/>
                <a:gd name="T27" fmla="*/ 71 h 202"/>
                <a:gd name="T28" fmla="*/ 129 w 138"/>
                <a:gd name="T29" fmla="*/ 76 h 202"/>
                <a:gd name="T30" fmla="*/ 121 w 138"/>
                <a:gd name="T31" fmla="*/ 81 h 202"/>
                <a:gd name="T32" fmla="*/ 129 w 138"/>
                <a:gd name="T33" fmla="*/ 93 h 202"/>
                <a:gd name="T34" fmla="*/ 126 w 138"/>
                <a:gd name="T35" fmla="*/ 97 h 202"/>
                <a:gd name="T36" fmla="*/ 119 w 138"/>
                <a:gd name="T37" fmla="*/ 107 h 202"/>
                <a:gd name="T38" fmla="*/ 121 w 138"/>
                <a:gd name="T39" fmla="*/ 119 h 202"/>
                <a:gd name="T40" fmla="*/ 126 w 138"/>
                <a:gd name="T41" fmla="*/ 131 h 202"/>
                <a:gd name="T42" fmla="*/ 133 w 138"/>
                <a:gd name="T43" fmla="*/ 135 h 202"/>
                <a:gd name="T44" fmla="*/ 136 w 138"/>
                <a:gd name="T45" fmla="*/ 145 h 202"/>
                <a:gd name="T46" fmla="*/ 129 w 138"/>
                <a:gd name="T47" fmla="*/ 154 h 202"/>
                <a:gd name="T48" fmla="*/ 119 w 138"/>
                <a:gd name="T49" fmla="*/ 157 h 202"/>
                <a:gd name="T50" fmla="*/ 121 w 138"/>
                <a:gd name="T51" fmla="*/ 169 h 202"/>
                <a:gd name="T52" fmla="*/ 119 w 138"/>
                <a:gd name="T53" fmla="*/ 181 h 202"/>
                <a:gd name="T54" fmla="*/ 107 w 138"/>
                <a:gd name="T55" fmla="*/ 181 h 202"/>
                <a:gd name="T56" fmla="*/ 98 w 138"/>
                <a:gd name="T57" fmla="*/ 178 h 202"/>
                <a:gd name="T58" fmla="*/ 91 w 138"/>
                <a:gd name="T59" fmla="*/ 183 h 202"/>
                <a:gd name="T60" fmla="*/ 79 w 138"/>
                <a:gd name="T61" fmla="*/ 188 h 202"/>
                <a:gd name="T62" fmla="*/ 67 w 138"/>
                <a:gd name="T63" fmla="*/ 190 h 202"/>
                <a:gd name="T64" fmla="*/ 60 w 138"/>
                <a:gd name="T65" fmla="*/ 200 h 202"/>
                <a:gd name="T66" fmla="*/ 60 w 138"/>
                <a:gd name="T67" fmla="*/ 192 h 202"/>
                <a:gd name="T68" fmla="*/ 53 w 138"/>
                <a:gd name="T69" fmla="*/ 183 h 202"/>
                <a:gd name="T70" fmla="*/ 48 w 138"/>
                <a:gd name="T71" fmla="*/ 176 h 202"/>
                <a:gd name="T72" fmla="*/ 41 w 138"/>
                <a:gd name="T73" fmla="*/ 164 h 202"/>
                <a:gd name="T74" fmla="*/ 48 w 138"/>
                <a:gd name="T75" fmla="*/ 162 h 202"/>
                <a:gd name="T76" fmla="*/ 43 w 138"/>
                <a:gd name="T77" fmla="*/ 152 h 202"/>
                <a:gd name="T78" fmla="*/ 34 w 138"/>
                <a:gd name="T79" fmla="*/ 143 h 202"/>
                <a:gd name="T80" fmla="*/ 24 w 138"/>
                <a:gd name="T81" fmla="*/ 135 h 202"/>
                <a:gd name="T82" fmla="*/ 15 w 138"/>
                <a:gd name="T83" fmla="*/ 126 h 202"/>
                <a:gd name="T84" fmla="*/ 19 w 138"/>
                <a:gd name="T85" fmla="*/ 124 h 202"/>
                <a:gd name="T86" fmla="*/ 24 w 138"/>
                <a:gd name="T87" fmla="*/ 121 h 202"/>
                <a:gd name="T88" fmla="*/ 17 w 138"/>
                <a:gd name="T89" fmla="*/ 109 h 202"/>
                <a:gd name="T90" fmla="*/ 17 w 138"/>
                <a:gd name="T91" fmla="*/ 105 h 202"/>
                <a:gd name="T92" fmla="*/ 27 w 138"/>
                <a:gd name="T93" fmla="*/ 102 h 202"/>
                <a:gd name="T94" fmla="*/ 17 w 138"/>
                <a:gd name="T95" fmla="*/ 93 h 202"/>
                <a:gd name="T96" fmla="*/ 12 w 138"/>
                <a:gd name="T97" fmla="*/ 83 h 202"/>
                <a:gd name="T98" fmla="*/ 15 w 138"/>
                <a:gd name="T99" fmla="*/ 74 h 202"/>
                <a:gd name="T100" fmla="*/ 19 w 138"/>
                <a:gd name="T101" fmla="*/ 62 h 202"/>
                <a:gd name="T102" fmla="*/ 8 w 138"/>
                <a:gd name="T103" fmla="*/ 64 h 202"/>
                <a:gd name="T104" fmla="*/ 12 w 138"/>
                <a:gd name="T105" fmla="*/ 59 h 202"/>
                <a:gd name="T106" fmla="*/ 15 w 138"/>
                <a:gd name="T107" fmla="*/ 50 h 202"/>
                <a:gd name="T108" fmla="*/ 15 w 138"/>
                <a:gd name="T109" fmla="*/ 45 h 202"/>
                <a:gd name="T110" fmla="*/ 5 w 138"/>
                <a:gd name="T111" fmla="*/ 38 h 202"/>
                <a:gd name="T112" fmla="*/ 10 w 138"/>
                <a:gd name="T113" fmla="*/ 31 h 202"/>
                <a:gd name="T114" fmla="*/ 3 w 138"/>
                <a:gd name="T115" fmla="*/ 24 h 202"/>
                <a:gd name="T116" fmla="*/ 3 w 138"/>
                <a:gd name="T117" fmla="*/ 17 h 202"/>
                <a:gd name="T118" fmla="*/ 10 w 138"/>
                <a:gd name="T119" fmla="*/ 12 h 202"/>
                <a:gd name="T120" fmla="*/ 19 w 138"/>
                <a:gd name="T121" fmla="*/ 7 h 202"/>
                <a:gd name="T122" fmla="*/ 29 w 138"/>
                <a:gd name="T1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 h="202">
                  <a:moveTo>
                    <a:pt x="29" y="0"/>
                  </a:moveTo>
                  <a:lnTo>
                    <a:pt x="29" y="2"/>
                  </a:lnTo>
                  <a:lnTo>
                    <a:pt x="31" y="2"/>
                  </a:lnTo>
                  <a:lnTo>
                    <a:pt x="34" y="2"/>
                  </a:lnTo>
                  <a:lnTo>
                    <a:pt x="34" y="5"/>
                  </a:lnTo>
                  <a:lnTo>
                    <a:pt x="34" y="2"/>
                  </a:lnTo>
                  <a:lnTo>
                    <a:pt x="36" y="2"/>
                  </a:lnTo>
                  <a:lnTo>
                    <a:pt x="38" y="2"/>
                  </a:lnTo>
                  <a:lnTo>
                    <a:pt x="41" y="2"/>
                  </a:lnTo>
                  <a:lnTo>
                    <a:pt x="43" y="2"/>
                  </a:lnTo>
                  <a:lnTo>
                    <a:pt x="46" y="2"/>
                  </a:lnTo>
                  <a:lnTo>
                    <a:pt x="48" y="5"/>
                  </a:lnTo>
                  <a:lnTo>
                    <a:pt x="50" y="5"/>
                  </a:lnTo>
                  <a:lnTo>
                    <a:pt x="50" y="7"/>
                  </a:lnTo>
                  <a:lnTo>
                    <a:pt x="50" y="10"/>
                  </a:lnTo>
                  <a:lnTo>
                    <a:pt x="53" y="12"/>
                  </a:lnTo>
                  <a:lnTo>
                    <a:pt x="55" y="12"/>
                  </a:lnTo>
                  <a:lnTo>
                    <a:pt x="57" y="14"/>
                  </a:lnTo>
                  <a:lnTo>
                    <a:pt x="57" y="17"/>
                  </a:lnTo>
                  <a:lnTo>
                    <a:pt x="60" y="17"/>
                  </a:lnTo>
                  <a:lnTo>
                    <a:pt x="62" y="19"/>
                  </a:lnTo>
                  <a:lnTo>
                    <a:pt x="60" y="19"/>
                  </a:lnTo>
                  <a:lnTo>
                    <a:pt x="62" y="19"/>
                  </a:lnTo>
                  <a:lnTo>
                    <a:pt x="62" y="21"/>
                  </a:lnTo>
                  <a:lnTo>
                    <a:pt x="65" y="21"/>
                  </a:lnTo>
                  <a:lnTo>
                    <a:pt x="65" y="19"/>
                  </a:lnTo>
                  <a:lnTo>
                    <a:pt x="67" y="21"/>
                  </a:lnTo>
                  <a:lnTo>
                    <a:pt x="67" y="24"/>
                  </a:lnTo>
                  <a:lnTo>
                    <a:pt x="65" y="24"/>
                  </a:lnTo>
                  <a:lnTo>
                    <a:pt x="67" y="24"/>
                  </a:lnTo>
                  <a:lnTo>
                    <a:pt x="67" y="26"/>
                  </a:lnTo>
                  <a:lnTo>
                    <a:pt x="65" y="26"/>
                  </a:lnTo>
                  <a:lnTo>
                    <a:pt x="65" y="29"/>
                  </a:lnTo>
                  <a:lnTo>
                    <a:pt x="67" y="29"/>
                  </a:lnTo>
                  <a:lnTo>
                    <a:pt x="67" y="31"/>
                  </a:lnTo>
                  <a:lnTo>
                    <a:pt x="67" y="33"/>
                  </a:lnTo>
                  <a:lnTo>
                    <a:pt x="65" y="33"/>
                  </a:lnTo>
                  <a:lnTo>
                    <a:pt x="67" y="33"/>
                  </a:lnTo>
                  <a:lnTo>
                    <a:pt x="67" y="36"/>
                  </a:lnTo>
                  <a:lnTo>
                    <a:pt x="69" y="36"/>
                  </a:lnTo>
                  <a:lnTo>
                    <a:pt x="69" y="38"/>
                  </a:lnTo>
                  <a:lnTo>
                    <a:pt x="72" y="38"/>
                  </a:lnTo>
                  <a:lnTo>
                    <a:pt x="72" y="40"/>
                  </a:lnTo>
                  <a:lnTo>
                    <a:pt x="74" y="40"/>
                  </a:lnTo>
                  <a:lnTo>
                    <a:pt x="74" y="43"/>
                  </a:lnTo>
                  <a:lnTo>
                    <a:pt x="76" y="43"/>
                  </a:lnTo>
                  <a:lnTo>
                    <a:pt x="79" y="40"/>
                  </a:lnTo>
                  <a:lnTo>
                    <a:pt x="79" y="43"/>
                  </a:lnTo>
                  <a:lnTo>
                    <a:pt x="79" y="45"/>
                  </a:lnTo>
                  <a:lnTo>
                    <a:pt x="81" y="45"/>
                  </a:lnTo>
                  <a:lnTo>
                    <a:pt x="84" y="45"/>
                  </a:lnTo>
                  <a:lnTo>
                    <a:pt x="86" y="48"/>
                  </a:lnTo>
                  <a:lnTo>
                    <a:pt x="86" y="45"/>
                  </a:lnTo>
                  <a:lnTo>
                    <a:pt x="86" y="48"/>
                  </a:lnTo>
                  <a:lnTo>
                    <a:pt x="88" y="48"/>
                  </a:lnTo>
                  <a:lnTo>
                    <a:pt x="91" y="50"/>
                  </a:lnTo>
                  <a:lnTo>
                    <a:pt x="88" y="50"/>
                  </a:lnTo>
                  <a:lnTo>
                    <a:pt x="88" y="52"/>
                  </a:lnTo>
                  <a:lnTo>
                    <a:pt x="88" y="55"/>
                  </a:lnTo>
                  <a:lnTo>
                    <a:pt x="86" y="55"/>
                  </a:lnTo>
                  <a:lnTo>
                    <a:pt x="88" y="55"/>
                  </a:lnTo>
                  <a:lnTo>
                    <a:pt x="86" y="55"/>
                  </a:lnTo>
                  <a:lnTo>
                    <a:pt x="84" y="55"/>
                  </a:lnTo>
                  <a:lnTo>
                    <a:pt x="84" y="57"/>
                  </a:lnTo>
                  <a:lnTo>
                    <a:pt x="86" y="57"/>
                  </a:lnTo>
                  <a:lnTo>
                    <a:pt x="86" y="59"/>
                  </a:lnTo>
                  <a:lnTo>
                    <a:pt x="88" y="59"/>
                  </a:lnTo>
                  <a:lnTo>
                    <a:pt x="91" y="59"/>
                  </a:lnTo>
                  <a:lnTo>
                    <a:pt x="91" y="62"/>
                  </a:lnTo>
                  <a:lnTo>
                    <a:pt x="88" y="62"/>
                  </a:lnTo>
                  <a:lnTo>
                    <a:pt x="86" y="62"/>
                  </a:lnTo>
                  <a:lnTo>
                    <a:pt x="88" y="62"/>
                  </a:lnTo>
                  <a:lnTo>
                    <a:pt x="86" y="62"/>
                  </a:lnTo>
                  <a:lnTo>
                    <a:pt x="86" y="64"/>
                  </a:lnTo>
                  <a:lnTo>
                    <a:pt x="84" y="64"/>
                  </a:lnTo>
                  <a:lnTo>
                    <a:pt x="86" y="64"/>
                  </a:lnTo>
                  <a:lnTo>
                    <a:pt x="86" y="67"/>
                  </a:lnTo>
                  <a:lnTo>
                    <a:pt x="88" y="67"/>
                  </a:lnTo>
                  <a:lnTo>
                    <a:pt x="91" y="67"/>
                  </a:lnTo>
                  <a:lnTo>
                    <a:pt x="93" y="69"/>
                  </a:lnTo>
                  <a:lnTo>
                    <a:pt x="93" y="71"/>
                  </a:lnTo>
                  <a:lnTo>
                    <a:pt x="95" y="71"/>
                  </a:lnTo>
                  <a:lnTo>
                    <a:pt x="95" y="74"/>
                  </a:lnTo>
                  <a:lnTo>
                    <a:pt x="98" y="74"/>
                  </a:lnTo>
                  <a:lnTo>
                    <a:pt x="100" y="74"/>
                  </a:lnTo>
                  <a:lnTo>
                    <a:pt x="103" y="74"/>
                  </a:lnTo>
                  <a:lnTo>
                    <a:pt x="105" y="74"/>
                  </a:lnTo>
                  <a:lnTo>
                    <a:pt x="105" y="76"/>
                  </a:lnTo>
                  <a:lnTo>
                    <a:pt x="107" y="76"/>
                  </a:lnTo>
                  <a:lnTo>
                    <a:pt x="107" y="78"/>
                  </a:lnTo>
                  <a:lnTo>
                    <a:pt x="107" y="81"/>
                  </a:lnTo>
                  <a:lnTo>
                    <a:pt x="110" y="81"/>
                  </a:lnTo>
                  <a:lnTo>
                    <a:pt x="112" y="81"/>
                  </a:lnTo>
                  <a:lnTo>
                    <a:pt x="112" y="78"/>
                  </a:lnTo>
                  <a:lnTo>
                    <a:pt x="112" y="76"/>
                  </a:lnTo>
                  <a:lnTo>
                    <a:pt x="114" y="76"/>
                  </a:lnTo>
                  <a:lnTo>
                    <a:pt x="114" y="74"/>
                  </a:lnTo>
                  <a:lnTo>
                    <a:pt x="117" y="71"/>
                  </a:lnTo>
                  <a:lnTo>
                    <a:pt x="119" y="71"/>
                  </a:lnTo>
                  <a:lnTo>
                    <a:pt x="119" y="69"/>
                  </a:lnTo>
                  <a:lnTo>
                    <a:pt x="121" y="69"/>
                  </a:lnTo>
                  <a:lnTo>
                    <a:pt x="124" y="74"/>
                  </a:lnTo>
                  <a:lnTo>
                    <a:pt x="126" y="74"/>
                  </a:lnTo>
                  <a:lnTo>
                    <a:pt x="129" y="74"/>
                  </a:lnTo>
                  <a:lnTo>
                    <a:pt x="129" y="76"/>
                  </a:lnTo>
                  <a:lnTo>
                    <a:pt x="131" y="76"/>
                  </a:lnTo>
                  <a:lnTo>
                    <a:pt x="131" y="78"/>
                  </a:lnTo>
                  <a:lnTo>
                    <a:pt x="129" y="78"/>
                  </a:lnTo>
                  <a:lnTo>
                    <a:pt x="126" y="78"/>
                  </a:lnTo>
                  <a:lnTo>
                    <a:pt x="124" y="78"/>
                  </a:lnTo>
                  <a:lnTo>
                    <a:pt x="124" y="81"/>
                  </a:lnTo>
                  <a:lnTo>
                    <a:pt x="121" y="81"/>
                  </a:lnTo>
                  <a:lnTo>
                    <a:pt x="121" y="83"/>
                  </a:lnTo>
                  <a:lnTo>
                    <a:pt x="121" y="86"/>
                  </a:lnTo>
                  <a:lnTo>
                    <a:pt x="124" y="88"/>
                  </a:lnTo>
                  <a:lnTo>
                    <a:pt x="124" y="90"/>
                  </a:lnTo>
                  <a:lnTo>
                    <a:pt x="126" y="90"/>
                  </a:lnTo>
                  <a:lnTo>
                    <a:pt x="129" y="90"/>
                  </a:lnTo>
                  <a:lnTo>
                    <a:pt x="129" y="93"/>
                  </a:lnTo>
                  <a:lnTo>
                    <a:pt x="126" y="93"/>
                  </a:lnTo>
                  <a:lnTo>
                    <a:pt x="129" y="93"/>
                  </a:lnTo>
                  <a:lnTo>
                    <a:pt x="126" y="93"/>
                  </a:lnTo>
                  <a:lnTo>
                    <a:pt x="129" y="93"/>
                  </a:lnTo>
                  <a:lnTo>
                    <a:pt x="126" y="93"/>
                  </a:lnTo>
                  <a:lnTo>
                    <a:pt x="126" y="95"/>
                  </a:lnTo>
                  <a:lnTo>
                    <a:pt x="126" y="97"/>
                  </a:lnTo>
                  <a:lnTo>
                    <a:pt x="126" y="100"/>
                  </a:lnTo>
                  <a:lnTo>
                    <a:pt x="124" y="100"/>
                  </a:lnTo>
                  <a:lnTo>
                    <a:pt x="124" y="102"/>
                  </a:lnTo>
                  <a:lnTo>
                    <a:pt x="121" y="102"/>
                  </a:lnTo>
                  <a:lnTo>
                    <a:pt x="119" y="102"/>
                  </a:lnTo>
                  <a:lnTo>
                    <a:pt x="119" y="105"/>
                  </a:lnTo>
                  <a:lnTo>
                    <a:pt x="119" y="107"/>
                  </a:lnTo>
                  <a:lnTo>
                    <a:pt x="119" y="109"/>
                  </a:lnTo>
                  <a:lnTo>
                    <a:pt x="117" y="109"/>
                  </a:lnTo>
                  <a:lnTo>
                    <a:pt x="117" y="112"/>
                  </a:lnTo>
                  <a:lnTo>
                    <a:pt x="119" y="114"/>
                  </a:lnTo>
                  <a:lnTo>
                    <a:pt x="119" y="116"/>
                  </a:lnTo>
                  <a:lnTo>
                    <a:pt x="119" y="119"/>
                  </a:lnTo>
                  <a:lnTo>
                    <a:pt x="121" y="119"/>
                  </a:lnTo>
                  <a:lnTo>
                    <a:pt x="121" y="121"/>
                  </a:lnTo>
                  <a:lnTo>
                    <a:pt x="121" y="124"/>
                  </a:lnTo>
                  <a:lnTo>
                    <a:pt x="121" y="126"/>
                  </a:lnTo>
                  <a:lnTo>
                    <a:pt x="124" y="126"/>
                  </a:lnTo>
                  <a:lnTo>
                    <a:pt x="124" y="128"/>
                  </a:lnTo>
                  <a:lnTo>
                    <a:pt x="126" y="128"/>
                  </a:lnTo>
                  <a:lnTo>
                    <a:pt x="126" y="131"/>
                  </a:lnTo>
                  <a:lnTo>
                    <a:pt x="126" y="128"/>
                  </a:lnTo>
                  <a:lnTo>
                    <a:pt x="126" y="131"/>
                  </a:lnTo>
                  <a:lnTo>
                    <a:pt x="129" y="131"/>
                  </a:lnTo>
                  <a:lnTo>
                    <a:pt x="131" y="131"/>
                  </a:lnTo>
                  <a:lnTo>
                    <a:pt x="131" y="133"/>
                  </a:lnTo>
                  <a:lnTo>
                    <a:pt x="133" y="133"/>
                  </a:lnTo>
                  <a:lnTo>
                    <a:pt x="133" y="135"/>
                  </a:lnTo>
                  <a:lnTo>
                    <a:pt x="133" y="138"/>
                  </a:lnTo>
                  <a:lnTo>
                    <a:pt x="136" y="138"/>
                  </a:lnTo>
                  <a:lnTo>
                    <a:pt x="136" y="140"/>
                  </a:lnTo>
                  <a:lnTo>
                    <a:pt x="138" y="140"/>
                  </a:lnTo>
                  <a:lnTo>
                    <a:pt x="138" y="143"/>
                  </a:lnTo>
                  <a:lnTo>
                    <a:pt x="138" y="145"/>
                  </a:lnTo>
                  <a:lnTo>
                    <a:pt x="136" y="145"/>
                  </a:lnTo>
                  <a:lnTo>
                    <a:pt x="136" y="147"/>
                  </a:lnTo>
                  <a:lnTo>
                    <a:pt x="133" y="147"/>
                  </a:lnTo>
                  <a:lnTo>
                    <a:pt x="133" y="150"/>
                  </a:lnTo>
                  <a:lnTo>
                    <a:pt x="131" y="150"/>
                  </a:lnTo>
                  <a:lnTo>
                    <a:pt x="131" y="152"/>
                  </a:lnTo>
                  <a:lnTo>
                    <a:pt x="131" y="154"/>
                  </a:lnTo>
                  <a:lnTo>
                    <a:pt x="129" y="154"/>
                  </a:lnTo>
                  <a:lnTo>
                    <a:pt x="126" y="154"/>
                  </a:lnTo>
                  <a:lnTo>
                    <a:pt x="124" y="154"/>
                  </a:lnTo>
                  <a:lnTo>
                    <a:pt x="124" y="157"/>
                  </a:lnTo>
                  <a:lnTo>
                    <a:pt x="124" y="154"/>
                  </a:lnTo>
                  <a:lnTo>
                    <a:pt x="121" y="154"/>
                  </a:lnTo>
                  <a:lnTo>
                    <a:pt x="121" y="157"/>
                  </a:lnTo>
                  <a:lnTo>
                    <a:pt x="119" y="157"/>
                  </a:lnTo>
                  <a:lnTo>
                    <a:pt x="119" y="159"/>
                  </a:lnTo>
                  <a:lnTo>
                    <a:pt x="121" y="159"/>
                  </a:lnTo>
                  <a:lnTo>
                    <a:pt x="121" y="162"/>
                  </a:lnTo>
                  <a:lnTo>
                    <a:pt x="121" y="164"/>
                  </a:lnTo>
                  <a:lnTo>
                    <a:pt x="121" y="166"/>
                  </a:lnTo>
                  <a:lnTo>
                    <a:pt x="119" y="169"/>
                  </a:lnTo>
                  <a:lnTo>
                    <a:pt x="121" y="169"/>
                  </a:lnTo>
                  <a:lnTo>
                    <a:pt x="121" y="171"/>
                  </a:lnTo>
                  <a:lnTo>
                    <a:pt x="124" y="171"/>
                  </a:lnTo>
                  <a:lnTo>
                    <a:pt x="124" y="173"/>
                  </a:lnTo>
                  <a:lnTo>
                    <a:pt x="124" y="176"/>
                  </a:lnTo>
                  <a:lnTo>
                    <a:pt x="121" y="178"/>
                  </a:lnTo>
                  <a:lnTo>
                    <a:pt x="121" y="181"/>
                  </a:lnTo>
                  <a:lnTo>
                    <a:pt x="119" y="181"/>
                  </a:lnTo>
                  <a:lnTo>
                    <a:pt x="117" y="181"/>
                  </a:lnTo>
                  <a:lnTo>
                    <a:pt x="117" y="178"/>
                  </a:lnTo>
                  <a:lnTo>
                    <a:pt x="114" y="178"/>
                  </a:lnTo>
                  <a:lnTo>
                    <a:pt x="114" y="181"/>
                  </a:lnTo>
                  <a:lnTo>
                    <a:pt x="112" y="181"/>
                  </a:lnTo>
                  <a:lnTo>
                    <a:pt x="110" y="181"/>
                  </a:lnTo>
                  <a:lnTo>
                    <a:pt x="107" y="181"/>
                  </a:lnTo>
                  <a:lnTo>
                    <a:pt x="107" y="183"/>
                  </a:lnTo>
                  <a:lnTo>
                    <a:pt x="105" y="181"/>
                  </a:lnTo>
                  <a:lnTo>
                    <a:pt x="105" y="183"/>
                  </a:lnTo>
                  <a:lnTo>
                    <a:pt x="103" y="183"/>
                  </a:lnTo>
                  <a:lnTo>
                    <a:pt x="103" y="181"/>
                  </a:lnTo>
                  <a:lnTo>
                    <a:pt x="100" y="178"/>
                  </a:lnTo>
                  <a:lnTo>
                    <a:pt x="98" y="178"/>
                  </a:lnTo>
                  <a:lnTo>
                    <a:pt x="98" y="181"/>
                  </a:lnTo>
                  <a:lnTo>
                    <a:pt x="98" y="183"/>
                  </a:lnTo>
                  <a:lnTo>
                    <a:pt x="95" y="183"/>
                  </a:lnTo>
                  <a:lnTo>
                    <a:pt x="95" y="185"/>
                  </a:lnTo>
                  <a:lnTo>
                    <a:pt x="95" y="183"/>
                  </a:lnTo>
                  <a:lnTo>
                    <a:pt x="93" y="183"/>
                  </a:lnTo>
                  <a:lnTo>
                    <a:pt x="91" y="183"/>
                  </a:lnTo>
                  <a:lnTo>
                    <a:pt x="88" y="183"/>
                  </a:lnTo>
                  <a:lnTo>
                    <a:pt x="86" y="183"/>
                  </a:lnTo>
                  <a:lnTo>
                    <a:pt x="84" y="185"/>
                  </a:lnTo>
                  <a:lnTo>
                    <a:pt x="84" y="188"/>
                  </a:lnTo>
                  <a:lnTo>
                    <a:pt x="84" y="190"/>
                  </a:lnTo>
                  <a:lnTo>
                    <a:pt x="81" y="190"/>
                  </a:lnTo>
                  <a:lnTo>
                    <a:pt x="79" y="188"/>
                  </a:lnTo>
                  <a:lnTo>
                    <a:pt x="76" y="185"/>
                  </a:lnTo>
                  <a:lnTo>
                    <a:pt x="76" y="188"/>
                  </a:lnTo>
                  <a:lnTo>
                    <a:pt x="74" y="188"/>
                  </a:lnTo>
                  <a:lnTo>
                    <a:pt x="72" y="188"/>
                  </a:lnTo>
                  <a:lnTo>
                    <a:pt x="72" y="190"/>
                  </a:lnTo>
                  <a:lnTo>
                    <a:pt x="69" y="190"/>
                  </a:lnTo>
                  <a:lnTo>
                    <a:pt x="67" y="190"/>
                  </a:lnTo>
                  <a:lnTo>
                    <a:pt x="67" y="192"/>
                  </a:lnTo>
                  <a:lnTo>
                    <a:pt x="65" y="192"/>
                  </a:lnTo>
                  <a:lnTo>
                    <a:pt x="65" y="195"/>
                  </a:lnTo>
                  <a:lnTo>
                    <a:pt x="65" y="197"/>
                  </a:lnTo>
                  <a:lnTo>
                    <a:pt x="65" y="200"/>
                  </a:lnTo>
                  <a:lnTo>
                    <a:pt x="62" y="200"/>
                  </a:lnTo>
                  <a:lnTo>
                    <a:pt x="60" y="200"/>
                  </a:lnTo>
                  <a:lnTo>
                    <a:pt x="60" y="202"/>
                  </a:lnTo>
                  <a:lnTo>
                    <a:pt x="60" y="200"/>
                  </a:lnTo>
                  <a:lnTo>
                    <a:pt x="57" y="200"/>
                  </a:lnTo>
                  <a:lnTo>
                    <a:pt x="60" y="200"/>
                  </a:lnTo>
                  <a:lnTo>
                    <a:pt x="60" y="197"/>
                  </a:lnTo>
                  <a:lnTo>
                    <a:pt x="60" y="195"/>
                  </a:lnTo>
                  <a:lnTo>
                    <a:pt x="60" y="192"/>
                  </a:lnTo>
                  <a:lnTo>
                    <a:pt x="57" y="192"/>
                  </a:lnTo>
                  <a:lnTo>
                    <a:pt x="57" y="190"/>
                  </a:lnTo>
                  <a:lnTo>
                    <a:pt x="57" y="188"/>
                  </a:lnTo>
                  <a:lnTo>
                    <a:pt x="57" y="185"/>
                  </a:lnTo>
                  <a:lnTo>
                    <a:pt x="55" y="185"/>
                  </a:lnTo>
                  <a:lnTo>
                    <a:pt x="55" y="183"/>
                  </a:lnTo>
                  <a:lnTo>
                    <a:pt x="53" y="183"/>
                  </a:lnTo>
                  <a:lnTo>
                    <a:pt x="53" y="181"/>
                  </a:lnTo>
                  <a:lnTo>
                    <a:pt x="50" y="181"/>
                  </a:lnTo>
                  <a:lnTo>
                    <a:pt x="48" y="181"/>
                  </a:lnTo>
                  <a:lnTo>
                    <a:pt x="48" y="178"/>
                  </a:lnTo>
                  <a:lnTo>
                    <a:pt x="46" y="178"/>
                  </a:lnTo>
                  <a:lnTo>
                    <a:pt x="46" y="176"/>
                  </a:lnTo>
                  <a:lnTo>
                    <a:pt x="48" y="176"/>
                  </a:lnTo>
                  <a:lnTo>
                    <a:pt x="46" y="176"/>
                  </a:lnTo>
                  <a:lnTo>
                    <a:pt x="46" y="173"/>
                  </a:lnTo>
                  <a:lnTo>
                    <a:pt x="46" y="171"/>
                  </a:lnTo>
                  <a:lnTo>
                    <a:pt x="43" y="171"/>
                  </a:lnTo>
                  <a:lnTo>
                    <a:pt x="43" y="169"/>
                  </a:lnTo>
                  <a:lnTo>
                    <a:pt x="41" y="166"/>
                  </a:lnTo>
                  <a:lnTo>
                    <a:pt x="41" y="164"/>
                  </a:lnTo>
                  <a:lnTo>
                    <a:pt x="38" y="164"/>
                  </a:lnTo>
                  <a:lnTo>
                    <a:pt x="38" y="162"/>
                  </a:lnTo>
                  <a:lnTo>
                    <a:pt x="41" y="159"/>
                  </a:lnTo>
                  <a:lnTo>
                    <a:pt x="43" y="159"/>
                  </a:lnTo>
                  <a:lnTo>
                    <a:pt x="43" y="162"/>
                  </a:lnTo>
                  <a:lnTo>
                    <a:pt x="46" y="162"/>
                  </a:lnTo>
                  <a:lnTo>
                    <a:pt x="48" y="162"/>
                  </a:lnTo>
                  <a:lnTo>
                    <a:pt x="48" y="159"/>
                  </a:lnTo>
                  <a:lnTo>
                    <a:pt x="50" y="157"/>
                  </a:lnTo>
                  <a:lnTo>
                    <a:pt x="50" y="154"/>
                  </a:lnTo>
                  <a:lnTo>
                    <a:pt x="48" y="152"/>
                  </a:lnTo>
                  <a:lnTo>
                    <a:pt x="46" y="152"/>
                  </a:lnTo>
                  <a:lnTo>
                    <a:pt x="46" y="150"/>
                  </a:lnTo>
                  <a:lnTo>
                    <a:pt x="43" y="152"/>
                  </a:lnTo>
                  <a:lnTo>
                    <a:pt x="41" y="150"/>
                  </a:lnTo>
                  <a:lnTo>
                    <a:pt x="41" y="147"/>
                  </a:lnTo>
                  <a:lnTo>
                    <a:pt x="38" y="147"/>
                  </a:lnTo>
                  <a:lnTo>
                    <a:pt x="38" y="145"/>
                  </a:lnTo>
                  <a:lnTo>
                    <a:pt x="38" y="143"/>
                  </a:lnTo>
                  <a:lnTo>
                    <a:pt x="36" y="143"/>
                  </a:lnTo>
                  <a:lnTo>
                    <a:pt x="34" y="143"/>
                  </a:lnTo>
                  <a:lnTo>
                    <a:pt x="31" y="143"/>
                  </a:lnTo>
                  <a:lnTo>
                    <a:pt x="29" y="143"/>
                  </a:lnTo>
                  <a:lnTo>
                    <a:pt x="29" y="140"/>
                  </a:lnTo>
                  <a:lnTo>
                    <a:pt x="27" y="140"/>
                  </a:lnTo>
                  <a:lnTo>
                    <a:pt x="27" y="138"/>
                  </a:lnTo>
                  <a:lnTo>
                    <a:pt x="24" y="138"/>
                  </a:lnTo>
                  <a:lnTo>
                    <a:pt x="24" y="135"/>
                  </a:lnTo>
                  <a:lnTo>
                    <a:pt x="22" y="133"/>
                  </a:lnTo>
                  <a:lnTo>
                    <a:pt x="22" y="131"/>
                  </a:lnTo>
                  <a:lnTo>
                    <a:pt x="19" y="131"/>
                  </a:lnTo>
                  <a:lnTo>
                    <a:pt x="17" y="131"/>
                  </a:lnTo>
                  <a:lnTo>
                    <a:pt x="17" y="128"/>
                  </a:lnTo>
                  <a:lnTo>
                    <a:pt x="15" y="128"/>
                  </a:lnTo>
                  <a:lnTo>
                    <a:pt x="15" y="126"/>
                  </a:lnTo>
                  <a:lnTo>
                    <a:pt x="15" y="124"/>
                  </a:lnTo>
                  <a:lnTo>
                    <a:pt x="15" y="121"/>
                  </a:lnTo>
                  <a:lnTo>
                    <a:pt x="17" y="121"/>
                  </a:lnTo>
                  <a:lnTo>
                    <a:pt x="19" y="121"/>
                  </a:lnTo>
                  <a:lnTo>
                    <a:pt x="19" y="124"/>
                  </a:lnTo>
                  <a:lnTo>
                    <a:pt x="19" y="121"/>
                  </a:lnTo>
                  <a:lnTo>
                    <a:pt x="19" y="124"/>
                  </a:lnTo>
                  <a:lnTo>
                    <a:pt x="22" y="121"/>
                  </a:lnTo>
                  <a:lnTo>
                    <a:pt x="22" y="124"/>
                  </a:lnTo>
                  <a:lnTo>
                    <a:pt x="24" y="121"/>
                  </a:lnTo>
                  <a:lnTo>
                    <a:pt x="22" y="121"/>
                  </a:lnTo>
                  <a:lnTo>
                    <a:pt x="22" y="119"/>
                  </a:lnTo>
                  <a:lnTo>
                    <a:pt x="22" y="121"/>
                  </a:lnTo>
                  <a:lnTo>
                    <a:pt x="24" y="121"/>
                  </a:lnTo>
                  <a:lnTo>
                    <a:pt x="24" y="119"/>
                  </a:lnTo>
                  <a:lnTo>
                    <a:pt x="24" y="116"/>
                  </a:lnTo>
                  <a:lnTo>
                    <a:pt x="22" y="116"/>
                  </a:lnTo>
                  <a:lnTo>
                    <a:pt x="22" y="114"/>
                  </a:lnTo>
                  <a:lnTo>
                    <a:pt x="19" y="114"/>
                  </a:lnTo>
                  <a:lnTo>
                    <a:pt x="19" y="112"/>
                  </a:lnTo>
                  <a:lnTo>
                    <a:pt x="17" y="109"/>
                  </a:lnTo>
                  <a:lnTo>
                    <a:pt x="17" y="107"/>
                  </a:lnTo>
                  <a:lnTo>
                    <a:pt x="15" y="107"/>
                  </a:lnTo>
                  <a:lnTo>
                    <a:pt x="15" y="105"/>
                  </a:lnTo>
                  <a:lnTo>
                    <a:pt x="15" y="102"/>
                  </a:lnTo>
                  <a:lnTo>
                    <a:pt x="17" y="105"/>
                  </a:lnTo>
                  <a:lnTo>
                    <a:pt x="17" y="102"/>
                  </a:lnTo>
                  <a:lnTo>
                    <a:pt x="17" y="105"/>
                  </a:lnTo>
                  <a:lnTo>
                    <a:pt x="19" y="105"/>
                  </a:lnTo>
                  <a:lnTo>
                    <a:pt x="22" y="105"/>
                  </a:lnTo>
                  <a:lnTo>
                    <a:pt x="24" y="105"/>
                  </a:lnTo>
                  <a:lnTo>
                    <a:pt x="24" y="102"/>
                  </a:lnTo>
                  <a:lnTo>
                    <a:pt x="27" y="102"/>
                  </a:lnTo>
                  <a:lnTo>
                    <a:pt x="27" y="100"/>
                  </a:lnTo>
                  <a:lnTo>
                    <a:pt x="27" y="102"/>
                  </a:lnTo>
                  <a:lnTo>
                    <a:pt x="24" y="100"/>
                  </a:lnTo>
                  <a:lnTo>
                    <a:pt x="22" y="97"/>
                  </a:lnTo>
                  <a:lnTo>
                    <a:pt x="19" y="97"/>
                  </a:lnTo>
                  <a:lnTo>
                    <a:pt x="19" y="95"/>
                  </a:lnTo>
                  <a:lnTo>
                    <a:pt x="17" y="93"/>
                  </a:lnTo>
                  <a:lnTo>
                    <a:pt x="19" y="93"/>
                  </a:lnTo>
                  <a:lnTo>
                    <a:pt x="17" y="93"/>
                  </a:lnTo>
                  <a:lnTo>
                    <a:pt x="17" y="90"/>
                  </a:lnTo>
                  <a:lnTo>
                    <a:pt x="15" y="90"/>
                  </a:lnTo>
                  <a:lnTo>
                    <a:pt x="12" y="90"/>
                  </a:lnTo>
                  <a:lnTo>
                    <a:pt x="10" y="88"/>
                  </a:lnTo>
                  <a:lnTo>
                    <a:pt x="10" y="86"/>
                  </a:lnTo>
                  <a:lnTo>
                    <a:pt x="10" y="83"/>
                  </a:lnTo>
                  <a:lnTo>
                    <a:pt x="12" y="83"/>
                  </a:lnTo>
                  <a:lnTo>
                    <a:pt x="12" y="81"/>
                  </a:lnTo>
                  <a:lnTo>
                    <a:pt x="10" y="81"/>
                  </a:lnTo>
                  <a:lnTo>
                    <a:pt x="10" y="78"/>
                  </a:lnTo>
                  <a:lnTo>
                    <a:pt x="12" y="78"/>
                  </a:lnTo>
                  <a:lnTo>
                    <a:pt x="12" y="76"/>
                  </a:lnTo>
                  <a:lnTo>
                    <a:pt x="15" y="76"/>
                  </a:lnTo>
                  <a:lnTo>
                    <a:pt x="15" y="74"/>
                  </a:lnTo>
                  <a:lnTo>
                    <a:pt x="15" y="71"/>
                  </a:lnTo>
                  <a:lnTo>
                    <a:pt x="17" y="71"/>
                  </a:lnTo>
                  <a:lnTo>
                    <a:pt x="17" y="69"/>
                  </a:lnTo>
                  <a:lnTo>
                    <a:pt x="17" y="67"/>
                  </a:lnTo>
                  <a:lnTo>
                    <a:pt x="17" y="64"/>
                  </a:lnTo>
                  <a:lnTo>
                    <a:pt x="19" y="64"/>
                  </a:lnTo>
                  <a:lnTo>
                    <a:pt x="19" y="62"/>
                  </a:lnTo>
                  <a:lnTo>
                    <a:pt x="17" y="62"/>
                  </a:lnTo>
                  <a:lnTo>
                    <a:pt x="15" y="62"/>
                  </a:lnTo>
                  <a:lnTo>
                    <a:pt x="12" y="62"/>
                  </a:lnTo>
                  <a:lnTo>
                    <a:pt x="12" y="59"/>
                  </a:lnTo>
                  <a:lnTo>
                    <a:pt x="12" y="62"/>
                  </a:lnTo>
                  <a:lnTo>
                    <a:pt x="10" y="62"/>
                  </a:lnTo>
                  <a:lnTo>
                    <a:pt x="8" y="64"/>
                  </a:lnTo>
                  <a:lnTo>
                    <a:pt x="8" y="62"/>
                  </a:lnTo>
                  <a:lnTo>
                    <a:pt x="5" y="62"/>
                  </a:lnTo>
                  <a:lnTo>
                    <a:pt x="8" y="59"/>
                  </a:lnTo>
                  <a:lnTo>
                    <a:pt x="8" y="62"/>
                  </a:lnTo>
                  <a:lnTo>
                    <a:pt x="10" y="62"/>
                  </a:lnTo>
                  <a:lnTo>
                    <a:pt x="10" y="59"/>
                  </a:lnTo>
                  <a:lnTo>
                    <a:pt x="12" y="59"/>
                  </a:lnTo>
                  <a:lnTo>
                    <a:pt x="12" y="57"/>
                  </a:lnTo>
                  <a:lnTo>
                    <a:pt x="10" y="57"/>
                  </a:lnTo>
                  <a:lnTo>
                    <a:pt x="8" y="57"/>
                  </a:lnTo>
                  <a:lnTo>
                    <a:pt x="10" y="57"/>
                  </a:lnTo>
                  <a:lnTo>
                    <a:pt x="10" y="55"/>
                  </a:lnTo>
                  <a:lnTo>
                    <a:pt x="10" y="52"/>
                  </a:lnTo>
                  <a:lnTo>
                    <a:pt x="15" y="50"/>
                  </a:lnTo>
                  <a:lnTo>
                    <a:pt x="17" y="50"/>
                  </a:lnTo>
                  <a:lnTo>
                    <a:pt x="19" y="50"/>
                  </a:lnTo>
                  <a:lnTo>
                    <a:pt x="19" y="48"/>
                  </a:lnTo>
                  <a:lnTo>
                    <a:pt x="22" y="45"/>
                  </a:lnTo>
                  <a:lnTo>
                    <a:pt x="19" y="45"/>
                  </a:lnTo>
                  <a:lnTo>
                    <a:pt x="17" y="45"/>
                  </a:lnTo>
                  <a:lnTo>
                    <a:pt x="15" y="45"/>
                  </a:lnTo>
                  <a:lnTo>
                    <a:pt x="12" y="45"/>
                  </a:lnTo>
                  <a:lnTo>
                    <a:pt x="12" y="43"/>
                  </a:lnTo>
                  <a:lnTo>
                    <a:pt x="10" y="43"/>
                  </a:lnTo>
                  <a:lnTo>
                    <a:pt x="10" y="40"/>
                  </a:lnTo>
                  <a:lnTo>
                    <a:pt x="8" y="40"/>
                  </a:lnTo>
                  <a:lnTo>
                    <a:pt x="5" y="40"/>
                  </a:lnTo>
                  <a:lnTo>
                    <a:pt x="5" y="38"/>
                  </a:lnTo>
                  <a:lnTo>
                    <a:pt x="8" y="38"/>
                  </a:lnTo>
                  <a:lnTo>
                    <a:pt x="8" y="36"/>
                  </a:lnTo>
                  <a:lnTo>
                    <a:pt x="5" y="36"/>
                  </a:lnTo>
                  <a:lnTo>
                    <a:pt x="5" y="33"/>
                  </a:lnTo>
                  <a:lnTo>
                    <a:pt x="8" y="33"/>
                  </a:lnTo>
                  <a:lnTo>
                    <a:pt x="10" y="33"/>
                  </a:lnTo>
                  <a:lnTo>
                    <a:pt x="10" y="31"/>
                  </a:lnTo>
                  <a:lnTo>
                    <a:pt x="8" y="31"/>
                  </a:lnTo>
                  <a:lnTo>
                    <a:pt x="5" y="31"/>
                  </a:lnTo>
                  <a:lnTo>
                    <a:pt x="3" y="31"/>
                  </a:lnTo>
                  <a:lnTo>
                    <a:pt x="3" y="29"/>
                  </a:lnTo>
                  <a:lnTo>
                    <a:pt x="5" y="26"/>
                  </a:lnTo>
                  <a:lnTo>
                    <a:pt x="5" y="24"/>
                  </a:lnTo>
                  <a:lnTo>
                    <a:pt x="3" y="24"/>
                  </a:lnTo>
                  <a:lnTo>
                    <a:pt x="5" y="24"/>
                  </a:lnTo>
                  <a:lnTo>
                    <a:pt x="5" y="21"/>
                  </a:lnTo>
                  <a:lnTo>
                    <a:pt x="5" y="19"/>
                  </a:lnTo>
                  <a:lnTo>
                    <a:pt x="3" y="21"/>
                  </a:lnTo>
                  <a:lnTo>
                    <a:pt x="3" y="19"/>
                  </a:lnTo>
                  <a:lnTo>
                    <a:pt x="0" y="19"/>
                  </a:lnTo>
                  <a:lnTo>
                    <a:pt x="3" y="17"/>
                  </a:lnTo>
                  <a:lnTo>
                    <a:pt x="3" y="14"/>
                  </a:lnTo>
                  <a:lnTo>
                    <a:pt x="3" y="12"/>
                  </a:lnTo>
                  <a:lnTo>
                    <a:pt x="5" y="14"/>
                  </a:lnTo>
                  <a:lnTo>
                    <a:pt x="5" y="12"/>
                  </a:lnTo>
                  <a:lnTo>
                    <a:pt x="8" y="14"/>
                  </a:lnTo>
                  <a:lnTo>
                    <a:pt x="8" y="12"/>
                  </a:lnTo>
                  <a:lnTo>
                    <a:pt x="10" y="12"/>
                  </a:lnTo>
                  <a:lnTo>
                    <a:pt x="8" y="10"/>
                  </a:lnTo>
                  <a:lnTo>
                    <a:pt x="10" y="7"/>
                  </a:lnTo>
                  <a:lnTo>
                    <a:pt x="12" y="10"/>
                  </a:lnTo>
                  <a:lnTo>
                    <a:pt x="15" y="10"/>
                  </a:lnTo>
                  <a:lnTo>
                    <a:pt x="17" y="10"/>
                  </a:lnTo>
                  <a:lnTo>
                    <a:pt x="15" y="10"/>
                  </a:lnTo>
                  <a:lnTo>
                    <a:pt x="19" y="7"/>
                  </a:lnTo>
                  <a:lnTo>
                    <a:pt x="22" y="7"/>
                  </a:lnTo>
                  <a:lnTo>
                    <a:pt x="22" y="5"/>
                  </a:lnTo>
                  <a:lnTo>
                    <a:pt x="24" y="5"/>
                  </a:lnTo>
                  <a:lnTo>
                    <a:pt x="22" y="2"/>
                  </a:lnTo>
                  <a:lnTo>
                    <a:pt x="24" y="2"/>
                  </a:lnTo>
                  <a:lnTo>
                    <a:pt x="27" y="2"/>
                  </a:lnTo>
                  <a:lnTo>
                    <a:pt x="29" y="0"/>
                  </a:lnTo>
                  <a:close/>
                  <a:moveTo>
                    <a:pt x="19" y="124"/>
                  </a:moveTo>
                  <a:lnTo>
                    <a:pt x="22" y="124"/>
                  </a:lnTo>
                  <a:lnTo>
                    <a:pt x="19" y="124"/>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5" name="Freeform 56636"/>
            <p:cNvSpPr>
              <a:spLocks/>
            </p:cNvSpPr>
            <p:nvPr/>
          </p:nvSpPr>
          <p:spPr bwMode="auto">
            <a:xfrm>
              <a:off x="2906710" y="4730767"/>
              <a:ext cx="301625" cy="144463"/>
            </a:xfrm>
            <a:custGeom>
              <a:avLst/>
              <a:gdLst>
                <a:gd name="T0" fmla="*/ 95 w 190"/>
                <a:gd name="T1" fmla="*/ 8 h 91"/>
                <a:gd name="T2" fmla="*/ 100 w 190"/>
                <a:gd name="T3" fmla="*/ 12 h 91"/>
                <a:gd name="T4" fmla="*/ 100 w 190"/>
                <a:gd name="T5" fmla="*/ 20 h 91"/>
                <a:gd name="T6" fmla="*/ 107 w 190"/>
                <a:gd name="T7" fmla="*/ 20 h 91"/>
                <a:gd name="T8" fmla="*/ 112 w 190"/>
                <a:gd name="T9" fmla="*/ 12 h 91"/>
                <a:gd name="T10" fmla="*/ 121 w 190"/>
                <a:gd name="T11" fmla="*/ 10 h 91"/>
                <a:gd name="T12" fmla="*/ 131 w 190"/>
                <a:gd name="T13" fmla="*/ 12 h 91"/>
                <a:gd name="T14" fmla="*/ 133 w 190"/>
                <a:gd name="T15" fmla="*/ 12 h 91"/>
                <a:gd name="T16" fmla="*/ 138 w 190"/>
                <a:gd name="T17" fmla="*/ 15 h 91"/>
                <a:gd name="T18" fmla="*/ 140 w 190"/>
                <a:gd name="T19" fmla="*/ 10 h 91"/>
                <a:gd name="T20" fmla="*/ 147 w 190"/>
                <a:gd name="T21" fmla="*/ 8 h 91"/>
                <a:gd name="T22" fmla="*/ 154 w 190"/>
                <a:gd name="T23" fmla="*/ 8 h 91"/>
                <a:gd name="T24" fmla="*/ 164 w 190"/>
                <a:gd name="T25" fmla="*/ 10 h 91"/>
                <a:gd name="T26" fmla="*/ 171 w 190"/>
                <a:gd name="T27" fmla="*/ 15 h 91"/>
                <a:gd name="T28" fmla="*/ 178 w 190"/>
                <a:gd name="T29" fmla="*/ 20 h 91"/>
                <a:gd name="T30" fmla="*/ 185 w 190"/>
                <a:gd name="T31" fmla="*/ 24 h 91"/>
                <a:gd name="T32" fmla="*/ 187 w 190"/>
                <a:gd name="T33" fmla="*/ 29 h 91"/>
                <a:gd name="T34" fmla="*/ 183 w 190"/>
                <a:gd name="T35" fmla="*/ 36 h 91"/>
                <a:gd name="T36" fmla="*/ 180 w 190"/>
                <a:gd name="T37" fmla="*/ 46 h 91"/>
                <a:gd name="T38" fmla="*/ 176 w 190"/>
                <a:gd name="T39" fmla="*/ 55 h 91"/>
                <a:gd name="T40" fmla="*/ 171 w 190"/>
                <a:gd name="T41" fmla="*/ 58 h 91"/>
                <a:gd name="T42" fmla="*/ 161 w 190"/>
                <a:gd name="T43" fmla="*/ 60 h 91"/>
                <a:gd name="T44" fmla="*/ 154 w 190"/>
                <a:gd name="T45" fmla="*/ 50 h 91"/>
                <a:gd name="T46" fmla="*/ 150 w 190"/>
                <a:gd name="T47" fmla="*/ 53 h 91"/>
                <a:gd name="T48" fmla="*/ 142 w 190"/>
                <a:gd name="T49" fmla="*/ 53 h 91"/>
                <a:gd name="T50" fmla="*/ 133 w 190"/>
                <a:gd name="T51" fmla="*/ 50 h 91"/>
                <a:gd name="T52" fmla="*/ 126 w 190"/>
                <a:gd name="T53" fmla="*/ 50 h 91"/>
                <a:gd name="T54" fmla="*/ 121 w 190"/>
                <a:gd name="T55" fmla="*/ 53 h 91"/>
                <a:gd name="T56" fmla="*/ 116 w 190"/>
                <a:gd name="T57" fmla="*/ 62 h 91"/>
                <a:gd name="T58" fmla="*/ 109 w 190"/>
                <a:gd name="T59" fmla="*/ 67 h 91"/>
                <a:gd name="T60" fmla="*/ 102 w 190"/>
                <a:gd name="T61" fmla="*/ 69 h 91"/>
                <a:gd name="T62" fmla="*/ 97 w 190"/>
                <a:gd name="T63" fmla="*/ 67 h 91"/>
                <a:gd name="T64" fmla="*/ 90 w 190"/>
                <a:gd name="T65" fmla="*/ 67 h 91"/>
                <a:gd name="T66" fmla="*/ 88 w 190"/>
                <a:gd name="T67" fmla="*/ 72 h 91"/>
                <a:gd name="T68" fmla="*/ 81 w 190"/>
                <a:gd name="T69" fmla="*/ 74 h 91"/>
                <a:gd name="T70" fmla="*/ 69 w 190"/>
                <a:gd name="T71" fmla="*/ 74 h 91"/>
                <a:gd name="T72" fmla="*/ 64 w 190"/>
                <a:gd name="T73" fmla="*/ 79 h 91"/>
                <a:gd name="T74" fmla="*/ 69 w 190"/>
                <a:gd name="T75" fmla="*/ 86 h 91"/>
                <a:gd name="T76" fmla="*/ 59 w 190"/>
                <a:gd name="T77" fmla="*/ 88 h 91"/>
                <a:gd name="T78" fmla="*/ 47 w 190"/>
                <a:gd name="T79" fmla="*/ 88 h 91"/>
                <a:gd name="T80" fmla="*/ 36 w 190"/>
                <a:gd name="T81" fmla="*/ 88 h 91"/>
                <a:gd name="T82" fmla="*/ 26 w 190"/>
                <a:gd name="T83" fmla="*/ 86 h 91"/>
                <a:gd name="T84" fmla="*/ 19 w 190"/>
                <a:gd name="T85" fmla="*/ 81 h 91"/>
                <a:gd name="T86" fmla="*/ 12 w 190"/>
                <a:gd name="T87" fmla="*/ 77 h 91"/>
                <a:gd name="T88" fmla="*/ 7 w 190"/>
                <a:gd name="T89" fmla="*/ 69 h 91"/>
                <a:gd name="T90" fmla="*/ 2 w 190"/>
                <a:gd name="T91" fmla="*/ 60 h 91"/>
                <a:gd name="T92" fmla="*/ 2 w 190"/>
                <a:gd name="T93" fmla="*/ 60 h 91"/>
                <a:gd name="T94" fmla="*/ 5 w 190"/>
                <a:gd name="T95" fmla="*/ 50 h 91"/>
                <a:gd name="T96" fmla="*/ 7 w 190"/>
                <a:gd name="T97" fmla="*/ 41 h 91"/>
                <a:gd name="T98" fmla="*/ 14 w 190"/>
                <a:gd name="T99" fmla="*/ 36 h 91"/>
                <a:gd name="T100" fmla="*/ 24 w 190"/>
                <a:gd name="T101" fmla="*/ 36 h 91"/>
                <a:gd name="T102" fmla="*/ 31 w 190"/>
                <a:gd name="T103" fmla="*/ 36 h 91"/>
                <a:gd name="T104" fmla="*/ 36 w 190"/>
                <a:gd name="T105" fmla="*/ 31 h 91"/>
                <a:gd name="T106" fmla="*/ 40 w 190"/>
                <a:gd name="T107" fmla="*/ 27 h 91"/>
                <a:gd name="T108" fmla="*/ 45 w 190"/>
                <a:gd name="T109" fmla="*/ 20 h 91"/>
                <a:gd name="T110" fmla="*/ 52 w 190"/>
                <a:gd name="T111" fmla="*/ 15 h 91"/>
                <a:gd name="T112" fmla="*/ 57 w 190"/>
                <a:gd name="T113" fmla="*/ 8 h 91"/>
                <a:gd name="T114" fmla="*/ 66 w 190"/>
                <a:gd name="T115" fmla="*/ 5 h 91"/>
                <a:gd name="T116" fmla="*/ 71 w 190"/>
                <a:gd name="T117" fmla="*/ 3 h 91"/>
                <a:gd name="T118" fmla="*/ 76 w 190"/>
                <a:gd name="T119" fmla="*/ 10 h 91"/>
                <a:gd name="T120" fmla="*/ 81 w 190"/>
                <a:gd name="T121" fmla="*/ 3 h 91"/>
                <a:gd name="T122" fmla="*/ 90 w 190"/>
                <a:gd name="T1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 h="91">
                  <a:moveTo>
                    <a:pt x="90" y="0"/>
                  </a:moveTo>
                  <a:lnTo>
                    <a:pt x="90" y="3"/>
                  </a:lnTo>
                  <a:lnTo>
                    <a:pt x="90" y="5"/>
                  </a:lnTo>
                  <a:lnTo>
                    <a:pt x="93" y="8"/>
                  </a:lnTo>
                  <a:lnTo>
                    <a:pt x="95" y="8"/>
                  </a:lnTo>
                  <a:lnTo>
                    <a:pt x="93" y="10"/>
                  </a:lnTo>
                  <a:lnTo>
                    <a:pt x="95" y="10"/>
                  </a:lnTo>
                  <a:lnTo>
                    <a:pt x="97" y="10"/>
                  </a:lnTo>
                  <a:lnTo>
                    <a:pt x="100" y="10"/>
                  </a:lnTo>
                  <a:lnTo>
                    <a:pt x="100" y="12"/>
                  </a:lnTo>
                  <a:lnTo>
                    <a:pt x="100" y="15"/>
                  </a:lnTo>
                  <a:lnTo>
                    <a:pt x="100" y="17"/>
                  </a:lnTo>
                  <a:lnTo>
                    <a:pt x="97" y="17"/>
                  </a:lnTo>
                  <a:lnTo>
                    <a:pt x="97" y="20"/>
                  </a:lnTo>
                  <a:lnTo>
                    <a:pt x="100" y="20"/>
                  </a:lnTo>
                  <a:lnTo>
                    <a:pt x="102" y="20"/>
                  </a:lnTo>
                  <a:lnTo>
                    <a:pt x="102" y="17"/>
                  </a:lnTo>
                  <a:lnTo>
                    <a:pt x="104" y="17"/>
                  </a:lnTo>
                  <a:lnTo>
                    <a:pt x="104" y="20"/>
                  </a:lnTo>
                  <a:lnTo>
                    <a:pt x="107" y="20"/>
                  </a:lnTo>
                  <a:lnTo>
                    <a:pt x="109" y="20"/>
                  </a:lnTo>
                  <a:lnTo>
                    <a:pt x="109" y="17"/>
                  </a:lnTo>
                  <a:lnTo>
                    <a:pt x="109" y="15"/>
                  </a:lnTo>
                  <a:lnTo>
                    <a:pt x="112" y="15"/>
                  </a:lnTo>
                  <a:lnTo>
                    <a:pt x="112" y="12"/>
                  </a:lnTo>
                  <a:lnTo>
                    <a:pt x="114" y="12"/>
                  </a:lnTo>
                  <a:lnTo>
                    <a:pt x="116" y="12"/>
                  </a:lnTo>
                  <a:lnTo>
                    <a:pt x="116" y="10"/>
                  </a:lnTo>
                  <a:lnTo>
                    <a:pt x="119" y="10"/>
                  </a:lnTo>
                  <a:lnTo>
                    <a:pt x="121" y="10"/>
                  </a:lnTo>
                  <a:lnTo>
                    <a:pt x="123" y="10"/>
                  </a:lnTo>
                  <a:lnTo>
                    <a:pt x="126" y="10"/>
                  </a:lnTo>
                  <a:lnTo>
                    <a:pt x="128" y="10"/>
                  </a:lnTo>
                  <a:lnTo>
                    <a:pt x="131" y="10"/>
                  </a:lnTo>
                  <a:lnTo>
                    <a:pt x="131" y="12"/>
                  </a:lnTo>
                  <a:lnTo>
                    <a:pt x="131" y="10"/>
                  </a:lnTo>
                  <a:lnTo>
                    <a:pt x="131" y="12"/>
                  </a:lnTo>
                  <a:lnTo>
                    <a:pt x="133" y="12"/>
                  </a:lnTo>
                  <a:lnTo>
                    <a:pt x="131" y="12"/>
                  </a:lnTo>
                  <a:lnTo>
                    <a:pt x="133" y="12"/>
                  </a:lnTo>
                  <a:lnTo>
                    <a:pt x="135" y="12"/>
                  </a:lnTo>
                  <a:lnTo>
                    <a:pt x="135" y="15"/>
                  </a:lnTo>
                  <a:lnTo>
                    <a:pt x="135" y="12"/>
                  </a:lnTo>
                  <a:lnTo>
                    <a:pt x="135" y="15"/>
                  </a:lnTo>
                  <a:lnTo>
                    <a:pt x="138" y="15"/>
                  </a:lnTo>
                  <a:lnTo>
                    <a:pt x="138" y="12"/>
                  </a:lnTo>
                  <a:lnTo>
                    <a:pt x="140" y="12"/>
                  </a:lnTo>
                  <a:lnTo>
                    <a:pt x="142" y="12"/>
                  </a:lnTo>
                  <a:lnTo>
                    <a:pt x="142" y="10"/>
                  </a:lnTo>
                  <a:lnTo>
                    <a:pt x="140" y="10"/>
                  </a:lnTo>
                  <a:lnTo>
                    <a:pt x="140" y="8"/>
                  </a:lnTo>
                  <a:lnTo>
                    <a:pt x="142" y="8"/>
                  </a:lnTo>
                  <a:lnTo>
                    <a:pt x="145" y="10"/>
                  </a:lnTo>
                  <a:lnTo>
                    <a:pt x="145" y="8"/>
                  </a:lnTo>
                  <a:lnTo>
                    <a:pt x="147" y="8"/>
                  </a:lnTo>
                  <a:lnTo>
                    <a:pt x="150" y="8"/>
                  </a:lnTo>
                  <a:lnTo>
                    <a:pt x="152" y="8"/>
                  </a:lnTo>
                  <a:lnTo>
                    <a:pt x="152" y="10"/>
                  </a:lnTo>
                  <a:lnTo>
                    <a:pt x="154" y="10"/>
                  </a:lnTo>
                  <a:lnTo>
                    <a:pt x="154" y="8"/>
                  </a:lnTo>
                  <a:lnTo>
                    <a:pt x="157" y="10"/>
                  </a:lnTo>
                  <a:lnTo>
                    <a:pt x="157" y="8"/>
                  </a:lnTo>
                  <a:lnTo>
                    <a:pt x="159" y="8"/>
                  </a:lnTo>
                  <a:lnTo>
                    <a:pt x="161" y="10"/>
                  </a:lnTo>
                  <a:lnTo>
                    <a:pt x="164" y="10"/>
                  </a:lnTo>
                  <a:lnTo>
                    <a:pt x="164" y="12"/>
                  </a:lnTo>
                  <a:lnTo>
                    <a:pt x="166" y="10"/>
                  </a:lnTo>
                  <a:lnTo>
                    <a:pt x="169" y="12"/>
                  </a:lnTo>
                  <a:lnTo>
                    <a:pt x="171" y="12"/>
                  </a:lnTo>
                  <a:lnTo>
                    <a:pt x="171" y="15"/>
                  </a:lnTo>
                  <a:lnTo>
                    <a:pt x="173" y="15"/>
                  </a:lnTo>
                  <a:lnTo>
                    <a:pt x="173" y="17"/>
                  </a:lnTo>
                  <a:lnTo>
                    <a:pt x="173" y="20"/>
                  </a:lnTo>
                  <a:lnTo>
                    <a:pt x="176" y="20"/>
                  </a:lnTo>
                  <a:lnTo>
                    <a:pt x="178" y="20"/>
                  </a:lnTo>
                  <a:lnTo>
                    <a:pt x="178" y="22"/>
                  </a:lnTo>
                  <a:lnTo>
                    <a:pt x="180" y="22"/>
                  </a:lnTo>
                  <a:lnTo>
                    <a:pt x="183" y="22"/>
                  </a:lnTo>
                  <a:lnTo>
                    <a:pt x="185" y="22"/>
                  </a:lnTo>
                  <a:lnTo>
                    <a:pt x="185" y="24"/>
                  </a:lnTo>
                  <a:lnTo>
                    <a:pt x="187" y="24"/>
                  </a:lnTo>
                  <a:lnTo>
                    <a:pt x="190" y="24"/>
                  </a:lnTo>
                  <a:lnTo>
                    <a:pt x="190" y="27"/>
                  </a:lnTo>
                  <a:lnTo>
                    <a:pt x="190" y="29"/>
                  </a:lnTo>
                  <a:lnTo>
                    <a:pt x="187" y="29"/>
                  </a:lnTo>
                  <a:lnTo>
                    <a:pt x="187" y="31"/>
                  </a:lnTo>
                  <a:lnTo>
                    <a:pt x="185" y="31"/>
                  </a:lnTo>
                  <a:lnTo>
                    <a:pt x="185" y="34"/>
                  </a:lnTo>
                  <a:lnTo>
                    <a:pt x="185" y="36"/>
                  </a:lnTo>
                  <a:lnTo>
                    <a:pt x="183" y="36"/>
                  </a:lnTo>
                  <a:lnTo>
                    <a:pt x="185" y="39"/>
                  </a:lnTo>
                  <a:lnTo>
                    <a:pt x="183" y="39"/>
                  </a:lnTo>
                  <a:lnTo>
                    <a:pt x="183" y="41"/>
                  </a:lnTo>
                  <a:lnTo>
                    <a:pt x="183" y="43"/>
                  </a:lnTo>
                  <a:lnTo>
                    <a:pt x="180" y="46"/>
                  </a:lnTo>
                  <a:lnTo>
                    <a:pt x="180" y="48"/>
                  </a:lnTo>
                  <a:lnTo>
                    <a:pt x="178" y="48"/>
                  </a:lnTo>
                  <a:lnTo>
                    <a:pt x="176" y="50"/>
                  </a:lnTo>
                  <a:lnTo>
                    <a:pt x="176" y="53"/>
                  </a:lnTo>
                  <a:lnTo>
                    <a:pt x="176" y="55"/>
                  </a:lnTo>
                  <a:lnTo>
                    <a:pt x="176" y="58"/>
                  </a:lnTo>
                  <a:lnTo>
                    <a:pt x="176" y="60"/>
                  </a:lnTo>
                  <a:lnTo>
                    <a:pt x="173" y="60"/>
                  </a:lnTo>
                  <a:lnTo>
                    <a:pt x="173" y="58"/>
                  </a:lnTo>
                  <a:lnTo>
                    <a:pt x="171" y="58"/>
                  </a:lnTo>
                  <a:lnTo>
                    <a:pt x="171" y="60"/>
                  </a:lnTo>
                  <a:lnTo>
                    <a:pt x="169" y="60"/>
                  </a:lnTo>
                  <a:lnTo>
                    <a:pt x="166" y="60"/>
                  </a:lnTo>
                  <a:lnTo>
                    <a:pt x="164" y="60"/>
                  </a:lnTo>
                  <a:lnTo>
                    <a:pt x="161" y="60"/>
                  </a:lnTo>
                  <a:lnTo>
                    <a:pt x="161" y="58"/>
                  </a:lnTo>
                  <a:lnTo>
                    <a:pt x="159" y="55"/>
                  </a:lnTo>
                  <a:lnTo>
                    <a:pt x="159" y="53"/>
                  </a:lnTo>
                  <a:lnTo>
                    <a:pt x="157" y="53"/>
                  </a:lnTo>
                  <a:lnTo>
                    <a:pt x="154" y="50"/>
                  </a:lnTo>
                  <a:lnTo>
                    <a:pt x="154" y="48"/>
                  </a:lnTo>
                  <a:lnTo>
                    <a:pt x="152" y="48"/>
                  </a:lnTo>
                  <a:lnTo>
                    <a:pt x="152" y="50"/>
                  </a:lnTo>
                  <a:lnTo>
                    <a:pt x="150" y="50"/>
                  </a:lnTo>
                  <a:lnTo>
                    <a:pt x="150" y="53"/>
                  </a:lnTo>
                  <a:lnTo>
                    <a:pt x="147" y="53"/>
                  </a:lnTo>
                  <a:lnTo>
                    <a:pt x="147" y="50"/>
                  </a:lnTo>
                  <a:lnTo>
                    <a:pt x="145" y="50"/>
                  </a:lnTo>
                  <a:lnTo>
                    <a:pt x="145" y="53"/>
                  </a:lnTo>
                  <a:lnTo>
                    <a:pt x="142" y="53"/>
                  </a:lnTo>
                  <a:lnTo>
                    <a:pt x="140" y="53"/>
                  </a:lnTo>
                  <a:lnTo>
                    <a:pt x="138" y="53"/>
                  </a:lnTo>
                  <a:lnTo>
                    <a:pt x="138" y="50"/>
                  </a:lnTo>
                  <a:lnTo>
                    <a:pt x="135" y="50"/>
                  </a:lnTo>
                  <a:lnTo>
                    <a:pt x="133" y="50"/>
                  </a:lnTo>
                  <a:lnTo>
                    <a:pt x="133" y="48"/>
                  </a:lnTo>
                  <a:lnTo>
                    <a:pt x="133" y="50"/>
                  </a:lnTo>
                  <a:lnTo>
                    <a:pt x="131" y="50"/>
                  </a:lnTo>
                  <a:lnTo>
                    <a:pt x="128" y="50"/>
                  </a:lnTo>
                  <a:lnTo>
                    <a:pt x="126" y="50"/>
                  </a:lnTo>
                  <a:lnTo>
                    <a:pt x="123" y="50"/>
                  </a:lnTo>
                  <a:lnTo>
                    <a:pt x="123" y="53"/>
                  </a:lnTo>
                  <a:lnTo>
                    <a:pt x="123" y="50"/>
                  </a:lnTo>
                  <a:lnTo>
                    <a:pt x="121" y="50"/>
                  </a:lnTo>
                  <a:lnTo>
                    <a:pt x="121" y="53"/>
                  </a:lnTo>
                  <a:lnTo>
                    <a:pt x="121" y="55"/>
                  </a:lnTo>
                  <a:lnTo>
                    <a:pt x="119" y="58"/>
                  </a:lnTo>
                  <a:lnTo>
                    <a:pt x="119" y="60"/>
                  </a:lnTo>
                  <a:lnTo>
                    <a:pt x="119" y="62"/>
                  </a:lnTo>
                  <a:lnTo>
                    <a:pt x="116" y="62"/>
                  </a:lnTo>
                  <a:lnTo>
                    <a:pt x="116" y="65"/>
                  </a:lnTo>
                  <a:lnTo>
                    <a:pt x="114" y="65"/>
                  </a:lnTo>
                  <a:lnTo>
                    <a:pt x="112" y="65"/>
                  </a:lnTo>
                  <a:lnTo>
                    <a:pt x="109" y="65"/>
                  </a:lnTo>
                  <a:lnTo>
                    <a:pt x="109" y="67"/>
                  </a:lnTo>
                  <a:lnTo>
                    <a:pt x="107" y="67"/>
                  </a:lnTo>
                  <a:lnTo>
                    <a:pt x="107" y="69"/>
                  </a:lnTo>
                  <a:lnTo>
                    <a:pt x="104" y="69"/>
                  </a:lnTo>
                  <a:lnTo>
                    <a:pt x="102" y="72"/>
                  </a:lnTo>
                  <a:lnTo>
                    <a:pt x="102" y="69"/>
                  </a:lnTo>
                  <a:lnTo>
                    <a:pt x="100" y="69"/>
                  </a:lnTo>
                  <a:lnTo>
                    <a:pt x="97" y="69"/>
                  </a:lnTo>
                  <a:lnTo>
                    <a:pt x="100" y="69"/>
                  </a:lnTo>
                  <a:lnTo>
                    <a:pt x="100" y="67"/>
                  </a:lnTo>
                  <a:lnTo>
                    <a:pt x="97" y="67"/>
                  </a:lnTo>
                  <a:lnTo>
                    <a:pt x="95" y="67"/>
                  </a:lnTo>
                  <a:lnTo>
                    <a:pt x="95" y="65"/>
                  </a:lnTo>
                  <a:lnTo>
                    <a:pt x="93" y="65"/>
                  </a:lnTo>
                  <a:lnTo>
                    <a:pt x="93" y="67"/>
                  </a:lnTo>
                  <a:lnTo>
                    <a:pt x="90" y="67"/>
                  </a:lnTo>
                  <a:lnTo>
                    <a:pt x="90" y="69"/>
                  </a:lnTo>
                  <a:lnTo>
                    <a:pt x="88" y="69"/>
                  </a:lnTo>
                  <a:lnTo>
                    <a:pt x="88" y="72"/>
                  </a:lnTo>
                  <a:lnTo>
                    <a:pt x="88" y="74"/>
                  </a:lnTo>
                  <a:lnTo>
                    <a:pt x="88" y="72"/>
                  </a:lnTo>
                  <a:lnTo>
                    <a:pt x="85" y="72"/>
                  </a:lnTo>
                  <a:lnTo>
                    <a:pt x="85" y="74"/>
                  </a:lnTo>
                  <a:lnTo>
                    <a:pt x="85" y="72"/>
                  </a:lnTo>
                  <a:lnTo>
                    <a:pt x="83" y="72"/>
                  </a:lnTo>
                  <a:lnTo>
                    <a:pt x="81" y="74"/>
                  </a:lnTo>
                  <a:lnTo>
                    <a:pt x="78" y="74"/>
                  </a:lnTo>
                  <a:lnTo>
                    <a:pt x="76" y="74"/>
                  </a:lnTo>
                  <a:lnTo>
                    <a:pt x="74" y="74"/>
                  </a:lnTo>
                  <a:lnTo>
                    <a:pt x="71" y="74"/>
                  </a:lnTo>
                  <a:lnTo>
                    <a:pt x="69" y="74"/>
                  </a:lnTo>
                  <a:lnTo>
                    <a:pt x="66" y="74"/>
                  </a:lnTo>
                  <a:lnTo>
                    <a:pt x="66" y="77"/>
                  </a:lnTo>
                  <a:lnTo>
                    <a:pt x="66" y="79"/>
                  </a:lnTo>
                  <a:lnTo>
                    <a:pt x="66" y="77"/>
                  </a:lnTo>
                  <a:lnTo>
                    <a:pt x="64" y="79"/>
                  </a:lnTo>
                  <a:lnTo>
                    <a:pt x="64" y="81"/>
                  </a:lnTo>
                  <a:lnTo>
                    <a:pt x="64" y="84"/>
                  </a:lnTo>
                  <a:lnTo>
                    <a:pt x="66" y="84"/>
                  </a:lnTo>
                  <a:lnTo>
                    <a:pt x="66" y="86"/>
                  </a:lnTo>
                  <a:lnTo>
                    <a:pt x="69" y="86"/>
                  </a:lnTo>
                  <a:lnTo>
                    <a:pt x="66" y="86"/>
                  </a:lnTo>
                  <a:lnTo>
                    <a:pt x="64" y="86"/>
                  </a:lnTo>
                  <a:lnTo>
                    <a:pt x="64" y="88"/>
                  </a:lnTo>
                  <a:lnTo>
                    <a:pt x="62" y="88"/>
                  </a:lnTo>
                  <a:lnTo>
                    <a:pt x="59" y="88"/>
                  </a:lnTo>
                  <a:lnTo>
                    <a:pt x="57" y="88"/>
                  </a:lnTo>
                  <a:lnTo>
                    <a:pt x="55" y="88"/>
                  </a:lnTo>
                  <a:lnTo>
                    <a:pt x="52" y="88"/>
                  </a:lnTo>
                  <a:lnTo>
                    <a:pt x="50" y="91"/>
                  </a:lnTo>
                  <a:lnTo>
                    <a:pt x="47" y="88"/>
                  </a:lnTo>
                  <a:lnTo>
                    <a:pt x="45" y="88"/>
                  </a:lnTo>
                  <a:lnTo>
                    <a:pt x="43" y="88"/>
                  </a:lnTo>
                  <a:lnTo>
                    <a:pt x="40" y="88"/>
                  </a:lnTo>
                  <a:lnTo>
                    <a:pt x="38" y="88"/>
                  </a:lnTo>
                  <a:lnTo>
                    <a:pt x="36" y="88"/>
                  </a:lnTo>
                  <a:lnTo>
                    <a:pt x="33" y="88"/>
                  </a:lnTo>
                  <a:lnTo>
                    <a:pt x="31" y="88"/>
                  </a:lnTo>
                  <a:lnTo>
                    <a:pt x="29" y="88"/>
                  </a:lnTo>
                  <a:lnTo>
                    <a:pt x="29" y="86"/>
                  </a:lnTo>
                  <a:lnTo>
                    <a:pt x="26" y="86"/>
                  </a:lnTo>
                  <a:lnTo>
                    <a:pt x="24" y="86"/>
                  </a:lnTo>
                  <a:lnTo>
                    <a:pt x="24" y="84"/>
                  </a:lnTo>
                  <a:lnTo>
                    <a:pt x="21" y="84"/>
                  </a:lnTo>
                  <a:lnTo>
                    <a:pt x="21" y="81"/>
                  </a:lnTo>
                  <a:lnTo>
                    <a:pt x="19" y="81"/>
                  </a:lnTo>
                  <a:lnTo>
                    <a:pt x="19" y="79"/>
                  </a:lnTo>
                  <a:lnTo>
                    <a:pt x="17" y="79"/>
                  </a:lnTo>
                  <a:lnTo>
                    <a:pt x="17" y="77"/>
                  </a:lnTo>
                  <a:lnTo>
                    <a:pt x="14" y="77"/>
                  </a:lnTo>
                  <a:lnTo>
                    <a:pt x="12" y="77"/>
                  </a:lnTo>
                  <a:lnTo>
                    <a:pt x="10" y="77"/>
                  </a:lnTo>
                  <a:lnTo>
                    <a:pt x="10" y="74"/>
                  </a:lnTo>
                  <a:lnTo>
                    <a:pt x="10" y="72"/>
                  </a:lnTo>
                  <a:lnTo>
                    <a:pt x="10" y="69"/>
                  </a:lnTo>
                  <a:lnTo>
                    <a:pt x="7" y="69"/>
                  </a:lnTo>
                  <a:lnTo>
                    <a:pt x="5" y="69"/>
                  </a:lnTo>
                  <a:lnTo>
                    <a:pt x="5" y="67"/>
                  </a:lnTo>
                  <a:lnTo>
                    <a:pt x="5" y="65"/>
                  </a:lnTo>
                  <a:lnTo>
                    <a:pt x="2" y="62"/>
                  </a:lnTo>
                  <a:lnTo>
                    <a:pt x="2" y="60"/>
                  </a:lnTo>
                  <a:lnTo>
                    <a:pt x="0" y="60"/>
                  </a:lnTo>
                  <a:lnTo>
                    <a:pt x="2" y="60"/>
                  </a:lnTo>
                  <a:lnTo>
                    <a:pt x="0" y="60"/>
                  </a:lnTo>
                  <a:lnTo>
                    <a:pt x="0" y="58"/>
                  </a:lnTo>
                  <a:lnTo>
                    <a:pt x="2" y="60"/>
                  </a:lnTo>
                  <a:lnTo>
                    <a:pt x="2" y="58"/>
                  </a:lnTo>
                  <a:lnTo>
                    <a:pt x="2" y="55"/>
                  </a:lnTo>
                  <a:lnTo>
                    <a:pt x="2" y="53"/>
                  </a:lnTo>
                  <a:lnTo>
                    <a:pt x="5" y="53"/>
                  </a:lnTo>
                  <a:lnTo>
                    <a:pt x="5" y="50"/>
                  </a:lnTo>
                  <a:lnTo>
                    <a:pt x="5" y="48"/>
                  </a:lnTo>
                  <a:lnTo>
                    <a:pt x="5" y="46"/>
                  </a:lnTo>
                  <a:lnTo>
                    <a:pt x="5" y="43"/>
                  </a:lnTo>
                  <a:lnTo>
                    <a:pt x="7" y="43"/>
                  </a:lnTo>
                  <a:lnTo>
                    <a:pt x="7" y="41"/>
                  </a:lnTo>
                  <a:lnTo>
                    <a:pt x="10" y="41"/>
                  </a:lnTo>
                  <a:lnTo>
                    <a:pt x="10" y="39"/>
                  </a:lnTo>
                  <a:lnTo>
                    <a:pt x="10" y="36"/>
                  </a:lnTo>
                  <a:lnTo>
                    <a:pt x="12" y="36"/>
                  </a:lnTo>
                  <a:lnTo>
                    <a:pt x="14" y="36"/>
                  </a:lnTo>
                  <a:lnTo>
                    <a:pt x="17" y="36"/>
                  </a:lnTo>
                  <a:lnTo>
                    <a:pt x="19" y="39"/>
                  </a:lnTo>
                  <a:lnTo>
                    <a:pt x="21" y="39"/>
                  </a:lnTo>
                  <a:lnTo>
                    <a:pt x="21" y="36"/>
                  </a:lnTo>
                  <a:lnTo>
                    <a:pt x="24" y="36"/>
                  </a:lnTo>
                  <a:lnTo>
                    <a:pt x="24" y="39"/>
                  </a:lnTo>
                  <a:lnTo>
                    <a:pt x="26" y="39"/>
                  </a:lnTo>
                  <a:lnTo>
                    <a:pt x="26" y="36"/>
                  </a:lnTo>
                  <a:lnTo>
                    <a:pt x="29" y="36"/>
                  </a:lnTo>
                  <a:lnTo>
                    <a:pt x="31" y="36"/>
                  </a:lnTo>
                  <a:lnTo>
                    <a:pt x="31" y="34"/>
                  </a:lnTo>
                  <a:lnTo>
                    <a:pt x="33" y="34"/>
                  </a:lnTo>
                  <a:lnTo>
                    <a:pt x="33" y="31"/>
                  </a:lnTo>
                  <a:lnTo>
                    <a:pt x="36" y="34"/>
                  </a:lnTo>
                  <a:lnTo>
                    <a:pt x="36" y="31"/>
                  </a:lnTo>
                  <a:lnTo>
                    <a:pt x="36" y="29"/>
                  </a:lnTo>
                  <a:lnTo>
                    <a:pt x="38" y="29"/>
                  </a:lnTo>
                  <a:lnTo>
                    <a:pt x="40" y="27"/>
                  </a:lnTo>
                  <a:lnTo>
                    <a:pt x="40" y="29"/>
                  </a:lnTo>
                  <a:lnTo>
                    <a:pt x="40" y="27"/>
                  </a:lnTo>
                  <a:lnTo>
                    <a:pt x="43" y="27"/>
                  </a:lnTo>
                  <a:lnTo>
                    <a:pt x="43" y="24"/>
                  </a:lnTo>
                  <a:lnTo>
                    <a:pt x="43" y="22"/>
                  </a:lnTo>
                  <a:lnTo>
                    <a:pt x="43" y="20"/>
                  </a:lnTo>
                  <a:lnTo>
                    <a:pt x="45" y="20"/>
                  </a:lnTo>
                  <a:lnTo>
                    <a:pt x="45" y="17"/>
                  </a:lnTo>
                  <a:lnTo>
                    <a:pt x="45" y="15"/>
                  </a:lnTo>
                  <a:lnTo>
                    <a:pt x="47" y="15"/>
                  </a:lnTo>
                  <a:lnTo>
                    <a:pt x="50" y="15"/>
                  </a:lnTo>
                  <a:lnTo>
                    <a:pt x="52" y="15"/>
                  </a:lnTo>
                  <a:lnTo>
                    <a:pt x="52" y="12"/>
                  </a:lnTo>
                  <a:lnTo>
                    <a:pt x="52" y="10"/>
                  </a:lnTo>
                  <a:lnTo>
                    <a:pt x="55" y="10"/>
                  </a:lnTo>
                  <a:lnTo>
                    <a:pt x="55" y="8"/>
                  </a:lnTo>
                  <a:lnTo>
                    <a:pt x="57" y="8"/>
                  </a:lnTo>
                  <a:lnTo>
                    <a:pt x="57" y="5"/>
                  </a:lnTo>
                  <a:lnTo>
                    <a:pt x="59" y="5"/>
                  </a:lnTo>
                  <a:lnTo>
                    <a:pt x="62" y="5"/>
                  </a:lnTo>
                  <a:lnTo>
                    <a:pt x="64" y="5"/>
                  </a:lnTo>
                  <a:lnTo>
                    <a:pt x="66" y="5"/>
                  </a:lnTo>
                  <a:lnTo>
                    <a:pt x="66" y="3"/>
                  </a:lnTo>
                  <a:lnTo>
                    <a:pt x="69" y="3"/>
                  </a:lnTo>
                  <a:lnTo>
                    <a:pt x="69" y="5"/>
                  </a:lnTo>
                  <a:lnTo>
                    <a:pt x="69" y="3"/>
                  </a:lnTo>
                  <a:lnTo>
                    <a:pt x="71" y="3"/>
                  </a:lnTo>
                  <a:lnTo>
                    <a:pt x="71" y="5"/>
                  </a:lnTo>
                  <a:lnTo>
                    <a:pt x="71" y="8"/>
                  </a:lnTo>
                  <a:lnTo>
                    <a:pt x="71" y="10"/>
                  </a:lnTo>
                  <a:lnTo>
                    <a:pt x="74" y="10"/>
                  </a:lnTo>
                  <a:lnTo>
                    <a:pt x="76" y="10"/>
                  </a:lnTo>
                  <a:lnTo>
                    <a:pt x="78" y="10"/>
                  </a:lnTo>
                  <a:lnTo>
                    <a:pt x="78" y="8"/>
                  </a:lnTo>
                  <a:lnTo>
                    <a:pt x="81" y="8"/>
                  </a:lnTo>
                  <a:lnTo>
                    <a:pt x="81" y="5"/>
                  </a:lnTo>
                  <a:lnTo>
                    <a:pt x="81" y="3"/>
                  </a:lnTo>
                  <a:lnTo>
                    <a:pt x="83" y="3"/>
                  </a:lnTo>
                  <a:lnTo>
                    <a:pt x="85" y="3"/>
                  </a:lnTo>
                  <a:lnTo>
                    <a:pt x="85" y="0"/>
                  </a:lnTo>
                  <a:lnTo>
                    <a:pt x="88" y="0"/>
                  </a:lnTo>
                  <a:lnTo>
                    <a:pt x="9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6" name="Freeform 56637"/>
            <p:cNvSpPr>
              <a:spLocks/>
            </p:cNvSpPr>
            <p:nvPr/>
          </p:nvSpPr>
          <p:spPr bwMode="auto">
            <a:xfrm>
              <a:off x="2725735" y="4938730"/>
              <a:ext cx="173038" cy="109538"/>
            </a:xfrm>
            <a:custGeom>
              <a:avLst/>
              <a:gdLst>
                <a:gd name="T0" fmla="*/ 97 w 109"/>
                <a:gd name="T1" fmla="*/ 3 h 69"/>
                <a:gd name="T2" fmla="*/ 102 w 109"/>
                <a:gd name="T3" fmla="*/ 10 h 69"/>
                <a:gd name="T4" fmla="*/ 102 w 109"/>
                <a:gd name="T5" fmla="*/ 14 h 69"/>
                <a:gd name="T6" fmla="*/ 107 w 109"/>
                <a:gd name="T7" fmla="*/ 19 h 69"/>
                <a:gd name="T8" fmla="*/ 105 w 109"/>
                <a:gd name="T9" fmla="*/ 17 h 69"/>
                <a:gd name="T10" fmla="*/ 100 w 109"/>
                <a:gd name="T11" fmla="*/ 17 h 69"/>
                <a:gd name="T12" fmla="*/ 97 w 109"/>
                <a:gd name="T13" fmla="*/ 22 h 69"/>
                <a:gd name="T14" fmla="*/ 90 w 109"/>
                <a:gd name="T15" fmla="*/ 24 h 69"/>
                <a:gd name="T16" fmla="*/ 83 w 109"/>
                <a:gd name="T17" fmla="*/ 29 h 69"/>
                <a:gd name="T18" fmla="*/ 76 w 109"/>
                <a:gd name="T19" fmla="*/ 31 h 69"/>
                <a:gd name="T20" fmla="*/ 76 w 109"/>
                <a:gd name="T21" fmla="*/ 36 h 69"/>
                <a:gd name="T22" fmla="*/ 78 w 109"/>
                <a:gd name="T23" fmla="*/ 43 h 69"/>
                <a:gd name="T24" fmla="*/ 76 w 109"/>
                <a:gd name="T25" fmla="*/ 50 h 69"/>
                <a:gd name="T26" fmla="*/ 71 w 109"/>
                <a:gd name="T27" fmla="*/ 50 h 69"/>
                <a:gd name="T28" fmla="*/ 64 w 109"/>
                <a:gd name="T29" fmla="*/ 52 h 69"/>
                <a:gd name="T30" fmla="*/ 64 w 109"/>
                <a:gd name="T31" fmla="*/ 57 h 69"/>
                <a:gd name="T32" fmla="*/ 67 w 109"/>
                <a:gd name="T33" fmla="*/ 64 h 69"/>
                <a:gd name="T34" fmla="*/ 59 w 109"/>
                <a:gd name="T35" fmla="*/ 69 h 69"/>
                <a:gd name="T36" fmla="*/ 55 w 109"/>
                <a:gd name="T37" fmla="*/ 64 h 69"/>
                <a:gd name="T38" fmla="*/ 50 w 109"/>
                <a:gd name="T39" fmla="*/ 64 h 69"/>
                <a:gd name="T40" fmla="*/ 45 w 109"/>
                <a:gd name="T41" fmla="*/ 64 h 69"/>
                <a:gd name="T42" fmla="*/ 45 w 109"/>
                <a:gd name="T43" fmla="*/ 60 h 69"/>
                <a:gd name="T44" fmla="*/ 38 w 109"/>
                <a:gd name="T45" fmla="*/ 60 h 69"/>
                <a:gd name="T46" fmla="*/ 33 w 109"/>
                <a:gd name="T47" fmla="*/ 64 h 69"/>
                <a:gd name="T48" fmla="*/ 26 w 109"/>
                <a:gd name="T49" fmla="*/ 64 h 69"/>
                <a:gd name="T50" fmla="*/ 19 w 109"/>
                <a:gd name="T51" fmla="*/ 67 h 69"/>
                <a:gd name="T52" fmla="*/ 12 w 109"/>
                <a:gd name="T53" fmla="*/ 67 h 69"/>
                <a:gd name="T54" fmla="*/ 7 w 109"/>
                <a:gd name="T55" fmla="*/ 62 h 69"/>
                <a:gd name="T56" fmla="*/ 7 w 109"/>
                <a:gd name="T57" fmla="*/ 62 h 69"/>
                <a:gd name="T58" fmla="*/ 12 w 109"/>
                <a:gd name="T59" fmla="*/ 62 h 69"/>
                <a:gd name="T60" fmla="*/ 19 w 109"/>
                <a:gd name="T61" fmla="*/ 60 h 69"/>
                <a:gd name="T62" fmla="*/ 14 w 109"/>
                <a:gd name="T63" fmla="*/ 55 h 69"/>
                <a:gd name="T64" fmla="*/ 10 w 109"/>
                <a:gd name="T65" fmla="*/ 50 h 69"/>
                <a:gd name="T66" fmla="*/ 10 w 109"/>
                <a:gd name="T67" fmla="*/ 45 h 69"/>
                <a:gd name="T68" fmla="*/ 7 w 109"/>
                <a:gd name="T69" fmla="*/ 43 h 69"/>
                <a:gd name="T70" fmla="*/ 7 w 109"/>
                <a:gd name="T71" fmla="*/ 38 h 69"/>
                <a:gd name="T72" fmla="*/ 10 w 109"/>
                <a:gd name="T73" fmla="*/ 31 h 69"/>
                <a:gd name="T74" fmla="*/ 5 w 109"/>
                <a:gd name="T75" fmla="*/ 31 h 69"/>
                <a:gd name="T76" fmla="*/ 0 w 109"/>
                <a:gd name="T77" fmla="*/ 26 h 69"/>
                <a:gd name="T78" fmla="*/ 7 w 109"/>
                <a:gd name="T79" fmla="*/ 22 h 69"/>
                <a:gd name="T80" fmla="*/ 12 w 109"/>
                <a:gd name="T81" fmla="*/ 17 h 69"/>
                <a:gd name="T82" fmla="*/ 22 w 109"/>
                <a:gd name="T83" fmla="*/ 17 h 69"/>
                <a:gd name="T84" fmla="*/ 24 w 109"/>
                <a:gd name="T85" fmla="*/ 19 h 69"/>
                <a:gd name="T86" fmla="*/ 29 w 109"/>
                <a:gd name="T87" fmla="*/ 22 h 69"/>
                <a:gd name="T88" fmla="*/ 33 w 109"/>
                <a:gd name="T89" fmla="*/ 19 h 69"/>
                <a:gd name="T90" fmla="*/ 40 w 109"/>
                <a:gd name="T91" fmla="*/ 22 h 69"/>
                <a:gd name="T92" fmla="*/ 43 w 109"/>
                <a:gd name="T93" fmla="*/ 19 h 69"/>
                <a:gd name="T94" fmla="*/ 50 w 109"/>
                <a:gd name="T95" fmla="*/ 17 h 69"/>
                <a:gd name="T96" fmla="*/ 55 w 109"/>
                <a:gd name="T97" fmla="*/ 12 h 69"/>
                <a:gd name="T98" fmla="*/ 62 w 109"/>
                <a:gd name="T99" fmla="*/ 10 h 69"/>
                <a:gd name="T100" fmla="*/ 69 w 109"/>
                <a:gd name="T101" fmla="*/ 12 h 69"/>
                <a:gd name="T102" fmla="*/ 76 w 109"/>
                <a:gd name="T103" fmla="*/ 7 h 69"/>
                <a:gd name="T104" fmla="*/ 86 w 109"/>
                <a:gd name="T105" fmla="*/ 7 h 69"/>
                <a:gd name="T106" fmla="*/ 88 w 109"/>
                <a:gd name="T107" fmla="*/ 3 h 69"/>
                <a:gd name="T108" fmla="*/ 90 w 109"/>
                <a:gd name="T10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 h="69">
                  <a:moveTo>
                    <a:pt x="97" y="0"/>
                  </a:moveTo>
                  <a:lnTo>
                    <a:pt x="100" y="0"/>
                  </a:lnTo>
                  <a:lnTo>
                    <a:pt x="100" y="3"/>
                  </a:lnTo>
                  <a:lnTo>
                    <a:pt x="97" y="3"/>
                  </a:lnTo>
                  <a:lnTo>
                    <a:pt x="97" y="5"/>
                  </a:lnTo>
                  <a:lnTo>
                    <a:pt x="100" y="7"/>
                  </a:lnTo>
                  <a:lnTo>
                    <a:pt x="102" y="7"/>
                  </a:lnTo>
                  <a:lnTo>
                    <a:pt x="102" y="10"/>
                  </a:lnTo>
                  <a:lnTo>
                    <a:pt x="100" y="10"/>
                  </a:lnTo>
                  <a:lnTo>
                    <a:pt x="100" y="12"/>
                  </a:lnTo>
                  <a:lnTo>
                    <a:pt x="102" y="12"/>
                  </a:lnTo>
                  <a:lnTo>
                    <a:pt x="102" y="14"/>
                  </a:lnTo>
                  <a:lnTo>
                    <a:pt x="105" y="14"/>
                  </a:lnTo>
                  <a:lnTo>
                    <a:pt x="105" y="17"/>
                  </a:lnTo>
                  <a:lnTo>
                    <a:pt x="107" y="17"/>
                  </a:lnTo>
                  <a:lnTo>
                    <a:pt x="107" y="19"/>
                  </a:lnTo>
                  <a:lnTo>
                    <a:pt x="109" y="19"/>
                  </a:lnTo>
                  <a:lnTo>
                    <a:pt x="107" y="19"/>
                  </a:lnTo>
                  <a:lnTo>
                    <a:pt x="105" y="19"/>
                  </a:lnTo>
                  <a:lnTo>
                    <a:pt x="105" y="17"/>
                  </a:lnTo>
                  <a:lnTo>
                    <a:pt x="102" y="17"/>
                  </a:lnTo>
                  <a:lnTo>
                    <a:pt x="100" y="17"/>
                  </a:lnTo>
                  <a:lnTo>
                    <a:pt x="100" y="14"/>
                  </a:lnTo>
                  <a:lnTo>
                    <a:pt x="100" y="17"/>
                  </a:lnTo>
                  <a:lnTo>
                    <a:pt x="97" y="17"/>
                  </a:lnTo>
                  <a:lnTo>
                    <a:pt x="95" y="19"/>
                  </a:lnTo>
                  <a:lnTo>
                    <a:pt x="97" y="19"/>
                  </a:lnTo>
                  <a:lnTo>
                    <a:pt x="97" y="22"/>
                  </a:lnTo>
                  <a:lnTo>
                    <a:pt x="95" y="22"/>
                  </a:lnTo>
                  <a:lnTo>
                    <a:pt x="93" y="22"/>
                  </a:lnTo>
                  <a:lnTo>
                    <a:pt x="90" y="22"/>
                  </a:lnTo>
                  <a:lnTo>
                    <a:pt x="90" y="24"/>
                  </a:lnTo>
                  <a:lnTo>
                    <a:pt x="88" y="24"/>
                  </a:lnTo>
                  <a:lnTo>
                    <a:pt x="88" y="26"/>
                  </a:lnTo>
                  <a:lnTo>
                    <a:pt x="86" y="26"/>
                  </a:lnTo>
                  <a:lnTo>
                    <a:pt x="83" y="29"/>
                  </a:lnTo>
                  <a:lnTo>
                    <a:pt x="81" y="29"/>
                  </a:lnTo>
                  <a:lnTo>
                    <a:pt x="81" y="31"/>
                  </a:lnTo>
                  <a:lnTo>
                    <a:pt x="78" y="31"/>
                  </a:lnTo>
                  <a:lnTo>
                    <a:pt x="76" y="31"/>
                  </a:lnTo>
                  <a:lnTo>
                    <a:pt x="76" y="33"/>
                  </a:lnTo>
                  <a:lnTo>
                    <a:pt x="74" y="33"/>
                  </a:lnTo>
                  <a:lnTo>
                    <a:pt x="74" y="36"/>
                  </a:lnTo>
                  <a:lnTo>
                    <a:pt x="76" y="36"/>
                  </a:lnTo>
                  <a:lnTo>
                    <a:pt x="76" y="38"/>
                  </a:lnTo>
                  <a:lnTo>
                    <a:pt x="78" y="38"/>
                  </a:lnTo>
                  <a:lnTo>
                    <a:pt x="78" y="41"/>
                  </a:lnTo>
                  <a:lnTo>
                    <a:pt x="78" y="43"/>
                  </a:lnTo>
                  <a:lnTo>
                    <a:pt x="78" y="45"/>
                  </a:lnTo>
                  <a:lnTo>
                    <a:pt x="76" y="45"/>
                  </a:lnTo>
                  <a:lnTo>
                    <a:pt x="76" y="48"/>
                  </a:lnTo>
                  <a:lnTo>
                    <a:pt x="76" y="50"/>
                  </a:lnTo>
                  <a:lnTo>
                    <a:pt x="76" y="48"/>
                  </a:lnTo>
                  <a:lnTo>
                    <a:pt x="74" y="48"/>
                  </a:lnTo>
                  <a:lnTo>
                    <a:pt x="71" y="48"/>
                  </a:lnTo>
                  <a:lnTo>
                    <a:pt x="71" y="50"/>
                  </a:lnTo>
                  <a:lnTo>
                    <a:pt x="69" y="50"/>
                  </a:lnTo>
                  <a:lnTo>
                    <a:pt x="67" y="50"/>
                  </a:lnTo>
                  <a:lnTo>
                    <a:pt x="67" y="52"/>
                  </a:lnTo>
                  <a:lnTo>
                    <a:pt x="64" y="52"/>
                  </a:lnTo>
                  <a:lnTo>
                    <a:pt x="64" y="55"/>
                  </a:lnTo>
                  <a:lnTo>
                    <a:pt x="67" y="55"/>
                  </a:lnTo>
                  <a:lnTo>
                    <a:pt x="67" y="57"/>
                  </a:lnTo>
                  <a:lnTo>
                    <a:pt x="64" y="57"/>
                  </a:lnTo>
                  <a:lnTo>
                    <a:pt x="64" y="60"/>
                  </a:lnTo>
                  <a:lnTo>
                    <a:pt x="64" y="62"/>
                  </a:lnTo>
                  <a:lnTo>
                    <a:pt x="64" y="64"/>
                  </a:lnTo>
                  <a:lnTo>
                    <a:pt x="67" y="64"/>
                  </a:lnTo>
                  <a:lnTo>
                    <a:pt x="67" y="67"/>
                  </a:lnTo>
                  <a:lnTo>
                    <a:pt x="64" y="67"/>
                  </a:lnTo>
                  <a:lnTo>
                    <a:pt x="62" y="67"/>
                  </a:lnTo>
                  <a:lnTo>
                    <a:pt x="59" y="69"/>
                  </a:lnTo>
                  <a:lnTo>
                    <a:pt x="59" y="67"/>
                  </a:lnTo>
                  <a:lnTo>
                    <a:pt x="57" y="67"/>
                  </a:lnTo>
                  <a:lnTo>
                    <a:pt x="57" y="64"/>
                  </a:lnTo>
                  <a:lnTo>
                    <a:pt x="55" y="64"/>
                  </a:lnTo>
                  <a:lnTo>
                    <a:pt x="52" y="64"/>
                  </a:lnTo>
                  <a:lnTo>
                    <a:pt x="52" y="62"/>
                  </a:lnTo>
                  <a:lnTo>
                    <a:pt x="52" y="64"/>
                  </a:lnTo>
                  <a:lnTo>
                    <a:pt x="50" y="64"/>
                  </a:lnTo>
                  <a:lnTo>
                    <a:pt x="50" y="67"/>
                  </a:lnTo>
                  <a:lnTo>
                    <a:pt x="48" y="67"/>
                  </a:lnTo>
                  <a:lnTo>
                    <a:pt x="48" y="64"/>
                  </a:lnTo>
                  <a:lnTo>
                    <a:pt x="45" y="64"/>
                  </a:lnTo>
                  <a:lnTo>
                    <a:pt x="45" y="62"/>
                  </a:lnTo>
                  <a:lnTo>
                    <a:pt x="45" y="64"/>
                  </a:lnTo>
                  <a:lnTo>
                    <a:pt x="45" y="62"/>
                  </a:lnTo>
                  <a:lnTo>
                    <a:pt x="45" y="60"/>
                  </a:lnTo>
                  <a:lnTo>
                    <a:pt x="43" y="60"/>
                  </a:lnTo>
                  <a:lnTo>
                    <a:pt x="43" y="57"/>
                  </a:lnTo>
                  <a:lnTo>
                    <a:pt x="40" y="57"/>
                  </a:lnTo>
                  <a:lnTo>
                    <a:pt x="38" y="60"/>
                  </a:lnTo>
                  <a:lnTo>
                    <a:pt x="38" y="62"/>
                  </a:lnTo>
                  <a:lnTo>
                    <a:pt x="38" y="64"/>
                  </a:lnTo>
                  <a:lnTo>
                    <a:pt x="36" y="64"/>
                  </a:lnTo>
                  <a:lnTo>
                    <a:pt x="33" y="64"/>
                  </a:lnTo>
                  <a:lnTo>
                    <a:pt x="31" y="64"/>
                  </a:lnTo>
                  <a:lnTo>
                    <a:pt x="29" y="64"/>
                  </a:lnTo>
                  <a:lnTo>
                    <a:pt x="29" y="67"/>
                  </a:lnTo>
                  <a:lnTo>
                    <a:pt x="26" y="64"/>
                  </a:lnTo>
                  <a:lnTo>
                    <a:pt x="24" y="64"/>
                  </a:lnTo>
                  <a:lnTo>
                    <a:pt x="22" y="64"/>
                  </a:lnTo>
                  <a:lnTo>
                    <a:pt x="22" y="67"/>
                  </a:lnTo>
                  <a:lnTo>
                    <a:pt x="19" y="67"/>
                  </a:lnTo>
                  <a:lnTo>
                    <a:pt x="17" y="67"/>
                  </a:lnTo>
                  <a:lnTo>
                    <a:pt x="17" y="64"/>
                  </a:lnTo>
                  <a:lnTo>
                    <a:pt x="14" y="67"/>
                  </a:lnTo>
                  <a:lnTo>
                    <a:pt x="12" y="67"/>
                  </a:lnTo>
                  <a:lnTo>
                    <a:pt x="10" y="67"/>
                  </a:lnTo>
                  <a:lnTo>
                    <a:pt x="10" y="64"/>
                  </a:lnTo>
                  <a:lnTo>
                    <a:pt x="7" y="64"/>
                  </a:lnTo>
                  <a:lnTo>
                    <a:pt x="7" y="62"/>
                  </a:lnTo>
                  <a:lnTo>
                    <a:pt x="7" y="64"/>
                  </a:lnTo>
                  <a:lnTo>
                    <a:pt x="7" y="62"/>
                  </a:lnTo>
                  <a:lnTo>
                    <a:pt x="7" y="64"/>
                  </a:lnTo>
                  <a:lnTo>
                    <a:pt x="7" y="62"/>
                  </a:lnTo>
                  <a:lnTo>
                    <a:pt x="10" y="62"/>
                  </a:lnTo>
                  <a:lnTo>
                    <a:pt x="7" y="62"/>
                  </a:lnTo>
                  <a:lnTo>
                    <a:pt x="10" y="62"/>
                  </a:lnTo>
                  <a:lnTo>
                    <a:pt x="12" y="62"/>
                  </a:lnTo>
                  <a:lnTo>
                    <a:pt x="12" y="60"/>
                  </a:lnTo>
                  <a:lnTo>
                    <a:pt x="14" y="60"/>
                  </a:lnTo>
                  <a:lnTo>
                    <a:pt x="17" y="60"/>
                  </a:lnTo>
                  <a:lnTo>
                    <a:pt x="19" y="60"/>
                  </a:lnTo>
                  <a:lnTo>
                    <a:pt x="19" y="57"/>
                  </a:lnTo>
                  <a:lnTo>
                    <a:pt x="17" y="57"/>
                  </a:lnTo>
                  <a:lnTo>
                    <a:pt x="17" y="55"/>
                  </a:lnTo>
                  <a:lnTo>
                    <a:pt x="14" y="55"/>
                  </a:lnTo>
                  <a:lnTo>
                    <a:pt x="14" y="52"/>
                  </a:lnTo>
                  <a:lnTo>
                    <a:pt x="12" y="52"/>
                  </a:lnTo>
                  <a:lnTo>
                    <a:pt x="12" y="50"/>
                  </a:lnTo>
                  <a:lnTo>
                    <a:pt x="10" y="50"/>
                  </a:lnTo>
                  <a:lnTo>
                    <a:pt x="7" y="50"/>
                  </a:lnTo>
                  <a:lnTo>
                    <a:pt x="7" y="48"/>
                  </a:lnTo>
                  <a:lnTo>
                    <a:pt x="7" y="45"/>
                  </a:lnTo>
                  <a:lnTo>
                    <a:pt x="10" y="45"/>
                  </a:lnTo>
                  <a:lnTo>
                    <a:pt x="10" y="43"/>
                  </a:lnTo>
                  <a:lnTo>
                    <a:pt x="10" y="41"/>
                  </a:lnTo>
                  <a:lnTo>
                    <a:pt x="7" y="41"/>
                  </a:lnTo>
                  <a:lnTo>
                    <a:pt x="7" y="43"/>
                  </a:lnTo>
                  <a:lnTo>
                    <a:pt x="5" y="43"/>
                  </a:lnTo>
                  <a:lnTo>
                    <a:pt x="5" y="41"/>
                  </a:lnTo>
                  <a:lnTo>
                    <a:pt x="5" y="38"/>
                  </a:lnTo>
                  <a:lnTo>
                    <a:pt x="7" y="38"/>
                  </a:lnTo>
                  <a:lnTo>
                    <a:pt x="7" y="36"/>
                  </a:lnTo>
                  <a:lnTo>
                    <a:pt x="10" y="36"/>
                  </a:lnTo>
                  <a:lnTo>
                    <a:pt x="10" y="33"/>
                  </a:lnTo>
                  <a:lnTo>
                    <a:pt x="10" y="31"/>
                  </a:lnTo>
                  <a:lnTo>
                    <a:pt x="7" y="31"/>
                  </a:lnTo>
                  <a:lnTo>
                    <a:pt x="5" y="31"/>
                  </a:lnTo>
                  <a:lnTo>
                    <a:pt x="3" y="31"/>
                  </a:lnTo>
                  <a:lnTo>
                    <a:pt x="5" y="31"/>
                  </a:lnTo>
                  <a:lnTo>
                    <a:pt x="3" y="31"/>
                  </a:lnTo>
                  <a:lnTo>
                    <a:pt x="3" y="29"/>
                  </a:lnTo>
                  <a:lnTo>
                    <a:pt x="3" y="26"/>
                  </a:lnTo>
                  <a:lnTo>
                    <a:pt x="0" y="26"/>
                  </a:lnTo>
                  <a:lnTo>
                    <a:pt x="3" y="26"/>
                  </a:lnTo>
                  <a:lnTo>
                    <a:pt x="3" y="24"/>
                  </a:lnTo>
                  <a:lnTo>
                    <a:pt x="5" y="24"/>
                  </a:lnTo>
                  <a:lnTo>
                    <a:pt x="7" y="22"/>
                  </a:lnTo>
                  <a:lnTo>
                    <a:pt x="7" y="19"/>
                  </a:lnTo>
                  <a:lnTo>
                    <a:pt x="10" y="19"/>
                  </a:lnTo>
                  <a:lnTo>
                    <a:pt x="12" y="19"/>
                  </a:lnTo>
                  <a:lnTo>
                    <a:pt x="12" y="17"/>
                  </a:lnTo>
                  <a:lnTo>
                    <a:pt x="14" y="17"/>
                  </a:lnTo>
                  <a:lnTo>
                    <a:pt x="17" y="17"/>
                  </a:lnTo>
                  <a:lnTo>
                    <a:pt x="19" y="17"/>
                  </a:lnTo>
                  <a:lnTo>
                    <a:pt x="22" y="17"/>
                  </a:lnTo>
                  <a:lnTo>
                    <a:pt x="22" y="19"/>
                  </a:lnTo>
                  <a:lnTo>
                    <a:pt x="22" y="17"/>
                  </a:lnTo>
                  <a:lnTo>
                    <a:pt x="24" y="17"/>
                  </a:lnTo>
                  <a:lnTo>
                    <a:pt x="24" y="19"/>
                  </a:lnTo>
                  <a:lnTo>
                    <a:pt x="26" y="19"/>
                  </a:lnTo>
                  <a:lnTo>
                    <a:pt x="26" y="22"/>
                  </a:lnTo>
                  <a:lnTo>
                    <a:pt x="29" y="19"/>
                  </a:lnTo>
                  <a:lnTo>
                    <a:pt x="29" y="22"/>
                  </a:lnTo>
                  <a:lnTo>
                    <a:pt x="31" y="19"/>
                  </a:lnTo>
                  <a:lnTo>
                    <a:pt x="31" y="22"/>
                  </a:lnTo>
                  <a:lnTo>
                    <a:pt x="33" y="22"/>
                  </a:lnTo>
                  <a:lnTo>
                    <a:pt x="33" y="19"/>
                  </a:lnTo>
                  <a:lnTo>
                    <a:pt x="36" y="19"/>
                  </a:lnTo>
                  <a:lnTo>
                    <a:pt x="36" y="22"/>
                  </a:lnTo>
                  <a:lnTo>
                    <a:pt x="38" y="22"/>
                  </a:lnTo>
                  <a:lnTo>
                    <a:pt x="40" y="22"/>
                  </a:lnTo>
                  <a:lnTo>
                    <a:pt x="40" y="24"/>
                  </a:lnTo>
                  <a:lnTo>
                    <a:pt x="40" y="22"/>
                  </a:lnTo>
                  <a:lnTo>
                    <a:pt x="40" y="19"/>
                  </a:lnTo>
                  <a:lnTo>
                    <a:pt x="43" y="19"/>
                  </a:lnTo>
                  <a:lnTo>
                    <a:pt x="45" y="19"/>
                  </a:lnTo>
                  <a:lnTo>
                    <a:pt x="45" y="17"/>
                  </a:lnTo>
                  <a:lnTo>
                    <a:pt x="48" y="17"/>
                  </a:lnTo>
                  <a:lnTo>
                    <a:pt x="50" y="17"/>
                  </a:lnTo>
                  <a:lnTo>
                    <a:pt x="50" y="14"/>
                  </a:lnTo>
                  <a:lnTo>
                    <a:pt x="50" y="12"/>
                  </a:lnTo>
                  <a:lnTo>
                    <a:pt x="52" y="12"/>
                  </a:lnTo>
                  <a:lnTo>
                    <a:pt x="55" y="12"/>
                  </a:lnTo>
                  <a:lnTo>
                    <a:pt x="55" y="10"/>
                  </a:lnTo>
                  <a:lnTo>
                    <a:pt x="57" y="10"/>
                  </a:lnTo>
                  <a:lnTo>
                    <a:pt x="59" y="10"/>
                  </a:lnTo>
                  <a:lnTo>
                    <a:pt x="62" y="10"/>
                  </a:lnTo>
                  <a:lnTo>
                    <a:pt x="64" y="10"/>
                  </a:lnTo>
                  <a:lnTo>
                    <a:pt x="67" y="10"/>
                  </a:lnTo>
                  <a:lnTo>
                    <a:pt x="69" y="10"/>
                  </a:lnTo>
                  <a:lnTo>
                    <a:pt x="69" y="12"/>
                  </a:lnTo>
                  <a:lnTo>
                    <a:pt x="71" y="12"/>
                  </a:lnTo>
                  <a:lnTo>
                    <a:pt x="74" y="10"/>
                  </a:lnTo>
                  <a:lnTo>
                    <a:pt x="74" y="7"/>
                  </a:lnTo>
                  <a:lnTo>
                    <a:pt x="76" y="7"/>
                  </a:lnTo>
                  <a:lnTo>
                    <a:pt x="78" y="7"/>
                  </a:lnTo>
                  <a:lnTo>
                    <a:pt x="81" y="7"/>
                  </a:lnTo>
                  <a:lnTo>
                    <a:pt x="83" y="7"/>
                  </a:lnTo>
                  <a:lnTo>
                    <a:pt x="86" y="7"/>
                  </a:lnTo>
                  <a:lnTo>
                    <a:pt x="88" y="10"/>
                  </a:lnTo>
                  <a:lnTo>
                    <a:pt x="88" y="7"/>
                  </a:lnTo>
                  <a:lnTo>
                    <a:pt x="88" y="5"/>
                  </a:lnTo>
                  <a:lnTo>
                    <a:pt x="88" y="3"/>
                  </a:lnTo>
                  <a:lnTo>
                    <a:pt x="88" y="0"/>
                  </a:lnTo>
                  <a:lnTo>
                    <a:pt x="88" y="3"/>
                  </a:lnTo>
                  <a:lnTo>
                    <a:pt x="88" y="0"/>
                  </a:lnTo>
                  <a:lnTo>
                    <a:pt x="90" y="0"/>
                  </a:lnTo>
                  <a:lnTo>
                    <a:pt x="93" y="0"/>
                  </a:lnTo>
                  <a:lnTo>
                    <a:pt x="95" y="0"/>
                  </a:lnTo>
                  <a:lnTo>
                    <a:pt x="97"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7" name="Freeform 56638"/>
            <p:cNvSpPr>
              <a:spLocks/>
            </p:cNvSpPr>
            <p:nvPr/>
          </p:nvSpPr>
          <p:spPr bwMode="auto">
            <a:xfrm>
              <a:off x="2736848" y="5040330"/>
              <a:ext cx="4763"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8" name="Freeform 56639"/>
            <p:cNvSpPr>
              <a:spLocks noEditPoints="1"/>
            </p:cNvSpPr>
            <p:nvPr/>
          </p:nvSpPr>
          <p:spPr bwMode="auto">
            <a:xfrm>
              <a:off x="2624135" y="4037027"/>
              <a:ext cx="403225" cy="174625"/>
            </a:xfrm>
            <a:custGeom>
              <a:avLst/>
              <a:gdLst>
                <a:gd name="T0" fmla="*/ 190 w 254"/>
                <a:gd name="T1" fmla="*/ 50 h 110"/>
                <a:gd name="T2" fmla="*/ 185 w 254"/>
                <a:gd name="T3" fmla="*/ 55 h 110"/>
                <a:gd name="T4" fmla="*/ 185 w 254"/>
                <a:gd name="T5" fmla="*/ 60 h 110"/>
                <a:gd name="T6" fmla="*/ 183 w 254"/>
                <a:gd name="T7" fmla="*/ 65 h 110"/>
                <a:gd name="T8" fmla="*/ 180 w 254"/>
                <a:gd name="T9" fmla="*/ 65 h 110"/>
                <a:gd name="T10" fmla="*/ 183 w 254"/>
                <a:gd name="T11" fmla="*/ 67 h 110"/>
                <a:gd name="T12" fmla="*/ 180 w 254"/>
                <a:gd name="T13" fmla="*/ 72 h 110"/>
                <a:gd name="T14" fmla="*/ 178 w 254"/>
                <a:gd name="T15" fmla="*/ 76 h 110"/>
                <a:gd name="T16" fmla="*/ 176 w 254"/>
                <a:gd name="T17" fmla="*/ 84 h 110"/>
                <a:gd name="T18" fmla="*/ 173 w 254"/>
                <a:gd name="T19" fmla="*/ 93 h 110"/>
                <a:gd name="T20" fmla="*/ 169 w 254"/>
                <a:gd name="T21" fmla="*/ 103 h 110"/>
                <a:gd name="T22" fmla="*/ 164 w 254"/>
                <a:gd name="T23" fmla="*/ 110 h 110"/>
                <a:gd name="T24" fmla="*/ 164 w 254"/>
                <a:gd name="T25" fmla="*/ 105 h 110"/>
                <a:gd name="T26" fmla="*/ 164 w 254"/>
                <a:gd name="T27" fmla="*/ 95 h 110"/>
                <a:gd name="T28" fmla="*/ 166 w 254"/>
                <a:gd name="T29" fmla="*/ 88 h 110"/>
                <a:gd name="T30" fmla="*/ 169 w 254"/>
                <a:gd name="T31" fmla="*/ 84 h 110"/>
                <a:gd name="T32" fmla="*/ 171 w 254"/>
                <a:gd name="T33" fmla="*/ 74 h 110"/>
                <a:gd name="T34" fmla="*/ 178 w 254"/>
                <a:gd name="T35" fmla="*/ 69 h 110"/>
                <a:gd name="T36" fmla="*/ 180 w 254"/>
                <a:gd name="T37" fmla="*/ 60 h 110"/>
                <a:gd name="T38" fmla="*/ 183 w 254"/>
                <a:gd name="T39" fmla="*/ 53 h 110"/>
                <a:gd name="T40" fmla="*/ 244 w 254"/>
                <a:gd name="T41" fmla="*/ 24 h 110"/>
                <a:gd name="T42" fmla="*/ 247 w 254"/>
                <a:gd name="T43" fmla="*/ 19 h 110"/>
                <a:gd name="T44" fmla="*/ 254 w 254"/>
                <a:gd name="T45" fmla="*/ 24 h 110"/>
                <a:gd name="T46" fmla="*/ 249 w 254"/>
                <a:gd name="T47" fmla="*/ 27 h 110"/>
                <a:gd name="T48" fmla="*/ 249 w 254"/>
                <a:gd name="T49" fmla="*/ 29 h 110"/>
                <a:gd name="T50" fmla="*/ 244 w 254"/>
                <a:gd name="T51" fmla="*/ 31 h 110"/>
                <a:gd name="T52" fmla="*/ 244 w 254"/>
                <a:gd name="T53" fmla="*/ 34 h 110"/>
                <a:gd name="T54" fmla="*/ 244 w 254"/>
                <a:gd name="T55" fmla="*/ 41 h 110"/>
                <a:gd name="T56" fmla="*/ 244 w 254"/>
                <a:gd name="T57" fmla="*/ 43 h 110"/>
                <a:gd name="T58" fmla="*/ 244 w 254"/>
                <a:gd name="T59" fmla="*/ 46 h 110"/>
                <a:gd name="T60" fmla="*/ 244 w 254"/>
                <a:gd name="T61" fmla="*/ 48 h 110"/>
                <a:gd name="T62" fmla="*/ 242 w 254"/>
                <a:gd name="T63" fmla="*/ 53 h 110"/>
                <a:gd name="T64" fmla="*/ 242 w 254"/>
                <a:gd name="T65" fmla="*/ 55 h 110"/>
                <a:gd name="T66" fmla="*/ 240 w 254"/>
                <a:gd name="T67" fmla="*/ 55 h 110"/>
                <a:gd name="T68" fmla="*/ 235 w 254"/>
                <a:gd name="T69" fmla="*/ 57 h 110"/>
                <a:gd name="T70" fmla="*/ 230 w 254"/>
                <a:gd name="T71" fmla="*/ 60 h 110"/>
                <a:gd name="T72" fmla="*/ 228 w 254"/>
                <a:gd name="T73" fmla="*/ 65 h 110"/>
                <a:gd name="T74" fmla="*/ 230 w 254"/>
                <a:gd name="T75" fmla="*/ 69 h 110"/>
                <a:gd name="T76" fmla="*/ 225 w 254"/>
                <a:gd name="T77" fmla="*/ 72 h 110"/>
                <a:gd name="T78" fmla="*/ 223 w 254"/>
                <a:gd name="T79" fmla="*/ 67 h 110"/>
                <a:gd name="T80" fmla="*/ 225 w 254"/>
                <a:gd name="T81" fmla="*/ 62 h 110"/>
                <a:gd name="T82" fmla="*/ 223 w 254"/>
                <a:gd name="T83" fmla="*/ 60 h 110"/>
                <a:gd name="T84" fmla="*/ 223 w 254"/>
                <a:gd name="T85" fmla="*/ 53 h 110"/>
                <a:gd name="T86" fmla="*/ 221 w 254"/>
                <a:gd name="T87" fmla="*/ 43 h 110"/>
                <a:gd name="T88" fmla="*/ 225 w 254"/>
                <a:gd name="T89" fmla="*/ 36 h 110"/>
                <a:gd name="T90" fmla="*/ 228 w 254"/>
                <a:gd name="T91" fmla="*/ 31 h 110"/>
                <a:gd name="T92" fmla="*/ 233 w 254"/>
                <a:gd name="T93" fmla="*/ 27 h 110"/>
                <a:gd name="T94" fmla="*/ 240 w 254"/>
                <a:gd name="T95" fmla="*/ 22 h 110"/>
                <a:gd name="T96" fmla="*/ 12 w 254"/>
                <a:gd name="T97" fmla="*/ 3 h 110"/>
                <a:gd name="T98" fmla="*/ 12 w 254"/>
                <a:gd name="T99" fmla="*/ 10 h 110"/>
                <a:gd name="T100" fmla="*/ 12 w 254"/>
                <a:gd name="T101" fmla="*/ 12 h 110"/>
                <a:gd name="T102" fmla="*/ 10 w 254"/>
                <a:gd name="T103" fmla="*/ 17 h 110"/>
                <a:gd name="T104" fmla="*/ 5 w 254"/>
                <a:gd name="T105" fmla="*/ 19 h 110"/>
                <a:gd name="T106" fmla="*/ 5 w 254"/>
                <a:gd name="T107" fmla="*/ 17 h 110"/>
                <a:gd name="T108" fmla="*/ 2 w 254"/>
                <a:gd name="T109" fmla="*/ 17 h 110"/>
                <a:gd name="T110" fmla="*/ 5 w 254"/>
                <a:gd name="T111" fmla="*/ 12 h 110"/>
                <a:gd name="T112" fmla="*/ 7 w 254"/>
                <a:gd name="T113" fmla="*/ 12 h 110"/>
                <a:gd name="T114" fmla="*/ 5 w 254"/>
                <a:gd name="T115" fmla="*/ 10 h 110"/>
                <a:gd name="T116" fmla="*/ 2 w 254"/>
                <a:gd name="T117" fmla="*/ 10 h 110"/>
                <a:gd name="T118" fmla="*/ 0 w 254"/>
                <a:gd name="T119" fmla="*/ 10 h 110"/>
                <a:gd name="T120" fmla="*/ 5 w 254"/>
                <a:gd name="T121" fmla="*/ 3 h 110"/>
                <a:gd name="T122" fmla="*/ 10 w 254"/>
                <a:gd name="T12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 h="110">
                  <a:moveTo>
                    <a:pt x="188" y="48"/>
                  </a:moveTo>
                  <a:lnTo>
                    <a:pt x="188" y="50"/>
                  </a:lnTo>
                  <a:lnTo>
                    <a:pt x="188" y="48"/>
                  </a:lnTo>
                  <a:lnTo>
                    <a:pt x="188" y="50"/>
                  </a:lnTo>
                  <a:lnTo>
                    <a:pt x="190" y="50"/>
                  </a:lnTo>
                  <a:lnTo>
                    <a:pt x="188" y="50"/>
                  </a:lnTo>
                  <a:lnTo>
                    <a:pt x="190" y="50"/>
                  </a:lnTo>
                  <a:lnTo>
                    <a:pt x="190" y="53"/>
                  </a:lnTo>
                  <a:lnTo>
                    <a:pt x="188" y="53"/>
                  </a:lnTo>
                  <a:lnTo>
                    <a:pt x="185" y="55"/>
                  </a:lnTo>
                  <a:lnTo>
                    <a:pt x="188" y="55"/>
                  </a:lnTo>
                  <a:lnTo>
                    <a:pt x="188" y="57"/>
                  </a:lnTo>
                  <a:lnTo>
                    <a:pt x="188" y="60"/>
                  </a:lnTo>
                  <a:lnTo>
                    <a:pt x="188" y="57"/>
                  </a:lnTo>
                  <a:lnTo>
                    <a:pt x="185" y="60"/>
                  </a:lnTo>
                  <a:lnTo>
                    <a:pt x="185" y="62"/>
                  </a:lnTo>
                  <a:lnTo>
                    <a:pt x="183" y="62"/>
                  </a:lnTo>
                  <a:lnTo>
                    <a:pt x="183" y="65"/>
                  </a:lnTo>
                  <a:lnTo>
                    <a:pt x="183" y="67"/>
                  </a:lnTo>
                  <a:lnTo>
                    <a:pt x="183" y="65"/>
                  </a:lnTo>
                  <a:lnTo>
                    <a:pt x="183" y="67"/>
                  </a:lnTo>
                  <a:lnTo>
                    <a:pt x="183" y="65"/>
                  </a:lnTo>
                  <a:lnTo>
                    <a:pt x="180" y="65"/>
                  </a:lnTo>
                  <a:lnTo>
                    <a:pt x="180" y="67"/>
                  </a:lnTo>
                  <a:lnTo>
                    <a:pt x="180" y="65"/>
                  </a:lnTo>
                  <a:lnTo>
                    <a:pt x="183" y="65"/>
                  </a:lnTo>
                  <a:lnTo>
                    <a:pt x="180" y="67"/>
                  </a:lnTo>
                  <a:lnTo>
                    <a:pt x="183" y="67"/>
                  </a:lnTo>
                  <a:lnTo>
                    <a:pt x="180" y="67"/>
                  </a:lnTo>
                  <a:lnTo>
                    <a:pt x="183" y="67"/>
                  </a:lnTo>
                  <a:lnTo>
                    <a:pt x="180" y="67"/>
                  </a:lnTo>
                  <a:lnTo>
                    <a:pt x="183" y="67"/>
                  </a:lnTo>
                  <a:lnTo>
                    <a:pt x="183" y="69"/>
                  </a:lnTo>
                  <a:lnTo>
                    <a:pt x="180" y="69"/>
                  </a:lnTo>
                  <a:lnTo>
                    <a:pt x="180" y="72"/>
                  </a:lnTo>
                  <a:lnTo>
                    <a:pt x="180" y="74"/>
                  </a:lnTo>
                  <a:lnTo>
                    <a:pt x="180" y="76"/>
                  </a:lnTo>
                  <a:lnTo>
                    <a:pt x="178" y="76"/>
                  </a:lnTo>
                  <a:lnTo>
                    <a:pt x="178" y="79"/>
                  </a:lnTo>
                  <a:lnTo>
                    <a:pt x="178" y="76"/>
                  </a:lnTo>
                  <a:lnTo>
                    <a:pt x="178" y="79"/>
                  </a:lnTo>
                  <a:lnTo>
                    <a:pt x="178" y="76"/>
                  </a:lnTo>
                  <a:lnTo>
                    <a:pt x="178" y="79"/>
                  </a:lnTo>
                  <a:lnTo>
                    <a:pt x="176" y="81"/>
                  </a:lnTo>
                  <a:lnTo>
                    <a:pt x="176" y="84"/>
                  </a:lnTo>
                  <a:lnTo>
                    <a:pt x="176" y="86"/>
                  </a:lnTo>
                  <a:lnTo>
                    <a:pt x="176" y="88"/>
                  </a:lnTo>
                  <a:lnTo>
                    <a:pt x="173" y="88"/>
                  </a:lnTo>
                  <a:lnTo>
                    <a:pt x="173" y="91"/>
                  </a:lnTo>
                  <a:lnTo>
                    <a:pt x="173" y="93"/>
                  </a:lnTo>
                  <a:lnTo>
                    <a:pt x="171" y="93"/>
                  </a:lnTo>
                  <a:lnTo>
                    <a:pt x="171" y="95"/>
                  </a:lnTo>
                  <a:lnTo>
                    <a:pt x="171" y="98"/>
                  </a:lnTo>
                  <a:lnTo>
                    <a:pt x="171" y="100"/>
                  </a:lnTo>
                  <a:lnTo>
                    <a:pt x="169" y="103"/>
                  </a:lnTo>
                  <a:lnTo>
                    <a:pt x="169" y="105"/>
                  </a:lnTo>
                  <a:lnTo>
                    <a:pt x="169" y="107"/>
                  </a:lnTo>
                  <a:lnTo>
                    <a:pt x="166" y="107"/>
                  </a:lnTo>
                  <a:lnTo>
                    <a:pt x="166" y="110"/>
                  </a:lnTo>
                  <a:lnTo>
                    <a:pt x="164" y="110"/>
                  </a:lnTo>
                  <a:lnTo>
                    <a:pt x="164" y="107"/>
                  </a:lnTo>
                  <a:lnTo>
                    <a:pt x="164" y="110"/>
                  </a:lnTo>
                  <a:lnTo>
                    <a:pt x="164" y="107"/>
                  </a:lnTo>
                  <a:lnTo>
                    <a:pt x="166" y="105"/>
                  </a:lnTo>
                  <a:lnTo>
                    <a:pt x="164" y="105"/>
                  </a:lnTo>
                  <a:lnTo>
                    <a:pt x="164" y="103"/>
                  </a:lnTo>
                  <a:lnTo>
                    <a:pt x="166" y="100"/>
                  </a:lnTo>
                  <a:lnTo>
                    <a:pt x="164" y="100"/>
                  </a:lnTo>
                  <a:lnTo>
                    <a:pt x="164" y="98"/>
                  </a:lnTo>
                  <a:lnTo>
                    <a:pt x="164" y="95"/>
                  </a:lnTo>
                  <a:lnTo>
                    <a:pt x="164" y="93"/>
                  </a:lnTo>
                  <a:lnTo>
                    <a:pt x="164" y="91"/>
                  </a:lnTo>
                  <a:lnTo>
                    <a:pt x="166" y="88"/>
                  </a:lnTo>
                  <a:lnTo>
                    <a:pt x="164" y="88"/>
                  </a:lnTo>
                  <a:lnTo>
                    <a:pt x="166" y="88"/>
                  </a:lnTo>
                  <a:lnTo>
                    <a:pt x="166" y="86"/>
                  </a:lnTo>
                  <a:lnTo>
                    <a:pt x="166" y="84"/>
                  </a:lnTo>
                  <a:lnTo>
                    <a:pt x="169" y="84"/>
                  </a:lnTo>
                  <a:lnTo>
                    <a:pt x="166" y="84"/>
                  </a:lnTo>
                  <a:lnTo>
                    <a:pt x="169" y="84"/>
                  </a:lnTo>
                  <a:lnTo>
                    <a:pt x="169" y="81"/>
                  </a:lnTo>
                  <a:lnTo>
                    <a:pt x="169" y="79"/>
                  </a:lnTo>
                  <a:lnTo>
                    <a:pt x="171" y="79"/>
                  </a:lnTo>
                  <a:lnTo>
                    <a:pt x="171" y="76"/>
                  </a:lnTo>
                  <a:lnTo>
                    <a:pt x="171" y="74"/>
                  </a:lnTo>
                  <a:lnTo>
                    <a:pt x="173" y="74"/>
                  </a:lnTo>
                  <a:lnTo>
                    <a:pt x="176" y="74"/>
                  </a:lnTo>
                  <a:lnTo>
                    <a:pt x="176" y="72"/>
                  </a:lnTo>
                  <a:lnTo>
                    <a:pt x="176" y="69"/>
                  </a:lnTo>
                  <a:lnTo>
                    <a:pt x="178" y="69"/>
                  </a:lnTo>
                  <a:lnTo>
                    <a:pt x="178" y="67"/>
                  </a:lnTo>
                  <a:lnTo>
                    <a:pt x="178" y="65"/>
                  </a:lnTo>
                  <a:lnTo>
                    <a:pt x="180" y="65"/>
                  </a:lnTo>
                  <a:lnTo>
                    <a:pt x="180" y="62"/>
                  </a:lnTo>
                  <a:lnTo>
                    <a:pt x="180" y="60"/>
                  </a:lnTo>
                  <a:lnTo>
                    <a:pt x="183" y="60"/>
                  </a:lnTo>
                  <a:lnTo>
                    <a:pt x="180" y="57"/>
                  </a:lnTo>
                  <a:lnTo>
                    <a:pt x="183" y="57"/>
                  </a:lnTo>
                  <a:lnTo>
                    <a:pt x="183" y="55"/>
                  </a:lnTo>
                  <a:lnTo>
                    <a:pt x="183" y="53"/>
                  </a:lnTo>
                  <a:lnTo>
                    <a:pt x="185" y="50"/>
                  </a:lnTo>
                  <a:lnTo>
                    <a:pt x="188" y="48"/>
                  </a:lnTo>
                  <a:close/>
                  <a:moveTo>
                    <a:pt x="242" y="19"/>
                  </a:moveTo>
                  <a:lnTo>
                    <a:pt x="242" y="22"/>
                  </a:lnTo>
                  <a:lnTo>
                    <a:pt x="244" y="24"/>
                  </a:lnTo>
                  <a:lnTo>
                    <a:pt x="242" y="24"/>
                  </a:lnTo>
                  <a:lnTo>
                    <a:pt x="244" y="24"/>
                  </a:lnTo>
                  <a:lnTo>
                    <a:pt x="244" y="22"/>
                  </a:lnTo>
                  <a:lnTo>
                    <a:pt x="244" y="19"/>
                  </a:lnTo>
                  <a:lnTo>
                    <a:pt x="247" y="19"/>
                  </a:lnTo>
                  <a:lnTo>
                    <a:pt x="249" y="19"/>
                  </a:lnTo>
                  <a:lnTo>
                    <a:pt x="252" y="19"/>
                  </a:lnTo>
                  <a:lnTo>
                    <a:pt x="252" y="22"/>
                  </a:lnTo>
                  <a:lnTo>
                    <a:pt x="252" y="24"/>
                  </a:lnTo>
                  <a:lnTo>
                    <a:pt x="254" y="24"/>
                  </a:lnTo>
                  <a:lnTo>
                    <a:pt x="254" y="27"/>
                  </a:lnTo>
                  <a:lnTo>
                    <a:pt x="254" y="24"/>
                  </a:lnTo>
                  <a:lnTo>
                    <a:pt x="252" y="24"/>
                  </a:lnTo>
                  <a:lnTo>
                    <a:pt x="252" y="27"/>
                  </a:lnTo>
                  <a:lnTo>
                    <a:pt x="249" y="27"/>
                  </a:lnTo>
                  <a:lnTo>
                    <a:pt x="249" y="29"/>
                  </a:lnTo>
                  <a:lnTo>
                    <a:pt x="249" y="27"/>
                  </a:lnTo>
                  <a:lnTo>
                    <a:pt x="249" y="29"/>
                  </a:lnTo>
                  <a:lnTo>
                    <a:pt x="249" y="31"/>
                  </a:lnTo>
                  <a:lnTo>
                    <a:pt x="249" y="29"/>
                  </a:lnTo>
                  <a:lnTo>
                    <a:pt x="247" y="29"/>
                  </a:lnTo>
                  <a:lnTo>
                    <a:pt x="247" y="31"/>
                  </a:lnTo>
                  <a:lnTo>
                    <a:pt x="247" y="29"/>
                  </a:lnTo>
                  <a:lnTo>
                    <a:pt x="247" y="31"/>
                  </a:lnTo>
                  <a:lnTo>
                    <a:pt x="244" y="31"/>
                  </a:lnTo>
                  <a:lnTo>
                    <a:pt x="244" y="29"/>
                  </a:lnTo>
                  <a:lnTo>
                    <a:pt x="244" y="31"/>
                  </a:lnTo>
                  <a:lnTo>
                    <a:pt x="242" y="31"/>
                  </a:lnTo>
                  <a:lnTo>
                    <a:pt x="244" y="31"/>
                  </a:lnTo>
                  <a:lnTo>
                    <a:pt x="244" y="34"/>
                  </a:lnTo>
                  <a:lnTo>
                    <a:pt x="242" y="34"/>
                  </a:lnTo>
                  <a:lnTo>
                    <a:pt x="242" y="36"/>
                  </a:lnTo>
                  <a:lnTo>
                    <a:pt x="244" y="36"/>
                  </a:lnTo>
                  <a:lnTo>
                    <a:pt x="244" y="38"/>
                  </a:lnTo>
                  <a:lnTo>
                    <a:pt x="244" y="41"/>
                  </a:lnTo>
                  <a:lnTo>
                    <a:pt x="242" y="41"/>
                  </a:lnTo>
                  <a:lnTo>
                    <a:pt x="244" y="41"/>
                  </a:lnTo>
                  <a:lnTo>
                    <a:pt x="242" y="41"/>
                  </a:lnTo>
                  <a:lnTo>
                    <a:pt x="242" y="43"/>
                  </a:lnTo>
                  <a:lnTo>
                    <a:pt x="244" y="43"/>
                  </a:lnTo>
                  <a:lnTo>
                    <a:pt x="242" y="43"/>
                  </a:lnTo>
                  <a:lnTo>
                    <a:pt x="244" y="43"/>
                  </a:lnTo>
                  <a:lnTo>
                    <a:pt x="244" y="46"/>
                  </a:lnTo>
                  <a:lnTo>
                    <a:pt x="244" y="43"/>
                  </a:lnTo>
                  <a:lnTo>
                    <a:pt x="244" y="46"/>
                  </a:lnTo>
                  <a:lnTo>
                    <a:pt x="247" y="46"/>
                  </a:lnTo>
                  <a:lnTo>
                    <a:pt x="249" y="46"/>
                  </a:lnTo>
                  <a:lnTo>
                    <a:pt x="247" y="46"/>
                  </a:lnTo>
                  <a:lnTo>
                    <a:pt x="247" y="48"/>
                  </a:lnTo>
                  <a:lnTo>
                    <a:pt x="244" y="48"/>
                  </a:lnTo>
                  <a:lnTo>
                    <a:pt x="242" y="48"/>
                  </a:lnTo>
                  <a:lnTo>
                    <a:pt x="242" y="50"/>
                  </a:lnTo>
                  <a:lnTo>
                    <a:pt x="240" y="50"/>
                  </a:lnTo>
                  <a:lnTo>
                    <a:pt x="240" y="53"/>
                  </a:lnTo>
                  <a:lnTo>
                    <a:pt x="242" y="53"/>
                  </a:lnTo>
                  <a:lnTo>
                    <a:pt x="242" y="55"/>
                  </a:lnTo>
                  <a:lnTo>
                    <a:pt x="240" y="55"/>
                  </a:lnTo>
                  <a:lnTo>
                    <a:pt x="242" y="55"/>
                  </a:lnTo>
                  <a:lnTo>
                    <a:pt x="240" y="55"/>
                  </a:lnTo>
                  <a:lnTo>
                    <a:pt x="242" y="55"/>
                  </a:lnTo>
                  <a:lnTo>
                    <a:pt x="240" y="55"/>
                  </a:lnTo>
                  <a:lnTo>
                    <a:pt x="240" y="57"/>
                  </a:lnTo>
                  <a:lnTo>
                    <a:pt x="240" y="55"/>
                  </a:lnTo>
                  <a:lnTo>
                    <a:pt x="240" y="57"/>
                  </a:lnTo>
                  <a:lnTo>
                    <a:pt x="240" y="55"/>
                  </a:lnTo>
                  <a:lnTo>
                    <a:pt x="237" y="55"/>
                  </a:lnTo>
                  <a:lnTo>
                    <a:pt x="237" y="57"/>
                  </a:lnTo>
                  <a:lnTo>
                    <a:pt x="237" y="55"/>
                  </a:lnTo>
                  <a:lnTo>
                    <a:pt x="237" y="57"/>
                  </a:lnTo>
                  <a:lnTo>
                    <a:pt x="235" y="57"/>
                  </a:lnTo>
                  <a:lnTo>
                    <a:pt x="237" y="57"/>
                  </a:lnTo>
                  <a:lnTo>
                    <a:pt x="235" y="57"/>
                  </a:lnTo>
                  <a:lnTo>
                    <a:pt x="235" y="60"/>
                  </a:lnTo>
                  <a:lnTo>
                    <a:pt x="233" y="60"/>
                  </a:lnTo>
                  <a:lnTo>
                    <a:pt x="230" y="60"/>
                  </a:lnTo>
                  <a:lnTo>
                    <a:pt x="230" y="62"/>
                  </a:lnTo>
                  <a:lnTo>
                    <a:pt x="233" y="62"/>
                  </a:lnTo>
                  <a:lnTo>
                    <a:pt x="230" y="62"/>
                  </a:lnTo>
                  <a:lnTo>
                    <a:pt x="230" y="65"/>
                  </a:lnTo>
                  <a:lnTo>
                    <a:pt x="228" y="65"/>
                  </a:lnTo>
                  <a:lnTo>
                    <a:pt x="230" y="65"/>
                  </a:lnTo>
                  <a:lnTo>
                    <a:pt x="228" y="65"/>
                  </a:lnTo>
                  <a:lnTo>
                    <a:pt x="228" y="67"/>
                  </a:lnTo>
                  <a:lnTo>
                    <a:pt x="230" y="67"/>
                  </a:lnTo>
                  <a:lnTo>
                    <a:pt x="230" y="69"/>
                  </a:lnTo>
                  <a:lnTo>
                    <a:pt x="230" y="67"/>
                  </a:lnTo>
                  <a:lnTo>
                    <a:pt x="230" y="69"/>
                  </a:lnTo>
                  <a:lnTo>
                    <a:pt x="228" y="69"/>
                  </a:lnTo>
                  <a:lnTo>
                    <a:pt x="228" y="72"/>
                  </a:lnTo>
                  <a:lnTo>
                    <a:pt x="225" y="72"/>
                  </a:lnTo>
                  <a:lnTo>
                    <a:pt x="223" y="72"/>
                  </a:lnTo>
                  <a:lnTo>
                    <a:pt x="221" y="72"/>
                  </a:lnTo>
                  <a:lnTo>
                    <a:pt x="223" y="72"/>
                  </a:lnTo>
                  <a:lnTo>
                    <a:pt x="223" y="69"/>
                  </a:lnTo>
                  <a:lnTo>
                    <a:pt x="223" y="67"/>
                  </a:lnTo>
                  <a:lnTo>
                    <a:pt x="225" y="67"/>
                  </a:lnTo>
                  <a:lnTo>
                    <a:pt x="225" y="65"/>
                  </a:lnTo>
                  <a:lnTo>
                    <a:pt x="228" y="65"/>
                  </a:lnTo>
                  <a:lnTo>
                    <a:pt x="228" y="62"/>
                  </a:lnTo>
                  <a:lnTo>
                    <a:pt x="225" y="62"/>
                  </a:lnTo>
                  <a:lnTo>
                    <a:pt x="225" y="65"/>
                  </a:lnTo>
                  <a:lnTo>
                    <a:pt x="223" y="65"/>
                  </a:lnTo>
                  <a:lnTo>
                    <a:pt x="225" y="62"/>
                  </a:lnTo>
                  <a:lnTo>
                    <a:pt x="225" y="60"/>
                  </a:lnTo>
                  <a:lnTo>
                    <a:pt x="223" y="60"/>
                  </a:lnTo>
                  <a:lnTo>
                    <a:pt x="223" y="57"/>
                  </a:lnTo>
                  <a:lnTo>
                    <a:pt x="223" y="55"/>
                  </a:lnTo>
                  <a:lnTo>
                    <a:pt x="221" y="55"/>
                  </a:lnTo>
                  <a:lnTo>
                    <a:pt x="221" y="53"/>
                  </a:lnTo>
                  <a:lnTo>
                    <a:pt x="223" y="53"/>
                  </a:lnTo>
                  <a:lnTo>
                    <a:pt x="223" y="50"/>
                  </a:lnTo>
                  <a:lnTo>
                    <a:pt x="223" y="48"/>
                  </a:lnTo>
                  <a:lnTo>
                    <a:pt x="223" y="46"/>
                  </a:lnTo>
                  <a:lnTo>
                    <a:pt x="221" y="46"/>
                  </a:lnTo>
                  <a:lnTo>
                    <a:pt x="221" y="43"/>
                  </a:lnTo>
                  <a:lnTo>
                    <a:pt x="221" y="41"/>
                  </a:lnTo>
                  <a:lnTo>
                    <a:pt x="221" y="38"/>
                  </a:lnTo>
                  <a:lnTo>
                    <a:pt x="223" y="38"/>
                  </a:lnTo>
                  <a:lnTo>
                    <a:pt x="223" y="36"/>
                  </a:lnTo>
                  <a:lnTo>
                    <a:pt x="225" y="36"/>
                  </a:lnTo>
                  <a:lnTo>
                    <a:pt x="225" y="34"/>
                  </a:lnTo>
                  <a:lnTo>
                    <a:pt x="228" y="34"/>
                  </a:lnTo>
                  <a:lnTo>
                    <a:pt x="225" y="34"/>
                  </a:lnTo>
                  <a:lnTo>
                    <a:pt x="228" y="34"/>
                  </a:lnTo>
                  <a:lnTo>
                    <a:pt x="228" y="31"/>
                  </a:lnTo>
                  <a:lnTo>
                    <a:pt x="230" y="31"/>
                  </a:lnTo>
                  <a:lnTo>
                    <a:pt x="228" y="31"/>
                  </a:lnTo>
                  <a:lnTo>
                    <a:pt x="230" y="31"/>
                  </a:lnTo>
                  <a:lnTo>
                    <a:pt x="230" y="29"/>
                  </a:lnTo>
                  <a:lnTo>
                    <a:pt x="233" y="27"/>
                  </a:lnTo>
                  <a:lnTo>
                    <a:pt x="233" y="24"/>
                  </a:lnTo>
                  <a:lnTo>
                    <a:pt x="235" y="24"/>
                  </a:lnTo>
                  <a:lnTo>
                    <a:pt x="237" y="24"/>
                  </a:lnTo>
                  <a:lnTo>
                    <a:pt x="237" y="22"/>
                  </a:lnTo>
                  <a:lnTo>
                    <a:pt x="240" y="22"/>
                  </a:lnTo>
                  <a:lnTo>
                    <a:pt x="240" y="19"/>
                  </a:lnTo>
                  <a:lnTo>
                    <a:pt x="242" y="19"/>
                  </a:lnTo>
                  <a:close/>
                  <a:moveTo>
                    <a:pt x="10" y="0"/>
                  </a:moveTo>
                  <a:lnTo>
                    <a:pt x="12" y="0"/>
                  </a:lnTo>
                  <a:lnTo>
                    <a:pt x="12" y="3"/>
                  </a:lnTo>
                  <a:lnTo>
                    <a:pt x="14" y="3"/>
                  </a:lnTo>
                  <a:lnTo>
                    <a:pt x="14" y="5"/>
                  </a:lnTo>
                  <a:lnTo>
                    <a:pt x="14" y="7"/>
                  </a:lnTo>
                  <a:lnTo>
                    <a:pt x="14" y="10"/>
                  </a:lnTo>
                  <a:lnTo>
                    <a:pt x="12" y="10"/>
                  </a:lnTo>
                  <a:lnTo>
                    <a:pt x="10" y="10"/>
                  </a:lnTo>
                  <a:lnTo>
                    <a:pt x="10" y="12"/>
                  </a:lnTo>
                  <a:lnTo>
                    <a:pt x="10" y="10"/>
                  </a:lnTo>
                  <a:lnTo>
                    <a:pt x="10" y="12"/>
                  </a:lnTo>
                  <a:lnTo>
                    <a:pt x="12" y="12"/>
                  </a:lnTo>
                  <a:lnTo>
                    <a:pt x="10" y="12"/>
                  </a:lnTo>
                  <a:lnTo>
                    <a:pt x="12" y="12"/>
                  </a:lnTo>
                  <a:lnTo>
                    <a:pt x="12" y="15"/>
                  </a:lnTo>
                  <a:lnTo>
                    <a:pt x="12" y="17"/>
                  </a:lnTo>
                  <a:lnTo>
                    <a:pt x="10" y="17"/>
                  </a:lnTo>
                  <a:lnTo>
                    <a:pt x="10" y="15"/>
                  </a:lnTo>
                  <a:lnTo>
                    <a:pt x="10" y="17"/>
                  </a:lnTo>
                  <a:lnTo>
                    <a:pt x="7" y="17"/>
                  </a:lnTo>
                  <a:lnTo>
                    <a:pt x="7" y="19"/>
                  </a:lnTo>
                  <a:lnTo>
                    <a:pt x="5" y="19"/>
                  </a:lnTo>
                  <a:lnTo>
                    <a:pt x="5" y="17"/>
                  </a:lnTo>
                  <a:lnTo>
                    <a:pt x="5" y="19"/>
                  </a:lnTo>
                  <a:lnTo>
                    <a:pt x="5" y="17"/>
                  </a:lnTo>
                  <a:lnTo>
                    <a:pt x="2" y="17"/>
                  </a:lnTo>
                  <a:lnTo>
                    <a:pt x="5" y="17"/>
                  </a:lnTo>
                  <a:lnTo>
                    <a:pt x="5" y="15"/>
                  </a:lnTo>
                  <a:lnTo>
                    <a:pt x="5" y="17"/>
                  </a:lnTo>
                  <a:lnTo>
                    <a:pt x="5" y="15"/>
                  </a:lnTo>
                  <a:lnTo>
                    <a:pt x="2" y="15"/>
                  </a:lnTo>
                  <a:lnTo>
                    <a:pt x="2" y="17"/>
                  </a:lnTo>
                  <a:lnTo>
                    <a:pt x="2" y="15"/>
                  </a:lnTo>
                  <a:lnTo>
                    <a:pt x="5" y="15"/>
                  </a:lnTo>
                  <a:lnTo>
                    <a:pt x="2" y="15"/>
                  </a:lnTo>
                  <a:lnTo>
                    <a:pt x="2" y="12"/>
                  </a:lnTo>
                  <a:lnTo>
                    <a:pt x="5" y="12"/>
                  </a:lnTo>
                  <a:lnTo>
                    <a:pt x="7" y="12"/>
                  </a:lnTo>
                  <a:lnTo>
                    <a:pt x="5" y="12"/>
                  </a:lnTo>
                  <a:lnTo>
                    <a:pt x="7" y="12"/>
                  </a:lnTo>
                  <a:lnTo>
                    <a:pt x="10" y="12"/>
                  </a:lnTo>
                  <a:lnTo>
                    <a:pt x="7" y="12"/>
                  </a:lnTo>
                  <a:lnTo>
                    <a:pt x="10" y="12"/>
                  </a:lnTo>
                  <a:lnTo>
                    <a:pt x="7" y="12"/>
                  </a:lnTo>
                  <a:lnTo>
                    <a:pt x="10" y="10"/>
                  </a:lnTo>
                  <a:lnTo>
                    <a:pt x="7" y="10"/>
                  </a:lnTo>
                  <a:lnTo>
                    <a:pt x="5" y="10"/>
                  </a:lnTo>
                  <a:lnTo>
                    <a:pt x="7" y="10"/>
                  </a:lnTo>
                  <a:lnTo>
                    <a:pt x="5" y="10"/>
                  </a:lnTo>
                  <a:lnTo>
                    <a:pt x="5" y="12"/>
                  </a:lnTo>
                  <a:lnTo>
                    <a:pt x="5" y="10"/>
                  </a:lnTo>
                  <a:lnTo>
                    <a:pt x="2" y="10"/>
                  </a:lnTo>
                  <a:lnTo>
                    <a:pt x="2" y="12"/>
                  </a:lnTo>
                  <a:lnTo>
                    <a:pt x="2" y="10"/>
                  </a:lnTo>
                  <a:lnTo>
                    <a:pt x="0" y="10"/>
                  </a:lnTo>
                  <a:lnTo>
                    <a:pt x="0" y="7"/>
                  </a:lnTo>
                  <a:lnTo>
                    <a:pt x="0" y="10"/>
                  </a:lnTo>
                  <a:lnTo>
                    <a:pt x="0" y="7"/>
                  </a:lnTo>
                  <a:lnTo>
                    <a:pt x="2" y="7"/>
                  </a:lnTo>
                  <a:lnTo>
                    <a:pt x="2" y="5"/>
                  </a:lnTo>
                  <a:lnTo>
                    <a:pt x="5" y="5"/>
                  </a:lnTo>
                  <a:lnTo>
                    <a:pt x="5" y="3"/>
                  </a:lnTo>
                  <a:lnTo>
                    <a:pt x="5" y="5"/>
                  </a:lnTo>
                  <a:lnTo>
                    <a:pt x="5" y="3"/>
                  </a:lnTo>
                  <a:lnTo>
                    <a:pt x="7" y="3"/>
                  </a:lnTo>
                  <a:lnTo>
                    <a:pt x="10" y="3"/>
                  </a:lnTo>
                  <a:lnTo>
                    <a:pt x="1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9" name="Freeform 56640"/>
            <p:cNvSpPr>
              <a:spLocks noEditPoints="1"/>
            </p:cNvSpPr>
            <p:nvPr/>
          </p:nvSpPr>
          <p:spPr bwMode="auto">
            <a:xfrm>
              <a:off x="2609847" y="3090875"/>
              <a:ext cx="681037" cy="1187455"/>
            </a:xfrm>
            <a:custGeom>
              <a:avLst/>
              <a:gdLst>
                <a:gd name="T0" fmla="*/ 415 w 429"/>
                <a:gd name="T1" fmla="*/ 188 h 748"/>
                <a:gd name="T2" fmla="*/ 389 w 429"/>
                <a:gd name="T3" fmla="*/ 183 h 748"/>
                <a:gd name="T4" fmla="*/ 382 w 429"/>
                <a:gd name="T5" fmla="*/ 121 h 748"/>
                <a:gd name="T6" fmla="*/ 386 w 429"/>
                <a:gd name="T7" fmla="*/ 162 h 748"/>
                <a:gd name="T8" fmla="*/ 391 w 429"/>
                <a:gd name="T9" fmla="*/ 193 h 748"/>
                <a:gd name="T10" fmla="*/ 370 w 429"/>
                <a:gd name="T11" fmla="*/ 195 h 748"/>
                <a:gd name="T12" fmla="*/ 356 w 429"/>
                <a:gd name="T13" fmla="*/ 200 h 748"/>
                <a:gd name="T14" fmla="*/ 346 w 429"/>
                <a:gd name="T15" fmla="*/ 214 h 748"/>
                <a:gd name="T16" fmla="*/ 337 w 429"/>
                <a:gd name="T17" fmla="*/ 212 h 748"/>
                <a:gd name="T18" fmla="*/ 341 w 429"/>
                <a:gd name="T19" fmla="*/ 231 h 748"/>
                <a:gd name="T20" fmla="*/ 334 w 429"/>
                <a:gd name="T21" fmla="*/ 252 h 748"/>
                <a:gd name="T22" fmla="*/ 341 w 429"/>
                <a:gd name="T23" fmla="*/ 264 h 748"/>
                <a:gd name="T24" fmla="*/ 318 w 429"/>
                <a:gd name="T25" fmla="*/ 297 h 748"/>
                <a:gd name="T26" fmla="*/ 301 w 429"/>
                <a:gd name="T27" fmla="*/ 304 h 748"/>
                <a:gd name="T28" fmla="*/ 277 w 429"/>
                <a:gd name="T29" fmla="*/ 321 h 748"/>
                <a:gd name="T30" fmla="*/ 258 w 429"/>
                <a:gd name="T31" fmla="*/ 330 h 748"/>
                <a:gd name="T32" fmla="*/ 239 w 429"/>
                <a:gd name="T33" fmla="*/ 345 h 748"/>
                <a:gd name="T34" fmla="*/ 230 w 429"/>
                <a:gd name="T35" fmla="*/ 356 h 748"/>
                <a:gd name="T36" fmla="*/ 216 w 429"/>
                <a:gd name="T37" fmla="*/ 335 h 748"/>
                <a:gd name="T38" fmla="*/ 218 w 429"/>
                <a:gd name="T39" fmla="*/ 371 h 748"/>
                <a:gd name="T40" fmla="*/ 216 w 429"/>
                <a:gd name="T41" fmla="*/ 385 h 748"/>
                <a:gd name="T42" fmla="*/ 204 w 429"/>
                <a:gd name="T43" fmla="*/ 409 h 748"/>
                <a:gd name="T44" fmla="*/ 199 w 429"/>
                <a:gd name="T45" fmla="*/ 421 h 748"/>
                <a:gd name="T46" fmla="*/ 201 w 429"/>
                <a:gd name="T47" fmla="*/ 437 h 748"/>
                <a:gd name="T48" fmla="*/ 201 w 429"/>
                <a:gd name="T49" fmla="*/ 463 h 748"/>
                <a:gd name="T50" fmla="*/ 216 w 429"/>
                <a:gd name="T51" fmla="*/ 480 h 748"/>
                <a:gd name="T52" fmla="*/ 234 w 429"/>
                <a:gd name="T53" fmla="*/ 485 h 748"/>
                <a:gd name="T54" fmla="*/ 246 w 429"/>
                <a:gd name="T55" fmla="*/ 499 h 748"/>
                <a:gd name="T56" fmla="*/ 256 w 429"/>
                <a:gd name="T57" fmla="*/ 511 h 748"/>
                <a:gd name="T58" fmla="*/ 242 w 429"/>
                <a:gd name="T59" fmla="*/ 535 h 748"/>
                <a:gd name="T60" fmla="*/ 244 w 429"/>
                <a:gd name="T61" fmla="*/ 539 h 748"/>
                <a:gd name="T62" fmla="*/ 244 w 429"/>
                <a:gd name="T63" fmla="*/ 546 h 748"/>
                <a:gd name="T64" fmla="*/ 227 w 429"/>
                <a:gd name="T65" fmla="*/ 558 h 748"/>
                <a:gd name="T66" fmla="*/ 218 w 429"/>
                <a:gd name="T67" fmla="*/ 558 h 748"/>
                <a:gd name="T68" fmla="*/ 213 w 429"/>
                <a:gd name="T69" fmla="*/ 563 h 748"/>
                <a:gd name="T70" fmla="*/ 199 w 429"/>
                <a:gd name="T71" fmla="*/ 575 h 748"/>
                <a:gd name="T72" fmla="*/ 189 w 429"/>
                <a:gd name="T73" fmla="*/ 582 h 748"/>
                <a:gd name="T74" fmla="*/ 185 w 429"/>
                <a:gd name="T75" fmla="*/ 596 h 748"/>
                <a:gd name="T76" fmla="*/ 185 w 429"/>
                <a:gd name="T77" fmla="*/ 611 h 748"/>
                <a:gd name="T78" fmla="*/ 180 w 429"/>
                <a:gd name="T79" fmla="*/ 615 h 748"/>
                <a:gd name="T80" fmla="*/ 185 w 429"/>
                <a:gd name="T81" fmla="*/ 630 h 748"/>
                <a:gd name="T82" fmla="*/ 180 w 429"/>
                <a:gd name="T83" fmla="*/ 644 h 748"/>
                <a:gd name="T84" fmla="*/ 175 w 429"/>
                <a:gd name="T85" fmla="*/ 675 h 748"/>
                <a:gd name="T86" fmla="*/ 156 w 429"/>
                <a:gd name="T87" fmla="*/ 708 h 748"/>
                <a:gd name="T88" fmla="*/ 132 w 429"/>
                <a:gd name="T89" fmla="*/ 706 h 748"/>
                <a:gd name="T90" fmla="*/ 113 w 429"/>
                <a:gd name="T91" fmla="*/ 713 h 748"/>
                <a:gd name="T92" fmla="*/ 73 w 429"/>
                <a:gd name="T93" fmla="*/ 748 h 748"/>
                <a:gd name="T94" fmla="*/ 49 w 429"/>
                <a:gd name="T95" fmla="*/ 708 h 748"/>
                <a:gd name="T96" fmla="*/ 38 w 429"/>
                <a:gd name="T97" fmla="*/ 663 h 748"/>
                <a:gd name="T98" fmla="*/ 28 w 429"/>
                <a:gd name="T99" fmla="*/ 644 h 748"/>
                <a:gd name="T100" fmla="*/ 28 w 429"/>
                <a:gd name="T101" fmla="*/ 620 h 748"/>
                <a:gd name="T102" fmla="*/ 19 w 429"/>
                <a:gd name="T103" fmla="*/ 594 h 748"/>
                <a:gd name="T104" fmla="*/ 11 w 429"/>
                <a:gd name="T105" fmla="*/ 592 h 748"/>
                <a:gd name="T106" fmla="*/ 4 w 429"/>
                <a:gd name="T107" fmla="*/ 584 h 748"/>
                <a:gd name="T108" fmla="*/ 4 w 429"/>
                <a:gd name="T109" fmla="*/ 558 h 748"/>
                <a:gd name="T110" fmla="*/ 23 w 429"/>
                <a:gd name="T111" fmla="*/ 516 h 748"/>
                <a:gd name="T112" fmla="*/ 33 w 429"/>
                <a:gd name="T113" fmla="*/ 411 h 748"/>
                <a:gd name="T114" fmla="*/ 92 w 429"/>
                <a:gd name="T115" fmla="*/ 242 h 748"/>
                <a:gd name="T116" fmla="*/ 218 w 429"/>
                <a:gd name="T117" fmla="*/ 62 h 748"/>
                <a:gd name="T118" fmla="*/ 341 w 429"/>
                <a:gd name="T119" fmla="*/ 24 h 748"/>
                <a:gd name="T120" fmla="*/ 412 w 429"/>
                <a:gd name="T121" fmla="*/ 67 h 748"/>
                <a:gd name="T122" fmla="*/ 422 w 429"/>
                <a:gd name="T123" fmla="*/ 128 h 748"/>
                <a:gd name="T124" fmla="*/ 204 w 429"/>
                <a:gd name="T125" fmla="*/ 385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748">
                  <a:moveTo>
                    <a:pt x="223" y="568"/>
                  </a:moveTo>
                  <a:lnTo>
                    <a:pt x="225" y="568"/>
                  </a:lnTo>
                  <a:lnTo>
                    <a:pt x="223" y="568"/>
                  </a:lnTo>
                  <a:close/>
                  <a:moveTo>
                    <a:pt x="237" y="537"/>
                  </a:moveTo>
                  <a:lnTo>
                    <a:pt x="239" y="537"/>
                  </a:lnTo>
                  <a:lnTo>
                    <a:pt x="239" y="539"/>
                  </a:lnTo>
                  <a:lnTo>
                    <a:pt x="237" y="539"/>
                  </a:lnTo>
                  <a:lnTo>
                    <a:pt x="237" y="537"/>
                  </a:lnTo>
                  <a:close/>
                  <a:moveTo>
                    <a:pt x="230" y="361"/>
                  </a:moveTo>
                  <a:lnTo>
                    <a:pt x="232" y="361"/>
                  </a:lnTo>
                  <a:lnTo>
                    <a:pt x="230" y="361"/>
                  </a:lnTo>
                  <a:lnTo>
                    <a:pt x="227" y="364"/>
                  </a:lnTo>
                  <a:lnTo>
                    <a:pt x="227" y="361"/>
                  </a:lnTo>
                  <a:lnTo>
                    <a:pt x="227" y="359"/>
                  </a:lnTo>
                  <a:lnTo>
                    <a:pt x="230" y="359"/>
                  </a:lnTo>
                  <a:lnTo>
                    <a:pt x="232" y="359"/>
                  </a:lnTo>
                  <a:lnTo>
                    <a:pt x="232" y="361"/>
                  </a:lnTo>
                  <a:lnTo>
                    <a:pt x="230" y="361"/>
                  </a:lnTo>
                  <a:close/>
                  <a:moveTo>
                    <a:pt x="429" y="193"/>
                  </a:moveTo>
                  <a:lnTo>
                    <a:pt x="429" y="195"/>
                  </a:lnTo>
                  <a:lnTo>
                    <a:pt x="429" y="193"/>
                  </a:lnTo>
                  <a:close/>
                  <a:moveTo>
                    <a:pt x="427" y="188"/>
                  </a:moveTo>
                  <a:lnTo>
                    <a:pt x="424" y="188"/>
                  </a:lnTo>
                  <a:lnTo>
                    <a:pt x="427" y="188"/>
                  </a:lnTo>
                  <a:lnTo>
                    <a:pt x="427" y="190"/>
                  </a:lnTo>
                  <a:lnTo>
                    <a:pt x="424" y="190"/>
                  </a:lnTo>
                  <a:lnTo>
                    <a:pt x="427" y="190"/>
                  </a:lnTo>
                  <a:lnTo>
                    <a:pt x="427" y="188"/>
                  </a:lnTo>
                  <a:lnTo>
                    <a:pt x="424" y="188"/>
                  </a:lnTo>
                  <a:lnTo>
                    <a:pt x="424" y="190"/>
                  </a:lnTo>
                  <a:lnTo>
                    <a:pt x="424" y="188"/>
                  </a:lnTo>
                  <a:lnTo>
                    <a:pt x="424" y="190"/>
                  </a:lnTo>
                  <a:lnTo>
                    <a:pt x="422" y="190"/>
                  </a:lnTo>
                  <a:lnTo>
                    <a:pt x="422" y="188"/>
                  </a:lnTo>
                  <a:lnTo>
                    <a:pt x="422" y="190"/>
                  </a:lnTo>
                  <a:lnTo>
                    <a:pt x="422" y="188"/>
                  </a:lnTo>
                  <a:lnTo>
                    <a:pt x="422" y="190"/>
                  </a:lnTo>
                  <a:lnTo>
                    <a:pt x="420" y="190"/>
                  </a:lnTo>
                  <a:lnTo>
                    <a:pt x="420" y="188"/>
                  </a:lnTo>
                  <a:lnTo>
                    <a:pt x="420" y="190"/>
                  </a:lnTo>
                  <a:lnTo>
                    <a:pt x="417" y="190"/>
                  </a:lnTo>
                  <a:lnTo>
                    <a:pt x="420" y="190"/>
                  </a:lnTo>
                  <a:lnTo>
                    <a:pt x="417" y="190"/>
                  </a:lnTo>
                  <a:lnTo>
                    <a:pt x="420" y="190"/>
                  </a:lnTo>
                  <a:lnTo>
                    <a:pt x="417" y="190"/>
                  </a:lnTo>
                  <a:lnTo>
                    <a:pt x="417" y="188"/>
                  </a:lnTo>
                  <a:lnTo>
                    <a:pt x="415" y="188"/>
                  </a:lnTo>
                  <a:lnTo>
                    <a:pt x="415" y="185"/>
                  </a:lnTo>
                  <a:lnTo>
                    <a:pt x="415" y="188"/>
                  </a:lnTo>
                  <a:lnTo>
                    <a:pt x="412" y="188"/>
                  </a:lnTo>
                  <a:lnTo>
                    <a:pt x="415" y="188"/>
                  </a:lnTo>
                  <a:lnTo>
                    <a:pt x="412" y="188"/>
                  </a:lnTo>
                  <a:lnTo>
                    <a:pt x="412" y="190"/>
                  </a:lnTo>
                  <a:lnTo>
                    <a:pt x="412" y="188"/>
                  </a:lnTo>
                  <a:lnTo>
                    <a:pt x="412" y="190"/>
                  </a:lnTo>
                  <a:lnTo>
                    <a:pt x="412" y="188"/>
                  </a:lnTo>
                  <a:lnTo>
                    <a:pt x="410" y="188"/>
                  </a:lnTo>
                  <a:lnTo>
                    <a:pt x="412" y="188"/>
                  </a:lnTo>
                  <a:lnTo>
                    <a:pt x="412" y="190"/>
                  </a:lnTo>
                  <a:lnTo>
                    <a:pt x="410" y="190"/>
                  </a:lnTo>
                  <a:lnTo>
                    <a:pt x="410" y="188"/>
                  </a:lnTo>
                  <a:lnTo>
                    <a:pt x="408" y="188"/>
                  </a:lnTo>
                  <a:lnTo>
                    <a:pt x="408" y="185"/>
                  </a:lnTo>
                  <a:lnTo>
                    <a:pt x="408" y="188"/>
                  </a:lnTo>
                  <a:lnTo>
                    <a:pt x="408" y="185"/>
                  </a:lnTo>
                  <a:lnTo>
                    <a:pt x="405" y="188"/>
                  </a:lnTo>
                  <a:lnTo>
                    <a:pt x="408" y="188"/>
                  </a:lnTo>
                  <a:lnTo>
                    <a:pt x="405" y="188"/>
                  </a:lnTo>
                  <a:lnTo>
                    <a:pt x="408" y="188"/>
                  </a:lnTo>
                  <a:lnTo>
                    <a:pt x="405" y="188"/>
                  </a:lnTo>
                  <a:lnTo>
                    <a:pt x="405" y="190"/>
                  </a:lnTo>
                  <a:lnTo>
                    <a:pt x="405" y="193"/>
                  </a:lnTo>
                  <a:lnTo>
                    <a:pt x="403" y="193"/>
                  </a:lnTo>
                  <a:lnTo>
                    <a:pt x="403" y="190"/>
                  </a:lnTo>
                  <a:lnTo>
                    <a:pt x="403" y="193"/>
                  </a:lnTo>
                  <a:lnTo>
                    <a:pt x="403" y="190"/>
                  </a:lnTo>
                  <a:lnTo>
                    <a:pt x="405" y="190"/>
                  </a:lnTo>
                  <a:lnTo>
                    <a:pt x="403" y="190"/>
                  </a:lnTo>
                  <a:lnTo>
                    <a:pt x="405" y="190"/>
                  </a:lnTo>
                  <a:lnTo>
                    <a:pt x="403" y="190"/>
                  </a:lnTo>
                  <a:lnTo>
                    <a:pt x="403" y="188"/>
                  </a:lnTo>
                  <a:lnTo>
                    <a:pt x="403" y="190"/>
                  </a:lnTo>
                  <a:lnTo>
                    <a:pt x="403" y="188"/>
                  </a:lnTo>
                  <a:lnTo>
                    <a:pt x="401" y="190"/>
                  </a:lnTo>
                  <a:lnTo>
                    <a:pt x="401" y="188"/>
                  </a:lnTo>
                  <a:lnTo>
                    <a:pt x="401" y="190"/>
                  </a:lnTo>
                  <a:lnTo>
                    <a:pt x="401" y="188"/>
                  </a:lnTo>
                  <a:lnTo>
                    <a:pt x="398" y="188"/>
                  </a:lnTo>
                  <a:lnTo>
                    <a:pt x="398" y="185"/>
                  </a:lnTo>
                  <a:lnTo>
                    <a:pt x="396" y="185"/>
                  </a:lnTo>
                  <a:lnTo>
                    <a:pt x="393" y="185"/>
                  </a:lnTo>
                  <a:lnTo>
                    <a:pt x="393" y="183"/>
                  </a:lnTo>
                  <a:lnTo>
                    <a:pt x="393" y="185"/>
                  </a:lnTo>
                  <a:lnTo>
                    <a:pt x="391" y="185"/>
                  </a:lnTo>
                  <a:lnTo>
                    <a:pt x="391" y="183"/>
                  </a:lnTo>
                  <a:lnTo>
                    <a:pt x="389" y="183"/>
                  </a:lnTo>
                  <a:lnTo>
                    <a:pt x="389" y="181"/>
                  </a:lnTo>
                  <a:lnTo>
                    <a:pt x="389" y="183"/>
                  </a:lnTo>
                  <a:lnTo>
                    <a:pt x="389" y="181"/>
                  </a:lnTo>
                  <a:lnTo>
                    <a:pt x="386" y="181"/>
                  </a:lnTo>
                  <a:lnTo>
                    <a:pt x="386" y="178"/>
                  </a:lnTo>
                  <a:lnTo>
                    <a:pt x="386" y="176"/>
                  </a:lnTo>
                  <a:lnTo>
                    <a:pt x="384" y="173"/>
                  </a:lnTo>
                  <a:lnTo>
                    <a:pt x="382" y="173"/>
                  </a:lnTo>
                  <a:lnTo>
                    <a:pt x="384" y="173"/>
                  </a:lnTo>
                  <a:lnTo>
                    <a:pt x="384" y="171"/>
                  </a:lnTo>
                  <a:lnTo>
                    <a:pt x="386" y="171"/>
                  </a:lnTo>
                  <a:lnTo>
                    <a:pt x="384" y="171"/>
                  </a:lnTo>
                  <a:lnTo>
                    <a:pt x="384" y="169"/>
                  </a:lnTo>
                  <a:lnTo>
                    <a:pt x="386" y="169"/>
                  </a:lnTo>
                  <a:lnTo>
                    <a:pt x="386" y="171"/>
                  </a:lnTo>
                  <a:lnTo>
                    <a:pt x="386" y="169"/>
                  </a:lnTo>
                  <a:lnTo>
                    <a:pt x="386" y="166"/>
                  </a:lnTo>
                  <a:lnTo>
                    <a:pt x="386" y="164"/>
                  </a:lnTo>
                  <a:lnTo>
                    <a:pt x="386" y="166"/>
                  </a:lnTo>
                  <a:lnTo>
                    <a:pt x="386" y="164"/>
                  </a:lnTo>
                  <a:lnTo>
                    <a:pt x="386" y="162"/>
                  </a:lnTo>
                  <a:lnTo>
                    <a:pt x="386" y="159"/>
                  </a:lnTo>
                  <a:lnTo>
                    <a:pt x="389" y="159"/>
                  </a:lnTo>
                  <a:lnTo>
                    <a:pt x="389" y="162"/>
                  </a:lnTo>
                  <a:lnTo>
                    <a:pt x="389" y="164"/>
                  </a:lnTo>
                  <a:lnTo>
                    <a:pt x="389" y="162"/>
                  </a:lnTo>
                  <a:lnTo>
                    <a:pt x="389" y="164"/>
                  </a:lnTo>
                  <a:lnTo>
                    <a:pt x="389" y="162"/>
                  </a:lnTo>
                  <a:lnTo>
                    <a:pt x="389" y="159"/>
                  </a:lnTo>
                  <a:lnTo>
                    <a:pt x="389" y="157"/>
                  </a:lnTo>
                  <a:lnTo>
                    <a:pt x="389" y="159"/>
                  </a:lnTo>
                  <a:lnTo>
                    <a:pt x="386" y="159"/>
                  </a:lnTo>
                  <a:lnTo>
                    <a:pt x="386" y="157"/>
                  </a:lnTo>
                  <a:lnTo>
                    <a:pt x="386" y="154"/>
                  </a:lnTo>
                  <a:lnTo>
                    <a:pt x="384" y="154"/>
                  </a:lnTo>
                  <a:lnTo>
                    <a:pt x="384" y="152"/>
                  </a:lnTo>
                  <a:lnTo>
                    <a:pt x="384" y="150"/>
                  </a:lnTo>
                  <a:lnTo>
                    <a:pt x="384" y="147"/>
                  </a:lnTo>
                  <a:lnTo>
                    <a:pt x="384" y="145"/>
                  </a:lnTo>
                  <a:lnTo>
                    <a:pt x="384" y="143"/>
                  </a:lnTo>
                  <a:lnTo>
                    <a:pt x="382" y="143"/>
                  </a:lnTo>
                  <a:lnTo>
                    <a:pt x="382" y="140"/>
                  </a:lnTo>
                  <a:lnTo>
                    <a:pt x="382" y="138"/>
                  </a:lnTo>
                  <a:lnTo>
                    <a:pt x="382" y="135"/>
                  </a:lnTo>
                  <a:lnTo>
                    <a:pt x="382" y="133"/>
                  </a:lnTo>
                  <a:lnTo>
                    <a:pt x="384" y="131"/>
                  </a:lnTo>
                  <a:lnTo>
                    <a:pt x="384" y="128"/>
                  </a:lnTo>
                  <a:lnTo>
                    <a:pt x="384" y="126"/>
                  </a:lnTo>
                  <a:lnTo>
                    <a:pt x="384" y="124"/>
                  </a:lnTo>
                  <a:lnTo>
                    <a:pt x="382" y="124"/>
                  </a:lnTo>
                  <a:lnTo>
                    <a:pt x="382" y="121"/>
                  </a:lnTo>
                  <a:lnTo>
                    <a:pt x="379" y="121"/>
                  </a:lnTo>
                  <a:lnTo>
                    <a:pt x="379" y="119"/>
                  </a:lnTo>
                  <a:lnTo>
                    <a:pt x="377" y="119"/>
                  </a:lnTo>
                  <a:lnTo>
                    <a:pt x="377" y="116"/>
                  </a:lnTo>
                  <a:lnTo>
                    <a:pt x="374" y="116"/>
                  </a:lnTo>
                  <a:lnTo>
                    <a:pt x="377" y="116"/>
                  </a:lnTo>
                  <a:lnTo>
                    <a:pt x="377" y="119"/>
                  </a:lnTo>
                  <a:lnTo>
                    <a:pt x="379" y="119"/>
                  </a:lnTo>
                  <a:lnTo>
                    <a:pt x="379" y="121"/>
                  </a:lnTo>
                  <a:lnTo>
                    <a:pt x="382" y="121"/>
                  </a:lnTo>
                  <a:lnTo>
                    <a:pt x="382" y="124"/>
                  </a:lnTo>
                  <a:lnTo>
                    <a:pt x="384" y="124"/>
                  </a:lnTo>
                  <a:lnTo>
                    <a:pt x="384" y="126"/>
                  </a:lnTo>
                  <a:lnTo>
                    <a:pt x="384" y="128"/>
                  </a:lnTo>
                  <a:lnTo>
                    <a:pt x="384" y="131"/>
                  </a:lnTo>
                  <a:lnTo>
                    <a:pt x="382" y="133"/>
                  </a:lnTo>
                  <a:lnTo>
                    <a:pt x="382" y="135"/>
                  </a:lnTo>
                  <a:lnTo>
                    <a:pt x="382" y="138"/>
                  </a:lnTo>
                  <a:lnTo>
                    <a:pt x="382" y="140"/>
                  </a:lnTo>
                  <a:lnTo>
                    <a:pt x="382" y="143"/>
                  </a:lnTo>
                  <a:lnTo>
                    <a:pt x="384" y="143"/>
                  </a:lnTo>
                  <a:lnTo>
                    <a:pt x="384" y="145"/>
                  </a:lnTo>
                  <a:lnTo>
                    <a:pt x="384" y="147"/>
                  </a:lnTo>
                  <a:lnTo>
                    <a:pt x="384" y="150"/>
                  </a:lnTo>
                  <a:lnTo>
                    <a:pt x="384" y="152"/>
                  </a:lnTo>
                  <a:lnTo>
                    <a:pt x="384" y="154"/>
                  </a:lnTo>
                  <a:lnTo>
                    <a:pt x="386" y="154"/>
                  </a:lnTo>
                  <a:lnTo>
                    <a:pt x="384" y="154"/>
                  </a:lnTo>
                  <a:lnTo>
                    <a:pt x="386" y="154"/>
                  </a:lnTo>
                  <a:lnTo>
                    <a:pt x="386" y="157"/>
                  </a:lnTo>
                  <a:lnTo>
                    <a:pt x="386" y="159"/>
                  </a:lnTo>
                  <a:lnTo>
                    <a:pt x="384" y="157"/>
                  </a:lnTo>
                  <a:lnTo>
                    <a:pt x="382" y="157"/>
                  </a:lnTo>
                  <a:lnTo>
                    <a:pt x="382" y="154"/>
                  </a:lnTo>
                  <a:lnTo>
                    <a:pt x="382" y="152"/>
                  </a:lnTo>
                  <a:lnTo>
                    <a:pt x="379" y="152"/>
                  </a:lnTo>
                  <a:lnTo>
                    <a:pt x="382" y="152"/>
                  </a:lnTo>
                  <a:lnTo>
                    <a:pt x="379" y="152"/>
                  </a:lnTo>
                  <a:lnTo>
                    <a:pt x="379" y="150"/>
                  </a:lnTo>
                  <a:lnTo>
                    <a:pt x="377" y="147"/>
                  </a:lnTo>
                  <a:lnTo>
                    <a:pt x="379" y="150"/>
                  </a:lnTo>
                  <a:lnTo>
                    <a:pt x="379" y="152"/>
                  </a:lnTo>
                  <a:lnTo>
                    <a:pt x="382" y="152"/>
                  </a:lnTo>
                  <a:lnTo>
                    <a:pt x="382" y="154"/>
                  </a:lnTo>
                  <a:lnTo>
                    <a:pt x="382" y="157"/>
                  </a:lnTo>
                  <a:lnTo>
                    <a:pt x="384" y="157"/>
                  </a:lnTo>
                  <a:lnTo>
                    <a:pt x="384" y="159"/>
                  </a:lnTo>
                  <a:lnTo>
                    <a:pt x="386" y="159"/>
                  </a:lnTo>
                  <a:lnTo>
                    <a:pt x="386" y="162"/>
                  </a:lnTo>
                  <a:lnTo>
                    <a:pt x="386" y="164"/>
                  </a:lnTo>
                  <a:lnTo>
                    <a:pt x="386" y="166"/>
                  </a:lnTo>
                  <a:lnTo>
                    <a:pt x="384" y="166"/>
                  </a:lnTo>
                  <a:lnTo>
                    <a:pt x="386" y="166"/>
                  </a:lnTo>
                  <a:lnTo>
                    <a:pt x="384" y="166"/>
                  </a:lnTo>
                  <a:lnTo>
                    <a:pt x="386" y="166"/>
                  </a:lnTo>
                  <a:lnTo>
                    <a:pt x="386" y="169"/>
                  </a:lnTo>
                  <a:lnTo>
                    <a:pt x="386" y="166"/>
                  </a:lnTo>
                  <a:lnTo>
                    <a:pt x="386" y="169"/>
                  </a:lnTo>
                  <a:lnTo>
                    <a:pt x="384" y="169"/>
                  </a:lnTo>
                  <a:lnTo>
                    <a:pt x="384" y="171"/>
                  </a:lnTo>
                  <a:lnTo>
                    <a:pt x="382" y="171"/>
                  </a:lnTo>
                  <a:lnTo>
                    <a:pt x="384" y="171"/>
                  </a:lnTo>
                  <a:lnTo>
                    <a:pt x="382" y="171"/>
                  </a:lnTo>
                  <a:lnTo>
                    <a:pt x="384" y="171"/>
                  </a:lnTo>
                  <a:lnTo>
                    <a:pt x="382" y="171"/>
                  </a:lnTo>
                  <a:lnTo>
                    <a:pt x="384" y="171"/>
                  </a:lnTo>
                  <a:lnTo>
                    <a:pt x="384" y="173"/>
                  </a:lnTo>
                  <a:lnTo>
                    <a:pt x="382" y="173"/>
                  </a:lnTo>
                  <a:lnTo>
                    <a:pt x="384" y="173"/>
                  </a:lnTo>
                  <a:lnTo>
                    <a:pt x="384" y="176"/>
                  </a:lnTo>
                  <a:lnTo>
                    <a:pt x="386" y="176"/>
                  </a:lnTo>
                  <a:lnTo>
                    <a:pt x="386" y="178"/>
                  </a:lnTo>
                  <a:lnTo>
                    <a:pt x="386" y="181"/>
                  </a:lnTo>
                  <a:lnTo>
                    <a:pt x="389" y="181"/>
                  </a:lnTo>
                  <a:lnTo>
                    <a:pt x="389" y="183"/>
                  </a:lnTo>
                  <a:lnTo>
                    <a:pt x="391" y="183"/>
                  </a:lnTo>
                  <a:lnTo>
                    <a:pt x="391" y="185"/>
                  </a:lnTo>
                  <a:lnTo>
                    <a:pt x="393" y="185"/>
                  </a:lnTo>
                  <a:lnTo>
                    <a:pt x="396" y="185"/>
                  </a:lnTo>
                  <a:lnTo>
                    <a:pt x="396" y="188"/>
                  </a:lnTo>
                  <a:lnTo>
                    <a:pt x="398" y="188"/>
                  </a:lnTo>
                  <a:lnTo>
                    <a:pt x="398" y="190"/>
                  </a:lnTo>
                  <a:lnTo>
                    <a:pt x="396" y="190"/>
                  </a:lnTo>
                  <a:lnTo>
                    <a:pt x="398" y="190"/>
                  </a:lnTo>
                  <a:lnTo>
                    <a:pt x="396" y="190"/>
                  </a:lnTo>
                  <a:lnTo>
                    <a:pt x="396" y="193"/>
                  </a:lnTo>
                  <a:lnTo>
                    <a:pt x="396" y="190"/>
                  </a:lnTo>
                  <a:lnTo>
                    <a:pt x="396" y="193"/>
                  </a:lnTo>
                  <a:lnTo>
                    <a:pt x="396" y="195"/>
                  </a:lnTo>
                  <a:lnTo>
                    <a:pt x="393" y="195"/>
                  </a:lnTo>
                  <a:lnTo>
                    <a:pt x="396" y="195"/>
                  </a:lnTo>
                  <a:lnTo>
                    <a:pt x="393" y="195"/>
                  </a:lnTo>
                  <a:lnTo>
                    <a:pt x="396" y="195"/>
                  </a:lnTo>
                  <a:lnTo>
                    <a:pt x="393" y="195"/>
                  </a:lnTo>
                  <a:lnTo>
                    <a:pt x="393" y="193"/>
                  </a:lnTo>
                  <a:lnTo>
                    <a:pt x="393" y="190"/>
                  </a:lnTo>
                  <a:lnTo>
                    <a:pt x="393" y="193"/>
                  </a:lnTo>
                  <a:lnTo>
                    <a:pt x="391" y="193"/>
                  </a:lnTo>
                  <a:lnTo>
                    <a:pt x="391" y="190"/>
                  </a:lnTo>
                  <a:lnTo>
                    <a:pt x="389" y="190"/>
                  </a:lnTo>
                  <a:lnTo>
                    <a:pt x="389" y="188"/>
                  </a:lnTo>
                  <a:lnTo>
                    <a:pt x="389" y="190"/>
                  </a:lnTo>
                  <a:lnTo>
                    <a:pt x="386" y="190"/>
                  </a:lnTo>
                  <a:lnTo>
                    <a:pt x="386" y="188"/>
                  </a:lnTo>
                  <a:lnTo>
                    <a:pt x="386" y="190"/>
                  </a:lnTo>
                  <a:lnTo>
                    <a:pt x="386" y="188"/>
                  </a:lnTo>
                  <a:lnTo>
                    <a:pt x="386" y="190"/>
                  </a:lnTo>
                  <a:lnTo>
                    <a:pt x="386" y="188"/>
                  </a:lnTo>
                  <a:lnTo>
                    <a:pt x="386" y="185"/>
                  </a:lnTo>
                  <a:lnTo>
                    <a:pt x="384" y="185"/>
                  </a:lnTo>
                  <a:lnTo>
                    <a:pt x="382" y="185"/>
                  </a:lnTo>
                  <a:lnTo>
                    <a:pt x="382" y="183"/>
                  </a:lnTo>
                  <a:lnTo>
                    <a:pt x="379" y="183"/>
                  </a:lnTo>
                  <a:lnTo>
                    <a:pt x="382" y="183"/>
                  </a:lnTo>
                  <a:lnTo>
                    <a:pt x="382" y="185"/>
                  </a:lnTo>
                  <a:lnTo>
                    <a:pt x="382" y="188"/>
                  </a:lnTo>
                  <a:lnTo>
                    <a:pt x="382" y="190"/>
                  </a:lnTo>
                  <a:lnTo>
                    <a:pt x="382" y="193"/>
                  </a:lnTo>
                  <a:lnTo>
                    <a:pt x="379" y="190"/>
                  </a:lnTo>
                  <a:lnTo>
                    <a:pt x="382" y="190"/>
                  </a:lnTo>
                  <a:lnTo>
                    <a:pt x="379" y="190"/>
                  </a:lnTo>
                  <a:lnTo>
                    <a:pt x="379" y="188"/>
                  </a:lnTo>
                  <a:lnTo>
                    <a:pt x="377" y="188"/>
                  </a:lnTo>
                  <a:lnTo>
                    <a:pt x="379" y="188"/>
                  </a:lnTo>
                  <a:lnTo>
                    <a:pt x="377" y="188"/>
                  </a:lnTo>
                  <a:lnTo>
                    <a:pt x="377" y="190"/>
                  </a:lnTo>
                  <a:lnTo>
                    <a:pt x="377" y="188"/>
                  </a:lnTo>
                  <a:lnTo>
                    <a:pt x="377" y="190"/>
                  </a:lnTo>
                  <a:lnTo>
                    <a:pt x="374" y="190"/>
                  </a:lnTo>
                  <a:lnTo>
                    <a:pt x="374" y="188"/>
                  </a:lnTo>
                  <a:lnTo>
                    <a:pt x="377" y="188"/>
                  </a:lnTo>
                  <a:lnTo>
                    <a:pt x="374" y="188"/>
                  </a:lnTo>
                  <a:lnTo>
                    <a:pt x="374" y="185"/>
                  </a:lnTo>
                  <a:lnTo>
                    <a:pt x="372" y="185"/>
                  </a:lnTo>
                  <a:lnTo>
                    <a:pt x="374" y="185"/>
                  </a:lnTo>
                  <a:lnTo>
                    <a:pt x="372" y="185"/>
                  </a:lnTo>
                  <a:lnTo>
                    <a:pt x="370" y="185"/>
                  </a:lnTo>
                  <a:lnTo>
                    <a:pt x="370" y="188"/>
                  </a:lnTo>
                  <a:lnTo>
                    <a:pt x="370" y="185"/>
                  </a:lnTo>
                  <a:lnTo>
                    <a:pt x="370" y="188"/>
                  </a:lnTo>
                  <a:lnTo>
                    <a:pt x="370" y="190"/>
                  </a:lnTo>
                  <a:lnTo>
                    <a:pt x="370" y="188"/>
                  </a:lnTo>
                  <a:lnTo>
                    <a:pt x="370" y="190"/>
                  </a:lnTo>
                  <a:lnTo>
                    <a:pt x="367" y="190"/>
                  </a:lnTo>
                  <a:lnTo>
                    <a:pt x="370" y="190"/>
                  </a:lnTo>
                  <a:lnTo>
                    <a:pt x="370" y="193"/>
                  </a:lnTo>
                  <a:lnTo>
                    <a:pt x="370" y="195"/>
                  </a:lnTo>
                  <a:lnTo>
                    <a:pt x="370" y="197"/>
                  </a:lnTo>
                  <a:lnTo>
                    <a:pt x="370" y="195"/>
                  </a:lnTo>
                  <a:lnTo>
                    <a:pt x="367" y="195"/>
                  </a:lnTo>
                  <a:lnTo>
                    <a:pt x="365" y="195"/>
                  </a:lnTo>
                  <a:lnTo>
                    <a:pt x="365" y="197"/>
                  </a:lnTo>
                  <a:lnTo>
                    <a:pt x="367" y="197"/>
                  </a:lnTo>
                  <a:lnTo>
                    <a:pt x="367" y="200"/>
                  </a:lnTo>
                  <a:lnTo>
                    <a:pt x="367" y="197"/>
                  </a:lnTo>
                  <a:lnTo>
                    <a:pt x="367" y="200"/>
                  </a:lnTo>
                  <a:lnTo>
                    <a:pt x="367" y="197"/>
                  </a:lnTo>
                  <a:lnTo>
                    <a:pt x="367" y="195"/>
                  </a:lnTo>
                  <a:lnTo>
                    <a:pt x="367" y="197"/>
                  </a:lnTo>
                  <a:lnTo>
                    <a:pt x="370" y="197"/>
                  </a:lnTo>
                  <a:lnTo>
                    <a:pt x="372" y="200"/>
                  </a:lnTo>
                  <a:lnTo>
                    <a:pt x="370" y="200"/>
                  </a:lnTo>
                  <a:lnTo>
                    <a:pt x="367" y="200"/>
                  </a:lnTo>
                  <a:lnTo>
                    <a:pt x="370" y="200"/>
                  </a:lnTo>
                  <a:lnTo>
                    <a:pt x="370" y="202"/>
                  </a:lnTo>
                  <a:lnTo>
                    <a:pt x="372" y="202"/>
                  </a:lnTo>
                  <a:lnTo>
                    <a:pt x="372" y="204"/>
                  </a:lnTo>
                  <a:lnTo>
                    <a:pt x="370" y="204"/>
                  </a:lnTo>
                  <a:lnTo>
                    <a:pt x="370" y="202"/>
                  </a:lnTo>
                  <a:lnTo>
                    <a:pt x="367" y="202"/>
                  </a:lnTo>
                  <a:lnTo>
                    <a:pt x="365" y="202"/>
                  </a:lnTo>
                  <a:lnTo>
                    <a:pt x="363" y="202"/>
                  </a:lnTo>
                  <a:lnTo>
                    <a:pt x="363" y="200"/>
                  </a:lnTo>
                  <a:lnTo>
                    <a:pt x="363" y="202"/>
                  </a:lnTo>
                  <a:lnTo>
                    <a:pt x="363" y="200"/>
                  </a:lnTo>
                  <a:lnTo>
                    <a:pt x="360" y="200"/>
                  </a:lnTo>
                  <a:lnTo>
                    <a:pt x="363" y="200"/>
                  </a:lnTo>
                  <a:lnTo>
                    <a:pt x="360" y="200"/>
                  </a:lnTo>
                  <a:lnTo>
                    <a:pt x="358" y="200"/>
                  </a:lnTo>
                  <a:lnTo>
                    <a:pt x="360" y="200"/>
                  </a:lnTo>
                  <a:lnTo>
                    <a:pt x="358" y="197"/>
                  </a:lnTo>
                  <a:lnTo>
                    <a:pt x="356" y="197"/>
                  </a:lnTo>
                  <a:lnTo>
                    <a:pt x="356" y="195"/>
                  </a:lnTo>
                  <a:lnTo>
                    <a:pt x="353" y="195"/>
                  </a:lnTo>
                  <a:lnTo>
                    <a:pt x="351" y="193"/>
                  </a:lnTo>
                  <a:lnTo>
                    <a:pt x="351" y="190"/>
                  </a:lnTo>
                  <a:lnTo>
                    <a:pt x="348" y="190"/>
                  </a:lnTo>
                  <a:lnTo>
                    <a:pt x="348" y="188"/>
                  </a:lnTo>
                  <a:lnTo>
                    <a:pt x="348" y="190"/>
                  </a:lnTo>
                  <a:lnTo>
                    <a:pt x="351" y="190"/>
                  </a:lnTo>
                  <a:lnTo>
                    <a:pt x="351" y="193"/>
                  </a:lnTo>
                  <a:lnTo>
                    <a:pt x="351" y="195"/>
                  </a:lnTo>
                  <a:lnTo>
                    <a:pt x="353" y="195"/>
                  </a:lnTo>
                  <a:lnTo>
                    <a:pt x="353" y="197"/>
                  </a:lnTo>
                  <a:lnTo>
                    <a:pt x="356" y="197"/>
                  </a:lnTo>
                  <a:lnTo>
                    <a:pt x="356" y="200"/>
                  </a:lnTo>
                  <a:lnTo>
                    <a:pt x="358" y="200"/>
                  </a:lnTo>
                  <a:lnTo>
                    <a:pt x="360" y="200"/>
                  </a:lnTo>
                  <a:lnTo>
                    <a:pt x="360" y="202"/>
                  </a:lnTo>
                  <a:lnTo>
                    <a:pt x="360" y="200"/>
                  </a:lnTo>
                  <a:lnTo>
                    <a:pt x="363" y="202"/>
                  </a:lnTo>
                  <a:lnTo>
                    <a:pt x="365" y="202"/>
                  </a:lnTo>
                  <a:lnTo>
                    <a:pt x="365" y="204"/>
                  </a:lnTo>
                  <a:lnTo>
                    <a:pt x="363" y="204"/>
                  </a:lnTo>
                  <a:lnTo>
                    <a:pt x="360" y="204"/>
                  </a:lnTo>
                  <a:lnTo>
                    <a:pt x="358" y="204"/>
                  </a:lnTo>
                  <a:lnTo>
                    <a:pt x="356" y="204"/>
                  </a:lnTo>
                  <a:lnTo>
                    <a:pt x="353" y="204"/>
                  </a:lnTo>
                  <a:lnTo>
                    <a:pt x="356" y="204"/>
                  </a:lnTo>
                  <a:lnTo>
                    <a:pt x="353" y="204"/>
                  </a:lnTo>
                  <a:lnTo>
                    <a:pt x="356" y="204"/>
                  </a:lnTo>
                  <a:lnTo>
                    <a:pt x="356" y="207"/>
                  </a:lnTo>
                  <a:lnTo>
                    <a:pt x="356" y="204"/>
                  </a:lnTo>
                  <a:lnTo>
                    <a:pt x="353" y="204"/>
                  </a:lnTo>
                  <a:lnTo>
                    <a:pt x="356" y="204"/>
                  </a:lnTo>
                  <a:lnTo>
                    <a:pt x="356" y="207"/>
                  </a:lnTo>
                  <a:lnTo>
                    <a:pt x="358" y="207"/>
                  </a:lnTo>
                  <a:lnTo>
                    <a:pt x="360" y="207"/>
                  </a:lnTo>
                  <a:lnTo>
                    <a:pt x="360" y="209"/>
                  </a:lnTo>
                  <a:lnTo>
                    <a:pt x="358" y="209"/>
                  </a:lnTo>
                  <a:lnTo>
                    <a:pt x="358" y="212"/>
                  </a:lnTo>
                  <a:lnTo>
                    <a:pt x="358" y="209"/>
                  </a:lnTo>
                  <a:lnTo>
                    <a:pt x="358" y="212"/>
                  </a:lnTo>
                  <a:lnTo>
                    <a:pt x="358" y="209"/>
                  </a:lnTo>
                  <a:lnTo>
                    <a:pt x="356" y="209"/>
                  </a:lnTo>
                  <a:lnTo>
                    <a:pt x="356" y="212"/>
                  </a:lnTo>
                  <a:lnTo>
                    <a:pt x="353" y="212"/>
                  </a:lnTo>
                  <a:lnTo>
                    <a:pt x="353" y="209"/>
                  </a:lnTo>
                  <a:lnTo>
                    <a:pt x="353" y="212"/>
                  </a:lnTo>
                  <a:lnTo>
                    <a:pt x="351" y="212"/>
                  </a:lnTo>
                  <a:lnTo>
                    <a:pt x="348" y="212"/>
                  </a:lnTo>
                  <a:lnTo>
                    <a:pt x="348" y="209"/>
                  </a:lnTo>
                  <a:lnTo>
                    <a:pt x="346" y="209"/>
                  </a:lnTo>
                  <a:lnTo>
                    <a:pt x="348" y="209"/>
                  </a:lnTo>
                  <a:lnTo>
                    <a:pt x="348" y="212"/>
                  </a:lnTo>
                  <a:lnTo>
                    <a:pt x="346" y="212"/>
                  </a:lnTo>
                  <a:lnTo>
                    <a:pt x="346" y="209"/>
                  </a:lnTo>
                  <a:lnTo>
                    <a:pt x="344" y="209"/>
                  </a:lnTo>
                  <a:lnTo>
                    <a:pt x="344" y="212"/>
                  </a:lnTo>
                  <a:lnTo>
                    <a:pt x="346" y="212"/>
                  </a:lnTo>
                  <a:lnTo>
                    <a:pt x="346" y="214"/>
                  </a:lnTo>
                  <a:lnTo>
                    <a:pt x="348" y="214"/>
                  </a:lnTo>
                  <a:lnTo>
                    <a:pt x="346" y="214"/>
                  </a:lnTo>
                  <a:lnTo>
                    <a:pt x="344" y="214"/>
                  </a:lnTo>
                  <a:lnTo>
                    <a:pt x="346" y="214"/>
                  </a:lnTo>
                  <a:lnTo>
                    <a:pt x="344" y="214"/>
                  </a:lnTo>
                  <a:lnTo>
                    <a:pt x="344" y="212"/>
                  </a:lnTo>
                  <a:lnTo>
                    <a:pt x="341" y="212"/>
                  </a:lnTo>
                  <a:lnTo>
                    <a:pt x="344" y="212"/>
                  </a:lnTo>
                  <a:lnTo>
                    <a:pt x="341" y="212"/>
                  </a:lnTo>
                  <a:lnTo>
                    <a:pt x="344" y="212"/>
                  </a:lnTo>
                  <a:lnTo>
                    <a:pt x="344" y="214"/>
                  </a:lnTo>
                  <a:lnTo>
                    <a:pt x="344" y="212"/>
                  </a:lnTo>
                  <a:lnTo>
                    <a:pt x="341" y="212"/>
                  </a:lnTo>
                  <a:lnTo>
                    <a:pt x="341" y="214"/>
                  </a:lnTo>
                  <a:lnTo>
                    <a:pt x="341" y="212"/>
                  </a:lnTo>
                  <a:lnTo>
                    <a:pt x="341" y="214"/>
                  </a:lnTo>
                  <a:lnTo>
                    <a:pt x="341" y="212"/>
                  </a:lnTo>
                  <a:lnTo>
                    <a:pt x="341" y="214"/>
                  </a:lnTo>
                  <a:lnTo>
                    <a:pt x="339" y="214"/>
                  </a:lnTo>
                  <a:lnTo>
                    <a:pt x="341" y="214"/>
                  </a:lnTo>
                  <a:lnTo>
                    <a:pt x="341" y="216"/>
                  </a:lnTo>
                  <a:lnTo>
                    <a:pt x="344" y="216"/>
                  </a:lnTo>
                  <a:lnTo>
                    <a:pt x="344" y="214"/>
                  </a:lnTo>
                  <a:lnTo>
                    <a:pt x="344" y="216"/>
                  </a:lnTo>
                  <a:lnTo>
                    <a:pt x="346" y="216"/>
                  </a:lnTo>
                  <a:lnTo>
                    <a:pt x="346" y="214"/>
                  </a:lnTo>
                  <a:lnTo>
                    <a:pt x="346" y="216"/>
                  </a:lnTo>
                  <a:lnTo>
                    <a:pt x="344" y="216"/>
                  </a:lnTo>
                  <a:lnTo>
                    <a:pt x="346" y="216"/>
                  </a:lnTo>
                  <a:lnTo>
                    <a:pt x="348" y="216"/>
                  </a:lnTo>
                  <a:lnTo>
                    <a:pt x="346" y="216"/>
                  </a:lnTo>
                  <a:lnTo>
                    <a:pt x="348" y="216"/>
                  </a:lnTo>
                  <a:lnTo>
                    <a:pt x="348" y="219"/>
                  </a:lnTo>
                  <a:lnTo>
                    <a:pt x="346" y="219"/>
                  </a:lnTo>
                  <a:lnTo>
                    <a:pt x="346" y="221"/>
                  </a:lnTo>
                  <a:lnTo>
                    <a:pt x="348" y="221"/>
                  </a:lnTo>
                  <a:lnTo>
                    <a:pt x="351" y="221"/>
                  </a:lnTo>
                  <a:lnTo>
                    <a:pt x="351" y="223"/>
                  </a:lnTo>
                  <a:lnTo>
                    <a:pt x="348" y="223"/>
                  </a:lnTo>
                  <a:lnTo>
                    <a:pt x="348" y="221"/>
                  </a:lnTo>
                  <a:lnTo>
                    <a:pt x="348" y="223"/>
                  </a:lnTo>
                  <a:lnTo>
                    <a:pt x="348" y="221"/>
                  </a:lnTo>
                  <a:lnTo>
                    <a:pt x="346" y="221"/>
                  </a:lnTo>
                  <a:lnTo>
                    <a:pt x="344" y="221"/>
                  </a:lnTo>
                  <a:lnTo>
                    <a:pt x="341" y="221"/>
                  </a:lnTo>
                  <a:lnTo>
                    <a:pt x="344" y="221"/>
                  </a:lnTo>
                  <a:lnTo>
                    <a:pt x="344" y="219"/>
                  </a:lnTo>
                  <a:lnTo>
                    <a:pt x="341" y="219"/>
                  </a:lnTo>
                  <a:lnTo>
                    <a:pt x="341" y="216"/>
                  </a:lnTo>
                  <a:lnTo>
                    <a:pt x="339" y="216"/>
                  </a:lnTo>
                  <a:lnTo>
                    <a:pt x="339" y="214"/>
                  </a:lnTo>
                  <a:lnTo>
                    <a:pt x="337" y="214"/>
                  </a:lnTo>
                  <a:lnTo>
                    <a:pt x="337" y="212"/>
                  </a:lnTo>
                  <a:lnTo>
                    <a:pt x="337" y="214"/>
                  </a:lnTo>
                  <a:lnTo>
                    <a:pt x="337" y="212"/>
                  </a:lnTo>
                  <a:lnTo>
                    <a:pt x="334" y="212"/>
                  </a:lnTo>
                  <a:lnTo>
                    <a:pt x="334" y="209"/>
                  </a:lnTo>
                  <a:lnTo>
                    <a:pt x="332" y="209"/>
                  </a:lnTo>
                  <a:lnTo>
                    <a:pt x="332" y="207"/>
                  </a:lnTo>
                  <a:lnTo>
                    <a:pt x="332" y="209"/>
                  </a:lnTo>
                  <a:lnTo>
                    <a:pt x="334" y="209"/>
                  </a:lnTo>
                  <a:lnTo>
                    <a:pt x="334" y="212"/>
                  </a:lnTo>
                  <a:lnTo>
                    <a:pt x="337" y="212"/>
                  </a:lnTo>
                  <a:lnTo>
                    <a:pt x="337" y="214"/>
                  </a:lnTo>
                  <a:lnTo>
                    <a:pt x="334" y="214"/>
                  </a:lnTo>
                  <a:lnTo>
                    <a:pt x="334" y="216"/>
                  </a:lnTo>
                  <a:lnTo>
                    <a:pt x="334" y="214"/>
                  </a:lnTo>
                  <a:lnTo>
                    <a:pt x="334" y="216"/>
                  </a:lnTo>
                  <a:lnTo>
                    <a:pt x="334" y="214"/>
                  </a:lnTo>
                  <a:lnTo>
                    <a:pt x="334" y="216"/>
                  </a:lnTo>
                  <a:lnTo>
                    <a:pt x="337" y="216"/>
                  </a:lnTo>
                  <a:lnTo>
                    <a:pt x="339" y="216"/>
                  </a:lnTo>
                  <a:lnTo>
                    <a:pt x="337" y="216"/>
                  </a:lnTo>
                  <a:lnTo>
                    <a:pt x="339" y="216"/>
                  </a:lnTo>
                  <a:lnTo>
                    <a:pt x="337" y="216"/>
                  </a:lnTo>
                  <a:lnTo>
                    <a:pt x="337" y="214"/>
                  </a:lnTo>
                  <a:lnTo>
                    <a:pt x="337" y="216"/>
                  </a:lnTo>
                  <a:lnTo>
                    <a:pt x="339" y="216"/>
                  </a:lnTo>
                  <a:lnTo>
                    <a:pt x="341" y="216"/>
                  </a:lnTo>
                  <a:lnTo>
                    <a:pt x="339" y="216"/>
                  </a:lnTo>
                  <a:lnTo>
                    <a:pt x="339" y="219"/>
                  </a:lnTo>
                  <a:lnTo>
                    <a:pt x="341" y="219"/>
                  </a:lnTo>
                  <a:lnTo>
                    <a:pt x="341" y="221"/>
                  </a:lnTo>
                  <a:lnTo>
                    <a:pt x="344" y="221"/>
                  </a:lnTo>
                  <a:lnTo>
                    <a:pt x="344" y="223"/>
                  </a:lnTo>
                  <a:lnTo>
                    <a:pt x="346" y="226"/>
                  </a:lnTo>
                  <a:lnTo>
                    <a:pt x="344" y="226"/>
                  </a:lnTo>
                  <a:lnTo>
                    <a:pt x="346" y="226"/>
                  </a:lnTo>
                  <a:lnTo>
                    <a:pt x="344" y="226"/>
                  </a:lnTo>
                  <a:lnTo>
                    <a:pt x="346" y="226"/>
                  </a:lnTo>
                  <a:lnTo>
                    <a:pt x="344" y="226"/>
                  </a:lnTo>
                  <a:lnTo>
                    <a:pt x="341" y="226"/>
                  </a:lnTo>
                  <a:lnTo>
                    <a:pt x="344" y="226"/>
                  </a:lnTo>
                  <a:lnTo>
                    <a:pt x="344" y="228"/>
                  </a:lnTo>
                  <a:lnTo>
                    <a:pt x="341" y="228"/>
                  </a:lnTo>
                  <a:lnTo>
                    <a:pt x="344" y="228"/>
                  </a:lnTo>
                  <a:lnTo>
                    <a:pt x="344" y="231"/>
                  </a:lnTo>
                  <a:lnTo>
                    <a:pt x="341" y="231"/>
                  </a:lnTo>
                  <a:lnTo>
                    <a:pt x="339" y="231"/>
                  </a:lnTo>
                  <a:lnTo>
                    <a:pt x="341" y="231"/>
                  </a:lnTo>
                  <a:lnTo>
                    <a:pt x="341" y="233"/>
                  </a:lnTo>
                  <a:lnTo>
                    <a:pt x="341" y="231"/>
                  </a:lnTo>
                  <a:lnTo>
                    <a:pt x="341" y="233"/>
                  </a:lnTo>
                  <a:lnTo>
                    <a:pt x="339" y="233"/>
                  </a:lnTo>
                  <a:lnTo>
                    <a:pt x="337" y="233"/>
                  </a:lnTo>
                  <a:lnTo>
                    <a:pt x="339" y="233"/>
                  </a:lnTo>
                  <a:lnTo>
                    <a:pt x="339" y="235"/>
                  </a:lnTo>
                  <a:lnTo>
                    <a:pt x="337" y="233"/>
                  </a:lnTo>
                  <a:lnTo>
                    <a:pt x="337" y="235"/>
                  </a:lnTo>
                  <a:lnTo>
                    <a:pt x="337" y="233"/>
                  </a:lnTo>
                  <a:lnTo>
                    <a:pt x="337" y="235"/>
                  </a:lnTo>
                  <a:lnTo>
                    <a:pt x="339" y="235"/>
                  </a:lnTo>
                  <a:lnTo>
                    <a:pt x="337" y="235"/>
                  </a:lnTo>
                  <a:lnTo>
                    <a:pt x="334" y="235"/>
                  </a:lnTo>
                  <a:lnTo>
                    <a:pt x="334" y="238"/>
                  </a:lnTo>
                  <a:lnTo>
                    <a:pt x="332" y="238"/>
                  </a:lnTo>
                  <a:lnTo>
                    <a:pt x="334" y="238"/>
                  </a:lnTo>
                  <a:lnTo>
                    <a:pt x="332" y="238"/>
                  </a:lnTo>
                  <a:lnTo>
                    <a:pt x="334" y="238"/>
                  </a:lnTo>
                  <a:lnTo>
                    <a:pt x="332" y="238"/>
                  </a:lnTo>
                  <a:lnTo>
                    <a:pt x="334" y="240"/>
                  </a:lnTo>
                  <a:lnTo>
                    <a:pt x="332" y="240"/>
                  </a:lnTo>
                  <a:lnTo>
                    <a:pt x="334" y="240"/>
                  </a:lnTo>
                  <a:lnTo>
                    <a:pt x="332" y="240"/>
                  </a:lnTo>
                  <a:lnTo>
                    <a:pt x="332" y="242"/>
                  </a:lnTo>
                  <a:lnTo>
                    <a:pt x="329" y="242"/>
                  </a:lnTo>
                  <a:lnTo>
                    <a:pt x="332" y="242"/>
                  </a:lnTo>
                  <a:lnTo>
                    <a:pt x="329" y="242"/>
                  </a:lnTo>
                  <a:lnTo>
                    <a:pt x="332" y="245"/>
                  </a:lnTo>
                  <a:lnTo>
                    <a:pt x="329" y="245"/>
                  </a:lnTo>
                  <a:lnTo>
                    <a:pt x="329" y="242"/>
                  </a:lnTo>
                  <a:lnTo>
                    <a:pt x="327" y="242"/>
                  </a:lnTo>
                  <a:lnTo>
                    <a:pt x="327" y="240"/>
                  </a:lnTo>
                  <a:lnTo>
                    <a:pt x="327" y="242"/>
                  </a:lnTo>
                  <a:lnTo>
                    <a:pt x="325" y="242"/>
                  </a:lnTo>
                  <a:lnTo>
                    <a:pt x="327" y="242"/>
                  </a:lnTo>
                  <a:lnTo>
                    <a:pt x="325" y="242"/>
                  </a:lnTo>
                  <a:lnTo>
                    <a:pt x="327" y="242"/>
                  </a:lnTo>
                  <a:lnTo>
                    <a:pt x="327" y="245"/>
                  </a:lnTo>
                  <a:lnTo>
                    <a:pt x="327" y="242"/>
                  </a:lnTo>
                  <a:lnTo>
                    <a:pt x="327" y="245"/>
                  </a:lnTo>
                  <a:lnTo>
                    <a:pt x="329" y="245"/>
                  </a:lnTo>
                  <a:lnTo>
                    <a:pt x="327" y="245"/>
                  </a:lnTo>
                  <a:lnTo>
                    <a:pt x="329" y="245"/>
                  </a:lnTo>
                  <a:lnTo>
                    <a:pt x="329" y="247"/>
                  </a:lnTo>
                  <a:lnTo>
                    <a:pt x="332" y="247"/>
                  </a:lnTo>
                  <a:lnTo>
                    <a:pt x="334" y="247"/>
                  </a:lnTo>
                  <a:lnTo>
                    <a:pt x="332" y="247"/>
                  </a:lnTo>
                  <a:lnTo>
                    <a:pt x="332" y="250"/>
                  </a:lnTo>
                  <a:lnTo>
                    <a:pt x="334" y="250"/>
                  </a:lnTo>
                  <a:lnTo>
                    <a:pt x="334" y="252"/>
                  </a:lnTo>
                  <a:lnTo>
                    <a:pt x="332" y="252"/>
                  </a:lnTo>
                  <a:lnTo>
                    <a:pt x="334" y="252"/>
                  </a:lnTo>
                  <a:lnTo>
                    <a:pt x="332" y="252"/>
                  </a:lnTo>
                  <a:lnTo>
                    <a:pt x="332" y="250"/>
                  </a:lnTo>
                  <a:lnTo>
                    <a:pt x="329" y="250"/>
                  </a:lnTo>
                  <a:lnTo>
                    <a:pt x="332" y="250"/>
                  </a:lnTo>
                  <a:lnTo>
                    <a:pt x="332" y="252"/>
                  </a:lnTo>
                  <a:lnTo>
                    <a:pt x="329" y="252"/>
                  </a:lnTo>
                  <a:lnTo>
                    <a:pt x="329" y="250"/>
                  </a:lnTo>
                  <a:lnTo>
                    <a:pt x="332" y="252"/>
                  </a:lnTo>
                  <a:lnTo>
                    <a:pt x="329" y="250"/>
                  </a:lnTo>
                  <a:lnTo>
                    <a:pt x="329" y="252"/>
                  </a:lnTo>
                  <a:lnTo>
                    <a:pt x="332" y="252"/>
                  </a:lnTo>
                  <a:lnTo>
                    <a:pt x="329" y="252"/>
                  </a:lnTo>
                  <a:lnTo>
                    <a:pt x="332" y="252"/>
                  </a:lnTo>
                  <a:lnTo>
                    <a:pt x="332" y="254"/>
                  </a:lnTo>
                  <a:lnTo>
                    <a:pt x="332" y="252"/>
                  </a:lnTo>
                  <a:lnTo>
                    <a:pt x="334" y="254"/>
                  </a:lnTo>
                  <a:lnTo>
                    <a:pt x="332" y="254"/>
                  </a:lnTo>
                  <a:lnTo>
                    <a:pt x="334" y="254"/>
                  </a:lnTo>
                  <a:lnTo>
                    <a:pt x="334" y="257"/>
                  </a:lnTo>
                  <a:lnTo>
                    <a:pt x="337" y="257"/>
                  </a:lnTo>
                  <a:lnTo>
                    <a:pt x="339" y="257"/>
                  </a:lnTo>
                  <a:lnTo>
                    <a:pt x="339" y="259"/>
                  </a:lnTo>
                  <a:lnTo>
                    <a:pt x="339" y="257"/>
                  </a:lnTo>
                  <a:lnTo>
                    <a:pt x="341" y="257"/>
                  </a:lnTo>
                  <a:lnTo>
                    <a:pt x="341" y="259"/>
                  </a:lnTo>
                  <a:lnTo>
                    <a:pt x="344" y="259"/>
                  </a:lnTo>
                  <a:lnTo>
                    <a:pt x="344" y="261"/>
                  </a:lnTo>
                  <a:lnTo>
                    <a:pt x="344" y="259"/>
                  </a:lnTo>
                  <a:lnTo>
                    <a:pt x="344" y="261"/>
                  </a:lnTo>
                  <a:lnTo>
                    <a:pt x="341" y="261"/>
                  </a:lnTo>
                  <a:lnTo>
                    <a:pt x="341" y="259"/>
                  </a:lnTo>
                  <a:lnTo>
                    <a:pt x="339" y="259"/>
                  </a:lnTo>
                  <a:lnTo>
                    <a:pt x="341" y="259"/>
                  </a:lnTo>
                  <a:lnTo>
                    <a:pt x="339" y="259"/>
                  </a:lnTo>
                  <a:lnTo>
                    <a:pt x="339" y="261"/>
                  </a:lnTo>
                  <a:lnTo>
                    <a:pt x="339" y="259"/>
                  </a:lnTo>
                  <a:lnTo>
                    <a:pt x="339" y="261"/>
                  </a:lnTo>
                  <a:lnTo>
                    <a:pt x="341" y="261"/>
                  </a:lnTo>
                  <a:lnTo>
                    <a:pt x="339" y="261"/>
                  </a:lnTo>
                  <a:lnTo>
                    <a:pt x="341" y="261"/>
                  </a:lnTo>
                  <a:lnTo>
                    <a:pt x="339" y="261"/>
                  </a:lnTo>
                  <a:lnTo>
                    <a:pt x="341" y="261"/>
                  </a:lnTo>
                  <a:lnTo>
                    <a:pt x="341" y="264"/>
                  </a:lnTo>
                  <a:lnTo>
                    <a:pt x="344" y="264"/>
                  </a:lnTo>
                  <a:lnTo>
                    <a:pt x="341" y="264"/>
                  </a:lnTo>
                  <a:lnTo>
                    <a:pt x="344" y="264"/>
                  </a:lnTo>
                  <a:lnTo>
                    <a:pt x="341" y="264"/>
                  </a:lnTo>
                  <a:lnTo>
                    <a:pt x="344" y="264"/>
                  </a:lnTo>
                  <a:lnTo>
                    <a:pt x="346" y="264"/>
                  </a:lnTo>
                  <a:lnTo>
                    <a:pt x="346" y="266"/>
                  </a:lnTo>
                  <a:lnTo>
                    <a:pt x="344" y="266"/>
                  </a:lnTo>
                  <a:lnTo>
                    <a:pt x="341" y="266"/>
                  </a:lnTo>
                  <a:lnTo>
                    <a:pt x="341" y="269"/>
                  </a:lnTo>
                  <a:lnTo>
                    <a:pt x="341" y="266"/>
                  </a:lnTo>
                  <a:lnTo>
                    <a:pt x="341" y="269"/>
                  </a:lnTo>
                  <a:lnTo>
                    <a:pt x="341" y="271"/>
                  </a:lnTo>
                  <a:lnTo>
                    <a:pt x="339" y="271"/>
                  </a:lnTo>
                  <a:lnTo>
                    <a:pt x="339" y="269"/>
                  </a:lnTo>
                  <a:lnTo>
                    <a:pt x="339" y="271"/>
                  </a:lnTo>
                  <a:lnTo>
                    <a:pt x="339" y="269"/>
                  </a:lnTo>
                  <a:lnTo>
                    <a:pt x="339" y="271"/>
                  </a:lnTo>
                  <a:lnTo>
                    <a:pt x="337" y="271"/>
                  </a:lnTo>
                  <a:lnTo>
                    <a:pt x="337" y="273"/>
                  </a:lnTo>
                  <a:lnTo>
                    <a:pt x="334" y="273"/>
                  </a:lnTo>
                  <a:lnTo>
                    <a:pt x="334" y="271"/>
                  </a:lnTo>
                  <a:lnTo>
                    <a:pt x="334" y="273"/>
                  </a:lnTo>
                  <a:lnTo>
                    <a:pt x="332" y="273"/>
                  </a:lnTo>
                  <a:lnTo>
                    <a:pt x="332" y="276"/>
                  </a:lnTo>
                  <a:lnTo>
                    <a:pt x="332" y="278"/>
                  </a:lnTo>
                  <a:lnTo>
                    <a:pt x="332" y="276"/>
                  </a:lnTo>
                  <a:lnTo>
                    <a:pt x="332" y="278"/>
                  </a:lnTo>
                  <a:lnTo>
                    <a:pt x="329" y="278"/>
                  </a:lnTo>
                  <a:lnTo>
                    <a:pt x="327" y="278"/>
                  </a:lnTo>
                  <a:lnTo>
                    <a:pt x="327" y="280"/>
                  </a:lnTo>
                  <a:lnTo>
                    <a:pt x="325" y="280"/>
                  </a:lnTo>
                  <a:lnTo>
                    <a:pt x="325" y="283"/>
                  </a:lnTo>
                  <a:lnTo>
                    <a:pt x="325" y="285"/>
                  </a:lnTo>
                  <a:lnTo>
                    <a:pt x="322" y="285"/>
                  </a:lnTo>
                  <a:lnTo>
                    <a:pt x="325" y="285"/>
                  </a:lnTo>
                  <a:lnTo>
                    <a:pt x="322" y="285"/>
                  </a:lnTo>
                  <a:lnTo>
                    <a:pt x="325" y="285"/>
                  </a:lnTo>
                  <a:lnTo>
                    <a:pt x="325" y="288"/>
                  </a:lnTo>
                  <a:lnTo>
                    <a:pt x="322" y="288"/>
                  </a:lnTo>
                  <a:lnTo>
                    <a:pt x="322" y="290"/>
                  </a:lnTo>
                  <a:lnTo>
                    <a:pt x="320" y="290"/>
                  </a:lnTo>
                  <a:lnTo>
                    <a:pt x="320" y="292"/>
                  </a:lnTo>
                  <a:lnTo>
                    <a:pt x="318" y="292"/>
                  </a:lnTo>
                  <a:lnTo>
                    <a:pt x="320" y="292"/>
                  </a:lnTo>
                  <a:lnTo>
                    <a:pt x="318" y="292"/>
                  </a:lnTo>
                  <a:lnTo>
                    <a:pt x="320" y="295"/>
                  </a:lnTo>
                  <a:lnTo>
                    <a:pt x="318" y="295"/>
                  </a:lnTo>
                  <a:lnTo>
                    <a:pt x="320" y="295"/>
                  </a:lnTo>
                  <a:lnTo>
                    <a:pt x="318" y="295"/>
                  </a:lnTo>
                  <a:lnTo>
                    <a:pt x="318" y="297"/>
                  </a:lnTo>
                  <a:lnTo>
                    <a:pt x="315" y="297"/>
                  </a:lnTo>
                  <a:lnTo>
                    <a:pt x="318" y="297"/>
                  </a:lnTo>
                  <a:lnTo>
                    <a:pt x="318" y="299"/>
                  </a:lnTo>
                  <a:lnTo>
                    <a:pt x="315" y="299"/>
                  </a:lnTo>
                  <a:lnTo>
                    <a:pt x="315" y="297"/>
                  </a:lnTo>
                  <a:lnTo>
                    <a:pt x="315" y="299"/>
                  </a:lnTo>
                  <a:lnTo>
                    <a:pt x="315" y="302"/>
                  </a:lnTo>
                  <a:lnTo>
                    <a:pt x="313" y="302"/>
                  </a:lnTo>
                  <a:lnTo>
                    <a:pt x="313" y="299"/>
                  </a:lnTo>
                  <a:lnTo>
                    <a:pt x="313" y="302"/>
                  </a:lnTo>
                  <a:lnTo>
                    <a:pt x="310" y="302"/>
                  </a:lnTo>
                  <a:lnTo>
                    <a:pt x="313" y="302"/>
                  </a:lnTo>
                  <a:lnTo>
                    <a:pt x="310" y="302"/>
                  </a:lnTo>
                  <a:lnTo>
                    <a:pt x="310" y="299"/>
                  </a:lnTo>
                  <a:lnTo>
                    <a:pt x="310" y="302"/>
                  </a:lnTo>
                  <a:lnTo>
                    <a:pt x="310" y="304"/>
                  </a:lnTo>
                  <a:lnTo>
                    <a:pt x="310" y="302"/>
                  </a:lnTo>
                  <a:lnTo>
                    <a:pt x="310" y="299"/>
                  </a:lnTo>
                  <a:lnTo>
                    <a:pt x="308" y="299"/>
                  </a:lnTo>
                  <a:lnTo>
                    <a:pt x="308" y="302"/>
                  </a:lnTo>
                  <a:lnTo>
                    <a:pt x="308" y="304"/>
                  </a:lnTo>
                  <a:lnTo>
                    <a:pt x="308" y="302"/>
                  </a:lnTo>
                  <a:lnTo>
                    <a:pt x="306" y="304"/>
                  </a:lnTo>
                  <a:lnTo>
                    <a:pt x="308" y="304"/>
                  </a:lnTo>
                  <a:lnTo>
                    <a:pt x="306" y="304"/>
                  </a:lnTo>
                  <a:lnTo>
                    <a:pt x="308" y="304"/>
                  </a:lnTo>
                  <a:lnTo>
                    <a:pt x="306" y="304"/>
                  </a:lnTo>
                  <a:lnTo>
                    <a:pt x="306" y="307"/>
                  </a:lnTo>
                  <a:lnTo>
                    <a:pt x="306" y="304"/>
                  </a:lnTo>
                  <a:lnTo>
                    <a:pt x="306" y="307"/>
                  </a:lnTo>
                  <a:lnTo>
                    <a:pt x="303" y="307"/>
                  </a:lnTo>
                  <a:lnTo>
                    <a:pt x="303" y="304"/>
                  </a:lnTo>
                  <a:lnTo>
                    <a:pt x="306" y="304"/>
                  </a:lnTo>
                  <a:lnTo>
                    <a:pt x="303" y="304"/>
                  </a:lnTo>
                  <a:lnTo>
                    <a:pt x="303" y="302"/>
                  </a:lnTo>
                  <a:lnTo>
                    <a:pt x="303" y="299"/>
                  </a:lnTo>
                  <a:lnTo>
                    <a:pt x="301" y="299"/>
                  </a:lnTo>
                  <a:lnTo>
                    <a:pt x="303" y="299"/>
                  </a:lnTo>
                  <a:lnTo>
                    <a:pt x="303" y="302"/>
                  </a:lnTo>
                  <a:lnTo>
                    <a:pt x="301" y="299"/>
                  </a:lnTo>
                  <a:lnTo>
                    <a:pt x="303" y="302"/>
                  </a:lnTo>
                  <a:lnTo>
                    <a:pt x="303" y="304"/>
                  </a:lnTo>
                  <a:lnTo>
                    <a:pt x="303" y="307"/>
                  </a:lnTo>
                  <a:lnTo>
                    <a:pt x="303" y="309"/>
                  </a:lnTo>
                  <a:lnTo>
                    <a:pt x="301" y="309"/>
                  </a:lnTo>
                  <a:lnTo>
                    <a:pt x="301" y="307"/>
                  </a:lnTo>
                  <a:lnTo>
                    <a:pt x="301" y="309"/>
                  </a:lnTo>
                  <a:lnTo>
                    <a:pt x="301" y="307"/>
                  </a:lnTo>
                  <a:lnTo>
                    <a:pt x="301" y="309"/>
                  </a:lnTo>
                  <a:lnTo>
                    <a:pt x="301" y="307"/>
                  </a:lnTo>
                  <a:lnTo>
                    <a:pt x="301" y="304"/>
                  </a:lnTo>
                  <a:lnTo>
                    <a:pt x="301" y="307"/>
                  </a:lnTo>
                  <a:lnTo>
                    <a:pt x="301" y="304"/>
                  </a:lnTo>
                  <a:lnTo>
                    <a:pt x="301" y="307"/>
                  </a:lnTo>
                  <a:lnTo>
                    <a:pt x="301" y="309"/>
                  </a:lnTo>
                  <a:lnTo>
                    <a:pt x="299" y="309"/>
                  </a:lnTo>
                  <a:lnTo>
                    <a:pt x="296" y="309"/>
                  </a:lnTo>
                  <a:lnTo>
                    <a:pt x="294" y="307"/>
                  </a:lnTo>
                  <a:lnTo>
                    <a:pt x="294" y="309"/>
                  </a:lnTo>
                  <a:lnTo>
                    <a:pt x="291" y="309"/>
                  </a:lnTo>
                  <a:lnTo>
                    <a:pt x="291" y="311"/>
                  </a:lnTo>
                  <a:lnTo>
                    <a:pt x="294" y="311"/>
                  </a:lnTo>
                  <a:lnTo>
                    <a:pt x="291" y="311"/>
                  </a:lnTo>
                  <a:lnTo>
                    <a:pt x="289" y="311"/>
                  </a:lnTo>
                  <a:lnTo>
                    <a:pt x="287" y="311"/>
                  </a:lnTo>
                  <a:lnTo>
                    <a:pt x="287" y="314"/>
                  </a:lnTo>
                  <a:lnTo>
                    <a:pt x="284" y="314"/>
                  </a:lnTo>
                  <a:lnTo>
                    <a:pt x="284" y="316"/>
                  </a:lnTo>
                  <a:lnTo>
                    <a:pt x="284" y="314"/>
                  </a:lnTo>
                  <a:lnTo>
                    <a:pt x="284" y="316"/>
                  </a:lnTo>
                  <a:lnTo>
                    <a:pt x="284" y="318"/>
                  </a:lnTo>
                  <a:lnTo>
                    <a:pt x="284" y="321"/>
                  </a:lnTo>
                  <a:lnTo>
                    <a:pt x="284" y="318"/>
                  </a:lnTo>
                  <a:lnTo>
                    <a:pt x="282" y="321"/>
                  </a:lnTo>
                  <a:lnTo>
                    <a:pt x="282" y="318"/>
                  </a:lnTo>
                  <a:lnTo>
                    <a:pt x="282" y="321"/>
                  </a:lnTo>
                  <a:lnTo>
                    <a:pt x="282" y="318"/>
                  </a:lnTo>
                  <a:lnTo>
                    <a:pt x="282" y="321"/>
                  </a:lnTo>
                  <a:lnTo>
                    <a:pt x="280" y="321"/>
                  </a:lnTo>
                  <a:lnTo>
                    <a:pt x="280" y="318"/>
                  </a:lnTo>
                  <a:lnTo>
                    <a:pt x="280" y="316"/>
                  </a:lnTo>
                  <a:lnTo>
                    <a:pt x="277" y="316"/>
                  </a:lnTo>
                  <a:lnTo>
                    <a:pt x="277" y="314"/>
                  </a:lnTo>
                  <a:lnTo>
                    <a:pt x="275" y="314"/>
                  </a:lnTo>
                  <a:lnTo>
                    <a:pt x="272" y="314"/>
                  </a:lnTo>
                  <a:lnTo>
                    <a:pt x="275" y="314"/>
                  </a:lnTo>
                  <a:lnTo>
                    <a:pt x="275" y="316"/>
                  </a:lnTo>
                  <a:lnTo>
                    <a:pt x="272" y="316"/>
                  </a:lnTo>
                  <a:lnTo>
                    <a:pt x="275" y="316"/>
                  </a:lnTo>
                  <a:lnTo>
                    <a:pt x="275" y="318"/>
                  </a:lnTo>
                  <a:lnTo>
                    <a:pt x="275" y="316"/>
                  </a:lnTo>
                  <a:lnTo>
                    <a:pt x="275" y="318"/>
                  </a:lnTo>
                  <a:lnTo>
                    <a:pt x="277" y="318"/>
                  </a:lnTo>
                  <a:lnTo>
                    <a:pt x="275" y="318"/>
                  </a:lnTo>
                  <a:lnTo>
                    <a:pt x="277" y="318"/>
                  </a:lnTo>
                  <a:lnTo>
                    <a:pt x="275" y="318"/>
                  </a:lnTo>
                  <a:lnTo>
                    <a:pt x="275" y="321"/>
                  </a:lnTo>
                  <a:lnTo>
                    <a:pt x="277" y="321"/>
                  </a:lnTo>
                  <a:lnTo>
                    <a:pt x="275" y="321"/>
                  </a:lnTo>
                  <a:lnTo>
                    <a:pt x="277" y="321"/>
                  </a:lnTo>
                  <a:lnTo>
                    <a:pt x="277" y="323"/>
                  </a:lnTo>
                  <a:lnTo>
                    <a:pt x="275" y="323"/>
                  </a:lnTo>
                  <a:lnTo>
                    <a:pt x="275" y="321"/>
                  </a:lnTo>
                  <a:lnTo>
                    <a:pt x="275" y="323"/>
                  </a:lnTo>
                  <a:lnTo>
                    <a:pt x="275" y="321"/>
                  </a:lnTo>
                  <a:lnTo>
                    <a:pt x="275" y="318"/>
                  </a:lnTo>
                  <a:lnTo>
                    <a:pt x="272" y="318"/>
                  </a:lnTo>
                  <a:lnTo>
                    <a:pt x="272" y="321"/>
                  </a:lnTo>
                  <a:lnTo>
                    <a:pt x="272" y="318"/>
                  </a:lnTo>
                  <a:lnTo>
                    <a:pt x="270" y="318"/>
                  </a:lnTo>
                  <a:lnTo>
                    <a:pt x="270" y="316"/>
                  </a:lnTo>
                  <a:lnTo>
                    <a:pt x="270" y="318"/>
                  </a:lnTo>
                  <a:lnTo>
                    <a:pt x="272" y="318"/>
                  </a:lnTo>
                  <a:lnTo>
                    <a:pt x="270" y="318"/>
                  </a:lnTo>
                  <a:lnTo>
                    <a:pt x="272" y="321"/>
                  </a:lnTo>
                  <a:lnTo>
                    <a:pt x="270" y="321"/>
                  </a:lnTo>
                  <a:lnTo>
                    <a:pt x="270" y="318"/>
                  </a:lnTo>
                  <a:lnTo>
                    <a:pt x="270" y="321"/>
                  </a:lnTo>
                  <a:lnTo>
                    <a:pt x="270" y="318"/>
                  </a:lnTo>
                  <a:lnTo>
                    <a:pt x="268" y="318"/>
                  </a:lnTo>
                  <a:lnTo>
                    <a:pt x="268" y="321"/>
                  </a:lnTo>
                  <a:lnTo>
                    <a:pt x="268" y="323"/>
                  </a:lnTo>
                  <a:lnTo>
                    <a:pt x="268" y="326"/>
                  </a:lnTo>
                  <a:lnTo>
                    <a:pt x="265" y="326"/>
                  </a:lnTo>
                  <a:lnTo>
                    <a:pt x="268" y="326"/>
                  </a:lnTo>
                  <a:lnTo>
                    <a:pt x="265" y="326"/>
                  </a:lnTo>
                  <a:lnTo>
                    <a:pt x="268" y="326"/>
                  </a:lnTo>
                  <a:lnTo>
                    <a:pt x="265" y="326"/>
                  </a:lnTo>
                  <a:lnTo>
                    <a:pt x="265" y="328"/>
                  </a:lnTo>
                  <a:lnTo>
                    <a:pt x="265" y="326"/>
                  </a:lnTo>
                  <a:lnTo>
                    <a:pt x="263" y="326"/>
                  </a:lnTo>
                  <a:lnTo>
                    <a:pt x="263" y="328"/>
                  </a:lnTo>
                  <a:lnTo>
                    <a:pt x="263" y="330"/>
                  </a:lnTo>
                  <a:lnTo>
                    <a:pt x="263" y="333"/>
                  </a:lnTo>
                  <a:lnTo>
                    <a:pt x="263" y="330"/>
                  </a:lnTo>
                  <a:lnTo>
                    <a:pt x="261" y="330"/>
                  </a:lnTo>
                  <a:lnTo>
                    <a:pt x="258" y="330"/>
                  </a:lnTo>
                  <a:lnTo>
                    <a:pt x="261" y="330"/>
                  </a:lnTo>
                  <a:lnTo>
                    <a:pt x="261" y="333"/>
                  </a:lnTo>
                  <a:lnTo>
                    <a:pt x="261" y="330"/>
                  </a:lnTo>
                  <a:lnTo>
                    <a:pt x="261" y="333"/>
                  </a:lnTo>
                  <a:lnTo>
                    <a:pt x="263" y="333"/>
                  </a:lnTo>
                  <a:lnTo>
                    <a:pt x="261" y="333"/>
                  </a:lnTo>
                  <a:lnTo>
                    <a:pt x="261" y="335"/>
                  </a:lnTo>
                  <a:lnTo>
                    <a:pt x="261" y="333"/>
                  </a:lnTo>
                  <a:lnTo>
                    <a:pt x="261" y="335"/>
                  </a:lnTo>
                  <a:lnTo>
                    <a:pt x="261" y="333"/>
                  </a:lnTo>
                  <a:lnTo>
                    <a:pt x="258" y="333"/>
                  </a:lnTo>
                  <a:lnTo>
                    <a:pt x="258" y="330"/>
                  </a:lnTo>
                  <a:lnTo>
                    <a:pt x="258" y="333"/>
                  </a:lnTo>
                  <a:lnTo>
                    <a:pt x="256" y="330"/>
                  </a:lnTo>
                  <a:lnTo>
                    <a:pt x="256" y="328"/>
                  </a:lnTo>
                  <a:lnTo>
                    <a:pt x="253" y="328"/>
                  </a:lnTo>
                  <a:lnTo>
                    <a:pt x="256" y="328"/>
                  </a:lnTo>
                  <a:lnTo>
                    <a:pt x="253" y="330"/>
                  </a:lnTo>
                  <a:lnTo>
                    <a:pt x="256" y="330"/>
                  </a:lnTo>
                  <a:lnTo>
                    <a:pt x="253" y="330"/>
                  </a:lnTo>
                  <a:lnTo>
                    <a:pt x="256" y="330"/>
                  </a:lnTo>
                  <a:lnTo>
                    <a:pt x="253" y="330"/>
                  </a:lnTo>
                  <a:lnTo>
                    <a:pt x="251" y="330"/>
                  </a:lnTo>
                  <a:lnTo>
                    <a:pt x="251" y="328"/>
                  </a:lnTo>
                  <a:lnTo>
                    <a:pt x="249" y="328"/>
                  </a:lnTo>
                  <a:lnTo>
                    <a:pt x="251" y="330"/>
                  </a:lnTo>
                  <a:lnTo>
                    <a:pt x="253" y="330"/>
                  </a:lnTo>
                  <a:lnTo>
                    <a:pt x="253" y="333"/>
                  </a:lnTo>
                  <a:lnTo>
                    <a:pt x="256" y="333"/>
                  </a:lnTo>
                  <a:lnTo>
                    <a:pt x="253" y="333"/>
                  </a:lnTo>
                  <a:lnTo>
                    <a:pt x="253" y="335"/>
                  </a:lnTo>
                  <a:lnTo>
                    <a:pt x="253" y="333"/>
                  </a:lnTo>
                  <a:lnTo>
                    <a:pt x="251" y="333"/>
                  </a:lnTo>
                  <a:lnTo>
                    <a:pt x="251" y="335"/>
                  </a:lnTo>
                  <a:lnTo>
                    <a:pt x="251" y="333"/>
                  </a:lnTo>
                  <a:lnTo>
                    <a:pt x="253" y="333"/>
                  </a:lnTo>
                  <a:lnTo>
                    <a:pt x="251" y="333"/>
                  </a:lnTo>
                  <a:lnTo>
                    <a:pt x="249" y="330"/>
                  </a:lnTo>
                  <a:lnTo>
                    <a:pt x="249" y="333"/>
                  </a:lnTo>
                  <a:lnTo>
                    <a:pt x="249" y="335"/>
                  </a:lnTo>
                  <a:lnTo>
                    <a:pt x="251" y="335"/>
                  </a:lnTo>
                  <a:lnTo>
                    <a:pt x="249" y="335"/>
                  </a:lnTo>
                  <a:lnTo>
                    <a:pt x="246" y="335"/>
                  </a:lnTo>
                  <a:lnTo>
                    <a:pt x="246" y="337"/>
                  </a:lnTo>
                  <a:lnTo>
                    <a:pt x="244" y="337"/>
                  </a:lnTo>
                  <a:lnTo>
                    <a:pt x="244" y="335"/>
                  </a:lnTo>
                  <a:lnTo>
                    <a:pt x="244" y="337"/>
                  </a:lnTo>
                  <a:lnTo>
                    <a:pt x="244" y="335"/>
                  </a:lnTo>
                  <a:lnTo>
                    <a:pt x="244" y="337"/>
                  </a:lnTo>
                  <a:lnTo>
                    <a:pt x="244" y="340"/>
                  </a:lnTo>
                  <a:lnTo>
                    <a:pt x="244" y="337"/>
                  </a:lnTo>
                  <a:lnTo>
                    <a:pt x="244" y="340"/>
                  </a:lnTo>
                  <a:lnTo>
                    <a:pt x="244" y="342"/>
                  </a:lnTo>
                  <a:lnTo>
                    <a:pt x="242" y="342"/>
                  </a:lnTo>
                  <a:lnTo>
                    <a:pt x="242" y="340"/>
                  </a:lnTo>
                  <a:lnTo>
                    <a:pt x="239" y="342"/>
                  </a:lnTo>
                  <a:lnTo>
                    <a:pt x="239" y="340"/>
                  </a:lnTo>
                  <a:lnTo>
                    <a:pt x="239" y="342"/>
                  </a:lnTo>
                  <a:lnTo>
                    <a:pt x="242" y="342"/>
                  </a:lnTo>
                  <a:lnTo>
                    <a:pt x="242" y="345"/>
                  </a:lnTo>
                  <a:lnTo>
                    <a:pt x="239" y="345"/>
                  </a:lnTo>
                  <a:lnTo>
                    <a:pt x="237" y="342"/>
                  </a:lnTo>
                  <a:lnTo>
                    <a:pt x="237" y="345"/>
                  </a:lnTo>
                  <a:lnTo>
                    <a:pt x="234" y="345"/>
                  </a:lnTo>
                  <a:lnTo>
                    <a:pt x="232" y="345"/>
                  </a:lnTo>
                  <a:lnTo>
                    <a:pt x="234" y="345"/>
                  </a:lnTo>
                  <a:lnTo>
                    <a:pt x="237" y="345"/>
                  </a:lnTo>
                  <a:lnTo>
                    <a:pt x="239" y="345"/>
                  </a:lnTo>
                  <a:lnTo>
                    <a:pt x="242" y="345"/>
                  </a:lnTo>
                  <a:lnTo>
                    <a:pt x="244" y="345"/>
                  </a:lnTo>
                  <a:lnTo>
                    <a:pt x="244" y="347"/>
                  </a:lnTo>
                  <a:lnTo>
                    <a:pt x="242" y="347"/>
                  </a:lnTo>
                  <a:lnTo>
                    <a:pt x="239" y="347"/>
                  </a:lnTo>
                  <a:lnTo>
                    <a:pt x="239" y="345"/>
                  </a:lnTo>
                  <a:lnTo>
                    <a:pt x="239" y="347"/>
                  </a:lnTo>
                  <a:lnTo>
                    <a:pt x="242" y="347"/>
                  </a:lnTo>
                  <a:lnTo>
                    <a:pt x="242" y="349"/>
                  </a:lnTo>
                  <a:lnTo>
                    <a:pt x="242" y="347"/>
                  </a:lnTo>
                  <a:lnTo>
                    <a:pt x="244" y="347"/>
                  </a:lnTo>
                  <a:lnTo>
                    <a:pt x="244" y="349"/>
                  </a:lnTo>
                  <a:lnTo>
                    <a:pt x="242" y="349"/>
                  </a:lnTo>
                  <a:lnTo>
                    <a:pt x="239" y="349"/>
                  </a:lnTo>
                  <a:lnTo>
                    <a:pt x="242" y="349"/>
                  </a:lnTo>
                  <a:lnTo>
                    <a:pt x="242" y="352"/>
                  </a:lnTo>
                  <a:lnTo>
                    <a:pt x="239" y="352"/>
                  </a:lnTo>
                  <a:lnTo>
                    <a:pt x="239" y="354"/>
                  </a:lnTo>
                  <a:lnTo>
                    <a:pt x="237" y="354"/>
                  </a:lnTo>
                  <a:lnTo>
                    <a:pt x="237" y="352"/>
                  </a:lnTo>
                  <a:lnTo>
                    <a:pt x="237" y="349"/>
                  </a:lnTo>
                  <a:lnTo>
                    <a:pt x="234" y="349"/>
                  </a:lnTo>
                  <a:lnTo>
                    <a:pt x="234" y="352"/>
                  </a:lnTo>
                  <a:lnTo>
                    <a:pt x="232" y="352"/>
                  </a:lnTo>
                  <a:lnTo>
                    <a:pt x="234" y="352"/>
                  </a:lnTo>
                  <a:lnTo>
                    <a:pt x="232" y="352"/>
                  </a:lnTo>
                  <a:lnTo>
                    <a:pt x="234" y="352"/>
                  </a:lnTo>
                  <a:lnTo>
                    <a:pt x="232" y="352"/>
                  </a:lnTo>
                  <a:lnTo>
                    <a:pt x="234" y="352"/>
                  </a:lnTo>
                  <a:lnTo>
                    <a:pt x="234" y="354"/>
                  </a:lnTo>
                  <a:lnTo>
                    <a:pt x="232" y="354"/>
                  </a:lnTo>
                  <a:lnTo>
                    <a:pt x="234" y="354"/>
                  </a:lnTo>
                  <a:lnTo>
                    <a:pt x="234" y="352"/>
                  </a:lnTo>
                  <a:lnTo>
                    <a:pt x="237" y="352"/>
                  </a:lnTo>
                  <a:lnTo>
                    <a:pt x="234" y="354"/>
                  </a:lnTo>
                  <a:lnTo>
                    <a:pt x="237" y="354"/>
                  </a:lnTo>
                  <a:lnTo>
                    <a:pt x="234" y="354"/>
                  </a:lnTo>
                  <a:lnTo>
                    <a:pt x="234" y="356"/>
                  </a:lnTo>
                  <a:lnTo>
                    <a:pt x="232" y="356"/>
                  </a:lnTo>
                  <a:lnTo>
                    <a:pt x="232" y="354"/>
                  </a:lnTo>
                  <a:lnTo>
                    <a:pt x="232" y="356"/>
                  </a:lnTo>
                  <a:lnTo>
                    <a:pt x="230" y="356"/>
                  </a:lnTo>
                  <a:lnTo>
                    <a:pt x="227" y="356"/>
                  </a:lnTo>
                  <a:lnTo>
                    <a:pt x="230" y="356"/>
                  </a:lnTo>
                  <a:lnTo>
                    <a:pt x="227" y="356"/>
                  </a:lnTo>
                  <a:lnTo>
                    <a:pt x="225" y="354"/>
                  </a:lnTo>
                  <a:lnTo>
                    <a:pt x="227" y="354"/>
                  </a:lnTo>
                  <a:lnTo>
                    <a:pt x="230" y="354"/>
                  </a:lnTo>
                  <a:lnTo>
                    <a:pt x="232" y="354"/>
                  </a:lnTo>
                  <a:lnTo>
                    <a:pt x="230" y="354"/>
                  </a:lnTo>
                  <a:lnTo>
                    <a:pt x="232" y="354"/>
                  </a:lnTo>
                  <a:lnTo>
                    <a:pt x="230" y="354"/>
                  </a:lnTo>
                  <a:lnTo>
                    <a:pt x="227" y="354"/>
                  </a:lnTo>
                  <a:lnTo>
                    <a:pt x="227" y="352"/>
                  </a:lnTo>
                  <a:lnTo>
                    <a:pt x="227" y="354"/>
                  </a:lnTo>
                  <a:lnTo>
                    <a:pt x="227" y="352"/>
                  </a:lnTo>
                  <a:lnTo>
                    <a:pt x="227" y="354"/>
                  </a:lnTo>
                  <a:lnTo>
                    <a:pt x="225" y="354"/>
                  </a:lnTo>
                  <a:lnTo>
                    <a:pt x="225" y="356"/>
                  </a:lnTo>
                  <a:lnTo>
                    <a:pt x="225" y="354"/>
                  </a:lnTo>
                  <a:lnTo>
                    <a:pt x="223" y="354"/>
                  </a:lnTo>
                  <a:lnTo>
                    <a:pt x="223" y="352"/>
                  </a:lnTo>
                  <a:lnTo>
                    <a:pt x="223" y="349"/>
                  </a:lnTo>
                  <a:lnTo>
                    <a:pt x="225" y="349"/>
                  </a:lnTo>
                  <a:lnTo>
                    <a:pt x="223" y="349"/>
                  </a:lnTo>
                  <a:lnTo>
                    <a:pt x="225" y="349"/>
                  </a:lnTo>
                  <a:lnTo>
                    <a:pt x="223" y="349"/>
                  </a:lnTo>
                  <a:lnTo>
                    <a:pt x="225" y="349"/>
                  </a:lnTo>
                  <a:lnTo>
                    <a:pt x="223" y="349"/>
                  </a:lnTo>
                  <a:lnTo>
                    <a:pt x="223" y="347"/>
                  </a:lnTo>
                  <a:lnTo>
                    <a:pt x="220" y="347"/>
                  </a:lnTo>
                  <a:lnTo>
                    <a:pt x="223" y="347"/>
                  </a:lnTo>
                  <a:lnTo>
                    <a:pt x="220" y="347"/>
                  </a:lnTo>
                  <a:lnTo>
                    <a:pt x="220" y="345"/>
                  </a:lnTo>
                  <a:lnTo>
                    <a:pt x="220" y="342"/>
                  </a:lnTo>
                  <a:lnTo>
                    <a:pt x="218" y="340"/>
                  </a:lnTo>
                  <a:lnTo>
                    <a:pt x="218" y="337"/>
                  </a:lnTo>
                  <a:lnTo>
                    <a:pt x="216" y="337"/>
                  </a:lnTo>
                  <a:lnTo>
                    <a:pt x="216" y="335"/>
                  </a:lnTo>
                  <a:lnTo>
                    <a:pt x="213" y="335"/>
                  </a:lnTo>
                  <a:lnTo>
                    <a:pt x="211" y="335"/>
                  </a:lnTo>
                  <a:lnTo>
                    <a:pt x="208" y="335"/>
                  </a:lnTo>
                  <a:lnTo>
                    <a:pt x="206" y="335"/>
                  </a:lnTo>
                  <a:lnTo>
                    <a:pt x="204" y="335"/>
                  </a:lnTo>
                  <a:lnTo>
                    <a:pt x="201" y="335"/>
                  </a:lnTo>
                  <a:lnTo>
                    <a:pt x="204" y="335"/>
                  </a:lnTo>
                  <a:lnTo>
                    <a:pt x="206" y="335"/>
                  </a:lnTo>
                  <a:lnTo>
                    <a:pt x="208" y="335"/>
                  </a:lnTo>
                  <a:lnTo>
                    <a:pt x="211" y="335"/>
                  </a:lnTo>
                  <a:lnTo>
                    <a:pt x="213" y="335"/>
                  </a:lnTo>
                  <a:lnTo>
                    <a:pt x="216" y="335"/>
                  </a:lnTo>
                  <a:lnTo>
                    <a:pt x="216" y="337"/>
                  </a:lnTo>
                  <a:lnTo>
                    <a:pt x="218" y="337"/>
                  </a:lnTo>
                  <a:lnTo>
                    <a:pt x="218" y="340"/>
                  </a:lnTo>
                  <a:lnTo>
                    <a:pt x="218" y="342"/>
                  </a:lnTo>
                  <a:lnTo>
                    <a:pt x="220" y="342"/>
                  </a:lnTo>
                  <a:lnTo>
                    <a:pt x="218" y="342"/>
                  </a:lnTo>
                  <a:lnTo>
                    <a:pt x="220" y="342"/>
                  </a:lnTo>
                  <a:lnTo>
                    <a:pt x="220" y="345"/>
                  </a:lnTo>
                  <a:lnTo>
                    <a:pt x="218" y="345"/>
                  </a:lnTo>
                  <a:lnTo>
                    <a:pt x="216" y="345"/>
                  </a:lnTo>
                  <a:lnTo>
                    <a:pt x="218" y="347"/>
                  </a:lnTo>
                  <a:lnTo>
                    <a:pt x="220" y="347"/>
                  </a:lnTo>
                  <a:lnTo>
                    <a:pt x="220" y="349"/>
                  </a:lnTo>
                  <a:lnTo>
                    <a:pt x="223" y="349"/>
                  </a:lnTo>
                  <a:lnTo>
                    <a:pt x="223" y="352"/>
                  </a:lnTo>
                  <a:lnTo>
                    <a:pt x="223" y="354"/>
                  </a:lnTo>
                  <a:lnTo>
                    <a:pt x="223" y="356"/>
                  </a:lnTo>
                  <a:lnTo>
                    <a:pt x="225" y="356"/>
                  </a:lnTo>
                  <a:lnTo>
                    <a:pt x="225" y="359"/>
                  </a:lnTo>
                  <a:lnTo>
                    <a:pt x="225" y="361"/>
                  </a:lnTo>
                  <a:lnTo>
                    <a:pt x="225" y="364"/>
                  </a:lnTo>
                  <a:lnTo>
                    <a:pt x="225" y="361"/>
                  </a:lnTo>
                  <a:lnTo>
                    <a:pt x="223" y="364"/>
                  </a:lnTo>
                  <a:lnTo>
                    <a:pt x="223" y="361"/>
                  </a:lnTo>
                  <a:lnTo>
                    <a:pt x="223" y="364"/>
                  </a:lnTo>
                  <a:lnTo>
                    <a:pt x="223" y="361"/>
                  </a:lnTo>
                  <a:lnTo>
                    <a:pt x="220" y="364"/>
                  </a:lnTo>
                  <a:lnTo>
                    <a:pt x="223" y="364"/>
                  </a:lnTo>
                  <a:lnTo>
                    <a:pt x="225" y="364"/>
                  </a:lnTo>
                  <a:lnTo>
                    <a:pt x="227" y="364"/>
                  </a:lnTo>
                  <a:lnTo>
                    <a:pt x="227" y="366"/>
                  </a:lnTo>
                  <a:lnTo>
                    <a:pt x="230" y="366"/>
                  </a:lnTo>
                  <a:lnTo>
                    <a:pt x="227" y="366"/>
                  </a:lnTo>
                  <a:lnTo>
                    <a:pt x="227" y="368"/>
                  </a:lnTo>
                  <a:lnTo>
                    <a:pt x="225" y="368"/>
                  </a:lnTo>
                  <a:lnTo>
                    <a:pt x="225" y="366"/>
                  </a:lnTo>
                  <a:lnTo>
                    <a:pt x="223" y="366"/>
                  </a:lnTo>
                  <a:lnTo>
                    <a:pt x="225" y="366"/>
                  </a:lnTo>
                  <a:lnTo>
                    <a:pt x="225" y="368"/>
                  </a:lnTo>
                  <a:lnTo>
                    <a:pt x="223" y="366"/>
                  </a:lnTo>
                  <a:lnTo>
                    <a:pt x="223" y="368"/>
                  </a:lnTo>
                  <a:lnTo>
                    <a:pt x="223" y="371"/>
                  </a:lnTo>
                  <a:lnTo>
                    <a:pt x="223" y="368"/>
                  </a:lnTo>
                  <a:lnTo>
                    <a:pt x="223" y="371"/>
                  </a:lnTo>
                  <a:lnTo>
                    <a:pt x="220" y="373"/>
                  </a:lnTo>
                  <a:lnTo>
                    <a:pt x="223" y="373"/>
                  </a:lnTo>
                  <a:lnTo>
                    <a:pt x="220" y="373"/>
                  </a:lnTo>
                  <a:lnTo>
                    <a:pt x="220" y="371"/>
                  </a:lnTo>
                  <a:lnTo>
                    <a:pt x="218" y="371"/>
                  </a:lnTo>
                  <a:lnTo>
                    <a:pt x="218" y="373"/>
                  </a:lnTo>
                  <a:lnTo>
                    <a:pt x="216" y="373"/>
                  </a:lnTo>
                  <a:lnTo>
                    <a:pt x="216" y="371"/>
                  </a:lnTo>
                  <a:lnTo>
                    <a:pt x="216" y="373"/>
                  </a:lnTo>
                  <a:lnTo>
                    <a:pt x="216" y="375"/>
                  </a:lnTo>
                  <a:lnTo>
                    <a:pt x="218" y="375"/>
                  </a:lnTo>
                  <a:lnTo>
                    <a:pt x="216" y="375"/>
                  </a:lnTo>
                  <a:lnTo>
                    <a:pt x="218" y="375"/>
                  </a:lnTo>
                  <a:lnTo>
                    <a:pt x="216" y="375"/>
                  </a:lnTo>
                  <a:lnTo>
                    <a:pt x="218" y="375"/>
                  </a:lnTo>
                  <a:lnTo>
                    <a:pt x="218" y="378"/>
                  </a:lnTo>
                  <a:lnTo>
                    <a:pt x="216" y="378"/>
                  </a:lnTo>
                  <a:lnTo>
                    <a:pt x="216" y="375"/>
                  </a:lnTo>
                  <a:lnTo>
                    <a:pt x="213" y="375"/>
                  </a:lnTo>
                  <a:lnTo>
                    <a:pt x="211" y="375"/>
                  </a:lnTo>
                  <a:lnTo>
                    <a:pt x="211" y="373"/>
                  </a:lnTo>
                  <a:lnTo>
                    <a:pt x="211" y="371"/>
                  </a:lnTo>
                  <a:lnTo>
                    <a:pt x="208" y="371"/>
                  </a:lnTo>
                  <a:lnTo>
                    <a:pt x="208" y="368"/>
                  </a:lnTo>
                  <a:lnTo>
                    <a:pt x="208" y="371"/>
                  </a:lnTo>
                  <a:lnTo>
                    <a:pt x="208" y="368"/>
                  </a:lnTo>
                  <a:lnTo>
                    <a:pt x="206" y="368"/>
                  </a:lnTo>
                  <a:lnTo>
                    <a:pt x="208" y="368"/>
                  </a:lnTo>
                  <a:lnTo>
                    <a:pt x="206" y="368"/>
                  </a:lnTo>
                  <a:lnTo>
                    <a:pt x="206" y="371"/>
                  </a:lnTo>
                  <a:lnTo>
                    <a:pt x="208" y="368"/>
                  </a:lnTo>
                  <a:lnTo>
                    <a:pt x="208" y="371"/>
                  </a:lnTo>
                  <a:lnTo>
                    <a:pt x="206" y="373"/>
                  </a:lnTo>
                  <a:lnTo>
                    <a:pt x="204" y="373"/>
                  </a:lnTo>
                  <a:lnTo>
                    <a:pt x="206" y="373"/>
                  </a:lnTo>
                  <a:lnTo>
                    <a:pt x="206" y="375"/>
                  </a:lnTo>
                  <a:lnTo>
                    <a:pt x="206" y="378"/>
                  </a:lnTo>
                  <a:lnTo>
                    <a:pt x="204" y="378"/>
                  </a:lnTo>
                  <a:lnTo>
                    <a:pt x="206" y="378"/>
                  </a:lnTo>
                  <a:lnTo>
                    <a:pt x="206" y="380"/>
                  </a:lnTo>
                  <a:lnTo>
                    <a:pt x="206" y="383"/>
                  </a:lnTo>
                  <a:lnTo>
                    <a:pt x="206" y="385"/>
                  </a:lnTo>
                  <a:lnTo>
                    <a:pt x="206" y="383"/>
                  </a:lnTo>
                  <a:lnTo>
                    <a:pt x="206" y="380"/>
                  </a:lnTo>
                  <a:lnTo>
                    <a:pt x="208" y="380"/>
                  </a:lnTo>
                  <a:lnTo>
                    <a:pt x="208" y="383"/>
                  </a:lnTo>
                  <a:lnTo>
                    <a:pt x="208" y="385"/>
                  </a:lnTo>
                  <a:lnTo>
                    <a:pt x="208" y="383"/>
                  </a:lnTo>
                  <a:lnTo>
                    <a:pt x="208" y="385"/>
                  </a:lnTo>
                  <a:lnTo>
                    <a:pt x="211" y="385"/>
                  </a:lnTo>
                  <a:lnTo>
                    <a:pt x="208" y="385"/>
                  </a:lnTo>
                  <a:lnTo>
                    <a:pt x="211" y="385"/>
                  </a:lnTo>
                  <a:lnTo>
                    <a:pt x="213" y="385"/>
                  </a:lnTo>
                  <a:lnTo>
                    <a:pt x="216" y="385"/>
                  </a:lnTo>
                  <a:lnTo>
                    <a:pt x="216" y="387"/>
                  </a:lnTo>
                  <a:lnTo>
                    <a:pt x="216" y="385"/>
                  </a:lnTo>
                  <a:lnTo>
                    <a:pt x="216" y="387"/>
                  </a:lnTo>
                  <a:lnTo>
                    <a:pt x="213" y="387"/>
                  </a:lnTo>
                  <a:lnTo>
                    <a:pt x="216" y="387"/>
                  </a:lnTo>
                  <a:lnTo>
                    <a:pt x="213" y="387"/>
                  </a:lnTo>
                  <a:lnTo>
                    <a:pt x="213" y="390"/>
                  </a:lnTo>
                  <a:lnTo>
                    <a:pt x="211" y="390"/>
                  </a:lnTo>
                  <a:lnTo>
                    <a:pt x="211" y="387"/>
                  </a:lnTo>
                  <a:lnTo>
                    <a:pt x="211" y="390"/>
                  </a:lnTo>
                  <a:lnTo>
                    <a:pt x="211" y="387"/>
                  </a:lnTo>
                  <a:lnTo>
                    <a:pt x="213" y="387"/>
                  </a:lnTo>
                  <a:lnTo>
                    <a:pt x="211" y="387"/>
                  </a:lnTo>
                  <a:lnTo>
                    <a:pt x="211" y="390"/>
                  </a:lnTo>
                  <a:lnTo>
                    <a:pt x="211" y="387"/>
                  </a:lnTo>
                  <a:lnTo>
                    <a:pt x="211" y="390"/>
                  </a:lnTo>
                  <a:lnTo>
                    <a:pt x="211" y="392"/>
                  </a:lnTo>
                  <a:lnTo>
                    <a:pt x="208" y="392"/>
                  </a:lnTo>
                  <a:lnTo>
                    <a:pt x="208" y="394"/>
                  </a:lnTo>
                  <a:lnTo>
                    <a:pt x="208" y="397"/>
                  </a:lnTo>
                  <a:lnTo>
                    <a:pt x="206" y="397"/>
                  </a:lnTo>
                  <a:lnTo>
                    <a:pt x="206" y="399"/>
                  </a:lnTo>
                  <a:lnTo>
                    <a:pt x="208" y="399"/>
                  </a:lnTo>
                  <a:lnTo>
                    <a:pt x="206" y="399"/>
                  </a:lnTo>
                  <a:lnTo>
                    <a:pt x="206" y="402"/>
                  </a:lnTo>
                  <a:lnTo>
                    <a:pt x="204" y="402"/>
                  </a:lnTo>
                  <a:lnTo>
                    <a:pt x="206" y="402"/>
                  </a:lnTo>
                  <a:lnTo>
                    <a:pt x="204" y="402"/>
                  </a:lnTo>
                  <a:lnTo>
                    <a:pt x="206" y="402"/>
                  </a:lnTo>
                  <a:lnTo>
                    <a:pt x="204" y="402"/>
                  </a:lnTo>
                  <a:lnTo>
                    <a:pt x="206" y="404"/>
                  </a:lnTo>
                  <a:lnTo>
                    <a:pt x="204" y="404"/>
                  </a:lnTo>
                  <a:lnTo>
                    <a:pt x="206" y="404"/>
                  </a:lnTo>
                  <a:lnTo>
                    <a:pt x="204" y="404"/>
                  </a:lnTo>
                  <a:lnTo>
                    <a:pt x="206" y="404"/>
                  </a:lnTo>
                  <a:lnTo>
                    <a:pt x="204" y="404"/>
                  </a:lnTo>
                  <a:lnTo>
                    <a:pt x="206" y="404"/>
                  </a:lnTo>
                  <a:lnTo>
                    <a:pt x="204" y="404"/>
                  </a:lnTo>
                  <a:lnTo>
                    <a:pt x="206" y="404"/>
                  </a:lnTo>
                  <a:lnTo>
                    <a:pt x="206" y="406"/>
                  </a:lnTo>
                  <a:lnTo>
                    <a:pt x="204" y="406"/>
                  </a:lnTo>
                  <a:lnTo>
                    <a:pt x="206" y="406"/>
                  </a:lnTo>
                  <a:lnTo>
                    <a:pt x="204" y="406"/>
                  </a:lnTo>
                  <a:lnTo>
                    <a:pt x="204" y="409"/>
                  </a:lnTo>
                  <a:lnTo>
                    <a:pt x="204" y="406"/>
                  </a:lnTo>
                  <a:lnTo>
                    <a:pt x="206" y="409"/>
                  </a:lnTo>
                  <a:lnTo>
                    <a:pt x="204" y="409"/>
                  </a:lnTo>
                  <a:lnTo>
                    <a:pt x="206" y="409"/>
                  </a:lnTo>
                  <a:lnTo>
                    <a:pt x="204" y="409"/>
                  </a:lnTo>
                  <a:lnTo>
                    <a:pt x="206" y="409"/>
                  </a:lnTo>
                  <a:lnTo>
                    <a:pt x="208" y="409"/>
                  </a:lnTo>
                  <a:lnTo>
                    <a:pt x="206" y="409"/>
                  </a:lnTo>
                  <a:lnTo>
                    <a:pt x="206" y="411"/>
                  </a:lnTo>
                  <a:lnTo>
                    <a:pt x="206" y="413"/>
                  </a:lnTo>
                  <a:lnTo>
                    <a:pt x="206" y="416"/>
                  </a:lnTo>
                  <a:lnTo>
                    <a:pt x="206" y="413"/>
                  </a:lnTo>
                  <a:lnTo>
                    <a:pt x="208" y="413"/>
                  </a:lnTo>
                  <a:lnTo>
                    <a:pt x="211" y="416"/>
                  </a:lnTo>
                  <a:lnTo>
                    <a:pt x="211" y="413"/>
                  </a:lnTo>
                  <a:lnTo>
                    <a:pt x="211" y="416"/>
                  </a:lnTo>
                  <a:lnTo>
                    <a:pt x="211" y="418"/>
                  </a:lnTo>
                  <a:lnTo>
                    <a:pt x="211" y="421"/>
                  </a:lnTo>
                  <a:lnTo>
                    <a:pt x="208" y="421"/>
                  </a:lnTo>
                  <a:lnTo>
                    <a:pt x="208" y="418"/>
                  </a:lnTo>
                  <a:lnTo>
                    <a:pt x="206" y="418"/>
                  </a:lnTo>
                  <a:lnTo>
                    <a:pt x="208" y="418"/>
                  </a:lnTo>
                  <a:lnTo>
                    <a:pt x="206" y="418"/>
                  </a:lnTo>
                  <a:lnTo>
                    <a:pt x="206" y="416"/>
                  </a:lnTo>
                  <a:lnTo>
                    <a:pt x="204" y="416"/>
                  </a:lnTo>
                  <a:lnTo>
                    <a:pt x="204" y="413"/>
                  </a:lnTo>
                  <a:lnTo>
                    <a:pt x="204" y="416"/>
                  </a:lnTo>
                  <a:lnTo>
                    <a:pt x="206" y="416"/>
                  </a:lnTo>
                  <a:lnTo>
                    <a:pt x="206" y="418"/>
                  </a:lnTo>
                  <a:lnTo>
                    <a:pt x="206" y="416"/>
                  </a:lnTo>
                  <a:lnTo>
                    <a:pt x="204" y="416"/>
                  </a:lnTo>
                  <a:lnTo>
                    <a:pt x="206" y="418"/>
                  </a:lnTo>
                  <a:lnTo>
                    <a:pt x="204" y="418"/>
                  </a:lnTo>
                  <a:lnTo>
                    <a:pt x="204" y="416"/>
                  </a:lnTo>
                  <a:lnTo>
                    <a:pt x="204" y="418"/>
                  </a:lnTo>
                  <a:lnTo>
                    <a:pt x="204" y="416"/>
                  </a:lnTo>
                  <a:lnTo>
                    <a:pt x="201" y="416"/>
                  </a:lnTo>
                  <a:lnTo>
                    <a:pt x="201" y="413"/>
                  </a:lnTo>
                  <a:lnTo>
                    <a:pt x="201" y="416"/>
                  </a:lnTo>
                  <a:lnTo>
                    <a:pt x="201" y="413"/>
                  </a:lnTo>
                  <a:lnTo>
                    <a:pt x="199" y="413"/>
                  </a:lnTo>
                  <a:lnTo>
                    <a:pt x="197" y="413"/>
                  </a:lnTo>
                  <a:lnTo>
                    <a:pt x="197" y="416"/>
                  </a:lnTo>
                  <a:lnTo>
                    <a:pt x="199" y="416"/>
                  </a:lnTo>
                  <a:lnTo>
                    <a:pt x="201" y="416"/>
                  </a:lnTo>
                  <a:lnTo>
                    <a:pt x="201" y="418"/>
                  </a:lnTo>
                  <a:lnTo>
                    <a:pt x="199" y="418"/>
                  </a:lnTo>
                  <a:lnTo>
                    <a:pt x="201" y="418"/>
                  </a:lnTo>
                  <a:lnTo>
                    <a:pt x="199" y="418"/>
                  </a:lnTo>
                  <a:lnTo>
                    <a:pt x="201" y="418"/>
                  </a:lnTo>
                  <a:lnTo>
                    <a:pt x="199" y="418"/>
                  </a:lnTo>
                  <a:lnTo>
                    <a:pt x="199" y="421"/>
                  </a:lnTo>
                  <a:lnTo>
                    <a:pt x="199" y="418"/>
                  </a:lnTo>
                  <a:lnTo>
                    <a:pt x="199" y="421"/>
                  </a:lnTo>
                  <a:lnTo>
                    <a:pt x="199" y="418"/>
                  </a:lnTo>
                  <a:lnTo>
                    <a:pt x="197" y="418"/>
                  </a:lnTo>
                  <a:lnTo>
                    <a:pt x="199" y="421"/>
                  </a:lnTo>
                  <a:lnTo>
                    <a:pt x="197" y="421"/>
                  </a:lnTo>
                  <a:lnTo>
                    <a:pt x="199" y="421"/>
                  </a:lnTo>
                  <a:lnTo>
                    <a:pt x="201" y="421"/>
                  </a:lnTo>
                  <a:lnTo>
                    <a:pt x="199" y="421"/>
                  </a:lnTo>
                  <a:lnTo>
                    <a:pt x="197" y="421"/>
                  </a:lnTo>
                  <a:lnTo>
                    <a:pt x="199" y="421"/>
                  </a:lnTo>
                  <a:lnTo>
                    <a:pt x="197" y="421"/>
                  </a:lnTo>
                  <a:lnTo>
                    <a:pt x="199" y="421"/>
                  </a:lnTo>
                  <a:lnTo>
                    <a:pt x="197" y="421"/>
                  </a:lnTo>
                  <a:lnTo>
                    <a:pt x="197" y="423"/>
                  </a:lnTo>
                  <a:lnTo>
                    <a:pt x="194" y="423"/>
                  </a:lnTo>
                  <a:lnTo>
                    <a:pt x="197" y="423"/>
                  </a:lnTo>
                  <a:lnTo>
                    <a:pt x="199" y="423"/>
                  </a:lnTo>
                  <a:lnTo>
                    <a:pt x="197" y="423"/>
                  </a:lnTo>
                  <a:lnTo>
                    <a:pt x="199" y="423"/>
                  </a:lnTo>
                  <a:lnTo>
                    <a:pt x="201" y="423"/>
                  </a:lnTo>
                  <a:lnTo>
                    <a:pt x="199" y="423"/>
                  </a:lnTo>
                  <a:lnTo>
                    <a:pt x="197" y="423"/>
                  </a:lnTo>
                  <a:lnTo>
                    <a:pt x="194" y="423"/>
                  </a:lnTo>
                  <a:lnTo>
                    <a:pt x="197" y="423"/>
                  </a:lnTo>
                  <a:lnTo>
                    <a:pt x="197" y="425"/>
                  </a:lnTo>
                  <a:lnTo>
                    <a:pt x="197" y="423"/>
                  </a:lnTo>
                  <a:lnTo>
                    <a:pt x="197" y="425"/>
                  </a:lnTo>
                  <a:lnTo>
                    <a:pt x="199" y="425"/>
                  </a:lnTo>
                  <a:lnTo>
                    <a:pt x="197" y="425"/>
                  </a:lnTo>
                  <a:lnTo>
                    <a:pt x="199" y="425"/>
                  </a:lnTo>
                  <a:lnTo>
                    <a:pt x="199" y="428"/>
                  </a:lnTo>
                  <a:lnTo>
                    <a:pt x="199" y="430"/>
                  </a:lnTo>
                  <a:lnTo>
                    <a:pt x="199" y="428"/>
                  </a:lnTo>
                  <a:lnTo>
                    <a:pt x="199" y="430"/>
                  </a:lnTo>
                  <a:lnTo>
                    <a:pt x="201" y="430"/>
                  </a:lnTo>
                  <a:lnTo>
                    <a:pt x="199" y="430"/>
                  </a:lnTo>
                  <a:lnTo>
                    <a:pt x="201" y="430"/>
                  </a:lnTo>
                  <a:lnTo>
                    <a:pt x="199" y="430"/>
                  </a:lnTo>
                  <a:lnTo>
                    <a:pt x="197" y="430"/>
                  </a:lnTo>
                  <a:lnTo>
                    <a:pt x="199" y="430"/>
                  </a:lnTo>
                  <a:lnTo>
                    <a:pt x="197" y="430"/>
                  </a:lnTo>
                  <a:lnTo>
                    <a:pt x="197" y="432"/>
                  </a:lnTo>
                  <a:lnTo>
                    <a:pt x="199" y="432"/>
                  </a:lnTo>
                  <a:lnTo>
                    <a:pt x="197" y="432"/>
                  </a:lnTo>
                  <a:lnTo>
                    <a:pt x="199" y="432"/>
                  </a:lnTo>
                  <a:lnTo>
                    <a:pt x="199" y="435"/>
                  </a:lnTo>
                  <a:lnTo>
                    <a:pt x="201" y="435"/>
                  </a:lnTo>
                  <a:lnTo>
                    <a:pt x="199" y="435"/>
                  </a:lnTo>
                  <a:lnTo>
                    <a:pt x="201" y="435"/>
                  </a:lnTo>
                  <a:lnTo>
                    <a:pt x="201" y="437"/>
                  </a:lnTo>
                  <a:lnTo>
                    <a:pt x="199" y="437"/>
                  </a:lnTo>
                  <a:lnTo>
                    <a:pt x="199" y="435"/>
                  </a:lnTo>
                  <a:lnTo>
                    <a:pt x="199" y="437"/>
                  </a:lnTo>
                  <a:lnTo>
                    <a:pt x="199" y="435"/>
                  </a:lnTo>
                  <a:lnTo>
                    <a:pt x="199" y="437"/>
                  </a:lnTo>
                  <a:lnTo>
                    <a:pt x="201" y="437"/>
                  </a:lnTo>
                  <a:lnTo>
                    <a:pt x="204" y="437"/>
                  </a:lnTo>
                  <a:lnTo>
                    <a:pt x="201" y="437"/>
                  </a:lnTo>
                  <a:lnTo>
                    <a:pt x="199" y="437"/>
                  </a:lnTo>
                  <a:lnTo>
                    <a:pt x="197" y="437"/>
                  </a:lnTo>
                  <a:lnTo>
                    <a:pt x="199" y="437"/>
                  </a:lnTo>
                  <a:lnTo>
                    <a:pt x="199" y="440"/>
                  </a:lnTo>
                  <a:lnTo>
                    <a:pt x="201" y="440"/>
                  </a:lnTo>
                  <a:lnTo>
                    <a:pt x="199" y="440"/>
                  </a:lnTo>
                  <a:lnTo>
                    <a:pt x="201" y="440"/>
                  </a:lnTo>
                  <a:lnTo>
                    <a:pt x="199" y="440"/>
                  </a:lnTo>
                  <a:lnTo>
                    <a:pt x="201" y="442"/>
                  </a:lnTo>
                  <a:lnTo>
                    <a:pt x="201" y="440"/>
                  </a:lnTo>
                  <a:lnTo>
                    <a:pt x="201" y="442"/>
                  </a:lnTo>
                  <a:lnTo>
                    <a:pt x="199" y="442"/>
                  </a:lnTo>
                  <a:lnTo>
                    <a:pt x="197" y="442"/>
                  </a:lnTo>
                  <a:lnTo>
                    <a:pt x="199" y="442"/>
                  </a:lnTo>
                  <a:lnTo>
                    <a:pt x="199" y="444"/>
                  </a:lnTo>
                  <a:lnTo>
                    <a:pt x="199" y="447"/>
                  </a:lnTo>
                  <a:lnTo>
                    <a:pt x="199" y="449"/>
                  </a:lnTo>
                  <a:lnTo>
                    <a:pt x="201" y="449"/>
                  </a:lnTo>
                  <a:lnTo>
                    <a:pt x="199" y="449"/>
                  </a:lnTo>
                  <a:lnTo>
                    <a:pt x="199" y="451"/>
                  </a:lnTo>
                  <a:lnTo>
                    <a:pt x="199" y="454"/>
                  </a:lnTo>
                  <a:lnTo>
                    <a:pt x="199" y="451"/>
                  </a:lnTo>
                  <a:lnTo>
                    <a:pt x="201" y="454"/>
                  </a:lnTo>
                  <a:lnTo>
                    <a:pt x="201" y="451"/>
                  </a:lnTo>
                  <a:lnTo>
                    <a:pt x="201" y="454"/>
                  </a:lnTo>
                  <a:lnTo>
                    <a:pt x="199" y="454"/>
                  </a:lnTo>
                  <a:lnTo>
                    <a:pt x="201" y="454"/>
                  </a:lnTo>
                  <a:lnTo>
                    <a:pt x="199" y="454"/>
                  </a:lnTo>
                  <a:lnTo>
                    <a:pt x="199" y="456"/>
                  </a:lnTo>
                  <a:lnTo>
                    <a:pt x="201" y="456"/>
                  </a:lnTo>
                  <a:lnTo>
                    <a:pt x="199" y="459"/>
                  </a:lnTo>
                  <a:lnTo>
                    <a:pt x="201" y="459"/>
                  </a:lnTo>
                  <a:lnTo>
                    <a:pt x="199" y="459"/>
                  </a:lnTo>
                  <a:lnTo>
                    <a:pt x="201" y="459"/>
                  </a:lnTo>
                  <a:lnTo>
                    <a:pt x="204" y="459"/>
                  </a:lnTo>
                  <a:lnTo>
                    <a:pt x="204" y="461"/>
                  </a:lnTo>
                  <a:lnTo>
                    <a:pt x="201" y="461"/>
                  </a:lnTo>
                  <a:lnTo>
                    <a:pt x="204" y="461"/>
                  </a:lnTo>
                  <a:lnTo>
                    <a:pt x="201" y="461"/>
                  </a:lnTo>
                  <a:lnTo>
                    <a:pt x="204" y="461"/>
                  </a:lnTo>
                  <a:lnTo>
                    <a:pt x="201" y="463"/>
                  </a:lnTo>
                  <a:lnTo>
                    <a:pt x="204" y="463"/>
                  </a:lnTo>
                  <a:lnTo>
                    <a:pt x="206" y="463"/>
                  </a:lnTo>
                  <a:lnTo>
                    <a:pt x="204" y="463"/>
                  </a:lnTo>
                  <a:lnTo>
                    <a:pt x="204" y="466"/>
                  </a:lnTo>
                  <a:lnTo>
                    <a:pt x="204" y="463"/>
                  </a:lnTo>
                  <a:lnTo>
                    <a:pt x="204" y="466"/>
                  </a:lnTo>
                  <a:lnTo>
                    <a:pt x="204" y="463"/>
                  </a:lnTo>
                  <a:lnTo>
                    <a:pt x="204" y="466"/>
                  </a:lnTo>
                  <a:lnTo>
                    <a:pt x="204" y="463"/>
                  </a:lnTo>
                  <a:lnTo>
                    <a:pt x="204" y="466"/>
                  </a:lnTo>
                  <a:lnTo>
                    <a:pt x="204" y="463"/>
                  </a:lnTo>
                  <a:lnTo>
                    <a:pt x="204" y="466"/>
                  </a:lnTo>
                  <a:lnTo>
                    <a:pt x="206" y="466"/>
                  </a:lnTo>
                  <a:lnTo>
                    <a:pt x="204" y="466"/>
                  </a:lnTo>
                  <a:lnTo>
                    <a:pt x="204" y="468"/>
                  </a:lnTo>
                  <a:lnTo>
                    <a:pt x="201" y="468"/>
                  </a:lnTo>
                  <a:lnTo>
                    <a:pt x="201" y="470"/>
                  </a:lnTo>
                  <a:lnTo>
                    <a:pt x="199" y="470"/>
                  </a:lnTo>
                  <a:lnTo>
                    <a:pt x="201" y="470"/>
                  </a:lnTo>
                  <a:lnTo>
                    <a:pt x="204" y="470"/>
                  </a:lnTo>
                  <a:lnTo>
                    <a:pt x="206" y="473"/>
                  </a:lnTo>
                  <a:lnTo>
                    <a:pt x="206" y="470"/>
                  </a:lnTo>
                  <a:lnTo>
                    <a:pt x="206" y="473"/>
                  </a:lnTo>
                  <a:lnTo>
                    <a:pt x="206" y="470"/>
                  </a:lnTo>
                  <a:lnTo>
                    <a:pt x="206" y="473"/>
                  </a:lnTo>
                  <a:lnTo>
                    <a:pt x="208" y="473"/>
                  </a:lnTo>
                  <a:lnTo>
                    <a:pt x="208" y="475"/>
                  </a:lnTo>
                  <a:lnTo>
                    <a:pt x="208" y="478"/>
                  </a:lnTo>
                  <a:lnTo>
                    <a:pt x="208" y="475"/>
                  </a:lnTo>
                  <a:lnTo>
                    <a:pt x="208" y="473"/>
                  </a:lnTo>
                  <a:lnTo>
                    <a:pt x="211" y="473"/>
                  </a:lnTo>
                  <a:lnTo>
                    <a:pt x="211" y="470"/>
                  </a:lnTo>
                  <a:lnTo>
                    <a:pt x="211" y="473"/>
                  </a:lnTo>
                  <a:lnTo>
                    <a:pt x="208" y="473"/>
                  </a:lnTo>
                  <a:lnTo>
                    <a:pt x="211" y="473"/>
                  </a:lnTo>
                  <a:lnTo>
                    <a:pt x="211" y="470"/>
                  </a:lnTo>
                  <a:lnTo>
                    <a:pt x="213" y="470"/>
                  </a:lnTo>
                  <a:lnTo>
                    <a:pt x="211" y="470"/>
                  </a:lnTo>
                  <a:lnTo>
                    <a:pt x="211" y="473"/>
                  </a:lnTo>
                  <a:lnTo>
                    <a:pt x="211" y="470"/>
                  </a:lnTo>
                  <a:lnTo>
                    <a:pt x="211" y="473"/>
                  </a:lnTo>
                  <a:lnTo>
                    <a:pt x="213" y="473"/>
                  </a:lnTo>
                  <a:lnTo>
                    <a:pt x="216" y="473"/>
                  </a:lnTo>
                  <a:lnTo>
                    <a:pt x="213" y="475"/>
                  </a:lnTo>
                  <a:lnTo>
                    <a:pt x="213" y="478"/>
                  </a:lnTo>
                  <a:lnTo>
                    <a:pt x="216" y="478"/>
                  </a:lnTo>
                  <a:lnTo>
                    <a:pt x="213" y="478"/>
                  </a:lnTo>
                  <a:lnTo>
                    <a:pt x="216" y="478"/>
                  </a:lnTo>
                  <a:lnTo>
                    <a:pt x="216" y="480"/>
                  </a:lnTo>
                  <a:lnTo>
                    <a:pt x="216" y="478"/>
                  </a:lnTo>
                  <a:lnTo>
                    <a:pt x="216" y="480"/>
                  </a:lnTo>
                  <a:lnTo>
                    <a:pt x="216" y="478"/>
                  </a:lnTo>
                  <a:lnTo>
                    <a:pt x="216" y="480"/>
                  </a:lnTo>
                  <a:lnTo>
                    <a:pt x="216" y="478"/>
                  </a:lnTo>
                  <a:lnTo>
                    <a:pt x="218" y="478"/>
                  </a:lnTo>
                  <a:lnTo>
                    <a:pt x="216" y="478"/>
                  </a:lnTo>
                  <a:lnTo>
                    <a:pt x="218" y="478"/>
                  </a:lnTo>
                  <a:lnTo>
                    <a:pt x="216" y="478"/>
                  </a:lnTo>
                  <a:lnTo>
                    <a:pt x="218" y="480"/>
                  </a:lnTo>
                  <a:lnTo>
                    <a:pt x="218" y="478"/>
                  </a:lnTo>
                  <a:lnTo>
                    <a:pt x="218" y="480"/>
                  </a:lnTo>
                  <a:lnTo>
                    <a:pt x="218" y="478"/>
                  </a:lnTo>
                  <a:lnTo>
                    <a:pt x="218" y="480"/>
                  </a:lnTo>
                  <a:lnTo>
                    <a:pt x="218" y="478"/>
                  </a:lnTo>
                  <a:lnTo>
                    <a:pt x="218" y="475"/>
                  </a:lnTo>
                  <a:lnTo>
                    <a:pt x="220" y="475"/>
                  </a:lnTo>
                  <a:lnTo>
                    <a:pt x="223" y="475"/>
                  </a:lnTo>
                  <a:lnTo>
                    <a:pt x="225" y="475"/>
                  </a:lnTo>
                  <a:lnTo>
                    <a:pt x="227" y="475"/>
                  </a:lnTo>
                  <a:lnTo>
                    <a:pt x="225" y="475"/>
                  </a:lnTo>
                  <a:lnTo>
                    <a:pt x="227" y="475"/>
                  </a:lnTo>
                  <a:lnTo>
                    <a:pt x="227" y="478"/>
                  </a:lnTo>
                  <a:lnTo>
                    <a:pt x="227" y="475"/>
                  </a:lnTo>
                  <a:lnTo>
                    <a:pt x="227" y="478"/>
                  </a:lnTo>
                  <a:lnTo>
                    <a:pt x="227" y="475"/>
                  </a:lnTo>
                  <a:lnTo>
                    <a:pt x="227" y="478"/>
                  </a:lnTo>
                  <a:lnTo>
                    <a:pt x="227" y="480"/>
                  </a:lnTo>
                  <a:lnTo>
                    <a:pt x="227" y="478"/>
                  </a:lnTo>
                  <a:lnTo>
                    <a:pt x="227" y="480"/>
                  </a:lnTo>
                  <a:lnTo>
                    <a:pt x="225" y="480"/>
                  </a:lnTo>
                  <a:lnTo>
                    <a:pt x="227" y="480"/>
                  </a:lnTo>
                  <a:lnTo>
                    <a:pt x="230" y="480"/>
                  </a:lnTo>
                  <a:lnTo>
                    <a:pt x="227" y="480"/>
                  </a:lnTo>
                  <a:lnTo>
                    <a:pt x="230" y="480"/>
                  </a:lnTo>
                  <a:lnTo>
                    <a:pt x="230" y="482"/>
                  </a:lnTo>
                  <a:lnTo>
                    <a:pt x="230" y="480"/>
                  </a:lnTo>
                  <a:lnTo>
                    <a:pt x="230" y="482"/>
                  </a:lnTo>
                  <a:lnTo>
                    <a:pt x="230" y="485"/>
                  </a:lnTo>
                  <a:lnTo>
                    <a:pt x="230" y="482"/>
                  </a:lnTo>
                  <a:lnTo>
                    <a:pt x="230" y="485"/>
                  </a:lnTo>
                  <a:lnTo>
                    <a:pt x="232" y="485"/>
                  </a:lnTo>
                  <a:lnTo>
                    <a:pt x="232" y="482"/>
                  </a:lnTo>
                  <a:lnTo>
                    <a:pt x="232" y="485"/>
                  </a:lnTo>
                  <a:lnTo>
                    <a:pt x="232" y="482"/>
                  </a:lnTo>
                  <a:lnTo>
                    <a:pt x="232" y="485"/>
                  </a:lnTo>
                  <a:lnTo>
                    <a:pt x="234" y="485"/>
                  </a:lnTo>
                  <a:lnTo>
                    <a:pt x="232" y="485"/>
                  </a:lnTo>
                  <a:lnTo>
                    <a:pt x="234" y="485"/>
                  </a:lnTo>
                  <a:lnTo>
                    <a:pt x="234" y="487"/>
                  </a:lnTo>
                  <a:lnTo>
                    <a:pt x="234" y="485"/>
                  </a:lnTo>
                  <a:lnTo>
                    <a:pt x="234" y="487"/>
                  </a:lnTo>
                  <a:lnTo>
                    <a:pt x="234" y="485"/>
                  </a:lnTo>
                  <a:lnTo>
                    <a:pt x="234" y="487"/>
                  </a:lnTo>
                  <a:lnTo>
                    <a:pt x="237" y="487"/>
                  </a:lnTo>
                  <a:lnTo>
                    <a:pt x="234" y="487"/>
                  </a:lnTo>
                  <a:lnTo>
                    <a:pt x="234" y="489"/>
                  </a:lnTo>
                  <a:lnTo>
                    <a:pt x="234" y="487"/>
                  </a:lnTo>
                  <a:lnTo>
                    <a:pt x="234" y="489"/>
                  </a:lnTo>
                  <a:lnTo>
                    <a:pt x="234" y="487"/>
                  </a:lnTo>
                  <a:lnTo>
                    <a:pt x="237" y="487"/>
                  </a:lnTo>
                  <a:lnTo>
                    <a:pt x="239" y="487"/>
                  </a:lnTo>
                  <a:lnTo>
                    <a:pt x="239" y="489"/>
                  </a:lnTo>
                  <a:lnTo>
                    <a:pt x="239" y="487"/>
                  </a:lnTo>
                  <a:lnTo>
                    <a:pt x="239" y="489"/>
                  </a:lnTo>
                  <a:lnTo>
                    <a:pt x="242" y="489"/>
                  </a:lnTo>
                  <a:lnTo>
                    <a:pt x="244" y="489"/>
                  </a:lnTo>
                  <a:lnTo>
                    <a:pt x="244" y="492"/>
                  </a:lnTo>
                  <a:lnTo>
                    <a:pt x="246" y="492"/>
                  </a:lnTo>
                  <a:lnTo>
                    <a:pt x="244" y="492"/>
                  </a:lnTo>
                  <a:lnTo>
                    <a:pt x="246" y="492"/>
                  </a:lnTo>
                  <a:lnTo>
                    <a:pt x="246" y="494"/>
                  </a:lnTo>
                  <a:lnTo>
                    <a:pt x="246" y="492"/>
                  </a:lnTo>
                  <a:lnTo>
                    <a:pt x="246" y="494"/>
                  </a:lnTo>
                  <a:lnTo>
                    <a:pt x="246" y="492"/>
                  </a:lnTo>
                  <a:lnTo>
                    <a:pt x="246" y="494"/>
                  </a:lnTo>
                  <a:lnTo>
                    <a:pt x="244" y="494"/>
                  </a:lnTo>
                  <a:lnTo>
                    <a:pt x="244" y="497"/>
                  </a:lnTo>
                  <a:lnTo>
                    <a:pt x="246" y="497"/>
                  </a:lnTo>
                  <a:lnTo>
                    <a:pt x="244" y="497"/>
                  </a:lnTo>
                  <a:lnTo>
                    <a:pt x="242" y="497"/>
                  </a:lnTo>
                  <a:lnTo>
                    <a:pt x="242" y="494"/>
                  </a:lnTo>
                  <a:lnTo>
                    <a:pt x="239" y="492"/>
                  </a:lnTo>
                  <a:lnTo>
                    <a:pt x="239" y="494"/>
                  </a:lnTo>
                  <a:lnTo>
                    <a:pt x="239" y="492"/>
                  </a:lnTo>
                  <a:lnTo>
                    <a:pt x="239" y="494"/>
                  </a:lnTo>
                  <a:lnTo>
                    <a:pt x="242" y="494"/>
                  </a:lnTo>
                  <a:lnTo>
                    <a:pt x="242" y="497"/>
                  </a:lnTo>
                  <a:lnTo>
                    <a:pt x="244" y="497"/>
                  </a:lnTo>
                  <a:lnTo>
                    <a:pt x="244" y="499"/>
                  </a:lnTo>
                  <a:lnTo>
                    <a:pt x="246" y="499"/>
                  </a:lnTo>
                  <a:lnTo>
                    <a:pt x="244" y="499"/>
                  </a:lnTo>
                  <a:lnTo>
                    <a:pt x="246" y="501"/>
                  </a:lnTo>
                  <a:lnTo>
                    <a:pt x="244" y="501"/>
                  </a:lnTo>
                  <a:lnTo>
                    <a:pt x="246" y="501"/>
                  </a:lnTo>
                  <a:lnTo>
                    <a:pt x="246" y="504"/>
                  </a:lnTo>
                  <a:lnTo>
                    <a:pt x="246" y="501"/>
                  </a:lnTo>
                  <a:lnTo>
                    <a:pt x="246" y="499"/>
                  </a:lnTo>
                  <a:lnTo>
                    <a:pt x="249" y="499"/>
                  </a:lnTo>
                  <a:lnTo>
                    <a:pt x="249" y="501"/>
                  </a:lnTo>
                  <a:lnTo>
                    <a:pt x="249" y="499"/>
                  </a:lnTo>
                  <a:lnTo>
                    <a:pt x="251" y="499"/>
                  </a:lnTo>
                  <a:lnTo>
                    <a:pt x="251" y="501"/>
                  </a:lnTo>
                  <a:lnTo>
                    <a:pt x="251" y="504"/>
                  </a:lnTo>
                  <a:lnTo>
                    <a:pt x="251" y="506"/>
                  </a:lnTo>
                  <a:lnTo>
                    <a:pt x="253" y="506"/>
                  </a:lnTo>
                  <a:lnTo>
                    <a:pt x="251" y="504"/>
                  </a:lnTo>
                  <a:lnTo>
                    <a:pt x="251" y="501"/>
                  </a:lnTo>
                  <a:lnTo>
                    <a:pt x="253" y="501"/>
                  </a:lnTo>
                  <a:lnTo>
                    <a:pt x="251" y="501"/>
                  </a:lnTo>
                  <a:lnTo>
                    <a:pt x="253" y="501"/>
                  </a:lnTo>
                  <a:lnTo>
                    <a:pt x="251" y="501"/>
                  </a:lnTo>
                  <a:lnTo>
                    <a:pt x="253" y="501"/>
                  </a:lnTo>
                  <a:lnTo>
                    <a:pt x="251" y="501"/>
                  </a:lnTo>
                  <a:lnTo>
                    <a:pt x="251" y="499"/>
                  </a:lnTo>
                  <a:lnTo>
                    <a:pt x="253" y="499"/>
                  </a:lnTo>
                  <a:lnTo>
                    <a:pt x="253" y="501"/>
                  </a:lnTo>
                  <a:lnTo>
                    <a:pt x="253" y="499"/>
                  </a:lnTo>
                  <a:lnTo>
                    <a:pt x="253" y="501"/>
                  </a:lnTo>
                  <a:lnTo>
                    <a:pt x="253" y="504"/>
                  </a:lnTo>
                  <a:lnTo>
                    <a:pt x="253" y="506"/>
                  </a:lnTo>
                  <a:lnTo>
                    <a:pt x="256" y="506"/>
                  </a:lnTo>
                  <a:lnTo>
                    <a:pt x="256" y="508"/>
                  </a:lnTo>
                  <a:lnTo>
                    <a:pt x="256" y="511"/>
                  </a:lnTo>
                  <a:lnTo>
                    <a:pt x="258" y="511"/>
                  </a:lnTo>
                  <a:lnTo>
                    <a:pt x="256" y="511"/>
                  </a:lnTo>
                  <a:lnTo>
                    <a:pt x="258" y="511"/>
                  </a:lnTo>
                  <a:lnTo>
                    <a:pt x="261" y="511"/>
                  </a:lnTo>
                  <a:lnTo>
                    <a:pt x="261" y="513"/>
                  </a:lnTo>
                  <a:lnTo>
                    <a:pt x="261" y="511"/>
                  </a:lnTo>
                  <a:lnTo>
                    <a:pt x="261" y="513"/>
                  </a:lnTo>
                  <a:lnTo>
                    <a:pt x="263" y="513"/>
                  </a:lnTo>
                  <a:lnTo>
                    <a:pt x="263" y="516"/>
                  </a:lnTo>
                  <a:lnTo>
                    <a:pt x="261" y="516"/>
                  </a:lnTo>
                  <a:lnTo>
                    <a:pt x="258" y="516"/>
                  </a:lnTo>
                  <a:lnTo>
                    <a:pt x="261" y="516"/>
                  </a:lnTo>
                  <a:lnTo>
                    <a:pt x="258" y="516"/>
                  </a:lnTo>
                  <a:lnTo>
                    <a:pt x="261" y="516"/>
                  </a:lnTo>
                  <a:lnTo>
                    <a:pt x="258" y="513"/>
                  </a:lnTo>
                  <a:lnTo>
                    <a:pt x="258" y="511"/>
                  </a:lnTo>
                  <a:lnTo>
                    <a:pt x="256" y="511"/>
                  </a:lnTo>
                  <a:lnTo>
                    <a:pt x="258" y="511"/>
                  </a:lnTo>
                  <a:lnTo>
                    <a:pt x="256" y="511"/>
                  </a:lnTo>
                  <a:lnTo>
                    <a:pt x="253" y="511"/>
                  </a:lnTo>
                  <a:lnTo>
                    <a:pt x="256" y="511"/>
                  </a:lnTo>
                  <a:lnTo>
                    <a:pt x="256" y="513"/>
                  </a:lnTo>
                  <a:lnTo>
                    <a:pt x="256" y="511"/>
                  </a:lnTo>
                  <a:lnTo>
                    <a:pt x="256" y="513"/>
                  </a:lnTo>
                  <a:lnTo>
                    <a:pt x="258" y="513"/>
                  </a:lnTo>
                  <a:lnTo>
                    <a:pt x="258" y="516"/>
                  </a:lnTo>
                  <a:lnTo>
                    <a:pt x="256" y="516"/>
                  </a:lnTo>
                  <a:lnTo>
                    <a:pt x="256" y="518"/>
                  </a:lnTo>
                  <a:lnTo>
                    <a:pt x="253" y="518"/>
                  </a:lnTo>
                  <a:lnTo>
                    <a:pt x="251" y="518"/>
                  </a:lnTo>
                  <a:lnTo>
                    <a:pt x="251" y="520"/>
                  </a:lnTo>
                  <a:lnTo>
                    <a:pt x="253" y="518"/>
                  </a:lnTo>
                  <a:lnTo>
                    <a:pt x="256" y="518"/>
                  </a:lnTo>
                  <a:lnTo>
                    <a:pt x="258" y="518"/>
                  </a:lnTo>
                  <a:lnTo>
                    <a:pt x="261" y="518"/>
                  </a:lnTo>
                  <a:lnTo>
                    <a:pt x="263" y="518"/>
                  </a:lnTo>
                  <a:lnTo>
                    <a:pt x="263" y="520"/>
                  </a:lnTo>
                  <a:lnTo>
                    <a:pt x="261" y="520"/>
                  </a:lnTo>
                  <a:lnTo>
                    <a:pt x="263" y="520"/>
                  </a:lnTo>
                  <a:lnTo>
                    <a:pt x="261" y="523"/>
                  </a:lnTo>
                  <a:lnTo>
                    <a:pt x="258" y="523"/>
                  </a:lnTo>
                  <a:lnTo>
                    <a:pt x="258" y="520"/>
                  </a:lnTo>
                  <a:lnTo>
                    <a:pt x="256" y="523"/>
                  </a:lnTo>
                  <a:lnTo>
                    <a:pt x="258" y="523"/>
                  </a:lnTo>
                  <a:lnTo>
                    <a:pt x="256" y="523"/>
                  </a:lnTo>
                  <a:lnTo>
                    <a:pt x="253" y="523"/>
                  </a:lnTo>
                  <a:lnTo>
                    <a:pt x="251" y="523"/>
                  </a:lnTo>
                  <a:lnTo>
                    <a:pt x="253" y="523"/>
                  </a:lnTo>
                  <a:lnTo>
                    <a:pt x="251" y="523"/>
                  </a:lnTo>
                  <a:lnTo>
                    <a:pt x="253" y="523"/>
                  </a:lnTo>
                  <a:lnTo>
                    <a:pt x="253" y="525"/>
                  </a:lnTo>
                  <a:lnTo>
                    <a:pt x="253" y="523"/>
                  </a:lnTo>
                  <a:lnTo>
                    <a:pt x="251" y="523"/>
                  </a:lnTo>
                  <a:lnTo>
                    <a:pt x="253" y="525"/>
                  </a:lnTo>
                  <a:lnTo>
                    <a:pt x="251" y="525"/>
                  </a:lnTo>
                  <a:lnTo>
                    <a:pt x="251" y="523"/>
                  </a:lnTo>
                  <a:lnTo>
                    <a:pt x="251" y="525"/>
                  </a:lnTo>
                  <a:lnTo>
                    <a:pt x="249" y="525"/>
                  </a:lnTo>
                  <a:lnTo>
                    <a:pt x="251" y="525"/>
                  </a:lnTo>
                  <a:lnTo>
                    <a:pt x="249" y="525"/>
                  </a:lnTo>
                  <a:lnTo>
                    <a:pt x="251" y="525"/>
                  </a:lnTo>
                  <a:lnTo>
                    <a:pt x="251" y="527"/>
                  </a:lnTo>
                  <a:lnTo>
                    <a:pt x="251" y="525"/>
                  </a:lnTo>
                  <a:lnTo>
                    <a:pt x="249" y="525"/>
                  </a:lnTo>
                  <a:lnTo>
                    <a:pt x="249" y="527"/>
                  </a:lnTo>
                  <a:lnTo>
                    <a:pt x="251" y="527"/>
                  </a:lnTo>
                  <a:lnTo>
                    <a:pt x="249" y="527"/>
                  </a:lnTo>
                  <a:lnTo>
                    <a:pt x="249" y="530"/>
                  </a:lnTo>
                  <a:lnTo>
                    <a:pt x="246" y="530"/>
                  </a:lnTo>
                  <a:lnTo>
                    <a:pt x="244" y="532"/>
                  </a:lnTo>
                  <a:lnTo>
                    <a:pt x="242" y="532"/>
                  </a:lnTo>
                  <a:lnTo>
                    <a:pt x="242" y="535"/>
                  </a:lnTo>
                  <a:lnTo>
                    <a:pt x="239" y="535"/>
                  </a:lnTo>
                  <a:lnTo>
                    <a:pt x="237" y="535"/>
                  </a:lnTo>
                  <a:lnTo>
                    <a:pt x="237" y="537"/>
                  </a:lnTo>
                  <a:lnTo>
                    <a:pt x="234" y="537"/>
                  </a:lnTo>
                  <a:lnTo>
                    <a:pt x="237" y="537"/>
                  </a:lnTo>
                  <a:lnTo>
                    <a:pt x="234" y="537"/>
                  </a:lnTo>
                  <a:lnTo>
                    <a:pt x="237" y="537"/>
                  </a:lnTo>
                  <a:lnTo>
                    <a:pt x="234" y="537"/>
                  </a:lnTo>
                  <a:lnTo>
                    <a:pt x="234" y="539"/>
                  </a:lnTo>
                  <a:lnTo>
                    <a:pt x="237" y="539"/>
                  </a:lnTo>
                  <a:lnTo>
                    <a:pt x="234" y="539"/>
                  </a:lnTo>
                  <a:lnTo>
                    <a:pt x="232" y="539"/>
                  </a:lnTo>
                  <a:lnTo>
                    <a:pt x="232" y="537"/>
                  </a:lnTo>
                  <a:lnTo>
                    <a:pt x="232" y="535"/>
                  </a:lnTo>
                  <a:lnTo>
                    <a:pt x="232" y="537"/>
                  </a:lnTo>
                  <a:lnTo>
                    <a:pt x="232" y="535"/>
                  </a:lnTo>
                  <a:lnTo>
                    <a:pt x="232" y="537"/>
                  </a:lnTo>
                  <a:lnTo>
                    <a:pt x="230" y="537"/>
                  </a:lnTo>
                  <a:lnTo>
                    <a:pt x="230" y="539"/>
                  </a:lnTo>
                  <a:lnTo>
                    <a:pt x="227" y="539"/>
                  </a:lnTo>
                  <a:lnTo>
                    <a:pt x="230" y="539"/>
                  </a:lnTo>
                  <a:lnTo>
                    <a:pt x="230" y="542"/>
                  </a:lnTo>
                  <a:lnTo>
                    <a:pt x="232" y="542"/>
                  </a:lnTo>
                  <a:lnTo>
                    <a:pt x="230" y="542"/>
                  </a:lnTo>
                  <a:lnTo>
                    <a:pt x="232" y="542"/>
                  </a:lnTo>
                  <a:lnTo>
                    <a:pt x="234" y="542"/>
                  </a:lnTo>
                  <a:lnTo>
                    <a:pt x="234" y="539"/>
                  </a:lnTo>
                  <a:lnTo>
                    <a:pt x="237" y="539"/>
                  </a:lnTo>
                  <a:lnTo>
                    <a:pt x="237" y="542"/>
                  </a:lnTo>
                  <a:lnTo>
                    <a:pt x="237" y="539"/>
                  </a:lnTo>
                  <a:lnTo>
                    <a:pt x="237" y="542"/>
                  </a:lnTo>
                  <a:lnTo>
                    <a:pt x="237" y="539"/>
                  </a:lnTo>
                  <a:lnTo>
                    <a:pt x="239" y="539"/>
                  </a:lnTo>
                  <a:lnTo>
                    <a:pt x="239" y="542"/>
                  </a:lnTo>
                  <a:lnTo>
                    <a:pt x="239" y="539"/>
                  </a:lnTo>
                  <a:lnTo>
                    <a:pt x="239" y="542"/>
                  </a:lnTo>
                  <a:lnTo>
                    <a:pt x="239" y="539"/>
                  </a:lnTo>
                  <a:lnTo>
                    <a:pt x="239" y="542"/>
                  </a:lnTo>
                  <a:lnTo>
                    <a:pt x="242" y="542"/>
                  </a:lnTo>
                  <a:lnTo>
                    <a:pt x="239" y="542"/>
                  </a:lnTo>
                  <a:lnTo>
                    <a:pt x="242" y="542"/>
                  </a:lnTo>
                  <a:lnTo>
                    <a:pt x="242" y="539"/>
                  </a:lnTo>
                  <a:lnTo>
                    <a:pt x="242" y="537"/>
                  </a:lnTo>
                  <a:lnTo>
                    <a:pt x="239" y="537"/>
                  </a:lnTo>
                  <a:lnTo>
                    <a:pt x="242" y="537"/>
                  </a:lnTo>
                  <a:lnTo>
                    <a:pt x="244" y="537"/>
                  </a:lnTo>
                  <a:lnTo>
                    <a:pt x="244" y="539"/>
                  </a:lnTo>
                  <a:lnTo>
                    <a:pt x="246" y="539"/>
                  </a:lnTo>
                  <a:lnTo>
                    <a:pt x="244" y="539"/>
                  </a:lnTo>
                  <a:lnTo>
                    <a:pt x="246" y="539"/>
                  </a:lnTo>
                  <a:lnTo>
                    <a:pt x="246" y="542"/>
                  </a:lnTo>
                  <a:lnTo>
                    <a:pt x="249" y="542"/>
                  </a:lnTo>
                  <a:lnTo>
                    <a:pt x="246" y="542"/>
                  </a:lnTo>
                  <a:lnTo>
                    <a:pt x="244" y="539"/>
                  </a:lnTo>
                  <a:lnTo>
                    <a:pt x="244" y="542"/>
                  </a:lnTo>
                  <a:lnTo>
                    <a:pt x="246" y="542"/>
                  </a:lnTo>
                  <a:lnTo>
                    <a:pt x="244" y="542"/>
                  </a:lnTo>
                  <a:lnTo>
                    <a:pt x="246" y="542"/>
                  </a:lnTo>
                  <a:lnTo>
                    <a:pt x="244" y="542"/>
                  </a:lnTo>
                  <a:lnTo>
                    <a:pt x="246" y="542"/>
                  </a:lnTo>
                  <a:lnTo>
                    <a:pt x="249" y="542"/>
                  </a:lnTo>
                  <a:lnTo>
                    <a:pt x="249" y="544"/>
                  </a:lnTo>
                  <a:lnTo>
                    <a:pt x="249" y="542"/>
                  </a:lnTo>
                  <a:lnTo>
                    <a:pt x="249" y="544"/>
                  </a:lnTo>
                  <a:lnTo>
                    <a:pt x="246" y="544"/>
                  </a:lnTo>
                  <a:lnTo>
                    <a:pt x="244" y="544"/>
                  </a:lnTo>
                  <a:lnTo>
                    <a:pt x="246" y="544"/>
                  </a:lnTo>
                  <a:lnTo>
                    <a:pt x="249" y="544"/>
                  </a:lnTo>
                  <a:lnTo>
                    <a:pt x="251" y="544"/>
                  </a:lnTo>
                  <a:lnTo>
                    <a:pt x="249" y="544"/>
                  </a:lnTo>
                  <a:lnTo>
                    <a:pt x="251" y="544"/>
                  </a:lnTo>
                  <a:lnTo>
                    <a:pt x="249" y="544"/>
                  </a:lnTo>
                  <a:lnTo>
                    <a:pt x="249" y="546"/>
                  </a:lnTo>
                  <a:lnTo>
                    <a:pt x="249" y="544"/>
                  </a:lnTo>
                  <a:lnTo>
                    <a:pt x="249" y="546"/>
                  </a:lnTo>
                  <a:lnTo>
                    <a:pt x="246" y="546"/>
                  </a:lnTo>
                  <a:lnTo>
                    <a:pt x="249" y="546"/>
                  </a:lnTo>
                  <a:lnTo>
                    <a:pt x="246" y="546"/>
                  </a:lnTo>
                  <a:lnTo>
                    <a:pt x="244" y="546"/>
                  </a:lnTo>
                  <a:lnTo>
                    <a:pt x="246" y="546"/>
                  </a:lnTo>
                  <a:lnTo>
                    <a:pt x="246" y="544"/>
                  </a:lnTo>
                  <a:lnTo>
                    <a:pt x="246" y="546"/>
                  </a:lnTo>
                  <a:lnTo>
                    <a:pt x="244" y="544"/>
                  </a:lnTo>
                  <a:lnTo>
                    <a:pt x="242" y="544"/>
                  </a:lnTo>
                  <a:lnTo>
                    <a:pt x="239" y="544"/>
                  </a:lnTo>
                  <a:lnTo>
                    <a:pt x="242" y="544"/>
                  </a:lnTo>
                  <a:lnTo>
                    <a:pt x="244" y="544"/>
                  </a:lnTo>
                  <a:lnTo>
                    <a:pt x="244" y="546"/>
                  </a:lnTo>
                  <a:lnTo>
                    <a:pt x="246" y="546"/>
                  </a:lnTo>
                  <a:lnTo>
                    <a:pt x="244" y="546"/>
                  </a:lnTo>
                  <a:lnTo>
                    <a:pt x="246" y="546"/>
                  </a:lnTo>
                  <a:lnTo>
                    <a:pt x="246" y="549"/>
                  </a:lnTo>
                  <a:lnTo>
                    <a:pt x="244" y="549"/>
                  </a:lnTo>
                  <a:lnTo>
                    <a:pt x="244" y="546"/>
                  </a:lnTo>
                  <a:lnTo>
                    <a:pt x="244" y="549"/>
                  </a:lnTo>
                  <a:lnTo>
                    <a:pt x="244" y="546"/>
                  </a:lnTo>
                  <a:lnTo>
                    <a:pt x="244" y="549"/>
                  </a:lnTo>
                  <a:lnTo>
                    <a:pt x="244" y="546"/>
                  </a:lnTo>
                  <a:lnTo>
                    <a:pt x="244" y="549"/>
                  </a:lnTo>
                  <a:lnTo>
                    <a:pt x="242" y="549"/>
                  </a:lnTo>
                  <a:lnTo>
                    <a:pt x="242" y="546"/>
                  </a:lnTo>
                  <a:lnTo>
                    <a:pt x="239" y="546"/>
                  </a:lnTo>
                  <a:lnTo>
                    <a:pt x="239" y="544"/>
                  </a:lnTo>
                  <a:lnTo>
                    <a:pt x="237" y="544"/>
                  </a:lnTo>
                  <a:lnTo>
                    <a:pt x="239" y="544"/>
                  </a:lnTo>
                  <a:lnTo>
                    <a:pt x="237" y="544"/>
                  </a:lnTo>
                  <a:lnTo>
                    <a:pt x="239" y="544"/>
                  </a:lnTo>
                  <a:lnTo>
                    <a:pt x="239" y="542"/>
                  </a:lnTo>
                  <a:lnTo>
                    <a:pt x="237" y="542"/>
                  </a:lnTo>
                  <a:lnTo>
                    <a:pt x="239" y="542"/>
                  </a:lnTo>
                  <a:lnTo>
                    <a:pt x="237" y="542"/>
                  </a:lnTo>
                  <a:lnTo>
                    <a:pt x="237" y="544"/>
                  </a:lnTo>
                  <a:lnTo>
                    <a:pt x="237" y="546"/>
                  </a:lnTo>
                  <a:lnTo>
                    <a:pt x="237" y="544"/>
                  </a:lnTo>
                  <a:lnTo>
                    <a:pt x="239" y="544"/>
                  </a:lnTo>
                  <a:lnTo>
                    <a:pt x="239" y="546"/>
                  </a:lnTo>
                  <a:lnTo>
                    <a:pt x="237" y="546"/>
                  </a:lnTo>
                  <a:lnTo>
                    <a:pt x="239" y="546"/>
                  </a:lnTo>
                  <a:lnTo>
                    <a:pt x="239" y="549"/>
                  </a:lnTo>
                  <a:lnTo>
                    <a:pt x="237" y="549"/>
                  </a:lnTo>
                  <a:lnTo>
                    <a:pt x="237" y="546"/>
                  </a:lnTo>
                  <a:lnTo>
                    <a:pt x="237" y="549"/>
                  </a:lnTo>
                  <a:lnTo>
                    <a:pt x="239" y="549"/>
                  </a:lnTo>
                  <a:lnTo>
                    <a:pt x="239" y="551"/>
                  </a:lnTo>
                  <a:lnTo>
                    <a:pt x="242" y="551"/>
                  </a:lnTo>
                  <a:lnTo>
                    <a:pt x="239" y="551"/>
                  </a:lnTo>
                  <a:lnTo>
                    <a:pt x="242" y="551"/>
                  </a:lnTo>
                  <a:lnTo>
                    <a:pt x="239" y="551"/>
                  </a:lnTo>
                  <a:lnTo>
                    <a:pt x="239" y="554"/>
                  </a:lnTo>
                  <a:lnTo>
                    <a:pt x="239" y="551"/>
                  </a:lnTo>
                  <a:lnTo>
                    <a:pt x="239" y="554"/>
                  </a:lnTo>
                  <a:lnTo>
                    <a:pt x="237" y="554"/>
                  </a:lnTo>
                  <a:lnTo>
                    <a:pt x="234" y="554"/>
                  </a:lnTo>
                  <a:lnTo>
                    <a:pt x="237" y="554"/>
                  </a:lnTo>
                  <a:lnTo>
                    <a:pt x="237" y="556"/>
                  </a:lnTo>
                  <a:lnTo>
                    <a:pt x="234" y="556"/>
                  </a:lnTo>
                  <a:lnTo>
                    <a:pt x="237" y="556"/>
                  </a:lnTo>
                  <a:lnTo>
                    <a:pt x="234" y="556"/>
                  </a:lnTo>
                  <a:lnTo>
                    <a:pt x="232" y="556"/>
                  </a:lnTo>
                  <a:lnTo>
                    <a:pt x="234" y="556"/>
                  </a:lnTo>
                  <a:lnTo>
                    <a:pt x="234" y="554"/>
                  </a:lnTo>
                  <a:lnTo>
                    <a:pt x="232" y="554"/>
                  </a:lnTo>
                  <a:lnTo>
                    <a:pt x="234" y="554"/>
                  </a:lnTo>
                  <a:lnTo>
                    <a:pt x="232" y="556"/>
                  </a:lnTo>
                  <a:lnTo>
                    <a:pt x="230" y="556"/>
                  </a:lnTo>
                  <a:lnTo>
                    <a:pt x="227" y="556"/>
                  </a:lnTo>
                  <a:lnTo>
                    <a:pt x="227" y="558"/>
                  </a:lnTo>
                  <a:lnTo>
                    <a:pt x="227" y="556"/>
                  </a:lnTo>
                  <a:lnTo>
                    <a:pt x="227" y="558"/>
                  </a:lnTo>
                  <a:lnTo>
                    <a:pt x="227" y="561"/>
                  </a:lnTo>
                  <a:lnTo>
                    <a:pt x="227" y="558"/>
                  </a:lnTo>
                  <a:lnTo>
                    <a:pt x="225" y="558"/>
                  </a:lnTo>
                  <a:lnTo>
                    <a:pt x="225" y="561"/>
                  </a:lnTo>
                  <a:lnTo>
                    <a:pt x="225" y="563"/>
                  </a:lnTo>
                  <a:lnTo>
                    <a:pt x="225" y="565"/>
                  </a:lnTo>
                  <a:lnTo>
                    <a:pt x="223" y="568"/>
                  </a:lnTo>
                  <a:lnTo>
                    <a:pt x="225" y="568"/>
                  </a:lnTo>
                  <a:lnTo>
                    <a:pt x="225" y="570"/>
                  </a:lnTo>
                  <a:lnTo>
                    <a:pt x="223" y="570"/>
                  </a:lnTo>
                  <a:lnTo>
                    <a:pt x="225" y="570"/>
                  </a:lnTo>
                  <a:lnTo>
                    <a:pt x="225" y="568"/>
                  </a:lnTo>
                  <a:lnTo>
                    <a:pt x="223" y="568"/>
                  </a:lnTo>
                  <a:lnTo>
                    <a:pt x="223" y="565"/>
                  </a:lnTo>
                  <a:lnTo>
                    <a:pt x="223" y="563"/>
                  </a:lnTo>
                  <a:lnTo>
                    <a:pt x="223" y="565"/>
                  </a:lnTo>
                  <a:lnTo>
                    <a:pt x="220" y="565"/>
                  </a:lnTo>
                  <a:lnTo>
                    <a:pt x="223" y="565"/>
                  </a:lnTo>
                  <a:lnTo>
                    <a:pt x="220" y="565"/>
                  </a:lnTo>
                  <a:lnTo>
                    <a:pt x="223" y="565"/>
                  </a:lnTo>
                  <a:lnTo>
                    <a:pt x="220" y="568"/>
                  </a:lnTo>
                  <a:lnTo>
                    <a:pt x="220" y="565"/>
                  </a:lnTo>
                  <a:lnTo>
                    <a:pt x="220" y="568"/>
                  </a:lnTo>
                  <a:lnTo>
                    <a:pt x="223" y="568"/>
                  </a:lnTo>
                  <a:lnTo>
                    <a:pt x="223" y="570"/>
                  </a:lnTo>
                  <a:lnTo>
                    <a:pt x="220" y="570"/>
                  </a:lnTo>
                  <a:lnTo>
                    <a:pt x="220" y="568"/>
                  </a:lnTo>
                  <a:lnTo>
                    <a:pt x="220" y="565"/>
                  </a:lnTo>
                  <a:lnTo>
                    <a:pt x="223" y="565"/>
                  </a:lnTo>
                  <a:lnTo>
                    <a:pt x="220" y="565"/>
                  </a:lnTo>
                  <a:lnTo>
                    <a:pt x="220" y="563"/>
                  </a:lnTo>
                  <a:lnTo>
                    <a:pt x="220" y="565"/>
                  </a:lnTo>
                  <a:lnTo>
                    <a:pt x="220" y="563"/>
                  </a:lnTo>
                  <a:lnTo>
                    <a:pt x="220" y="561"/>
                  </a:lnTo>
                  <a:lnTo>
                    <a:pt x="218" y="561"/>
                  </a:lnTo>
                  <a:lnTo>
                    <a:pt x="220" y="563"/>
                  </a:lnTo>
                  <a:lnTo>
                    <a:pt x="218" y="563"/>
                  </a:lnTo>
                  <a:lnTo>
                    <a:pt x="220" y="563"/>
                  </a:lnTo>
                  <a:lnTo>
                    <a:pt x="220" y="565"/>
                  </a:lnTo>
                  <a:lnTo>
                    <a:pt x="218" y="565"/>
                  </a:lnTo>
                  <a:lnTo>
                    <a:pt x="220" y="565"/>
                  </a:lnTo>
                  <a:lnTo>
                    <a:pt x="218" y="565"/>
                  </a:lnTo>
                  <a:lnTo>
                    <a:pt x="218" y="563"/>
                  </a:lnTo>
                  <a:lnTo>
                    <a:pt x="218" y="565"/>
                  </a:lnTo>
                  <a:lnTo>
                    <a:pt x="218" y="563"/>
                  </a:lnTo>
                  <a:lnTo>
                    <a:pt x="218" y="561"/>
                  </a:lnTo>
                  <a:lnTo>
                    <a:pt x="218" y="558"/>
                  </a:lnTo>
                  <a:lnTo>
                    <a:pt x="218" y="556"/>
                  </a:lnTo>
                  <a:lnTo>
                    <a:pt x="218" y="554"/>
                  </a:lnTo>
                  <a:lnTo>
                    <a:pt x="220" y="554"/>
                  </a:lnTo>
                  <a:lnTo>
                    <a:pt x="218" y="554"/>
                  </a:lnTo>
                  <a:lnTo>
                    <a:pt x="218" y="556"/>
                  </a:lnTo>
                  <a:lnTo>
                    <a:pt x="216" y="556"/>
                  </a:lnTo>
                  <a:lnTo>
                    <a:pt x="216" y="554"/>
                  </a:lnTo>
                  <a:lnTo>
                    <a:pt x="218" y="554"/>
                  </a:lnTo>
                  <a:lnTo>
                    <a:pt x="216" y="554"/>
                  </a:lnTo>
                  <a:lnTo>
                    <a:pt x="216" y="551"/>
                  </a:lnTo>
                  <a:lnTo>
                    <a:pt x="216" y="549"/>
                  </a:lnTo>
                  <a:lnTo>
                    <a:pt x="216" y="551"/>
                  </a:lnTo>
                  <a:lnTo>
                    <a:pt x="216" y="554"/>
                  </a:lnTo>
                  <a:lnTo>
                    <a:pt x="216" y="556"/>
                  </a:lnTo>
                  <a:lnTo>
                    <a:pt x="213" y="556"/>
                  </a:lnTo>
                  <a:lnTo>
                    <a:pt x="216" y="556"/>
                  </a:lnTo>
                  <a:lnTo>
                    <a:pt x="213" y="556"/>
                  </a:lnTo>
                  <a:lnTo>
                    <a:pt x="213" y="558"/>
                  </a:lnTo>
                  <a:lnTo>
                    <a:pt x="213" y="556"/>
                  </a:lnTo>
                  <a:lnTo>
                    <a:pt x="213" y="558"/>
                  </a:lnTo>
                  <a:lnTo>
                    <a:pt x="213" y="561"/>
                  </a:lnTo>
                  <a:lnTo>
                    <a:pt x="216" y="561"/>
                  </a:lnTo>
                  <a:lnTo>
                    <a:pt x="216" y="558"/>
                  </a:lnTo>
                  <a:lnTo>
                    <a:pt x="213" y="558"/>
                  </a:lnTo>
                  <a:lnTo>
                    <a:pt x="216" y="558"/>
                  </a:lnTo>
                  <a:lnTo>
                    <a:pt x="216" y="556"/>
                  </a:lnTo>
                  <a:lnTo>
                    <a:pt x="216" y="558"/>
                  </a:lnTo>
                  <a:lnTo>
                    <a:pt x="218" y="558"/>
                  </a:lnTo>
                  <a:lnTo>
                    <a:pt x="218" y="561"/>
                  </a:lnTo>
                  <a:lnTo>
                    <a:pt x="216" y="561"/>
                  </a:lnTo>
                  <a:lnTo>
                    <a:pt x="218" y="561"/>
                  </a:lnTo>
                  <a:lnTo>
                    <a:pt x="216" y="561"/>
                  </a:lnTo>
                  <a:lnTo>
                    <a:pt x="218" y="561"/>
                  </a:lnTo>
                  <a:lnTo>
                    <a:pt x="216" y="561"/>
                  </a:lnTo>
                  <a:lnTo>
                    <a:pt x="216" y="563"/>
                  </a:lnTo>
                  <a:lnTo>
                    <a:pt x="218" y="563"/>
                  </a:lnTo>
                  <a:lnTo>
                    <a:pt x="216" y="563"/>
                  </a:lnTo>
                  <a:lnTo>
                    <a:pt x="216" y="565"/>
                  </a:lnTo>
                  <a:lnTo>
                    <a:pt x="216" y="563"/>
                  </a:lnTo>
                  <a:lnTo>
                    <a:pt x="216" y="561"/>
                  </a:lnTo>
                  <a:lnTo>
                    <a:pt x="213" y="561"/>
                  </a:lnTo>
                  <a:lnTo>
                    <a:pt x="216" y="561"/>
                  </a:lnTo>
                  <a:lnTo>
                    <a:pt x="213" y="563"/>
                  </a:lnTo>
                  <a:lnTo>
                    <a:pt x="213" y="561"/>
                  </a:lnTo>
                  <a:lnTo>
                    <a:pt x="213" y="563"/>
                  </a:lnTo>
                  <a:lnTo>
                    <a:pt x="213" y="561"/>
                  </a:lnTo>
                  <a:lnTo>
                    <a:pt x="213" y="563"/>
                  </a:lnTo>
                  <a:lnTo>
                    <a:pt x="213" y="561"/>
                  </a:lnTo>
                  <a:lnTo>
                    <a:pt x="213" y="563"/>
                  </a:lnTo>
                  <a:lnTo>
                    <a:pt x="213" y="565"/>
                  </a:lnTo>
                  <a:lnTo>
                    <a:pt x="211" y="565"/>
                  </a:lnTo>
                  <a:lnTo>
                    <a:pt x="213" y="565"/>
                  </a:lnTo>
                  <a:lnTo>
                    <a:pt x="211" y="565"/>
                  </a:lnTo>
                  <a:lnTo>
                    <a:pt x="213" y="568"/>
                  </a:lnTo>
                  <a:lnTo>
                    <a:pt x="213" y="565"/>
                  </a:lnTo>
                  <a:lnTo>
                    <a:pt x="213" y="568"/>
                  </a:lnTo>
                  <a:lnTo>
                    <a:pt x="211" y="568"/>
                  </a:lnTo>
                  <a:lnTo>
                    <a:pt x="213" y="568"/>
                  </a:lnTo>
                  <a:lnTo>
                    <a:pt x="211" y="568"/>
                  </a:lnTo>
                  <a:lnTo>
                    <a:pt x="211" y="565"/>
                  </a:lnTo>
                  <a:lnTo>
                    <a:pt x="208" y="565"/>
                  </a:lnTo>
                  <a:lnTo>
                    <a:pt x="208" y="568"/>
                  </a:lnTo>
                  <a:lnTo>
                    <a:pt x="208" y="565"/>
                  </a:lnTo>
                  <a:lnTo>
                    <a:pt x="211" y="568"/>
                  </a:lnTo>
                  <a:lnTo>
                    <a:pt x="208" y="568"/>
                  </a:lnTo>
                  <a:lnTo>
                    <a:pt x="211" y="568"/>
                  </a:lnTo>
                  <a:lnTo>
                    <a:pt x="208" y="568"/>
                  </a:lnTo>
                  <a:lnTo>
                    <a:pt x="208" y="570"/>
                  </a:lnTo>
                  <a:lnTo>
                    <a:pt x="208" y="568"/>
                  </a:lnTo>
                  <a:lnTo>
                    <a:pt x="208" y="570"/>
                  </a:lnTo>
                  <a:lnTo>
                    <a:pt x="211" y="570"/>
                  </a:lnTo>
                  <a:lnTo>
                    <a:pt x="208" y="570"/>
                  </a:lnTo>
                  <a:lnTo>
                    <a:pt x="206" y="570"/>
                  </a:lnTo>
                  <a:lnTo>
                    <a:pt x="206" y="573"/>
                  </a:lnTo>
                  <a:lnTo>
                    <a:pt x="204" y="573"/>
                  </a:lnTo>
                  <a:lnTo>
                    <a:pt x="204" y="575"/>
                  </a:lnTo>
                  <a:lnTo>
                    <a:pt x="201" y="575"/>
                  </a:lnTo>
                  <a:lnTo>
                    <a:pt x="201" y="573"/>
                  </a:lnTo>
                  <a:lnTo>
                    <a:pt x="199" y="573"/>
                  </a:lnTo>
                  <a:lnTo>
                    <a:pt x="201" y="573"/>
                  </a:lnTo>
                  <a:lnTo>
                    <a:pt x="199" y="573"/>
                  </a:lnTo>
                  <a:lnTo>
                    <a:pt x="201" y="573"/>
                  </a:lnTo>
                  <a:lnTo>
                    <a:pt x="199" y="573"/>
                  </a:lnTo>
                  <a:lnTo>
                    <a:pt x="199" y="575"/>
                  </a:lnTo>
                  <a:lnTo>
                    <a:pt x="199" y="573"/>
                  </a:lnTo>
                  <a:lnTo>
                    <a:pt x="199" y="575"/>
                  </a:lnTo>
                  <a:lnTo>
                    <a:pt x="199" y="573"/>
                  </a:lnTo>
                  <a:lnTo>
                    <a:pt x="199" y="575"/>
                  </a:lnTo>
                  <a:lnTo>
                    <a:pt x="199" y="573"/>
                  </a:lnTo>
                  <a:lnTo>
                    <a:pt x="197" y="573"/>
                  </a:lnTo>
                  <a:lnTo>
                    <a:pt x="194" y="573"/>
                  </a:lnTo>
                  <a:lnTo>
                    <a:pt x="197" y="573"/>
                  </a:lnTo>
                  <a:lnTo>
                    <a:pt x="197" y="575"/>
                  </a:lnTo>
                  <a:lnTo>
                    <a:pt x="194" y="575"/>
                  </a:lnTo>
                  <a:lnTo>
                    <a:pt x="197" y="575"/>
                  </a:lnTo>
                  <a:lnTo>
                    <a:pt x="194" y="575"/>
                  </a:lnTo>
                  <a:lnTo>
                    <a:pt x="197" y="575"/>
                  </a:lnTo>
                  <a:lnTo>
                    <a:pt x="199" y="575"/>
                  </a:lnTo>
                  <a:lnTo>
                    <a:pt x="199" y="577"/>
                  </a:lnTo>
                  <a:lnTo>
                    <a:pt x="197" y="577"/>
                  </a:lnTo>
                  <a:lnTo>
                    <a:pt x="194" y="577"/>
                  </a:lnTo>
                  <a:lnTo>
                    <a:pt x="197" y="577"/>
                  </a:lnTo>
                  <a:lnTo>
                    <a:pt x="194" y="577"/>
                  </a:lnTo>
                  <a:lnTo>
                    <a:pt x="194" y="575"/>
                  </a:lnTo>
                  <a:lnTo>
                    <a:pt x="194" y="577"/>
                  </a:lnTo>
                  <a:lnTo>
                    <a:pt x="192" y="577"/>
                  </a:lnTo>
                  <a:lnTo>
                    <a:pt x="194" y="577"/>
                  </a:lnTo>
                  <a:lnTo>
                    <a:pt x="194" y="580"/>
                  </a:lnTo>
                  <a:lnTo>
                    <a:pt x="192" y="580"/>
                  </a:lnTo>
                  <a:lnTo>
                    <a:pt x="189" y="580"/>
                  </a:lnTo>
                  <a:lnTo>
                    <a:pt x="187" y="580"/>
                  </a:lnTo>
                  <a:lnTo>
                    <a:pt x="185" y="580"/>
                  </a:lnTo>
                  <a:lnTo>
                    <a:pt x="182" y="580"/>
                  </a:lnTo>
                  <a:lnTo>
                    <a:pt x="182" y="577"/>
                  </a:lnTo>
                  <a:lnTo>
                    <a:pt x="180" y="577"/>
                  </a:lnTo>
                  <a:lnTo>
                    <a:pt x="178" y="577"/>
                  </a:lnTo>
                  <a:lnTo>
                    <a:pt x="175" y="577"/>
                  </a:lnTo>
                  <a:lnTo>
                    <a:pt x="173" y="577"/>
                  </a:lnTo>
                  <a:lnTo>
                    <a:pt x="170" y="577"/>
                  </a:lnTo>
                  <a:lnTo>
                    <a:pt x="168" y="577"/>
                  </a:lnTo>
                  <a:lnTo>
                    <a:pt x="170" y="577"/>
                  </a:lnTo>
                  <a:lnTo>
                    <a:pt x="168" y="580"/>
                  </a:lnTo>
                  <a:lnTo>
                    <a:pt x="168" y="577"/>
                  </a:lnTo>
                  <a:lnTo>
                    <a:pt x="166" y="577"/>
                  </a:lnTo>
                  <a:lnTo>
                    <a:pt x="166" y="580"/>
                  </a:lnTo>
                  <a:lnTo>
                    <a:pt x="168" y="580"/>
                  </a:lnTo>
                  <a:lnTo>
                    <a:pt x="170" y="580"/>
                  </a:lnTo>
                  <a:lnTo>
                    <a:pt x="173" y="580"/>
                  </a:lnTo>
                  <a:lnTo>
                    <a:pt x="170" y="580"/>
                  </a:lnTo>
                  <a:lnTo>
                    <a:pt x="173" y="580"/>
                  </a:lnTo>
                  <a:lnTo>
                    <a:pt x="173" y="582"/>
                  </a:lnTo>
                  <a:lnTo>
                    <a:pt x="175" y="582"/>
                  </a:lnTo>
                  <a:lnTo>
                    <a:pt x="175" y="580"/>
                  </a:lnTo>
                  <a:lnTo>
                    <a:pt x="175" y="577"/>
                  </a:lnTo>
                  <a:lnTo>
                    <a:pt x="178" y="580"/>
                  </a:lnTo>
                  <a:lnTo>
                    <a:pt x="180" y="580"/>
                  </a:lnTo>
                  <a:lnTo>
                    <a:pt x="178" y="580"/>
                  </a:lnTo>
                  <a:lnTo>
                    <a:pt x="180" y="580"/>
                  </a:lnTo>
                  <a:lnTo>
                    <a:pt x="178" y="580"/>
                  </a:lnTo>
                  <a:lnTo>
                    <a:pt x="180" y="580"/>
                  </a:lnTo>
                  <a:lnTo>
                    <a:pt x="182" y="580"/>
                  </a:lnTo>
                  <a:lnTo>
                    <a:pt x="185" y="580"/>
                  </a:lnTo>
                  <a:lnTo>
                    <a:pt x="185" y="582"/>
                  </a:lnTo>
                  <a:lnTo>
                    <a:pt x="185" y="580"/>
                  </a:lnTo>
                  <a:lnTo>
                    <a:pt x="187" y="580"/>
                  </a:lnTo>
                  <a:lnTo>
                    <a:pt x="187" y="582"/>
                  </a:lnTo>
                  <a:lnTo>
                    <a:pt x="189" y="582"/>
                  </a:lnTo>
                  <a:lnTo>
                    <a:pt x="189" y="584"/>
                  </a:lnTo>
                  <a:lnTo>
                    <a:pt x="187" y="584"/>
                  </a:lnTo>
                  <a:lnTo>
                    <a:pt x="189" y="584"/>
                  </a:lnTo>
                  <a:lnTo>
                    <a:pt x="192" y="584"/>
                  </a:lnTo>
                  <a:lnTo>
                    <a:pt x="192" y="587"/>
                  </a:lnTo>
                  <a:lnTo>
                    <a:pt x="189" y="587"/>
                  </a:lnTo>
                  <a:lnTo>
                    <a:pt x="189" y="589"/>
                  </a:lnTo>
                  <a:lnTo>
                    <a:pt x="187" y="589"/>
                  </a:lnTo>
                  <a:lnTo>
                    <a:pt x="185" y="589"/>
                  </a:lnTo>
                  <a:lnTo>
                    <a:pt x="182" y="589"/>
                  </a:lnTo>
                  <a:lnTo>
                    <a:pt x="180" y="589"/>
                  </a:lnTo>
                  <a:lnTo>
                    <a:pt x="180" y="587"/>
                  </a:lnTo>
                  <a:lnTo>
                    <a:pt x="178" y="587"/>
                  </a:lnTo>
                  <a:lnTo>
                    <a:pt x="175" y="587"/>
                  </a:lnTo>
                  <a:lnTo>
                    <a:pt x="178" y="587"/>
                  </a:lnTo>
                  <a:lnTo>
                    <a:pt x="175" y="587"/>
                  </a:lnTo>
                  <a:lnTo>
                    <a:pt x="178" y="587"/>
                  </a:lnTo>
                  <a:lnTo>
                    <a:pt x="178" y="589"/>
                  </a:lnTo>
                  <a:lnTo>
                    <a:pt x="180" y="589"/>
                  </a:lnTo>
                  <a:lnTo>
                    <a:pt x="182" y="589"/>
                  </a:lnTo>
                  <a:lnTo>
                    <a:pt x="182" y="592"/>
                  </a:lnTo>
                  <a:lnTo>
                    <a:pt x="185" y="592"/>
                  </a:lnTo>
                  <a:lnTo>
                    <a:pt x="185" y="594"/>
                  </a:lnTo>
                  <a:lnTo>
                    <a:pt x="185" y="592"/>
                  </a:lnTo>
                  <a:lnTo>
                    <a:pt x="185" y="594"/>
                  </a:lnTo>
                  <a:lnTo>
                    <a:pt x="185" y="592"/>
                  </a:lnTo>
                  <a:lnTo>
                    <a:pt x="187" y="592"/>
                  </a:lnTo>
                  <a:lnTo>
                    <a:pt x="187" y="594"/>
                  </a:lnTo>
                  <a:lnTo>
                    <a:pt x="185" y="594"/>
                  </a:lnTo>
                  <a:lnTo>
                    <a:pt x="182" y="594"/>
                  </a:lnTo>
                  <a:lnTo>
                    <a:pt x="185" y="594"/>
                  </a:lnTo>
                  <a:lnTo>
                    <a:pt x="185" y="596"/>
                  </a:lnTo>
                  <a:lnTo>
                    <a:pt x="187" y="594"/>
                  </a:lnTo>
                  <a:lnTo>
                    <a:pt x="187" y="596"/>
                  </a:lnTo>
                  <a:lnTo>
                    <a:pt x="189" y="596"/>
                  </a:lnTo>
                  <a:lnTo>
                    <a:pt x="189" y="599"/>
                  </a:lnTo>
                  <a:lnTo>
                    <a:pt x="189" y="596"/>
                  </a:lnTo>
                  <a:lnTo>
                    <a:pt x="189" y="599"/>
                  </a:lnTo>
                  <a:lnTo>
                    <a:pt x="187" y="599"/>
                  </a:lnTo>
                  <a:lnTo>
                    <a:pt x="189" y="599"/>
                  </a:lnTo>
                  <a:lnTo>
                    <a:pt x="189" y="596"/>
                  </a:lnTo>
                  <a:lnTo>
                    <a:pt x="189" y="599"/>
                  </a:lnTo>
                  <a:lnTo>
                    <a:pt x="187" y="599"/>
                  </a:lnTo>
                  <a:lnTo>
                    <a:pt x="187" y="596"/>
                  </a:lnTo>
                  <a:lnTo>
                    <a:pt x="189" y="596"/>
                  </a:lnTo>
                  <a:lnTo>
                    <a:pt x="187" y="596"/>
                  </a:lnTo>
                  <a:lnTo>
                    <a:pt x="189" y="596"/>
                  </a:lnTo>
                  <a:lnTo>
                    <a:pt x="187" y="596"/>
                  </a:lnTo>
                  <a:lnTo>
                    <a:pt x="185" y="596"/>
                  </a:lnTo>
                  <a:lnTo>
                    <a:pt x="187" y="596"/>
                  </a:lnTo>
                  <a:lnTo>
                    <a:pt x="187" y="599"/>
                  </a:lnTo>
                  <a:lnTo>
                    <a:pt x="185" y="599"/>
                  </a:lnTo>
                  <a:lnTo>
                    <a:pt x="185" y="596"/>
                  </a:lnTo>
                  <a:lnTo>
                    <a:pt x="185" y="599"/>
                  </a:lnTo>
                  <a:lnTo>
                    <a:pt x="185" y="596"/>
                  </a:lnTo>
                  <a:lnTo>
                    <a:pt x="185" y="599"/>
                  </a:lnTo>
                  <a:lnTo>
                    <a:pt x="187" y="599"/>
                  </a:lnTo>
                  <a:lnTo>
                    <a:pt x="187" y="601"/>
                  </a:lnTo>
                  <a:lnTo>
                    <a:pt x="189" y="601"/>
                  </a:lnTo>
                  <a:lnTo>
                    <a:pt x="189" y="603"/>
                  </a:lnTo>
                  <a:lnTo>
                    <a:pt x="187" y="603"/>
                  </a:lnTo>
                  <a:lnTo>
                    <a:pt x="187" y="606"/>
                  </a:lnTo>
                  <a:lnTo>
                    <a:pt x="185" y="606"/>
                  </a:lnTo>
                  <a:lnTo>
                    <a:pt x="187" y="606"/>
                  </a:lnTo>
                  <a:lnTo>
                    <a:pt x="185" y="606"/>
                  </a:lnTo>
                  <a:lnTo>
                    <a:pt x="185" y="603"/>
                  </a:lnTo>
                  <a:lnTo>
                    <a:pt x="182" y="603"/>
                  </a:lnTo>
                  <a:lnTo>
                    <a:pt x="182" y="601"/>
                  </a:lnTo>
                  <a:lnTo>
                    <a:pt x="180" y="601"/>
                  </a:lnTo>
                  <a:lnTo>
                    <a:pt x="182" y="601"/>
                  </a:lnTo>
                  <a:lnTo>
                    <a:pt x="182" y="603"/>
                  </a:lnTo>
                  <a:lnTo>
                    <a:pt x="185" y="606"/>
                  </a:lnTo>
                  <a:lnTo>
                    <a:pt x="185" y="603"/>
                  </a:lnTo>
                  <a:lnTo>
                    <a:pt x="185" y="606"/>
                  </a:lnTo>
                  <a:lnTo>
                    <a:pt x="182" y="606"/>
                  </a:lnTo>
                  <a:lnTo>
                    <a:pt x="185" y="606"/>
                  </a:lnTo>
                  <a:lnTo>
                    <a:pt x="182" y="606"/>
                  </a:lnTo>
                  <a:lnTo>
                    <a:pt x="182" y="603"/>
                  </a:lnTo>
                  <a:lnTo>
                    <a:pt x="182" y="606"/>
                  </a:lnTo>
                  <a:lnTo>
                    <a:pt x="182" y="603"/>
                  </a:lnTo>
                  <a:lnTo>
                    <a:pt x="182" y="606"/>
                  </a:lnTo>
                  <a:lnTo>
                    <a:pt x="185" y="606"/>
                  </a:lnTo>
                  <a:lnTo>
                    <a:pt x="185" y="608"/>
                  </a:lnTo>
                  <a:lnTo>
                    <a:pt x="185" y="606"/>
                  </a:lnTo>
                  <a:lnTo>
                    <a:pt x="185" y="608"/>
                  </a:lnTo>
                  <a:lnTo>
                    <a:pt x="187" y="608"/>
                  </a:lnTo>
                  <a:lnTo>
                    <a:pt x="187" y="611"/>
                  </a:lnTo>
                  <a:lnTo>
                    <a:pt x="187" y="608"/>
                  </a:lnTo>
                  <a:lnTo>
                    <a:pt x="185" y="608"/>
                  </a:lnTo>
                  <a:lnTo>
                    <a:pt x="187" y="608"/>
                  </a:lnTo>
                  <a:lnTo>
                    <a:pt x="185" y="608"/>
                  </a:lnTo>
                  <a:lnTo>
                    <a:pt x="182" y="608"/>
                  </a:lnTo>
                  <a:lnTo>
                    <a:pt x="185" y="608"/>
                  </a:lnTo>
                  <a:lnTo>
                    <a:pt x="185" y="611"/>
                  </a:lnTo>
                  <a:lnTo>
                    <a:pt x="187" y="611"/>
                  </a:lnTo>
                  <a:lnTo>
                    <a:pt x="185" y="611"/>
                  </a:lnTo>
                  <a:lnTo>
                    <a:pt x="187" y="611"/>
                  </a:lnTo>
                  <a:lnTo>
                    <a:pt x="185" y="611"/>
                  </a:lnTo>
                  <a:lnTo>
                    <a:pt x="187" y="611"/>
                  </a:lnTo>
                  <a:lnTo>
                    <a:pt x="185" y="611"/>
                  </a:lnTo>
                  <a:lnTo>
                    <a:pt x="182" y="611"/>
                  </a:lnTo>
                  <a:lnTo>
                    <a:pt x="185" y="611"/>
                  </a:lnTo>
                  <a:lnTo>
                    <a:pt x="182" y="611"/>
                  </a:lnTo>
                  <a:lnTo>
                    <a:pt x="185" y="611"/>
                  </a:lnTo>
                  <a:lnTo>
                    <a:pt x="185" y="613"/>
                  </a:lnTo>
                  <a:lnTo>
                    <a:pt x="182" y="613"/>
                  </a:lnTo>
                  <a:lnTo>
                    <a:pt x="182" y="611"/>
                  </a:lnTo>
                  <a:lnTo>
                    <a:pt x="182" y="608"/>
                  </a:lnTo>
                  <a:lnTo>
                    <a:pt x="182" y="611"/>
                  </a:lnTo>
                  <a:lnTo>
                    <a:pt x="182" y="613"/>
                  </a:lnTo>
                  <a:lnTo>
                    <a:pt x="180" y="613"/>
                  </a:lnTo>
                  <a:lnTo>
                    <a:pt x="182" y="613"/>
                  </a:lnTo>
                  <a:lnTo>
                    <a:pt x="185" y="613"/>
                  </a:lnTo>
                  <a:lnTo>
                    <a:pt x="185" y="615"/>
                  </a:lnTo>
                  <a:lnTo>
                    <a:pt x="185" y="613"/>
                  </a:lnTo>
                  <a:lnTo>
                    <a:pt x="185" y="611"/>
                  </a:lnTo>
                  <a:lnTo>
                    <a:pt x="187" y="611"/>
                  </a:lnTo>
                  <a:lnTo>
                    <a:pt x="187" y="613"/>
                  </a:lnTo>
                  <a:lnTo>
                    <a:pt x="185" y="613"/>
                  </a:lnTo>
                  <a:lnTo>
                    <a:pt x="187" y="615"/>
                  </a:lnTo>
                  <a:lnTo>
                    <a:pt x="185" y="615"/>
                  </a:lnTo>
                  <a:lnTo>
                    <a:pt x="187" y="615"/>
                  </a:lnTo>
                  <a:lnTo>
                    <a:pt x="185" y="615"/>
                  </a:lnTo>
                  <a:lnTo>
                    <a:pt x="187" y="615"/>
                  </a:lnTo>
                  <a:lnTo>
                    <a:pt x="185" y="615"/>
                  </a:lnTo>
                  <a:lnTo>
                    <a:pt x="187" y="615"/>
                  </a:lnTo>
                  <a:lnTo>
                    <a:pt x="185" y="615"/>
                  </a:lnTo>
                  <a:lnTo>
                    <a:pt x="185" y="618"/>
                  </a:lnTo>
                  <a:lnTo>
                    <a:pt x="187" y="618"/>
                  </a:lnTo>
                  <a:lnTo>
                    <a:pt x="187" y="615"/>
                  </a:lnTo>
                  <a:lnTo>
                    <a:pt x="187" y="618"/>
                  </a:lnTo>
                  <a:lnTo>
                    <a:pt x="185" y="618"/>
                  </a:lnTo>
                  <a:lnTo>
                    <a:pt x="187" y="618"/>
                  </a:lnTo>
                  <a:lnTo>
                    <a:pt x="185" y="618"/>
                  </a:lnTo>
                  <a:lnTo>
                    <a:pt x="187" y="618"/>
                  </a:lnTo>
                  <a:lnTo>
                    <a:pt x="187" y="620"/>
                  </a:lnTo>
                  <a:lnTo>
                    <a:pt x="187" y="618"/>
                  </a:lnTo>
                  <a:lnTo>
                    <a:pt x="187" y="620"/>
                  </a:lnTo>
                  <a:lnTo>
                    <a:pt x="185" y="620"/>
                  </a:lnTo>
                  <a:lnTo>
                    <a:pt x="185" y="618"/>
                  </a:lnTo>
                  <a:lnTo>
                    <a:pt x="182" y="618"/>
                  </a:lnTo>
                  <a:lnTo>
                    <a:pt x="185" y="618"/>
                  </a:lnTo>
                  <a:lnTo>
                    <a:pt x="182" y="618"/>
                  </a:lnTo>
                  <a:lnTo>
                    <a:pt x="180" y="618"/>
                  </a:lnTo>
                  <a:lnTo>
                    <a:pt x="180" y="615"/>
                  </a:lnTo>
                  <a:lnTo>
                    <a:pt x="182" y="615"/>
                  </a:lnTo>
                  <a:lnTo>
                    <a:pt x="180" y="615"/>
                  </a:lnTo>
                  <a:lnTo>
                    <a:pt x="180" y="613"/>
                  </a:lnTo>
                  <a:lnTo>
                    <a:pt x="178" y="613"/>
                  </a:lnTo>
                  <a:lnTo>
                    <a:pt x="178" y="615"/>
                  </a:lnTo>
                  <a:lnTo>
                    <a:pt x="180" y="615"/>
                  </a:lnTo>
                  <a:lnTo>
                    <a:pt x="180" y="618"/>
                  </a:lnTo>
                  <a:lnTo>
                    <a:pt x="178" y="618"/>
                  </a:lnTo>
                  <a:lnTo>
                    <a:pt x="180" y="618"/>
                  </a:lnTo>
                  <a:lnTo>
                    <a:pt x="178" y="618"/>
                  </a:lnTo>
                  <a:lnTo>
                    <a:pt x="178" y="615"/>
                  </a:lnTo>
                  <a:lnTo>
                    <a:pt x="175" y="615"/>
                  </a:lnTo>
                  <a:lnTo>
                    <a:pt x="175" y="618"/>
                  </a:lnTo>
                  <a:lnTo>
                    <a:pt x="178" y="618"/>
                  </a:lnTo>
                  <a:lnTo>
                    <a:pt x="175" y="618"/>
                  </a:lnTo>
                  <a:lnTo>
                    <a:pt x="178" y="618"/>
                  </a:lnTo>
                  <a:lnTo>
                    <a:pt x="178" y="620"/>
                  </a:lnTo>
                  <a:lnTo>
                    <a:pt x="180" y="620"/>
                  </a:lnTo>
                  <a:lnTo>
                    <a:pt x="182" y="623"/>
                  </a:lnTo>
                  <a:lnTo>
                    <a:pt x="182" y="625"/>
                  </a:lnTo>
                  <a:lnTo>
                    <a:pt x="185" y="625"/>
                  </a:lnTo>
                  <a:lnTo>
                    <a:pt x="182" y="625"/>
                  </a:lnTo>
                  <a:lnTo>
                    <a:pt x="182" y="623"/>
                  </a:lnTo>
                  <a:lnTo>
                    <a:pt x="180" y="623"/>
                  </a:lnTo>
                  <a:lnTo>
                    <a:pt x="180" y="620"/>
                  </a:lnTo>
                  <a:lnTo>
                    <a:pt x="178" y="620"/>
                  </a:lnTo>
                  <a:lnTo>
                    <a:pt x="175" y="620"/>
                  </a:lnTo>
                  <a:lnTo>
                    <a:pt x="175" y="618"/>
                  </a:lnTo>
                  <a:lnTo>
                    <a:pt x="173" y="618"/>
                  </a:lnTo>
                  <a:lnTo>
                    <a:pt x="175" y="618"/>
                  </a:lnTo>
                  <a:lnTo>
                    <a:pt x="175" y="620"/>
                  </a:lnTo>
                  <a:lnTo>
                    <a:pt x="178" y="620"/>
                  </a:lnTo>
                  <a:lnTo>
                    <a:pt x="175" y="620"/>
                  </a:lnTo>
                  <a:lnTo>
                    <a:pt x="178" y="620"/>
                  </a:lnTo>
                  <a:lnTo>
                    <a:pt x="180" y="623"/>
                  </a:lnTo>
                  <a:lnTo>
                    <a:pt x="180" y="625"/>
                  </a:lnTo>
                  <a:lnTo>
                    <a:pt x="182" y="625"/>
                  </a:lnTo>
                  <a:lnTo>
                    <a:pt x="182" y="627"/>
                  </a:lnTo>
                  <a:lnTo>
                    <a:pt x="182" y="625"/>
                  </a:lnTo>
                  <a:lnTo>
                    <a:pt x="182" y="627"/>
                  </a:lnTo>
                  <a:lnTo>
                    <a:pt x="185" y="627"/>
                  </a:lnTo>
                  <a:lnTo>
                    <a:pt x="182" y="625"/>
                  </a:lnTo>
                  <a:lnTo>
                    <a:pt x="185" y="625"/>
                  </a:lnTo>
                  <a:lnTo>
                    <a:pt x="185" y="627"/>
                  </a:lnTo>
                  <a:lnTo>
                    <a:pt x="185" y="625"/>
                  </a:lnTo>
                  <a:lnTo>
                    <a:pt x="185" y="627"/>
                  </a:lnTo>
                  <a:lnTo>
                    <a:pt x="182" y="627"/>
                  </a:lnTo>
                  <a:lnTo>
                    <a:pt x="185" y="627"/>
                  </a:lnTo>
                  <a:lnTo>
                    <a:pt x="185" y="630"/>
                  </a:lnTo>
                  <a:lnTo>
                    <a:pt x="185" y="627"/>
                  </a:lnTo>
                  <a:lnTo>
                    <a:pt x="185" y="630"/>
                  </a:lnTo>
                  <a:lnTo>
                    <a:pt x="185" y="627"/>
                  </a:lnTo>
                  <a:lnTo>
                    <a:pt x="182" y="627"/>
                  </a:lnTo>
                  <a:lnTo>
                    <a:pt x="182" y="630"/>
                  </a:lnTo>
                  <a:lnTo>
                    <a:pt x="182" y="627"/>
                  </a:lnTo>
                  <a:lnTo>
                    <a:pt x="180" y="627"/>
                  </a:lnTo>
                  <a:lnTo>
                    <a:pt x="180" y="625"/>
                  </a:lnTo>
                  <a:lnTo>
                    <a:pt x="180" y="627"/>
                  </a:lnTo>
                  <a:lnTo>
                    <a:pt x="178" y="625"/>
                  </a:lnTo>
                  <a:lnTo>
                    <a:pt x="178" y="627"/>
                  </a:lnTo>
                  <a:lnTo>
                    <a:pt x="180" y="627"/>
                  </a:lnTo>
                  <a:lnTo>
                    <a:pt x="182" y="630"/>
                  </a:lnTo>
                  <a:lnTo>
                    <a:pt x="180" y="630"/>
                  </a:lnTo>
                  <a:lnTo>
                    <a:pt x="182" y="630"/>
                  </a:lnTo>
                  <a:lnTo>
                    <a:pt x="182" y="632"/>
                  </a:lnTo>
                  <a:lnTo>
                    <a:pt x="180" y="632"/>
                  </a:lnTo>
                  <a:lnTo>
                    <a:pt x="182" y="632"/>
                  </a:lnTo>
                  <a:lnTo>
                    <a:pt x="182" y="634"/>
                  </a:lnTo>
                  <a:lnTo>
                    <a:pt x="180" y="634"/>
                  </a:lnTo>
                  <a:lnTo>
                    <a:pt x="180" y="632"/>
                  </a:lnTo>
                  <a:lnTo>
                    <a:pt x="180" y="634"/>
                  </a:lnTo>
                  <a:lnTo>
                    <a:pt x="180" y="632"/>
                  </a:lnTo>
                  <a:lnTo>
                    <a:pt x="178" y="632"/>
                  </a:lnTo>
                  <a:lnTo>
                    <a:pt x="180" y="632"/>
                  </a:lnTo>
                  <a:lnTo>
                    <a:pt x="178" y="632"/>
                  </a:lnTo>
                  <a:lnTo>
                    <a:pt x="178" y="634"/>
                  </a:lnTo>
                  <a:lnTo>
                    <a:pt x="178" y="632"/>
                  </a:lnTo>
                  <a:lnTo>
                    <a:pt x="178" y="634"/>
                  </a:lnTo>
                  <a:lnTo>
                    <a:pt x="180" y="634"/>
                  </a:lnTo>
                  <a:lnTo>
                    <a:pt x="178" y="634"/>
                  </a:lnTo>
                  <a:lnTo>
                    <a:pt x="180" y="634"/>
                  </a:lnTo>
                  <a:lnTo>
                    <a:pt x="180" y="637"/>
                  </a:lnTo>
                  <a:lnTo>
                    <a:pt x="180" y="634"/>
                  </a:lnTo>
                  <a:lnTo>
                    <a:pt x="182" y="634"/>
                  </a:lnTo>
                  <a:lnTo>
                    <a:pt x="182" y="637"/>
                  </a:lnTo>
                  <a:lnTo>
                    <a:pt x="182" y="639"/>
                  </a:lnTo>
                  <a:lnTo>
                    <a:pt x="185" y="639"/>
                  </a:lnTo>
                  <a:lnTo>
                    <a:pt x="182" y="639"/>
                  </a:lnTo>
                  <a:lnTo>
                    <a:pt x="185" y="639"/>
                  </a:lnTo>
                  <a:lnTo>
                    <a:pt x="182" y="642"/>
                  </a:lnTo>
                  <a:lnTo>
                    <a:pt x="185" y="642"/>
                  </a:lnTo>
                  <a:lnTo>
                    <a:pt x="185" y="639"/>
                  </a:lnTo>
                  <a:lnTo>
                    <a:pt x="185" y="642"/>
                  </a:lnTo>
                  <a:lnTo>
                    <a:pt x="182" y="642"/>
                  </a:lnTo>
                  <a:lnTo>
                    <a:pt x="185" y="642"/>
                  </a:lnTo>
                  <a:lnTo>
                    <a:pt x="182" y="642"/>
                  </a:lnTo>
                  <a:lnTo>
                    <a:pt x="182" y="644"/>
                  </a:lnTo>
                  <a:lnTo>
                    <a:pt x="182" y="642"/>
                  </a:lnTo>
                  <a:lnTo>
                    <a:pt x="182" y="644"/>
                  </a:lnTo>
                  <a:lnTo>
                    <a:pt x="180" y="644"/>
                  </a:lnTo>
                  <a:lnTo>
                    <a:pt x="180" y="646"/>
                  </a:lnTo>
                  <a:lnTo>
                    <a:pt x="178" y="646"/>
                  </a:lnTo>
                  <a:lnTo>
                    <a:pt x="180" y="646"/>
                  </a:lnTo>
                  <a:lnTo>
                    <a:pt x="180" y="649"/>
                  </a:lnTo>
                  <a:lnTo>
                    <a:pt x="178" y="649"/>
                  </a:lnTo>
                  <a:lnTo>
                    <a:pt x="175" y="649"/>
                  </a:lnTo>
                  <a:lnTo>
                    <a:pt x="178" y="649"/>
                  </a:lnTo>
                  <a:lnTo>
                    <a:pt x="175" y="649"/>
                  </a:lnTo>
                  <a:lnTo>
                    <a:pt x="178" y="649"/>
                  </a:lnTo>
                  <a:lnTo>
                    <a:pt x="175" y="649"/>
                  </a:lnTo>
                  <a:lnTo>
                    <a:pt x="175" y="651"/>
                  </a:lnTo>
                  <a:lnTo>
                    <a:pt x="178" y="651"/>
                  </a:lnTo>
                  <a:lnTo>
                    <a:pt x="178" y="653"/>
                  </a:lnTo>
                  <a:lnTo>
                    <a:pt x="175" y="653"/>
                  </a:lnTo>
                  <a:lnTo>
                    <a:pt x="175" y="656"/>
                  </a:lnTo>
                  <a:lnTo>
                    <a:pt x="178" y="656"/>
                  </a:lnTo>
                  <a:lnTo>
                    <a:pt x="178" y="658"/>
                  </a:lnTo>
                  <a:lnTo>
                    <a:pt x="180" y="658"/>
                  </a:lnTo>
                  <a:lnTo>
                    <a:pt x="180" y="661"/>
                  </a:lnTo>
                  <a:lnTo>
                    <a:pt x="178" y="661"/>
                  </a:lnTo>
                  <a:lnTo>
                    <a:pt x="180" y="661"/>
                  </a:lnTo>
                  <a:lnTo>
                    <a:pt x="178" y="661"/>
                  </a:lnTo>
                  <a:lnTo>
                    <a:pt x="178" y="663"/>
                  </a:lnTo>
                  <a:lnTo>
                    <a:pt x="175" y="663"/>
                  </a:lnTo>
                  <a:lnTo>
                    <a:pt x="175" y="661"/>
                  </a:lnTo>
                  <a:lnTo>
                    <a:pt x="175" y="663"/>
                  </a:lnTo>
                  <a:lnTo>
                    <a:pt x="178" y="663"/>
                  </a:lnTo>
                  <a:lnTo>
                    <a:pt x="175" y="663"/>
                  </a:lnTo>
                  <a:lnTo>
                    <a:pt x="178" y="663"/>
                  </a:lnTo>
                  <a:lnTo>
                    <a:pt x="175" y="663"/>
                  </a:lnTo>
                  <a:lnTo>
                    <a:pt x="175" y="665"/>
                  </a:lnTo>
                  <a:lnTo>
                    <a:pt x="178" y="665"/>
                  </a:lnTo>
                  <a:lnTo>
                    <a:pt x="175" y="665"/>
                  </a:lnTo>
                  <a:lnTo>
                    <a:pt x="178" y="665"/>
                  </a:lnTo>
                  <a:lnTo>
                    <a:pt x="175" y="665"/>
                  </a:lnTo>
                  <a:lnTo>
                    <a:pt x="178" y="665"/>
                  </a:lnTo>
                  <a:lnTo>
                    <a:pt x="175" y="665"/>
                  </a:lnTo>
                  <a:lnTo>
                    <a:pt x="175" y="663"/>
                  </a:lnTo>
                  <a:lnTo>
                    <a:pt x="175" y="665"/>
                  </a:lnTo>
                  <a:lnTo>
                    <a:pt x="175" y="668"/>
                  </a:lnTo>
                  <a:lnTo>
                    <a:pt x="175" y="670"/>
                  </a:lnTo>
                  <a:lnTo>
                    <a:pt x="175" y="672"/>
                  </a:lnTo>
                  <a:lnTo>
                    <a:pt x="173" y="672"/>
                  </a:lnTo>
                  <a:lnTo>
                    <a:pt x="175" y="672"/>
                  </a:lnTo>
                  <a:lnTo>
                    <a:pt x="175" y="675"/>
                  </a:lnTo>
                  <a:lnTo>
                    <a:pt x="173" y="675"/>
                  </a:lnTo>
                  <a:lnTo>
                    <a:pt x="175" y="675"/>
                  </a:lnTo>
                  <a:lnTo>
                    <a:pt x="173" y="675"/>
                  </a:lnTo>
                  <a:lnTo>
                    <a:pt x="175" y="675"/>
                  </a:lnTo>
                  <a:lnTo>
                    <a:pt x="173" y="675"/>
                  </a:lnTo>
                  <a:lnTo>
                    <a:pt x="175" y="675"/>
                  </a:lnTo>
                  <a:lnTo>
                    <a:pt x="173" y="675"/>
                  </a:lnTo>
                  <a:lnTo>
                    <a:pt x="175" y="675"/>
                  </a:lnTo>
                  <a:lnTo>
                    <a:pt x="178" y="675"/>
                  </a:lnTo>
                  <a:lnTo>
                    <a:pt x="175" y="675"/>
                  </a:lnTo>
                  <a:lnTo>
                    <a:pt x="178" y="675"/>
                  </a:lnTo>
                  <a:lnTo>
                    <a:pt x="175" y="675"/>
                  </a:lnTo>
                  <a:lnTo>
                    <a:pt x="175" y="677"/>
                  </a:lnTo>
                  <a:lnTo>
                    <a:pt x="175" y="675"/>
                  </a:lnTo>
                  <a:lnTo>
                    <a:pt x="173" y="675"/>
                  </a:lnTo>
                  <a:lnTo>
                    <a:pt x="173" y="677"/>
                  </a:lnTo>
                  <a:lnTo>
                    <a:pt x="173" y="680"/>
                  </a:lnTo>
                  <a:lnTo>
                    <a:pt x="173" y="677"/>
                  </a:lnTo>
                  <a:lnTo>
                    <a:pt x="173" y="680"/>
                  </a:lnTo>
                  <a:lnTo>
                    <a:pt x="173" y="682"/>
                  </a:lnTo>
                  <a:lnTo>
                    <a:pt x="173" y="680"/>
                  </a:lnTo>
                  <a:lnTo>
                    <a:pt x="173" y="682"/>
                  </a:lnTo>
                  <a:lnTo>
                    <a:pt x="170" y="682"/>
                  </a:lnTo>
                  <a:lnTo>
                    <a:pt x="168" y="682"/>
                  </a:lnTo>
                  <a:lnTo>
                    <a:pt x="168" y="684"/>
                  </a:lnTo>
                  <a:lnTo>
                    <a:pt x="168" y="687"/>
                  </a:lnTo>
                  <a:lnTo>
                    <a:pt x="168" y="689"/>
                  </a:lnTo>
                  <a:lnTo>
                    <a:pt x="168" y="687"/>
                  </a:lnTo>
                  <a:lnTo>
                    <a:pt x="168" y="689"/>
                  </a:lnTo>
                  <a:lnTo>
                    <a:pt x="168" y="687"/>
                  </a:lnTo>
                  <a:lnTo>
                    <a:pt x="166" y="687"/>
                  </a:lnTo>
                  <a:lnTo>
                    <a:pt x="166" y="689"/>
                  </a:lnTo>
                  <a:lnTo>
                    <a:pt x="166" y="691"/>
                  </a:lnTo>
                  <a:lnTo>
                    <a:pt x="163" y="691"/>
                  </a:lnTo>
                  <a:lnTo>
                    <a:pt x="163" y="694"/>
                  </a:lnTo>
                  <a:lnTo>
                    <a:pt x="166" y="691"/>
                  </a:lnTo>
                  <a:lnTo>
                    <a:pt x="166" y="694"/>
                  </a:lnTo>
                  <a:lnTo>
                    <a:pt x="163" y="694"/>
                  </a:lnTo>
                  <a:lnTo>
                    <a:pt x="163" y="696"/>
                  </a:lnTo>
                  <a:lnTo>
                    <a:pt x="163" y="694"/>
                  </a:lnTo>
                  <a:lnTo>
                    <a:pt x="163" y="696"/>
                  </a:lnTo>
                  <a:lnTo>
                    <a:pt x="163" y="699"/>
                  </a:lnTo>
                  <a:lnTo>
                    <a:pt x="161" y="699"/>
                  </a:lnTo>
                  <a:lnTo>
                    <a:pt x="163" y="699"/>
                  </a:lnTo>
                  <a:lnTo>
                    <a:pt x="163" y="701"/>
                  </a:lnTo>
                  <a:lnTo>
                    <a:pt x="161" y="701"/>
                  </a:lnTo>
                  <a:lnTo>
                    <a:pt x="161" y="703"/>
                  </a:lnTo>
                  <a:lnTo>
                    <a:pt x="161" y="701"/>
                  </a:lnTo>
                  <a:lnTo>
                    <a:pt x="161" y="703"/>
                  </a:lnTo>
                  <a:lnTo>
                    <a:pt x="161" y="706"/>
                  </a:lnTo>
                  <a:lnTo>
                    <a:pt x="159" y="706"/>
                  </a:lnTo>
                  <a:lnTo>
                    <a:pt x="159" y="708"/>
                  </a:lnTo>
                  <a:lnTo>
                    <a:pt x="156" y="708"/>
                  </a:lnTo>
                  <a:lnTo>
                    <a:pt x="156" y="710"/>
                  </a:lnTo>
                  <a:lnTo>
                    <a:pt x="154" y="710"/>
                  </a:lnTo>
                  <a:lnTo>
                    <a:pt x="154" y="708"/>
                  </a:lnTo>
                  <a:lnTo>
                    <a:pt x="154" y="706"/>
                  </a:lnTo>
                  <a:lnTo>
                    <a:pt x="154" y="708"/>
                  </a:lnTo>
                  <a:lnTo>
                    <a:pt x="151" y="708"/>
                  </a:lnTo>
                  <a:lnTo>
                    <a:pt x="154" y="708"/>
                  </a:lnTo>
                  <a:lnTo>
                    <a:pt x="154" y="710"/>
                  </a:lnTo>
                  <a:lnTo>
                    <a:pt x="151" y="710"/>
                  </a:lnTo>
                  <a:lnTo>
                    <a:pt x="151" y="708"/>
                  </a:lnTo>
                  <a:lnTo>
                    <a:pt x="151" y="710"/>
                  </a:lnTo>
                  <a:lnTo>
                    <a:pt x="151" y="708"/>
                  </a:lnTo>
                  <a:lnTo>
                    <a:pt x="154" y="706"/>
                  </a:lnTo>
                  <a:lnTo>
                    <a:pt x="151" y="706"/>
                  </a:lnTo>
                  <a:lnTo>
                    <a:pt x="151" y="708"/>
                  </a:lnTo>
                  <a:lnTo>
                    <a:pt x="151" y="706"/>
                  </a:lnTo>
                  <a:lnTo>
                    <a:pt x="151" y="708"/>
                  </a:lnTo>
                  <a:lnTo>
                    <a:pt x="151" y="706"/>
                  </a:lnTo>
                  <a:lnTo>
                    <a:pt x="149" y="706"/>
                  </a:lnTo>
                  <a:lnTo>
                    <a:pt x="149" y="708"/>
                  </a:lnTo>
                  <a:lnTo>
                    <a:pt x="149" y="706"/>
                  </a:lnTo>
                  <a:lnTo>
                    <a:pt x="149" y="708"/>
                  </a:lnTo>
                  <a:lnTo>
                    <a:pt x="149" y="706"/>
                  </a:lnTo>
                  <a:lnTo>
                    <a:pt x="147" y="706"/>
                  </a:lnTo>
                  <a:lnTo>
                    <a:pt x="147" y="708"/>
                  </a:lnTo>
                  <a:lnTo>
                    <a:pt x="147" y="706"/>
                  </a:lnTo>
                  <a:lnTo>
                    <a:pt x="147" y="703"/>
                  </a:lnTo>
                  <a:lnTo>
                    <a:pt x="147" y="706"/>
                  </a:lnTo>
                  <a:lnTo>
                    <a:pt x="144" y="706"/>
                  </a:lnTo>
                  <a:lnTo>
                    <a:pt x="144" y="708"/>
                  </a:lnTo>
                  <a:lnTo>
                    <a:pt x="142" y="708"/>
                  </a:lnTo>
                  <a:lnTo>
                    <a:pt x="142" y="706"/>
                  </a:lnTo>
                  <a:lnTo>
                    <a:pt x="140" y="706"/>
                  </a:lnTo>
                  <a:lnTo>
                    <a:pt x="140" y="708"/>
                  </a:lnTo>
                  <a:lnTo>
                    <a:pt x="140" y="706"/>
                  </a:lnTo>
                  <a:lnTo>
                    <a:pt x="142" y="708"/>
                  </a:lnTo>
                  <a:lnTo>
                    <a:pt x="140" y="708"/>
                  </a:lnTo>
                  <a:lnTo>
                    <a:pt x="137" y="708"/>
                  </a:lnTo>
                  <a:lnTo>
                    <a:pt x="137" y="706"/>
                  </a:lnTo>
                  <a:lnTo>
                    <a:pt x="135" y="706"/>
                  </a:lnTo>
                  <a:lnTo>
                    <a:pt x="135" y="708"/>
                  </a:lnTo>
                  <a:lnTo>
                    <a:pt x="135" y="706"/>
                  </a:lnTo>
                  <a:lnTo>
                    <a:pt x="135" y="708"/>
                  </a:lnTo>
                  <a:lnTo>
                    <a:pt x="135" y="706"/>
                  </a:lnTo>
                  <a:lnTo>
                    <a:pt x="135" y="708"/>
                  </a:lnTo>
                  <a:lnTo>
                    <a:pt x="132" y="706"/>
                  </a:lnTo>
                  <a:lnTo>
                    <a:pt x="135" y="708"/>
                  </a:lnTo>
                  <a:lnTo>
                    <a:pt x="132" y="708"/>
                  </a:lnTo>
                  <a:lnTo>
                    <a:pt x="132" y="706"/>
                  </a:lnTo>
                  <a:lnTo>
                    <a:pt x="132" y="708"/>
                  </a:lnTo>
                  <a:lnTo>
                    <a:pt x="132" y="706"/>
                  </a:lnTo>
                  <a:lnTo>
                    <a:pt x="132" y="708"/>
                  </a:lnTo>
                  <a:lnTo>
                    <a:pt x="130" y="708"/>
                  </a:lnTo>
                  <a:lnTo>
                    <a:pt x="130" y="706"/>
                  </a:lnTo>
                  <a:lnTo>
                    <a:pt x="128" y="706"/>
                  </a:lnTo>
                  <a:lnTo>
                    <a:pt x="130" y="706"/>
                  </a:lnTo>
                  <a:lnTo>
                    <a:pt x="128" y="706"/>
                  </a:lnTo>
                  <a:lnTo>
                    <a:pt x="128" y="708"/>
                  </a:lnTo>
                  <a:lnTo>
                    <a:pt x="128" y="706"/>
                  </a:lnTo>
                  <a:lnTo>
                    <a:pt x="128" y="708"/>
                  </a:lnTo>
                  <a:lnTo>
                    <a:pt x="128" y="706"/>
                  </a:lnTo>
                  <a:lnTo>
                    <a:pt x="125" y="706"/>
                  </a:lnTo>
                  <a:lnTo>
                    <a:pt x="128" y="706"/>
                  </a:lnTo>
                  <a:lnTo>
                    <a:pt x="125" y="706"/>
                  </a:lnTo>
                  <a:lnTo>
                    <a:pt x="125" y="708"/>
                  </a:lnTo>
                  <a:lnTo>
                    <a:pt x="125" y="706"/>
                  </a:lnTo>
                  <a:lnTo>
                    <a:pt x="125" y="708"/>
                  </a:lnTo>
                  <a:lnTo>
                    <a:pt x="125" y="706"/>
                  </a:lnTo>
                  <a:lnTo>
                    <a:pt x="123" y="708"/>
                  </a:lnTo>
                  <a:lnTo>
                    <a:pt x="123" y="706"/>
                  </a:lnTo>
                  <a:lnTo>
                    <a:pt x="123" y="708"/>
                  </a:lnTo>
                  <a:lnTo>
                    <a:pt x="123" y="706"/>
                  </a:lnTo>
                  <a:lnTo>
                    <a:pt x="123" y="708"/>
                  </a:lnTo>
                  <a:lnTo>
                    <a:pt x="121" y="708"/>
                  </a:lnTo>
                  <a:lnTo>
                    <a:pt x="121" y="706"/>
                  </a:lnTo>
                  <a:lnTo>
                    <a:pt x="121" y="708"/>
                  </a:lnTo>
                  <a:lnTo>
                    <a:pt x="121" y="706"/>
                  </a:lnTo>
                  <a:lnTo>
                    <a:pt x="121" y="708"/>
                  </a:lnTo>
                  <a:lnTo>
                    <a:pt x="121" y="706"/>
                  </a:lnTo>
                  <a:lnTo>
                    <a:pt x="121" y="708"/>
                  </a:lnTo>
                  <a:lnTo>
                    <a:pt x="118" y="708"/>
                  </a:lnTo>
                  <a:lnTo>
                    <a:pt x="118" y="706"/>
                  </a:lnTo>
                  <a:lnTo>
                    <a:pt x="118" y="708"/>
                  </a:lnTo>
                  <a:lnTo>
                    <a:pt x="118" y="706"/>
                  </a:lnTo>
                  <a:lnTo>
                    <a:pt x="118" y="708"/>
                  </a:lnTo>
                  <a:lnTo>
                    <a:pt x="118" y="706"/>
                  </a:lnTo>
                  <a:lnTo>
                    <a:pt x="116" y="708"/>
                  </a:lnTo>
                  <a:lnTo>
                    <a:pt x="118" y="708"/>
                  </a:lnTo>
                  <a:lnTo>
                    <a:pt x="118" y="710"/>
                  </a:lnTo>
                  <a:lnTo>
                    <a:pt x="118" y="713"/>
                  </a:lnTo>
                  <a:lnTo>
                    <a:pt x="121" y="713"/>
                  </a:lnTo>
                  <a:lnTo>
                    <a:pt x="121" y="715"/>
                  </a:lnTo>
                  <a:lnTo>
                    <a:pt x="118" y="715"/>
                  </a:lnTo>
                  <a:lnTo>
                    <a:pt x="116" y="715"/>
                  </a:lnTo>
                  <a:lnTo>
                    <a:pt x="113" y="715"/>
                  </a:lnTo>
                  <a:lnTo>
                    <a:pt x="113" y="713"/>
                  </a:lnTo>
                  <a:lnTo>
                    <a:pt x="113" y="715"/>
                  </a:lnTo>
                  <a:lnTo>
                    <a:pt x="113" y="713"/>
                  </a:lnTo>
                  <a:lnTo>
                    <a:pt x="116" y="713"/>
                  </a:lnTo>
                  <a:lnTo>
                    <a:pt x="113" y="713"/>
                  </a:lnTo>
                  <a:lnTo>
                    <a:pt x="111" y="713"/>
                  </a:lnTo>
                  <a:lnTo>
                    <a:pt x="109" y="713"/>
                  </a:lnTo>
                  <a:lnTo>
                    <a:pt x="109" y="715"/>
                  </a:lnTo>
                  <a:lnTo>
                    <a:pt x="111" y="715"/>
                  </a:lnTo>
                  <a:lnTo>
                    <a:pt x="109" y="715"/>
                  </a:lnTo>
                  <a:lnTo>
                    <a:pt x="109" y="718"/>
                  </a:lnTo>
                  <a:lnTo>
                    <a:pt x="109" y="715"/>
                  </a:lnTo>
                  <a:lnTo>
                    <a:pt x="109" y="718"/>
                  </a:lnTo>
                  <a:lnTo>
                    <a:pt x="106" y="715"/>
                  </a:lnTo>
                  <a:lnTo>
                    <a:pt x="106" y="718"/>
                  </a:lnTo>
                  <a:lnTo>
                    <a:pt x="104" y="718"/>
                  </a:lnTo>
                  <a:lnTo>
                    <a:pt x="106" y="718"/>
                  </a:lnTo>
                  <a:lnTo>
                    <a:pt x="106" y="720"/>
                  </a:lnTo>
                  <a:lnTo>
                    <a:pt x="104" y="720"/>
                  </a:lnTo>
                  <a:lnTo>
                    <a:pt x="106" y="720"/>
                  </a:lnTo>
                  <a:lnTo>
                    <a:pt x="104" y="720"/>
                  </a:lnTo>
                  <a:lnTo>
                    <a:pt x="106" y="720"/>
                  </a:lnTo>
                  <a:lnTo>
                    <a:pt x="104" y="720"/>
                  </a:lnTo>
                  <a:lnTo>
                    <a:pt x="102" y="722"/>
                  </a:lnTo>
                  <a:lnTo>
                    <a:pt x="102" y="725"/>
                  </a:lnTo>
                  <a:lnTo>
                    <a:pt x="102" y="727"/>
                  </a:lnTo>
                  <a:lnTo>
                    <a:pt x="102" y="729"/>
                  </a:lnTo>
                  <a:lnTo>
                    <a:pt x="102" y="732"/>
                  </a:lnTo>
                  <a:lnTo>
                    <a:pt x="104" y="732"/>
                  </a:lnTo>
                  <a:lnTo>
                    <a:pt x="104" y="734"/>
                  </a:lnTo>
                  <a:lnTo>
                    <a:pt x="104" y="737"/>
                  </a:lnTo>
                  <a:lnTo>
                    <a:pt x="106" y="737"/>
                  </a:lnTo>
                  <a:lnTo>
                    <a:pt x="106" y="739"/>
                  </a:lnTo>
                  <a:lnTo>
                    <a:pt x="106" y="741"/>
                  </a:lnTo>
                  <a:lnTo>
                    <a:pt x="104" y="741"/>
                  </a:lnTo>
                  <a:lnTo>
                    <a:pt x="104" y="744"/>
                  </a:lnTo>
                  <a:lnTo>
                    <a:pt x="102" y="744"/>
                  </a:lnTo>
                  <a:lnTo>
                    <a:pt x="102" y="746"/>
                  </a:lnTo>
                  <a:lnTo>
                    <a:pt x="99" y="746"/>
                  </a:lnTo>
                  <a:lnTo>
                    <a:pt x="97" y="746"/>
                  </a:lnTo>
                  <a:lnTo>
                    <a:pt x="95" y="744"/>
                  </a:lnTo>
                  <a:lnTo>
                    <a:pt x="92" y="744"/>
                  </a:lnTo>
                  <a:lnTo>
                    <a:pt x="90" y="744"/>
                  </a:lnTo>
                  <a:lnTo>
                    <a:pt x="87" y="744"/>
                  </a:lnTo>
                  <a:lnTo>
                    <a:pt x="85" y="744"/>
                  </a:lnTo>
                  <a:lnTo>
                    <a:pt x="83" y="744"/>
                  </a:lnTo>
                  <a:lnTo>
                    <a:pt x="83" y="746"/>
                  </a:lnTo>
                  <a:lnTo>
                    <a:pt x="80" y="746"/>
                  </a:lnTo>
                  <a:lnTo>
                    <a:pt x="78" y="746"/>
                  </a:lnTo>
                  <a:lnTo>
                    <a:pt x="76" y="746"/>
                  </a:lnTo>
                  <a:lnTo>
                    <a:pt x="76" y="748"/>
                  </a:lnTo>
                  <a:lnTo>
                    <a:pt x="73" y="748"/>
                  </a:lnTo>
                  <a:lnTo>
                    <a:pt x="71" y="748"/>
                  </a:lnTo>
                  <a:lnTo>
                    <a:pt x="68" y="748"/>
                  </a:lnTo>
                  <a:lnTo>
                    <a:pt x="66" y="746"/>
                  </a:lnTo>
                  <a:lnTo>
                    <a:pt x="66" y="748"/>
                  </a:lnTo>
                  <a:lnTo>
                    <a:pt x="66" y="746"/>
                  </a:lnTo>
                  <a:lnTo>
                    <a:pt x="66" y="748"/>
                  </a:lnTo>
                  <a:lnTo>
                    <a:pt x="66" y="746"/>
                  </a:lnTo>
                  <a:lnTo>
                    <a:pt x="64" y="746"/>
                  </a:lnTo>
                  <a:lnTo>
                    <a:pt x="61" y="746"/>
                  </a:lnTo>
                  <a:lnTo>
                    <a:pt x="59" y="746"/>
                  </a:lnTo>
                  <a:lnTo>
                    <a:pt x="57" y="746"/>
                  </a:lnTo>
                  <a:lnTo>
                    <a:pt x="54" y="746"/>
                  </a:lnTo>
                  <a:lnTo>
                    <a:pt x="57" y="746"/>
                  </a:lnTo>
                  <a:lnTo>
                    <a:pt x="57" y="744"/>
                  </a:lnTo>
                  <a:lnTo>
                    <a:pt x="59" y="746"/>
                  </a:lnTo>
                  <a:lnTo>
                    <a:pt x="59" y="744"/>
                  </a:lnTo>
                  <a:lnTo>
                    <a:pt x="61" y="744"/>
                  </a:lnTo>
                  <a:lnTo>
                    <a:pt x="61" y="741"/>
                  </a:lnTo>
                  <a:lnTo>
                    <a:pt x="59" y="741"/>
                  </a:lnTo>
                  <a:lnTo>
                    <a:pt x="59" y="739"/>
                  </a:lnTo>
                  <a:lnTo>
                    <a:pt x="59" y="737"/>
                  </a:lnTo>
                  <a:lnTo>
                    <a:pt x="61" y="734"/>
                  </a:lnTo>
                  <a:lnTo>
                    <a:pt x="64" y="734"/>
                  </a:lnTo>
                  <a:lnTo>
                    <a:pt x="61" y="734"/>
                  </a:lnTo>
                  <a:lnTo>
                    <a:pt x="64" y="734"/>
                  </a:lnTo>
                  <a:lnTo>
                    <a:pt x="61" y="734"/>
                  </a:lnTo>
                  <a:lnTo>
                    <a:pt x="64" y="734"/>
                  </a:lnTo>
                  <a:lnTo>
                    <a:pt x="61" y="734"/>
                  </a:lnTo>
                  <a:lnTo>
                    <a:pt x="64" y="734"/>
                  </a:lnTo>
                  <a:lnTo>
                    <a:pt x="64" y="732"/>
                  </a:lnTo>
                  <a:lnTo>
                    <a:pt x="64" y="729"/>
                  </a:lnTo>
                  <a:lnTo>
                    <a:pt x="61" y="729"/>
                  </a:lnTo>
                  <a:lnTo>
                    <a:pt x="59" y="729"/>
                  </a:lnTo>
                  <a:lnTo>
                    <a:pt x="61" y="729"/>
                  </a:lnTo>
                  <a:lnTo>
                    <a:pt x="61" y="727"/>
                  </a:lnTo>
                  <a:lnTo>
                    <a:pt x="59" y="727"/>
                  </a:lnTo>
                  <a:lnTo>
                    <a:pt x="59" y="729"/>
                  </a:lnTo>
                  <a:lnTo>
                    <a:pt x="59" y="727"/>
                  </a:lnTo>
                  <a:lnTo>
                    <a:pt x="59" y="725"/>
                  </a:lnTo>
                  <a:lnTo>
                    <a:pt x="59" y="722"/>
                  </a:lnTo>
                  <a:lnTo>
                    <a:pt x="57" y="722"/>
                  </a:lnTo>
                  <a:lnTo>
                    <a:pt x="57" y="720"/>
                  </a:lnTo>
                  <a:lnTo>
                    <a:pt x="54" y="720"/>
                  </a:lnTo>
                  <a:lnTo>
                    <a:pt x="54" y="718"/>
                  </a:lnTo>
                  <a:lnTo>
                    <a:pt x="54" y="715"/>
                  </a:lnTo>
                  <a:lnTo>
                    <a:pt x="52" y="715"/>
                  </a:lnTo>
                  <a:lnTo>
                    <a:pt x="52" y="713"/>
                  </a:lnTo>
                  <a:lnTo>
                    <a:pt x="49" y="710"/>
                  </a:lnTo>
                  <a:lnTo>
                    <a:pt x="49" y="708"/>
                  </a:lnTo>
                  <a:lnTo>
                    <a:pt x="47" y="708"/>
                  </a:lnTo>
                  <a:lnTo>
                    <a:pt x="47" y="706"/>
                  </a:lnTo>
                  <a:lnTo>
                    <a:pt x="47" y="703"/>
                  </a:lnTo>
                  <a:lnTo>
                    <a:pt x="45" y="701"/>
                  </a:lnTo>
                  <a:lnTo>
                    <a:pt x="42" y="701"/>
                  </a:lnTo>
                  <a:lnTo>
                    <a:pt x="42" y="699"/>
                  </a:lnTo>
                  <a:lnTo>
                    <a:pt x="45" y="699"/>
                  </a:lnTo>
                  <a:lnTo>
                    <a:pt x="45" y="701"/>
                  </a:lnTo>
                  <a:lnTo>
                    <a:pt x="47" y="701"/>
                  </a:lnTo>
                  <a:lnTo>
                    <a:pt x="49" y="701"/>
                  </a:lnTo>
                  <a:lnTo>
                    <a:pt x="49" y="703"/>
                  </a:lnTo>
                  <a:lnTo>
                    <a:pt x="52" y="703"/>
                  </a:lnTo>
                  <a:lnTo>
                    <a:pt x="54" y="703"/>
                  </a:lnTo>
                  <a:lnTo>
                    <a:pt x="57" y="703"/>
                  </a:lnTo>
                  <a:lnTo>
                    <a:pt x="57" y="701"/>
                  </a:lnTo>
                  <a:lnTo>
                    <a:pt x="54" y="701"/>
                  </a:lnTo>
                  <a:lnTo>
                    <a:pt x="54" y="699"/>
                  </a:lnTo>
                  <a:lnTo>
                    <a:pt x="54" y="696"/>
                  </a:lnTo>
                  <a:lnTo>
                    <a:pt x="52" y="696"/>
                  </a:lnTo>
                  <a:lnTo>
                    <a:pt x="49" y="696"/>
                  </a:lnTo>
                  <a:lnTo>
                    <a:pt x="49" y="694"/>
                  </a:lnTo>
                  <a:lnTo>
                    <a:pt x="49" y="691"/>
                  </a:lnTo>
                  <a:lnTo>
                    <a:pt x="52" y="691"/>
                  </a:lnTo>
                  <a:lnTo>
                    <a:pt x="54" y="691"/>
                  </a:lnTo>
                  <a:lnTo>
                    <a:pt x="57" y="691"/>
                  </a:lnTo>
                  <a:lnTo>
                    <a:pt x="57" y="694"/>
                  </a:lnTo>
                  <a:lnTo>
                    <a:pt x="59" y="691"/>
                  </a:lnTo>
                  <a:lnTo>
                    <a:pt x="59" y="689"/>
                  </a:lnTo>
                  <a:lnTo>
                    <a:pt x="59" y="687"/>
                  </a:lnTo>
                  <a:lnTo>
                    <a:pt x="59" y="684"/>
                  </a:lnTo>
                  <a:lnTo>
                    <a:pt x="59" y="682"/>
                  </a:lnTo>
                  <a:lnTo>
                    <a:pt x="57" y="682"/>
                  </a:lnTo>
                  <a:lnTo>
                    <a:pt x="54" y="682"/>
                  </a:lnTo>
                  <a:lnTo>
                    <a:pt x="52" y="682"/>
                  </a:lnTo>
                  <a:lnTo>
                    <a:pt x="52" y="680"/>
                  </a:lnTo>
                  <a:lnTo>
                    <a:pt x="49" y="677"/>
                  </a:lnTo>
                  <a:lnTo>
                    <a:pt x="49" y="675"/>
                  </a:lnTo>
                  <a:lnTo>
                    <a:pt x="49" y="672"/>
                  </a:lnTo>
                  <a:lnTo>
                    <a:pt x="47" y="672"/>
                  </a:lnTo>
                  <a:lnTo>
                    <a:pt x="47" y="670"/>
                  </a:lnTo>
                  <a:lnTo>
                    <a:pt x="45" y="670"/>
                  </a:lnTo>
                  <a:lnTo>
                    <a:pt x="42" y="670"/>
                  </a:lnTo>
                  <a:lnTo>
                    <a:pt x="42" y="668"/>
                  </a:lnTo>
                  <a:lnTo>
                    <a:pt x="40" y="668"/>
                  </a:lnTo>
                  <a:lnTo>
                    <a:pt x="40" y="665"/>
                  </a:lnTo>
                  <a:lnTo>
                    <a:pt x="40" y="663"/>
                  </a:lnTo>
                  <a:lnTo>
                    <a:pt x="38" y="663"/>
                  </a:lnTo>
                  <a:lnTo>
                    <a:pt x="40" y="663"/>
                  </a:lnTo>
                  <a:lnTo>
                    <a:pt x="38" y="663"/>
                  </a:lnTo>
                  <a:lnTo>
                    <a:pt x="38" y="661"/>
                  </a:lnTo>
                  <a:lnTo>
                    <a:pt x="38" y="658"/>
                  </a:lnTo>
                  <a:lnTo>
                    <a:pt x="38" y="661"/>
                  </a:lnTo>
                  <a:lnTo>
                    <a:pt x="35" y="658"/>
                  </a:lnTo>
                  <a:lnTo>
                    <a:pt x="38" y="658"/>
                  </a:lnTo>
                  <a:lnTo>
                    <a:pt x="35" y="658"/>
                  </a:lnTo>
                  <a:lnTo>
                    <a:pt x="35" y="656"/>
                  </a:lnTo>
                  <a:lnTo>
                    <a:pt x="35" y="658"/>
                  </a:lnTo>
                  <a:lnTo>
                    <a:pt x="35" y="656"/>
                  </a:lnTo>
                  <a:lnTo>
                    <a:pt x="35" y="653"/>
                  </a:lnTo>
                  <a:lnTo>
                    <a:pt x="33" y="653"/>
                  </a:lnTo>
                  <a:lnTo>
                    <a:pt x="35" y="653"/>
                  </a:lnTo>
                  <a:lnTo>
                    <a:pt x="35" y="651"/>
                  </a:lnTo>
                  <a:lnTo>
                    <a:pt x="35" y="653"/>
                  </a:lnTo>
                  <a:lnTo>
                    <a:pt x="33" y="653"/>
                  </a:lnTo>
                  <a:lnTo>
                    <a:pt x="33" y="651"/>
                  </a:lnTo>
                  <a:lnTo>
                    <a:pt x="30" y="651"/>
                  </a:lnTo>
                  <a:lnTo>
                    <a:pt x="33" y="651"/>
                  </a:lnTo>
                  <a:lnTo>
                    <a:pt x="33" y="649"/>
                  </a:lnTo>
                  <a:lnTo>
                    <a:pt x="35" y="649"/>
                  </a:lnTo>
                  <a:lnTo>
                    <a:pt x="33" y="649"/>
                  </a:lnTo>
                  <a:lnTo>
                    <a:pt x="35" y="649"/>
                  </a:lnTo>
                  <a:lnTo>
                    <a:pt x="33" y="649"/>
                  </a:lnTo>
                  <a:lnTo>
                    <a:pt x="35" y="649"/>
                  </a:lnTo>
                  <a:lnTo>
                    <a:pt x="33" y="649"/>
                  </a:lnTo>
                  <a:lnTo>
                    <a:pt x="33" y="646"/>
                  </a:lnTo>
                  <a:lnTo>
                    <a:pt x="30" y="646"/>
                  </a:lnTo>
                  <a:lnTo>
                    <a:pt x="30" y="644"/>
                  </a:lnTo>
                  <a:lnTo>
                    <a:pt x="33" y="644"/>
                  </a:lnTo>
                  <a:lnTo>
                    <a:pt x="30" y="644"/>
                  </a:lnTo>
                  <a:lnTo>
                    <a:pt x="30" y="642"/>
                  </a:lnTo>
                  <a:lnTo>
                    <a:pt x="33" y="642"/>
                  </a:lnTo>
                  <a:lnTo>
                    <a:pt x="30" y="642"/>
                  </a:lnTo>
                  <a:lnTo>
                    <a:pt x="30" y="639"/>
                  </a:lnTo>
                  <a:lnTo>
                    <a:pt x="30" y="642"/>
                  </a:lnTo>
                  <a:lnTo>
                    <a:pt x="30" y="644"/>
                  </a:lnTo>
                  <a:lnTo>
                    <a:pt x="28" y="644"/>
                  </a:lnTo>
                  <a:lnTo>
                    <a:pt x="30" y="644"/>
                  </a:lnTo>
                  <a:lnTo>
                    <a:pt x="28" y="644"/>
                  </a:lnTo>
                  <a:lnTo>
                    <a:pt x="30" y="644"/>
                  </a:lnTo>
                  <a:lnTo>
                    <a:pt x="28" y="644"/>
                  </a:lnTo>
                  <a:lnTo>
                    <a:pt x="28" y="646"/>
                  </a:lnTo>
                  <a:lnTo>
                    <a:pt x="28" y="644"/>
                  </a:lnTo>
                  <a:lnTo>
                    <a:pt x="28" y="646"/>
                  </a:lnTo>
                  <a:lnTo>
                    <a:pt x="28" y="644"/>
                  </a:lnTo>
                  <a:lnTo>
                    <a:pt x="28" y="646"/>
                  </a:lnTo>
                  <a:lnTo>
                    <a:pt x="26" y="646"/>
                  </a:lnTo>
                  <a:lnTo>
                    <a:pt x="26" y="644"/>
                  </a:lnTo>
                  <a:lnTo>
                    <a:pt x="28" y="644"/>
                  </a:lnTo>
                  <a:lnTo>
                    <a:pt x="26" y="644"/>
                  </a:lnTo>
                  <a:lnTo>
                    <a:pt x="28" y="644"/>
                  </a:lnTo>
                  <a:lnTo>
                    <a:pt x="26" y="644"/>
                  </a:lnTo>
                  <a:lnTo>
                    <a:pt x="28" y="644"/>
                  </a:lnTo>
                  <a:lnTo>
                    <a:pt x="26" y="644"/>
                  </a:lnTo>
                  <a:lnTo>
                    <a:pt x="26" y="642"/>
                  </a:lnTo>
                  <a:lnTo>
                    <a:pt x="26" y="639"/>
                  </a:lnTo>
                  <a:lnTo>
                    <a:pt x="28" y="639"/>
                  </a:lnTo>
                  <a:lnTo>
                    <a:pt x="26" y="639"/>
                  </a:lnTo>
                  <a:lnTo>
                    <a:pt x="28" y="639"/>
                  </a:lnTo>
                  <a:lnTo>
                    <a:pt x="28" y="637"/>
                  </a:lnTo>
                  <a:lnTo>
                    <a:pt x="26" y="637"/>
                  </a:lnTo>
                  <a:lnTo>
                    <a:pt x="26" y="634"/>
                  </a:lnTo>
                  <a:lnTo>
                    <a:pt x="26" y="632"/>
                  </a:lnTo>
                  <a:lnTo>
                    <a:pt x="26" y="634"/>
                  </a:lnTo>
                  <a:lnTo>
                    <a:pt x="26" y="632"/>
                  </a:lnTo>
                  <a:lnTo>
                    <a:pt x="26" y="634"/>
                  </a:lnTo>
                  <a:lnTo>
                    <a:pt x="26" y="632"/>
                  </a:lnTo>
                  <a:lnTo>
                    <a:pt x="23" y="632"/>
                  </a:lnTo>
                  <a:lnTo>
                    <a:pt x="26" y="632"/>
                  </a:lnTo>
                  <a:lnTo>
                    <a:pt x="23" y="632"/>
                  </a:lnTo>
                  <a:lnTo>
                    <a:pt x="26" y="632"/>
                  </a:lnTo>
                  <a:lnTo>
                    <a:pt x="23" y="632"/>
                  </a:lnTo>
                  <a:lnTo>
                    <a:pt x="23" y="630"/>
                  </a:lnTo>
                  <a:lnTo>
                    <a:pt x="23" y="627"/>
                  </a:lnTo>
                  <a:lnTo>
                    <a:pt x="23" y="630"/>
                  </a:lnTo>
                  <a:lnTo>
                    <a:pt x="23" y="627"/>
                  </a:lnTo>
                  <a:lnTo>
                    <a:pt x="26" y="627"/>
                  </a:lnTo>
                  <a:lnTo>
                    <a:pt x="28" y="627"/>
                  </a:lnTo>
                  <a:lnTo>
                    <a:pt x="26" y="627"/>
                  </a:lnTo>
                  <a:lnTo>
                    <a:pt x="23" y="627"/>
                  </a:lnTo>
                  <a:lnTo>
                    <a:pt x="21" y="627"/>
                  </a:lnTo>
                  <a:lnTo>
                    <a:pt x="23" y="627"/>
                  </a:lnTo>
                  <a:lnTo>
                    <a:pt x="21" y="627"/>
                  </a:lnTo>
                  <a:lnTo>
                    <a:pt x="23" y="627"/>
                  </a:lnTo>
                  <a:lnTo>
                    <a:pt x="21" y="627"/>
                  </a:lnTo>
                  <a:lnTo>
                    <a:pt x="19" y="627"/>
                  </a:lnTo>
                  <a:lnTo>
                    <a:pt x="19" y="625"/>
                  </a:lnTo>
                  <a:lnTo>
                    <a:pt x="19" y="627"/>
                  </a:lnTo>
                  <a:lnTo>
                    <a:pt x="19" y="625"/>
                  </a:lnTo>
                  <a:lnTo>
                    <a:pt x="21" y="625"/>
                  </a:lnTo>
                  <a:lnTo>
                    <a:pt x="19" y="625"/>
                  </a:lnTo>
                  <a:lnTo>
                    <a:pt x="21" y="625"/>
                  </a:lnTo>
                  <a:lnTo>
                    <a:pt x="21" y="623"/>
                  </a:lnTo>
                  <a:lnTo>
                    <a:pt x="21" y="625"/>
                  </a:lnTo>
                  <a:lnTo>
                    <a:pt x="21" y="623"/>
                  </a:lnTo>
                  <a:lnTo>
                    <a:pt x="23" y="623"/>
                  </a:lnTo>
                  <a:lnTo>
                    <a:pt x="26" y="620"/>
                  </a:lnTo>
                  <a:lnTo>
                    <a:pt x="28" y="620"/>
                  </a:lnTo>
                  <a:lnTo>
                    <a:pt x="28" y="618"/>
                  </a:lnTo>
                  <a:lnTo>
                    <a:pt x="28" y="620"/>
                  </a:lnTo>
                  <a:lnTo>
                    <a:pt x="30" y="618"/>
                  </a:lnTo>
                  <a:lnTo>
                    <a:pt x="30" y="615"/>
                  </a:lnTo>
                  <a:lnTo>
                    <a:pt x="30" y="618"/>
                  </a:lnTo>
                  <a:lnTo>
                    <a:pt x="28" y="618"/>
                  </a:lnTo>
                  <a:lnTo>
                    <a:pt x="28" y="620"/>
                  </a:lnTo>
                  <a:lnTo>
                    <a:pt x="28" y="618"/>
                  </a:lnTo>
                  <a:lnTo>
                    <a:pt x="28" y="620"/>
                  </a:lnTo>
                  <a:lnTo>
                    <a:pt x="26" y="620"/>
                  </a:lnTo>
                  <a:lnTo>
                    <a:pt x="23" y="623"/>
                  </a:lnTo>
                  <a:lnTo>
                    <a:pt x="21" y="623"/>
                  </a:lnTo>
                  <a:lnTo>
                    <a:pt x="19" y="623"/>
                  </a:lnTo>
                  <a:lnTo>
                    <a:pt x="21" y="623"/>
                  </a:lnTo>
                  <a:lnTo>
                    <a:pt x="19" y="623"/>
                  </a:lnTo>
                  <a:lnTo>
                    <a:pt x="19" y="620"/>
                  </a:lnTo>
                  <a:lnTo>
                    <a:pt x="16" y="620"/>
                  </a:lnTo>
                  <a:lnTo>
                    <a:pt x="19" y="620"/>
                  </a:lnTo>
                  <a:lnTo>
                    <a:pt x="19" y="618"/>
                  </a:lnTo>
                  <a:lnTo>
                    <a:pt x="19" y="620"/>
                  </a:lnTo>
                  <a:lnTo>
                    <a:pt x="19" y="618"/>
                  </a:lnTo>
                  <a:lnTo>
                    <a:pt x="21" y="618"/>
                  </a:lnTo>
                  <a:lnTo>
                    <a:pt x="21" y="615"/>
                  </a:lnTo>
                  <a:lnTo>
                    <a:pt x="21" y="613"/>
                  </a:lnTo>
                  <a:lnTo>
                    <a:pt x="23" y="613"/>
                  </a:lnTo>
                  <a:lnTo>
                    <a:pt x="23" y="611"/>
                  </a:lnTo>
                  <a:lnTo>
                    <a:pt x="21" y="611"/>
                  </a:lnTo>
                  <a:lnTo>
                    <a:pt x="23" y="611"/>
                  </a:lnTo>
                  <a:lnTo>
                    <a:pt x="23" y="608"/>
                  </a:lnTo>
                  <a:lnTo>
                    <a:pt x="21" y="608"/>
                  </a:lnTo>
                  <a:lnTo>
                    <a:pt x="23" y="608"/>
                  </a:lnTo>
                  <a:lnTo>
                    <a:pt x="23" y="606"/>
                  </a:lnTo>
                  <a:lnTo>
                    <a:pt x="21" y="606"/>
                  </a:lnTo>
                  <a:lnTo>
                    <a:pt x="23" y="606"/>
                  </a:lnTo>
                  <a:lnTo>
                    <a:pt x="23" y="603"/>
                  </a:lnTo>
                  <a:lnTo>
                    <a:pt x="23" y="601"/>
                  </a:lnTo>
                  <a:lnTo>
                    <a:pt x="26" y="601"/>
                  </a:lnTo>
                  <a:lnTo>
                    <a:pt x="26" y="599"/>
                  </a:lnTo>
                  <a:lnTo>
                    <a:pt x="26" y="601"/>
                  </a:lnTo>
                  <a:lnTo>
                    <a:pt x="23" y="601"/>
                  </a:lnTo>
                  <a:lnTo>
                    <a:pt x="23" y="599"/>
                  </a:lnTo>
                  <a:lnTo>
                    <a:pt x="23" y="596"/>
                  </a:lnTo>
                  <a:lnTo>
                    <a:pt x="23" y="594"/>
                  </a:lnTo>
                  <a:lnTo>
                    <a:pt x="26" y="594"/>
                  </a:lnTo>
                  <a:lnTo>
                    <a:pt x="23" y="594"/>
                  </a:lnTo>
                  <a:lnTo>
                    <a:pt x="21" y="594"/>
                  </a:lnTo>
                  <a:lnTo>
                    <a:pt x="23" y="594"/>
                  </a:lnTo>
                  <a:lnTo>
                    <a:pt x="21" y="594"/>
                  </a:lnTo>
                  <a:lnTo>
                    <a:pt x="19" y="594"/>
                  </a:lnTo>
                  <a:lnTo>
                    <a:pt x="19" y="596"/>
                  </a:lnTo>
                  <a:lnTo>
                    <a:pt x="21" y="594"/>
                  </a:lnTo>
                  <a:lnTo>
                    <a:pt x="21" y="596"/>
                  </a:lnTo>
                  <a:lnTo>
                    <a:pt x="19" y="596"/>
                  </a:lnTo>
                  <a:lnTo>
                    <a:pt x="16" y="596"/>
                  </a:lnTo>
                  <a:lnTo>
                    <a:pt x="19" y="596"/>
                  </a:lnTo>
                  <a:lnTo>
                    <a:pt x="19" y="599"/>
                  </a:lnTo>
                  <a:lnTo>
                    <a:pt x="16" y="599"/>
                  </a:lnTo>
                  <a:lnTo>
                    <a:pt x="14" y="599"/>
                  </a:lnTo>
                  <a:lnTo>
                    <a:pt x="11" y="599"/>
                  </a:lnTo>
                  <a:lnTo>
                    <a:pt x="11" y="601"/>
                  </a:lnTo>
                  <a:lnTo>
                    <a:pt x="9" y="601"/>
                  </a:lnTo>
                  <a:lnTo>
                    <a:pt x="11" y="601"/>
                  </a:lnTo>
                  <a:lnTo>
                    <a:pt x="9" y="601"/>
                  </a:lnTo>
                  <a:lnTo>
                    <a:pt x="9" y="599"/>
                  </a:lnTo>
                  <a:lnTo>
                    <a:pt x="11" y="599"/>
                  </a:lnTo>
                  <a:lnTo>
                    <a:pt x="11" y="596"/>
                  </a:lnTo>
                  <a:lnTo>
                    <a:pt x="11" y="599"/>
                  </a:lnTo>
                  <a:lnTo>
                    <a:pt x="11" y="596"/>
                  </a:lnTo>
                  <a:lnTo>
                    <a:pt x="14" y="596"/>
                  </a:lnTo>
                  <a:lnTo>
                    <a:pt x="14" y="594"/>
                  </a:lnTo>
                  <a:lnTo>
                    <a:pt x="16" y="594"/>
                  </a:lnTo>
                  <a:lnTo>
                    <a:pt x="14" y="594"/>
                  </a:lnTo>
                  <a:lnTo>
                    <a:pt x="16" y="594"/>
                  </a:lnTo>
                  <a:lnTo>
                    <a:pt x="16" y="592"/>
                  </a:lnTo>
                  <a:lnTo>
                    <a:pt x="16" y="589"/>
                  </a:lnTo>
                  <a:lnTo>
                    <a:pt x="19" y="589"/>
                  </a:lnTo>
                  <a:lnTo>
                    <a:pt x="16" y="589"/>
                  </a:lnTo>
                  <a:lnTo>
                    <a:pt x="16" y="592"/>
                  </a:lnTo>
                  <a:lnTo>
                    <a:pt x="16" y="589"/>
                  </a:lnTo>
                  <a:lnTo>
                    <a:pt x="14" y="589"/>
                  </a:lnTo>
                  <a:lnTo>
                    <a:pt x="16" y="589"/>
                  </a:lnTo>
                  <a:lnTo>
                    <a:pt x="14" y="587"/>
                  </a:lnTo>
                  <a:lnTo>
                    <a:pt x="14" y="589"/>
                  </a:lnTo>
                  <a:lnTo>
                    <a:pt x="14" y="592"/>
                  </a:lnTo>
                  <a:lnTo>
                    <a:pt x="14" y="594"/>
                  </a:lnTo>
                  <a:lnTo>
                    <a:pt x="14" y="596"/>
                  </a:lnTo>
                  <a:lnTo>
                    <a:pt x="11" y="596"/>
                  </a:lnTo>
                  <a:lnTo>
                    <a:pt x="11" y="599"/>
                  </a:lnTo>
                  <a:lnTo>
                    <a:pt x="9" y="596"/>
                  </a:lnTo>
                  <a:lnTo>
                    <a:pt x="11" y="596"/>
                  </a:lnTo>
                  <a:lnTo>
                    <a:pt x="9" y="596"/>
                  </a:lnTo>
                  <a:lnTo>
                    <a:pt x="9" y="599"/>
                  </a:lnTo>
                  <a:lnTo>
                    <a:pt x="9" y="596"/>
                  </a:lnTo>
                  <a:lnTo>
                    <a:pt x="11" y="596"/>
                  </a:lnTo>
                  <a:lnTo>
                    <a:pt x="9" y="596"/>
                  </a:lnTo>
                  <a:lnTo>
                    <a:pt x="9" y="594"/>
                  </a:lnTo>
                  <a:lnTo>
                    <a:pt x="11" y="594"/>
                  </a:lnTo>
                  <a:lnTo>
                    <a:pt x="11" y="592"/>
                  </a:lnTo>
                  <a:lnTo>
                    <a:pt x="9" y="592"/>
                  </a:lnTo>
                  <a:lnTo>
                    <a:pt x="11" y="592"/>
                  </a:lnTo>
                  <a:lnTo>
                    <a:pt x="9" y="592"/>
                  </a:lnTo>
                  <a:lnTo>
                    <a:pt x="9" y="594"/>
                  </a:lnTo>
                  <a:lnTo>
                    <a:pt x="7" y="594"/>
                  </a:lnTo>
                  <a:lnTo>
                    <a:pt x="9" y="594"/>
                  </a:lnTo>
                  <a:lnTo>
                    <a:pt x="7" y="594"/>
                  </a:lnTo>
                  <a:lnTo>
                    <a:pt x="7" y="592"/>
                  </a:lnTo>
                  <a:lnTo>
                    <a:pt x="9" y="592"/>
                  </a:lnTo>
                  <a:lnTo>
                    <a:pt x="9" y="594"/>
                  </a:lnTo>
                  <a:lnTo>
                    <a:pt x="9" y="592"/>
                  </a:lnTo>
                  <a:lnTo>
                    <a:pt x="9" y="589"/>
                  </a:lnTo>
                  <a:lnTo>
                    <a:pt x="11" y="589"/>
                  </a:lnTo>
                  <a:lnTo>
                    <a:pt x="11" y="587"/>
                  </a:lnTo>
                  <a:lnTo>
                    <a:pt x="9" y="589"/>
                  </a:lnTo>
                  <a:lnTo>
                    <a:pt x="9" y="592"/>
                  </a:lnTo>
                  <a:lnTo>
                    <a:pt x="7" y="592"/>
                  </a:lnTo>
                  <a:lnTo>
                    <a:pt x="7" y="594"/>
                  </a:lnTo>
                  <a:lnTo>
                    <a:pt x="7" y="592"/>
                  </a:lnTo>
                  <a:lnTo>
                    <a:pt x="7" y="594"/>
                  </a:lnTo>
                  <a:lnTo>
                    <a:pt x="7" y="592"/>
                  </a:lnTo>
                  <a:lnTo>
                    <a:pt x="7" y="594"/>
                  </a:lnTo>
                  <a:lnTo>
                    <a:pt x="7" y="592"/>
                  </a:lnTo>
                  <a:lnTo>
                    <a:pt x="4" y="592"/>
                  </a:lnTo>
                  <a:lnTo>
                    <a:pt x="7" y="592"/>
                  </a:lnTo>
                  <a:lnTo>
                    <a:pt x="4" y="592"/>
                  </a:lnTo>
                  <a:lnTo>
                    <a:pt x="4" y="594"/>
                  </a:lnTo>
                  <a:lnTo>
                    <a:pt x="4" y="592"/>
                  </a:lnTo>
                  <a:lnTo>
                    <a:pt x="4" y="594"/>
                  </a:lnTo>
                  <a:lnTo>
                    <a:pt x="2" y="594"/>
                  </a:lnTo>
                  <a:lnTo>
                    <a:pt x="2" y="592"/>
                  </a:lnTo>
                  <a:lnTo>
                    <a:pt x="4" y="592"/>
                  </a:lnTo>
                  <a:lnTo>
                    <a:pt x="2" y="592"/>
                  </a:lnTo>
                  <a:lnTo>
                    <a:pt x="4" y="592"/>
                  </a:lnTo>
                  <a:lnTo>
                    <a:pt x="2" y="589"/>
                  </a:lnTo>
                  <a:lnTo>
                    <a:pt x="2" y="592"/>
                  </a:lnTo>
                  <a:lnTo>
                    <a:pt x="2" y="589"/>
                  </a:lnTo>
                  <a:lnTo>
                    <a:pt x="4" y="589"/>
                  </a:lnTo>
                  <a:lnTo>
                    <a:pt x="7" y="587"/>
                  </a:lnTo>
                  <a:lnTo>
                    <a:pt x="4" y="587"/>
                  </a:lnTo>
                  <a:lnTo>
                    <a:pt x="4" y="589"/>
                  </a:lnTo>
                  <a:lnTo>
                    <a:pt x="4" y="587"/>
                  </a:lnTo>
                  <a:lnTo>
                    <a:pt x="7" y="587"/>
                  </a:lnTo>
                  <a:lnTo>
                    <a:pt x="4" y="587"/>
                  </a:lnTo>
                  <a:lnTo>
                    <a:pt x="7" y="587"/>
                  </a:lnTo>
                  <a:lnTo>
                    <a:pt x="4" y="587"/>
                  </a:lnTo>
                  <a:lnTo>
                    <a:pt x="4" y="584"/>
                  </a:lnTo>
                  <a:lnTo>
                    <a:pt x="4" y="582"/>
                  </a:lnTo>
                  <a:lnTo>
                    <a:pt x="4" y="584"/>
                  </a:lnTo>
                  <a:lnTo>
                    <a:pt x="4" y="582"/>
                  </a:lnTo>
                  <a:lnTo>
                    <a:pt x="7" y="582"/>
                  </a:lnTo>
                  <a:lnTo>
                    <a:pt x="4" y="582"/>
                  </a:lnTo>
                  <a:lnTo>
                    <a:pt x="4" y="580"/>
                  </a:lnTo>
                  <a:lnTo>
                    <a:pt x="4" y="577"/>
                  </a:lnTo>
                  <a:lnTo>
                    <a:pt x="4" y="575"/>
                  </a:lnTo>
                  <a:lnTo>
                    <a:pt x="4" y="577"/>
                  </a:lnTo>
                  <a:lnTo>
                    <a:pt x="4" y="575"/>
                  </a:lnTo>
                  <a:lnTo>
                    <a:pt x="2" y="575"/>
                  </a:lnTo>
                  <a:lnTo>
                    <a:pt x="4" y="575"/>
                  </a:lnTo>
                  <a:lnTo>
                    <a:pt x="2" y="575"/>
                  </a:lnTo>
                  <a:lnTo>
                    <a:pt x="2" y="573"/>
                  </a:lnTo>
                  <a:lnTo>
                    <a:pt x="4" y="573"/>
                  </a:lnTo>
                  <a:lnTo>
                    <a:pt x="4" y="575"/>
                  </a:lnTo>
                  <a:lnTo>
                    <a:pt x="4" y="573"/>
                  </a:lnTo>
                  <a:lnTo>
                    <a:pt x="2" y="573"/>
                  </a:lnTo>
                  <a:lnTo>
                    <a:pt x="2" y="570"/>
                  </a:lnTo>
                  <a:lnTo>
                    <a:pt x="4" y="570"/>
                  </a:lnTo>
                  <a:lnTo>
                    <a:pt x="4" y="568"/>
                  </a:lnTo>
                  <a:lnTo>
                    <a:pt x="4" y="570"/>
                  </a:lnTo>
                  <a:lnTo>
                    <a:pt x="4" y="568"/>
                  </a:lnTo>
                  <a:lnTo>
                    <a:pt x="2" y="568"/>
                  </a:lnTo>
                  <a:lnTo>
                    <a:pt x="4" y="568"/>
                  </a:lnTo>
                  <a:lnTo>
                    <a:pt x="2" y="568"/>
                  </a:lnTo>
                  <a:lnTo>
                    <a:pt x="4" y="568"/>
                  </a:lnTo>
                  <a:lnTo>
                    <a:pt x="2" y="568"/>
                  </a:lnTo>
                  <a:lnTo>
                    <a:pt x="0" y="568"/>
                  </a:lnTo>
                  <a:lnTo>
                    <a:pt x="2" y="568"/>
                  </a:lnTo>
                  <a:lnTo>
                    <a:pt x="0" y="568"/>
                  </a:lnTo>
                  <a:lnTo>
                    <a:pt x="2" y="568"/>
                  </a:lnTo>
                  <a:lnTo>
                    <a:pt x="2" y="565"/>
                  </a:lnTo>
                  <a:lnTo>
                    <a:pt x="0" y="565"/>
                  </a:lnTo>
                  <a:lnTo>
                    <a:pt x="2" y="565"/>
                  </a:lnTo>
                  <a:lnTo>
                    <a:pt x="2" y="568"/>
                  </a:lnTo>
                  <a:lnTo>
                    <a:pt x="2" y="565"/>
                  </a:lnTo>
                  <a:lnTo>
                    <a:pt x="0" y="565"/>
                  </a:lnTo>
                  <a:lnTo>
                    <a:pt x="2" y="565"/>
                  </a:lnTo>
                  <a:lnTo>
                    <a:pt x="0" y="565"/>
                  </a:lnTo>
                  <a:lnTo>
                    <a:pt x="0" y="563"/>
                  </a:lnTo>
                  <a:lnTo>
                    <a:pt x="2" y="563"/>
                  </a:lnTo>
                  <a:lnTo>
                    <a:pt x="0" y="563"/>
                  </a:lnTo>
                  <a:lnTo>
                    <a:pt x="2" y="563"/>
                  </a:lnTo>
                  <a:lnTo>
                    <a:pt x="0" y="563"/>
                  </a:lnTo>
                  <a:lnTo>
                    <a:pt x="0" y="561"/>
                  </a:lnTo>
                  <a:lnTo>
                    <a:pt x="2" y="561"/>
                  </a:lnTo>
                  <a:lnTo>
                    <a:pt x="2" y="558"/>
                  </a:lnTo>
                  <a:lnTo>
                    <a:pt x="4" y="558"/>
                  </a:lnTo>
                  <a:lnTo>
                    <a:pt x="2" y="558"/>
                  </a:lnTo>
                  <a:lnTo>
                    <a:pt x="4" y="558"/>
                  </a:lnTo>
                  <a:lnTo>
                    <a:pt x="2" y="558"/>
                  </a:lnTo>
                  <a:lnTo>
                    <a:pt x="2" y="561"/>
                  </a:lnTo>
                  <a:lnTo>
                    <a:pt x="0" y="561"/>
                  </a:lnTo>
                  <a:lnTo>
                    <a:pt x="0" y="558"/>
                  </a:lnTo>
                  <a:lnTo>
                    <a:pt x="0" y="561"/>
                  </a:lnTo>
                  <a:lnTo>
                    <a:pt x="0" y="558"/>
                  </a:lnTo>
                  <a:lnTo>
                    <a:pt x="0" y="556"/>
                  </a:lnTo>
                  <a:lnTo>
                    <a:pt x="2" y="556"/>
                  </a:lnTo>
                  <a:lnTo>
                    <a:pt x="4" y="556"/>
                  </a:lnTo>
                  <a:lnTo>
                    <a:pt x="4" y="554"/>
                  </a:lnTo>
                  <a:lnTo>
                    <a:pt x="7" y="554"/>
                  </a:lnTo>
                  <a:lnTo>
                    <a:pt x="9" y="556"/>
                  </a:lnTo>
                  <a:lnTo>
                    <a:pt x="7" y="556"/>
                  </a:lnTo>
                  <a:lnTo>
                    <a:pt x="9" y="556"/>
                  </a:lnTo>
                  <a:lnTo>
                    <a:pt x="9" y="558"/>
                  </a:lnTo>
                  <a:lnTo>
                    <a:pt x="11" y="558"/>
                  </a:lnTo>
                  <a:lnTo>
                    <a:pt x="11" y="561"/>
                  </a:lnTo>
                  <a:lnTo>
                    <a:pt x="11" y="563"/>
                  </a:lnTo>
                  <a:lnTo>
                    <a:pt x="11" y="565"/>
                  </a:lnTo>
                  <a:lnTo>
                    <a:pt x="14" y="565"/>
                  </a:lnTo>
                  <a:lnTo>
                    <a:pt x="16" y="565"/>
                  </a:lnTo>
                  <a:lnTo>
                    <a:pt x="16" y="563"/>
                  </a:lnTo>
                  <a:lnTo>
                    <a:pt x="16" y="565"/>
                  </a:lnTo>
                  <a:lnTo>
                    <a:pt x="16" y="563"/>
                  </a:lnTo>
                  <a:lnTo>
                    <a:pt x="19" y="563"/>
                  </a:lnTo>
                  <a:lnTo>
                    <a:pt x="16" y="563"/>
                  </a:lnTo>
                  <a:lnTo>
                    <a:pt x="19" y="563"/>
                  </a:lnTo>
                  <a:lnTo>
                    <a:pt x="19" y="561"/>
                  </a:lnTo>
                  <a:lnTo>
                    <a:pt x="19" y="558"/>
                  </a:lnTo>
                  <a:lnTo>
                    <a:pt x="21" y="556"/>
                  </a:lnTo>
                  <a:lnTo>
                    <a:pt x="21" y="554"/>
                  </a:lnTo>
                  <a:lnTo>
                    <a:pt x="21" y="551"/>
                  </a:lnTo>
                  <a:lnTo>
                    <a:pt x="21" y="549"/>
                  </a:lnTo>
                  <a:lnTo>
                    <a:pt x="23" y="546"/>
                  </a:lnTo>
                  <a:lnTo>
                    <a:pt x="23" y="542"/>
                  </a:lnTo>
                  <a:lnTo>
                    <a:pt x="21" y="539"/>
                  </a:lnTo>
                  <a:lnTo>
                    <a:pt x="21" y="537"/>
                  </a:lnTo>
                  <a:lnTo>
                    <a:pt x="21" y="535"/>
                  </a:lnTo>
                  <a:lnTo>
                    <a:pt x="21" y="532"/>
                  </a:lnTo>
                  <a:lnTo>
                    <a:pt x="19" y="532"/>
                  </a:lnTo>
                  <a:lnTo>
                    <a:pt x="19" y="527"/>
                  </a:lnTo>
                  <a:lnTo>
                    <a:pt x="19" y="525"/>
                  </a:lnTo>
                  <a:lnTo>
                    <a:pt x="21" y="525"/>
                  </a:lnTo>
                  <a:lnTo>
                    <a:pt x="23" y="525"/>
                  </a:lnTo>
                  <a:lnTo>
                    <a:pt x="26" y="523"/>
                  </a:lnTo>
                  <a:lnTo>
                    <a:pt x="26" y="520"/>
                  </a:lnTo>
                  <a:lnTo>
                    <a:pt x="26" y="518"/>
                  </a:lnTo>
                  <a:lnTo>
                    <a:pt x="26" y="516"/>
                  </a:lnTo>
                  <a:lnTo>
                    <a:pt x="23" y="516"/>
                  </a:lnTo>
                  <a:lnTo>
                    <a:pt x="26" y="513"/>
                  </a:lnTo>
                  <a:lnTo>
                    <a:pt x="28" y="513"/>
                  </a:lnTo>
                  <a:lnTo>
                    <a:pt x="28" y="511"/>
                  </a:lnTo>
                  <a:lnTo>
                    <a:pt x="28" y="513"/>
                  </a:lnTo>
                  <a:lnTo>
                    <a:pt x="30" y="513"/>
                  </a:lnTo>
                  <a:lnTo>
                    <a:pt x="33" y="513"/>
                  </a:lnTo>
                  <a:lnTo>
                    <a:pt x="35" y="513"/>
                  </a:lnTo>
                  <a:lnTo>
                    <a:pt x="35" y="511"/>
                  </a:lnTo>
                  <a:lnTo>
                    <a:pt x="38" y="508"/>
                  </a:lnTo>
                  <a:lnTo>
                    <a:pt x="40" y="508"/>
                  </a:lnTo>
                  <a:lnTo>
                    <a:pt x="40" y="506"/>
                  </a:lnTo>
                  <a:lnTo>
                    <a:pt x="42" y="506"/>
                  </a:lnTo>
                  <a:lnTo>
                    <a:pt x="42" y="504"/>
                  </a:lnTo>
                  <a:lnTo>
                    <a:pt x="45" y="504"/>
                  </a:lnTo>
                  <a:lnTo>
                    <a:pt x="45" y="501"/>
                  </a:lnTo>
                  <a:lnTo>
                    <a:pt x="45" y="499"/>
                  </a:lnTo>
                  <a:lnTo>
                    <a:pt x="47" y="497"/>
                  </a:lnTo>
                  <a:lnTo>
                    <a:pt x="47" y="494"/>
                  </a:lnTo>
                  <a:lnTo>
                    <a:pt x="45" y="494"/>
                  </a:lnTo>
                  <a:lnTo>
                    <a:pt x="45" y="492"/>
                  </a:lnTo>
                  <a:lnTo>
                    <a:pt x="45" y="489"/>
                  </a:lnTo>
                  <a:lnTo>
                    <a:pt x="47" y="487"/>
                  </a:lnTo>
                  <a:lnTo>
                    <a:pt x="49" y="485"/>
                  </a:lnTo>
                  <a:lnTo>
                    <a:pt x="49" y="480"/>
                  </a:lnTo>
                  <a:lnTo>
                    <a:pt x="47" y="478"/>
                  </a:lnTo>
                  <a:lnTo>
                    <a:pt x="45" y="475"/>
                  </a:lnTo>
                  <a:lnTo>
                    <a:pt x="45" y="473"/>
                  </a:lnTo>
                  <a:lnTo>
                    <a:pt x="42" y="468"/>
                  </a:lnTo>
                  <a:lnTo>
                    <a:pt x="40" y="461"/>
                  </a:lnTo>
                  <a:lnTo>
                    <a:pt x="40" y="459"/>
                  </a:lnTo>
                  <a:lnTo>
                    <a:pt x="38" y="456"/>
                  </a:lnTo>
                  <a:lnTo>
                    <a:pt x="35" y="451"/>
                  </a:lnTo>
                  <a:lnTo>
                    <a:pt x="42" y="451"/>
                  </a:lnTo>
                  <a:lnTo>
                    <a:pt x="45" y="451"/>
                  </a:lnTo>
                  <a:lnTo>
                    <a:pt x="49" y="451"/>
                  </a:lnTo>
                  <a:lnTo>
                    <a:pt x="52" y="449"/>
                  </a:lnTo>
                  <a:lnTo>
                    <a:pt x="52" y="444"/>
                  </a:lnTo>
                  <a:lnTo>
                    <a:pt x="54" y="442"/>
                  </a:lnTo>
                  <a:lnTo>
                    <a:pt x="57" y="437"/>
                  </a:lnTo>
                  <a:lnTo>
                    <a:pt x="57" y="435"/>
                  </a:lnTo>
                  <a:lnTo>
                    <a:pt x="54" y="430"/>
                  </a:lnTo>
                  <a:lnTo>
                    <a:pt x="52" y="428"/>
                  </a:lnTo>
                  <a:lnTo>
                    <a:pt x="49" y="425"/>
                  </a:lnTo>
                  <a:lnTo>
                    <a:pt x="47" y="423"/>
                  </a:lnTo>
                  <a:lnTo>
                    <a:pt x="42" y="423"/>
                  </a:lnTo>
                  <a:lnTo>
                    <a:pt x="40" y="421"/>
                  </a:lnTo>
                  <a:lnTo>
                    <a:pt x="38" y="418"/>
                  </a:lnTo>
                  <a:lnTo>
                    <a:pt x="33" y="413"/>
                  </a:lnTo>
                  <a:lnTo>
                    <a:pt x="33" y="411"/>
                  </a:lnTo>
                  <a:lnTo>
                    <a:pt x="35" y="399"/>
                  </a:lnTo>
                  <a:lnTo>
                    <a:pt x="38" y="394"/>
                  </a:lnTo>
                  <a:lnTo>
                    <a:pt x="38" y="387"/>
                  </a:lnTo>
                  <a:lnTo>
                    <a:pt x="38" y="385"/>
                  </a:lnTo>
                  <a:lnTo>
                    <a:pt x="38" y="383"/>
                  </a:lnTo>
                  <a:lnTo>
                    <a:pt x="38" y="380"/>
                  </a:lnTo>
                  <a:lnTo>
                    <a:pt x="30" y="366"/>
                  </a:lnTo>
                  <a:lnTo>
                    <a:pt x="33" y="359"/>
                  </a:lnTo>
                  <a:lnTo>
                    <a:pt x="33" y="356"/>
                  </a:lnTo>
                  <a:lnTo>
                    <a:pt x="30" y="349"/>
                  </a:lnTo>
                  <a:lnTo>
                    <a:pt x="35" y="345"/>
                  </a:lnTo>
                  <a:lnTo>
                    <a:pt x="35" y="342"/>
                  </a:lnTo>
                  <a:lnTo>
                    <a:pt x="30" y="335"/>
                  </a:lnTo>
                  <a:lnTo>
                    <a:pt x="28" y="333"/>
                  </a:lnTo>
                  <a:lnTo>
                    <a:pt x="28" y="330"/>
                  </a:lnTo>
                  <a:lnTo>
                    <a:pt x="28" y="328"/>
                  </a:lnTo>
                  <a:lnTo>
                    <a:pt x="30" y="326"/>
                  </a:lnTo>
                  <a:lnTo>
                    <a:pt x="35" y="318"/>
                  </a:lnTo>
                  <a:lnTo>
                    <a:pt x="33" y="311"/>
                  </a:lnTo>
                  <a:lnTo>
                    <a:pt x="38" y="309"/>
                  </a:lnTo>
                  <a:lnTo>
                    <a:pt x="38" y="307"/>
                  </a:lnTo>
                  <a:lnTo>
                    <a:pt x="40" y="307"/>
                  </a:lnTo>
                  <a:lnTo>
                    <a:pt x="45" y="297"/>
                  </a:lnTo>
                  <a:lnTo>
                    <a:pt x="49" y="295"/>
                  </a:lnTo>
                  <a:lnTo>
                    <a:pt x="52" y="290"/>
                  </a:lnTo>
                  <a:lnTo>
                    <a:pt x="54" y="290"/>
                  </a:lnTo>
                  <a:lnTo>
                    <a:pt x="59" y="288"/>
                  </a:lnTo>
                  <a:lnTo>
                    <a:pt x="66" y="285"/>
                  </a:lnTo>
                  <a:lnTo>
                    <a:pt x="68" y="285"/>
                  </a:lnTo>
                  <a:lnTo>
                    <a:pt x="78" y="285"/>
                  </a:lnTo>
                  <a:lnTo>
                    <a:pt x="83" y="288"/>
                  </a:lnTo>
                  <a:lnTo>
                    <a:pt x="85" y="288"/>
                  </a:lnTo>
                  <a:lnTo>
                    <a:pt x="95" y="290"/>
                  </a:lnTo>
                  <a:lnTo>
                    <a:pt x="95" y="288"/>
                  </a:lnTo>
                  <a:lnTo>
                    <a:pt x="99" y="280"/>
                  </a:lnTo>
                  <a:lnTo>
                    <a:pt x="99" y="278"/>
                  </a:lnTo>
                  <a:lnTo>
                    <a:pt x="99" y="266"/>
                  </a:lnTo>
                  <a:lnTo>
                    <a:pt x="99" y="264"/>
                  </a:lnTo>
                  <a:lnTo>
                    <a:pt x="97" y="264"/>
                  </a:lnTo>
                  <a:lnTo>
                    <a:pt x="97" y="261"/>
                  </a:lnTo>
                  <a:lnTo>
                    <a:pt x="95" y="261"/>
                  </a:lnTo>
                  <a:lnTo>
                    <a:pt x="92" y="261"/>
                  </a:lnTo>
                  <a:lnTo>
                    <a:pt x="90" y="259"/>
                  </a:lnTo>
                  <a:lnTo>
                    <a:pt x="83" y="257"/>
                  </a:lnTo>
                  <a:lnTo>
                    <a:pt x="85" y="257"/>
                  </a:lnTo>
                  <a:lnTo>
                    <a:pt x="85" y="254"/>
                  </a:lnTo>
                  <a:lnTo>
                    <a:pt x="87" y="250"/>
                  </a:lnTo>
                  <a:lnTo>
                    <a:pt x="90" y="250"/>
                  </a:lnTo>
                  <a:lnTo>
                    <a:pt x="92" y="242"/>
                  </a:lnTo>
                  <a:lnTo>
                    <a:pt x="97" y="238"/>
                  </a:lnTo>
                  <a:lnTo>
                    <a:pt x="99" y="235"/>
                  </a:lnTo>
                  <a:lnTo>
                    <a:pt x="104" y="228"/>
                  </a:lnTo>
                  <a:lnTo>
                    <a:pt x="106" y="228"/>
                  </a:lnTo>
                  <a:lnTo>
                    <a:pt x="106" y="221"/>
                  </a:lnTo>
                  <a:lnTo>
                    <a:pt x="111" y="216"/>
                  </a:lnTo>
                  <a:lnTo>
                    <a:pt x="111" y="214"/>
                  </a:lnTo>
                  <a:lnTo>
                    <a:pt x="111" y="204"/>
                  </a:lnTo>
                  <a:lnTo>
                    <a:pt x="113" y="195"/>
                  </a:lnTo>
                  <a:lnTo>
                    <a:pt x="116" y="188"/>
                  </a:lnTo>
                  <a:lnTo>
                    <a:pt x="113" y="183"/>
                  </a:lnTo>
                  <a:lnTo>
                    <a:pt x="113" y="178"/>
                  </a:lnTo>
                  <a:lnTo>
                    <a:pt x="113" y="173"/>
                  </a:lnTo>
                  <a:lnTo>
                    <a:pt x="111" y="169"/>
                  </a:lnTo>
                  <a:lnTo>
                    <a:pt x="113" y="169"/>
                  </a:lnTo>
                  <a:lnTo>
                    <a:pt x="123" y="169"/>
                  </a:lnTo>
                  <a:lnTo>
                    <a:pt x="128" y="169"/>
                  </a:lnTo>
                  <a:lnTo>
                    <a:pt x="130" y="169"/>
                  </a:lnTo>
                  <a:lnTo>
                    <a:pt x="140" y="164"/>
                  </a:lnTo>
                  <a:lnTo>
                    <a:pt x="144" y="162"/>
                  </a:lnTo>
                  <a:lnTo>
                    <a:pt x="142" y="159"/>
                  </a:lnTo>
                  <a:lnTo>
                    <a:pt x="142" y="157"/>
                  </a:lnTo>
                  <a:lnTo>
                    <a:pt x="140" y="150"/>
                  </a:lnTo>
                  <a:lnTo>
                    <a:pt x="142" y="147"/>
                  </a:lnTo>
                  <a:lnTo>
                    <a:pt x="149" y="143"/>
                  </a:lnTo>
                  <a:lnTo>
                    <a:pt x="161" y="126"/>
                  </a:lnTo>
                  <a:lnTo>
                    <a:pt x="163" y="124"/>
                  </a:lnTo>
                  <a:lnTo>
                    <a:pt x="168" y="121"/>
                  </a:lnTo>
                  <a:lnTo>
                    <a:pt x="170" y="121"/>
                  </a:lnTo>
                  <a:lnTo>
                    <a:pt x="173" y="119"/>
                  </a:lnTo>
                  <a:lnTo>
                    <a:pt x="173" y="109"/>
                  </a:lnTo>
                  <a:lnTo>
                    <a:pt x="173" y="107"/>
                  </a:lnTo>
                  <a:lnTo>
                    <a:pt x="168" y="102"/>
                  </a:lnTo>
                  <a:lnTo>
                    <a:pt x="163" y="95"/>
                  </a:lnTo>
                  <a:lnTo>
                    <a:pt x="166" y="93"/>
                  </a:lnTo>
                  <a:lnTo>
                    <a:pt x="166" y="90"/>
                  </a:lnTo>
                  <a:lnTo>
                    <a:pt x="175" y="90"/>
                  </a:lnTo>
                  <a:lnTo>
                    <a:pt x="175" y="88"/>
                  </a:lnTo>
                  <a:lnTo>
                    <a:pt x="178" y="86"/>
                  </a:lnTo>
                  <a:lnTo>
                    <a:pt x="180" y="83"/>
                  </a:lnTo>
                  <a:lnTo>
                    <a:pt x="182" y="76"/>
                  </a:lnTo>
                  <a:lnTo>
                    <a:pt x="185" y="67"/>
                  </a:lnTo>
                  <a:lnTo>
                    <a:pt x="187" y="67"/>
                  </a:lnTo>
                  <a:lnTo>
                    <a:pt x="194" y="62"/>
                  </a:lnTo>
                  <a:lnTo>
                    <a:pt x="199" y="59"/>
                  </a:lnTo>
                  <a:lnTo>
                    <a:pt x="204" y="55"/>
                  </a:lnTo>
                  <a:lnTo>
                    <a:pt x="211" y="59"/>
                  </a:lnTo>
                  <a:lnTo>
                    <a:pt x="216" y="59"/>
                  </a:lnTo>
                  <a:lnTo>
                    <a:pt x="218" y="62"/>
                  </a:lnTo>
                  <a:lnTo>
                    <a:pt x="223" y="64"/>
                  </a:lnTo>
                  <a:lnTo>
                    <a:pt x="225" y="64"/>
                  </a:lnTo>
                  <a:lnTo>
                    <a:pt x="225" y="59"/>
                  </a:lnTo>
                  <a:lnTo>
                    <a:pt x="230" y="55"/>
                  </a:lnTo>
                  <a:lnTo>
                    <a:pt x="232" y="50"/>
                  </a:lnTo>
                  <a:lnTo>
                    <a:pt x="230" y="38"/>
                  </a:lnTo>
                  <a:lnTo>
                    <a:pt x="230" y="31"/>
                  </a:lnTo>
                  <a:lnTo>
                    <a:pt x="239" y="29"/>
                  </a:lnTo>
                  <a:lnTo>
                    <a:pt x="246" y="33"/>
                  </a:lnTo>
                  <a:lnTo>
                    <a:pt x="258" y="33"/>
                  </a:lnTo>
                  <a:lnTo>
                    <a:pt x="289" y="43"/>
                  </a:lnTo>
                  <a:lnTo>
                    <a:pt x="291" y="40"/>
                  </a:lnTo>
                  <a:lnTo>
                    <a:pt x="301" y="33"/>
                  </a:lnTo>
                  <a:lnTo>
                    <a:pt x="294" y="33"/>
                  </a:lnTo>
                  <a:lnTo>
                    <a:pt x="294" y="31"/>
                  </a:lnTo>
                  <a:lnTo>
                    <a:pt x="291" y="31"/>
                  </a:lnTo>
                  <a:lnTo>
                    <a:pt x="294" y="29"/>
                  </a:lnTo>
                  <a:lnTo>
                    <a:pt x="299" y="24"/>
                  </a:lnTo>
                  <a:lnTo>
                    <a:pt x="303" y="17"/>
                  </a:lnTo>
                  <a:lnTo>
                    <a:pt x="303" y="10"/>
                  </a:lnTo>
                  <a:lnTo>
                    <a:pt x="294" y="2"/>
                  </a:lnTo>
                  <a:lnTo>
                    <a:pt x="296" y="2"/>
                  </a:lnTo>
                  <a:lnTo>
                    <a:pt x="308" y="0"/>
                  </a:lnTo>
                  <a:lnTo>
                    <a:pt x="310" y="0"/>
                  </a:lnTo>
                  <a:lnTo>
                    <a:pt x="310" y="2"/>
                  </a:lnTo>
                  <a:lnTo>
                    <a:pt x="313" y="0"/>
                  </a:lnTo>
                  <a:lnTo>
                    <a:pt x="313" y="2"/>
                  </a:lnTo>
                  <a:lnTo>
                    <a:pt x="315" y="2"/>
                  </a:lnTo>
                  <a:lnTo>
                    <a:pt x="318" y="2"/>
                  </a:lnTo>
                  <a:lnTo>
                    <a:pt x="320" y="2"/>
                  </a:lnTo>
                  <a:lnTo>
                    <a:pt x="320" y="5"/>
                  </a:lnTo>
                  <a:lnTo>
                    <a:pt x="322" y="5"/>
                  </a:lnTo>
                  <a:lnTo>
                    <a:pt x="322" y="7"/>
                  </a:lnTo>
                  <a:lnTo>
                    <a:pt x="320" y="7"/>
                  </a:lnTo>
                  <a:lnTo>
                    <a:pt x="320" y="10"/>
                  </a:lnTo>
                  <a:lnTo>
                    <a:pt x="322" y="10"/>
                  </a:lnTo>
                  <a:lnTo>
                    <a:pt x="325" y="10"/>
                  </a:lnTo>
                  <a:lnTo>
                    <a:pt x="325" y="12"/>
                  </a:lnTo>
                  <a:lnTo>
                    <a:pt x="327" y="12"/>
                  </a:lnTo>
                  <a:lnTo>
                    <a:pt x="329" y="12"/>
                  </a:lnTo>
                  <a:lnTo>
                    <a:pt x="329" y="14"/>
                  </a:lnTo>
                  <a:lnTo>
                    <a:pt x="332" y="14"/>
                  </a:lnTo>
                  <a:lnTo>
                    <a:pt x="334" y="14"/>
                  </a:lnTo>
                  <a:lnTo>
                    <a:pt x="334" y="17"/>
                  </a:lnTo>
                  <a:lnTo>
                    <a:pt x="334" y="19"/>
                  </a:lnTo>
                  <a:lnTo>
                    <a:pt x="337" y="19"/>
                  </a:lnTo>
                  <a:lnTo>
                    <a:pt x="339" y="19"/>
                  </a:lnTo>
                  <a:lnTo>
                    <a:pt x="339" y="21"/>
                  </a:lnTo>
                  <a:lnTo>
                    <a:pt x="341" y="24"/>
                  </a:lnTo>
                  <a:lnTo>
                    <a:pt x="344" y="24"/>
                  </a:lnTo>
                  <a:lnTo>
                    <a:pt x="346" y="24"/>
                  </a:lnTo>
                  <a:lnTo>
                    <a:pt x="346" y="26"/>
                  </a:lnTo>
                  <a:lnTo>
                    <a:pt x="348" y="26"/>
                  </a:lnTo>
                  <a:lnTo>
                    <a:pt x="348" y="29"/>
                  </a:lnTo>
                  <a:lnTo>
                    <a:pt x="351" y="29"/>
                  </a:lnTo>
                  <a:lnTo>
                    <a:pt x="353" y="29"/>
                  </a:lnTo>
                  <a:lnTo>
                    <a:pt x="356" y="29"/>
                  </a:lnTo>
                  <a:lnTo>
                    <a:pt x="356" y="31"/>
                  </a:lnTo>
                  <a:lnTo>
                    <a:pt x="358" y="31"/>
                  </a:lnTo>
                  <a:lnTo>
                    <a:pt x="358" y="33"/>
                  </a:lnTo>
                  <a:lnTo>
                    <a:pt x="360" y="33"/>
                  </a:lnTo>
                  <a:lnTo>
                    <a:pt x="360" y="36"/>
                  </a:lnTo>
                  <a:lnTo>
                    <a:pt x="363" y="36"/>
                  </a:lnTo>
                  <a:lnTo>
                    <a:pt x="365" y="36"/>
                  </a:lnTo>
                  <a:lnTo>
                    <a:pt x="367" y="36"/>
                  </a:lnTo>
                  <a:lnTo>
                    <a:pt x="370" y="36"/>
                  </a:lnTo>
                  <a:lnTo>
                    <a:pt x="372" y="36"/>
                  </a:lnTo>
                  <a:lnTo>
                    <a:pt x="374" y="36"/>
                  </a:lnTo>
                  <a:lnTo>
                    <a:pt x="374" y="38"/>
                  </a:lnTo>
                  <a:lnTo>
                    <a:pt x="377" y="38"/>
                  </a:lnTo>
                  <a:lnTo>
                    <a:pt x="379" y="38"/>
                  </a:lnTo>
                  <a:lnTo>
                    <a:pt x="382" y="38"/>
                  </a:lnTo>
                  <a:lnTo>
                    <a:pt x="382" y="40"/>
                  </a:lnTo>
                  <a:lnTo>
                    <a:pt x="384" y="40"/>
                  </a:lnTo>
                  <a:lnTo>
                    <a:pt x="386" y="40"/>
                  </a:lnTo>
                  <a:lnTo>
                    <a:pt x="386" y="43"/>
                  </a:lnTo>
                  <a:lnTo>
                    <a:pt x="389" y="43"/>
                  </a:lnTo>
                  <a:lnTo>
                    <a:pt x="391" y="43"/>
                  </a:lnTo>
                  <a:lnTo>
                    <a:pt x="391" y="45"/>
                  </a:lnTo>
                  <a:lnTo>
                    <a:pt x="393" y="45"/>
                  </a:lnTo>
                  <a:lnTo>
                    <a:pt x="393" y="48"/>
                  </a:lnTo>
                  <a:lnTo>
                    <a:pt x="396" y="48"/>
                  </a:lnTo>
                  <a:lnTo>
                    <a:pt x="396" y="50"/>
                  </a:lnTo>
                  <a:lnTo>
                    <a:pt x="396" y="52"/>
                  </a:lnTo>
                  <a:lnTo>
                    <a:pt x="396" y="55"/>
                  </a:lnTo>
                  <a:lnTo>
                    <a:pt x="398" y="55"/>
                  </a:lnTo>
                  <a:lnTo>
                    <a:pt x="401" y="55"/>
                  </a:lnTo>
                  <a:lnTo>
                    <a:pt x="403" y="55"/>
                  </a:lnTo>
                  <a:lnTo>
                    <a:pt x="403" y="57"/>
                  </a:lnTo>
                  <a:lnTo>
                    <a:pt x="403" y="59"/>
                  </a:lnTo>
                  <a:lnTo>
                    <a:pt x="405" y="59"/>
                  </a:lnTo>
                  <a:lnTo>
                    <a:pt x="403" y="59"/>
                  </a:lnTo>
                  <a:lnTo>
                    <a:pt x="405" y="59"/>
                  </a:lnTo>
                  <a:lnTo>
                    <a:pt x="408" y="62"/>
                  </a:lnTo>
                  <a:lnTo>
                    <a:pt x="410" y="62"/>
                  </a:lnTo>
                  <a:lnTo>
                    <a:pt x="410" y="64"/>
                  </a:lnTo>
                  <a:lnTo>
                    <a:pt x="412" y="64"/>
                  </a:lnTo>
                  <a:lnTo>
                    <a:pt x="412" y="67"/>
                  </a:lnTo>
                  <a:lnTo>
                    <a:pt x="412" y="69"/>
                  </a:lnTo>
                  <a:lnTo>
                    <a:pt x="410" y="69"/>
                  </a:lnTo>
                  <a:lnTo>
                    <a:pt x="408" y="69"/>
                  </a:lnTo>
                  <a:lnTo>
                    <a:pt x="408" y="71"/>
                  </a:lnTo>
                  <a:lnTo>
                    <a:pt x="408" y="74"/>
                  </a:lnTo>
                  <a:lnTo>
                    <a:pt x="408" y="76"/>
                  </a:lnTo>
                  <a:lnTo>
                    <a:pt x="408" y="78"/>
                  </a:lnTo>
                  <a:lnTo>
                    <a:pt x="408" y="81"/>
                  </a:lnTo>
                  <a:lnTo>
                    <a:pt x="408" y="83"/>
                  </a:lnTo>
                  <a:lnTo>
                    <a:pt x="410" y="83"/>
                  </a:lnTo>
                  <a:lnTo>
                    <a:pt x="410" y="86"/>
                  </a:lnTo>
                  <a:lnTo>
                    <a:pt x="410" y="88"/>
                  </a:lnTo>
                  <a:lnTo>
                    <a:pt x="408" y="88"/>
                  </a:lnTo>
                  <a:lnTo>
                    <a:pt x="405" y="88"/>
                  </a:lnTo>
                  <a:lnTo>
                    <a:pt x="408" y="88"/>
                  </a:lnTo>
                  <a:lnTo>
                    <a:pt x="408" y="90"/>
                  </a:lnTo>
                  <a:lnTo>
                    <a:pt x="405" y="90"/>
                  </a:lnTo>
                  <a:lnTo>
                    <a:pt x="405" y="93"/>
                  </a:lnTo>
                  <a:lnTo>
                    <a:pt x="405" y="95"/>
                  </a:lnTo>
                  <a:lnTo>
                    <a:pt x="408" y="95"/>
                  </a:lnTo>
                  <a:lnTo>
                    <a:pt x="410" y="95"/>
                  </a:lnTo>
                  <a:lnTo>
                    <a:pt x="410" y="93"/>
                  </a:lnTo>
                  <a:lnTo>
                    <a:pt x="410" y="95"/>
                  </a:lnTo>
                  <a:lnTo>
                    <a:pt x="412" y="95"/>
                  </a:lnTo>
                  <a:lnTo>
                    <a:pt x="415" y="95"/>
                  </a:lnTo>
                  <a:lnTo>
                    <a:pt x="417" y="95"/>
                  </a:lnTo>
                  <a:lnTo>
                    <a:pt x="417" y="97"/>
                  </a:lnTo>
                  <a:lnTo>
                    <a:pt x="415" y="97"/>
                  </a:lnTo>
                  <a:lnTo>
                    <a:pt x="415" y="100"/>
                  </a:lnTo>
                  <a:lnTo>
                    <a:pt x="417" y="100"/>
                  </a:lnTo>
                  <a:lnTo>
                    <a:pt x="417" y="102"/>
                  </a:lnTo>
                  <a:lnTo>
                    <a:pt x="415" y="102"/>
                  </a:lnTo>
                  <a:lnTo>
                    <a:pt x="415" y="105"/>
                  </a:lnTo>
                  <a:lnTo>
                    <a:pt x="412" y="105"/>
                  </a:lnTo>
                  <a:lnTo>
                    <a:pt x="410" y="105"/>
                  </a:lnTo>
                  <a:lnTo>
                    <a:pt x="410" y="107"/>
                  </a:lnTo>
                  <a:lnTo>
                    <a:pt x="410" y="109"/>
                  </a:lnTo>
                  <a:lnTo>
                    <a:pt x="410" y="112"/>
                  </a:lnTo>
                  <a:lnTo>
                    <a:pt x="412" y="114"/>
                  </a:lnTo>
                  <a:lnTo>
                    <a:pt x="412" y="116"/>
                  </a:lnTo>
                  <a:lnTo>
                    <a:pt x="415" y="116"/>
                  </a:lnTo>
                  <a:lnTo>
                    <a:pt x="415" y="119"/>
                  </a:lnTo>
                  <a:lnTo>
                    <a:pt x="417" y="119"/>
                  </a:lnTo>
                  <a:lnTo>
                    <a:pt x="417" y="121"/>
                  </a:lnTo>
                  <a:lnTo>
                    <a:pt x="420" y="121"/>
                  </a:lnTo>
                  <a:lnTo>
                    <a:pt x="420" y="124"/>
                  </a:lnTo>
                  <a:lnTo>
                    <a:pt x="420" y="126"/>
                  </a:lnTo>
                  <a:lnTo>
                    <a:pt x="422" y="126"/>
                  </a:lnTo>
                  <a:lnTo>
                    <a:pt x="422" y="128"/>
                  </a:lnTo>
                  <a:lnTo>
                    <a:pt x="424" y="128"/>
                  </a:lnTo>
                  <a:lnTo>
                    <a:pt x="424" y="131"/>
                  </a:lnTo>
                  <a:lnTo>
                    <a:pt x="424" y="133"/>
                  </a:lnTo>
                  <a:lnTo>
                    <a:pt x="422" y="133"/>
                  </a:lnTo>
                  <a:lnTo>
                    <a:pt x="420" y="133"/>
                  </a:lnTo>
                  <a:lnTo>
                    <a:pt x="420" y="135"/>
                  </a:lnTo>
                  <a:lnTo>
                    <a:pt x="422" y="135"/>
                  </a:lnTo>
                  <a:lnTo>
                    <a:pt x="422" y="138"/>
                  </a:lnTo>
                  <a:lnTo>
                    <a:pt x="420" y="138"/>
                  </a:lnTo>
                  <a:lnTo>
                    <a:pt x="420" y="140"/>
                  </a:lnTo>
                  <a:lnTo>
                    <a:pt x="420" y="143"/>
                  </a:lnTo>
                  <a:lnTo>
                    <a:pt x="420" y="145"/>
                  </a:lnTo>
                  <a:lnTo>
                    <a:pt x="417" y="147"/>
                  </a:lnTo>
                  <a:lnTo>
                    <a:pt x="415" y="147"/>
                  </a:lnTo>
                  <a:lnTo>
                    <a:pt x="415" y="150"/>
                  </a:lnTo>
                  <a:lnTo>
                    <a:pt x="415" y="147"/>
                  </a:lnTo>
                  <a:lnTo>
                    <a:pt x="415" y="150"/>
                  </a:lnTo>
                  <a:lnTo>
                    <a:pt x="412" y="150"/>
                  </a:lnTo>
                  <a:lnTo>
                    <a:pt x="412" y="152"/>
                  </a:lnTo>
                  <a:lnTo>
                    <a:pt x="412" y="154"/>
                  </a:lnTo>
                  <a:lnTo>
                    <a:pt x="412" y="157"/>
                  </a:lnTo>
                  <a:lnTo>
                    <a:pt x="412" y="159"/>
                  </a:lnTo>
                  <a:lnTo>
                    <a:pt x="412" y="162"/>
                  </a:lnTo>
                  <a:lnTo>
                    <a:pt x="412" y="164"/>
                  </a:lnTo>
                  <a:lnTo>
                    <a:pt x="415" y="164"/>
                  </a:lnTo>
                  <a:lnTo>
                    <a:pt x="415" y="166"/>
                  </a:lnTo>
                  <a:lnTo>
                    <a:pt x="417" y="166"/>
                  </a:lnTo>
                  <a:lnTo>
                    <a:pt x="420" y="169"/>
                  </a:lnTo>
                  <a:lnTo>
                    <a:pt x="422" y="169"/>
                  </a:lnTo>
                  <a:lnTo>
                    <a:pt x="422" y="171"/>
                  </a:lnTo>
                  <a:lnTo>
                    <a:pt x="422" y="173"/>
                  </a:lnTo>
                  <a:lnTo>
                    <a:pt x="424" y="176"/>
                  </a:lnTo>
                  <a:lnTo>
                    <a:pt x="427" y="178"/>
                  </a:lnTo>
                  <a:lnTo>
                    <a:pt x="424" y="178"/>
                  </a:lnTo>
                  <a:lnTo>
                    <a:pt x="427" y="178"/>
                  </a:lnTo>
                  <a:lnTo>
                    <a:pt x="424" y="178"/>
                  </a:lnTo>
                  <a:lnTo>
                    <a:pt x="427" y="178"/>
                  </a:lnTo>
                  <a:lnTo>
                    <a:pt x="427" y="181"/>
                  </a:lnTo>
                  <a:lnTo>
                    <a:pt x="429" y="181"/>
                  </a:lnTo>
                  <a:lnTo>
                    <a:pt x="429" y="183"/>
                  </a:lnTo>
                  <a:lnTo>
                    <a:pt x="427" y="183"/>
                  </a:lnTo>
                  <a:lnTo>
                    <a:pt x="429" y="183"/>
                  </a:lnTo>
                  <a:lnTo>
                    <a:pt x="427" y="183"/>
                  </a:lnTo>
                  <a:lnTo>
                    <a:pt x="429" y="183"/>
                  </a:lnTo>
                  <a:lnTo>
                    <a:pt x="429" y="185"/>
                  </a:lnTo>
                  <a:lnTo>
                    <a:pt x="429" y="188"/>
                  </a:lnTo>
                  <a:lnTo>
                    <a:pt x="427" y="188"/>
                  </a:lnTo>
                  <a:close/>
                  <a:moveTo>
                    <a:pt x="204" y="383"/>
                  </a:moveTo>
                  <a:lnTo>
                    <a:pt x="204" y="385"/>
                  </a:lnTo>
                  <a:lnTo>
                    <a:pt x="206" y="385"/>
                  </a:lnTo>
                  <a:lnTo>
                    <a:pt x="204" y="385"/>
                  </a:lnTo>
                  <a:lnTo>
                    <a:pt x="204" y="383"/>
                  </a:lnTo>
                  <a:lnTo>
                    <a:pt x="206" y="383"/>
                  </a:lnTo>
                  <a:lnTo>
                    <a:pt x="204" y="38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0" name="Freeform 56649"/>
            <p:cNvSpPr>
              <a:spLocks noEditPoints="1"/>
            </p:cNvSpPr>
            <p:nvPr/>
          </p:nvSpPr>
          <p:spPr bwMode="auto">
            <a:xfrm>
              <a:off x="2601910" y="3373450"/>
              <a:ext cx="688974" cy="860427"/>
            </a:xfrm>
            <a:custGeom>
              <a:avLst/>
              <a:gdLst>
                <a:gd name="T0" fmla="*/ 156 w 434"/>
                <a:gd name="T1" fmla="*/ 532 h 542"/>
                <a:gd name="T2" fmla="*/ 183 w 434"/>
                <a:gd name="T3" fmla="*/ 490 h 542"/>
                <a:gd name="T4" fmla="*/ 33 w 434"/>
                <a:gd name="T5" fmla="*/ 468 h 542"/>
                <a:gd name="T6" fmla="*/ 26 w 434"/>
                <a:gd name="T7" fmla="*/ 456 h 542"/>
                <a:gd name="T8" fmla="*/ 24 w 434"/>
                <a:gd name="T9" fmla="*/ 452 h 542"/>
                <a:gd name="T10" fmla="*/ 261 w 434"/>
                <a:gd name="T11" fmla="*/ 449 h 542"/>
                <a:gd name="T12" fmla="*/ 187 w 434"/>
                <a:gd name="T13" fmla="*/ 442 h 542"/>
                <a:gd name="T14" fmla="*/ 185 w 434"/>
                <a:gd name="T15" fmla="*/ 440 h 542"/>
                <a:gd name="T16" fmla="*/ 24 w 434"/>
                <a:gd name="T17" fmla="*/ 437 h 542"/>
                <a:gd name="T18" fmla="*/ 268 w 434"/>
                <a:gd name="T19" fmla="*/ 435 h 542"/>
                <a:gd name="T20" fmla="*/ 190 w 434"/>
                <a:gd name="T21" fmla="*/ 428 h 542"/>
                <a:gd name="T22" fmla="*/ 194 w 434"/>
                <a:gd name="T23" fmla="*/ 425 h 542"/>
                <a:gd name="T24" fmla="*/ 197 w 434"/>
                <a:gd name="T25" fmla="*/ 421 h 542"/>
                <a:gd name="T26" fmla="*/ 194 w 434"/>
                <a:gd name="T27" fmla="*/ 421 h 542"/>
                <a:gd name="T28" fmla="*/ 190 w 434"/>
                <a:gd name="T29" fmla="*/ 411 h 542"/>
                <a:gd name="T30" fmla="*/ 199 w 434"/>
                <a:gd name="T31" fmla="*/ 409 h 542"/>
                <a:gd name="T32" fmla="*/ 171 w 434"/>
                <a:gd name="T33" fmla="*/ 402 h 542"/>
                <a:gd name="T34" fmla="*/ 211 w 434"/>
                <a:gd name="T35" fmla="*/ 395 h 542"/>
                <a:gd name="T36" fmla="*/ 7 w 434"/>
                <a:gd name="T37" fmla="*/ 390 h 542"/>
                <a:gd name="T38" fmla="*/ 230 w 434"/>
                <a:gd name="T39" fmla="*/ 385 h 542"/>
                <a:gd name="T40" fmla="*/ 242 w 434"/>
                <a:gd name="T41" fmla="*/ 385 h 542"/>
                <a:gd name="T42" fmla="*/ 230 w 434"/>
                <a:gd name="T43" fmla="*/ 385 h 542"/>
                <a:gd name="T44" fmla="*/ 249 w 434"/>
                <a:gd name="T45" fmla="*/ 378 h 542"/>
                <a:gd name="T46" fmla="*/ 249 w 434"/>
                <a:gd name="T47" fmla="*/ 376 h 542"/>
                <a:gd name="T48" fmla="*/ 256 w 434"/>
                <a:gd name="T49" fmla="*/ 371 h 542"/>
                <a:gd name="T50" fmla="*/ 256 w 434"/>
                <a:gd name="T51" fmla="*/ 368 h 542"/>
                <a:gd name="T52" fmla="*/ 254 w 434"/>
                <a:gd name="T53" fmla="*/ 364 h 542"/>
                <a:gd name="T54" fmla="*/ 237 w 434"/>
                <a:gd name="T55" fmla="*/ 361 h 542"/>
                <a:gd name="T56" fmla="*/ 249 w 434"/>
                <a:gd name="T57" fmla="*/ 359 h 542"/>
                <a:gd name="T58" fmla="*/ 251 w 434"/>
                <a:gd name="T59" fmla="*/ 359 h 542"/>
                <a:gd name="T60" fmla="*/ 256 w 434"/>
                <a:gd name="T61" fmla="*/ 357 h 542"/>
                <a:gd name="T62" fmla="*/ 251 w 434"/>
                <a:gd name="T63" fmla="*/ 357 h 542"/>
                <a:gd name="T64" fmla="*/ 273 w 434"/>
                <a:gd name="T65" fmla="*/ 352 h 542"/>
                <a:gd name="T66" fmla="*/ 254 w 434"/>
                <a:gd name="T67" fmla="*/ 352 h 542"/>
                <a:gd name="T68" fmla="*/ 261 w 434"/>
                <a:gd name="T69" fmla="*/ 349 h 542"/>
                <a:gd name="T70" fmla="*/ 258 w 434"/>
                <a:gd name="T71" fmla="*/ 347 h 542"/>
                <a:gd name="T72" fmla="*/ 270 w 434"/>
                <a:gd name="T73" fmla="*/ 342 h 542"/>
                <a:gd name="T74" fmla="*/ 263 w 434"/>
                <a:gd name="T75" fmla="*/ 340 h 542"/>
                <a:gd name="T76" fmla="*/ 251 w 434"/>
                <a:gd name="T77" fmla="*/ 316 h 542"/>
                <a:gd name="T78" fmla="*/ 254 w 434"/>
                <a:gd name="T79" fmla="*/ 316 h 542"/>
                <a:gd name="T80" fmla="*/ 249 w 434"/>
                <a:gd name="T81" fmla="*/ 311 h 542"/>
                <a:gd name="T82" fmla="*/ 249 w 434"/>
                <a:gd name="T83" fmla="*/ 309 h 542"/>
                <a:gd name="T84" fmla="*/ 216 w 434"/>
                <a:gd name="T85" fmla="*/ 290 h 542"/>
                <a:gd name="T86" fmla="*/ 211 w 434"/>
                <a:gd name="T87" fmla="*/ 245 h 542"/>
                <a:gd name="T88" fmla="*/ 218 w 434"/>
                <a:gd name="T89" fmla="*/ 200 h 542"/>
                <a:gd name="T90" fmla="*/ 230 w 434"/>
                <a:gd name="T91" fmla="*/ 178 h 542"/>
                <a:gd name="T92" fmla="*/ 254 w 434"/>
                <a:gd name="T93" fmla="*/ 164 h 542"/>
                <a:gd name="T94" fmla="*/ 258 w 434"/>
                <a:gd name="T95" fmla="*/ 157 h 542"/>
                <a:gd name="T96" fmla="*/ 294 w 434"/>
                <a:gd name="T97" fmla="*/ 136 h 542"/>
                <a:gd name="T98" fmla="*/ 330 w 434"/>
                <a:gd name="T99" fmla="*/ 126 h 542"/>
                <a:gd name="T100" fmla="*/ 349 w 434"/>
                <a:gd name="T101" fmla="*/ 55 h 542"/>
                <a:gd name="T102" fmla="*/ 346 w 434"/>
                <a:gd name="T103" fmla="*/ 38 h 542"/>
                <a:gd name="T104" fmla="*/ 377 w 434"/>
                <a:gd name="T105" fmla="*/ 36 h 542"/>
                <a:gd name="T106" fmla="*/ 375 w 434"/>
                <a:gd name="T107" fmla="*/ 29 h 542"/>
                <a:gd name="T108" fmla="*/ 365 w 434"/>
                <a:gd name="T109" fmla="*/ 26 h 542"/>
                <a:gd name="T110" fmla="*/ 389 w 434"/>
                <a:gd name="T111" fmla="*/ 24 h 542"/>
                <a:gd name="T112" fmla="*/ 377 w 434"/>
                <a:gd name="T113" fmla="*/ 22 h 542"/>
                <a:gd name="T114" fmla="*/ 398 w 434"/>
                <a:gd name="T115" fmla="*/ 17 h 542"/>
                <a:gd name="T116" fmla="*/ 432 w 434"/>
                <a:gd name="T117" fmla="*/ 17 h 542"/>
                <a:gd name="T118" fmla="*/ 356 w 434"/>
                <a:gd name="T119" fmla="*/ 15 h 542"/>
                <a:gd name="T120" fmla="*/ 427 w 434"/>
                <a:gd name="T121" fmla="*/ 12 h 542"/>
                <a:gd name="T122" fmla="*/ 403 w 434"/>
                <a:gd name="T123" fmla="*/ 10 h 542"/>
                <a:gd name="T124" fmla="*/ 432 w 434"/>
                <a:gd name="T125"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4" h="542">
                  <a:moveTo>
                    <a:pt x="57" y="542"/>
                  </a:moveTo>
                  <a:lnTo>
                    <a:pt x="54" y="542"/>
                  </a:lnTo>
                  <a:lnTo>
                    <a:pt x="57" y="542"/>
                  </a:lnTo>
                  <a:close/>
                  <a:moveTo>
                    <a:pt x="159" y="535"/>
                  </a:moveTo>
                  <a:lnTo>
                    <a:pt x="159" y="537"/>
                  </a:lnTo>
                  <a:lnTo>
                    <a:pt x="159" y="535"/>
                  </a:lnTo>
                  <a:close/>
                  <a:moveTo>
                    <a:pt x="159" y="535"/>
                  </a:moveTo>
                  <a:lnTo>
                    <a:pt x="156" y="535"/>
                  </a:lnTo>
                  <a:lnTo>
                    <a:pt x="159" y="535"/>
                  </a:lnTo>
                  <a:lnTo>
                    <a:pt x="156" y="535"/>
                  </a:lnTo>
                  <a:lnTo>
                    <a:pt x="159" y="535"/>
                  </a:lnTo>
                  <a:lnTo>
                    <a:pt x="156" y="535"/>
                  </a:lnTo>
                  <a:lnTo>
                    <a:pt x="159" y="535"/>
                  </a:lnTo>
                  <a:close/>
                  <a:moveTo>
                    <a:pt x="156" y="535"/>
                  </a:moveTo>
                  <a:lnTo>
                    <a:pt x="156" y="532"/>
                  </a:lnTo>
                  <a:lnTo>
                    <a:pt x="156" y="535"/>
                  </a:lnTo>
                  <a:close/>
                  <a:moveTo>
                    <a:pt x="156" y="532"/>
                  </a:moveTo>
                  <a:lnTo>
                    <a:pt x="156" y="535"/>
                  </a:lnTo>
                  <a:lnTo>
                    <a:pt x="156" y="532"/>
                  </a:lnTo>
                  <a:close/>
                  <a:moveTo>
                    <a:pt x="159" y="532"/>
                  </a:moveTo>
                  <a:lnTo>
                    <a:pt x="156" y="532"/>
                  </a:lnTo>
                  <a:lnTo>
                    <a:pt x="159" y="532"/>
                  </a:lnTo>
                  <a:close/>
                  <a:moveTo>
                    <a:pt x="133" y="530"/>
                  </a:moveTo>
                  <a:lnTo>
                    <a:pt x="133" y="532"/>
                  </a:lnTo>
                  <a:lnTo>
                    <a:pt x="130" y="530"/>
                  </a:lnTo>
                  <a:lnTo>
                    <a:pt x="133" y="530"/>
                  </a:lnTo>
                  <a:close/>
                  <a:moveTo>
                    <a:pt x="149" y="530"/>
                  </a:moveTo>
                  <a:lnTo>
                    <a:pt x="149" y="532"/>
                  </a:lnTo>
                  <a:lnTo>
                    <a:pt x="147" y="532"/>
                  </a:lnTo>
                  <a:lnTo>
                    <a:pt x="149" y="532"/>
                  </a:lnTo>
                  <a:lnTo>
                    <a:pt x="147" y="532"/>
                  </a:lnTo>
                  <a:lnTo>
                    <a:pt x="147" y="530"/>
                  </a:lnTo>
                  <a:lnTo>
                    <a:pt x="149" y="530"/>
                  </a:lnTo>
                  <a:close/>
                  <a:moveTo>
                    <a:pt x="154" y="530"/>
                  </a:moveTo>
                  <a:lnTo>
                    <a:pt x="156" y="530"/>
                  </a:lnTo>
                  <a:lnTo>
                    <a:pt x="156" y="532"/>
                  </a:lnTo>
                  <a:lnTo>
                    <a:pt x="156" y="530"/>
                  </a:lnTo>
                  <a:lnTo>
                    <a:pt x="156" y="532"/>
                  </a:lnTo>
                  <a:lnTo>
                    <a:pt x="154" y="532"/>
                  </a:lnTo>
                  <a:lnTo>
                    <a:pt x="154" y="530"/>
                  </a:lnTo>
                  <a:close/>
                  <a:moveTo>
                    <a:pt x="149" y="530"/>
                  </a:moveTo>
                  <a:lnTo>
                    <a:pt x="152" y="530"/>
                  </a:lnTo>
                  <a:lnTo>
                    <a:pt x="152" y="532"/>
                  </a:lnTo>
                  <a:lnTo>
                    <a:pt x="149" y="532"/>
                  </a:lnTo>
                  <a:lnTo>
                    <a:pt x="149" y="530"/>
                  </a:lnTo>
                  <a:close/>
                  <a:moveTo>
                    <a:pt x="154" y="530"/>
                  </a:moveTo>
                  <a:lnTo>
                    <a:pt x="154" y="532"/>
                  </a:lnTo>
                  <a:lnTo>
                    <a:pt x="152" y="532"/>
                  </a:lnTo>
                  <a:lnTo>
                    <a:pt x="152" y="530"/>
                  </a:lnTo>
                  <a:lnTo>
                    <a:pt x="154" y="530"/>
                  </a:lnTo>
                  <a:close/>
                  <a:moveTo>
                    <a:pt x="147" y="528"/>
                  </a:moveTo>
                  <a:lnTo>
                    <a:pt x="147" y="530"/>
                  </a:lnTo>
                  <a:lnTo>
                    <a:pt x="147" y="528"/>
                  </a:lnTo>
                  <a:lnTo>
                    <a:pt x="147" y="530"/>
                  </a:lnTo>
                  <a:lnTo>
                    <a:pt x="147" y="528"/>
                  </a:lnTo>
                  <a:close/>
                  <a:moveTo>
                    <a:pt x="135" y="528"/>
                  </a:moveTo>
                  <a:lnTo>
                    <a:pt x="133" y="528"/>
                  </a:lnTo>
                  <a:lnTo>
                    <a:pt x="135" y="528"/>
                  </a:lnTo>
                  <a:close/>
                  <a:moveTo>
                    <a:pt x="154" y="528"/>
                  </a:moveTo>
                  <a:lnTo>
                    <a:pt x="154" y="530"/>
                  </a:lnTo>
                  <a:lnTo>
                    <a:pt x="154" y="528"/>
                  </a:lnTo>
                  <a:close/>
                  <a:moveTo>
                    <a:pt x="52" y="513"/>
                  </a:moveTo>
                  <a:lnTo>
                    <a:pt x="52" y="516"/>
                  </a:lnTo>
                  <a:lnTo>
                    <a:pt x="52" y="513"/>
                  </a:lnTo>
                  <a:close/>
                  <a:moveTo>
                    <a:pt x="180" y="492"/>
                  </a:moveTo>
                  <a:lnTo>
                    <a:pt x="180" y="490"/>
                  </a:lnTo>
                  <a:lnTo>
                    <a:pt x="180" y="492"/>
                  </a:lnTo>
                  <a:close/>
                  <a:moveTo>
                    <a:pt x="183" y="490"/>
                  </a:moveTo>
                  <a:lnTo>
                    <a:pt x="180" y="490"/>
                  </a:lnTo>
                  <a:lnTo>
                    <a:pt x="183" y="490"/>
                  </a:lnTo>
                  <a:lnTo>
                    <a:pt x="183" y="487"/>
                  </a:lnTo>
                  <a:lnTo>
                    <a:pt x="183" y="490"/>
                  </a:lnTo>
                  <a:close/>
                  <a:moveTo>
                    <a:pt x="185" y="480"/>
                  </a:moveTo>
                  <a:lnTo>
                    <a:pt x="187" y="480"/>
                  </a:lnTo>
                  <a:lnTo>
                    <a:pt x="185" y="480"/>
                  </a:lnTo>
                  <a:close/>
                  <a:moveTo>
                    <a:pt x="247" y="480"/>
                  </a:moveTo>
                  <a:lnTo>
                    <a:pt x="247" y="478"/>
                  </a:lnTo>
                  <a:lnTo>
                    <a:pt x="247" y="480"/>
                  </a:lnTo>
                  <a:close/>
                  <a:moveTo>
                    <a:pt x="249" y="480"/>
                  </a:moveTo>
                  <a:lnTo>
                    <a:pt x="249" y="478"/>
                  </a:lnTo>
                  <a:lnTo>
                    <a:pt x="249" y="480"/>
                  </a:lnTo>
                  <a:close/>
                  <a:moveTo>
                    <a:pt x="40" y="478"/>
                  </a:moveTo>
                  <a:lnTo>
                    <a:pt x="38" y="478"/>
                  </a:lnTo>
                  <a:lnTo>
                    <a:pt x="40" y="478"/>
                  </a:lnTo>
                  <a:close/>
                  <a:moveTo>
                    <a:pt x="185" y="478"/>
                  </a:moveTo>
                  <a:lnTo>
                    <a:pt x="183" y="478"/>
                  </a:lnTo>
                  <a:lnTo>
                    <a:pt x="183" y="475"/>
                  </a:lnTo>
                  <a:lnTo>
                    <a:pt x="185" y="478"/>
                  </a:lnTo>
                  <a:lnTo>
                    <a:pt x="185" y="475"/>
                  </a:lnTo>
                  <a:lnTo>
                    <a:pt x="185" y="478"/>
                  </a:lnTo>
                  <a:close/>
                  <a:moveTo>
                    <a:pt x="183" y="475"/>
                  </a:moveTo>
                  <a:lnTo>
                    <a:pt x="180" y="475"/>
                  </a:lnTo>
                  <a:lnTo>
                    <a:pt x="183" y="475"/>
                  </a:lnTo>
                  <a:lnTo>
                    <a:pt x="180" y="475"/>
                  </a:lnTo>
                  <a:lnTo>
                    <a:pt x="183" y="475"/>
                  </a:lnTo>
                  <a:close/>
                  <a:moveTo>
                    <a:pt x="235" y="471"/>
                  </a:moveTo>
                  <a:lnTo>
                    <a:pt x="232" y="471"/>
                  </a:lnTo>
                  <a:lnTo>
                    <a:pt x="232" y="468"/>
                  </a:lnTo>
                  <a:lnTo>
                    <a:pt x="235" y="468"/>
                  </a:lnTo>
                  <a:lnTo>
                    <a:pt x="235" y="471"/>
                  </a:lnTo>
                  <a:close/>
                  <a:moveTo>
                    <a:pt x="185" y="468"/>
                  </a:moveTo>
                  <a:lnTo>
                    <a:pt x="185" y="471"/>
                  </a:lnTo>
                  <a:lnTo>
                    <a:pt x="185" y="468"/>
                  </a:lnTo>
                  <a:lnTo>
                    <a:pt x="185" y="471"/>
                  </a:lnTo>
                  <a:lnTo>
                    <a:pt x="185" y="468"/>
                  </a:lnTo>
                  <a:close/>
                  <a:moveTo>
                    <a:pt x="33" y="468"/>
                  </a:moveTo>
                  <a:lnTo>
                    <a:pt x="31" y="468"/>
                  </a:lnTo>
                  <a:lnTo>
                    <a:pt x="33" y="468"/>
                  </a:lnTo>
                  <a:close/>
                  <a:moveTo>
                    <a:pt x="185" y="466"/>
                  </a:moveTo>
                  <a:lnTo>
                    <a:pt x="185" y="468"/>
                  </a:lnTo>
                  <a:lnTo>
                    <a:pt x="185" y="466"/>
                  </a:lnTo>
                  <a:close/>
                  <a:moveTo>
                    <a:pt x="31" y="466"/>
                  </a:moveTo>
                  <a:lnTo>
                    <a:pt x="33" y="466"/>
                  </a:lnTo>
                  <a:lnTo>
                    <a:pt x="31" y="466"/>
                  </a:lnTo>
                  <a:close/>
                  <a:moveTo>
                    <a:pt x="190" y="461"/>
                  </a:moveTo>
                  <a:lnTo>
                    <a:pt x="187" y="461"/>
                  </a:lnTo>
                  <a:lnTo>
                    <a:pt x="190" y="461"/>
                  </a:lnTo>
                  <a:close/>
                  <a:moveTo>
                    <a:pt x="26" y="459"/>
                  </a:moveTo>
                  <a:lnTo>
                    <a:pt x="24" y="459"/>
                  </a:lnTo>
                  <a:lnTo>
                    <a:pt x="26" y="459"/>
                  </a:lnTo>
                  <a:close/>
                  <a:moveTo>
                    <a:pt x="31" y="459"/>
                  </a:moveTo>
                  <a:lnTo>
                    <a:pt x="28" y="459"/>
                  </a:lnTo>
                  <a:lnTo>
                    <a:pt x="31" y="459"/>
                  </a:lnTo>
                  <a:close/>
                  <a:moveTo>
                    <a:pt x="190" y="459"/>
                  </a:moveTo>
                  <a:lnTo>
                    <a:pt x="187" y="459"/>
                  </a:lnTo>
                  <a:lnTo>
                    <a:pt x="190" y="459"/>
                  </a:lnTo>
                  <a:close/>
                  <a:moveTo>
                    <a:pt x="187" y="456"/>
                  </a:moveTo>
                  <a:lnTo>
                    <a:pt x="187" y="459"/>
                  </a:lnTo>
                  <a:lnTo>
                    <a:pt x="187" y="456"/>
                  </a:lnTo>
                  <a:lnTo>
                    <a:pt x="190" y="459"/>
                  </a:lnTo>
                  <a:lnTo>
                    <a:pt x="187" y="459"/>
                  </a:lnTo>
                  <a:lnTo>
                    <a:pt x="190" y="459"/>
                  </a:lnTo>
                  <a:lnTo>
                    <a:pt x="187" y="459"/>
                  </a:lnTo>
                  <a:lnTo>
                    <a:pt x="187" y="456"/>
                  </a:lnTo>
                  <a:close/>
                  <a:moveTo>
                    <a:pt x="190" y="456"/>
                  </a:moveTo>
                  <a:lnTo>
                    <a:pt x="187" y="456"/>
                  </a:lnTo>
                  <a:lnTo>
                    <a:pt x="190" y="456"/>
                  </a:lnTo>
                  <a:close/>
                  <a:moveTo>
                    <a:pt x="185" y="456"/>
                  </a:moveTo>
                  <a:lnTo>
                    <a:pt x="187" y="456"/>
                  </a:lnTo>
                  <a:lnTo>
                    <a:pt x="185" y="456"/>
                  </a:lnTo>
                  <a:close/>
                  <a:moveTo>
                    <a:pt x="190" y="456"/>
                  </a:moveTo>
                  <a:lnTo>
                    <a:pt x="192" y="456"/>
                  </a:lnTo>
                  <a:lnTo>
                    <a:pt x="190" y="456"/>
                  </a:lnTo>
                  <a:close/>
                  <a:moveTo>
                    <a:pt x="26" y="456"/>
                  </a:moveTo>
                  <a:lnTo>
                    <a:pt x="26" y="454"/>
                  </a:lnTo>
                  <a:lnTo>
                    <a:pt x="26" y="456"/>
                  </a:lnTo>
                  <a:close/>
                  <a:moveTo>
                    <a:pt x="183" y="454"/>
                  </a:moveTo>
                  <a:lnTo>
                    <a:pt x="185" y="454"/>
                  </a:lnTo>
                  <a:lnTo>
                    <a:pt x="185" y="456"/>
                  </a:lnTo>
                  <a:lnTo>
                    <a:pt x="183" y="456"/>
                  </a:lnTo>
                  <a:lnTo>
                    <a:pt x="183" y="454"/>
                  </a:lnTo>
                  <a:close/>
                  <a:moveTo>
                    <a:pt x="190" y="454"/>
                  </a:moveTo>
                  <a:lnTo>
                    <a:pt x="190" y="456"/>
                  </a:lnTo>
                  <a:lnTo>
                    <a:pt x="187" y="456"/>
                  </a:lnTo>
                  <a:lnTo>
                    <a:pt x="190" y="456"/>
                  </a:lnTo>
                  <a:lnTo>
                    <a:pt x="187" y="456"/>
                  </a:lnTo>
                  <a:lnTo>
                    <a:pt x="187" y="454"/>
                  </a:lnTo>
                  <a:lnTo>
                    <a:pt x="187" y="456"/>
                  </a:lnTo>
                  <a:lnTo>
                    <a:pt x="187" y="454"/>
                  </a:lnTo>
                  <a:lnTo>
                    <a:pt x="187" y="456"/>
                  </a:lnTo>
                  <a:lnTo>
                    <a:pt x="187" y="454"/>
                  </a:lnTo>
                  <a:lnTo>
                    <a:pt x="187" y="456"/>
                  </a:lnTo>
                  <a:lnTo>
                    <a:pt x="187" y="454"/>
                  </a:lnTo>
                  <a:lnTo>
                    <a:pt x="190" y="454"/>
                  </a:lnTo>
                  <a:close/>
                  <a:moveTo>
                    <a:pt x="28" y="454"/>
                  </a:moveTo>
                  <a:lnTo>
                    <a:pt x="26" y="454"/>
                  </a:lnTo>
                  <a:lnTo>
                    <a:pt x="28" y="454"/>
                  </a:lnTo>
                  <a:lnTo>
                    <a:pt x="26" y="454"/>
                  </a:lnTo>
                  <a:lnTo>
                    <a:pt x="28" y="454"/>
                  </a:lnTo>
                  <a:close/>
                  <a:moveTo>
                    <a:pt x="21" y="454"/>
                  </a:moveTo>
                  <a:lnTo>
                    <a:pt x="21" y="452"/>
                  </a:lnTo>
                  <a:lnTo>
                    <a:pt x="21" y="454"/>
                  </a:lnTo>
                  <a:close/>
                  <a:moveTo>
                    <a:pt x="28" y="454"/>
                  </a:moveTo>
                  <a:lnTo>
                    <a:pt x="26" y="454"/>
                  </a:lnTo>
                  <a:lnTo>
                    <a:pt x="28" y="452"/>
                  </a:lnTo>
                  <a:lnTo>
                    <a:pt x="26" y="452"/>
                  </a:lnTo>
                  <a:lnTo>
                    <a:pt x="28" y="452"/>
                  </a:lnTo>
                  <a:lnTo>
                    <a:pt x="28" y="454"/>
                  </a:lnTo>
                  <a:close/>
                  <a:moveTo>
                    <a:pt x="26" y="452"/>
                  </a:moveTo>
                  <a:lnTo>
                    <a:pt x="24" y="452"/>
                  </a:lnTo>
                  <a:lnTo>
                    <a:pt x="26" y="452"/>
                  </a:lnTo>
                  <a:close/>
                  <a:moveTo>
                    <a:pt x="190" y="452"/>
                  </a:moveTo>
                  <a:lnTo>
                    <a:pt x="187" y="452"/>
                  </a:lnTo>
                  <a:lnTo>
                    <a:pt x="190" y="452"/>
                  </a:lnTo>
                  <a:close/>
                  <a:moveTo>
                    <a:pt x="26" y="452"/>
                  </a:moveTo>
                  <a:lnTo>
                    <a:pt x="28" y="452"/>
                  </a:lnTo>
                  <a:lnTo>
                    <a:pt x="26" y="452"/>
                  </a:lnTo>
                  <a:lnTo>
                    <a:pt x="28" y="452"/>
                  </a:lnTo>
                  <a:lnTo>
                    <a:pt x="26" y="452"/>
                  </a:lnTo>
                  <a:lnTo>
                    <a:pt x="26" y="454"/>
                  </a:lnTo>
                  <a:lnTo>
                    <a:pt x="26" y="452"/>
                  </a:lnTo>
                  <a:lnTo>
                    <a:pt x="26" y="454"/>
                  </a:lnTo>
                  <a:lnTo>
                    <a:pt x="26" y="452"/>
                  </a:lnTo>
                  <a:lnTo>
                    <a:pt x="24" y="452"/>
                  </a:lnTo>
                  <a:lnTo>
                    <a:pt x="26" y="452"/>
                  </a:lnTo>
                  <a:close/>
                  <a:moveTo>
                    <a:pt x="24" y="452"/>
                  </a:moveTo>
                  <a:lnTo>
                    <a:pt x="21" y="452"/>
                  </a:lnTo>
                  <a:lnTo>
                    <a:pt x="24" y="452"/>
                  </a:lnTo>
                  <a:close/>
                  <a:moveTo>
                    <a:pt x="187" y="452"/>
                  </a:moveTo>
                  <a:lnTo>
                    <a:pt x="190" y="452"/>
                  </a:lnTo>
                  <a:lnTo>
                    <a:pt x="187" y="452"/>
                  </a:lnTo>
                  <a:close/>
                  <a:moveTo>
                    <a:pt x="26" y="449"/>
                  </a:moveTo>
                  <a:lnTo>
                    <a:pt x="24" y="449"/>
                  </a:lnTo>
                  <a:lnTo>
                    <a:pt x="26" y="449"/>
                  </a:lnTo>
                  <a:close/>
                  <a:moveTo>
                    <a:pt x="21" y="449"/>
                  </a:moveTo>
                  <a:lnTo>
                    <a:pt x="24" y="449"/>
                  </a:lnTo>
                  <a:lnTo>
                    <a:pt x="24" y="452"/>
                  </a:lnTo>
                  <a:lnTo>
                    <a:pt x="24" y="449"/>
                  </a:lnTo>
                  <a:lnTo>
                    <a:pt x="21" y="449"/>
                  </a:lnTo>
                  <a:lnTo>
                    <a:pt x="21" y="452"/>
                  </a:lnTo>
                  <a:lnTo>
                    <a:pt x="21" y="449"/>
                  </a:lnTo>
                  <a:close/>
                  <a:moveTo>
                    <a:pt x="192" y="449"/>
                  </a:moveTo>
                  <a:lnTo>
                    <a:pt x="190" y="449"/>
                  </a:lnTo>
                  <a:lnTo>
                    <a:pt x="192" y="449"/>
                  </a:lnTo>
                  <a:close/>
                  <a:moveTo>
                    <a:pt x="258" y="449"/>
                  </a:moveTo>
                  <a:lnTo>
                    <a:pt x="261" y="449"/>
                  </a:lnTo>
                  <a:lnTo>
                    <a:pt x="258" y="449"/>
                  </a:lnTo>
                  <a:close/>
                  <a:moveTo>
                    <a:pt x="21" y="447"/>
                  </a:moveTo>
                  <a:lnTo>
                    <a:pt x="24" y="447"/>
                  </a:lnTo>
                  <a:lnTo>
                    <a:pt x="21" y="447"/>
                  </a:lnTo>
                  <a:lnTo>
                    <a:pt x="21" y="449"/>
                  </a:lnTo>
                  <a:lnTo>
                    <a:pt x="24" y="449"/>
                  </a:lnTo>
                  <a:lnTo>
                    <a:pt x="21" y="449"/>
                  </a:lnTo>
                  <a:lnTo>
                    <a:pt x="21" y="447"/>
                  </a:lnTo>
                  <a:close/>
                  <a:moveTo>
                    <a:pt x="24" y="447"/>
                  </a:moveTo>
                  <a:lnTo>
                    <a:pt x="24" y="449"/>
                  </a:lnTo>
                  <a:lnTo>
                    <a:pt x="24" y="447"/>
                  </a:lnTo>
                  <a:close/>
                  <a:moveTo>
                    <a:pt x="187" y="445"/>
                  </a:moveTo>
                  <a:lnTo>
                    <a:pt x="190" y="445"/>
                  </a:lnTo>
                  <a:lnTo>
                    <a:pt x="190" y="447"/>
                  </a:lnTo>
                  <a:lnTo>
                    <a:pt x="190" y="445"/>
                  </a:lnTo>
                  <a:lnTo>
                    <a:pt x="187" y="445"/>
                  </a:lnTo>
                  <a:close/>
                  <a:moveTo>
                    <a:pt x="21" y="445"/>
                  </a:moveTo>
                  <a:lnTo>
                    <a:pt x="21" y="447"/>
                  </a:lnTo>
                  <a:lnTo>
                    <a:pt x="21" y="445"/>
                  </a:lnTo>
                  <a:lnTo>
                    <a:pt x="21" y="447"/>
                  </a:lnTo>
                  <a:lnTo>
                    <a:pt x="21" y="445"/>
                  </a:lnTo>
                  <a:lnTo>
                    <a:pt x="21" y="447"/>
                  </a:lnTo>
                  <a:lnTo>
                    <a:pt x="21" y="445"/>
                  </a:lnTo>
                  <a:close/>
                  <a:moveTo>
                    <a:pt x="24" y="445"/>
                  </a:moveTo>
                  <a:lnTo>
                    <a:pt x="24" y="442"/>
                  </a:lnTo>
                  <a:lnTo>
                    <a:pt x="24" y="445"/>
                  </a:lnTo>
                  <a:close/>
                  <a:moveTo>
                    <a:pt x="190" y="442"/>
                  </a:moveTo>
                  <a:lnTo>
                    <a:pt x="190" y="445"/>
                  </a:lnTo>
                  <a:lnTo>
                    <a:pt x="190" y="442"/>
                  </a:lnTo>
                  <a:close/>
                  <a:moveTo>
                    <a:pt x="187" y="442"/>
                  </a:moveTo>
                  <a:lnTo>
                    <a:pt x="187" y="445"/>
                  </a:lnTo>
                  <a:lnTo>
                    <a:pt x="187" y="442"/>
                  </a:lnTo>
                  <a:close/>
                  <a:moveTo>
                    <a:pt x="24" y="442"/>
                  </a:moveTo>
                  <a:lnTo>
                    <a:pt x="24" y="445"/>
                  </a:lnTo>
                  <a:lnTo>
                    <a:pt x="24" y="442"/>
                  </a:lnTo>
                  <a:close/>
                  <a:moveTo>
                    <a:pt x="187" y="442"/>
                  </a:moveTo>
                  <a:lnTo>
                    <a:pt x="190" y="442"/>
                  </a:lnTo>
                  <a:lnTo>
                    <a:pt x="187" y="442"/>
                  </a:lnTo>
                  <a:lnTo>
                    <a:pt x="190" y="442"/>
                  </a:lnTo>
                  <a:lnTo>
                    <a:pt x="190" y="445"/>
                  </a:lnTo>
                  <a:lnTo>
                    <a:pt x="187" y="445"/>
                  </a:lnTo>
                  <a:lnTo>
                    <a:pt x="190" y="445"/>
                  </a:lnTo>
                  <a:lnTo>
                    <a:pt x="187" y="445"/>
                  </a:lnTo>
                  <a:lnTo>
                    <a:pt x="187" y="442"/>
                  </a:lnTo>
                  <a:close/>
                  <a:moveTo>
                    <a:pt x="21" y="442"/>
                  </a:moveTo>
                  <a:lnTo>
                    <a:pt x="19" y="442"/>
                  </a:lnTo>
                  <a:lnTo>
                    <a:pt x="21" y="442"/>
                  </a:lnTo>
                  <a:close/>
                  <a:moveTo>
                    <a:pt x="190" y="442"/>
                  </a:moveTo>
                  <a:lnTo>
                    <a:pt x="192" y="442"/>
                  </a:lnTo>
                  <a:lnTo>
                    <a:pt x="190" y="442"/>
                  </a:lnTo>
                  <a:lnTo>
                    <a:pt x="192" y="445"/>
                  </a:lnTo>
                  <a:lnTo>
                    <a:pt x="190" y="442"/>
                  </a:lnTo>
                  <a:lnTo>
                    <a:pt x="190" y="445"/>
                  </a:lnTo>
                  <a:lnTo>
                    <a:pt x="190" y="442"/>
                  </a:lnTo>
                  <a:lnTo>
                    <a:pt x="190" y="445"/>
                  </a:lnTo>
                  <a:lnTo>
                    <a:pt x="190" y="442"/>
                  </a:lnTo>
                  <a:lnTo>
                    <a:pt x="187" y="442"/>
                  </a:lnTo>
                  <a:lnTo>
                    <a:pt x="190" y="442"/>
                  </a:lnTo>
                  <a:close/>
                  <a:moveTo>
                    <a:pt x="190" y="440"/>
                  </a:moveTo>
                  <a:lnTo>
                    <a:pt x="190" y="442"/>
                  </a:lnTo>
                  <a:lnTo>
                    <a:pt x="187" y="442"/>
                  </a:lnTo>
                  <a:lnTo>
                    <a:pt x="190" y="442"/>
                  </a:lnTo>
                  <a:lnTo>
                    <a:pt x="187" y="442"/>
                  </a:lnTo>
                  <a:lnTo>
                    <a:pt x="187" y="440"/>
                  </a:lnTo>
                  <a:lnTo>
                    <a:pt x="190" y="440"/>
                  </a:lnTo>
                  <a:close/>
                  <a:moveTo>
                    <a:pt x="190" y="442"/>
                  </a:moveTo>
                  <a:lnTo>
                    <a:pt x="190" y="440"/>
                  </a:lnTo>
                  <a:lnTo>
                    <a:pt x="190" y="442"/>
                  </a:lnTo>
                  <a:close/>
                  <a:moveTo>
                    <a:pt x="185" y="440"/>
                  </a:moveTo>
                  <a:lnTo>
                    <a:pt x="185" y="442"/>
                  </a:lnTo>
                  <a:lnTo>
                    <a:pt x="185" y="440"/>
                  </a:lnTo>
                  <a:close/>
                  <a:moveTo>
                    <a:pt x="185" y="440"/>
                  </a:moveTo>
                  <a:lnTo>
                    <a:pt x="185" y="442"/>
                  </a:lnTo>
                  <a:lnTo>
                    <a:pt x="185" y="440"/>
                  </a:lnTo>
                  <a:close/>
                  <a:moveTo>
                    <a:pt x="187" y="440"/>
                  </a:moveTo>
                  <a:lnTo>
                    <a:pt x="187" y="442"/>
                  </a:lnTo>
                  <a:lnTo>
                    <a:pt x="187" y="440"/>
                  </a:lnTo>
                  <a:close/>
                  <a:moveTo>
                    <a:pt x="190" y="440"/>
                  </a:moveTo>
                  <a:lnTo>
                    <a:pt x="187" y="440"/>
                  </a:lnTo>
                  <a:lnTo>
                    <a:pt x="190" y="440"/>
                  </a:lnTo>
                  <a:close/>
                  <a:moveTo>
                    <a:pt x="21" y="440"/>
                  </a:moveTo>
                  <a:lnTo>
                    <a:pt x="21" y="442"/>
                  </a:lnTo>
                  <a:lnTo>
                    <a:pt x="19" y="442"/>
                  </a:lnTo>
                  <a:lnTo>
                    <a:pt x="21" y="440"/>
                  </a:lnTo>
                  <a:lnTo>
                    <a:pt x="19" y="440"/>
                  </a:lnTo>
                  <a:lnTo>
                    <a:pt x="19" y="442"/>
                  </a:lnTo>
                  <a:lnTo>
                    <a:pt x="19" y="440"/>
                  </a:lnTo>
                  <a:lnTo>
                    <a:pt x="19" y="442"/>
                  </a:lnTo>
                  <a:lnTo>
                    <a:pt x="19" y="440"/>
                  </a:lnTo>
                  <a:lnTo>
                    <a:pt x="21" y="440"/>
                  </a:lnTo>
                  <a:lnTo>
                    <a:pt x="19" y="440"/>
                  </a:lnTo>
                  <a:lnTo>
                    <a:pt x="21" y="440"/>
                  </a:lnTo>
                  <a:close/>
                  <a:moveTo>
                    <a:pt x="21" y="440"/>
                  </a:moveTo>
                  <a:lnTo>
                    <a:pt x="24" y="440"/>
                  </a:lnTo>
                  <a:lnTo>
                    <a:pt x="21" y="440"/>
                  </a:lnTo>
                  <a:lnTo>
                    <a:pt x="24" y="440"/>
                  </a:lnTo>
                  <a:lnTo>
                    <a:pt x="21" y="440"/>
                  </a:lnTo>
                  <a:lnTo>
                    <a:pt x="24" y="440"/>
                  </a:lnTo>
                  <a:lnTo>
                    <a:pt x="21" y="440"/>
                  </a:lnTo>
                  <a:close/>
                  <a:moveTo>
                    <a:pt x="26" y="437"/>
                  </a:moveTo>
                  <a:lnTo>
                    <a:pt x="24" y="437"/>
                  </a:lnTo>
                  <a:lnTo>
                    <a:pt x="26" y="437"/>
                  </a:lnTo>
                  <a:close/>
                  <a:moveTo>
                    <a:pt x="21" y="437"/>
                  </a:moveTo>
                  <a:lnTo>
                    <a:pt x="24" y="437"/>
                  </a:lnTo>
                  <a:lnTo>
                    <a:pt x="21" y="437"/>
                  </a:lnTo>
                  <a:close/>
                  <a:moveTo>
                    <a:pt x="24" y="437"/>
                  </a:moveTo>
                  <a:lnTo>
                    <a:pt x="21" y="437"/>
                  </a:lnTo>
                  <a:lnTo>
                    <a:pt x="24" y="437"/>
                  </a:lnTo>
                  <a:lnTo>
                    <a:pt x="21" y="437"/>
                  </a:lnTo>
                  <a:lnTo>
                    <a:pt x="24" y="437"/>
                  </a:lnTo>
                  <a:lnTo>
                    <a:pt x="21" y="437"/>
                  </a:lnTo>
                  <a:lnTo>
                    <a:pt x="24" y="437"/>
                  </a:lnTo>
                  <a:close/>
                  <a:moveTo>
                    <a:pt x="24" y="437"/>
                  </a:moveTo>
                  <a:lnTo>
                    <a:pt x="26" y="437"/>
                  </a:lnTo>
                  <a:lnTo>
                    <a:pt x="24" y="437"/>
                  </a:lnTo>
                  <a:close/>
                  <a:moveTo>
                    <a:pt x="192" y="437"/>
                  </a:moveTo>
                  <a:lnTo>
                    <a:pt x="192" y="435"/>
                  </a:lnTo>
                  <a:lnTo>
                    <a:pt x="192" y="437"/>
                  </a:lnTo>
                  <a:close/>
                  <a:moveTo>
                    <a:pt x="19" y="435"/>
                  </a:moveTo>
                  <a:lnTo>
                    <a:pt x="16" y="435"/>
                  </a:lnTo>
                  <a:lnTo>
                    <a:pt x="19" y="435"/>
                  </a:lnTo>
                  <a:close/>
                  <a:moveTo>
                    <a:pt x="187" y="435"/>
                  </a:moveTo>
                  <a:lnTo>
                    <a:pt x="190" y="435"/>
                  </a:lnTo>
                  <a:lnTo>
                    <a:pt x="187" y="435"/>
                  </a:lnTo>
                  <a:close/>
                  <a:moveTo>
                    <a:pt x="270" y="435"/>
                  </a:moveTo>
                  <a:lnTo>
                    <a:pt x="273" y="435"/>
                  </a:lnTo>
                  <a:lnTo>
                    <a:pt x="270" y="435"/>
                  </a:lnTo>
                  <a:lnTo>
                    <a:pt x="273" y="435"/>
                  </a:lnTo>
                  <a:lnTo>
                    <a:pt x="275" y="435"/>
                  </a:lnTo>
                  <a:lnTo>
                    <a:pt x="275" y="437"/>
                  </a:lnTo>
                  <a:lnTo>
                    <a:pt x="273" y="437"/>
                  </a:lnTo>
                  <a:lnTo>
                    <a:pt x="270" y="437"/>
                  </a:lnTo>
                  <a:lnTo>
                    <a:pt x="268" y="437"/>
                  </a:lnTo>
                  <a:lnTo>
                    <a:pt x="270" y="440"/>
                  </a:lnTo>
                  <a:lnTo>
                    <a:pt x="268" y="440"/>
                  </a:lnTo>
                  <a:lnTo>
                    <a:pt x="270" y="442"/>
                  </a:lnTo>
                  <a:lnTo>
                    <a:pt x="268" y="442"/>
                  </a:lnTo>
                  <a:lnTo>
                    <a:pt x="268" y="440"/>
                  </a:lnTo>
                  <a:lnTo>
                    <a:pt x="266" y="440"/>
                  </a:lnTo>
                  <a:lnTo>
                    <a:pt x="266" y="437"/>
                  </a:lnTo>
                  <a:lnTo>
                    <a:pt x="268" y="437"/>
                  </a:lnTo>
                  <a:lnTo>
                    <a:pt x="268" y="435"/>
                  </a:lnTo>
                  <a:lnTo>
                    <a:pt x="268" y="437"/>
                  </a:lnTo>
                  <a:lnTo>
                    <a:pt x="268" y="435"/>
                  </a:lnTo>
                  <a:lnTo>
                    <a:pt x="270" y="435"/>
                  </a:lnTo>
                  <a:lnTo>
                    <a:pt x="270" y="433"/>
                  </a:lnTo>
                  <a:lnTo>
                    <a:pt x="270" y="435"/>
                  </a:lnTo>
                  <a:close/>
                  <a:moveTo>
                    <a:pt x="19" y="435"/>
                  </a:moveTo>
                  <a:lnTo>
                    <a:pt x="19" y="433"/>
                  </a:lnTo>
                  <a:lnTo>
                    <a:pt x="19" y="435"/>
                  </a:lnTo>
                  <a:close/>
                  <a:moveTo>
                    <a:pt x="26" y="430"/>
                  </a:moveTo>
                  <a:lnTo>
                    <a:pt x="26" y="433"/>
                  </a:lnTo>
                  <a:lnTo>
                    <a:pt x="26" y="430"/>
                  </a:lnTo>
                  <a:close/>
                  <a:moveTo>
                    <a:pt x="16" y="430"/>
                  </a:moveTo>
                  <a:lnTo>
                    <a:pt x="14" y="430"/>
                  </a:lnTo>
                  <a:lnTo>
                    <a:pt x="16" y="430"/>
                  </a:lnTo>
                  <a:lnTo>
                    <a:pt x="14" y="430"/>
                  </a:lnTo>
                  <a:lnTo>
                    <a:pt x="16" y="430"/>
                  </a:lnTo>
                  <a:lnTo>
                    <a:pt x="14" y="430"/>
                  </a:lnTo>
                  <a:lnTo>
                    <a:pt x="16" y="430"/>
                  </a:lnTo>
                  <a:close/>
                  <a:moveTo>
                    <a:pt x="26" y="430"/>
                  </a:moveTo>
                  <a:lnTo>
                    <a:pt x="28" y="430"/>
                  </a:lnTo>
                  <a:lnTo>
                    <a:pt x="26" y="430"/>
                  </a:lnTo>
                  <a:close/>
                  <a:moveTo>
                    <a:pt x="14" y="430"/>
                  </a:moveTo>
                  <a:lnTo>
                    <a:pt x="14" y="428"/>
                  </a:lnTo>
                  <a:lnTo>
                    <a:pt x="14" y="430"/>
                  </a:lnTo>
                  <a:close/>
                  <a:moveTo>
                    <a:pt x="21" y="430"/>
                  </a:moveTo>
                  <a:lnTo>
                    <a:pt x="21" y="428"/>
                  </a:lnTo>
                  <a:lnTo>
                    <a:pt x="21" y="430"/>
                  </a:lnTo>
                  <a:close/>
                  <a:moveTo>
                    <a:pt x="12" y="428"/>
                  </a:moveTo>
                  <a:lnTo>
                    <a:pt x="12" y="430"/>
                  </a:lnTo>
                  <a:lnTo>
                    <a:pt x="12" y="428"/>
                  </a:lnTo>
                  <a:close/>
                  <a:moveTo>
                    <a:pt x="19" y="430"/>
                  </a:moveTo>
                  <a:lnTo>
                    <a:pt x="16" y="430"/>
                  </a:lnTo>
                  <a:lnTo>
                    <a:pt x="16" y="428"/>
                  </a:lnTo>
                  <a:lnTo>
                    <a:pt x="19" y="428"/>
                  </a:lnTo>
                  <a:lnTo>
                    <a:pt x="19" y="430"/>
                  </a:lnTo>
                  <a:close/>
                  <a:moveTo>
                    <a:pt x="192" y="430"/>
                  </a:moveTo>
                  <a:lnTo>
                    <a:pt x="192" y="428"/>
                  </a:lnTo>
                  <a:lnTo>
                    <a:pt x="190" y="428"/>
                  </a:lnTo>
                  <a:lnTo>
                    <a:pt x="192" y="428"/>
                  </a:lnTo>
                  <a:lnTo>
                    <a:pt x="192" y="430"/>
                  </a:lnTo>
                  <a:close/>
                  <a:moveTo>
                    <a:pt x="21" y="430"/>
                  </a:moveTo>
                  <a:lnTo>
                    <a:pt x="21" y="428"/>
                  </a:lnTo>
                  <a:lnTo>
                    <a:pt x="21" y="430"/>
                  </a:lnTo>
                  <a:close/>
                  <a:moveTo>
                    <a:pt x="26" y="428"/>
                  </a:moveTo>
                  <a:lnTo>
                    <a:pt x="26" y="430"/>
                  </a:lnTo>
                  <a:lnTo>
                    <a:pt x="24" y="430"/>
                  </a:lnTo>
                  <a:lnTo>
                    <a:pt x="24" y="428"/>
                  </a:lnTo>
                  <a:lnTo>
                    <a:pt x="26" y="428"/>
                  </a:lnTo>
                  <a:close/>
                  <a:moveTo>
                    <a:pt x="16" y="428"/>
                  </a:moveTo>
                  <a:lnTo>
                    <a:pt x="14" y="428"/>
                  </a:lnTo>
                  <a:lnTo>
                    <a:pt x="16" y="428"/>
                  </a:lnTo>
                  <a:close/>
                  <a:moveTo>
                    <a:pt x="19" y="428"/>
                  </a:moveTo>
                  <a:lnTo>
                    <a:pt x="19" y="430"/>
                  </a:lnTo>
                  <a:lnTo>
                    <a:pt x="19" y="428"/>
                  </a:lnTo>
                  <a:close/>
                  <a:moveTo>
                    <a:pt x="26" y="428"/>
                  </a:moveTo>
                  <a:lnTo>
                    <a:pt x="26" y="430"/>
                  </a:lnTo>
                  <a:lnTo>
                    <a:pt x="26" y="428"/>
                  </a:lnTo>
                  <a:close/>
                  <a:moveTo>
                    <a:pt x="12" y="428"/>
                  </a:moveTo>
                  <a:lnTo>
                    <a:pt x="14" y="428"/>
                  </a:lnTo>
                  <a:lnTo>
                    <a:pt x="12" y="428"/>
                  </a:lnTo>
                  <a:close/>
                  <a:moveTo>
                    <a:pt x="194" y="428"/>
                  </a:moveTo>
                  <a:lnTo>
                    <a:pt x="192" y="428"/>
                  </a:lnTo>
                  <a:lnTo>
                    <a:pt x="194" y="428"/>
                  </a:lnTo>
                  <a:close/>
                  <a:moveTo>
                    <a:pt x="192" y="428"/>
                  </a:moveTo>
                  <a:lnTo>
                    <a:pt x="194" y="428"/>
                  </a:lnTo>
                  <a:lnTo>
                    <a:pt x="192" y="428"/>
                  </a:lnTo>
                  <a:lnTo>
                    <a:pt x="194" y="430"/>
                  </a:lnTo>
                  <a:lnTo>
                    <a:pt x="192" y="430"/>
                  </a:lnTo>
                  <a:lnTo>
                    <a:pt x="192" y="428"/>
                  </a:lnTo>
                  <a:close/>
                  <a:moveTo>
                    <a:pt x="194" y="425"/>
                  </a:moveTo>
                  <a:lnTo>
                    <a:pt x="194" y="428"/>
                  </a:lnTo>
                  <a:lnTo>
                    <a:pt x="192" y="428"/>
                  </a:lnTo>
                  <a:lnTo>
                    <a:pt x="192" y="425"/>
                  </a:lnTo>
                  <a:lnTo>
                    <a:pt x="194" y="425"/>
                  </a:lnTo>
                  <a:close/>
                  <a:moveTo>
                    <a:pt x="199" y="425"/>
                  </a:moveTo>
                  <a:lnTo>
                    <a:pt x="197" y="425"/>
                  </a:lnTo>
                  <a:lnTo>
                    <a:pt x="199" y="425"/>
                  </a:lnTo>
                  <a:close/>
                  <a:moveTo>
                    <a:pt x="14" y="425"/>
                  </a:moveTo>
                  <a:lnTo>
                    <a:pt x="12" y="425"/>
                  </a:lnTo>
                  <a:lnTo>
                    <a:pt x="14" y="425"/>
                  </a:lnTo>
                  <a:lnTo>
                    <a:pt x="14" y="423"/>
                  </a:lnTo>
                  <a:lnTo>
                    <a:pt x="14" y="425"/>
                  </a:lnTo>
                  <a:lnTo>
                    <a:pt x="14" y="423"/>
                  </a:lnTo>
                  <a:lnTo>
                    <a:pt x="14" y="425"/>
                  </a:lnTo>
                  <a:close/>
                  <a:moveTo>
                    <a:pt x="194" y="423"/>
                  </a:moveTo>
                  <a:lnTo>
                    <a:pt x="197" y="423"/>
                  </a:lnTo>
                  <a:lnTo>
                    <a:pt x="194" y="423"/>
                  </a:lnTo>
                  <a:lnTo>
                    <a:pt x="197" y="423"/>
                  </a:lnTo>
                  <a:lnTo>
                    <a:pt x="197" y="425"/>
                  </a:lnTo>
                  <a:lnTo>
                    <a:pt x="197" y="423"/>
                  </a:lnTo>
                  <a:lnTo>
                    <a:pt x="197" y="425"/>
                  </a:lnTo>
                  <a:lnTo>
                    <a:pt x="197" y="423"/>
                  </a:lnTo>
                  <a:lnTo>
                    <a:pt x="194" y="423"/>
                  </a:lnTo>
                  <a:lnTo>
                    <a:pt x="197" y="423"/>
                  </a:lnTo>
                  <a:lnTo>
                    <a:pt x="194" y="423"/>
                  </a:lnTo>
                  <a:lnTo>
                    <a:pt x="197" y="423"/>
                  </a:lnTo>
                  <a:lnTo>
                    <a:pt x="194" y="423"/>
                  </a:lnTo>
                  <a:close/>
                  <a:moveTo>
                    <a:pt x="199" y="421"/>
                  </a:moveTo>
                  <a:lnTo>
                    <a:pt x="199" y="423"/>
                  </a:lnTo>
                  <a:lnTo>
                    <a:pt x="199" y="421"/>
                  </a:lnTo>
                  <a:lnTo>
                    <a:pt x="199" y="423"/>
                  </a:lnTo>
                  <a:lnTo>
                    <a:pt x="199" y="421"/>
                  </a:lnTo>
                  <a:close/>
                  <a:moveTo>
                    <a:pt x="197" y="423"/>
                  </a:moveTo>
                  <a:lnTo>
                    <a:pt x="197" y="421"/>
                  </a:lnTo>
                  <a:lnTo>
                    <a:pt x="197" y="423"/>
                  </a:lnTo>
                  <a:lnTo>
                    <a:pt x="197" y="421"/>
                  </a:lnTo>
                  <a:lnTo>
                    <a:pt x="197" y="423"/>
                  </a:lnTo>
                  <a:close/>
                  <a:moveTo>
                    <a:pt x="197" y="421"/>
                  </a:moveTo>
                  <a:lnTo>
                    <a:pt x="197" y="423"/>
                  </a:lnTo>
                  <a:lnTo>
                    <a:pt x="197" y="421"/>
                  </a:lnTo>
                  <a:lnTo>
                    <a:pt x="197" y="423"/>
                  </a:lnTo>
                  <a:lnTo>
                    <a:pt x="194" y="423"/>
                  </a:lnTo>
                  <a:lnTo>
                    <a:pt x="197" y="423"/>
                  </a:lnTo>
                  <a:lnTo>
                    <a:pt x="194" y="423"/>
                  </a:lnTo>
                  <a:lnTo>
                    <a:pt x="197" y="423"/>
                  </a:lnTo>
                  <a:lnTo>
                    <a:pt x="194" y="421"/>
                  </a:lnTo>
                  <a:lnTo>
                    <a:pt x="197" y="421"/>
                  </a:lnTo>
                  <a:close/>
                  <a:moveTo>
                    <a:pt x="19" y="421"/>
                  </a:moveTo>
                  <a:lnTo>
                    <a:pt x="19" y="423"/>
                  </a:lnTo>
                  <a:lnTo>
                    <a:pt x="16" y="423"/>
                  </a:lnTo>
                  <a:lnTo>
                    <a:pt x="19" y="423"/>
                  </a:lnTo>
                  <a:lnTo>
                    <a:pt x="16" y="423"/>
                  </a:lnTo>
                  <a:lnTo>
                    <a:pt x="16" y="421"/>
                  </a:lnTo>
                  <a:lnTo>
                    <a:pt x="19" y="421"/>
                  </a:lnTo>
                  <a:close/>
                  <a:moveTo>
                    <a:pt x="14" y="421"/>
                  </a:moveTo>
                  <a:lnTo>
                    <a:pt x="14" y="423"/>
                  </a:lnTo>
                  <a:lnTo>
                    <a:pt x="14" y="421"/>
                  </a:lnTo>
                  <a:close/>
                  <a:moveTo>
                    <a:pt x="197" y="421"/>
                  </a:moveTo>
                  <a:lnTo>
                    <a:pt x="194" y="421"/>
                  </a:lnTo>
                  <a:lnTo>
                    <a:pt x="197" y="421"/>
                  </a:lnTo>
                  <a:close/>
                  <a:moveTo>
                    <a:pt x="199" y="421"/>
                  </a:moveTo>
                  <a:lnTo>
                    <a:pt x="197" y="421"/>
                  </a:lnTo>
                  <a:lnTo>
                    <a:pt x="199" y="421"/>
                  </a:lnTo>
                  <a:close/>
                  <a:moveTo>
                    <a:pt x="192" y="421"/>
                  </a:moveTo>
                  <a:lnTo>
                    <a:pt x="192" y="418"/>
                  </a:lnTo>
                  <a:lnTo>
                    <a:pt x="192" y="421"/>
                  </a:lnTo>
                  <a:close/>
                  <a:moveTo>
                    <a:pt x="26" y="421"/>
                  </a:moveTo>
                  <a:lnTo>
                    <a:pt x="26" y="418"/>
                  </a:lnTo>
                  <a:lnTo>
                    <a:pt x="26" y="421"/>
                  </a:lnTo>
                  <a:close/>
                  <a:moveTo>
                    <a:pt x="197" y="418"/>
                  </a:moveTo>
                  <a:lnTo>
                    <a:pt x="197" y="421"/>
                  </a:lnTo>
                  <a:lnTo>
                    <a:pt x="197" y="418"/>
                  </a:lnTo>
                  <a:close/>
                  <a:moveTo>
                    <a:pt x="197" y="421"/>
                  </a:moveTo>
                  <a:lnTo>
                    <a:pt x="194" y="421"/>
                  </a:lnTo>
                  <a:lnTo>
                    <a:pt x="194" y="418"/>
                  </a:lnTo>
                  <a:lnTo>
                    <a:pt x="194" y="421"/>
                  </a:lnTo>
                  <a:lnTo>
                    <a:pt x="194" y="418"/>
                  </a:lnTo>
                  <a:lnTo>
                    <a:pt x="197" y="418"/>
                  </a:lnTo>
                  <a:lnTo>
                    <a:pt x="197" y="421"/>
                  </a:lnTo>
                  <a:close/>
                  <a:moveTo>
                    <a:pt x="14" y="418"/>
                  </a:moveTo>
                  <a:lnTo>
                    <a:pt x="12" y="418"/>
                  </a:lnTo>
                  <a:lnTo>
                    <a:pt x="14" y="418"/>
                  </a:lnTo>
                  <a:close/>
                  <a:moveTo>
                    <a:pt x="197" y="418"/>
                  </a:moveTo>
                  <a:lnTo>
                    <a:pt x="197" y="416"/>
                  </a:lnTo>
                  <a:lnTo>
                    <a:pt x="197" y="418"/>
                  </a:lnTo>
                  <a:close/>
                  <a:moveTo>
                    <a:pt x="197" y="418"/>
                  </a:moveTo>
                  <a:lnTo>
                    <a:pt x="197" y="416"/>
                  </a:lnTo>
                  <a:lnTo>
                    <a:pt x="197" y="418"/>
                  </a:lnTo>
                  <a:close/>
                  <a:moveTo>
                    <a:pt x="14" y="414"/>
                  </a:moveTo>
                  <a:lnTo>
                    <a:pt x="14" y="416"/>
                  </a:lnTo>
                  <a:lnTo>
                    <a:pt x="14" y="414"/>
                  </a:lnTo>
                  <a:close/>
                  <a:moveTo>
                    <a:pt x="194" y="414"/>
                  </a:moveTo>
                  <a:lnTo>
                    <a:pt x="194" y="416"/>
                  </a:lnTo>
                  <a:lnTo>
                    <a:pt x="194" y="414"/>
                  </a:lnTo>
                  <a:close/>
                  <a:moveTo>
                    <a:pt x="19" y="414"/>
                  </a:moveTo>
                  <a:lnTo>
                    <a:pt x="19" y="416"/>
                  </a:lnTo>
                  <a:lnTo>
                    <a:pt x="19" y="414"/>
                  </a:lnTo>
                  <a:lnTo>
                    <a:pt x="21" y="414"/>
                  </a:lnTo>
                  <a:lnTo>
                    <a:pt x="19" y="414"/>
                  </a:lnTo>
                  <a:lnTo>
                    <a:pt x="21" y="414"/>
                  </a:lnTo>
                  <a:lnTo>
                    <a:pt x="19" y="414"/>
                  </a:lnTo>
                  <a:lnTo>
                    <a:pt x="21" y="414"/>
                  </a:lnTo>
                  <a:lnTo>
                    <a:pt x="19" y="414"/>
                  </a:lnTo>
                  <a:close/>
                  <a:moveTo>
                    <a:pt x="273" y="414"/>
                  </a:moveTo>
                  <a:lnTo>
                    <a:pt x="275" y="414"/>
                  </a:lnTo>
                  <a:lnTo>
                    <a:pt x="275" y="416"/>
                  </a:lnTo>
                  <a:lnTo>
                    <a:pt x="273" y="416"/>
                  </a:lnTo>
                  <a:lnTo>
                    <a:pt x="270" y="416"/>
                  </a:lnTo>
                  <a:lnTo>
                    <a:pt x="270" y="414"/>
                  </a:lnTo>
                  <a:lnTo>
                    <a:pt x="273" y="414"/>
                  </a:lnTo>
                  <a:close/>
                  <a:moveTo>
                    <a:pt x="190" y="414"/>
                  </a:moveTo>
                  <a:lnTo>
                    <a:pt x="190" y="411"/>
                  </a:lnTo>
                  <a:lnTo>
                    <a:pt x="190" y="414"/>
                  </a:lnTo>
                  <a:close/>
                  <a:moveTo>
                    <a:pt x="194" y="411"/>
                  </a:moveTo>
                  <a:lnTo>
                    <a:pt x="194" y="414"/>
                  </a:lnTo>
                  <a:lnTo>
                    <a:pt x="194" y="411"/>
                  </a:lnTo>
                  <a:lnTo>
                    <a:pt x="194" y="414"/>
                  </a:lnTo>
                  <a:lnTo>
                    <a:pt x="194" y="411"/>
                  </a:lnTo>
                  <a:close/>
                  <a:moveTo>
                    <a:pt x="192" y="411"/>
                  </a:moveTo>
                  <a:lnTo>
                    <a:pt x="192" y="414"/>
                  </a:lnTo>
                  <a:lnTo>
                    <a:pt x="194" y="414"/>
                  </a:lnTo>
                  <a:lnTo>
                    <a:pt x="192" y="414"/>
                  </a:lnTo>
                  <a:lnTo>
                    <a:pt x="194" y="414"/>
                  </a:lnTo>
                  <a:lnTo>
                    <a:pt x="192" y="414"/>
                  </a:lnTo>
                  <a:lnTo>
                    <a:pt x="194" y="414"/>
                  </a:lnTo>
                  <a:lnTo>
                    <a:pt x="192" y="414"/>
                  </a:lnTo>
                  <a:lnTo>
                    <a:pt x="192" y="416"/>
                  </a:lnTo>
                  <a:lnTo>
                    <a:pt x="194" y="416"/>
                  </a:lnTo>
                  <a:lnTo>
                    <a:pt x="197" y="416"/>
                  </a:lnTo>
                  <a:lnTo>
                    <a:pt x="194" y="416"/>
                  </a:lnTo>
                  <a:lnTo>
                    <a:pt x="197" y="416"/>
                  </a:lnTo>
                  <a:lnTo>
                    <a:pt x="194" y="416"/>
                  </a:lnTo>
                  <a:lnTo>
                    <a:pt x="194" y="418"/>
                  </a:lnTo>
                  <a:lnTo>
                    <a:pt x="194" y="416"/>
                  </a:lnTo>
                  <a:lnTo>
                    <a:pt x="192" y="416"/>
                  </a:lnTo>
                  <a:lnTo>
                    <a:pt x="192" y="414"/>
                  </a:lnTo>
                  <a:lnTo>
                    <a:pt x="192" y="411"/>
                  </a:lnTo>
                  <a:close/>
                  <a:moveTo>
                    <a:pt x="192" y="411"/>
                  </a:moveTo>
                  <a:lnTo>
                    <a:pt x="194" y="411"/>
                  </a:lnTo>
                  <a:lnTo>
                    <a:pt x="192" y="411"/>
                  </a:lnTo>
                  <a:lnTo>
                    <a:pt x="192" y="414"/>
                  </a:lnTo>
                  <a:lnTo>
                    <a:pt x="192" y="411"/>
                  </a:lnTo>
                  <a:close/>
                  <a:moveTo>
                    <a:pt x="197" y="411"/>
                  </a:moveTo>
                  <a:lnTo>
                    <a:pt x="199" y="411"/>
                  </a:lnTo>
                  <a:lnTo>
                    <a:pt x="197" y="411"/>
                  </a:lnTo>
                  <a:close/>
                  <a:moveTo>
                    <a:pt x="199" y="409"/>
                  </a:moveTo>
                  <a:lnTo>
                    <a:pt x="199" y="406"/>
                  </a:lnTo>
                  <a:lnTo>
                    <a:pt x="199" y="409"/>
                  </a:lnTo>
                  <a:close/>
                  <a:moveTo>
                    <a:pt x="197" y="406"/>
                  </a:moveTo>
                  <a:lnTo>
                    <a:pt x="197" y="409"/>
                  </a:lnTo>
                  <a:lnTo>
                    <a:pt x="199" y="409"/>
                  </a:lnTo>
                  <a:lnTo>
                    <a:pt x="197" y="409"/>
                  </a:lnTo>
                  <a:lnTo>
                    <a:pt x="197" y="406"/>
                  </a:lnTo>
                  <a:lnTo>
                    <a:pt x="194" y="406"/>
                  </a:lnTo>
                  <a:lnTo>
                    <a:pt x="197" y="406"/>
                  </a:lnTo>
                  <a:close/>
                  <a:moveTo>
                    <a:pt x="9" y="406"/>
                  </a:moveTo>
                  <a:lnTo>
                    <a:pt x="7" y="406"/>
                  </a:lnTo>
                  <a:lnTo>
                    <a:pt x="9" y="406"/>
                  </a:lnTo>
                  <a:close/>
                  <a:moveTo>
                    <a:pt x="9" y="404"/>
                  </a:moveTo>
                  <a:lnTo>
                    <a:pt x="7" y="404"/>
                  </a:lnTo>
                  <a:lnTo>
                    <a:pt x="9" y="404"/>
                  </a:lnTo>
                  <a:close/>
                  <a:moveTo>
                    <a:pt x="9" y="404"/>
                  </a:moveTo>
                  <a:lnTo>
                    <a:pt x="9" y="402"/>
                  </a:lnTo>
                  <a:lnTo>
                    <a:pt x="9" y="404"/>
                  </a:lnTo>
                  <a:close/>
                  <a:moveTo>
                    <a:pt x="7" y="402"/>
                  </a:moveTo>
                  <a:lnTo>
                    <a:pt x="7" y="404"/>
                  </a:lnTo>
                  <a:lnTo>
                    <a:pt x="9" y="404"/>
                  </a:lnTo>
                  <a:lnTo>
                    <a:pt x="7" y="404"/>
                  </a:lnTo>
                  <a:lnTo>
                    <a:pt x="7" y="402"/>
                  </a:lnTo>
                  <a:close/>
                  <a:moveTo>
                    <a:pt x="9" y="402"/>
                  </a:moveTo>
                  <a:lnTo>
                    <a:pt x="9" y="404"/>
                  </a:lnTo>
                  <a:lnTo>
                    <a:pt x="9" y="402"/>
                  </a:lnTo>
                  <a:close/>
                  <a:moveTo>
                    <a:pt x="7" y="402"/>
                  </a:moveTo>
                  <a:lnTo>
                    <a:pt x="9" y="402"/>
                  </a:lnTo>
                  <a:lnTo>
                    <a:pt x="7" y="402"/>
                  </a:lnTo>
                  <a:lnTo>
                    <a:pt x="9" y="402"/>
                  </a:lnTo>
                  <a:lnTo>
                    <a:pt x="7" y="402"/>
                  </a:lnTo>
                  <a:close/>
                  <a:moveTo>
                    <a:pt x="180" y="402"/>
                  </a:moveTo>
                  <a:lnTo>
                    <a:pt x="178" y="402"/>
                  </a:lnTo>
                  <a:lnTo>
                    <a:pt x="180" y="402"/>
                  </a:lnTo>
                  <a:close/>
                  <a:moveTo>
                    <a:pt x="173" y="402"/>
                  </a:moveTo>
                  <a:lnTo>
                    <a:pt x="171" y="402"/>
                  </a:lnTo>
                  <a:lnTo>
                    <a:pt x="173" y="402"/>
                  </a:lnTo>
                  <a:lnTo>
                    <a:pt x="171" y="402"/>
                  </a:lnTo>
                  <a:lnTo>
                    <a:pt x="173" y="402"/>
                  </a:lnTo>
                  <a:close/>
                  <a:moveTo>
                    <a:pt x="9" y="399"/>
                  </a:moveTo>
                  <a:lnTo>
                    <a:pt x="9" y="402"/>
                  </a:lnTo>
                  <a:lnTo>
                    <a:pt x="7" y="402"/>
                  </a:lnTo>
                  <a:lnTo>
                    <a:pt x="9" y="399"/>
                  </a:lnTo>
                  <a:lnTo>
                    <a:pt x="9" y="402"/>
                  </a:lnTo>
                  <a:lnTo>
                    <a:pt x="9" y="399"/>
                  </a:lnTo>
                  <a:close/>
                  <a:moveTo>
                    <a:pt x="175" y="399"/>
                  </a:moveTo>
                  <a:lnTo>
                    <a:pt x="178" y="399"/>
                  </a:lnTo>
                  <a:lnTo>
                    <a:pt x="175" y="399"/>
                  </a:lnTo>
                  <a:close/>
                  <a:moveTo>
                    <a:pt x="204" y="399"/>
                  </a:moveTo>
                  <a:lnTo>
                    <a:pt x="202" y="399"/>
                  </a:lnTo>
                  <a:lnTo>
                    <a:pt x="204" y="399"/>
                  </a:lnTo>
                  <a:close/>
                  <a:moveTo>
                    <a:pt x="9" y="399"/>
                  </a:moveTo>
                  <a:lnTo>
                    <a:pt x="7" y="399"/>
                  </a:lnTo>
                  <a:lnTo>
                    <a:pt x="9" y="399"/>
                  </a:lnTo>
                  <a:close/>
                  <a:moveTo>
                    <a:pt x="7" y="399"/>
                  </a:moveTo>
                  <a:lnTo>
                    <a:pt x="7" y="397"/>
                  </a:lnTo>
                  <a:lnTo>
                    <a:pt x="7" y="399"/>
                  </a:lnTo>
                  <a:close/>
                  <a:moveTo>
                    <a:pt x="213" y="397"/>
                  </a:moveTo>
                  <a:lnTo>
                    <a:pt x="213" y="399"/>
                  </a:lnTo>
                  <a:lnTo>
                    <a:pt x="213" y="397"/>
                  </a:lnTo>
                  <a:close/>
                  <a:moveTo>
                    <a:pt x="209" y="397"/>
                  </a:moveTo>
                  <a:lnTo>
                    <a:pt x="206" y="397"/>
                  </a:lnTo>
                  <a:lnTo>
                    <a:pt x="209" y="397"/>
                  </a:lnTo>
                  <a:close/>
                  <a:moveTo>
                    <a:pt x="206" y="397"/>
                  </a:moveTo>
                  <a:lnTo>
                    <a:pt x="204" y="397"/>
                  </a:lnTo>
                  <a:lnTo>
                    <a:pt x="206" y="397"/>
                  </a:lnTo>
                  <a:close/>
                  <a:moveTo>
                    <a:pt x="5" y="397"/>
                  </a:moveTo>
                  <a:lnTo>
                    <a:pt x="5" y="395"/>
                  </a:lnTo>
                  <a:lnTo>
                    <a:pt x="5" y="397"/>
                  </a:lnTo>
                  <a:close/>
                  <a:moveTo>
                    <a:pt x="211" y="395"/>
                  </a:moveTo>
                  <a:lnTo>
                    <a:pt x="213" y="395"/>
                  </a:lnTo>
                  <a:lnTo>
                    <a:pt x="211" y="395"/>
                  </a:lnTo>
                  <a:lnTo>
                    <a:pt x="211" y="397"/>
                  </a:lnTo>
                  <a:lnTo>
                    <a:pt x="211" y="395"/>
                  </a:lnTo>
                  <a:close/>
                  <a:moveTo>
                    <a:pt x="209" y="395"/>
                  </a:moveTo>
                  <a:lnTo>
                    <a:pt x="209" y="397"/>
                  </a:lnTo>
                  <a:lnTo>
                    <a:pt x="209" y="395"/>
                  </a:lnTo>
                  <a:close/>
                  <a:moveTo>
                    <a:pt x="218" y="395"/>
                  </a:moveTo>
                  <a:lnTo>
                    <a:pt x="216" y="395"/>
                  </a:lnTo>
                  <a:lnTo>
                    <a:pt x="218" y="395"/>
                  </a:lnTo>
                  <a:close/>
                  <a:moveTo>
                    <a:pt x="216" y="395"/>
                  </a:moveTo>
                  <a:lnTo>
                    <a:pt x="218" y="395"/>
                  </a:lnTo>
                  <a:lnTo>
                    <a:pt x="216" y="395"/>
                  </a:lnTo>
                  <a:close/>
                  <a:moveTo>
                    <a:pt x="228" y="395"/>
                  </a:moveTo>
                  <a:lnTo>
                    <a:pt x="228" y="392"/>
                  </a:lnTo>
                  <a:lnTo>
                    <a:pt x="228" y="395"/>
                  </a:lnTo>
                  <a:close/>
                  <a:moveTo>
                    <a:pt x="213" y="395"/>
                  </a:moveTo>
                  <a:lnTo>
                    <a:pt x="216" y="395"/>
                  </a:lnTo>
                  <a:lnTo>
                    <a:pt x="213" y="395"/>
                  </a:lnTo>
                  <a:lnTo>
                    <a:pt x="213" y="397"/>
                  </a:lnTo>
                  <a:lnTo>
                    <a:pt x="216" y="397"/>
                  </a:lnTo>
                  <a:lnTo>
                    <a:pt x="213" y="397"/>
                  </a:lnTo>
                  <a:lnTo>
                    <a:pt x="213" y="395"/>
                  </a:lnTo>
                  <a:lnTo>
                    <a:pt x="213" y="392"/>
                  </a:lnTo>
                  <a:lnTo>
                    <a:pt x="213" y="395"/>
                  </a:lnTo>
                  <a:close/>
                  <a:moveTo>
                    <a:pt x="5" y="392"/>
                  </a:moveTo>
                  <a:lnTo>
                    <a:pt x="7" y="392"/>
                  </a:lnTo>
                  <a:lnTo>
                    <a:pt x="5" y="392"/>
                  </a:lnTo>
                  <a:lnTo>
                    <a:pt x="5" y="395"/>
                  </a:lnTo>
                  <a:lnTo>
                    <a:pt x="7" y="392"/>
                  </a:lnTo>
                  <a:lnTo>
                    <a:pt x="7" y="395"/>
                  </a:lnTo>
                  <a:lnTo>
                    <a:pt x="5" y="395"/>
                  </a:lnTo>
                  <a:lnTo>
                    <a:pt x="5" y="392"/>
                  </a:lnTo>
                  <a:close/>
                  <a:moveTo>
                    <a:pt x="7" y="390"/>
                  </a:moveTo>
                  <a:lnTo>
                    <a:pt x="7" y="392"/>
                  </a:lnTo>
                  <a:lnTo>
                    <a:pt x="7" y="390"/>
                  </a:lnTo>
                  <a:close/>
                  <a:moveTo>
                    <a:pt x="223" y="392"/>
                  </a:moveTo>
                  <a:lnTo>
                    <a:pt x="223" y="390"/>
                  </a:lnTo>
                  <a:lnTo>
                    <a:pt x="223" y="392"/>
                  </a:lnTo>
                  <a:close/>
                  <a:moveTo>
                    <a:pt x="7" y="390"/>
                  </a:moveTo>
                  <a:lnTo>
                    <a:pt x="9" y="390"/>
                  </a:lnTo>
                  <a:lnTo>
                    <a:pt x="7" y="392"/>
                  </a:lnTo>
                  <a:lnTo>
                    <a:pt x="9" y="392"/>
                  </a:lnTo>
                  <a:lnTo>
                    <a:pt x="7" y="392"/>
                  </a:lnTo>
                  <a:lnTo>
                    <a:pt x="7" y="390"/>
                  </a:lnTo>
                  <a:close/>
                  <a:moveTo>
                    <a:pt x="218" y="390"/>
                  </a:moveTo>
                  <a:lnTo>
                    <a:pt x="221" y="390"/>
                  </a:lnTo>
                  <a:lnTo>
                    <a:pt x="221" y="392"/>
                  </a:lnTo>
                  <a:lnTo>
                    <a:pt x="223" y="392"/>
                  </a:lnTo>
                  <a:lnTo>
                    <a:pt x="221" y="392"/>
                  </a:lnTo>
                  <a:lnTo>
                    <a:pt x="221" y="390"/>
                  </a:lnTo>
                  <a:lnTo>
                    <a:pt x="218" y="390"/>
                  </a:lnTo>
                  <a:close/>
                  <a:moveTo>
                    <a:pt x="221" y="387"/>
                  </a:moveTo>
                  <a:lnTo>
                    <a:pt x="221" y="390"/>
                  </a:lnTo>
                  <a:lnTo>
                    <a:pt x="223" y="390"/>
                  </a:lnTo>
                  <a:lnTo>
                    <a:pt x="221" y="390"/>
                  </a:lnTo>
                  <a:lnTo>
                    <a:pt x="221" y="387"/>
                  </a:lnTo>
                  <a:close/>
                  <a:moveTo>
                    <a:pt x="0" y="390"/>
                  </a:moveTo>
                  <a:lnTo>
                    <a:pt x="0" y="387"/>
                  </a:lnTo>
                  <a:lnTo>
                    <a:pt x="0" y="390"/>
                  </a:lnTo>
                  <a:close/>
                  <a:moveTo>
                    <a:pt x="223" y="390"/>
                  </a:moveTo>
                  <a:lnTo>
                    <a:pt x="223" y="387"/>
                  </a:lnTo>
                  <a:lnTo>
                    <a:pt x="223" y="390"/>
                  </a:lnTo>
                  <a:close/>
                  <a:moveTo>
                    <a:pt x="218" y="387"/>
                  </a:moveTo>
                  <a:lnTo>
                    <a:pt x="216" y="387"/>
                  </a:lnTo>
                  <a:lnTo>
                    <a:pt x="218" y="387"/>
                  </a:lnTo>
                  <a:close/>
                  <a:moveTo>
                    <a:pt x="237" y="387"/>
                  </a:moveTo>
                  <a:lnTo>
                    <a:pt x="235" y="387"/>
                  </a:lnTo>
                  <a:lnTo>
                    <a:pt x="237" y="387"/>
                  </a:lnTo>
                  <a:lnTo>
                    <a:pt x="235" y="387"/>
                  </a:lnTo>
                  <a:lnTo>
                    <a:pt x="235" y="390"/>
                  </a:lnTo>
                  <a:lnTo>
                    <a:pt x="235" y="387"/>
                  </a:lnTo>
                  <a:lnTo>
                    <a:pt x="237" y="387"/>
                  </a:lnTo>
                  <a:close/>
                  <a:moveTo>
                    <a:pt x="230" y="385"/>
                  </a:moveTo>
                  <a:lnTo>
                    <a:pt x="230" y="387"/>
                  </a:lnTo>
                  <a:lnTo>
                    <a:pt x="230" y="385"/>
                  </a:lnTo>
                  <a:lnTo>
                    <a:pt x="230" y="387"/>
                  </a:lnTo>
                  <a:lnTo>
                    <a:pt x="230" y="390"/>
                  </a:lnTo>
                  <a:lnTo>
                    <a:pt x="230" y="387"/>
                  </a:lnTo>
                  <a:lnTo>
                    <a:pt x="230" y="385"/>
                  </a:lnTo>
                  <a:close/>
                  <a:moveTo>
                    <a:pt x="221" y="387"/>
                  </a:moveTo>
                  <a:lnTo>
                    <a:pt x="221" y="385"/>
                  </a:lnTo>
                  <a:lnTo>
                    <a:pt x="221" y="387"/>
                  </a:lnTo>
                  <a:close/>
                  <a:moveTo>
                    <a:pt x="0" y="385"/>
                  </a:moveTo>
                  <a:lnTo>
                    <a:pt x="2" y="385"/>
                  </a:lnTo>
                  <a:lnTo>
                    <a:pt x="2" y="387"/>
                  </a:lnTo>
                  <a:lnTo>
                    <a:pt x="0" y="387"/>
                  </a:lnTo>
                  <a:lnTo>
                    <a:pt x="2" y="387"/>
                  </a:lnTo>
                  <a:lnTo>
                    <a:pt x="2" y="390"/>
                  </a:lnTo>
                  <a:lnTo>
                    <a:pt x="2" y="387"/>
                  </a:lnTo>
                  <a:lnTo>
                    <a:pt x="0" y="387"/>
                  </a:lnTo>
                  <a:lnTo>
                    <a:pt x="0" y="385"/>
                  </a:lnTo>
                  <a:close/>
                  <a:moveTo>
                    <a:pt x="5" y="385"/>
                  </a:moveTo>
                  <a:lnTo>
                    <a:pt x="2" y="383"/>
                  </a:lnTo>
                  <a:lnTo>
                    <a:pt x="5" y="383"/>
                  </a:lnTo>
                  <a:lnTo>
                    <a:pt x="5" y="385"/>
                  </a:lnTo>
                  <a:close/>
                  <a:moveTo>
                    <a:pt x="5" y="385"/>
                  </a:moveTo>
                  <a:lnTo>
                    <a:pt x="5" y="383"/>
                  </a:lnTo>
                  <a:lnTo>
                    <a:pt x="5" y="385"/>
                  </a:lnTo>
                  <a:close/>
                  <a:moveTo>
                    <a:pt x="249" y="383"/>
                  </a:moveTo>
                  <a:lnTo>
                    <a:pt x="251" y="383"/>
                  </a:lnTo>
                  <a:lnTo>
                    <a:pt x="249" y="383"/>
                  </a:lnTo>
                  <a:close/>
                  <a:moveTo>
                    <a:pt x="244" y="383"/>
                  </a:moveTo>
                  <a:lnTo>
                    <a:pt x="247" y="383"/>
                  </a:lnTo>
                  <a:lnTo>
                    <a:pt x="244" y="383"/>
                  </a:lnTo>
                  <a:lnTo>
                    <a:pt x="247" y="383"/>
                  </a:lnTo>
                  <a:lnTo>
                    <a:pt x="244" y="383"/>
                  </a:lnTo>
                  <a:close/>
                  <a:moveTo>
                    <a:pt x="244" y="383"/>
                  </a:moveTo>
                  <a:lnTo>
                    <a:pt x="242" y="383"/>
                  </a:lnTo>
                  <a:lnTo>
                    <a:pt x="242" y="385"/>
                  </a:lnTo>
                  <a:lnTo>
                    <a:pt x="242" y="383"/>
                  </a:lnTo>
                  <a:lnTo>
                    <a:pt x="242" y="385"/>
                  </a:lnTo>
                  <a:lnTo>
                    <a:pt x="239" y="385"/>
                  </a:lnTo>
                  <a:lnTo>
                    <a:pt x="239" y="387"/>
                  </a:lnTo>
                  <a:lnTo>
                    <a:pt x="237" y="387"/>
                  </a:lnTo>
                  <a:lnTo>
                    <a:pt x="237" y="385"/>
                  </a:lnTo>
                  <a:lnTo>
                    <a:pt x="237" y="387"/>
                  </a:lnTo>
                  <a:lnTo>
                    <a:pt x="235" y="387"/>
                  </a:lnTo>
                  <a:lnTo>
                    <a:pt x="237" y="387"/>
                  </a:lnTo>
                  <a:lnTo>
                    <a:pt x="237" y="385"/>
                  </a:lnTo>
                  <a:lnTo>
                    <a:pt x="237" y="387"/>
                  </a:lnTo>
                  <a:lnTo>
                    <a:pt x="237" y="385"/>
                  </a:lnTo>
                  <a:lnTo>
                    <a:pt x="239" y="385"/>
                  </a:lnTo>
                  <a:lnTo>
                    <a:pt x="239" y="383"/>
                  </a:lnTo>
                  <a:lnTo>
                    <a:pt x="242" y="383"/>
                  </a:lnTo>
                  <a:lnTo>
                    <a:pt x="244" y="383"/>
                  </a:lnTo>
                  <a:close/>
                  <a:moveTo>
                    <a:pt x="244" y="383"/>
                  </a:moveTo>
                  <a:lnTo>
                    <a:pt x="244" y="380"/>
                  </a:lnTo>
                  <a:lnTo>
                    <a:pt x="244" y="383"/>
                  </a:lnTo>
                  <a:close/>
                  <a:moveTo>
                    <a:pt x="237" y="383"/>
                  </a:moveTo>
                  <a:lnTo>
                    <a:pt x="237" y="380"/>
                  </a:lnTo>
                  <a:lnTo>
                    <a:pt x="237" y="383"/>
                  </a:lnTo>
                  <a:close/>
                  <a:moveTo>
                    <a:pt x="237" y="380"/>
                  </a:moveTo>
                  <a:lnTo>
                    <a:pt x="239" y="380"/>
                  </a:lnTo>
                  <a:lnTo>
                    <a:pt x="237" y="380"/>
                  </a:lnTo>
                  <a:lnTo>
                    <a:pt x="237" y="383"/>
                  </a:lnTo>
                  <a:lnTo>
                    <a:pt x="237" y="380"/>
                  </a:lnTo>
                  <a:lnTo>
                    <a:pt x="237" y="383"/>
                  </a:lnTo>
                  <a:lnTo>
                    <a:pt x="237" y="380"/>
                  </a:lnTo>
                  <a:lnTo>
                    <a:pt x="237" y="383"/>
                  </a:lnTo>
                  <a:lnTo>
                    <a:pt x="237" y="380"/>
                  </a:lnTo>
                  <a:lnTo>
                    <a:pt x="237" y="383"/>
                  </a:lnTo>
                  <a:lnTo>
                    <a:pt x="235" y="383"/>
                  </a:lnTo>
                  <a:lnTo>
                    <a:pt x="232" y="383"/>
                  </a:lnTo>
                  <a:lnTo>
                    <a:pt x="232" y="385"/>
                  </a:lnTo>
                  <a:lnTo>
                    <a:pt x="230" y="385"/>
                  </a:lnTo>
                  <a:lnTo>
                    <a:pt x="230" y="383"/>
                  </a:lnTo>
                  <a:lnTo>
                    <a:pt x="230" y="385"/>
                  </a:lnTo>
                  <a:lnTo>
                    <a:pt x="230" y="383"/>
                  </a:lnTo>
                  <a:lnTo>
                    <a:pt x="230" y="385"/>
                  </a:lnTo>
                  <a:lnTo>
                    <a:pt x="230" y="383"/>
                  </a:lnTo>
                  <a:lnTo>
                    <a:pt x="232" y="383"/>
                  </a:lnTo>
                  <a:lnTo>
                    <a:pt x="232" y="380"/>
                  </a:lnTo>
                  <a:lnTo>
                    <a:pt x="232" y="383"/>
                  </a:lnTo>
                  <a:lnTo>
                    <a:pt x="235" y="383"/>
                  </a:lnTo>
                  <a:lnTo>
                    <a:pt x="232" y="383"/>
                  </a:lnTo>
                  <a:lnTo>
                    <a:pt x="235" y="383"/>
                  </a:lnTo>
                  <a:lnTo>
                    <a:pt x="235" y="380"/>
                  </a:lnTo>
                  <a:lnTo>
                    <a:pt x="237" y="380"/>
                  </a:lnTo>
                  <a:lnTo>
                    <a:pt x="235" y="380"/>
                  </a:lnTo>
                  <a:lnTo>
                    <a:pt x="237" y="380"/>
                  </a:lnTo>
                  <a:close/>
                  <a:moveTo>
                    <a:pt x="249" y="380"/>
                  </a:moveTo>
                  <a:lnTo>
                    <a:pt x="251" y="380"/>
                  </a:lnTo>
                  <a:lnTo>
                    <a:pt x="249" y="380"/>
                  </a:lnTo>
                  <a:close/>
                  <a:moveTo>
                    <a:pt x="235" y="380"/>
                  </a:moveTo>
                  <a:lnTo>
                    <a:pt x="232" y="380"/>
                  </a:lnTo>
                  <a:lnTo>
                    <a:pt x="235" y="380"/>
                  </a:lnTo>
                  <a:lnTo>
                    <a:pt x="232" y="380"/>
                  </a:lnTo>
                  <a:lnTo>
                    <a:pt x="235" y="380"/>
                  </a:lnTo>
                  <a:close/>
                  <a:moveTo>
                    <a:pt x="232" y="380"/>
                  </a:moveTo>
                  <a:lnTo>
                    <a:pt x="232" y="378"/>
                  </a:lnTo>
                  <a:lnTo>
                    <a:pt x="235" y="380"/>
                  </a:lnTo>
                  <a:lnTo>
                    <a:pt x="232" y="380"/>
                  </a:lnTo>
                  <a:close/>
                  <a:moveTo>
                    <a:pt x="242" y="378"/>
                  </a:moveTo>
                  <a:lnTo>
                    <a:pt x="242" y="380"/>
                  </a:lnTo>
                  <a:lnTo>
                    <a:pt x="242" y="378"/>
                  </a:lnTo>
                  <a:close/>
                  <a:moveTo>
                    <a:pt x="237" y="378"/>
                  </a:moveTo>
                  <a:lnTo>
                    <a:pt x="237" y="380"/>
                  </a:lnTo>
                  <a:lnTo>
                    <a:pt x="237" y="378"/>
                  </a:lnTo>
                  <a:lnTo>
                    <a:pt x="235" y="378"/>
                  </a:lnTo>
                  <a:lnTo>
                    <a:pt x="237" y="378"/>
                  </a:lnTo>
                  <a:close/>
                  <a:moveTo>
                    <a:pt x="249" y="378"/>
                  </a:moveTo>
                  <a:lnTo>
                    <a:pt x="249" y="380"/>
                  </a:lnTo>
                  <a:lnTo>
                    <a:pt x="249" y="378"/>
                  </a:lnTo>
                  <a:close/>
                  <a:moveTo>
                    <a:pt x="254" y="376"/>
                  </a:moveTo>
                  <a:lnTo>
                    <a:pt x="256" y="376"/>
                  </a:lnTo>
                  <a:lnTo>
                    <a:pt x="256" y="378"/>
                  </a:lnTo>
                  <a:lnTo>
                    <a:pt x="254" y="378"/>
                  </a:lnTo>
                  <a:lnTo>
                    <a:pt x="256" y="378"/>
                  </a:lnTo>
                  <a:lnTo>
                    <a:pt x="254" y="378"/>
                  </a:lnTo>
                  <a:lnTo>
                    <a:pt x="254" y="376"/>
                  </a:lnTo>
                  <a:close/>
                  <a:moveTo>
                    <a:pt x="251" y="378"/>
                  </a:moveTo>
                  <a:lnTo>
                    <a:pt x="251" y="376"/>
                  </a:lnTo>
                  <a:lnTo>
                    <a:pt x="251" y="378"/>
                  </a:lnTo>
                  <a:close/>
                  <a:moveTo>
                    <a:pt x="254" y="376"/>
                  </a:moveTo>
                  <a:lnTo>
                    <a:pt x="251" y="376"/>
                  </a:lnTo>
                  <a:lnTo>
                    <a:pt x="251" y="378"/>
                  </a:lnTo>
                  <a:lnTo>
                    <a:pt x="251" y="376"/>
                  </a:lnTo>
                  <a:lnTo>
                    <a:pt x="254" y="376"/>
                  </a:lnTo>
                  <a:close/>
                  <a:moveTo>
                    <a:pt x="249" y="376"/>
                  </a:moveTo>
                  <a:lnTo>
                    <a:pt x="247" y="376"/>
                  </a:lnTo>
                  <a:lnTo>
                    <a:pt x="249" y="376"/>
                  </a:lnTo>
                  <a:close/>
                  <a:moveTo>
                    <a:pt x="247" y="376"/>
                  </a:moveTo>
                  <a:lnTo>
                    <a:pt x="247" y="378"/>
                  </a:lnTo>
                  <a:lnTo>
                    <a:pt x="247" y="380"/>
                  </a:lnTo>
                  <a:lnTo>
                    <a:pt x="244" y="380"/>
                  </a:lnTo>
                  <a:lnTo>
                    <a:pt x="247" y="380"/>
                  </a:lnTo>
                  <a:lnTo>
                    <a:pt x="244" y="380"/>
                  </a:lnTo>
                  <a:lnTo>
                    <a:pt x="242" y="380"/>
                  </a:lnTo>
                  <a:lnTo>
                    <a:pt x="244" y="380"/>
                  </a:lnTo>
                  <a:lnTo>
                    <a:pt x="242" y="380"/>
                  </a:lnTo>
                  <a:lnTo>
                    <a:pt x="244" y="380"/>
                  </a:lnTo>
                  <a:lnTo>
                    <a:pt x="244" y="378"/>
                  </a:lnTo>
                  <a:lnTo>
                    <a:pt x="242" y="378"/>
                  </a:lnTo>
                  <a:lnTo>
                    <a:pt x="244" y="378"/>
                  </a:lnTo>
                  <a:lnTo>
                    <a:pt x="244" y="376"/>
                  </a:lnTo>
                  <a:lnTo>
                    <a:pt x="247" y="376"/>
                  </a:lnTo>
                  <a:close/>
                  <a:moveTo>
                    <a:pt x="249" y="376"/>
                  </a:moveTo>
                  <a:lnTo>
                    <a:pt x="251" y="376"/>
                  </a:lnTo>
                  <a:lnTo>
                    <a:pt x="249" y="376"/>
                  </a:lnTo>
                  <a:close/>
                  <a:moveTo>
                    <a:pt x="251" y="373"/>
                  </a:moveTo>
                  <a:lnTo>
                    <a:pt x="251" y="376"/>
                  </a:lnTo>
                  <a:lnTo>
                    <a:pt x="251" y="373"/>
                  </a:lnTo>
                  <a:lnTo>
                    <a:pt x="251" y="376"/>
                  </a:lnTo>
                  <a:lnTo>
                    <a:pt x="251" y="373"/>
                  </a:lnTo>
                  <a:close/>
                  <a:moveTo>
                    <a:pt x="258" y="373"/>
                  </a:moveTo>
                  <a:lnTo>
                    <a:pt x="256" y="373"/>
                  </a:lnTo>
                  <a:lnTo>
                    <a:pt x="258" y="373"/>
                  </a:lnTo>
                  <a:close/>
                  <a:moveTo>
                    <a:pt x="256" y="373"/>
                  </a:moveTo>
                  <a:lnTo>
                    <a:pt x="254" y="373"/>
                  </a:lnTo>
                  <a:lnTo>
                    <a:pt x="254" y="376"/>
                  </a:lnTo>
                  <a:lnTo>
                    <a:pt x="254" y="373"/>
                  </a:lnTo>
                  <a:lnTo>
                    <a:pt x="254" y="376"/>
                  </a:lnTo>
                  <a:lnTo>
                    <a:pt x="254" y="373"/>
                  </a:lnTo>
                  <a:lnTo>
                    <a:pt x="256" y="373"/>
                  </a:lnTo>
                  <a:close/>
                  <a:moveTo>
                    <a:pt x="254" y="373"/>
                  </a:moveTo>
                  <a:lnTo>
                    <a:pt x="251" y="373"/>
                  </a:lnTo>
                  <a:lnTo>
                    <a:pt x="254" y="373"/>
                  </a:lnTo>
                  <a:close/>
                  <a:moveTo>
                    <a:pt x="254" y="371"/>
                  </a:moveTo>
                  <a:lnTo>
                    <a:pt x="256" y="373"/>
                  </a:lnTo>
                  <a:lnTo>
                    <a:pt x="254" y="373"/>
                  </a:lnTo>
                  <a:lnTo>
                    <a:pt x="254" y="371"/>
                  </a:lnTo>
                  <a:close/>
                  <a:moveTo>
                    <a:pt x="247" y="373"/>
                  </a:moveTo>
                  <a:lnTo>
                    <a:pt x="247" y="371"/>
                  </a:lnTo>
                  <a:lnTo>
                    <a:pt x="247" y="373"/>
                  </a:lnTo>
                  <a:close/>
                  <a:moveTo>
                    <a:pt x="254" y="371"/>
                  </a:moveTo>
                  <a:lnTo>
                    <a:pt x="251" y="373"/>
                  </a:lnTo>
                  <a:lnTo>
                    <a:pt x="254" y="373"/>
                  </a:lnTo>
                  <a:lnTo>
                    <a:pt x="251" y="373"/>
                  </a:lnTo>
                  <a:lnTo>
                    <a:pt x="254" y="371"/>
                  </a:lnTo>
                  <a:close/>
                  <a:moveTo>
                    <a:pt x="249" y="371"/>
                  </a:moveTo>
                  <a:lnTo>
                    <a:pt x="247" y="371"/>
                  </a:lnTo>
                  <a:lnTo>
                    <a:pt x="249" y="371"/>
                  </a:lnTo>
                  <a:close/>
                  <a:moveTo>
                    <a:pt x="256" y="371"/>
                  </a:moveTo>
                  <a:lnTo>
                    <a:pt x="254" y="371"/>
                  </a:lnTo>
                  <a:lnTo>
                    <a:pt x="256" y="371"/>
                  </a:lnTo>
                  <a:lnTo>
                    <a:pt x="254" y="371"/>
                  </a:lnTo>
                  <a:lnTo>
                    <a:pt x="254" y="373"/>
                  </a:lnTo>
                  <a:lnTo>
                    <a:pt x="254" y="371"/>
                  </a:lnTo>
                  <a:lnTo>
                    <a:pt x="256" y="371"/>
                  </a:lnTo>
                  <a:close/>
                  <a:moveTo>
                    <a:pt x="244" y="371"/>
                  </a:moveTo>
                  <a:lnTo>
                    <a:pt x="247" y="371"/>
                  </a:lnTo>
                  <a:lnTo>
                    <a:pt x="244" y="371"/>
                  </a:lnTo>
                  <a:close/>
                  <a:moveTo>
                    <a:pt x="256" y="368"/>
                  </a:moveTo>
                  <a:lnTo>
                    <a:pt x="256" y="371"/>
                  </a:lnTo>
                  <a:lnTo>
                    <a:pt x="256" y="368"/>
                  </a:lnTo>
                  <a:lnTo>
                    <a:pt x="256" y="371"/>
                  </a:lnTo>
                  <a:lnTo>
                    <a:pt x="256" y="368"/>
                  </a:lnTo>
                  <a:close/>
                  <a:moveTo>
                    <a:pt x="258" y="368"/>
                  </a:moveTo>
                  <a:lnTo>
                    <a:pt x="256" y="368"/>
                  </a:lnTo>
                  <a:lnTo>
                    <a:pt x="258" y="368"/>
                  </a:lnTo>
                  <a:close/>
                  <a:moveTo>
                    <a:pt x="244" y="368"/>
                  </a:moveTo>
                  <a:lnTo>
                    <a:pt x="242" y="368"/>
                  </a:lnTo>
                  <a:lnTo>
                    <a:pt x="244" y="368"/>
                  </a:lnTo>
                  <a:close/>
                  <a:moveTo>
                    <a:pt x="261" y="366"/>
                  </a:moveTo>
                  <a:lnTo>
                    <a:pt x="263" y="366"/>
                  </a:lnTo>
                  <a:lnTo>
                    <a:pt x="261" y="366"/>
                  </a:lnTo>
                  <a:close/>
                  <a:moveTo>
                    <a:pt x="263" y="366"/>
                  </a:moveTo>
                  <a:lnTo>
                    <a:pt x="261" y="366"/>
                  </a:lnTo>
                  <a:lnTo>
                    <a:pt x="263" y="366"/>
                  </a:lnTo>
                  <a:close/>
                  <a:moveTo>
                    <a:pt x="261" y="366"/>
                  </a:moveTo>
                  <a:lnTo>
                    <a:pt x="258" y="366"/>
                  </a:lnTo>
                  <a:lnTo>
                    <a:pt x="261" y="366"/>
                  </a:lnTo>
                  <a:close/>
                  <a:moveTo>
                    <a:pt x="258" y="366"/>
                  </a:moveTo>
                  <a:lnTo>
                    <a:pt x="256" y="366"/>
                  </a:lnTo>
                  <a:lnTo>
                    <a:pt x="258" y="366"/>
                  </a:lnTo>
                  <a:lnTo>
                    <a:pt x="258" y="368"/>
                  </a:lnTo>
                  <a:lnTo>
                    <a:pt x="256" y="368"/>
                  </a:lnTo>
                  <a:lnTo>
                    <a:pt x="258" y="368"/>
                  </a:lnTo>
                  <a:lnTo>
                    <a:pt x="256" y="368"/>
                  </a:lnTo>
                  <a:lnTo>
                    <a:pt x="254" y="368"/>
                  </a:lnTo>
                  <a:lnTo>
                    <a:pt x="256" y="368"/>
                  </a:lnTo>
                  <a:lnTo>
                    <a:pt x="256" y="366"/>
                  </a:lnTo>
                  <a:lnTo>
                    <a:pt x="256" y="368"/>
                  </a:lnTo>
                  <a:lnTo>
                    <a:pt x="256" y="366"/>
                  </a:lnTo>
                  <a:lnTo>
                    <a:pt x="258" y="366"/>
                  </a:lnTo>
                  <a:close/>
                  <a:moveTo>
                    <a:pt x="258" y="366"/>
                  </a:moveTo>
                  <a:lnTo>
                    <a:pt x="261" y="366"/>
                  </a:lnTo>
                  <a:lnTo>
                    <a:pt x="258" y="366"/>
                  </a:lnTo>
                  <a:close/>
                  <a:moveTo>
                    <a:pt x="268" y="366"/>
                  </a:moveTo>
                  <a:lnTo>
                    <a:pt x="270" y="366"/>
                  </a:lnTo>
                  <a:lnTo>
                    <a:pt x="268" y="366"/>
                  </a:lnTo>
                  <a:close/>
                  <a:moveTo>
                    <a:pt x="261" y="366"/>
                  </a:moveTo>
                  <a:lnTo>
                    <a:pt x="258" y="366"/>
                  </a:lnTo>
                  <a:lnTo>
                    <a:pt x="261" y="366"/>
                  </a:lnTo>
                  <a:lnTo>
                    <a:pt x="261" y="364"/>
                  </a:lnTo>
                  <a:lnTo>
                    <a:pt x="261" y="366"/>
                  </a:lnTo>
                  <a:close/>
                  <a:moveTo>
                    <a:pt x="261" y="364"/>
                  </a:moveTo>
                  <a:lnTo>
                    <a:pt x="263" y="364"/>
                  </a:lnTo>
                  <a:lnTo>
                    <a:pt x="261" y="364"/>
                  </a:lnTo>
                  <a:lnTo>
                    <a:pt x="258" y="364"/>
                  </a:lnTo>
                  <a:lnTo>
                    <a:pt x="261" y="364"/>
                  </a:lnTo>
                  <a:lnTo>
                    <a:pt x="258" y="364"/>
                  </a:lnTo>
                  <a:lnTo>
                    <a:pt x="261" y="364"/>
                  </a:lnTo>
                  <a:close/>
                  <a:moveTo>
                    <a:pt x="242" y="361"/>
                  </a:moveTo>
                  <a:lnTo>
                    <a:pt x="242" y="364"/>
                  </a:lnTo>
                  <a:lnTo>
                    <a:pt x="242" y="361"/>
                  </a:lnTo>
                  <a:close/>
                  <a:moveTo>
                    <a:pt x="268" y="361"/>
                  </a:moveTo>
                  <a:lnTo>
                    <a:pt x="268" y="364"/>
                  </a:lnTo>
                  <a:lnTo>
                    <a:pt x="268" y="361"/>
                  </a:lnTo>
                  <a:close/>
                  <a:moveTo>
                    <a:pt x="254" y="361"/>
                  </a:moveTo>
                  <a:lnTo>
                    <a:pt x="256" y="361"/>
                  </a:lnTo>
                  <a:lnTo>
                    <a:pt x="256" y="364"/>
                  </a:lnTo>
                  <a:lnTo>
                    <a:pt x="256" y="366"/>
                  </a:lnTo>
                  <a:lnTo>
                    <a:pt x="254" y="366"/>
                  </a:lnTo>
                  <a:lnTo>
                    <a:pt x="254" y="364"/>
                  </a:lnTo>
                  <a:lnTo>
                    <a:pt x="254" y="366"/>
                  </a:lnTo>
                  <a:lnTo>
                    <a:pt x="254" y="364"/>
                  </a:lnTo>
                  <a:lnTo>
                    <a:pt x="254" y="366"/>
                  </a:lnTo>
                  <a:lnTo>
                    <a:pt x="254" y="364"/>
                  </a:lnTo>
                  <a:lnTo>
                    <a:pt x="254" y="361"/>
                  </a:lnTo>
                  <a:lnTo>
                    <a:pt x="251" y="361"/>
                  </a:lnTo>
                  <a:lnTo>
                    <a:pt x="254" y="361"/>
                  </a:lnTo>
                  <a:close/>
                  <a:moveTo>
                    <a:pt x="247" y="361"/>
                  </a:moveTo>
                  <a:lnTo>
                    <a:pt x="244" y="361"/>
                  </a:lnTo>
                  <a:lnTo>
                    <a:pt x="247" y="361"/>
                  </a:lnTo>
                  <a:lnTo>
                    <a:pt x="244" y="361"/>
                  </a:lnTo>
                  <a:lnTo>
                    <a:pt x="247" y="361"/>
                  </a:lnTo>
                  <a:close/>
                  <a:moveTo>
                    <a:pt x="258" y="361"/>
                  </a:moveTo>
                  <a:lnTo>
                    <a:pt x="256" y="361"/>
                  </a:lnTo>
                  <a:lnTo>
                    <a:pt x="258" y="361"/>
                  </a:lnTo>
                  <a:close/>
                  <a:moveTo>
                    <a:pt x="254" y="361"/>
                  </a:moveTo>
                  <a:lnTo>
                    <a:pt x="256" y="361"/>
                  </a:lnTo>
                  <a:lnTo>
                    <a:pt x="254" y="361"/>
                  </a:lnTo>
                  <a:close/>
                  <a:moveTo>
                    <a:pt x="258" y="361"/>
                  </a:moveTo>
                  <a:lnTo>
                    <a:pt x="256" y="361"/>
                  </a:lnTo>
                  <a:lnTo>
                    <a:pt x="258" y="361"/>
                  </a:lnTo>
                  <a:close/>
                  <a:moveTo>
                    <a:pt x="235" y="361"/>
                  </a:moveTo>
                  <a:lnTo>
                    <a:pt x="237" y="361"/>
                  </a:lnTo>
                  <a:lnTo>
                    <a:pt x="239" y="361"/>
                  </a:lnTo>
                  <a:lnTo>
                    <a:pt x="237" y="361"/>
                  </a:lnTo>
                  <a:lnTo>
                    <a:pt x="239" y="361"/>
                  </a:lnTo>
                  <a:lnTo>
                    <a:pt x="239" y="364"/>
                  </a:lnTo>
                  <a:lnTo>
                    <a:pt x="237" y="364"/>
                  </a:lnTo>
                  <a:lnTo>
                    <a:pt x="235" y="361"/>
                  </a:lnTo>
                  <a:close/>
                  <a:moveTo>
                    <a:pt x="244" y="361"/>
                  </a:moveTo>
                  <a:lnTo>
                    <a:pt x="247" y="361"/>
                  </a:lnTo>
                  <a:lnTo>
                    <a:pt x="244" y="361"/>
                  </a:lnTo>
                  <a:lnTo>
                    <a:pt x="242" y="361"/>
                  </a:lnTo>
                  <a:lnTo>
                    <a:pt x="244" y="361"/>
                  </a:lnTo>
                  <a:close/>
                  <a:moveTo>
                    <a:pt x="258" y="361"/>
                  </a:moveTo>
                  <a:lnTo>
                    <a:pt x="256" y="361"/>
                  </a:lnTo>
                  <a:lnTo>
                    <a:pt x="258" y="361"/>
                  </a:lnTo>
                  <a:close/>
                  <a:moveTo>
                    <a:pt x="237" y="361"/>
                  </a:moveTo>
                  <a:lnTo>
                    <a:pt x="235" y="361"/>
                  </a:lnTo>
                  <a:lnTo>
                    <a:pt x="237" y="361"/>
                  </a:lnTo>
                  <a:close/>
                  <a:moveTo>
                    <a:pt x="256" y="361"/>
                  </a:moveTo>
                  <a:lnTo>
                    <a:pt x="256" y="359"/>
                  </a:lnTo>
                  <a:lnTo>
                    <a:pt x="256" y="361"/>
                  </a:lnTo>
                  <a:close/>
                  <a:moveTo>
                    <a:pt x="256" y="361"/>
                  </a:moveTo>
                  <a:lnTo>
                    <a:pt x="256" y="359"/>
                  </a:lnTo>
                  <a:lnTo>
                    <a:pt x="256" y="361"/>
                  </a:lnTo>
                  <a:close/>
                  <a:moveTo>
                    <a:pt x="249" y="359"/>
                  </a:moveTo>
                  <a:lnTo>
                    <a:pt x="249" y="361"/>
                  </a:lnTo>
                  <a:lnTo>
                    <a:pt x="249" y="359"/>
                  </a:lnTo>
                  <a:lnTo>
                    <a:pt x="249" y="361"/>
                  </a:lnTo>
                  <a:lnTo>
                    <a:pt x="249" y="359"/>
                  </a:lnTo>
                  <a:close/>
                  <a:moveTo>
                    <a:pt x="263" y="359"/>
                  </a:moveTo>
                  <a:lnTo>
                    <a:pt x="263" y="361"/>
                  </a:lnTo>
                  <a:lnTo>
                    <a:pt x="263" y="364"/>
                  </a:lnTo>
                  <a:lnTo>
                    <a:pt x="263" y="361"/>
                  </a:lnTo>
                  <a:lnTo>
                    <a:pt x="261" y="361"/>
                  </a:lnTo>
                  <a:lnTo>
                    <a:pt x="263" y="361"/>
                  </a:lnTo>
                  <a:lnTo>
                    <a:pt x="261" y="361"/>
                  </a:lnTo>
                  <a:lnTo>
                    <a:pt x="263" y="361"/>
                  </a:lnTo>
                  <a:lnTo>
                    <a:pt x="261" y="361"/>
                  </a:lnTo>
                  <a:lnTo>
                    <a:pt x="261" y="359"/>
                  </a:lnTo>
                  <a:lnTo>
                    <a:pt x="263" y="359"/>
                  </a:lnTo>
                  <a:close/>
                  <a:moveTo>
                    <a:pt x="256" y="359"/>
                  </a:moveTo>
                  <a:lnTo>
                    <a:pt x="258" y="359"/>
                  </a:lnTo>
                  <a:lnTo>
                    <a:pt x="256" y="359"/>
                  </a:lnTo>
                  <a:lnTo>
                    <a:pt x="258" y="359"/>
                  </a:lnTo>
                  <a:lnTo>
                    <a:pt x="258" y="361"/>
                  </a:lnTo>
                  <a:lnTo>
                    <a:pt x="256" y="359"/>
                  </a:lnTo>
                  <a:close/>
                  <a:moveTo>
                    <a:pt x="242" y="359"/>
                  </a:moveTo>
                  <a:lnTo>
                    <a:pt x="244" y="359"/>
                  </a:lnTo>
                  <a:lnTo>
                    <a:pt x="242" y="359"/>
                  </a:lnTo>
                  <a:close/>
                  <a:moveTo>
                    <a:pt x="249" y="359"/>
                  </a:moveTo>
                  <a:lnTo>
                    <a:pt x="251" y="359"/>
                  </a:lnTo>
                  <a:lnTo>
                    <a:pt x="249" y="359"/>
                  </a:lnTo>
                  <a:close/>
                  <a:moveTo>
                    <a:pt x="258" y="359"/>
                  </a:moveTo>
                  <a:lnTo>
                    <a:pt x="256" y="359"/>
                  </a:lnTo>
                  <a:lnTo>
                    <a:pt x="258" y="359"/>
                  </a:lnTo>
                  <a:close/>
                  <a:moveTo>
                    <a:pt x="244" y="359"/>
                  </a:moveTo>
                  <a:lnTo>
                    <a:pt x="244" y="361"/>
                  </a:lnTo>
                  <a:lnTo>
                    <a:pt x="247" y="361"/>
                  </a:lnTo>
                  <a:lnTo>
                    <a:pt x="244" y="361"/>
                  </a:lnTo>
                  <a:lnTo>
                    <a:pt x="244" y="359"/>
                  </a:lnTo>
                  <a:close/>
                  <a:moveTo>
                    <a:pt x="263" y="359"/>
                  </a:moveTo>
                  <a:lnTo>
                    <a:pt x="263" y="361"/>
                  </a:lnTo>
                  <a:lnTo>
                    <a:pt x="263" y="359"/>
                  </a:lnTo>
                  <a:close/>
                  <a:moveTo>
                    <a:pt x="256" y="359"/>
                  </a:moveTo>
                  <a:lnTo>
                    <a:pt x="254" y="359"/>
                  </a:lnTo>
                  <a:lnTo>
                    <a:pt x="256" y="359"/>
                  </a:lnTo>
                  <a:lnTo>
                    <a:pt x="254" y="359"/>
                  </a:lnTo>
                  <a:lnTo>
                    <a:pt x="256" y="359"/>
                  </a:lnTo>
                  <a:lnTo>
                    <a:pt x="254" y="359"/>
                  </a:lnTo>
                  <a:lnTo>
                    <a:pt x="256" y="359"/>
                  </a:lnTo>
                  <a:close/>
                  <a:moveTo>
                    <a:pt x="273" y="359"/>
                  </a:moveTo>
                  <a:lnTo>
                    <a:pt x="270" y="359"/>
                  </a:lnTo>
                  <a:lnTo>
                    <a:pt x="273" y="359"/>
                  </a:lnTo>
                  <a:close/>
                  <a:moveTo>
                    <a:pt x="251" y="359"/>
                  </a:moveTo>
                  <a:lnTo>
                    <a:pt x="254" y="359"/>
                  </a:lnTo>
                  <a:lnTo>
                    <a:pt x="254" y="361"/>
                  </a:lnTo>
                  <a:lnTo>
                    <a:pt x="254" y="359"/>
                  </a:lnTo>
                  <a:lnTo>
                    <a:pt x="254" y="361"/>
                  </a:lnTo>
                  <a:lnTo>
                    <a:pt x="254" y="359"/>
                  </a:lnTo>
                  <a:lnTo>
                    <a:pt x="254" y="361"/>
                  </a:lnTo>
                  <a:lnTo>
                    <a:pt x="251" y="361"/>
                  </a:lnTo>
                  <a:lnTo>
                    <a:pt x="254" y="361"/>
                  </a:lnTo>
                  <a:lnTo>
                    <a:pt x="251" y="361"/>
                  </a:lnTo>
                  <a:lnTo>
                    <a:pt x="254" y="361"/>
                  </a:lnTo>
                  <a:lnTo>
                    <a:pt x="251" y="361"/>
                  </a:lnTo>
                  <a:lnTo>
                    <a:pt x="251" y="359"/>
                  </a:lnTo>
                  <a:lnTo>
                    <a:pt x="254" y="359"/>
                  </a:lnTo>
                  <a:lnTo>
                    <a:pt x="251" y="359"/>
                  </a:lnTo>
                  <a:lnTo>
                    <a:pt x="254" y="359"/>
                  </a:lnTo>
                  <a:lnTo>
                    <a:pt x="251" y="359"/>
                  </a:lnTo>
                  <a:close/>
                  <a:moveTo>
                    <a:pt x="247" y="359"/>
                  </a:moveTo>
                  <a:lnTo>
                    <a:pt x="249" y="359"/>
                  </a:lnTo>
                  <a:lnTo>
                    <a:pt x="247" y="359"/>
                  </a:lnTo>
                  <a:close/>
                  <a:moveTo>
                    <a:pt x="254" y="359"/>
                  </a:moveTo>
                  <a:lnTo>
                    <a:pt x="251" y="359"/>
                  </a:lnTo>
                  <a:lnTo>
                    <a:pt x="254" y="359"/>
                  </a:lnTo>
                  <a:close/>
                  <a:moveTo>
                    <a:pt x="256" y="359"/>
                  </a:moveTo>
                  <a:lnTo>
                    <a:pt x="254" y="359"/>
                  </a:lnTo>
                  <a:lnTo>
                    <a:pt x="256" y="359"/>
                  </a:lnTo>
                  <a:close/>
                  <a:moveTo>
                    <a:pt x="247" y="359"/>
                  </a:moveTo>
                  <a:lnTo>
                    <a:pt x="244" y="359"/>
                  </a:lnTo>
                  <a:lnTo>
                    <a:pt x="247" y="359"/>
                  </a:lnTo>
                  <a:close/>
                  <a:moveTo>
                    <a:pt x="242" y="359"/>
                  </a:moveTo>
                  <a:lnTo>
                    <a:pt x="244" y="359"/>
                  </a:lnTo>
                  <a:lnTo>
                    <a:pt x="242" y="359"/>
                  </a:lnTo>
                  <a:close/>
                  <a:moveTo>
                    <a:pt x="261" y="359"/>
                  </a:moveTo>
                  <a:lnTo>
                    <a:pt x="263" y="359"/>
                  </a:lnTo>
                  <a:lnTo>
                    <a:pt x="261" y="359"/>
                  </a:lnTo>
                  <a:lnTo>
                    <a:pt x="261" y="361"/>
                  </a:lnTo>
                  <a:lnTo>
                    <a:pt x="261" y="359"/>
                  </a:lnTo>
                  <a:lnTo>
                    <a:pt x="261" y="361"/>
                  </a:lnTo>
                  <a:lnTo>
                    <a:pt x="258" y="361"/>
                  </a:lnTo>
                  <a:lnTo>
                    <a:pt x="258" y="359"/>
                  </a:lnTo>
                  <a:lnTo>
                    <a:pt x="261" y="359"/>
                  </a:lnTo>
                  <a:lnTo>
                    <a:pt x="258" y="359"/>
                  </a:lnTo>
                  <a:lnTo>
                    <a:pt x="261" y="359"/>
                  </a:lnTo>
                  <a:lnTo>
                    <a:pt x="258" y="359"/>
                  </a:lnTo>
                  <a:lnTo>
                    <a:pt x="261" y="359"/>
                  </a:lnTo>
                  <a:close/>
                  <a:moveTo>
                    <a:pt x="282" y="359"/>
                  </a:moveTo>
                  <a:lnTo>
                    <a:pt x="280" y="359"/>
                  </a:lnTo>
                  <a:lnTo>
                    <a:pt x="280" y="357"/>
                  </a:lnTo>
                  <a:lnTo>
                    <a:pt x="282" y="357"/>
                  </a:lnTo>
                  <a:lnTo>
                    <a:pt x="282" y="359"/>
                  </a:lnTo>
                  <a:close/>
                  <a:moveTo>
                    <a:pt x="256" y="357"/>
                  </a:moveTo>
                  <a:lnTo>
                    <a:pt x="256" y="359"/>
                  </a:lnTo>
                  <a:lnTo>
                    <a:pt x="256" y="357"/>
                  </a:lnTo>
                  <a:close/>
                  <a:moveTo>
                    <a:pt x="270" y="359"/>
                  </a:moveTo>
                  <a:lnTo>
                    <a:pt x="273" y="359"/>
                  </a:lnTo>
                  <a:lnTo>
                    <a:pt x="273" y="357"/>
                  </a:lnTo>
                  <a:lnTo>
                    <a:pt x="273" y="359"/>
                  </a:lnTo>
                  <a:lnTo>
                    <a:pt x="270" y="359"/>
                  </a:lnTo>
                  <a:lnTo>
                    <a:pt x="273" y="359"/>
                  </a:lnTo>
                  <a:lnTo>
                    <a:pt x="270" y="359"/>
                  </a:lnTo>
                  <a:lnTo>
                    <a:pt x="270" y="357"/>
                  </a:lnTo>
                  <a:lnTo>
                    <a:pt x="273" y="357"/>
                  </a:lnTo>
                  <a:lnTo>
                    <a:pt x="270" y="357"/>
                  </a:lnTo>
                  <a:lnTo>
                    <a:pt x="270" y="359"/>
                  </a:lnTo>
                  <a:close/>
                  <a:moveTo>
                    <a:pt x="258" y="357"/>
                  </a:moveTo>
                  <a:lnTo>
                    <a:pt x="258" y="359"/>
                  </a:lnTo>
                  <a:lnTo>
                    <a:pt x="256" y="359"/>
                  </a:lnTo>
                  <a:lnTo>
                    <a:pt x="258" y="359"/>
                  </a:lnTo>
                  <a:lnTo>
                    <a:pt x="258" y="357"/>
                  </a:lnTo>
                  <a:close/>
                  <a:moveTo>
                    <a:pt x="244" y="359"/>
                  </a:moveTo>
                  <a:lnTo>
                    <a:pt x="244" y="357"/>
                  </a:lnTo>
                  <a:lnTo>
                    <a:pt x="244" y="359"/>
                  </a:lnTo>
                  <a:close/>
                  <a:moveTo>
                    <a:pt x="247" y="357"/>
                  </a:moveTo>
                  <a:lnTo>
                    <a:pt x="247" y="359"/>
                  </a:lnTo>
                  <a:lnTo>
                    <a:pt x="247" y="357"/>
                  </a:lnTo>
                  <a:close/>
                  <a:moveTo>
                    <a:pt x="256" y="357"/>
                  </a:moveTo>
                  <a:lnTo>
                    <a:pt x="254" y="357"/>
                  </a:lnTo>
                  <a:lnTo>
                    <a:pt x="254" y="359"/>
                  </a:lnTo>
                  <a:lnTo>
                    <a:pt x="256" y="359"/>
                  </a:lnTo>
                  <a:lnTo>
                    <a:pt x="254" y="359"/>
                  </a:lnTo>
                  <a:lnTo>
                    <a:pt x="254" y="357"/>
                  </a:lnTo>
                  <a:lnTo>
                    <a:pt x="256" y="357"/>
                  </a:lnTo>
                  <a:close/>
                  <a:moveTo>
                    <a:pt x="247" y="357"/>
                  </a:moveTo>
                  <a:lnTo>
                    <a:pt x="244" y="357"/>
                  </a:lnTo>
                  <a:lnTo>
                    <a:pt x="247" y="357"/>
                  </a:lnTo>
                  <a:close/>
                  <a:moveTo>
                    <a:pt x="254" y="357"/>
                  </a:moveTo>
                  <a:lnTo>
                    <a:pt x="251" y="357"/>
                  </a:lnTo>
                  <a:lnTo>
                    <a:pt x="254" y="357"/>
                  </a:lnTo>
                  <a:close/>
                  <a:moveTo>
                    <a:pt x="258" y="357"/>
                  </a:moveTo>
                  <a:lnTo>
                    <a:pt x="256" y="357"/>
                  </a:lnTo>
                  <a:lnTo>
                    <a:pt x="254" y="357"/>
                  </a:lnTo>
                  <a:lnTo>
                    <a:pt x="256" y="357"/>
                  </a:lnTo>
                  <a:lnTo>
                    <a:pt x="258" y="357"/>
                  </a:lnTo>
                  <a:close/>
                  <a:moveTo>
                    <a:pt x="256" y="357"/>
                  </a:moveTo>
                  <a:lnTo>
                    <a:pt x="256" y="354"/>
                  </a:lnTo>
                  <a:lnTo>
                    <a:pt x="256" y="357"/>
                  </a:lnTo>
                  <a:close/>
                  <a:moveTo>
                    <a:pt x="261" y="354"/>
                  </a:moveTo>
                  <a:lnTo>
                    <a:pt x="261" y="357"/>
                  </a:lnTo>
                  <a:lnTo>
                    <a:pt x="261" y="354"/>
                  </a:lnTo>
                  <a:lnTo>
                    <a:pt x="261" y="357"/>
                  </a:lnTo>
                  <a:lnTo>
                    <a:pt x="258" y="357"/>
                  </a:lnTo>
                  <a:lnTo>
                    <a:pt x="258" y="354"/>
                  </a:lnTo>
                  <a:lnTo>
                    <a:pt x="261" y="354"/>
                  </a:lnTo>
                  <a:close/>
                  <a:moveTo>
                    <a:pt x="249" y="354"/>
                  </a:moveTo>
                  <a:lnTo>
                    <a:pt x="247" y="354"/>
                  </a:lnTo>
                  <a:lnTo>
                    <a:pt x="249" y="354"/>
                  </a:lnTo>
                  <a:close/>
                  <a:moveTo>
                    <a:pt x="275" y="354"/>
                  </a:moveTo>
                  <a:lnTo>
                    <a:pt x="277" y="354"/>
                  </a:lnTo>
                  <a:lnTo>
                    <a:pt x="275" y="354"/>
                  </a:lnTo>
                  <a:close/>
                  <a:moveTo>
                    <a:pt x="261" y="354"/>
                  </a:moveTo>
                  <a:lnTo>
                    <a:pt x="258" y="354"/>
                  </a:lnTo>
                  <a:lnTo>
                    <a:pt x="261" y="354"/>
                  </a:lnTo>
                  <a:lnTo>
                    <a:pt x="258" y="354"/>
                  </a:lnTo>
                  <a:lnTo>
                    <a:pt x="261" y="354"/>
                  </a:lnTo>
                  <a:close/>
                  <a:moveTo>
                    <a:pt x="277" y="354"/>
                  </a:moveTo>
                  <a:lnTo>
                    <a:pt x="275" y="354"/>
                  </a:lnTo>
                  <a:lnTo>
                    <a:pt x="277" y="354"/>
                  </a:lnTo>
                  <a:lnTo>
                    <a:pt x="275" y="354"/>
                  </a:lnTo>
                  <a:lnTo>
                    <a:pt x="277" y="354"/>
                  </a:lnTo>
                  <a:close/>
                  <a:moveTo>
                    <a:pt x="273" y="354"/>
                  </a:moveTo>
                  <a:lnTo>
                    <a:pt x="273" y="352"/>
                  </a:lnTo>
                  <a:lnTo>
                    <a:pt x="275" y="352"/>
                  </a:lnTo>
                  <a:lnTo>
                    <a:pt x="273" y="352"/>
                  </a:lnTo>
                  <a:lnTo>
                    <a:pt x="273" y="354"/>
                  </a:lnTo>
                  <a:close/>
                  <a:moveTo>
                    <a:pt x="254" y="352"/>
                  </a:moveTo>
                  <a:lnTo>
                    <a:pt x="254" y="354"/>
                  </a:lnTo>
                  <a:lnTo>
                    <a:pt x="256" y="354"/>
                  </a:lnTo>
                  <a:lnTo>
                    <a:pt x="256" y="352"/>
                  </a:lnTo>
                  <a:lnTo>
                    <a:pt x="258" y="352"/>
                  </a:lnTo>
                  <a:lnTo>
                    <a:pt x="258" y="354"/>
                  </a:lnTo>
                  <a:lnTo>
                    <a:pt x="258" y="352"/>
                  </a:lnTo>
                  <a:lnTo>
                    <a:pt x="256" y="352"/>
                  </a:lnTo>
                  <a:lnTo>
                    <a:pt x="256" y="354"/>
                  </a:lnTo>
                  <a:lnTo>
                    <a:pt x="256" y="352"/>
                  </a:lnTo>
                  <a:lnTo>
                    <a:pt x="256" y="354"/>
                  </a:lnTo>
                  <a:lnTo>
                    <a:pt x="254" y="354"/>
                  </a:lnTo>
                  <a:lnTo>
                    <a:pt x="251" y="354"/>
                  </a:lnTo>
                  <a:lnTo>
                    <a:pt x="254" y="354"/>
                  </a:lnTo>
                  <a:lnTo>
                    <a:pt x="251" y="354"/>
                  </a:lnTo>
                  <a:lnTo>
                    <a:pt x="251" y="357"/>
                  </a:lnTo>
                  <a:lnTo>
                    <a:pt x="251" y="354"/>
                  </a:lnTo>
                  <a:lnTo>
                    <a:pt x="251" y="357"/>
                  </a:lnTo>
                  <a:lnTo>
                    <a:pt x="251" y="359"/>
                  </a:lnTo>
                  <a:lnTo>
                    <a:pt x="251" y="357"/>
                  </a:lnTo>
                  <a:lnTo>
                    <a:pt x="251" y="359"/>
                  </a:lnTo>
                  <a:lnTo>
                    <a:pt x="251" y="357"/>
                  </a:lnTo>
                  <a:lnTo>
                    <a:pt x="251" y="359"/>
                  </a:lnTo>
                  <a:lnTo>
                    <a:pt x="249" y="359"/>
                  </a:lnTo>
                  <a:lnTo>
                    <a:pt x="249" y="357"/>
                  </a:lnTo>
                  <a:lnTo>
                    <a:pt x="249" y="354"/>
                  </a:lnTo>
                  <a:lnTo>
                    <a:pt x="251" y="354"/>
                  </a:lnTo>
                  <a:lnTo>
                    <a:pt x="251" y="352"/>
                  </a:lnTo>
                  <a:lnTo>
                    <a:pt x="254" y="352"/>
                  </a:lnTo>
                  <a:lnTo>
                    <a:pt x="251" y="352"/>
                  </a:lnTo>
                  <a:lnTo>
                    <a:pt x="254" y="352"/>
                  </a:lnTo>
                  <a:close/>
                  <a:moveTo>
                    <a:pt x="258" y="352"/>
                  </a:moveTo>
                  <a:lnTo>
                    <a:pt x="256" y="352"/>
                  </a:lnTo>
                  <a:lnTo>
                    <a:pt x="258" y="352"/>
                  </a:lnTo>
                  <a:close/>
                  <a:moveTo>
                    <a:pt x="254" y="352"/>
                  </a:moveTo>
                  <a:lnTo>
                    <a:pt x="256" y="352"/>
                  </a:lnTo>
                  <a:lnTo>
                    <a:pt x="254" y="352"/>
                  </a:lnTo>
                  <a:close/>
                  <a:moveTo>
                    <a:pt x="266" y="352"/>
                  </a:moveTo>
                  <a:lnTo>
                    <a:pt x="268" y="352"/>
                  </a:lnTo>
                  <a:lnTo>
                    <a:pt x="266" y="352"/>
                  </a:lnTo>
                  <a:lnTo>
                    <a:pt x="268" y="352"/>
                  </a:lnTo>
                  <a:lnTo>
                    <a:pt x="266" y="352"/>
                  </a:lnTo>
                  <a:close/>
                  <a:moveTo>
                    <a:pt x="280" y="349"/>
                  </a:moveTo>
                  <a:lnTo>
                    <a:pt x="277" y="349"/>
                  </a:lnTo>
                  <a:lnTo>
                    <a:pt x="280" y="349"/>
                  </a:lnTo>
                  <a:close/>
                  <a:moveTo>
                    <a:pt x="270" y="349"/>
                  </a:moveTo>
                  <a:lnTo>
                    <a:pt x="268" y="349"/>
                  </a:lnTo>
                  <a:lnTo>
                    <a:pt x="270" y="349"/>
                  </a:lnTo>
                  <a:lnTo>
                    <a:pt x="268" y="349"/>
                  </a:lnTo>
                  <a:lnTo>
                    <a:pt x="270" y="349"/>
                  </a:lnTo>
                  <a:close/>
                  <a:moveTo>
                    <a:pt x="256" y="349"/>
                  </a:moveTo>
                  <a:lnTo>
                    <a:pt x="254" y="349"/>
                  </a:lnTo>
                  <a:lnTo>
                    <a:pt x="256" y="349"/>
                  </a:lnTo>
                  <a:close/>
                  <a:moveTo>
                    <a:pt x="256" y="347"/>
                  </a:moveTo>
                  <a:lnTo>
                    <a:pt x="256" y="349"/>
                  </a:lnTo>
                  <a:lnTo>
                    <a:pt x="256" y="347"/>
                  </a:lnTo>
                  <a:close/>
                  <a:moveTo>
                    <a:pt x="273" y="347"/>
                  </a:moveTo>
                  <a:lnTo>
                    <a:pt x="273" y="349"/>
                  </a:lnTo>
                  <a:lnTo>
                    <a:pt x="273" y="347"/>
                  </a:lnTo>
                  <a:lnTo>
                    <a:pt x="273" y="349"/>
                  </a:lnTo>
                  <a:lnTo>
                    <a:pt x="273" y="347"/>
                  </a:lnTo>
                  <a:lnTo>
                    <a:pt x="273" y="349"/>
                  </a:lnTo>
                  <a:lnTo>
                    <a:pt x="273" y="347"/>
                  </a:lnTo>
                  <a:close/>
                  <a:moveTo>
                    <a:pt x="266" y="347"/>
                  </a:moveTo>
                  <a:lnTo>
                    <a:pt x="266" y="349"/>
                  </a:lnTo>
                  <a:lnTo>
                    <a:pt x="266" y="347"/>
                  </a:lnTo>
                  <a:lnTo>
                    <a:pt x="266" y="349"/>
                  </a:lnTo>
                  <a:lnTo>
                    <a:pt x="266" y="347"/>
                  </a:lnTo>
                  <a:close/>
                  <a:moveTo>
                    <a:pt x="263" y="347"/>
                  </a:moveTo>
                  <a:lnTo>
                    <a:pt x="263" y="349"/>
                  </a:lnTo>
                  <a:lnTo>
                    <a:pt x="261" y="349"/>
                  </a:lnTo>
                  <a:lnTo>
                    <a:pt x="263" y="349"/>
                  </a:lnTo>
                  <a:lnTo>
                    <a:pt x="263" y="347"/>
                  </a:lnTo>
                  <a:lnTo>
                    <a:pt x="261" y="349"/>
                  </a:lnTo>
                  <a:lnTo>
                    <a:pt x="261" y="352"/>
                  </a:lnTo>
                  <a:lnTo>
                    <a:pt x="261" y="349"/>
                  </a:lnTo>
                  <a:lnTo>
                    <a:pt x="261" y="352"/>
                  </a:lnTo>
                  <a:lnTo>
                    <a:pt x="258" y="349"/>
                  </a:lnTo>
                  <a:lnTo>
                    <a:pt x="261" y="349"/>
                  </a:lnTo>
                  <a:lnTo>
                    <a:pt x="261" y="347"/>
                  </a:lnTo>
                  <a:lnTo>
                    <a:pt x="263" y="347"/>
                  </a:lnTo>
                  <a:close/>
                  <a:moveTo>
                    <a:pt x="258" y="347"/>
                  </a:moveTo>
                  <a:lnTo>
                    <a:pt x="256" y="347"/>
                  </a:lnTo>
                  <a:lnTo>
                    <a:pt x="258" y="347"/>
                  </a:lnTo>
                  <a:close/>
                  <a:moveTo>
                    <a:pt x="258" y="347"/>
                  </a:moveTo>
                  <a:lnTo>
                    <a:pt x="261" y="347"/>
                  </a:lnTo>
                  <a:lnTo>
                    <a:pt x="258" y="347"/>
                  </a:lnTo>
                  <a:lnTo>
                    <a:pt x="261" y="347"/>
                  </a:lnTo>
                  <a:lnTo>
                    <a:pt x="258" y="347"/>
                  </a:lnTo>
                  <a:close/>
                  <a:moveTo>
                    <a:pt x="268" y="347"/>
                  </a:moveTo>
                  <a:lnTo>
                    <a:pt x="270" y="347"/>
                  </a:lnTo>
                  <a:lnTo>
                    <a:pt x="268" y="347"/>
                  </a:lnTo>
                  <a:lnTo>
                    <a:pt x="270" y="347"/>
                  </a:lnTo>
                  <a:lnTo>
                    <a:pt x="268" y="347"/>
                  </a:lnTo>
                  <a:close/>
                  <a:moveTo>
                    <a:pt x="263" y="347"/>
                  </a:moveTo>
                  <a:lnTo>
                    <a:pt x="261" y="347"/>
                  </a:lnTo>
                  <a:lnTo>
                    <a:pt x="261" y="349"/>
                  </a:lnTo>
                  <a:lnTo>
                    <a:pt x="258" y="349"/>
                  </a:lnTo>
                  <a:lnTo>
                    <a:pt x="258" y="352"/>
                  </a:lnTo>
                  <a:lnTo>
                    <a:pt x="256" y="352"/>
                  </a:lnTo>
                  <a:lnTo>
                    <a:pt x="256" y="349"/>
                  </a:lnTo>
                  <a:lnTo>
                    <a:pt x="258" y="349"/>
                  </a:lnTo>
                  <a:lnTo>
                    <a:pt x="261" y="347"/>
                  </a:lnTo>
                  <a:lnTo>
                    <a:pt x="263" y="347"/>
                  </a:lnTo>
                  <a:close/>
                  <a:moveTo>
                    <a:pt x="258" y="347"/>
                  </a:moveTo>
                  <a:lnTo>
                    <a:pt x="256" y="347"/>
                  </a:lnTo>
                  <a:lnTo>
                    <a:pt x="258" y="347"/>
                  </a:lnTo>
                  <a:close/>
                  <a:moveTo>
                    <a:pt x="263" y="347"/>
                  </a:moveTo>
                  <a:lnTo>
                    <a:pt x="261" y="347"/>
                  </a:lnTo>
                  <a:lnTo>
                    <a:pt x="263" y="347"/>
                  </a:lnTo>
                  <a:close/>
                  <a:moveTo>
                    <a:pt x="270" y="347"/>
                  </a:moveTo>
                  <a:lnTo>
                    <a:pt x="270" y="345"/>
                  </a:lnTo>
                  <a:lnTo>
                    <a:pt x="270" y="347"/>
                  </a:lnTo>
                  <a:close/>
                  <a:moveTo>
                    <a:pt x="270" y="345"/>
                  </a:moveTo>
                  <a:lnTo>
                    <a:pt x="270" y="347"/>
                  </a:lnTo>
                  <a:lnTo>
                    <a:pt x="270" y="345"/>
                  </a:lnTo>
                  <a:close/>
                  <a:moveTo>
                    <a:pt x="270" y="345"/>
                  </a:moveTo>
                  <a:lnTo>
                    <a:pt x="268" y="345"/>
                  </a:lnTo>
                  <a:lnTo>
                    <a:pt x="270" y="345"/>
                  </a:lnTo>
                  <a:close/>
                  <a:moveTo>
                    <a:pt x="268" y="345"/>
                  </a:moveTo>
                  <a:lnTo>
                    <a:pt x="270" y="345"/>
                  </a:lnTo>
                  <a:lnTo>
                    <a:pt x="268" y="345"/>
                  </a:lnTo>
                  <a:close/>
                  <a:moveTo>
                    <a:pt x="263" y="345"/>
                  </a:moveTo>
                  <a:lnTo>
                    <a:pt x="261" y="345"/>
                  </a:lnTo>
                  <a:lnTo>
                    <a:pt x="263" y="345"/>
                  </a:lnTo>
                  <a:close/>
                  <a:moveTo>
                    <a:pt x="273" y="345"/>
                  </a:moveTo>
                  <a:lnTo>
                    <a:pt x="275" y="345"/>
                  </a:lnTo>
                  <a:lnTo>
                    <a:pt x="273" y="345"/>
                  </a:lnTo>
                  <a:lnTo>
                    <a:pt x="275" y="345"/>
                  </a:lnTo>
                  <a:lnTo>
                    <a:pt x="273" y="345"/>
                  </a:lnTo>
                  <a:close/>
                  <a:moveTo>
                    <a:pt x="275" y="342"/>
                  </a:moveTo>
                  <a:lnTo>
                    <a:pt x="277" y="342"/>
                  </a:lnTo>
                  <a:lnTo>
                    <a:pt x="275" y="342"/>
                  </a:lnTo>
                  <a:close/>
                  <a:moveTo>
                    <a:pt x="268" y="342"/>
                  </a:moveTo>
                  <a:lnTo>
                    <a:pt x="270" y="342"/>
                  </a:lnTo>
                  <a:lnTo>
                    <a:pt x="268" y="342"/>
                  </a:lnTo>
                  <a:lnTo>
                    <a:pt x="270" y="342"/>
                  </a:lnTo>
                  <a:lnTo>
                    <a:pt x="268" y="342"/>
                  </a:lnTo>
                  <a:close/>
                  <a:moveTo>
                    <a:pt x="270" y="340"/>
                  </a:moveTo>
                  <a:lnTo>
                    <a:pt x="270" y="342"/>
                  </a:lnTo>
                  <a:lnTo>
                    <a:pt x="270" y="340"/>
                  </a:lnTo>
                  <a:close/>
                  <a:moveTo>
                    <a:pt x="270" y="340"/>
                  </a:moveTo>
                  <a:lnTo>
                    <a:pt x="270" y="342"/>
                  </a:lnTo>
                  <a:lnTo>
                    <a:pt x="270" y="340"/>
                  </a:lnTo>
                  <a:close/>
                  <a:moveTo>
                    <a:pt x="268" y="340"/>
                  </a:moveTo>
                  <a:lnTo>
                    <a:pt x="270" y="340"/>
                  </a:lnTo>
                  <a:lnTo>
                    <a:pt x="268" y="340"/>
                  </a:lnTo>
                  <a:close/>
                  <a:moveTo>
                    <a:pt x="270" y="340"/>
                  </a:moveTo>
                  <a:lnTo>
                    <a:pt x="270" y="342"/>
                  </a:lnTo>
                  <a:lnTo>
                    <a:pt x="270" y="340"/>
                  </a:lnTo>
                  <a:lnTo>
                    <a:pt x="268" y="340"/>
                  </a:lnTo>
                  <a:lnTo>
                    <a:pt x="270" y="340"/>
                  </a:lnTo>
                  <a:close/>
                  <a:moveTo>
                    <a:pt x="273" y="340"/>
                  </a:moveTo>
                  <a:lnTo>
                    <a:pt x="270" y="340"/>
                  </a:lnTo>
                  <a:lnTo>
                    <a:pt x="273" y="340"/>
                  </a:lnTo>
                  <a:close/>
                  <a:moveTo>
                    <a:pt x="268" y="340"/>
                  </a:moveTo>
                  <a:lnTo>
                    <a:pt x="266" y="340"/>
                  </a:lnTo>
                  <a:lnTo>
                    <a:pt x="268" y="340"/>
                  </a:lnTo>
                  <a:close/>
                  <a:moveTo>
                    <a:pt x="270" y="338"/>
                  </a:moveTo>
                  <a:lnTo>
                    <a:pt x="270" y="340"/>
                  </a:lnTo>
                  <a:lnTo>
                    <a:pt x="268" y="340"/>
                  </a:lnTo>
                  <a:lnTo>
                    <a:pt x="270" y="340"/>
                  </a:lnTo>
                  <a:lnTo>
                    <a:pt x="268" y="340"/>
                  </a:lnTo>
                  <a:lnTo>
                    <a:pt x="268" y="338"/>
                  </a:lnTo>
                  <a:lnTo>
                    <a:pt x="270" y="338"/>
                  </a:lnTo>
                  <a:close/>
                  <a:moveTo>
                    <a:pt x="270" y="338"/>
                  </a:moveTo>
                  <a:lnTo>
                    <a:pt x="268" y="338"/>
                  </a:lnTo>
                  <a:lnTo>
                    <a:pt x="270" y="338"/>
                  </a:lnTo>
                  <a:close/>
                  <a:moveTo>
                    <a:pt x="263" y="335"/>
                  </a:moveTo>
                  <a:lnTo>
                    <a:pt x="263" y="338"/>
                  </a:lnTo>
                  <a:lnTo>
                    <a:pt x="266" y="338"/>
                  </a:lnTo>
                  <a:lnTo>
                    <a:pt x="263" y="338"/>
                  </a:lnTo>
                  <a:lnTo>
                    <a:pt x="263" y="340"/>
                  </a:lnTo>
                  <a:lnTo>
                    <a:pt x="266" y="340"/>
                  </a:lnTo>
                  <a:lnTo>
                    <a:pt x="263" y="340"/>
                  </a:lnTo>
                  <a:lnTo>
                    <a:pt x="266" y="340"/>
                  </a:lnTo>
                  <a:lnTo>
                    <a:pt x="263" y="340"/>
                  </a:lnTo>
                  <a:lnTo>
                    <a:pt x="261" y="340"/>
                  </a:lnTo>
                  <a:lnTo>
                    <a:pt x="263" y="340"/>
                  </a:lnTo>
                  <a:lnTo>
                    <a:pt x="261" y="340"/>
                  </a:lnTo>
                  <a:lnTo>
                    <a:pt x="263" y="340"/>
                  </a:lnTo>
                  <a:lnTo>
                    <a:pt x="261" y="340"/>
                  </a:lnTo>
                  <a:lnTo>
                    <a:pt x="261" y="338"/>
                  </a:lnTo>
                  <a:lnTo>
                    <a:pt x="263" y="338"/>
                  </a:lnTo>
                  <a:lnTo>
                    <a:pt x="263" y="335"/>
                  </a:lnTo>
                  <a:close/>
                  <a:moveTo>
                    <a:pt x="270" y="335"/>
                  </a:moveTo>
                  <a:lnTo>
                    <a:pt x="268" y="338"/>
                  </a:lnTo>
                  <a:lnTo>
                    <a:pt x="268" y="335"/>
                  </a:lnTo>
                  <a:lnTo>
                    <a:pt x="270" y="335"/>
                  </a:lnTo>
                  <a:close/>
                  <a:moveTo>
                    <a:pt x="258" y="321"/>
                  </a:moveTo>
                  <a:lnTo>
                    <a:pt x="256" y="321"/>
                  </a:lnTo>
                  <a:lnTo>
                    <a:pt x="258" y="321"/>
                  </a:lnTo>
                  <a:close/>
                  <a:moveTo>
                    <a:pt x="254" y="321"/>
                  </a:moveTo>
                  <a:lnTo>
                    <a:pt x="251" y="321"/>
                  </a:lnTo>
                  <a:lnTo>
                    <a:pt x="254" y="321"/>
                  </a:lnTo>
                  <a:close/>
                  <a:moveTo>
                    <a:pt x="251" y="321"/>
                  </a:moveTo>
                  <a:lnTo>
                    <a:pt x="249" y="321"/>
                  </a:lnTo>
                  <a:lnTo>
                    <a:pt x="251" y="321"/>
                  </a:lnTo>
                  <a:lnTo>
                    <a:pt x="249" y="321"/>
                  </a:lnTo>
                  <a:lnTo>
                    <a:pt x="251" y="321"/>
                  </a:lnTo>
                  <a:close/>
                  <a:moveTo>
                    <a:pt x="249" y="319"/>
                  </a:moveTo>
                  <a:lnTo>
                    <a:pt x="249" y="321"/>
                  </a:lnTo>
                  <a:lnTo>
                    <a:pt x="249" y="319"/>
                  </a:lnTo>
                  <a:close/>
                  <a:moveTo>
                    <a:pt x="254" y="319"/>
                  </a:moveTo>
                  <a:lnTo>
                    <a:pt x="251" y="319"/>
                  </a:lnTo>
                  <a:lnTo>
                    <a:pt x="254" y="319"/>
                  </a:lnTo>
                  <a:lnTo>
                    <a:pt x="251" y="319"/>
                  </a:lnTo>
                  <a:lnTo>
                    <a:pt x="254" y="319"/>
                  </a:lnTo>
                  <a:close/>
                  <a:moveTo>
                    <a:pt x="249" y="319"/>
                  </a:moveTo>
                  <a:lnTo>
                    <a:pt x="247" y="319"/>
                  </a:lnTo>
                  <a:lnTo>
                    <a:pt x="249" y="319"/>
                  </a:lnTo>
                  <a:close/>
                  <a:moveTo>
                    <a:pt x="258" y="319"/>
                  </a:moveTo>
                  <a:lnTo>
                    <a:pt x="256" y="319"/>
                  </a:lnTo>
                  <a:lnTo>
                    <a:pt x="258" y="319"/>
                  </a:lnTo>
                  <a:close/>
                  <a:moveTo>
                    <a:pt x="251" y="316"/>
                  </a:moveTo>
                  <a:lnTo>
                    <a:pt x="251" y="319"/>
                  </a:lnTo>
                  <a:lnTo>
                    <a:pt x="249" y="319"/>
                  </a:lnTo>
                  <a:lnTo>
                    <a:pt x="249" y="316"/>
                  </a:lnTo>
                  <a:lnTo>
                    <a:pt x="251" y="316"/>
                  </a:lnTo>
                  <a:close/>
                  <a:moveTo>
                    <a:pt x="256" y="316"/>
                  </a:moveTo>
                  <a:lnTo>
                    <a:pt x="256" y="319"/>
                  </a:lnTo>
                  <a:lnTo>
                    <a:pt x="258" y="319"/>
                  </a:lnTo>
                  <a:lnTo>
                    <a:pt x="256" y="319"/>
                  </a:lnTo>
                  <a:lnTo>
                    <a:pt x="258" y="319"/>
                  </a:lnTo>
                  <a:lnTo>
                    <a:pt x="258" y="321"/>
                  </a:lnTo>
                  <a:lnTo>
                    <a:pt x="258" y="319"/>
                  </a:lnTo>
                  <a:lnTo>
                    <a:pt x="258" y="321"/>
                  </a:lnTo>
                  <a:lnTo>
                    <a:pt x="256" y="321"/>
                  </a:lnTo>
                  <a:lnTo>
                    <a:pt x="258" y="321"/>
                  </a:lnTo>
                  <a:lnTo>
                    <a:pt x="256" y="321"/>
                  </a:lnTo>
                  <a:lnTo>
                    <a:pt x="256" y="319"/>
                  </a:lnTo>
                  <a:lnTo>
                    <a:pt x="254" y="319"/>
                  </a:lnTo>
                  <a:lnTo>
                    <a:pt x="254" y="316"/>
                  </a:lnTo>
                  <a:lnTo>
                    <a:pt x="256" y="316"/>
                  </a:lnTo>
                  <a:lnTo>
                    <a:pt x="254" y="316"/>
                  </a:lnTo>
                  <a:lnTo>
                    <a:pt x="256" y="316"/>
                  </a:lnTo>
                  <a:close/>
                  <a:moveTo>
                    <a:pt x="254" y="316"/>
                  </a:moveTo>
                  <a:lnTo>
                    <a:pt x="256" y="316"/>
                  </a:lnTo>
                  <a:lnTo>
                    <a:pt x="254" y="316"/>
                  </a:lnTo>
                  <a:lnTo>
                    <a:pt x="256" y="316"/>
                  </a:lnTo>
                  <a:lnTo>
                    <a:pt x="254" y="316"/>
                  </a:lnTo>
                  <a:close/>
                  <a:moveTo>
                    <a:pt x="251" y="316"/>
                  </a:moveTo>
                  <a:lnTo>
                    <a:pt x="254" y="316"/>
                  </a:lnTo>
                  <a:lnTo>
                    <a:pt x="254" y="319"/>
                  </a:lnTo>
                  <a:lnTo>
                    <a:pt x="254" y="316"/>
                  </a:lnTo>
                  <a:lnTo>
                    <a:pt x="251" y="316"/>
                  </a:lnTo>
                  <a:close/>
                  <a:moveTo>
                    <a:pt x="258" y="314"/>
                  </a:moveTo>
                  <a:lnTo>
                    <a:pt x="258" y="316"/>
                  </a:lnTo>
                  <a:lnTo>
                    <a:pt x="258" y="314"/>
                  </a:lnTo>
                  <a:close/>
                  <a:moveTo>
                    <a:pt x="254" y="314"/>
                  </a:moveTo>
                  <a:lnTo>
                    <a:pt x="254" y="316"/>
                  </a:lnTo>
                  <a:lnTo>
                    <a:pt x="254" y="314"/>
                  </a:lnTo>
                  <a:close/>
                  <a:moveTo>
                    <a:pt x="254" y="314"/>
                  </a:moveTo>
                  <a:lnTo>
                    <a:pt x="254" y="316"/>
                  </a:lnTo>
                  <a:lnTo>
                    <a:pt x="254" y="314"/>
                  </a:lnTo>
                  <a:close/>
                  <a:moveTo>
                    <a:pt x="249" y="314"/>
                  </a:moveTo>
                  <a:lnTo>
                    <a:pt x="251" y="314"/>
                  </a:lnTo>
                  <a:lnTo>
                    <a:pt x="249" y="314"/>
                  </a:lnTo>
                  <a:close/>
                  <a:moveTo>
                    <a:pt x="251" y="314"/>
                  </a:moveTo>
                  <a:lnTo>
                    <a:pt x="254" y="314"/>
                  </a:lnTo>
                  <a:lnTo>
                    <a:pt x="251" y="314"/>
                  </a:lnTo>
                  <a:lnTo>
                    <a:pt x="254" y="314"/>
                  </a:lnTo>
                  <a:lnTo>
                    <a:pt x="251" y="314"/>
                  </a:lnTo>
                  <a:close/>
                  <a:moveTo>
                    <a:pt x="251" y="314"/>
                  </a:moveTo>
                  <a:lnTo>
                    <a:pt x="249" y="314"/>
                  </a:lnTo>
                  <a:lnTo>
                    <a:pt x="251" y="314"/>
                  </a:lnTo>
                  <a:close/>
                  <a:moveTo>
                    <a:pt x="251" y="314"/>
                  </a:moveTo>
                  <a:lnTo>
                    <a:pt x="251" y="311"/>
                  </a:lnTo>
                  <a:lnTo>
                    <a:pt x="251" y="314"/>
                  </a:lnTo>
                  <a:lnTo>
                    <a:pt x="251" y="311"/>
                  </a:lnTo>
                  <a:lnTo>
                    <a:pt x="251" y="314"/>
                  </a:lnTo>
                  <a:close/>
                  <a:moveTo>
                    <a:pt x="254" y="311"/>
                  </a:moveTo>
                  <a:lnTo>
                    <a:pt x="254" y="314"/>
                  </a:lnTo>
                  <a:lnTo>
                    <a:pt x="254" y="311"/>
                  </a:lnTo>
                  <a:lnTo>
                    <a:pt x="254" y="314"/>
                  </a:lnTo>
                  <a:lnTo>
                    <a:pt x="254" y="311"/>
                  </a:lnTo>
                  <a:lnTo>
                    <a:pt x="254" y="314"/>
                  </a:lnTo>
                  <a:lnTo>
                    <a:pt x="254" y="311"/>
                  </a:lnTo>
                  <a:close/>
                  <a:moveTo>
                    <a:pt x="251" y="311"/>
                  </a:moveTo>
                  <a:lnTo>
                    <a:pt x="251" y="314"/>
                  </a:lnTo>
                  <a:lnTo>
                    <a:pt x="251" y="311"/>
                  </a:lnTo>
                  <a:lnTo>
                    <a:pt x="251" y="314"/>
                  </a:lnTo>
                  <a:lnTo>
                    <a:pt x="254" y="314"/>
                  </a:lnTo>
                  <a:lnTo>
                    <a:pt x="251" y="314"/>
                  </a:lnTo>
                  <a:lnTo>
                    <a:pt x="251" y="311"/>
                  </a:lnTo>
                  <a:close/>
                  <a:moveTo>
                    <a:pt x="249" y="314"/>
                  </a:moveTo>
                  <a:lnTo>
                    <a:pt x="249" y="311"/>
                  </a:lnTo>
                  <a:lnTo>
                    <a:pt x="249" y="314"/>
                  </a:lnTo>
                  <a:close/>
                  <a:moveTo>
                    <a:pt x="254" y="311"/>
                  </a:moveTo>
                  <a:lnTo>
                    <a:pt x="251" y="311"/>
                  </a:lnTo>
                  <a:lnTo>
                    <a:pt x="254" y="311"/>
                  </a:lnTo>
                  <a:close/>
                  <a:moveTo>
                    <a:pt x="254" y="309"/>
                  </a:moveTo>
                  <a:lnTo>
                    <a:pt x="251" y="309"/>
                  </a:lnTo>
                  <a:lnTo>
                    <a:pt x="254" y="309"/>
                  </a:lnTo>
                  <a:close/>
                  <a:moveTo>
                    <a:pt x="247" y="304"/>
                  </a:moveTo>
                  <a:lnTo>
                    <a:pt x="249" y="304"/>
                  </a:lnTo>
                  <a:lnTo>
                    <a:pt x="247" y="304"/>
                  </a:lnTo>
                  <a:lnTo>
                    <a:pt x="249" y="304"/>
                  </a:lnTo>
                  <a:lnTo>
                    <a:pt x="247" y="304"/>
                  </a:lnTo>
                  <a:lnTo>
                    <a:pt x="249" y="304"/>
                  </a:lnTo>
                  <a:lnTo>
                    <a:pt x="247" y="304"/>
                  </a:lnTo>
                  <a:close/>
                  <a:moveTo>
                    <a:pt x="249" y="304"/>
                  </a:moveTo>
                  <a:lnTo>
                    <a:pt x="249" y="302"/>
                  </a:lnTo>
                  <a:lnTo>
                    <a:pt x="249" y="304"/>
                  </a:lnTo>
                  <a:lnTo>
                    <a:pt x="249" y="302"/>
                  </a:lnTo>
                  <a:lnTo>
                    <a:pt x="249" y="304"/>
                  </a:lnTo>
                  <a:close/>
                  <a:moveTo>
                    <a:pt x="247" y="302"/>
                  </a:moveTo>
                  <a:lnTo>
                    <a:pt x="247" y="304"/>
                  </a:lnTo>
                  <a:lnTo>
                    <a:pt x="247" y="302"/>
                  </a:lnTo>
                  <a:lnTo>
                    <a:pt x="247" y="304"/>
                  </a:lnTo>
                  <a:lnTo>
                    <a:pt x="247" y="302"/>
                  </a:lnTo>
                  <a:close/>
                  <a:moveTo>
                    <a:pt x="244" y="302"/>
                  </a:moveTo>
                  <a:lnTo>
                    <a:pt x="247" y="302"/>
                  </a:lnTo>
                  <a:lnTo>
                    <a:pt x="244" y="302"/>
                  </a:lnTo>
                  <a:lnTo>
                    <a:pt x="247" y="302"/>
                  </a:lnTo>
                  <a:lnTo>
                    <a:pt x="247" y="304"/>
                  </a:lnTo>
                  <a:lnTo>
                    <a:pt x="247" y="307"/>
                  </a:lnTo>
                  <a:lnTo>
                    <a:pt x="247" y="309"/>
                  </a:lnTo>
                  <a:lnTo>
                    <a:pt x="249" y="309"/>
                  </a:lnTo>
                  <a:lnTo>
                    <a:pt x="247" y="309"/>
                  </a:lnTo>
                  <a:lnTo>
                    <a:pt x="249" y="309"/>
                  </a:lnTo>
                  <a:lnTo>
                    <a:pt x="251" y="309"/>
                  </a:lnTo>
                  <a:lnTo>
                    <a:pt x="249" y="309"/>
                  </a:lnTo>
                  <a:lnTo>
                    <a:pt x="251" y="309"/>
                  </a:lnTo>
                  <a:lnTo>
                    <a:pt x="249" y="309"/>
                  </a:lnTo>
                  <a:lnTo>
                    <a:pt x="251" y="309"/>
                  </a:lnTo>
                  <a:lnTo>
                    <a:pt x="249" y="309"/>
                  </a:lnTo>
                  <a:lnTo>
                    <a:pt x="251" y="309"/>
                  </a:lnTo>
                  <a:lnTo>
                    <a:pt x="251" y="311"/>
                  </a:lnTo>
                  <a:lnTo>
                    <a:pt x="251" y="309"/>
                  </a:lnTo>
                  <a:lnTo>
                    <a:pt x="251" y="311"/>
                  </a:lnTo>
                  <a:lnTo>
                    <a:pt x="249" y="311"/>
                  </a:lnTo>
                  <a:lnTo>
                    <a:pt x="251" y="311"/>
                  </a:lnTo>
                  <a:lnTo>
                    <a:pt x="249" y="314"/>
                  </a:lnTo>
                  <a:lnTo>
                    <a:pt x="249" y="311"/>
                  </a:lnTo>
                  <a:lnTo>
                    <a:pt x="247" y="311"/>
                  </a:lnTo>
                  <a:lnTo>
                    <a:pt x="249" y="311"/>
                  </a:lnTo>
                  <a:lnTo>
                    <a:pt x="247" y="311"/>
                  </a:lnTo>
                  <a:lnTo>
                    <a:pt x="247" y="309"/>
                  </a:lnTo>
                  <a:lnTo>
                    <a:pt x="244" y="309"/>
                  </a:lnTo>
                  <a:lnTo>
                    <a:pt x="247" y="309"/>
                  </a:lnTo>
                  <a:lnTo>
                    <a:pt x="244" y="309"/>
                  </a:lnTo>
                  <a:lnTo>
                    <a:pt x="244" y="307"/>
                  </a:lnTo>
                  <a:lnTo>
                    <a:pt x="244" y="304"/>
                  </a:lnTo>
                  <a:lnTo>
                    <a:pt x="244" y="302"/>
                  </a:lnTo>
                  <a:close/>
                  <a:moveTo>
                    <a:pt x="244" y="300"/>
                  </a:moveTo>
                  <a:lnTo>
                    <a:pt x="244" y="302"/>
                  </a:lnTo>
                  <a:lnTo>
                    <a:pt x="244" y="300"/>
                  </a:lnTo>
                  <a:close/>
                  <a:moveTo>
                    <a:pt x="230" y="297"/>
                  </a:moveTo>
                  <a:lnTo>
                    <a:pt x="230" y="295"/>
                  </a:lnTo>
                  <a:lnTo>
                    <a:pt x="230" y="297"/>
                  </a:lnTo>
                  <a:lnTo>
                    <a:pt x="230" y="295"/>
                  </a:lnTo>
                  <a:lnTo>
                    <a:pt x="230" y="297"/>
                  </a:lnTo>
                  <a:close/>
                  <a:moveTo>
                    <a:pt x="209" y="290"/>
                  </a:moveTo>
                  <a:lnTo>
                    <a:pt x="211" y="290"/>
                  </a:lnTo>
                  <a:lnTo>
                    <a:pt x="209" y="290"/>
                  </a:lnTo>
                  <a:close/>
                  <a:moveTo>
                    <a:pt x="216" y="290"/>
                  </a:moveTo>
                  <a:lnTo>
                    <a:pt x="218" y="290"/>
                  </a:lnTo>
                  <a:lnTo>
                    <a:pt x="216" y="290"/>
                  </a:lnTo>
                  <a:close/>
                  <a:moveTo>
                    <a:pt x="213" y="288"/>
                  </a:moveTo>
                  <a:lnTo>
                    <a:pt x="213" y="290"/>
                  </a:lnTo>
                  <a:lnTo>
                    <a:pt x="213" y="288"/>
                  </a:lnTo>
                  <a:close/>
                  <a:moveTo>
                    <a:pt x="206" y="285"/>
                  </a:moveTo>
                  <a:lnTo>
                    <a:pt x="209" y="285"/>
                  </a:lnTo>
                  <a:lnTo>
                    <a:pt x="206" y="285"/>
                  </a:lnTo>
                  <a:close/>
                  <a:moveTo>
                    <a:pt x="206" y="273"/>
                  </a:moveTo>
                  <a:lnTo>
                    <a:pt x="206" y="276"/>
                  </a:lnTo>
                  <a:lnTo>
                    <a:pt x="206" y="273"/>
                  </a:lnTo>
                  <a:close/>
                  <a:moveTo>
                    <a:pt x="209" y="271"/>
                  </a:moveTo>
                  <a:lnTo>
                    <a:pt x="206" y="271"/>
                  </a:lnTo>
                  <a:lnTo>
                    <a:pt x="209" y="271"/>
                  </a:lnTo>
                  <a:lnTo>
                    <a:pt x="206" y="271"/>
                  </a:lnTo>
                  <a:lnTo>
                    <a:pt x="209" y="271"/>
                  </a:lnTo>
                  <a:close/>
                  <a:moveTo>
                    <a:pt x="206" y="262"/>
                  </a:moveTo>
                  <a:lnTo>
                    <a:pt x="206" y="264"/>
                  </a:lnTo>
                  <a:lnTo>
                    <a:pt x="206" y="262"/>
                  </a:lnTo>
                  <a:close/>
                  <a:moveTo>
                    <a:pt x="209" y="262"/>
                  </a:moveTo>
                  <a:lnTo>
                    <a:pt x="206" y="262"/>
                  </a:lnTo>
                  <a:lnTo>
                    <a:pt x="209" y="262"/>
                  </a:lnTo>
                  <a:lnTo>
                    <a:pt x="206" y="262"/>
                  </a:lnTo>
                  <a:lnTo>
                    <a:pt x="209" y="262"/>
                  </a:lnTo>
                  <a:close/>
                  <a:moveTo>
                    <a:pt x="209" y="257"/>
                  </a:moveTo>
                  <a:lnTo>
                    <a:pt x="211" y="257"/>
                  </a:lnTo>
                  <a:lnTo>
                    <a:pt x="209" y="257"/>
                  </a:lnTo>
                  <a:close/>
                  <a:moveTo>
                    <a:pt x="206" y="254"/>
                  </a:moveTo>
                  <a:lnTo>
                    <a:pt x="206" y="257"/>
                  </a:lnTo>
                  <a:lnTo>
                    <a:pt x="206" y="254"/>
                  </a:lnTo>
                  <a:close/>
                  <a:moveTo>
                    <a:pt x="211" y="245"/>
                  </a:moveTo>
                  <a:lnTo>
                    <a:pt x="213" y="245"/>
                  </a:lnTo>
                  <a:lnTo>
                    <a:pt x="213" y="247"/>
                  </a:lnTo>
                  <a:lnTo>
                    <a:pt x="213" y="245"/>
                  </a:lnTo>
                  <a:lnTo>
                    <a:pt x="213" y="247"/>
                  </a:lnTo>
                  <a:lnTo>
                    <a:pt x="211" y="245"/>
                  </a:lnTo>
                  <a:lnTo>
                    <a:pt x="211" y="247"/>
                  </a:lnTo>
                  <a:lnTo>
                    <a:pt x="211" y="245"/>
                  </a:lnTo>
                  <a:lnTo>
                    <a:pt x="211" y="247"/>
                  </a:lnTo>
                  <a:lnTo>
                    <a:pt x="211" y="245"/>
                  </a:lnTo>
                  <a:close/>
                  <a:moveTo>
                    <a:pt x="211" y="245"/>
                  </a:moveTo>
                  <a:lnTo>
                    <a:pt x="209" y="245"/>
                  </a:lnTo>
                  <a:lnTo>
                    <a:pt x="211" y="245"/>
                  </a:lnTo>
                  <a:close/>
                  <a:moveTo>
                    <a:pt x="209" y="245"/>
                  </a:moveTo>
                  <a:lnTo>
                    <a:pt x="206" y="245"/>
                  </a:lnTo>
                  <a:lnTo>
                    <a:pt x="209" y="245"/>
                  </a:lnTo>
                  <a:lnTo>
                    <a:pt x="206" y="245"/>
                  </a:lnTo>
                  <a:lnTo>
                    <a:pt x="209" y="245"/>
                  </a:lnTo>
                  <a:close/>
                  <a:moveTo>
                    <a:pt x="204" y="245"/>
                  </a:moveTo>
                  <a:lnTo>
                    <a:pt x="206" y="245"/>
                  </a:lnTo>
                  <a:lnTo>
                    <a:pt x="204" y="245"/>
                  </a:lnTo>
                  <a:close/>
                  <a:moveTo>
                    <a:pt x="204" y="243"/>
                  </a:moveTo>
                  <a:lnTo>
                    <a:pt x="206" y="243"/>
                  </a:lnTo>
                  <a:lnTo>
                    <a:pt x="204" y="243"/>
                  </a:lnTo>
                  <a:lnTo>
                    <a:pt x="206" y="243"/>
                  </a:lnTo>
                  <a:lnTo>
                    <a:pt x="204" y="243"/>
                  </a:lnTo>
                  <a:close/>
                  <a:moveTo>
                    <a:pt x="211" y="240"/>
                  </a:moveTo>
                  <a:lnTo>
                    <a:pt x="211" y="243"/>
                  </a:lnTo>
                  <a:lnTo>
                    <a:pt x="211" y="240"/>
                  </a:lnTo>
                  <a:close/>
                  <a:moveTo>
                    <a:pt x="216" y="235"/>
                  </a:moveTo>
                  <a:lnTo>
                    <a:pt x="216" y="238"/>
                  </a:lnTo>
                  <a:lnTo>
                    <a:pt x="216" y="235"/>
                  </a:lnTo>
                  <a:close/>
                  <a:moveTo>
                    <a:pt x="216" y="224"/>
                  </a:moveTo>
                  <a:lnTo>
                    <a:pt x="213" y="224"/>
                  </a:lnTo>
                  <a:lnTo>
                    <a:pt x="216" y="224"/>
                  </a:lnTo>
                  <a:close/>
                  <a:moveTo>
                    <a:pt x="221" y="221"/>
                  </a:moveTo>
                  <a:lnTo>
                    <a:pt x="218" y="221"/>
                  </a:lnTo>
                  <a:lnTo>
                    <a:pt x="221" y="221"/>
                  </a:lnTo>
                  <a:close/>
                  <a:moveTo>
                    <a:pt x="223" y="209"/>
                  </a:moveTo>
                  <a:lnTo>
                    <a:pt x="223" y="212"/>
                  </a:lnTo>
                  <a:lnTo>
                    <a:pt x="221" y="212"/>
                  </a:lnTo>
                  <a:lnTo>
                    <a:pt x="221" y="209"/>
                  </a:lnTo>
                  <a:lnTo>
                    <a:pt x="223" y="209"/>
                  </a:lnTo>
                  <a:close/>
                  <a:moveTo>
                    <a:pt x="218" y="200"/>
                  </a:moveTo>
                  <a:lnTo>
                    <a:pt x="216" y="200"/>
                  </a:lnTo>
                  <a:lnTo>
                    <a:pt x="218" y="200"/>
                  </a:lnTo>
                  <a:close/>
                  <a:moveTo>
                    <a:pt x="216" y="197"/>
                  </a:moveTo>
                  <a:lnTo>
                    <a:pt x="218" y="197"/>
                  </a:lnTo>
                  <a:lnTo>
                    <a:pt x="216" y="197"/>
                  </a:lnTo>
                  <a:close/>
                  <a:moveTo>
                    <a:pt x="211" y="195"/>
                  </a:moveTo>
                  <a:lnTo>
                    <a:pt x="213" y="195"/>
                  </a:lnTo>
                  <a:lnTo>
                    <a:pt x="216" y="195"/>
                  </a:lnTo>
                  <a:lnTo>
                    <a:pt x="216" y="197"/>
                  </a:lnTo>
                  <a:lnTo>
                    <a:pt x="213" y="197"/>
                  </a:lnTo>
                  <a:lnTo>
                    <a:pt x="216" y="197"/>
                  </a:lnTo>
                  <a:lnTo>
                    <a:pt x="216" y="200"/>
                  </a:lnTo>
                  <a:lnTo>
                    <a:pt x="216" y="202"/>
                  </a:lnTo>
                  <a:lnTo>
                    <a:pt x="213" y="202"/>
                  </a:lnTo>
                  <a:lnTo>
                    <a:pt x="211" y="202"/>
                  </a:lnTo>
                  <a:lnTo>
                    <a:pt x="211" y="200"/>
                  </a:lnTo>
                  <a:lnTo>
                    <a:pt x="211" y="197"/>
                  </a:lnTo>
                  <a:lnTo>
                    <a:pt x="211" y="195"/>
                  </a:lnTo>
                  <a:close/>
                  <a:moveTo>
                    <a:pt x="235" y="186"/>
                  </a:moveTo>
                  <a:lnTo>
                    <a:pt x="232" y="186"/>
                  </a:lnTo>
                  <a:lnTo>
                    <a:pt x="235" y="186"/>
                  </a:lnTo>
                  <a:close/>
                  <a:moveTo>
                    <a:pt x="237" y="178"/>
                  </a:moveTo>
                  <a:lnTo>
                    <a:pt x="237" y="181"/>
                  </a:lnTo>
                  <a:lnTo>
                    <a:pt x="235" y="181"/>
                  </a:lnTo>
                  <a:lnTo>
                    <a:pt x="235" y="178"/>
                  </a:lnTo>
                  <a:lnTo>
                    <a:pt x="237" y="178"/>
                  </a:lnTo>
                  <a:close/>
                  <a:moveTo>
                    <a:pt x="237" y="181"/>
                  </a:moveTo>
                  <a:lnTo>
                    <a:pt x="239" y="178"/>
                  </a:lnTo>
                  <a:lnTo>
                    <a:pt x="239" y="181"/>
                  </a:lnTo>
                  <a:lnTo>
                    <a:pt x="237" y="181"/>
                  </a:lnTo>
                  <a:close/>
                  <a:moveTo>
                    <a:pt x="230" y="178"/>
                  </a:moveTo>
                  <a:lnTo>
                    <a:pt x="232" y="178"/>
                  </a:lnTo>
                  <a:lnTo>
                    <a:pt x="232" y="181"/>
                  </a:lnTo>
                  <a:lnTo>
                    <a:pt x="230" y="181"/>
                  </a:lnTo>
                  <a:lnTo>
                    <a:pt x="232" y="178"/>
                  </a:lnTo>
                  <a:lnTo>
                    <a:pt x="230" y="178"/>
                  </a:lnTo>
                  <a:close/>
                  <a:moveTo>
                    <a:pt x="247" y="174"/>
                  </a:moveTo>
                  <a:lnTo>
                    <a:pt x="244" y="174"/>
                  </a:lnTo>
                  <a:lnTo>
                    <a:pt x="247" y="174"/>
                  </a:lnTo>
                  <a:close/>
                  <a:moveTo>
                    <a:pt x="239" y="174"/>
                  </a:moveTo>
                  <a:lnTo>
                    <a:pt x="239" y="171"/>
                  </a:lnTo>
                  <a:lnTo>
                    <a:pt x="239" y="174"/>
                  </a:lnTo>
                  <a:close/>
                  <a:moveTo>
                    <a:pt x="228" y="171"/>
                  </a:moveTo>
                  <a:lnTo>
                    <a:pt x="228" y="174"/>
                  </a:lnTo>
                  <a:lnTo>
                    <a:pt x="228" y="171"/>
                  </a:lnTo>
                  <a:close/>
                  <a:moveTo>
                    <a:pt x="254" y="167"/>
                  </a:moveTo>
                  <a:lnTo>
                    <a:pt x="251" y="169"/>
                  </a:lnTo>
                  <a:lnTo>
                    <a:pt x="251" y="167"/>
                  </a:lnTo>
                  <a:lnTo>
                    <a:pt x="254" y="167"/>
                  </a:lnTo>
                  <a:close/>
                  <a:moveTo>
                    <a:pt x="249" y="164"/>
                  </a:moveTo>
                  <a:lnTo>
                    <a:pt x="251" y="164"/>
                  </a:lnTo>
                  <a:lnTo>
                    <a:pt x="249" y="164"/>
                  </a:lnTo>
                  <a:lnTo>
                    <a:pt x="249" y="167"/>
                  </a:lnTo>
                  <a:lnTo>
                    <a:pt x="247" y="164"/>
                  </a:lnTo>
                  <a:lnTo>
                    <a:pt x="249" y="164"/>
                  </a:lnTo>
                  <a:lnTo>
                    <a:pt x="247" y="164"/>
                  </a:lnTo>
                  <a:lnTo>
                    <a:pt x="249" y="164"/>
                  </a:lnTo>
                  <a:lnTo>
                    <a:pt x="247" y="164"/>
                  </a:lnTo>
                  <a:lnTo>
                    <a:pt x="249" y="164"/>
                  </a:lnTo>
                  <a:lnTo>
                    <a:pt x="249" y="162"/>
                  </a:lnTo>
                  <a:lnTo>
                    <a:pt x="249" y="164"/>
                  </a:lnTo>
                  <a:close/>
                  <a:moveTo>
                    <a:pt x="256" y="164"/>
                  </a:moveTo>
                  <a:lnTo>
                    <a:pt x="256" y="162"/>
                  </a:lnTo>
                  <a:lnTo>
                    <a:pt x="256" y="164"/>
                  </a:lnTo>
                  <a:close/>
                  <a:moveTo>
                    <a:pt x="254" y="162"/>
                  </a:moveTo>
                  <a:lnTo>
                    <a:pt x="254" y="164"/>
                  </a:lnTo>
                  <a:lnTo>
                    <a:pt x="254" y="167"/>
                  </a:lnTo>
                  <a:lnTo>
                    <a:pt x="251" y="167"/>
                  </a:lnTo>
                  <a:lnTo>
                    <a:pt x="251" y="164"/>
                  </a:lnTo>
                  <a:lnTo>
                    <a:pt x="254" y="164"/>
                  </a:lnTo>
                  <a:lnTo>
                    <a:pt x="251" y="164"/>
                  </a:lnTo>
                  <a:lnTo>
                    <a:pt x="254" y="164"/>
                  </a:lnTo>
                  <a:lnTo>
                    <a:pt x="254" y="162"/>
                  </a:lnTo>
                  <a:close/>
                  <a:moveTo>
                    <a:pt x="251" y="162"/>
                  </a:moveTo>
                  <a:lnTo>
                    <a:pt x="251" y="164"/>
                  </a:lnTo>
                  <a:lnTo>
                    <a:pt x="251" y="162"/>
                  </a:lnTo>
                  <a:close/>
                  <a:moveTo>
                    <a:pt x="256" y="162"/>
                  </a:moveTo>
                  <a:lnTo>
                    <a:pt x="256" y="164"/>
                  </a:lnTo>
                  <a:lnTo>
                    <a:pt x="256" y="162"/>
                  </a:lnTo>
                  <a:close/>
                  <a:moveTo>
                    <a:pt x="251" y="159"/>
                  </a:moveTo>
                  <a:lnTo>
                    <a:pt x="249" y="159"/>
                  </a:lnTo>
                  <a:lnTo>
                    <a:pt x="251" y="159"/>
                  </a:lnTo>
                  <a:lnTo>
                    <a:pt x="249" y="159"/>
                  </a:lnTo>
                  <a:lnTo>
                    <a:pt x="251" y="159"/>
                  </a:lnTo>
                  <a:close/>
                  <a:moveTo>
                    <a:pt x="254" y="159"/>
                  </a:moveTo>
                  <a:lnTo>
                    <a:pt x="251" y="159"/>
                  </a:lnTo>
                  <a:lnTo>
                    <a:pt x="254" y="159"/>
                  </a:lnTo>
                  <a:close/>
                  <a:moveTo>
                    <a:pt x="223" y="159"/>
                  </a:moveTo>
                  <a:lnTo>
                    <a:pt x="221" y="159"/>
                  </a:lnTo>
                  <a:lnTo>
                    <a:pt x="223" y="159"/>
                  </a:lnTo>
                  <a:close/>
                  <a:moveTo>
                    <a:pt x="258" y="159"/>
                  </a:moveTo>
                  <a:lnTo>
                    <a:pt x="256" y="159"/>
                  </a:lnTo>
                  <a:lnTo>
                    <a:pt x="258" y="159"/>
                  </a:lnTo>
                  <a:lnTo>
                    <a:pt x="256" y="159"/>
                  </a:lnTo>
                  <a:lnTo>
                    <a:pt x="258" y="159"/>
                  </a:lnTo>
                  <a:close/>
                  <a:moveTo>
                    <a:pt x="261" y="159"/>
                  </a:moveTo>
                  <a:lnTo>
                    <a:pt x="258" y="159"/>
                  </a:lnTo>
                  <a:lnTo>
                    <a:pt x="261" y="159"/>
                  </a:lnTo>
                  <a:close/>
                  <a:moveTo>
                    <a:pt x="254" y="159"/>
                  </a:moveTo>
                  <a:lnTo>
                    <a:pt x="254" y="157"/>
                  </a:lnTo>
                  <a:lnTo>
                    <a:pt x="254" y="159"/>
                  </a:lnTo>
                  <a:close/>
                  <a:moveTo>
                    <a:pt x="261" y="159"/>
                  </a:moveTo>
                  <a:lnTo>
                    <a:pt x="258" y="159"/>
                  </a:lnTo>
                  <a:lnTo>
                    <a:pt x="258" y="157"/>
                  </a:lnTo>
                  <a:lnTo>
                    <a:pt x="261" y="157"/>
                  </a:lnTo>
                  <a:lnTo>
                    <a:pt x="261" y="159"/>
                  </a:lnTo>
                  <a:close/>
                  <a:moveTo>
                    <a:pt x="261" y="157"/>
                  </a:moveTo>
                  <a:lnTo>
                    <a:pt x="258" y="157"/>
                  </a:lnTo>
                  <a:lnTo>
                    <a:pt x="261" y="157"/>
                  </a:lnTo>
                  <a:close/>
                  <a:moveTo>
                    <a:pt x="261" y="155"/>
                  </a:moveTo>
                  <a:lnTo>
                    <a:pt x="261" y="157"/>
                  </a:lnTo>
                  <a:lnTo>
                    <a:pt x="261" y="155"/>
                  </a:lnTo>
                  <a:close/>
                  <a:moveTo>
                    <a:pt x="263" y="155"/>
                  </a:moveTo>
                  <a:lnTo>
                    <a:pt x="261" y="155"/>
                  </a:lnTo>
                  <a:lnTo>
                    <a:pt x="263" y="155"/>
                  </a:lnTo>
                  <a:close/>
                  <a:moveTo>
                    <a:pt x="266" y="155"/>
                  </a:moveTo>
                  <a:lnTo>
                    <a:pt x="266" y="152"/>
                  </a:lnTo>
                  <a:lnTo>
                    <a:pt x="266" y="155"/>
                  </a:lnTo>
                  <a:close/>
                  <a:moveTo>
                    <a:pt x="261" y="152"/>
                  </a:moveTo>
                  <a:lnTo>
                    <a:pt x="258" y="152"/>
                  </a:lnTo>
                  <a:lnTo>
                    <a:pt x="261" y="152"/>
                  </a:lnTo>
                  <a:close/>
                  <a:moveTo>
                    <a:pt x="270" y="152"/>
                  </a:moveTo>
                  <a:lnTo>
                    <a:pt x="270" y="150"/>
                  </a:lnTo>
                  <a:lnTo>
                    <a:pt x="270" y="152"/>
                  </a:lnTo>
                  <a:close/>
                  <a:moveTo>
                    <a:pt x="277" y="143"/>
                  </a:moveTo>
                  <a:lnTo>
                    <a:pt x="277" y="140"/>
                  </a:lnTo>
                  <a:lnTo>
                    <a:pt x="277" y="143"/>
                  </a:lnTo>
                  <a:close/>
                  <a:moveTo>
                    <a:pt x="280" y="140"/>
                  </a:moveTo>
                  <a:lnTo>
                    <a:pt x="282" y="140"/>
                  </a:lnTo>
                  <a:lnTo>
                    <a:pt x="282" y="143"/>
                  </a:lnTo>
                  <a:lnTo>
                    <a:pt x="280" y="143"/>
                  </a:lnTo>
                  <a:lnTo>
                    <a:pt x="280" y="140"/>
                  </a:lnTo>
                  <a:close/>
                  <a:moveTo>
                    <a:pt x="292" y="140"/>
                  </a:moveTo>
                  <a:lnTo>
                    <a:pt x="289" y="140"/>
                  </a:lnTo>
                  <a:lnTo>
                    <a:pt x="292" y="140"/>
                  </a:lnTo>
                  <a:lnTo>
                    <a:pt x="289" y="140"/>
                  </a:lnTo>
                  <a:lnTo>
                    <a:pt x="292" y="140"/>
                  </a:lnTo>
                  <a:close/>
                  <a:moveTo>
                    <a:pt x="282" y="140"/>
                  </a:moveTo>
                  <a:lnTo>
                    <a:pt x="282" y="138"/>
                  </a:lnTo>
                  <a:lnTo>
                    <a:pt x="282" y="140"/>
                  </a:lnTo>
                  <a:close/>
                  <a:moveTo>
                    <a:pt x="294" y="140"/>
                  </a:moveTo>
                  <a:lnTo>
                    <a:pt x="294" y="138"/>
                  </a:lnTo>
                  <a:lnTo>
                    <a:pt x="294" y="140"/>
                  </a:lnTo>
                  <a:close/>
                  <a:moveTo>
                    <a:pt x="294" y="136"/>
                  </a:moveTo>
                  <a:lnTo>
                    <a:pt x="294" y="138"/>
                  </a:lnTo>
                  <a:lnTo>
                    <a:pt x="294" y="136"/>
                  </a:lnTo>
                  <a:lnTo>
                    <a:pt x="294" y="138"/>
                  </a:lnTo>
                  <a:lnTo>
                    <a:pt x="294" y="136"/>
                  </a:lnTo>
                  <a:close/>
                  <a:moveTo>
                    <a:pt x="294" y="136"/>
                  </a:moveTo>
                  <a:lnTo>
                    <a:pt x="294" y="133"/>
                  </a:lnTo>
                  <a:lnTo>
                    <a:pt x="294" y="136"/>
                  </a:lnTo>
                  <a:close/>
                  <a:moveTo>
                    <a:pt x="325" y="129"/>
                  </a:moveTo>
                  <a:lnTo>
                    <a:pt x="327" y="129"/>
                  </a:lnTo>
                  <a:lnTo>
                    <a:pt x="327" y="131"/>
                  </a:lnTo>
                  <a:lnTo>
                    <a:pt x="325" y="131"/>
                  </a:lnTo>
                  <a:lnTo>
                    <a:pt x="325" y="129"/>
                  </a:lnTo>
                  <a:close/>
                  <a:moveTo>
                    <a:pt x="308" y="129"/>
                  </a:moveTo>
                  <a:lnTo>
                    <a:pt x="308" y="126"/>
                  </a:lnTo>
                  <a:lnTo>
                    <a:pt x="308" y="129"/>
                  </a:lnTo>
                  <a:close/>
                  <a:moveTo>
                    <a:pt x="330" y="121"/>
                  </a:moveTo>
                  <a:lnTo>
                    <a:pt x="332" y="121"/>
                  </a:lnTo>
                  <a:lnTo>
                    <a:pt x="330" y="121"/>
                  </a:lnTo>
                  <a:close/>
                  <a:moveTo>
                    <a:pt x="320" y="121"/>
                  </a:moveTo>
                  <a:lnTo>
                    <a:pt x="320" y="124"/>
                  </a:lnTo>
                  <a:lnTo>
                    <a:pt x="320" y="121"/>
                  </a:lnTo>
                  <a:close/>
                  <a:moveTo>
                    <a:pt x="327" y="121"/>
                  </a:moveTo>
                  <a:lnTo>
                    <a:pt x="327" y="124"/>
                  </a:lnTo>
                  <a:lnTo>
                    <a:pt x="327" y="121"/>
                  </a:lnTo>
                  <a:lnTo>
                    <a:pt x="327" y="124"/>
                  </a:lnTo>
                  <a:lnTo>
                    <a:pt x="330" y="124"/>
                  </a:lnTo>
                  <a:lnTo>
                    <a:pt x="327" y="124"/>
                  </a:lnTo>
                  <a:lnTo>
                    <a:pt x="330" y="124"/>
                  </a:lnTo>
                  <a:lnTo>
                    <a:pt x="327" y="124"/>
                  </a:lnTo>
                  <a:lnTo>
                    <a:pt x="330" y="124"/>
                  </a:lnTo>
                  <a:lnTo>
                    <a:pt x="327" y="124"/>
                  </a:lnTo>
                  <a:lnTo>
                    <a:pt x="330" y="124"/>
                  </a:lnTo>
                  <a:lnTo>
                    <a:pt x="327" y="126"/>
                  </a:lnTo>
                  <a:lnTo>
                    <a:pt x="330" y="126"/>
                  </a:lnTo>
                  <a:lnTo>
                    <a:pt x="327" y="126"/>
                  </a:lnTo>
                  <a:lnTo>
                    <a:pt x="330" y="126"/>
                  </a:lnTo>
                  <a:lnTo>
                    <a:pt x="327" y="126"/>
                  </a:lnTo>
                  <a:lnTo>
                    <a:pt x="330" y="126"/>
                  </a:lnTo>
                  <a:lnTo>
                    <a:pt x="327" y="126"/>
                  </a:lnTo>
                  <a:lnTo>
                    <a:pt x="327" y="129"/>
                  </a:lnTo>
                  <a:lnTo>
                    <a:pt x="325" y="129"/>
                  </a:lnTo>
                  <a:lnTo>
                    <a:pt x="327" y="129"/>
                  </a:lnTo>
                  <a:lnTo>
                    <a:pt x="325" y="126"/>
                  </a:lnTo>
                  <a:lnTo>
                    <a:pt x="327" y="126"/>
                  </a:lnTo>
                  <a:lnTo>
                    <a:pt x="327" y="124"/>
                  </a:lnTo>
                  <a:lnTo>
                    <a:pt x="327" y="126"/>
                  </a:lnTo>
                  <a:lnTo>
                    <a:pt x="327" y="124"/>
                  </a:lnTo>
                  <a:lnTo>
                    <a:pt x="327" y="126"/>
                  </a:lnTo>
                  <a:lnTo>
                    <a:pt x="325" y="126"/>
                  </a:lnTo>
                  <a:lnTo>
                    <a:pt x="325" y="124"/>
                  </a:lnTo>
                  <a:lnTo>
                    <a:pt x="325" y="121"/>
                  </a:lnTo>
                  <a:lnTo>
                    <a:pt x="327" y="121"/>
                  </a:lnTo>
                  <a:close/>
                  <a:moveTo>
                    <a:pt x="339" y="74"/>
                  </a:moveTo>
                  <a:lnTo>
                    <a:pt x="339" y="72"/>
                  </a:lnTo>
                  <a:lnTo>
                    <a:pt x="339" y="74"/>
                  </a:lnTo>
                  <a:close/>
                  <a:moveTo>
                    <a:pt x="339" y="62"/>
                  </a:moveTo>
                  <a:lnTo>
                    <a:pt x="337" y="62"/>
                  </a:lnTo>
                  <a:lnTo>
                    <a:pt x="339" y="62"/>
                  </a:lnTo>
                  <a:lnTo>
                    <a:pt x="339" y="60"/>
                  </a:lnTo>
                  <a:lnTo>
                    <a:pt x="339" y="62"/>
                  </a:lnTo>
                  <a:close/>
                  <a:moveTo>
                    <a:pt x="342" y="60"/>
                  </a:moveTo>
                  <a:lnTo>
                    <a:pt x="342" y="57"/>
                  </a:lnTo>
                  <a:lnTo>
                    <a:pt x="342" y="60"/>
                  </a:lnTo>
                  <a:close/>
                  <a:moveTo>
                    <a:pt x="346" y="53"/>
                  </a:moveTo>
                  <a:lnTo>
                    <a:pt x="349" y="53"/>
                  </a:lnTo>
                  <a:lnTo>
                    <a:pt x="349" y="55"/>
                  </a:lnTo>
                  <a:lnTo>
                    <a:pt x="349" y="53"/>
                  </a:lnTo>
                  <a:lnTo>
                    <a:pt x="349" y="55"/>
                  </a:lnTo>
                  <a:lnTo>
                    <a:pt x="346" y="55"/>
                  </a:lnTo>
                  <a:lnTo>
                    <a:pt x="346" y="53"/>
                  </a:lnTo>
                  <a:close/>
                  <a:moveTo>
                    <a:pt x="349" y="53"/>
                  </a:moveTo>
                  <a:lnTo>
                    <a:pt x="349" y="55"/>
                  </a:lnTo>
                  <a:lnTo>
                    <a:pt x="349" y="53"/>
                  </a:lnTo>
                  <a:lnTo>
                    <a:pt x="349" y="55"/>
                  </a:lnTo>
                  <a:lnTo>
                    <a:pt x="349" y="53"/>
                  </a:lnTo>
                  <a:close/>
                  <a:moveTo>
                    <a:pt x="351" y="50"/>
                  </a:moveTo>
                  <a:lnTo>
                    <a:pt x="349" y="50"/>
                  </a:lnTo>
                  <a:lnTo>
                    <a:pt x="351" y="50"/>
                  </a:lnTo>
                  <a:close/>
                  <a:moveTo>
                    <a:pt x="356" y="48"/>
                  </a:moveTo>
                  <a:lnTo>
                    <a:pt x="353" y="48"/>
                  </a:lnTo>
                  <a:lnTo>
                    <a:pt x="356" y="48"/>
                  </a:lnTo>
                  <a:close/>
                  <a:moveTo>
                    <a:pt x="353" y="48"/>
                  </a:moveTo>
                  <a:lnTo>
                    <a:pt x="351" y="48"/>
                  </a:lnTo>
                  <a:lnTo>
                    <a:pt x="353" y="48"/>
                  </a:lnTo>
                  <a:lnTo>
                    <a:pt x="351" y="48"/>
                  </a:lnTo>
                  <a:lnTo>
                    <a:pt x="353" y="48"/>
                  </a:lnTo>
                  <a:close/>
                  <a:moveTo>
                    <a:pt x="361" y="45"/>
                  </a:moveTo>
                  <a:lnTo>
                    <a:pt x="363" y="45"/>
                  </a:lnTo>
                  <a:lnTo>
                    <a:pt x="361" y="45"/>
                  </a:lnTo>
                  <a:lnTo>
                    <a:pt x="358" y="45"/>
                  </a:lnTo>
                  <a:lnTo>
                    <a:pt x="358" y="43"/>
                  </a:lnTo>
                  <a:lnTo>
                    <a:pt x="358" y="45"/>
                  </a:lnTo>
                  <a:lnTo>
                    <a:pt x="361" y="45"/>
                  </a:lnTo>
                  <a:close/>
                  <a:moveTo>
                    <a:pt x="356" y="43"/>
                  </a:moveTo>
                  <a:lnTo>
                    <a:pt x="358" y="43"/>
                  </a:lnTo>
                  <a:lnTo>
                    <a:pt x="358" y="45"/>
                  </a:lnTo>
                  <a:lnTo>
                    <a:pt x="358" y="43"/>
                  </a:lnTo>
                  <a:lnTo>
                    <a:pt x="356" y="43"/>
                  </a:lnTo>
                  <a:close/>
                  <a:moveTo>
                    <a:pt x="356" y="41"/>
                  </a:moveTo>
                  <a:lnTo>
                    <a:pt x="358" y="41"/>
                  </a:lnTo>
                  <a:lnTo>
                    <a:pt x="358" y="43"/>
                  </a:lnTo>
                  <a:lnTo>
                    <a:pt x="358" y="41"/>
                  </a:lnTo>
                  <a:lnTo>
                    <a:pt x="358" y="43"/>
                  </a:lnTo>
                  <a:lnTo>
                    <a:pt x="358" y="41"/>
                  </a:lnTo>
                  <a:lnTo>
                    <a:pt x="356" y="41"/>
                  </a:lnTo>
                  <a:lnTo>
                    <a:pt x="356" y="38"/>
                  </a:lnTo>
                  <a:lnTo>
                    <a:pt x="356" y="41"/>
                  </a:lnTo>
                  <a:close/>
                  <a:moveTo>
                    <a:pt x="346" y="38"/>
                  </a:moveTo>
                  <a:lnTo>
                    <a:pt x="346" y="41"/>
                  </a:lnTo>
                  <a:lnTo>
                    <a:pt x="346" y="38"/>
                  </a:lnTo>
                  <a:close/>
                  <a:moveTo>
                    <a:pt x="375" y="38"/>
                  </a:moveTo>
                  <a:lnTo>
                    <a:pt x="377" y="38"/>
                  </a:lnTo>
                  <a:lnTo>
                    <a:pt x="375" y="38"/>
                  </a:lnTo>
                  <a:close/>
                  <a:moveTo>
                    <a:pt x="358" y="38"/>
                  </a:moveTo>
                  <a:lnTo>
                    <a:pt x="356" y="38"/>
                  </a:lnTo>
                  <a:lnTo>
                    <a:pt x="356" y="36"/>
                  </a:lnTo>
                  <a:lnTo>
                    <a:pt x="356" y="38"/>
                  </a:lnTo>
                  <a:lnTo>
                    <a:pt x="358" y="38"/>
                  </a:lnTo>
                  <a:close/>
                  <a:moveTo>
                    <a:pt x="361" y="36"/>
                  </a:moveTo>
                  <a:lnTo>
                    <a:pt x="358" y="36"/>
                  </a:lnTo>
                  <a:lnTo>
                    <a:pt x="361" y="36"/>
                  </a:lnTo>
                  <a:close/>
                  <a:moveTo>
                    <a:pt x="349" y="36"/>
                  </a:moveTo>
                  <a:lnTo>
                    <a:pt x="346" y="36"/>
                  </a:lnTo>
                  <a:lnTo>
                    <a:pt x="349" y="36"/>
                  </a:lnTo>
                  <a:lnTo>
                    <a:pt x="346" y="38"/>
                  </a:lnTo>
                  <a:lnTo>
                    <a:pt x="346" y="36"/>
                  </a:lnTo>
                  <a:lnTo>
                    <a:pt x="349" y="36"/>
                  </a:lnTo>
                  <a:close/>
                  <a:moveTo>
                    <a:pt x="349" y="36"/>
                  </a:moveTo>
                  <a:lnTo>
                    <a:pt x="346" y="36"/>
                  </a:lnTo>
                  <a:lnTo>
                    <a:pt x="346" y="34"/>
                  </a:lnTo>
                  <a:lnTo>
                    <a:pt x="349" y="36"/>
                  </a:lnTo>
                  <a:close/>
                  <a:moveTo>
                    <a:pt x="358" y="34"/>
                  </a:moveTo>
                  <a:lnTo>
                    <a:pt x="361" y="34"/>
                  </a:lnTo>
                  <a:lnTo>
                    <a:pt x="358" y="34"/>
                  </a:lnTo>
                  <a:close/>
                  <a:moveTo>
                    <a:pt x="379" y="36"/>
                  </a:moveTo>
                  <a:lnTo>
                    <a:pt x="379" y="34"/>
                  </a:lnTo>
                  <a:lnTo>
                    <a:pt x="377" y="34"/>
                  </a:lnTo>
                  <a:lnTo>
                    <a:pt x="379" y="34"/>
                  </a:lnTo>
                  <a:lnTo>
                    <a:pt x="379" y="36"/>
                  </a:lnTo>
                  <a:close/>
                  <a:moveTo>
                    <a:pt x="358" y="34"/>
                  </a:moveTo>
                  <a:lnTo>
                    <a:pt x="356" y="34"/>
                  </a:lnTo>
                  <a:lnTo>
                    <a:pt x="358" y="34"/>
                  </a:lnTo>
                  <a:close/>
                  <a:moveTo>
                    <a:pt x="377" y="34"/>
                  </a:moveTo>
                  <a:lnTo>
                    <a:pt x="377" y="36"/>
                  </a:lnTo>
                  <a:lnTo>
                    <a:pt x="379" y="36"/>
                  </a:lnTo>
                  <a:lnTo>
                    <a:pt x="377" y="36"/>
                  </a:lnTo>
                  <a:lnTo>
                    <a:pt x="377" y="34"/>
                  </a:lnTo>
                  <a:lnTo>
                    <a:pt x="375" y="34"/>
                  </a:lnTo>
                  <a:lnTo>
                    <a:pt x="377" y="34"/>
                  </a:lnTo>
                  <a:close/>
                  <a:moveTo>
                    <a:pt x="363" y="34"/>
                  </a:moveTo>
                  <a:lnTo>
                    <a:pt x="365" y="34"/>
                  </a:lnTo>
                  <a:lnTo>
                    <a:pt x="365" y="36"/>
                  </a:lnTo>
                  <a:lnTo>
                    <a:pt x="363" y="36"/>
                  </a:lnTo>
                  <a:lnTo>
                    <a:pt x="363" y="34"/>
                  </a:lnTo>
                  <a:close/>
                  <a:moveTo>
                    <a:pt x="353" y="34"/>
                  </a:moveTo>
                  <a:lnTo>
                    <a:pt x="356" y="34"/>
                  </a:lnTo>
                  <a:lnTo>
                    <a:pt x="356" y="36"/>
                  </a:lnTo>
                  <a:lnTo>
                    <a:pt x="358" y="36"/>
                  </a:lnTo>
                  <a:lnTo>
                    <a:pt x="356" y="36"/>
                  </a:lnTo>
                  <a:lnTo>
                    <a:pt x="356" y="34"/>
                  </a:lnTo>
                  <a:lnTo>
                    <a:pt x="353" y="34"/>
                  </a:lnTo>
                  <a:lnTo>
                    <a:pt x="351" y="34"/>
                  </a:lnTo>
                  <a:lnTo>
                    <a:pt x="353" y="34"/>
                  </a:lnTo>
                  <a:close/>
                  <a:moveTo>
                    <a:pt x="379" y="34"/>
                  </a:moveTo>
                  <a:lnTo>
                    <a:pt x="382" y="34"/>
                  </a:lnTo>
                  <a:lnTo>
                    <a:pt x="379" y="34"/>
                  </a:lnTo>
                  <a:lnTo>
                    <a:pt x="382" y="34"/>
                  </a:lnTo>
                  <a:lnTo>
                    <a:pt x="379" y="34"/>
                  </a:lnTo>
                  <a:close/>
                  <a:moveTo>
                    <a:pt x="368" y="31"/>
                  </a:moveTo>
                  <a:lnTo>
                    <a:pt x="368" y="34"/>
                  </a:lnTo>
                  <a:lnTo>
                    <a:pt x="368" y="31"/>
                  </a:lnTo>
                  <a:close/>
                  <a:moveTo>
                    <a:pt x="384" y="29"/>
                  </a:moveTo>
                  <a:lnTo>
                    <a:pt x="384" y="31"/>
                  </a:lnTo>
                  <a:lnTo>
                    <a:pt x="384" y="29"/>
                  </a:lnTo>
                  <a:close/>
                  <a:moveTo>
                    <a:pt x="377" y="31"/>
                  </a:moveTo>
                  <a:lnTo>
                    <a:pt x="375" y="31"/>
                  </a:lnTo>
                  <a:lnTo>
                    <a:pt x="372" y="31"/>
                  </a:lnTo>
                  <a:lnTo>
                    <a:pt x="372" y="29"/>
                  </a:lnTo>
                  <a:lnTo>
                    <a:pt x="375" y="31"/>
                  </a:lnTo>
                  <a:lnTo>
                    <a:pt x="375" y="29"/>
                  </a:lnTo>
                  <a:lnTo>
                    <a:pt x="377" y="29"/>
                  </a:lnTo>
                  <a:lnTo>
                    <a:pt x="377" y="31"/>
                  </a:lnTo>
                  <a:close/>
                  <a:moveTo>
                    <a:pt x="370" y="29"/>
                  </a:moveTo>
                  <a:lnTo>
                    <a:pt x="370" y="31"/>
                  </a:lnTo>
                  <a:lnTo>
                    <a:pt x="372" y="31"/>
                  </a:lnTo>
                  <a:lnTo>
                    <a:pt x="370" y="31"/>
                  </a:lnTo>
                  <a:lnTo>
                    <a:pt x="372" y="31"/>
                  </a:lnTo>
                  <a:lnTo>
                    <a:pt x="370" y="31"/>
                  </a:lnTo>
                  <a:lnTo>
                    <a:pt x="368" y="31"/>
                  </a:lnTo>
                  <a:lnTo>
                    <a:pt x="368" y="29"/>
                  </a:lnTo>
                  <a:lnTo>
                    <a:pt x="370" y="29"/>
                  </a:lnTo>
                  <a:close/>
                  <a:moveTo>
                    <a:pt x="389" y="29"/>
                  </a:moveTo>
                  <a:lnTo>
                    <a:pt x="387" y="29"/>
                  </a:lnTo>
                  <a:lnTo>
                    <a:pt x="389" y="29"/>
                  </a:lnTo>
                  <a:lnTo>
                    <a:pt x="387" y="29"/>
                  </a:lnTo>
                  <a:lnTo>
                    <a:pt x="389" y="29"/>
                  </a:lnTo>
                  <a:lnTo>
                    <a:pt x="387" y="29"/>
                  </a:lnTo>
                  <a:lnTo>
                    <a:pt x="389" y="29"/>
                  </a:lnTo>
                  <a:lnTo>
                    <a:pt x="387" y="29"/>
                  </a:lnTo>
                  <a:lnTo>
                    <a:pt x="389" y="29"/>
                  </a:lnTo>
                  <a:close/>
                  <a:moveTo>
                    <a:pt x="363" y="26"/>
                  </a:moveTo>
                  <a:lnTo>
                    <a:pt x="365" y="26"/>
                  </a:lnTo>
                  <a:lnTo>
                    <a:pt x="365" y="29"/>
                  </a:lnTo>
                  <a:lnTo>
                    <a:pt x="363" y="29"/>
                  </a:lnTo>
                  <a:lnTo>
                    <a:pt x="363" y="26"/>
                  </a:lnTo>
                  <a:close/>
                  <a:moveTo>
                    <a:pt x="382" y="26"/>
                  </a:moveTo>
                  <a:lnTo>
                    <a:pt x="382" y="29"/>
                  </a:lnTo>
                  <a:lnTo>
                    <a:pt x="379" y="29"/>
                  </a:lnTo>
                  <a:lnTo>
                    <a:pt x="379" y="26"/>
                  </a:lnTo>
                  <a:lnTo>
                    <a:pt x="382" y="26"/>
                  </a:lnTo>
                  <a:close/>
                  <a:moveTo>
                    <a:pt x="387" y="29"/>
                  </a:moveTo>
                  <a:lnTo>
                    <a:pt x="387" y="26"/>
                  </a:lnTo>
                  <a:lnTo>
                    <a:pt x="384" y="26"/>
                  </a:lnTo>
                  <a:lnTo>
                    <a:pt x="387" y="26"/>
                  </a:lnTo>
                  <a:lnTo>
                    <a:pt x="387" y="29"/>
                  </a:lnTo>
                  <a:close/>
                  <a:moveTo>
                    <a:pt x="365" y="26"/>
                  </a:moveTo>
                  <a:lnTo>
                    <a:pt x="368" y="26"/>
                  </a:lnTo>
                  <a:lnTo>
                    <a:pt x="368" y="29"/>
                  </a:lnTo>
                  <a:lnTo>
                    <a:pt x="365" y="29"/>
                  </a:lnTo>
                  <a:lnTo>
                    <a:pt x="368" y="29"/>
                  </a:lnTo>
                  <a:lnTo>
                    <a:pt x="365" y="29"/>
                  </a:lnTo>
                  <a:lnTo>
                    <a:pt x="365" y="26"/>
                  </a:lnTo>
                  <a:close/>
                  <a:moveTo>
                    <a:pt x="361" y="26"/>
                  </a:moveTo>
                  <a:lnTo>
                    <a:pt x="363" y="26"/>
                  </a:lnTo>
                  <a:lnTo>
                    <a:pt x="361" y="26"/>
                  </a:lnTo>
                  <a:close/>
                  <a:moveTo>
                    <a:pt x="384" y="26"/>
                  </a:moveTo>
                  <a:lnTo>
                    <a:pt x="382" y="26"/>
                  </a:lnTo>
                  <a:lnTo>
                    <a:pt x="384" y="26"/>
                  </a:lnTo>
                  <a:close/>
                  <a:moveTo>
                    <a:pt x="375" y="26"/>
                  </a:moveTo>
                  <a:lnTo>
                    <a:pt x="377" y="26"/>
                  </a:lnTo>
                  <a:lnTo>
                    <a:pt x="375" y="26"/>
                  </a:lnTo>
                  <a:lnTo>
                    <a:pt x="375" y="24"/>
                  </a:lnTo>
                  <a:lnTo>
                    <a:pt x="375" y="26"/>
                  </a:lnTo>
                  <a:close/>
                  <a:moveTo>
                    <a:pt x="384" y="26"/>
                  </a:moveTo>
                  <a:lnTo>
                    <a:pt x="382" y="26"/>
                  </a:lnTo>
                  <a:lnTo>
                    <a:pt x="384" y="26"/>
                  </a:lnTo>
                  <a:lnTo>
                    <a:pt x="384" y="24"/>
                  </a:lnTo>
                  <a:lnTo>
                    <a:pt x="384" y="26"/>
                  </a:lnTo>
                  <a:close/>
                  <a:moveTo>
                    <a:pt x="370" y="24"/>
                  </a:moveTo>
                  <a:lnTo>
                    <a:pt x="372" y="26"/>
                  </a:lnTo>
                  <a:lnTo>
                    <a:pt x="375" y="26"/>
                  </a:lnTo>
                  <a:lnTo>
                    <a:pt x="375" y="29"/>
                  </a:lnTo>
                  <a:lnTo>
                    <a:pt x="375" y="26"/>
                  </a:lnTo>
                  <a:lnTo>
                    <a:pt x="372" y="26"/>
                  </a:lnTo>
                  <a:lnTo>
                    <a:pt x="372" y="29"/>
                  </a:lnTo>
                  <a:lnTo>
                    <a:pt x="372" y="26"/>
                  </a:lnTo>
                  <a:lnTo>
                    <a:pt x="372" y="29"/>
                  </a:lnTo>
                  <a:lnTo>
                    <a:pt x="370" y="29"/>
                  </a:lnTo>
                  <a:lnTo>
                    <a:pt x="370" y="26"/>
                  </a:lnTo>
                  <a:lnTo>
                    <a:pt x="370" y="24"/>
                  </a:lnTo>
                  <a:close/>
                  <a:moveTo>
                    <a:pt x="387" y="24"/>
                  </a:moveTo>
                  <a:lnTo>
                    <a:pt x="389" y="24"/>
                  </a:lnTo>
                  <a:lnTo>
                    <a:pt x="389" y="26"/>
                  </a:lnTo>
                  <a:lnTo>
                    <a:pt x="389" y="24"/>
                  </a:lnTo>
                  <a:lnTo>
                    <a:pt x="391" y="26"/>
                  </a:lnTo>
                  <a:lnTo>
                    <a:pt x="389" y="26"/>
                  </a:lnTo>
                  <a:lnTo>
                    <a:pt x="389" y="24"/>
                  </a:lnTo>
                  <a:lnTo>
                    <a:pt x="387" y="24"/>
                  </a:lnTo>
                  <a:close/>
                  <a:moveTo>
                    <a:pt x="387" y="24"/>
                  </a:moveTo>
                  <a:lnTo>
                    <a:pt x="384" y="24"/>
                  </a:lnTo>
                  <a:lnTo>
                    <a:pt x="384" y="26"/>
                  </a:lnTo>
                  <a:lnTo>
                    <a:pt x="384" y="24"/>
                  </a:lnTo>
                  <a:lnTo>
                    <a:pt x="387" y="24"/>
                  </a:lnTo>
                  <a:close/>
                  <a:moveTo>
                    <a:pt x="389" y="24"/>
                  </a:moveTo>
                  <a:lnTo>
                    <a:pt x="391" y="24"/>
                  </a:lnTo>
                  <a:lnTo>
                    <a:pt x="389" y="24"/>
                  </a:lnTo>
                  <a:close/>
                  <a:moveTo>
                    <a:pt x="382" y="22"/>
                  </a:moveTo>
                  <a:lnTo>
                    <a:pt x="379" y="22"/>
                  </a:lnTo>
                  <a:lnTo>
                    <a:pt x="382" y="22"/>
                  </a:lnTo>
                  <a:close/>
                  <a:moveTo>
                    <a:pt x="384" y="24"/>
                  </a:moveTo>
                  <a:lnTo>
                    <a:pt x="382" y="24"/>
                  </a:lnTo>
                  <a:lnTo>
                    <a:pt x="382" y="22"/>
                  </a:lnTo>
                  <a:lnTo>
                    <a:pt x="384" y="22"/>
                  </a:lnTo>
                  <a:lnTo>
                    <a:pt x="384" y="24"/>
                  </a:lnTo>
                  <a:lnTo>
                    <a:pt x="384" y="22"/>
                  </a:lnTo>
                  <a:lnTo>
                    <a:pt x="384" y="24"/>
                  </a:lnTo>
                  <a:close/>
                  <a:moveTo>
                    <a:pt x="422" y="24"/>
                  </a:moveTo>
                  <a:lnTo>
                    <a:pt x="420" y="24"/>
                  </a:lnTo>
                  <a:lnTo>
                    <a:pt x="420" y="22"/>
                  </a:lnTo>
                  <a:lnTo>
                    <a:pt x="422" y="22"/>
                  </a:lnTo>
                  <a:lnTo>
                    <a:pt x="422" y="24"/>
                  </a:lnTo>
                  <a:close/>
                  <a:moveTo>
                    <a:pt x="422" y="22"/>
                  </a:moveTo>
                  <a:lnTo>
                    <a:pt x="425" y="22"/>
                  </a:lnTo>
                  <a:lnTo>
                    <a:pt x="422" y="22"/>
                  </a:lnTo>
                  <a:close/>
                  <a:moveTo>
                    <a:pt x="429" y="22"/>
                  </a:moveTo>
                  <a:lnTo>
                    <a:pt x="432" y="22"/>
                  </a:lnTo>
                  <a:lnTo>
                    <a:pt x="429" y="22"/>
                  </a:lnTo>
                  <a:close/>
                  <a:moveTo>
                    <a:pt x="377" y="22"/>
                  </a:moveTo>
                  <a:lnTo>
                    <a:pt x="375" y="22"/>
                  </a:lnTo>
                  <a:lnTo>
                    <a:pt x="377" y="22"/>
                  </a:lnTo>
                  <a:lnTo>
                    <a:pt x="375" y="22"/>
                  </a:lnTo>
                  <a:lnTo>
                    <a:pt x="377" y="22"/>
                  </a:lnTo>
                  <a:close/>
                  <a:moveTo>
                    <a:pt x="384" y="22"/>
                  </a:moveTo>
                  <a:lnTo>
                    <a:pt x="382" y="22"/>
                  </a:lnTo>
                  <a:lnTo>
                    <a:pt x="384" y="22"/>
                  </a:lnTo>
                  <a:close/>
                  <a:moveTo>
                    <a:pt x="377" y="22"/>
                  </a:moveTo>
                  <a:lnTo>
                    <a:pt x="379" y="22"/>
                  </a:lnTo>
                  <a:lnTo>
                    <a:pt x="377" y="22"/>
                  </a:lnTo>
                  <a:close/>
                  <a:moveTo>
                    <a:pt x="391" y="19"/>
                  </a:moveTo>
                  <a:lnTo>
                    <a:pt x="389" y="22"/>
                  </a:lnTo>
                  <a:lnTo>
                    <a:pt x="389" y="19"/>
                  </a:lnTo>
                  <a:lnTo>
                    <a:pt x="391" y="19"/>
                  </a:lnTo>
                  <a:close/>
                  <a:moveTo>
                    <a:pt x="379" y="19"/>
                  </a:moveTo>
                  <a:lnTo>
                    <a:pt x="379" y="22"/>
                  </a:lnTo>
                  <a:lnTo>
                    <a:pt x="379" y="19"/>
                  </a:lnTo>
                  <a:close/>
                  <a:moveTo>
                    <a:pt x="432" y="19"/>
                  </a:moveTo>
                  <a:lnTo>
                    <a:pt x="429" y="19"/>
                  </a:lnTo>
                  <a:lnTo>
                    <a:pt x="432" y="19"/>
                  </a:lnTo>
                  <a:close/>
                  <a:moveTo>
                    <a:pt x="425" y="19"/>
                  </a:moveTo>
                  <a:lnTo>
                    <a:pt x="425" y="17"/>
                  </a:lnTo>
                  <a:lnTo>
                    <a:pt x="425" y="19"/>
                  </a:lnTo>
                  <a:close/>
                  <a:moveTo>
                    <a:pt x="375" y="19"/>
                  </a:moveTo>
                  <a:lnTo>
                    <a:pt x="372" y="19"/>
                  </a:lnTo>
                  <a:lnTo>
                    <a:pt x="372" y="17"/>
                  </a:lnTo>
                  <a:lnTo>
                    <a:pt x="372" y="19"/>
                  </a:lnTo>
                  <a:lnTo>
                    <a:pt x="375" y="19"/>
                  </a:lnTo>
                  <a:close/>
                  <a:moveTo>
                    <a:pt x="398" y="17"/>
                  </a:moveTo>
                  <a:lnTo>
                    <a:pt x="398" y="19"/>
                  </a:lnTo>
                  <a:lnTo>
                    <a:pt x="398" y="17"/>
                  </a:lnTo>
                  <a:lnTo>
                    <a:pt x="398" y="19"/>
                  </a:lnTo>
                  <a:lnTo>
                    <a:pt x="396" y="19"/>
                  </a:lnTo>
                  <a:lnTo>
                    <a:pt x="398" y="19"/>
                  </a:lnTo>
                  <a:lnTo>
                    <a:pt x="396" y="17"/>
                  </a:lnTo>
                  <a:lnTo>
                    <a:pt x="398" y="17"/>
                  </a:lnTo>
                  <a:lnTo>
                    <a:pt x="396" y="17"/>
                  </a:lnTo>
                  <a:lnTo>
                    <a:pt x="398" y="17"/>
                  </a:lnTo>
                  <a:close/>
                  <a:moveTo>
                    <a:pt x="396" y="17"/>
                  </a:moveTo>
                  <a:lnTo>
                    <a:pt x="396" y="19"/>
                  </a:lnTo>
                  <a:lnTo>
                    <a:pt x="396" y="17"/>
                  </a:lnTo>
                  <a:close/>
                  <a:moveTo>
                    <a:pt x="434" y="17"/>
                  </a:moveTo>
                  <a:lnTo>
                    <a:pt x="434" y="19"/>
                  </a:lnTo>
                  <a:lnTo>
                    <a:pt x="434" y="17"/>
                  </a:lnTo>
                  <a:close/>
                  <a:moveTo>
                    <a:pt x="434" y="19"/>
                  </a:moveTo>
                  <a:lnTo>
                    <a:pt x="434" y="17"/>
                  </a:lnTo>
                  <a:lnTo>
                    <a:pt x="434" y="19"/>
                  </a:lnTo>
                  <a:close/>
                  <a:moveTo>
                    <a:pt x="398" y="17"/>
                  </a:moveTo>
                  <a:lnTo>
                    <a:pt x="398" y="19"/>
                  </a:lnTo>
                  <a:lnTo>
                    <a:pt x="398" y="17"/>
                  </a:lnTo>
                  <a:close/>
                  <a:moveTo>
                    <a:pt x="379" y="17"/>
                  </a:moveTo>
                  <a:lnTo>
                    <a:pt x="379" y="19"/>
                  </a:lnTo>
                  <a:lnTo>
                    <a:pt x="379" y="17"/>
                  </a:lnTo>
                  <a:lnTo>
                    <a:pt x="377" y="17"/>
                  </a:lnTo>
                  <a:lnTo>
                    <a:pt x="379" y="17"/>
                  </a:lnTo>
                  <a:close/>
                  <a:moveTo>
                    <a:pt x="394" y="17"/>
                  </a:moveTo>
                  <a:lnTo>
                    <a:pt x="391" y="17"/>
                  </a:lnTo>
                  <a:lnTo>
                    <a:pt x="394" y="17"/>
                  </a:lnTo>
                  <a:close/>
                  <a:moveTo>
                    <a:pt x="387" y="17"/>
                  </a:moveTo>
                  <a:lnTo>
                    <a:pt x="384" y="17"/>
                  </a:lnTo>
                  <a:lnTo>
                    <a:pt x="387" y="17"/>
                  </a:lnTo>
                  <a:close/>
                  <a:moveTo>
                    <a:pt x="387" y="17"/>
                  </a:moveTo>
                  <a:lnTo>
                    <a:pt x="387" y="19"/>
                  </a:lnTo>
                  <a:lnTo>
                    <a:pt x="387" y="17"/>
                  </a:lnTo>
                  <a:close/>
                  <a:moveTo>
                    <a:pt x="384" y="19"/>
                  </a:moveTo>
                  <a:lnTo>
                    <a:pt x="384" y="17"/>
                  </a:lnTo>
                  <a:lnTo>
                    <a:pt x="384" y="19"/>
                  </a:lnTo>
                  <a:close/>
                  <a:moveTo>
                    <a:pt x="429" y="17"/>
                  </a:moveTo>
                  <a:lnTo>
                    <a:pt x="427" y="17"/>
                  </a:lnTo>
                  <a:lnTo>
                    <a:pt x="429" y="17"/>
                  </a:lnTo>
                  <a:close/>
                  <a:moveTo>
                    <a:pt x="434" y="17"/>
                  </a:moveTo>
                  <a:lnTo>
                    <a:pt x="432" y="17"/>
                  </a:lnTo>
                  <a:lnTo>
                    <a:pt x="434" y="17"/>
                  </a:lnTo>
                  <a:close/>
                  <a:moveTo>
                    <a:pt x="377" y="15"/>
                  </a:moveTo>
                  <a:lnTo>
                    <a:pt x="377" y="17"/>
                  </a:lnTo>
                  <a:lnTo>
                    <a:pt x="377" y="15"/>
                  </a:lnTo>
                  <a:lnTo>
                    <a:pt x="377" y="17"/>
                  </a:lnTo>
                  <a:lnTo>
                    <a:pt x="377" y="15"/>
                  </a:lnTo>
                  <a:close/>
                  <a:moveTo>
                    <a:pt x="391" y="17"/>
                  </a:moveTo>
                  <a:lnTo>
                    <a:pt x="391" y="15"/>
                  </a:lnTo>
                  <a:lnTo>
                    <a:pt x="391" y="17"/>
                  </a:lnTo>
                  <a:close/>
                  <a:moveTo>
                    <a:pt x="403" y="15"/>
                  </a:moveTo>
                  <a:lnTo>
                    <a:pt x="401" y="15"/>
                  </a:lnTo>
                  <a:lnTo>
                    <a:pt x="403" y="15"/>
                  </a:lnTo>
                  <a:lnTo>
                    <a:pt x="401" y="15"/>
                  </a:lnTo>
                  <a:lnTo>
                    <a:pt x="403" y="15"/>
                  </a:lnTo>
                  <a:close/>
                  <a:moveTo>
                    <a:pt x="394" y="15"/>
                  </a:moveTo>
                  <a:lnTo>
                    <a:pt x="396" y="15"/>
                  </a:lnTo>
                  <a:lnTo>
                    <a:pt x="394" y="15"/>
                  </a:lnTo>
                  <a:lnTo>
                    <a:pt x="396" y="17"/>
                  </a:lnTo>
                  <a:lnTo>
                    <a:pt x="396" y="19"/>
                  </a:lnTo>
                  <a:lnTo>
                    <a:pt x="394" y="17"/>
                  </a:lnTo>
                  <a:lnTo>
                    <a:pt x="394" y="19"/>
                  </a:lnTo>
                  <a:lnTo>
                    <a:pt x="394" y="17"/>
                  </a:lnTo>
                  <a:lnTo>
                    <a:pt x="391" y="17"/>
                  </a:lnTo>
                  <a:lnTo>
                    <a:pt x="394" y="17"/>
                  </a:lnTo>
                  <a:lnTo>
                    <a:pt x="391" y="17"/>
                  </a:lnTo>
                  <a:lnTo>
                    <a:pt x="391" y="15"/>
                  </a:lnTo>
                  <a:lnTo>
                    <a:pt x="394" y="15"/>
                  </a:lnTo>
                  <a:close/>
                  <a:moveTo>
                    <a:pt x="391" y="15"/>
                  </a:moveTo>
                  <a:lnTo>
                    <a:pt x="391" y="17"/>
                  </a:lnTo>
                  <a:lnTo>
                    <a:pt x="391" y="15"/>
                  </a:lnTo>
                  <a:close/>
                  <a:moveTo>
                    <a:pt x="413" y="15"/>
                  </a:moveTo>
                  <a:lnTo>
                    <a:pt x="413" y="17"/>
                  </a:lnTo>
                  <a:lnTo>
                    <a:pt x="413" y="15"/>
                  </a:lnTo>
                  <a:close/>
                  <a:moveTo>
                    <a:pt x="358" y="17"/>
                  </a:moveTo>
                  <a:lnTo>
                    <a:pt x="356" y="17"/>
                  </a:lnTo>
                  <a:lnTo>
                    <a:pt x="356" y="15"/>
                  </a:lnTo>
                  <a:lnTo>
                    <a:pt x="358" y="17"/>
                  </a:lnTo>
                  <a:close/>
                  <a:moveTo>
                    <a:pt x="401" y="15"/>
                  </a:moveTo>
                  <a:lnTo>
                    <a:pt x="403" y="15"/>
                  </a:lnTo>
                  <a:lnTo>
                    <a:pt x="401" y="15"/>
                  </a:lnTo>
                  <a:close/>
                  <a:moveTo>
                    <a:pt x="415" y="15"/>
                  </a:moveTo>
                  <a:lnTo>
                    <a:pt x="415" y="12"/>
                  </a:lnTo>
                  <a:lnTo>
                    <a:pt x="415" y="15"/>
                  </a:lnTo>
                  <a:close/>
                  <a:moveTo>
                    <a:pt x="422" y="12"/>
                  </a:moveTo>
                  <a:lnTo>
                    <a:pt x="422" y="15"/>
                  </a:lnTo>
                  <a:lnTo>
                    <a:pt x="422" y="17"/>
                  </a:lnTo>
                  <a:lnTo>
                    <a:pt x="420" y="17"/>
                  </a:lnTo>
                  <a:lnTo>
                    <a:pt x="420" y="15"/>
                  </a:lnTo>
                  <a:lnTo>
                    <a:pt x="417" y="15"/>
                  </a:lnTo>
                  <a:lnTo>
                    <a:pt x="420" y="15"/>
                  </a:lnTo>
                  <a:lnTo>
                    <a:pt x="417" y="15"/>
                  </a:lnTo>
                  <a:lnTo>
                    <a:pt x="420" y="15"/>
                  </a:lnTo>
                  <a:lnTo>
                    <a:pt x="420" y="12"/>
                  </a:lnTo>
                  <a:lnTo>
                    <a:pt x="420" y="15"/>
                  </a:lnTo>
                  <a:lnTo>
                    <a:pt x="420" y="12"/>
                  </a:lnTo>
                  <a:lnTo>
                    <a:pt x="420" y="15"/>
                  </a:lnTo>
                  <a:lnTo>
                    <a:pt x="422" y="15"/>
                  </a:lnTo>
                  <a:lnTo>
                    <a:pt x="422" y="12"/>
                  </a:lnTo>
                  <a:lnTo>
                    <a:pt x="422" y="15"/>
                  </a:lnTo>
                  <a:lnTo>
                    <a:pt x="422" y="12"/>
                  </a:lnTo>
                  <a:close/>
                  <a:moveTo>
                    <a:pt x="410" y="12"/>
                  </a:moveTo>
                  <a:lnTo>
                    <a:pt x="410" y="15"/>
                  </a:lnTo>
                  <a:lnTo>
                    <a:pt x="410" y="12"/>
                  </a:lnTo>
                  <a:close/>
                  <a:moveTo>
                    <a:pt x="425" y="12"/>
                  </a:moveTo>
                  <a:lnTo>
                    <a:pt x="425" y="15"/>
                  </a:lnTo>
                  <a:lnTo>
                    <a:pt x="422" y="15"/>
                  </a:lnTo>
                  <a:lnTo>
                    <a:pt x="425" y="12"/>
                  </a:lnTo>
                  <a:lnTo>
                    <a:pt x="422" y="12"/>
                  </a:lnTo>
                  <a:lnTo>
                    <a:pt x="425" y="12"/>
                  </a:lnTo>
                  <a:close/>
                  <a:moveTo>
                    <a:pt x="427" y="12"/>
                  </a:moveTo>
                  <a:lnTo>
                    <a:pt x="425" y="12"/>
                  </a:lnTo>
                  <a:lnTo>
                    <a:pt x="427" y="12"/>
                  </a:lnTo>
                  <a:close/>
                  <a:moveTo>
                    <a:pt x="406" y="12"/>
                  </a:moveTo>
                  <a:lnTo>
                    <a:pt x="406" y="15"/>
                  </a:lnTo>
                  <a:lnTo>
                    <a:pt x="403" y="15"/>
                  </a:lnTo>
                  <a:lnTo>
                    <a:pt x="406" y="15"/>
                  </a:lnTo>
                  <a:lnTo>
                    <a:pt x="408" y="15"/>
                  </a:lnTo>
                  <a:lnTo>
                    <a:pt x="406" y="15"/>
                  </a:lnTo>
                  <a:lnTo>
                    <a:pt x="406" y="17"/>
                  </a:lnTo>
                  <a:lnTo>
                    <a:pt x="406" y="15"/>
                  </a:lnTo>
                  <a:lnTo>
                    <a:pt x="403" y="15"/>
                  </a:lnTo>
                  <a:lnTo>
                    <a:pt x="403" y="12"/>
                  </a:lnTo>
                  <a:lnTo>
                    <a:pt x="406" y="15"/>
                  </a:lnTo>
                  <a:lnTo>
                    <a:pt x="406" y="12"/>
                  </a:lnTo>
                  <a:lnTo>
                    <a:pt x="403" y="12"/>
                  </a:lnTo>
                  <a:lnTo>
                    <a:pt x="406" y="12"/>
                  </a:lnTo>
                  <a:close/>
                  <a:moveTo>
                    <a:pt x="389" y="12"/>
                  </a:moveTo>
                  <a:lnTo>
                    <a:pt x="389" y="15"/>
                  </a:lnTo>
                  <a:lnTo>
                    <a:pt x="391" y="17"/>
                  </a:lnTo>
                  <a:lnTo>
                    <a:pt x="389" y="17"/>
                  </a:lnTo>
                  <a:lnTo>
                    <a:pt x="387" y="15"/>
                  </a:lnTo>
                  <a:lnTo>
                    <a:pt x="389" y="15"/>
                  </a:lnTo>
                  <a:lnTo>
                    <a:pt x="387" y="15"/>
                  </a:lnTo>
                  <a:lnTo>
                    <a:pt x="389" y="15"/>
                  </a:lnTo>
                  <a:lnTo>
                    <a:pt x="387" y="15"/>
                  </a:lnTo>
                  <a:lnTo>
                    <a:pt x="387" y="12"/>
                  </a:lnTo>
                  <a:lnTo>
                    <a:pt x="389" y="12"/>
                  </a:lnTo>
                  <a:close/>
                  <a:moveTo>
                    <a:pt x="391" y="12"/>
                  </a:moveTo>
                  <a:lnTo>
                    <a:pt x="389" y="12"/>
                  </a:lnTo>
                  <a:lnTo>
                    <a:pt x="391" y="12"/>
                  </a:lnTo>
                  <a:close/>
                  <a:moveTo>
                    <a:pt x="413" y="12"/>
                  </a:moveTo>
                  <a:lnTo>
                    <a:pt x="410" y="12"/>
                  </a:lnTo>
                  <a:lnTo>
                    <a:pt x="413" y="12"/>
                  </a:lnTo>
                  <a:close/>
                  <a:moveTo>
                    <a:pt x="429" y="12"/>
                  </a:moveTo>
                  <a:lnTo>
                    <a:pt x="427" y="12"/>
                  </a:lnTo>
                  <a:lnTo>
                    <a:pt x="429" y="12"/>
                  </a:lnTo>
                  <a:close/>
                  <a:moveTo>
                    <a:pt x="403" y="12"/>
                  </a:moveTo>
                  <a:lnTo>
                    <a:pt x="403" y="10"/>
                  </a:lnTo>
                  <a:lnTo>
                    <a:pt x="406" y="12"/>
                  </a:lnTo>
                  <a:lnTo>
                    <a:pt x="403" y="12"/>
                  </a:lnTo>
                  <a:close/>
                  <a:moveTo>
                    <a:pt x="413" y="12"/>
                  </a:moveTo>
                  <a:lnTo>
                    <a:pt x="413" y="10"/>
                  </a:lnTo>
                  <a:lnTo>
                    <a:pt x="413" y="12"/>
                  </a:lnTo>
                  <a:close/>
                  <a:moveTo>
                    <a:pt x="377" y="12"/>
                  </a:moveTo>
                  <a:lnTo>
                    <a:pt x="377" y="10"/>
                  </a:lnTo>
                  <a:lnTo>
                    <a:pt x="377" y="12"/>
                  </a:lnTo>
                  <a:close/>
                  <a:moveTo>
                    <a:pt x="410" y="10"/>
                  </a:moveTo>
                  <a:lnTo>
                    <a:pt x="410" y="12"/>
                  </a:lnTo>
                  <a:lnTo>
                    <a:pt x="410" y="10"/>
                  </a:lnTo>
                  <a:lnTo>
                    <a:pt x="410" y="12"/>
                  </a:lnTo>
                  <a:lnTo>
                    <a:pt x="410" y="10"/>
                  </a:lnTo>
                  <a:close/>
                  <a:moveTo>
                    <a:pt x="434" y="10"/>
                  </a:moveTo>
                  <a:lnTo>
                    <a:pt x="434" y="12"/>
                  </a:lnTo>
                  <a:lnTo>
                    <a:pt x="432" y="12"/>
                  </a:lnTo>
                  <a:lnTo>
                    <a:pt x="432" y="10"/>
                  </a:lnTo>
                  <a:lnTo>
                    <a:pt x="434" y="10"/>
                  </a:lnTo>
                  <a:close/>
                  <a:moveTo>
                    <a:pt x="432" y="10"/>
                  </a:moveTo>
                  <a:lnTo>
                    <a:pt x="434" y="10"/>
                  </a:lnTo>
                  <a:lnTo>
                    <a:pt x="432" y="10"/>
                  </a:lnTo>
                  <a:close/>
                  <a:moveTo>
                    <a:pt x="389" y="12"/>
                  </a:moveTo>
                  <a:lnTo>
                    <a:pt x="389" y="10"/>
                  </a:lnTo>
                  <a:lnTo>
                    <a:pt x="387" y="10"/>
                  </a:lnTo>
                  <a:lnTo>
                    <a:pt x="389" y="10"/>
                  </a:lnTo>
                  <a:lnTo>
                    <a:pt x="389" y="12"/>
                  </a:lnTo>
                  <a:close/>
                  <a:moveTo>
                    <a:pt x="413" y="10"/>
                  </a:moveTo>
                  <a:lnTo>
                    <a:pt x="410" y="10"/>
                  </a:lnTo>
                  <a:lnTo>
                    <a:pt x="413" y="10"/>
                  </a:lnTo>
                  <a:close/>
                  <a:moveTo>
                    <a:pt x="379" y="10"/>
                  </a:moveTo>
                  <a:lnTo>
                    <a:pt x="379" y="12"/>
                  </a:lnTo>
                  <a:lnTo>
                    <a:pt x="379" y="10"/>
                  </a:lnTo>
                  <a:close/>
                  <a:moveTo>
                    <a:pt x="389" y="7"/>
                  </a:moveTo>
                  <a:lnTo>
                    <a:pt x="387" y="7"/>
                  </a:lnTo>
                  <a:lnTo>
                    <a:pt x="389" y="7"/>
                  </a:lnTo>
                  <a:close/>
                  <a:moveTo>
                    <a:pt x="432" y="0"/>
                  </a:moveTo>
                  <a:lnTo>
                    <a:pt x="429" y="0"/>
                  </a:lnTo>
                  <a:lnTo>
                    <a:pt x="43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1" name="Freeform 57121"/>
            <p:cNvSpPr>
              <a:spLocks noEditPoints="1"/>
            </p:cNvSpPr>
            <p:nvPr/>
          </p:nvSpPr>
          <p:spPr bwMode="auto">
            <a:xfrm>
              <a:off x="2601910" y="3335350"/>
              <a:ext cx="685800" cy="936628"/>
            </a:xfrm>
            <a:custGeom>
              <a:avLst/>
              <a:gdLst>
                <a:gd name="T0" fmla="*/ 123 w 432"/>
                <a:gd name="T1" fmla="*/ 554 h 590"/>
                <a:gd name="T2" fmla="*/ 178 w 432"/>
                <a:gd name="T3" fmla="*/ 523 h 590"/>
                <a:gd name="T4" fmla="*/ 185 w 432"/>
                <a:gd name="T5" fmla="*/ 509 h 590"/>
                <a:gd name="T6" fmla="*/ 187 w 432"/>
                <a:gd name="T7" fmla="*/ 495 h 590"/>
                <a:gd name="T8" fmla="*/ 187 w 432"/>
                <a:gd name="T9" fmla="*/ 483 h 590"/>
                <a:gd name="T10" fmla="*/ 31 w 432"/>
                <a:gd name="T11" fmla="*/ 478 h 590"/>
                <a:gd name="T12" fmla="*/ 258 w 432"/>
                <a:gd name="T13" fmla="*/ 473 h 590"/>
                <a:gd name="T14" fmla="*/ 185 w 432"/>
                <a:gd name="T15" fmla="*/ 466 h 590"/>
                <a:gd name="T16" fmla="*/ 192 w 432"/>
                <a:gd name="T17" fmla="*/ 464 h 590"/>
                <a:gd name="T18" fmla="*/ 16 w 432"/>
                <a:gd name="T19" fmla="*/ 461 h 590"/>
                <a:gd name="T20" fmla="*/ 26 w 432"/>
                <a:gd name="T21" fmla="*/ 457 h 590"/>
                <a:gd name="T22" fmla="*/ 197 w 432"/>
                <a:gd name="T23" fmla="*/ 449 h 590"/>
                <a:gd name="T24" fmla="*/ 199 w 432"/>
                <a:gd name="T25" fmla="*/ 445 h 590"/>
                <a:gd name="T26" fmla="*/ 202 w 432"/>
                <a:gd name="T27" fmla="*/ 445 h 590"/>
                <a:gd name="T28" fmla="*/ 14 w 432"/>
                <a:gd name="T29" fmla="*/ 442 h 590"/>
                <a:gd name="T30" fmla="*/ 197 w 432"/>
                <a:gd name="T31" fmla="*/ 438 h 590"/>
                <a:gd name="T32" fmla="*/ 9 w 432"/>
                <a:gd name="T33" fmla="*/ 433 h 590"/>
                <a:gd name="T34" fmla="*/ 197 w 432"/>
                <a:gd name="T35" fmla="*/ 430 h 590"/>
                <a:gd name="T36" fmla="*/ 7 w 432"/>
                <a:gd name="T37" fmla="*/ 428 h 590"/>
                <a:gd name="T38" fmla="*/ 206 w 432"/>
                <a:gd name="T39" fmla="*/ 421 h 590"/>
                <a:gd name="T40" fmla="*/ 218 w 432"/>
                <a:gd name="T41" fmla="*/ 419 h 590"/>
                <a:gd name="T42" fmla="*/ 7 w 432"/>
                <a:gd name="T43" fmla="*/ 416 h 590"/>
                <a:gd name="T44" fmla="*/ 237 w 432"/>
                <a:gd name="T45" fmla="*/ 411 h 590"/>
                <a:gd name="T46" fmla="*/ 223 w 432"/>
                <a:gd name="T47" fmla="*/ 409 h 590"/>
                <a:gd name="T48" fmla="*/ 235 w 432"/>
                <a:gd name="T49" fmla="*/ 404 h 590"/>
                <a:gd name="T50" fmla="*/ 258 w 432"/>
                <a:gd name="T51" fmla="*/ 397 h 590"/>
                <a:gd name="T52" fmla="*/ 258 w 432"/>
                <a:gd name="T53" fmla="*/ 395 h 590"/>
                <a:gd name="T54" fmla="*/ 261 w 432"/>
                <a:gd name="T55" fmla="*/ 388 h 590"/>
                <a:gd name="T56" fmla="*/ 244 w 432"/>
                <a:gd name="T57" fmla="*/ 385 h 590"/>
                <a:gd name="T58" fmla="*/ 251 w 432"/>
                <a:gd name="T59" fmla="*/ 383 h 590"/>
                <a:gd name="T60" fmla="*/ 273 w 432"/>
                <a:gd name="T61" fmla="*/ 381 h 590"/>
                <a:gd name="T62" fmla="*/ 275 w 432"/>
                <a:gd name="T63" fmla="*/ 378 h 590"/>
                <a:gd name="T64" fmla="*/ 282 w 432"/>
                <a:gd name="T65" fmla="*/ 378 h 590"/>
                <a:gd name="T66" fmla="*/ 256 w 432"/>
                <a:gd name="T67" fmla="*/ 371 h 590"/>
                <a:gd name="T68" fmla="*/ 277 w 432"/>
                <a:gd name="T69" fmla="*/ 369 h 590"/>
                <a:gd name="T70" fmla="*/ 268 w 432"/>
                <a:gd name="T71" fmla="*/ 362 h 590"/>
                <a:gd name="T72" fmla="*/ 249 w 432"/>
                <a:gd name="T73" fmla="*/ 343 h 590"/>
                <a:gd name="T74" fmla="*/ 251 w 432"/>
                <a:gd name="T75" fmla="*/ 340 h 590"/>
                <a:gd name="T76" fmla="*/ 251 w 432"/>
                <a:gd name="T77" fmla="*/ 331 h 590"/>
                <a:gd name="T78" fmla="*/ 235 w 432"/>
                <a:gd name="T79" fmla="*/ 328 h 590"/>
                <a:gd name="T80" fmla="*/ 232 w 432"/>
                <a:gd name="T81" fmla="*/ 326 h 590"/>
                <a:gd name="T82" fmla="*/ 218 w 432"/>
                <a:gd name="T83" fmla="*/ 319 h 590"/>
                <a:gd name="T84" fmla="*/ 206 w 432"/>
                <a:gd name="T85" fmla="*/ 300 h 590"/>
                <a:gd name="T86" fmla="*/ 204 w 432"/>
                <a:gd name="T87" fmla="*/ 283 h 590"/>
                <a:gd name="T88" fmla="*/ 204 w 432"/>
                <a:gd name="T89" fmla="*/ 267 h 590"/>
                <a:gd name="T90" fmla="*/ 225 w 432"/>
                <a:gd name="T91" fmla="*/ 219 h 590"/>
                <a:gd name="T92" fmla="*/ 223 w 432"/>
                <a:gd name="T93" fmla="*/ 186 h 590"/>
                <a:gd name="T94" fmla="*/ 263 w 432"/>
                <a:gd name="T95" fmla="*/ 179 h 590"/>
                <a:gd name="T96" fmla="*/ 280 w 432"/>
                <a:gd name="T97" fmla="*/ 167 h 590"/>
                <a:gd name="T98" fmla="*/ 292 w 432"/>
                <a:gd name="T99" fmla="*/ 162 h 590"/>
                <a:gd name="T100" fmla="*/ 325 w 432"/>
                <a:gd name="T101" fmla="*/ 153 h 590"/>
                <a:gd name="T102" fmla="*/ 315 w 432"/>
                <a:gd name="T103" fmla="*/ 148 h 590"/>
                <a:gd name="T104" fmla="*/ 327 w 432"/>
                <a:gd name="T105" fmla="*/ 131 h 590"/>
                <a:gd name="T106" fmla="*/ 342 w 432"/>
                <a:gd name="T107" fmla="*/ 93 h 590"/>
                <a:gd name="T108" fmla="*/ 351 w 432"/>
                <a:gd name="T109" fmla="*/ 67 h 590"/>
                <a:gd name="T110" fmla="*/ 363 w 432"/>
                <a:gd name="T111" fmla="*/ 60 h 590"/>
                <a:gd name="T112" fmla="*/ 375 w 432"/>
                <a:gd name="T113" fmla="*/ 53 h 590"/>
                <a:gd name="T114" fmla="*/ 398 w 432"/>
                <a:gd name="T115" fmla="*/ 43 h 590"/>
                <a:gd name="T116" fmla="*/ 394 w 432"/>
                <a:gd name="T117" fmla="*/ 41 h 590"/>
                <a:gd name="T118" fmla="*/ 415 w 432"/>
                <a:gd name="T119" fmla="*/ 39 h 590"/>
                <a:gd name="T120" fmla="*/ 387 w 432"/>
                <a:gd name="T121" fmla="*/ 39 h 590"/>
                <a:gd name="T122" fmla="*/ 429 w 432"/>
                <a:gd name="T123" fmla="*/ 34 h 590"/>
                <a:gd name="T124" fmla="*/ 377 w 432"/>
                <a:gd name="T125" fmla="*/ 31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2" h="590">
                  <a:moveTo>
                    <a:pt x="64" y="587"/>
                  </a:moveTo>
                  <a:lnTo>
                    <a:pt x="64" y="590"/>
                  </a:lnTo>
                  <a:lnTo>
                    <a:pt x="64" y="587"/>
                  </a:lnTo>
                  <a:close/>
                  <a:moveTo>
                    <a:pt x="64" y="587"/>
                  </a:moveTo>
                  <a:lnTo>
                    <a:pt x="64" y="590"/>
                  </a:lnTo>
                  <a:lnTo>
                    <a:pt x="64" y="587"/>
                  </a:lnTo>
                  <a:close/>
                  <a:moveTo>
                    <a:pt x="118" y="561"/>
                  </a:moveTo>
                  <a:lnTo>
                    <a:pt x="118" y="559"/>
                  </a:lnTo>
                  <a:lnTo>
                    <a:pt x="118" y="561"/>
                  </a:lnTo>
                  <a:close/>
                  <a:moveTo>
                    <a:pt x="116" y="559"/>
                  </a:moveTo>
                  <a:lnTo>
                    <a:pt x="118" y="559"/>
                  </a:lnTo>
                  <a:lnTo>
                    <a:pt x="116" y="559"/>
                  </a:lnTo>
                  <a:close/>
                  <a:moveTo>
                    <a:pt x="159" y="556"/>
                  </a:moveTo>
                  <a:lnTo>
                    <a:pt x="156" y="559"/>
                  </a:lnTo>
                  <a:lnTo>
                    <a:pt x="156" y="556"/>
                  </a:lnTo>
                  <a:lnTo>
                    <a:pt x="159" y="556"/>
                  </a:lnTo>
                  <a:close/>
                  <a:moveTo>
                    <a:pt x="147" y="554"/>
                  </a:moveTo>
                  <a:lnTo>
                    <a:pt x="147" y="556"/>
                  </a:lnTo>
                  <a:lnTo>
                    <a:pt x="147" y="554"/>
                  </a:lnTo>
                  <a:close/>
                  <a:moveTo>
                    <a:pt x="147" y="554"/>
                  </a:moveTo>
                  <a:lnTo>
                    <a:pt x="145" y="554"/>
                  </a:lnTo>
                  <a:lnTo>
                    <a:pt x="147" y="554"/>
                  </a:lnTo>
                  <a:close/>
                  <a:moveTo>
                    <a:pt x="137" y="554"/>
                  </a:moveTo>
                  <a:lnTo>
                    <a:pt x="135" y="554"/>
                  </a:lnTo>
                  <a:lnTo>
                    <a:pt x="137" y="554"/>
                  </a:lnTo>
                  <a:close/>
                  <a:moveTo>
                    <a:pt x="149" y="554"/>
                  </a:moveTo>
                  <a:lnTo>
                    <a:pt x="149" y="552"/>
                  </a:lnTo>
                  <a:lnTo>
                    <a:pt x="149" y="554"/>
                  </a:lnTo>
                  <a:close/>
                  <a:moveTo>
                    <a:pt x="123" y="554"/>
                  </a:moveTo>
                  <a:lnTo>
                    <a:pt x="123" y="552"/>
                  </a:lnTo>
                  <a:lnTo>
                    <a:pt x="123" y="554"/>
                  </a:lnTo>
                  <a:close/>
                  <a:moveTo>
                    <a:pt x="133" y="552"/>
                  </a:moveTo>
                  <a:lnTo>
                    <a:pt x="133" y="554"/>
                  </a:lnTo>
                  <a:lnTo>
                    <a:pt x="133" y="552"/>
                  </a:lnTo>
                  <a:close/>
                  <a:moveTo>
                    <a:pt x="140" y="554"/>
                  </a:moveTo>
                  <a:lnTo>
                    <a:pt x="140" y="552"/>
                  </a:lnTo>
                  <a:lnTo>
                    <a:pt x="140" y="554"/>
                  </a:lnTo>
                  <a:close/>
                  <a:moveTo>
                    <a:pt x="142" y="552"/>
                  </a:moveTo>
                  <a:lnTo>
                    <a:pt x="142" y="554"/>
                  </a:lnTo>
                  <a:lnTo>
                    <a:pt x="142" y="552"/>
                  </a:lnTo>
                  <a:lnTo>
                    <a:pt x="142" y="554"/>
                  </a:lnTo>
                  <a:lnTo>
                    <a:pt x="142" y="552"/>
                  </a:lnTo>
                  <a:close/>
                  <a:moveTo>
                    <a:pt x="154" y="552"/>
                  </a:moveTo>
                  <a:lnTo>
                    <a:pt x="152" y="552"/>
                  </a:lnTo>
                  <a:lnTo>
                    <a:pt x="154" y="552"/>
                  </a:lnTo>
                  <a:close/>
                  <a:moveTo>
                    <a:pt x="147" y="552"/>
                  </a:moveTo>
                  <a:lnTo>
                    <a:pt x="145" y="552"/>
                  </a:lnTo>
                  <a:lnTo>
                    <a:pt x="147" y="552"/>
                  </a:lnTo>
                  <a:close/>
                  <a:moveTo>
                    <a:pt x="168" y="547"/>
                  </a:moveTo>
                  <a:lnTo>
                    <a:pt x="166" y="547"/>
                  </a:lnTo>
                  <a:lnTo>
                    <a:pt x="168" y="547"/>
                  </a:lnTo>
                  <a:close/>
                  <a:moveTo>
                    <a:pt x="168" y="547"/>
                  </a:moveTo>
                  <a:lnTo>
                    <a:pt x="166" y="547"/>
                  </a:lnTo>
                  <a:lnTo>
                    <a:pt x="168" y="547"/>
                  </a:lnTo>
                  <a:close/>
                  <a:moveTo>
                    <a:pt x="171" y="537"/>
                  </a:moveTo>
                  <a:lnTo>
                    <a:pt x="171" y="535"/>
                  </a:lnTo>
                  <a:lnTo>
                    <a:pt x="171" y="537"/>
                  </a:lnTo>
                  <a:close/>
                  <a:moveTo>
                    <a:pt x="171" y="535"/>
                  </a:moveTo>
                  <a:lnTo>
                    <a:pt x="171" y="537"/>
                  </a:lnTo>
                  <a:lnTo>
                    <a:pt x="171" y="535"/>
                  </a:lnTo>
                  <a:close/>
                  <a:moveTo>
                    <a:pt x="178" y="521"/>
                  </a:moveTo>
                  <a:lnTo>
                    <a:pt x="178" y="523"/>
                  </a:lnTo>
                  <a:lnTo>
                    <a:pt x="178" y="521"/>
                  </a:lnTo>
                  <a:close/>
                  <a:moveTo>
                    <a:pt x="178" y="521"/>
                  </a:moveTo>
                  <a:lnTo>
                    <a:pt x="178" y="523"/>
                  </a:lnTo>
                  <a:lnTo>
                    <a:pt x="178" y="521"/>
                  </a:lnTo>
                  <a:close/>
                  <a:moveTo>
                    <a:pt x="180" y="518"/>
                  </a:moveTo>
                  <a:lnTo>
                    <a:pt x="180" y="521"/>
                  </a:lnTo>
                  <a:lnTo>
                    <a:pt x="180" y="518"/>
                  </a:lnTo>
                  <a:close/>
                  <a:moveTo>
                    <a:pt x="180" y="518"/>
                  </a:moveTo>
                  <a:lnTo>
                    <a:pt x="180" y="521"/>
                  </a:lnTo>
                  <a:lnTo>
                    <a:pt x="180" y="518"/>
                  </a:lnTo>
                  <a:close/>
                  <a:moveTo>
                    <a:pt x="183" y="518"/>
                  </a:moveTo>
                  <a:lnTo>
                    <a:pt x="180" y="518"/>
                  </a:lnTo>
                  <a:lnTo>
                    <a:pt x="183" y="518"/>
                  </a:lnTo>
                  <a:close/>
                  <a:moveTo>
                    <a:pt x="183" y="514"/>
                  </a:moveTo>
                  <a:lnTo>
                    <a:pt x="180" y="514"/>
                  </a:lnTo>
                  <a:lnTo>
                    <a:pt x="183" y="514"/>
                  </a:lnTo>
                  <a:close/>
                  <a:moveTo>
                    <a:pt x="197" y="511"/>
                  </a:moveTo>
                  <a:lnTo>
                    <a:pt x="194" y="511"/>
                  </a:lnTo>
                  <a:lnTo>
                    <a:pt x="197" y="511"/>
                  </a:lnTo>
                  <a:close/>
                  <a:moveTo>
                    <a:pt x="183" y="511"/>
                  </a:moveTo>
                  <a:lnTo>
                    <a:pt x="180" y="511"/>
                  </a:lnTo>
                  <a:lnTo>
                    <a:pt x="183" y="511"/>
                  </a:lnTo>
                  <a:close/>
                  <a:moveTo>
                    <a:pt x="183" y="509"/>
                  </a:moveTo>
                  <a:lnTo>
                    <a:pt x="180" y="509"/>
                  </a:lnTo>
                  <a:lnTo>
                    <a:pt x="183" y="509"/>
                  </a:lnTo>
                  <a:close/>
                  <a:moveTo>
                    <a:pt x="185" y="509"/>
                  </a:moveTo>
                  <a:lnTo>
                    <a:pt x="183" y="509"/>
                  </a:lnTo>
                  <a:lnTo>
                    <a:pt x="185" y="509"/>
                  </a:lnTo>
                  <a:close/>
                  <a:moveTo>
                    <a:pt x="185" y="509"/>
                  </a:moveTo>
                  <a:lnTo>
                    <a:pt x="183" y="509"/>
                  </a:lnTo>
                  <a:lnTo>
                    <a:pt x="185" y="509"/>
                  </a:lnTo>
                  <a:close/>
                  <a:moveTo>
                    <a:pt x="185" y="509"/>
                  </a:moveTo>
                  <a:lnTo>
                    <a:pt x="183" y="507"/>
                  </a:lnTo>
                  <a:lnTo>
                    <a:pt x="185" y="507"/>
                  </a:lnTo>
                  <a:lnTo>
                    <a:pt x="185" y="509"/>
                  </a:lnTo>
                  <a:close/>
                  <a:moveTo>
                    <a:pt x="185" y="509"/>
                  </a:moveTo>
                  <a:lnTo>
                    <a:pt x="185" y="507"/>
                  </a:lnTo>
                  <a:lnTo>
                    <a:pt x="185" y="509"/>
                  </a:lnTo>
                  <a:close/>
                  <a:moveTo>
                    <a:pt x="185" y="507"/>
                  </a:moveTo>
                  <a:lnTo>
                    <a:pt x="183" y="507"/>
                  </a:lnTo>
                  <a:lnTo>
                    <a:pt x="185" y="507"/>
                  </a:lnTo>
                  <a:close/>
                  <a:moveTo>
                    <a:pt x="183" y="507"/>
                  </a:moveTo>
                  <a:lnTo>
                    <a:pt x="185" y="507"/>
                  </a:lnTo>
                  <a:lnTo>
                    <a:pt x="183" y="507"/>
                  </a:lnTo>
                  <a:close/>
                  <a:moveTo>
                    <a:pt x="185" y="507"/>
                  </a:moveTo>
                  <a:lnTo>
                    <a:pt x="185" y="504"/>
                  </a:lnTo>
                  <a:lnTo>
                    <a:pt x="185" y="507"/>
                  </a:lnTo>
                  <a:close/>
                  <a:moveTo>
                    <a:pt x="187" y="504"/>
                  </a:moveTo>
                  <a:lnTo>
                    <a:pt x="185" y="504"/>
                  </a:lnTo>
                  <a:lnTo>
                    <a:pt x="187" y="504"/>
                  </a:lnTo>
                  <a:close/>
                  <a:moveTo>
                    <a:pt x="183" y="499"/>
                  </a:moveTo>
                  <a:lnTo>
                    <a:pt x="180" y="499"/>
                  </a:lnTo>
                  <a:lnTo>
                    <a:pt x="183" y="499"/>
                  </a:lnTo>
                  <a:close/>
                  <a:moveTo>
                    <a:pt x="38" y="499"/>
                  </a:moveTo>
                  <a:lnTo>
                    <a:pt x="35" y="499"/>
                  </a:lnTo>
                  <a:lnTo>
                    <a:pt x="35" y="497"/>
                  </a:lnTo>
                  <a:lnTo>
                    <a:pt x="38" y="497"/>
                  </a:lnTo>
                  <a:lnTo>
                    <a:pt x="38" y="499"/>
                  </a:lnTo>
                  <a:close/>
                  <a:moveTo>
                    <a:pt x="183" y="497"/>
                  </a:moveTo>
                  <a:lnTo>
                    <a:pt x="183" y="499"/>
                  </a:lnTo>
                  <a:lnTo>
                    <a:pt x="183" y="497"/>
                  </a:lnTo>
                  <a:close/>
                  <a:moveTo>
                    <a:pt x="187" y="495"/>
                  </a:moveTo>
                  <a:lnTo>
                    <a:pt x="185" y="495"/>
                  </a:lnTo>
                  <a:lnTo>
                    <a:pt x="187" y="495"/>
                  </a:lnTo>
                  <a:close/>
                  <a:moveTo>
                    <a:pt x="38" y="495"/>
                  </a:moveTo>
                  <a:lnTo>
                    <a:pt x="35" y="495"/>
                  </a:lnTo>
                  <a:lnTo>
                    <a:pt x="38" y="495"/>
                  </a:lnTo>
                  <a:close/>
                  <a:moveTo>
                    <a:pt x="38" y="495"/>
                  </a:moveTo>
                  <a:lnTo>
                    <a:pt x="38" y="492"/>
                  </a:lnTo>
                  <a:lnTo>
                    <a:pt x="38" y="495"/>
                  </a:lnTo>
                  <a:close/>
                  <a:moveTo>
                    <a:pt x="38" y="492"/>
                  </a:moveTo>
                  <a:lnTo>
                    <a:pt x="38" y="495"/>
                  </a:lnTo>
                  <a:lnTo>
                    <a:pt x="38" y="492"/>
                  </a:lnTo>
                  <a:lnTo>
                    <a:pt x="35" y="492"/>
                  </a:lnTo>
                  <a:lnTo>
                    <a:pt x="38" y="492"/>
                  </a:lnTo>
                  <a:close/>
                  <a:moveTo>
                    <a:pt x="35" y="492"/>
                  </a:moveTo>
                  <a:lnTo>
                    <a:pt x="35" y="490"/>
                  </a:lnTo>
                  <a:lnTo>
                    <a:pt x="35" y="492"/>
                  </a:lnTo>
                  <a:close/>
                  <a:moveTo>
                    <a:pt x="237" y="488"/>
                  </a:moveTo>
                  <a:lnTo>
                    <a:pt x="237" y="490"/>
                  </a:lnTo>
                  <a:lnTo>
                    <a:pt x="237" y="488"/>
                  </a:lnTo>
                  <a:close/>
                  <a:moveTo>
                    <a:pt x="31" y="485"/>
                  </a:moveTo>
                  <a:lnTo>
                    <a:pt x="31" y="483"/>
                  </a:lnTo>
                  <a:lnTo>
                    <a:pt x="31" y="485"/>
                  </a:lnTo>
                  <a:close/>
                  <a:moveTo>
                    <a:pt x="190" y="483"/>
                  </a:moveTo>
                  <a:lnTo>
                    <a:pt x="190" y="485"/>
                  </a:lnTo>
                  <a:lnTo>
                    <a:pt x="190" y="483"/>
                  </a:lnTo>
                  <a:close/>
                  <a:moveTo>
                    <a:pt x="190" y="483"/>
                  </a:moveTo>
                  <a:lnTo>
                    <a:pt x="187" y="485"/>
                  </a:lnTo>
                  <a:lnTo>
                    <a:pt x="187" y="483"/>
                  </a:lnTo>
                  <a:lnTo>
                    <a:pt x="190" y="483"/>
                  </a:lnTo>
                  <a:close/>
                  <a:moveTo>
                    <a:pt x="190" y="483"/>
                  </a:moveTo>
                  <a:lnTo>
                    <a:pt x="187" y="483"/>
                  </a:lnTo>
                  <a:lnTo>
                    <a:pt x="190" y="483"/>
                  </a:lnTo>
                  <a:close/>
                  <a:moveTo>
                    <a:pt x="190" y="483"/>
                  </a:moveTo>
                  <a:lnTo>
                    <a:pt x="190" y="485"/>
                  </a:lnTo>
                  <a:lnTo>
                    <a:pt x="190" y="483"/>
                  </a:lnTo>
                  <a:close/>
                  <a:moveTo>
                    <a:pt x="190" y="483"/>
                  </a:moveTo>
                  <a:lnTo>
                    <a:pt x="187" y="483"/>
                  </a:lnTo>
                  <a:lnTo>
                    <a:pt x="190" y="483"/>
                  </a:lnTo>
                  <a:close/>
                  <a:moveTo>
                    <a:pt x="31" y="483"/>
                  </a:moveTo>
                  <a:lnTo>
                    <a:pt x="31" y="480"/>
                  </a:lnTo>
                  <a:lnTo>
                    <a:pt x="31" y="483"/>
                  </a:lnTo>
                  <a:close/>
                  <a:moveTo>
                    <a:pt x="26" y="483"/>
                  </a:moveTo>
                  <a:lnTo>
                    <a:pt x="26" y="480"/>
                  </a:lnTo>
                  <a:lnTo>
                    <a:pt x="26" y="483"/>
                  </a:lnTo>
                  <a:close/>
                  <a:moveTo>
                    <a:pt x="185" y="480"/>
                  </a:moveTo>
                  <a:lnTo>
                    <a:pt x="183" y="480"/>
                  </a:lnTo>
                  <a:lnTo>
                    <a:pt x="185" y="480"/>
                  </a:lnTo>
                  <a:close/>
                  <a:moveTo>
                    <a:pt x="190" y="480"/>
                  </a:moveTo>
                  <a:lnTo>
                    <a:pt x="190" y="478"/>
                  </a:lnTo>
                  <a:lnTo>
                    <a:pt x="190" y="480"/>
                  </a:lnTo>
                  <a:close/>
                  <a:moveTo>
                    <a:pt x="187" y="478"/>
                  </a:moveTo>
                  <a:lnTo>
                    <a:pt x="187" y="480"/>
                  </a:lnTo>
                  <a:lnTo>
                    <a:pt x="187" y="478"/>
                  </a:lnTo>
                  <a:close/>
                  <a:moveTo>
                    <a:pt x="190" y="480"/>
                  </a:moveTo>
                  <a:lnTo>
                    <a:pt x="190" y="478"/>
                  </a:lnTo>
                  <a:lnTo>
                    <a:pt x="190" y="480"/>
                  </a:lnTo>
                  <a:close/>
                  <a:moveTo>
                    <a:pt x="192" y="478"/>
                  </a:moveTo>
                  <a:lnTo>
                    <a:pt x="190" y="478"/>
                  </a:lnTo>
                  <a:lnTo>
                    <a:pt x="192" y="478"/>
                  </a:lnTo>
                  <a:close/>
                  <a:moveTo>
                    <a:pt x="31" y="478"/>
                  </a:moveTo>
                  <a:lnTo>
                    <a:pt x="28" y="478"/>
                  </a:lnTo>
                  <a:lnTo>
                    <a:pt x="31" y="478"/>
                  </a:lnTo>
                  <a:close/>
                  <a:moveTo>
                    <a:pt x="192" y="478"/>
                  </a:moveTo>
                  <a:lnTo>
                    <a:pt x="190" y="478"/>
                  </a:lnTo>
                  <a:lnTo>
                    <a:pt x="192" y="478"/>
                  </a:lnTo>
                  <a:close/>
                  <a:moveTo>
                    <a:pt x="190" y="478"/>
                  </a:moveTo>
                  <a:lnTo>
                    <a:pt x="187" y="478"/>
                  </a:lnTo>
                  <a:lnTo>
                    <a:pt x="190" y="478"/>
                  </a:lnTo>
                  <a:close/>
                  <a:moveTo>
                    <a:pt x="187" y="478"/>
                  </a:moveTo>
                  <a:lnTo>
                    <a:pt x="187" y="476"/>
                  </a:lnTo>
                  <a:lnTo>
                    <a:pt x="187" y="478"/>
                  </a:lnTo>
                  <a:close/>
                  <a:moveTo>
                    <a:pt x="26" y="476"/>
                  </a:moveTo>
                  <a:lnTo>
                    <a:pt x="26" y="478"/>
                  </a:lnTo>
                  <a:lnTo>
                    <a:pt x="26" y="476"/>
                  </a:lnTo>
                  <a:close/>
                  <a:moveTo>
                    <a:pt x="190" y="478"/>
                  </a:moveTo>
                  <a:lnTo>
                    <a:pt x="190" y="476"/>
                  </a:lnTo>
                  <a:lnTo>
                    <a:pt x="190" y="478"/>
                  </a:lnTo>
                  <a:close/>
                  <a:moveTo>
                    <a:pt x="26" y="476"/>
                  </a:moveTo>
                  <a:lnTo>
                    <a:pt x="26" y="478"/>
                  </a:lnTo>
                  <a:lnTo>
                    <a:pt x="26" y="476"/>
                  </a:lnTo>
                  <a:lnTo>
                    <a:pt x="26" y="478"/>
                  </a:lnTo>
                  <a:lnTo>
                    <a:pt x="24" y="478"/>
                  </a:lnTo>
                  <a:lnTo>
                    <a:pt x="24" y="476"/>
                  </a:lnTo>
                  <a:lnTo>
                    <a:pt x="26" y="476"/>
                  </a:lnTo>
                  <a:close/>
                  <a:moveTo>
                    <a:pt x="192" y="476"/>
                  </a:moveTo>
                  <a:lnTo>
                    <a:pt x="190" y="476"/>
                  </a:lnTo>
                  <a:lnTo>
                    <a:pt x="192" y="476"/>
                  </a:lnTo>
                  <a:close/>
                  <a:moveTo>
                    <a:pt x="190" y="473"/>
                  </a:moveTo>
                  <a:lnTo>
                    <a:pt x="187" y="473"/>
                  </a:lnTo>
                  <a:lnTo>
                    <a:pt x="190" y="473"/>
                  </a:lnTo>
                  <a:close/>
                  <a:moveTo>
                    <a:pt x="261" y="476"/>
                  </a:moveTo>
                  <a:lnTo>
                    <a:pt x="258" y="476"/>
                  </a:lnTo>
                  <a:lnTo>
                    <a:pt x="258" y="473"/>
                  </a:lnTo>
                  <a:lnTo>
                    <a:pt x="261" y="473"/>
                  </a:lnTo>
                  <a:lnTo>
                    <a:pt x="261" y="476"/>
                  </a:lnTo>
                  <a:close/>
                  <a:moveTo>
                    <a:pt x="24" y="473"/>
                  </a:moveTo>
                  <a:lnTo>
                    <a:pt x="26" y="473"/>
                  </a:lnTo>
                  <a:lnTo>
                    <a:pt x="24" y="473"/>
                  </a:lnTo>
                  <a:close/>
                  <a:moveTo>
                    <a:pt x="192" y="473"/>
                  </a:moveTo>
                  <a:lnTo>
                    <a:pt x="190" y="473"/>
                  </a:lnTo>
                  <a:lnTo>
                    <a:pt x="192" y="473"/>
                  </a:lnTo>
                  <a:close/>
                  <a:moveTo>
                    <a:pt x="263" y="473"/>
                  </a:moveTo>
                  <a:lnTo>
                    <a:pt x="261" y="473"/>
                  </a:lnTo>
                  <a:lnTo>
                    <a:pt x="263" y="473"/>
                  </a:lnTo>
                  <a:close/>
                  <a:moveTo>
                    <a:pt x="24" y="471"/>
                  </a:moveTo>
                  <a:lnTo>
                    <a:pt x="24" y="469"/>
                  </a:lnTo>
                  <a:lnTo>
                    <a:pt x="24" y="471"/>
                  </a:lnTo>
                  <a:close/>
                  <a:moveTo>
                    <a:pt x="190" y="471"/>
                  </a:moveTo>
                  <a:lnTo>
                    <a:pt x="190" y="469"/>
                  </a:lnTo>
                  <a:lnTo>
                    <a:pt x="190" y="471"/>
                  </a:lnTo>
                  <a:close/>
                  <a:moveTo>
                    <a:pt x="24" y="469"/>
                  </a:moveTo>
                  <a:lnTo>
                    <a:pt x="21" y="469"/>
                  </a:lnTo>
                  <a:lnTo>
                    <a:pt x="24" y="469"/>
                  </a:lnTo>
                  <a:close/>
                  <a:moveTo>
                    <a:pt x="26" y="469"/>
                  </a:moveTo>
                  <a:lnTo>
                    <a:pt x="24" y="469"/>
                  </a:lnTo>
                  <a:lnTo>
                    <a:pt x="26" y="469"/>
                  </a:lnTo>
                  <a:close/>
                  <a:moveTo>
                    <a:pt x="21" y="469"/>
                  </a:moveTo>
                  <a:lnTo>
                    <a:pt x="19" y="469"/>
                  </a:lnTo>
                  <a:lnTo>
                    <a:pt x="21" y="469"/>
                  </a:lnTo>
                  <a:close/>
                  <a:moveTo>
                    <a:pt x="24" y="469"/>
                  </a:moveTo>
                  <a:lnTo>
                    <a:pt x="24" y="466"/>
                  </a:lnTo>
                  <a:lnTo>
                    <a:pt x="24" y="469"/>
                  </a:lnTo>
                  <a:close/>
                  <a:moveTo>
                    <a:pt x="185" y="469"/>
                  </a:moveTo>
                  <a:lnTo>
                    <a:pt x="185" y="466"/>
                  </a:lnTo>
                  <a:lnTo>
                    <a:pt x="185" y="469"/>
                  </a:lnTo>
                  <a:close/>
                  <a:moveTo>
                    <a:pt x="21" y="469"/>
                  </a:moveTo>
                  <a:lnTo>
                    <a:pt x="21" y="466"/>
                  </a:lnTo>
                  <a:lnTo>
                    <a:pt x="21" y="469"/>
                  </a:lnTo>
                  <a:close/>
                  <a:moveTo>
                    <a:pt x="21" y="469"/>
                  </a:moveTo>
                  <a:lnTo>
                    <a:pt x="21" y="466"/>
                  </a:lnTo>
                  <a:lnTo>
                    <a:pt x="21" y="469"/>
                  </a:lnTo>
                  <a:close/>
                  <a:moveTo>
                    <a:pt x="190" y="466"/>
                  </a:moveTo>
                  <a:lnTo>
                    <a:pt x="190" y="469"/>
                  </a:lnTo>
                  <a:lnTo>
                    <a:pt x="190" y="466"/>
                  </a:lnTo>
                  <a:close/>
                  <a:moveTo>
                    <a:pt x="185" y="466"/>
                  </a:moveTo>
                  <a:lnTo>
                    <a:pt x="183" y="466"/>
                  </a:lnTo>
                  <a:lnTo>
                    <a:pt x="185" y="466"/>
                  </a:lnTo>
                  <a:close/>
                  <a:moveTo>
                    <a:pt x="24" y="466"/>
                  </a:moveTo>
                  <a:lnTo>
                    <a:pt x="21" y="466"/>
                  </a:lnTo>
                  <a:lnTo>
                    <a:pt x="24" y="466"/>
                  </a:lnTo>
                  <a:close/>
                  <a:moveTo>
                    <a:pt x="19" y="466"/>
                  </a:moveTo>
                  <a:lnTo>
                    <a:pt x="21" y="466"/>
                  </a:lnTo>
                  <a:lnTo>
                    <a:pt x="19" y="466"/>
                  </a:lnTo>
                  <a:close/>
                  <a:moveTo>
                    <a:pt x="24" y="466"/>
                  </a:moveTo>
                  <a:lnTo>
                    <a:pt x="21" y="466"/>
                  </a:lnTo>
                  <a:lnTo>
                    <a:pt x="24" y="466"/>
                  </a:lnTo>
                  <a:close/>
                  <a:moveTo>
                    <a:pt x="21" y="466"/>
                  </a:moveTo>
                  <a:lnTo>
                    <a:pt x="21" y="464"/>
                  </a:lnTo>
                  <a:lnTo>
                    <a:pt x="21" y="466"/>
                  </a:lnTo>
                  <a:close/>
                  <a:moveTo>
                    <a:pt x="192" y="466"/>
                  </a:moveTo>
                  <a:lnTo>
                    <a:pt x="192" y="464"/>
                  </a:lnTo>
                  <a:lnTo>
                    <a:pt x="192" y="466"/>
                  </a:lnTo>
                  <a:close/>
                  <a:moveTo>
                    <a:pt x="192" y="464"/>
                  </a:moveTo>
                  <a:lnTo>
                    <a:pt x="192" y="466"/>
                  </a:lnTo>
                  <a:lnTo>
                    <a:pt x="192" y="464"/>
                  </a:lnTo>
                  <a:close/>
                  <a:moveTo>
                    <a:pt x="24" y="466"/>
                  </a:moveTo>
                  <a:lnTo>
                    <a:pt x="24" y="464"/>
                  </a:lnTo>
                  <a:lnTo>
                    <a:pt x="24" y="466"/>
                  </a:lnTo>
                  <a:close/>
                  <a:moveTo>
                    <a:pt x="192" y="464"/>
                  </a:moveTo>
                  <a:lnTo>
                    <a:pt x="192" y="466"/>
                  </a:lnTo>
                  <a:lnTo>
                    <a:pt x="192" y="464"/>
                  </a:lnTo>
                  <a:close/>
                  <a:moveTo>
                    <a:pt x="187" y="464"/>
                  </a:moveTo>
                  <a:lnTo>
                    <a:pt x="185" y="464"/>
                  </a:lnTo>
                  <a:lnTo>
                    <a:pt x="187" y="464"/>
                  </a:lnTo>
                  <a:close/>
                  <a:moveTo>
                    <a:pt x="185" y="464"/>
                  </a:moveTo>
                  <a:lnTo>
                    <a:pt x="183" y="464"/>
                  </a:lnTo>
                  <a:lnTo>
                    <a:pt x="185" y="464"/>
                  </a:lnTo>
                  <a:close/>
                  <a:moveTo>
                    <a:pt x="21" y="464"/>
                  </a:moveTo>
                  <a:lnTo>
                    <a:pt x="19" y="464"/>
                  </a:lnTo>
                  <a:lnTo>
                    <a:pt x="21" y="464"/>
                  </a:lnTo>
                  <a:close/>
                  <a:moveTo>
                    <a:pt x="21" y="464"/>
                  </a:moveTo>
                  <a:lnTo>
                    <a:pt x="21" y="461"/>
                  </a:lnTo>
                  <a:lnTo>
                    <a:pt x="21" y="464"/>
                  </a:lnTo>
                  <a:close/>
                  <a:moveTo>
                    <a:pt x="24" y="464"/>
                  </a:moveTo>
                  <a:lnTo>
                    <a:pt x="24" y="461"/>
                  </a:lnTo>
                  <a:lnTo>
                    <a:pt x="24" y="464"/>
                  </a:lnTo>
                  <a:close/>
                  <a:moveTo>
                    <a:pt x="192" y="464"/>
                  </a:moveTo>
                  <a:lnTo>
                    <a:pt x="192" y="461"/>
                  </a:lnTo>
                  <a:lnTo>
                    <a:pt x="192" y="464"/>
                  </a:lnTo>
                  <a:close/>
                  <a:moveTo>
                    <a:pt x="21" y="461"/>
                  </a:moveTo>
                  <a:lnTo>
                    <a:pt x="19" y="461"/>
                  </a:lnTo>
                  <a:lnTo>
                    <a:pt x="21" y="461"/>
                  </a:lnTo>
                  <a:close/>
                  <a:moveTo>
                    <a:pt x="21" y="461"/>
                  </a:moveTo>
                  <a:lnTo>
                    <a:pt x="19" y="461"/>
                  </a:lnTo>
                  <a:lnTo>
                    <a:pt x="21" y="461"/>
                  </a:lnTo>
                  <a:close/>
                  <a:moveTo>
                    <a:pt x="16" y="461"/>
                  </a:moveTo>
                  <a:lnTo>
                    <a:pt x="19" y="461"/>
                  </a:lnTo>
                  <a:lnTo>
                    <a:pt x="16" y="461"/>
                  </a:lnTo>
                  <a:close/>
                  <a:moveTo>
                    <a:pt x="16" y="461"/>
                  </a:moveTo>
                  <a:lnTo>
                    <a:pt x="19" y="461"/>
                  </a:lnTo>
                  <a:lnTo>
                    <a:pt x="16" y="461"/>
                  </a:lnTo>
                  <a:close/>
                  <a:moveTo>
                    <a:pt x="185" y="461"/>
                  </a:moveTo>
                  <a:lnTo>
                    <a:pt x="185" y="459"/>
                  </a:lnTo>
                  <a:lnTo>
                    <a:pt x="185" y="461"/>
                  </a:lnTo>
                  <a:close/>
                  <a:moveTo>
                    <a:pt x="19" y="461"/>
                  </a:moveTo>
                  <a:lnTo>
                    <a:pt x="19" y="459"/>
                  </a:lnTo>
                  <a:lnTo>
                    <a:pt x="19" y="461"/>
                  </a:lnTo>
                  <a:close/>
                  <a:moveTo>
                    <a:pt x="192" y="461"/>
                  </a:moveTo>
                  <a:lnTo>
                    <a:pt x="192" y="459"/>
                  </a:lnTo>
                  <a:lnTo>
                    <a:pt x="192" y="461"/>
                  </a:lnTo>
                  <a:close/>
                  <a:moveTo>
                    <a:pt x="192" y="461"/>
                  </a:moveTo>
                  <a:lnTo>
                    <a:pt x="192" y="459"/>
                  </a:lnTo>
                  <a:lnTo>
                    <a:pt x="192" y="461"/>
                  </a:lnTo>
                  <a:close/>
                  <a:moveTo>
                    <a:pt x="24" y="459"/>
                  </a:moveTo>
                  <a:lnTo>
                    <a:pt x="21" y="459"/>
                  </a:lnTo>
                  <a:lnTo>
                    <a:pt x="24" y="459"/>
                  </a:lnTo>
                  <a:close/>
                  <a:moveTo>
                    <a:pt x="19" y="459"/>
                  </a:moveTo>
                  <a:lnTo>
                    <a:pt x="16" y="459"/>
                  </a:lnTo>
                  <a:lnTo>
                    <a:pt x="19" y="459"/>
                  </a:lnTo>
                  <a:close/>
                  <a:moveTo>
                    <a:pt x="19" y="459"/>
                  </a:moveTo>
                  <a:lnTo>
                    <a:pt x="16" y="459"/>
                  </a:lnTo>
                  <a:lnTo>
                    <a:pt x="19" y="459"/>
                  </a:lnTo>
                  <a:close/>
                  <a:moveTo>
                    <a:pt x="14" y="459"/>
                  </a:moveTo>
                  <a:lnTo>
                    <a:pt x="16" y="459"/>
                  </a:lnTo>
                  <a:lnTo>
                    <a:pt x="14" y="459"/>
                  </a:lnTo>
                  <a:close/>
                  <a:moveTo>
                    <a:pt x="26" y="459"/>
                  </a:moveTo>
                  <a:lnTo>
                    <a:pt x="26" y="457"/>
                  </a:lnTo>
                  <a:lnTo>
                    <a:pt x="26" y="459"/>
                  </a:lnTo>
                  <a:close/>
                  <a:moveTo>
                    <a:pt x="16" y="459"/>
                  </a:moveTo>
                  <a:lnTo>
                    <a:pt x="16" y="457"/>
                  </a:lnTo>
                  <a:lnTo>
                    <a:pt x="16" y="459"/>
                  </a:lnTo>
                  <a:close/>
                  <a:moveTo>
                    <a:pt x="192" y="459"/>
                  </a:moveTo>
                  <a:lnTo>
                    <a:pt x="192" y="457"/>
                  </a:lnTo>
                  <a:lnTo>
                    <a:pt x="192" y="459"/>
                  </a:lnTo>
                  <a:close/>
                  <a:moveTo>
                    <a:pt x="194" y="457"/>
                  </a:moveTo>
                  <a:lnTo>
                    <a:pt x="192" y="457"/>
                  </a:lnTo>
                  <a:lnTo>
                    <a:pt x="194" y="457"/>
                  </a:lnTo>
                  <a:close/>
                  <a:moveTo>
                    <a:pt x="16" y="457"/>
                  </a:moveTo>
                  <a:lnTo>
                    <a:pt x="14" y="457"/>
                  </a:lnTo>
                  <a:lnTo>
                    <a:pt x="16" y="457"/>
                  </a:lnTo>
                  <a:close/>
                  <a:moveTo>
                    <a:pt x="26" y="457"/>
                  </a:moveTo>
                  <a:lnTo>
                    <a:pt x="28" y="457"/>
                  </a:lnTo>
                  <a:lnTo>
                    <a:pt x="26" y="457"/>
                  </a:lnTo>
                  <a:close/>
                  <a:moveTo>
                    <a:pt x="192" y="454"/>
                  </a:moveTo>
                  <a:lnTo>
                    <a:pt x="190" y="454"/>
                  </a:lnTo>
                  <a:lnTo>
                    <a:pt x="192" y="454"/>
                  </a:lnTo>
                  <a:close/>
                  <a:moveTo>
                    <a:pt x="21" y="454"/>
                  </a:moveTo>
                  <a:lnTo>
                    <a:pt x="21" y="452"/>
                  </a:lnTo>
                  <a:lnTo>
                    <a:pt x="21" y="454"/>
                  </a:lnTo>
                  <a:close/>
                  <a:moveTo>
                    <a:pt x="16" y="452"/>
                  </a:moveTo>
                  <a:lnTo>
                    <a:pt x="14" y="452"/>
                  </a:lnTo>
                  <a:lnTo>
                    <a:pt x="16" y="452"/>
                  </a:lnTo>
                  <a:close/>
                  <a:moveTo>
                    <a:pt x="14" y="452"/>
                  </a:moveTo>
                  <a:lnTo>
                    <a:pt x="12" y="452"/>
                  </a:lnTo>
                  <a:lnTo>
                    <a:pt x="14" y="452"/>
                  </a:lnTo>
                  <a:close/>
                  <a:moveTo>
                    <a:pt x="197" y="449"/>
                  </a:moveTo>
                  <a:lnTo>
                    <a:pt x="194" y="449"/>
                  </a:lnTo>
                  <a:lnTo>
                    <a:pt x="197" y="449"/>
                  </a:lnTo>
                  <a:close/>
                  <a:moveTo>
                    <a:pt x="194" y="447"/>
                  </a:moveTo>
                  <a:lnTo>
                    <a:pt x="194" y="449"/>
                  </a:lnTo>
                  <a:lnTo>
                    <a:pt x="194" y="447"/>
                  </a:lnTo>
                  <a:close/>
                  <a:moveTo>
                    <a:pt x="14" y="447"/>
                  </a:moveTo>
                  <a:lnTo>
                    <a:pt x="14" y="449"/>
                  </a:lnTo>
                  <a:lnTo>
                    <a:pt x="14" y="447"/>
                  </a:lnTo>
                  <a:close/>
                  <a:moveTo>
                    <a:pt x="199" y="447"/>
                  </a:moveTo>
                  <a:lnTo>
                    <a:pt x="197" y="447"/>
                  </a:lnTo>
                  <a:lnTo>
                    <a:pt x="199" y="447"/>
                  </a:lnTo>
                  <a:close/>
                  <a:moveTo>
                    <a:pt x="197" y="447"/>
                  </a:moveTo>
                  <a:lnTo>
                    <a:pt x="197" y="449"/>
                  </a:lnTo>
                  <a:lnTo>
                    <a:pt x="197" y="447"/>
                  </a:lnTo>
                  <a:lnTo>
                    <a:pt x="199" y="447"/>
                  </a:lnTo>
                  <a:lnTo>
                    <a:pt x="197" y="447"/>
                  </a:lnTo>
                  <a:close/>
                  <a:moveTo>
                    <a:pt x="194" y="447"/>
                  </a:moveTo>
                  <a:lnTo>
                    <a:pt x="192" y="447"/>
                  </a:lnTo>
                  <a:lnTo>
                    <a:pt x="194" y="447"/>
                  </a:lnTo>
                  <a:close/>
                  <a:moveTo>
                    <a:pt x="14" y="447"/>
                  </a:moveTo>
                  <a:lnTo>
                    <a:pt x="12" y="447"/>
                  </a:lnTo>
                  <a:lnTo>
                    <a:pt x="14" y="447"/>
                  </a:lnTo>
                  <a:close/>
                  <a:moveTo>
                    <a:pt x="199" y="447"/>
                  </a:moveTo>
                  <a:lnTo>
                    <a:pt x="199" y="445"/>
                  </a:lnTo>
                  <a:lnTo>
                    <a:pt x="199" y="447"/>
                  </a:lnTo>
                  <a:close/>
                  <a:moveTo>
                    <a:pt x="194" y="447"/>
                  </a:moveTo>
                  <a:lnTo>
                    <a:pt x="194" y="445"/>
                  </a:lnTo>
                  <a:lnTo>
                    <a:pt x="194" y="447"/>
                  </a:lnTo>
                  <a:close/>
                  <a:moveTo>
                    <a:pt x="199" y="445"/>
                  </a:moveTo>
                  <a:lnTo>
                    <a:pt x="199" y="447"/>
                  </a:lnTo>
                  <a:lnTo>
                    <a:pt x="199" y="445"/>
                  </a:lnTo>
                  <a:close/>
                  <a:moveTo>
                    <a:pt x="199" y="447"/>
                  </a:moveTo>
                  <a:lnTo>
                    <a:pt x="199" y="445"/>
                  </a:lnTo>
                  <a:lnTo>
                    <a:pt x="199" y="447"/>
                  </a:lnTo>
                  <a:close/>
                  <a:moveTo>
                    <a:pt x="194" y="447"/>
                  </a:moveTo>
                  <a:lnTo>
                    <a:pt x="192" y="447"/>
                  </a:lnTo>
                  <a:lnTo>
                    <a:pt x="192" y="445"/>
                  </a:lnTo>
                  <a:lnTo>
                    <a:pt x="194" y="445"/>
                  </a:lnTo>
                  <a:lnTo>
                    <a:pt x="194" y="447"/>
                  </a:lnTo>
                  <a:close/>
                  <a:moveTo>
                    <a:pt x="14" y="445"/>
                  </a:moveTo>
                  <a:lnTo>
                    <a:pt x="14" y="447"/>
                  </a:lnTo>
                  <a:lnTo>
                    <a:pt x="14" y="445"/>
                  </a:lnTo>
                  <a:close/>
                  <a:moveTo>
                    <a:pt x="202" y="445"/>
                  </a:moveTo>
                  <a:lnTo>
                    <a:pt x="199" y="445"/>
                  </a:lnTo>
                  <a:lnTo>
                    <a:pt x="202" y="445"/>
                  </a:lnTo>
                  <a:close/>
                  <a:moveTo>
                    <a:pt x="14" y="445"/>
                  </a:moveTo>
                  <a:lnTo>
                    <a:pt x="12" y="445"/>
                  </a:lnTo>
                  <a:lnTo>
                    <a:pt x="14" y="445"/>
                  </a:lnTo>
                  <a:close/>
                  <a:moveTo>
                    <a:pt x="194" y="445"/>
                  </a:moveTo>
                  <a:lnTo>
                    <a:pt x="192" y="445"/>
                  </a:lnTo>
                  <a:lnTo>
                    <a:pt x="194" y="445"/>
                  </a:lnTo>
                  <a:close/>
                  <a:moveTo>
                    <a:pt x="21" y="445"/>
                  </a:moveTo>
                  <a:lnTo>
                    <a:pt x="19" y="445"/>
                  </a:lnTo>
                  <a:lnTo>
                    <a:pt x="21" y="445"/>
                  </a:lnTo>
                  <a:close/>
                  <a:moveTo>
                    <a:pt x="14" y="445"/>
                  </a:moveTo>
                  <a:lnTo>
                    <a:pt x="16" y="445"/>
                  </a:lnTo>
                  <a:lnTo>
                    <a:pt x="14" y="445"/>
                  </a:lnTo>
                  <a:close/>
                  <a:moveTo>
                    <a:pt x="199" y="445"/>
                  </a:moveTo>
                  <a:lnTo>
                    <a:pt x="197" y="445"/>
                  </a:lnTo>
                  <a:lnTo>
                    <a:pt x="199" y="445"/>
                  </a:lnTo>
                  <a:close/>
                  <a:moveTo>
                    <a:pt x="199" y="445"/>
                  </a:moveTo>
                  <a:lnTo>
                    <a:pt x="197" y="445"/>
                  </a:lnTo>
                  <a:lnTo>
                    <a:pt x="199" y="445"/>
                  </a:lnTo>
                  <a:close/>
                  <a:moveTo>
                    <a:pt x="202" y="445"/>
                  </a:moveTo>
                  <a:lnTo>
                    <a:pt x="199" y="445"/>
                  </a:lnTo>
                  <a:lnTo>
                    <a:pt x="202" y="445"/>
                  </a:lnTo>
                  <a:lnTo>
                    <a:pt x="199" y="445"/>
                  </a:lnTo>
                  <a:lnTo>
                    <a:pt x="202" y="445"/>
                  </a:lnTo>
                  <a:close/>
                  <a:moveTo>
                    <a:pt x="202" y="445"/>
                  </a:moveTo>
                  <a:lnTo>
                    <a:pt x="199" y="445"/>
                  </a:lnTo>
                  <a:lnTo>
                    <a:pt x="202" y="445"/>
                  </a:lnTo>
                  <a:close/>
                  <a:moveTo>
                    <a:pt x="199" y="445"/>
                  </a:moveTo>
                  <a:lnTo>
                    <a:pt x="199" y="442"/>
                  </a:lnTo>
                  <a:lnTo>
                    <a:pt x="199" y="445"/>
                  </a:lnTo>
                  <a:close/>
                  <a:moveTo>
                    <a:pt x="14" y="445"/>
                  </a:moveTo>
                  <a:lnTo>
                    <a:pt x="12" y="445"/>
                  </a:lnTo>
                  <a:lnTo>
                    <a:pt x="14" y="442"/>
                  </a:lnTo>
                  <a:lnTo>
                    <a:pt x="14" y="445"/>
                  </a:lnTo>
                  <a:close/>
                  <a:moveTo>
                    <a:pt x="12" y="445"/>
                  </a:moveTo>
                  <a:lnTo>
                    <a:pt x="12" y="442"/>
                  </a:lnTo>
                  <a:lnTo>
                    <a:pt x="12" y="445"/>
                  </a:lnTo>
                  <a:close/>
                  <a:moveTo>
                    <a:pt x="199" y="442"/>
                  </a:moveTo>
                  <a:lnTo>
                    <a:pt x="202" y="442"/>
                  </a:lnTo>
                  <a:lnTo>
                    <a:pt x="199" y="442"/>
                  </a:lnTo>
                  <a:close/>
                  <a:moveTo>
                    <a:pt x="199" y="442"/>
                  </a:moveTo>
                  <a:lnTo>
                    <a:pt x="199" y="440"/>
                  </a:lnTo>
                  <a:lnTo>
                    <a:pt x="199" y="442"/>
                  </a:lnTo>
                  <a:close/>
                  <a:moveTo>
                    <a:pt x="192" y="442"/>
                  </a:moveTo>
                  <a:lnTo>
                    <a:pt x="192" y="440"/>
                  </a:lnTo>
                  <a:lnTo>
                    <a:pt x="192" y="442"/>
                  </a:lnTo>
                  <a:close/>
                  <a:moveTo>
                    <a:pt x="199" y="442"/>
                  </a:moveTo>
                  <a:lnTo>
                    <a:pt x="199" y="440"/>
                  </a:lnTo>
                  <a:lnTo>
                    <a:pt x="199" y="442"/>
                  </a:lnTo>
                  <a:close/>
                  <a:moveTo>
                    <a:pt x="14" y="440"/>
                  </a:moveTo>
                  <a:lnTo>
                    <a:pt x="14" y="442"/>
                  </a:lnTo>
                  <a:lnTo>
                    <a:pt x="12" y="440"/>
                  </a:lnTo>
                  <a:lnTo>
                    <a:pt x="14" y="440"/>
                  </a:lnTo>
                  <a:close/>
                  <a:moveTo>
                    <a:pt x="197" y="442"/>
                  </a:moveTo>
                  <a:lnTo>
                    <a:pt x="194" y="442"/>
                  </a:lnTo>
                  <a:lnTo>
                    <a:pt x="197" y="440"/>
                  </a:lnTo>
                  <a:lnTo>
                    <a:pt x="197" y="442"/>
                  </a:lnTo>
                  <a:close/>
                  <a:moveTo>
                    <a:pt x="199" y="438"/>
                  </a:moveTo>
                  <a:lnTo>
                    <a:pt x="199" y="440"/>
                  </a:lnTo>
                  <a:lnTo>
                    <a:pt x="199" y="438"/>
                  </a:lnTo>
                  <a:lnTo>
                    <a:pt x="199" y="440"/>
                  </a:lnTo>
                  <a:lnTo>
                    <a:pt x="199" y="438"/>
                  </a:lnTo>
                  <a:close/>
                  <a:moveTo>
                    <a:pt x="12" y="440"/>
                  </a:moveTo>
                  <a:lnTo>
                    <a:pt x="9" y="438"/>
                  </a:lnTo>
                  <a:lnTo>
                    <a:pt x="12" y="438"/>
                  </a:lnTo>
                  <a:lnTo>
                    <a:pt x="12" y="440"/>
                  </a:lnTo>
                  <a:close/>
                  <a:moveTo>
                    <a:pt x="199" y="440"/>
                  </a:moveTo>
                  <a:lnTo>
                    <a:pt x="199" y="438"/>
                  </a:lnTo>
                  <a:lnTo>
                    <a:pt x="199" y="440"/>
                  </a:lnTo>
                  <a:close/>
                  <a:moveTo>
                    <a:pt x="190" y="438"/>
                  </a:moveTo>
                  <a:lnTo>
                    <a:pt x="192" y="438"/>
                  </a:lnTo>
                  <a:lnTo>
                    <a:pt x="190" y="438"/>
                  </a:lnTo>
                  <a:close/>
                  <a:moveTo>
                    <a:pt x="192" y="438"/>
                  </a:moveTo>
                  <a:lnTo>
                    <a:pt x="190" y="438"/>
                  </a:lnTo>
                  <a:lnTo>
                    <a:pt x="192" y="438"/>
                  </a:lnTo>
                  <a:close/>
                  <a:moveTo>
                    <a:pt x="192" y="438"/>
                  </a:moveTo>
                  <a:lnTo>
                    <a:pt x="190" y="438"/>
                  </a:lnTo>
                  <a:lnTo>
                    <a:pt x="192" y="438"/>
                  </a:lnTo>
                  <a:close/>
                  <a:moveTo>
                    <a:pt x="190" y="438"/>
                  </a:moveTo>
                  <a:lnTo>
                    <a:pt x="192" y="438"/>
                  </a:lnTo>
                  <a:lnTo>
                    <a:pt x="190" y="438"/>
                  </a:lnTo>
                  <a:close/>
                  <a:moveTo>
                    <a:pt x="197" y="438"/>
                  </a:moveTo>
                  <a:lnTo>
                    <a:pt x="197" y="435"/>
                  </a:lnTo>
                  <a:lnTo>
                    <a:pt x="197" y="438"/>
                  </a:lnTo>
                  <a:close/>
                  <a:moveTo>
                    <a:pt x="199" y="435"/>
                  </a:moveTo>
                  <a:lnTo>
                    <a:pt x="199" y="438"/>
                  </a:lnTo>
                  <a:lnTo>
                    <a:pt x="199" y="435"/>
                  </a:lnTo>
                  <a:close/>
                  <a:moveTo>
                    <a:pt x="192" y="435"/>
                  </a:moveTo>
                  <a:lnTo>
                    <a:pt x="190" y="435"/>
                  </a:lnTo>
                  <a:lnTo>
                    <a:pt x="192" y="435"/>
                  </a:lnTo>
                  <a:close/>
                  <a:moveTo>
                    <a:pt x="185" y="435"/>
                  </a:moveTo>
                  <a:lnTo>
                    <a:pt x="183" y="435"/>
                  </a:lnTo>
                  <a:lnTo>
                    <a:pt x="185" y="435"/>
                  </a:lnTo>
                  <a:close/>
                  <a:moveTo>
                    <a:pt x="194" y="435"/>
                  </a:moveTo>
                  <a:lnTo>
                    <a:pt x="194" y="433"/>
                  </a:lnTo>
                  <a:lnTo>
                    <a:pt x="194" y="435"/>
                  </a:lnTo>
                  <a:close/>
                  <a:moveTo>
                    <a:pt x="9" y="435"/>
                  </a:moveTo>
                  <a:lnTo>
                    <a:pt x="9" y="433"/>
                  </a:lnTo>
                  <a:lnTo>
                    <a:pt x="9" y="435"/>
                  </a:lnTo>
                  <a:close/>
                  <a:moveTo>
                    <a:pt x="197" y="433"/>
                  </a:moveTo>
                  <a:lnTo>
                    <a:pt x="197" y="435"/>
                  </a:lnTo>
                  <a:lnTo>
                    <a:pt x="197" y="433"/>
                  </a:lnTo>
                  <a:close/>
                  <a:moveTo>
                    <a:pt x="194" y="433"/>
                  </a:moveTo>
                  <a:lnTo>
                    <a:pt x="197" y="433"/>
                  </a:lnTo>
                  <a:lnTo>
                    <a:pt x="194" y="433"/>
                  </a:lnTo>
                  <a:close/>
                  <a:moveTo>
                    <a:pt x="197" y="433"/>
                  </a:moveTo>
                  <a:lnTo>
                    <a:pt x="197" y="435"/>
                  </a:lnTo>
                  <a:lnTo>
                    <a:pt x="197" y="433"/>
                  </a:lnTo>
                  <a:close/>
                  <a:moveTo>
                    <a:pt x="12" y="433"/>
                  </a:moveTo>
                  <a:lnTo>
                    <a:pt x="9" y="433"/>
                  </a:lnTo>
                  <a:lnTo>
                    <a:pt x="12" y="433"/>
                  </a:lnTo>
                  <a:close/>
                  <a:moveTo>
                    <a:pt x="12" y="433"/>
                  </a:moveTo>
                  <a:lnTo>
                    <a:pt x="9" y="433"/>
                  </a:lnTo>
                  <a:lnTo>
                    <a:pt x="12" y="433"/>
                  </a:lnTo>
                  <a:close/>
                  <a:moveTo>
                    <a:pt x="9" y="430"/>
                  </a:moveTo>
                  <a:lnTo>
                    <a:pt x="9" y="433"/>
                  </a:lnTo>
                  <a:lnTo>
                    <a:pt x="9" y="430"/>
                  </a:lnTo>
                  <a:close/>
                  <a:moveTo>
                    <a:pt x="199" y="430"/>
                  </a:moveTo>
                  <a:lnTo>
                    <a:pt x="197" y="433"/>
                  </a:lnTo>
                  <a:lnTo>
                    <a:pt x="197" y="430"/>
                  </a:lnTo>
                  <a:lnTo>
                    <a:pt x="199" y="430"/>
                  </a:lnTo>
                  <a:close/>
                  <a:moveTo>
                    <a:pt x="9" y="430"/>
                  </a:moveTo>
                  <a:lnTo>
                    <a:pt x="7" y="430"/>
                  </a:lnTo>
                  <a:lnTo>
                    <a:pt x="9" y="430"/>
                  </a:lnTo>
                  <a:close/>
                  <a:moveTo>
                    <a:pt x="199" y="430"/>
                  </a:moveTo>
                  <a:lnTo>
                    <a:pt x="197" y="430"/>
                  </a:lnTo>
                  <a:lnTo>
                    <a:pt x="199" y="430"/>
                  </a:lnTo>
                  <a:lnTo>
                    <a:pt x="197" y="430"/>
                  </a:lnTo>
                  <a:lnTo>
                    <a:pt x="199" y="430"/>
                  </a:lnTo>
                  <a:close/>
                  <a:moveTo>
                    <a:pt x="197" y="430"/>
                  </a:moveTo>
                  <a:lnTo>
                    <a:pt x="194" y="430"/>
                  </a:lnTo>
                  <a:lnTo>
                    <a:pt x="197" y="430"/>
                  </a:lnTo>
                  <a:close/>
                  <a:moveTo>
                    <a:pt x="9" y="430"/>
                  </a:moveTo>
                  <a:lnTo>
                    <a:pt x="7" y="430"/>
                  </a:lnTo>
                  <a:lnTo>
                    <a:pt x="9" y="430"/>
                  </a:lnTo>
                  <a:close/>
                  <a:moveTo>
                    <a:pt x="7" y="430"/>
                  </a:moveTo>
                  <a:lnTo>
                    <a:pt x="7" y="428"/>
                  </a:lnTo>
                  <a:lnTo>
                    <a:pt x="7" y="430"/>
                  </a:lnTo>
                  <a:close/>
                  <a:moveTo>
                    <a:pt x="194" y="430"/>
                  </a:moveTo>
                  <a:lnTo>
                    <a:pt x="194" y="428"/>
                  </a:lnTo>
                  <a:lnTo>
                    <a:pt x="194" y="430"/>
                  </a:lnTo>
                  <a:close/>
                  <a:moveTo>
                    <a:pt x="197" y="430"/>
                  </a:moveTo>
                  <a:lnTo>
                    <a:pt x="197" y="428"/>
                  </a:lnTo>
                  <a:lnTo>
                    <a:pt x="197" y="430"/>
                  </a:lnTo>
                  <a:close/>
                  <a:moveTo>
                    <a:pt x="197" y="430"/>
                  </a:moveTo>
                  <a:lnTo>
                    <a:pt x="197" y="428"/>
                  </a:lnTo>
                  <a:lnTo>
                    <a:pt x="197" y="430"/>
                  </a:lnTo>
                  <a:close/>
                  <a:moveTo>
                    <a:pt x="5" y="428"/>
                  </a:moveTo>
                  <a:lnTo>
                    <a:pt x="5" y="430"/>
                  </a:lnTo>
                  <a:lnTo>
                    <a:pt x="5" y="428"/>
                  </a:lnTo>
                  <a:lnTo>
                    <a:pt x="2" y="428"/>
                  </a:lnTo>
                  <a:lnTo>
                    <a:pt x="5" y="428"/>
                  </a:lnTo>
                  <a:close/>
                  <a:moveTo>
                    <a:pt x="5" y="428"/>
                  </a:moveTo>
                  <a:lnTo>
                    <a:pt x="2" y="428"/>
                  </a:lnTo>
                  <a:lnTo>
                    <a:pt x="5" y="428"/>
                  </a:lnTo>
                  <a:close/>
                  <a:moveTo>
                    <a:pt x="197" y="428"/>
                  </a:moveTo>
                  <a:lnTo>
                    <a:pt x="194" y="428"/>
                  </a:lnTo>
                  <a:lnTo>
                    <a:pt x="197" y="428"/>
                  </a:lnTo>
                  <a:close/>
                  <a:moveTo>
                    <a:pt x="194" y="428"/>
                  </a:moveTo>
                  <a:lnTo>
                    <a:pt x="192" y="428"/>
                  </a:lnTo>
                  <a:lnTo>
                    <a:pt x="194" y="428"/>
                  </a:lnTo>
                  <a:close/>
                  <a:moveTo>
                    <a:pt x="9" y="428"/>
                  </a:moveTo>
                  <a:lnTo>
                    <a:pt x="7" y="428"/>
                  </a:lnTo>
                  <a:lnTo>
                    <a:pt x="9" y="428"/>
                  </a:lnTo>
                  <a:close/>
                  <a:moveTo>
                    <a:pt x="2" y="428"/>
                  </a:moveTo>
                  <a:lnTo>
                    <a:pt x="2" y="426"/>
                  </a:lnTo>
                  <a:lnTo>
                    <a:pt x="2" y="428"/>
                  </a:lnTo>
                  <a:close/>
                  <a:moveTo>
                    <a:pt x="7" y="428"/>
                  </a:moveTo>
                  <a:lnTo>
                    <a:pt x="7" y="426"/>
                  </a:lnTo>
                  <a:lnTo>
                    <a:pt x="7" y="428"/>
                  </a:lnTo>
                  <a:close/>
                  <a:moveTo>
                    <a:pt x="194" y="428"/>
                  </a:moveTo>
                  <a:lnTo>
                    <a:pt x="194" y="426"/>
                  </a:lnTo>
                  <a:lnTo>
                    <a:pt x="194" y="428"/>
                  </a:lnTo>
                  <a:close/>
                  <a:moveTo>
                    <a:pt x="7" y="426"/>
                  </a:moveTo>
                  <a:lnTo>
                    <a:pt x="7" y="428"/>
                  </a:lnTo>
                  <a:lnTo>
                    <a:pt x="7" y="426"/>
                  </a:lnTo>
                  <a:close/>
                  <a:moveTo>
                    <a:pt x="178" y="426"/>
                  </a:moveTo>
                  <a:lnTo>
                    <a:pt x="175" y="426"/>
                  </a:lnTo>
                  <a:lnTo>
                    <a:pt x="178" y="426"/>
                  </a:lnTo>
                  <a:close/>
                  <a:moveTo>
                    <a:pt x="7" y="426"/>
                  </a:moveTo>
                  <a:lnTo>
                    <a:pt x="9" y="426"/>
                  </a:lnTo>
                  <a:lnTo>
                    <a:pt x="7" y="426"/>
                  </a:lnTo>
                  <a:close/>
                  <a:moveTo>
                    <a:pt x="7" y="426"/>
                  </a:moveTo>
                  <a:lnTo>
                    <a:pt x="7" y="423"/>
                  </a:lnTo>
                  <a:lnTo>
                    <a:pt x="7" y="426"/>
                  </a:lnTo>
                  <a:close/>
                  <a:moveTo>
                    <a:pt x="175" y="423"/>
                  </a:moveTo>
                  <a:lnTo>
                    <a:pt x="175" y="426"/>
                  </a:lnTo>
                  <a:lnTo>
                    <a:pt x="175" y="423"/>
                  </a:lnTo>
                  <a:close/>
                  <a:moveTo>
                    <a:pt x="204" y="423"/>
                  </a:moveTo>
                  <a:lnTo>
                    <a:pt x="204" y="426"/>
                  </a:lnTo>
                  <a:lnTo>
                    <a:pt x="204" y="423"/>
                  </a:lnTo>
                  <a:close/>
                  <a:moveTo>
                    <a:pt x="199" y="423"/>
                  </a:moveTo>
                  <a:lnTo>
                    <a:pt x="197" y="423"/>
                  </a:lnTo>
                  <a:lnTo>
                    <a:pt x="199" y="423"/>
                  </a:lnTo>
                  <a:close/>
                  <a:moveTo>
                    <a:pt x="9" y="423"/>
                  </a:moveTo>
                  <a:lnTo>
                    <a:pt x="7" y="423"/>
                  </a:lnTo>
                  <a:lnTo>
                    <a:pt x="9" y="423"/>
                  </a:lnTo>
                  <a:close/>
                  <a:moveTo>
                    <a:pt x="7" y="423"/>
                  </a:moveTo>
                  <a:lnTo>
                    <a:pt x="7" y="421"/>
                  </a:lnTo>
                  <a:lnTo>
                    <a:pt x="7" y="423"/>
                  </a:lnTo>
                  <a:close/>
                  <a:moveTo>
                    <a:pt x="211" y="421"/>
                  </a:moveTo>
                  <a:lnTo>
                    <a:pt x="209" y="421"/>
                  </a:lnTo>
                  <a:lnTo>
                    <a:pt x="211" y="421"/>
                  </a:lnTo>
                  <a:close/>
                  <a:moveTo>
                    <a:pt x="206" y="421"/>
                  </a:moveTo>
                  <a:lnTo>
                    <a:pt x="204" y="421"/>
                  </a:lnTo>
                  <a:lnTo>
                    <a:pt x="206" y="421"/>
                  </a:lnTo>
                  <a:close/>
                  <a:moveTo>
                    <a:pt x="216" y="421"/>
                  </a:moveTo>
                  <a:lnTo>
                    <a:pt x="213" y="421"/>
                  </a:lnTo>
                  <a:lnTo>
                    <a:pt x="216" y="421"/>
                  </a:lnTo>
                  <a:close/>
                  <a:moveTo>
                    <a:pt x="211" y="421"/>
                  </a:moveTo>
                  <a:lnTo>
                    <a:pt x="209" y="421"/>
                  </a:lnTo>
                  <a:lnTo>
                    <a:pt x="211" y="421"/>
                  </a:lnTo>
                  <a:close/>
                  <a:moveTo>
                    <a:pt x="213" y="421"/>
                  </a:moveTo>
                  <a:lnTo>
                    <a:pt x="211" y="421"/>
                  </a:lnTo>
                  <a:lnTo>
                    <a:pt x="213" y="421"/>
                  </a:lnTo>
                  <a:close/>
                  <a:moveTo>
                    <a:pt x="204" y="421"/>
                  </a:moveTo>
                  <a:lnTo>
                    <a:pt x="204" y="419"/>
                  </a:lnTo>
                  <a:lnTo>
                    <a:pt x="204" y="421"/>
                  </a:lnTo>
                  <a:close/>
                  <a:moveTo>
                    <a:pt x="216" y="421"/>
                  </a:moveTo>
                  <a:lnTo>
                    <a:pt x="213" y="421"/>
                  </a:lnTo>
                  <a:lnTo>
                    <a:pt x="216" y="419"/>
                  </a:lnTo>
                  <a:lnTo>
                    <a:pt x="216" y="421"/>
                  </a:lnTo>
                  <a:close/>
                  <a:moveTo>
                    <a:pt x="211" y="421"/>
                  </a:moveTo>
                  <a:lnTo>
                    <a:pt x="211" y="419"/>
                  </a:lnTo>
                  <a:lnTo>
                    <a:pt x="211" y="421"/>
                  </a:lnTo>
                  <a:close/>
                  <a:moveTo>
                    <a:pt x="206" y="419"/>
                  </a:moveTo>
                  <a:lnTo>
                    <a:pt x="206" y="421"/>
                  </a:lnTo>
                  <a:lnTo>
                    <a:pt x="206" y="419"/>
                  </a:lnTo>
                  <a:close/>
                  <a:moveTo>
                    <a:pt x="211" y="419"/>
                  </a:moveTo>
                  <a:lnTo>
                    <a:pt x="209" y="419"/>
                  </a:lnTo>
                  <a:lnTo>
                    <a:pt x="211" y="419"/>
                  </a:lnTo>
                  <a:close/>
                  <a:moveTo>
                    <a:pt x="9" y="419"/>
                  </a:moveTo>
                  <a:lnTo>
                    <a:pt x="7" y="419"/>
                  </a:lnTo>
                  <a:lnTo>
                    <a:pt x="9" y="419"/>
                  </a:lnTo>
                  <a:close/>
                  <a:moveTo>
                    <a:pt x="218" y="419"/>
                  </a:moveTo>
                  <a:lnTo>
                    <a:pt x="216" y="419"/>
                  </a:lnTo>
                  <a:lnTo>
                    <a:pt x="218" y="419"/>
                  </a:lnTo>
                  <a:close/>
                  <a:moveTo>
                    <a:pt x="232" y="419"/>
                  </a:moveTo>
                  <a:lnTo>
                    <a:pt x="232" y="416"/>
                  </a:lnTo>
                  <a:lnTo>
                    <a:pt x="232" y="419"/>
                  </a:lnTo>
                  <a:close/>
                  <a:moveTo>
                    <a:pt x="228" y="419"/>
                  </a:moveTo>
                  <a:lnTo>
                    <a:pt x="228" y="416"/>
                  </a:lnTo>
                  <a:lnTo>
                    <a:pt x="228" y="419"/>
                  </a:lnTo>
                  <a:close/>
                  <a:moveTo>
                    <a:pt x="232" y="419"/>
                  </a:moveTo>
                  <a:lnTo>
                    <a:pt x="232" y="416"/>
                  </a:lnTo>
                  <a:lnTo>
                    <a:pt x="232" y="419"/>
                  </a:lnTo>
                  <a:close/>
                  <a:moveTo>
                    <a:pt x="218" y="416"/>
                  </a:moveTo>
                  <a:lnTo>
                    <a:pt x="218" y="419"/>
                  </a:lnTo>
                  <a:lnTo>
                    <a:pt x="218" y="416"/>
                  </a:lnTo>
                  <a:close/>
                  <a:moveTo>
                    <a:pt x="7" y="416"/>
                  </a:moveTo>
                  <a:lnTo>
                    <a:pt x="7" y="419"/>
                  </a:lnTo>
                  <a:lnTo>
                    <a:pt x="7" y="416"/>
                  </a:lnTo>
                  <a:close/>
                  <a:moveTo>
                    <a:pt x="7" y="416"/>
                  </a:moveTo>
                  <a:lnTo>
                    <a:pt x="5" y="416"/>
                  </a:lnTo>
                  <a:lnTo>
                    <a:pt x="7" y="416"/>
                  </a:lnTo>
                  <a:close/>
                  <a:moveTo>
                    <a:pt x="230" y="416"/>
                  </a:moveTo>
                  <a:lnTo>
                    <a:pt x="228" y="416"/>
                  </a:lnTo>
                  <a:lnTo>
                    <a:pt x="230" y="416"/>
                  </a:lnTo>
                  <a:close/>
                  <a:moveTo>
                    <a:pt x="228" y="416"/>
                  </a:moveTo>
                  <a:lnTo>
                    <a:pt x="225" y="416"/>
                  </a:lnTo>
                  <a:lnTo>
                    <a:pt x="228" y="416"/>
                  </a:lnTo>
                  <a:close/>
                  <a:moveTo>
                    <a:pt x="7" y="416"/>
                  </a:moveTo>
                  <a:lnTo>
                    <a:pt x="5" y="416"/>
                  </a:lnTo>
                  <a:lnTo>
                    <a:pt x="7" y="416"/>
                  </a:lnTo>
                  <a:close/>
                  <a:moveTo>
                    <a:pt x="225" y="416"/>
                  </a:moveTo>
                  <a:lnTo>
                    <a:pt x="223" y="416"/>
                  </a:lnTo>
                  <a:lnTo>
                    <a:pt x="225" y="416"/>
                  </a:lnTo>
                  <a:close/>
                  <a:moveTo>
                    <a:pt x="7" y="416"/>
                  </a:moveTo>
                  <a:lnTo>
                    <a:pt x="5" y="416"/>
                  </a:lnTo>
                  <a:lnTo>
                    <a:pt x="7" y="416"/>
                  </a:lnTo>
                  <a:close/>
                  <a:moveTo>
                    <a:pt x="216" y="416"/>
                  </a:moveTo>
                  <a:lnTo>
                    <a:pt x="213" y="416"/>
                  </a:lnTo>
                  <a:lnTo>
                    <a:pt x="216" y="416"/>
                  </a:lnTo>
                  <a:close/>
                  <a:moveTo>
                    <a:pt x="216" y="416"/>
                  </a:moveTo>
                  <a:lnTo>
                    <a:pt x="216" y="414"/>
                  </a:lnTo>
                  <a:lnTo>
                    <a:pt x="216" y="416"/>
                  </a:lnTo>
                  <a:close/>
                  <a:moveTo>
                    <a:pt x="228" y="414"/>
                  </a:moveTo>
                  <a:lnTo>
                    <a:pt x="228" y="416"/>
                  </a:lnTo>
                  <a:lnTo>
                    <a:pt x="228" y="414"/>
                  </a:lnTo>
                  <a:close/>
                  <a:moveTo>
                    <a:pt x="9" y="414"/>
                  </a:moveTo>
                  <a:lnTo>
                    <a:pt x="7" y="414"/>
                  </a:lnTo>
                  <a:lnTo>
                    <a:pt x="9" y="414"/>
                  </a:lnTo>
                  <a:close/>
                  <a:moveTo>
                    <a:pt x="0" y="414"/>
                  </a:moveTo>
                  <a:lnTo>
                    <a:pt x="2" y="414"/>
                  </a:lnTo>
                  <a:lnTo>
                    <a:pt x="0" y="414"/>
                  </a:lnTo>
                  <a:close/>
                  <a:moveTo>
                    <a:pt x="221" y="414"/>
                  </a:moveTo>
                  <a:lnTo>
                    <a:pt x="218" y="414"/>
                  </a:lnTo>
                  <a:lnTo>
                    <a:pt x="221" y="414"/>
                  </a:lnTo>
                  <a:close/>
                  <a:moveTo>
                    <a:pt x="2" y="414"/>
                  </a:moveTo>
                  <a:lnTo>
                    <a:pt x="0" y="414"/>
                  </a:lnTo>
                  <a:lnTo>
                    <a:pt x="2" y="414"/>
                  </a:lnTo>
                  <a:close/>
                  <a:moveTo>
                    <a:pt x="2" y="414"/>
                  </a:moveTo>
                  <a:lnTo>
                    <a:pt x="0" y="414"/>
                  </a:lnTo>
                  <a:lnTo>
                    <a:pt x="2" y="411"/>
                  </a:lnTo>
                  <a:lnTo>
                    <a:pt x="2" y="414"/>
                  </a:lnTo>
                  <a:close/>
                  <a:moveTo>
                    <a:pt x="7" y="414"/>
                  </a:moveTo>
                  <a:lnTo>
                    <a:pt x="7" y="411"/>
                  </a:lnTo>
                  <a:lnTo>
                    <a:pt x="7" y="414"/>
                  </a:lnTo>
                  <a:close/>
                  <a:moveTo>
                    <a:pt x="237" y="411"/>
                  </a:moveTo>
                  <a:lnTo>
                    <a:pt x="237" y="414"/>
                  </a:lnTo>
                  <a:lnTo>
                    <a:pt x="237" y="411"/>
                  </a:lnTo>
                  <a:close/>
                  <a:moveTo>
                    <a:pt x="221" y="411"/>
                  </a:moveTo>
                  <a:lnTo>
                    <a:pt x="221" y="414"/>
                  </a:lnTo>
                  <a:lnTo>
                    <a:pt x="221" y="411"/>
                  </a:lnTo>
                  <a:close/>
                  <a:moveTo>
                    <a:pt x="2" y="414"/>
                  </a:moveTo>
                  <a:lnTo>
                    <a:pt x="2" y="411"/>
                  </a:lnTo>
                  <a:lnTo>
                    <a:pt x="2" y="414"/>
                  </a:lnTo>
                  <a:close/>
                  <a:moveTo>
                    <a:pt x="239" y="411"/>
                  </a:moveTo>
                  <a:lnTo>
                    <a:pt x="237" y="411"/>
                  </a:lnTo>
                  <a:lnTo>
                    <a:pt x="239" y="411"/>
                  </a:lnTo>
                  <a:close/>
                  <a:moveTo>
                    <a:pt x="0" y="414"/>
                  </a:moveTo>
                  <a:lnTo>
                    <a:pt x="0" y="411"/>
                  </a:lnTo>
                  <a:lnTo>
                    <a:pt x="0" y="414"/>
                  </a:lnTo>
                  <a:close/>
                  <a:moveTo>
                    <a:pt x="225" y="411"/>
                  </a:moveTo>
                  <a:lnTo>
                    <a:pt x="225" y="414"/>
                  </a:lnTo>
                  <a:lnTo>
                    <a:pt x="225" y="411"/>
                  </a:lnTo>
                  <a:close/>
                  <a:moveTo>
                    <a:pt x="223" y="411"/>
                  </a:moveTo>
                  <a:lnTo>
                    <a:pt x="223" y="414"/>
                  </a:lnTo>
                  <a:lnTo>
                    <a:pt x="223" y="411"/>
                  </a:lnTo>
                  <a:close/>
                  <a:moveTo>
                    <a:pt x="221" y="411"/>
                  </a:moveTo>
                  <a:lnTo>
                    <a:pt x="218" y="411"/>
                  </a:lnTo>
                  <a:lnTo>
                    <a:pt x="221" y="411"/>
                  </a:lnTo>
                  <a:close/>
                  <a:moveTo>
                    <a:pt x="223" y="409"/>
                  </a:moveTo>
                  <a:lnTo>
                    <a:pt x="223" y="411"/>
                  </a:lnTo>
                  <a:lnTo>
                    <a:pt x="223" y="409"/>
                  </a:lnTo>
                  <a:lnTo>
                    <a:pt x="223" y="411"/>
                  </a:lnTo>
                  <a:lnTo>
                    <a:pt x="223" y="409"/>
                  </a:lnTo>
                  <a:close/>
                  <a:moveTo>
                    <a:pt x="223" y="409"/>
                  </a:moveTo>
                  <a:lnTo>
                    <a:pt x="221" y="409"/>
                  </a:lnTo>
                  <a:lnTo>
                    <a:pt x="223" y="409"/>
                  </a:lnTo>
                  <a:close/>
                  <a:moveTo>
                    <a:pt x="232" y="409"/>
                  </a:moveTo>
                  <a:lnTo>
                    <a:pt x="232" y="407"/>
                  </a:lnTo>
                  <a:lnTo>
                    <a:pt x="232" y="409"/>
                  </a:lnTo>
                  <a:close/>
                  <a:moveTo>
                    <a:pt x="249" y="407"/>
                  </a:moveTo>
                  <a:lnTo>
                    <a:pt x="249" y="409"/>
                  </a:lnTo>
                  <a:lnTo>
                    <a:pt x="249" y="407"/>
                  </a:lnTo>
                  <a:close/>
                  <a:moveTo>
                    <a:pt x="242" y="407"/>
                  </a:moveTo>
                  <a:lnTo>
                    <a:pt x="242" y="409"/>
                  </a:lnTo>
                  <a:lnTo>
                    <a:pt x="242" y="407"/>
                  </a:lnTo>
                  <a:close/>
                  <a:moveTo>
                    <a:pt x="235" y="407"/>
                  </a:moveTo>
                  <a:lnTo>
                    <a:pt x="235" y="409"/>
                  </a:lnTo>
                  <a:lnTo>
                    <a:pt x="235" y="407"/>
                  </a:lnTo>
                  <a:close/>
                  <a:moveTo>
                    <a:pt x="237" y="407"/>
                  </a:moveTo>
                  <a:lnTo>
                    <a:pt x="235" y="407"/>
                  </a:lnTo>
                  <a:lnTo>
                    <a:pt x="237" y="407"/>
                  </a:lnTo>
                  <a:close/>
                  <a:moveTo>
                    <a:pt x="223" y="407"/>
                  </a:moveTo>
                  <a:lnTo>
                    <a:pt x="221" y="407"/>
                  </a:lnTo>
                  <a:lnTo>
                    <a:pt x="223" y="407"/>
                  </a:lnTo>
                  <a:close/>
                  <a:moveTo>
                    <a:pt x="249" y="407"/>
                  </a:moveTo>
                  <a:lnTo>
                    <a:pt x="247" y="407"/>
                  </a:lnTo>
                  <a:lnTo>
                    <a:pt x="249" y="407"/>
                  </a:lnTo>
                  <a:close/>
                  <a:moveTo>
                    <a:pt x="237" y="407"/>
                  </a:moveTo>
                  <a:lnTo>
                    <a:pt x="237" y="404"/>
                  </a:lnTo>
                  <a:lnTo>
                    <a:pt x="237" y="407"/>
                  </a:lnTo>
                  <a:close/>
                  <a:moveTo>
                    <a:pt x="247" y="404"/>
                  </a:moveTo>
                  <a:lnTo>
                    <a:pt x="247" y="407"/>
                  </a:lnTo>
                  <a:lnTo>
                    <a:pt x="247" y="404"/>
                  </a:lnTo>
                  <a:close/>
                  <a:moveTo>
                    <a:pt x="232" y="404"/>
                  </a:moveTo>
                  <a:lnTo>
                    <a:pt x="232" y="407"/>
                  </a:lnTo>
                  <a:lnTo>
                    <a:pt x="232" y="404"/>
                  </a:lnTo>
                  <a:close/>
                  <a:moveTo>
                    <a:pt x="235" y="404"/>
                  </a:moveTo>
                  <a:lnTo>
                    <a:pt x="232" y="404"/>
                  </a:lnTo>
                  <a:lnTo>
                    <a:pt x="235" y="404"/>
                  </a:lnTo>
                  <a:close/>
                  <a:moveTo>
                    <a:pt x="249" y="404"/>
                  </a:moveTo>
                  <a:lnTo>
                    <a:pt x="249" y="402"/>
                  </a:lnTo>
                  <a:lnTo>
                    <a:pt x="249" y="404"/>
                  </a:lnTo>
                  <a:close/>
                  <a:moveTo>
                    <a:pt x="247" y="402"/>
                  </a:moveTo>
                  <a:lnTo>
                    <a:pt x="247" y="404"/>
                  </a:lnTo>
                  <a:lnTo>
                    <a:pt x="247" y="402"/>
                  </a:lnTo>
                  <a:close/>
                  <a:moveTo>
                    <a:pt x="235" y="402"/>
                  </a:moveTo>
                  <a:lnTo>
                    <a:pt x="232" y="402"/>
                  </a:lnTo>
                  <a:lnTo>
                    <a:pt x="235" y="402"/>
                  </a:lnTo>
                  <a:close/>
                  <a:moveTo>
                    <a:pt x="244" y="402"/>
                  </a:moveTo>
                  <a:lnTo>
                    <a:pt x="244" y="400"/>
                  </a:lnTo>
                  <a:lnTo>
                    <a:pt x="244" y="402"/>
                  </a:lnTo>
                  <a:close/>
                  <a:moveTo>
                    <a:pt x="221" y="400"/>
                  </a:moveTo>
                  <a:lnTo>
                    <a:pt x="221" y="402"/>
                  </a:lnTo>
                  <a:lnTo>
                    <a:pt x="221" y="400"/>
                  </a:lnTo>
                  <a:close/>
                  <a:moveTo>
                    <a:pt x="256" y="400"/>
                  </a:moveTo>
                  <a:lnTo>
                    <a:pt x="254" y="400"/>
                  </a:lnTo>
                  <a:lnTo>
                    <a:pt x="256" y="400"/>
                  </a:lnTo>
                  <a:close/>
                  <a:moveTo>
                    <a:pt x="244" y="400"/>
                  </a:moveTo>
                  <a:lnTo>
                    <a:pt x="247" y="400"/>
                  </a:lnTo>
                  <a:lnTo>
                    <a:pt x="244" y="400"/>
                  </a:lnTo>
                  <a:close/>
                  <a:moveTo>
                    <a:pt x="247" y="400"/>
                  </a:moveTo>
                  <a:lnTo>
                    <a:pt x="244" y="400"/>
                  </a:lnTo>
                  <a:lnTo>
                    <a:pt x="247" y="400"/>
                  </a:lnTo>
                  <a:close/>
                  <a:moveTo>
                    <a:pt x="256" y="400"/>
                  </a:moveTo>
                  <a:lnTo>
                    <a:pt x="254" y="400"/>
                  </a:lnTo>
                  <a:lnTo>
                    <a:pt x="256" y="400"/>
                  </a:lnTo>
                  <a:close/>
                  <a:moveTo>
                    <a:pt x="258" y="400"/>
                  </a:moveTo>
                  <a:lnTo>
                    <a:pt x="258" y="397"/>
                  </a:lnTo>
                  <a:lnTo>
                    <a:pt x="258" y="400"/>
                  </a:lnTo>
                  <a:close/>
                  <a:moveTo>
                    <a:pt x="247" y="400"/>
                  </a:moveTo>
                  <a:lnTo>
                    <a:pt x="247" y="397"/>
                  </a:lnTo>
                  <a:lnTo>
                    <a:pt x="247" y="400"/>
                  </a:lnTo>
                  <a:close/>
                  <a:moveTo>
                    <a:pt x="258" y="400"/>
                  </a:moveTo>
                  <a:lnTo>
                    <a:pt x="258" y="397"/>
                  </a:lnTo>
                  <a:lnTo>
                    <a:pt x="258" y="400"/>
                  </a:lnTo>
                  <a:close/>
                  <a:moveTo>
                    <a:pt x="251" y="400"/>
                  </a:moveTo>
                  <a:lnTo>
                    <a:pt x="251" y="397"/>
                  </a:lnTo>
                  <a:lnTo>
                    <a:pt x="251" y="400"/>
                  </a:lnTo>
                  <a:close/>
                  <a:moveTo>
                    <a:pt x="254" y="400"/>
                  </a:moveTo>
                  <a:lnTo>
                    <a:pt x="254" y="397"/>
                  </a:lnTo>
                  <a:lnTo>
                    <a:pt x="254" y="400"/>
                  </a:lnTo>
                  <a:close/>
                  <a:moveTo>
                    <a:pt x="256" y="397"/>
                  </a:moveTo>
                  <a:lnTo>
                    <a:pt x="256" y="395"/>
                  </a:lnTo>
                  <a:lnTo>
                    <a:pt x="256" y="397"/>
                  </a:lnTo>
                  <a:close/>
                  <a:moveTo>
                    <a:pt x="247" y="397"/>
                  </a:moveTo>
                  <a:lnTo>
                    <a:pt x="247" y="395"/>
                  </a:lnTo>
                  <a:lnTo>
                    <a:pt x="247" y="397"/>
                  </a:lnTo>
                  <a:close/>
                  <a:moveTo>
                    <a:pt x="249" y="397"/>
                  </a:moveTo>
                  <a:lnTo>
                    <a:pt x="249" y="395"/>
                  </a:lnTo>
                  <a:lnTo>
                    <a:pt x="249" y="397"/>
                  </a:lnTo>
                  <a:close/>
                  <a:moveTo>
                    <a:pt x="261" y="395"/>
                  </a:moveTo>
                  <a:lnTo>
                    <a:pt x="258" y="395"/>
                  </a:lnTo>
                  <a:lnTo>
                    <a:pt x="261" y="395"/>
                  </a:lnTo>
                  <a:close/>
                  <a:moveTo>
                    <a:pt x="258" y="395"/>
                  </a:moveTo>
                  <a:lnTo>
                    <a:pt x="256" y="395"/>
                  </a:lnTo>
                  <a:lnTo>
                    <a:pt x="258" y="395"/>
                  </a:lnTo>
                  <a:close/>
                  <a:moveTo>
                    <a:pt x="258" y="395"/>
                  </a:moveTo>
                  <a:lnTo>
                    <a:pt x="256" y="395"/>
                  </a:lnTo>
                  <a:lnTo>
                    <a:pt x="258" y="395"/>
                  </a:lnTo>
                  <a:close/>
                  <a:moveTo>
                    <a:pt x="247" y="395"/>
                  </a:moveTo>
                  <a:lnTo>
                    <a:pt x="244" y="395"/>
                  </a:lnTo>
                  <a:lnTo>
                    <a:pt x="244" y="392"/>
                  </a:lnTo>
                  <a:lnTo>
                    <a:pt x="247" y="392"/>
                  </a:lnTo>
                  <a:lnTo>
                    <a:pt x="247" y="395"/>
                  </a:lnTo>
                  <a:close/>
                  <a:moveTo>
                    <a:pt x="256" y="395"/>
                  </a:moveTo>
                  <a:lnTo>
                    <a:pt x="256" y="392"/>
                  </a:lnTo>
                  <a:lnTo>
                    <a:pt x="256" y="395"/>
                  </a:lnTo>
                  <a:close/>
                  <a:moveTo>
                    <a:pt x="254" y="392"/>
                  </a:moveTo>
                  <a:lnTo>
                    <a:pt x="251" y="392"/>
                  </a:lnTo>
                  <a:lnTo>
                    <a:pt x="254" y="392"/>
                  </a:lnTo>
                  <a:close/>
                  <a:moveTo>
                    <a:pt x="258" y="392"/>
                  </a:moveTo>
                  <a:lnTo>
                    <a:pt x="256" y="392"/>
                  </a:lnTo>
                  <a:lnTo>
                    <a:pt x="258" y="392"/>
                  </a:lnTo>
                  <a:close/>
                  <a:moveTo>
                    <a:pt x="263" y="392"/>
                  </a:moveTo>
                  <a:lnTo>
                    <a:pt x="261" y="392"/>
                  </a:lnTo>
                  <a:lnTo>
                    <a:pt x="263" y="392"/>
                  </a:lnTo>
                  <a:close/>
                  <a:moveTo>
                    <a:pt x="268" y="390"/>
                  </a:moveTo>
                  <a:lnTo>
                    <a:pt x="266" y="390"/>
                  </a:lnTo>
                  <a:lnTo>
                    <a:pt x="268" y="390"/>
                  </a:lnTo>
                  <a:close/>
                  <a:moveTo>
                    <a:pt x="266" y="390"/>
                  </a:moveTo>
                  <a:lnTo>
                    <a:pt x="263" y="390"/>
                  </a:lnTo>
                  <a:lnTo>
                    <a:pt x="266" y="390"/>
                  </a:lnTo>
                  <a:close/>
                  <a:moveTo>
                    <a:pt x="256" y="390"/>
                  </a:moveTo>
                  <a:lnTo>
                    <a:pt x="254" y="390"/>
                  </a:lnTo>
                  <a:lnTo>
                    <a:pt x="256" y="390"/>
                  </a:lnTo>
                  <a:close/>
                  <a:moveTo>
                    <a:pt x="258" y="390"/>
                  </a:moveTo>
                  <a:lnTo>
                    <a:pt x="258" y="388"/>
                  </a:lnTo>
                  <a:lnTo>
                    <a:pt x="258" y="390"/>
                  </a:lnTo>
                  <a:close/>
                  <a:moveTo>
                    <a:pt x="263" y="388"/>
                  </a:moveTo>
                  <a:lnTo>
                    <a:pt x="261" y="388"/>
                  </a:lnTo>
                  <a:lnTo>
                    <a:pt x="263" y="388"/>
                  </a:lnTo>
                  <a:close/>
                  <a:moveTo>
                    <a:pt x="254" y="388"/>
                  </a:moveTo>
                  <a:lnTo>
                    <a:pt x="251" y="388"/>
                  </a:lnTo>
                  <a:lnTo>
                    <a:pt x="254" y="388"/>
                  </a:lnTo>
                  <a:close/>
                  <a:moveTo>
                    <a:pt x="242" y="388"/>
                  </a:moveTo>
                  <a:lnTo>
                    <a:pt x="242" y="385"/>
                  </a:lnTo>
                  <a:lnTo>
                    <a:pt x="242" y="388"/>
                  </a:lnTo>
                  <a:close/>
                  <a:moveTo>
                    <a:pt x="263" y="388"/>
                  </a:moveTo>
                  <a:lnTo>
                    <a:pt x="261" y="388"/>
                  </a:lnTo>
                  <a:lnTo>
                    <a:pt x="261" y="385"/>
                  </a:lnTo>
                  <a:lnTo>
                    <a:pt x="263" y="385"/>
                  </a:lnTo>
                  <a:lnTo>
                    <a:pt x="263" y="388"/>
                  </a:lnTo>
                  <a:close/>
                  <a:moveTo>
                    <a:pt x="266" y="388"/>
                  </a:moveTo>
                  <a:lnTo>
                    <a:pt x="266" y="385"/>
                  </a:lnTo>
                  <a:lnTo>
                    <a:pt x="266" y="388"/>
                  </a:lnTo>
                  <a:close/>
                  <a:moveTo>
                    <a:pt x="258" y="388"/>
                  </a:moveTo>
                  <a:lnTo>
                    <a:pt x="258" y="385"/>
                  </a:lnTo>
                  <a:lnTo>
                    <a:pt x="258" y="388"/>
                  </a:lnTo>
                  <a:close/>
                  <a:moveTo>
                    <a:pt x="263" y="388"/>
                  </a:moveTo>
                  <a:lnTo>
                    <a:pt x="263" y="385"/>
                  </a:lnTo>
                  <a:lnTo>
                    <a:pt x="263" y="388"/>
                  </a:lnTo>
                  <a:close/>
                  <a:moveTo>
                    <a:pt x="263" y="388"/>
                  </a:moveTo>
                  <a:lnTo>
                    <a:pt x="263" y="385"/>
                  </a:lnTo>
                  <a:lnTo>
                    <a:pt x="263" y="388"/>
                  </a:lnTo>
                  <a:close/>
                  <a:moveTo>
                    <a:pt x="268" y="388"/>
                  </a:moveTo>
                  <a:lnTo>
                    <a:pt x="268" y="385"/>
                  </a:lnTo>
                  <a:lnTo>
                    <a:pt x="268" y="388"/>
                  </a:lnTo>
                  <a:close/>
                  <a:moveTo>
                    <a:pt x="270" y="385"/>
                  </a:moveTo>
                  <a:lnTo>
                    <a:pt x="268" y="385"/>
                  </a:lnTo>
                  <a:lnTo>
                    <a:pt x="270" y="385"/>
                  </a:lnTo>
                  <a:close/>
                  <a:moveTo>
                    <a:pt x="244" y="385"/>
                  </a:moveTo>
                  <a:lnTo>
                    <a:pt x="242" y="385"/>
                  </a:lnTo>
                  <a:lnTo>
                    <a:pt x="244" y="385"/>
                  </a:lnTo>
                  <a:close/>
                  <a:moveTo>
                    <a:pt x="251" y="385"/>
                  </a:moveTo>
                  <a:lnTo>
                    <a:pt x="254" y="385"/>
                  </a:lnTo>
                  <a:lnTo>
                    <a:pt x="251" y="385"/>
                  </a:lnTo>
                  <a:close/>
                  <a:moveTo>
                    <a:pt x="244" y="385"/>
                  </a:moveTo>
                  <a:lnTo>
                    <a:pt x="242" y="385"/>
                  </a:lnTo>
                  <a:lnTo>
                    <a:pt x="244" y="385"/>
                  </a:lnTo>
                  <a:close/>
                  <a:moveTo>
                    <a:pt x="247" y="385"/>
                  </a:moveTo>
                  <a:lnTo>
                    <a:pt x="244" y="385"/>
                  </a:lnTo>
                  <a:lnTo>
                    <a:pt x="247" y="385"/>
                  </a:lnTo>
                  <a:close/>
                  <a:moveTo>
                    <a:pt x="266" y="385"/>
                  </a:moveTo>
                  <a:lnTo>
                    <a:pt x="263" y="385"/>
                  </a:lnTo>
                  <a:lnTo>
                    <a:pt x="266" y="385"/>
                  </a:lnTo>
                  <a:close/>
                  <a:moveTo>
                    <a:pt x="256" y="385"/>
                  </a:moveTo>
                  <a:lnTo>
                    <a:pt x="254" y="385"/>
                  </a:lnTo>
                  <a:lnTo>
                    <a:pt x="256" y="385"/>
                  </a:lnTo>
                  <a:close/>
                  <a:moveTo>
                    <a:pt x="251" y="385"/>
                  </a:moveTo>
                  <a:lnTo>
                    <a:pt x="249" y="385"/>
                  </a:lnTo>
                  <a:lnTo>
                    <a:pt x="251" y="385"/>
                  </a:lnTo>
                  <a:close/>
                  <a:moveTo>
                    <a:pt x="258" y="385"/>
                  </a:moveTo>
                  <a:lnTo>
                    <a:pt x="256" y="385"/>
                  </a:lnTo>
                  <a:lnTo>
                    <a:pt x="258" y="385"/>
                  </a:lnTo>
                  <a:close/>
                  <a:moveTo>
                    <a:pt x="270" y="385"/>
                  </a:moveTo>
                  <a:lnTo>
                    <a:pt x="273" y="385"/>
                  </a:lnTo>
                  <a:lnTo>
                    <a:pt x="270" y="385"/>
                  </a:lnTo>
                  <a:close/>
                  <a:moveTo>
                    <a:pt x="244" y="385"/>
                  </a:moveTo>
                  <a:lnTo>
                    <a:pt x="244" y="383"/>
                  </a:lnTo>
                  <a:lnTo>
                    <a:pt x="244" y="385"/>
                  </a:lnTo>
                  <a:close/>
                  <a:moveTo>
                    <a:pt x="251" y="385"/>
                  </a:moveTo>
                  <a:lnTo>
                    <a:pt x="251" y="383"/>
                  </a:lnTo>
                  <a:lnTo>
                    <a:pt x="251" y="385"/>
                  </a:lnTo>
                  <a:close/>
                  <a:moveTo>
                    <a:pt x="244" y="383"/>
                  </a:moveTo>
                  <a:lnTo>
                    <a:pt x="242" y="383"/>
                  </a:lnTo>
                  <a:lnTo>
                    <a:pt x="244" y="383"/>
                  </a:lnTo>
                  <a:close/>
                  <a:moveTo>
                    <a:pt x="251" y="383"/>
                  </a:moveTo>
                  <a:lnTo>
                    <a:pt x="249" y="383"/>
                  </a:lnTo>
                  <a:lnTo>
                    <a:pt x="251" y="383"/>
                  </a:lnTo>
                  <a:close/>
                  <a:moveTo>
                    <a:pt x="258" y="383"/>
                  </a:moveTo>
                  <a:lnTo>
                    <a:pt x="256" y="383"/>
                  </a:lnTo>
                  <a:lnTo>
                    <a:pt x="258" y="383"/>
                  </a:lnTo>
                  <a:close/>
                  <a:moveTo>
                    <a:pt x="244" y="383"/>
                  </a:moveTo>
                  <a:lnTo>
                    <a:pt x="242" y="383"/>
                  </a:lnTo>
                  <a:lnTo>
                    <a:pt x="244" y="383"/>
                  </a:lnTo>
                  <a:close/>
                  <a:moveTo>
                    <a:pt x="237" y="383"/>
                  </a:moveTo>
                  <a:lnTo>
                    <a:pt x="235" y="383"/>
                  </a:lnTo>
                  <a:lnTo>
                    <a:pt x="237" y="383"/>
                  </a:lnTo>
                  <a:close/>
                  <a:moveTo>
                    <a:pt x="247" y="383"/>
                  </a:moveTo>
                  <a:lnTo>
                    <a:pt x="244" y="383"/>
                  </a:lnTo>
                  <a:lnTo>
                    <a:pt x="247" y="383"/>
                  </a:lnTo>
                  <a:close/>
                  <a:moveTo>
                    <a:pt x="249" y="383"/>
                  </a:moveTo>
                  <a:lnTo>
                    <a:pt x="247" y="383"/>
                  </a:lnTo>
                  <a:lnTo>
                    <a:pt x="249" y="383"/>
                  </a:lnTo>
                  <a:close/>
                  <a:moveTo>
                    <a:pt x="244" y="383"/>
                  </a:moveTo>
                  <a:lnTo>
                    <a:pt x="244" y="381"/>
                  </a:lnTo>
                  <a:lnTo>
                    <a:pt x="244" y="383"/>
                  </a:lnTo>
                  <a:close/>
                  <a:moveTo>
                    <a:pt x="256" y="383"/>
                  </a:moveTo>
                  <a:lnTo>
                    <a:pt x="256" y="381"/>
                  </a:lnTo>
                  <a:lnTo>
                    <a:pt x="256" y="383"/>
                  </a:lnTo>
                  <a:close/>
                  <a:moveTo>
                    <a:pt x="273" y="381"/>
                  </a:moveTo>
                  <a:lnTo>
                    <a:pt x="273" y="383"/>
                  </a:lnTo>
                  <a:lnTo>
                    <a:pt x="273" y="381"/>
                  </a:lnTo>
                  <a:close/>
                  <a:moveTo>
                    <a:pt x="258" y="381"/>
                  </a:moveTo>
                  <a:lnTo>
                    <a:pt x="256" y="381"/>
                  </a:lnTo>
                  <a:lnTo>
                    <a:pt x="258" y="381"/>
                  </a:lnTo>
                  <a:close/>
                  <a:moveTo>
                    <a:pt x="247" y="381"/>
                  </a:moveTo>
                  <a:lnTo>
                    <a:pt x="244" y="381"/>
                  </a:lnTo>
                  <a:lnTo>
                    <a:pt x="247" y="381"/>
                  </a:lnTo>
                  <a:close/>
                  <a:moveTo>
                    <a:pt x="266" y="381"/>
                  </a:moveTo>
                  <a:lnTo>
                    <a:pt x="263" y="381"/>
                  </a:lnTo>
                  <a:lnTo>
                    <a:pt x="266" y="381"/>
                  </a:lnTo>
                  <a:close/>
                  <a:moveTo>
                    <a:pt x="275" y="381"/>
                  </a:moveTo>
                  <a:lnTo>
                    <a:pt x="273" y="381"/>
                  </a:lnTo>
                  <a:lnTo>
                    <a:pt x="275" y="381"/>
                  </a:lnTo>
                  <a:close/>
                  <a:moveTo>
                    <a:pt x="256" y="381"/>
                  </a:moveTo>
                  <a:lnTo>
                    <a:pt x="256" y="378"/>
                  </a:lnTo>
                  <a:lnTo>
                    <a:pt x="256" y="381"/>
                  </a:lnTo>
                  <a:close/>
                  <a:moveTo>
                    <a:pt x="266" y="381"/>
                  </a:moveTo>
                  <a:lnTo>
                    <a:pt x="266" y="378"/>
                  </a:lnTo>
                  <a:lnTo>
                    <a:pt x="266" y="381"/>
                  </a:lnTo>
                  <a:close/>
                  <a:moveTo>
                    <a:pt x="258" y="381"/>
                  </a:moveTo>
                  <a:lnTo>
                    <a:pt x="258" y="378"/>
                  </a:lnTo>
                  <a:lnTo>
                    <a:pt x="258" y="381"/>
                  </a:lnTo>
                  <a:close/>
                  <a:moveTo>
                    <a:pt x="254" y="381"/>
                  </a:moveTo>
                  <a:lnTo>
                    <a:pt x="254" y="378"/>
                  </a:lnTo>
                  <a:lnTo>
                    <a:pt x="254" y="381"/>
                  </a:lnTo>
                  <a:close/>
                  <a:moveTo>
                    <a:pt x="251" y="381"/>
                  </a:moveTo>
                  <a:lnTo>
                    <a:pt x="251" y="378"/>
                  </a:lnTo>
                  <a:lnTo>
                    <a:pt x="254" y="378"/>
                  </a:lnTo>
                  <a:lnTo>
                    <a:pt x="251" y="381"/>
                  </a:lnTo>
                  <a:close/>
                  <a:moveTo>
                    <a:pt x="275" y="378"/>
                  </a:moveTo>
                  <a:lnTo>
                    <a:pt x="275" y="381"/>
                  </a:lnTo>
                  <a:lnTo>
                    <a:pt x="275" y="378"/>
                  </a:lnTo>
                  <a:close/>
                  <a:moveTo>
                    <a:pt x="266" y="378"/>
                  </a:moveTo>
                  <a:lnTo>
                    <a:pt x="263" y="378"/>
                  </a:lnTo>
                  <a:lnTo>
                    <a:pt x="266" y="378"/>
                  </a:lnTo>
                  <a:close/>
                  <a:moveTo>
                    <a:pt x="247" y="378"/>
                  </a:moveTo>
                  <a:lnTo>
                    <a:pt x="249" y="378"/>
                  </a:lnTo>
                  <a:lnTo>
                    <a:pt x="247" y="378"/>
                  </a:lnTo>
                  <a:close/>
                  <a:moveTo>
                    <a:pt x="247" y="378"/>
                  </a:moveTo>
                  <a:lnTo>
                    <a:pt x="249" y="378"/>
                  </a:lnTo>
                  <a:lnTo>
                    <a:pt x="247" y="378"/>
                  </a:lnTo>
                  <a:close/>
                  <a:moveTo>
                    <a:pt x="261" y="378"/>
                  </a:moveTo>
                  <a:lnTo>
                    <a:pt x="258" y="378"/>
                  </a:lnTo>
                  <a:lnTo>
                    <a:pt x="261" y="378"/>
                  </a:lnTo>
                  <a:close/>
                  <a:moveTo>
                    <a:pt x="266" y="378"/>
                  </a:moveTo>
                  <a:lnTo>
                    <a:pt x="268" y="378"/>
                  </a:lnTo>
                  <a:lnTo>
                    <a:pt x="266" y="378"/>
                  </a:lnTo>
                  <a:close/>
                  <a:moveTo>
                    <a:pt x="256" y="378"/>
                  </a:moveTo>
                  <a:lnTo>
                    <a:pt x="254" y="378"/>
                  </a:lnTo>
                  <a:lnTo>
                    <a:pt x="256" y="378"/>
                  </a:lnTo>
                  <a:close/>
                  <a:moveTo>
                    <a:pt x="275" y="376"/>
                  </a:moveTo>
                  <a:lnTo>
                    <a:pt x="275" y="378"/>
                  </a:lnTo>
                  <a:lnTo>
                    <a:pt x="273" y="378"/>
                  </a:lnTo>
                  <a:lnTo>
                    <a:pt x="273" y="376"/>
                  </a:lnTo>
                  <a:lnTo>
                    <a:pt x="275" y="376"/>
                  </a:lnTo>
                  <a:close/>
                  <a:moveTo>
                    <a:pt x="258" y="378"/>
                  </a:moveTo>
                  <a:lnTo>
                    <a:pt x="258" y="376"/>
                  </a:lnTo>
                  <a:lnTo>
                    <a:pt x="258" y="378"/>
                  </a:lnTo>
                  <a:close/>
                  <a:moveTo>
                    <a:pt x="280" y="378"/>
                  </a:moveTo>
                  <a:lnTo>
                    <a:pt x="280" y="376"/>
                  </a:lnTo>
                  <a:lnTo>
                    <a:pt x="280" y="378"/>
                  </a:lnTo>
                  <a:close/>
                  <a:moveTo>
                    <a:pt x="282" y="376"/>
                  </a:moveTo>
                  <a:lnTo>
                    <a:pt x="282" y="378"/>
                  </a:lnTo>
                  <a:lnTo>
                    <a:pt x="282" y="376"/>
                  </a:lnTo>
                  <a:close/>
                  <a:moveTo>
                    <a:pt x="280" y="376"/>
                  </a:moveTo>
                  <a:lnTo>
                    <a:pt x="280" y="378"/>
                  </a:lnTo>
                  <a:lnTo>
                    <a:pt x="280" y="376"/>
                  </a:lnTo>
                  <a:close/>
                  <a:moveTo>
                    <a:pt x="256" y="376"/>
                  </a:moveTo>
                  <a:lnTo>
                    <a:pt x="254" y="376"/>
                  </a:lnTo>
                  <a:lnTo>
                    <a:pt x="256" y="376"/>
                  </a:lnTo>
                  <a:close/>
                  <a:moveTo>
                    <a:pt x="263" y="376"/>
                  </a:moveTo>
                  <a:lnTo>
                    <a:pt x="261" y="376"/>
                  </a:lnTo>
                  <a:lnTo>
                    <a:pt x="263" y="376"/>
                  </a:lnTo>
                  <a:close/>
                  <a:moveTo>
                    <a:pt x="280" y="376"/>
                  </a:moveTo>
                  <a:lnTo>
                    <a:pt x="280" y="373"/>
                  </a:lnTo>
                  <a:lnTo>
                    <a:pt x="280" y="376"/>
                  </a:lnTo>
                  <a:close/>
                  <a:moveTo>
                    <a:pt x="275" y="373"/>
                  </a:moveTo>
                  <a:lnTo>
                    <a:pt x="273" y="373"/>
                  </a:lnTo>
                  <a:lnTo>
                    <a:pt x="275" y="373"/>
                  </a:lnTo>
                  <a:close/>
                  <a:moveTo>
                    <a:pt x="268" y="373"/>
                  </a:moveTo>
                  <a:lnTo>
                    <a:pt x="266" y="373"/>
                  </a:lnTo>
                  <a:lnTo>
                    <a:pt x="268" y="373"/>
                  </a:lnTo>
                  <a:close/>
                  <a:moveTo>
                    <a:pt x="256" y="373"/>
                  </a:moveTo>
                  <a:lnTo>
                    <a:pt x="254" y="373"/>
                  </a:lnTo>
                  <a:lnTo>
                    <a:pt x="256" y="373"/>
                  </a:lnTo>
                  <a:close/>
                  <a:moveTo>
                    <a:pt x="275" y="373"/>
                  </a:moveTo>
                  <a:lnTo>
                    <a:pt x="273" y="373"/>
                  </a:lnTo>
                  <a:lnTo>
                    <a:pt x="275" y="373"/>
                  </a:lnTo>
                  <a:close/>
                  <a:moveTo>
                    <a:pt x="256" y="371"/>
                  </a:moveTo>
                  <a:lnTo>
                    <a:pt x="254" y="371"/>
                  </a:lnTo>
                  <a:lnTo>
                    <a:pt x="256" y="371"/>
                  </a:lnTo>
                  <a:close/>
                  <a:moveTo>
                    <a:pt x="256" y="371"/>
                  </a:moveTo>
                  <a:lnTo>
                    <a:pt x="254" y="371"/>
                  </a:lnTo>
                  <a:lnTo>
                    <a:pt x="256" y="371"/>
                  </a:lnTo>
                  <a:close/>
                  <a:moveTo>
                    <a:pt x="275" y="371"/>
                  </a:moveTo>
                  <a:lnTo>
                    <a:pt x="273" y="371"/>
                  </a:lnTo>
                  <a:lnTo>
                    <a:pt x="275" y="371"/>
                  </a:lnTo>
                  <a:close/>
                  <a:moveTo>
                    <a:pt x="256" y="371"/>
                  </a:moveTo>
                  <a:lnTo>
                    <a:pt x="258" y="371"/>
                  </a:lnTo>
                  <a:lnTo>
                    <a:pt x="256" y="371"/>
                  </a:lnTo>
                  <a:close/>
                  <a:moveTo>
                    <a:pt x="256" y="371"/>
                  </a:moveTo>
                  <a:lnTo>
                    <a:pt x="256" y="369"/>
                  </a:lnTo>
                  <a:lnTo>
                    <a:pt x="256" y="371"/>
                  </a:lnTo>
                  <a:close/>
                  <a:moveTo>
                    <a:pt x="263" y="371"/>
                  </a:moveTo>
                  <a:lnTo>
                    <a:pt x="263" y="369"/>
                  </a:lnTo>
                  <a:lnTo>
                    <a:pt x="263" y="371"/>
                  </a:lnTo>
                  <a:close/>
                  <a:moveTo>
                    <a:pt x="261" y="369"/>
                  </a:moveTo>
                  <a:lnTo>
                    <a:pt x="263" y="369"/>
                  </a:lnTo>
                  <a:lnTo>
                    <a:pt x="261" y="369"/>
                  </a:lnTo>
                  <a:close/>
                  <a:moveTo>
                    <a:pt x="258" y="369"/>
                  </a:moveTo>
                  <a:lnTo>
                    <a:pt x="256" y="369"/>
                  </a:lnTo>
                  <a:lnTo>
                    <a:pt x="258" y="369"/>
                  </a:lnTo>
                  <a:close/>
                  <a:moveTo>
                    <a:pt x="270" y="369"/>
                  </a:moveTo>
                  <a:lnTo>
                    <a:pt x="268" y="369"/>
                  </a:lnTo>
                  <a:lnTo>
                    <a:pt x="270" y="369"/>
                  </a:lnTo>
                  <a:close/>
                  <a:moveTo>
                    <a:pt x="275" y="369"/>
                  </a:moveTo>
                  <a:lnTo>
                    <a:pt x="273" y="369"/>
                  </a:lnTo>
                  <a:lnTo>
                    <a:pt x="275" y="369"/>
                  </a:lnTo>
                  <a:close/>
                  <a:moveTo>
                    <a:pt x="268" y="369"/>
                  </a:moveTo>
                  <a:lnTo>
                    <a:pt x="266" y="369"/>
                  </a:lnTo>
                  <a:lnTo>
                    <a:pt x="268" y="369"/>
                  </a:lnTo>
                  <a:close/>
                  <a:moveTo>
                    <a:pt x="273" y="369"/>
                  </a:moveTo>
                  <a:lnTo>
                    <a:pt x="273" y="366"/>
                  </a:lnTo>
                  <a:lnTo>
                    <a:pt x="273" y="369"/>
                  </a:lnTo>
                  <a:close/>
                  <a:moveTo>
                    <a:pt x="277" y="369"/>
                  </a:moveTo>
                  <a:lnTo>
                    <a:pt x="277" y="366"/>
                  </a:lnTo>
                  <a:lnTo>
                    <a:pt x="277" y="369"/>
                  </a:lnTo>
                  <a:close/>
                  <a:moveTo>
                    <a:pt x="280" y="366"/>
                  </a:moveTo>
                  <a:lnTo>
                    <a:pt x="277" y="366"/>
                  </a:lnTo>
                  <a:lnTo>
                    <a:pt x="280" y="366"/>
                  </a:lnTo>
                  <a:close/>
                  <a:moveTo>
                    <a:pt x="270" y="366"/>
                  </a:moveTo>
                  <a:lnTo>
                    <a:pt x="273" y="366"/>
                  </a:lnTo>
                  <a:lnTo>
                    <a:pt x="270" y="366"/>
                  </a:lnTo>
                  <a:close/>
                  <a:moveTo>
                    <a:pt x="273" y="366"/>
                  </a:moveTo>
                  <a:lnTo>
                    <a:pt x="270" y="366"/>
                  </a:lnTo>
                  <a:lnTo>
                    <a:pt x="270" y="364"/>
                  </a:lnTo>
                  <a:lnTo>
                    <a:pt x="273" y="364"/>
                  </a:lnTo>
                  <a:lnTo>
                    <a:pt x="273" y="366"/>
                  </a:lnTo>
                  <a:close/>
                  <a:moveTo>
                    <a:pt x="273" y="366"/>
                  </a:moveTo>
                  <a:lnTo>
                    <a:pt x="273" y="364"/>
                  </a:lnTo>
                  <a:lnTo>
                    <a:pt x="275" y="366"/>
                  </a:lnTo>
                  <a:lnTo>
                    <a:pt x="273" y="366"/>
                  </a:lnTo>
                  <a:close/>
                  <a:moveTo>
                    <a:pt x="275" y="366"/>
                  </a:moveTo>
                  <a:lnTo>
                    <a:pt x="275" y="364"/>
                  </a:lnTo>
                  <a:lnTo>
                    <a:pt x="275" y="366"/>
                  </a:lnTo>
                  <a:close/>
                  <a:moveTo>
                    <a:pt x="268" y="364"/>
                  </a:moveTo>
                  <a:lnTo>
                    <a:pt x="268" y="366"/>
                  </a:lnTo>
                  <a:lnTo>
                    <a:pt x="268" y="364"/>
                  </a:lnTo>
                  <a:close/>
                  <a:moveTo>
                    <a:pt x="268" y="364"/>
                  </a:moveTo>
                  <a:lnTo>
                    <a:pt x="266" y="364"/>
                  </a:lnTo>
                  <a:lnTo>
                    <a:pt x="268" y="364"/>
                  </a:lnTo>
                  <a:close/>
                  <a:moveTo>
                    <a:pt x="273" y="364"/>
                  </a:moveTo>
                  <a:lnTo>
                    <a:pt x="270" y="364"/>
                  </a:lnTo>
                  <a:lnTo>
                    <a:pt x="273" y="364"/>
                  </a:lnTo>
                  <a:close/>
                  <a:moveTo>
                    <a:pt x="270" y="362"/>
                  </a:moveTo>
                  <a:lnTo>
                    <a:pt x="268" y="362"/>
                  </a:lnTo>
                  <a:lnTo>
                    <a:pt x="270" y="362"/>
                  </a:lnTo>
                  <a:close/>
                  <a:moveTo>
                    <a:pt x="270" y="362"/>
                  </a:moveTo>
                  <a:lnTo>
                    <a:pt x="268" y="362"/>
                  </a:lnTo>
                  <a:lnTo>
                    <a:pt x="270" y="362"/>
                  </a:lnTo>
                  <a:close/>
                  <a:moveTo>
                    <a:pt x="270" y="359"/>
                  </a:moveTo>
                  <a:lnTo>
                    <a:pt x="270" y="362"/>
                  </a:lnTo>
                  <a:lnTo>
                    <a:pt x="270" y="359"/>
                  </a:lnTo>
                  <a:close/>
                  <a:moveTo>
                    <a:pt x="266" y="359"/>
                  </a:moveTo>
                  <a:lnTo>
                    <a:pt x="266" y="357"/>
                  </a:lnTo>
                  <a:lnTo>
                    <a:pt x="266" y="359"/>
                  </a:lnTo>
                  <a:close/>
                  <a:moveTo>
                    <a:pt x="258" y="347"/>
                  </a:moveTo>
                  <a:lnTo>
                    <a:pt x="258" y="345"/>
                  </a:lnTo>
                  <a:lnTo>
                    <a:pt x="258" y="347"/>
                  </a:lnTo>
                  <a:close/>
                  <a:moveTo>
                    <a:pt x="249" y="345"/>
                  </a:moveTo>
                  <a:lnTo>
                    <a:pt x="251" y="345"/>
                  </a:lnTo>
                  <a:lnTo>
                    <a:pt x="249" y="345"/>
                  </a:lnTo>
                  <a:close/>
                  <a:moveTo>
                    <a:pt x="256" y="345"/>
                  </a:moveTo>
                  <a:lnTo>
                    <a:pt x="254" y="345"/>
                  </a:lnTo>
                  <a:lnTo>
                    <a:pt x="256" y="345"/>
                  </a:lnTo>
                  <a:close/>
                  <a:moveTo>
                    <a:pt x="251" y="345"/>
                  </a:moveTo>
                  <a:lnTo>
                    <a:pt x="251" y="343"/>
                  </a:lnTo>
                  <a:lnTo>
                    <a:pt x="251" y="345"/>
                  </a:lnTo>
                  <a:close/>
                  <a:moveTo>
                    <a:pt x="249" y="345"/>
                  </a:moveTo>
                  <a:lnTo>
                    <a:pt x="249" y="343"/>
                  </a:lnTo>
                  <a:lnTo>
                    <a:pt x="249" y="345"/>
                  </a:lnTo>
                  <a:close/>
                  <a:moveTo>
                    <a:pt x="254" y="343"/>
                  </a:moveTo>
                  <a:lnTo>
                    <a:pt x="251" y="343"/>
                  </a:lnTo>
                  <a:lnTo>
                    <a:pt x="254" y="343"/>
                  </a:lnTo>
                  <a:close/>
                  <a:moveTo>
                    <a:pt x="249" y="343"/>
                  </a:moveTo>
                  <a:lnTo>
                    <a:pt x="249" y="345"/>
                  </a:lnTo>
                  <a:lnTo>
                    <a:pt x="249" y="343"/>
                  </a:lnTo>
                  <a:close/>
                  <a:moveTo>
                    <a:pt x="254" y="343"/>
                  </a:moveTo>
                  <a:lnTo>
                    <a:pt x="251" y="343"/>
                  </a:lnTo>
                  <a:lnTo>
                    <a:pt x="254" y="343"/>
                  </a:lnTo>
                  <a:close/>
                  <a:moveTo>
                    <a:pt x="256" y="343"/>
                  </a:moveTo>
                  <a:lnTo>
                    <a:pt x="254" y="343"/>
                  </a:lnTo>
                  <a:lnTo>
                    <a:pt x="256" y="343"/>
                  </a:lnTo>
                  <a:close/>
                  <a:moveTo>
                    <a:pt x="256" y="343"/>
                  </a:moveTo>
                  <a:lnTo>
                    <a:pt x="254" y="343"/>
                  </a:lnTo>
                  <a:lnTo>
                    <a:pt x="256" y="343"/>
                  </a:lnTo>
                  <a:close/>
                  <a:moveTo>
                    <a:pt x="258" y="343"/>
                  </a:moveTo>
                  <a:lnTo>
                    <a:pt x="256" y="343"/>
                  </a:lnTo>
                  <a:lnTo>
                    <a:pt x="258" y="343"/>
                  </a:lnTo>
                  <a:close/>
                  <a:moveTo>
                    <a:pt x="251" y="343"/>
                  </a:moveTo>
                  <a:lnTo>
                    <a:pt x="249" y="343"/>
                  </a:lnTo>
                  <a:lnTo>
                    <a:pt x="251" y="343"/>
                  </a:lnTo>
                  <a:close/>
                  <a:moveTo>
                    <a:pt x="249" y="343"/>
                  </a:moveTo>
                  <a:lnTo>
                    <a:pt x="247" y="343"/>
                  </a:lnTo>
                  <a:lnTo>
                    <a:pt x="249" y="343"/>
                  </a:lnTo>
                  <a:close/>
                  <a:moveTo>
                    <a:pt x="249" y="343"/>
                  </a:moveTo>
                  <a:lnTo>
                    <a:pt x="247" y="343"/>
                  </a:lnTo>
                  <a:lnTo>
                    <a:pt x="249" y="343"/>
                  </a:lnTo>
                  <a:close/>
                  <a:moveTo>
                    <a:pt x="254" y="340"/>
                  </a:moveTo>
                  <a:lnTo>
                    <a:pt x="254" y="343"/>
                  </a:lnTo>
                  <a:lnTo>
                    <a:pt x="254" y="340"/>
                  </a:lnTo>
                  <a:close/>
                  <a:moveTo>
                    <a:pt x="249" y="340"/>
                  </a:moveTo>
                  <a:lnTo>
                    <a:pt x="251" y="340"/>
                  </a:lnTo>
                  <a:lnTo>
                    <a:pt x="249" y="340"/>
                  </a:lnTo>
                  <a:close/>
                  <a:moveTo>
                    <a:pt x="251" y="340"/>
                  </a:moveTo>
                  <a:lnTo>
                    <a:pt x="251" y="338"/>
                  </a:lnTo>
                  <a:lnTo>
                    <a:pt x="251" y="340"/>
                  </a:lnTo>
                  <a:close/>
                  <a:moveTo>
                    <a:pt x="251" y="340"/>
                  </a:moveTo>
                  <a:lnTo>
                    <a:pt x="251" y="338"/>
                  </a:lnTo>
                  <a:lnTo>
                    <a:pt x="251" y="340"/>
                  </a:lnTo>
                  <a:close/>
                  <a:moveTo>
                    <a:pt x="256" y="338"/>
                  </a:moveTo>
                  <a:lnTo>
                    <a:pt x="254" y="338"/>
                  </a:lnTo>
                  <a:lnTo>
                    <a:pt x="256" y="338"/>
                  </a:lnTo>
                  <a:close/>
                  <a:moveTo>
                    <a:pt x="261" y="338"/>
                  </a:moveTo>
                  <a:lnTo>
                    <a:pt x="258" y="338"/>
                  </a:lnTo>
                  <a:lnTo>
                    <a:pt x="261" y="338"/>
                  </a:lnTo>
                  <a:close/>
                  <a:moveTo>
                    <a:pt x="249" y="338"/>
                  </a:moveTo>
                  <a:lnTo>
                    <a:pt x="249" y="335"/>
                  </a:lnTo>
                  <a:lnTo>
                    <a:pt x="249" y="338"/>
                  </a:lnTo>
                  <a:close/>
                  <a:moveTo>
                    <a:pt x="261" y="335"/>
                  </a:moveTo>
                  <a:lnTo>
                    <a:pt x="261" y="338"/>
                  </a:lnTo>
                  <a:lnTo>
                    <a:pt x="258" y="335"/>
                  </a:lnTo>
                  <a:lnTo>
                    <a:pt x="261" y="335"/>
                  </a:lnTo>
                  <a:close/>
                  <a:moveTo>
                    <a:pt x="249" y="335"/>
                  </a:moveTo>
                  <a:lnTo>
                    <a:pt x="247" y="335"/>
                  </a:lnTo>
                  <a:lnTo>
                    <a:pt x="249" y="335"/>
                  </a:lnTo>
                  <a:close/>
                  <a:moveTo>
                    <a:pt x="247" y="335"/>
                  </a:moveTo>
                  <a:lnTo>
                    <a:pt x="249" y="335"/>
                  </a:lnTo>
                  <a:lnTo>
                    <a:pt x="247" y="335"/>
                  </a:lnTo>
                  <a:close/>
                  <a:moveTo>
                    <a:pt x="239" y="333"/>
                  </a:moveTo>
                  <a:lnTo>
                    <a:pt x="239" y="335"/>
                  </a:lnTo>
                  <a:lnTo>
                    <a:pt x="239" y="333"/>
                  </a:lnTo>
                  <a:close/>
                  <a:moveTo>
                    <a:pt x="256" y="335"/>
                  </a:moveTo>
                  <a:lnTo>
                    <a:pt x="256" y="333"/>
                  </a:lnTo>
                  <a:lnTo>
                    <a:pt x="256" y="335"/>
                  </a:lnTo>
                  <a:close/>
                  <a:moveTo>
                    <a:pt x="244" y="333"/>
                  </a:moveTo>
                  <a:lnTo>
                    <a:pt x="244" y="335"/>
                  </a:lnTo>
                  <a:lnTo>
                    <a:pt x="244" y="333"/>
                  </a:lnTo>
                  <a:close/>
                  <a:moveTo>
                    <a:pt x="251" y="331"/>
                  </a:moveTo>
                  <a:lnTo>
                    <a:pt x="251" y="333"/>
                  </a:lnTo>
                  <a:lnTo>
                    <a:pt x="251" y="331"/>
                  </a:lnTo>
                  <a:close/>
                  <a:moveTo>
                    <a:pt x="242" y="331"/>
                  </a:moveTo>
                  <a:lnTo>
                    <a:pt x="239" y="331"/>
                  </a:lnTo>
                  <a:lnTo>
                    <a:pt x="242" y="331"/>
                  </a:lnTo>
                  <a:close/>
                  <a:moveTo>
                    <a:pt x="242" y="331"/>
                  </a:moveTo>
                  <a:lnTo>
                    <a:pt x="239" y="331"/>
                  </a:lnTo>
                  <a:lnTo>
                    <a:pt x="242" y="331"/>
                  </a:lnTo>
                  <a:close/>
                  <a:moveTo>
                    <a:pt x="249" y="331"/>
                  </a:moveTo>
                  <a:lnTo>
                    <a:pt x="247" y="331"/>
                  </a:lnTo>
                  <a:lnTo>
                    <a:pt x="249" y="331"/>
                  </a:lnTo>
                  <a:close/>
                  <a:moveTo>
                    <a:pt x="251" y="328"/>
                  </a:moveTo>
                  <a:lnTo>
                    <a:pt x="251" y="331"/>
                  </a:lnTo>
                  <a:lnTo>
                    <a:pt x="251" y="328"/>
                  </a:lnTo>
                  <a:close/>
                  <a:moveTo>
                    <a:pt x="251" y="328"/>
                  </a:moveTo>
                  <a:lnTo>
                    <a:pt x="251" y="331"/>
                  </a:lnTo>
                  <a:lnTo>
                    <a:pt x="251" y="328"/>
                  </a:lnTo>
                  <a:close/>
                  <a:moveTo>
                    <a:pt x="251" y="331"/>
                  </a:moveTo>
                  <a:lnTo>
                    <a:pt x="251" y="328"/>
                  </a:lnTo>
                  <a:lnTo>
                    <a:pt x="251" y="331"/>
                  </a:lnTo>
                  <a:close/>
                  <a:moveTo>
                    <a:pt x="254" y="328"/>
                  </a:moveTo>
                  <a:lnTo>
                    <a:pt x="251" y="331"/>
                  </a:lnTo>
                  <a:lnTo>
                    <a:pt x="251" y="328"/>
                  </a:lnTo>
                  <a:lnTo>
                    <a:pt x="254" y="328"/>
                  </a:lnTo>
                  <a:close/>
                  <a:moveTo>
                    <a:pt x="237" y="328"/>
                  </a:moveTo>
                  <a:lnTo>
                    <a:pt x="235" y="331"/>
                  </a:lnTo>
                  <a:lnTo>
                    <a:pt x="235" y="328"/>
                  </a:lnTo>
                  <a:lnTo>
                    <a:pt x="237" y="328"/>
                  </a:lnTo>
                  <a:close/>
                  <a:moveTo>
                    <a:pt x="235" y="328"/>
                  </a:moveTo>
                  <a:lnTo>
                    <a:pt x="235" y="331"/>
                  </a:lnTo>
                  <a:lnTo>
                    <a:pt x="235" y="328"/>
                  </a:lnTo>
                  <a:close/>
                  <a:moveTo>
                    <a:pt x="251" y="328"/>
                  </a:moveTo>
                  <a:lnTo>
                    <a:pt x="251" y="331"/>
                  </a:lnTo>
                  <a:lnTo>
                    <a:pt x="251" y="328"/>
                  </a:lnTo>
                  <a:close/>
                  <a:moveTo>
                    <a:pt x="251" y="331"/>
                  </a:moveTo>
                  <a:lnTo>
                    <a:pt x="251" y="328"/>
                  </a:lnTo>
                  <a:lnTo>
                    <a:pt x="251" y="331"/>
                  </a:lnTo>
                  <a:close/>
                  <a:moveTo>
                    <a:pt x="237" y="328"/>
                  </a:moveTo>
                  <a:lnTo>
                    <a:pt x="237" y="331"/>
                  </a:lnTo>
                  <a:lnTo>
                    <a:pt x="237" y="328"/>
                  </a:lnTo>
                  <a:close/>
                  <a:moveTo>
                    <a:pt x="237" y="328"/>
                  </a:moveTo>
                  <a:lnTo>
                    <a:pt x="237" y="326"/>
                  </a:lnTo>
                  <a:lnTo>
                    <a:pt x="237" y="328"/>
                  </a:lnTo>
                  <a:close/>
                  <a:moveTo>
                    <a:pt x="247" y="328"/>
                  </a:moveTo>
                  <a:lnTo>
                    <a:pt x="247" y="326"/>
                  </a:lnTo>
                  <a:lnTo>
                    <a:pt x="247" y="328"/>
                  </a:lnTo>
                  <a:close/>
                  <a:moveTo>
                    <a:pt x="247" y="328"/>
                  </a:moveTo>
                  <a:lnTo>
                    <a:pt x="247" y="326"/>
                  </a:lnTo>
                  <a:lnTo>
                    <a:pt x="247" y="328"/>
                  </a:lnTo>
                  <a:close/>
                  <a:moveTo>
                    <a:pt x="235" y="326"/>
                  </a:moveTo>
                  <a:lnTo>
                    <a:pt x="235" y="328"/>
                  </a:lnTo>
                  <a:lnTo>
                    <a:pt x="235" y="326"/>
                  </a:lnTo>
                  <a:close/>
                  <a:moveTo>
                    <a:pt x="244" y="326"/>
                  </a:moveTo>
                  <a:lnTo>
                    <a:pt x="242" y="326"/>
                  </a:lnTo>
                  <a:lnTo>
                    <a:pt x="244" y="326"/>
                  </a:lnTo>
                  <a:close/>
                  <a:moveTo>
                    <a:pt x="244" y="326"/>
                  </a:moveTo>
                  <a:lnTo>
                    <a:pt x="242" y="326"/>
                  </a:lnTo>
                  <a:lnTo>
                    <a:pt x="244" y="326"/>
                  </a:lnTo>
                  <a:close/>
                  <a:moveTo>
                    <a:pt x="247" y="326"/>
                  </a:moveTo>
                  <a:lnTo>
                    <a:pt x="244" y="326"/>
                  </a:lnTo>
                  <a:lnTo>
                    <a:pt x="247" y="326"/>
                  </a:lnTo>
                  <a:close/>
                  <a:moveTo>
                    <a:pt x="232" y="326"/>
                  </a:moveTo>
                  <a:lnTo>
                    <a:pt x="232" y="324"/>
                  </a:lnTo>
                  <a:lnTo>
                    <a:pt x="232" y="326"/>
                  </a:lnTo>
                  <a:close/>
                  <a:moveTo>
                    <a:pt x="232" y="326"/>
                  </a:moveTo>
                  <a:lnTo>
                    <a:pt x="232" y="324"/>
                  </a:lnTo>
                  <a:lnTo>
                    <a:pt x="232" y="326"/>
                  </a:lnTo>
                  <a:close/>
                  <a:moveTo>
                    <a:pt x="221" y="326"/>
                  </a:moveTo>
                  <a:lnTo>
                    <a:pt x="221" y="324"/>
                  </a:lnTo>
                  <a:lnTo>
                    <a:pt x="221" y="326"/>
                  </a:lnTo>
                  <a:close/>
                  <a:moveTo>
                    <a:pt x="223" y="324"/>
                  </a:moveTo>
                  <a:lnTo>
                    <a:pt x="223" y="321"/>
                  </a:lnTo>
                  <a:lnTo>
                    <a:pt x="223" y="324"/>
                  </a:lnTo>
                  <a:close/>
                  <a:moveTo>
                    <a:pt x="235" y="324"/>
                  </a:moveTo>
                  <a:lnTo>
                    <a:pt x="235" y="321"/>
                  </a:lnTo>
                  <a:lnTo>
                    <a:pt x="235" y="324"/>
                  </a:lnTo>
                  <a:close/>
                  <a:moveTo>
                    <a:pt x="218" y="321"/>
                  </a:moveTo>
                  <a:lnTo>
                    <a:pt x="218" y="324"/>
                  </a:lnTo>
                  <a:lnTo>
                    <a:pt x="218" y="321"/>
                  </a:lnTo>
                  <a:close/>
                  <a:moveTo>
                    <a:pt x="223" y="321"/>
                  </a:moveTo>
                  <a:lnTo>
                    <a:pt x="223" y="324"/>
                  </a:lnTo>
                  <a:lnTo>
                    <a:pt x="223" y="321"/>
                  </a:lnTo>
                  <a:close/>
                  <a:moveTo>
                    <a:pt x="221" y="319"/>
                  </a:moveTo>
                  <a:lnTo>
                    <a:pt x="221" y="321"/>
                  </a:lnTo>
                  <a:lnTo>
                    <a:pt x="221" y="319"/>
                  </a:lnTo>
                  <a:close/>
                  <a:moveTo>
                    <a:pt x="221" y="321"/>
                  </a:moveTo>
                  <a:lnTo>
                    <a:pt x="221" y="319"/>
                  </a:lnTo>
                  <a:lnTo>
                    <a:pt x="221" y="321"/>
                  </a:lnTo>
                  <a:close/>
                  <a:moveTo>
                    <a:pt x="230" y="321"/>
                  </a:moveTo>
                  <a:lnTo>
                    <a:pt x="230" y="319"/>
                  </a:lnTo>
                  <a:lnTo>
                    <a:pt x="230" y="321"/>
                  </a:lnTo>
                  <a:close/>
                  <a:moveTo>
                    <a:pt x="221" y="319"/>
                  </a:moveTo>
                  <a:lnTo>
                    <a:pt x="218" y="319"/>
                  </a:lnTo>
                  <a:lnTo>
                    <a:pt x="221" y="319"/>
                  </a:lnTo>
                  <a:close/>
                  <a:moveTo>
                    <a:pt x="218" y="319"/>
                  </a:moveTo>
                  <a:lnTo>
                    <a:pt x="221" y="319"/>
                  </a:lnTo>
                  <a:lnTo>
                    <a:pt x="218" y="319"/>
                  </a:lnTo>
                  <a:close/>
                  <a:moveTo>
                    <a:pt x="216" y="319"/>
                  </a:moveTo>
                  <a:lnTo>
                    <a:pt x="216" y="316"/>
                  </a:lnTo>
                  <a:lnTo>
                    <a:pt x="216" y="319"/>
                  </a:lnTo>
                  <a:close/>
                  <a:moveTo>
                    <a:pt x="211" y="316"/>
                  </a:moveTo>
                  <a:lnTo>
                    <a:pt x="209" y="316"/>
                  </a:lnTo>
                  <a:lnTo>
                    <a:pt x="211" y="316"/>
                  </a:lnTo>
                  <a:close/>
                  <a:moveTo>
                    <a:pt x="211" y="314"/>
                  </a:moveTo>
                  <a:lnTo>
                    <a:pt x="209" y="314"/>
                  </a:lnTo>
                  <a:lnTo>
                    <a:pt x="211" y="314"/>
                  </a:lnTo>
                  <a:close/>
                  <a:moveTo>
                    <a:pt x="211" y="312"/>
                  </a:moveTo>
                  <a:lnTo>
                    <a:pt x="209" y="312"/>
                  </a:lnTo>
                  <a:lnTo>
                    <a:pt x="211" y="312"/>
                  </a:lnTo>
                  <a:close/>
                  <a:moveTo>
                    <a:pt x="209" y="309"/>
                  </a:moveTo>
                  <a:lnTo>
                    <a:pt x="209" y="307"/>
                  </a:lnTo>
                  <a:lnTo>
                    <a:pt x="209" y="309"/>
                  </a:lnTo>
                  <a:close/>
                  <a:moveTo>
                    <a:pt x="206" y="302"/>
                  </a:moveTo>
                  <a:lnTo>
                    <a:pt x="206" y="305"/>
                  </a:lnTo>
                  <a:lnTo>
                    <a:pt x="206" y="302"/>
                  </a:lnTo>
                  <a:close/>
                  <a:moveTo>
                    <a:pt x="204" y="302"/>
                  </a:moveTo>
                  <a:lnTo>
                    <a:pt x="206" y="302"/>
                  </a:lnTo>
                  <a:lnTo>
                    <a:pt x="204" y="302"/>
                  </a:lnTo>
                  <a:close/>
                  <a:moveTo>
                    <a:pt x="204" y="302"/>
                  </a:moveTo>
                  <a:lnTo>
                    <a:pt x="204" y="300"/>
                  </a:lnTo>
                  <a:lnTo>
                    <a:pt x="204" y="302"/>
                  </a:lnTo>
                  <a:close/>
                  <a:moveTo>
                    <a:pt x="206" y="300"/>
                  </a:moveTo>
                  <a:lnTo>
                    <a:pt x="209" y="300"/>
                  </a:lnTo>
                  <a:lnTo>
                    <a:pt x="206" y="300"/>
                  </a:lnTo>
                  <a:close/>
                  <a:moveTo>
                    <a:pt x="209" y="297"/>
                  </a:moveTo>
                  <a:lnTo>
                    <a:pt x="209" y="300"/>
                  </a:lnTo>
                  <a:lnTo>
                    <a:pt x="209" y="297"/>
                  </a:lnTo>
                  <a:close/>
                  <a:moveTo>
                    <a:pt x="206" y="295"/>
                  </a:moveTo>
                  <a:lnTo>
                    <a:pt x="209" y="295"/>
                  </a:lnTo>
                  <a:lnTo>
                    <a:pt x="206" y="295"/>
                  </a:lnTo>
                  <a:close/>
                  <a:moveTo>
                    <a:pt x="206" y="295"/>
                  </a:moveTo>
                  <a:lnTo>
                    <a:pt x="206" y="293"/>
                  </a:lnTo>
                  <a:lnTo>
                    <a:pt x="206" y="295"/>
                  </a:lnTo>
                  <a:close/>
                  <a:moveTo>
                    <a:pt x="209" y="293"/>
                  </a:moveTo>
                  <a:lnTo>
                    <a:pt x="209" y="295"/>
                  </a:lnTo>
                  <a:lnTo>
                    <a:pt x="209" y="293"/>
                  </a:lnTo>
                  <a:close/>
                  <a:moveTo>
                    <a:pt x="209" y="293"/>
                  </a:moveTo>
                  <a:lnTo>
                    <a:pt x="209" y="295"/>
                  </a:lnTo>
                  <a:lnTo>
                    <a:pt x="206" y="293"/>
                  </a:lnTo>
                  <a:lnTo>
                    <a:pt x="209" y="293"/>
                  </a:lnTo>
                  <a:close/>
                  <a:moveTo>
                    <a:pt x="206" y="290"/>
                  </a:moveTo>
                  <a:lnTo>
                    <a:pt x="204" y="290"/>
                  </a:lnTo>
                  <a:lnTo>
                    <a:pt x="206" y="290"/>
                  </a:lnTo>
                  <a:close/>
                  <a:moveTo>
                    <a:pt x="206" y="286"/>
                  </a:moveTo>
                  <a:lnTo>
                    <a:pt x="206" y="288"/>
                  </a:lnTo>
                  <a:lnTo>
                    <a:pt x="206" y="286"/>
                  </a:lnTo>
                  <a:lnTo>
                    <a:pt x="206" y="288"/>
                  </a:lnTo>
                  <a:lnTo>
                    <a:pt x="206" y="286"/>
                  </a:lnTo>
                  <a:close/>
                  <a:moveTo>
                    <a:pt x="206" y="286"/>
                  </a:moveTo>
                  <a:lnTo>
                    <a:pt x="204" y="286"/>
                  </a:lnTo>
                  <a:lnTo>
                    <a:pt x="206" y="286"/>
                  </a:lnTo>
                  <a:close/>
                  <a:moveTo>
                    <a:pt x="206" y="286"/>
                  </a:moveTo>
                  <a:lnTo>
                    <a:pt x="204" y="286"/>
                  </a:lnTo>
                  <a:lnTo>
                    <a:pt x="206" y="286"/>
                  </a:lnTo>
                  <a:close/>
                  <a:moveTo>
                    <a:pt x="204" y="283"/>
                  </a:moveTo>
                  <a:lnTo>
                    <a:pt x="204" y="286"/>
                  </a:lnTo>
                  <a:lnTo>
                    <a:pt x="204" y="283"/>
                  </a:lnTo>
                  <a:close/>
                  <a:moveTo>
                    <a:pt x="204" y="283"/>
                  </a:moveTo>
                  <a:lnTo>
                    <a:pt x="204" y="286"/>
                  </a:lnTo>
                  <a:lnTo>
                    <a:pt x="204" y="283"/>
                  </a:lnTo>
                  <a:close/>
                  <a:moveTo>
                    <a:pt x="206" y="283"/>
                  </a:moveTo>
                  <a:lnTo>
                    <a:pt x="206" y="286"/>
                  </a:lnTo>
                  <a:lnTo>
                    <a:pt x="206" y="283"/>
                  </a:lnTo>
                  <a:close/>
                  <a:moveTo>
                    <a:pt x="206" y="283"/>
                  </a:moveTo>
                  <a:lnTo>
                    <a:pt x="204" y="283"/>
                  </a:lnTo>
                  <a:lnTo>
                    <a:pt x="206" y="283"/>
                  </a:lnTo>
                  <a:close/>
                  <a:moveTo>
                    <a:pt x="206" y="281"/>
                  </a:moveTo>
                  <a:lnTo>
                    <a:pt x="204" y="281"/>
                  </a:lnTo>
                  <a:lnTo>
                    <a:pt x="206" y="281"/>
                  </a:lnTo>
                  <a:close/>
                  <a:moveTo>
                    <a:pt x="204" y="278"/>
                  </a:moveTo>
                  <a:lnTo>
                    <a:pt x="206" y="278"/>
                  </a:lnTo>
                  <a:lnTo>
                    <a:pt x="204" y="278"/>
                  </a:lnTo>
                  <a:close/>
                  <a:moveTo>
                    <a:pt x="206" y="271"/>
                  </a:moveTo>
                  <a:lnTo>
                    <a:pt x="204" y="271"/>
                  </a:lnTo>
                  <a:lnTo>
                    <a:pt x="206" y="271"/>
                  </a:lnTo>
                  <a:close/>
                  <a:moveTo>
                    <a:pt x="209" y="269"/>
                  </a:moveTo>
                  <a:lnTo>
                    <a:pt x="209" y="271"/>
                  </a:lnTo>
                  <a:lnTo>
                    <a:pt x="209" y="269"/>
                  </a:lnTo>
                  <a:close/>
                  <a:moveTo>
                    <a:pt x="204" y="269"/>
                  </a:moveTo>
                  <a:lnTo>
                    <a:pt x="206" y="269"/>
                  </a:lnTo>
                  <a:lnTo>
                    <a:pt x="204" y="269"/>
                  </a:lnTo>
                  <a:close/>
                  <a:moveTo>
                    <a:pt x="202" y="269"/>
                  </a:moveTo>
                  <a:lnTo>
                    <a:pt x="204" y="269"/>
                  </a:lnTo>
                  <a:lnTo>
                    <a:pt x="202" y="269"/>
                  </a:lnTo>
                  <a:close/>
                  <a:moveTo>
                    <a:pt x="204" y="264"/>
                  </a:moveTo>
                  <a:lnTo>
                    <a:pt x="204" y="267"/>
                  </a:lnTo>
                  <a:lnTo>
                    <a:pt x="204" y="264"/>
                  </a:lnTo>
                  <a:close/>
                  <a:moveTo>
                    <a:pt x="206" y="264"/>
                  </a:moveTo>
                  <a:lnTo>
                    <a:pt x="204" y="264"/>
                  </a:lnTo>
                  <a:lnTo>
                    <a:pt x="206" y="264"/>
                  </a:lnTo>
                  <a:close/>
                  <a:moveTo>
                    <a:pt x="211" y="262"/>
                  </a:moveTo>
                  <a:lnTo>
                    <a:pt x="209" y="262"/>
                  </a:lnTo>
                  <a:lnTo>
                    <a:pt x="211" y="262"/>
                  </a:lnTo>
                  <a:close/>
                  <a:moveTo>
                    <a:pt x="211" y="257"/>
                  </a:moveTo>
                  <a:lnTo>
                    <a:pt x="211" y="255"/>
                  </a:lnTo>
                  <a:lnTo>
                    <a:pt x="211" y="257"/>
                  </a:lnTo>
                  <a:close/>
                  <a:moveTo>
                    <a:pt x="213" y="252"/>
                  </a:moveTo>
                  <a:lnTo>
                    <a:pt x="213" y="255"/>
                  </a:lnTo>
                  <a:lnTo>
                    <a:pt x="213" y="252"/>
                  </a:lnTo>
                  <a:close/>
                  <a:moveTo>
                    <a:pt x="211" y="250"/>
                  </a:moveTo>
                  <a:lnTo>
                    <a:pt x="209" y="250"/>
                  </a:lnTo>
                  <a:lnTo>
                    <a:pt x="211" y="250"/>
                  </a:lnTo>
                  <a:close/>
                  <a:moveTo>
                    <a:pt x="213" y="245"/>
                  </a:moveTo>
                  <a:lnTo>
                    <a:pt x="211" y="245"/>
                  </a:lnTo>
                  <a:lnTo>
                    <a:pt x="213" y="245"/>
                  </a:lnTo>
                  <a:close/>
                  <a:moveTo>
                    <a:pt x="216" y="229"/>
                  </a:moveTo>
                  <a:lnTo>
                    <a:pt x="213" y="229"/>
                  </a:lnTo>
                  <a:lnTo>
                    <a:pt x="216" y="229"/>
                  </a:lnTo>
                  <a:close/>
                  <a:moveTo>
                    <a:pt x="216" y="229"/>
                  </a:moveTo>
                  <a:lnTo>
                    <a:pt x="213" y="229"/>
                  </a:lnTo>
                  <a:lnTo>
                    <a:pt x="216" y="229"/>
                  </a:lnTo>
                  <a:close/>
                  <a:moveTo>
                    <a:pt x="216" y="224"/>
                  </a:moveTo>
                  <a:lnTo>
                    <a:pt x="216" y="226"/>
                  </a:lnTo>
                  <a:lnTo>
                    <a:pt x="216" y="224"/>
                  </a:lnTo>
                  <a:close/>
                  <a:moveTo>
                    <a:pt x="225" y="219"/>
                  </a:moveTo>
                  <a:lnTo>
                    <a:pt x="223" y="219"/>
                  </a:lnTo>
                  <a:lnTo>
                    <a:pt x="225" y="219"/>
                  </a:lnTo>
                  <a:close/>
                  <a:moveTo>
                    <a:pt x="213" y="219"/>
                  </a:moveTo>
                  <a:lnTo>
                    <a:pt x="213" y="217"/>
                  </a:lnTo>
                  <a:lnTo>
                    <a:pt x="213" y="219"/>
                  </a:lnTo>
                  <a:close/>
                  <a:moveTo>
                    <a:pt x="232" y="202"/>
                  </a:moveTo>
                  <a:lnTo>
                    <a:pt x="235" y="202"/>
                  </a:lnTo>
                  <a:lnTo>
                    <a:pt x="232" y="202"/>
                  </a:lnTo>
                  <a:close/>
                  <a:moveTo>
                    <a:pt x="230" y="200"/>
                  </a:moveTo>
                  <a:lnTo>
                    <a:pt x="228" y="200"/>
                  </a:lnTo>
                  <a:lnTo>
                    <a:pt x="230" y="200"/>
                  </a:lnTo>
                  <a:close/>
                  <a:moveTo>
                    <a:pt x="244" y="200"/>
                  </a:moveTo>
                  <a:lnTo>
                    <a:pt x="244" y="198"/>
                  </a:lnTo>
                  <a:lnTo>
                    <a:pt x="244" y="200"/>
                  </a:lnTo>
                  <a:close/>
                  <a:moveTo>
                    <a:pt x="242" y="198"/>
                  </a:moveTo>
                  <a:lnTo>
                    <a:pt x="239" y="195"/>
                  </a:lnTo>
                  <a:lnTo>
                    <a:pt x="242" y="198"/>
                  </a:lnTo>
                  <a:close/>
                  <a:moveTo>
                    <a:pt x="251" y="191"/>
                  </a:moveTo>
                  <a:lnTo>
                    <a:pt x="251" y="193"/>
                  </a:lnTo>
                  <a:lnTo>
                    <a:pt x="251" y="191"/>
                  </a:lnTo>
                  <a:close/>
                  <a:moveTo>
                    <a:pt x="249" y="188"/>
                  </a:moveTo>
                  <a:lnTo>
                    <a:pt x="249" y="191"/>
                  </a:lnTo>
                  <a:lnTo>
                    <a:pt x="249" y="188"/>
                  </a:lnTo>
                  <a:close/>
                  <a:moveTo>
                    <a:pt x="254" y="191"/>
                  </a:moveTo>
                  <a:lnTo>
                    <a:pt x="254" y="188"/>
                  </a:lnTo>
                  <a:lnTo>
                    <a:pt x="254" y="191"/>
                  </a:lnTo>
                  <a:close/>
                  <a:moveTo>
                    <a:pt x="256" y="188"/>
                  </a:moveTo>
                  <a:lnTo>
                    <a:pt x="254" y="188"/>
                  </a:lnTo>
                  <a:lnTo>
                    <a:pt x="256" y="188"/>
                  </a:lnTo>
                  <a:close/>
                  <a:moveTo>
                    <a:pt x="251" y="186"/>
                  </a:moveTo>
                  <a:lnTo>
                    <a:pt x="249" y="186"/>
                  </a:lnTo>
                  <a:lnTo>
                    <a:pt x="251" y="186"/>
                  </a:lnTo>
                  <a:close/>
                  <a:moveTo>
                    <a:pt x="223" y="186"/>
                  </a:moveTo>
                  <a:lnTo>
                    <a:pt x="223" y="188"/>
                  </a:lnTo>
                  <a:lnTo>
                    <a:pt x="223" y="186"/>
                  </a:lnTo>
                  <a:close/>
                  <a:moveTo>
                    <a:pt x="254" y="186"/>
                  </a:moveTo>
                  <a:lnTo>
                    <a:pt x="251" y="186"/>
                  </a:lnTo>
                  <a:lnTo>
                    <a:pt x="254" y="186"/>
                  </a:lnTo>
                  <a:close/>
                  <a:moveTo>
                    <a:pt x="251" y="186"/>
                  </a:moveTo>
                  <a:lnTo>
                    <a:pt x="251" y="183"/>
                  </a:lnTo>
                  <a:lnTo>
                    <a:pt x="251" y="186"/>
                  </a:lnTo>
                  <a:close/>
                  <a:moveTo>
                    <a:pt x="254" y="183"/>
                  </a:moveTo>
                  <a:lnTo>
                    <a:pt x="251" y="186"/>
                  </a:lnTo>
                  <a:lnTo>
                    <a:pt x="251" y="183"/>
                  </a:lnTo>
                  <a:lnTo>
                    <a:pt x="254" y="183"/>
                  </a:lnTo>
                  <a:close/>
                  <a:moveTo>
                    <a:pt x="256" y="183"/>
                  </a:moveTo>
                  <a:lnTo>
                    <a:pt x="254" y="183"/>
                  </a:lnTo>
                  <a:lnTo>
                    <a:pt x="256" y="183"/>
                  </a:lnTo>
                  <a:close/>
                  <a:moveTo>
                    <a:pt x="263" y="181"/>
                  </a:moveTo>
                  <a:lnTo>
                    <a:pt x="263" y="179"/>
                  </a:lnTo>
                  <a:lnTo>
                    <a:pt x="263" y="181"/>
                  </a:lnTo>
                  <a:close/>
                  <a:moveTo>
                    <a:pt x="266" y="179"/>
                  </a:moveTo>
                  <a:lnTo>
                    <a:pt x="266" y="181"/>
                  </a:lnTo>
                  <a:lnTo>
                    <a:pt x="266" y="179"/>
                  </a:lnTo>
                  <a:close/>
                  <a:moveTo>
                    <a:pt x="266" y="179"/>
                  </a:moveTo>
                  <a:lnTo>
                    <a:pt x="266" y="181"/>
                  </a:lnTo>
                  <a:lnTo>
                    <a:pt x="263" y="181"/>
                  </a:lnTo>
                  <a:lnTo>
                    <a:pt x="263" y="179"/>
                  </a:lnTo>
                  <a:lnTo>
                    <a:pt x="266" y="179"/>
                  </a:lnTo>
                  <a:close/>
                  <a:moveTo>
                    <a:pt x="263" y="179"/>
                  </a:moveTo>
                  <a:lnTo>
                    <a:pt x="263" y="181"/>
                  </a:lnTo>
                  <a:lnTo>
                    <a:pt x="263" y="179"/>
                  </a:lnTo>
                  <a:lnTo>
                    <a:pt x="263" y="181"/>
                  </a:lnTo>
                  <a:lnTo>
                    <a:pt x="263" y="179"/>
                  </a:lnTo>
                  <a:close/>
                  <a:moveTo>
                    <a:pt x="268" y="179"/>
                  </a:moveTo>
                  <a:lnTo>
                    <a:pt x="266" y="179"/>
                  </a:lnTo>
                  <a:lnTo>
                    <a:pt x="268" y="179"/>
                  </a:lnTo>
                  <a:close/>
                  <a:moveTo>
                    <a:pt x="261" y="176"/>
                  </a:moveTo>
                  <a:lnTo>
                    <a:pt x="261" y="174"/>
                  </a:lnTo>
                  <a:lnTo>
                    <a:pt x="261" y="176"/>
                  </a:lnTo>
                  <a:close/>
                  <a:moveTo>
                    <a:pt x="268" y="176"/>
                  </a:moveTo>
                  <a:lnTo>
                    <a:pt x="268" y="174"/>
                  </a:lnTo>
                  <a:lnTo>
                    <a:pt x="268" y="176"/>
                  </a:lnTo>
                  <a:close/>
                  <a:moveTo>
                    <a:pt x="273" y="174"/>
                  </a:moveTo>
                  <a:lnTo>
                    <a:pt x="270" y="174"/>
                  </a:lnTo>
                  <a:lnTo>
                    <a:pt x="273" y="174"/>
                  </a:lnTo>
                  <a:close/>
                  <a:moveTo>
                    <a:pt x="273" y="174"/>
                  </a:moveTo>
                  <a:lnTo>
                    <a:pt x="273" y="172"/>
                  </a:lnTo>
                  <a:lnTo>
                    <a:pt x="273" y="174"/>
                  </a:lnTo>
                  <a:close/>
                  <a:moveTo>
                    <a:pt x="270" y="174"/>
                  </a:moveTo>
                  <a:lnTo>
                    <a:pt x="268" y="174"/>
                  </a:lnTo>
                  <a:lnTo>
                    <a:pt x="270" y="172"/>
                  </a:lnTo>
                  <a:lnTo>
                    <a:pt x="270" y="174"/>
                  </a:lnTo>
                  <a:close/>
                  <a:moveTo>
                    <a:pt x="285" y="169"/>
                  </a:moveTo>
                  <a:lnTo>
                    <a:pt x="285" y="167"/>
                  </a:lnTo>
                  <a:lnTo>
                    <a:pt x="285" y="169"/>
                  </a:lnTo>
                  <a:close/>
                  <a:moveTo>
                    <a:pt x="280" y="167"/>
                  </a:moveTo>
                  <a:lnTo>
                    <a:pt x="280" y="169"/>
                  </a:lnTo>
                  <a:lnTo>
                    <a:pt x="280" y="167"/>
                  </a:lnTo>
                  <a:close/>
                  <a:moveTo>
                    <a:pt x="289" y="167"/>
                  </a:moveTo>
                  <a:lnTo>
                    <a:pt x="287" y="167"/>
                  </a:lnTo>
                  <a:lnTo>
                    <a:pt x="289" y="167"/>
                  </a:lnTo>
                  <a:close/>
                  <a:moveTo>
                    <a:pt x="280" y="167"/>
                  </a:moveTo>
                  <a:lnTo>
                    <a:pt x="277" y="167"/>
                  </a:lnTo>
                  <a:lnTo>
                    <a:pt x="280" y="167"/>
                  </a:lnTo>
                  <a:close/>
                  <a:moveTo>
                    <a:pt x="289" y="164"/>
                  </a:moveTo>
                  <a:lnTo>
                    <a:pt x="289" y="167"/>
                  </a:lnTo>
                  <a:lnTo>
                    <a:pt x="289" y="164"/>
                  </a:lnTo>
                  <a:close/>
                  <a:moveTo>
                    <a:pt x="280" y="164"/>
                  </a:moveTo>
                  <a:lnTo>
                    <a:pt x="280" y="167"/>
                  </a:lnTo>
                  <a:lnTo>
                    <a:pt x="280" y="164"/>
                  </a:lnTo>
                  <a:lnTo>
                    <a:pt x="277" y="167"/>
                  </a:lnTo>
                  <a:lnTo>
                    <a:pt x="277" y="164"/>
                  </a:lnTo>
                  <a:lnTo>
                    <a:pt x="280" y="164"/>
                  </a:lnTo>
                  <a:close/>
                  <a:moveTo>
                    <a:pt x="277" y="167"/>
                  </a:moveTo>
                  <a:lnTo>
                    <a:pt x="277" y="164"/>
                  </a:lnTo>
                  <a:lnTo>
                    <a:pt x="277" y="167"/>
                  </a:lnTo>
                  <a:close/>
                  <a:moveTo>
                    <a:pt x="277" y="164"/>
                  </a:moveTo>
                  <a:lnTo>
                    <a:pt x="275" y="164"/>
                  </a:lnTo>
                  <a:lnTo>
                    <a:pt x="277" y="164"/>
                  </a:lnTo>
                  <a:close/>
                  <a:moveTo>
                    <a:pt x="282" y="164"/>
                  </a:moveTo>
                  <a:lnTo>
                    <a:pt x="282" y="162"/>
                  </a:lnTo>
                  <a:lnTo>
                    <a:pt x="282" y="164"/>
                  </a:lnTo>
                  <a:close/>
                  <a:moveTo>
                    <a:pt x="294" y="162"/>
                  </a:moveTo>
                  <a:lnTo>
                    <a:pt x="294" y="164"/>
                  </a:lnTo>
                  <a:lnTo>
                    <a:pt x="294" y="162"/>
                  </a:lnTo>
                  <a:close/>
                  <a:moveTo>
                    <a:pt x="294" y="162"/>
                  </a:moveTo>
                  <a:lnTo>
                    <a:pt x="292" y="162"/>
                  </a:lnTo>
                  <a:lnTo>
                    <a:pt x="294" y="162"/>
                  </a:lnTo>
                  <a:close/>
                  <a:moveTo>
                    <a:pt x="294" y="162"/>
                  </a:moveTo>
                  <a:lnTo>
                    <a:pt x="292" y="162"/>
                  </a:lnTo>
                  <a:lnTo>
                    <a:pt x="294" y="162"/>
                  </a:lnTo>
                  <a:close/>
                  <a:moveTo>
                    <a:pt x="294" y="160"/>
                  </a:moveTo>
                  <a:lnTo>
                    <a:pt x="294" y="162"/>
                  </a:lnTo>
                  <a:lnTo>
                    <a:pt x="294" y="160"/>
                  </a:lnTo>
                  <a:close/>
                  <a:moveTo>
                    <a:pt x="292" y="162"/>
                  </a:moveTo>
                  <a:lnTo>
                    <a:pt x="292" y="160"/>
                  </a:lnTo>
                  <a:lnTo>
                    <a:pt x="292" y="162"/>
                  </a:lnTo>
                  <a:close/>
                  <a:moveTo>
                    <a:pt x="294" y="160"/>
                  </a:moveTo>
                  <a:lnTo>
                    <a:pt x="292" y="160"/>
                  </a:lnTo>
                  <a:lnTo>
                    <a:pt x="294" y="160"/>
                  </a:lnTo>
                  <a:close/>
                  <a:moveTo>
                    <a:pt x="294" y="160"/>
                  </a:moveTo>
                  <a:lnTo>
                    <a:pt x="292" y="160"/>
                  </a:lnTo>
                  <a:lnTo>
                    <a:pt x="294" y="160"/>
                  </a:lnTo>
                  <a:close/>
                  <a:moveTo>
                    <a:pt x="299" y="160"/>
                  </a:moveTo>
                  <a:lnTo>
                    <a:pt x="299" y="157"/>
                  </a:lnTo>
                  <a:lnTo>
                    <a:pt x="299" y="160"/>
                  </a:lnTo>
                  <a:close/>
                  <a:moveTo>
                    <a:pt x="294" y="160"/>
                  </a:moveTo>
                  <a:lnTo>
                    <a:pt x="294" y="157"/>
                  </a:lnTo>
                  <a:lnTo>
                    <a:pt x="294" y="160"/>
                  </a:lnTo>
                  <a:close/>
                  <a:moveTo>
                    <a:pt x="325" y="157"/>
                  </a:moveTo>
                  <a:lnTo>
                    <a:pt x="323" y="157"/>
                  </a:lnTo>
                  <a:lnTo>
                    <a:pt x="325" y="157"/>
                  </a:lnTo>
                  <a:close/>
                  <a:moveTo>
                    <a:pt x="323" y="157"/>
                  </a:moveTo>
                  <a:lnTo>
                    <a:pt x="323" y="155"/>
                  </a:lnTo>
                  <a:lnTo>
                    <a:pt x="323" y="157"/>
                  </a:lnTo>
                  <a:close/>
                  <a:moveTo>
                    <a:pt x="325" y="155"/>
                  </a:moveTo>
                  <a:lnTo>
                    <a:pt x="325" y="157"/>
                  </a:lnTo>
                  <a:lnTo>
                    <a:pt x="325" y="155"/>
                  </a:lnTo>
                  <a:close/>
                  <a:moveTo>
                    <a:pt x="327" y="155"/>
                  </a:moveTo>
                  <a:lnTo>
                    <a:pt x="325" y="155"/>
                  </a:lnTo>
                  <a:lnTo>
                    <a:pt x="327" y="155"/>
                  </a:lnTo>
                  <a:close/>
                  <a:moveTo>
                    <a:pt x="308" y="155"/>
                  </a:moveTo>
                  <a:lnTo>
                    <a:pt x="308" y="153"/>
                  </a:lnTo>
                  <a:lnTo>
                    <a:pt x="308" y="155"/>
                  </a:lnTo>
                  <a:close/>
                  <a:moveTo>
                    <a:pt x="325" y="155"/>
                  </a:moveTo>
                  <a:lnTo>
                    <a:pt x="325" y="153"/>
                  </a:lnTo>
                  <a:lnTo>
                    <a:pt x="325" y="155"/>
                  </a:lnTo>
                  <a:close/>
                  <a:moveTo>
                    <a:pt x="311" y="155"/>
                  </a:moveTo>
                  <a:lnTo>
                    <a:pt x="311" y="153"/>
                  </a:lnTo>
                  <a:lnTo>
                    <a:pt x="311" y="155"/>
                  </a:lnTo>
                  <a:close/>
                  <a:moveTo>
                    <a:pt x="311" y="153"/>
                  </a:moveTo>
                  <a:lnTo>
                    <a:pt x="313" y="153"/>
                  </a:lnTo>
                  <a:lnTo>
                    <a:pt x="311" y="153"/>
                  </a:lnTo>
                  <a:close/>
                  <a:moveTo>
                    <a:pt x="311" y="153"/>
                  </a:moveTo>
                  <a:lnTo>
                    <a:pt x="313" y="153"/>
                  </a:lnTo>
                  <a:lnTo>
                    <a:pt x="311" y="153"/>
                  </a:lnTo>
                  <a:close/>
                  <a:moveTo>
                    <a:pt x="313" y="150"/>
                  </a:moveTo>
                  <a:lnTo>
                    <a:pt x="313" y="153"/>
                  </a:lnTo>
                  <a:lnTo>
                    <a:pt x="313" y="150"/>
                  </a:lnTo>
                  <a:close/>
                  <a:moveTo>
                    <a:pt x="318" y="148"/>
                  </a:moveTo>
                  <a:lnTo>
                    <a:pt x="318" y="150"/>
                  </a:lnTo>
                  <a:lnTo>
                    <a:pt x="318" y="148"/>
                  </a:lnTo>
                  <a:close/>
                  <a:moveTo>
                    <a:pt x="325" y="148"/>
                  </a:moveTo>
                  <a:lnTo>
                    <a:pt x="325" y="150"/>
                  </a:lnTo>
                  <a:lnTo>
                    <a:pt x="325" y="148"/>
                  </a:lnTo>
                  <a:close/>
                  <a:moveTo>
                    <a:pt x="313" y="150"/>
                  </a:moveTo>
                  <a:lnTo>
                    <a:pt x="313" y="148"/>
                  </a:lnTo>
                  <a:lnTo>
                    <a:pt x="313" y="150"/>
                  </a:lnTo>
                  <a:close/>
                  <a:moveTo>
                    <a:pt x="308" y="150"/>
                  </a:moveTo>
                  <a:lnTo>
                    <a:pt x="308" y="148"/>
                  </a:lnTo>
                  <a:lnTo>
                    <a:pt x="308" y="150"/>
                  </a:lnTo>
                  <a:close/>
                  <a:moveTo>
                    <a:pt x="315" y="148"/>
                  </a:moveTo>
                  <a:lnTo>
                    <a:pt x="313" y="148"/>
                  </a:lnTo>
                  <a:lnTo>
                    <a:pt x="315" y="148"/>
                  </a:lnTo>
                  <a:close/>
                  <a:moveTo>
                    <a:pt x="315" y="148"/>
                  </a:moveTo>
                  <a:lnTo>
                    <a:pt x="313" y="148"/>
                  </a:lnTo>
                  <a:lnTo>
                    <a:pt x="315" y="148"/>
                  </a:lnTo>
                  <a:close/>
                  <a:moveTo>
                    <a:pt x="330" y="148"/>
                  </a:moveTo>
                  <a:lnTo>
                    <a:pt x="327" y="148"/>
                  </a:lnTo>
                  <a:lnTo>
                    <a:pt x="330" y="148"/>
                  </a:lnTo>
                  <a:lnTo>
                    <a:pt x="327" y="148"/>
                  </a:lnTo>
                  <a:lnTo>
                    <a:pt x="330" y="148"/>
                  </a:lnTo>
                  <a:close/>
                  <a:moveTo>
                    <a:pt x="318" y="145"/>
                  </a:moveTo>
                  <a:lnTo>
                    <a:pt x="318" y="148"/>
                  </a:lnTo>
                  <a:lnTo>
                    <a:pt x="318" y="145"/>
                  </a:lnTo>
                  <a:close/>
                  <a:moveTo>
                    <a:pt x="318" y="148"/>
                  </a:moveTo>
                  <a:lnTo>
                    <a:pt x="318" y="145"/>
                  </a:lnTo>
                  <a:lnTo>
                    <a:pt x="318" y="148"/>
                  </a:lnTo>
                  <a:close/>
                  <a:moveTo>
                    <a:pt x="318" y="148"/>
                  </a:moveTo>
                  <a:lnTo>
                    <a:pt x="318" y="145"/>
                  </a:lnTo>
                  <a:lnTo>
                    <a:pt x="318" y="148"/>
                  </a:lnTo>
                  <a:close/>
                  <a:moveTo>
                    <a:pt x="330" y="145"/>
                  </a:moveTo>
                  <a:lnTo>
                    <a:pt x="327" y="145"/>
                  </a:lnTo>
                  <a:lnTo>
                    <a:pt x="330" y="145"/>
                  </a:lnTo>
                  <a:close/>
                  <a:moveTo>
                    <a:pt x="325" y="138"/>
                  </a:moveTo>
                  <a:lnTo>
                    <a:pt x="325" y="141"/>
                  </a:lnTo>
                  <a:lnTo>
                    <a:pt x="325" y="138"/>
                  </a:lnTo>
                  <a:close/>
                  <a:moveTo>
                    <a:pt x="325" y="138"/>
                  </a:moveTo>
                  <a:lnTo>
                    <a:pt x="325" y="141"/>
                  </a:lnTo>
                  <a:lnTo>
                    <a:pt x="325" y="138"/>
                  </a:lnTo>
                  <a:close/>
                  <a:moveTo>
                    <a:pt x="327" y="136"/>
                  </a:moveTo>
                  <a:lnTo>
                    <a:pt x="325" y="136"/>
                  </a:lnTo>
                  <a:lnTo>
                    <a:pt x="327" y="136"/>
                  </a:lnTo>
                  <a:close/>
                  <a:moveTo>
                    <a:pt x="327" y="134"/>
                  </a:moveTo>
                  <a:lnTo>
                    <a:pt x="327" y="136"/>
                  </a:lnTo>
                  <a:lnTo>
                    <a:pt x="327" y="134"/>
                  </a:lnTo>
                  <a:close/>
                  <a:moveTo>
                    <a:pt x="330" y="131"/>
                  </a:moveTo>
                  <a:lnTo>
                    <a:pt x="327" y="131"/>
                  </a:lnTo>
                  <a:lnTo>
                    <a:pt x="330" y="131"/>
                  </a:lnTo>
                  <a:close/>
                  <a:moveTo>
                    <a:pt x="330" y="126"/>
                  </a:moveTo>
                  <a:lnTo>
                    <a:pt x="330" y="129"/>
                  </a:lnTo>
                  <a:lnTo>
                    <a:pt x="330" y="126"/>
                  </a:lnTo>
                  <a:close/>
                  <a:moveTo>
                    <a:pt x="332" y="124"/>
                  </a:moveTo>
                  <a:lnTo>
                    <a:pt x="332" y="126"/>
                  </a:lnTo>
                  <a:lnTo>
                    <a:pt x="332" y="124"/>
                  </a:lnTo>
                  <a:close/>
                  <a:moveTo>
                    <a:pt x="339" y="122"/>
                  </a:moveTo>
                  <a:lnTo>
                    <a:pt x="337" y="122"/>
                  </a:lnTo>
                  <a:lnTo>
                    <a:pt x="339" y="122"/>
                  </a:lnTo>
                  <a:close/>
                  <a:moveTo>
                    <a:pt x="349" y="117"/>
                  </a:moveTo>
                  <a:lnTo>
                    <a:pt x="346" y="117"/>
                  </a:lnTo>
                  <a:lnTo>
                    <a:pt x="349" y="117"/>
                  </a:lnTo>
                  <a:close/>
                  <a:moveTo>
                    <a:pt x="349" y="110"/>
                  </a:moveTo>
                  <a:lnTo>
                    <a:pt x="346" y="110"/>
                  </a:lnTo>
                  <a:lnTo>
                    <a:pt x="349" y="110"/>
                  </a:lnTo>
                  <a:close/>
                  <a:moveTo>
                    <a:pt x="346" y="107"/>
                  </a:moveTo>
                  <a:lnTo>
                    <a:pt x="346" y="105"/>
                  </a:lnTo>
                  <a:lnTo>
                    <a:pt x="346" y="107"/>
                  </a:lnTo>
                  <a:close/>
                  <a:moveTo>
                    <a:pt x="339" y="100"/>
                  </a:moveTo>
                  <a:lnTo>
                    <a:pt x="339" y="103"/>
                  </a:lnTo>
                  <a:lnTo>
                    <a:pt x="339" y="100"/>
                  </a:lnTo>
                  <a:close/>
                  <a:moveTo>
                    <a:pt x="337" y="98"/>
                  </a:moveTo>
                  <a:lnTo>
                    <a:pt x="334" y="98"/>
                  </a:lnTo>
                  <a:lnTo>
                    <a:pt x="337" y="98"/>
                  </a:lnTo>
                  <a:close/>
                  <a:moveTo>
                    <a:pt x="339" y="96"/>
                  </a:moveTo>
                  <a:lnTo>
                    <a:pt x="342" y="96"/>
                  </a:lnTo>
                  <a:lnTo>
                    <a:pt x="339" y="96"/>
                  </a:lnTo>
                  <a:close/>
                  <a:moveTo>
                    <a:pt x="342" y="93"/>
                  </a:moveTo>
                  <a:lnTo>
                    <a:pt x="342" y="96"/>
                  </a:lnTo>
                  <a:lnTo>
                    <a:pt x="342" y="93"/>
                  </a:lnTo>
                  <a:close/>
                  <a:moveTo>
                    <a:pt x="334" y="93"/>
                  </a:moveTo>
                  <a:lnTo>
                    <a:pt x="334" y="91"/>
                  </a:lnTo>
                  <a:lnTo>
                    <a:pt x="334" y="93"/>
                  </a:lnTo>
                  <a:close/>
                  <a:moveTo>
                    <a:pt x="332" y="88"/>
                  </a:moveTo>
                  <a:lnTo>
                    <a:pt x="332" y="91"/>
                  </a:lnTo>
                  <a:lnTo>
                    <a:pt x="332" y="88"/>
                  </a:lnTo>
                  <a:close/>
                  <a:moveTo>
                    <a:pt x="342" y="86"/>
                  </a:moveTo>
                  <a:lnTo>
                    <a:pt x="339" y="86"/>
                  </a:lnTo>
                  <a:lnTo>
                    <a:pt x="342" y="86"/>
                  </a:lnTo>
                  <a:close/>
                  <a:moveTo>
                    <a:pt x="342" y="84"/>
                  </a:moveTo>
                  <a:lnTo>
                    <a:pt x="339" y="84"/>
                  </a:lnTo>
                  <a:lnTo>
                    <a:pt x="342" y="84"/>
                  </a:lnTo>
                  <a:close/>
                  <a:moveTo>
                    <a:pt x="342" y="84"/>
                  </a:moveTo>
                  <a:lnTo>
                    <a:pt x="342" y="81"/>
                  </a:lnTo>
                  <a:lnTo>
                    <a:pt x="342" y="84"/>
                  </a:lnTo>
                  <a:close/>
                  <a:moveTo>
                    <a:pt x="344" y="81"/>
                  </a:moveTo>
                  <a:lnTo>
                    <a:pt x="342" y="81"/>
                  </a:lnTo>
                  <a:lnTo>
                    <a:pt x="344" y="81"/>
                  </a:lnTo>
                  <a:close/>
                  <a:moveTo>
                    <a:pt x="349" y="74"/>
                  </a:moveTo>
                  <a:lnTo>
                    <a:pt x="351" y="77"/>
                  </a:lnTo>
                  <a:lnTo>
                    <a:pt x="351" y="74"/>
                  </a:lnTo>
                  <a:lnTo>
                    <a:pt x="351" y="77"/>
                  </a:lnTo>
                  <a:lnTo>
                    <a:pt x="349" y="77"/>
                  </a:lnTo>
                  <a:lnTo>
                    <a:pt x="349" y="74"/>
                  </a:lnTo>
                  <a:close/>
                  <a:moveTo>
                    <a:pt x="358" y="72"/>
                  </a:moveTo>
                  <a:lnTo>
                    <a:pt x="361" y="72"/>
                  </a:lnTo>
                  <a:lnTo>
                    <a:pt x="358" y="72"/>
                  </a:lnTo>
                  <a:close/>
                  <a:moveTo>
                    <a:pt x="353" y="69"/>
                  </a:moveTo>
                  <a:lnTo>
                    <a:pt x="351" y="69"/>
                  </a:lnTo>
                  <a:lnTo>
                    <a:pt x="353" y="69"/>
                  </a:lnTo>
                  <a:close/>
                  <a:moveTo>
                    <a:pt x="351" y="67"/>
                  </a:moveTo>
                  <a:lnTo>
                    <a:pt x="351" y="69"/>
                  </a:lnTo>
                  <a:lnTo>
                    <a:pt x="351" y="67"/>
                  </a:lnTo>
                  <a:close/>
                  <a:moveTo>
                    <a:pt x="351" y="67"/>
                  </a:moveTo>
                  <a:lnTo>
                    <a:pt x="349" y="67"/>
                  </a:lnTo>
                  <a:lnTo>
                    <a:pt x="351" y="67"/>
                  </a:lnTo>
                  <a:close/>
                  <a:moveTo>
                    <a:pt x="363" y="65"/>
                  </a:moveTo>
                  <a:lnTo>
                    <a:pt x="361" y="65"/>
                  </a:lnTo>
                  <a:lnTo>
                    <a:pt x="363" y="65"/>
                  </a:lnTo>
                  <a:close/>
                  <a:moveTo>
                    <a:pt x="356" y="62"/>
                  </a:moveTo>
                  <a:lnTo>
                    <a:pt x="353" y="62"/>
                  </a:lnTo>
                  <a:lnTo>
                    <a:pt x="356" y="62"/>
                  </a:lnTo>
                  <a:close/>
                  <a:moveTo>
                    <a:pt x="377" y="62"/>
                  </a:moveTo>
                  <a:lnTo>
                    <a:pt x="375" y="62"/>
                  </a:lnTo>
                  <a:lnTo>
                    <a:pt x="377" y="62"/>
                  </a:lnTo>
                  <a:close/>
                  <a:moveTo>
                    <a:pt x="361" y="62"/>
                  </a:moveTo>
                  <a:lnTo>
                    <a:pt x="358" y="62"/>
                  </a:lnTo>
                  <a:lnTo>
                    <a:pt x="361" y="62"/>
                  </a:lnTo>
                  <a:close/>
                  <a:moveTo>
                    <a:pt x="349" y="62"/>
                  </a:moveTo>
                  <a:lnTo>
                    <a:pt x="346" y="62"/>
                  </a:lnTo>
                  <a:lnTo>
                    <a:pt x="349" y="62"/>
                  </a:lnTo>
                  <a:close/>
                  <a:moveTo>
                    <a:pt x="353" y="62"/>
                  </a:moveTo>
                  <a:lnTo>
                    <a:pt x="351" y="62"/>
                  </a:lnTo>
                  <a:lnTo>
                    <a:pt x="353" y="62"/>
                  </a:lnTo>
                  <a:close/>
                  <a:moveTo>
                    <a:pt x="351" y="60"/>
                  </a:moveTo>
                  <a:lnTo>
                    <a:pt x="351" y="62"/>
                  </a:lnTo>
                  <a:lnTo>
                    <a:pt x="351" y="60"/>
                  </a:lnTo>
                  <a:lnTo>
                    <a:pt x="349" y="60"/>
                  </a:lnTo>
                  <a:lnTo>
                    <a:pt x="351" y="60"/>
                  </a:lnTo>
                  <a:close/>
                  <a:moveTo>
                    <a:pt x="363" y="60"/>
                  </a:moveTo>
                  <a:lnTo>
                    <a:pt x="361" y="60"/>
                  </a:lnTo>
                  <a:lnTo>
                    <a:pt x="363" y="60"/>
                  </a:lnTo>
                  <a:close/>
                  <a:moveTo>
                    <a:pt x="353" y="60"/>
                  </a:moveTo>
                  <a:lnTo>
                    <a:pt x="351" y="60"/>
                  </a:lnTo>
                  <a:lnTo>
                    <a:pt x="353" y="60"/>
                  </a:lnTo>
                  <a:close/>
                  <a:moveTo>
                    <a:pt x="361" y="58"/>
                  </a:moveTo>
                  <a:lnTo>
                    <a:pt x="358" y="58"/>
                  </a:lnTo>
                  <a:lnTo>
                    <a:pt x="361" y="58"/>
                  </a:lnTo>
                  <a:close/>
                  <a:moveTo>
                    <a:pt x="368" y="58"/>
                  </a:moveTo>
                  <a:lnTo>
                    <a:pt x="365" y="58"/>
                  </a:lnTo>
                  <a:lnTo>
                    <a:pt x="368" y="58"/>
                  </a:lnTo>
                  <a:close/>
                  <a:moveTo>
                    <a:pt x="349" y="55"/>
                  </a:moveTo>
                  <a:lnTo>
                    <a:pt x="349" y="58"/>
                  </a:lnTo>
                  <a:lnTo>
                    <a:pt x="349" y="55"/>
                  </a:lnTo>
                  <a:close/>
                  <a:moveTo>
                    <a:pt x="365" y="58"/>
                  </a:moveTo>
                  <a:lnTo>
                    <a:pt x="363" y="58"/>
                  </a:lnTo>
                  <a:lnTo>
                    <a:pt x="363" y="55"/>
                  </a:lnTo>
                  <a:lnTo>
                    <a:pt x="365" y="58"/>
                  </a:lnTo>
                  <a:close/>
                  <a:moveTo>
                    <a:pt x="379" y="55"/>
                  </a:moveTo>
                  <a:lnTo>
                    <a:pt x="379" y="58"/>
                  </a:lnTo>
                  <a:lnTo>
                    <a:pt x="377" y="55"/>
                  </a:lnTo>
                  <a:lnTo>
                    <a:pt x="379" y="55"/>
                  </a:lnTo>
                  <a:close/>
                  <a:moveTo>
                    <a:pt x="365" y="55"/>
                  </a:moveTo>
                  <a:lnTo>
                    <a:pt x="365" y="53"/>
                  </a:lnTo>
                  <a:lnTo>
                    <a:pt x="365" y="55"/>
                  </a:lnTo>
                  <a:close/>
                  <a:moveTo>
                    <a:pt x="372" y="53"/>
                  </a:moveTo>
                  <a:lnTo>
                    <a:pt x="375" y="53"/>
                  </a:lnTo>
                  <a:lnTo>
                    <a:pt x="372" y="53"/>
                  </a:lnTo>
                  <a:close/>
                  <a:moveTo>
                    <a:pt x="370" y="53"/>
                  </a:moveTo>
                  <a:lnTo>
                    <a:pt x="368" y="53"/>
                  </a:lnTo>
                  <a:lnTo>
                    <a:pt x="370" y="53"/>
                  </a:lnTo>
                  <a:close/>
                  <a:moveTo>
                    <a:pt x="377" y="53"/>
                  </a:moveTo>
                  <a:lnTo>
                    <a:pt x="375" y="53"/>
                  </a:lnTo>
                  <a:lnTo>
                    <a:pt x="377" y="53"/>
                  </a:lnTo>
                  <a:close/>
                  <a:moveTo>
                    <a:pt x="365" y="53"/>
                  </a:moveTo>
                  <a:lnTo>
                    <a:pt x="363" y="53"/>
                  </a:lnTo>
                  <a:lnTo>
                    <a:pt x="365" y="53"/>
                  </a:lnTo>
                  <a:close/>
                  <a:moveTo>
                    <a:pt x="379" y="53"/>
                  </a:moveTo>
                  <a:lnTo>
                    <a:pt x="379" y="50"/>
                  </a:lnTo>
                  <a:lnTo>
                    <a:pt x="379" y="53"/>
                  </a:lnTo>
                  <a:close/>
                  <a:moveTo>
                    <a:pt x="384" y="50"/>
                  </a:moveTo>
                  <a:lnTo>
                    <a:pt x="384" y="53"/>
                  </a:lnTo>
                  <a:lnTo>
                    <a:pt x="384" y="50"/>
                  </a:lnTo>
                  <a:close/>
                  <a:moveTo>
                    <a:pt x="379" y="50"/>
                  </a:moveTo>
                  <a:lnTo>
                    <a:pt x="379" y="53"/>
                  </a:lnTo>
                  <a:lnTo>
                    <a:pt x="379" y="50"/>
                  </a:lnTo>
                  <a:close/>
                  <a:moveTo>
                    <a:pt x="391" y="50"/>
                  </a:moveTo>
                  <a:lnTo>
                    <a:pt x="389" y="50"/>
                  </a:lnTo>
                  <a:lnTo>
                    <a:pt x="391" y="50"/>
                  </a:lnTo>
                  <a:close/>
                  <a:moveTo>
                    <a:pt x="372" y="50"/>
                  </a:moveTo>
                  <a:lnTo>
                    <a:pt x="375" y="50"/>
                  </a:lnTo>
                  <a:lnTo>
                    <a:pt x="372" y="50"/>
                  </a:lnTo>
                  <a:close/>
                  <a:moveTo>
                    <a:pt x="382" y="48"/>
                  </a:moveTo>
                  <a:lnTo>
                    <a:pt x="379" y="48"/>
                  </a:lnTo>
                  <a:lnTo>
                    <a:pt x="382" y="48"/>
                  </a:lnTo>
                  <a:close/>
                  <a:moveTo>
                    <a:pt x="379" y="43"/>
                  </a:moveTo>
                  <a:lnTo>
                    <a:pt x="379" y="46"/>
                  </a:lnTo>
                  <a:lnTo>
                    <a:pt x="382" y="46"/>
                  </a:lnTo>
                  <a:lnTo>
                    <a:pt x="379" y="46"/>
                  </a:lnTo>
                  <a:lnTo>
                    <a:pt x="379" y="43"/>
                  </a:lnTo>
                  <a:close/>
                  <a:moveTo>
                    <a:pt x="391" y="46"/>
                  </a:moveTo>
                  <a:lnTo>
                    <a:pt x="391" y="43"/>
                  </a:lnTo>
                  <a:lnTo>
                    <a:pt x="391" y="46"/>
                  </a:lnTo>
                  <a:close/>
                  <a:moveTo>
                    <a:pt x="398" y="43"/>
                  </a:moveTo>
                  <a:lnTo>
                    <a:pt x="398" y="46"/>
                  </a:lnTo>
                  <a:lnTo>
                    <a:pt x="398" y="43"/>
                  </a:lnTo>
                  <a:close/>
                  <a:moveTo>
                    <a:pt x="398" y="43"/>
                  </a:moveTo>
                  <a:lnTo>
                    <a:pt x="396" y="43"/>
                  </a:lnTo>
                  <a:lnTo>
                    <a:pt x="398" y="43"/>
                  </a:lnTo>
                  <a:close/>
                  <a:moveTo>
                    <a:pt x="429" y="43"/>
                  </a:moveTo>
                  <a:lnTo>
                    <a:pt x="429" y="41"/>
                  </a:lnTo>
                  <a:lnTo>
                    <a:pt x="429" y="43"/>
                  </a:lnTo>
                  <a:close/>
                  <a:moveTo>
                    <a:pt x="358" y="43"/>
                  </a:moveTo>
                  <a:lnTo>
                    <a:pt x="358" y="41"/>
                  </a:lnTo>
                  <a:lnTo>
                    <a:pt x="358" y="43"/>
                  </a:lnTo>
                  <a:close/>
                  <a:moveTo>
                    <a:pt x="379" y="41"/>
                  </a:moveTo>
                  <a:lnTo>
                    <a:pt x="379" y="43"/>
                  </a:lnTo>
                  <a:lnTo>
                    <a:pt x="379" y="41"/>
                  </a:lnTo>
                  <a:close/>
                  <a:moveTo>
                    <a:pt x="389" y="41"/>
                  </a:moveTo>
                  <a:lnTo>
                    <a:pt x="389" y="43"/>
                  </a:lnTo>
                  <a:lnTo>
                    <a:pt x="391" y="43"/>
                  </a:lnTo>
                  <a:lnTo>
                    <a:pt x="389" y="43"/>
                  </a:lnTo>
                  <a:lnTo>
                    <a:pt x="389" y="41"/>
                  </a:lnTo>
                  <a:close/>
                  <a:moveTo>
                    <a:pt x="394" y="41"/>
                  </a:moveTo>
                  <a:lnTo>
                    <a:pt x="394" y="43"/>
                  </a:lnTo>
                  <a:lnTo>
                    <a:pt x="394" y="41"/>
                  </a:lnTo>
                  <a:close/>
                  <a:moveTo>
                    <a:pt x="379" y="41"/>
                  </a:moveTo>
                  <a:lnTo>
                    <a:pt x="377" y="41"/>
                  </a:lnTo>
                  <a:lnTo>
                    <a:pt x="379" y="41"/>
                  </a:lnTo>
                  <a:close/>
                  <a:moveTo>
                    <a:pt x="358" y="41"/>
                  </a:moveTo>
                  <a:lnTo>
                    <a:pt x="356" y="41"/>
                  </a:lnTo>
                  <a:lnTo>
                    <a:pt x="358" y="41"/>
                  </a:lnTo>
                  <a:close/>
                  <a:moveTo>
                    <a:pt x="394" y="41"/>
                  </a:moveTo>
                  <a:lnTo>
                    <a:pt x="391" y="41"/>
                  </a:lnTo>
                  <a:lnTo>
                    <a:pt x="394" y="41"/>
                  </a:lnTo>
                  <a:close/>
                  <a:moveTo>
                    <a:pt x="387" y="41"/>
                  </a:moveTo>
                  <a:lnTo>
                    <a:pt x="389" y="41"/>
                  </a:lnTo>
                  <a:lnTo>
                    <a:pt x="387" y="41"/>
                  </a:lnTo>
                  <a:close/>
                  <a:moveTo>
                    <a:pt x="406" y="41"/>
                  </a:moveTo>
                  <a:lnTo>
                    <a:pt x="403" y="41"/>
                  </a:lnTo>
                  <a:lnTo>
                    <a:pt x="406" y="41"/>
                  </a:lnTo>
                  <a:close/>
                  <a:moveTo>
                    <a:pt x="377" y="41"/>
                  </a:moveTo>
                  <a:lnTo>
                    <a:pt x="377" y="39"/>
                  </a:lnTo>
                  <a:lnTo>
                    <a:pt x="377" y="41"/>
                  </a:lnTo>
                  <a:close/>
                  <a:moveTo>
                    <a:pt x="425" y="41"/>
                  </a:moveTo>
                  <a:lnTo>
                    <a:pt x="425" y="39"/>
                  </a:lnTo>
                  <a:lnTo>
                    <a:pt x="425" y="41"/>
                  </a:lnTo>
                  <a:close/>
                  <a:moveTo>
                    <a:pt x="401" y="41"/>
                  </a:moveTo>
                  <a:lnTo>
                    <a:pt x="401" y="39"/>
                  </a:lnTo>
                  <a:lnTo>
                    <a:pt x="401" y="41"/>
                  </a:lnTo>
                  <a:close/>
                  <a:moveTo>
                    <a:pt x="408" y="39"/>
                  </a:moveTo>
                  <a:lnTo>
                    <a:pt x="408" y="41"/>
                  </a:lnTo>
                  <a:lnTo>
                    <a:pt x="408" y="39"/>
                  </a:lnTo>
                  <a:close/>
                  <a:moveTo>
                    <a:pt x="406" y="41"/>
                  </a:moveTo>
                  <a:lnTo>
                    <a:pt x="406" y="39"/>
                  </a:lnTo>
                  <a:lnTo>
                    <a:pt x="406" y="41"/>
                  </a:lnTo>
                  <a:close/>
                  <a:moveTo>
                    <a:pt x="427" y="41"/>
                  </a:moveTo>
                  <a:lnTo>
                    <a:pt x="427" y="39"/>
                  </a:lnTo>
                  <a:lnTo>
                    <a:pt x="427" y="41"/>
                  </a:lnTo>
                  <a:close/>
                  <a:moveTo>
                    <a:pt x="401" y="39"/>
                  </a:moveTo>
                  <a:lnTo>
                    <a:pt x="401" y="41"/>
                  </a:lnTo>
                  <a:lnTo>
                    <a:pt x="401" y="39"/>
                  </a:lnTo>
                  <a:close/>
                  <a:moveTo>
                    <a:pt x="384" y="39"/>
                  </a:moveTo>
                  <a:lnTo>
                    <a:pt x="382" y="39"/>
                  </a:lnTo>
                  <a:lnTo>
                    <a:pt x="384" y="39"/>
                  </a:lnTo>
                  <a:close/>
                  <a:moveTo>
                    <a:pt x="415" y="39"/>
                  </a:moveTo>
                  <a:lnTo>
                    <a:pt x="413" y="39"/>
                  </a:lnTo>
                  <a:lnTo>
                    <a:pt x="415" y="39"/>
                  </a:lnTo>
                  <a:close/>
                  <a:moveTo>
                    <a:pt x="377" y="39"/>
                  </a:moveTo>
                  <a:lnTo>
                    <a:pt x="375" y="39"/>
                  </a:lnTo>
                  <a:lnTo>
                    <a:pt x="377" y="39"/>
                  </a:lnTo>
                  <a:close/>
                  <a:moveTo>
                    <a:pt x="410" y="39"/>
                  </a:moveTo>
                  <a:lnTo>
                    <a:pt x="408" y="39"/>
                  </a:lnTo>
                  <a:lnTo>
                    <a:pt x="410" y="39"/>
                  </a:lnTo>
                  <a:close/>
                  <a:moveTo>
                    <a:pt x="377" y="39"/>
                  </a:moveTo>
                  <a:lnTo>
                    <a:pt x="375" y="39"/>
                  </a:lnTo>
                  <a:lnTo>
                    <a:pt x="377" y="39"/>
                  </a:lnTo>
                  <a:close/>
                  <a:moveTo>
                    <a:pt x="413" y="39"/>
                  </a:moveTo>
                  <a:lnTo>
                    <a:pt x="410" y="39"/>
                  </a:lnTo>
                  <a:lnTo>
                    <a:pt x="413" y="39"/>
                  </a:lnTo>
                  <a:close/>
                  <a:moveTo>
                    <a:pt x="391" y="39"/>
                  </a:moveTo>
                  <a:lnTo>
                    <a:pt x="389" y="39"/>
                  </a:lnTo>
                  <a:lnTo>
                    <a:pt x="389" y="36"/>
                  </a:lnTo>
                  <a:lnTo>
                    <a:pt x="391" y="39"/>
                  </a:lnTo>
                  <a:close/>
                  <a:moveTo>
                    <a:pt x="432" y="36"/>
                  </a:moveTo>
                  <a:lnTo>
                    <a:pt x="432" y="39"/>
                  </a:lnTo>
                  <a:lnTo>
                    <a:pt x="432" y="36"/>
                  </a:lnTo>
                  <a:close/>
                  <a:moveTo>
                    <a:pt x="415" y="39"/>
                  </a:moveTo>
                  <a:lnTo>
                    <a:pt x="415" y="36"/>
                  </a:lnTo>
                  <a:lnTo>
                    <a:pt x="415" y="39"/>
                  </a:lnTo>
                  <a:close/>
                  <a:moveTo>
                    <a:pt x="420" y="36"/>
                  </a:moveTo>
                  <a:lnTo>
                    <a:pt x="420" y="39"/>
                  </a:lnTo>
                  <a:lnTo>
                    <a:pt x="420" y="36"/>
                  </a:lnTo>
                  <a:close/>
                  <a:moveTo>
                    <a:pt x="387" y="39"/>
                  </a:moveTo>
                  <a:lnTo>
                    <a:pt x="387" y="36"/>
                  </a:lnTo>
                  <a:lnTo>
                    <a:pt x="387" y="39"/>
                  </a:lnTo>
                  <a:close/>
                  <a:moveTo>
                    <a:pt x="387" y="39"/>
                  </a:moveTo>
                  <a:lnTo>
                    <a:pt x="387" y="36"/>
                  </a:lnTo>
                  <a:lnTo>
                    <a:pt x="387" y="39"/>
                  </a:lnTo>
                  <a:close/>
                  <a:moveTo>
                    <a:pt x="387" y="36"/>
                  </a:moveTo>
                  <a:lnTo>
                    <a:pt x="387" y="39"/>
                  </a:lnTo>
                  <a:lnTo>
                    <a:pt x="387" y="36"/>
                  </a:lnTo>
                  <a:close/>
                  <a:moveTo>
                    <a:pt x="403" y="36"/>
                  </a:moveTo>
                  <a:lnTo>
                    <a:pt x="401" y="36"/>
                  </a:lnTo>
                  <a:lnTo>
                    <a:pt x="403" y="36"/>
                  </a:lnTo>
                  <a:close/>
                  <a:moveTo>
                    <a:pt x="406" y="36"/>
                  </a:moveTo>
                  <a:lnTo>
                    <a:pt x="403" y="36"/>
                  </a:lnTo>
                  <a:lnTo>
                    <a:pt x="406" y="36"/>
                  </a:lnTo>
                  <a:close/>
                  <a:moveTo>
                    <a:pt x="408" y="36"/>
                  </a:moveTo>
                  <a:lnTo>
                    <a:pt x="410" y="36"/>
                  </a:lnTo>
                  <a:lnTo>
                    <a:pt x="408" y="36"/>
                  </a:lnTo>
                  <a:close/>
                  <a:moveTo>
                    <a:pt x="413" y="36"/>
                  </a:moveTo>
                  <a:lnTo>
                    <a:pt x="410" y="36"/>
                  </a:lnTo>
                  <a:lnTo>
                    <a:pt x="413" y="36"/>
                  </a:lnTo>
                  <a:close/>
                  <a:moveTo>
                    <a:pt x="408" y="36"/>
                  </a:moveTo>
                  <a:lnTo>
                    <a:pt x="406" y="36"/>
                  </a:lnTo>
                  <a:lnTo>
                    <a:pt x="408" y="36"/>
                  </a:lnTo>
                  <a:close/>
                  <a:moveTo>
                    <a:pt x="425" y="36"/>
                  </a:moveTo>
                  <a:lnTo>
                    <a:pt x="425" y="34"/>
                  </a:lnTo>
                  <a:lnTo>
                    <a:pt x="425" y="36"/>
                  </a:lnTo>
                  <a:close/>
                  <a:moveTo>
                    <a:pt x="408" y="34"/>
                  </a:moveTo>
                  <a:lnTo>
                    <a:pt x="408" y="36"/>
                  </a:lnTo>
                  <a:lnTo>
                    <a:pt x="406" y="36"/>
                  </a:lnTo>
                  <a:lnTo>
                    <a:pt x="408" y="34"/>
                  </a:lnTo>
                  <a:close/>
                  <a:moveTo>
                    <a:pt x="384" y="36"/>
                  </a:moveTo>
                  <a:lnTo>
                    <a:pt x="384" y="34"/>
                  </a:lnTo>
                  <a:lnTo>
                    <a:pt x="384" y="36"/>
                  </a:lnTo>
                  <a:close/>
                  <a:moveTo>
                    <a:pt x="429" y="34"/>
                  </a:moveTo>
                  <a:lnTo>
                    <a:pt x="429" y="36"/>
                  </a:lnTo>
                  <a:lnTo>
                    <a:pt x="429" y="34"/>
                  </a:lnTo>
                  <a:close/>
                  <a:moveTo>
                    <a:pt x="425" y="36"/>
                  </a:moveTo>
                  <a:lnTo>
                    <a:pt x="425" y="34"/>
                  </a:lnTo>
                  <a:lnTo>
                    <a:pt x="425" y="36"/>
                  </a:lnTo>
                  <a:close/>
                  <a:moveTo>
                    <a:pt x="408" y="36"/>
                  </a:moveTo>
                  <a:lnTo>
                    <a:pt x="408" y="34"/>
                  </a:lnTo>
                  <a:lnTo>
                    <a:pt x="408" y="36"/>
                  </a:lnTo>
                  <a:close/>
                  <a:moveTo>
                    <a:pt x="389" y="36"/>
                  </a:moveTo>
                  <a:lnTo>
                    <a:pt x="389" y="34"/>
                  </a:lnTo>
                  <a:lnTo>
                    <a:pt x="389" y="36"/>
                  </a:lnTo>
                  <a:close/>
                  <a:moveTo>
                    <a:pt x="389" y="34"/>
                  </a:moveTo>
                  <a:lnTo>
                    <a:pt x="389" y="36"/>
                  </a:lnTo>
                  <a:lnTo>
                    <a:pt x="389" y="34"/>
                  </a:lnTo>
                  <a:close/>
                  <a:moveTo>
                    <a:pt x="413" y="34"/>
                  </a:moveTo>
                  <a:lnTo>
                    <a:pt x="410" y="34"/>
                  </a:lnTo>
                  <a:lnTo>
                    <a:pt x="413" y="34"/>
                  </a:lnTo>
                  <a:close/>
                  <a:moveTo>
                    <a:pt x="422" y="34"/>
                  </a:moveTo>
                  <a:lnTo>
                    <a:pt x="420" y="34"/>
                  </a:lnTo>
                  <a:lnTo>
                    <a:pt x="422" y="34"/>
                  </a:lnTo>
                  <a:close/>
                  <a:moveTo>
                    <a:pt x="403" y="34"/>
                  </a:moveTo>
                  <a:lnTo>
                    <a:pt x="401" y="34"/>
                  </a:lnTo>
                  <a:lnTo>
                    <a:pt x="401" y="31"/>
                  </a:lnTo>
                  <a:lnTo>
                    <a:pt x="403" y="31"/>
                  </a:lnTo>
                  <a:lnTo>
                    <a:pt x="403" y="34"/>
                  </a:lnTo>
                  <a:close/>
                  <a:moveTo>
                    <a:pt x="375" y="31"/>
                  </a:moveTo>
                  <a:lnTo>
                    <a:pt x="375" y="34"/>
                  </a:lnTo>
                  <a:lnTo>
                    <a:pt x="375" y="31"/>
                  </a:lnTo>
                  <a:close/>
                  <a:moveTo>
                    <a:pt x="377" y="31"/>
                  </a:moveTo>
                  <a:lnTo>
                    <a:pt x="375" y="31"/>
                  </a:lnTo>
                  <a:lnTo>
                    <a:pt x="377" y="31"/>
                  </a:lnTo>
                  <a:close/>
                  <a:moveTo>
                    <a:pt x="398" y="31"/>
                  </a:moveTo>
                  <a:lnTo>
                    <a:pt x="401" y="31"/>
                  </a:lnTo>
                  <a:lnTo>
                    <a:pt x="398" y="31"/>
                  </a:lnTo>
                  <a:close/>
                  <a:moveTo>
                    <a:pt x="398" y="29"/>
                  </a:moveTo>
                  <a:lnTo>
                    <a:pt x="398" y="31"/>
                  </a:lnTo>
                  <a:lnTo>
                    <a:pt x="398" y="29"/>
                  </a:lnTo>
                  <a:close/>
                  <a:moveTo>
                    <a:pt x="384" y="29"/>
                  </a:moveTo>
                  <a:lnTo>
                    <a:pt x="387" y="29"/>
                  </a:lnTo>
                  <a:lnTo>
                    <a:pt x="384" y="29"/>
                  </a:lnTo>
                  <a:close/>
                  <a:moveTo>
                    <a:pt x="387" y="19"/>
                  </a:moveTo>
                  <a:lnTo>
                    <a:pt x="389" y="19"/>
                  </a:lnTo>
                  <a:lnTo>
                    <a:pt x="387" y="19"/>
                  </a:lnTo>
                  <a:close/>
                  <a:moveTo>
                    <a:pt x="391" y="12"/>
                  </a:moveTo>
                  <a:lnTo>
                    <a:pt x="391" y="10"/>
                  </a:lnTo>
                  <a:lnTo>
                    <a:pt x="391" y="12"/>
                  </a:lnTo>
                  <a:close/>
                  <a:moveTo>
                    <a:pt x="391" y="0"/>
                  </a:moveTo>
                  <a:lnTo>
                    <a:pt x="389" y="0"/>
                  </a:lnTo>
                  <a:lnTo>
                    <a:pt x="39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2" name="Freeform 57756"/>
            <p:cNvSpPr>
              <a:spLocks noEditPoints="1"/>
            </p:cNvSpPr>
            <p:nvPr/>
          </p:nvSpPr>
          <p:spPr bwMode="auto">
            <a:xfrm>
              <a:off x="2338385" y="4867293"/>
              <a:ext cx="236538" cy="150814"/>
            </a:xfrm>
            <a:custGeom>
              <a:avLst/>
              <a:gdLst>
                <a:gd name="T0" fmla="*/ 92 w 149"/>
                <a:gd name="T1" fmla="*/ 2 h 95"/>
                <a:gd name="T2" fmla="*/ 95 w 149"/>
                <a:gd name="T3" fmla="*/ 5 h 95"/>
                <a:gd name="T4" fmla="*/ 99 w 149"/>
                <a:gd name="T5" fmla="*/ 7 h 95"/>
                <a:gd name="T6" fmla="*/ 118 w 149"/>
                <a:gd name="T7" fmla="*/ 14 h 95"/>
                <a:gd name="T8" fmla="*/ 123 w 149"/>
                <a:gd name="T9" fmla="*/ 21 h 95"/>
                <a:gd name="T10" fmla="*/ 116 w 149"/>
                <a:gd name="T11" fmla="*/ 29 h 95"/>
                <a:gd name="T12" fmla="*/ 118 w 149"/>
                <a:gd name="T13" fmla="*/ 36 h 95"/>
                <a:gd name="T14" fmla="*/ 130 w 149"/>
                <a:gd name="T15" fmla="*/ 40 h 95"/>
                <a:gd name="T16" fmla="*/ 140 w 149"/>
                <a:gd name="T17" fmla="*/ 45 h 95"/>
                <a:gd name="T18" fmla="*/ 147 w 149"/>
                <a:gd name="T19" fmla="*/ 38 h 95"/>
                <a:gd name="T20" fmla="*/ 147 w 149"/>
                <a:gd name="T21" fmla="*/ 48 h 95"/>
                <a:gd name="T22" fmla="*/ 149 w 149"/>
                <a:gd name="T23" fmla="*/ 55 h 95"/>
                <a:gd name="T24" fmla="*/ 142 w 149"/>
                <a:gd name="T25" fmla="*/ 57 h 95"/>
                <a:gd name="T26" fmla="*/ 135 w 149"/>
                <a:gd name="T27" fmla="*/ 59 h 95"/>
                <a:gd name="T28" fmla="*/ 137 w 149"/>
                <a:gd name="T29" fmla="*/ 69 h 95"/>
                <a:gd name="T30" fmla="*/ 135 w 149"/>
                <a:gd name="T31" fmla="*/ 74 h 95"/>
                <a:gd name="T32" fmla="*/ 126 w 149"/>
                <a:gd name="T33" fmla="*/ 69 h 95"/>
                <a:gd name="T34" fmla="*/ 118 w 149"/>
                <a:gd name="T35" fmla="*/ 71 h 95"/>
                <a:gd name="T36" fmla="*/ 114 w 149"/>
                <a:gd name="T37" fmla="*/ 62 h 95"/>
                <a:gd name="T38" fmla="*/ 109 w 149"/>
                <a:gd name="T39" fmla="*/ 67 h 95"/>
                <a:gd name="T40" fmla="*/ 109 w 149"/>
                <a:gd name="T41" fmla="*/ 76 h 95"/>
                <a:gd name="T42" fmla="*/ 102 w 149"/>
                <a:gd name="T43" fmla="*/ 83 h 95"/>
                <a:gd name="T44" fmla="*/ 102 w 149"/>
                <a:gd name="T45" fmla="*/ 93 h 95"/>
                <a:gd name="T46" fmla="*/ 99 w 149"/>
                <a:gd name="T47" fmla="*/ 90 h 95"/>
                <a:gd name="T48" fmla="*/ 97 w 149"/>
                <a:gd name="T49" fmla="*/ 83 h 95"/>
                <a:gd name="T50" fmla="*/ 88 w 149"/>
                <a:gd name="T51" fmla="*/ 78 h 95"/>
                <a:gd name="T52" fmla="*/ 83 w 149"/>
                <a:gd name="T53" fmla="*/ 67 h 95"/>
                <a:gd name="T54" fmla="*/ 76 w 149"/>
                <a:gd name="T55" fmla="*/ 71 h 95"/>
                <a:gd name="T56" fmla="*/ 73 w 149"/>
                <a:gd name="T57" fmla="*/ 78 h 95"/>
                <a:gd name="T58" fmla="*/ 66 w 149"/>
                <a:gd name="T59" fmla="*/ 86 h 95"/>
                <a:gd name="T60" fmla="*/ 59 w 149"/>
                <a:gd name="T61" fmla="*/ 90 h 95"/>
                <a:gd name="T62" fmla="*/ 52 w 149"/>
                <a:gd name="T63" fmla="*/ 88 h 95"/>
                <a:gd name="T64" fmla="*/ 42 w 149"/>
                <a:gd name="T65" fmla="*/ 93 h 95"/>
                <a:gd name="T66" fmla="*/ 35 w 149"/>
                <a:gd name="T67" fmla="*/ 90 h 95"/>
                <a:gd name="T68" fmla="*/ 31 w 149"/>
                <a:gd name="T69" fmla="*/ 81 h 95"/>
                <a:gd name="T70" fmla="*/ 28 w 149"/>
                <a:gd name="T71" fmla="*/ 71 h 95"/>
                <a:gd name="T72" fmla="*/ 14 w 149"/>
                <a:gd name="T73" fmla="*/ 67 h 95"/>
                <a:gd name="T74" fmla="*/ 12 w 149"/>
                <a:gd name="T75" fmla="*/ 76 h 95"/>
                <a:gd name="T76" fmla="*/ 0 w 149"/>
                <a:gd name="T77" fmla="*/ 78 h 95"/>
                <a:gd name="T78" fmla="*/ 2 w 149"/>
                <a:gd name="T79" fmla="*/ 76 h 95"/>
                <a:gd name="T80" fmla="*/ 7 w 149"/>
                <a:gd name="T81" fmla="*/ 71 h 95"/>
                <a:gd name="T82" fmla="*/ 7 w 149"/>
                <a:gd name="T83" fmla="*/ 62 h 95"/>
                <a:gd name="T84" fmla="*/ 12 w 149"/>
                <a:gd name="T85" fmla="*/ 55 h 95"/>
                <a:gd name="T86" fmla="*/ 16 w 149"/>
                <a:gd name="T87" fmla="*/ 45 h 95"/>
                <a:gd name="T88" fmla="*/ 23 w 149"/>
                <a:gd name="T89" fmla="*/ 38 h 95"/>
                <a:gd name="T90" fmla="*/ 28 w 149"/>
                <a:gd name="T91" fmla="*/ 31 h 95"/>
                <a:gd name="T92" fmla="*/ 35 w 149"/>
                <a:gd name="T93" fmla="*/ 24 h 95"/>
                <a:gd name="T94" fmla="*/ 31 w 149"/>
                <a:gd name="T95" fmla="*/ 19 h 95"/>
                <a:gd name="T96" fmla="*/ 40 w 149"/>
                <a:gd name="T97" fmla="*/ 14 h 95"/>
                <a:gd name="T98" fmla="*/ 45 w 149"/>
                <a:gd name="T99" fmla="*/ 19 h 95"/>
                <a:gd name="T100" fmla="*/ 50 w 149"/>
                <a:gd name="T101" fmla="*/ 17 h 95"/>
                <a:gd name="T102" fmla="*/ 57 w 149"/>
                <a:gd name="T103" fmla="*/ 12 h 95"/>
                <a:gd name="T104" fmla="*/ 61 w 149"/>
                <a:gd name="T105" fmla="*/ 10 h 95"/>
                <a:gd name="T106" fmla="*/ 71 w 149"/>
                <a:gd name="T107" fmla="*/ 12 h 95"/>
                <a:gd name="T108" fmla="*/ 80 w 149"/>
                <a:gd name="T109" fmla="*/ 12 h 95"/>
                <a:gd name="T110" fmla="*/ 88 w 149"/>
                <a:gd name="T111" fmla="*/ 10 h 95"/>
                <a:gd name="T112" fmla="*/ 80 w 149"/>
                <a:gd name="T113" fmla="*/ 7 h 95"/>
                <a:gd name="T114" fmla="*/ 88 w 149"/>
                <a:gd name="T115" fmla="*/ 2 h 95"/>
                <a:gd name="T116" fmla="*/ 92 w 149"/>
                <a:gd name="T117"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95">
                  <a:moveTo>
                    <a:pt x="88" y="0"/>
                  </a:moveTo>
                  <a:lnTo>
                    <a:pt x="88" y="2"/>
                  </a:lnTo>
                  <a:lnTo>
                    <a:pt x="90" y="2"/>
                  </a:lnTo>
                  <a:lnTo>
                    <a:pt x="90" y="0"/>
                  </a:lnTo>
                  <a:lnTo>
                    <a:pt x="90" y="2"/>
                  </a:lnTo>
                  <a:lnTo>
                    <a:pt x="92" y="2"/>
                  </a:lnTo>
                  <a:lnTo>
                    <a:pt x="92" y="5"/>
                  </a:lnTo>
                  <a:lnTo>
                    <a:pt x="92" y="7"/>
                  </a:lnTo>
                  <a:lnTo>
                    <a:pt x="95" y="7"/>
                  </a:lnTo>
                  <a:lnTo>
                    <a:pt x="95" y="5"/>
                  </a:lnTo>
                  <a:lnTo>
                    <a:pt x="92" y="5"/>
                  </a:lnTo>
                  <a:lnTo>
                    <a:pt x="95" y="5"/>
                  </a:lnTo>
                  <a:lnTo>
                    <a:pt x="97" y="5"/>
                  </a:lnTo>
                  <a:lnTo>
                    <a:pt x="95" y="5"/>
                  </a:lnTo>
                  <a:lnTo>
                    <a:pt x="97" y="5"/>
                  </a:lnTo>
                  <a:lnTo>
                    <a:pt x="95" y="7"/>
                  </a:lnTo>
                  <a:lnTo>
                    <a:pt x="97" y="7"/>
                  </a:lnTo>
                  <a:lnTo>
                    <a:pt x="99" y="7"/>
                  </a:lnTo>
                  <a:lnTo>
                    <a:pt x="104" y="7"/>
                  </a:lnTo>
                  <a:lnTo>
                    <a:pt x="107" y="7"/>
                  </a:lnTo>
                  <a:lnTo>
                    <a:pt x="114" y="10"/>
                  </a:lnTo>
                  <a:lnTo>
                    <a:pt x="116" y="12"/>
                  </a:lnTo>
                  <a:lnTo>
                    <a:pt x="118" y="12"/>
                  </a:lnTo>
                  <a:lnTo>
                    <a:pt x="118" y="14"/>
                  </a:lnTo>
                  <a:lnTo>
                    <a:pt x="121" y="17"/>
                  </a:lnTo>
                  <a:lnTo>
                    <a:pt x="123" y="17"/>
                  </a:lnTo>
                  <a:lnTo>
                    <a:pt x="121" y="17"/>
                  </a:lnTo>
                  <a:lnTo>
                    <a:pt x="121" y="19"/>
                  </a:lnTo>
                  <a:lnTo>
                    <a:pt x="123" y="19"/>
                  </a:lnTo>
                  <a:lnTo>
                    <a:pt x="123" y="21"/>
                  </a:lnTo>
                  <a:lnTo>
                    <a:pt x="121" y="21"/>
                  </a:lnTo>
                  <a:lnTo>
                    <a:pt x="121" y="24"/>
                  </a:lnTo>
                  <a:lnTo>
                    <a:pt x="118" y="24"/>
                  </a:lnTo>
                  <a:lnTo>
                    <a:pt x="118" y="26"/>
                  </a:lnTo>
                  <a:lnTo>
                    <a:pt x="118" y="29"/>
                  </a:lnTo>
                  <a:lnTo>
                    <a:pt x="116" y="29"/>
                  </a:lnTo>
                  <a:lnTo>
                    <a:pt x="116" y="31"/>
                  </a:lnTo>
                  <a:lnTo>
                    <a:pt x="118" y="31"/>
                  </a:lnTo>
                  <a:lnTo>
                    <a:pt x="118" y="33"/>
                  </a:lnTo>
                  <a:lnTo>
                    <a:pt x="118" y="36"/>
                  </a:lnTo>
                  <a:lnTo>
                    <a:pt x="116" y="36"/>
                  </a:lnTo>
                  <a:lnTo>
                    <a:pt x="118" y="36"/>
                  </a:lnTo>
                  <a:lnTo>
                    <a:pt x="121" y="36"/>
                  </a:lnTo>
                  <a:lnTo>
                    <a:pt x="123" y="36"/>
                  </a:lnTo>
                  <a:lnTo>
                    <a:pt x="126" y="36"/>
                  </a:lnTo>
                  <a:lnTo>
                    <a:pt x="128" y="38"/>
                  </a:lnTo>
                  <a:lnTo>
                    <a:pt x="130" y="38"/>
                  </a:lnTo>
                  <a:lnTo>
                    <a:pt x="130" y="40"/>
                  </a:lnTo>
                  <a:lnTo>
                    <a:pt x="130" y="43"/>
                  </a:lnTo>
                  <a:lnTo>
                    <a:pt x="133" y="43"/>
                  </a:lnTo>
                  <a:lnTo>
                    <a:pt x="135" y="43"/>
                  </a:lnTo>
                  <a:lnTo>
                    <a:pt x="135" y="45"/>
                  </a:lnTo>
                  <a:lnTo>
                    <a:pt x="137" y="45"/>
                  </a:lnTo>
                  <a:lnTo>
                    <a:pt x="140" y="45"/>
                  </a:lnTo>
                  <a:lnTo>
                    <a:pt x="142" y="45"/>
                  </a:lnTo>
                  <a:lnTo>
                    <a:pt x="142" y="43"/>
                  </a:lnTo>
                  <a:lnTo>
                    <a:pt x="144" y="43"/>
                  </a:lnTo>
                  <a:lnTo>
                    <a:pt x="144" y="40"/>
                  </a:lnTo>
                  <a:lnTo>
                    <a:pt x="144" y="38"/>
                  </a:lnTo>
                  <a:lnTo>
                    <a:pt x="147" y="38"/>
                  </a:lnTo>
                  <a:lnTo>
                    <a:pt x="147" y="40"/>
                  </a:lnTo>
                  <a:lnTo>
                    <a:pt x="149" y="40"/>
                  </a:lnTo>
                  <a:lnTo>
                    <a:pt x="149" y="43"/>
                  </a:lnTo>
                  <a:lnTo>
                    <a:pt x="149" y="45"/>
                  </a:lnTo>
                  <a:lnTo>
                    <a:pt x="149" y="48"/>
                  </a:lnTo>
                  <a:lnTo>
                    <a:pt x="147" y="48"/>
                  </a:lnTo>
                  <a:lnTo>
                    <a:pt x="147" y="50"/>
                  </a:lnTo>
                  <a:lnTo>
                    <a:pt x="149" y="50"/>
                  </a:lnTo>
                  <a:lnTo>
                    <a:pt x="147" y="50"/>
                  </a:lnTo>
                  <a:lnTo>
                    <a:pt x="147" y="52"/>
                  </a:lnTo>
                  <a:lnTo>
                    <a:pt x="147" y="55"/>
                  </a:lnTo>
                  <a:lnTo>
                    <a:pt x="149" y="55"/>
                  </a:lnTo>
                  <a:lnTo>
                    <a:pt x="149" y="57"/>
                  </a:lnTo>
                  <a:lnTo>
                    <a:pt x="149" y="59"/>
                  </a:lnTo>
                  <a:lnTo>
                    <a:pt x="147" y="59"/>
                  </a:lnTo>
                  <a:lnTo>
                    <a:pt x="144" y="59"/>
                  </a:lnTo>
                  <a:lnTo>
                    <a:pt x="142" y="59"/>
                  </a:lnTo>
                  <a:lnTo>
                    <a:pt x="142" y="57"/>
                  </a:lnTo>
                  <a:lnTo>
                    <a:pt x="142" y="55"/>
                  </a:lnTo>
                  <a:lnTo>
                    <a:pt x="142" y="57"/>
                  </a:lnTo>
                  <a:lnTo>
                    <a:pt x="140" y="57"/>
                  </a:lnTo>
                  <a:lnTo>
                    <a:pt x="137" y="57"/>
                  </a:lnTo>
                  <a:lnTo>
                    <a:pt x="137" y="59"/>
                  </a:lnTo>
                  <a:lnTo>
                    <a:pt x="135" y="59"/>
                  </a:lnTo>
                  <a:lnTo>
                    <a:pt x="135" y="62"/>
                  </a:lnTo>
                  <a:lnTo>
                    <a:pt x="135" y="64"/>
                  </a:lnTo>
                  <a:lnTo>
                    <a:pt x="137" y="67"/>
                  </a:lnTo>
                  <a:lnTo>
                    <a:pt x="140" y="67"/>
                  </a:lnTo>
                  <a:lnTo>
                    <a:pt x="137" y="67"/>
                  </a:lnTo>
                  <a:lnTo>
                    <a:pt x="137" y="69"/>
                  </a:lnTo>
                  <a:lnTo>
                    <a:pt x="137" y="71"/>
                  </a:lnTo>
                  <a:lnTo>
                    <a:pt x="140" y="71"/>
                  </a:lnTo>
                  <a:lnTo>
                    <a:pt x="140" y="74"/>
                  </a:lnTo>
                  <a:lnTo>
                    <a:pt x="137" y="76"/>
                  </a:lnTo>
                  <a:lnTo>
                    <a:pt x="135" y="76"/>
                  </a:lnTo>
                  <a:lnTo>
                    <a:pt x="135" y="74"/>
                  </a:lnTo>
                  <a:lnTo>
                    <a:pt x="133" y="74"/>
                  </a:lnTo>
                  <a:lnTo>
                    <a:pt x="133" y="71"/>
                  </a:lnTo>
                  <a:lnTo>
                    <a:pt x="133" y="69"/>
                  </a:lnTo>
                  <a:lnTo>
                    <a:pt x="130" y="69"/>
                  </a:lnTo>
                  <a:lnTo>
                    <a:pt x="128" y="69"/>
                  </a:lnTo>
                  <a:lnTo>
                    <a:pt x="126" y="69"/>
                  </a:lnTo>
                  <a:lnTo>
                    <a:pt x="126" y="71"/>
                  </a:lnTo>
                  <a:lnTo>
                    <a:pt x="123" y="71"/>
                  </a:lnTo>
                  <a:lnTo>
                    <a:pt x="126" y="71"/>
                  </a:lnTo>
                  <a:lnTo>
                    <a:pt x="123" y="71"/>
                  </a:lnTo>
                  <a:lnTo>
                    <a:pt x="121" y="71"/>
                  </a:lnTo>
                  <a:lnTo>
                    <a:pt x="118" y="71"/>
                  </a:lnTo>
                  <a:lnTo>
                    <a:pt x="118" y="69"/>
                  </a:lnTo>
                  <a:lnTo>
                    <a:pt x="116" y="69"/>
                  </a:lnTo>
                  <a:lnTo>
                    <a:pt x="116" y="67"/>
                  </a:lnTo>
                  <a:lnTo>
                    <a:pt x="116" y="64"/>
                  </a:lnTo>
                  <a:lnTo>
                    <a:pt x="116" y="62"/>
                  </a:lnTo>
                  <a:lnTo>
                    <a:pt x="114" y="62"/>
                  </a:lnTo>
                  <a:lnTo>
                    <a:pt x="114" y="64"/>
                  </a:lnTo>
                  <a:lnTo>
                    <a:pt x="114" y="62"/>
                  </a:lnTo>
                  <a:lnTo>
                    <a:pt x="111" y="62"/>
                  </a:lnTo>
                  <a:lnTo>
                    <a:pt x="109" y="62"/>
                  </a:lnTo>
                  <a:lnTo>
                    <a:pt x="109" y="64"/>
                  </a:lnTo>
                  <a:lnTo>
                    <a:pt x="109" y="67"/>
                  </a:lnTo>
                  <a:lnTo>
                    <a:pt x="109" y="69"/>
                  </a:lnTo>
                  <a:lnTo>
                    <a:pt x="111" y="69"/>
                  </a:lnTo>
                  <a:lnTo>
                    <a:pt x="111" y="71"/>
                  </a:lnTo>
                  <a:lnTo>
                    <a:pt x="109" y="71"/>
                  </a:lnTo>
                  <a:lnTo>
                    <a:pt x="109" y="74"/>
                  </a:lnTo>
                  <a:lnTo>
                    <a:pt x="109" y="76"/>
                  </a:lnTo>
                  <a:lnTo>
                    <a:pt x="107" y="76"/>
                  </a:lnTo>
                  <a:lnTo>
                    <a:pt x="107" y="78"/>
                  </a:lnTo>
                  <a:lnTo>
                    <a:pt x="104" y="78"/>
                  </a:lnTo>
                  <a:lnTo>
                    <a:pt x="104" y="81"/>
                  </a:lnTo>
                  <a:lnTo>
                    <a:pt x="104" y="83"/>
                  </a:lnTo>
                  <a:lnTo>
                    <a:pt x="102" y="83"/>
                  </a:lnTo>
                  <a:lnTo>
                    <a:pt x="102" y="86"/>
                  </a:lnTo>
                  <a:lnTo>
                    <a:pt x="99" y="88"/>
                  </a:lnTo>
                  <a:lnTo>
                    <a:pt x="102" y="88"/>
                  </a:lnTo>
                  <a:lnTo>
                    <a:pt x="102" y="90"/>
                  </a:lnTo>
                  <a:lnTo>
                    <a:pt x="104" y="90"/>
                  </a:lnTo>
                  <a:lnTo>
                    <a:pt x="102" y="93"/>
                  </a:lnTo>
                  <a:lnTo>
                    <a:pt x="102" y="95"/>
                  </a:lnTo>
                  <a:lnTo>
                    <a:pt x="99" y="95"/>
                  </a:lnTo>
                  <a:lnTo>
                    <a:pt x="99" y="93"/>
                  </a:lnTo>
                  <a:lnTo>
                    <a:pt x="97" y="93"/>
                  </a:lnTo>
                  <a:lnTo>
                    <a:pt x="99" y="93"/>
                  </a:lnTo>
                  <a:lnTo>
                    <a:pt x="99" y="90"/>
                  </a:lnTo>
                  <a:lnTo>
                    <a:pt x="97" y="90"/>
                  </a:lnTo>
                  <a:lnTo>
                    <a:pt x="97" y="88"/>
                  </a:lnTo>
                  <a:lnTo>
                    <a:pt x="95" y="88"/>
                  </a:lnTo>
                  <a:lnTo>
                    <a:pt x="95" y="86"/>
                  </a:lnTo>
                  <a:lnTo>
                    <a:pt x="95" y="83"/>
                  </a:lnTo>
                  <a:lnTo>
                    <a:pt x="97" y="83"/>
                  </a:lnTo>
                  <a:lnTo>
                    <a:pt x="95" y="83"/>
                  </a:lnTo>
                  <a:lnTo>
                    <a:pt x="95" y="81"/>
                  </a:lnTo>
                  <a:lnTo>
                    <a:pt x="92" y="81"/>
                  </a:lnTo>
                  <a:lnTo>
                    <a:pt x="90" y="81"/>
                  </a:lnTo>
                  <a:lnTo>
                    <a:pt x="88" y="81"/>
                  </a:lnTo>
                  <a:lnTo>
                    <a:pt x="88" y="78"/>
                  </a:lnTo>
                  <a:lnTo>
                    <a:pt x="85" y="76"/>
                  </a:lnTo>
                  <a:lnTo>
                    <a:pt x="83" y="76"/>
                  </a:lnTo>
                  <a:lnTo>
                    <a:pt x="83" y="74"/>
                  </a:lnTo>
                  <a:lnTo>
                    <a:pt x="83" y="71"/>
                  </a:lnTo>
                  <a:lnTo>
                    <a:pt x="83" y="69"/>
                  </a:lnTo>
                  <a:lnTo>
                    <a:pt x="83" y="67"/>
                  </a:lnTo>
                  <a:lnTo>
                    <a:pt x="83" y="64"/>
                  </a:lnTo>
                  <a:lnTo>
                    <a:pt x="80" y="64"/>
                  </a:lnTo>
                  <a:lnTo>
                    <a:pt x="78" y="67"/>
                  </a:lnTo>
                  <a:lnTo>
                    <a:pt x="78" y="69"/>
                  </a:lnTo>
                  <a:lnTo>
                    <a:pt x="76" y="69"/>
                  </a:lnTo>
                  <a:lnTo>
                    <a:pt x="76" y="71"/>
                  </a:lnTo>
                  <a:lnTo>
                    <a:pt x="73" y="71"/>
                  </a:lnTo>
                  <a:lnTo>
                    <a:pt x="71" y="71"/>
                  </a:lnTo>
                  <a:lnTo>
                    <a:pt x="71" y="74"/>
                  </a:lnTo>
                  <a:lnTo>
                    <a:pt x="71" y="76"/>
                  </a:lnTo>
                  <a:lnTo>
                    <a:pt x="73" y="76"/>
                  </a:lnTo>
                  <a:lnTo>
                    <a:pt x="73" y="78"/>
                  </a:lnTo>
                  <a:lnTo>
                    <a:pt x="71" y="78"/>
                  </a:lnTo>
                  <a:lnTo>
                    <a:pt x="71" y="81"/>
                  </a:lnTo>
                  <a:lnTo>
                    <a:pt x="69" y="81"/>
                  </a:lnTo>
                  <a:lnTo>
                    <a:pt x="69" y="83"/>
                  </a:lnTo>
                  <a:lnTo>
                    <a:pt x="69" y="86"/>
                  </a:lnTo>
                  <a:lnTo>
                    <a:pt x="66" y="86"/>
                  </a:lnTo>
                  <a:lnTo>
                    <a:pt x="64" y="86"/>
                  </a:lnTo>
                  <a:lnTo>
                    <a:pt x="64" y="88"/>
                  </a:lnTo>
                  <a:lnTo>
                    <a:pt x="64" y="90"/>
                  </a:lnTo>
                  <a:lnTo>
                    <a:pt x="61" y="90"/>
                  </a:lnTo>
                  <a:lnTo>
                    <a:pt x="59" y="88"/>
                  </a:lnTo>
                  <a:lnTo>
                    <a:pt x="59" y="90"/>
                  </a:lnTo>
                  <a:lnTo>
                    <a:pt x="59" y="88"/>
                  </a:lnTo>
                  <a:lnTo>
                    <a:pt x="57" y="88"/>
                  </a:lnTo>
                  <a:lnTo>
                    <a:pt x="54" y="88"/>
                  </a:lnTo>
                  <a:lnTo>
                    <a:pt x="54" y="86"/>
                  </a:lnTo>
                  <a:lnTo>
                    <a:pt x="52" y="86"/>
                  </a:lnTo>
                  <a:lnTo>
                    <a:pt x="52" y="88"/>
                  </a:lnTo>
                  <a:lnTo>
                    <a:pt x="50" y="88"/>
                  </a:lnTo>
                  <a:lnTo>
                    <a:pt x="50" y="90"/>
                  </a:lnTo>
                  <a:lnTo>
                    <a:pt x="47" y="90"/>
                  </a:lnTo>
                  <a:lnTo>
                    <a:pt x="45" y="90"/>
                  </a:lnTo>
                  <a:lnTo>
                    <a:pt x="42" y="90"/>
                  </a:lnTo>
                  <a:lnTo>
                    <a:pt x="42" y="93"/>
                  </a:lnTo>
                  <a:lnTo>
                    <a:pt x="40" y="93"/>
                  </a:lnTo>
                  <a:lnTo>
                    <a:pt x="42" y="93"/>
                  </a:lnTo>
                  <a:lnTo>
                    <a:pt x="40" y="93"/>
                  </a:lnTo>
                  <a:lnTo>
                    <a:pt x="38" y="93"/>
                  </a:lnTo>
                  <a:lnTo>
                    <a:pt x="38" y="90"/>
                  </a:lnTo>
                  <a:lnTo>
                    <a:pt x="35" y="90"/>
                  </a:lnTo>
                  <a:lnTo>
                    <a:pt x="35" y="88"/>
                  </a:lnTo>
                  <a:lnTo>
                    <a:pt x="35" y="86"/>
                  </a:lnTo>
                  <a:lnTo>
                    <a:pt x="33" y="86"/>
                  </a:lnTo>
                  <a:lnTo>
                    <a:pt x="33" y="83"/>
                  </a:lnTo>
                  <a:lnTo>
                    <a:pt x="31" y="83"/>
                  </a:lnTo>
                  <a:lnTo>
                    <a:pt x="31" y="81"/>
                  </a:lnTo>
                  <a:lnTo>
                    <a:pt x="28" y="78"/>
                  </a:lnTo>
                  <a:lnTo>
                    <a:pt x="28" y="76"/>
                  </a:lnTo>
                  <a:lnTo>
                    <a:pt x="28" y="74"/>
                  </a:lnTo>
                  <a:lnTo>
                    <a:pt x="31" y="74"/>
                  </a:lnTo>
                  <a:lnTo>
                    <a:pt x="31" y="71"/>
                  </a:lnTo>
                  <a:lnTo>
                    <a:pt x="28" y="71"/>
                  </a:lnTo>
                  <a:lnTo>
                    <a:pt x="28" y="69"/>
                  </a:lnTo>
                  <a:lnTo>
                    <a:pt x="28" y="67"/>
                  </a:lnTo>
                  <a:lnTo>
                    <a:pt x="23" y="64"/>
                  </a:lnTo>
                  <a:lnTo>
                    <a:pt x="19" y="64"/>
                  </a:lnTo>
                  <a:lnTo>
                    <a:pt x="16" y="67"/>
                  </a:lnTo>
                  <a:lnTo>
                    <a:pt x="14" y="67"/>
                  </a:lnTo>
                  <a:lnTo>
                    <a:pt x="12" y="67"/>
                  </a:lnTo>
                  <a:lnTo>
                    <a:pt x="9" y="69"/>
                  </a:lnTo>
                  <a:lnTo>
                    <a:pt x="9" y="71"/>
                  </a:lnTo>
                  <a:lnTo>
                    <a:pt x="9" y="74"/>
                  </a:lnTo>
                  <a:lnTo>
                    <a:pt x="12" y="74"/>
                  </a:lnTo>
                  <a:lnTo>
                    <a:pt x="12" y="76"/>
                  </a:lnTo>
                  <a:lnTo>
                    <a:pt x="9" y="76"/>
                  </a:lnTo>
                  <a:lnTo>
                    <a:pt x="7" y="76"/>
                  </a:lnTo>
                  <a:lnTo>
                    <a:pt x="7" y="78"/>
                  </a:lnTo>
                  <a:lnTo>
                    <a:pt x="5" y="78"/>
                  </a:lnTo>
                  <a:lnTo>
                    <a:pt x="2" y="78"/>
                  </a:lnTo>
                  <a:lnTo>
                    <a:pt x="0" y="78"/>
                  </a:lnTo>
                  <a:lnTo>
                    <a:pt x="0" y="81"/>
                  </a:lnTo>
                  <a:lnTo>
                    <a:pt x="0" y="78"/>
                  </a:lnTo>
                  <a:lnTo>
                    <a:pt x="2" y="78"/>
                  </a:lnTo>
                  <a:lnTo>
                    <a:pt x="2" y="76"/>
                  </a:lnTo>
                  <a:lnTo>
                    <a:pt x="0" y="76"/>
                  </a:lnTo>
                  <a:lnTo>
                    <a:pt x="2" y="76"/>
                  </a:lnTo>
                  <a:lnTo>
                    <a:pt x="2" y="74"/>
                  </a:lnTo>
                  <a:lnTo>
                    <a:pt x="2" y="76"/>
                  </a:lnTo>
                  <a:lnTo>
                    <a:pt x="5" y="74"/>
                  </a:lnTo>
                  <a:lnTo>
                    <a:pt x="7" y="74"/>
                  </a:lnTo>
                  <a:lnTo>
                    <a:pt x="5" y="74"/>
                  </a:lnTo>
                  <a:lnTo>
                    <a:pt x="7" y="71"/>
                  </a:lnTo>
                  <a:lnTo>
                    <a:pt x="7" y="69"/>
                  </a:lnTo>
                  <a:lnTo>
                    <a:pt x="7" y="67"/>
                  </a:lnTo>
                  <a:lnTo>
                    <a:pt x="5" y="67"/>
                  </a:lnTo>
                  <a:lnTo>
                    <a:pt x="5" y="64"/>
                  </a:lnTo>
                  <a:lnTo>
                    <a:pt x="5" y="62"/>
                  </a:lnTo>
                  <a:lnTo>
                    <a:pt x="7" y="62"/>
                  </a:lnTo>
                  <a:lnTo>
                    <a:pt x="7" y="59"/>
                  </a:lnTo>
                  <a:lnTo>
                    <a:pt x="5" y="59"/>
                  </a:lnTo>
                  <a:lnTo>
                    <a:pt x="7" y="57"/>
                  </a:lnTo>
                  <a:lnTo>
                    <a:pt x="9" y="57"/>
                  </a:lnTo>
                  <a:lnTo>
                    <a:pt x="9" y="55"/>
                  </a:lnTo>
                  <a:lnTo>
                    <a:pt x="12" y="55"/>
                  </a:lnTo>
                  <a:lnTo>
                    <a:pt x="12" y="52"/>
                  </a:lnTo>
                  <a:lnTo>
                    <a:pt x="14" y="52"/>
                  </a:lnTo>
                  <a:lnTo>
                    <a:pt x="14" y="50"/>
                  </a:lnTo>
                  <a:lnTo>
                    <a:pt x="16" y="50"/>
                  </a:lnTo>
                  <a:lnTo>
                    <a:pt x="16" y="48"/>
                  </a:lnTo>
                  <a:lnTo>
                    <a:pt x="16" y="45"/>
                  </a:lnTo>
                  <a:lnTo>
                    <a:pt x="16" y="43"/>
                  </a:lnTo>
                  <a:lnTo>
                    <a:pt x="16" y="40"/>
                  </a:lnTo>
                  <a:lnTo>
                    <a:pt x="19" y="40"/>
                  </a:lnTo>
                  <a:lnTo>
                    <a:pt x="21" y="40"/>
                  </a:lnTo>
                  <a:lnTo>
                    <a:pt x="21" y="38"/>
                  </a:lnTo>
                  <a:lnTo>
                    <a:pt x="23" y="38"/>
                  </a:lnTo>
                  <a:lnTo>
                    <a:pt x="26" y="36"/>
                  </a:lnTo>
                  <a:lnTo>
                    <a:pt x="23" y="36"/>
                  </a:lnTo>
                  <a:lnTo>
                    <a:pt x="26" y="36"/>
                  </a:lnTo>
                  <a:lnTo>
                    <a:pt x="26" y="33"/>
                  </a:lnTo>
                  <a:lnTo>
                    <a:pt x="28" y="33"/>
                  </a:lnTo>
                  <a:lnTo>
                    <a:pt x="28" y="31"/>
                  </a:lnTo>
                  <a:lnTo>
                    <a:pt x="31" y="31"/>
                  </a:lnTo>
                  <a:lnTo>
                    <a:pt x="31" y="29"/>
                  </a:lnTo>
                  <a:lnTo>
                    <a:pt x="33" y="29"/>
                  </a:lnTo>
                  <a:lnTo>
                    <a:pt x="33" y="26"/>
                  </a:lnTo>
                  <a:lnTo>
                    <a:pt x="33" y="24"/>
                  </a:lnTo>
                  <a:lnTo>
                    <a:pt x="35" y="24"/>
                  </a:lnTo>
                  <a:lnTo>
                    <a:pt x="35" y="21"/>
                  </a:lnTo>
                  <a:lnTo>
                    <a:pt x="38" y="21"/>
                  </a:lnTo>
                  <a:lnTo>
                    <a:pt x="35" y="21"/>
                  </a:lnTo>
                  <a:lnTo>
                    <a:pt x="33" y="21"/>
                  </a:lnTo>
                  <a:lnTo>
                    <a:pt x="31" y="21"/>
                  </a:lnTo>
                  <a:lnTo>
                    <a:pt x="31" y="19"/>
                  </a:lnTo>
                  <a:lnTo>
                    <a:pt x="33" y="19"/>
                  </a:lnTo>
                  <a:lnTo>
                    <a:pt x="33" y="17"/>
                  </a:lnTo>
                  <a:lnTo>
                    <a:pt x="35" y="17"/>
                  </a:lnTo>
                  <a:lnTo>
                    <a:pt x="35" y="14"/>
                  </a:lnTo>
                  <a:lnTo>
                    <a:pt x="38" y="14"/>
                  </a:lnTo>
                  <a:lnTo>
                    <a:pt x="40" y="14"/>
                  </a:lnTo>
                  <a:lnTo>
                    <a:pt x="42" y="14"/>
                  </a:lnTo>
                  <a:lnTo>
                    <a:pt x="40" y="17"/>
                  </a:lnTo>
                  <a:lnTo>
                    <a:pt x="42" y="19"/>
                  </a:lnTo>
                  <a:lnTo>
                    <a:pt x="42" y="17"/>
                  </a:lnTo>
                  <a:lnTo>
                    <a:pt x="42" y="19"/>
                  </a:lnTo>
                  <a:lnTo>
                    <a:pt x="45" y="19"/>
                  </a:lnTo>
                  <a:lnTo>
                    <a:pt x="45" y="17"/>
                  </a:lnTo>
                  <a:lnTo>
                    <a:pt x="47" y="19"/>
                  </a:lnTo>
                  <a:lnTo>
                    <a:pt x="47" y="17"/>
                  </a:lnTo>
                  <a:lnTo>
                    <a:pt x="50" y="17"/>
                  </a:lnTo>
                  <a:lnTo>
                    <a:pt x="50" y="14"/>
                  </a:lnTo>
                  <a:lnTo>
                    <a:pt x="50" y="17"/>
                  </a:lnTo>
                  <a:lnTo>
                    <a:pt x="52" y="17"/>
                  </a:lnTo>
                  <a:lnTo>
                    <a:pt x="52" y="14"/>
                  </a:lnTo>
                  <a:lnTo>
                    <a:pt x="52" y="12"/>
                  </a:lnTo>
                  <a:lnTo>
                    <a:pt x="54" y="12"/>
                  </a:lnTo>
                  <a:lnTo>
                    <a:pt x="57" y="10"/>
                  </a:lnTo>
                  <a:lnTo>
                    <a:pt x="57" y="12"/>
                  </a:lnTo>
                  <a:lnTo>
                    <a:pt x="54" y="12"/>
                  </a:lnTo>
                  <a:lnTo>
                    <a:pt x="57" y="12"/>
                  </a:lnTo>
                  <a:lnTo>
                    <a:pt x="57" y="14"/>
                  </a:lnTo>
                  <a:lnTo>
                    <a:pt x="59" y="12"/>
                  </a:lnTo>
                  <a:lnTo>
                    <a:pt x="61" y="12"/>
                  </a:lnTo>
                  <a:lnTo>
                    <a:pt x="61" y="10"/>
                  </a:lnTo>
                  <a:lnTo>
                    <a:pt x="61" y="12"/>
                  </a:lnTo>
                  <a:lnTo>
                    <a:pt x="64" y="10"/>
                  </a:lnTo>
                  <a:lnTo>
                    <a:pt x="64" y="12"/>
                  </a:lnTo>
                  <a:lnTo>
                    <a:pt x="66" y="12"/>
                  </a:lnTo>
                  <a:lnTo>
                    <a:pt x="69" y="12"/>
                  </a:lnTo>
                  <a:lnTo>
                    <a:pt x="71" y="12"/>
                  </a:lnTo>
                  <a:lnTo>
                    <a:pt x="73" y="12"/>
                  </a:lnTo>
                  <a:lnTo>
                    <a:pt x="73" y="10"/>
                  </a:lnTo>
                  <a:lnTo>
                    <a:pt x="76" y="10"/>
                  </a:lnTo>
                  <a:lnTo>
                    <a:pt x="78" y="10"/>
                  </a:lnTo>
                  <a:lnTo>
                    <a:pt x="78" y="12"/>
                  </a:lnTo>
                  <a:lnTo>
                    <a:pt x="80" y="12"/>
                  </a:lnTo>
                  <a:lnTo>
                    <a:pt x="83" y="12"/>
                  </a:lnTo>
                  <a:lnTo>
                    <a:pt x="83" y="10"/>
                  </a:lnTo>
                  <a:lnTo>
                    <a:pt x="85" y="10"/>
                  </a:lnTo>
                  <a:lnTo>
                    <a:pt x="88" y="10"/>
                  </a:lnTo>
                  <a:lnTo>
                    <a:pt x="85" y="10"/>
                  </a:lnTo>
                  <a:lnTo>
                    <a:pt x="88" y="10"/>
                  </a:lnTo>
                  <a:lnTo>
                    <a:pt x="88" y="7"/>
                  </a:lnTo>
                  <a:lnTo>
                    <a:pt x="88" y="10"/>
                  </a:lnTo>
                  <a:lnTo>
                    <a:pt x="88" y="7"/>
                  </a:lnTo>
                  <a:lnTo>
                    <a:pt x="85" y="7"/>
                  </a:lnTo>
                  <a:lnTo>
                    <a:pt x="83" y="7"/>
                  </a:lnTo>
                  <a:lnTo>
                    <a:pt x="80" y="7"/>
                  </a:lnTo>
                  <a:lnTo>
                    <a:pt x="83" y="7"/>
                  </a:lnTo>
                  <a:lnTo>
                    <a:pt x="80" y="5"/>
                  </a:lnTo>
                  <a:lnTo>
                    <a:pt x="83" y="5"/>
                  </a:lnTo>
                  <a:lnTo>
                    <a:pt x="83" y="2"/>
                  </a:lnTo>
                  <a:lnTo>
                    <a:pt x="85" y="2"/>
                  </a:lnTo>
                  <a:lnTo>
                    <a:pt x="88" y="2"/>
                  </a:lnTo>
                  <a:lnTo>
                    <a:pt x="85" y="0"/>
                  </a:lnTo>
                  <a:lnTo>
                    <a:pt x="88" y="0"/>
                  </a:lnTo>
                  <a:close/>
                  <a:moveTo>
                    <a:pt x="90" y="5"/>
                  </a:moveTo>
                  <a:lnTo>
                    <a:pt x="90" y="7"/>
                  </a:lnTo>
                  <a:lnTo>
                    <a:pt x="90" y="5"/>
                  </a:lnTo>
                  <a:lnTo>
                    <a:pt x="92" y="5"/>
                  </a:lnTo>
                  <a:lnTo>
                    <a:pt x="90" y="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3" name="Freeform 57757"/>
            <p:cNvSpPr>
              <a:spLocks/>
            </p:cNvSpPr>
            <p:nvPr/>
          </p:nvSpPr>
          <p:spPr bwMode="auto">
            <a:xfrm>
              <a:off x="3098797" y="5270520"/>
              <a:ext cx="134938" cy="109538"/>
            </a:xfrm>
            <a:custGeom>
              <a:avLst/>
              <a:gdLst>
                <a:gd name="T0" fmla="*/ 50 w 85"/>
                <a:gd name="T1" fmla="*/ 3 h 69"/>
                <a:gd name="T2" fmla="*/ 55 w 85"/>
                <a:gd name="T3" fmla="*/ 3 h 69"/>
                <a:gd name="T4" fmla="*/ 59 w 85"/>
                <a:gd name="T5" fmla="*/ 0 h 69"/>
                <a:gd name="T6" fmla="*/ 64 w 85"/>
                <a:gd name="T7" fmla="*/ 3 h 69"/>
                <a:gd name="T8" fmla="*/ 66 w 85"/>
                <a:gd name="T9" fmla="*/ 7 h 69"/>
                <a:gd name="T10" fmla="*/ 71 w 85"/>
                <a:gd name="T11" fmla="*/ 12 h 69"/>
                <a:gd name="T12" fmla="*/ 76 w 85"/>
                <a:gd name="T13" fmla="*/ 14 h 69"/>
                <a:gd name="T14" fmla="*/ 78 w 85"/>
                <a:gd name="T15" fmla="*/ 22 h 69"/>
                <a:gd name="T16" fmla="*/ 81 w 85"/>
                <a:gd name="T17" fmla="*/ 26 h 69"/>
                <a:gd name="T18" fmla="*/ 85 w 85"/>
                <a:gd name="T19" fmla="*/ 29 h 69"/>
                <a:gd name="T20" fmla="*/ 83 w 85"/>
                <a:gd name="T21" fmla="*/ 33 h 69"/>
                <a:gd name="T22" fmla="*/ 83 w 85"/>
                <a:gd name="T23" fmla="*/ 36 h 69"/>
                <a:gd name="T24" fmla="*/ 83 w 85"/>
                <a:gd name="T25" fmla="*/ 43 h 69"/>
                <a:gd name="T26" fmla="*/ 81 w 85"/>
                <a:gd name="T27" fmla="*/ 48 h 69"/>
                <a:gd name="T28" fmla="*/ 76 w 85"/>
                <a:gd name="T29" fmla="*/ 50 h 69"/>
                <a:gd name="T30" fmla="*/ 74 w 85"/>
                <a:gd name="T31" fmla="*/ 55 h 69"/>
                <a:gd name="T32" fmla="*/ 69 w 85"/>
                <a:gd name="T33" fmla="*/ 57 h 69"/>
                <a:gd name="T34" fmla="*/ 62 w 85"/>
                <a:gd name="T35" fmla="*/ 57 h 69"/>
                <a:gd name="T36" fmla="*/ 57 w 85"/>
                <a:gd name="T37" fmla="*/ 55 h 69"/>
                <a:gd name="T38" fmla="*/ 52 w 85"/>
                <a:gd name="T39" fmla="*/ 57 h 69"/>
                <a:gd name="T40" fmla="*/ 50 w 85"/>
                <a:gd name="T41" fmla="*/ 57 h 69"/>
                <a:gd name="T42" fmla="*/ 48 w 85"/>
                <a:gd name="T43" fmla="*/ 62 h 69"/>
                <a:gd name="T44" fmla="*/ 43 w 85"/>
                <a:gd name="T45" fmla="*/ 64 h 69"/>
                <a:gd name="T46" fmla="*/ 43 w 85"/>
                <a:gd name="T47" fmla="*/ 67 h 69"/>
                <a:gd name="T48" fmla="*/ 40 w 85"/>
                <a:gd name="T49" fmla="*/ 67 h 69"/>
                <a:gd name="T50" fmla="*/ 36 w 85"/>
                <a:gd name="T51" fmla="*/ 69 h 69"/>
                <a:gd name="T52" fmla="*/ 31 w 85"/>
                <a:gd name="T53" fmla="*/ 67 h 69"/>
                <a:gd name="T54" fmla="*/ 24 w 85"/>
                <a:gd name="T55" fmla="*/ 69 h 69"/>
                <a:gd name="T56" fmla="*/ 17 w 85"/>
                <a:gd name="T57" fmla="*/ 67 h 69"/>
                <a:gd name="T58" fmla="*/ 10 w 85"/>
                <a:gd name="T59" fmla="*/ 67 h 69"/>
                <a:gd name="T60" fmla="*/ 5 w 85"/>
                <a:gd name="T61" fmla="*/ 60 h 69"/>
                <a:gd name="T62" fmla="*/ 2 w 85"/>
                <a:gd name="T63" fmla="*/ 55 h 69"/>
                <a:gd name="T64" fmla="*/ 0 w 85"/>
                <a:gd name="T65" fmla="*/ 48 h 69"/>
                <a:gd name="T66" fmla="*/ 2 w 85"/>
                <a:gd name="T67" fmla="*/ 43 h 69"/>
                <a:gd name="T68" fmla="*/ 2 w 85"/>
                <a:gd name="T69" fmla="*/ 41 h 69"/>
                <a:gd name="T70" fmla="*/ 2 w 85"/>
                <a:gd name="T71" fmla="*/ 38 h 69"/>
                <a:gd name="T72" fmla="*/ 2 w 85"/>
                <a:gd name="T73" fmla="*/ 31 h 69"/>
                <a:gd name="T74" fmla="*/ 2 w 85"/>
                <a:gd name="T75" fmla="*/ 24 h 69"/>
                <a:gd name="T76" fmla="*/ 7 w 85"/>
                <a:gd name="T77" fmla="*/ 22 h 69"/>
                <a:gd name="T78" fmla="*/ 10 w 85"/>
                <a:gd name="T79" fmla="*/ 17 h 69"/>
                <a:gd name="T80" fmla="*/ 12 w 85"/>
                <a:gd name="T81" fmla="*/ 12 h 69"/>
                <a:gd name="T82" fmla="*/ 17 w 85"/>
                <a:gd name="T83" fmla="*/ 10 h 69"/>
                <a:gd name="T84" fmla="*/ 21 w 85"/>
                <a:gd name="T85" fmla="*/ 7 h 69"/>
                <a:gd name="T86" fmla="*/ 29 w 85"/>
                <a:gd name="T87" fmla="*/ 12 h 69"/>
                <a:gd name="T88" fmla="*/ 31 w 85"/>
                <a:gd name="T89" fmla="*/ 5 h 69"/>
                <a:gd name="T90" fmla="*/ 38 w 85"/>
                <a:gd name="T91" fmla="*/ 5 h 69"/>
                <a:gd name="T92" fmla="*/ 40 w 85"/>
                <a:gd name="T93" fmla="*/ 5 h 69"/>
                <a:gd name="T94" fmla="*/ 43 w 85"/>
                <a:gd name="T95" fmla="*/ 0 h 69"/>
                <a:gd name="T96" fmla="*/ 48 w 85"/>
                <a:gd name="T97" fmla="*/ 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69">
                  <a:moveTo>
                    <a:pt x="48" y="5"/>
                  </a:moveTo>
                  <a:lnTo>
                    <a:pt x="50" y="5"/>
                  </a:lnTo>
                  <a:lnTo>
                    <a:pt x="50" y="3"/>
                  </a:lnTo>
                  <a:lnTo>
                    <a:pt x="52" y="5"/>
                  </a:lnTo>
                  <a:lnTo>
                    <a:pt x="52" y="3"/>
                  </a:lnTo>
                  <a:lnTo>
                    <a:pt x="55" y="3"/>
                  </a:lnTo>
                  <a:lnTo>
                    <a:pt x="57" y="3"/>
                  </a:lnTo>
                  <a:lnTo>
                    <a:pt x="59" y="3"/>
                  </a:lnTo>
                  <a:lnTo>
                    <a:pt x="59" y="0"/>
                  </a:lnTo>
                  <a:lnTo>
                    <a:pt x="62" y="0"/>
                  </a:lnTo>
                  <a:lnTo>
                    <a:pt x="62" y="3"/>
                  </a:lnTo>
                  <a:lnTo>
                    <a:pt x="64" y="3"/>
                  </a:lnTo>
                  <a:lnTo>
                    <a:pt x="64" y="5"/>
                  </a:lnTo>
                  <a:lnTo>
                    <a:pt x="64" y="7"/>
                  </a:lnTo>
                  <a:lnTo>
                    <a:pt x="66" y="7"/>
                  </a:lnTo>
                  <a:lnTo>
                    <a:pt x="66" y="10"/>
                  </a:lnTo>
                  <a:lnTo>
                    <a:pt x="69" y="12"/>
                  </a:lnTo>
                  <a:lnTo>
                    <a:pt x="71" y="12"/>
                  </a:lnTo>
                  <a:lnTo>
                    <a:pt x="71" y="14"/>
                  </a:lnTo>
                  <a:lnTo>
                    <a:pt x="74" y="14"/>
                  </a:lnTo>
                  <a:lnTo>
                    <a:pt x="76" y="14"/>
                  </a:lnTo>
                  <a:lnTo>
                    <a:pt x="78" y="17"/>
                  </a:lnTo>
                  <a:lnTo>
                    <a:pt x="78" y="19"/>
                  </a:lnTo>
                  <a:lnTo>
                    <a:pt x="78" y="22"/>
                  </a:lnTo>
                  <a:lnTo>
                    <a:pt x="81" y="22"/>
                  </a:lnTo>
                  <a:lnTo>
                    <a:pt x="81" y="24"/>
                  </a:lnTo>
                  <a:lnTo>
                    <a:pt x="81" y="26"/>
                  </a:lnTo>
                  <a:lnTo>
                    <a:pt x="83" y="26"/>
                  </a:lnTo>
                  <a:lnTo>
                    <a:pt x="83" y="29"/>
                  </a:lnTo>
                  <a:lnTo>
                    <a:pt x="85" y="29"/>
                  </a:lnTo>
                  <a:lnTo>
                    <a:pt x="85" y="31"/>
                  </a:lnTo>
                  <a:lnTo>
                    <a:pt x="83" y="31"/>
                  </a:lnTo>
                  <a:lnTo>
                    <a:pt x="83" y="33"/>
                  </a:lnTo>
                  <a:lnTo>
                    <a:pt x="81" y="33"/>
                  </a:lnTo>
                  <a:lnTo>
                    <a:pt x="81" y="36"/>
                  </a:lnTo>
                  <a:lnTo>
                    <a:pt x="83" y="36"/>
                  </a:lnTo>
                  <a:lnTo>
                    <a:pt x="83" y="38"/>
                  </a:lnTo>
                  <a:lnTo>
                    <a:pt x="83" y="41"/>
                  </a:lnTo>
                  <a:lnTo>
                    <a:pt x="83" y="43"/>
                  </a:lnTo>
                  <a:lnTo>
                    <a:pt x="83" y="45"/>
                  </a:lnTo>
                  <a:lnTo>
                    <a:pt x="83" y="48"/>
                  </a:lnTo>
                  <a:lnTo>
                    <a:pt x="81" y="48"/>
                  </a:lnTo>
                  <a:lnTo>
                    <a:pt x="78" y="48"/>
                  </a:lnTo>
                  <a:lnTo>
                    <a:pt x="76" y="48"/>
                  </a:lnTo>
                  <a:lnTo>
                    <a:pt x="76" y="50"/>
                  </a:lnTo>
                  <a:lnTo>
                    <a:pt x="76" y="55"/>
                  </a:lnTo>
                  <a:lnTo>
                    <a:pt x="74" y="57"/>
                  </a:lnTo>
                  <a:lnTo>
                    <a:pt x="74" y="55"/>
                  </a:lnTo>
                  <a:lnTo>
                    <a:pt x="71" y="55"/>
                  </a:lnTo>
                  <a:lnTo>
                    <a:pt x="71" y="57"/>
                  </a:lnTo>
                  <a:lnTo>
                    <a:pt x="69" y="57"/>
                  </a:lnTo>
                  <a:lnTo>
                    <a:pt x="66" y="57"/>
                  </a:lnTo>
                  <a:lnTo>
                    <a:pt x="64" y="57"/>
                  </a:lnTo>
                  <a:lnTo>
                    <a:pt x="62" y="57"/>
                  </a:lnTo>
                  <a:lnTo>
                    <a:pt x="59" y="57"/>
                  </a:lnTo>
                  <a:lnTo>
                    <a:pt x="59" y="55"/>
                  </a:lnTo>
                  <a:lnTo>
                    <a:pt x="57" y="55"/>
                  </a:lnTo>
                  <a:lnTo>
                    <a:pt x="57" y="57"/>
                  </a:lnTo>
                  <a:lnTo>
                    <a:pt x="55" y="57"/>
                  </a:lnTo>
                  <a:lnTo>
                    <a:pt x="52" y="57"/>
                  </a:lnTo>
                  <a:lnTo>
                    <a:pt x="52" y="55"/>
                  </a:lnTo>
                  <a:lnTo>
                    <a:pt x="52" y="57"/>
                  </a:lnTo>
                  <a:lnTo>
                    <a:pt x="50" y="57"/>
                  </a:lnTo>
                  <a:lnTo>
                    <a:pt x="48" y="57"/>
                  </a:lnTo>
                  <a:lnTo>
                    <a:pt x="48" y="60"/>
                  </a:lnTo>
                  <a:lnTo>
                    <a:pt x="48" y="62"/>
                  </a:lnTo>
                  <a:lnTo>
                    <a:pt x="45" y="62"/>
                  </a:lnTo>
                  <a:lnTo>
                    <a:pt x="45" y="64"/>
                  </a:lnTo>
                  <a:lnTo>
                    <a:pt x="43" y="64"/>
                  </a:lnTo>
                  <a:lnTo>
                    <a:pt x="45" y="64"/>
                  </a:lnTo>
                  <a:lnTo>
                    <a:pt x="43" y="64"/>
                  </a:lnTo>
                  <a:lnTo>
                    <a:pt x="43" y="67"/>
                  </a:lnTo>
                  <a:lnTo>
                    <a:pt x="40" y="67"/>
                  </a:lnTo>
                  <a:lnTo>
                    <a:pt x="40" y="64"/>
                  </a:lnTo>
                  <a:lnTo>
                    <a:pt x="40" y="67"/>
                  </a:lnTo>
                  <a:lnTo>
                    <a:pt x="38" y="67"/>
                  </a:lnTo>
                  <a:lnTo>
                    <a:pt x="38" y="69"/>
                  </a:lnTo>
                  <a:lnTo>
                    <a:pt x="36" y="69"/>
                  </a:lnTo>
                  <a:lnTo>
                    <a:pt x="36" y="67"/>
                  </a:lnTo>
                  <a:lnTo>
                    <a:pt x="33" y="67"/>
                  </a:lnTo>
                  <a:lnTo>
                    <a:pt x="31" y="67"/>
                  </a:lnTo>
                  <a:lnTo>
                    <a:pt x="29" y="69"/>
                  </a:lnTo>
                  <a:lnTo>
                    <a:pt x="26" y="69"/>
                  </a:lnTo>
                  <a:lnTo>
                    <a:pt x="24" y="69"/>
                  </a:lnTo>
                  <a:lnTo>
                    <a:pt x="21" y="69"/>
                  </a:lnTo>
                  <a:lnTo>
                    <a:pt x="17" y="69"/>
                  </a:lnTo>
                  <a:lnTo>
                    <a:pt x="17" y="67"/>
                  </a:lnTo>
                  <a:lnTo>
                    <a:pt x="14" y="67"/>
                  </a:lnTo>
                  <a:lnTo>
                    <a:pt x="12" y="67"/>
                  </a:lnTo>
                  <a:lnTo>
                    <a:pt x="10" y="67"/>
                  </a:lnTo>
                  <a:lnTo>
                    <a:pt x="7" y="64"/>
                  </a:lnTo>
                  <a:lnTo>
                    <a:pt x="7" y="60"/>
                  </a:lnTo>
                  <a:lnTo>
                    <a:pt x="5" y="60"/>
                  </a:lnTo>
                  <a:lnTo>
                    <a:pt x="5" y="57"/>
                  </a:lnTo>
                  <a:lnTo>
                    <a:pt x="5" y="55"/>
                  </a:lnTo>
                  <a:lnTo>
                    <a:pt x="2" y="55"/>
                  </a:lnTo>
                  <a:lnTo>
                    <a:pt x="2" y="52"/>
                  </a:lnTo>
                  <a:lnTo>
                    <a:pt x="2" y="50"/>
                  </a:lnTo>
                  <a:lnTo>
                    <a:pt x="0" y="48"/>
                  </a:lnTo>
                  <a:lnTo>
                    <a:pt x="2" y="48"/>
                  </a:lnTo>
                  <a:lnTo>
                    <a:pt x="2" y="45"/>
                  </a:lnTo>
                  <a:lnTo>
                    <a:pt x="2" y="43"/>
                  </a:lnTo>
                  <a:lnTo>
                    <a:pt x="0" y="43"/>
                  </a:lnTo>
                  <a:lnTo>
                    <a:pt x="2" y="43"/>
                  </a:lnTo>
                  <a:lnTo>
                    <a:pt x="2" y="41"/>
                  </a:lnTo>
                  <a:lnTo>
                    <a:pt x="0" y="41"/>
                  </a:lnTo>
                  <a:lnTo>
                    <a:pt x="0" y="38"/>
                  </a:lnTo>
                  <a:lnTo>
                    <a:pt x="2" y="38"/>
                  </a:lnTo>
                  <a:lnTo>
                    <a:pt x="2" y="36"/>
                  </a:lnTo>
                  <a:lnTo>
                    <a:pt x="2" y="33"/>
                  </a:lnTo>
                  <a:lnTo>
                    <a:pt x="2" y="31"/>
                  </a:lnTo>
                  <a:lnTo>
                    <a:pt x="2" y="29"/>
                  </a:lnTo>
                  <a:lnTo>
                    <a:pt x="2" y="26"/>
                  </a:lnTo>
                  <a:lnTo>
                    <a:pt x="2" y="24"/>
                  </a:lnTo>
                  <a:lnTo>
                    <a:pt x="5" y="24"/>
                  </a:lnTo>
                  <a:lnTo>
                    <a:pt x="5" y="22"/>
                  </a:lnTo>
                  <a:lnTo>
                    <a:pt x="7" y="22"/>
                  </a:lnTo>
                  <a:lnTo>
                    <a:pt x="10" y="22"/>
                  </a:lnTo>
                  <a:lnTo>
                    <a:pt x="10" y="19"/>
                  </a:lnTo>
                  <a:lnTo>
                    <a:pt x="10" y="17"/>
                  </a:lnTo>
                  <a:lnTo>
                    <a:pt x="10" y="14"/>
                  </a:lnTo>
                  <a:lnTo>
                    <a:pt x="12" y="14"/>
                  </a:lnTo>
                  <a:lnTo>
                    <a:pt x="12" y="12"/>
                  </a:lnTo>
                  <a:lnTo>
                    <a:pt x="14" y="12"/>
                  </a:lnTo>
                  <a:lnTo>
                    <a:pt x="17" y="12"/>
                  </a:lnTo>
                  <a:lnTo>
                    <a:pt x="17" y="10"/>
                  </a:lnTo>
                  <a:lnTo>
                    <a:pt x="19" y="10"/>
                  </a:lnTo>
                  <a:lnTo>
                    <a:pt x="21" y="10"/>
                  </a:lnTo>
                  <a:lnTo>
                    <a:pt x="21" y="7"/>
                  </a:lnTo>
                  <a:lnTo>
                    <a:pt x="24" y="10"/>
                  </a:lnTo>
                  <a:lnTo>
                    <a:pt x="26" y="12"/>
                  </a:lnTo>
                  <a:lnTo>
                    <a:pt x="29" y="12"/>
                  </a:lnTo>
                  <a:lnTo>
                    <a:pt x="29" y="10"/>
                  </a:lnTo>
                  <a:lnTo>
                    <a:pt x="29" y="7"/>
                  </a:lnTo>
                  <a:lnTo>
                    <a:pt x="31" y="5"/>
                  </a:lnTo>
                  <a:lnTo>
                    <a:pt x="33" y="5"/>
                  </a:lnTo>
                  <a:lnTo>
                    <a:pt x="36" y="5"/>
                  </a:lnTo>
                  <a:lnTo>
                    <a:pt x="38" y="5"/>
                  </a:lnTo>
                  <a:lnTo>
                    <a:pt x="40" y="5"/>
                  </a:lnTo>
                  <a:lnTo>
                    <a:pt x="40" y="7"/>
                  </a:lnTo>
                  <a:lnTo>
                    <a:pt x="40" y="5"/>
                  </a:lnTo>
                  <a:lnTo>
                    <a:pt x="43" y="5"/>
                  </a:lnTo>
                  <a:lnTo>
                    <a:pt x="43" y="3"/>
                  </a:lnTo>
                  <a:lnTo>
                    <a:pt x="43" y="0"/>
                  </a:lnTo>
                  <a:lnTo>
                    <a:pt x="45" y="0"/>
                  </a:lnTo>
                  <a:lnTo>
                    <a:pt x="48" y="3"/>
                  </a:lnTo>
                  <a:lnTo>
                    <a:pt x="48" y="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4" name="Freeform 57758"/>
            <p:cNvSpPr>
              <a:spLocks noEditPoints="1"/>
            </p:cNvSpPr>
            <p:nvPr/>
          </p:nvSpPr>
          <p:spPr bwMode="auto">
            <a:xfrm>
              <a:off x="3186109" y="4516455"/>
              <a:ext cx="944562" cy="608015"/>
            </a:xfrm>
            <a:custGeom>
              <a:avLst/>
              <a:gdLst>
                <a:gd name="T0" fmla="*/ 486 w 595"/>
                <a:gd name="T1" fmla="*/ 269 h 383"/>
                <a:gd name="T2" fmla="*/ 462 w 595"/>
                <a:gd name="T3" fmla="*/ 276 h 383"/>
                <a:gd name="T4" fmla="*/ 431 w 595"/>
                <a:gd name="T5" fmla="*/ 299 h 383"/>
                <a:gd name="T6" fmla="*/ 424 w 595"/>
                <a:gd name="T7" fmla="*/ 318 h 383"/>
                <a:gd name="T8" fmla="*/ 465 w 595"/>
                <a:gd name="T9" fmla="*/ 330 h 383"/>
                <a:gd name="T10" fmla="*/ 455 w 595"/>
                <a:gd name="T11" fmla="*/ 352 h 383"/>
                <a:gd name="T12" fmla="*/ 410 w 595"/>
                <a:gd name="T13" fmla="*/ 366 h 383"/>
                <a:gd name="T14" fmla="*/ 375 w 595"/>
                <a:gd name="T15" fmla="*/ 371 h 383"/>
                <a:gd name="T16" fmla="*/ 363 w 595"/>
                <a:gd name="T17" fmla="*/ 342 h 383"/>
                <a:gd name="T18" fmla="*/ 346 w 595"/>
                <a:gd name="T19" fmla="*/ 330 h 383"/>
                <a:gd name="T20" fmla="*/ 379 w 595"/>
                <a:gd name="T21" fmla="*/ 307 h 383"/>
                <a:gd name="T22" fmla="*/ 358 w 595"/>
                <a:gd name="T23" fmla="*/ 299 h 383"/>
                <a:gd name="T24" fmla="*/ 327 w 595"/>
                <a:gd name="T25" fmla="*/ 295 h 383"/>
                <a:gd name="T26" fmla="*/ 310 w 595"/>
                <a:gd name="T27" fmla="*/ 283 h 383"/>
                <a:gd name="T28" fmla="*/ 356 w 595"/>
                <a:gd name="T29" fmla="*/ 273 h 383"/>
                <a:gd name="T30" fmla="*/ 341 w 595"/>
                <a:gd name="T31" fmla="*/ 280 h 383"/>
                <a:gd name="T32" fmla="*/ 322 w 595"/>
                <a:gd name="T33" fmla="*/ 254 h 383"/>
                <a:gd name="T34" fmla="*/ 320 w 595"/>
                <a:gd name="T35" fmla="*/ 278 h 383"/>
                <a:gd name="T36" fmla="*/ 301 w 595"/>
                <a:gd name="T37" fmla="*/ 278 h 383"/>
                <a:gd name="T38" fmla="*/ 275 w 595"/>
                <a:gd name="T39" fmla="*/ 302 h 383"/>
                <a:gd name="T40" fmla="*/ 270 w 595"/>
                <a:gd name="T41" fmla="*/ 307 h 383"/>
                <a:gd name="T42" fmla="*/ 253 w 595"/>
                <a:gd name="T43" fmla="*/ 321 h 383"/>
                <a:gd name="T44" fmla="*/ 251 w 595"/>
                <a:gd name="T45" fmla="*/ 333 h 383"/>
                <a:gd name="T46" fmla="*/ 201 w 595"/>
                <a:gd name="T47" fmla="*/ 330 h 383"/>
                <a:gd name="T48" fmla="*/ 235 w 595"/>
                <a:gd name="T49" fmla="*/ 280 h 383"/>
                <a:gd name="T50" fmla="*/ 263 w 595"/>
                <a:gd name="T51" fmla="*/ 285 h 383"/>
                <a:gd name="T52" fmla="*/ 244 w 595"/>
                <a:gd name="T53" fmla="*/ 254 h 383"/>
                <a:gd name="T54" fmla="*/ 235 w 595"/>
                <a:gd name="T55" fmla="*/ 216 h 383"/>
                <a:gd name="T56" fmla="*/ 206 w 595"/>
                <a:gd name="T57" fmla="*/ 200 h 383"/>
                <a:gd name="T58" fmla="*/ 166 w 595"/>
                <a:gd name="T59" fmla="*/ 195 h 383"/>
                <a:gd name="T60" fmla="*/ 135 w 595"/>
                <a:gd name="T61" fmla="*/ 212 h 383"/>
                <a:gd name="T62" fmla="*/ 83 w 595"/>
                <a:gd name="T63" fmla="*/ 219 h 383"/>
                <a:gd name="T64" fmla="*/ 33 w 595"/>
                <a:gd name="T65" fmla="*/ 207 h 383"/>
                <a:gd name="T66" fmla="*/ 0 w 595"/>
                <a:gd name="T67" fmla="*/ 185 h 383"/>
                <a:gd name="T68" fmla="*/ 19 w 595"/>
                <a:gd name="T69" fmla="*/ 157 h 383"/>
                <a:gd name="T70" fmla="*/ 47 w 595"/>
                <a:gd name="T71" fmla="*/ 105 h 383"/>
                <a:gd name="T72" fmla="*/ 61 w 595"/>
                <a:gd name="T73" fmla="*/ 71 h 383"/>
                <a:gd name="T74" fmla="*/ 54 w 595"/>
                <a:gd name="T75" fmla="*/ 36 h 383"/>
                <a:gd name="T76" fmla="*/ 106 w 595"/>
                <a:gd name="T77" fmla="*/ 21 h 383"/>
                <a:gd name="T78" fmla="*/ 168 w 595"/>
                <a:gd name="T79" fmla="*/ 33 h 383"/>
                <a:gd name="T80" fmla="*/ 199 w 595"/>
                <a:gd name="T81" fmla="*/ 36 h 383"/>
                <a:gd name="T82" fmla="*/ 244 w 595"/>
                <a:gd name="T83" fmla="*/ 45 h 383"/>
                <a:gd name="T84" fmla="*/ 280 w 595"/>
                <a:gd name="T85" fmla="*/ 43 h 383"/>
                <a:gd name="T86" fmla="*/ 296 w 595"/>
                <a:gd name="T87" fmla="*/ 12 h 383"/>
                <a:gd name="T88" fmla="*/ 337 w 595"/>
                <a:gd name="T89" fmla="*/ 7 h 383"/>
                <a:gd name="T90" fmla="*/ 386 w 595"/>
                <a:gd name="T91" fmla="*/ 2 h 383"/>
                <a:gd name="T92" fmla="*/ 398 w 595"/>
                <a:gd name="T93" fmla="*/ 45 h 383"/>
                <a:gd name="T94" fmla="*/ 431 w 595"/>
                <a:gd name="T95" fmla="*/ 64 h 383"/>
                <a:gd name="T96" fmla="*/ 450 w 595"/>
                <a:gd name="T97" fmla="*/ 97 h 383"/>
                <a:gd name="T98" fmla="*/ 505 w 595"/>
                <a:gd name="T99" fmla="*/ 93 h 383"/>
                <a:gd name="T100" fmla="*/ 543 w 595"/>
                <a:gd name="T101" fmla="*/ 116 h 383"/>
                <a:gd name="T102" fmla="*/ 590 w 595"/>
                <a:gd name="T103" fmla="*/ 140 h 383"/>
                <a:gd name="T104" fmla="*/ 581 w 595"/>
                <a:gd name="T105" fmla="*/ 174 h 383"/>
                <a:gd name="T106" fmla="*/ 586 w 595"/>
                <a:gd name="T107" fmla="*/ 209 h 383"/>
                <a:gd name="T108" fmla="*/ 536 w 595"/>
                <a:gd name="T109" fmla="*/ 233 h 383"/>
                <a:gd name="T110" fmla="*/ 393 w 595"/>
                <a:gd name="T111" fmla="*/ 302 h 383"/>
                <a:gd name="T112" fmla="*/ 398 w 595"/>
                <a:gd name="T113" fmla="*/ 307 h 383"/>
                <a:gd name="T114" fmla="*/ 410 w 595"/>
                <a:gd name="T115" fmla="*/ 307 h 383"/>
                <a:gd name="T116" fmla="*/ 408 w 595"/>
                <a:gd name="T117" fmla="*/ 314 h 383"/>
                <a:gd name="T118" fmla="*/ 424 w 595"/>
                <a:gd name="T119" fmla="*/ 323 h 383"/>
                <a:gd name="T120" fmla="*/ 424 w 595"/>
                <a:gd name="T121" fmla="*/ 318 h 383"/>
                <a:gd name="T122" fmla="*/ 415 w 595"/>
                <a:gd name="T123" fmla="*/ 299 h 383"/>
                <a:gd name="T124" fmla="*/ 398 w 595"/>
                <a:gd name="T125" fmla="*/ 304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5" h="383">
                  <a:moveTo>
                    <a:pt x="251" y="342"/>
                  </a:moveTo>
                  <a:lnTo>
                    <a:pt x="251" y="345"/>
                  </a:lnTo>
                  <a:lnTo>
                    <a:pt x="249" y="345"/>
                  </a:lnTo>
                  <a:lnTo>
                    <a:pt x="249" y="342"/>
                  </a:lnTo>
                  <a:lnTo>
                    <a:pt x="251" y="342"/>
                  </a:lnTo>
                  <a:close/>
                  <a:moveTo>
                    <a:pt x="465" y="278"/>
                  </a:moveTo>
                  <a:lnTo>
                    <a:pt x="465" y="280"/>
                  </a:lnTo>
                  <a:lnTo>
                    <a:pt x="462" y="283"/>
                  </a:lnTo>
                  <a:lnTo>
                    <a:pt x="465" y="280"/>
                  </a:lnTo>
                  <a:lnTo>
                    <a:pt x="465" y="278"/>
                  </a:lnTo>
                  <a:close/>
                  <a:moveTo>
                    <a:pt x="510" y="254"/>
                  </a:moveTo>
                  <a:lnTo>
                    <a:pt x="510" y="257"/>
                  </a:lnTo>
                  <a:lnTo>
                    <a:pt x="510" y="254"/>
                  </a:lnTo>
                  <a:lnTo>
                    <a:pt x="510" y="257"/>
                  </a:lnTo>
                  <a:lnTo>
                    <a:pt x="510" y="254"/>
                  </a:lnTo>
                  <a:lnTo>
                    <a:pt x="510" y="257"/>
                  </a:lnTo>
                  <a:lnTo>
                    <a:pt x="510" y="254"/>
                  </a:lnTo>
                  <a:lnTo>
                    <a:pt x="510" y="257"/>
                  </a:lnTo>
                  <a:lnTo>
                    <a:pt x="507" y="257"/>
                  </a:lnTo>
                  <a:lnTo>
                    <a:pt x="505" y="259"/>
                  </a:lnTo>
                  <a:lnTo>
                    <a:pt x="505" y="261"/>
                  </a:lnTo>
                  <a:lnTo>
                    <a:pt x="503" y="261"/>
                  </a:lnTo>
                  <a:lnTo>
                    <a:pt x="503" y="264"/>
                  </a:lnTo>
                  <a:lnTo>
                    <a:pt x="500" y="264"/>
                  </a:lnTo>
                  <a:lnTo>
                    <a:pt x="500" y="266"/>
                  </a:lnTo>
                  <a:lnTo>
                    <a:pt x="500" y="264"/>
                  </a:lnTo>
                  <a:lnTo>
                    <a:pt x="498" y="261"/>
                  </a:lnTo>
                  <a:lnTo>
                    <a:pt x="498" y="264"/>
                  </a:lnTo>
                  <a:lnTo>
                    <a:pt x="496" y="264"/>
                  </a:lnTo>
                  <a:lnTo>
                    <a:pt x="493" y="264"/>
                  </a:lnTo>
                  <a:lnTo>
                    <a:pt x="493" y="266"/>
                  </a:lnTo>
                  <a:lnTo>
                    <a:pt x="491" y="266"/>
                  </a:lnTo>
                  <a:lnTo>
                    <a:pt x="488" y="266"/>
                  </a:lnTo>
                  <a:lnTo>
                    <a:pt x="488" y="269"/>
                  </a:lnTo>
                  <a:lnTo>
                    <a:pt x="486" y="269"/>
                  </a:lnTo>
                  <a:lnTo>
                    <a:pt x="486" y="271"/>
                  </a:lnTo>
                  <a:lnTo>
                    <a:pt x="486" y="273"/>
                  </a:lnTo>
                  <a:lnTo>
                    <a:pt x="484" y="273"/>
                  </a:lnTo>
                  <a:lnTo>
                    <a:pt x="484" y="276"/>
                  </a:lnTo>
                  <a:lnTo>
                    <a:pt x="484" y="278"/>
                  </a:lnTo>
                  <a:lnTo>
                    <a:pt x="481" y="278"/>
                  </a:lnTo>
                  <a:lnTo>
                    <a:pt x="481" y="276"/>
                  </a:lnTo>
                  <a:lnTo>
                    <a:pt x="484" y="276"/>
                  </a:lnTo>
                  <a:lnTo>
                    <a:pt x="484" y="273"/>
                  </a:lnTo>
                  <a:lnTo>
                    <a:pt x="484" y="276"/>
                  </a:lnTo>
                  <a:lnTo>
                    <a:pt x="484" y="273"/>
                  </a:lnTo>
                  <a:lnTo>
                    <a:pt x="484" y="271"/>
                  </a:lnTo>
                  <a:lnTo>
                    <a:pt x="481" y="271"/>
                  </a:lnTo>
                  <a:lnTo>
                    <a:pt x="479" y="271"/>
                  </a:lnTo>
                  <a:lnTo>
                    <a:pt x="477" y="271"/>
                  </a:lnTo>
                  <a:lnTo>
                    <a:pt x="474" y="271"/>
                  </a:lnTo>
                  <a:lnTo>
                    <a:pt x="472" y="271"/>
                  </a:lnTo>
                  <a:lnTo>
                    <a:pt x="472" y="273"/>
                  </a:lnTo>
                  <a:lnTo>
                    <a:pt x="469" y="273"/>
                  </a:lnTo>
                  <a:lnTo>
                    <a:pt x="469" y="276"/>
                  </a:lnTo>
                  <a:lnTo>
                    <a:pt x="467" y="276"/>
                  </a:lnTo>
                  <a:lnTo>
                    <a:pt x="467" y="278"/>
                  </a:lnTo>
                  <a:lnTo>
                    <a:pt x="465" y="278"/>
                  </a:lnTo>
                  <a:lnTo>
                    <a:pt x="467" y="278"/>
                  </a:lnTo>
                  <a:lnTo>
                    <a:pt x="467" y="276"/>
                  </a:lnTo>
                  <a:lnTo>
                    <a:pt x="467" y="278"/>
                  </a:lnTo>
                  <a:lnTo>
                    <a:pt x="467" y="276"/>
                  </a:lnTo>
                  <a:lnTo>
                    <a:pt x="467" y="278"/>
                  </a:lnTo>
                  <a:lnTo>
                    <a:pt x="467" y="276"/>
                  </a:lnTo>
                  <a:lnTo>
                    <a:pt x="467" y="278"/>
                  </a:lnTo>
                  <a:lnTo>
                    <a:pt x="465" y="278"/>
                  </a:lnTo>
                  <a:lnTo>
                    <a:pt x="467" y="278"/>
                  </a:lnTo>
                  <a:lnTo>
                    <a:pt x="465" y="278"/>
                  </a:lnTo>
                  <a:lnTo>
                    <a:pt x="465" y="276"/>
                  </a:lnTo>
                  <a:lnTo>
                    <a:pt x="462" y="276"/>
                  </a:lnTo>
                  <a:lnTo>
                    <a:pt x="460" y="276"/>
                  </a:lnTo>
                  <a:lnTo>
                    <a:pt x="458" y="276"/>
                  </a:lnTo>
                  <a:lnTo>
                    <a:pt x="455" y="276"/>
                  </a:lnTo>
                  <a:lnTo>
                    <a:pt x="453" y="276"/>
                  </a:lnTo>
                  <a:lnTo>
                    <a:pt x="453" y="278"/>
                  </a:lnTo>
                  <a:lnTo>
                    <a:pt x="450" y="278"/>
                  </a:lnTo>
                  <a:lnTo>
                    <a:pt x="448" y="278"/>
                  </a:lnTo>
                  <a:lnTo>
                    <a:pt x="448" y="280"/>
                  </a:lnTo>
                  <a:lnTo>
                    <a:pt x="448" y="278"/>
                  </a:lnTo>
                  <a:lnTo>
                    <a:pt x="448" y="280"/>
                  </a:lnTo>
                  <a:lnTo>
                    <a:pt x="446" y="283"/>
                  </a:lnTo>
                  <a:lnTo>
                    <a:pt x="443" y="283"/>
                  </a:lnTo>
                  <a:lnTo>
                    <a:pt x="443" y="285"/>
                  </a:lnTo>
                  <a:lnTo>
                    <a:pt x="441" y="285"/>
                  </a:lnTo>
                  <a:lnTo>
                    <a:pt x="439" y="285"/>
                  </a:lnTo>
                  <a:lnTo>
                    <a:pt x="439" y="288"/>
                  </a:lnTo>
                  <a:lnTo>
                    <a:pt x="436" y="290"/>
                  </a:lnTo>
                  <a:lnTo>
                    <a:pt x="436" y="292"/>
                  </a:lnTo>
                  <a:lnTo>
                    <a:pt x="434" y="292"/>
                  </a:lnTo>
                  <a:lnTo>
                    <a:pt x="434" y="295"/>
                  </a:lnTo>
                  <a:lnTo>
                    <a:pt x="431" y="295"/>
                  </a:lnTo>
                  <a:lnTo>
                    <a:pt x="431" y="297"/>
                  </a:lnTo>
                  <a:lnTo>
                    <a:pt x="431" y="299"/>
                  </a:lnTo>
                  <a:lnTo>
                    <a:pt x="429" y="299"/>
                  </a:lnTo>
                  <a:lnTo>
                    <a:pt x="429" y="302"/>
                  </a:lnTo>
                  <a:lnTo>
                    <a:pt x="427" y="302"/>
                  </a:lnTo>
                  <a:lnTo>
                    <a:pt x="424" y="302"/>
                  </a:lnTo>
                  <a:lnTo>
                    <a:pt x="424" y="304"/>
                  </a:lnTo>
                  <a:lnTo>
                    <a:pt x="424" y="302"/>
                  </a:lnTo>
                  <a:lnTo>
                    <a:pt x="424" y="304"/>
                  </a:lnTo>
                  <a:lnTo>
                    <a:pt x="424" y="302"/>
                  </a:lnTo>
                  <a:lnTo>
                    <a:pt x="424" y="299"/>
                  </a:lnTo>
                  <a:lnTo>
                    <a:pt x="427" y="299"/>
                  </a:lnTo>
                  <a:lnTo>
                    <a:pt x="429" y="299"/>
                  </a:lnTo>
                  <a:lnTo>
                    <a:pt x="431" y="299"/>
                  </a:lnTo>
                  <a:lnTo>
                    <a:pt x="431" y="297"/>
                  </a:lnTo>
                  <a:lnTo>
                    <a:pt x="431" y="295"/>
                  </a:lnTo>
                  <a:lnTo>
                    <a:pt x="434" y="295"/>
                  </a:lnTo>
                  <a:lnTo>
                    <a:pt x="434" y="292"/>
                  </a:lnTo>
                  <a:lnTo>
                    <a:pt x="436" y="292"/>
                  </a:lnTo>
                  <a:lnTo>
                    <a:pt x="436" y="290"/>
                  </a:lnTo>
                  <a:lnTo>
                    <a:pt x="434" y="290"/>
                  </a:lnTo>
                  <a:lnTo>
                    <a:pt x="434" y="292"/>
                  </a:lnTo>
                  <a:lnTo>
                    <a:pt x="434" y="290"/>
                  </a:lnTo>
                  <a:lnTo>
                    <a:pt x="431" y="288"/>
                  </a:lnTo>
                  <a:lnTo>
                    <a:pt x="434" y="288"/>
                  </a:lnTo>
                  <a:lnTo>
                    <a:pt x="434" y="285"/>
                  </a:lnTo>
                  <a:lnTo>
                    <a:pt x="431" y="285"/>
                  </a:lnTo>
                  <a:lnTo>
                    <a:pt x="429" y="285"/>
                  </a:lnTo>
                  <a:lnTo>
                    <a:pt x="431" y="285"/>
                  </a:lnTo>
                  <a:lnTo>
                    <a:pt x="431" y="288"/>
                  </a:lnTo>
                  <a:lnTo>
                    <a:pt x="431" y="290"/>
                  </a:lnTo>
                  <a:lnTo>
                    <a:pt x="429" y="290"/>
                  </a:lnTo>
                  <a:lnTo>
                    <a:pt x="429" y="292"/>
                  </a:lnTo>
                  <a:lnTo>
                    <a:pt x="427" y="292"/>
                  </a:lnTo>
                  <a:lnTo>
                    <a:pt x="427" y="295"/>
                  </a:lnTo>
                  <a:lnTo>
                    <a:pt x="424" y="295"/>
                  </a:lnTo>
                  <a:lnTo>
                    <a:pt x="422" y="295"/>
                  </a:lnTo>
                  <a:lnTo>
                    <a:pt x="420" y="295"/>
                  </a:lnTo>
                  <a:lnTo>
                    <a:pt x="420" y="297"/>
                  </a:lnTo>
                  <a:lnTo>
                    <a:pt x="417" y="297"/>
                  </a:lnTo>
                  <a:lnTo>
                    <a:pt x="417" y="299"/>
                  </a:lnTo>
                  <a:lnTo>
                    <a:pt x="420" y="302"/>
                  </a:lnTo>
                  <a:lnTo>
                    <a:pt x="420" y="304"/>
                  </a:lnTo>
                  <a:lnTo>
                    <a:pt x="420" y="307"/>
                  </a:lnTo>
                  <a:lnTo>
                    <a:pt x="420" y="309"/>
                  </a:lnTo>
                  <a:lnTo>
                    <a:pt x="420" y="311"/>
                  </a:lnTo>
                  <a:lnTo>
                    <a:pt x="422" y="314"/>
                  </a:lnTo>
                  <a:lnTo>
                    <a:pt x="422" y="316"/>
                  </a:lnTo>
                  <a:lnTo>
                    <a:pt x="424" y="318"/>
                  </a:lnTo>
                  <a:lnTo>
                    <a:pt x="424" y="321"/>
                  </a:lnTo>
                  <a:lnTo>
                    <a:pt x="427" y="323"/>
                  </a:lnTo>
                  <a:lnTo>
                    <a:pt x="427" y="326"/>
                  </a:lnTo>
                  <a:lnTo>
                    <a:pt x="429" y="326"/>
                  </a:lnTo>
                  <a:lnTo>
                    <a:pt x="429" y="328"/>
                  </a:lnTo>
                  <a:lnTo>
                    <a:pt x="431" y="328"/>
                  </a:lnTo>
                  <a:lnTo>
                    <a:pt x="431" y="330"/>
                  </a:lnTo>
                  <a:lnTo>
                    <a:pt x="431" y="333"/>
                  </a:lnTo>
                  <a:lnTo>
                    <a:pt x="434" y="333"/>
                  </a:lnTo>
                  <a:lnTo>
                    <a:pt x="434" y="335"/>
                  </a:lnTo>
                  <a:lnTo>
                    <a:pt x="436" y="337"/>
                  </a:lnTo>
                  <a:lnTo>
                    <a:pt x="439" y="337"/>
                  </a:lnTo>
                  <a:lnTo>
                    <a:pt x="439" y="340"/>
                  </a:lnTo>
                  <a:lnTo>
                    <a:pt x="441" y="340"/>
                  </a:lnTo>
                  <a:lnTo>
                    <a:pt x="443" y="340"/>
                  </a:lnTo>
                  <a:lnTo>
                    <a:pt x="446" y="340"/>
                  </a:lnTo>
                  <a:lnTo>
                    <a:pt x="446" y="337"/>
                  </a:lnTo>
                  <a:lnTo>
                    <a:pt x="448" y="337"/>
                  </a:lnTo>
                  <a:lnTo>
                    <a:pt x="450" y="335"/>
                  </a:lnTo>
                  <a:lnTo>
                    <a:pt x="448" y="335"/>
                  </a:lnTo>
                  <a:lnTo>
                    <a:pt x="450" y="335"/>
                  </a:lnTo>
                  <a:lnTo>
                    <a:pt x="450" y="333"/>
                  </a:lnTo>
                  <a:lnTo>
                    <a:pt x="453" y="333"/>
                  </a:lnTo>
                  <a:lnTo>
                    <a:pt x="453" y="335"/>
                  </a:lnTo>
                  <a:lnTo>
                    <a:pt x="455" y="335"/>
                  </a:lnTo>
                  <a:lnTo>
                    <a:pt x="455" y="337"/>
                  </a:lnTo>
                  <a:lnTo>
                    <a:pt x="458" y="337"/>
                  </a:lnTo>
                  <a:lnTo>
                    <a:pt x="458" y="335"/>
                  </a:lnTo>
                  <a:lnTo>
                    <a:pt x="460" y="335"/>
                  </a:lnTo>
                  <a:lnTo>
                    <a:pt x="460" y="333"/>
                  </a:lnTo>
                  <a:lnTo>
                    <a:pt x="462" y="333"/>
                  </a:lnTo>
                  <a:lnTo>
                    <a:pt x="465" y="333"/>
                  </a:lnTo>
                  <a:lnTo>
                    <a:pt x="465" y="330"/>
                  </a:lnTo>
                  <a:lnTo>
                    <a:pt x="465" y="333"/>
                  </a:lnTo>
                  <a:lnTo>
                    <a:pt x="465" y="330"/>
                  </a:lnTo>
                  <a:lnTo>
                    <a:pt x="467" y="330"/>
                  </a:lnTo>
                  <a:lnTo>
                    <a:pt x="467" y="333"/>
                  </a:lnTo>
                  <a:lnTo>
                    <a:pt x="469" y="333"/>
                  </a:lnTo>
                  <a:lnTo>
                    <a:pt x="469" y="330"/>
                  </a:lnTo>
                  <a:lnTo>
                    <a:pt x="469" y="333"/>
                  </a:lnTo>
                  <a:lnTo>
                    <a:pt x="472" y="333"/>
                  </a:lnTo>
                  <a:lnTo>
                    <a:pt x="474" y="333"/>
                  </a:lnTo>
                  <a:lnTo>
                    <a:pt x="477" y="335"/>
                  </a:lnTo>
                  <a:lnTo>
                    <a:pt x="477" y="333"/>
                  </a:lnTo>
                  <a:lnTo>
                    <a:pt x="477" y="335"/>
                  </a:lnTo>
                  <a:lnTo>
                    <a:pt x="479" y="335"/>
                  </a:lnTo>
                  <a:lnTo>
                    <a:pt x="479" y="337"/>
                  </a:lnTo>
                  <a:lnTo>
                    <a:pt x="477" y="337"/>
                  </a:lnTo>
                  <a:lnTo>
                    <a:pt x="474" y="337"/>
                  </a:lnTo>
                  <a:lnTo>
                    <a:pt x="472" y="337"/>
                  </a:lnTo>
                  <a:lnTo>
                    <a:pt x="474" y="337"/>
                  </a:lnTo>
                  <a:lnTo>
                    <a:pt x="472" y="337"/>
                  </a:lnTo>
                  <a:lnTo>
                    <a:pt x="472" y="340"/>
                  </a:lnTo>
                  <a:lnTo>
                    <a:pt x="474" y="340"/>
                  </a:lnTo>
                  <a:lnTo>
                    <a:pt x="472" y="340"/>
                  </a:lnTo>
                  <a:lnTo>
                    <a:pt x="472" y="342"/>
                  </a:lnTo>
                  <a:lnTo>
                    <a:pt x="472" y="340"/>
                  </a:lnTo>
                  <a:lnTo>
                    <a:pt x="472" y="342"/>
                  </a:lnTo>
                  <a:lnTo>
                    <a:pt x="469" y="345"/>
                  </a:lnTo>
                  <a:lnTo>
                    <a:pt x="472" y="347"/>
                  </a:lnTo>
                  <a:lnTo>
                    <a:pt x="472" y="349"/>
                  </a:lnTo>
                  <a:lnTo>
                    <a:pt x="469" y="349"/>
                  </a:lnTo>
                  <a:lnTo>
                    <a:pt x="469" y="352"/>
                  </a:lnTo>
                  <a:lnTo>
                    <a:pt x="467" y="352"/>
                  </a:lnTo>
                  <a:lnTo>
                    <a:pt x="465" y="352"/>
                  </a:lnTo>
                  <a:lnTo>
                    <a:pt x="462" y="352"/>
                  </a:lnTo>
                  <a:lnTo>
                    <a:pt x="460" y="352"/>
                  </a:lnTo>
                  <a:lnTo>
                    <a:pt x="458" y="352"/>
                  </a:lnTo>
                  <a:lnTo>
                    <a:pt x="455" y="354"/>
                  </a:lnTo>
                  <a:lnTo>
                    <a:pt x="455" y="352"/>
                  </a:lnTo>
                  <a:lnTo>
                    <a:pt x="453" y="354"/>
                  </a:lnTo>
                  <a:lnTo>
                    <a:pt x="450" y="354"/>
                  </a:lnTo>
                  <a:lnTo>
                    <a:pt x="453" y="354"/>
                  </a:lnTo>
                  <a:lnTo>
                    <a:pt x="450" y="352"/>
                  </a:lnTo>
                  <a:lnTo>
                    <a:pt x="448" y="349"/>
                  </a:lnTo>
                  <a:lnTo>
                    <a:pt x="446" y="349"/>
                  </a:lnTo>
                  <a:lnTo>
                    <a:pt x="446" y="347"/>
                  </a:lnTo>
                  <a:lnTo>
                    <a:pt x="443" y="347"/>
                  </a:lnTo>
                  <a:lnTo>
                    <a:pt x="441" y="347"/>
                  </a:lnTo>
                  <a:lnTo>
                    <a:pt x="441" y="349"/>
                  </a:lnTo>
                  <a:lnTo>
                    <a:pt x="439" y="349"/>
                  </a:lnTo>
                  <a:lnTo>
                    <a:pt x="439" y="352"/>
                  </a:lnTo>
                  <a:lnTo>
                    <a:pt x="436" y="352"/>
                  </a:lnTo>
                  <a:lnTo>
                    <a:pt x="439" y="352"/>
                  </a:lnTo>
                  <a:lnTo>
                    <a:pt x="439" y="354"/>
                  </a:lnTo>
                  <a:lnTo>
                    <a:pt x="436" y="354"/>
                  </a:lnTo>
                  <a:lnTo>
                    <a:pt x="436" y="356"/>
                  </a:lnTo>
                  <a:lnTo>
                    <a:pt x="434" y="356"/>
                  </a:lnTo>
                  <a:lnTo>
                    <a:pt x="434" y="354"/>
                  </a:lnTo>
                  <a:lnTo>
                    <a:pt x="434" y="356"/>
                  </a:lnTo>
                  <a:lnTo>
                    <a:pt x="434" y="354"/>
                  </a:lnTo>
                  <a:lnTo>
                    <a:pt x="431" y="356"/>
                  </a:lnTo>
                  <a:lnTo>
                    <a:pt x="431" y="359"/>
                  </a:lnTo>
                  <a:lnTo>
                    <a:pt x="429" y="359"/>
                  </a:lnTo>
                  <a:lnTo>
                    <a:pt x="429" y="361"/>
                  </a:lnTo>
                  <a:lnTo>
                    <a:pt x="427" y="364"/>
                  </a:lnTo>
                  <a:lnTo>
                    <a:pt x="427" y="361"/>
                  </a:lnTo>
                  <a:lnTo>
                    <a:pt x="424" y="361"/>
                  </a:lnTo>
                  <a:lnTo>
                    <a:pt x="422" y="361"/>
                  </a:lnTo>
                  <a:lnTo>
                    <a:pt x="420" y="361"/>
                  </a:lnTo>
                  <a:lnTo>
                    <a:pt x="417" y="361"/>
                  </a:lnTo>
                  <a:lnTo>
                    <a:pt x="415" y="364"/>
                  </a:lnTo>
                  <a:lnTo>
                    <a:pt x="412" y="364"/>
                  </a:lnTo>
                  <a:lnTo>
                    <a:pt x="410" y="364"/>
                  </a:lnTo>
                  <a:lnTo>
                    <a:pt x="410" y="366"/>
                  </a:lnTo>
                  <a:lnTo>
                    <a:pt x="408" y="366"/>
                  </a:lnTo>
                  <a:lnTo>
                    <a:pt x="405" y="366"/>
                  </a:lnTo>
                  <a:lnTo>
                    <a:pt x="405" y="368"/>
                  </a:lnTo>
                  <a:lnTo>
                    <a:pt x="405" y="371"/>
                  </a:lnTo>
                  <a:lnTo>
                    <a:pt x="403" y="371"/>
                  </a:lnTo>
                  <a:lnTo>
                    <a:pt x="403" y="373"/>
                  </a:lnTo>
                  <a:lnTo>
                    <a:pt x="403" y="375"/>
                  </a:lnTo>
                  <a:lnTo>
                    <a:pt x="401" y="375"/>
                  </a:lnTo>
                  <a:lnTo>
                    <a:pt x="401" y="378"/>
                  </a:lnTo>
                  <a:lnTo>
                    <a:pt x="398" y="378"/>
                  </a:lnTo>
                  <a:lnTo>
                    <a:pt x="396" y="378"/>
                  </a:lnTo>
                  <a:lnTo>
                    <a:pt x="396" y="380"/>
                  </a:lnTo>
                  <a:lnTo>
                    <a:pt x="393" y="380"/>
                  </a:lnTo>
                  <a:lnTo>
                    <a:pt x="393" y="383"/>
                  </a:lnTo>
                  <a:lnTo>
                    <a:pt x="391" y="383"/>
                  </a:lnTo>
                  <a:lnTo>
                    <a:pt x="391" y="380"/>
                  </a:lnTo>
                  <a:lnTo>
                    <a:pt x="391" y="383"/>
                  </a:lnTo>
                  <a:lnTo>
                    <a:pt x="389" y="383"/>
                  </a:lnTo>
                  <a:lnTo>
                    <a:pt x="386" y="383"/>
                  </a:lnTo>
                  <a:lnTo>
                    <a:pt x="386" y="380"/>
                  </a:lnTo>
                  <a:lnTo>
                    <a:pt x="386" y="383"/>
                  </a:lnTo>
                  <a:lnTo>
                    <a:pt x="384" y="383"/>
                  </a:lnTo>
                  <a:lnTo>
                    <a:pt x="382" y="383"/>
                  </a:lnTo>
                  <a:lnTo>
                    <a:pt x="382" y="380"/>
                  </a:lnTo>
                  <a:lnTo>
                    <a:pt x="379" y="380"/>
                  </a:lnTo>
                  <a:lnTo>
                    <a:pt x="379" y="378"/>
                  </a:lnTo>
                  <a:lnTo>
                    <a:pt x="377" y="378"/>
                  </a:lnTo>
                  <a:lnTo>
                    <a:pt x="375" y="378"/>
                  </a:lnTo>
                  <a:lnTo>
                    <a:pt x="375" y="375"/>
                  </a:lnTo>
                  <a:lnTo>
                    <a:pt x="372" y="375"/>
                  </a:lnTo>
                  <a:lnTo>
                    <a:pt x="372" y="373"/>
                  </a:lnTo>
                  <a:lnTo>
                    <a:pt x="370" y="373"/>
                  </a:lnTo>
                  <a:lnTo>
                    <a:pt x="372" y="373"/>
                  </a:lnTo>
                  <a:lnTo>
                    <a:pt x="375" y="373"/>
                  </a:lnTo>
                  <a:lnTo>
                    <a:pt x="375" y="371"/>
                  </a:lnTo>
                  <a:lnTo>
                    <a:pt x="375" y="373"/>
                  </a:lnTo>
                  <a:lnTo>
                    <a:pt x="375" y="371"/>
                  </a:lnTo>
                  <a:lnTo>
                    <a:pt x="375" y="373"/>
                  </a:lnTo>
                  <a:lnTo>
                    <a:pt x="375" y="371"/>
                  </a:lnTo>
                  <a:lnTo>
                    <a:pt x="375" y="373"/>
                  </a:lnTo>
                  <a:lnTo>
                    <a:pt x="375" y="371"/>
                  </a:lnTo>
                  <a:lnTo>
                    <a:pt x="377" y="371"/>
                  </a:lnTo>
                  <a:lnTo>
                    <a:pt x="375" y="373"/>
                  </a:lnTo>
                  <a:lnTo>
                    <a:pt x="377" y="373"/>
                  </a:lnTo>
                  <a:lnTo>
                    <a:pt x="375" y="373"/>
                  </a:lnTo>
                  <a:lnTo>
                    <a:pt x="377" y="373"/>
                  </a:lnTo>
                  <a:lnTo>
                    <a:pt x="377" y="371"/>
                  </a:lnTo>
                  <a:lnTo>
                    <a:pt x="375" y="371"/>
                  </a:lnTo>
                  <a:lnTo>
                    <a:pt x="377" y="371"/>
                  </a:lnTo>
                  <a:lnTo>
                    <a:pt x="377" y="368"/>
                  </a:lnTo>
                  <a:lnTo>
                    <a:pt x="377" y="366"/>
                  </a:lnTo>
                  <a:lnTo>
                    <a:pt x="377" y="364"/>
                  </a:lnTo>
                  <a:lnTo>
                    <a:pt x="377" y="361"/>
                  </a:lnTo>
                  <a:lnTo>
                    <a:pt x="379" y="361"/>
                  </a:lnTo>
                  <a:lnTo>
                    <a:pt x="379" y="359"/>
                  </a:lnTo>
                  <a:lnTo>
                    <a:pt x="379" y="356"/>
                  </a:lnTo>
                  <a:lnTo>
                    <a:pt x="377" y="354"/>
                  </a:lnTo>
                  <a:lnTo>
                    <a:pt x="379" y="354"/>
                  </a:lnTo>
                  <a:lnTo>
                    <a:pt x="377" y="354"/>
                  </a:lnTo>
                  <a:lnTo>
                    <a:pt x="377" y="352"/>
                  </a:lnTo>
                  <a:lnTo>
                    <a:pt x="377" y="349"/>
                  </a:lnTo>
                  <a:lnTo>
                    <a:pt x="375" y="347"/>
                  </a:lnTo>
                  <a:lnTo>
                    <a:pt x="375" y="345"/>
                  </a:lnTo>
                  <a:lnTo>
                    <a:pt x="372" y="345"/>
                  </a:lnTo>
                  <a:lnTo>
                    <a:pt x="370" y="345"/>
                  </a:lnTo>
                  <a:lnTo>
                    <a:pt x="367" y="345"/>
                  </a:lnTo>
                  <a:lnTo>
                    <a:pt x="367" y="347"/>
                  </a:lnTo>
                  <a:lnTo>
                    <a:pt x="365" y="345"/>
                  </a:lnTo>
                  <a:lnTo>
                    <a:pt x="363" y="345"/>
                  </a:lnTo>
                  <a:lnTo>
                    <a:pt x="363" y="342"/>
                  </a:lnTo>
                  <a:lnTo>
                    <a:pt x="360" y="342"/>
                  </a:lnTo>
                  <a:lnTo>
                    <a:pt x="360" y="340"/>
                  </a:lnTo>
                  <a:lnTo>
                    <a:pt x="358" y="340"/>
                  </a:lnTo>
                  <a:lnTo>
                    <a:pt x="358" y="337"/>
                  </a:lnTo>
                  <a:lnTo>
                    <a:pt x="358" y="340"/>
                  </a:lnTo>
                  <a:lnTo>
                    <a:pt x="360" y="340"/>
                  </a:lnTo>
                  <a:lnTo>
                    <a:pt x="360" y="337"/>
                  </a:lnTo>
                  <a:lnTo>
                    <a:pt x="360" y="335"/>
                  </a:lnTo>
                  <a:lnTo>
                    <a:pt x="360" y="337"/>
                  </a:lnTo>
                  <a:lnTo>
                    <a:pt x="360" y="335"/>
                  </a:lnTo>
                  <a:lnTo>
                    <a:pt x="360" y="337"/>
                  </a:lnTo>
                  <a:lnTo>
                    <a:pt x="363" y="337"/>
                  </a:lnTo>
                  <a:lnTo>
                    <a:pt x="363" y="335"/>
                  </a:lnTo>
                  <a:lnTo>
                    <a:pt x="363" y="333"/>
                  </a:lnTo>
                  <a:lnTo>
                    <a:pt x="365" y="333"/>
                  </a:lnTo>
                  <a:lnTo>
                    <a:pt x="363" y="333"/>
                  </a:lnTo>
                  <a:lnTo>
                    <a:pt x="363" y="335"/>
                  </a:lnTo>
                  <a:lnTo>
                    <a:pt x="360" y="335"/>
                  </a:lnTo>
                  <a:lnTo>
                    <a:pt x="360" y="337"/>
                  </a:lnTo>
                  <a:lnTo>
                    <a:pt x="358" y="337"/>
                  </a:lnTo>
                  <a:lnTo>
                    <a:pt x="356" y="337"/>
                  </a:lnTo>
                  <a:lnTo>
                    <a:pt x="358" y="337"/>
                  </a:lnTo>
                  <a:lnTo>
                    <a:pt x="356" y="337"/>
                  </a:lnTo>
                  <a:lnTo>
                    <a:pt x="353" y="337"/>
                  </a:lnTo>
                  <a:lnTo>
                    <a:pt x="351" y="337"/>
                  </a:lnTo>
                  <a:lnTo>
                    <a:pt x="348" y="337"/>
                  </a:lnTo>
                  <a:lnTo>
                    <a:pt x="348" y="340"/>
                  </a:lnTo>
                  <a:lnTo>
                    <a:pt x="346" y="340"/>
                  </a:lnTo>
                  <a:lnTo>
                    <a:pt x="346" y="337"/>
                  </a:lnTo>
                  <a:lnTo>
                    <a:pt x="344" y="337"/>
                  </a:lnTo>
                  <a:lnTo>
                    <a:pt x="341" y="337"/>
                  </a:lnTo>
                  <a:lnTo>
                    <a:pt x="341" y="335"/>
                  </a:lnTo>
                  <a:lnTo>
                    <a:pt x="344" y="333"/>
                  </a:lnTo>
                  <a:lnTo>
                    <a:pt x="344" y="330"/>
                  </a:lnTo>
                  <a:lnTo>
                    <a:pt x="346" y="330"/>
                  </a:lnTo>
                  <a:lnTo>
                    <a:pt x="348" y="330"/>
                  </a:lnTo>
                  <a:lnTo>
                    <a:pt x="348" y="328"/>
                  </a:lnTo>
                  <a:lnTo>
                    <a:pt x="351" y="328"/>
                  </a:lnTo>
                  <a:lnTo>
                    <a:pt x="353" y="328"/>
                  </a:lnTo>
                  <a:lnTo>
                    <a:pt x="351" y="328"/>
                  </a:lnTo>
                  <a:lnTo>
                    <a:pt x="353" y="328"/>
                  </a:lnTo>
                  <a:lnTo>
                    <a:pt x="353" y="326"/>
                  </a:lnTo>
                  <a:lnTo>
                    <a:pt x="356" y="326"/>
                  </a:lnTo>
                  <a:lnTo>
                    <a:pt x="356" y="323"/>
                  </a:lnTo>
                  <a:lnTo>
                    <a:pt x="358" y="323"/>
                  </a:lnTo>
                  <a:lnTo>
                    <a:pt x="358" y="321"/>
                  </a:lnTo>
                  <a:lnTo>
                    <a:pt x="360" y="321"/>
                  </a:lnTo>
                  <a:lnTo>
                    <a:pt x="363" y="321"/>
                  </a:lnTo>
                  <a:lnTo>
                    <a:pt x="363" y="318"/>
                  </a:lnTo>
                  <a:lnTo>
                    <a:pt x="363" y="316"/>
                  </a:lnTo>
                  <a:lnTo>
                    <a:pt x="365" y="318"/>
                  </a:lnTo>
                  <a:lnTo>
                    <a:pt x="367" y="318"/>
                  </a:lnTo>
                  <a:lnTo>
                    <a:pt x="370" y="318"/>
                  </a:lnTo>
                  <a:lnTo>
                    <a:pt x="370" y="316"/>
                  </a:lnTo>
                  <a:lnTo>
                    <a:pt x="372" y="316"/>
                  </a:lnTo>
                  <a:lnTo>
                    <a:pt x="372" y="314"/>
                  </a:lnTo>
                  <a:lnTo>
                    <a:pt x="375" y="314"/>
                  </a:lnTo>
                  <a:lnTo>
                    <a:pt x="377" y="314"/>
                  </a:lnTo>
                  <a:lnTo>
                    <a:pt x="377" y="311"/>
                  </a:lnTo>
                  <a:lnTo>
                    <a:pt x="379" y="311"/>
                  </a:lnTo>
                  <a:lnTo>
                    <a:pt x="379" y="314"/>
                  </a:lnTo>
                  <a:lnTo>
                    <a:pt x="382" y="314"/>
                  </a:lnTo>
                  <a:lnTo>
                    <a:pt x="382" y="311"/>
                  </a:lnTo>
                  <a:lnTo>
                    <a:pt x="384" y="311"/>
                  </a:lnTo>
                  <a:lnTo>
                    <a:pt x="384" y="309"/>
                  </a:lnTo>
                  <a:lnTo>
                    <a:pt x="384" y="311"/>
                  </a:lnTo>
                  <a:lnTo>
                    <a:pt x="384" y="309"/>
                  </a:lnTo>
                  <a:lnTo>
                    <a:pt x="382" y="309"/>
                  </a:lnTo>
                  <a:lnTo>
                    <a:pt x="379" y="309"/>
                  </a:lnTo>
                  <a:lnTo>
                    <a:pt x="379" y="307"/>
                  </a:lnTo>
                  <a:lnTo>
                    <a:pt x="379" y="304"/>
                  </a:lnTo>
                  <a:lnTo>
                    <a:pt x="379" y="302"/>
                  </a:lnTo>
                  <a:lnTo>
                    <a:pt x="379" y="299"/>
                  </a:lnTo>
                  <a:lnTo>
                    <a:pt x="377" y="299"/>
                  </a:lnTo>
                  <a:lnTo>
                    <a:pt x="377" y="302"/>
                  </a:lnTo>
                  <a:lnTo>
                    <a:pt x="375" y="302"/>
                  </a:lnTo>
                  <a:lnTo>
                    <a:pt x="377" y="302"/>
                  </a:lnTo>
                  <a:lnTo>
                    <a:pt x="377" y="304"/>
                  </a:lnTo>
                  <a:lnTo>
                    <a:pt x="375" y="304"/>
                  </a:lnTo>
                  <a:lnTo>
                    <a:pt x="375" y="307"/>
                  </a:lnTo>
                  <a:lnTo>
                    <a:pt x="375" y="304"/>
                  </a:lnTo>
                  <a:lnTo>
                    <a:pt x="375" y="307"/>
                  </a:lnTo>
                  <a:lnTo>
                    <a:pt x="375" y="304"/>
                  </a:lnTo>
                  <a:lnTo>
                    <a:pt x="372" y="304"/>
                  </a:lnTo>
                  <a:lnTo>
                    <a:pt x="372" y="307"/>
                  </a:lnTo>
                  <a:lnTo>
                    <a:pt x="372" y="304"/>
                  </a:lnTo>
                  <a:lnTo>
                    <a:pt x="370" y="304"/>
                  </a:lnTo>
                  <a:lnTo>
                    <a:pt x="370" y="302"/>
                  </a:lnTo>
                  <a:lnTo>
                    <a:pt x="367" y="302"/>
                  </a:lnTo>
                  <a:lnTo>
                    <a:pt x="367" y="304"/>
                  </a:lnTo>
                  <a:lnTo>
                    <a:pt x="370" y="304"/>
                  </a:lnTo>
                  <a:lnTo>
                    <a:pt x="367" y="304"/>
                  </a:lnTo>
                  <a:lnTo>
                    <a:pt x="367" y="302"/>
                  </a:lnTo>
                  <a:lnTo>
                    <a:pt x="367" y="299"/>
                  </a:lnTo>
                  <a:lnTo>
                    <a:pt x="365" y="299"/>
                  </a:lnTo>
                  <a:lnTo>
                    <a:pt x="365" y="302"/>
                  </a:lnTo>
                  <a:lnTo>
                    <a:pt x="365" y="299"/>
                  </a:lnTo>
                  <a:lnTo>
                    <a:pt x="365" y="297"/>
                  </a:lnTo>
                  <a:lnTo>
                    <a:pt x="365" y="299"/>
                  </a:lnTo>
                  <a:lnTo>
                    <a:pt x="363" y="299"/>
                  </a:lnTo>
                  <a:lnTo>
                    <a:pt x="363" y="302"/>
                  </a:lnTo>
                  <a:lnTo>
                    <a:pt x="363" y="299"/>
                  </a:lnTo>
                  <a:lnTo>
                    <a:pt x="360" y="302"/>
                  </a:lnTo>
                  <a:lnTo>
                    <a:pt x="360" y="299"/>
                  </a:lnTo>
                  <a:lnTo>
                    <a:pt x="358" y="299"/>
                  </a:lnTo>
                  <a:lnTo>
                    <a:pt x="360" y="299"/>
                  </a:lnTo>
                  <a:lnTo>
                    <a:pt x="358" y="302"/>
                  </a:lnTo>
                  <a:lnTo>
                    <a:pt x="360" y="302"/>
                  </a:lnTo>
                  <a:lnTo>
                    <a:pt x="358" y="302"/>
                  </a:lnTo>
                  <a:lnTo>
                    <a:pt x="356" y="302"/>
                  </a:lnTo>
                  <a:lnTo>
                    <a:pt x="353" y="302"/>
                  </a:lnTo>
                  <a:lnTo>
                    <a:pt x="351" y="302"/>
                  </a:lnTo>
                  <a:lnTo>
                    <a:pt x="348" y="302"/>
                  </a:lnTo>
                  <a:lnTo>
                    <a:pt x="346" y="302"/>
                  </a:lnTo>
                  <a:lnTo>
                    <a:pt x="344" y="302"/>
                  </a:lnTo>
                  <a:lnTo>
                    <a:pt x="344" y="304"/>
                  </a:lnTo>
                  <a:lnTo>
                    <a:pt x="341" y="304"/>
                  </a:lnTo>
                  <a:lnTo>
                    <a:pt x="341" y="302"/>
                  </a:lnTo>
                  <a:lnTo>
                    <a:pt x="339" y="302"/>
                  </a:lnTo>
                  <a:lnTo>
                    <a:pt x="337" y="302"/>
                  </a:lnTo>
                  <a:lnTo>
                    <a:pt x="334" y="302"/>
                  </a:lnTo>
                  <a:lnTo>
                    <a:pt x="332" y="299"/>
                  </a:lnTo>
                  <a:lnTo>
                    <a:pt x="329" y="299"/>
                  </a:lnTo>
                  <a:lnTo>
                    <a:pt x="327" y="299"/>
                  </a:lnTo>
                  <a:lnTo>
                    <a:pt x="329" y="299"/>
                  </a:lnTo>
                  <a:lnTo>
                    <a:pt x="332" y="299"/>
                  </a:lnTo>
                  <a:lnTo>
                    <a:pt x="334" y="299"/>
                  </a:lnTo>
                  <a:lnTo>
                    <a:pt x="332" y="299"/>
                  </a:lnTo>
                  <a:lnTo>
                    <a:pt x="334" y="299"/>
                  </a:lnTo>
                  <a:lnTo>
                    <a:pt x="334" y="297"/>
                  </a:lnTo>
                  <a:lnTo>
                    <a:pt x="332" y="297"/>
                  </a:lnTo>
                  <a:lnTo>
                    <a:pt x="332" y="299"/>
                  </a:lnTo>
                  <a:lnTo>
                    <a:pt x="332" y="297"/>
                  </a:lnTo>
                  <a:lnTo>
                    <a:pt x="332" y="299"/>
                  </a:lnTo>
                  <a:lnTo>
                    <a:pt x="332" y="297"/>
                  </a:lnTo>
                  <a:lnTo>
                    <a:pt x="329" y="297"/>
                  </a:lnTo>
                  <a:lnTo>
                    <a:pt x="327" y="297"/>
                  </a:lnTo>
                  <a:lnTo>
                    <a:pt x="327" y="295"/>
                  </a:lnTo>
                  <a:lnTo>
                    <a:pt x="325" y="295"/>
                  </a:lnTo>
                  <a:lnTo>
                    <a:pt x="327" y="295"/>
                  </a:lnTo>
                  <a:lnTo>
                    <a:pt x="325" y="295"/>
                  </a:lnTo>
                  <a:lnTo>
                    <a:pt x="327" y="295"/>
                  </a:lnTo>
                  <a:lnTo>
                    <a:pt x="325" y="295"/>
                  </a:lnTo>
                  <a:lnTo>
                    <a:pt x="322" y="292"/>
                  </a:lnTo>
                  <a:lnTo>
                    <a:pt x="322" y="295"/>
                  </a:lnTo>
                  <a:lnTo>
                    <a:pt x="320" y="295"/>
                  </a:lnTo>
                  <a:lnTo>
                    <a:pt x="318" y="295"/>
                  </a:lnTo>
                  <a:lnTo>
                    <a:pt x="318" y="292"/>
                  </a:lnTo>
                  <a:lnTo>
                    <a:pt x="320" y="292"/>
                  </a:lnTo>
                  <a:lnTo>
                    <a:pt x="320" y="290"/>
                  </a:lnTo>
                  <a:lnTo>
                    <a:pt x="320" y="292"/>
                  </a:lnTo>
                  <a:lnTo>
                    <a:pt x="322" y="292"/>
                  </a:lnTo>
                  <a:lnTo>
                    <a:pt x="322" y="290"/>
                  </a:lnTo>
                  <a:lnTo>
                    <a:pt x="322" y="292"/>
                  </a:lnTo>
                  <a:lnTo>
                    <a:pt x="322" y="290"/>
                  </a:lnTo>
                  <a:lnTo>
                    <a:pt x="322" y="292"/>
                  </a:lnTo>
                  <a:lnTo>
                    <a:pt x="322" y="290"/>
                  </a:lnTo>
                  <a:lnTo>
                    <a:pt x="325" y="290"/>
                  </a:lnTo>
                  <a:lnTo>
                    <a:pt x="327" y="290"/>
                  </a:lnTo>
                  <a:lnTo>
                    <a:pt x="327" y="288"/>
                  </a:lnTo>
                  <a:lnTo>
                    <a:pt x="327" y="285"/>
                  </a:lnTo>
                  <a:lnTo>
                    <a:pt x="325" y="285"/>
                  </a:lnTo>
                  <a:lnTo>
                    <a:pt x="322" y="285"/>
                  </a:lnTo>
                  <a:lnTo>
                    <a:pt x="325" y="285"/>
                  </a:lnTo>
                  <a:lnTo>
                    <a:pt x="322" y="285"/>
                  </a:lnTo>
                  <a:lnTo>
                    <a:pt x="325" y="285"/>
                  </a:lnTo>
                  <a:lnTo>
                    <a:pt x="322" y="285"/>
                  </a:lnTo>
                  <a:lnTo>
                    <a:pt x="318" y="285"/>
                  </a:lnTo>
                  <a:lnTo>
                    <a:pt x="318" y="283"/>
                  </a:lnTo>
                  <a:lnTo>
                    <a:pt x="315" y="285"/>
                  </a:lnTo>
                  <a:lnTo>
                    <a:pt x="315" y="288"/>
                  </a:lnTo>
                  <a:lnTo>
                    <a:pt x="315" y="285"/>
                  </a:lnTo>
                  <a:lnTo>
                    <a:pt x="313" y="285"/>
                  </a:lnTo>
                  <a:lnTo>
                    <a:pt x="313" y="283"/>
                  </a:lnTo>
                  <a:lnTo>
                    <a:pt x="310" y="283"/>
                  </a:lnTo>
                  <a:lnTo>
                    <a:pt x="310" y="280"/>
                  </a:lnTo>
                  <a:lnTo>
                    <a:pt x="308" y="280"/>
                  </a:lnTo>
                  <a:lnTo>
                    <a:pt x="310" y="280"/>
                  </a:lnTo>
                  <a:lnTo>
                    <a:pt x="313" y="280"/>
                  </a:lnTo>
                  <a:lnTo>
                    <a:pt x="315" y="280"/>
                  </a:lnTo>
                  <a:lnTo>
                    <a:pt x="318" y="280"/>
                  </a:lnTo>
                  <a:lnTo>
                    <a:pt x="318" y="283"/>
                  </a:lnTo>
                  <a:lnTo>
                    <a:pt x="320" y="283"/>
                  </a:lnTo>
                  <a:lnTo>
                    <a:pt x="322" y="283"/>
                  </a:lnTo>
                  <a:lnTo>
                    <a:pt x="325" y="283"/>
                  </a:lnTo>
                  <a:lnTo>
                    <a:pt x="327" y="283"/>
                  </a:lnTo>
                  <a:lnTo>
                    <a:pt x="329" y="283"/>
                  </a:lnTo>
                  <a:lnTo>
                    <a:pt x="332" y="283"/>
                  </a:lnTo>
                  <a:lnTo>
                    <a:pt x="332" y="285"/>
                  </a:lnTo>
                  <a:lnTo>
                    <a:pt x="334" y="285"/>
                  </a:lnTo>
                  <a:lnTo>
                    <a:pt x="337" y="285"/>
                  </a:lnTo>
                  <a:lnTo>
                    <a:pt x="339" y="285"/>
                  </a:lnTo>
                  <a:lnTo>
                    <a:pt x="339" y="283"/>
                  </a:lnTo>
                  <a:lnTo>
                    <a:pt x="337" y="283"/>
                  </a:lnTo>
                  <a:lnTo>
                    <a:pt x="337" y="285"/>
                  </a:lnTo>
                  <a:lnTo>
                    <a:pt x="334" y="285"/>
                  </a:lnTo>
                  <a:lnTo>
                    <a:pt x="334" y="283"/>
                  </a:lnTo>
                  <a:lnTo>
                    <a:pt x="337" y="283"/>
                  </a:lnTo>
                  <a:lnTo>
                    <a:pt x="339" y="283"/>
                  </a:lnTo>
                  <a:lnTo>
                    <a:pt x="341" y="283"/>
                  </a:lnTo>
                  <a:lnTo>
                    <a:pt x="341" y="280"/>
                  </a:lnTo>
                  <a:lnTo>
                    <a:pt x="344" y="280"/>
                  </a:lnTo>
                  <a:lnTo>
                    <a:pt x="344" y="278"/>
                  </a:lnTo>
                  <a:lnTo>
                    <a:pt x="346" y="278"/>
                  </a:lnTo>
                  <a:lnTo>
                    <a:pt x="346" y="276"/>
                  </a:lnTo>
                  <a:lnTo>
                    <a:pt x="348" y="276"/>
                  </a:lnTo>
                  <a:lnTo>
                    <a:pt x="351" y="276"/>
                  </a:lnTo>
                  <a:lnTo>
                    <a:pt x="353" y="276"/>
                  </a:lnTo>
                  <a:lnTo>
                    <a:pt x="353" y="273"/>
                  </a:lnTo>
                  <a:lnTo>
                    <a:pt x="356" y="273"/>
                  </a:lnTo>
                  <a:lnTo>
                    <a:pt x="358" y="271"/>
                  </a:lnTo>
                  <a:lnTo>
                    <a:pt x="358" y="273"/>
                  </a:lnTo>
                  <a:lnTo>
                    <a:pt x="360" y="271"/>
                  </a:lnTo>
                  <a:lnTo>
                    <a:pt x="363" y="271"/>
                  </a:lnTo>
                  <a:lnTo>
                    <a:pt x="365" y="271"/>
                  </a:lnTo>
                  <a:lnTo>
                    <a:pt x="367" y="271"/>
                  </a:lnTo>
                  <a:lnTo>
                    <a:pt x="370" y="271"/>
                  </a:lnTo>
                  <a:lnTo>
                    <a:pt x="367" y="271"/>
                  </a:lnTo>
                  <a:lnTo>
                    <a:pt x="370" y="271"/>
                  </a:lnTo>
                  <a:lnTo>
                    <a:pt x="367" y="271"/>
                  </a:lnTo>
                  <a:lnTo>
                    <a:pt x="365" y="271"/>
                  </a:lnTo>
                  <a:lnTo>
                    <a:pt x="363" y="271"/>
                  </a:lnTo>
                  <a:lnTo>
                    <a:pt x="363" y="269"/>
                  </a:lnTo>
                  <a:lnTo>
                    <a:pt x="365" y="269"/>
                  </a:lnTo>
                  <a:lnTo>
                    <a:pt x="365" y="271"/>
                  </a:lnTo>
                  <a:lnTo>
                    <a:pt x="365" y="269"/>
                  </a:lnTo>
                  <a:lnTo>
                    <a:pt x="363" y="269"/>
                  </a:lnTo>
                  <a:lnTo>
                    <a:pt x="363" y="271"/>
                  </a:lnTo>
                  <a:lnTo>
                    <a:pt x="360" y="271"/>
                  </a:lnTo>
                  <a:lnTo>
                    <a:pt x="358" y="271"/>
                  </a:lnTo>
                  <a:lnTo>
                    <a:pt x="356" y="271"/>
                  </a:lnTo>
                  <a:lnTo>
                    <a:pt x="356" y="273"/>
                  </a:lnTo>
                  <a:lnTo>
                    <a:pt x="353" y="273"/>
                  </a:lnTo>
                  <a:lnTo>
                    <a:pt x="353" y="276"/>
                  </a:lnTo>
                  <a:lnTo>
                    <a:pt x="351" y="276"/>
                  </a:lnTo>
                  <a:lnTo>
                    <a:pt x="348" y="276"/>
                  </a:lnTo>
                  <a:lnTo>
                    <a:pt x="346" y="276"/>
                  </a:lnTo>
                  <a:lnTo>
                    <a:pt x="346" y="278"/>
                  </a:lnTo>
                  <a:lnTo>
                    <a:pt x="344" y="278"/>
                  </a:lnTo>
                  <a:lnTo>
                    <a:pt x="341" y="278"/>
                  </a:lnTo>
                  <a:lnTo>
                    <a:pt x="344" y="278"/>
                  </a:lnTo>
                  <a:lnTo>
                    <a:pt x="341" y="278"/>
                  </a:lnTo>
                  <a:lnTo>
                    <a:pt x="341" y="280"/>
                  </a:lnTo>
                  <a:lnTo>
                    <a:pt x="341" y="278"/>
                  </a:lnTo>
                  <a:lnTo>
                    <a:pt x="341" y="280"/>
                  </a:lnTo>
                  <a:lnTo>
                    <a:pt x="339" y="280"/>
                  </a:lnTo>
                  <a:lnTo>
                    <a:pt x="337" y="280"/>
                  </a:lnTo>
                  <a:lnTo>
                    <a:pt x="334" y="280"/>
                  </a:lnTo>
                  <a:lnTo>
                    <a:pt x="334" y="278"/>
                  </a:lnTo>
                  <a:lnTo>
                    <a:pt x="332" y="280"/>
                  </a:lnTo>
                  <a:lnTo>
                    <a:pt x="329" y="280"/>
                  </a:lnTo>
                  <a:lnTo>
                    <a:pt x="329" y="278"/>
                  </a:lnTo>
                  <a:lnTo>
                    <a:pt x="327" y="278"/>
                  </a:lnTo>
                  <a:lnTo>
                    <a:pt x="325" y="278"/>
                  </a:lnTo>
                  <a:lnTo>
                    <a:pt x="325" y="276"/>
                  </a:lnTo>
                  <a:lnTo>
                    <a:pt x="325" y="273"/>
                  </a:lnTo>
                  <a:lnTo>
                    <a:pt x="325" y="271"/>
                  </a:lnTo>
                  <a:lnTo>
                    <a:pt x="322" y="271"/>
                  </a:lnTo>
                  <a:lnTo>
                    <a:pt x="322" y="269"/>
                  </a:lnTo>
                  <a:lnTo>
                    <a:pt x="325" y="269"/>
                  </a:lnTo>
                  <a:lnTo>
                    <a:pt x="322" y="269"/>
                  </a:lnTo>
                  <a:lnTo>
                    <a:pt x="325" y="269"/>
                  </a:lnTo>
                  <a:lnTo>
                    <a:pt x="325" y="266"/>
                  </a:lnTo>
                  <a:lnTo>
                    <a:pt x="325" y="264"/>
                  </a:lnTo>
                  <a:lnTo>
                    <a:pt x="327" y="264"/>
                  </a:lnTo>
                  <a:lnTo>
                    <a:pt x="325" y="261"/>
                  </a:lnTo>
                  <a:lnTo>
                    <a:pt x="325" y="264"/>
                  </a:lnTo>
                  <a:lnTo>
                    <a:pt x="325" y="261"/>
                  </a:lnTo>
                  <a:lnTo>
                    <a:pt x="325" y="264"/>
                  </a:lnTo>
                  <a:lnTo>
                    <a:pt x="322" y="264"/>
                  </a:lnTo>
                  <a:lnTo>
                    <a:pt x="322" y="261"/>
                  </a:lnTo>
                  <a:lnTo>
                    <a:pt x="325" y="261"/>
                  </a:lnTo>
                  <a:lnTo>
                    <a:pt x="325" y="259"/>
                  </a:lnTo>
                  <a:lnTo>
                    <a:pt x="322" y="259"/>
                  </a:lnTo>
                  <a:lnTo>
                    <a:pt x="320" y="259"/>
                  </a:lnTo>
                  <a:lnTo>
                    <a:pt x="320" y="257"/>
                  </a:lnTo>
                  <a:lnTo>
                    <a:pt x="320" y="259"/>
                  </a:lnTo>
                  <a:lnTo>
                    <a:pt x="320" y="257"/>
                  </a:lnTo>
                  <a:lnTo>
                    <a:pt x="322" y="257"/>
                  </a:lnTo>
                  <a:lnTo>
                    <a:pt x="322" y="254"/>
                  </a:lnTo>
                  <a:lnTo>
                    <a:pt x="320" y="254"/>
                  </a:lnTo>
                  <a:lnTo>
                    <a:pt x="320" y="252"/>
                  </a:lnTo>
                  <a:lnTo>
                    <a:pt x="320" y="250"/>
                  </a:lnTo>
                  <a:lnTo>
                    <a:pt x="320" y="252"/>
                  </a:lnTo>
                  <a:lnTo>
                    <a:pt x="320" y="250"/>
                  </a:lnTo>
                  <a:lnTo>
                    <a:pt x="318" y="250"/>
                  </a:lnTo>
                  <a:lnTo>
                    <a:pt x="318" y="247"/>
                  </a:lnTo>
                  <a:lnTo>
                    <a:pt x="318" y="245"/>
                  </a:lnTo>
                  <a:lnTo>
                    <a:pt x="315" y="245"/>
                  </a:lnTo>
                  <a:lnTo>
                    <a:pt x="318" y="245"/>
                  </a:lnTo>
                  <a:lnTo>
                    <a:pt x="318" y="247"/>
                  </a:lnTo>
                  <a:lnTo>
                    <a:pt x="318" y="250"/>
                  </a:lnTo>
                  <a:lnTo>
                    <a:pt x="320" y="250"/>
                  </a:lnTo>
                  <a:lnTo>
                    <a:pt x="320" y="252"/>
                  </a:lnTo>
                  <a:lnTo>
                    <a:pt x="320" y="254"/>
                  </a:lnTo>
                  <a:lnTo>
                    <a:pt x="322" y="254"/>
                  </a:lnTo>
                  <a:lnTo>
                    <a:pt x="322" y="257"/>
                  </a:lnTo>
                  <a:lnTo>
                    <a:pt x="320" y="257"/>
                  </a:lnTo>
                  <a:lnTo>
                    <a:pt x="320" y="259"/>
                  </a:lnTo>
                  <a:lnTo>
                    <a:pt x="322" y="259"/>
                  </a:lnTo>
                  <a:lnTo>
                    <a:pt x="325" y="259"/>
                  </a:lnTo>
                  <a:lnTo>
                    <a:pt x="325" y="261"/>
                  </a:lnTo>
                  <a:lnTo>
                    <a:pt x="322" y="261"/>
                  </a:lnTo>
                  <a:lnTo>
                    <a:pt x="322" y="264"/>
                  </a:lnTo>
                  <a:lnTo>
                    <a:pt x="325" y="264"/>
                  </a:lnTo>
                  <a:lnTo>
                    <a:pt x="325" y="266"/>
                  </a:lnTo>
                  <a:lnTo>
                    <a:pt x="322" y="266"/>
                  </a:lnTo>
                  <a:lnTo>
                    <a:pt x="322" y="269"/>
                  </a:lnTo>
                  <a:lnTo>
                    <a:pt x="320" y="269"/>
                  </a:lnTo>
                  <a:lnTo>
                    <a:pt x="320" y="271"/>
                  </a:lnTo>
                  <a:lnTo>
                    <a:pt x="322" y="271"/>
                  </a:lnTo>
                  <a:lnTo>
                    <a:pt x="322" y="273"/>
                  </a:lnTo>
                  <a:lnTo>
                    <a:pt x="322" y="276"/>
                  </a:lnTo>
                  <a:lnTo>
                    <a:pt x="322" y="278"/>
                  </a:lnTo>
                  <a:lnTo>
                    <a:pt x="320" y="278"/>
                  </a:lnTo>
                  <a:lnTo>
                    <a:pt x="318" y="278"/>
                  </a:lnTo>
                  <a:lnTo>
                    <a:pt x="315" y="278"/>
                  </a:lnTo>
                  <a:lnTo>
                    <a:pt x="315" y="276"/>
                  </a:lnTo>
                  <a:lnTo>
                    <a:pt x="313" y="276"/>
                  </a:lnTo>
                  <a:lnTo>
                    <a:pt x="310" y="278"/>
                  </a:lnTo>
                  <a:lnTo>
                    <a:pt x="308" y="278"/>
                  </a:lnTo>
                  <a:lnTo>
                    <a:pt x="306" y="278"/>
                  </a:lnTo>
                  <a:lnTo>
                    <a:pt x="308" y="278"/>
                  </a:lnTo>
                  <a:lnTo>
                    <a:pt x="308" y="276"/>
                  </a:lnTo>
                  <a:lnTo>
                    <a:pt x="308" y="273"/>
                  </a:lnTo>
                  <a:lnTo>
                    <a:pt x="310" y="273"/>
                  </a:lnTo>
                  <a:lnTo>
                    <a:pt x="310" y="271"/>
                  </a:lnTo>
                  <a:lnTo>
                    <a:pt x="310" y="269"/>
                  </a:lnTo>
                  <a:lnTo>
                    <a:pt x="313" y="269"/>
                  </a:lnTo>
                  <a:lnTo>
                    <a:pt x="310" y="269"/>
                  </a:lnTo>
                  <a:lnTo>
                    <a:pt x="313" y="269"/>
                  </a:lnTo>
                  <a:lnTo>
                    <a:pt x="310" y="269"/>
                  </a:lnTo>
                  <a:lnTo>
                    <a:pt x="313" y="269"/>
                  </a:lnTo>
                  <a:lnTo>
                    <a:pt x="310" y="269"/>
                  </a:lnTo>
                  <a:lnTo>
                    <a:pt x="310" y="271"/>
                  </a:lnTo>
                  <a:lnTo>
                    <a:pt x="308" y="271"/>
                  </a:lnTo>
                  <a:lnTo>
                    <a:pt x="310" y="271"/>
                  </a:lnTo>
                  <a:lnTo>
                    <a:pt x="310" y="273"/>
                  </a:lnTo>
                  <a:lnTo>
                    <a:pt x="308" y="273"/>
                  </a:lnTo>
                  <a:lnTo>
                    <a:pt x="308" y="271"/>
                  </a:lnTo>
                  <a:lnTo>
                    <a:pt x="306" y="271"/>
                  </a:lnTo>
                  <a:lnTo>
                    <a:pt x="306" y="269"/>
                  </a:lnTo>
                  <a:lnTo>
                    <a:pt x="306" y="271"/>
                  </a:lnTo>
                  <a:lnTo>
                    <a:pt x="308" y="271"/>
                  </a:lnTo>
                  <a:lnTo>
                    <a:pt x="308" y="273"/>
                  </a:lnTo>
                  <a:lnTo>
                    <a:pt x="308" y="276"/>
                  </a:lnTo>
                  <a:lnTo>
                    <a:pt x="306" y="276"/>
                  </a:lnTo>
                  <a:lnTo>
                    <a:pt x="306" y="278"/>
                  </a:lnTo>
                  <a:lnTo>
                    <a:pt x="303" y="278"/>
                  </a:lnTo>
                  <a:lnTo>
                    <a:pt x="301" y="278"/>
                  </a:lnTo>
                  <a:lnTo>
                    <a:pt x="299" y="278"/>
                  </a:lnTo>
                  <a:lnTo>
                    <a:pt x="296" y="278"/>
                  </a:lnTo>
                  <a:lnTo>
                    <a:pt x="294" y="278"/>
                  </a:lnTo>
                  <a:lnTo>
                    <a:pt x="294" y="276"/>
                  </a:lnTo>
                  <a:lnTo>
                    <a:pt x="291" y="276"/>
                  </a:lnTo>
                  <a:lnTo>
                    <a:pt x="291" y="278"/>
                  </a:lnTo>
                  <a:lnTo>
                    <a:pt x="294" y="278"/>
                  </a:lnTo>
                  <a:lnTo>
                    <a:pt x="291" y="278"/>
                  </a:lnTo>
                  <a:lnTo>
                    <a:pt x="294" y="278"/>
                  </a:lnTo>
                  <a:lnTo>
                    <a:pt x="291" y="278"/>
                  </a:lnTo>
                  <a:lnTo>
                    <a:pt x="291" y="280"/>
                  </a:lnTo>
                  <a:lnTo>
                    <a:pt x="289" y="280"/>
                  </a:lnTo>
                  <a:lnTo>
                    <a:pt x="287" y="280"/>
                  </a:lnTo>
                  <a:lnTo>
                    <a:pt x="284" y="280"/>
                  </a:lnTo>
                  <a:lnTo>
                    <a:pt x="284" y="283"/>
                  </a:lnTo>
                  <a:lnTo>
                    <a:pt x="284" y="285"/>
                  </a:lnTo>
                  <a:lnTo>
                    <a:pt x="284" y="283"/>
                  </a:lnTo>
                  <a:lnTo>
                    <a:pt x="284" y="285"/>
                  </a:lnTo>
                  <a:lnTo>
                    <a:pt x="284" y="288"/>
                  </a:lnTo>
                  <a:lnTo>
                    <a:pt x="284" y="290"/>
                  </a:lnTo>
                  <a:lnTo>
                    <a:pt x="282" y="290"/>
                  </a:lnTo>
                  <a:lnTo>
                    <a:pt x="282" y="292"/>
                  </a:lnTo>
                  <a:lnTo>
                    <a:pt x="282" y="290"/>
                  </a:lnTo>
                  <a:lnTo>
                    <a:pt x="280" y="290"/>
                  </a:lnTo>
                  <a:lnTo>
                    <a:pt x="280" y="288"/>
                  </a:lnTo>
                  <a:lnTo>
                    <a:pt x="280" y="290"/>
                  </a:lnTo>
                  <a:lnTo>
                    <a:pt x="282" y="292"/>
                  </a:lnTo>
                  <a:lnTo>
                    <a:pt x="280" y="295"/>
                  </a:lnTo>
                  <a:lnTo>
                    <a:pt x="280" y="297"/>
                  </a:lnTo>
                  <a:lnTo>
                    <a:pt x="277" y="297"/>
                  </a:lnTo>
                  <a:lnTo>
                    <a:pt x="277" y="299"/>
                  </a:lnTo>
                  <a:lnTo>
                    <a:pt x="277" y="302"/>
                  </a:lnTo>
                  <a:lnTo>
                    <a:pt x="275" y="302"/>
                  </a:lnTo>
                  <a:lnTo>
                    <a:pt x="275" y="304"/>
                  </a:lnTo>
                  <a:lnTo>
                    <a:pt x="275" y="302"/>
                  </a:lnTo>
                  <a:lnTo>
                    <a:pt x="277" y="299"/>
                  </a:lnTo>
                  <a:lnTo>
                    <a:pt x="275" y="299"/>
                  </a:lnTo>
                  <a:lnTo>
                    <a:pt x="272" y="299"/>
                  </a:lnTo>
                  <a:lnTo>
                    <a:pt x="272" y="297"/>
                  </a:lnTo>
                  <a:lnTo>
                    <a:pt x="275" y="295"/>
                  </a:lnTo>
                  <a:lnTo>
                    <a:pt x="272" y="295"/>
                  </a:lnTo>
                  <a:lnTo>
                    <a:pt x="270" y="295"/>
                  </a:lnTo>
                  <a:lnTo>
                    <a:pt x="270" y="292"/>
                  </a:lnTo>
                  <a:lnTo>
                    <a:pt x="270" y="290"/>
                  </a:lnTo>
                  <a:lnTo>
                    <a:pt x="270" y="292"/>
                  </a:lnTo>
                  <a:lnTo>
                    <a:pt x="268" y="292"/>
                  </a:lnTo>
                  <a:lnTo>
                    <a:pt x="268" y="290"/>
                  </a:lnTo>
                  <a:lnTo>
                    <a:pt x="268" y="288"/>
                  </a:lnTo>
                  <a:lnTo>
                    <a:pt x="265" y="288"/>
                  </a:lnTo>
                  <a:lnTo>
                    <a:pt x="263" y="290"/>
                  </a:lnTo>
                  <a:lnTo>
                    <a:pt x="263" y="292"/>
                  </a:lnTo>
                  <a:lnTo>
                    <a:pt x="263" y="295"/>
                  </a:lnTo>
                  <a:lnTo>
                    <a:pt x="265" y="295"/>
                  </a:lnTo>
                  <a:lnTo>
                    <a:pt x="268" y="295"/>
                  </a:lnTo>
                  <a:lnTo>
                    <a:pt x="268" y="297"/>
                  </a:lnTo>
                  <a:lnTo>
                    <a:pt x="268" y="295"/>
                  </a:lnTo>
                  <a:lnTo>
                    <a:pt x="268" y="297"/>
                  </a:lnTo>
                  <a:lnTo>
                    <a:pt x="270" y="297"/>
                  </a:lnTo>
                  <a:lnTo>
                    <a:pt x="272" y="297"/>
                  </a:lnTo>
                  <a:lnTo>
                    <a:pt x="272" y="299"/>
                  </a:lnTo>
                  <a:lnTo>
                    <a:pt x="272" y="297"/>
                  </a:lnTo>
                  <a:lnTo>
                    <a:pt x="272" y="299"/>
                  </a:lnTo>
                  <a:lnTo>
                    <a:pt x="272" y="302"/>
                  </a:lnTo>
                  <a:lnTo>
                    <a:pt x="272" y="304"/>
                  </a:lnTo>
                  <a:lnTo>
                    <a:pt x="275" y="304"/>
                  </a:lnTo>
                  <a:lnTo>
                    <a:pt x="272" y="304"/>
                  </a:lnTo>
                  <a:lnTo>
                    <a:pt x="272" y="307"/>
                  </a:lnTo>
                  <a:lnTo>
                    <a:pt x="270" y="307"/>
                  </a:lnTo>
                  <a:lnTo>
                    <a:pt x="270" y="309"/>
                  </a:lnTo>
                  <a:lnTo>
                    <a:pt x="270" y="307"/>
                  </a:lnTo>
                  <a:lnTo>
                    <a:pt x="272" y="307"/>
                  </a:lnTo>
                  <a:lnTo>
                    <a:pt x="272" y="304"/>
                  </a:lnTo>
                  <a:lnTo>
                    <a:pt x="272" y="307"/>
                  </a:lnTo>
                  <a:lnTo>
                    <a:pt x="270" y="307"/>
                  </a:lnTo>
                  <a:lnTo>
                    <a:pt x="270" y="309"/>
                  </a:lnTo>
                  <a:lnTo>
                    <a:pt x="268" y="309"/>
                  </a:lnTo>
                  <a:lnTo>
                    <a:pt x="270" y="309"/>
                  </a:lnTo>
                  <a:lnTo>
                    <a:pt x="268" y="311"/>
                  </a:lnTo>
                  <a:lnTo>
                    <a:pt x="268" y="314"/>
                  </a:lnTo>
                  <a:lnTo>
                    <a:pt x="265" y="314"/>
                  </a:lnTo>
                  <a:lnTo>
                    <a:pt x="263" y="316"/>
                  </a:lnTo>
                  <a:lnTo>
                    <a:pt x="263" y="314"/>
                  </a:lnTo>
                  <a:lnTo>
                    <a:pt x="263" y="311"/>
                  </a:lnTo>
                  <a:lnTo>
                    <a:pt x="263" y="314"/>
                  </a:lnTo>
                  <a:lnTo>
                    <a:pt x="263" y="316"/>
                  </a:lnTo>
                  <a:lnTo>
                    <a:pt x="261" y="316"/>
                  </a:lnTo>
                  <a:lnTo>
                    <a:pt x="261" y="314"/>
                  </a:lnTo>
                  <a:lnTo>
                    <a:pt x="258" y="314"/>
                  </a:lnTo>
                  <a:lnTo>
                    <a:pt x="258" y="311"/>
                  </a:lnTo>
                  <a:lnTo>
                    <a:pt x="258" y="314"/>
                  </a:lnTo>
                  <a:lnTo>
                    <a:pt x="258" y="316"/>
                  </a:lnTo>
                  <a:lnTo>
                    <a:pt x="258" y="318"/>
                  </a:lnTo>
                  <a:lnTo>
                    <a:pt x="258" y="316"/>
                  </a:lnTo>
                  <a:lnTo>
                    <a:pt x="256" y="316"/>
                  </a:lnTo>
                  <a:lnTo>
                    <a:pt x="258" y="316"/>
                  </a:lnTo>
                  <a:lnTo>
                    <a:pt x="256" y="314"/>
                  </a:lnTo>
                  <a:lnTo>
                    <a:pt x="256" y="316"/>
                  </a:lnTo>
                  <a:lnTo>
                    <a:pt x="256" y="318"/>
                  </a:lnTo>
                  <a:lnTo>
                    <a:pt x="258" y="318"/>
                  </a:lnTo>
                  <a:lnTo>
                    <a:pt x="256" y="318"/>
                  </a:lnTo>
                  <a:lnTo>
                    <a:pt x="256" y="316"/>
                  </a:lnTo>
                  <a:lnTo>
                    <a:pt x="256" y="318"/>
                  </a:lnTo>
                  <a:lnTo>
                    <a:pt x="253" y="318"/>
                  </a:lnTo>
                  <a:lnTo>
                    <a:pt x="251" y="318"/>
                  </a:lnTo>
                  <a:lnTo>
                    <a:pt x="253" y="321"/>
                  </a:lnTo>
                  <a:lnTo>
                    <a:pt x="256" y="323"/>
                  </a:lnTo>
                  <a:lnTo>
                    <a:pt x="256" y="321"/>
                  </a:lnTo>
                  <a:lnTo>
                    <a:pt x="258" y="321"/>
                  </a:lnTo>
                  <a:lnTo>
                    <a:pt x="258" y="318"/>
                  </a:lnTo>
                  <a:lnTo>
                    <a:pt x="261" y="318"/>
                  </a:lnTo>
                  <a:lnTo>
                    <a:pt x="261" y="316"/>
                  </a:lnTo>
                  <a:lnTo>
                    <a:pt x="263" y="316"/>
                  </a:lnTo>
                  <a:lnTo>
                    <a:pt x="261" y="316"/>
                  </a:lnTo>
                  <a:lnTo>
                    <a:pt x="261" y="318"/>
                  </a:lnTo>
                  <a:lnTo>
                    <a:pt x="258" y="318"/>
                  </a:lnTo>
                  <a:lnTo>
                    <a:pt x="258" y="321"/>
                  </a:lnTo>
                  <a:lnTo>
                    <a:pt x="256" y="321"/>
                  </a:lnTo>
                  <a:lnTo>
                    <a:pt x="256" y="323"/>
                  </a:lnTo>
                  <a:lnTo>
                    <a:pt x="253" y="323"/>
                  </a:lnTo>
                  <a:lnTo>
                    <a:pt x="251" y="326"/>
                  </a:lnTo>
                  <a:lnTo>
                    <a:pt x="253" y="323"/>
                  </a:lnTo>
                  <a:lnTo>
                    <a:pt x="251" y="323"/>
                  </a:lnTo>
                  <a:lnTo>
                    <a:pt x="253" y="323"/>
                  </a:lnTo>
                  <a:lnTo>
                    <a:pt x="251" y="323"/>
                  </a:lnTo>
                  <a:lnTo>
                    <a:pt x="251" y="326"/>
                  </a:lnTo>
                  <a:lnTo>
                    <a:pt x="249" y="326"/>
                  </a:lnTo>
                  <a:lnTo>
                    <a:pt x="249" y="328"/>
                  </a:lnTo>
                  <a:lnTo>
                    <a:pt x="249" y="330"/>
                  </a:lnTo>
                  <a:lnTo>
                    <a:pt x="246" y="330"/>
                  </a:lnTo>
                  <a:lnTo>
                    <a:pt x="246" y="333"/>
                  </a:lnTo>
                  <a:lnTo>
                    <a:pt x="246" y="330"/>
                  </a:lnTo>
                  <a:lnTo>
                    <a:pt x="246" y="333"/>
                  </a:lnTo>
                  <a:lnTo>
                    <a:pt x="246" y="330"/>
                  </a:lnTo>
                  <a:lnTo>
                    <a:pt x="246" y="333"/>
                  </a:lnTo>
                  <a:lnTo>
                    <a:pt x="249" y="333"/>
                  </a:lnTo>
                  <a:lnTo>
                    <a:pt x="249" y="330"/>
                  </a:lnTo>
                  <a:lnTo>
                    <a:pt x="249" y="333"/>
                  </a:lnTo>
                  <a:lnTo>
                    <a:pt x="251" y="333"/>
                  </a:lnTo>
                  <a:lnTo>
                    <a:pt x="249" y="333"/>
                  </a:lnTo>
                  <a:lnTo>
                    <a:pt x="251" y="333"/>
                  </a:lnTo>
                  <a:lnTo>
                    <a:pt x="249" y="333"/>
                  </a:lnTo>
                  <a:lnTo>
                    <a:pt x="246" y="335"/>
                  </a:lnTo>
                  <a:lnTo>
                    <a:pt x="244" y="335"/>
                  </a:lnTo>
                  <a:lnTo>
                    <a:pt x="244" y="333"/>
                  </a:lnTo>
                  <a:lnTo>
                    <a:pt x="242" y="333"/>
                  </a:lnTo>
                  <a:lnTo>
                    <a:pt x="239" y="333"/>
                  </a:lnTo>
                  <a:lnTo>
                    <a:pt x="237" y="333"/>
                  </a:lnTo>
                  <a:lnTo>
                    <a:pt x="235" y="333"/>
                  </a:lnTo>
                  <a:lnTo>
                    <a:pt x="232" y="333"/>
                  </a:lnTo>
                  <a:lnTo>
                    <a:pt x="232" y="335"/>
                  </a:lnTo>
                  <a:lnTo>
                    <a:pt x="230" y="335"/>
                  </a:lnTo>
                  <a:lnTo>
                    <a:pt x="227" y="337"/>
                  </a:lnTo>
                  <a:lnTo>
                    <a:pt x="225" y="337"/>
                  </a:lnTo>
                  <a:lnTo>
                    <a:pt x="225" y="340"/>
                  </a:lnTo>
                  <a:lnTo>
                    <a:pt x="223" y="340"/>
                  </a:lnTo>
                  <a:lnTo>
                    <a:pt x="220" y="340"/>
                  </a:lnTo>
                  <a:lnTo>
                    <a:pt x="220" y="337"/>
                  </a:lnTo>
                  <a:lnTo>
                    <a:pt x="218" y="337"/>
                  </a:lnTo>
                  <a:lnTo>
                    <a:pt x="218" y="340"/>
                  </a:lnTo>
                  <a:lnTo>
                    <a:pt x="220" y="340"/>
                  </a:lnTo>
                  <a:lnTo>
                    <a:pt x="218" y="340"/>
                  </a:lnTo>
                  <a:lnTo>
                    <a:pt x="218" y="342"/>
                  </a:lnTo>
                  <a:lnTo>
                    <a:pt x="220" y="342"/>
                  </a:lnTo>
                  <a:lnTo>
                    <a:pt x="218" y="342"/>
                  </a:lnTo>
                  <a:lnTo>
                    <a:pt x="216" y="342"/>
                  </a:lnTo>
                  <a:lnTo>
                    <a:pt x="213" y="342"/>
                  </a:lnTo>
                  <a:lnTo>
                    <a:pt x="211" y="342"/>
                  </a:lnTo>
                  <a:lnTo>
                    <a:pt x="211" y="340"/>
                  </a:lnTo>
                  <a:lnTo>
                    <a:pt x="208" y="340"/>
                  </a:lnTo>
                  <a:lnTo>
                    <a:pt x="206" y="340"/>
                  </a:lnTo>
                  <a:lnTo>
                    <a:pt x="204" y="337"/>
                  </a:lnTo>
                  <a:lnTo>
                    <a:pt x="204" y="335"/>
                  </a:lnTo>
                  <a:lnTo>
                    <a:pt x="204" y="333"/>
                  </a:lnTo>
                  <a:lnTo>
                    <a:pt x="201" y="333"/>
                  </a:lnTo>
                  <a:lnTo>
                    <a:pt x="201" y="330"/>
                  </a:lnTo>
                  <a:lnTo>
                    <a:pt x="204" y="328"/>
                  </a:lnTo>
                  <a:lnTo>
                    <a:pt x="206" y="330"/>
                  </a:lnTo>
                  <a:lnTo>
                    <a:pt x="208" y="330"/>
                  </a:lnTo>
                  <a:lnTo>
                    <a:pt x="211" y="330"/>
                  </a:lnTo>
                  <a:lnTo>
                    <a:pt x="208" y="328"/>
                  </a:lnTo>
                  <a:lnTo>
                    <a:pt x="211" y="326"/>
                  </a:lnTo>
                  <a:lnTo>
                    <a:pt x="211" y="323"/>
                  </a:lnTo>
                  <a:lnTo>
                    <a:pt x="208" y="323"/>
                  </a:lnTo>
                  <a:lnTo>
                    <a:pt x="208" y="321"/>
                  </a:lnTo>
                  <a:lnTo>
                    <a:pt x="211" y="321"/>
                  </a:lnTo>
                  <a:lnTo>
                    <a:pt x="211" y="318"/>
                  </a:lnTo>
                  <a:lnTo>
                    <a:pt x="211" y="321"/>
                  </a:lnTo>
                  <a:lnTo>
                    <a:pt x="213" y="318"/>
                  </a:lnTo>
                  <a:lnTo>
                    <a:pt x="216" y="316"/>
                  </a:lnTo>
                  <a:lnTo>
                    <a:pt x="220" y="314"/>
                  </a:lnTo>
                  <a:lnTo>
                    <a:pt x="218" y="311"/>
                  </a:lnTo>
                  <a:lnTo>
                    <a:pt x="218" y="309"/>
                  </a:lnTo>
                  <a:lnTo>
                    <a:pt x="220" y="307"/>
                  </a:lnTo>
                  <a:lnTo>
                    <a:pt x="225" y="307"/>
                  </a:lnTo>
                  <a:lnTo>
                    <a:pt x="227" y="304"/>
                  </a:lnTo>
                  <a:lnTo>
                    <a:pt x="225" y="302"/>
                  </a:lnTo>
                  <a:lnTo>
                    <a:pt x="227" y="297"/>
                  </a:lnTo>
                  <a:lnTo>
                    <a:pt x="225" y="295"/>
                  </a:lnTo>
                  <a:lnTo>
                    <a:pt x="225" y="292"/>
                  </a:lnTo>
                  <a:lnTo>
                    <a:pt x="225" y="290"/>
                  </a:lnTo>
                  <a:lnTo>
                    <a:pt x="225" y="288"/>
                  </a:lnTo>
                  <a:lnTo>
                    <a:pt x="225" y="285"/>
                  </a:lnTo>
                  <a:lnTo>
                    <a:pt x="227" y="285"/>
                  </a:lnTo>
                  <a:lnTo>
                    <a:pt x="225" y="285"/>
                  </a:lnTo>
                  <a:lnTo>
                    <a:pt x="225" y="283"/>
                  </a:lnTo>
                  <a:lnTo>
                    <a:pt x="227" y="283"/>
                  </a:lnTo>
                  <a:lnTo>
                    <a:pt x="230" y="283"/>
                  </a:lnTo>
                  <a:lnTo>
                    <a:pt x="232" y="283"/>
                  </a:lnTo>
                  <a:lnTo>
                    <a:pt x="232" y="280"/>
                  </a:lnTo>
                  <a:lnTo>
                    <a:pt x="235" y="280"/>
                  </a:lnTo>
                  <a:lnTo>
                    <a:pt x="235" y="283"/>
                  </a:lnTo>
                  <a:lnTo>
                    <a:pt x="235" y="285"/>
                  </a:lnTo>
                  <a:lnTo>
                    <a:pt x="235" y="288"/>
                  </a:lnTo>
                  <a:lnTo>
                    <a:pt x="232" y="288"/>
                  </a:lnTo>
                  <a:lnTo>
                    <a:pt x="235" y="290"/>
                  </a:lnTo>
                  <a:lnTo>
                    <a:pt x="235" y="288"/>
                  </a:lnTo>
                  <a:lnTo>
                    <a:pt x="237" y="288"/>
                  </a:lnTo>
                  <a:lnTo>
                    <a:pt x="237" y="285"/>
                  </a:lnTo>
                  <a:lnTo>
                    <a:pt x="237" y="283"/>
                  </a:lnTo>
                  <a:lnTo>
                    <a:pt x="239" y="285"/>
                  </a:lnTo>
                  <a:lnTo>
                    <a:pt x="239" y="288"/>
                  </a:lnTo>
                  <a:lnTo>
                    <a:pt x="239" y="285"/>
                  </a:lnTo>
                  <a:lnTo>
                    <a:pt x="242" y="283"/>
                  </a:lnTo>
                  <a:lnTo>
                    <a:pt x="244" y="285"/>
                  </a:lnTo>
                  <a:lnTo>
                    <a:pt x="242" y="285"/>
                  </a:lnTo>
                  <a:lnTo>
                    <a:pt x="244" y="288"/>
                  </a:lnTo>
                  <a:lnTo>
                    <a:pt x="246" y="290"/>
                  </a:lnTo>
                  <a:lnTo>
                    <a:pt x="249" y="290"/>
                  </a:lnTo>
                  <a:lnTo>
                    <a:pt x="249" y="285"/>
                  </a:lnTo>
                  <a:lnTo>
                    <a:pt x="249" y="288"/>
                  </a:lnTo>
                  <a:lnTo>
                    <a:pt x="251" y="285"/>
                  </a:lnTo>
                  <a:lnTo>
                    <a:pt x="253" y="288"/>
                  </a:lnTo>
                  <a:lnTo>
                    <a:pt x="251" y="288"/>
                  </a:lnTo>
                  <a:lnTo>
                    <a:pt x="253" y="288"/>
                  </a:lnTo>
                  <a:lnTo>
                    <a:pt x="256" y="290"/>
                  </a:lnTo>
                  <a:lnTo>
                    <a:pt x="258" y="288"/>
                  </a:lnTo>
                  <a:lnTo>
                    <a:pt x="258" y="290"/>
                  </a:lnTo>
                  <a:lnTo>
                    <a:pt x="258" y="288"/>
                  </a:lnTo>
                  <a:lnTo>
                    <a:pt x="261" y="290"/>
                  </a:lnTo>
                  <a:lnTo>
                    <a:pt x="261" y="288"/>
                  </a:lnTo>
                  <a:lnTo>
                    <a:pt x="263" y="288"/>
                  </a:lnTo>
                  <a:lnTo>
                    <a:pt x="263" y="290"/>
                  </a:lnTo>
                  <a:lnTo>
                    <a:pt x="265" y="288"/>
                  </a:lnTo>
                  <a:lnTo>
                    <a:pt x="263" y="288"/>
                  </a:lnTo>
                  <a:lnTo>
                    <a:pt x="263" y="285"/>
                  </a:lnTo>
                  <a:lnTo>
                    <a:pt x="263" y="288"/>
                  </a:lnTo>
                  <a:lnTo>
                    <a:pt x="263" y="285"/>
                  </a:lnTo>
                  <a:lnTo>
                    <a:pt x="263" y="288"/>
                  </a:lnTo>
                  <a:lnTo>
                    <a:pt x="261" y="288"/>
                  </a:lnTo>
                  <a:lnTo>
                    <a:pt x="261" y="285"/>
                  </a:lnTo>
                  <a:lnTo>
                    <a:pt x="258" y="285"/>
                  </a:lnTo>
                  <a:lnTo>
                    <a:pt x="261" y="285"/>
                  </a:lnTo>
                  <a:lnTo>
                    <a:pt x="258" y="285"/>
                  </a:lnTo>
                  <a:lnTo>
                    <a:pt x="258" y="283"/>
                  </a:lnTo>
                  <a:lnTo>
                    <a:pt x="256" y="283"/>
                  </a:lnTo>
                  <a:lnTo>
                    <a:pt x="256" y="280"/>
                  </a:lnTo>
                  <a:lnTo>
                    <a:pt x="258" y="280"/>
                  </a:lnTo>
                  <a:lnTo>
                    <a:pt x="258" y="278"/>
                  </a:lnTo>
                  <a:lnTo>
                    <a:pt x="258" y="276"/>
                  </a:lnTo>
                  <a:lnTo>
                    <a:pt x="258" y="273"/>
                  </a:lnTo>
                  <a:lnTo>
                    <a:pt x="258" y="271"/>
                  </a:lnTo>
                  <a:lnTo>
                    <a:pt x="258" y="269"/>
                  </a:lnTo>
                  <a:lnTo>
                    <a:pt x="258" y="266"/>
                  </a:lnTo>
                  <a:lnTo>
                    <a:pt x="256" y="269"/>
                  </a:lnTo>
                  <a:lnTo>
                    <a:pt x="256" y="266"/>
                  </a:lnTo>
                  <a:lnTo>
                    <a:pt x="253" y="266"/>
                  </a:lnTo>
                  <a:lnTo>
                    <a:pt x="251" y="266"/>
                  </a:lnTo>
                  <a:lnTo>
                    <a:pt x="251" y="264"/>
                  </a:lnTo>
                  <a:lnTo>
                    <a:pt x="249" y="264"/>
                  </a:lnTo>
                  <a:lnTo>
                    <a:pt x="246" y="261"/>
                  </a:lnTo>
                  <a:lnTo>
                    <a:pt x="244" y="261"/>
                  </a:lnTo>
                  <a:lnTo>
                    <a:pt x="246" y="261"/>
                  </a:lnTo>
                  <a:lnTo>
                    <a:pt x="246" y="259"/>
                  </a:lnTo>
                  <a:lnTo>
                    <a:pt x="246" y="257"/>
                  </a:lnTo>
                  <a:lnTo>
                    <a:pt x="246" y="254"/>
                  </a:lnTo>
                  <a:lnTo>
                    <a:pt x="244" y="254"/>
                  </a:lnTo>
                  <a:lnTo>
                    <a:pt x="244" y="257"/>
                  </a:lnTo>
                  <a:lnTo>
                    <a:pt x="244" y="254"/>
                  </a:lnTo>
                  <a:lnTo>
                    <a:pt x="242" y="254"/>
                  </a:lnTo>
                  <a:lnTo>
                    <a:pt x="244" y="254"/>
                  </a:lnTo>
                  <a:lnTo>
                    <a:pt x="246" y="254"/>
                  </a:lnTo>
                  <a:lnTo>
                    <a:pt x="244" y="247"/>
                  </a:lnTo>
                  <a:lnTo>
                    <a:pt x="246" y="247"/>
                  </a:lnTo>
                  <a:lnTo>
                    <a:pt x="246" y="242"/>
                  </a:lnTo>
                  <a:lnTo>
                    <a:pt x="244" y="242"/>
                  </a:lnTo>
                  <a:lnTo>
                    <a:pt x="242" y="242"/>
                  </a:lnTo>
                  <a:lnTo>
                    <a:pt x="242" y="245"/>
                  </a:lnTo>
                  <a:lnTo>
                    <a:pt x="239" y="245"/>
                  </a:lnTo>
                  <a:lnTo>
                    <a:pt x="239" y="242"/>
                  </a:lnTo>
                  <a:lnTo>
                    <a:pt x="237" y="242"/>
                  </a:lnTo>
                  <a:lnTo>
                    <a:pt x="237" y="238"/>
                  </a:lnTo>
                  <a:lnTo>
                    <a:pt x="237" y="240"/>
                  </a:lnTo>
                  <a:lnTo>
                    <a:pt x="235" y="240"/>
                  </a:lnTo>
                  <a:lnTo>
                    <a:pt x="235" y="238"/>
                  </a:lnTo>
                  <a:lnTo>
                    <a:pt x="232" y="240"/>
                  </a:lnTo>
                  <a:lnTo>
                    <a:pt x="232" y="238"/>
                  </a:lnTo>
                  <a:lnTo>
                    <a:pt x="232" y="235"/>
                  </a:lnTo>
                  <a:lnTo>
                    <a:pt x="230" y="233"/>
                  </a:lnTo>
                  <a:lnTo>
                    <a:pt x="232" y="233"/>
                  </a:lnTo>
                  <a:lnTo>
                    <a:pt x="232" y="231"/>
                  </a:lnTo>
                  <a:lnTo>
                    <a:pt x="235" y="231"/>
                  </a:lnTo>
                  <a:lnTo>
                    <a:pt x="232" y="231"/>
                  </a:lnTo>
                  <a:lnTo>
                    <a:pt x="235" y="231"/>
                  </a:lnTo>
                  <a:lnTo>
                    <a:pt x="235" y="228"/>
                  </a:lnTo>
                  <a:lnTo>
                    <a:pt x="232" y="228"/>
                  </a:lnTo>
                  <a:lnTo>
                    <a:pt x="235" y="228"/>
                  </a:lnTo>
                  <a:lnTo>
                    <a:pt x="235" y="226"/>
                  </a:lnTo>
                  <a:lnTo>
                    <a:pt x="232" y="226"/>
                  </a:lnTo>
                  <a:lnTo>
                    <a:pt x="235" y="226"/>
                  </a:lnTo>
                  <a:lnTo>
                    <a:pt x="235" y="223"/>
                  </a:lnTo>
                  <a:lnTo>
                    <a:pt x="235" y="221"/>
                  </a:lnTo>
                  <a:lnTo>
                    <a:pt x="232" y="221"/>
                  </a:lnTo>
                  <a:lnTo>
                    <a:pt x="232" y="219"/>
                  </a:lnTo>
                  <a:lnTo>
                    <a:pt x="235" y="219"/>
                  </a:lnTo>
                  <a:lnTo>
                    <a:pt x="235" y="216"/>
                  </a:lnTo>
                  <a:lnTo>
                    <a:pt x="232" y="219"/>
                  </a:lnTo>
                  <a:lnTo>
                    <a:pt x="232" y="214"/>
                  </a:lnTo>
                  <a:lnTo>
                    <a:pt x="232" y="212"/>
                  </a:lnTo>
                  <a:lnTo>
                    <a:pt x="230" y="212"/>
                  </a:lnTo>
                  <a:lnTo>
                    <a:pt x="230" y="214"/>
                  </a:lnTo>
                  <a:lnTo>
                    <a:pt x="227" y="214"/>
                  </a:lnTo>
                  <a:lnTo>
                    <a:pt x="225" y="214"/>
                  </a:lnTo>
                  <a:lnTo>
                    <a:pt x="223" y="212"/>
                  </a:lnTo>
                  <a:lnTo>
                    <a:pt x="220" y="212"/>
                  </a:lnTo>
                  <a:lnTo>
                    <a:pt x="220" y="209"/>
                  </a:lnTo>
                  <a:lnTo>
                    <a:pt x="223" y="207"/>
                  </a:lnTo>
                  <a:lnTo>
                    <a:pt x="220" y="207"/>
                  </a:lnTo>
                  <a:lnTo>
                    <a:pt x="218" y="207"/>
                  </a:lnTo>
                  <a:lnTo>
                    <a:pt x="218" y="204"/>
                  </a:lnTo>
                  <a:lnTo>
                    <a:pt x="218" y="207"/>
                  </a:lnTo>
                  <a:lnTo>
                    <a:pt x="216" y="207"/>
                  </a:lnTo>
                  <a:lnTo>
                    <a:pt x="216" y="204"/>
                  </a:lnTo>
                  <a:lnTo>
                    <a:pt x="213" y="204"/>
                  </a:lnTo>
                  <a:lnTo>
                    <a:pt x="211" y="204"/>
                  </a:lnTo>
                  <a:lnTo>
                    <a:pt x="211" y="207"/>
                  </a:lnTo>
                  <a:lnTo>
                    <a:pt x="208" y="207"/>
                  </a:lnTo>
                  <a:lnTo>
                    <a:pt x="211" y="207"/>
                  </a:lnTo>
                  <a:lnTo>
                    <a:pt x="208" y="209"/>
                  </a:lnTo>
                  <a:lnTo>
                    <a:pt x="211" y="209"/>
                  </a:lnTo>
                  <a:lnTo>
                    <a:pt x="208" y="209"/>
                  </a:lnTo>
                  <a:lnTo>
                    <a:pt x="208" y="207"/>
                  </a:lnTo>
                  <a:lnTo>
                    <a:pt x="206" y="207"/>
                  </a:lnTo>
                  <a:lnTo>
                    <a:pt x="208" y="207"/>
                  </a:lnTo>
                  <a:lnTo>
                    <a:pt x="208" y="204"/>
                  </a:lnTo>
                  <a:lnTo>
                    <a:pt x="206" y="204"/>
                  </a:lnTo>
                  <a:lnTo>
                    <a:pt x="204" y="204"/>
                  </a:lnTo>
                  <a:lnTo>
                    <a:pt x="204" y="207"/>
                  </a:lnTo>
                  <a:lnTo>
                    <a:pt x="204" y="204"/>
                  </a:lnTo>
                  <a:lnTo>
                    <a:pt x="206" y="202"/>
                  </a:lnTo>
                  <a:lnTo>
                    <a:pt x="206" y="200"/>
                  </a:lnTo>
                  <a:lnTo>
                    <a:pt x="204" y="200"/>
                  </a:lnTo>
                  <a:lnTo>
                    <a:pt x="204" y="202"/>
                  </a:lnTo>
                  <a:lnTo>
                    <a:pt x="204" y="200"/>
                  </a:lnTo>
                  <a:lnTo>
                    <a:pt x="204" y="202"/>
                  </a:lnTo>
                  <a:lnTo>
                    <a:pt x="201" y="202"/>
                  </a:lnTo>
                  <a:lnTo>
                    <a:pt x="199" y="202"/>
                  </a:lnTo>
                  <a:lnTo>
                    <a:pt x="199" y="200"/>
                  </a:lnTo>
                  <a:lnTo>
                    <a:pt x="197" y="200"/>
                  </a:lnTo>
                  <a:lnTo>
                    <a:pt x="197" y="202"/>
                  </a:lnTo>
                  <a:lnTo>
                    <a:pt x="197" y="200"/>
                  </a:lnTo>
                  <a:lnTo>
                    <a:pt x="197" y="197"/>
                  </a:lnTo>
                  <a:lnTo>
                    <a:pt x="194" y="197"/>
                  </a:lnTo>
                  <a:lnTo>
                    <a:pt x="192" y="197"/>
                  </a:lnTo>
                  <a:lnTo>
                    <a:pt x="192" y="195"/>
                  </a:lnTo>
                  <a:lnTo>
                    <a:pt x="189" y="195"/>
                  </a:lnTo>
                  <a:lnTo>
                    <a:pt x="189" y="193"/>
                  </a:lnTo>
                  <a:lnTo>
                    <a:pt x="187" y="193"/>
                  </a:lnTo>
                  <a:lnTo>
                    <a:pt x="187" y="190"/>
                  </a:lnTo>
                  <a:lnTo>
                    <a:pt x="185" y="190"/>
                  </a:lnTo>
                  <a:lnTo>
                    <a:pt x="182" y="190"/>
                  </a:lnTo>
                  <a:lnTo>
                    <a:pt x="180" y="190"/>
                  </a:lnTo>
                  <a:lnTo>
                    <a:pt x="180" y="188"/>
                  </a:lnTo>
                  <a:lnTo>
                    <a:pt x="180" y="190"/>
                  </a:lnTo>
                  <a:lnTo>
                    <a:pt x="178" y="190"/>
                  </a:lnTo>
                  <a:lnTo>
                    <a:pt x="175" y="190"/>
                  </a:lnTo>
                  <a:lnTo>
                    <a:pt x="175" y="193"/>
                  </a:lnTo>
                  <a:lnTo>
                    <a:pt x="173" y="193"/>
                  </a:lnTo>
                  <a:lnTo>
                    <a:pt x="173" y="190"/>
                  </a:lnTo>
                  <a:lnTo>
                    <a:pt x="170" y="190"/>
                  </a:lnTo>
                  <a:lnTo>
                    <a:pt x="170" y="193"/>
                  </a:lnTo>
                  <a:lnTo>
                    <a:pt x="170" y="195"/>
                  </a:lnTo>
                  <a:lnTo>
                    <a:pt x="168" y="195"/>
                  </a:lnTo>
                  <a:lnTo>
                    <a:pt x="168" y="193"/>
                  </a:lnTo>
                  <a:lnTo>
                    <a:pt x="166" y="193"/>
                  </a:lnTo>
                  <a:lnTo>
                    <a:pt x="166" y="195"/>
                  </a:lnTo>
                  <a:lnTo>
                    <a:pt x="166" y="193"/>
                  </a:lnTo>
                  <a:lnTo>
                    <a:pt x="166" y="195"/>
                  </a:lnTo>
                  <a:lnTo>
                    <a:pt x="163" y="195"/>
                  </a:lnTo>
                  <a:lnTo>
                    <a:pt x="163" y="193"/>
                  </a:lnTo>
                  <a:lnTo>
                    <a:pt x="163" y="190"/>
                  </a:lnTo>
                  <a:lnTo>
                    <a:pt x="163" y="193"/>
                  </a:lnTo>
                  <a:lnTo>
                    <a:pt x="161" y="193"/>
                  </a:lnTo>
                  <a:lnTo>
                    <a:pt x="161" y="195"/>
                  </a:lnTo>
                  <a:lnTo>
                    <a:pt x="159" y="195"/>
                  </a:lnTo>
                  <a:lnTo>
                    <a:pt x="156" y="193"/>
                  </a:lnTo>
                  <a:lnTo>
                    <a:pt x="154" y="193"/>
                  </a:lnTo>
                  <a:lnTo>
                    <a:pt x="151" y="193"/>
                  </a:lnTo>
                  <a:lnTo>
                    <a:pt x="151" y="195"/>
                  </a:lnTo>
                  <a:lnTo>
                    <a:pt x="154" y="195"/>
                  </a:lnTo>
                  <a:lnTo>
                    <a:pt x="154" y="197"/>
                  </a:lnTo>
                  <a:lnTo>
                    <a:pt x="151" y="197"/>
                  </a:lnTo>
                  <a:lnTo>
                    <a:pt x="151" y="195"/>
                  </a:lnTo>
                  <a:lnTo>
                    <a:pt x="149" y="195"/>
                  </a:lnTo>
                  <a:lnTo>
                    <a:pt x="149" y="197"/>
                  </a:lnTo>
                  <a:lnTo>
                    <a:pt x="147" y="200"/>
                  </a:lnTo>
                  <a:lnTo>
                    <a:pt x="149" y="200"/>
                  </a:lnTo>
                  <a:lnTo>
                    <a:pt x="147" y="200"/>
                  </a:lnTo>
                  <a:lnTo>
                    <a:pt x="147" y="202"/>
                  </a:lnTo>
                  <a:lnTo>
                    <a:pt x="144" y="202"/>
                  </a:lnTo>
                  <a:lnTo>
                    <a:pt x="142" y="202"/>
                  </a:lnTo>
                  <a:lnTo>
                    <a:pt x="140" y="202"/>
                  </a:lnTo>
                  <a:lnTo>
                    <a:pt x="140" y="204"/>
                  </a:lnTo>
                  <a:lnTo>
                    <a:pt x="140" y="202"/>
                  </a:lnTo>
                  <a:lnTo>
                    <a:pt x="140" y="204"/>
                  </a:lnTo>
                  <a:lnTo>
                    <a:pt x="137" y="202"/>
                  </a:lnTo>
                  <a:lnTo>
                    <a:pt x="137" y="204"/>
                  </a:lnTo>
                  <a:lnTo>
                    <a:pt x="137" y="207"/>
                  </a:lnTo>
                  <a:lnTo>
                    <a:pt x="137" y="209"/>
                  </a:lnTo>
                  <a:lnTo>
                    <a:pt x="135" y="209"/>
                  </a:lnTo>
                  <a:lnTo>
                    <a:pt x="135" y="212"/>
                  </a:lnTo>
                  <a:lnTo>
                    <a:pt x="132" y="212"/>
                  </a:lnTo>
                  <a:lnTo>
                    <a:pt x="132" y="214"/>
                  </a:lnTo>
                  <a:lnTo>
                    <a:pt x="132" y="212"/>
                  </a:lnTo>
                  <a:lnTo>
                    <a:pt x="130" y="214"/>
                  </a:lnTo>
                  <a:lnTo>
                    <a:pt x="130" y="212"/>
                  </a:lnTo>
                  <a:lnTo>
                    <a:pt x="128" y="212"/>
                  </a:lnTo>
                  <a:lnTo>
                    <a:pt x="128" y="214"/>
                  </a:lnTo>
                  <a:lnTo>
                    <a:pt x="125" y="214"/>
                  </a:lnTo>
                  <a:lnTo>
                    <a:pt x="123" y="214"/>
                  </a:lnTo>
                  <a:lnTo>
                    <a:pt x="121" y="214"/>
                  </a:lnTo>
                  <a:lnTo>
                    <a:pt x="118" y="214"/>
                  </a:lnTo>
                  <a:lnTo>
                    <a:pt x="116" y="214"/>
                  </a:lnTo>
                  <a:lnTo>
                    <a:pt x="114" y="214"/>
                  </a:lnTo>
                  <a:lnTo>
                    <a:pt x="111" y="216"/>
                  </a:lnTo>
                  <a:lnTo>
                    <a:pt x="106" y="216"/>
                  </a:lnTo>
                  <a:lnTo>
                    <a:pt x="104" y="216"/>
                  </a:lnTo>
                  <a:lnTo>
                    <a:pt x="102" y="216"/>
                  </a:lnTo>
                  <a:lnTo>
                    <a:pt x="102" y="219"/>
                  </a:lnTo>
                  <a:lnTo>
                    <a:pt x="102" y="221"/>
                  </a:lnTo>
                  <a:lnTo>
                    <a:pt x="99" y="221"/>
                  </a:lnTo>
                  <a:lnTo>
                    <a:pt x="99" y="223"/>
                  </a:lnTo>
                  <a:lnTo>
                    <a:pt x="97" y="223"/>
                  </a:lnTo>
                  <a:lnTo>
                    <a:pt x="97" y="226"/>
                  </a:lnTo>
                  <a:lnTo>
                    <a:pt x="95" y="226"/>
                  </a:lnTo>
                  <a:lnTo>
                    <a:pt x="92" y="226"/>
                  </a:lnTo>
                  <a:lnTo>
                    <a:pt x="90" y="226"/>
                  </a:lnTo>
                  <a:lnTo>
                    <a:pt x="90" y="223"/>
                  </a:lnTo>
                  <a:lnTo>
                    <a:pt x="90" y="221"/>
                  </a:lnTo>
                  <a:lnTo>
                    <a:pt x="87" y="221"/>
                  </a:lnTo>
                  <a:lnTo>
                    <a:pt x="90" y="221"/>
                  </a:lnTo>
                  <a:lnTo>
                    <a:pt x="87" y="221"/>
                  </a:lnTo>
                  <a:lnTo>
                    <a:pt x="87" y="219"/>
                  </a:lnTo>
                  <a:lnTo>
                    <a:pt x="85" y="221"/>
                  </a:lnTo>
                  <a:lnTo>
                    <a:pt x="85" y="219"/>
                  </a:lnTo>
                  <a:lnTo>
                    <a:pt x="83" y="219"/>
                  </a:lnTo>
                  <a:lnTo>
                    <a:pt x="83" y="216"/>
                  </a:lnTo>
                  <a:lnTo>
                    <a:pt x="83" y="214"/>
                  </a:lnTo>
                  <a:lnTo>
                    <a:pt x="80" y="214"/>
                  </a:lnTo>
                  <a:lnTo>
                    <a:pt x="78" y="214"/>
                  </a:lnTo>
                  <a:lnTo>
                    <a:pt x="76" y="214"/>
                  </a:lnTo>
                  <a:lnTo>
                    <a:pt x="73" y="214"/>
                  </a:lnTo>
                  <a:lnTo>
                    <a:pt x="73" y="216"/>
                  </a:lnTo>
                  <a:lnTo>
                    <a:pt x="71" y="216"/>
                  </a:lnTo>
                  <a:lnTo>
                    <a:pt x="68" y="216"/>
                  </a:lnTo>
                  <a:lnTo>
                    <a:pt x="66" y="216"/>
                  </a:lnTo>
                  <a:lnTo>
                    <a:pt x="64" y="216"/>
                  </a:lnTo>
                  <a:lnTo>
                    <a:pt x="64" y="214"/>
                  </a:lnTo>
                  <a:lnTo>
                    <a:pt x="61" y="214"/>
                  </a:lnTo>
                  <a:lnTo>
                    <a:pt x="59" y="214"/>
                  </a:lnTo>
                  <a:lnTo>
                    <a:pt x="57" y="214"/>
                  </a:lnTo>
                  <a:lnTo>
                    <a:pt x="57" y="216"/>
                  </a:lnTo>
                  <a:lnTo>
                    <a:pt x="57" y="214"/>
                  </a:lnTo>
                  <a:lnTo>
                    <a:pt x="54" y="214"/>
                  </a:lnTo>
                  <a:lnTo>
                    <a:pt x="57" y="214"/>
                  </a:lnTo>
                  <a:lnTo>
                    <a:pt x="54" y="214"/>
                  </a:lnTo>
                  <a:lnTo>
                    <a:pt x="54" y="212"/>
                  </a:lnTo>
                  <a:lnTo>
                    <a:pt x="52" y="212"/>
                  </a:lnTo>
                  <a:lnTo>
                    <a:pt x="49" y="212"/>
                  </a:lnTo>
                  <a:lnTo>
                    <a:pt x="49" y="214"/>
                  </a:lnTo>
                  <a:lnTo>
                    <a:pt x="49" y="212"/>
                  </a:lnTo>
                  <a:lnTo>
                    <a:pt x="47" y="212"/>
                  </a:lnTo>
                  <a:lnTo>
                    <a:pt x="45" y="214"/>
                  </a:lnTo>
                  <a:lnTo>
                    <a:pt x="42" y="214"/>
                  </a:lnTo>
                  <a:lnTo>
                    <a:pt x="42" y="212"/>
                  </a:lnTo>
                  <a:lnTo>
                    <a:pt x="40" y="212"/>
                  </a:lnTo>
                  <a:lnTo>
                    <a:pt x="40" y="209"/>
                  </a:lnTo>
                  <a:lnTo>
                    <a:pt x="38" y="209"/>
                  </a:lnTo>
                  <a:lnTo>
                    <a:pt x="38" y="207"/>
                  </a:lnTo>
                  <a:lnTo>
                    <a:pt x="35" y="207"/>
                  </a:lnTo>
                  <a:lnTo>
                    <a:pt x="33" y="207"/>
                  </a:lnTo>
                  <a:lnTo>
                    <a:pt x="33" y="209"/>
                  </a:lnTo>
                  <a:lnTo>
                    <a:pt x="33" y="212"/>
                  </a:lnTo>
                  <a:lnTo>
                    <a:pt x="30" y="212"/>
                  </a:lnTo>
                  <a:lnTo>
                    <a:pt x="28" y="212"/>
                  </a:lnTo>
                  <a:lnTo>
                    <a:pt x="28" y="214"/>
                  </a:lnTo>
                  <a:lnTo>
                    <a:pt x="28" y="212"/>
                  </a:lnTo>
                  <a:lnTo>
                    <a:pt x="26" y="212"/>
                  </a:lnTo>
                  <a:lnTo>
                    <a:pt x="26" y="214"/>
                  </a:lnTo>
                  <a:lnTo>
                    <a:pt x="23" y="214"/>
                  </a:lnTo>
                  <a:lnTo>
                    <a:pt x="23" y="212"/>
                  </a:lnTo>
                  <a:lnTo>
                    <a:pt x="23" y="209"/>
                  </a:lnTo>
                  <a:lnTo>
                    <a:pt x="23" y="207"/>
                  </a:lnTo>
                  <a:lnTo>
                    <a:pt x="21" y="207"/>
                  </a:lnTo>
                  <a:lnTo>
                    <a:pt x="19" y="207"/>
                  </a:lnTo>
                  <a:lnTo>
                    <a:pt x="16" y="207"/>
                  </a:lnTo>
                  <a:lnTo>
                    <a:pt x="14" y="207"/>
                  </a:lnTo>
                  <a:lnTo>
                    <a:pt x="16" y="207"/>
                  </a:lnTo>
                  <a:lnTo>
                    <a:pt x="14" y="207"/>
                  </a:lnTo>
                  <a:lnTo>
                    <a:pt x="14" y="204"/>
                  </a:lnTo>
                  <a:lnTo>
                    <a:pt x="16" y="204"/>
                  </a:lnTo>
                  <a:lnTo>
                    <a:pt x="14" y="204"/>
                  </a:lnTo>
                  <a:lnTo>
                    <a:pt x="14" y="202"/>
                  </a:lnTo>
                  <a:lnTo>
                    <a:pt x="11" y="202"/>
                  </a:lnTo>
                  <a:lnTo>
                    <a:pt x="11" y="200"/>
                  </a:lnTo>
                  <a:lnTo>
                    <a:pt x="9" y="200"/>
                  </a:lnTo>
                  <a:lnTo>
                    <a:pt x="7" y="200"/>
                  </a:lnTo>
                  <a:lnTo>
                    <a:pt x="7" y="197"/>
                  </a:lnTo>
                  <a:lnTo>
                    <a:pt x="7" y="195"/>
                  </a:lnTo>
                  <a:lnTo>
                    <a:pt x="4" y="195"/>
                  </a:lnTo>
                  <a:lnTo>
                    <a:pt x="4" y="193"/>
                  </a:lnTo>
                  <a:lnTo>
                    <a:pt x="2" y="193"/>
                  </a:lnTo>
                  <a:lnTo>
                    <a:pt x="0" y="193"/>
                  </a:lnTo>
                  <a:lnTo>
                    <a:pt x="0" y="190"/>
                  </a:lnTo>
                  <a:lnTo>
                    <a:pt x="0" y="188"/>
                  </a:lnTo>
                  <a:lnTo>
                    <a:pt x="0" y="185"/>
                  </a:lnTo>
                  <a:lnTo>
                    <a:pt x="2" y="183"/>
                  </a:lnTo>
                  <a:lnTo>
                    <a:pt x="4" y="183"/>
                  </a:lnTo>
                  <a:lnTo>
                    <a:pt x="4" y="181"/>
                  </a:lnTo>
                  <a:lnTo>
                    <a:pt x="7" y="178"/>
                  </a:lnTo>
                  <a:lnTo>
                    <a:pt x="7" y="176"/>
                  </a:lnTo>
                  <a:lnTo>
                    <a:pt x="7" y="174"/>
                  </a:lnTo>
                  <a:lnTo>
                    <a:pt x="9" y="174"/>
                  </a:lnTo>
                  <a:lnTo>
                    <a:pt x="7" y="171"/>
                  </a:lnTo>
                  <a:lnTo>
                    <a:pt x="9" y="171"/>
                  </a:lnTo>
                  <a:lnTo>
                    <a:pt x="9" y="169"/>
                  </a:lnTo>
                  <a:lnTo>
                    <a:pt x="9" y="166"/>
                  </a:lnTo>
                  <a:lnTo>
                    <a:pt x="11" y="166"/>
                  </a:lnTo>
                  <a:lnTo>
                    <a:pt x="11" y="164"/>
                  </a:lnTo>
                  <a:lnTo>
                    <a:pt x="14" y="164"/>
                  </a:lnTo>
                  <a:lnTo>
                    <a:pt x="14" y="162"/>
                  </a:lnTo>
                  <a:lnTo>
                    <a:pt x="14" y="159"/>
                  </a:lnTo>
                  <a:lnTo>
                    <a:pt x="16" y="159"/>
                  </a:lnTo>
                  <a:lnTo>
                    <a:pt x="16" y="162"/>
                  </a:lnTo>
                  <a:lnTo>
                    <a:pt x="19" y="162"/>
                  </a:lnTo>
                  <a:lnTo>
                    <a:pt x="21" y="162"/>
                  </a:lnTo>
                  <a:lnTo>
                    <a:pt x="23" y="162"/>
                  </a:lnTo>
                  <a:lnTo>
                    <a:pt x="23" y="164"/>
                  </a:lnTo>
                  <a:lnTo>
                    <a:pt x="26" y="164"/>
                  </a:lnTo>
                  <a:lnTo>
                    <a:pt x="23" y="164"/>
                  </a:lnTo>
                  <a:lnTo>
                    <a:pt x="23" y="162"/>
                  </a:lnTo>
                  <a:lnTo>
                    <a:pt x="23" y="159"/>
                  </a:lnTo>
                  <a:lnTo>
                    <a:pt x="26" y="159"/>
                  </a:lnTo>
                  <a:lnTo>
                    <a:pt x="23" y="159"/>
                  </a:lnTo>
                  <a:lnTo>
                    <a:pt x="26" y="159"/>
                  </a:lnTo>
                  <a:lnTo>
                    <a:pt x="23" y="159"/>
                  </a:lnTo>
                  <a:lnTo>
                    <a:pt x="23" y="157"/>
                  </a:lnTo>
                  <a:lnTo>
                    <a:pt x="23" y="159"/>
                  </a:lnTo>
                  <a:lnTo>
                    <a:pt x="23" y="157"/>
                  </a:lnTo>
                  <a:lnTo>
                    <a:pt x="21" y="157"/>
                  </a:lnTo>
                  <a:lnTo>
                    <a:pt x="19" y="157"/>
                  </a:lnTo>
                  <a:lnTo>
                    <a:pt x="21" y="157"/>
                  </a:lnTo>
                  <a:lnTo>
                    <a:pt x="21" y="155"/>
                  </a:lnTo>
                  <a:lnTo>
                    <a:pt x="19" y="155"/>
                  </a:lnTo>
                  <a:lnTo>
                    <a:pt x="19" y="157"/>
                  </a:lnTo>
                  <a:lnTo>
                    <a:pt x="19" y="155"/>
                  </a:lnTo>
                  <a:lnTo>
                    <a:pt x="21" y="155"/>
                  </a:lnTo>
                  <a:lnTo>
                    <a:pt x="19" y="155"/>
                  </a:lnTo>
                  <a:lnTo>
                    <a:pt x="19" y="152"/>
                  </a:lnTo>
                  <a:lnTo>
                    <a:pt x="21" y="150"/>
                  </a:lnTo>
                  <a:lnTo>
                    <a:pt x="21" y="147"/>
                  </a:lnTo>
                  <a:lnTo>
                    <a:pt x="21" y="145"/>
                  </a:lnTo>
                  <a:lnTo>
                    <a:pt x="19" y="143"/>
                  </a:lnTo>
                  <a:lnTo>
                    <a:pt x="19" y="140"/>
                  </a:lnTo>
                  <a:lnTo>
                    <a:pt x="16" y="140"/>
                  </a:lnTo>
                  <a:lnTo>
                    <a:pt x="16" y="138"/>
                  </a:lnTo>
                  <a:lnTo>
                    <a:pt x="19" y="138"/>
                  </a:lnTo>
                  <a:lnTo>
                    <a:pt x="19" y="135"/>
                  </a:lnTo>
                  <a:lnTo>
                    <a:pt x="21" y="133"/>
                  </a:lnTo>
                  <a:lnTo>
                    <a:pt x="21" y="131"/>
                  </a:lnTo>
                  <a:lnTo>
                    <a:pt x="23" y="131"/>
                  </a:lnTo>
                  <a:lnTo>
                    <a:pt x="23" y="128"/>
                  </a:lnTo>
                  <a:lnTo>
                    <a:pt x="26" y="128"/>
                  </a:lnTo>
                  <a:lnTo>
                    <a:pt x="26" y="126"/>
                  </a:lnTo>
                  <a:lnTo>
                    <a:pt x="28" y="126"/>
                  </a:lnTo>
                  <a:lnTo>
                    <a:pt x="28" y="124"/>
                  </a:lnTo>
                  <a:lnTo>
                    <a:pt x="30" y="121"/>
                  </a:lnTo>
                  <a:lnTo>
                    <a:pt x="30" y="119"/>
                  </a:lnTo>
                  <a:lnTo>
                    <a:pt x="33" y="119"/>
                  </a:lnTo>
                  <a:lnTo>
                    <a:pt x="33" y="116"/>
                  </a:lnTo>
                  <a:lnTo>
                    <a:pt x="35" y="114"/>
                  </a:lnTo>
                  <a:lnTo>
                    <a:pt x="38" y="112"/>
                  </a:lnTo>
                  <a:lnTo>
                    <a:pt x="40" y="109"/>
                  </a:lnTo>
                  <a:lnTo>
                    <a:pt x="42" y="107"/>
                  </a:lnTo>
                  <a:lnTo>
                    <a:pt x="45" y="105"/>
                  </a:lnTo>
                  <a:lnTo>
                    <a:pt x="47" y="105"/>
                  </a:lnTo>
                  <a:lnTo>
                    <a:pt x="47" y="102"/>
                  </a:lnTo>
                  <a:lnTo>
                    <a:pt x="49" y="102"/>
                  </a:lnTo>
                  <a:lnTo>
                    <a:pt x="49" y="100"/>
                  </a:lnTo>
                  <a:lnTo>
                    <a:pt x="52" y="100"/>
                  </a:lnTo>
                  <a:lnTo>
                    <a:pt x="52" y="97"/>
                  </a:lnTo>
                  <a:lnTo>
                    <a:pt x="54" y="97"/>
                  </a:lnTo>
                  <a:lnTo>
                    <a:pt x="54" y="95"/>
                  </a:lnTo>
                  <a:lnTo>
                    <a:pt x="59" y="95"/>
                  </a:lnTo>
                  <a:lnTo>
                    <a:pt x="61" y="95"/>
                  </a:lnTo>
                  <a:lnTo>
                    <a:pt x="64" y="95"/>
                  </a:lnTo>
                  <a:lnTo>
                    <a:pt x="64" y="93"/>
                  </a:lnTo>
                  <a:lnTo>
                    <a:pt x="64" y="90"/>
                  </a:lnTo>
                  <a:lnTo>
                    <a:pt x="64" y="88"/>
                  </a:lnTo>
                  <a:lnTo>
                    <a:pt x="64" y="86"/>
                  </a:lnTo>
                  <a:lnTo>
                    <a:pt x="64" y="83"/>
                  </a:lnTo>
                  <a:lnTo>
                    <a:pt x="64" y="81"/>
                  </a:lnTo>
                  <a:lnTo>
                    <a:pt x="61" y="81"/>
                  </a:lnTo>
                  <a:lnTo>
                    <a:pt x="61" y="78"/>
                  </a:lnTo>
                  <a:lnTo>
                    <a:pt x="59" y="76"/>
                  </a:lnTo>
                  <a:lnTo>
                    <a:pt x="61" y="76"/>
                  </a:lnTo>
                  <a:lnTo>
                    <a:pt x="61" y="74"/>
                  </a:lnTo>
                  <a:lnTo>
                    <a:pt x="61" y="76"/>
                  </a:lnTo>
                  <a:lnTo>
                    <a:pt x="61" y="74"/>
                  </a:lnTo>
                  <a:lnTo>
                    <a:pt x="61" y="76"/>
                  </a:lnTo>
                  <a:lnTo>
                    <a:pt x="61" y="74"/>
                  </a:lnTo>
                  <a:lnTo>
                    <a:pt x="61" y="76"/>
                  </a:lnTo>
                  <a:lnTo>
                    <a:pt x="61" y="74"/>
                  </a:lnTo>
                  <a:lnTo>
                    <a:pt x="61" y="76"/>
                  </a:lnTo>
                  <a:lnTo>
                    <a:pt x="64" y="74"/>
                  </a:lnTo>
                  <a:lnTo>
                    <a:pt x="64" y="76"/>
                  </a:lnTo>
                  <a:lnTo>
                    <a:pt x="66" y="76"/>
                  </a:lnTo>
                  <a:lnTo>
                    <a:pt x="66" y="74"/>
                  </a:lnTo>
                  <a:lnTo>
                    <a:pt x="64" y="74"/>
                  </a:lnTo>
                  <a:lnTo>
                    <a:pt x="64" y="71"/>
                  </a:lnTo>
                  <a:lnTo>
                    <a:pt x="61" y="71"/>
                  </a:lnTo>
                  <a:lnTo>
                    <a:pt x="61" y="69"/>
                  </a:lnTo>
                  <a:lnTo>
                    <a:pt x="59" y="67"/>
                  </a:lnTo>
                  <a:lnTo>
                    <a:pt x="59" y="64"/>
                  </a:lnTo>
                  <a:lnTo>
                    <a:pt x="57" y="64"/>
                  </a:lnTo>
                  <a:lnTo>
                    <a:pt x="57" y="62"/>
                  </a:lnTo>
                  <a:lnTo>
                    <a:pt x="57" y="64"/>
                  </a:lnTo>
                  <a:lnTo>
                    <a:pt x="57" y="62"/>
                  </a:lnTo>
                  <a:lnTo>
                    <a:pt x="57" y="59"/>
                  </a:lnTo>
                  <a:lnTo>
                    <a:pt x="57" y="62"/>
                  </a:lnTo>
                  <a:lnTo>
                    <a:pt x="57" y="59"/>
                  </a:lnTo>
                  <a:lnTo>
                    <a:pt x="57" y="62"/>
                  </a:lnTo>
                  <a:lnTo>
                    <a:pt x="57" y="59"/>
                  </a:lnTo>
                  <a:lnTo>
                    <a:pt x="54" y="59"/>
                  </a:lnTo>
                  <a:lnTo>
                    <a:pt x="54" y="57"/>
                  </a:lnTo>
                  <a:lnTo>
                    <a:pt x="52" y="57"/>
                  </a:lnTo>
                  <a:lnTo>
                    <a:pt x="52" y="55"/>
                  </a:lnTo>
                  <a:lnTo>
                    <a:pt x="52" y="52"/>
                  </a:lnTo>
                  <a:lnTo>
                    <a:pt x="52" y="55"/>
                  </a:lnTo>
                  <a:lnTo>
                    <a:pt x="52" y="52"/>
                  </a:lnTo>
                  <a:lnTo>
                    <a:pt x="49" y="52"/>
                  </a:lnTo>
                  <a:lnTo>
                    <a:pt x="49" y="50"/>
                  </a:lnTo>
                  <a:lnTo>
                    <a:pt x="52" y="50"/>
                  </a:lnTo>
                  <a:lnTo>
                    <a:pt x="52" y="48"/>
                  </a:lnTo>
                  <a:lnTo>
                    <a:pt x="52" y="45"/>
                  </a:lnTo>
                  <a:lnTo>
                    <a:pt x="52" y="48"/>
                  </a:lnTo>
                  <a:lnTo>
                    <a:pt x="52" y="45"/>
                  </a:lnTo>
                  <a:lnTo>
                    <a:pt x="49" y="45"/>
                  </a:lnTo>
                  <a:lnTo>
                    <a:pt x="49" y="43"/>
                  </a:lnTo>
                  <a:lnTo>
                    <a:pt x="52" y="43"/>
                  </a:lnTo>
                  <a:lnTo>
                    <a:pt x="49" y="43"/>
                  </a:lnTo>
                  <a:lnTo>
                    <a:pt x="49" y="40"/>
                  </a:lnTo>
                  <a:lnTo>
                    <a:pt x="49" y="38"/>
                  </a:lnTo>
                  <a:lnTo>
                    <a:pt x="49" y="36"/>
                  </a:lnTo>
                  <a:lnTo>
                    <a:pt x="52" y="36"/>
                  </a:lnTo>
                  <a:lnTo>
                    <a:pt x="54" y="36"/>
                  </a:lnTo>
                  <a:lnTo>
                    <a:pt x="54" y="33"/>
                  </a:lnTo>
                  <a:lnTo>
                    <a:pt x="54" y="36"/>
                  </a:lnTo>
                  <a:lnTo>
                    <a:pt x="57" y="36"/>
                  </a:lnTo>
                  <a:lnTo>
                    <a:pt x="59" y="36"/>
                  </a:lnTo>
                  <a:lnTo>
                    <a:pt x="57" y="38"/>
                  </a:lnTo>
                  <a:lnTo>
                    <a:pt x="59" y="38"/>
                  </a:lnTo>
                  <a:lnTo>
                    <a:pt x="61" y="38"/>
                  </a:lnTo>
                  <a:lnTo>
                    <a:pt x="64" y="36"/>
                  </a:lnTo>
                  <a:lnTo>
                    <a:pt x="66" y="33"/>
                  </a:lnTo>
                  <a:lnTo>
                    <a:pt x="71" y="31"/>
                  </a:lnTo>
                  <a:lnTo>
                    <a:pt x="71" y="29"/>
                  </a:lnTo>
                  <a:lnTo>
                    <a:pt x="71" y="26"/>
                  </a:lnTo>
                  <a:lnTo>
                    <a:pt x="73" y="26"/>
                  </a:lnTo>
                  <a:lnTo>
                    <a:pt x="73" y="24"/>
                  </a:lnTo>
                  <a:lnTo>
                    <a:pt x="78" y="24"/>
                  </a:lnTo>
                  <a:lnTo>
                    <a:pt x="80" y="24"/>
                  </a:lnTo>
                  <a:lnTo>
                    <a:pt x="83" y="24"/>
                  </a:lnTo>
                  <a:lnTo>
                    <a:pt x="85" y="24"/>
                  </a:lnTo>
                  <a:lnTo>
                    <a:pt x="87" y="24"/>
                  </a:lnTo>
                  <a:lnTo>
                    <a:pt x="87" y="21"/>
                  </a:lnTo>
                  <a:lnTo>
                    <a:pt x="90" y="21"/>
                  </a:lnTo>
                  <a:lnTo>
                    <a:pt x="90" y="24"/>
                  </a:lnTo>
                  <a:lnTo>
                    <a:pt x="92" y="21"/>
                  </a:lnTo>
                  <a:lnTo>
                    <a:pt x="92" y="24"/>
                  </a:lnTo>
                  <a:lnTo>
                    <a:pt x="95" y="21"/>
                  </a:lnTo>
                  <a:lnTo>
                    <a:pt x="92" y="21"/>
                  </a:lnTo>
                  <a:lnTo>
                    <a:pt x="95" y="21"/>
                  </a:lnTo>
                  <a:lnTo>
                    <a:pt x="97" y="21"/>
                  </a:lnTo>
                  <a:lnTo>
                    <a:pt x="97" y="19"/>
                  </a:lnTo>
                  <a:lnTo>
                    <a:pt x="99" y="21"/>
                  </a:lnTo>
                  <a:lnTo>
                    <a:pt x="99" y="19"/>
                  </a:lnTo>
                  <a:lnTo>
                    <a:pt x="102" y="19"/>
                  </a:lnTo>
                  <a:lnTo>
                    <a:pt x="104" y="19"/>
                  </a:lnTo>
                  <a:lnTo>
                    <a:pt x="104" y="21"/>
                  </a:lnTo>
                  <a:lnTo>
                    <a:pt x="106" y="21"/>
                  </a:lnTo>
                  <a:lnTo>
                    <a:pt x="109" y="21"/>
                  </a:lnTo>
                  <a:lnTo>
                    <a:pt x="111" y="21"/>
                  </a:lnTo>
                  <a:lnTo>
                    <a:pt x="114" y="21"/>
                  </a:lnTo>
                  <a:lnTo>
                    <a:pt x="116" y="21"/>
                  </a:lnTo>
                  <a:lnTo>
                    <a:pt x="118" y="21"/>
                  </a:lnTo>
                  <a:lnTo>
                    <a:pt x="121" y="21"/>
                  </a:lnTo>
                  <a:lnTo>
                    <a:pt x="123" y="21"/>
                  </a:lnTo>
                  <a:lnTo>
                    <a:pt x="125" y="21"/>
                  </a:lnTo>
                  <a:lnTo>
                    <a:pt x="128" y="21"/>
                  </a:lnTo>
                  <a:lnTo>
                    <a:pt x="130" y="21"/>
                  </a:lnTo>
                  <a:lnTo>
                    <a:pt x="130" y="24"/>
                  </a:lnTo>
                  <a:lnTo>
                    <a:pt x="132" y="24"/>
                  </a:lnTo>
                  <a:lnTo>
                    <a:pt x="135" y="24"/>
                  </a:lnTo>
                  <a:lnTo>
                    <a:pt x="137" y="24"/>
                  </a:lnTo>
                  <a:lnTo>
                    <a:pt x="140" y="24"/>
                  </a:lnTo>
                  <a:lnTo>
                    <a:pt x="140" y="26"/>
                  </a:lnTo>
                  <a:lnTo>
                    <a:pt x="142" y="26"/>
                  </a:lnTo>
                  <a:lnTo>
                    <a:pt x="142" y="29"/>
                  </a:lnTo>
                  <a:lnTo>
                    <a:pt x="144" y="29"/>
                  </a:lnTo>
                  <a:lnTo>
                    <a:pt x="147" y="29"/>
                  </a:lnTo>
                  <a:lnTo>
                    <a:pt x="147" y="26"/>
                  </a:lnTo>
                  <a:lnTo>
                    <a:pt x="149" y="26"/>
                  </a:lnTo>
                  <a:lnTo>
                    <a:pt x="151" y="26"/>
                  </a:lnTo>
                  <a:lnTo>
                    <a:pt x="151" y="29"/>
                  </a:lnTo>
                  <a:lnTo>
                    <a:pt x="154" y="29"/>
                  </a:lnTo>
                  <a:lnTo>
                    <a:pt x="154" y="31"/>
                  </a:lnTo>
                  <a:lnTo>
                    <a:pt x="154" y="29"/>
                  </a:lnTo>
                  <a:lnTo>
                    <a:pt x="156" y="29"/>
                  </a:lnTo>
                  <a:lnTo>
                    <a:pt x="156" y="31"/>
                  </a:lnTo>
                  <a:lnTo>
                    <a:pt x="159" y="31"/>
                  </a:lnTo>
                  <a:lnTo>
                    <a:pt x="161" y="29"/>
                  </a:lnTo>
                  <a:lnTo>
                    <a:pt x="163" y="29"/>
                  </a:lnTo>
                  <a:lnTo>
                    <a:pt x="168" y="29"/>
                  </a:lnTo>
                  <a:lnTo>
                    <a:pt x="168" y="31"/>
                  </a:lnTo>
                  <a:lnTo>
                    <a:pt x="168" y="33"/>
                  </a:lnTo>
                  <a:lnTo>
                    <a:pt x="168" y="36"/>
                  </a:lnTo>
                  <a:lnTo>
                    <a:pt x="170" y="36"/>
                  </a:lnTo>
                  <a:lnTo>
                    <a:pt x="168" y="36"/>
                  </a:lnTo>
                  <a:lnTo>
                    <a:pt x="168" y="38"/>
                  </a:lnTo>
                  <a:lnTo>
                    <a:pt x="170" y="38"/>
                  </a:lnTo>
                  <a:lnTo>
                    <a:pt x="173" y="36"/>
                  </a:lnTo>
                  <a:lnTo>
                    <a:pt x="173" y="38"/>
                  </a:lnTo>
                  <a:lnTo>
                    <a:pt x="175" y="38"/>
                  </a:lnTo>
                  <a:lnTo>
                    <a:pt x="175" y="36"/>
                  </a:lnTo>
                  <a:lnTo>
                    <a:pt x="175" y="38"/>
                  </a:lnTo>
                  <a:lnTo>
                    <a:pt x="178" y="38"/>
                  </a:lnTo>
                  <a:lnTo>
                    <a:pt x="175" y="38"/>
                  </a:lnTo>
                  <a:lnTo>
                    <a:pt x="178" y="38"/>
                  </a:lnTo>
                  <a:lnTo>
                    <a:pt x="178" y="36"/>
                  </a:lnTo>
                  <a:lnTo>
                    <a:pt x="180" y="36"/>
                  </a:lnTo>
                  <a:lnTo>
                    <a:pt x="180" y="38"/>
                  </a:lnTo>
                  <a:lnTo>
                    <a:pt x="182" y="38"/>
                  </a:lnTo>
                  <a:lnTo>
                    <a:pt x="185" y="38"/>
                  </a:lnTo>
                  <a:lnTo>
                    <a:pt x="185" y="40"/>
                  </a:lnTo>
                  <a:lnTo>
                    <a:pt x="182" y="40"/>
                  </a:lnTo>
                  <a:lnTo>
                    <a:pt x="182" y="43"/>
                  </a:lnTo>
                  <a:lnTo>
                    <a:pt x="185" y="43"/>
                  </a:lnTo>
                  <a:lnTo>
                    <a:pt x="187" y="43"/>
                  </a:lnTo>
                  <a:lnTo>
                    <a:pt x="187" y="40"/>
                  </a:lnTo>
                  <a:lnTo>
                    <a:pt x="189" y="40"/>
                  </a:lnTo>
                  <a:lnTo>
                    <a:pt x="187" y="40"/>
                  </a:lnTo>
                  <a:lnTo>
                    <a:pt x="187" y="38"/>
                  </a:lnTo>
                  <a:lnTo>
                    <a:pt x="187" y="36"/>
                  </a:lnTo>
                  <a:lnTo>
                    <a:pt x="189" y="36"/>
                  </a:lnTo>
                  <a:lnTo>
                    <a:pt x="192" y="38"/>
                  </a:lnTo>
                  <a:lnTo>
                    <a:pt x="192" y="40"/>
                  </a:lnTo>
                  <a:lnTo>
                    <a:pt x="194" y="38"/>
                  </a:lnTo>
                  <a:lnTo>
                    <a:pt x="197" y="38"/>
                  </a:lnTo>
                  <a:lnTo>
                    <a:pt x="199" y="38"/>
                  </a:lnTo>
                  <a:lnTo>
                    <a:pt x="199" y="36"/>
                  </a:lnTo>
                  <a:lnTo>
                    <a:pt x="201" y="36"/>
                  </a:lnTo>
                  <a:lnTo>
                    <a:pt x="201" y="33"/>
                  </a:lnTo>
                  <a:lnTo>
                    <a:pt x="201" y="36"/>
                  </a:lnTo>
                  <a:lnTo>
                    <a:pt x="204" y="36"/>
                  </a:lnTo>
                  <a:lnTo>
                    <a:pt x="204" y="38"/>
                  </a:lnTo>
                  <a:lnTo>
                    <a:pt x="206" y="40"/>
                  </a:lnTo>
                  <a:lnTo>
                    <a:pt x="208" y="38"/>
                  </a:lnTo>
                  <a:lnTo>
                    <a:pt x="211" y="38"/>
                  </a:lnTo>
                  <a:lnTo>
                    <a:pt x="216" y="38"/>
                  </a:lnTo>
                  <a:lnTo>
                    <a:pt x="213" y="40"/>
                  </a:lnTo>
                  <a:lnTo>
                    <a:pt x="216" y="40"/>
                  </a:lnTo>
                  <a:lnTo>
                    <a:pt x="216" y="43"/>
                  </a:lnTo>
                  <a:lnTo>
                    <a:pt x="216" y="45"/>
                  </a:lnTo>
                  <a:lnTo>
                    <a:pt x="218" y="45"/>
                  </a:lnTo>
                  <a:lnTo>
                    <a:pt x="218" y="48"/>
                  </a:lnTo>
                  <a:lnTo>
                    <a:pt x="218" y="45"/>
                  </a:lnTo>
                  <a:lnTo>
                    <a:pt x="218" y="43"/>
                  </a:lnTo>
                  <a:lnTo>
                    <a:pt x="220" y="40"/>
                  </a:lnTo>
                  <a:lnTo>
                    <a:pt x="223" y="38"/>
                  </a:lnTo>
                  <a:lnTo>
                    <a:pt x="225" y="38"/>
                  </a:lnTo>
                  <a:lnTo>
                    <a:pt x="227" y="38"/>
                  </a:lnTo>
                  <a:lnTo>
                    <a:pt x="227" y="36"/>
                  </a:lnTo>
                  <a:lnTo>
                    <a:pt x="230" y="36"/>
                  </a:lnTo>
                  <a:lnTo>
                    <a:pt x="232" y="36"/>
                  </a:lnTo>
                  <a:lnTo>
                    <a:pt x="232" y="38"/>
                  </a:lnTo>
                  <a:lnTo>
                    <a:pt x="235" y="38"/>
                  </a:lnTo>
                  <a:lnTo>
                    <a:pt x="235" y="40"/>
                  </a:lnTo>
                  <a:lnTo>
                    <a:pt x="235" y="43"/>
                  </a:lnTo>
                  <a:lnTo>
                    <a:pt x="235" y="45"/>
                  </a:lnTo>
                  <a:lnTo>
                    <a:pt x="237" y="45"/>
                  </a:lnTo>
                  <a:lnTo>
                    <a:pt x="237" y="48"/>
                  </a:lnTo>
                  <a:lnTo>
                    <a:pt x="239" y="48"/>
                  </a:lnTo>
                  <a:lnTo>
                    <a:pt x="242" y="48"/>
                  </a:lnTo>
                  <a:lnTo>
                    <a:pt x="244" y="48"/>
                  </a:lnTo>
                  <a:lnTo>
                    <a:pt x="244" y="45"/>
                  </a:lnTo>
                  <a:lnTo>
                    <a:pt x="244" y="43"/>
                  </a:lnTo>
                  <a:lnTo>
                    <a:pt x="244" y="45"/>
                  </a:lnTo>
                  <a:lnTo>
                    <a:pt x="246" y="45"/>
                  </a:lnTo>
                  <a:lnTo>
                    <a:pt x="246" y="43"/>
                  </a:lnTo>
                  <a:lnTo>
                    <a:pt x="249" y="43"/>
                  </a:lnTo>
                  <a:lnTo>
                    <a:pt x="249" y="40"/>
                  </a:lnTo>
                  <a:lnTo>
                    <a:pt x="251" y="40"/>
                  </a:lnTo>
                  <a:lnTo>
                    <a:pt x="251" y="43"/>
                  </a:lnTo>
                  <a:lnTo>
                    <a:pt x="251" y="45"/>
                  </a:lnTo>
                  <a:lnTo>
                    <a:pt x="253" y="45"/>
                  </a:lnTo>
                  <a:lnTo>
                    <a:pt x="256" y="45"/>
                  </a:lnTo>
                  <a:lnTo>
                    <a:pt x="256" y="43"/>
                  </a:lnTo>
                  <a:lnTo>
                    <a:pt x="258" y="43"/>
                  </a:lnTo>
                  <a:lnTo>
                    <a:pt x="261" y="43"/>
                  </a:lnTo>
                  <a:lnTo>
                    <a:pt x="263" y="43"/>
                  </a:lnTo>
                  <a:lnTo>
                    <a:pt x="265" y="43"/>
                  </a:lnTo>
                  <a:lnTo>
                    <a:pt x="268" y="43"/>
                  </a:lnTo>
                  <a:lnTo>
                    <a:pt x="268" y="45"/>
                  </a:lnTo>
                  <a:lnTo>
                    <a:pt x="270" y="45"/>
                  </a:lnTo>
                  <a:lnTo>
                    <a:pt x="270" y="48"/>
                  </a:lnTo>
                  <a:lnTo>
                    <a:pt x="270" y="50"/>
                  </a:lnTo>
                  <a:lnTo>
                    <a:pt x="272" y="50"/>
                  </a:lnTo>
                  <a:lnTo>
                    <a:pt x="272" y="52"/>
                  </a:lnTo>
                  <a:lnTo>
                    <a:pt x="275" y="52"/>
                  </a:lnTo>
                  <a:lnTo>
                    <a:pt x="275" y="55"/>
                  </a:lnTo>
                  <a:lnTo>
                    <a:pt x="275" y="52"/>
                  </a:lnTo>
                  <a:lnTo>
                    <a:pt x="277" y="55"/>
                  </a:lnTo>
                  <a:lnTo>
                    <a:pt x="280" y="52"/>
                  </a:lnTo>
                  <a:lnTo>
                    <a:pt x="280" y="50"/>
                  </a:lnTo>
                  <a:lnTo>
                    <a:pt x="282" y="48"/>
                  </a:lnTo>
                  <a:lnTo>
                    <a:pt x="280" y="48"/>
                  </a:lnTo>
                  <a:lnTo>
                    <a:pt x="280" y="45"/>
                  </a:lnTo>
                  <a:lnTo>
                    <a:pt x="277" y="45"/>
                  </a:lnTo>
                  <a:lnTo>
                    <a:pt x="280" y="45"/>
                  </a:lnTo>
                  <a:lnTo>
                    <a:pt x="280" y="43"/>
                  </a:lnTo>
                  <a:lnTo>
                    <a:pt x="277" y="43"/>
                  </a:lnTo>
                  <a:lnTo>
                    <a:pt x="277" y="40"/>
                  </a:lnTo>
                  <a:lnTo>
                    <a:pt x="280" y="40"/>
                  </a:lnTo>
                  <a:lnTo>
                    <a:pt x="277" y="40"/>
                  </a:lnTo>
                  <a:lnTo>
                    <a:pt x="277" y="38"/>
                  </a:lnTo>
                  <a:lnTo>
                    <a:pt x="275" y="38"/>
                  </a:lnTo>
                  <a:lnTo>
                    <a:pt x="277" y="38"/>
                  </a:lnTo>
                  <a:lnTo>
                    <a:pt x="277" y="36"/>
                  </a:lnTo>
                  <a:lnTo>
                    <a:pt x="277" y="33"/>
                  </a:lnTo>
                  <a:lnTo>
                    <a:pt x="277" y="36"/>
                  </a:lnTo>
                  <a:lnTo>
                    <a:pt x="277" y="33"/>
                  </a:lnTo>
                  <a:lnTo>
                    <a:pt x="277" y="31"/>
                  </a:lnTo>
                  <a:lnTo>
                    <a:pt x="280" y="31"/>
                  </a:lnTo>
                  <a:lnTo>
                    <a:pt x="280" y="33"/>
                  </a:lnTo>
                  <a:lnTo>
                    <a:pt x="280" y="31"/>
                  </a:lnTo>
                  <a:lnTo>
                    <a:pt x="280" y="29"/>
                  </a:lnTo>
                  <a:lnTo>
                    <a:pt x="282" y="29"/>
                  </a:lnTo>
                  <a:lnTo>
                    <a:pt x="282" y="26"/>
                  </a:lnTo>
                  <a:lnTo>
                    <a:pt x="282" y="24"/>
                  </a:lnTo>
                  <a:lnTo>
                    <a:pt x="284" y="24"/>
                  </a:lnTo>
                  <a:lnTo>
                    <a:pt x="284" y="21"/>
                  </a:lnTo>
                  <a:lnTo>
                    <a:pt x="284" y="24"/>
                  </a:lnTo>
                  <a:lnTo>
                    <a:pt x="287" y="21"/>
                  </a:lnTo>
                  <a:lnTo>
                    <a:pt x="287" y="19"/>
                  </a:lnTo>
                  <a:lnTo>
                    <a:pt x="289" y="19"/>
                  </a:lnTo>
                  <a:lnTo>
                    <a:pt x="289" y="17"/>
                  </a:lnTo>
                  <a:lnTo>
                    <a:pt x="291" y="17"/>
                  </a:lnTo>
                  <a:lnTo>
                    <a:pt x="289" y="17"/>
                  </a:lnTo>
                  <a:lnTo>
                    <a:pt x="291" y="17"/>
                  </a:lnTo>
                  <a:lnTo>
                    <a:pt x="291" y="14"/>
                  </a:lnTo>
                  <a:lnTo>
                    <a:pt x="289" y="14"/>
                  </a:lnTo>
                  <a:lnTo>
                    <a:pt x="291" y="14"/>
                  </a:lnTo>
                  <a:lnTo>
                    <a:pt x="294" y="14"/>
                  </a:lnTo>
                  <a:lnTo>
                    <a:pt x="296" y="14"/>
                  </a:lnTo>
                  <a:lnTo>
                    <a:pt x="296" y="12"/>
                  </a:lnTo>
                  <a:lnTo>
                    <a:pt x="296" y="14"/>
                  </a:lnTo>
                  <a:lnTo>
                    <a:pt x="299" y="14"/>
                  </a:lnTo>
                  <a:lnTo>
                    <a:pt x="301" y="17"/>
                  </a:lnTo>
                  <a:lnTo>
                    <a:pt x="301" y="14"/>
                  </a:lnTo>
                  <a:lnTo>
                    <a:pt x="303" y="14"/>
                  </a:lnTo>
                  <a:lnTo>
                    <a:pt x="303" y="12"/>
                  </a:lnTo>
                  <a:lnTo>
                    <a:pt x="306" y="12"/>
                  </a:lnTo>
                  <a:lnTo>
                    <a:pt x="308" y="12"/>
                  </a:lnTo>
                  <a:lnTo>
                    <a:pt x="310" y="12"/>
                  </a:lnTo>
                  <a:lnTo>
                    <a:pt x="313" y="12"/>
                  </a:lnTo>
                  <a:lnTo>
                    <a:pt x="315" y="12"/>
                  </a:lnTo>
                  <a:lnTo>
                    <a:pt x="318" y="12"/>
                  </a:lnTo>
                  <a:lnTo>
                    <a:pt x="320" y="12"/>
                  </a:lnTo>
                  <a:lnTo>
                    <a:pt x="322" y="12"/>
                  </a:lnTo>
                  <a:lnTo>
                    <a:pt x="322" y="14"/>
                  </a:lnTo>
                  <a:lnTo>
                    <a:pt x="325" y="14"/>
                  </a:lnTo>
                  <a:lnTo>
                    <a:pt x="322" y="14"/>
                  </a:lnTo>
                  <a:lnTo>
                    <a:pt x="322" y="17"/>
                  </a:lnTo>
                  <a:lnTo>
                    <a:pt x="322" y="14"/>
                  </a:lnTo>
                  <a:lnTo>
                    <a:pt x="322" y="17"/>
                  </a:lnTo>
                  <a:lnTo>
                    <a:pt x="325" y="14"/>
                  </a:lnTo>
                  <a:lnTo>
                    <a:pt x="327" y="14"/>
                  </a:lnTo>
                  <a:lnTo>
                    <a:pt x="327" y="17"/>
                  </a:lnTo>
                  <a:lnTo>
                    <a:pt x="329" y="17"/>
                  </a:lnTo>
                  <a:lnTo>
                    <a:pt x="329" y="14"/>
                  </a:lnTo>
                  <a:lnTo>
                    <a:pt x="332" y="14"/>
                  </a:lnTo>
                  <a:lnTo>
                    <a:pt x="334" y="14"/>
                  </a:lnTo>
                  <a:lnTo>
                    <a:pt x="334" y="12"/>
                  </a:lnTo>
                  <a:lnTo>
                    <a:pt x="337" y="12"/>
                  </a:lnTo>
                  <a:lnTo>
                    <a:pt x="337" y="10"/>
                  </a:lnTo>
                  <a:lnTo>
                    <a:pt x="337" y="7"/>
                  </a:lnTo>
                  <a:lnTo>
                    <a:pt x="337" y="5"/>
                  </a:lnTo>
                  <a:lnTo>
                    <a:pt x="337" y="7"/>
                  </a:lnTo>
                  <a:lnTo>
                    <a:pt x="337" y="5"/>
                  </a:lnTo>
                  <a:lnTo>
                    <a:pt x="337" y="7"/>
                  </a:lnTo>
                  <a:lnTo>
                    <a:pt x="339" y="5"/>
                  </a:lnTo>
                  <a:lnTo>
                    <a:pt x="337" y="5"/>
                  </a:lnTo>
                  <a:lnTo>
                    <a:pt x="337" y="2"/>
                  </a:lnTo>
                  <a:lnTo>
                    <a:pt x="337" y="0"/>
                  </a:lnTo>
                  <a:lnTo>
                    <a:pt x="339" y="0"/>
                  </a:lnTo>
                  <a:lnTo>
                    <a:pt x="339" y="2"/>
                  </a:lnTo>
                  <a:lnTo>
                    <a:pt x="341" y="2"/>
                  </a:lnTo>
                  <a:lnTo>
                    <a:pt x="344" y="2"/>
                  </a:lnTo>
                  <a:lnTo>
                    <a:pt x="346" y="2"/>
                  </a:lnTo>
                  <a:lnTo>
                    <a:pt x="348" y="5"/>
                  </a:lnTo>
                  <a:lnTo>
                    <a:pt x="351" y="5"/>
                  </a:lnTo>
                  <a:lnTo>
                    <a:pt x="353" y="5"/>
                  </a:lnTo>
                  <a:lnTo>
                    <a:pt x="356" y="5"/>
                  </a:lnTo>
                  <a:lnTo>
                    <a:pt x="353" y="5"/>
                  </a:lnTo>
                  <a:lnTo>
                    <a:pt x="356" y="5"/>
                  </a:lnTo>
                  <a:lnTo>
                    <a:pt x="358" y="5"/>
                  </a:lnTo>
                  <a:lnTo>
                    <a:pt x="358" y="2"/>
                  </a:lnTo>
                  <a:lnTo>
                    <a:pt x="360" y="2"/>
                  </a:lnTo>
                  <a:lnTo>
                    <a:pt x="363" y="2"/>
                  </a:lnTo>
                  <a:lnTo>
                    <a:pt x="363" y="0"/>
                  </a:lnTo>
                  <a:lnTo>
                    <a:pt x="365" y="0"/>
                  </a:lnTo>
                  <a:lnTo>
                    <a:pt x="363" y="0"/>
                  </a:lnTo>
                  <a:lnTo>
                    <a:pt x="365" y="0"/>
                  </a:lnTo>
                  <a:lnTo>
                    <a:pt x="367" y="0"/>
                  </a:lnTo>
                  <a:lnTo>
                    <a:pt x="370" y="0"/>
                  </a:lnTo>
                  <a:lnTo>
                    <a:pt x="372" y="0"/>
                  </a:lnTo>
                  <a:lnTo>
                    <a:pt x="375" y="0"/>
                  </a:lnTo>
                  <a:lnTo>
                    <a:pt x="375" y="2"/>
                  </a:lnTo>
                  <a:lnTo>
                    <a:pt x="377" y="2"/>
                  </a:lnTo>
                  <a:lnTo>
                    <a:pt x="379" y="2"/>
                  </a:lnTo>
                  <a:lnTo>
                    <a:pt x="379" y="0"/>
                  </a:lnTo>
                  <a:lnTo>
                    <a:pt x="382" y="0"/>
                  </a:lnTo>
                  <a:lnTo>
                    <a:pt x="384" y="0"/>
                  </a:lnTo>
                  <a:lnTo>
                    <a:pt x="386" y="0"/>
                  </a:lnTo>
                  <a:lnTo>
                    <a:pt x="386" y="2"/>
                  </a:lnTo>
                  <a:lnTo>
                    <a:pt x="389" y="2"/>
                  </a:lnTo>
                  <a:lnTo>
                    <a:pt x="389" y="5"/>
                  </a:lnTo>
                  <a:lnTo>
                    <a:pt x="389" y="7"/>
                  </a:lnTo>
                  <a:lnTo>
                    <a:pt x="391" y="7"/>
                  </a:lnTo>
                  <a:lnTo>
                    <a:pt x="393" y="7"/>
                  </a:lnTo>
                  <a:lnTo>
                    <a:pt x="393" y="10"/>
                  </a:lnTo>
                  <a:lnTo>
                    <a:pt x="396" y="12"/>
                  </a:lnTo>
                  <a:lnTo>
                    <a:pt x="393" y="12"/>
                  </a:lnTo>
                  <a:lnTo>
                    <a:pt x="393" y="14"/>
                  </a:lnTo>
                  <a:lnTo>
                    <a:pt x="393" y="17"/>
                  </a:lnTo>
                  <a:lnTo>
                    <a:pt x="396" y="17"/>
                  </a:lnTo>
                  <a:lnTo>
                    <a:pt x="396" y="19"/>
                  </a:lnTo>
                  <a:lnTo>
                    <a:pt x="398" y="19"/>
                  </a:lnTo>
                  <a:lnTo>
                    <a:pt x="398" y="21"/>
                  </a:lnTo>
                  <a:lnTo>
                    <a:pt x="401" y="21"/>
                  </a:lnTo>
                  <a:lnTo>
                    <a:pt x="401" y="24"/>
                  </a:lnTo>
                  <a:lnTo>
                    <a:pt x="403" y="24"/>
                  </a:lnTo>
                  <a:lnTo>
                    <a:pt x="403" y="26"/>
                  </a:lnTo>
                  <a:lnTo>
                    <a:pt x="405" y="26"/>
                  </a:lnTo>
                  <a:lnTo>
                    <a:pt x="405" y="29"/>
                  </a:lnTo>
                  <a:lnTo>
                    <a:pt x="405" y="31"/>
                  </a:lnTo>
                  <a:lnTo>
                    <a:pt x="403" y="31"/>
                  </a:lnTo>
                  <a:lnTo>
                    <a:pt x="401" y="31"/>
                  </a:lnTo>
                  <a:lnTo>
                    <a:pt x="401" y="33"/>
                  </a:lnTo>
                  <a:lnTo>
                    <a:pt x="398" y="33"/>
                  </a:lnTo>
                  <a:lnTo>
                    <a:pt x="396" y="33"/>
                  </a:lnTo>
                  <a:lnTo>
                    <a:pt x="393" y="33"/>
                  </a:lnTo>
                  <a:lnTo>
                    <a:pt x="393" y="36"/>
                  </a:lnTo>
                  <a:lnTo>
                    <a:pt x="396" y="36"/>
                  </a:lnTo>
                  <a:lnTo>
                    <a:pt x="398" y="36"/>
                  </a:lnTo>
                  <a:lnTo>
                    <a:pt x="398" y="38"/>
                  </a:lnTo>
                  <a:lnTo>
                    <a:pt x="401" y="40"/>
                  </a:lnTo>
                  <a:lnTo>
                    <a:pt x="401" y="43"/>
                  </a:lnTo>
                  <a:lnTo>
                    <a:pt x="401" y="45"/>
                  </a:lnTo>
                  <a:lnTo>
                    <a:pt x="398" y="45"/>
                  </a:lnTo>
                  <a:lnTo>
                    <a:pt x="398" y="48"/>
                  </a:lnTo>
                  <a:lnTo>
                    <a:pt x="401" y="48"/>
                  </a:lnTo>
                  <a:lnTo>
                    <a:pt x="401" y="50"/>
                  </a:lnTo>
                  <a:lnTo>
                    <a:pt x="403" y="50"/>
                  </a:lnTo>
                  <a:lnTo>
                    <a:pt x="401" y="50"/>
                  </a:lnTo>
                  <a:lnTo>
                    <a:pt x="401" y="52"/>
                  </a:lnTo>
                  <a:lnTo>
                    <a:pt x="398" y="52"/>
                  </a:lnTo>
                  <a:lnTo>
                    <a:pt x="398" y="55"/>
                  </a:lnTo>
                  <a:lnTo>
                    <a:pt x="401" y="55"/>
                  </a:lnTo>
                  <a:lnTo>
                    <a:pt x="403" y="55"/>
                  </a:lnTo>
                  <a:lnTo>
                    <a:pt x="405" y="55"/>
                  </a:lnTo>
                  <a:lnTo>
                    <a:pt x="408" y="55"/>
                  </a:lnTo>
                  <a:lnTo>
                    <a:pt x="410" y="55"/>
                  </a:lnTo>
                  <a:lnTo>
                    <a:pt x="412" y="55"/>
                  </a:lnTo>
                  <a:lnTo>
                    <a:pt x="412" y="57"/>
                  </a:lnTo>
                  <a:lnTo>
                    <a:pt x="415" y="57"/>
                  </a:lnTo>
                  <a:lnTo>
                    <a:pt x="415" y="59"/>
                  </a:lnTo>
                  <a:lnTo>
                    <a:pt x="415" y="57"/>
                  </a:lnTo>
                  <a:lnTo>
                    <a:pt x="417" y="57"/>
                  </a:lnTo>
                  <a:lnTo>
                    <a:pt x="417" y="59"/>
                  </a:lnTo>
                  <a:lnTo>
                    <a:pt x="417" y="57"/>
                  </a:lnTo>
                  <a:lnTo>
                    <a:pt x="417" y="59"/>
                  </a:lnTo>
                  <a:lnTo>
                    <a:pt x="420" y="59"/>
                  </a:lnTo>
                  <a:lnTo>
                    <a:pt x="420" y="57"/>
                  </a:lnTo>
                  <a:lnTo>
                    <a:pt x="422" y="57"/>
                  </a:lnTo>
                  <a:lnTo>
                    <a:pt x="424" y="55"/>
                  </a:lnTo>
                  <a:lnTo>
                    <a:pt x="424" y="57"/>
                  </a:lnTo>
                  <a:lnTo>
                    <a:pt x="427" y="57"/>
                  </a:lnTo>
                  <a:lnTo>
                    <a:pt x="427" y="55"/>
                  </a:lnTo>
                  <a:lnTo>
                    <a:pt x="429" y="55"/>
                  </a:lnTo>
                  <a:lnTo>
                    <a:pt x="429" y="57"/>
                  </a:lnTo>
                  <a:lnTo>
                    <a:pt x="429" y="59"/>
                  </a:lnTo>
                  <a:lnTo>
                    <a:pt x="429" y="62"/>
                  </a:lnTo>
                  <a:lnTo>
                    <a:pt x="429" y="64"/>
                  </a:lnTo>
                  <a:lnTo>
                    <a:pt x="431" y="64"/>
                  </a:lnTo>
                  <a:lnTo>
                    <a:pt x="434" y="64"/>
                  </a:lnTo>
                  <a:lnTo>
                    <a:pt x="436" y="64"/>
                  </a:lnTo>
                  <a:lnTo>
                    <a:pt x="439" y="64"/>
                  </a:lnTo>
                  <a:lnTo>
                    <a:pt x="439" y="67"/>
                  </a:lnTo>
                  <a:lnTo>
                    <a:pt x="436" y="67"/>
                  </a:lnTo>
                  <a:lnTo>
                    <a:pt x="436" y="69"/>
                  </a:lnTo>
                  <a:lnTo>
                    <a:pt x="436" y="71"/>
                  </a:lnTo>
                  <a:lnTo>
                    <a:pt x="439" y="71"/>
                  </a:lnTo>
                  <a:lnTo>
                    <a:pt x="436" y="71"/>
                  </a:lnTo>
                  <a:lnTo>
                    <a:pt x="436" y="74"/>
                  </a:lnTo>
                  <a:lnTo>
                    <a:pt x="439" y="74"/>
                  </a:lnTo>
                  <a:lnTo>
                    <a:pt x="439" y="76"/>
                  </a:lnTo>
                  <a:lnTo>
                    <a:pt x="439" y="78"/>
                  </a:lnTo>
                  <a:lnTo>
                    <a:pt x="441" y="78"/>
                  </a:lnTo>
                  <a:lnTo>
                    <a:pt x="439" y="78"/>
                  </a:lnTo>
                  <a:lnTo>
                    <a:pt x="439" y="81"/>
                  </a:lnTo>
                  <a:lnTo>
                    <a:pt x="439" y="83"/>
                  </a:lnTo>
                  <a:lnTo>
                    <a:pt x="441" y="83"/>
                  </a:lnTo>
                  <a:lnTo>
                    <a:pt x="439" y="83"/>
                  </a:lnTo>
                  <a:lnTo>
                    <a:pt x="436" y="83"/>
                  </a:lnTo>
                  <a:lnTo>
                    <a:pt x="436" y="86"/>
                  </a:lnTo>
                  <a:lnTo>
                    <a:pt x="439" y="86"/>
                  </a:lnTo>
                  <a:lnTo>
                    <a:pt x="439" y="88"/>
                  </a:lnTo>
                  <a:lnTo>
                    <a:pt x="436" y="88"/>
                  </a:lnTo>
                  <a:lnTo>
                    <a:pt x="439" y="88"/>
                  </a:lnTo>
                  <a:lnTo>
                    <a:pt x="439" y="90"/>
                  </a:lnTo>
                  <a:lnTo>
                    <a:pt x="441" y="93"/>
                  </a:lnTo>
                  <a:lnTo>
                    <a:pt x="443" y="93"/>
                  </a:lnTo>
                  <a:lnTo>
                    <a:pt x="443" y="95"/>
                  </a:lnTo>
                  <a:lnTo>
                    <a:pt x="443" y="97"/>
                  </a:lnTo>
                  <a:lnTo>
                    <a:pt x="446" y="97"/>
                  </a:lnTo>
                  <a:lnTo>
                    <a:pt x="446" y="100"/>
                  </a:lnTo>
                  <a:lnTo>
                    <a:pt x="446" y="97"/>
                  </a:lnTo>
                  <a:lnTo>
                    <a:pt x="448" y="97"/>
                  </a:lnTo>
                  <a:lnTo>
                    <a:pt x="450" y="97"/>
                  </a:lnTo>
                  <a:lnTo>
                    <a:pt x="450" y="95"/>
                  </a:lnTo>
                  <a:lnTo>
                    <a:pt x="453" y="95"/>
                  </a:lnTo>
                  <a:lnTo>
                    <a:pt x="455" y="95"/>
                  </a:lnTo>
                  <a:lnTo>
                    <a:pt x="458" y="95"/>
                  </a:lnTo>
                  <a:lnTo>
                    <a:pt x="460" y="95"/>
                  </a:lnTo>
                  <a:lnTo>
                    <a:pt x="460" y="93"/>
                  </a:lnTo>
                  <a:lnTo>
                    <a:pt x="460" y="95"/>
                  </a:lnTo>
                  <a:lnTo>
                    <a:pt x="462" y="95"/>
                  </a:lnTo>
                  <a:lnTo>
                    <a:pt x="465" y="97"/>
                  </a:lnTo>
                  <a:lnTo>
                    <a:pt x="467" y="100"/>
                  </a:lnTo>
                  <a:lnTo>
                    <a:pt x="467" y="102"/>
                  </a:lnTo>
                  <a:lnTo>
                    <a:pt x="469" y="102"/>
                  </a:lnTo>
                  <a:lnTo>
                    <a:pt x="469" y="100"/>
                  </a:lnTo>
                  <a:lnTo>
                    <a:pt x="472" y="100"/>
                  </a:lnTo>
                  <a:lnTo>
                    <a:pt x="474" y="100"/>
                  </a:lnTo>
                  <a:lnTo>
                    <a:pt x="474" y="102"/>
                  </a:lnTo>
                  <a:lnTo>
                    <a:pt x="477" y="102"/>
                  </a:lnTo>
                  <a:lnTo>
                    <a:pt x="477" y="105"/>
                  </a:lnTo>
                  <a:lnTo>
                    <a:pt x="479" y="105"/>
                  </a:lnTo>
                  <a:lnTo>
                    <a:pt x="479" y="102"/>
                  </a:lnTo>
                  <a:lnTo>
                    <a:pt x="481" y="102"/>
                  </a:lnTo>
                  <a:lnTo>
                    <a:pt x="484" y="102"/>
                  </a:lnTo>
                  <a:lnTo>
                    <a:pt x="484" y="100"/>
                  </a:lnTo>
                  <a:lnTo>
                    <a:pt x="486" y="100"/>
                  </a:lnTo>
                  <a:lnTo>
                    <a:pt x="488" y="100"/>
                  </a:lnTo>
                  <a:lnTo>
                    <a:pt x="491" y="100"/>
                  </a:lnTo>
                  <a:lnTo>
                    <a:pt x="493" y="100"/>
                  </a:lnTo>
                  <a:lnTo>
                    <a:pt x="493" y="97"/>
                  </a:lnTo>
                  <a:lnTo>
                    <a:pt x="496" y="97"/>
                  </a:lnTo>
                  <a:lnTo>
                    <a:pt x="498" y="97"/>
                  </a:lnTo>
                  <a:lnTo>
                    <a:pt x="500" y="97"/>
                  </a:lnTo>
                  <a:lnTo>
                    <a:pt x="500" y="95"/>
                  </a:lnTo>
                  <a:lnTo>
                    <a:pt x="503" y="95"/>
                  </a:lnTo>
                  <a:lnTo>
                    <a:pt x="505" y="95"/>
                  </a:lnTo>
                  <a:lnTo>
                    <a:pt x="505" y="93"/>
                  </a:lnTo>
                  <a:lnTo>
                    <a:pt x="507" y="93"/>
                  </a:lnTo>
                  <a:lnTo>
                    <a:pt x="505" y="95"/>
                  </a:lnTo>
                  <a:lnTo>
                    <a:pt x="505" y="97"/>
                  </a:lnTo>
                  <a:lnTo>
                    <a:pt x="507" y="97"/>
                  </a:lnTo>
                  <a:lnTo>
                    <a:pt x="507" y="100"/>
                  </a:lnTo>
                  <a:lnTo>
                    <a:pt x="510" y="100"/>
                  </a:lnTo>
                  <a:lnTo>
                    <a:pt x="512" y="100"/>
                  </a:lnTo>
                  <a:lnTo>
                    <a:pt x="510" y="102"/>
                  </a:lnTo>
                  <a:lnTo>
                    <a:pt x="510" y="105"/>
                  </a:lnTo>
                  <a:lnTo>
                    <a:pt x="510" y="107"/>
                  </a:lnTo>
                  <a:lnTo>
                    <a:pt x="512" y="107"/>
                  </a:lnTo>
                  <a:lnTo>
                    <a:pt x="512" y="109"/>
                  </a:lnTo>
                  <a:lnTo>
                    <a:pt x="514" y="112"/>
                  </a:lnTo>
                  <a:lnTo>
                    <a:pt x="517" y="112"/>
                  </a:lnTo>
                  <a:lnTo>
                    <a:pt x="519" y="114"/>
                  </a:lnTo>
                  <a:lnTo>
                    <a:pt x="522" y="114"/>
                  </a:lnTo>
                  <a:lnTo>
                    <a:pt x="522" y="116"/>
                  </a:lnTo>
                  <a:lnTo>
                    <a:pt x="524" y="116"/>
                  </a:lnTo>
                  <a:lnTo>
                    <a:pt x="524" y="119"/>
                  </a:lnTo>
                  <a:lnTo>
                    <a:pt x="524" y="121"/>
                  </a:lnTo>
                  <a:lnTo>
                    <a:pt x="524" y="119"/>
                  </a:lnTo>
                  <a:lnTo>
                    <a:pt x="526" y="119"/>
                  </a:lnTo>
                  <a:lnTo>
                    <a:pt x="529" y="119"/>
                  </a:lnTo>
                  <a:lnTo>
                    <a:pt x="529" y="116"/>
                  </a:lnTo>
                  <a:lnTo>
                    <a:pt x="531" y="116"/>
                  </a:lnTo>
                  <a:lnTo>
                    <a:pt x="529" y="114"/>
                  </a:lnTo>
                  <a:lnTo>
                    <a:pt x="529" y="112"/>
                  </a:lnTo>
                  <a:lnTo>
                    <a:pt x="531" y="112"/>
                  </a:lnTo>
                  <a:lnTo>
                    <a:pt x="533" y="112"/>
                  </a:lnTo>
                  <a:lnTo>
                    <a:pt x="533" y="114"/>
                  </a:lnTo>
                  <a:lnTo>
                    <a:pt x="536" y="116"/>
                  </a:lnTo>
                  <a:lnTo>
                    <a:pt x="538" y="116"/>
                  </a:lnTo>
                  <a:lnTo>
                    <a:pt x="541" y="116"/>
                  </a:lnTo>
                  <a:lnTo>
                    <a:pt x="541" y="119"/>
                  </a:lnTo>
                  <a:lnTo>
                    <a:pt x="543" y="116"/>
                  </a:lnTo>
                  <a:lnTo>
                    <a:pt x="545" y="119"/>
                  </a:lnTo>
                  <a:lnTo>
                    <a:pt x="545" y="116"/>
                  </a:lnTo>
                  <a:lnTo>
                    <a:pt x="548" y="116"/>
                  </a:lnTo>
                  <a:lnTo>
                    <a:pt x="545" y="116"/>
                  </a:lnTo>
                  <a:lnTo>
                    <a:pt x="545" y="119"/>
                  </a:lnTo>
                  <a:lnTo>
                    <a:pt x="548" y="119"/>
                  </a:lnTo>
                  <a:lnTo>
                    <a:pt x="548" y="121"/>
                  </a:lnTo>
                  <a:lnTo>
                    <a:pt x="550" y="121"/>
                  </a:lnTo>
                  <a:lnTo>
                    <a:pt x="552" y="121"/>
                  </a:lnTo>
                  <a:lnTo>
                    <a:pt x="552" y="124"/>
                  </a:lnTo>
                  <a:lnTo>
                    <a:pt x="552" y="126"/>
                  </a:lnTo>
                  <a:lnTo>
                    <a:pt x="555" y="126"/>
                  </a:lnTo>
                  <a:lnTo>
                    <a:pt x="557" y="124"/>
                  </a:lnTo>
                  <a:lnTo>
                    <a:pt x="560" y="124"/>
                  </a:lnTo>
                  <a:lnTo>
                    <a:pt x="562" y="121"/>
                  </a:lnTo>
                  <a:lnTo>
                    <a:pt x="564" y="124"/>
                  </a:lnTo>
                  <a:lnTo>
                    <a:pt x="564" y="126"/>
                  </a:lnTo>
                  <a:lnTo>
                    <a:pt x="567" y="128"/>
                  </a:lnTo>
                  <a:lnTo>
                    <a:pt x="569" y="128"/>
                  </a:lnTo>
                  <a:lnTo>
                    <a:pt x="571" y="128"/>
                  </a:lnTo>
                  <a:lnTo>
                    <a:pt x="574" y="128"/>
                  </a:lnTo>
                  <a:lnTo>
                    <a:pt x="576" y="128"/>
                  </a:lnTo>
                  <a:lnTo>
                    <a:pt x="576" y="131"/>
                  </a:lnTo>
                  <a:lnTo>
                    <a:pt x="576" y="133"/>
                  </a:lnTo>
                  <a:lnTo>
                    <a:pt x="579" y="135"/>
                  </a:lnTo>
                  <a:lnTo>
                    <a:pt x="581" y="135"/>
                  </a:lnTo>
                  <a:lnTo>
                    <a:pt x="583" y="138"/>
                  </a:lnTo>
                  <a:lnTo>
                    <a:pt x="586" y="138"/>
                  </a:lnTo>
                  <a:lnTo>
                    <a:pt x="588" y="135"/>
                  </a:lnTo>
                  <a:lnTo>
                    <a:pt x="590" y="135"/>
                  </a:lnTo>
                  <a:lnTo>
                    <a:pt x="593" y="135"/>
                  </a:lnTo>
                  <a:lnTo>
                    <a:pt x="595" y="135"/>
                  </a:lnTo>
                  <a:lnTo>
                    <a:pt x="593" y="138"/>
                  </a:lnTo>
                  <a:lnTo>
                    <a:pt x="590" y="138"/>
                  </a:lnTo>
                  <a:lnTo>
                    <a:pt x="590" y="140"/>
                  </a:lnTo>
                  <a:lnTo>
                    <a:pt x="590" y="143"/>
                  </a:lnTo>
                  <a:lnTo>
                    <a:pt x="593" y="145"/>
                  </a:lnTo>
                  <a:lnTo>
                    <a:pt x="595" y="145"/>
                  </a:lnTo>
                  <a:lnTo>
                    <a:pt x="595" y="147"/>
                  </a:lnTo>
                  <a:lnTo>
                    <a:pt x="595" y="150"/>
                  </a:lnTo>
                  <a:lnTo>
                    <a:pt x="595" y="152"/>
                  </a:lnTo>
                  <a:lnTo>
                    <a:pt x="593" y="152"/>
                  </a:lnTo>
                  <a:lnTo>
                    <a:pt x="593" y="155"/>
                  </a:lnTo>
                  <a:lnTo>
                    <a:pt x="590" y="155"/>
                  </a:lnTo>
                  <a:lnTo>
                    <a:pt x="588" y="157"/>
                  </a:lnTo>
                  <a:lnTo>
                    <a:pt x="588" y="159"/>
                  </a:lnTo>
                  <a:lnTo>
                    <a:pt x="588" y="162"/>
                  </a:lnTo>
                  <a:lnTo>
                    <a:pt x="586" y="162"/>
                  </a:lnTo>
                  <a:lnTo>
                    <a:pt x="583" y="162"/>
                  </a:lnTo>
                  <a:lnTo>
                    <a:pt x="581" y="162"/>
                  </a:lnTo>
                  <a:lnTo>
                    <a:pt x="579" y="162"/>
                  </a:lnTo>
                  <a:lnTo>
                    <a:pt x="579" y="164"/>
                  </a:lnTo>
                  <a:lnTo>
                    <a:pt x="581" y="164"/>
                  </a:lnTo>
                  <a:lnTo>
                    <a:pt x="581" y="166"/>
                  </a:lnTo>
                  <a:lnTo>
                    <a:pt x="583" y="166"/>
                  </a:lnTo>
                  <a:lnTo>
                    <a:pt x="581" y="166"/>
                  </a:lnTo>
                  <a:lnTo>
                    <a:pt x="581" y="169"/>
                  </a:lnTo>
                  <a:lnTo>
                    <a:pt x="583" y="169"/>
                  </a:lnTo>
                  <a:lnTo>
                    <a:pt x="586" y="169"/>
                  </a:lnTo>
                  <a:lnTo>
                    <a:pt x="588" y="169"/>
                  </a:lnTo>
                  <a:lnTo>
                    <a:pt x="588" y="171"/>
                  </a:lnTo>
                  <a:lnTo>
                    <a:pt x="588" y="169"/>
                  </a:lnTo>
                  <a:lnTo>
                    <a:pt x="590" y="169"/>
                  </a:lnTo>
                  <a:lnTo>
                    <a:pt x="593" y="171"/>
                  </a:lnTo>
                  <a:lnTo>
                    <a:pt x="590" y="171"/>
                  </a:lnTo>
                  <a:lnTo>
                    <a:pt x="588" y="174"/>
                  </a:lnTo>
                  <a:lnTo>
                    <a:pt x="586" y="174"/>
                  </a:lnTo>
                  <a:lnTo>
                    <a:pt x="583" y="171"/>
                  </a:lnTo>
                  <a:lnTo>
                    <a:pt x="583" y="174"/>
                  </a:lnTo>
                  <a:lnTo>
                    <a:pt x="581" y="174"/>
                  </a:lnTo>
                  <a:lnTo>
                    <a:pt x="581" y="176"/>
                  </a:lnTo>
                  <a:lnTo>
                    <a:pt x="581" y="178"/>
                  </a:lnTo>
                  <a:lnTo>
                    <a:pt x="579" y="178"/>
                  </a:lnTo>
                  <a:lnTo>
                    <a:pt x="581" y="178"/>
                  </a:lnTo>
                  <a:lnTo>
                    <a:pt x="579" y="178"/>
                  </a:lnTo>
                  <a:lnTo>
                    <a:pt x="581" y="178"/>
                  </a:lnTo>
                  <a:lnTo>
                    <a:pt x="579" y="178"/>
                  </a:lnTo>
                  <a:lnTo>
                    <a:pt x="581" y="178"/>
                  </a:lnTo>
                  <a:lnTo>
                    <a:pt x="579" y="181"/>
                  </a:lnTo>
                  <a:lnTo>
                    <a:pt x="579" y="183"/>
                  </a:lnTo>
                  <a:lnTo>
                    <a:pt x="581" y="183"/>
                  </a:lnTo>
                  <a:lnTo>
                    <a:pt x="583" y="183"/>
                  </a:lnTo>
                  <a:lnTo>
                    <a:pt x="583" y="185"/>
                  </a:lnTo>
                  <a:lnTo>
                    <a:pt x="586" y="188"/>
                  </a:lnTo>
                  <a:lnTo>
                    <a:pt x="583" y="188"/>
                  </a:lnTo>
                  <a:lnTo>
                    <a:pt x="583" y="190"/>
                  </a:lnTo>
                  <a:lnTo>
                    <a:pt x="586" y="190"/>
                  </a:lnTo>
                  <a:lnTo>
                    <a:pt x="586" y="193"/>
                  </a:lnTo>
                  <a:lnTo>
                    <a:pt x="586" y="195"/>
                  </a:lnTo>
                  <a:lnTo>
                    <a:pt x="588" y="193"/>
                  </a:lnTo>
                  <a:lnTo>
                    <a:pt x="588" y="195"/>
                  </a:lnTo>
                  <a:lnTo>
                    <a:pt x="586" y="195"/>
                  </a:lnTo>
                  <a:lnTo>
                    <a:pt x="583" y="195"/>
                  </a:lnTo>
                  <a:lnTo>
                    <a:pt x="583" y="197"/>
                  </a:lnTo>
                  <a:lnTo>
                    <a:pt x="586" y="197"/>
                  </a:lnTo>
                  <a:lnTo>
                    <a:pt x="588" y="197"/>
                  </a:lnTo>
                  <a:lnTo>
                    <a:pt x="590" y="200"/>
                  </a:lnTo>
                  <a:lnTo>
                    <a:pt x="590" y="202"/>
                  </a:lnTo>
                  <a:lnTo>
                    <a:pt x="588" y="202"/>
                  </a:lnTo>
                  <a:lnTo>
                    <a:pt x="588" y="204"/>
                  </a:lnTo>
                  <a:lnTo>
                    <a:pt x="586" y="204"/>
                  </a:lnTo>
                  <a:lnTo>
                    <a:pt x="586" y="207"/>
                  </a:lnTo>
                  <a:lnTo>
                    <a:pt x="586" y="209"/>
                  </a:lnTo>
                  <a:lnTo>
                    <a:pt x="583" y="209"/>
                  </a:lnTo>
                  <a:lnTo>
                    <a:pt x="586" y="209"/>
                  </a:lnTo>
                  <a:lnTo>
                    <a:pt x="581" y="209"/>
                  </a:lnTo>
                  <a:lnTo>
                    <a:pt x="581" y="212"/>
                  </a:lnTo>
                  <a:lnTo>
                    <a:pt x="583" y="212"/>
                  </a:lnTo>
                  <a:lnTo>
                    <a:pt x="583" y="214"/>
                  </a:lnTo>
                  <a:lnTo>
                    <a:pt x="583" y="216"/>
                  </a:lnTo>
                  <a:lnTo>
                    <a:pt x="583" y="219"/>
                  </a:lnTo>
                  <a:lnTo>
                    <a:pt x="581" y="219"/>
                  </a:lnTo>
                  <a:lnTo>
                    <a:pt x="581" y="221"/>
                  </a:lnTo>
                  <a:lnTo>
                    <a:pt x="579" y="221"/>
                  </a:lnTo>
                  <a:lnTo>
                    <a:pt x="576" y="219"/>
                  </a:lnTo>
                  <a:lnTo>
                    <a:pt x="574" y="221"/>
                  </a:lnTo>
                  <a:lnTo>
                    <a:pt x="571" y="219"/>
                  </a:lnTo>
                  <a:lnTo>
                    <a:pt x="569" y="219"/>
                  </a:lnTo>
                  <a:lnTo>
                    <a:pt x="569" y="221"/>
                  </a:lnTo>
                  <a:lnTo>
                    <a:pt x="569" y="219"/>
                  </a:lnTo>
                  <a:lnTo>
                    <a:pt x="567" y="219"/>
                  </a:lnTo>
                  <a:lnTo>
                    <a:pt x="564" y="219"/>
                  </a:lnTo>
                  <a:lnTo>
                    <a:pt x="562" y="219"/>
                  </a:lnTo>
                  <a:lnTo>
                    <a:pt x="560" y="219"/>
                  </a:lnTo>
                  <a:lnTo>
                    <a:pt x="557" y="219"/>
                  </a:lnTo>
                  <a:lnTo>
                    <a:pt x="555" y="219"/>
                  </a:lnTo>
                  <a:lnTo>
                    <a:pt x="552" y="219"/>
                  </a:lnTo>
                  <a:lnTo>
                    <a:pt x="550" y="219"/>
                  </a:lnTo>
                  <a:lnTo>
                    <a:pt x="550" y="221"/>
                  </a:lnTo>
                  <a:lnTo>
                    <a:pt x="550" y="223"/>
                  </a:lnTo>
                  <a:lnTo>
                    <a:pt x="548" y="226"/>
                  </a:lnTo>
                  <a:lnTo>
                    <a:pt x="548" y="228"/>
                  </a:lnTo>
                  <a:lnTo>
                    <a:pt x="548" y="226"/>
                  </a:lnTo>
                  <a:lnTo>
                    <a:pt x="545" y="226"/>
                  </a:lnTo>
                  <a:lnTo>
                    <a:pt x="545" y="228"/>
                  </a:lnTo>
                  <a:lnTo>
                    <a:pt x="543" y="228"/>
                  </a:lnTo>
                  <a:lnTo>
                    <a:pt x="538" y="228"/>
                  </a:lnTo>
                  <a:lnTo>
                    <a:pt x="538" y="231"/>
                  </a:lnTo>
                  <a:lnTo>
                    <a:pt x="536" y="231"/>
                  </a:lnTo>
                  <a:lnTo>
                    <a:pt x="536" y="233"/>
                  </a:lnTo>
                  <a:lnTo>
                    <a:pt x="533" y="233"/>
                  </a:lnTo>
                  <a:lnTo>
                    <a:pt x="533" y="235"/>
                  </a:lnTo>
                  <a:lnTo>
                    <a:pt x="533" y="238"/>
                  </a:lnTo>
                  <a:lnTo>
                    <a:pt x="533" y="240"/>
                  </a:lnTo>
                  <a:lnTo>
                    <a:pt x="533" y="242"/>
                  </a:lnTo>
                  <a:lnTo>
                    <a:pt x="531" y="242"/>
                  </a:lnTo>
                  <a:lnTo>
                    <a:pt x="531" y="245"/>
                  </a:lnTo>
                  <a:lnTo>
                    <a:pt x="533" y="245"/>
                  </a:lnTo>
                  <a:lnTo>
                    <a:pt x="533" y="247"/>
                  </a:lnTo>
                  <a:lnTo>
                    <a:pt x="531" y="250"/>
                  </a:lnTo>
                  <a:lnTo>
                    <a:pt x="531" y="252"/>
                  </a:lnTo>
                  <a:lnTo>
                    <a:pt x="531" y="254"/>
                  </a:lnTo>
                  <a:lnTo>
                    <a:pt x="529" y="254"/>
                  </a:lnTo>
                  <a:lnTo>
                    <a:pt x="529" y="257"/>
                  </a:lnTo>
                  <a:lnTo>
                    <a:pt x="526" y="257"/>
                  </a:lnTo>
                  <a:lnTo>
                    <a:pt x="526" y="259"/>
                  </a:lnTo>
                  <a:lnTo>
                    <a:pt x="526" y="257"/>
                  </a:lnTo>
                  <a:lnTo>
                    <a:pt x="529" y="257"/>
                  </a:lnTo>
                  <a:lnTo>
                    <a:pt x="526" y="257"/>
                  </a:lnTo>
                  <a:lnTo>
                    <a:pt x="526" y="254"/>
                  </a:lnTo>
                  <a:lnTo>
                    <a:pt x="524" y="254"/>
                  </a:lnTo>
                  <a:lnTo>
                    <a:pt x="522" y="254"/>
                  </a:lnTo>
                  <a:lnTo>
                    <a:pt x="519" y="254"/>
                  </a:lnTo>
                  <a:lnTo>
                    <a:pt x="517" y="254"/>
                  </a:lnTo>
                  <a:lnTo>
                    <a:pt x="517" y="257"/>
                  </a:lnTo>
                  <a:lnTo>
                    <a:pt x="517" y="254"/>
                  </a:lnTo>
                  <a:lnTo>
                    <a:pt x="514" y="254"/>
                  </a:lnTo>
                  <a:lnTo>
                    <a:pt x="514" y="257"/>
                  </a:lnTo>
                  <a:lnTo>
                    <a:pt x="512" y="257"/>
                  </a:lnTo>
                  <a:lnTo>
                    <a:pt x="512" y="254"/>
                  </a:lnTo>
                  <a:lnTo>
                    <a:pt x="510" y="254"/>
                  </a:lnTo>
                  <a:lnTo>
                    <a:pt x="510" y="257"/>
                  </a:lnTo>
                  <a:lnTo>
                    <a:pt x="510" y="254"/>
                  </a:lnTo>
                  <a:close/>
                  <a:moveTo>
                    <a:pt x="391" y="302"/>
                  </a:moveTo>
                  <a:lnTo>
                    <a:pt x="393" y="302"/>
                  </a:lnTo>
                  <a:lnTo>
                    <a:pt x="391" y="299"/>
                  </a:lnTo>
                  <a:lnTo>
                    <a:pt x="391" y="297"/>
                  </a:lnTo>
                  <a:lnTo>
                    <a:pt x="389" y="297"/>
                  </a:lnTo>
                  <a:lnTo>
                    <a:pt x="386" y="297"/>
                  </a:lnTo>
                  <a:lnTo>
                    <a:pt x="386" y="295"/>
                  </a:lnTo>
                  <a:lnTo>
                    <a:pt x="386" y="297"/>
                  </a:lnTo>
                  <a:lnTo>
                    <a:pt x="384" y="295"/>
                  </a:lnTo>
                  <a:lnTo>
                    <a:pt x="382" y="295"/>
                  </a:lnTo>
                  <a:lnTo>
                    <a:pt x="382" y="297"/>
                  </a:lnTo>
                  <a:lnTo>
                    <a:pt x="384" y="297"/>
                  </a:lnTo>
                  <a:lnTo>
                    <a:pt x="384" y="299"/>
                  </a:lnTo>
                  <a:lnTo>
                    <a:pt x="386" y="299"/>
                  </a:lnTo>
                  <a:lnTo>
                    <a:pt x="389" y="299"/>
                  </a:lnTo>
                  <a:lnTo>
                    <a:pt x="389" y="302"/>
                  </a:lnTo>
                  <a:lnTo>
                    <a:pt x="391" y="302"/>
                  </a:lnTo>
                  <a:lnTo>
                    <a:pt x="393" y="302"/>
                  </a:lnTo>
                  <a:lnTo>
                    <a:pt x="393" y="304"/>
                  </a:lnTo>
                  <a:lnTo>
                    <a:pt x="396" y="304"/>
                  </a:lnTo>
                  <a:lnTo>
                    <a:pt x="396" y="307"/>
                  </a:lnTo>
                  <a:lnTo>
                    <a:pt x="398" y="307"/>
                  </a:lnTo>
                  <a:lnTo>
                    <a:pt x="396" y="307"/>
                  </a:lnTo>
                  <a:lnTo>
                    <a:pt x="396" y="309"/>
                  </a:lnTo>
                  <a:lnTo>
                    <a:pt x="396" y="307"/>
                  </a:lnTo>
                  <a:lnTo>
                    <a:pt x="393" y="307"/>
                  </a:lnTo>
                  <a:lnTo>
                    <a:pt x="396" y="309"/>
                  </a:lnTo>
                  <a:lnTo>
                    <a:pt x="398" y="309"/>
                  </a:lnTo>
                  <a:lnTo>
                    <a:pt x="396" y="309"/>
                  </a:lnTo>
                  <a:lnTo>
                    <a:pt x="398" y="309"/>
                  </a:lnTo>
                  <a:lnTo>
                    <a:pt x="398" y="307"/>
                  </a:lnTo>
                  <a:lnTo>
                    <a:pt x="396" y="307"/>
                  </a:lnTo>
                  <a:lnTo>
                    <a:pt x="396" y="304"/>
                  </a:lnTo>
                  <a:lnTo>
                    <a:pt x="393" y="304"/>
                  </a:lnTo>
                  <a:lnTo>
                    <a:pt x="396" y="304"/>
                  </a:lnTo>
                  <a:lnTo>
                    <a:pt x="398" y="304"/>
                  </a:lnTo>
                  <a:lnTo>
                    <a:pt x="398" y="307"/>
                  </a:lnTo>
                  <a:lnTo>
                    <a:pt x="401" y="307"/>
                  </a:lnTo>
                  <a:lnTo>
                    <a:pt x="398" y="307"/>
                  </a:lnTo>
                  <a:lnTo>
                    <a:pt x="401" y="307"/>
                  </a:lnTo>
                  <a:lnTo>
                    <a:pt x="401" y="304"/>
                  </a:lnTo>
                  <a:lnTo>
                    <a:pt x="401" y="307"/>
                  </a:lnTo>
                  <a:lnTo>
                    <a:pt x="403" y="307"/>
                  </a:lnTo>
                  <a:lnTo>
                    <a:pt x="401" y="307"/>
                  </a:lnTo>
                  <a:lnTo>
                    <a:pt x="403" y="307"/>
                  </a:lnTo>
                  <a:lnTo>
                    <a:pt x="401" y="307"/>
                  </a:lnTo>
                  <a:lnTo>
                    <a:pt x="403" y="307"/>
                  </a:lnTo>
                  <a:lnTo>
                    <a:pt x="401" y="307"/>
                  </a:lnTo>
                  <a:lnTo>
                    <a:pt x="401" y="304"/>
                  </a:lnTo>
                  <a:lnTo>
                    <a:pt x="403" y="304"/>
                  </a:lnTo>
                  <a:lnTo>
                    <a:pt x="403" y="307"/>
                  </a:lnTo>
                  <a:lnTo>
                    <a:pt x="403" y="304"/>
                  </a:lnTo>
                  <a:lnTo>
                    <a:pt x="403" y="307"/>
                  </a:lnTo>
                  <a:lnTo>
                    <a:pt x="405" y="307"/>
                  </a:lnTo>
                  <a:lnTo>
                    <a:pt x="403" y="307"/>
                  </a:lnTo>
                  <a:lnTo>
                    <a:pt x="405" y="307"/>
                  </a:lnTo>
                  <a:lnTo>
                    <a:pt x="403" y="307"/>
                  </a:lnTo>
                  <a:lnTo>
                    <a:pt x="405" y="307"/>
                  </a:lnTo>
                  <a:lnTo>
                    <a:pt x="405" y="309"/>
                  </a:lnTo>
                  <a:lnTo>
                    <a:pt x="408" y="309"/>
                  </a:lnTo>
                  <a:lnTo>
                    <a:pt x="408" y="311"/>
                  </a:lnTo>
                  <a:lnTo>
                    <a:pt x="405" y="311"/>
                  </a:lnTo>
                  <a:lnTo>
                    <a:pt x="408" y="311"/>
                  </a:lnTo>
                  <a:lnTo>
                    <a:pt x="408" y="314"/>
                  </a:lnTo>
                  <a:lnTo>
                    <a:pt x="408" y="311"/>
                  </a:lnTo>
                  <a:lnTo>
                    <a:pt x="408" y="314"/>
                  </a:lnTo>
                  <a:lnTo>
                    <a:pt x="408" y="311"/>
                  </a:lnTo>
                  <a:lnTo>
                    <a:pt x="408" y="314"/>
                  </a:lnTo>
                  <a:lnTo>
                    <a:pt x="408" y="311"/>
                  </a:lnTo>
                  <a:lnTo>
                    <a:pt x="410" y="311"/>
                  </a:lnTo>
                  <a:lnTo>
                    <a:pt x="410" y="309"/>
                  </a:lnTo>
                  <a:lnTo>
                    <a:pt x="410" y="307"/>
                  </a:lnTo>
                  <a:lnTo>
                    <a:pt x="408" y="307"/>
                  </a:lnTo>
                  <a:lnTo>
                    <a:pt x="408" y="309"/>
                  </a:lnTo>
                  <a:lnTo>
                    <a:pt x="408" y="307"/>
                  </a:lnTo>
                  <a:lnTo>
                    <a:pt x="408" y="309"/>
                  </a:lnTo>
                  <a:lnTo>
                    <a:pt x="408" y="307"/>
                  </a:lnTo>
                  <a:lnTo>
                    <a:pt x="405" y="307"/>
                  </a:lnTo>
                  <a:lnTo>
                    <a:pt x="405" y="304"/>
                  </a:lnTo>
                  <a:lnTo>
                    <a:pt x="408" y="304"/>
                  </a:lnTo>
                  <a:lnTo>
                    <a:pt x="405" y="304"/>
                  </a:lnTo>
                  <a:lnTo>
                    <a:pt x="408" y="307"/>
                  </a:lnTo>
                  <a:lnTo>
                    <a:pt x="408" y="304"/>
                  </a:lnTo>
                  <a:lnTo>
                    <a:pt x="405" y="304"/>
                  </a:lnTo>
                  <a:lnTo>
                    <a:pt x="405" y="302"/>
                  </a:lnTo>
                  <a:lnTo>
                    <a:pt x="408" y="302"/>
                  </a:lnTo>
                  <a:lnTo>
                    <a:pt x="405" y="302"/>
                  </a:lnTo>
                  <a:lnTo>
                    <a:pt x="405" y="304"/>
                  </a:lnTo>
                  <a:lnTo>
                    <a:pt x="405" y="302"/>
                  </a:lnTo>
                  <a:lnTo>
                    <a:pt x="408" y="302"/>
                  </a:lnTo>
                  <a:lnTo>
                    <a:pt x="410" y="302"/>
                  </a:lnTo>
                  <a:lnTo>
                    <a:pt x="410" y="299"/>
                  </a:lnTo>
                  <a:lnTo>
                    <a:pt x="412" y="299"/>
                  </a:lnTo>
                  <a:lnTo>
                    <a:pt x="412" y="302"/>
                  </a:lnTo>
                  <a:lnTo>
                    <a:pt x="412" y="304"/>
                  </a:lnTo>
                  <a:lnTo>
                    <a:pt x="410" y="304"/>
                  </a:lnTo>
                  <a:lnTo>
                    <a:pt x="412" y="304"/>
                  </a:lnTo>
                  <a:lnTo>
                    <a:pt x="410" y="304"/>
                  </a:lnTo>
                  <a:lnTo>
                    <a:pt x="410" y="307"/>
                  </a:lnTo>
                  <a:lnTo>
                    <a:pt x="410" y="309"/>
                  </a:lnTo>
                  <a:lnTo>
                    <a:pt x="412" y="309"/>
                  </a:lnTo>
                  <a:lnTo>
                    <a:pt x="412" y="311"/>
                  </a:lnTo>
                  <a:lnTo>
                    <a:pt x="410" y="311"/>
                  </a:lnTo>
                  <a:lnTo>
                    <a:pt x="410" y="314"/>
                  </a:lnTo>
                  <a:lnTo>
                    <a:pt x="410" y="311"/>
                  </a:lnTo>
                  <a:lnTo>
                    <a:pt x="410" y="314"/>
                  </a:lnTo>
                  <a:lnTo>
                    <a:pt x="408" y="314"/>
                  </a:lnTo>
                  <a:lnTo>
                    <a:pt x="408" y="316"/>
                  </a:lnTo>
                  <a:lnTo>
                    <a:pt x="410" y="316"/>
                  </a:lnTo>
                  <a:lnTo>
                    <a:pt x="408" y="316"/>
                  </a:lnTo>
                  <a:lnTo>
                    <a:pt x="410" y="316"/>
                  </a:lnTo>
                  <a:lnTo>
                    <a:pt x="410" y="314"/>
                  </a:lnTo>
                  <a:lnTo>
                    <a:pt x="412" y="314"/>
                  </a:lnTo>
                  <a:lnTo>
                    <a:pt x="410" y="314"/>
                  </a:lnTo>
                  <a:lnTo>
                    <a:pt x="412" y="314"/>
                  </a:lnTo>
                  <a:lnTo>
                    <a:pt x="415" y="314"/>
                  </a:lnTo>
                  <a:lnTo>
                    <a:pt x="415" y="311"/>
                  </a:lnTo>
                  <a:lnTo>
                    <a:pt x="417" y="311"/>
                  </a:lnTo>
                  <a:lnTo>
                    <a:pt x="417" y="314"/>
                  </a:lnTo>
                  <a:lnTo>
                    <a:pt x="417" y="311"/>
                  </a:lnTo>
                  <a:lnTo>
                    <a:pt x="417" y="314"/>
                  </a:lnTo>
                  <a:lnTo>
                    <a:pt x="415" y="314"/>
                  </a:lnTo>
                  <a:lnTo>
                    <a:pt x="417" y="314"/>
                  </a:lnTo>
                  <a:lnTo>
                    <a:pt x="415" y="314"/>
                  </a:lnTo>
                  <a:lnTo>
                    <a:pt x="412" y="314"/>
                  </a:lnTo>
                  <a:lnTo>
                    <a:pt x="412" y="316"/>
                  </a:lnTo>
                  <a:lnTo>
                    <a:pt x="415" y="316"/>
                  </a:lnTo>
                  <a:lnTo>
                    <a:pt x="417" y="316"/>
                  </a:lnTo>
                  <a:lnTo>
                    <a:pt x="417" y="318"/>
                  </a:lnTo>
                  <a:lnTo>
                    <a:pt x="415" y="318"/>
                  </a:lnTo>
                  <a:lnTo>
                    <a:pt x="415" y="321"/>
                  </a:lnTo>
                  <a:lnTo>
                    <a:pt x="415" y="318"/>
                  </a:lnTo>
                  <a:lnTo>
                    <a:pt x="417" y="318"/>
                  </a:lnTo>
                  <a:lnTo>
                    <a:pt x="420" y="318"/>
                  </a:lnTo>
                  <a:lnTo>
                    <a:pt x="420" y="321"/>
                  </a:lnTo>
                  <a:lnTo>
                    <a:pt x="420" y="318"/>
                  </a:lnTo>
                  <a:lnTo>
                    <a:pt x="420" y="321"/>
                  </a:lnTo>
                  <a:lnTo>
                    <a:pt x="420" y="318"/>
                  </a:lnTo>
                  <a:lnTo>
                    <a:pt x="420" y="321"/>
                  </a:lnTo>
                  <a:lnTo>
                    <a:pt x="422" y="321"/>
                  </a:lnTo>
                  <a:lnTo>
                    <a:pt x="424" y="321"/>
                  </a:lnTo>
                  <a:lnTo>
                    <a:pt x="424" y="323"/>
                  </a:lnTo>
                  <a:lnTo>
                    <a:pt x="424" y="326"/>
                  </a:lnTo>
                  <a:lnTo>
                    <a:pt x="427" y="326"/>
                  </a:lnTo>
                  <a:lnTo>
                    <a:pt x="427" y="328"/>
                  </a:lnTo>
                  <a:lnTo>
                    <a:pt x="427" y="330"/>
                  </a:lnTo>
                  <a:lnTo>
                    <a:pt x="427" y="333"/>
                  </a:lnTo>
                  <a:lnTo>
                    <a:pt x="424" y="333"/>
                  </a:lnTo>
                  <a:lnTo>
                    <a:pt x="424" y="335"/>
                  </a:lnTo>
                  <a:lnTo>
                    <a:pt x="424" y="333"/>
                  </a:lnTo>
                  <a:lnTo>
                    <a:pt x="427" y="335"/>
                  </a:lnTo>
                  <a:lnTo>
                    <a:pt x="427" y="337"/>
                  </a:lnTo>
                  <a:lnTo>
                    <a:pt x="429" y="337"/>
                  </a:lnTo>
                  <a:lnTo>
                    <a:pt x="431" y="337"/>
                  </a:lnTo>
                  <a:lnTo>
                    <a:pt x="431" y="340"/>
                  </a:lnTo>
                  <a:lnTo>
                    <a:pt x="434" y="340"/>
                  </a:lnTo>
                  <a:lnTo>
                    <a:pt x="436" y="340"/>
                  </a:lnTo>
                  <a:lnTo>
                    <a:pt x="436" y="342"/>
                  </a:lnTo>
                  <a:lnTo>
                    <a:pt x="439" y="342"/>
                  </a:lnTo>
                  <a:lnTo>
                    <a:pt x="439" y="340"/>
                  </a:lnTo>
                  <a:lnTo>
                    <a:pt x="436" y="337"/>
                  </a:lnTo>
                  <a:lnTo>
                    <a:pt x="436" y="335"/>
                  </a:lnTo>
                  <a:lnTo>
                    <a:pt x="436" y="337"/>
                  </a:lnTo>
                  <a:lnTo>
                    <a:pt x="436" y="335"/>
                  </a:lnTo>
                  <a:lnTo>
                    <a:pt x="434" y="335"/>
                  </a:lnTo>
                  <a:lnTo>
                    <a:pt x="434" y="333"/>
                  </a:lnTo>
                  <a:lnTo>
                    <a:pt x="431" y="333"/>
                  </a:lnTo>
                  <a:lnTo>
                    <a:pt x="431" y="330"/>
                  </a:lnTo>
                  <a:lnTo>
                    <a:pt x="429" y="330"/>
                  </a:lnTo>
                  <a:lnTo>
                    <a:pt x="429" y="328"/>
                  </a:lnTo>
                  <a:lnTo>
                    <a:pt x="427" y="326"/>
                  </a:lnTo>
                  <a:lnTo>
                    <a:pt x="427" y="323"/>
                  </a:lnTo>
                  <a:lnTo>
                    <a:pt x="427" y="326"/>
                  </a:lnTo>
                  <a:lnTo>
                    <a:pt x="427" y="323"/>
                  </a:lnTo>
                  <a:lnTo>
                    <a:pt x="424" y="323"/>
                  </a:lnTo>
                  <a:lnTo>
                    <a:pt x="424" y="321"/>
                  </a:lnTo>
                  <a:lnTo>
                    <a:pt x="424" y="318"/>
                  </a:lnTo>
                  <a:lnTo>
                    <a:pt x="422" y="318"/>
                  </a:lnTo>
                  <a:lnTo>
                    <a:pt x="422" y="316"/>
                  </a:lnTo>
                  <a:lnTo>
                    <a:pt x="422" y="314"/>
                  </a:lnTo>
                  <a:lnTo>
                    <a:pt x="420" y="314"/>
                  </a:lnTo>
                  <a:lnTo>
                    <a:pt x="420" y="316"/>
                  </a:lnTo>
                  <a:lnTo>
                    <a:pt x="420" y="314"/>
                  </a:lnTo>
                  <a:lnTo>
                    <a:pt x="417" y="314"/>
                  </a:lnTo>
                  <a:lnTo>
                    <a:pt x="420" y="316"/>
                  </a:lnTo>
                  <a:lnTo>
                    <a:pt x="417" y="316"/>
                  </a:lnTo>
                  <a:lnTo>
                    <a:pt x="417" y="314"/>
                  </a:lnTo>
                  <a:lnTo>
                    <a:pt x="420" y="314"/>
                  </a:lnTo>
                  <a:lnTo>
                    <a:pt x="420" y="311"/>
                  </a:lnTo>
                  <a:lnTo>
                    <a:pt x="417" y="311"/>
                  </a:lnTo>
                  <a:lnTo>
                    <a:pt x="420" y="311"/>
                  </a:lnTo>
                  <a:lnTo>
                    <a:pt x="420" y="309"/>
                  </a:lnTo>
                  <a:lnTo>
                    <a:pt x="420" y="307"/>
                  </a:lnTo>
                  <a:lnTo>
                    <a:pt x="420" y="309"/>
                  </a:lnTo>
                  <a:lnTo>
                    <a:pt x="420" y="307"/>
                  </a:lnTo>
                  <a:lnTo>
                    <a:pt x="417" y="307"/>
                  </a:lnTo>
                  <a:lnTo>
                    <a:pt x="417" y="304"/>
                  </a:lnTo>
                  <a:lnTo>
                    <a:pt x="417" y="307"/>
                  </a:lnTo>
                  <a:lnTo>
                    <a:pt x="415" y="307"/>
                  </a:lnTo>
                  <a:lnTo>
                    <a:pt x="415" y="304"/>
                  </a:lnTo>
                  <a:lnTo>
                    <a:pt x="415" y="302"/>
                  </a:lnTo>
                  <a:lnTo>
                    <a:pt x="412" y="302"/>
                  </a:lnTo>
                  <a:lnTo>
                    <a:pt x="415" y="302"/>
                  </a:lnTo>
                  <a:lnTo>
                    <a:pt x="417" y="302"/>
                  </a:lnTo>
                  <a:lnTo>
                    <a:pt x="417" y="304"/>
                  </a:lnTo>
                  <a:lnTo>
                    <a:pt x="417" y="302"/>
                  </a:lnTo>
                  <a:lnTo>
                    <a:pt x="417" y="299"/>
                  </a:lnTo>
                  <a:lnTo>
                    <a:pt x="417" y="302"/>
                  </a:lnTo>
                  <a:lnTo>
                    <a:pt x="417" y="299"/>
                  </a:lnTo>
                  <a:lnTo>
                    <a:pt x="417" y="302"/>
                  </a:lnTo>
                  <a:lnTo>
                    <a:pt x="417" y="299"/>
                  </a:lnTo>
                  <a:lnTo>
                    <a:pt x="415" y="299"/>
                  </a:lnTo>
                  <a:lnTo>
                    <a:pt x="417" y="299"/>
                  </a:lnTo>
                  <a:lnTo>
                    <a:pt x="415" y="299"/>
                  </a:lnTo>
                  <a:lnTo>
                    <a:pt x="417" y="299"/>
                  </a:lnTo>
                  <a:lnTo>
                    <a:pt x="415" y="299"/>
                  </a:lnTo>
                  <a:lnTo>
                    <a:pt x="415" y="297"/>
                  </a:lnTo>
                  <a:lnTo>
                    <a:pt x="412" y="299"/>
                  </a:lnTo>
                  <a:lnTo>
                    <a:pt x="410" y="299"/>
                  </a:lnTo>
                  <a:lnTo>
                    <a:pt x="410" y="297"/>
                  </a:lnTo>
                  <a:lnTo>
                    <a:pt x="408" y="297"/>
                  </a:lnTo>
                  <a:lnTo>
                    <a:pt x="408" y="299"/>
                  </a:lnTo>
                  <a:lnTo>
                    <a:pt x="405" y="299"/>
                  </a:lnTo>
                  <a:lnTo>
                    <a:pt x="405" y="297"/>
                  </a:lnTo>
                  <a:lnTo>
                    <a:pt x="403" y="297"/>
                  </a:lnTo>
                  <a:lnTo>
                    <a:pt x="403" y="295"/>
                  </a:lnTo>
                  <a:lnTo>
                    <a:pt x="403" y="297"/>
                  </a:lnTo>
                  <a:lnTo>
                    <a:pt x="403" y="295"/>
                  </a:lnTo>
                  <a:lnTo>
                    <a:pt x="401" y="295"/>
                  </a:lnTo>
                  <a:lnTo>
                    <a:pt x="401" y="297"/>
                  </a:lnTo>
                  <a:lnTo>
                    <a:pt x="403" y="297"/>
                  </a:lnTo>
                  <a:lnTo>
                    <a:pt x="401" y="297"/>
                  </a:lnTo>
                  <a:lnTo>
                    <a:pt x="403" y="297"/>
                  </a:lnTo>
                  <a:lnTo>
                    <a:pt x="401" y="297"/>
                  </a:lnTo>
                  <a:lnTo>
                    <a:pt x="401" y="299"/>
                  </a:lnTo>
                  <a:lnTo>
                    <a:pt x="403" y="299"/>
                  </a:lnTo>
                  <a:lnTo>
                    <a:pt x="401" y="299"/>
                  </a:lnTo>
                  <a:lnTo>
                    <a:pt x="401" y="302"/>
                  </a:lnTo>
                  <a:lnTo>
                    <a:pt x="401" y="299"/>
                  </a:lnTo>
                  <a:lnTo>
                    <a:pt x="401" y="297"/>
                  </a:lnTo>
                  <a:lnTo>
                    <a:pt x="398" y="299"/>
                  </a:lnTo>
                  <a:lnTo>
                    <a:pt x="398" y="302"/>
                  </a:lnTo>
                  <a:lnTo>
                    <a:pt x="401" y="302"/>
                  </a:lnTo>
                  <a:lnTo>
                    <a:pt x="401" y="299"/>
                  </a:lnTo>
                  <a:lnTo>
                    <a:pt x="401" y="302"/>
                  </a:lnTo>
                  <a:lnTo>
                    <a:pt x="401" y="304"/>
                  </a:lnTo>
                  <a:lnTo>
                    <a:pt x="398" y="304"/>
                  </a:lnTo>
                  <a:lnTo>
                    <a:pt x="398" y="302"/>
                  </a:lnTo>
                  <a:lnTo>
                    <a:pt x="398" y="299"/>
                  </a:lnTo>
                  <a:lnTo>
                    <a:pt x="396" y="299"/>
                  </a:lnTo>
                  <a:lnTo>
                    <a:pt x="396" y="297"/>
                  </a:lnTo>
                  <a:lnTo>
                    <a:pt x="396" y="299"/>
                  </a:lnTo>
                  <a:lnTo>
                    <a:pt x="396" y="297"/>
                  </a:lnTo>
                  <a:lnTo>
                    <a:pt x="396" y="299"/>
                  </a:lnTo>
                  <a:lnTo>
                    <a:pt x="393" y="299"/>
                  </a:lnTo>
                  <a:lnTo>
                    <a:pt x="396" y="299"/>
                  </a:lnTo>
                  <a:lnTo>
                    <a:pt x="396" y="302"/>
                  </a:lnTo>
                  <a:lnTo>
                    <a:pt x="396" y="299"/>
                  </a:lnTo>
                  <a:lnTo>
                    <a:pt x="396" y="302"/>
                  </a:lnTo>
                  <a:lnTo>
                    <a:pt x="396" y="299"/>
                  </a:lnTo>
                  <a:lnTo>
                    <a:pt x="393" y="302"/>
                  </a:lnTo>
                  <a:lnTo>
                    <a:pt x="393" y="299"/>
                  </a:lnTo>
                  <a:lnTo>
                    <a:pt x="393" y="302"/>
                  </a:lnTo>
                  <a:lnTo>
                    <a:pt x="391" y="302"/>
                  </a:lnTo>
                  <a:close/>
                  <a:moveTo>
                    <a:pt x="386" y="299"/>
                  </a:moveTo>
                  <a:lnTo>
                    <a:pt x="384" y="299"/>
                  </a:lnTo>
                  <a:lnTo>
                    <a:pt x="386" y="299"/>
                  </a:lnTo>
                  <a:lnTo>
                    <a:pt x="384" y="299"/>
                  </a:lnTo>
                  <a:lnTo>
                    <a:pt x="384" y="297"/>
                  </a:lnTo>
                  <a:lnTo>
                    <a:pt x="382" y="297"/>
                  </a:lnTo>
                  <a:lnTo>
                    <a:pt x="382" y="299"/>
                  </a:lnTo>
                  <a:lnTo>
                    <a:pt x="384" y="299"/>
                  </a:lnTo>
                  <a:lnTo>
                    <a:pt x="384" y="302"/>
                  </a:lnTo>
                  <a:lnTo>
                    <a:pt x="384" y="299"/>
                  </a:lnTo>
                  <a:lnTo>
                    <a:pt x="386" y="299"/>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5" name="Freeform 57765"/>
            <p:cNvSpPr>
              <a:spLocks noEditPoints="1"/>
            </p:cNvSpPr>
            <p:nvPr/>
          </p:nvSpPr>
          <p:spPr bwMode="auto">
            <a:xfrm>
              <a:off x="3543296" y="4946671"/>
              <a:ext cx="400050" cy="112713"/>
            </a:xfrm>
            <a:custGeom>
              <a:avLst/>
              <a:gdLst>
                <a:gd name="T0" fmla="*/ 249 w 252"/>
                <a:gd name="T1" fmla="*/ 69 h 71"/>
                <a:gd name="T2" fmla="*/ 26 w 252"/>
                <a:gd name="T3" fmla="*/ 69 h 71"/>
                <a:gd name="T4" fmla="*/ 24 w 252"/>
                <a:gd name="T5" fmla="*/ 69 h 71"/>
                <a:gd name="T6" fmla="*/ 0 w 252"/>
                <a:gd name="T7" fmla="*/ 66 h 71"/>
                <a:gd name="T8" fmla="*/ 2 w 252"/>
                <a:gd name="T9" fmla="*/ 66 h 71"/>
                <a:gd name="T10" fmla="*/ 5 w 252"/>
                <a:gd name="T11" fmla="*/ 66 h 71"/>
                <a:gd name="T12" fmla="*/ 10 w 252"/>
                <a:gd name="T13" fmla="*/ 64 h 71"/>
                <a:gd name="T14" fmla="*/ 10 w 252"/>
                <a:gd name="T15" fmla="*/ 62 h 71"/>
                <a:gd name="T16" fmla="*/ 17 w 252"/>
                <a:gd name="T17" fmla="*/ 62 h 71"/>
                <a:gd name="T18" fmla="*/ 26 w 252"/>
                <a:gd name="T19" fmla="*/ 62 h 71"/>
                <a:gd name="T20" fmla="*/ 24 w 252"/>
                <a:gd name="T21" fmla="*/ 66 h 71"/>
                <a:gd name="T22" fmla="*/ 24 w 252"/>
                <a:gd name="T23" fmla="*/ 64 h 71"/>
                <a:gd name="T24" fmla="*/ 24 w 252"/>
                <a:gd name="T25" fmla="*/ 62 h 71"/>
                <a:gd name="T26" fmla="*/ 26 w 252"/>
                <a:gd name="T27" fmla="*/ 62 h 71"/>
                <a:gd name="T28" fmla="*/ 26 w 252"/>
                <a:gd name="T29" fmla="*/ 62 h 71"/>
                <a:gd name="T30" fmla="*/ 26 w 252"/>
                <a:gd name="T31" fmla="*/ 62 h 71"/>
                <a:gd name="T32" fmla="*/ 192 w 252"/>
                <a:gd name="T33" fmla="*/ 40 h 71"/>
                <a:gd name="T34" fmla="*/ 192 w 252"/>
                <a:gd name="T35" fmla="*/ 38 h 71"/>
                <a:gd name="T36" fmla="*/ 192 w 252"/>
                <a:gd name="T37" fmla="*/ 36 h 71"/>
                <a:gd name="T38" fmla="*/ 190 w 252"/>
                <a:gd name="T39" fmla="*/ 36 h 71"/>
                <a:gd name="T40" fmla="*/ 119 w 252"/>
                <a:gd name="T41" fmla="*/ 33 h 71"/>
                <a:gd name="T42" fmla="*/ 126 w 252"/>
                <a:gd name="T43" fmla="*/ 33 h 71"/>
                <a:gd name="T44" fmla="*/ 126 w 252"/>
                <a:gd name="T45" fmla="*/ 36 h 71"/>
                <a:gd name="T46" fmla="*/ 128 w 252"/>
                <a:gd name="T47" fmla="*/ 36 h 71"/>
                <a:gd name="T48" fmla="*/ 128 w 252"/>
                <a:gd name="T49" fmla="*/ 33 h 71"/>
                <a:gd name="T50" fmla="*/ 131 w 252"/>
                <a:gd name="T51" fmla="*/ 33 h 71"/>
                <a:gd name="T52" fmla="*/ 133 w 252"/>
                <a:gd name="T53" fmla="*/ 36 h 71"/>
                <a:gd name="T54" fmla="*/ 135 w 252"/>
                <a:gd name="T55" fmla="*/ 36 h 71"/>
                <a:gd name="T56" fmla="*/ 128 w 252"/>
                <a:gd name="T57" fmla="*/ 36 h 71"/>
                <a:gd name="T58" fmla="*/ 121 w 252"/>
                <a:gd name="T59" fmla="*/ 33 h 71"/>
                <a:gd name="T60" fmla="*/ 90 w 252"/>
                <a:gd name="T61" fmla="*/ 24 h 71"/>
                <a:gd name="T62" fmla="*/ 90 w 252"/>
                <a:gd name="T63" fmla="*/ 26 h 71"/>
                <a:gd name="T64" fmla="*/ 97 w 252"/>
                <a:gd name="T65" fmla="*/ 26 h 71"/>
                <a:gd name="T66" fmla="*/ 100 w 252"/>
                <a:gd name="T67" fmla="*/ 26 h 71"/>
                <a:gd name="T68" fmla="*/ 100 w 252"/>
                <a:gd name="T69" fmla="*/ 28 h 71"/>
                <a:gd name="T70" fmla="*/ 88 w 252"/>
                <a:gd name="T71" fmla="*/ 26 h 71"/>
                <a:gd name="T72" fmla="*/ 85 w 252"/>
                <a:gd name="T73" fmla="*/ 21 h 71"/>
                <a:gd name="T74" fmla="*/ 85 w 252"/>
                <a:gd name="T75" fmla="*/ 19 h 71"/>
                <a:gd name="T76" fmla="*/ 88 w 252"/>
                <a:gd name="T77" fmla="*/ 24 h 71"/>
                <a:gd name="T78" fmla="*/ 93 w 252"/>
                <a:gd name="T79" fmla="*/ 17 h 71"/>
                <a:gd name="T80" fmla="*/ 93 w 252"/>
                <a:gd name="T81" fmla="*/ 19 h 71"/>
                <a:gd name="T82" fmla="*/ 93 w 252"/>
                <a:gd name="T83" fmla="*/ 17 h 71"/>
                <a:gd name="T84" fmla="*/ 109 w 252"/>
                <a:gd name="T85" fmla="*/ 12 h 71"/>
                <a:gd name="T86" fmla="*/ 235 w 252"/>
                <a:gd name="T87" fmla="*/ 12 h 71"/>
                <a:gd name="T88" fmla="*/ 112 w 252"/>
                <a:gd name="T89" fmla="*/ 12 h 71"/>
                <a:gd name="T90" fmla="*/ 109 w 252"/>
                <a:gd name="T91" fmla="*/ 12 h 71"/>
                <a:gd name="T92" fmla="*/ 102 w 252"/>
                <a:gd name="T93" fmla="*/ 12 h 71"/>
                <a:gd name="T94" fmla="*/ 104 w 252"/>
                <a:gd name="T95" fmla="*/ 12 h 71"/>
                <a:gd name="T96" fmla="*/ 112 w 252"/>
                <a:gd name="T97" fmla="*/ 12 h 71"/>
                <a:gd name="T98" fmla="*/ 109 w 252"/>
                <a:gd name="T99" fmla="*/ 12 h 71"/>
                <a:gd name="T100" fmla="*/ 109 w 252"/>
                <a:gd name="T101" fmla="*/ 9 h 71"/>
                <a:gd name="T102" fmla="*/ 116 w 252"/>
                <a:gd name="T103" fmla="*/ 9 h 71"/>
                <a:gd name="T104" fmla="*/ 116 w 252"/>
                <a:gd name="T105" fmla="*/ 12 h 71"/>
                <a:gd name="T106" fmla="*/ 114 w 252"/>
                <a:gd name="T107" fmla="*/ 12 h 71"/>
                <a:gd name="T108" fmla="*/ 119 w 252"/>
                <a:gd name="T109" fmla="*/ 9 h 71"/>
                <a:gd name="T110" fmla="*/ 119 w 252"/>
                <a:gd name="T111" fmla="*/ 7 h 71"/>
                <a:gd name="T112" fmla="*/ 138 w 252"/>
                <a:gd name="T11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 h="71">
                  <a:moveTo>
                    <a:pt x="252" y="71"/>
                  </a:moveTo>
                  <a:lnTo>
                    <a:pt x="249" y="71"/>
                  </a:lnTo>
                  <a:lnTo>
                    <a:pt x="249" y="69"/>
                  </a:lnTo>
                  <a:lnTo>
                    <a:pt x="252" y="71"/>
                  </a:lnTo>
                  <a:close/>
                  <a:moveTo>
                    <a:pt x="26" y="66"/>
                  </a:moveTo>
                  <a:lnTo>
                    <a:pt x="26" y="69"/>
                  </a:lnTo>
                  <a:lnTo>
                    <a:pt x="26" y="71"/>
                  </a:lnTo>
                  <a:lnTo>
                    <a:pt x="24" y="71"/>
                  </a:lnTo>
                  <a:lnTo>
                    <a:pt x="24" y="69"/>
                  </a:lnTo>
                  <a:lnTo>
                    <a:pt x="24" y="66"/>
                  </a:lnTo>
                  <a:lnTo>
                    <a:pt x="26" y="66"/>
                  </a:lnTo>
                  <a:close/>
                  <a:moveTo>
                    <a:pt x="0" y="66"/>
                  </a:moveTo>
                  <a:lnTo>
                    <a:pt x="2" y="66"/>
                  </a:lnTo>
                  <a:lnTo>
                    <a:pt x="0" y="66"/>
                  </a:lnTo>
                  <a:close/>
                  <a:moveTo>
                    <a:pt x="2" y="66"/>
                  </a:moveTo>
                  <a:lnTo>
                    <a:pt x="2" y="64"/>
                  </a:lnTo>
                  <a:lnTo>
                    <a:pt x="5" y="64"/>
                  </a:lnTo>
                  <a:lnTo>
                    <a:pt x="5" y="66"/>
                  </a:lnTo>
                  <a:lnTo>
                    <a:pt x="2" y="66"/>
                  </a:lnTo>
                  <a:close/>
                  <a:moveTo>
                    <a:pt x="10" y="62"/>
                  </a:moveTo>
                  <a:lnTo>
                    <a:pt x="10" y="64"/>
                  </a:lnTo>
                  <a:lnTo>
                    <a:pt x="7" y="64"/>
                  </a:lnTo>
                  <a:lnTo>
                    <a:pt x="7" y="62"/>
                  </a:lnTo>
                  <a:lnTo>
                    <a:pt x="10" y="62"/>
                  </a:lnTo>
                  <a:close/>
                  <a:moveTo>
                    <a:pt x="19" y="64"/>
                  </a:moveTo>
                  <a:lnTo>
                    <a:pt x="17" y="64"/>
                  </a:lnTo>
                  <a:lnTo>
                    <a:pt x="17" y="62"/>
                  </a:lnTo>
                  <a:lnTo>
                    <a:pt x="19" y="62"/>
                  </a:lnTo>
                  <a:lnTo>
                    <a:pt x="19" y="64"/>
                  </a:lnTo>
                  <a:close/>
                  <a:moveTo>
                    <a:pt x="26" y="62"/>
                  </a:moveTo>
                  <a:lnTo>
                    <a:pt x="26" y="64"/>
                  </a:lnTo>
                  <a:lnTo>
                    <a:pt x="26" y="66"/>
                  </a:lnTo>
                  <a:lnTo>
                    <a:pt x="24" y="66"/>
                  </a:lnTo>
                  <a:lnTo>
                    <a:pt x="21" y="66"/>
                  </a:lnTo>
                  <a:lnTo>
                    <a:pt x="21" y="64"/>
                  </a:lnTo>
                  <a:lnTo>
                    <a:pt x="24" y="64"/>
                  </a:lnTo>
                  <a:lnTo>
                    <a:pt x="24" y="62"/>
                  </a:lnTo>
                  <a:lnTo>
                    <a:pt x="26" y="62"/>
                  </a:lnTo>
                  <a:close/>
                  <a:moveTo>
                    <a:pt x="24" y="62"/>
                  </a:moveTo>
                  <a:lnTo>
                    <a:pt x="21" y="59"/>
                  </a:lnTo>
                  <a:lnTo>
                    <a:pt x="24" y="62"/>
                  </a:lnTo>
                  <a:close/>
                  <a:moveTo>
                    <a:pt x="26" y="62"/>
                  </a:moveTo>
                  <a:lnTo>
                    <a:pt x="26" y="59"/>
                  </a:lnTo>
                  <a:lnTo>
                    <a:pt x="26" y="62"/>
                  </a:lnTo>
                  <a:close/>
                  <a:moveTo>
                    <a:pt x="26" y="62"/>
                  </a:moveTo>
                  <a:lnTo>
                    <a:pt x="24" y="62"/>
                  </a:lnTo>
                  <a:lnTo>
                    <a:pt x="26" y="59"/>
                  </a:lnTo>
                  <a:lnTo>
                    <a:pt x="26" y="62"/>
                  </a:lnTo>
                  <a:close/>
                  <a:moveTo>
                    <a:pt x="190" y="38"/>
                  </a:moveTo>
                  <a:lnTo>
                    <a:pt x="192" y="38"/>
                  </a:lnTo>
                  <a:lnTo>
                    <a:pt x="192" y="40"/>
                  </a:lnTo>
                  <a:lnTo>
                    <a:pt x="192" y="38"/>
                  </a:lnTo>
                  <a:lnTo>
                    <a:pt x="192" y="40"/>
                  </a:lnTo>
                  <a:lnTo>
                    <a:pt x="192" y="38"/>
                  </a:lnTo>
                  <a:lnTo>
                    <a:pt x="190" y="38"/>
                  </a:lnTo>
                  <a:close/>
                  <a:moveTo>
                    <a:pt x="190" y="36"/>
                  </a:moveTo>
                  <a:lnTo>
                    <a:pt x="192" y="36"/>
                  </a:lnTo>
                  <a:lnTo>
                    <a:pt x="192" y="38"/>
                  </a:lnTo>
                  <a:lnTo>
                    <a:pt x="190" y="38"/>
                  </a:lnTo>
                  <a:lnTo>
                    <a:pt x="190" y="36"/>
                  </a:lnTo>
                  <a:lnTo>
                    <a:pt x="190" y="38"/>
                  </a:lnTo>
                  <a:lnTo>
                    <a:pt x="190" y="36"/>
                  </a:lnTo>
                  <a:close/>
                  <a:moveTo>
                    <a:pt x="119" y="33"/>
                  </a:moveTo>
                  <a:lnTo>
                    <a:pt x="121" y="33"/>
                  </a:lnTo>
                  <a:lnTo>
                    <a:pt x="123" y="33"/>
                  </a:lnTo>
                  <a:lnTo>
                    <a:pt x="126" y="33"/>
                  </a:lnTo>
                  <a:lnTo>
                    <a:pt x="126" y="36"/>
                  </a:lnTo>
                  <a:lnTo>
                    <a:pt x="126" y="33"/>
                  </a:lnTo>
                  <a:lnTo>
                    <a:pt x="126" y="36"/>
                  </a:lnTo>
                  <a:lnTo>
                    <a:pt x="128" y="36"/>
                  </a:lnTo>
                  <a:lnTo>
                    <a:pt x="128" y="33"/>
                  </a:lnTo>
                  <a:lnTo>
                    <a:pt x="128" y="36"/>
                  </a:lnTo>
                  <a:lnTo>
                    <a:pt x="128" y="33"/>
                  </a:lnTo>
                  <a:lnTo>
                    <a:pt x="126" y="33"/>
                  </a:lnTo>
                  <a:lnTo>
                    <a:pt x="128" y="33"/>
                  </a:lnTo>
                  <a:lnTo>
                    <a:pt x="131" y="33"/>
                  </a:lnTo>
                  <a:lnTo>
                    <a:pt x="128" y="33"/>
                  </a:lnTo>
                  <a:lnTo>
                    <a:pt x="131" y="33"/>
                  </a:lnTo>
                  <a:lnTo>
                    <a:pt x="128" y="33"/>
                  </a:lnTo>
                  <a:lnTo>
                    <a:pt x="131" y="33"/>
                  </a:lnTo>
                  <a:lnTo>
                    <a:pt x="133" y="36"/>
                  </a:lnTo>
                  <a:lnTo>
                    <a:pt x="135" y="36"/>
                  </a:lnTo>
                  <a:lnTo>
                    <a:pt x="133" y="36"/>
                  </a:lnTo>
                  <a:lnTo>
                    <a:pt x="135" y="36"/>
                  </a:lnTo>
                  <a:lnTo>
                    <a:pt x="133" y="36"/>
                  </a:lnTo>
                  <a:lnTo>
                    <a:pt x="131" y="36"/>
                  </a:lnTo>
                  <a:lnTo>
                    <a:pt x="128" y="36"/>
                  </a:lnTo>
                  <a:lnTo>
                    <a:pt x="126" y="36"/>
                  </a:lnTo>
                  <a:lnTo>
                    <a:pt x="123" y="33"/>
                  </a:lnTo>
                  <a:lnTo>
                    <a:pt x="121" y="33"/>
                  </a:lnTo>
                  <a:lnTo>
                    <a:pt x="119" y="33"/>
                  </a:lnTo>
                  <a:close/>
                  <a:moveTo>
                    <a:pt x="88" y="24"/>
                  </a:moveTo>
                  <a:lnTo>
                    <a:pt x="90" y="24"/>
                  </a:lnTo>
                  <a:lnTo>
                    <a:pt x="88" y="24"/>
                  </a:lnTo>
                  <a:lnTo>
                    <a:pt x="88" y="26"/>
                  </a:lnTo>
                  <a:lnTo>
                    <a:pt x="90" y="26"/>
                  </a:lnTo>
                  <a:lnTo>
                    <a:pt x="93" y="26"/>
                  </a:lnTo>
                  <a:lnTo>
                    <a:pt x="95" y="26"/>
                  </a:lnTo>
                  <a:lnTo>
                    <a:pt x="97" y="26"/>
                  </a:lnTo>
                  <a:lnTo>
                    <a:pt x="100" y="26"/>
                  </a:lnTo>
                  <a:lnTo>
                    <a:pt x="100" y="28"/>
                  </a:lnTo>
                  <a:lnTo>
                    <a:pt x="100" y="26"/>
                  </a:lnTo>
                  <a:lnTo>
                    <a:pt x="100" y="28"/>
                  </a:lnTo>
                  <a:lnTo>
                    <a:pt x="102" y="28"/>
                  </a:lnTo>
                  <a:lnTo>
                    <a:pt x="100" y="28"/>
                  </a:lnTo>
                  <a:lnTo>
                    <a:pt x="95" y="26"/>
                  </a:lnTo>
                  <a:lnTo>
                    <a:pt x="90" y="26"/>
                  </a:lnTo>
                  <a:lnTo>
                    <a:pt x="88" y="26"/>
                  </a:lnTo>
                  <a:lnTo>
                    <a:pt x="88" y="24"/>
                  </a:lnTo>
                  <a:lnTo>
                    <a:pt x="85" y="24"/>
                  </a:lnTo>
                  <a:lnTo>
                    <a:pt x="85" y="21"/>
                  </a:lnTo>
                  <a:lnTo>
                    <a:pt x="83" y="21"/>
                  </a:lnTo>
                  <a:lnTo>
                    <a:pt x="83" y="19"/>
                  </a:lnTo>
                  <a:lnTo>
                    <a:pt x="85" y="19"/>
                  </a:lnTo>
                  <a:lnTo>
                    <a:pt x="85" y="21"/>
                  </a:lnTo>
                  <a:lnTo>
                    <a:pt x="85" y="24"/>
                  </a:lnTo>
                  <a:lnTo>
                    <a:pt x="88" y="24"/>
                  </a:lnTo>
                  <a:close/>
                  <a:moveTo>
                    <a:pt x="93" y="17"/>
                  </a:moveTo>
                  <a:lnTo>
                    <a:pt x="93" y="19"/>
                  </a:lnTo>
                  <a:lnTo>
                    <a:pt x="93" y="17"/>
                  </a:lnTo>
                  <a:lnTo>
                    <a:pt x="93" y="19"/>
                  </a:lnTo>
                  <a:lnTo>
                    <a:pt x="93" y="17"/>
                  </a:lnTo>
                  <a:lnTo>
                    <a:pt x="93" y="19"/>
                  </a:lnTo>
                  <a:lnTo>
                    <a:pt x="93" y="17"/>
                  </a:lnTo>
                  <a:lnTo>
                    <a:pt x="90" y="17"/>
                  </a:lnTo>
                  <a:lnTo>
                    <a:pt x="93" y="17"/>
                  </a:lnTo>
                  <a:close/>
                  <a:moveTo>
                    <a:pt x="109" y="12"/>
                  </a:moveTo>
                  <a:lnTo>
                    <a:pt x="109" y="14"/>
                  </a:lnTo>
                  <a:lnTo>
                    <a:pt x="109" y="12"/>
                  </a:lnTo>
                  <a:lnTo>
                    <a:pt x="109" y="14"/>
                  </a:lnTo>
                  <a:lnTo>
                    <a:pt x="109" y="12"/>
                  </a:lnTo>
                  <a:close/>
                  <a:moveTo>
                    <a:pt x="235" y="12"/>
                  </a:moveTo>
                  <a:lnTo>
                    <a:pt x="237" y="12"/>
                  </a:lnTo>
                  <a:lnTo>
                    <a:pt x="235" y="12"/>
                  </a:lnTo>
                  <a:close/>
                  <a:moveTo>
                    <a:pt x="112" y="12"/>
                  </a:moveTo>
                  <a:lnTo>
                    <a:pt x="109" y="12"/>
                  </a:lnTo>
                  <a:lnTo>
                    <a:pt x="112" y="12"/>
                  </a:lnTo>
                  <a:lnTo>
                    <a:pt x="109" y="12"/>
                  </a:lnTo>
                  <a:lnTo>
                    <a:pt x="112" y="12"/>
                  </a:lnTo>
                  <a:close/>
                  <a:moveTo>
                    <a:pt x="104" y="12"/>
                  </a:moveTo>
                  <a:lnTo>
                    <a:pt x="102" y="12"/>
                  </a:lnTo>
                  <a:lnTo>
                    <a:pt x="104" y="12"/>
                  </a:lnTo>
                  <a:lnTo>
                    <a:pt x="102" y="12"/>
                  </a:lnTo>
                  <a:lnTo>
                    <a:pt x="104" y="12"/>
                  </a:lnTo>
                  <a:close/>
                  <a:moveTo>
                    <a:pt x="114" y="9"/>
                  </a:moveTo>
                  <a:lnTo>
                    <a:pt x="114" y="12"/>
                  </a:lnTo>
                  <a:lnTo>
                    <a:pt x="112" y="12"/>
                  </a:lnTo>
                  <a:lnTo>
                    <a:pt x="109" y="12"/>
                  </a:lnTo>
                  <a:lnTo>
                    <a:pt x="109" y="9"/>
                  </a:lnTo>
                  <a:lnTo>
                    <a:pt x="109" y="12"/>
                  </a:lnTo>
                  <a:lnTo>
                    <a:pt x="112" y="12"/>
                  </a:lnTo>
                  <a:lnTo>
                    <a:pt x="112" y="9"/>
                  </a:lnTo>
                  <a:lnTo>
                    <a:pt x="109" y="9"/>
                  </a:lnTo>
                  <a:lnTo>
                    <a:pt x="112" y="9"/>
                  </a:lnTo>
                  <a:lnTo>
                    <a:pt x="114" y="9"/>
                  </a:lnTo>
                  <a:close/>
                  <a:moveTo>
                    <a:pt x="116" y="9"/>
                  </a:moveTo>
                  <a:lnTo>
                    <a:pt x="119" y="9"/>
                  </a:lnTo>
                  <a:lnTo>
                    <a:pt x="116" y="9"/>
                  </a:lnTo>
                  <a:lnTo>
                    <a:pt x="116" y="12"/>
                  </a:lnTo>
                  <a:lnTo>
                    <a:pt x="114" y="12"/>
                  </a:lnTo>
                  <a:lnTo>
                    <a:pt x="112" y="12"/>
                  </a:lnTo>
                  <a:lnTo>
                    <a:pt x="114" y="12"/>
                  </a:lnTo>
                  <a:lnTo>
                    <a:pt x="114" y="9"/>
                  </a:lnTo>
                  <a:lnTo>
                    <a:pt x="116" y="9"/>
                  </a:lnTo>
                  <a:close/>
                  <a:moveTo>
                    <a:pt x="119" y="9"/>
                  </a:moveTo>
                  <a:lnTo>
                    <a:pt x="116" y="9"/>
                  </a:lnTo>
                  <a:lnTo>
                    <a:pt x="116" y="7"/>
                  </a:lnTo>
                  <a:lnTo>
                    <a:pt x="119" y="7"/>
                  </a:lnTo>
                  <a:lnTo>
                    <a:pt x="119" y="9"/>
                  </a:lnTo>
                  <a:close/>
                  <a:moveTo>
                    <a:pt x="140" y="0"/>
                  </a:moveTo>
                  <a:lnTo>
                    <a:pt x="138" y="0"/>
                  </a:lnTo>
                  <a:lnTo>
                    <a:pt x="14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6" name="Freeform 57766"/>
            <p:cNvSpPr>
              <a:spLocks noEditPoints="1"/>
            </p:cNvSpPr>
            <p:nvPr/>
          </p:nvSpPr>
          <p:spPr bwMode="auto">
            <a:xfrm>
              <a:off x="3686170" y="4930796"/>
              <a:ext cx="233363" cy="84138"/>
            </a:xfrm>
            <a:custGeom>
              <a:avLst/>
              <a:gdLst>
                <a:gd name="T0" fmla="*/ 60 w 147"/>
                <a:gd name="T1" fmla="*/ 53 h 53"/>
                <a:gd name="T2" fmla="*/ 62 w 147"/>
                <a:gd name="T3" fmla="*/ 53 h 53"/>
                <a:gd name="T4" fmla="*/ 60 w 147"/>
                <a:gd name="T5" fmla="*/ 53 h 53"/>
                <a:gd name="T6" fmla="*/ 62 w 147"/>
                <a:gd name="T7" fmla="*/ 53 h 53"/>
                <a:gd name="T8" fmla="*/ 62 w 147"/>
                <a:gd name="T9" fmla="*/ 50 h 53"/>
                <a:gd name="T10" fmla="*/ 62 w 147"/>
                <a:gd name="T11" fmla="*/ 53 h 53"/>
                <a:gd name="T12" fmla="*/ 102 w 147"/>
                <a:gd name="T13" fmla="*/ 48 h 53"/>
                <a:gd name="T14" fmla="*/ 105 w 147"/>
                <a:gd name="T15" fmla="*/ 48 h 53"/>
                <a:gd name="T16" fmla="*/ 102 w 147"/>
                <a:gd name="T17" fmla="*/ 48 h 53"/>
                <a:gd name="T18" fmla="*/ 102 w 147"/>
                <a:gd name="T19" fmla="*/ 48 h 53"/>
                <a:gd name="T20" fmla="*/ 102 w 147"/>
                <a:gd name="T21" fmla="*/ 46 h 53"/>
                <a:gd name="T22" fmla="*/ 102 w 147"/>
                <a:gd name="T23" fmla="*/ 48 h 53"/>
                <a:gd name="T24" fmla="*/ 86 w 147"/>
                <a:gd name="T25" fmla="*/ 43 h 53"/>
                <a:gd name="T26" fmla="*/ 86 w 147"/>
                <a:gd name="T27" fmla="*/ 46 h 53"/>
                <a:gd name="T28" fmla="*/ 86 w 147"/>
                <a:gd name="T29" fmla="*/ 43 h 53"/>
                <a:gd name="T30" fmla="*/ 50 w 147"/>
                <a:gd name="T31" fmla="*/ 43 h 53"/>
                <a:gd name="T32" fmla="*/ 50 w 147"/>
                <a:gd name="T33" fmla="*/ 41 h 53"/>
                <a:gd name="T34" fmla="*/ 50 w 147"/>
                <a:gd name="T35" fmla="*/ 43 h 53"/>
                <a:gd name="T36" fmla="*/ 102 w 147"/>
                <a:gd name="T37" fmla="*/ 41 h 53"/>
                <a:gd name="T38" fmla="*/ 102 w 147"/>
                <a:gd name="T39" fmla="*/ 38 h 53"/>
                <a:gd name="T40" fmla="*/ 102 w 147"/>
                <a:gd name="T41" fmla="*/ 41 h 53"/>
                <a:gd name="T42" fmla="*/ 102 w 147"/>
                <a:gd name="T43" fmla="*/ 41 h 53"/>
                <a:gd name="T44" fmla="*/ 102 w 147"/>
                <a:gd name="T45" fmla="*/ 38 h 53"/>
                <a:gd name="T46" fmla="*/ 102 w 147"/>
                <a:gd name="T47" fmla="*/ 41 h 53"/>
                <a:gd name="T48" fmla="*/ 102 w 147"/>
                <a:gd name="T49" fmla="*/ 38 h 53"/>
                <a:gd name="T50" fmla="*/ 102 w 147"/>
                <a:gd name="T51" fmla="*/ 41 h 53"/>
                <a:gd name="T52" fmla="*/ 102 w 147"/>
                <a:gd name="T53" fmla="*/ 38 h 53"/>
                <a:gd name="T54" fmla="*/ 112 w 147"/>
                <a:gd name="T55" fmla="*/ 38 h 53"/>
                <a:gd name="T56" fmla="*/ 109 w 147"/>
                <a:gd name="T57" fmla="*/ 38 h 53"/>
                <a:gd name="T58" fmla="*/ 112 w 147"/>
                <a:gd name="T59" fmla="*/ 38 h 53"/>
                <a:gd name="T60" fmla="*/ 3 w 147"/>
                <a:gd name="T61" fmla="*/ 34 h 53"/>
                <a:gd name="T62" fmla="*/ 0 w 147"/>
                <a:gd name="T63" fmla="*/ 34 h 53"/>
                <a:gd name="T64" fmla="*/ 3 w 147"/>
                <a:gd name="T65" fmla="*/ 34 h 53"/>
                <a:gd name="T66" fmla="*/ 7 w 147"/>
                <a:gd name="T67" fmla="*/ 31 h 53"/>
                <a:gd name="T68" fmla="*/ 7 w 147"/>
                <a:gd name="T69" fmla="*/ 34 h 53"/>
                <a:gd name="T70" fmla="*/ 7 w 147"/>
                <a:gd name="T71" fmla="*/ 31 h 53"/>
                <a:gd name="T72" fmla="*/ 147 w 147"/>
                <a:gd name="T73" fmla="*/ 19 h 53"/>
                <a:gd name="T74" fmla="*/ 147 w 147"/>
                <a:gd name="T75" fmla="*/ 22 h 53"/>
                <a:gd name="T76" fmla="*/ 147 w 147"/>
                <a:gd name="T77" fmla="*/ 19 h 53"/>
                <a:gd name="T78" fmla="*/ 26 w 147"/>
                <a:gd name="T79" fmla="*/ 19 h 53"/>
                <a:gd name="T80" fmla="*/ 26 w 147"/>
                <a:gd name="T81" fmla="*/ 17 h 53"/>
                <a:gd name="T82" fmla="*/ 26 w 147"/>
                <a:gd name="T83" fmla="*/ 19 h 53"/>
                <a:gd name="T84" fmla="*/ 7 w 147"/>
                <a:gd name="T85" fmla="*/ 0 h 53"/>
                <a:gd name="T86" fmla="*/ 7 w 147"/>
                <a:gd name="T87" fmla="*/ 3 h 53"/>
                <a:gd name="T88" fmla="*/ 7 w 147"/>
                <a:gd name="T8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7" h="53">
                  <a:moveTo>
                    <a:pt x="60" y="53"/>
                  </a:moveTo>
                  <a:lnTo>
                    <a:pt x="62" y="53"/>
                  </a:lnTo>
                  <a:lnTo>
                    <a:pt x="60" y="53"/>
                  </a:lnTo>
                  <a:close/>
                  <a:moveTo>
                    <a:pt x="62" y="53"/>
                  </a:moveTo>
                  <a:lnTo>
                    <a:pt x="62" y="50"/>
                  </a:lnTo>
                  <a:lnTo>
                    <a:pt x="62" y="53"/>
                  </a:lnTo>
                  <a:close/>
                  <a:moveTo>
                    <a:pt x="102" y="48"/>
                  </a:moveTo>
                  <a:lnTo>
                    <a:pt x="105" y="48"/>
                  </a:lnTo>
                  <a:lnTo>
                    <a:pt x="102" y="48"/>
                  </a:lnTo>
                  <a:close/>
                  <a:moveTo>
                    <a:pt x="102" y="48"/>
                  </a:moveTo>
                  <a:lnTo>
                    <a:pt x="102" y="46"/>
                  </a:lnTo>
                  <a:lnTo>
                    <a:pt x="102" y="48"/>
                  </a:lnTo>
                  <a:close/>
                  <a:moveTo>
                    <a:pt x="86" y="43"/>
                  </a:moveTo>
                  <a:lnTo>
                    <a:pt x="86" y="46"/>
                  </a:lnTo>
                  <a:lnTo>
                    <a:pt x="86" y="43"/>
                  </a:lnTo>
                  <a:close/>
                  <a:moveTo>
                    <a:pt x="50" y="43"/>
                  </a:moveTo>
                  <a:lnTo>
                    <a:pt x="50" y="41"/>
                  </a:lnTo>
                  <a:lnTo>
                    <a:pt x="50" y="43"/>
                  </a:lnTo>
                  <a:close/>
                  <a:moveTo>
                    <a:pt x="102" y="41"/>
                  </a:moveTo>
                  <a:lnTo>
                    <a:pt x="102" y="38"/>
                  </a:lnTo>
                  <a:lnTo>
                    <a:pt x="102" y="41"/>
                  </a:lnTo>
                  <a:close/>
                  <a:moveTo>
                    <a:pt x="102" y="41"/>
                  </a:moveTo>
                  <a:lnTo>
                    <a:pt x="102" y="38"/>
                  </a:lnTo>
                  <a:lnTo>
                    <a:pt x="102" y="41"/>
                  </a:lnTo>
                  <a:close/>
                  <a:moveTo>
                    <a:pt x="102" y="38"/>
                  </a:moveTo>
                  <a:lnTo>
                    <a:pt x="102" y="41"/>
                  </a:lnTo>
                  <a:lnTo>
                    <a:pt x="102" y="38"/>
                  </a:lnTo>
                  <a:close/>
                  <a:moveTo>
                    <a:pt x="112" y="38"/>
                  </a:moveTo>
                  <a:lnTo>
                    <a:pt x="109" y="38"/>
                  </a:lnTo>
                  <a:lnTo>
                    <a:pt x="112" y="38"/>
                  </a:lnTo>
                  <a:close/>
                  <a:moveTo>
                    <a:pt x="3" y="34"/>
                  </a:moveTo>
                  <a:lnTo>
                    <a:pt x="0" y="34"/>
                  </a:lnTo>
                  <a:lnTo>
                    <a:pt x="3" y="34"/>
                  </a:lnTo>
                  <a:close/>
                  <a:moveTo>
                    <a:pt x="7" y="31"/>
                  </a:moveTo>
                  <a:lnTo>
                    <a:pt x="7" y="34"/>
                  </a:lnTo>
                  <a:lnTo>
                    <a:pt x="7" y="31"/>
                  </a:lnTo>
                  <a:close/>
                  <a:moveTo>
                    <a:pt x="147" y="19"/>
                  </a:moveTo>
                  <a:lnTo>
                    <a:pt x="147" y="22"/>
                  </a:lnTo>
                  <a:lnTo>
                    <a:pt x="147" y="19"/>
                  </a:lnTo>
                  <a:close/>
                  <a:moveTo>
                    <a:pt x="26" y="19"/>
                  </a:moveTo>
                  <a:lnTo>
                    <a:pt x="26" y="17"/>
                  </a:lnTo>
                  <a:lnTo>
                    <a:pt x="26" y="19"/>
                  </a:lnTo>
                  <a:close/>
                  <a:moveTo>
                    <a:pt x="7" y="0"/>
                  </a:moveTo>
                  <a:lnTo>
                    <a:pt x="7" y="3"/>
                  </a:lnTo>
                  <a:lnTo>
                    <a:pt x="7"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7" name="Freeform 57767"/>
            <p:cNvSpPr>
              <a:spLocks noEditPoints="1"/>
            </p:cNvSpPr>
            <p:nvPr/>
          </p:nvSpPr>
          <p:spPr bwMode="auto">
            <a:xfrm>
              <a:off x="1652585" y="3841765"/>
              <a:ext cx="320675" cy="614366"/>
            </a:xfrm>
            <a:custGeom>
              <a:avLst/>
              <a:gdLst>
                <a:gd name="T0" fmla="*/ 95 w 202"/>
                <a:gd name="T1" fmla="*/ 387 h 387"/>
                <a:gd name="T2" fmla="*/ 88 w 202"/>
                <a:gd name="T3" fmla="*/ 373 h 387"/>
                <a:gd name="T4" fmla="*/ 64 w 202"/>
                <a:gd name="T5" fmla="*/ 271 h 387"/>
                <a:gd name="T6" fmla="*/ 36 w 202"/>
                <a:gd name="T7" fmla="*/ 249 h 387"/>
                <a:gd name="T8" fmla="*/ 36 w 202"/>
                <a:gd name="T9" fmla="*/ 261 h 387"/>
                <a:gd name="T10" fmla="*/ 26 w 202"/>
                <a:gd name="T11" fmla="*/ 254 h 387"/>
                <a:gd name="T12" fmla="*/ 24 w 202"/>
                <a:gd name="T13" fmla="*/ 249 h 387"/>
                <a:gd name="T14" fmla="*/ 33 w 202"/>
                <a:gd name="T15" fmla="*/ 245 h 387"/>
                <a:gd name="T16" fmla="*/ 38 w 202"/>
                <a:gd name="T17" fmla="*/ 252 h 387"/>
                <a:gd name="T18" fmla="*/ 38 w 202"/>
                <a:gd name="T19" fmla="*/ 245 h 387"/>
                <a:gd name="T20" fmla="*/ 38 w 202"/>
                <a:gd name="T21" fmla="*/ 214 h 387"/>
                <a:gd name="T22" fmla="*/ 47 w 202"/>
                <a:gd name="T23" fmla="*/ 221 h 387"/>
                <a:gd name="T24" fmla="*/ 38 w 202"/>
                <a:gd name="T25" fmla="*/ 228 h 387"/>
                <a:gd name="T26" fmla="*/ 31 w 202"/>
                <a:gd name="T27" fmla="*/ 226 h 387"/>
                <a:gd name="T28" fmla="*/ 33 w 202"/>
                <a:gd name="T29" fmla="*/ 223 h 387"/>
                <a:gd name="T30" fmla="*/ 28 w 202"/>
                <a:gd name="T31" fmla="*/ 216 h 387"/>
                <a:gd name="T32" fmla="*/ 31 w 202"/>
                <a:gd name="T33" fmla="*/ 209 h 387"/>
                <a:gd name="T34" fmla="*/ 47 w 202"/>
                <a:gd name="T35" fmla="*/ 176 h 387"/>
                <a:gd name="T36" fmla="*/ 38 w 202"/>
                <a:gd name="T37" fmla="*/ 190 h 387"/>
                <a:gd name="T38" fmla="*/ 38 w 202"/>
                <a:gd name="T39" fmla="*/ 180 h 387"/>
                <a:gd name="T40" fmla="*/ 33 w 202"/>
                <a:gd name="T41" fmla="*/ 183 h 387"/>
                <a:gd name="T42" fmla="*/ 26 w 202"/>
                <a:gd name="T43" fmla="*/ 176 h 387"/>
                <a:gd name="T44" fmla="*/ 14 w 202"/>
                <a:gd name="T45" fmla="*/ 171 h 387"/>
                <a:gd name="T46" fmla="*/ 19 w 202"/>
                <a:gd name="T47" fmla="*/ 164 h 387"/>
                <a:gd name="T48" fmla="*/ 28 w 202"/>
                <a:gd name="T49" fmla="*/ 166 h 387"/>
                <a:gd name="T50" fmla="*/ 24 w 202"/>
                <a:gd name="T51" fmla="*/ 159 h 387"/>
                <a:gd name="T52" fmla="*/ 31 w 202"/>
                <a:gd name="T53" fmla="*/ 169 h 387"/>
                <a:gd name="T54" fmla="*/ 31 w 202"/>
                <a:gd name="T55" fmla="*/ 121 h 387"/>
                <a:gd name="T56" fmla="*/ 31 w 202"/>
                <a:gd name="T57" fmla="*/ 128 h 387"/>
                <a:gd name="T58" fmla="*/ 21 w 202"/>
                <a:gd name="T59" fmla="*/ 130 h 387"/>
                <a:gd name="T60" fmla="*/ 24 w 202"/>
                <a:gd name="T61" fmla="*/ 135 h 387"/>
                <a:gd name="T62" fmla="*/ 21 w 202"/>
                <a:gd name="T63" fmla="*/ 142 h 387"/>
                <a:gd name="T64" fmla="*/ 14 w 202"/>
                <a:gd name="T65" fmla="*/ 138 h 387"/>
                <a:gd name="T66" fmla="*/ 14 w 202"/>
                <a:gd name="T67" fmla="*/ 142 h 387"/>
                <a:gd name="T68" fmla="*/ 9 w 202"/>
                <a:gd name="T69" fmla="*/ 150 h 387"/>
                <a:gd name="T70" fmla="*/ 2 w 202"/>
                <a:gd name="T71" fmla="*/ 150 h 387"/>
                <a:gd name="T72" fmla="*/ 5 w 202"/>
                <a:gd name="T73" fmla="*/ 142 h 387"/>
                <a:gd name="T74" fmla="*/ 2 w 202"/>
                <a:gd name="T75" fmla="*/ 133 h 387"/>
                <a:gd name="T76" fmla="*/ 5 w 202"/>
                <a:gd name="T77" fmla="*/ 128 h 387"/>
                <a:gd name="T78" fmla="*/ 12 w 202"/>
                <a:gd name="T79" fmla="*/ 128 h 387"/>
                <a:gd name="T80" fmla="*/ 28 w 202"/>
                <a:gd name="T81" fmla="*/ 114 h 387"/>
                <a:gd name="T82" fmla="*/ 135 w 202"/>
                <a:gd name="T83" fmla="*/ 88 h 387"/>
                <a:gd name="T84" fmla="*/ 145 w 202"/>
                <a:gd name="T85" fmla="*/ 90 h 387"/>
                <a:gd name="T86" fmla="*/ 140 w 202"/>
                <a:gd name="T87" fmla="*/ 100 h 387"/>
                <a:gd name="T88" fmla="*/ 140 w 202"/>
                <a:gd name="T89" fmla="*/ 92 h 387"/>
                <a:gd name="T90" fmla="*/ 130 w 202"/>
                <a:gd name="T91" fmla="*/ 85 h 387"/>
                <a:gd name="T92" fmla="*/ 126 w 202"/>
                <a:gd name="T93" fmla="*/ 78 h 387"/>
                <a:gd name="T94" fmla="*/ 192 w 202"/>
                <a:gd name="T95" fmla="*/ 9 h 387"/>
                <a:gd name="T96" fmla="*/ 199 w 202"/>
                <a:gd name="T97" fmla="*/ 9 h 387"/>
                <a:gd name="T98" fmla="*/ 199 w 202"/>
                <a:gd name="T99" fmla="*/ 19 h 387"/>
                <a:gd name="T100" fmla="*/ 199 w 202"/>
                <a:gd name="T101" fmla="*/ 24 h 387"/>
                <a:gd name="T102" fmla="*/ 194 w 202"/>
                <a:gd name="T103" fmla="*/ 35 h 387"/>
                <a:gd name="T104" fmla="*/ 190 w 202"/>
                <a:gd name="T105" fmla="*/ 38 h 387"/>
                <a:gd name="T106" fmla="*/ 192 w 202"/>
                <a:gd name="T107" fmla="*/ 21 h 387"/>
                <a:gd name="T108" fmla="*/ 192 w 202"/>
                <a:gd name="T109" fmla="*/ 24 h 387"/>
                <a:gd name="T110" fmla="*/ 185 w 202"/>
                <a:gd name="T111" fmla="*/ 24 h 387"/>
                <a:gd name="T112" fmla="*/ 180 w 202"/>
                <a:gd name="T113" fmla="*/ 21 h 387"/>
                <a:gd name="T114" fmla="*/ 187 w 202"/>
                <a:gd name="T115" fmla="*/ 19 h 387"/>
                <a:gd name="T116" fmla="*/ 192 w 202"/>
                <a:gd name="T117" fmla="*/ 14 h 387"/>
                <a:gd name="T118" fmla="*/ 187 w 202"/>
                <a:gd name="T119" fmla="*/ 7 h 387"/>
                <a:gd name="T120" fmla="*/ 187 w 202"/>
                <a:gd name="T121" fmla="*/ 5 h 387"/>
                <a:gd name="T122" fmla="*/ 187 w 202"/>
                <a:gd name="T123"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387">
                  <a:moveTo>
                    <a:pt x="90" y="373"/>
                  </a:moveTo>
                  <a:lnTo>
                    <a:pt x="92" y="373"/>
                  </a:lnTo>
                  <a:lnTo>
                    <a:pt x="95" y="373"/>
                  </a:lnTo>
                  <a:lnTo>
                    <a:pt x="95" y="375"/>
                  </a:lnTo>
                  <a:lnTo>
                    <a:pt x="97" y="375"/>
                  </a:lnTo>
                  <a:lnTo>
                    <a:pt x="97" y="378"/>
                  </a:lnTo>
                  <a:lnTo>
                    <a:pt x="100" y="378"/>
                  </a:lnTo>
                  <a:lnTo>
                    <a:pt x="102" y="378"/>
                  </a:lnTo>
                  <a:lnTo>
                    <a:pt x="102" y="380"/>
                  </a:lnTo>
                  <a:lnTo>
                    <a:pt x="100" y="380"/>
                  </a:lnTo>
                  <a:lnTo>
                    <a:pt x="100" y="382"/>
                  </a:lnTo>
                  <a:lnTo>
                    <a:pt x="97" y="382"/>
                  </a:lnTo>
                  <a:lnTo>
                    <a:pt x="97" y="385"/>
                  </a:lnTo>
                  <a:lnTo>
                    <a:pt x="95" y="385"/>
                  </a:lnTo>
                  <a:lnTo>
                    <a:pt x="95" y="387"/>
                  </a:lnTo>
                  <a:lnTo>
                    <a:pt x="92" y="387"/>
                  </a:lnTo>
                  <a:lnTo>
                    <a:pt x="90" y="387"/>
                  </a:lnTo>
                  <a:lnTo>
                    <a:pt x="90" y="385"/>
                  </a:lnTo>
                  <a:lnTo>
                    <a:pt x="92" y="385"/>
                  </a:lnTo>
                  <a:lnTo>
                    <a:pt x="90" y="385"/>
                  </a:lnTo>
                  <a:lnTo>
                    <a:pt x="88" y="385"/>
                  </a:lnTo>
                  <a:lnTo>
                    <a:pt x="90" y="385"/>
                  </a:lnTo>
                  <a:lnTo>
                    <a:pt x="88" y="385"/>
                  </a:lnTo>
                  <a:lnTo>
                    <a:pt x="88" y="382"/>
                  </a:lnTo>
                  <a:lnTo>
                    <a:pt x="85" y="382"/>
                  </a:lnTo>
                  <a:lnTo>
                    <a:pt x="85" y="380"/>
                  </a:lnTo>
                  <a:lnTo>
                    <a:pt x="85" y="378"/>
                  </a:lnTo>
                  <a:lnTo>
                    <a:pt x="85" y="375"/>
                  </a:lnTo>
                  <a:lnTo>
                    <a:pt x="85" y="373"/>
                  </a:lnTo>
                  <a:lnTo>
                    <a:pt x="88" y="373"/>
                  </a:lnTo>
                  <a:lnTo>
                    <a:pt x="90" y="373"/>
                  </a:lnTo>
                  <a:close/>
                  <a:moveTo>
                    <a:pt x="62" y="256"/>
                  </a:moveTo>
                  <a:lnTo>
                    <a:pt x="64" y="256"/>
                  </a:lnTo>
                  <a:lnTo>
                    <a:pt x="64" y="259"/>
                  </a:lnTo>
                  <a:lnTo>
                    <a:pt x="66" y="259"/>
                  </a:lnTo>
                  <a:lnTo>
                    <a:pt x="66" y="261"/>
                  </a:lnTo>
                  <a:lnTo>
                    <a:pt x="66" y="264"/>
                  </a:lnTo>
                  <a:lnTo>
                    <a:pt x="69" y="264"/>
                  </a:lnTo>
                  <a:lnTo>
                    <a:pt x="69" y="266"/>
                  </a:lnTo>
                  <a:lnTo>
                    <a:pt x="66" y="266"/>
                  </a:lnTo>
                  <a:lnTo>
                    <a:pt x="69" y="266"/>
                  </a:lnTo>
                  <a:lnTo>
                    <a:pt x="69" y="268"/>
                  </a:lnTo>
                  <a:lnTo>
                    <a:pt x="69" y="271"/>
                  </a:lnTo>
                  <a:lnTo>
                    <a:pt x="66" y="271"/>
                  </a:lnTo>
                  <a:lnTo>
                    <a:pt x="64" y="271"/>
                  </a:lnTo>
                  <a:lnTo>
                    <a:pt x="62" y="271"/>
                  </a:lnTo>
                  <a:lnTo>
                    <a:pt x="62" y="268"/>
                  </a:lnTo>
                  <a:lnTo>
                    <a:pt x="59" y="268"/>
                  </a:lnTo>
                  <a:lnTo>
                    <a:pt x="59" y="266"/>
                  </a:lnTo>
                  <a:lnTo>
                    <a:pt x="59" y="264"/>
                  </a:lnTo>
                  <a:lnTo>
                    <a:pt x="59" y="261"/>
                  </a:lnTo>
                  <a:lnTo>
                    <a:pt x="57" y="261"/>
                  </a:lnTo>
                  <a:lnTo>
                    <a:pt x="59" y="261"/>
                  </a:lnTo>
                  <a:lnTo>
                    <a:pt x="59" y="259"/>
                  </a:lnTo>
                  <a:lnTo>
                    <a:pt x="59" y="256"/>
                  </a:lnTo>
                  <a:lnTo>
                    <a:pt x="62" y="256"/>
                  </a:lnTo>
                  <a:close/>
                  <a:moveTo>
                    <a:pt x="33" y="245"/>
                  </a:moveTo>
                  <a:lnTo>
                    <a:pt x="33" y="247"/>
                  </a:lnTo>
                  <a:lnTo>
                    <a:pt x="33" y="249"/>
                  </a:lnTo>
                  <a:lnTo>
                    <a:pt x="36" y="249"/>
                  </a:lnTo>
                  <a:lnTo>
                    <a:pt x="36" y="252"/>
                  </a:lnTo>
                  <a:lnTo>
                    <a:pt x="36" y="254"/>
                  </a:lnTo>
                  <a:lnTo>
                    <a:pt x="36" y="256"/>
                  </a:lnTo>
                  <a:lnTo>
                    <a:pt x="38" y="256"/>
                  </a:lnTo>
                  <a:lnTo>
                    <a:pt x="36" y="256"/>
                  </a:lnTo>
                  <a:lnTo>
                    <a:pt x="38" y="256"/>
                  </a:lnTo>
                  <a:lnTo>
                    <a:pt x="36" y="256"/>
                  </a:lnTo>
                  <a:lnTo>
                    <a:pt x="38" y="256"/>
                  </a:lnTo>
                  <a:lnTo>
                    <a:pt x="38" y="259"/>
                  </a:lnTo>
                  <a:lnTo>
                    <a:pt x="38" y="256"/>
                  </a:lnTo>
                  <a:lnTo>
                    <a:pt x="38" y="259"/>
                  </a:lnTo>
                  <a:lnTo>
                    <a:pt x="36" y="259"/>
                  </a:lnTo>
                  <a:lnTo>
                    <a:pt x="36" y="261"/>
                  </a:lnTo>
                  <a:lnTo>
                    <a:pt x="36" y="259"/>
                  </a:lnTo>
                  <a:lnTo>
                    <a:pt x="36" y="261"/>
                  </a:lnTo>
                  <a:lnTo>
                    <a:pt x="33" y="261"/>
                  </a:lnTo>
                  <a:lnTo>
                    <a:pt x="31" y="261"/>
                  </a:lnTo>
                  <a:lnTo>
                    <a:pt x="31" y="264"/>
                  </a:lnTo>
                  <a:lnTo>
                    <a:pt x="28" y="264"/>
                  </a:lnTo>
                  <a:lnTo>
                    <a:pt x="26" y="264"/>
                  </a:lnTo>
                  <a:lnTo>
                    <a:pt x="26" y="261"/>
                  </a:lnTo>
                  <a:lnTo>
                    <a:pt x="28" y="261"/>
                  </a:lnTo>
                  <a:lnTo>
                    <a:pt x="28" y="259"/>
                  </a:lnTo>
                  <a:lnTo>
                    <a:pt x="28" y="256"/>
                  </a:lnTo>
                  <a:lnTo>
                    <a:pt x="26" y="256"/>
                  </a:lnTo>
                  <a:lnTo>
                    <a:pt x="26" y="254"/>
                  </a:lnTo>
                  <a:lnTo>
                    <a:pt x="28" y="254"/>
                  </a:lnTo>
                  <a:lnTo>
                    <a:pt x="31" y="254"/>
                  </a:lnTo>
                  <a:lnTo>
                    <a:pt x="28" y="254"/>
                  </a:lnTo>
                  <a:lnTo>
                    <a:pt x="26" y="254"/>
                  </a:lnTo>
                  <a:lnTo>
                    <a:pt x="26" y="256"/>
                  </a:lnTo>
                  <a:lnTo>
                    <a:pt x="24" y="256"/>
                  </a:lnTo>
                  <a:lnTo>
                    <a:pt x="24" y="259"/>
                  </a:lnTo>
                  <a:lnTo>
                    <a:pt x="21" y="259"/>
                  </a:lnTo>
                  <a:lnTo>
                    <a:pt x="21" y="256"/>
                  </a:lnTo>
                  <a:lnTo>
                    <a:pt x="21" y="254"/>
                  </a:lnTo>
                  <a:lnTo>
                    <a:pt x="24" y="254"/>
                  </a:lnTo>
                  <a:lnTo>
                    <a:pt x="21" y="254"/>
                  </a:lnTo>
                  <a:lnTo>
                    <a:pt x="24" y="254"/>
                  </a:lnTo>
                  <a:lnTo>
                    <a:pt x="21" y="254"/>
                  </a:lnTo>
                  <a:lnTo>
                    <a:pt x="21" y="252"/>
                  </a:lnTo>
                  <a:lnTo>
                    <a:pt x="21" y="254"/>
                  </a:lnTo>
                  <a:lnTo>
                    <a:pt x="21" y="252"/>
                  </a:lnTo>
                  <a:lnTo>
                    <a:pt x="24" y="252"/>
                  </a:lnTo>
                  <a:lnTo>
                    <a:pt x="24" y="249"/>
                  </a:lnTo>
                  <a:lnTo>
                    <a:pt x="26" y="249"/>
                  </a:lnTo>
                  <a:lnTo>
                    <a:pt x="26" y="247"/>
                  </a:lnTo>
                  <a:lnTo>
                    <a:pt x="26" y="249"/>
                  </a:lnTo>
                  <a:lnTo>
                    <a:pt x="26" y="247"/>
                  </a:lnTo>
                  <a:lnTo>
                    <a:pt x="28" y="247"/>
                  </a:lnTo>
                  <a:lnTo>
                    <a:pt x="26" y="249"/>
                  </a:lnTo>
                  <a:lnTo>
                    <a:pt x="26" y="252"/>
                  </a:lnTo>
                  <a:lnTo>
                    <a:pt x="28" y="252"/>
                  </a:lnTo>
                  <a:lnTo>
                    <a:pt x="26" y="252"/>
                  </a:lnTo>
                  <a:lnTo>
                    <a:pt x="26" y="249"/>
                  </a:lnTo>
                  <a:lnTo>
                    <a:pt x="28" y="249"/>
                  </a:lnTo>
                  <a:lnTo>
                    <a:pt x="28" y="247"/>
                  </a:lnTo>
                  <a:lnTo>
                    <a:pt x="31" y="247"/>
                  </a:lnTo>
                  <a:lnTo>
                    <a:pt x="33" y="247"/>
                  </a:lnTo>
                  <a:lnTo>
                    <a:pt x="33" y="245"/>
                  </a:lnTo>
                  <a:close/>
                  <a:moveTo>
                    <a:pt x="47" y="235"/>
                  </a:moveTo>
                  <a:lnTo>
                    <a:pt x="47" y="237"/>
                  </a:lnTo>
                  <a:lnTo>
                    <a:pt x="47" y="240"/>
                  </a:lnTo>
                  <a:lnTo>
                    <a:pt x="45" y="240"/>
                  </a:lnTo>
                  <a:lnTo>
                    <a:pt x="45" y="242"/>
                  </a:lnTo>
                  <a:lnTo>
                    <a:pt x="43" y="245"/>
                  </a:lnTo>
                  <a:lnTo>
                    <a:pt x="43" y="247"/>
                  </a:lnTo>
                  <a:lnTo>
                    <a:pt x="43" y="249"/>
                  </a:lnTo>
                  <a:lnTo>
                    <a:pt x="43" y="247"/>
                  </a:lnTo>
                  <a:lnTo>
                    <a:pt x="40" y="247"/>
                  </a:lnTo>
                  <a:lnTo>
                    <a:pt x="40" y="249"/>
                  </a:lnTo>
                  <a:lnTo>
                    <a:pt x="43" y="249"/>
                  </a:lnTo>
                  <a:lnTo>
                    <a:pt x="40" y="249"/>
                  </a:lnTo>
                  <a:lnTo>
                    <a:pt x="40" y="252"/>
                  </a:lnTo>
                  <a:lnTo>
                    <a:pt x="38" y="252"/>
                  </a:lnTo>
                  <a:lnTo>
                    <a:pt x="36" y="252"/>
                  </a:lnTo>
                  <a:lnTo>
                    <a:pt x="36" y="249"/>
                  </a:lnTo>
                  <a:lnTo>
                    <a:pt x="36" y="247"/>
                  </a:lnTo>
                  <a:lnTo>
                    <a:pt x="36" y="245"/>
                  </a:lnTo>
                  <a:lnTo>
                    <a:pt x="38" y="245"/>
                  </a:lnTo>
                  <a:lnTo>
                    <a:pt x="40" y="245"/>
                  </a:lnTo>
                  <a:lnTo>
                    <a:pt x="43" y="245"/>
                  </a:lnTo>
                  <a:lnTo>
                    <a:pt x="43" y="242"/>
                  </a:lnTo>
                  <a:lnTo>
                    <a:pt x="40" y="242"/>
                  </a:lnTo>
                  <a:lnTo>
                    <a:pt x="40" y="245"/>
                  </a:lnTo>
                  <a:lnTo>
                    <a:pt x="40" y="242"/>
                  </a:lnTo>
                  <a:lnTo>
                    <a:pt x="40" y="245"/>
                  </a:lnTo>
                  <a:lnTo>
                    <a:pt x="38" y="245"/>
                  </a:lnTo>
                  <a:lnTo>
                    <a:pt x="38" y="242"/>
                  </a:lnTo>
                  <a:lnTo>
                    <a:pt x="38" y="245"/>
                  </a:lnTo>
                  <a:lnTo>
                    <a:pt x="38" y="242"/>
                  </a:lnTo>
                  <a:lnTo>
                    <a:pt x="38" y="245"/>
                  </a:lnTo>
                  <a:lnTo>
                    <a:pt x="38" y="242"/>
                  </a:lnTo>
                  <a:lnTo>
                    <a:pt x="40" y="242"/>
                  </a:lnTo>
                  <a:lnTo>
                    <a:pt x="38" y="242"/>
                  </a:lnTo>
                  <a:lnTo>
                    <a:pt x="40" y="240"/>
                  </a:lnTo>
                  <a:lnTo>
                    <a:pt x="43" y="237"/>
                  </a:lnTo>
                  <a:lnTo>
                    <a:pt x="45" y="237"/>
                  </a:lnTo>
                  <a:lnTo>
                    <a:pt x="45" y="235"/>
                  </a:lnTo>
                  <a:lnTo>
                    <a:pt x="47" y="235"/>
                  </a:lnTo>
                  <a:close/>
                  <a:moveTo>
                    <a:pt x="33" y="209"/>
                  </a:moveTo>
                  <a:lnTo>
                    <a:pt x="36" y="209"/>
                  </a:lnTo>
                  <a:lnTo>
                    <a:pt x="36" y="211"/>
                  </a:lnTo>
                  <a:lnTo>
                    <a:pt x="38" y="211"/>
                  </a:lnTo>
                  <a:lnTo>
                    <a:pt x="38" y="214"/>
                  </a:lnTo>
                  <a:lnTo>
                    <a:pt x="40" y="214"/>
                  </a:lnTo>
                  <a:lnTo>
                    <a:pt x="38" y="214"/>
                  </a:lnTo>
                  <a:lnTo>
                    <a:pt x="40" y="214"/>
                  </a:lnTo>
                  <a:lnTo>
                    <a:pt x="40" y="216"/>
                  </a:lnTo>
                  <a:lnTo>
                    <a:pt x="43" y="216"/>
                  </a:lnTo>
                  <a:lnTo>
                    <a:pt x="45" y="216"/>
                  </a:lnTo>
                  <a:lnTo>
                    <a:pt x="47" y="218"/>
                  </a:lnTo>
                  <a:lnTo>
                    <a:pt x="47" y="216"/>
                  </a:lnTo>
                  <a:lnTo>
                    <a:pt x="47" y="218"/>
                  </a:lnTo>
                  <a:lnTo>
                    <a:pt x="50" y="218"/>
                  </a:lnTo>
                  <a:lnTo>
                    <a:pt x="50" y="221"/>
                  </a:lnTo>
                  <a:lnTo>
                    <a:pt x="47" y="218"/>
                  </a:lnTo>
                  <a:lnTo>
                    <a:pt x="47" y="221"/>
                  </a:lnTo>
                  <a:lnTo>
                    <a:pt x="47" y="218"/>
                  </a:lnTo>
                  <a:lnTo>
                    <a:pt x="47" y="221"/>
                  </a:lnTo>
                  <a:lnTo>
                    <a:pt x="50" y="221"/>
                  </a:lnTo>
                  <a:lnTo>
                    <a:pt x="50" y="223"/>
                  </a:lnTo>
                  <a:lnTo>
                    <a:pt x="47" y="223"/>
                  </a:lnTo>
                  <a:lnTo>
                    <a:pt x="47" y="221"/>
                  </a:lnTo>
                  <a:lnTo>
                    <a:pt x="45" y="221"/>
                  </a:lnTo>
                  <a:lnTo>
                    <a:pt x="45" y="223"/>
                  </a:lnTo>
                  <a:lnTo>
                    <a:pt x="47" y="223"/>
                  </a:lnTo>
                  <a:lnTo>
                    <a:pt x="47" y="226"/>
                  </a:lnTo>
                  <a:lnTo>
                    <a:pt x="45" y="226"/>
                  </a:lnTo>
                  <a:lnTo>
                    <a:pt x="43" y="226"/>
                  </a:lnTo>
                  <a:lnTo>
                    <a:pt x="43" y="223"/>
                  </a:lnTo>
                  <a:lnTo>
                    <a:pt x="40" y="223"/>
                  </a:lnTo>
                  <a:lnTo>
                    <a:pt x="40" y="226"/>
                  </a:lnTo>
                  <a:lnTo>
                    <a:pt x="38" y="226"/>
                  </a:lnTo>
                  <a:lnTo>
                    <a:pt x="38" y="228"/>
                  </a:lnTo>
                  <a:lnTo>
                    <a:pt x="36" y="228"/>
                  </a:lnTo>
                  <a:lnTo>
                    <a:pt x="36" y="226"/>
                  </a:lnTo>
                  <a:lnTo>
                    <a:pt x="36" y="228"/>
                  </a:lnTo>
                  <a:lnTo>
                    <a:pt x="33" y="228"/>
                  </a:lnTo>
                  <a:lnTo>
                    <a:pt x="31" y="228"/>
                  </a:lnTo>
                  <a:lnTo>
                    <a:pt x="28" y="228"/>
                  </a:lnTo>
                  <a:lnTo>
                    <a:pt x="26" y="228"/>
                  </a:lnTo>
                  <a:lnTo>
                    <a:pt x="26" y="226"/>
                  </a:lnTo>
                  <a:lnTo>
                    <a:pt x="26" y="228"/>
                  </a:lnTo>
                  <a:lnTo>
                    <a:pt x="26" y="226"/>
                  </a:lnTo>
                  <a:lnTo>
                    <a:pt x="26" y="223"/>
                  </a:lnTo>
                  <a:lnTo>
                    <a:pt x="28" y="226"/>
                  </a:lnTo>
                  <a:lnTo>
                    <a:pt x="28" y="223"/>
                  </a:lnTo>
                  <a:lnTo>
                    <a:pt x="28" y="226"/>
                  </a:lnTo>
                  <a:lnTo>
                    <a:pt x="31" y="226"/>
                  </a:lnTo>
                  <a:lnTo>
                    <a:pt x="28" y="226"/>
                  </a:lnTo>
                  <a:lnTo>
                    <a:pt x="31" y="226"/>
                  </a:lnTo>
                  <a:lnTo>
                    <a:pt x="33" y="226"/>
                  </a:lnTo>
                  <a:lnTo>
                    <a:pt x="31" y="226"/>
                  </a:lnTo>
                  <a:lnTo>
                    <a:pt x="33" y="226"/>
                  </a:lnTo>
                  <a:lnTo>
                    <a:pt x="33" y="223"/>
                  </a:lnTo>
                  <a:lnTo>
                    <a:pt x="33" y="226"/>
                  </a:lnTo>
                  <a:lnTo>
                    <a:pt x="36" y="226"/>
                  </a:lnTo>
                  <a:lnTo>
                    <a:pt x="36" y="223"/>
                  </a:lnTo>
                  <a:lnTo>
                    <a:pt x="38" y="223"/>
                  </a:lnTo>
                  <a:lnTo>
                    <a:pt x="38" y="221"/>
                  </a:lnTo>
                  <a:lnTo>
                    <a:pt x="38" y="223"/>
                  </a:lnTo>
                  <a:lnTo>
                    <a:pt x="38" y="221"/>
                  </a:lnTo>
                  <a:lnTo>
                    <a:pt x="36" y="223"/>
                  </a:lnTo>
                  <a:lnTo>
                    <a:pt x="33" y="223"/>
                  </a:lnTo>
                  <a:lnTo>
                    <a:pt x="31" y="223"/>
                  </a:lnTo>
                  <a:lnTo>
                    <a:pt x="31" y="221"/>
                  </a:lnTo>
                  <a:lnTo>
                    <a:pt x="33" y="221"/>
                  </a:lnTo>
                  <a:lnTo>
                    <a:pt x="33" y="218"/>
                  </a:lnTo>
                  <a:lnTo>
                    <a:pt x="36" y="218"/>
                  </a:lnTo>
                  <a:lnTo>
                    <a:pt x="38" y="218"/>
                  </a:lnTo>
                  <a:lnTo>
                    <a:pt x="38" y="216"/>
                  </a:lnTo>
                  <a:lnTo>
                    <a:pt x="36" y="216"/>
                  </a:lnTo>
                  <a:lnTo>
                    <a:pt x="36" y="218"/>
                  </a:lnTo>
                  <a:lnTo>
                    <a:pt x="33" y="218"/>
                  </a:lnTo>
                  <a:lnTo>
                    <a:pt x="31" y="218"/>
                  </a:lnTo>
                  <a:lnTo>
                    <a:pt x="28" y="218"/>
                  </a:lnTo>
                  <a:lnTo>
                    <a:pt x="28" y="216"/>
                  </a:lnTo>
                  <a:lnTo>
                    <a:pt x="28" y="218"/>
                  </a:lnTo>
                  <a:lnTo>
                    <a:pt x="28" y="216"/>
                  </a:lnTo>
                  <a:lnTo>
                    <a:pt x="31" y="216"/>
                  </a:lnTo>
                  <a:lnTo>
                    <a:pt x="33" y="218"/>
                  </a:lnTo>
                  <a:lnTo>
                    <a:pt x="33" y="216"/>
                  </a:lnTo>
                  <a:lnTo>
                    <a:pt x="33" y="218"/>
                  </a:lnTo>
                  <a:lnTo>
                    <a:pt x="33" y="216"/>
                  </a:lnTo>
                  <a:lnTo>
                    <a:pt x="31" y="216"/>
                  </a:lnTo>
                  <a:lnTo>
                    <a:pt x="28" y="216"/>
                  </a:lnTo>
                  <a:lnTo>
                    <a:pt x="28" y="214"/>
                  </a:lnTo>
                  <a:lnTo>
                    <a:pt x="26" y="214"/>
                  </a:lnTo>
                  <a:lnTo>
                    <a:pt x="28" y="214"/>
                  </a:lnTo>
                  <a:lnTo>
                    <a:pt x="28" y="211"/>
                  </a:lnTo>
                  <a:lnTo>
                    <a:pt x="28" y="214"/>
                  </a:lnTo>
                  <a:lnTo>
                    <a:pt x="28" y="211"/>
                  </a:lnTo>
                  <a:lnTo>
                    <a:pt x="31" y="211"/>
                  </a:lnTo>
                  <a:lnTo>
                    <a:pt x="31" y="209"/>
                  </a:lnTo>
                  <a:lnTo>
                    <a:pt x="33" y="209"/>
                  </a:lnTo>
                  <a:close/>
                  <a:moveTo>
                    <a:pt x="33" y="176"/>
                  </a:moveTo>
                  <a:lnTo>
                    <a:pt x="33" y="173"/>
                  </a:lnTo>
                  <a:lnTo>
                    <a:pt x="36" y="173"/>
                  </a:lnTo>
                  <a:lnTo>
                    <a:pt x="36" y="176"/>
                  </a:lnTo>
                  <a:lnTo>
                    <a:pt x="36" y="173"/>
                  </a:lnTo>
                  <a:lnTo>
                    <a:pt x="36" y="176"/>
                  </a:lnTo>
                  <a:lnTo>
                    <a:pt x="36" y="178"/>
                  </a:lnTo>
                  <a:lnTo>
                    <a:pt x="36" y="176"/>
                  </a:lnTo>
                  <a:lnTo>
                    <a:pt x="38" y="176"/>
                  </a:lnTo>
                  <a:lnTo>
                    <a:pt x="40" y="178"/>
                  </a:lnTo>
                  <a:lnTo>
                    <a:pt x="43" y="178"/>
                  </a:lnTo>
                  <a:lnTo>
                    <a:pt x="45" y="178"/>
                  </a:lnTo>
                  <a:lnTo>
                    <a:pt x="45" y="176"/>
                  </a:lnTo>
                  <a:lnTo>
                    <a:pt x="47" y="176"/>
                  </a:lnTo>
                  <a:lnTo>
                    <a:pt x="47" y="178"/>
                  </a:lnTo>
                  <a:lnTo>
                    <a:pt x="50" y="178"/>
                  </a:lnTo>
                  <a:lnTo>
                    <a:pt x="50" y="180"/>
                  </a:lnTo>
                  <a:lnTo>
                    <a:pt x="47" y="180"/>
                  </a:lnTo>
                  <a:lnTo>
                    <a:pt x="45" y="183"/>
                  </a:lnTo>
                  <a:lnTo>
                    <a:pt x="45" y="180"/>
                  </a:lnTo>
                  <a:lnTo>
                    <a:pt x="45" y="183"/>
                  </a:lnTo>
                  <a:lnTo>
                    <a:pt x="45" y="185"/>
                  </a:lnTo>
                  <a:lnTo>
                    <a:pt x="43" y="185"/>
                  </a:lnTo>
                  <a:lnTo>
                    <a:pt x="43" y="188"/>
                  </a:lnTo>
                  <a:lnTo>
                    <a:pt x="40" y="188"/>
                  </a:lnTo>
                  <a:lnTo>
                    <a:pt x="43" y="188"/>
                  </a:lnTo>
                  <a:lnTo>
                    <a:pt x="40" y="188"/>
                  </a:lnTo>
                  <a:lnTo>
                    <a:pt x="40" y="190"/>
                  </a:lnTo>
                  <a:lnTo>
                    <a:pt x="38" y="190"/>
                  </a:lnTo>
                  <a:lnTo>
                    <a:pt x="38" y="188"/>
                  </a:lnTo>
                  <a:lnTo>
                    <a:pt x="36" y="188"/>
                  </a:lnTo>
                  <a:lnTo>
                    <a:pt x="38" y="188"/>
                  </a:lnTo>
                  <a:lnTo>
                    <a:pt x="36" y="188"/>
                  </a:lnTo>
                  <a:lnTo>
                    <a:pt x="38" y="188"/>
                  </a:lnTo>
                  <a:lnTo>
                    <a:pt x="38" y="185"/>
                  </a:lnTo>
                  <a:lnTo>
                    <a:pt x="38" y="183"/>
                  </a:lnTo>
                  <a:lnTo>
                    <a:pt x="40" y="183"/>
                  </a:lnTo>
                  <a:lnTo>
                    <a:pt x="43" y="183"/>
                  </a:lnTo>
                  <a:lnTo>
                    <a:pt x="43" y="180"/>
                  </a:lnTo>
                  <a:lnTo>
                    <a:pt x="40" y="180"/>
                  </a:lnTo>
                  <a:lnTo>
                    <a:pt x="43" y="183"/>
                  </a:lnTo>
                  <a:lnTo>
                    <a:pt x="40" y="183"/>
                  </a:lnTo>
                  <a:lnTo>
                    <a:pt x="38" y="183"/>
                  </a:lnTo>
                  <a:lnTo>
                    <a:pt x="38" y="180"/>
                  </a:lnTo>
                  <a:lnTo>
                    <a:pt x="38" y="178"/>
                  </a:lnTo>
                  <a:lnTo>
                    <a:pt x="36" y="178"/>
                  </a:lnTo>
                  <a:lnTo>
                    <a:pt x="38" y="180"/>
                  </a:lnTo>
                  <a:lnTo>
                    <a:pt x="36" y="180"/>
                  </a:lnTo>
                  <a:lnTo>
                    <a:pt x="38" y="180"/>
                  </a:lnTo>
                  <a:lnTo>
                    <a:pt x="36" y="180"/>
                  </a:lnTo>
                  <a:lnTo>
                    <a:pt x="36" y="183"/>
                  </a:lnTo>
                  <a:lnTo>
                    <a:pt x="36" y="185"/>
                  </a:lnTo>
                  <a:lnTo>
                    <a:pt x="36" y="183"/>
                  </a:lnTo>
                  <a:lnTo>
                    <a:pt x="33" y="183"/>
                  </a:lnTo>
                  <a:lnTo>
                    <a:pt x="36" y="183"/>
                  </a:lnTo>
                  <a:lnTo>
                    <a:pt x="33" y="183"/>
                  </a:lnTo>
                  <a:lnTo>
                    <a:pt x="36" y="183"/>
                  </a:lnTo>
                  <a:lnTo>
                    <a:pt x="33" y="180"/>
                  </a:lnTo>
                  <a:lnTo>
                    <a:pt x="33" y="183"/>
                  </a:lnTo>
                  <a:lnTo>
                    <a:pt x="31" y="183"/>
                  </a:lnTo>
                  <a:lnTo>
                    <a:pt x="31" y="180"/>
                  </a:lnTo>
                  <a:lnTo>
                    <a:pt x="31" y="183"/>
                  </a:lnTo>
                  <a:lnTo>
                    <a:pt x="28" y="183"/>
                  </a:lnTo>
                  <a:lnTo>
                    <a:pt x="28" y="180"/>
                  </a:lnTo>
                  <a:lnTo>
                    <a:pt x="26" y="180"/>
                  </a:lnTo>
                  <a:lnTo>
                    <a:pt x="26" y="178"/>
                  </a:lnTo>
                  <a:lnTo>
                    <a:pt x="24" y="178"/>
                  </a:lnTo>
                  <a:lnTo>
                    <a:pt x="24" y="176"/>
                  </a:lnTo>
                  <a:lnTo>
                    <a:pt x="21" y="176"/>
                  </a:lnTo>
                  <a:lnTo>
                    <a:pt x="24" y="173"/>
                  </a:lnTo>
                  <a:lnTo>
                    <a:pt x="26" y="173"/>
                  </a:lnTo>
                  <a:lnTo>
                    <a:pt x="26" y="176"/>
                  </a:lnTo>
                  <a:lnTo>
                    <a:pt x="28" y="176"/>
                  </a:lnTo>
                  <a:lnTo>
                    <a:pt x="26" y="176"/>
                  </a:lnTo>
                  <a:lnTo>
                    <a:pt x="26" y="173"/>
                  </a:lnTo>
                  <a:lnTo>
                    <a:pt x="24" y="173"/>
                  </a:lnTo>
                  <a:lnTo>
                    <a:pt x="26" y="173"/>
                  </a:lnTo>
                  <a:lnTo>
                    <a:pt x="24" y="173"/>
                  </a:lnTo>
                  <a:lnTo>
                    <a:pt x="26" y="171"/>
                  </a:lnTo>
                  <a:lnTo>
                    <a:pt x="24" y="171"/>
                  </a:lnTo>
                  <a:lnTo>
                    <a:pt x="24" y="173"/>
                  </a:lnTo>
                  <a:lnTo>
                    <a:pt x="24" y="171"/>
                  </a:lnTo>
                  <a:lnTo>
                    <a:pt x="21" y="171"/>
                  </a:lnTo>
                  <a:lnTo>
                    <a:pt x="19" y="171"/>
                  </a:lnTo>
                  <a:lnTo>
                    <a:pt x="21" y="171"/>
                  </a:lnTo>
                  <a:lnTo>
                    <a:pt x="19" y="171"/>
                  </a:lnTo>
                  <a:lnTo>
                    <a:pt x="19" y="173"/>
                  </a:lnTo>
                  <a:lnTo>
                    <a:pt x="17" y="173"/>
                  </a:lnTo>
                  <a:lnTo>
                    <a:pt x="14" y="171"/>
                  </a:lnTo>
                  <a:lnTo>
                    <a:pt x="14" y="169"/>
                  </a:lnTo>
                  <a:lnTo>
                    <a:pt x="12" y="169"/>
                  </a:lnTo>
                  <a:lnTo>
                    <a:pt x="12" y="166"/>
                  </a:lnTo>
                  <a:lnTo>
                    <a:pt x="14" y="166"/>
                  </a:lnTo>
                  <a:lnTo>
                    <a:pt x="14" y="169"/>
                  </a:lnTo>
                  <a:lnTo>
                    <a:pt x="14" y="166"/>
                  </a:lnTo>
                  <a:lnTo>
                    <a:pt x="14" y="164"/>
                  </a:lnTo>
                  <a:lnTo>
                    <a:pt x="14" y="166"/>
                  </a:lnTo>
                  <a:lnTo>
                    <a:pt x="17" y="166"/>
                  </a:lnTo>
                  <a:lnTo>
                    <a:pt x="17" y="169"/>
                  </a:lnTo>
                  <a:lnTo>
                    <a:pt x="19" y="169"/>
                  </a:lnTo>
                  <a:lnTo>
                    <a:pt x="19" y="166"/>
                  </a:lnTo>
                  <a:lnTo>
                    <a:pt x="17" y="166"/>
                  </a:lnTo>
                  <a:lnTo>
                    <a:pt x="17" y="164"/>
                  </a:lnTo>
                  <a:lnTo>
                    <a:pt x="19" y="164"/>
                  </a:lnTo>
                  <a:lnTo>
                    <a:pt x="19" y="166"/>
                  </a:lnTo>
                  <a:lnTo>
                    <a:pt x="19" y="164"/>
                  </a:lnTo>
                  <a:lnTo>
                    <a:pt x="17" y="164"/>
                  </a:lnTo>
                  <a:lnTo>
                    <a:pt x="17" y="161"/>
                  </a:lnTo>
                  <a:lnTo>
                    <a:pt x="17" y="159"/>
                  </a:lnTo>
                  <a:lnTo>
                    <a:pt x="19" y="159"/>
                  </a:lnTo>
                  <a:lnTo>
                    <a:pt x="19" y="161"/>
                  </a:lnTo>
                  <a:lnTo>
                    <a:pt x="21" y="161"/>
                  </a:lnTo>
                  <a:lnTo>
                    <a:pt x="21" y="164"/>
                  </a:lnTo>
                  <a:lnTo>
                    <a:pt x="24" y="164"/>
                  </a:lnTo>
                  <a:lnTo>
                    <a:pt x="24" y="166"/>
                  </a:lnTo>
                  <a:lnTo>
                    <a:pt x="24" y="164"/>
                  </a:lnTo>
                  <a:lnTo>
                    <a:pt x="26" y="164"/>
                  </a:lnTo>
                  <a:lnTo>
                    <a:pt x="26" y="166"/>
                  </a:lnTo>
                  <a:lnTo>
                    <a:pt x="28" y="166"/>
                  </a:lnTo>
                  <a:lnTo>
                    <a:pt x="26" y="166"/>
                  </a:lnTo>
                  <a:lnTo>
                    <a:pt x="28" y="166"/>
                  </a:lnTo>
                  <a:lnTo>
                    <a:pt x="26" y="166"/>
                  </a:lnTo>
                  <a:lnTo>
                    <a:pt x="26" y="164"/>
                  </a:lnTo>
                  <a:lnTo>
                    <a:pt x="26" y="161"/>
                  </a:lnTo>
                  <a:lnTo>
                    <a:pt x="24" y="161"/>
                  </a:lnTo>
                  <a:lnTo>
                    <a:pt x="26" y="161"/>
                  </a:lnTo>
                  <a:lnTo>
                    <a:pt x="24" y="161"/>
                  </a:lnTo>
                  <a:lnTo>
                    <a:pt x="26" y="161"/>
                  </a:lnTo>
                  <a:lnTo>
                    <a:pt x="26" y="159"/>
                  </a:lnTo>
                  <a:lnTo>
                    <a:pt x="26" y="161"/>
                  </a:lnTo>
                  <a:lnTo>
                    <a:pt x="26" y="159"/>
                  </a:lnTo>
                  <a:lnTo>
                    <a:pt x="24" y="159"/>
                  </a:lnTo>
                  <a:lnTo>
                    <a:pt x="26" y="159"/>
                  </a:lnTo>
                  <a:lnTo>
                    <a:pt x="24" y="159"/>
                  </a:lnTo>
                  <a:lnTo>
                    <a:pt x="26" y="159"/>
                  </a:lnTo>
                  <a:lnTo>
                    <a:pt x="24" y="159"/>
                  </a:lnTo>
                  <a:lnTo>
                    <a:pt x="24" y="157"/>
                  </a:lnTo>
                  <a:lnTo>
                    <a:pt x="26" y="157"/>
                  </a:lnTo>
                  <a:lnTo>
                    <a:pt x="26" y="154"/>
                  </a:lnTo>
                  <a:lnTo>
                    <a:pt x="28" y="154"/>
                  </a:lnTo>
                  <a:lnTo>
                    <a:pt x="28" y="157"/>
                  </a:lnTo>
                  <a:lnTo>
                    <a:pt x="31" y="157"/>
                  </a:lnTo>
                  <a:lnTo>
                    <a:pt x="31" y="159"/>
                  </a:lnTo>
                  <a:lnTo>
                    <a:pt x="33" y="159"/>
                  </a:lnTo>
                  <a:lnTo>
                    <a:pt x="33" y="161"/>
                  </a:lnTo>
                  <a:lnTo>
                    <a:pt x="33" y="164"/>
                  </a:lnTo>
                  <a:lnTo>
                    <a:pt x="33" y="166"/>
                  </a:lnTo>
                  <a:lnTo>
                    <a:pt x="33" y="169"/>
                  </a:lnTo>
                  <a:lnTo>
                    <a:pt x="31" y="169"/>
                  </a:lnTo>
                  <a:lnTo>
                    <a:pt x="31" y="171"/>
                  </a:lnTo>
                  <a:lnTo>
                    <a:pt x="31" y="169"/>
                  </a:lnTo>
                  <a:lnTo>
                    <a:pt x="33" y="171"/>
                  </a:lnTo>
                  <a:lnTo>
                    <a:pt x="33" y="169"/>
                  </a:lnTo>
                  <a:lnTo>
                    <a:pt x="33" y="171"/>
                  </a:lnTo>
                  <a:lnTo>
                    <a:pt x="33" y="173"/>
                  </a:lnTo>
                  <a:lnTo>
                    <a:pt x="36" y="173"/>
                  </a:lnTo>
                  <a:lnTo>
                    <a:pt x="33" y="173"/>
                  </a:lnTo>
                  <a:lnTo>
                    <a:pt x="33" y="176"/>
                  </a:lnTo>
                  <a:close/>
                  <a:moveTo>
                    <a:pt x="31" y="114"/>
                  </a:moveTo>
                  <a:lnTo>
                    <a:pt x="31" y="116"/>
                  </a:lnTo>
                  <a:lnTo>
                    <a:pt x="33" y="116"/>
                  </a:lnTo>
                  <a:lnTo>
                    <a:pt x="31" y="116"/>
                  </a:lnTo>
                  <a:lnTo>
                    <a:pt x="31" y="119"/>
                  </a:lnTo>
                  <a:lnTo>
                    <a:pt x="31" y="121"/>
                  </a:lnTo>
                  <a:lnTo>
                    <a:pt x="33" y="121"/>
                  </a:lnTo>
                  <a:lnTo>
                    <a:pt x="31" y="121"/>
                  </a:lnTo>
                  <a:lnTo>
                    <a:pt x="31" y="123"/>
                  </a:lnTo>
                  <a:lnTo>
                    <a:pt x="28" y="123"/>
                  </a:lnTo>
                  <a:lnTo>
                    <a:pt x="28" y="126"/>
                  </a:lnTo>
                  <a:lnTo>
                    <a:pt x="26" y="126"/>
                  </a:lnTo>
                  <a:lnTo>
                    <a:pt x="28" y="126"/>
                  </a:lnTo>
                  <a:lnTo>
                    <a:pt x="26" y="126"/>
                  </a:lnTo>
                  <a:lnTo>
                    <a:pt x="26" y="128"/>
                  </a:lnTo>
                  <a:lnTo>
                    <a:pt x="28" y="128"/>
                  </a:lnTo>
                  <a:lnTo>
                    <a:pt x="31" y="128"/>
                  </a:lnTo>
                  <a:lnTo>
                    <a:pt x="31" y="126"/>
                  </a:lnTo>
                  <a:lnTo>
                    <a:pt x="33" y="126"/>
                  </a:lnTo>
                  <a:lnTo>
                    <a:pt x="33" y="128"/>
                  </a:lnTo>
                  <a:lnTo>
                    <a:pt x="31" y="128"/>
                  </a:lnTo>
                  <a:lnTo>
                    <a:pt x="31" y="130"/>
                  </a:lnTo>
                  <a:lnTo>
                    <a:pt x="28" y="130"/>
                  </a:lnTo>
                  <a:lnTo>
                    <a:pt x="28" y="128"/>
                  </a:lnTo>
                  <a:lnTo>
                    <a:pt x="26" y="128"/>
                  </a:lnTo>
                  <a:lnTo>
                    <a:pt x="28" y="128"/>
                  </a:lnTo>
                  <a:lnTo>
                    <a:pt x="26" y="128"/>
                  </a:lnTo>
                  <a:lnTo>
                    <a:pt x="28" y="128"/>
                  </a:lnTo>
                  <a:lnTo>
                    <a:pt x="26" y="128"/>
                  </a:lnTo>
                  <a:lnTo>
                    <a:pt x="26" y="130"/>
                  </a:lnTo>
                  <a:lnTo>
                    <a:pt x="24" y="130"/>
                  </a:lnTo>
                  <a:lnTo>
                    <a:pt x="26" y="130"/>
                  </a:lnTo>
                  <a:lnTo>
                    <a:pt x="26" y="133"/>
                  </a:lnTo>
                  <a:lnTo>
                    <a:pt x="24" y="133"/>
                  </a:lnTo>
                  <a:lnTo>
                    <a:pt x="24" y="130"/>
                  </a:lnTo>
                  <a:lnTo>
                    <a:pt x="21" y="130"/>
                  </a:lnTo>
                  <a:lnTo>
                    <a:pt x="21" y="133"/>
                  </a:lnTo>
                  <a:lnTo>
                    <a:pt x="24" y="133"/>
                  </a:lnTo>
                  <a:lnTo>
                    <a:pt x="21" y="133"/>
                  </a:lnTo>
                  <a:lnTo>
                    <a:pt x="19" y="133"/>
                  </a:lnTo>
                  <a:lnTo>
                    <a:pt x="19" y="135"/>
                  </a:lnTo>
                  <a:lnTo>
                    <a:pt x="17" y="135"/>
                  </a:lnTo>
                  <a:lnTo>
                    <a:pt x="19" y="135"/>
                  </a:lnTo>
                  <a:lnTo>
                    <a:pt x="21" y="135"/>
                  </a:lnTo>
                  <a:lnTo>
                    <a:pt x="21" y="133"/>
                  </a:lnTo>
                  <a:lnTo>
                    <a:pt x="24" y="133"/>
                  </a:lnTo>
                  <a:lnTo>
                    <a:pt x="26" y="133"/>
                  </a:lnTo>
                  <a:lnTo>
                    <a:pt x="24" y="133"/>
                  </a:lnTo>
                  <a:lnTo>
                    <a:pt x="26" y="133"/>
                  </a:lnTo>
                  <a:lnTo>
                    <a:pt x="24" y="133"/>
                  </a:lnTo>
                  <a:lnTo>
                    <a:pt x="24" y="135"/>
                  </a:lnTo>
                  <a:lnTo>
                    <a:pt x="26" y="135"/>
                  </a:lnTo>
                  <a:lnTo>
                    <a:pt x="26" y="133"/>
                  </a:lnTo>
                  <a:lnTo>
                    <a:pt x="26" y="135"/>
                  </a:lnTo>
                  <a:lnTo>
                    <a:pt x="24" y="135"/>
                  </a:lnTo>
                  <a:lnTo>
                    <a:pt x="24" y="138"/>
                  </a:lnTo>
                  <a:lnTo>
                    <a:pt x="26" y="138"/>
                  </a:lnTo>
                  <a:lnTo>
                    <a:pt x="24" y="138"/>
                  </a:lnTo>
                  <a:lnTo>
                    <a:pt x="21" y="138"/>
                  </a:lnTo>
                  <a:lnTo>
                    <a:pt x="19" y="138"/>
                  </a:lnTo>
                  <a:lnTo>
                    <a:pt x="21" y="138"/>
                  </a:lnTo>
                  <a:lnTo>
                    <a:pt x="21" y="140"/>
                  </a:lnTo>
                  <a:lnTo>
                    <a:pt x="21" y="138"/>
                  </a:lnTo>
                  <a:lnTo>
                    <a:pt x="24" y="140"/>
                  </a:lnTo>
                  <a:lnTo>
                    <a:pt x="24" y="142"/>
                  </a:lnTo>
                  <a:lnTo>
                    <a:pt x="21" y="142"/>
                  </a:lnTo>
                  <a:lnTo>
                    <a:pt x="19" y="142"/>
                  </a:lnTo>
                  <a:lnTo>
                    <a:pt x="19" y="140"/>
                  </a:lnTo>
                  <a:lnTo>
                    <a:pt x="19" y="142"/>
                  </a:lnTo>
                  <a:lnTo>
                    <a:pt x="21" y="142"/>
                  </a:lnTo>
                  <a:lnTo>
                    <a:pt x="19" y="142"/>
                  </a:lnTo>
                  <a:lnTo>
                    <a:pt x="17" y="142"/>
                  </a:lnTo>
                  <a:lnTo>
                    <a:pt x="19" y="142"/>
                  </a:lnTo>
                  <a:lnTo>
                    <a:pt x="17" y="142"/>
                  </a:lnTo>
                  <a:lnTo>
                    <a:pt x="17" y="140"/>
                  </a:lnTo>
                  <a:lnTo>
                    <a:pt x="17" y="142"/>
                  </a:lnTo>
                  <a:lnTo>
                    <a:pt x="19" y="142"/>
                  </a:lnTo>
                  <a:lnTo>
                    <a:pt x="17" y="142"/>
                  </a:lnTo>
                  <a:lnTo>
                    <a:pt x="14" y="142"/>
                  </a:lnTo>
                  <a:lnTo>
                    <a:pt x="14" y="140"/>
                  </a:lnTo>
                  <a:lnTo>
                    <a:pt x="14" y="138"/>
                  </a:lnTo>
                  <a:lnTo>
                    <a:pt x="17" y="138"/>
                  </a:lnTo>
                  <a:lnTo>
                    <a:pt x="17" y="135"/>
                  </a:lnTo>
                  <a:lnTo>
                    <a:pt x="19" y="135"/>
                  </a:lnTo>
                  <a:lnTo>
                    <a:pt x="17" y="135"/>
                  </a:lnTo>
                  <a:lnTo>
                    <a:pt x="14" y="135"/>
                  </a:lnTo>
                  <a:lnTo>
                    <a:pt x="17" y="135"/>
                  </a:lnTo>
                  <a:lnTo>
                    <a:pt x="17" y="138"/>
                  </a:lnTo>
                  <a:lnTo>
                    <a:pt x="14" y="138"/>
                  </a:lnTo>
                  <a:lnTo>
                    <a:pt x="12" y="138"/>
                  </a:lnTo>
                  <a:lnTo>
                    <a:pt x="14" y="140"/>
                  </a:lnTo>
                  <a:lnTo>
                    <a:pt x="12" y="140"/>
                  </a:lnTo>
                  <a:lnTo>
                    <a:pt x="14" y="140"/>
                  </a:lnTo>
                  <a:lnTo>
                    <a:pt x="14" y="142"/>
                  </a:lnTo>
                  <a:lnTo>
                    <a:pt x="14" y="140"/>
                  </a:lnTo>
                  <a:lnTo>
                    <a:pt x="14" y="142"/>
                  </a:lnTo>
                  <a:lnTo>
                    <a:pt x="14" y="140"/>
                  </a:lnTo>
                  <a:lnTo>
                    <a:pt x="14" y="142"/>
                  </a:lnTo>
                  <a:lnTo>
                    <a:pt x="17" y="142"/>
                  </a:lnTo>
                  <a:lnTo>
                    <a:pt x="14" y="142"/>
                  </a:lnTo>
                  <a:lnTo>
                    <a:pt x="14" y="145"/>
                  </a:lnTo>
                  <a:lnTo>
                    <a:pt x="17" y="145"/>
                  </a:lnTo>
                  <a:lnTo>
                    <a:pt x="14" y="145"/>
                  </a:lnTo>
                  <a:lnTo>
                    <a:pt x="12" y="145"/>
                  </a:lnTo>
                  <a:lnTo>
                    <a:pt x="12" y="147"/>
                  </a:lnTo>
                  <a:lnTo>
                    <a:pt x="14" y="147"/>
                  </a:lnTo>
                  <a:lnTo>
                    <a:pt x="12" y="147"/>
                  </a:lnTo>
                  <a:lnTo>
                    <a:pt x="12" y="150"/>
                  </a:lnTo>
                  <a:lnTo>
                    <a:pt x="9" y="150"/>
                  </a:lnTo>
                  <a:lnTo>
                    <a:pt x="12" y="150"/>
                  </a:lnTo>
                  <a:lnTo>
                    <a:pt x="9" y="150"/>
                  </a:lnTo>
                  <a:lnTo>
                    <a:pt x="12" y="150"/>
                  </a:lnTo>
                  <a:lnTo>
                    <a:pt x="9" y="147"/>
                  </a:lnTo>
                  <a:lnTo>
                    <a:pt x="9" y="150"/>
                  </a:lnTo>
                  <a:lnTo>
                    <a:pt x="7" y="150"/>
                  </a:lnTo>
                  <a:lnTo>
                    <a:pt x="7" y="152"/>
                  </a:lnTo>
                  <a:lnTo>
                    <a:pt x="9" y="152"/>
                  </a:lnTo>
                  <a:lnTo>
                    <a:pt x="7" y="152"/>
                  </a:lnTo>
                  <a:lnTo>
                    <a:pt x="5" y="152"/>
                  </a:lnTo>
                  <a:lnTo>
                    <a:pt x="7" y="152"/>
                  </a:lnTo>
                  <a:lnTo>
                    <a:pt x="5" y="152"/>
                  </a:lnTo>
                  <a:lnTo>
                    <a:pt x="2" y="150"/>
                  </a:lnTo>
                  <a:lnTo>
                    <a:pt x="0" y="150"/>
                  </a:lnTo>
                  <a:lnTo>
                    <a:pt x="0" y="147"/>
                  </a:lnTo>
                  <a:lnTo>
                    <a:pt x="2" y="147"/>
                  </a:lnTo>
                  <a:lnTo>
                    <a:pt x="2" y="150"/>
                  </a:lnTo>
                  <a:lnTo>
                    <a:pt x="2" y="147"/>
                  </a:lnTo>
                  <a:lnTo>
                    <a:pt x="5" y="147"/>
                  </a:lnTo>
                  <a:lnTo>
                    <a:pt x="5" y="145"/>
                  </a:lnTo>
                  <a:lnTo>
                    <a:pt x="7" y="145"/>
                  </a:lnTo>
                  <a:lnTo>
                    <a:pt x="7" y="142"/>
                  </a:lnTo>
                  <a:lnTo>
                    <a:pt x="9" y="145"/>
                  </a:lnTo>
                  <a:lnTo>
                    <a:pt x="12" y="145"/>
                  </a:lnTo>
                  <a:lnTo>
                    <a:pt x="9" y="142"/>
                  </a:lnTo>
                  <a:lnTo>
                    <a:pt x="7" y="142"/>
                  </a:lnTo>
                  <a:lnTo>
                    <a:pt x="5" y="140"/>
                  </a:lnTo>
                  <a:lnTo>
                    <a:pt x="5" y="142"/>
                  </a:lnTo>
                  <a:lnTo>
                    <a:pt x="5" y="140"/>
                  </a:lnTo>
                  <a:lnTo>
                    <a:pt x="5" y="142"/>
                  </a:lnTo>
                  <a:lnTo>
                    <a:pt x="5" y="140"/>
                  </a:lnTo>
                  <a:lnTo>
                    <a:pt x="5" y="142"/>
                  </a:lnTo>
                  <a:lnTo>
                    <a:pt x="5" y="140"/>
                  </a:lnTo>
                  <a:lnTo>
                    <a:pt x="2" y="140"/>
                  </a:lnTo>
                  <a:lnTo>
                    <a:pt x="2" y="138"/>
                  </a:lnTo>
                  <a:lnTo>
                    <a:pt x="5" y="138"/>
                  </a:lnTo>
                  <a:lnTo>
                    <a:pt x="7" y="138"/>
                  </a:lnTo>
                  <a:lnTo>
                    <a:pt x="7" y="135"/>
                  </a:lnTo>
                  <a:lnTo>
                    <a:pt x="5" y="135"/>
                  </a:lnTo>
                  <a:lnTo>
                    <a:pt x="5" y="138"/>
                  </a:lnTo>
                  <a:lnTo>
                    <a:pt x="2" y="138"/>
                  </a:lnTo>
                  <a:lnTo>
                    <a:pt x="2" y="135"/>
                  </a:lnTo>
                  <a:lnTo>
                    <a:pt x="5" y="135"/>
                  </a:lnTo>
                  <a:lnTo>
                    <a:pt x="2" y="135"/>
                  </a:lnTo>
                  <a:lnTo>
                    <a:pt x="5" y="135"/>
                  </a:lnTo>
                  <a:lnTo>
                    <a:pt x="2" y="135"/>
                  </a:lnTo>
                  <a:lnTo>
                    <a:pt x="2" y="133"/>
                  </a:lnTo>
                  <a:lnTo>
                    <a:pt x="0" y="133"/>
                  </a:lnTo>
                  <a:lnTo>
                    <a:pt x="0" y="130"/>
                  </a:lnTo>
                  <a:lnTo>
                    <a:pt x="2" y="130"/>
                  </a:lnTo>
                  <a:lnTo>
                    <a:pt x="0" y="130"/>
                  </a:lnTo>
                  <a:lnTo>
                    <a:pt x="2" y="130"/>
                  </a:lnTo>
                  <a:lnTo>
                    <a:pt x="2" y="128"/>
                  </a:lnTo>
                  <a:lnTo>
                    <a:pt x="2" y="130"/>
                  </a:lnTo>
                  <a:lnTo>
                    <a:pt x="2" y="128"/>
                  </a:lnTo>
                  <a:lnTo>
                    <a:pt x="2" y="130"/>
                  </a:lnTo>
                  <a:lnTo>
                    <a:pt x="5" y="130"/>
                  </a:lnTo>
                  <a:lnTo>
                    <a:pt x="5" y="128"/>
                  </a:lnTo>
                  <a:lnTo>
                    <a:pt x="2" y="128"/>
                  </a:lnTo>
                  <a:lnTo>
                    <a:pt x="2" y="126"/>
                  </a:lnTo>
                  <a:lnTo>
                    <a:pt x="5" y="126"/>
                  </a:lnTo>
                  <a:lnTo>
                    <a:pt x="5" y="128"/>
                  </a:lnTo>
                  <a:lnTo>
                    <a:pt x="7" y="128"/>
                  </a:lnTo>
                  <a:lnTo>
                    <a:pt x="7" y="126"/>
                  </a:lnTo>
                  <a:lnTo>
                    <a:pt x="7" y="128"/>
                  </a:lnTo>
                  <a:lnTo>
                    <a:pt x="9" y="128"/>
                  </a:lnTo>
                  <a:lnTo>
                    <a:pt x="9" y="130"/>
                  </a:lnTo>
                  <a:lnTo>
                    <a:pt x="9" y="133"/>
                  </a:lnTo>
                  <a:lnTo>
                    <a:pt x="9" y="130"/>
                  </a:lnTo>
                  <a:lnTo>
                    <a:pt x="9" y="128"/>
                  </a:lnTo>
                  <a:lnTo>
                    <a:pt x="12" y="128"/>
                  </a:lnTo>
                  <a:lnTo>
                    <a:pt x="14" y="128"/>
                  </a:lnTo>
                  <a:lnTo>
                    <a:pt x="14" y="130"/>
                  </a:lnTo>
                  <a:lnTo>
                    <a:pt x="14" y="128"/>
                  </a:lnTo>
                  <a:lnTo>
                    <a:pt x="12" y="128"/>
                  </a:lnTo>
                  <a:lnTo>
                    <a:pt x="14" y="128"/>
                  </a:lnTo>
                  <a:lnTo>
                    <a:pt x="12" y="128"/>
                  </a:lnTo>
                  <a:lnTo>
                    <a:pt x="12" y="126"/>
                  </a:lnTo>
                  <a:lnTo>
                    <a:pt x="12" y="123"/>
                  </a:lnTo>
                  <a:lnTo>
                    <a:pt x="9" y="123"/>
                  </a:lnTo>
                  <a:lnTo>
                    <a:pt x="12" y="123"/>
                  </a:lnTo>
                  <a:lnTo>
                    <a:pt x="14" y="123"/>
                  </a:lnTo>
                  <a:lnTo>
                    <a:pt x="14" y="121"/>
                  </a:lnTo>
                  <a:lnTo>
                    <a:pt x="17" y="121"/>
                  </a:lnTo>
                  <a:lnTo>
                    <a:pt x="19" y="121"/>
                  </a:lnTo>
                  <a:lnTo>
                    <a:pt x="19" y="119"/>
                  </a:lnTo>
                  <a:lnTo>
                    <a:pt x="21" y="119"/>
                  </a:lnTo>
                  <a:lnTo>
                    <a:pt x="21" y="116"/>
                  </a:lnTo>
                  <a:lnTo>
                    <a:pt x="24" y="116"/>
                  </a:lnTo>
                  <a:lnTo>
                    <a:pt x="26" y="116"/>
                  </a:lnTo>
                  <a:lnTo>
                    <a:pt x="26" y="114"/>
                  </a:lnTo>
                  <a:lnTo>
                    <a:pt x="28" y="114"/>
                  </a:lnTo>
                  <a:lnTo>
                    <a:pt x="28" y="111"/>
                  </a:lnTo>
                  <a:lnTo>
                    <a:pt x="31" y="111"/>
                  </a:lnTo>
                  <a:lnTo>
                    <a:pt x="31" y="114"/>
                  </a:lnTo>
                  <a:close/>
                  <a:moveTo>
                    <a:pt x="130" y="78"/>
                  </a:moveTo>
                  <a:lnTo>
                    <a:pt x="133" y="78"/>
                  </a:lnTo>
                  <a:lnTo>
                    <a:pt x="133" y="81"/>
                  </a:lnTo>
                  <a:lnTo>
                    <a:pt x="135" y="81"/>
                  </a:lnTo>
                  <a:lnTo>
                    <a:pt x="135" y="83"/>
                  </a:lnTo>
                  <a:lnTo>
                    <a:pt x="138" y="83"/>
                  </a:lnTo>
                  <a:lnTo>
                    <a:pt x="138" y="85"/>
                  </a:lnTo>
                  <a:lnTo>
                    <a:pt x="135" y="85"/>
                  </a:lnTo>
                  <a:lnTo>
                    <a:pt x="135" y="83"/>
                  </a:lnTo>
                  <a:lnTo>
                    <a:pt x="135" y="85"/>
                  </a:lnTo>
                  <a:lnTo>
                    <a:pt x="133" y="85"/>
                  </a:lnTo>
                  <a:lnTo>
                    <a:pt x="135" y="88"/>
                  </a:lnTo>
                  <a:lnTo>
                    <a:pt x="135" y="85"/>
                  </a:lnTo>
                  <a:lnTo>
                    <a:pt x="135" y="88"/>
                  </a:lnTo>
                  <a:lnTo>
                    <a:pt x="135" y="85"/>
                  </a:lnTo>
                  <a:lnTo>
                    <a:pt x="138" y="85"/>
                  </a:lnTo>
                  <a:lnTo>
                    <a:pt x="138" y="88"/>
                  </a:lnTo>
                  <a:lnTo>
                    <a:pt x="138" y="85"/>
                  </a:lnTo>
                  <a:lnTo>
                    <a:pt x="140" y="85"/>
                  </a:lnTo>
                  <a:lnTo>
                    <a:pt x="140" y="88"/>
                  </a:lnTo>
                  <a:lnTo>
                    <a:pt x="142" y="88"/>
                  </a:lnTo>
                  <a:lnTo>
                    <a:pt x="145" y="88"/>
                  </a:lnTo>
                  <a:lnTo>
                    <a:pt x="142" y="88"/>
                  </a:lnTo>
                  <a:lnTo>
                    <a:pt x="142" y="90"/>
                  </a:lnTo>
                  <a:lnTo>
                    <a:pt x="142" y="88"/>
                  </a:lnTo>
                  <a:lnTo>
                    <a:pt x="142" y="90"/>
                  </a:lnTo>
                  <a:lnTo>
                    <a:pt x="145" y="90"/>
                  </a:lnTo>
                  <a:lnTo>
                    <a:pt x="142" y="90"/>
                  </a:lnTo>
                  <a:lnTo>
                    <a:pt x="145" y="90"/>
                  </a:lnTo>
                  <a:lnTo>
                    <a:pt x="145" y="88"/>
                  </a:lnTo>
                  <a:lnTo>
                    <a:pt x="147" y="88"/>
                  </a:lnTo>
                  <a:lnTo>
                    <a:pt x="147" y="90"/>
                  </a:lnTo>
                  <a:lnTo>
                    <a:pt x="145" y="90"/>
                  </a:lnTo>
                  <a:lnTo>
                    <a:pt x="142" y="92"/>
                  </a:lnTo>
                  <a:lnTo>
                    <a:pt x="140" y="92"/>
                  </a:lnTo>
                  <a:lnTo>
                    <a:pt x="140" y="95"/>
                  </a:lnTo>
                  <a:lnTo>
                    <a:pt x="142" y="95"/>
                  </a:lnTo>
                  <a:lnTo>
                    <a:pt x="140" y="95"/>
                  </a:lnTo>
                  <a:lnTo>
                    <a:pt x="140" y="97"/>
                  </a:lnTo>
                  <a:lnTo>
                    <a:pt x="140" y="95"/>
                  </a:lnTo>
                  <a:lnTo>
                    <a:pt x="140" y="97"/>
                  </a:lnTo>
                  <a:lnTo>
                    <a:pt x="140" y="100"/>
                  </a:lnTo>
                  <a:lnTo>
                    <a:pt x="138" y="100"/>
                  </a:lnTo>
                  <a:lnTo>
                    <a:pt x="138" y="97"/>
                  </a:lnTo>
                  <a:lnTo>
                    <a:pt x="135" y="97"/>
                  </a:lnTo>
                  <a:lnTo>
                    <a:pt x="138" y="97"/>
                  </a:lnTo>
                  <a:lnTo>
                    <a:pt x="138" y="95"/>
                  </a:lnTo>
                  <a:lnTo>
                    <a:pt x="138" y="97"/>
                  </a:lnTo>
                  <a:lnTo>
                    <a:pt x="138" y="95"/>
                  </a:lnTo>
                  <a:lnTo>
                    <a:pt x="135" y="95"/>
                  </a:lnTo>
                  <a:lnTo>
                    <a:pt x="135" y="97"/>
                  </a:lnTo>
                  <a:lnTo>
                    <a:pt x="135" y="95"/>
                  </a:lnTo>
                  <a:lnTo>
                    <a:pt x="138" y="95"/>
                  </a:lnTo>
                  <a:lnTo>
                    <a:pt x="140" y="95"/>
                  </a:lnTo>
                  <a:lnTo>
                    <a:pt x="138" y="95"/>
                  </a:lnTo>
                  <a:lnTo>
                    <a:pt x="140" y="95"/>
                  </a:lnTo>
                  <a:lnTo>
                    <a:pt x="140" y="92"/>
                  </a:lnTo>
                  <a:lnTo>
                    <a:pt x="140" y="90"/>
                  </a:lnTo>
                  <a:lnTo>
                    <a:pt x="138" y="90"/>
                  </a:lnTo>
                  <a:lnTo>
                    <a:pt x="138" y="88"/>
                  </a:lnTo>
                  <a:lnTo>
                    <a:pt x="138" y="90"/>
                  </a:lnTo>
                  <a:lnTo>
                    <a:pt x="135" y="90"/>
                  </a:lnTo>
                  <a:lnTo>
                    <a:pt x="133" y="90"/>
                  </a:lnTo>
                  <a:lnTo>
                    <a:pt x="130" y="90"/>
                  </a:lnTo>
                  <a:lnTo>
                    <a:pt x="128" y="90"/>
                  </a:lnTo>
                  <a:lnTo>
                    <a:pt x="128" y="88"/>
                  </a:lnTo>
                  <a:lnTo>
                    <a:pt x="130" y="88"/>
                  </a:lnTo>
                  <a:lnTo>
                    <a:pt x="128" y="88"/>
                  </a:lnTo>
                  <a:lnTo>
                    <a:pt x="130" y="88"/>
                  </a:lnTo>
                  <a:lnTo>
                    <a:pt x="130" y="85"/>
                  </a:lnTo>
                  <a:lnTo>
                    <a:pt x="128" y="85"/>
                  </a:lnTo>
                  <a:lnTo>
                    <a:pt x="130" y="85"/>
                  </a:lnTo>
                  <a:lnTo>
                    <a:pt x="130" y="83"/>
                  </a:lnTo>
                  <a:lnTo>
                    <a:pt x="128" y="83"/>
                  </a:lnTo>
                  <a:lnTo>
                    <a:pt x="128" y="85"/>
                  </a:lnTo>
                  <a:lnTo>
                    <a:pt x="130" y="85"/>
                  </a:lnTo>
                  <a:lnTo>
                    <a:pt x="130" y="88"/>
                  </a:lnTo>
                  <a:lnTo>
                    <a:pt x="130" y="85"/>
                  </a:lnTo>
                  <a:lnTo>
                    <a:pt x="128" y="85"/>
                  </a:lnTo>
                  <a:lnTo>
                    <a:pt x="128" y="88"/>
                  </a:lnTo>
                  <a:lnTo>
                    <a:pt x="128" y="90"/>
                  </a:lnTo>
                  <a:lnTo>
                    <a:pt x="126" y="90"/>
                  </a:lnTo>
                  <a:lnTo>
                    <a:pt x="126" y="88"/>
                  </a:lnTo>
                  <a:lnTo>
                    <a:pt x="126" y="85"/>
                  </a:lnTo>
                  <a:lnTo>
                    <a:pt x="126" y="83"/>
                  </a:lnTo>
                  <a:lnTo>
                    <a:pt x="126" y="81"/>
                  </a:lnTo>
                  <a:lnTo>
                    <a:pt x="126" y="78"/>
                  </a:lnTo>
                  <a:lnTo>
                    <a:pt x="128" y="78"/>
                  </a:lnTo>
                  <a:lnTo>
                    <a:pt x="130" y="78"/>
                  </a:lnTo>
                  <a:close/>
                  <a:moveTo>
                    <a:pt x="192" y="0"/>
                  </a:moveTo>
                  <a:lnTo>
                    <a:pt x="192" y="2"/>
                  </a:lnTo>
                  <a:lnTo>
                    <a:pt x="192" y="5"/>
                  </a:lnTo>
                  <a:lnTo>
                    <a:pt x="192" y="7"/>
                  </a:lnTo>
                  <a:lnTo>
                    <a:pt x="192" y="9"/>
                  </a:lnTo>
                  <a:lnTo>
                    <a:pt x="192" y="12"/>
                  </a:lnTo>
                  <a:lnTo>
                    <a:pt x="190" y="12"/>
                  </a:lnTo>
                  <a:lnTo>
                    <a:pt x="192" y="12"/>
                  </a:lnTo>
                  <a:lnTo>
                    <a:pt x="190" y="12"/>
                  </a:lnTo>
                  <a:lnTo>
                    <a:pt x="192" y="12"/>
                  </a:lnTo>
                  <a:lnTo>
                    <a:pt x="190" y="12"/>
                  </a:lnTo>
                  <a:lnTo>
                    <a:pt x="192" y="12"/>
                  </a:lnTo>
                  <a:lnTo>
                    <a:pt x="192" y="9"/>
                  </a:lnTo>
                  <a:lnTo>
                    <a:pt x="194" y="9"/>
                  </a:lnTo>
                  <a:lnTo>
                    <a:pt x="192" y="9"/>
                  </a:lnTo>
                  <a:lnTo>
                    <a:pt x="194" y="9"/>
                  </a:lnTo>
                  <a:lnTo>
                    <a:pt x="194" y="7"/>
                  </a:lnTo>
                  <a:lnTo>
                    <a:pt x="197" y="7"/>
                  </a:lnTo>
                  <a:lnTo>
                    <a:pt x="197" y="9"/>
                  </a:lnTo>
                  <a:lnTo>
                    <a:pt x="197" y="12"/>
                  </a:lnTo>
                  <a:lnTo>
                    <a:pt x="194" y="12"/>
                  </a:lnTo>
                  <a:lnTo>
                    <a:pt x="197" y="12"/>
                  </a:lnTo>
                  <a:lnTo>
                    <a:pt x="194" y="12"/>
                  </a:lnTo>
                  <a:lnTo>
                    <a:pt x="197" y="12"/>
                  </a:lnTo>
                  <a:lnTo>
                    <a:pt x="197" y="14"/>
                  </a:lnTo>
                  <a:lnTo>
                    <a:pt x="197" y="12"/>
                  </a:lnTo>
                  <a:lnTo>
                    <a:pt x="199" y="12"/>
                  </a:lnTo>
                  <a:lnTo>
                    <a:pt x="199" y="9"/>
                  </a:lnTo>
                  <a:lnTo>
                    <a:pt x="202" y="9"/>
                  </a:lnTo>
                  <a:lnTo>
                    <a:pt x="202" y="12"/>
                  </a:lnTo>
                  <a:lnTo>
                    <a:pt x="199" y="12"/>
                  </a:lnTo>
                  <a:lnTo>
                    <a:pt x="199" y="14"/>
                  </a:lnTo>
                  <a:lnTo>
                    <a:pt x="199" y="12"/>
                  </a:lnTo>
                  <a:lnTo>
                    <a:pt x="199" y="14"/>
                  </a:lnTo>
                  <a:lnTo>
                    <a:pt x="199" y="12"/>
                  </a:lnTo>
                  <a:lnTo>
                    <a:pt x="202" y="14"/>
                  </a:lnTo>
                  <a:lnTo>
                    <a:pt x="199" y="14"/>
                  </a:lnTo>
                  <a:lnTo>
                    <a:pt x="202" y="14"/>
                  </a:lnTo>
                  <a:lnTo>
                    <a:pt x="199" y="14"/>
                  </a:lnTo>
                  <a:lnTo>
                    <a:pt x="197" y="14"/>
                  </a:lnTo>
                  <a:lnTo>
                    <a:pt x="197" y="16"/>
                  </a:lnTo>
                  <a:lnTo>
                    <a:pt x="199" y="16"/>
                  </a:lnTo>
                  <a:lnTo>
                    <a:pt x="199" y="19"/>
                  </a:lnTo>
                  <a:lnTo>
                    <a:pt x="197" y="19"/>
                  </a:lnTo>
                  <a:lnTo>
                    <a:pt x="199" y="19"/>
                  </a:lnTo>
                  <a:lnTo>
                    <a:pt x="197" y="19"/>
                  </a:lnTo>
                  <a:lnTo>
                    <a:pt x="199" y="19"/>
                  </a:lnTo>
                  <a:lnTo>
                    <a:pt x="197" y="21"/>
                  </a:lnTo>
                  <a:lnTo>
                    <a:pt x="199" y="21"/>
                  </a:lnTo>
                  <a:lnTo>
                    <a:pt x="197" y="21"/>
                  </a:lnTo>
                  <a:lnTo>
                    <a:pt x="197" y="19"/>
                  </a:lnTo>
                  <a:lnTo>
                    <a:pt x="197" y="21"/>
                  </a:lnTo>
                  <a:lnTo>
                    <a:pt x="194" y="21"/>
                  </a:lnTo>
                  <a:lnTo>
                    <a:pt x="197" y="21"/>
                  </a:lnTo>
                  <a:lnTo>
                    <a:pt x="197" y="24"/>
                  </a:lnTo>
                  <a:lnTo>
                    <a:pt x="197" y="21"/>
                  </a:lnTo>
                  <a:lnTo>
                    <a:pt x="197" y="24"/>
                  </a:lnTo>
                  <a:lnTo>
                    <a:pt x="199" y="24"/>
                  </a:lnTo>
                  <a:lnTo>
                    <a:pt x="197" y="24"/>
                  </a:lnTo>
                  <a:lnTo>
                    <a:pt x="197" y="26"/>
                  </a:lnTo>
                  <a:lnTo>
                    <a:pt x="199" y="26"/>
                  </a:lnTo>
                  <a:lnTo>
                    <a:pt x="197" y="26"/>
                  </a:lnTo>
                  <a:lnTo>
                    <a:pt x="197" y="28"/>
                  </a:lnTo>
                  <a:lnTo>
                    <a:pt x="197" y="26"/>
                  </a:lnTo>
                  <a:lnTo>
                    <a:pt x="197" y="28"/>
                  </a:lnTo>
                  <a:lnTo>
                    <a:pt x="194" y="28"/>
                  </a:lnTo>
                  <a:lnTo>
                    <a:pt x="197" y="28"/>
                  </a:lnTo>
                  <a:lnTo>
                    <a:pt x="197" y="31"/>
                  </a:lnTo>
                  <a:lnTo>
                    <a:pt x="194" y="31"/>
                  </a:lnTo>
                  <a:lnTo>
                    <a:pt x="194" y="33"/>
                  </a:lnTo>
                  <a:lnTo>
                    <a:pt x="197" y="33"/>
                  </a:lnTo>
                  <a:lnTo>
                    <a:pt x="197" y="35"/>
                  </a:lnTo>
                  <a:lnTo>
                    <a:pt x="194" y="35"/>
                  </a:lnTo>
                  <a:lnTo>
                    <a:pt x="194" y="33"/>
                  </a:lnTo>
                  <a:lnTo>
                    <a:pt x="194" y="35"/>
                  </a:lnTo>
                  <a:lnTo>
                    <a:pt x="194" y="33"/>
                  </a:lnTo>
                  <a:lnTo>
                    <a:pt x="194" y="35"/>
                  </a:lnTo>
                  <a:lnTo>
                    <a:pt x="194" y="38"/>
                  </a:lnTo>
                  <a:lnTo>
                    <a:pt x="194" y="40"/>
                  </a:lnTo>
                  <a:lnTo>
                    <a:pt x="192" y="40"/>
                  </a:lnTo>
                  <a:lnTo>
                    <a:pt x="194" y="40"/>
                  </a:lnTo>
                  <a:lnTo>
                    <a:pt x="194" y="43"/>
                  </a:lnTo>
                  <a:lnTo>
                    <a:pt x="194" y="40"/>
                  </a:lnTo>
                  <a:lnTo>
                    <a:pt x="192" y="40"/>
                  </a:lnTo>
                  <a:lnTo>
                    <a:pt x="192" y="38"/>
                  </a:lnTo>
                  <a:lnTo>
                    <a:pt x="192" y="40"/>
                  </a:lnTo>
                  <a:lnTo>
                    <a:pt x="190" y="40"/>
                  </a:lnTo>
                  <a:lnTo>
                    <a:pt x="190" y="38"/>
                  </a:lnTo>
                  <a:lnTo>
                    <a:pt x="190" y="35"/>
                  </a:lnTo>
                  <a:lnTo>
                    <a:pt x="192" y="35"/>
                  </a:lnTo>
                  <a:lnTo>
                    <a:pt x="190" y="35"/>
                  </a:lnTo>
                  <a:lnTo>
                    <a:pt x="192" y="35"/>
                  </a:lnTo>
                  <a:lnTo>
                    <a:pt x="192" y="33"/>
                  </a:lnTo>
                  <a:lnTo>
                    <a:pt x="192" y="31"/>
                  </a:lnTo>
                  <a:lnTo>
                    <a:pt x="194" y="28"/>
                  </a:lnTo>
                  <a:lnTo>
                    <a:pt x="194" y="26"/>
                  </a:lnTo>
                  <a:lnTo>
                    <a:pt x="192" y="26"/>
                  </a:lnTo>
                  <a:lnTo>
                    <a:pt x="192" y="24"/>
                  </a:lnTo>
                  <a:lnTo>
                    <a:pt x="194" y="24"/>
                  </a:lnTo>
                  <a:lnTo>
                    <a:pt x="192" y="24"/>
                  </a:lnTo>
                  <a:lnTo>
                    <a:pt x="192" y="26"/>
                  </a:lnTo>
                  <a:lnTo>
                    <a:pt x="192" y="24"/>
                  </a:lnTo>
                  <a:lnTo>
                    <a:pt x="192" y="21"/>
                  </a:lnTo>
                  <a:lnTo>
                    <a:pt x="192" y="24"/>
                  </a:lnTo>
                  <a:lnTo>
                    <a:pt x="192" y="26"/>
                  </a:lnTo>
                  <a:lnTo>
                    <a:pt x="192" y="24"/>
                  </a:lnTo>
                  <a:lnTo>
                    <a:pt x="192" y="21"/>
                  </a:lnTo>
                  <a:lnTo>
                    <a:pt x="192" y="24"/>
                  </a:lnTo>
                  <a:lnTo>
                    <a:pt x="192" y="21"/>
                  </a:lnTo>
                  <a:lnTo>
                    <a:pt x="190" y="21"/>
                  </a:lnTo>
                  <a:lnTo>
                    <a:pt x="192" y="21"/>
                  </a:lnTo>
                  <a:lnTo>
                    <a:pt x="190" y="21"/>
                  </a:lnTo>
                  <a:lnTo>
                    <a:pt x="192" y="21"/>
                  </a:lnTo>
                  <a:lnTo>
                    <a:pt x="190" y="21"/>
                  </a:lnTo>
                  <a:lnTo>
                    <a:pt x="190" y="19"/>
                  </a:lnTo>
                  <a:lnTo>
                    <a:pt x="190" y="21"/>
                  </a:lnTo>
                  <a:lnTo>
                    <a:pt x="192" y="21"/>
                  </a:lnTo>
                  <a:lnTo>
                    <a:pt x="192" y="24"/>
                  </a:lnTo>
                  <a:lnTo>
                    <a:pt x="190" y="24"/>
                  </a:lnTo>
                  <a:lnTo>
                    <a:pt x="192" y="24"/>
                  </a:lnTo>
                  <a:lnTo>
                    <a:pt x="190" y="24"/>
                  </a:lnTo>
                  <a:lnTo>
                    <a:pt x="190" y="21"/>
                  </a:lnTo>
                  <a:lnTo>
                    <a:pt x="190" y="24"/>
                  </a:lnTo>
                  <a:lnTo>
                    <a:pt x="190" y="21"/>
                  </a:lnTo>
                  <a:lnTo>
                    <a:pt x="190" y="24"/>
                  </a:lnTo>
                  <a:lnTo>
                    <a:pt x="187" y="24"/>
                  </a:lnTo>
                  <a:lnTo>
                    <a:pt x="190" y="24"/>
                  </a:lnTo>
                  <a:lnTo>
                    <a:pt x="187" y="24"/>
                  </a:lnTo>
                  <a:lnTo>
                    <a:pt x="187" y="26"/>
                  </a:lnTo>
                  <a:lnTo>
                    <a:pt x="187" y="24"/>
                  </a:lnTo>
                  <a:lnTo>
                    <a:pt x="187" y="26"/>
                  </a:lnTo>
                  <a:lnTo>
                    <a:pt x="185" y="26"/>
                  </a:lnTo>
                  <a:lnTo>
                    <a:pt x="185" y="24"/>
                  </a:lnTo>
                  <a:lnTo>
                    <a:pt x="187" y="24"/>
                  </a:lnTo>
                  <a:lnTo>
                    <a:pt x="187" y="21"/>
                  </a:lnTo>
                  <a:lnTo>
                    <a:pt x="185" y="21"/>
                  </a:lnTo>
                  <a:lnTo>
                    <a:pt x="187" y="21"/>
                  </a:lnTo>
                  <a:lnTo>
                    <a:pt x="185" y="21"/>
                  </a:lnTo>
                  <a:lnTo>
                    <a:pt x="187" y="21"/>
                  </a:lnTo>
                  <a:lnTo>
                    <a:pt x="185" y="21"/>
                  </a:lnTo>
                  <a:lnTo>
                    <a:pt x="185" y="24"/>
                  </a:lnTo>
                  <a:lnTo>
                    <a:pt x="185" y="21"/>
                  </a:lnTo>
                  <a:lnTo>
                    <a:pt x="183" y="21"/>
                  </a:lnTo>
                  <a:lnTo>
                    <a:pt x="183" y="24"/>
                  </a:lnTo>
                  <a:lnTo>
                    <a:pt x="183" y="21"/>
                  </a:lnTo>
                  <a:lnTo>
                    <a:pt x="180" y="21"/>
                  </a:lnTo>
                  <a:lnTo>
                    <a:pt x="183" y="21"/>
                  </a:lnTo>
                  <a:lnTo>
                    <a:pt x="180" y="21"/>
                  </a:lnTo>
                  <a:lnTo>
                    <a:pt x="180" y="19"/>
                  </a:lnTo>
                  <a:lnTo>
                    <a:pt x="180" y="21"/>
                  </a:lnTo>
                  <a:lnTo>
                    <a:pt x="180" y="19"/>
                  </a:lnTo>
                  <a:lnTo>
                    <a:pt x="180" y="16"/>
                  </a:lnTo>
                  <a:lnTo>
                    <a:pt x="183" y="16"/>
                  </a:lnTo>
                  <a:lnTo>
                    <a:pt x="183" y="19"/>
                  </a:lnTo>
                  <a:lnTo>
                    <a:pt x="185" y="19"/>
                  </a:lnTo>
                  <a:lnTo>
                    <a:pt x="183" y="19"/>
                  </a:lnTo>
                  <a:lnTo>
                    <a:pt x="185" y="19"/>
                  </a:lnTo>
                  <a:lnTo>
                    <a:pt x="183" y="16"/>
                  </a:lnTo>
                  <a:lnTo>
                    <a:pt x="185" y="16"/>
                  </a:lnTo>
                  <a:lnTo>
                    <a:pt x="185" y="19"/>
                  </a:lnTo>
                  <a:lnTo>
                    <a:pt x="185" y="16"/>
                  </a:lnTo>
                  <a:lnTo>
                    <a:pt x="187" y="16"/>
                  </a:lnTo>
                  <a:lnTo>
                    <a:pt x="187" y="19"/>
                  </a:lnTo>
                  <a:lnTo>
                    <a:pt x="187" y="16"/>
                  </a:lnTo>
                  <a:lnTo>
                    <a:pt x="187" y="19"/>
                  </a:lnTo>
                  <a:lnTo>
                    <a:pt x="187" y="16"/>
                  </a:lnTo>
                  <a:lnTo>
                    <a:pt x="187" y="19"/>
                  </a:lnTo>
                  <a:lnTo>
                    <a:pt x="187" y="16"/>
                  </a:lnTo>
                  <a:lnTo>
                    <a:pt x="190" y="16"/>
                  </a:lnTo>
                  <a:lnTo>
                    <a:pt x="187" y="16"/>
                  </a:lnTo>
                  <a:lnTo>
                    <a:pt x="190" y="16"/>
                  </a:lnTo>
                  <a:lnTo>
                    <a:pt x="190" y="19"/>
                  </a:lnTo>
                  <a:lnTo>
                    <a:pt x="190" y="16"/>
                  </a:lnTo>
                  <a:lnTo>
                    <a:pt x="192" y="16"/>
                  </a:lnTo>
                  <a:lnTo>
                    <a:pt x="190" y="16"/>
                  </a:lnTo>
                  <a:lnTo>
                    <a:pt x="190" y="14"/>
                  </a:lnTo>
                  <a:lnTo>
                    <a:pt x="192" y="16"/>
                  </a:lnTo>
                  <a:lnTo>
                    <a:pt x="192" y="14"/>
                  </a:lnTo>
                  <a:lnTo>
                    <a:pt x="192" y="16"/>
                  </a:lnTo>
                  <a:lnTo>
                    <a:pt x="192" y="14"/>
                  </a:lnTo>
                  <a:lnTo>
                    <a:pt x="194" y="14"/>
                  </a:lnTo>
                  <a:lnTo>
                    <a:pt x="192" y="14"/>
                  </a:lnTo>
                  <a:lnTo>
                    <a:pt x="190" y="14"/>
                  </a:lnTo>
                  <a:lnTo>
                    <a:pt x="192" y="14"/>
                  </a:lnTo>
                  <a:lnTo>
                    <a:pt x="192" y="12"/>
                  </a:lnTo>
                  <a:lnTo>
                    <a:pt x="190" y="12"/>
                  </a:lnTo>
                  <a:lnTo>
                    <a:pt x="190" y="14"/>
                  </a:lnTo>
                  <a:lnTo>
                    <a:pt x="190" y="12"/>
                  </a:lnTo>
                  <a:lnTo>
                    <a:pt x="187" y="12"/>
                  </a:lnTo>
                  <a:lnTo>
                    <a:pt x="187" y="9"/>
                  </a:lnTo>
                  <a:lnTo>
                    <a:pt x="190" y="9"/>
                  </a:lnTo>
                  <a:lnTo>
                    <a:pt x="187" y="9"/>
                  </a:lnTo>
                  <a:lnTo>
                    <a:pt x="187" y="7"/>
                  </a:lnTo>
                  <a:lnTo>
                    <a:pt x="187" y="9"/>
                  </a:lnTo>
                  <a:lnTo>
                    <a:pt x="185" y="9"/>
                  </a:lnTo>
                  <a:lnTo>
                    <a:pt x="187" y="9"/>
                  </a:lnTo>
                  <a:lnTo>
                    <a:pt x="187" y="7"/>
                  </a:lnTo>
                  <a:lnTo>
                    <a:pt x="185" y="7"/>
                  </a:lnTo>
                  <a:lnTo>
                    <a:pt x="185" y="9"/>
                  </a:lnTo>
                  <a:lnTo>
                    <a:pt x="185" y="7"/>
                  </a:lnTo>
                  <a:lnTo>
                    <a:pt x="183" y="7"/>
                  </a:lnTo>
                  <a:lnTo>
                    <a:pt x="183" y="9"/>
                  </a:lnTo>
                  <a:lnTo>
                    <a:pt x="183" y="7"/>
                  </a:lnTo>
                  <a:lnTo>
                    <a:pt x="185" y="7"/>
                  </a:lnTo>
                  <a:lnTo>
                    <a:pt x="183" y="7"/>
                  </a:lnTo>
                  <a:lnTo>
                    <a:pt x="185" y="7"/>
                  </a:lnTo>
                  <a:lnTo>
                    <a:pt x="185" y="5"/>
                  </a:lnTo>
                  <a:lnTo>
                    <a:pt x="187" y="5"/>
                  </a:lnTo>
                  <a:lnTo>
                    <a:pt x="187" y="7"/>
                  </a:lnTo>
                  <a:lnTo>
                    <a:pt x="190" y="7"/>
                  </a:lnTo>
                  <a:lnTo>
                    <a:pt x="187" y="7"/>
                  </a:lnTo>
                  <a:lnTo>
                    <a:pt x="187" y="5"/>
                  </a:lnTo>
                  <a:lnTo>
                    <a:pt x="187" y="2"/>
                  </a:lnTo>
                  <a:lnTo>
                    <a:pt x="190" y="2"/>
                  </a:lnTo>
                  <a:lnTo>
                    <a:pt x="187" y="2"/>
                  </a:lnTo>
                  <a:lnTo>
                    <a:pt x="190" y="2"/>
                  </a:lnTo>
                  <a:lnTo>
                    <a:pt x="187" y="2"/>
                  </a:lnTo>
                  <a:lnTo>
                    <a:pt x="190" y="2"/>
                  </a:lnTo>
                  <a:lnTo>
                    <a:pt x="187" y="2"/>
                  </a:lnTo>
                  <a:lnTo>
                    <a:pt x="190" y="2"/>
                  </a:lnTo>
                  <a:lnTo>
                    <a:pt x="187" y="2"/>
                  </a:lnTo>
                  <a:lnTo>
                    <a:pt x="190" y="0"/>
                  </a:lnTo>
                  <a:lnTo>
                    <a:pt x="187" y="0"/>
                  </a:lnTo>
                  <a:lnTo>
                    <a:pt x="190" y="0"/>
                  </a:lnTo>
                  <a:lnTo>
                    <a:pt x="190" y="2"/>
                  </a:lnTo>
                  <a:lnTo>
                    <a:pt x="192" y="0"/>
                  </a:lnTo>
                  <a:lnTo>
                    <a:pt x="192" y="2"/>
                  </a:lnTo>
                  <a:lnTo>
                    <a:pt x="19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8" name="Freeform 57768"/>
            <p:cNvSpPr>
              <a:spLocks noEditPoints="1"/>
            </p:cNvSpPr>
            <p:nvPr/>
          </p:nvSpPr>
          <p:spPr bwMode="auto">
            <a:xfrm>
              <a:off x="1600198" y="4006867"/>
              <a:ext cx="519113" cy="698502"/>
            </a:xfrm>
            <a:custGeom>
              <a:avLst/>
              <a:gdLst>
                <a:gd name="T0" fmla="*/ 80 w 327"/>
                <a:gd name="T1" fmla="*/ 200 h 440"/>
                <a:gd name="T2" fmla="*/ 88 w 327"/>
                <a:gd name="T3" fmla="*/ 221 h 440"/>
                <a:gd name="T4" fmla="*/ 83 w 327"/>
                <a:gd name="T5" fmla="*/ 226 h 440"/>
                <a:gd name="T6" fmla="*/ 50 w 327"/>
                <a:gd name="T7" fmla="*/ 231 h 440"/>
                <a:gd name="T8" fmla="*/ 2 w 327"/>
                <a:gd name="T9" fmla="*/ 221 h 440"/>
                <a:gd name="T10" fmla="*/ 28 w 327"/>
                <a:gd name="T11" fmla="*/ 190 h 440"/>
                <a:gd name="T12" fmla="*/ 249 w 327"/>
                <a:gd name="T13" fmla="*/ 214 h 440"/>
                <a:gd name="T14" fmla="*/ 258 w 327"/>
                <a:gd name="T15" fmla="*/ 252 h 440"/>
                <a:gd name="T16" fmla="*/ 268 w 327"/>
                <a:gd name="T17" fmla="*/ 259 h 440"/>
                <a:gd name="T18" fmla="*/ 284 w 327"/>
                <a:gd name="T19" fmla="*/ 295 h 440"/>
                <a:gd name="T20" fmla="*/ 322 w 327"/>
                <a:gd name="T21" fmla="*/ 328 h 440"/>
                <a:gd name="T22" fmla="*/ 306 w 327"/>
                <a:gd name="T23" fmla="*/ 340 h 440"/>
                <a:gd name="T24" fmla="*/ 299 w 327"/>
                <a:gd name="T25" fmla="*/ 354 h 440"/>
                <a:gd name="T26" fmla="*/ 273 w 327"/>
                <a:gd name="T27" fmla="*/ 364 h 440"/>
                <a:gd name="T28" fmla="*/ 303 w 327"/>
                <a:gd name="T29" fmla="*/ 371 h 440"/>
                <a:gd name="T30" fmla="*/ 275 w 327"/>
                <a:gd name="T31" fmla="*/ 402 h 440"/>
                <a:gd name="T32" fmla="*/ 232 w 327"/>
                <a:gd name="T33" fmla="*/ 395 h 440"/>
                <a:gd name="T34" fmla="*/ 201 w 327"/>
                <a:gd name="T35" fmla="*/ 404 h 440"/>
                <a:gd name="T36" fmla="*/ 154 w 327"/>
                <a:gd name="T37" fmla="*/ 407 h 440"/>
                <a:gd name="T38" fmla="*/ 144 w 327"/>
                <a:gd name="T39" fmla="*/ 426 h 440"/>
                <a:gd name="T40" fmla="*/ 118 w 327"/>
                <a:gd name="T41" fmla="*/ 421 h 440"/>
                <a:gd name="T42" fmla="*/ 102 w 327"/>
                <a:gd name="T43" fmla="*/ 437 h 440"/>
                <a:gd name="T44" fmla="*/ 102 w 327"/>
                <a:gd name="T45" fmla="*/ 411 h 440"/>
                <a:gd name="T46" fmla="*/ 133 w 327"/>
                <a:gd name="T47" fmla="*/ 383 h 440"/>
                <a:gd name="T48" fmla="*/ 171 w 327"/>
                <a:gd name="T49" fmla="*/ 369 h 440"/>
                <a:gd name="T50" fmla="*/ 168 w 327"/>
                <a:gd name="T51" fmla="*/ 361 h 440"/>
                <a:gd name="T52" fmla="*/ 128 w 327"/>
                <a:gd name="T53" fmla="*/ 357 h 440"/>
                <a:gd name="T54" fmla="*/ 109 w 327"/>
                <a:gd name="T55" fmla="*/ 352 h 440"/>
                <a:gd name="T56" fmla="*/ 104 w 327"/>
                <a:gd name="T57" fmla="*/ 338 h 440"/>
                <a:gd name="T58" fmla="*/ 135 w 327"/>
                <a:gd name="T59" fmla="*/ 302 h 440"/>
                <a:gd name="T60" fmla="*/ 125 w 327"/>
                <a:gd name="T61" fmla="*/ 283 h 440"/>
                <a:gd name="T62" fmla="*/ 166 w 327"/>
                <a:gd name="T63" fmla="*/ 276 h 440"/>
                <a:gd name="T64" fmla="*/ 171 w 327"/>
                <a:gd name="T65" fmla="*/ 257 h 440"/>
                <a:gd name="T66" fmla="*/ 173 w 327"/>
                <a:gd name="T67" fmla="*/ 231 h 440"/>
                <a:gd name="T68" fmla="*/ 154 w 327"/>
                <a:gd name="T69" fmla="*/ 202 h 440"/>
                <a:gd name="T70" fmla="*/ 142 w 327"/>
                <a:gd name="T71" fmla="*/ 195 h 440"/>
                <a:gd name="T72" fmla="*/ 111 w 327"/>
                <a:gd name="T73" fmla="*/ 195 h 440"/>
                <a:gd name="T74" fmla="*/ 111 w 327"/>
                <a:gd name="T75" fmla="*/ 167 h 440"/>
                <a:gd name="T76" fmla="*/ 111 w 327"/>
                <a:gd name="T77" fmla="*/ 138 h 440"/>
                <a:gd name="T78" fmla="*/ 95 w 327"/>
                <a:gd name="T79" fmla="*/ 145 h 440"/>
                <a:gd name="T80" fmla="*/ 90 w 327"/>
                <a:gd name="T81" fmla="*/ 152 h 440"/>
                <a:gd name="T82" fmla="*/ 83 w 327"/>
                <a:gd name="T83" fmla="*/ 150 h 440"/>
                <a:gd name="T84" fmla="*/ 88 w 327"/>
                <a:gd name="T85" fmla="*/ 131 h 440"/>
                <a:gd name="T86" fmla="*/ 102 w 327"/>
                <a:gd name="T87" fmla="*/ 110 h 440"/>
                <a:gd name="T88" fmla="*/ 97 w 327"/>
                <a:gd name="T89" fmla="*/ 95 h 440"/>
                <a:gd name="T90" fmla="*/ 73 w 327"/>
                <a:gd name="T91" fmla="*/ 105 h 440"/>
                <a:gd name="T92" fmla="*/ 80 w 327"/>
                <a:gd name="T93" fmla="*/ 93 h 440"/>
                <a:gd name="T94" fmla="*/ 88 w 327"/>
                <a:gd name="T95" fmla="*/ 81 h 440"/>
                <a:gd name="T96" fmla="*/ 83 w 327"/>
                <a:gd name="T97" fmla="*/ 69 h 440"/>
                <a:gd name="T98" fmla="*/ 80 w 327"/>
                <a:gd name="T99" fmla="*/ 50 h 440"/>
                <a:gd name="T100" fmla="*/ 99 w 327"/>
                <a:gd name="T101" fmla="*/ 41 h 440"/>
                <a:gd name="T102" fmla="*/ 99 w 327"/>
                <a:gd name="T103" fmla="*/ 17 h 440"/>
                <a:gd name="T104" fmla="*/ 114 w 327"/>
                <a:gd name="T105" fmla="*/ 7 h 440"/>
                <a:gd name="T106" fmla="*/ 152 w 327"/>
                <a:gd name="T107" fmla="*/ 3 h 440"/>
                <a:gd name="T108" fmla="*/ 135 w 327"/>
                <a:gd name="T109" fmla="*/ 38 h 440"/>
                <a:gd name="T110" fmla="*/ 135 w 327"/>
                <a:gd name="T111" fmla="*/ 50 h 440"/>
                <a:gd name="T112" fmla="*/ 125 w 327"/>
                <a:gd name="T113" fmla="*/ 62 h 440"/>
                <a:gd name="T114" fmla="*/ 178 w 327"/>
                <a:gd name="T115" fmla="*/ 50 h 440"/>
                <a:gd name="T116" fmla="*/ 201 w 327"/>
                <a:gd name="T117" fmla="*/ 76 h 440"/>
                <a:gd name="T118" fmla="*/ 161 w 327"/>
                <a:gd name="T119" fmla="*/ 119 h 440"/>
                <a:gd name="T120" fmla="*/ 156 w 327"/>
                <a:gd name="T121" fmla="*/ 138 h 440"/>
                <a:gd name="T122" fmla="*/ 182 w 327"/>
                <a:gd name="T123" fmla="*/ 138 h 440"/>
                <a:gd name="T124" fmla="*/ 220 w 327"/>
                <a:gd name="T125"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 h="440">
                  <a:moveTo>
                    <a:pt x="237" y="397"/>
                  </a:moveTo>
                  <a:lnTo>
                    <a:pt x="237" y="399"/>
                  </a:lnTo>
                  <a:lnTo>
                    <a:pt x="235" y="399"/>
                  </a:lnTo>
                  <a:lnTo>
                    <a:pt x="235" y="397"/>
                  </a:lnTo>
                  <a:lnTo>
                    <a:pt x="237" y="397"/>
                  </a:lnTo>
                  <a:close/>
                  <a:moveTo>
                    <a:pt x="45" y="181"/>
                  </a:moveTo>
                  <a:lnTo>
                    <a:pt x="47" y="181"/>
                  </a:lnTo>
                  <a:lnTo>
                    <a:pt x="47" y="179"/>
                  </a:lnTo>
                  <a:lnTo>
                    <a:pt x="50" y="179"/>
                  </a:lnTo>
                  <a:lnTo>
                    <a:pt x="52" y="179"/>
                  </a:lnTo>
                  <a:lnTo>
                    <a:pt x="54" y="179"/>
                  </a:lnTo>
                  <a:lnTo>
                    <a:pt x="54" y="176"/>
                  </a:lnTo>
                  <a:lnTo>
                    <a:pt x="57" y="176"/>
                  </a:lnTo>
                  <a:lnTo>
                    <a:pt x="59" y="176"/>
                  </a:lnTo>
                  <a:lnTo>
                    <a:pt x="61" y="176"/>
                  </a:lnTo>
                  <a:lnTo>
                    <a:pt x="61" y="179"/>
                  </a:lnTo>
                  <a:lnTo>
                    <a:pt x="64" y="179"/>
                  </a:lnTo>
                  <a:lnTo>
                    <a:pt x="66" y="179"/>
                  </a:lnTo>
                  <a:lnTo>
                    <a:pt x="66" y="176"/>
                  </a:lnTo>
                  <a:lnTo>
                    <a:pt x="66" y="179"/>
                  </a:lnTo>
                  <a:lnTo>
                    <a:pt x="69" y="179"/>
                  </a:lnTo>
                  <a:lnTo>
                    <a:pt x="69" y="181"/>
                  </a:lnTo>
                  <a:lnTo>
                    <a:pt x="71" y="181"/>
                  </a:lnTo>
                  <a:lnTo>
                    <a:pt x="69" y="183"/>
                  </a:lnTo>
                  <a:lnTo>
                    <a:pt x="71" y="183"/>
                  </a:lnTo>
                  <a:lnTo>
                    <a:pt x="69" y="183"/>
                  </a:lnTo>
                  <a:lnTo>
                    <a:pt x="69" y="186"/>
                  </a:lnTo>
                  <a:lnTo>
                    <a:pt x="71" y="186"/>
                  </a:lnTo>
                  <a:lnTo>
                    <a:pt x="73" y="186"/>
                  </a:lnTo>
                  <a:lnTo>
                    <a:pt x="71" y="188"/>
                  </a:lnTo>
                  <a:lnTo>
                    <a:pt x="71" y="190"/>
                  </a:lnTo>
                  <a:lnTo>
                    <a:pt x="73" y="190"/>
                  </a:lnTo>
                  <a:lnTo>
                    <a:pt x="73" y="193"/>
                  </a:lnTo>
                  <a:lnTo>
                    <a:pt x="76" y="193"/>
                  </a:lnTo>
                  <a:lnTo>
                    <a:pt x="76" y="195"/>
                  </a:lnTo>
                  <a:lnTo>
                    <a:pt x="76" y="193"/>
                  </a:lnTo>
                  <a:lnTo>
                    <a:pt x="76" y="195"/>
                  </a:lnTo>
                  <a:lnTo>
                    <a:pt x="78" y="195"/>
                  </a:lnTo>
                  <a:lnTo>
                    <a:pt x="78" y="198"/>
                  </a:lnTo>
                  <a:lnTo>
                    <a:pt x="80" y="198"/>
                  </a:lnTo>
                  <a:lnTo>
                    <a:pt x="78" y="198"/>
                  </a:lnTo>
                  <a:lnTo>
                    <a:pt x="80" y="198"/>
                  </a:lnTo>
                  <a:lnTo>
                    <a:pt x="80" y="200"/>
                  </a:lnTo>
                  <a:lnTo>
                    <a:pt x="80" y="198"/>
                  </a:lnTo>
                  <a:lnTo>
                    <a:pt x="78" y="198"/>
                  </a:lnTo>
                  <a:lnTo>
                    <a:pt x="78" y="195"/>
                  </a:lnTo>
                  <a:lnTo>
                    <a:pt x="78" y="198"/>
                  </a:lnTo>
                  <a:lnTo>
                    <a:pt x="78" y="195"/>
                  </a:lnTo>
                  <a:lnTo>
                    <a:pt x="80" y="195"/>
                  </a:lnTo>
                  <a:lnTo>
                    <a:pt x="80" y="198"/>
                  </a:lnTo>
                  <a:lnTo>
                    <a:pt x="80" y="200"/>
                  </a:lnTo>
                  <a:lnTo>
                    <a:pt x="80" y="202"/>
                  </a:lnTo>
                  <a:lnTo>
                    <a:pt x="78" y="202"/>
                  </a:lnTo>
                  <a:lnTo>
                    <a:pt x="78" y="205"/>
                  </a:lnTo>
                  <a:lnTo>
                    <a:pt x="76" y="205"/>
                  </a:lnTo>
                  <a:lnTo>
                    <a:pt x="73" y="205"/>
                  </a:lnTo>
                  <a:lnTo>
                    <a:pt x="73" y="207"/>
                  </a:lnTo>
                  <a:lnTo>
                    <a:pt x="76" y="207"/>
                  </a:lnTo>
                  <a:lnTo>
                    <a:pt x="73" y="207"/>
                  </a:lnTo>
                  <a:lnTo>
                    <a:pt x="73" y="209"/>
                  </a:lnTo>
                  <a:lnTo>
                    <a:pt x="76" y="207"/>
                  </a:lnTo>
                  <a:lnTo>
                    <a:pt x="76" y="209"/>
                  </a:lnTo>
                  <a:lnTo>
                    <a:pt x="73" y="209"/>
                  </a:lnTo>
                  <a:lnTo>
                    <a:pt x="76" y="209"/>
                  </a:lnTo>
                  <a:lnTo>
                    <a:pt x="76" y="207"/>
                  </a:lnTo>
                  <a:lnTo>
                    <a:pt x="78" y="207"/>
                  </a:lnTo>
                  <a:lnTo>
                    <a:pt x="78" y="205"/>
                  </a:lnTo>
                  <a:lnTo>
                    <a:pt x="80" y="205"/>
                  </a:lnTo>
                  <a:lnTo>
                    <a:pt x="83" y="205"/>
                  </a:lnTo>
                  <a:lnTo>
                    <a:pt x="85" y="205"/>
                  </a:lnTo>
                  <a:lnTo>
                    <a:pt x="85" y="207"/>
                  </a:lnTo>
                  <a:lnTo>
                    <a:pt x="88" y="207"/>
                  </a:lnTo>
                  <a:lnTo>
                    <a:pt x="85" y="207"/>
                  </a:lnTo>
                  <a:lnTo>
                    <a:pt x="88" y="207"/>
                  </a:lnTo>
                  <a:lnTo>
                    <a:pt x="85" y="207"/>
                  </a:lnTo>
                  <a:lnTo>
                    <a:pt x="88" y="207"/>
                  </a:lnTo>
                  <a:lnTo>
                    <a:pt x="88" y="209"/>
                  </a:lnTo>
                  <a:lnTo>
                    <a:pt x="88" y="212"/>
                  </a:lnTo>
                  <a:lnTo>
                    <a:pt x="88" y="214"/>
                  </a:lnTo>
                  <a:lnTo>
                    <a:pt x="90" y="214"/>
                  </a:lnTo>
                  <a:lnTo>
                    <a:pt x="90" y="217"/>
                  </a:lnTo>
                  <a:lnTo>
                    <a:pt x="88" y="217"/>
                  </a:lnTo>
                  <a:lnTo>
                    <a:pt x="88" y="219"/>
                  </a:lnTo>
                  <a:lnTo>
                    <a:pt x="90" y="219"/>
                  </a:lnTo>
                  <a:lnTo>
                    <a:pt x="88" y="219"/>
                  </a:lnTo>
                  <a:lnTo>
                    <a:pt x="88" y="221"/>
                  </a:lnTo>
                  <a:lnTo>
                    <a:pt x="88" y="219"/>
                  </a:lnTo>
                  <a:lnTo>
                    <a:pt x="88" y="221"/>
                  </a:lnTo>
                  <a:lnTo>
                    <a:pt x="88" y="224"/>
                  </a:lnTo>
                  <a:lnTo>
                    <a:pt x="88" y="221"/>
                  </a:lnTo>
                  <a:lnTo>
                    <a:pt x="85" y="221"/>
                  </a:lnTo>
                  <a:lnTo>
                    <a:pt x="85" y="219"/>
                  </a:lnTo>
                  <a:lnTo>
                    <a:pt x="85" y="217"/>
                  </a:lnTo>
                  <a:lnTo>
                    <a:pt x="85" y="219"/>
                  </a:lnTo>
                  <a:lnTo>
                    <a:pt x="85" y="217"/>
                  </a:lnTo>
                  <a:lnTo>
                    <a:pt x="88" y="217"/>
                  </a:lnTo>
                  <a:lnTo>
                    <a:pt x="85" y="217"/>
                  </a:lnTo>
                  <a:lnTo>
                    <a:pt x="88" y="217"/>
                  </a:lnTo>
                  <a:lnTo>
                    <a:pt x="85" y="217"/>
                  </a:lnTo>
                  <a:lnTo>
                    <a:pt x="85" y="214"/>
                  </a:lnTo>
                  <a:lnTo>
                    <a:pt x="88" y="214"/>
                  </a:lnTo>
                  <a:lnTo>
                    <a:pt x="85" y="214"/>
                  </a:lnTo>
                  <a:lnTo>
                    <a:pt x="85" y="212"/>
                  </a:lnTo>
                  <a:lnTo>
                    <a:pt x="83" y="212"/>
                  </a:lnTo>
                  <a:lnTo>
                    <a:pt x="83" y="209"/>
                  </a:lnTo>
                  <a:lnTo>
                    <a:pt x="80" y="209"/>
                  </a:lnTo>
                  <a:lnTo>
                    <a:pt x="80" y="212"/>
                  </a:lnTo>
                  <a:lnTo>
                    <a:pt x="80" y="214"/>
                  </a:lnTo>
                  <a:lnTo>
                    <a:pt x="83" y="212"/>
                  </a:lnTo>
                  <a:lnTo>
                    <a:pt x="83" y="214"/>
                  </a:lnTo>
                  <a:lnTo>
                    <a:pt x="80" y="214"/>
                  </a:lnTo>
                  <a:lnTo>
                    <a:pt x="83" y="214"/>
                  </a:lnTo>
                  <a:lnTo>
                    <a:pt x="83" y="217"/>
                  </a:lnTo>
                  <a:lnTo>
                    <a:pt x="83" y="219"/>
                  </a:lnTo>
                  <a:lnTo>
                    <a:pt x="83" y="217"/>
                  </a:lnTo>
                  <a:lnTo>
                    <a:pt x="83" y="219"/>
                  </a:lnTo>
                  <a:lnTo>
                    <a:pt x="83" y="217"/>
                  </a:lnTo>
                  <a:lnTo>
                    <a:pt x="83" y="219"/>
                  </a:lnTo>
                  <a:lnTo>
                    <a:pt x="83" y="221"/>
                  </a:lnTo>
                  <a:lnTo>
                    <a:pt x="80" y="221"/>
                  </a:lnTo>
                  <a:lnTo>
                    <a:pt x="83" y="221"/>
                  </a:lnTo>
                  <a:lnTo>
                    <a:pt x="85" y="221"/>
                  </a:lnTo>
                  <a:lnTo>
                    <a:pt x="85" y="219"/>
                  </a:lnTo>
                  <a:lnTo>
                    <a:pt x="85" y="221"/>
                  </a:lnTo>
                  <a:lnTo>
                    <a:pt x="85" y="224"/>
                  </a:lnTo>
                  <a:lnTo>
                    <a:pt x="88" y="224"/>
                  </a:lnTo>
                  <a:lnTo>
                    <a:pt x="85" y="224"/>
                  </a:lnTo>
                  <a:lnTo>
                    <a:pt x="85" y="226"/>
                  </a:lnTo>
                  <a:lnTo>
                    <a:pt x="83" y="226"/>
                  </a:lnTo>
                  <a:lnTo>
                    <a:pt x="85" y="226"/>
                  </a:lnTo>
                  <a:lnTo>
                    <a:pt x="83" y="226"/>
                  </a:lnTo>
                  <a:lnTo>
                    <a:pt x="83" y="228"/>
                  </a:lnTo>
                  <a:lnTo>
                    <a:pt x="83" y="226"/>
                  </a:lnTo>
                  <a:lnTo>
                    <a:pt x="80" y="226"/>
                  </a:lnTo>
                  <a:lnTo>
                    <a:pt x="78" y="226"/>
                  </a:lnTo>
                  <a:lnTo>
                    <a:pt x="76" y="226"/>
                  </a:lnTo>
                  <a:lnTo>
                    <a:pt x="78" y="226"/>
                  </a:lnTo>
                  <a:lnTo>
                    <a:pt x="76" y="226"/>
                  </a:lnTo>
                  <a:lnTo>
                    <a:pt x="78" y="226"/>
                  </a:lnTo>
                  <a:lnTo>
                    <a:pt x="76" y="226"/>
                  </a:lnTo>
                  <a:lnTo>
                    <a:pt x="76" y="228"/>
                  </a:lnTo>
                  <a:lnTo>
                    <a:pt x="76" y="226"/>
                  </a:lnTo>
                  <a:lnTo>
                    <a:pt x="76" y="228"/>
                  </a:lnTo>
                  <a:lnTo>
                    <a:pt x="76" y="231"/>
                  </a:lnTo>
                  <a:lnTo>
                    <a:pt x="76" y="233"/>
                  </a:lnTo>
                  <a:lnTo>
                    <a:pt x="73" y="233"/>
                  </a:lnTo>
                  <a:lnTo>
                    <a:pt x="73" y="236"/>
                  </a:lnTo>
                  <a:lnTo>
                    <a:pt x="71" y="236"/>
                  </a:lnTo>
                  <a:lnTo>
                    <a:pt x="71" y="238"/>
                  </a:lnTo>
                  <a:lnTo>
                    <a:pt x="69" y="238"/>
                  </a:lnTo>
                  <a:lnTo>
                    <a:pt x="69" y="236"/>
                  </a:lnTo>
                  <a:lnTo>
                    <a:pt x="66" y="236"/>
                  </a:lnTo>
                  <a:lnTo>
                    <a:pt x="64" y="236"/>
                  </a:lnTo>
                  <a:lnTo>
                    <a:pt x="64" y="233"/>
                  </a:lnTo>
                  <a:lnTo>
                    <a:pt x="64" y="236"/>
                  </a:lnTo>
                  <a:lnTo>
                    <a:pt x="61" y="233"/>
                  </a:lnTo>
                  <a:lnTo>
                    <a:pt x="61" y="231"/>
                  </a:lnTo>
                  <a:lnTo>
                    <a:pt x="61" y="233"/>
                  </a:lnTo>
                  <a:lnTo>
                    <a:pt x="61" y="236"/>
                  </a:lnTo>
                  <a:lnTo>
                    <a:pt x="59" y="236"/>
                  </a:lnTo>
                  <a:lnTo>
                    <a:pt x="59" y="233"/>
                  </a:lnTo>
                  <a:lnTo>
                    <a:pt x="59" y="236"/>
                  </a:lnTo>
                  <a:lnTo>
                    <a:pt x="57" y="236"/>
                  </a:lnTo>
                  <a:lnTo>
                    <a:pt x="54" y="236"/>
                  </a:lnTo>
                  <a:lnTo>
                    <a:pt x="52" y="236"/>
                  </a:lnTo>
                  <a:lnTo>
                    <a:pt x="52" y="238"/>
                  </a:lnTo>
                  <a:lnTo>
                    <a:pt x="52" y="236"/>
                  </a:lnTo>
                  <a:lnTo>
                    <a:pt x="52" y="238"/>
                  </a:lnTo>
                  <a:lnTo>
                    <a:pt x="50" y="238"/>
                  </a:lnTo>
                  <a:lnTo>
                    <a:pt x="50" y="236"/>
                  </a:lnTo>
                  <a:lnTo>
                    <a:pt x="50" y="233"/>
                  </a:lnTo>
                  <a:lnTo>
                    <a:pt x="50" y="231"/>
                  </a:lnTo>
                  <a:lnTo>
                    <a:pt x="50" y="228"/>
                  </a:lnTo>
                  <a:lnTo>
                    <a:pt x="47" y="228"/>
                  </a:lnTo>
                  <a:lnTo>
                    <a:pt x="47" y="231"/>
                  </a:lnTo>
                  <a:lnTo>
                    <a:pt x="47" y="228"/>
                  </a:lnTo>
                  <a:lnTo>
                    <a:pt x="45" y="228"/>
                  </a:lnTo>
                  <a:lnTo>
                    <a:pt x="42" y="226"/>
                  </a:lnTo>
                  <a:lnTo>
                    <a:pt x="42" y="224"/>
                  </a:lnTo>
                  <a:lnTo>
                    <a:pt x="42" y="221"/>
                  </a:lnTo>
                  <a:lnTo>
                    <a:pt x="40" y="221"/>
                  </a:lnTo>
                  <a:lnTo>
                    <a:pt x="40" y="219"/>
                  </a:lnTo>
                  <a:lnTo>
                    <a:pt x="38" y="219"/>
                  </a:lnTo>
                  <a:lnTo>
                    <a:pt x="35" y="219"/>
                  </a:lnTo>
                  <a:lnTo>
                    <a:pt x="35" y="221"/>
                  </a:lnTo>
                  <a:lnTo>
                    <a:pt x="33" y="221"/>
                  </a:lnTo>
                  <a:lnTo>
                    <a:pt x="33" y="224"/>
                  </a:lnTo>
                  <a:lnTo>
                    <a:pt x="31" y="224"/>
                  </a:lnTo>
                  <a:lnTo>
                    <a:pt x="33" y="224"/>
                  </a:lnTo>
                  <a:lnTo>
                    <a:pt x="33" y="226"/>
                  </a:lnTo>
                  <a:lnTo>
                    <a:pt x="33" y="228"/>
                  </a:lnTo>
                  <a:lnTo>
                    <a:pt x="31" y="228"/>
                  </a:lnTo>
                  <a:lnTo>
                    <a:pt x="31" y="231"/>
                  </a:lnTo>
                  <a:lnTo>
                    <a:pt x="28" y="231"/>
                  </a:lnTo>
                  <a:lnTo>
                    <a:pt x="28" y="233"/>
                  </a:lnTo>
                  <a:lnTo>
                    <a:pt x="28" y="231"/>
                  </a:lnTo>
                  <a:lnTo>
                    <a:pt x="26" y="231"/>
                  </a:lnTo>
                  <a:lnTo>
                    <a:pt x="28" y="233"/>
                  </a:lnTo>
                  <a:lnTo>
                    <a:pt x="26" y="233"/>
                  </a:lnTo>
                  <a:lnTo>
                    <a:pt x="23" y="233"/>
                  </a:lnTo>
                  <a:lnTo>
                    <a:pt x="23" y="231"/>
                  </a:lnTo>
                  <a:lnTo>
                    <a:pt x="23" y="233"/>
                  </a:lnTo>
                  <a:lnTo>
                    <a:pt x="21" y="233"/>
                  </a:lnTo>
                  <a:lnTo>
                    <a:pt x="19" y="233"/>
                  </a:lnTo>
                  <a:lnTo>
                    <a:pt x="19" y="231"/>
                  </a:lnTo>
                  <a:lnTo>
                    <a:pt x="16" y="231"/>
                  </a:lnTo>
                  <a:lnTo>
                    <a:pt x="16" y="228"/>
                  </a:lnTo>
                  <a:lnTo>
                    <a:pt x="14" y="228"/>
                  </a:lnTo>
                  <a:lnTo>
                    <a:pt x="12" y="228"/>
                  </a:lnTo>
                  <a:lnTo>
                    <a:pt x="9" y="228"/>
                  </a:lnTo>
                  <a:lnTo>
                    <a:pt x="9" y="226"/>
                  </a:lnTo>
                  <a:lnTo>
                    <a:pt x="9" y="224"/>
                  </a:lnTo>
                  <a:lnTo>
                    <a:pt x="7" y="224"/>
                  </a:lnTo>
                  <a:lnTo>
                    <a:pt x="4" y="221"/>
                  </a:lnTo>
                  <a:lnTo>
                    <a:pt x="2" y="221"/>
                  </a:lnTo>
                  <a:lnTo>
                    <a:pt x="2" y="219"/>
                  </a:lnTo>
                  <a:lnTo>
                    <a:pt x="0" y="217"/>
                  </a:lnTo>
                  <a:lnTo>
                    <a:pt x="2" y="217"/>
                  </a:lnTo>
                  <a:lnTo>
                    <a:pt x="2" y="214"/>
                  </a:lnTo>
                  <a:lnTo>
                    <a:pt x="4" y="214"/>
                  </a:lnTo>
                  <a:lnTo>
                    <a:pt x="4" y="212"/>
                  </a:lnTo>
                  <a:lnTo>
                    <a:pt x="7" y="212"/>
                  </a:lnTo>
                  <a:lnTo>
                    <a:pt x="9" y="212"/>
                  </a:lnTo>
                  <a:lnTo>
                    <a:pt x="12" y="212"/>
                  </a:lnTo>
                  <a:lnTo>
                    <a:pt x="12" y="209"/>
                  </a:lnTo>
                  <a:lnTo>
                    <a:pt x="14" y="209"/>
                  </a:lnTo>
                  <a:lnTo>
                    <a:pt x="14" y="207"/>
                  </a:lnTo>
                  <a:lnTo>
                    <a:pt x="12" y="207"/>
                  </a:lnTo>
                  <a:lnTo>
                    <a:pt x="9" y="207"/>
                  </a:lnTo>
                  <a:lnTo>
                    <a:pt x="7" y="205"/>
                  </a:lnTo>
                  <a:lnTo>
                    <a:pt x="9" y="205"/>
                  </a:lnTo>
                  <a:lnTo>
                    <a:pt x="7" y="205"/>
                  </a:lnTo>
                  <a:lnTo>
                    <a:pt x="9" y="205"/>
                  </a:lnTo>
                  <a:lnTo>
                    <a:pt x="9" y="202"/>
                  </a:lnTo>
                  <a:lnTo>
                    <a:pt x="12" y="202"/>
                  </a:lnTo>
                  <a:lnTo>
                    <a:pt x="12" y="205"/>
                  </a:lnTo>
                  <a:lnTo>
                    <a:pt x="14" y="205"/>
                  </a:lnTo>
                  <a:lnTo>
                    <a:pt x="14" y="202"/>
                  </a:lnTo>
                  <a:lnTo>
                    <a:pt x="16" y="202"/>
                  </a:lnTo>
                  <a:lnTo>
                    <a:pt x="19" y="202"/>
                  </a:lnTo>
                  <a:lnTo>
                    <a:pt x="21" y="202"/>
                  </a:lnTo>
                  <a:lnTo>
                    <a:pt x="19" y="200"/>
                  </a:lnTo>
                  <a:lnTo>
                    <a:pt x="21" y="200"/>
                  </a:lnTo>
                  <a:lnTo>
                    <a:pt x="21" y="198"/>
                  </a:lnTo>
                  <a:lnTo>
                    <a:pt x="23" y="198"/>
                  </a:lnTo>
                  <a:lnTo>
                    <a:pt x="23" y="195"/>
                  </a:lnTo>
                  <a:lnTo>
                    <a:pt x="23" y="193"/>
                  </a:lnTo>
                  <a:lnTo>
                    <a:pt x="26" y="193"/>
                  </a:lnTo>
                  <a:lnTo>
                    <a:pt x="23" y="190"/>
                  </a:lnTo>
                  <a:lnTo>
                    <a:pt x="26" y="190"/>
                  </a:lnTo>
                  <a:lnTo>
                    <a:pt x="23" y="190"/>
                  </a:lnTo>
                  <a:lnTo>
                    <a:pt x="26" y="188"/>
                  </a:lnTo>
                  <a:lnTo>
                    <a:pt x="26" y="186"/>
                  </a:lnTo>
                  <a:lnTo>
                    <a:pt x="28" y="186"/>
                  </a:lnTo>
                  <a:lnTo>
                    <a:pt x="31" y="186"/>
                  </a:lnTo>
                  <a:lnTo>
                    <a:pt x="28" y="186"/>
                  </a:lnTo>
                  <a:lnTo>
                    <a:pt x="28" y="188"/>
                  </a:lnTo>
                  <a:lnTo>
                    <a:pt x="28" y="190"/>
                  </a:lnTo>
                  <a:lnTo>
                    <a:pt x="26" y="190"/>
                  </a:lnTo>
                  <a:lnTo>
                    <a:pt x="28" y="190"/>
                  </a:lnTo>
                  <a:lnTo>
                    <a:pt x="28" y="188"/>
                  </a:lnTo>
                  <a:lnTo>
                    <a:pt x="28" y="186"/>
                  </a:lnTo>
                  <a:lnTo>
                    <a:pt x="31" y="186"/>
                  </a:lnTo>
                  <a:lnTo>
                    <a:pt x="33" y="186"/>
                  </a:lnTo>
                  <a:lnTo>
                    <a:pt x="35" y="186"/>
                  </a:lnTo>
                  <a:lnTo>
                    <a:pt x="38" y="186"/>
                  </a:lnTo>
                  <a:lnTo>
                    <a:pt x="38" y="183"/>
                  </a:lnTo>
                  <a:lnTo>
                    <a:pt x="38" y="181"/>
                  </a:lnTo>
                  <a:lnTo>
                    <a:pt x="40" y="181"/>
                  </a:lnTo>
                  <a:lnTo>
                    <a:pt x="40" y="179"/>
                  </a:lnTo>
                  <a:lnTo>
                    <a:pt x="40" y="181"/>
                  </a:lnTo>
                  <a:lnTo>
                    <a:pt x="42" y="181"/>
                  </a:lnTo>
                  <a:lnTo>
                    <a:pt x="45" y="181"/>
                  </a:lnTo>
                  <a:lnTo>
                    <a:pt x="47" y="181"/>
                  </a:lnTo>
                  <a:lnTo>
                    <a:pt x="45" y="181"/>
                  </a:lnTo>
                  <a:close/>
                  <a:moveTo>
                    <a:pt x="223" y="193"/>
                  </a:moveTo>
                  <a:lnTo>
                    <a:pt x="220" y="193"/>
                  </a:lnTo>
                  <a:lnTo>
                    <a:pt x="223" y="193"/>
                  </a:lnTo>
                  <a:lnTo>
                    <a:pt x="225" y="193"/>
                  </a:lnTo>
                  <a:lnTo>
                    <a:pt x="225" y="195"/>
                  </a:lnTo>
                  <a:lnTo>
                    <a:pt x="225" y="198"/>
                  </a:lnTo>
                  <a:lnTo>
                    <a:pt x="225" y="200"/>
                  </a:lnTo>
                  <a:lnTo>
                    <a:pt x="227" y="202"/>
                  </a:lnTo>
                  <a:lnTo>
                    <a:pt x="230" y="205"/>
                  </a:lnTo>
                  <a:lnTo>
                    <a:pt x="230" y="207"/>
                  </a:lnTo>
                  <a:lnTo>
                    <a:pt x="230" y="209"/>
                  </a:lnTo>
                  <a:lnTo>
                    <a:pt x="230" y="207"/>
                  </a:lnTo>
                  <a:lnTo>
                    <a:pt x="232" y="209"/>
                  </a:lnTo>
                  <a:lnTo>
                    <a:pt x="230" y="207"/>
                  </a:lnTo>
                  <a:lnTo>
                    <a:pt x="232" y="207"/>
                  </a:lnTo>
                  <a:lnTo>
                    <a:pt x="235" y="209"/>
                  </a:lnTo>
                  <a:lnTo>
                    <a:pt x="237" y="209"/>
                  </a:lnTo>
                  <a:lnTo>
                    <a:pt x="239" y="209"/>
                  </a:lnTo>
                  <a:lnTo>
                    <a:pt x="239" y="212"/>
                  </a:lnTo>
                  <a:lnTo>
                    <a:pt x="239" y="209"/>
                  </a:lnTo>
                  <a:lnTo>
                    <a:pt x="242" y="209"/>
                  </a:lnTo>
                  <a:lnTo>
                    <a:pt x="242" y="212"/>
                  </a:lnTo>
                  <a:lnTo>
                    <a:pt x="244" y="212"/>
                  </a:lnTo>
                  <a:lnTo>
                    <a:pt x="246" y="212"/>
                  </a:lnTo>
                  <a:lnTo>
                    <a:pt x="246" y="214"/>
                  </a:lnTo>
                  <a:lnTo>
                    <a:pt x="249" y="214"/>
                  </a:lnTo>
                  <a:lnTo>
                    <a:pt x="251" y="217"/>
                  </a:lnTo>
                  <a:lnTo>
                    <a:pt x="251" y="219"/>
                  </a:lnTo>
                  <a:lnTo>
                    <a:pt x="254" y="219"/>
                  </a:lnTo>
                  <a:lnTo>
                    <a:pt x="254" y="221"/>
                  </a:lnTo>
                  <a:lnTo>
                    <a:pt x="256" y="221"/>
                  </a:lnTo>
                  <a:lnTo>
                    <a:pt x="256" y="224"/>
                  </a:lnTo>
                  <a:lnTo>
                    <a:pt x="256" y="226"/>
                  </a:lnTo>
                  <a:lnTo>
                    <a:pt x="258" y="228"/>
                  </a:lnTo>
                  <a:lnTo>
                    <a:pt x="258" y="226"/>
                  </a:lnTo>
                  <a:lnTo>
                    <a:pt x="258" y="228"/>
                  </a:lnTo>
                  <a:lnTo>
                    <a:pt x="261" y="228"/>
                  </a:lnTo>
                  <a:lnTo>
                    <a:pt x="258" y="228"/>
                  </a:lnTo>
                  <a:lnTo>
                    <a:pt x="258" y="231"/>
                  </a:lnTo>
                  <a:lnTo>
                    <a:pt x="261" y="231"/>
                  </a:lnTo>
                  <a:lnTo>
                    <a:pt x="263" y="231"/>
                  </a:lnTo>
                  <a:lnTo>
                    <a:pt x="263" y="233"/>
                  </a:lnTo>
                  <a:lnTo>
                    <a:pt x="265" y="233"/>
                  </a:lnTo>
                  <a:lnTo>
                    <a:pt x="263" y="233"/>
                  </a:lnTo>
                  <a:lnTo>
                    <a:pt x="263" y="236"/>
                  </a:lnTo>
                  <a:lnTo>
                    <a:pt x="261" y="238"/>
                  </a:lnTo>
                  <a:lnTo>
                    <a:pt x="263" y="240"/>
                  </a:lnTo>
                  <a:lnTo>
                    <a:pt x="263" y="243"/>
                  </a:lnTo>
                  <a:lnTo>
                    <a:pt x="263" y="245"/>
                  </a:lnTo>
                  <a:lnTo>
                    <a:pt x="265" y="245"/>
                  </a:lnTo>
                  <a:lnTo>
                    <a:pt x="265" y="247"/>
                  </a:lnTo>
                  <a:lnTo>
                    <a:pt x="268" y="250"/>
                  </a:lnTo>
                  <a:lnTo>
                    <a:pt x="268" y="252"/>
                  </a:lnTo>
                  <a:lnTo>
                    <a:pt x="270" y="252"/>
                  </a:lnTo>
                  <a:lnTo>
                    <a:pt x="270" y="255"/>
                  </a:lnTo>
                  <a:lnTo>
                    <a:pt x="273" y="255"/>
                  </a:lnTo>
                  <a:lnTo>
                    <a:pt x="273" y="257"/>
                  </a:lnTo>
                  <a:lnTo>
                    <a:pt x="273" y="259"/>
                  </a:lnTo>
                  <a:lnTo>
                    <a:pt x="273" y="262"/>
                  </a:lnTo>
                  <a:lnTo>
                    <a:pt x="273" y="259"/>
                  </a:lnTo>
                  <a:lnTo>
                    <a:pt x="273" y="257"/>
                  </a:lnTo>
                  <a:lnTo>
                    <a:pt x="270" y="257"/>
                  </a:lnTo>
                  <a:lnTo>
                    <a:pt x="268" y="257"/>
                  </a:lnTo>
                  <a:lnTo>
                    <a:pt x="265" y="257"/>
                  </a:lnTo>
                  <a:lnTo>
                    <a:pt x="263" y="257"/>
                  </a:lnTo>
                  <a:lnTo>
                    <a:pt x="263" y="255"/>
                  </a:lnTo>
                  <a:lnTo>
                    <a:pt x="261" y="255"/>
                  </a:lnTo>
                  <a:lnTo>
                    <a:pt x="261" y="252"/>
                  </a:lnTo>
                  <a:lnTo>
                    <a:pt x="258" y="252"/>
                  </a:lnTo>
                  <a:lnTo>
                    <a:pt x="256" y="252"/>
                  </a:lnTo>
                  <a:lnTo>
                    <a:pt x="256" y="255"/>
                  </a:lnTo>
                  <a:lnTo>
                    <a:pt x="254" y="255"/>
                  </a:lnTo>
                  <a:lnTo>
                    <a:pt x="251" y="255"/>
                  </a:lnTo>
                  <a:lnTo>
                    <a:pt x="249" y="252"/>
                  </a:lnTo>
                  <a:lnTo>
                    <a:pt x="246" y="252"/>
                  </a:lnTo>
                  <a:lnTo>
                    <a:pt x="246" y="255"/>
                  </a:lnTo>
                  <a:lnTo>
                    <a:pt x="244" y="255"/>
                  </a:lnTo>
                  <a:lnTo>
                    <a:pt x="242" y="255"/>
                  </a:lnTo>
                  <a:lnTo>
                    <a:pt x="239" y="255"/>
                  </a:lnTo>
                  <a:lnTo>
                    <a:pt x="242" y="255"/>
                  </a:lnTo>
                  <a:lnTo>
                    <a:pt x="242" y="252"/>
                  </a:lnTo>
                  <a:lnTo>
                    <a:pt x="239" y="252"/>
                  </a:lnTo>
                  <a:lnTo>
                    <a:pt x="242" y="252"/>
                  </a:lnTo>
                  <a:lnTo>
                    <a:pt x="242" y="255"/>
                  </a:lnTo>
                  <a:lnTo>
                    <a:pt x="239" y="255"/>
                  </a:lnTo>
                  <a:lnTo>
                    <a:pt x="242" y="255"/>
                  </a:lnTo>
                  <a:lnTo>
                    <a:pt x="244" y="255"/>
                  </a:lnTo>
                  <a:lnTo>
                    <a:pt x="246" y="255"/>
                  </a:lnTo>
                  <a:lnTo>
                    <a:pt x="246" y="257"/>
                  </a:lnTo>
                  <a:lnTo>
                    <a:pt x="244" y="257"/>
                  </a:lnTo>
                  <a:lnTo>
                    <a:pt x="246" y="259"/>
                  </a:lnTo>
                  <a:lnTo>
                    <a:pt x="246" y="257"/>
                  </a:lnTo>
                  <a:lnTo>
                    <a:pt x="246" y="255"/>
                  </a:lnTo>
                  <a:lnTo>
                    <a:pt x="249" y="255"/>
                  </a:lnTo>
                  <a:lnTo>
                    <a:pt x="251" y="255"/>
                  </a:lnTo>
                  <a:lnTo>
                    <a:pt x="254" y="255"/>
                  </a:lnTo>
                  <a:lnTo>
                    <a:pt x="256" y="255"/>
                  </a:lnTo>
                  <a:lnTo>
                    <a:pt x="258" y="255"/>
                  </a:lnTo>
                  <a:lnTo>
                    <a:pt x="261" y="255"/>
                  </a:lnTo>
                  <a:lnTo>
                    <a:pt x="261" y="257"/>
                  </a:lnTo>
                  <a:lnTo>
                    <a:pt x="263" y="257"/>
                  </a:lnTo>
                  <a:lnTo>
                    <a:pt x="261" y="257"/>
                  </a:lnTo>
                  <a:lnTo>
                    <a:pt x="263" y="257"/>
                  </a:lnTo>
                  <a:lnTo>
                    <a:pt x="261" y="257"/>
                  </a:lnTo>
                  <a:lnTo>
                    <a:pt x="263" y="257"/>
                  </a:lnTo>
                  <a:lnTo>
                    <a:pt x="263" y="259"/>
                  </a:lnTo>
                  <a:lnTo>
                    <a:pt x="263" y="257"/>
                  </a:lnTo>
                  <a:lnTo>
                    <a:pt x="263" y="259"/>
                  </a:lnTo>
                  <a:lnTo>
                    <a:pt x="265" y="259"/>
                  </a:lnTo>
                  <a:lnTo>
                    <a:pt x="265" y="262"/>
                  </a:lnTo>
                  <a:lnTo>
                    <a:pt x="265" y="259"/>
                  </a:lnTo>
                  <a:lnTo>
                    <a:pt x="268" y="259"/>
                  </a:lnTo>
                  <a:lnTo>
                    <a:pt x="265" y="259"/>
                  </a:lnTo>
                  <a:lnTo>
                    <a:pt x="268" y="259"/>
                  </a:lnTo>
                  <a:lnTo>
                    <a:pt x="268" y="262"/>
                  </a:lnTo>
                  <a:lnTo>
                    <a:pt x="270" y="264"/>
                  </a:lnTo>
                  <a:lnTo>
                    <a:pt x="273" y="264"/>
                  </a:lnTo>
                  <a:lnTo>
                    <a:pt x="273" y="266"/>
                  </a:lnTo>
                  <a:lnTo>
                    <a:pt x="275" y="266"/>
                  </a:lnTo>
                  <a:lnTo>
                    <a:pt x="275" y="269"/>
                  </a:lnTo>
                  <a:lnTo>
                    <a:pt x="277" y="271"/>
                  </a:lnTo>
                  <a:lnTo>
                    <a:pt x="277" y="274"/>
                  </a:lnTo>
                  <a:lnTo>
                    <a:pt x="280" y="276"/>
                  </a:lnTo>
                  <a:lnTo>
                    <a:pt x="280" y="278"/>
                  </a:lnTo>
                  <a:lnTo>
                    <a:pt x="280" y="281"/>
                  </a:lnTo>
                  <a:lnTo>
                    <a:pt x="280" y="283"/>
                  </a:lnTo>
                  <a:lnTo>
                    <a:pt x="280" y="285"/>
                  </a:lnTo>
                  <a:lnTo>
                    <a:pt x="277" y="285"/>
                  </a:lnTo>
                  <a:lnTo>
                    <a:pt x="277" y="288"/>
                  </a:lnTo>
                  <a:lnTo>
                    <a:pt x="275" y="288"/>
                  </a:lnTo>
                  <a:lnTo>
                    <a:pt x="275" y="290"/>
                  </a:lnTo>
                  <a:lnTo>
                    <a:pt x="273" y="290"/>
                  </a:lnTo>
                  <a:lnTo>
                    <a:pt x="273" y="293"/>
                  </a:lnTo>
                  <a:lnTo>
                    <a:pt x="270" y="293"/>
                  </a:lnTo>
                  <a:lnTo>
                    <a:pt x="270" y="295"/>
                  </a:lnTo>
                  <a:lnTo>
                    <a:pt x="270" y="293"/>
                  </a:lnTo>
                  <a:lnTo>
                    <a:pt x="270" y="295"/>
                  </a:lnTo>
                  <a:lnTo>
                    <a:pt x="273" y="295"/>
                  </a:lnTo>
                  <a:lnTo>
                    <a:pt x="270" y="295"/>
                  </a:lnTo>
                  <a:lnTo>
                    <a:pt x="273" y="295"/>
                  </a:lnTo>
                  <a:lnTo>
                    <a:pt x="275" y="295"/>
                  </a:lnTo>
                  <a:lnTo>
                    <a:pt x="273" y="295"/>
                  </a:lnTo>
                  <a:lnTo>
                    <a:pt x="275" y="295"/>
                  </a:lnTo>
                  <a:lnTo>
                    <a:pt x="275" y="297"/>
                  </a:lnTo>
                  <a:lnTo>
                    <a:pt x="277" y="297"/>
                  </a:lnTo>
                  <a:lnTo>
                    <a:pt x="280" y="297"/>
                  </a:lnTo>
                  <a:lnTo>
                    <a:pt x="280" y="300"/>
                  </a:lnTo>
                  <a:lnTo>
                    <a:pt x="282" y="300"/>
                  </a:lnTo>
                  <a:lnTo>
                    <a:pt x="282" y="302"/>
                  </a:lnTo>
                  <a:lnTo>
                    <a:pt x="282" y="300"/>
                  </a:lnTo>
                  <a:lnTo>
                    <a:pt x="280" y="300"/>
                  </a:lnTo>
                  <a:lnTo>
                    <a:pt x="282" y="300"/>
                  </a:lnTo>
                  <a:lnTo>
                    <a:pt x="282" y="297"/>
                  </a:lnTo>
                  <a:lnTo>
                    <a:pt x="284" y="297"/>
                  </a:lnTo>
                  <a:lnTo>
                    <a:pt x="284" y="295"/>
                  </a:lnTo>
                  <a:lnTo>
                    <a:pt x="284" y="293"/>
                  </a:lnTo>
                  <a:lnTo>
                    <a:pt x="287" y="290"/>
                  </a:lnTo>
                  <a:lnTo>
                    <a:pt x="289" y="290"/>
                  </a:lnTo>
                  <a:lnTo>
                    <a:pt x="292" y="290"/>
                  </a:lnTo>
                  <a:lnTo>
                    <a:pt x="294" y="290"/>
                  </a:lnTo>
                  <a:lnTo>
                    <a:pt x="296" y="290"/>
                  </a:lnTo>
                  <a:lnTo>
                    <a:pt x="296" y="293"/>
                  </a:lnTo>
                  <a:lnTo>
                    <a:pt x="296" y="290"/>
                  </a:lnTo>
                  <a:lnTo>
                    <a:pt x="299" y="290"/>
                  </a:lnTo>
                  <a:lnTo>
                    <a:pt x="301" y="290"/>
                  </a:lnTo>
                  <a:lnTo>
                    <a:pt x="303" y="290"/>
                  </a:lnTo>
                  <a:lnTo>
                    <a:pt x="301" y="290"/>
                  </a:lnTo>
                  <a:lnTo>
                    <a:pt x="306" y="293"/>
                  </a:lnTo>
                  <a:lnTo>
                    <a:pt x="308" y="293"/>
                  </a:lnTo>
                  <a:lnTo>
                    <a:pt x="311" y="293"/>
                  </a:lnTo>
                  <a:lnTo>
                    <a:pt x="313" y="293"/>
                  </a:lnTo>
                  <a:lnTo>
                    <a:pt x="313" y="295"/>
                  </a:lnTo>
                  <a:lnTo>
                    <a:pt x="315" y="295"/>
                  </a:lnTo>
                  <a:lnTo>
                    <a:pt x="318" y="297"/>
                  </a:lnTo>
                  <a:lnTo>
                    <a:pt x="320" y="297"/>
                  </a:lnTo>
                  <a:lnTo>
                    <a:pt x="320" y="300"/>
                  </a:lnTo>
                  <a:lnTo>
                    <a:pt x="322" y="300"/>
                  </a:lnTo>
                  <a:lnTo>
                    <a:pt x="322" y="302"/>
                  </a:lnTo>
                  <a:lnTo>
                    <a:pt x="325" y="302"/>
                  </a:lnTo>
                  <a:lnTo>
                    <a:pt x="325" y="304"/>
                  </a:lnTo>
                  <a:lnTo>
                    <a:pt x="325" y="307"/>
                  </a:lnTo>
                  <a:lnTo>
                    <a:pt x="327" y="307"/>
                  </a:lnTo>
                  <a:lnTo>
                    <a:pt x="327" y="309"/>
                  </a:lnTo>
                  <a:lnTo>
                    <a:pt x="327" y="312"/>
                  </a:lnTo>
                  <a:lnTo>
                    <a:pt x="325" y="312"/>
                  </a:lnTo>
                  <a:lnTo>
                    <a:pt x="327" y="312"/>
                  </a:lnTo>
                  <a:lnTo>
                    <a:pt x="327" y="314"/>
                  </a:lnTo>
                  <a:lnTo>
                    <a:pt x="327" y="316"/>
                  </a:lnTo>
                  <a:lnTo>
                    <a:pt x="325" y="319"/>
                  </a:lnTo>
                  <a:lnTo>
                    <a:pt x="327" y="319"/>
                  </a:lnTo>
                  <a:lnTo>
                    <a:pt x="325" y="319"/>
                  </a:lnTo>
                  <a:lnTo>
                    <a:pt x="327" y="319"/>
                  </a:lnTo>
                  <a:lnTo>
                    <a:pt x="325" y="319"/>
                  </a:lnTo>
                  <a:lnTo>
                    <a:pt x="325" y="321"/>
                  </a:lnTo>
                  <a:lnTo>
                    <a:pt x="325" y="323"/>
                  </a:lnTo>
                  <a:lnTo>
                    <a:pt x="322" y="323"/>
                  </a:lnTo>
                  <a:lnTo>
                    <a:pt x="322" y="326"/>
                  </a:lnTo>
                  <a:lnTo>
                    <a:pt x="322" y="328"/>
                  </a:lnTo>
                  <a:lnTo>
                    <a:pt x="322" y="331"/>
                  </a:lnTo>
                  <a:lnTo>
                    <a:pt x="322" y="333"/>
                  </a:lnTo>
                  <a:lnTo>
                    <a:pt x="320" y="333"/>
                  </a:lnTo>
                  <a:lnTo>
                    <a:pt x="320" y="335"/>
                  </a:lnTo>
                  <a:lnTo>
                    <a:pt x="318" y="335"/>
                  </a:lnTo>
                  <a:lnTo>
                    <a:pt x="318" y="338"/>
                  </a:lnTo>
                  <a:lnTo>
                    <a:pt x="318" y="335"/>
                  </a:lnTo>
                  <a:lnTo>
                    <a:pt x="320" y="335"/>
                  </a:lnTo>
                  <a:lnTo>
                    <a:pt x="320" y="333"/>
                  </a:lnTo>
                  <a:lnTo>
                    <a:pt x="322" y="333"/>
                  </a:lnTo>
                  <a:lnTo>
                    <a:pt x="322" y="331"/>
                  </a:lnTo>
                  <a:lnTo>
                    <a:pt x="320" y="333"/>
                  </a:lnTo>
                  <a:lnTo>
                    <a:pt x="320" y="331"/>
                  </a:lnTo>
                  <a:lnTo>
                    <a:pt x="318" y="331"/>
                  </a:lnTo>
                  <a:lnTo>
                    <a:pt x="320" y="331"/>
                  </a:lnTo>
                  <a:lnTo>
                    <a:pt x="320" y="333"/>
                  </a:lnTo>
                  <a:lnTo>
                    <a:pt x="322" y="333"/>
                  </a:lnTo>
                  <a:lnTo>
                    <a:pt x="320" y="333"/>
                  </a:lnTo>
                  <a:lnTo>
                    <a:pt x="320" y="335"/>
                  </a:lnTo>
                  <a:lnTo>
                    <a:pt x="318" y="335"/>
                  </a:lnTo>
                  <a:lnTo>
                    <a:pt x="318" y="338"/>
                  </a:lnTo>
                  <a:lnTo>
                    <a:pt x="315" y="338"/>
                  </a:lnTo>
                  <a:lnTo>
                    <a:pt x="315" y="340"/>
                  </a:lnTo>
                  <a:lnTo>
                    <a:pt x="315" y="338"/>
                  </a:lnTo>
                  <a:lnTo>
                    <a:pt x="313" y="338"/>
                  </a:lnTo>
                  <a:lnTo>
                    <a:pt x="313" y="335"/>
                  </a:lnTo>
                  <a:lnTo>
                    <a:pt x="313" y="333"/>
                  </a:lnTo>
                  <a:lnTo>
                    <a:pt x="313" y="335"/>
                  </a:lnTo>
                  <a:lnTo>
                    <a:pt x="313" y="338"/>
                  </a:lnTo>
                  <a:lnTo>
                    <a:pt x="315" y="338"/>
                  </a:lnTo>
                  <a:lnTo>
                    <a:pt x="315" y="340"/>
                  </a:lnTo>
                  <a:lnTo>
                    <a:pt x="313" y="340"/>
                  </a:lnTo>
                  <a:lnTo>
                    <a:pt x="313" y="342"/>
                  </a:lnTo>
                  <a:lnTo>
                    <a:pt x="313" y="340"/>
                  </a:lnTo>
                  <a:lnTo>
                    <a:pt x="311" y="340"/>
                  </a:lnTo>
                  <a:lnTo>
                    <a:pt x="311" y="338"/>
                  </a:lnTo>
                  <a:lnTo>
                    <a:pt x="308" y="338"/>
                  </a:lnTo>
                  <a:lnTo>
                    <a:pt x="306" y="338"/>
                  </a:lnTo>
                  <a:lnTo>
                    <a:pt x="308" y="338"/>
                  </a:lnTo>
                  <a:lnTo>
                    <a:pt x="308" y="340"/>
                  </a:lnTo>
                  <a:lnTo>
                    <a:pt x="311" y="340"/>
                  </a:lnTo>
                  <a:lnTo>
                    <a:pt x="308" y="340"/>
                  </a:lnTo>
                  <a:lnTo>
                    <a:pt x="306" y="340"/>
                  </a:lnTo>
                  <a:lnTo>
                    <a:pt x="303" y="340"/>
                  </a:lnTo>
                  <a:lnTo>
                    <a:pt x="303" y="342"/>
                  </a:lnTo>
                  <a:lnTo>
                    <a:pt x="303" y="340"/>
                  </a:lnTo>
                  <a:lnTo>
                    <a:pt x="303" y="342"/>
                  </a:lnTo>
                  <a:lnTo>
                    <a:pt x="306" y="342"/>
                  </a:lnTo>
                  <a:lnTo>
                    <a:pt x="308" y="342"/>
                  </a:lnTo>
                  <a:lnTo>
                    <a:pt x="311" y="342"/>
                  </a:lnTo>
                  <a:lnTo>
                    <a:pt x="311" y="345"/>
                  </a:lnTo>
                  <a:lnTo>
                    <a:pt x="308" y="345"/>
                  </a:lnTo>
                  <a:lnTo>
                    <a:pt x="311" y="345"/>
                  </a:lnTo>
                  <a:lnTo>
                    <a:pt x="308" y="345"/>
                  </a:lnTo>
                  <a:lnTo>
                    <a:pt x="311" y="345"/>
                  </a:lnTo>
                  <a:lnTo>
                    <a:pt x="311" y="347"/>
                  </a:lnTo>
                  <a:lnTo>
                    <a:pt x="308" y="350"/>
                  </a:lnTo>
                  <a:lnTo>
                    <a:pt x="306" y="350"/>
                  </a:lnTo>
                  <a:lnTo>
                    <a:pt x="308" y="350"/>
                  </a:lnTo>
                  <a:lnTo>
                    <a:pt x="306" y="350"/>
                  </a:lnTo>
                  <a:lnTo>
                    <a:pt x="303" y="350"/>
                  </a:lnTo>
                  <a:lnTo>
                    <a:pt x="303" y="347"/>
                  </a:lnTo>
                  <a:lnTo>
                    <a:pt x="303" y="350"/>
                  </a:lnTo>
                  <a:lnTo>
                    <a:pt x="301" y="350"/>
                  </a:lnTo>
                  <a:lnTo>
                    <a:pt x="301" y="347"/>
                  </a:lnTo>
                  <a:lnTo>
                    <a:pt x="301" y="350"/>
                  </a:lnTo>
                  <a:lnTo>
                    <a:pt x="301" y="347"/>
                  </a:lnTo>
                  <a:lnTo>
                    <a:pt x="299" y="347"/>
                  </a:lnTo>
                  <a:lnTo>
                    <a:pt x="299" y="350"/>
                  </a:lnTo>
                  <a:lnTo>
                    <a:pt x="296" y="350"/>
                  </a:lnTo>
                  <a:lnTo>
                    <a:pt x="299" y="350"/>
                  </a:lnTo>
                  <a:lnTo>
                    <a:pt x="296" y="350"/>
                  </a:lnTo>
                  <a:lnTo>
                    <a:pt x="299" y="352"/>
                  </a:lnTo>
                  <a:lnTo>
                    <a:pt x="296" y="352"/>
                  </a:lnTo>
                  <a:lnTo>
                    <a:pt x="294" y="352"/>
                  </a:lnTo>
                  <a:lnTo>
                    <a:pt x="296" y="352"/>
                  </a:lnTo>
                  <a:lnTo>
                    <a:pt x="294" y="352"/>
                  </a:lnTo>
                  <a:lnTo>
                    <a:pt x="292" y="352"/>
                  </a:lnTo>
                  <a:lnTo>
                    <a:pt x="294" y="352"/>
                  </a:lnTo>
                  <a:lnTo>
                    <a:pt x="294" y="354"/>
                  </a:lnTo>
                  <a:lnTo>
                    <a:pt x="294" y="352"/>
                  </a:lnTo>
                  <a:lnTo>
                    <a:pt x="296" y="352"/>
                  </a:lnTo>
                  <a:lnTo>
                    <a:pt x="299" y="352"/>
                  </a:lnTo>
                  <a:lnTo>
                    <a:pt x="301" y="352"/>
                  </a:lnTo>
                  <a:lnTo>
                    <a:pt x="301" y="354"/>
                  </a:lnTo>
                  <a:lnTo>
                    <a:pt x="299" y="354"/>
                  </a:lnTo>
                  <a:lnTo>
                    <a:pt x="301" y="354"/>
                  </a:lnTo>
                  <a:lnTo>
                    <a:pt x="301" y="357"/>
                  </a:lnTo>
                  <a:lnTo>
                    <a:pt x="299" y="357"/>
                  </a:lnTo>
                  <a:lnTo>
                    <a:pt x="296" y="357"/>
                  </a:lnTo>
                  <a:lnTo>
                    <a:pt x="294" y="357"/>
                  </a:lnTo>
                  <a:lnTo>
                    <a:pt x="292" y="357"/>
                  </a:lnTo>
                  <a:lnTo>
                    <a:pt x="289" y="357"/>
                  </a:lnTo>
                  <a:lnTo>
                    <a:pt x="292" y="357"/>
                  </a:lnTo>
                  <a:lnTo>
                    <a:pt x="294" y="357"/>
                  </a:lnTo>
                  <a:lnTo>
                    <a:pt x="296" y="357"/>
                  </a:lnTo>
                  <a:lnTo>
                    <a:pt x="296" y="359"/>
                  </a:lnTo>
                  <a:lnTo>
                    <a:pt x="294" y="359"/>
                  </a:lnTo>
                  <a:lnTo>
                    <a:pt x="296" y="359"/>
                  </a:lnTo>
                  <a:lnTo>
                    <a:pt x="299" y="359"/>
                  </a:lnTo>
                  <a:lnTo>
                    <a:pt x="299" y="357"/>
                  </a:lnTo>
                  <a:lnTo>
                    <a:pt x="299" y="359"/>
                  </a:lnTo>
                  <a:lnTo>
                    <a:pt x="299" y="357"/>
                  </a:lnTo>
                  <a:lnTo>
                    <a:pt x="301" y="357"/>
                  </a:lnTo>
                  <a:lnTo>
                    <a:pt x="301" y="359"/>
                  </a:lnTo>
                  <a:lnTo>
                    <a:pt x="299" y="359"/>
                  </a:lnTo>
                  <a:lnTo>
                    <a:pt x="296" y="361"/>
                  </a:lnTo>
                  <a:lnTo>
                    <a:pt x="294" y="361"/>
                  </a:lnTo>
                  <a:lnTo>
                    <a:pt x="292" y="361"/>
                  </a:lnTo>
                  <a:lnTo>
                    <a:pt x="289" y="361"/>
                  </a:lnTo>
                  <a:lnTo>
                    <a:pt x="287" y="361"/>
                  </a:lnTo>
                  <a:lnTo>
                    <a:pt x="289" y="361"/>
                  </a:lnTo>
                  <a:lnTo>
                    <a:pt x="289" y="364"/>
                  </a:lnTo>
                  <a:lnTo>
                    <a:pt x="287" y="364"/>
                  </a:lnTo>
                  <a:lnTo>
                    <a:pt x="287" y="361"/>
                  </a:lnTo>
                  <a:lnTo>
                    <a:pt x="284" y="361"/>
                  </a:lnTo>
                  <a:lnTo>
                    <a:pt x="287" y="361"/>
                  </a:lnTo>
                  <a:lnTo>
                    <a:pt x="287" y="364"/>
                  </a:lnTo>
                  <a:lnTo>
                    <a:pt x="284" y="364"/>
                  </a:lnTo>
                  <a:lnTo>
                    <a:pt x="282" y="366"/>
                  </a:lnTo>
                  <a:lnTo>
                    <a:pt x="280" y="366"/>
                  </a:lnTo>
                  <a:lnTo>
                    <a:pt x="280" y="364"/>
                  </a:lnTo>
                  <a:lnTo>
                    <a:pt x="277" y="364"/>
                  </a:lnTo>
                  <a:lnTo>
                    <a:pt x="277" y="366"/>
                  </a:lnTo>
                  <a:lnTo>
                    <a:pt x="277" y="364"/>
                  </a:lnTo>
                  <a:lnTo>
                    <a:pt x="275" y="364"/>
                  </a:lnTo>
                  <a:lnTo>
                    <a:pt x="273" y="364"/>
                  </a:lnTo>
                  <a:lnTo>
                    <a:pt x="273" y="361"/>
                  </a:lnTo>
                  <a:lnTo>
                    <a:pt x="273" y="364"/>
                  </a:lnTo>
                  <a:lnTo>
                    <a:pt x="270" y="364"/>
                  </a:lnTo>
                  <a:lnTo>
                    <a:pt x="268" y="364"/>
                  </a:lnTo>
                  <a:lnTo>
                    <a:pt x="265" y="364"/>
                  </a:lnTo>
                  <a:lnTo>
                    <a:pt x="263" y="364"/>
                  </a:lnTo>
                  <a:lnTo>
                    <a:pt x="263" y="366"/>
                  </a:lnTo>
                  <a:lnTo>
                    <a:pt x="261" y="366"/>
                  </a:lnTo>
                  <a:lnTo>
                    <a:pt x="263" y="366"/>
                  </a:lnTo>
                  <a:lnTo>
                    <a:pt x="263" y="364"/>
                  </a:lnTo>
                  <a:lnTo>
                    <a:pt x="265" y="364"/>
                  </a:lnTo>
                  <a:lnTo>
                    <a:pt x="268" y="364"/>
                  </a:lnTo>
                  <a:lnTo>
                    <a:pt x="270" y="364"/>
                  </a:lnTo>
                  <a:lnTo>
                    <a:pt x="273" y="364"/>
                  </a:lnTo>
                  <a:lnTo>
                    <a:pt x="275" y="364"/>
                  </a:lnTo>
                  <a:lnTo>
                    <a:pt x="277" y="364"/>
                  </a:lnTo>
                  <a:lnTo>
                    <a:pt x="277" y="366"/>
                  </a:lnTo>
                  <a:lnTo>
                    <a:pt x="280" y="366"/>
                  </a:lnTo>
                  <a:lnTo>
                    <a:pt x="282" y="366"/>
                  </a:lnTo>
                  <a:lnTo>
                    <a:pt x="284" y="366"/>
                  </a:lnTo>
                  <a:lnTo>
                    <a:pt x="284" y="364"/>
                  </a:lnTo>
                  <a:lnTo>
                    <a:pt x="287" y="364"/>
                  </a:lnTo>
                  <a:lnTo>
                    <a:pt x="289" y="364"/>
                  </a:lnTo>
                  <a:lnTo>
                    <a:pt x="292" y="364"/>
                  </a:lnTo>
                  <a:lnTo>
                    <a:pt x="292" y="366"/>
                  </a:lnTo>
                  <a:lnTo>
                    <a:pt x="289" y="366"/>
                  </a:lnTo>
                  <a:lnTo>
                    <a:pt x="292" y="366"/>
                  </a:lnTo>
                  <a:lnTo>
                    <a:pt x="289" y="366"/>
                  </a:lnTo>
                  <a:lnTo>
                    <a:pt x="289" y="369"/>
                  </a:lnTo>
                  <a:lnTo>
                    <a:pt x="287" y="369"/>
                  </a:lnTo>
                  <a:lnTo>
                    <a:pt x="284" y="369"/>
                  </a:lnTo>
                  <a:lnTo>
                    <a:pt x="287" y="369"/>
                  </a:lnTo>
                  <a:lnTo>
                    <a:pt x="289" y="369"/>
                  </a:lnTo>
                  <a:lnTo>
                    <a:pt x="292" y="369"/>
                  </a:lnTo>
                  <a:lnTo>
                    <a:pt x="292" y="366"/>
                  </a:lnTo>
                  <a:lnTo>
                    <a:pt x="292" y="369"/>
                  </a:lnTo>
                  <a:lnTo>
                    <a:pt x="294" y="366"/>
                  </a:lnTo>
                  <a:lnTo>
                    <a:pt x="294" y="369"/>
                  </a:lnTo>
                  <a:lnTo>
                    <a:pt x="292" y="369"/>
                  </a:lnTo>
                  <a:lnTo>
                    <a:pt x="294" y="369"/>
                  </a:lnTo>
                  <a:lnTo>
                    <a:pt x="294" y="371"/>
                  </a:lnTo>
                  <a:lnTo>
                    <a:pt x="296" y="371"/>
                  </a:lnTo>
                  <a:lnTo>
                    <a:pt x="299" y="371"/>
                  </a:lnTo>
                  <a:lnTo>
                    <a:pt x="301" y="371"/>
                  </a:lnTo>
                  <a:lnTo>
                    <a:pt x="303" y="371"/>
                  </a:lnTo>
                  <a:lnTo>
                    <a:pt x="306" y="371"/>
                  </a:lnTo>
                  <a:lnTo>
                    <a:pt x="306" y="369"/>
                  </a:lnTo>
                  <a:lnTo>
                    <a:pt x="308" y="369"/>
                  </a:lnTo>
                  <a:lnTo>
                    <a:pt x="311" y="369"/>
                  </a:lnTo>
                  <a:lnTo>
                    <a:pt x="313" y="369"/>
                  </a:lnTo>
                  <a:lnTo>
                    <a:pt x="315" y="369"/>
                  </a:lnTo>
                  <a:lnTo>
                    <a:pt x="318" y="369"/>
                  </a:lnTo>
                  <a:lnTo>
                    <a:pt x="318" y="371"/>
                  </a:lnTo>
                  <a:lnTo>
                    <a:pt x="315" y="371"/>
                  </a:lnTo>
                  <a:lnTo>
                    <a:pt x="315" y="373"/>
                  </a:lnTo>
                  <a:lnTo>
                    <a:pt x="315" y="371"/>
                  </a:lnTo>
                  <a:lnTo>
                    <a:pt x="313" y="371"/>
                  </a:lnTo>
                  <a:lnTo>
                    <a:pt x="313" y="373"/>
                  </a:lnTo>
                  <a:lnTo>
                    <a:pt x="315" y="373"/>
                  </a:lnTo>
                  <a:lnTo>
                    <a:pt x="315" y="376"/>
                  </a:lnTo>
                  <a:lnTo>
                    <a:pt x="315" y="378"/>
                  </a:lnTo>
                  <a:lnTo>
                    <a:pt x="315" y="380"/>
                  </a:lnTo>
                  <a:lnTo>
                    <a:pt x="313" y="380"/>
                  </a:lnTo>
                  <a:lnTo>
                    <a:pt x="313" y="383"/>
                  </a:lnTo>
                  <a:lnTo>
                    <a:pt x="311" y="383"/>
                  </a:lnTo>
                  <a:lnTo>
                    <a:pt x="308" y="383"/>
                  </a:lnTo>
                  <a:lnTo>
                    <a:pt x="308" y="385"/>
                  </a:lnTo>
                  <a:lnTo>
                    <a:pt x="306" y="385"/>
                  </a:lnTo>
                  <a:lnTo>
                    <a:pt x="303" y="385"/>
                  </a:lnTo>
                  <a:lnTo>
                    <a:pt x="301" y="388"/>
                  </a:lnTo>
                  <a:lnTo>
                    <a:pt x="301" y="390"/>
                  </a:lnTo>
                  <a:lnTo>
                    <a:pt x="301" y="392"/>
                  </a:lnTo>
                  <a:lnTo>
                    <a:pt x="299" y="392"/>
                  </a:lnTo>
                  <a:lnTo>
                    <a:pt x="296" y="392"/>
                  </a:lnTo>
                  <a:lnTo>
                    <a:pt x="294" y="392"/>
                  </a:lnTo>
                  <a:lnTo>
                    <a:pt x="292" y="392"/>
                  </a:lnTo>
                  <a:lnTo>
                    <a:pt x="292" y="395"/>
                  </a:lnTo>
                  <a:lnTo>
                    <a:pt x="289" y="395"/>
                  </a:lnTo>
                  <a:lnTo>
                    <a:pt x="287" y="395"/>
                  </a:lnTo>
                  <a:lnTo>
                    <a:pt x="284" y="397"/>
                  </a:lnTo>
                  <a:lnTo>
                    <a:pt x="282" y="397"/>
                  </a:lnTo>
                  <a:lnTo>
                    <a:pt x="280" y="397"/>
                  </a:lnTo>
                  <a:lnTo>
                    <a:pt x="280" y="399"/>
                  </a:lnTo>
                  <a:lnTo>
                    <a:pt x="280" y="397"/>
                  </a:lnTo>
                  <a:lnTo>
                    <a:pt x="280" y="399"/>
                  </a:lnTo>
                  <a:lnTo>
                    <a:pt x="277" y="399"/>
                  </a:lnTo>
                  <a:lnTo>
                    <a:pt x="277" y="402"/>
                  </a:lnTo>
                  <a:lnTo>
                    <a:pt x="275" y="402"/>
                  </a:lnTo>
                  <a:lnTo>
                    <a:pt x="275" y="399"/>
                  </a:lnTo>
                  <a:lnTo>
                    <a:pt x="273" y="399"/>
                  </a:lnTo>
                  <a:lnTo>
                    <a:pt x="270" y="399"/>
                  </a:lnTo>
                  <a:lnTo>
                    <a:pt x="268" y="399"/>
                  </a:lnTo>
                  <a:lnTo>
                    <a:pt x="268" y="397"/>
                  </a:lnTo>
                  <a:lnTo>
                    <a:pt x="265" y="397"/>
                  </a:lnTo>
                  <a:lnTo>
                    <a:pt x="263" y="397"/>
                  </a:lnTo>
                  <a:lnTo>
                    <a:pt x="261" y="397"/>
                  </a:lnTo>
                  <a:lnTo>
                    <a:pt x="258" y="397"/>
                  </a:lnTo>
                  <a:lnTo>
                    <a:pt x="256" y="397"/>
                  </a:lnTo>
                  <a:lnTo>
                    <a:pt x="254" y="397"/>
                  </a:lnTo>
                  <a:lnTo>
                    <a:pt x="251" y="397"/>
                  </a:lnTo>
                  <a:lnTo>
                    <a:pt x="249" y="397"/>
                  </a:lnTo>
                  <a:lnTo>
                    <a:pt x="249" y="399"/>
                  </a:lnTo>
                  <a:lnTo>
                    <a:pt x="246" y="399"/>
                  </a:lnTo>
                  <a:lnTo>
                    <a:pt x="244" y="399"/>
                  </a:lnTo>
                  <a:lnTo>
                    <a:pt x="244" y="402"/>
                  </a:lnTo>
                  <a:lnTo>
                    <a:pt x="242" y="402"/>
                  </a:lnTo>
                  <a:lnTo>
                    <a:pt x="242" y="399"/>
                  </a:lnTo>
                  <a:lnTo>
                    <a:pt x="239" y="399"/>
                  </a:lnTo>
                  <a:lnTo>
                    <a:pt x="239" y="397"/>
                  </a:lnTo>
                  <a:lnTo>
                    <a:pt x="242" y="397"/>
                  </a:lnTo>
                  <a:lnTo>
                    <a:pt x="239" y="397"/>
                  </a:lnTo>
                  <a:lnTo>
                    <a:pt x="242" y="397"/>
                  </a:lnTo>
                  <a:lnTo>
                    <a:pt x="239" y="397"/>
                  </a:lnTo>
                  <a:lnTo>
                    <a:pt x="239" y="395"/>
                  </a:lnTo>
                  <a:lnTo>
                    <a:pt x="239" y="397"/>
                  </a:lnTo>
                  <a:lnTo>
                    <a:pt x="239" y="395"/>
                  </a:lnTo>
                  <a:lnTo>
                    <a:pt x="239" y="397"/>
                  </a:lnTo>
                  <a:lnTo>
                    <a:pt x="237" y="397"/>
                  </a:lnTo>
                  <a:lnTo>
                    <a:pt x="237" y="395"/>
                  </a:lnTo>
                  <a:lnTo>
                    <a:pt x="237" y="397"/>
                  </a:lnTo>
                  <a:lnTo>
                    <a:pt x="237" y="395"/>
                  </a:lnTo>
                  <a:lnTo>
                    <a:pt x="237" y="397"/>
                  </a:lnTo>
                  <a:lnTo>
                    <a:pt x="237" y="395"/>
                  </a:lnTo>
                  <a:lnTo>
                    <a:pt x="235" y="395"/>
                  </a:lnTo>
                  <a:lnTo>
                    <a:pt x="235" y="397"/>
                  </a:lnTo>
                  <a:lnTo>
                    <a:pt x="235" y="399"/>
                  </a:lnTo>
                  <a:lnTo>
                    <a:pt x="235" y="397"/>
                  </a:lnTo>
                  <a:lnTo>
                    <a:pt x="235" y="399"/>
                  </a:lnTo>
                  <a:lnTo>
                    <a:pt x="232" y="399"/>
                  </a:lnTo>
                  <a:lnTo>
                    <a:pt x="232" y="397"/>
                  </a:lnTo>
                  <a:lnTo>
                    <a:pt x="232" y="395"/>
                  </a:lnTo>
                  <a:lnTo>
                    <a:pt x="232" y="397"/>
                  </a:lnTo>
                  <a:lnTo>
                    <a:pt x="232" y="395"/>
                  </a:lnTo>
                  <a:lnTo>
                    <a:pt x="230" y="395"/>
                  </a:lnTo>
                  <a:lnTo>
                    <a:pt x="230" y="397"/>
                  </a:lnTo>
                  <a:lnTo>
                    <a:pt x="230" y="395"/>
                  </a:lnTo>
                  <a:lnTo>
                    <a:pt x="230" y="397"/>
                  </a:lnTo>
                  <a:lnTo>
                    <a:pt x="232" y="397"/>
                  </a:lnTo>
                  <a:lnTo>
                    <a:pt x="232" y="399"/>
                  </a:lnTo>
                  <a:lnTo>
                    <a:pt x="230" y="399"/>
                  </a:lnTo>
                  <a:lnTo>
                    <a:pt x="230" y="397"/>
                  </a:lnTo>
                  <a:lnTo>
                    <a:pt x="227" y="397"/>
                  </a:lnTo>
                  <a:lnTo>
                    <a:pt x="225" y="397"/>
                  </a:lnTo>
                  <a:lnTo>
                    <a:pt x="225" y="395"/>
                  </a:lnTo>
                  <a:lnTo>
                    <a:pt x="225" y="392"/>
                  </a:lnTo>
                  <a:lnTo>
                    <a:pt x="227" y="392"/>
                  </a:lnTo>
                  <a:lnTo>
                    <a:pt x="225" y="392"/>
                  </a:lnTo>
                  <a:lnTo>
                    <a:pt x="225" y="395"/>
                  </a:lnTo>
                  <a:lnTo>
                    <a:pt x="223" y="395"/>
                  </a:lnTo>
                  <a:lnTo>
                    <a:pt x="223" y="392"/>
                  </a:lnTo>
                  <a:lnTo>
                    <a:pt x="223" y="395"/>
                  </a:lnTo>
                  <a:lnTo>
                    <a:pt x="223" y="392"/>
                  </a:lnTo>
                  <a:lnTo>
                    <a:pt x="220" y="392"/>
                  </a:lnTo>
                  <a:lnTo>
                    <a:pt x="223" y="392"/>
                  </a:lnTo>
                  <a:lnTo>
                    <a:pt x="223" y="395"/>
                  </a:lnTo>
                  <a:lnTo>
                    <a:pt x="225" y="395"/>
                  </a:lnTo>
                  <a:lnTo>
                    <a:pt x="225" y="397"/>
                  </a:lnTo>
                  <a:lnTo>
                    <a:pt x="225" y="399"/>
                  </a:lnTo>
                  <a:lnTo>
                    <a:pt x="223" y="399"/>
                  </a:lnTo>
                  <a:lnTo>
                    <a:pt x="220" y="399"/>
                  </a:lnTo>
                  <a:lnTo>
                    <a:pt x="218" y="399"/>
                  </a:lnTo>
                  <a:lnTo>
                    <a:pt x="218" y="402"/>
                  </a:lnTo>
                  <a:lnTo>
                    <a:pt x="216" y="402"/>
                  </a:lnTo>
                  <a:lnTo>
                    <a:pt x="213" y="402"/>
                  </a:lnTo>
                  <a:lnTo>
                    <a:pt x="211" y="402"/>
                  </a:lnTo>
                  <a:lnTo>
                    <a:pt x="209" y="402"/>
                  </a:lnTo>
                  <a:lnTo>
                    <a:pt x="206" y="402"/>
                  </a:lnTo>
                  <a:lnTo>
                    <a:pt x="204" y="404"/>
                  </a:lnTo>
                  <a:lnTo>
                    <a:pt x="206" y="402"/>
                  </a:lnTo>
                  <a:lnTo>
                    <a:pt x="204" y="402"/>
                  </a:lnTo>
                  <a:lnTo>
                    <a:pt x="201" y="402"/>
                  </a:lnTo>
                  <a:lnTo>
                    <a:pt x="199" y="402"/>
                  </a:lnTo>
                  <a:lnTo>
                    <a:pt x="201" y="402"/>
                  </a:lnTo>
                  <a:lnTo>
                    <a:pt x="201" y="404"/>
                  </a:lnTo>
                  <a:lnTo>
                    <a:pt x="201" y="402"/>
                  </a:lnTo>
                  <a:lnTo>
                    <a:pt x="201" y="404"/>
                  </a:lnTo>
                  <a:lnTo>
                    <a:pt x="204" y="404"/>
                  </a:lnTo>
                  <a:lnTo>
                    <a:pt x="201" y="404"/>
                  </a:lnTo>
                  <a:lnTo>
                    <a:pt x="204" y="404"/>
                  </a:lnTo>
                  <a:lnTo>
                    <a:pt x="204" y="407"/>
                  </a:lnTo>
                  <a:lnTo>
                    <a:pt x="206" y="407"/>
                  </a:lnTo>
                  <a:lnTo>
                    <a:pt x="204" y="407"/>
                  </a:lnTo>
                  <a:lnTo>
                    <a:pt x="204" y="409"/>
                  </a:lnTo>
                  <a:lnTo>
                    <a:pt x="201" y="409"/>
                  </a:lnTo>
                  <a:lnTo>
                    <a:pt x="201" y="407"/>
                  </a:lnTo>
                  <a:lnTo>
                    <a:pt x="199" y="409"/>
                  </a:lnTo>
                  <a:lnTo>
                    <a:pt x="199" y="407"/>
                  </a:lnTo>
                  <a:lnTo>
                    <a:pt x="197" y="407"/>
                  </a:lnTo>
                  <a:lnTo>
                    <a:pt x="194" y="407"/>
                  </a:lnTo>
                  <a:lnTo>
                    <a:pt x="192" y="407"/>
                  </a:lnTo>
                  <a:lnTo>
                    <a:pt x="190" y="407"/>
                  </a:lnTo>
                  <a:lnTo>
                    <a:pt x="187" y="407"/>
                  </a:lnTo>
                  <a:lnTo>
                    <a:pt x="190" y="407"/>
                  </a:lnTo>
                  <a:lnTo>
                    <a:pt x="187" y="407"/>
                  </a:lnTo>
                  <a:lnTo>
                    <a:pt x="187" y="409"/>
                  </a:lnTo>
                  <a:lnTo>
                    <a:pt x="190" y="409"/>
                  </a:lnTo>
                  <a:lnTo>
                    <a:pt x="190" y="411"/>
                  </a:lnTo>
                  <a:lnTo>
                    <a:pt x="187" y="411"/>
                  </a:lnTo>
                  <a:lnTo>
                    <a:pt x="187" y="409"/>
                  </a:lnTo>
                  <a:lnTo>
                    <a:pt x="185" y="407"/>
                  </a:lnTo>
                  <a:lnTo>
                    <a:pt x="182" y="404"/>
                  </a:lnTo>
                  <a:lnTo>
                    <a:pt x="180" y="404"/>
                  </a:lnTo>
                  <a:lnTo>
                    <a:pt x="178" y="402"/>
                  </a:lnTo>
                  <a:lnTo>
                    <a:pt x="175" y="402"/>
                  </a:lnTo>
                  <a:lnTo>
                    <a:pt x="173" y="402"/>
                  </a:lnTo>
                  <a:lnTo>
                    <a:pt x="171" y="402"/>
                  </a:lnTo>
                  <a:lnTo>
                    <a:pt x="168" y="402"/>
                  </a:lnTo>
                  <a:lnTo>
                    <a:pt x="166" y="402"/>
                  </a:lnTo>
                  <a:lnTo>
                    <a:pt x="166" y="404"/>
                  </a:lnTo>
                  <a:lnTo>
                    <a:pt x="163" y="404"/>
                  </a:lnTo>
                  <a:lnTo>
                    <a:pt x="161" y="404"/>
                  </a:lnTo>
                  <a:lnTo>
                    <a:pt x="161" y="407"/>
                  </a:lnTo>
                  <a:lnTo>
                    <a:pt x="159" y="407"/>
                  </a:lnTo>
                  <a:lnTo>
                    <a:pt x="156" y="407"/>
                  </a:lnTo>
                  <a:lnTo>
                    <a:pt x="156" y="404"/>
                  </a:lnTo>
                  <a:lnTo>
                    <a:pt x="154" y="404"/>
                  </a:lnTo>
                  <a:lnTo>
                    <a:pt x="154" y="407"/>
                  </a:lnTo>
                  <a:lnTo>
                    <a:pt x="156" y="407"/>
                  </a:lnTo>
                  <a:lnTo>
                    <a:pt x="156" y="409"/>
                  </a:lnTo>
                  <a:lnTo>
                    <a:pt x="154" y="409"/>
                  </a:lnTo>
                  <a:lnTo>
                    <a:pt x="154" y="411"/>
                  </a:lnTo>
                  <a:lnTo>
                    <a:pt x="152" y="409"/>
                  </a:lnTo>
                  <a:lnTo>
                    <a:pt x="152" y="411"/>
                  </a:lnTo>
                  <a:lnTo>
                    <a:pt x="154" y="411"/>
                  </a:lnTo>
                  <a:lnTo>
                    <a:pt x="154" y="414"/>
                  </a:lnTo>
                  <a:lnTo>
                    <a:pt x="152" y="414"/>
                  </a:lnTo>
                  <a:lnTo>
                    <a:pt x="152" y="416"/>
                  </a:lnTo>
                  <a:lnTo>
                    <a:pt x="154" y="416"/>
                  </a:lnTo>
                  <a:lnTo>
                    <a:pt x="154" y="418"/>
                  </a:lnTo>
                  <a:lnTo>
                    <a:pt x="154" y="416"/>
                  </a:lnTo>
                  <a:lnTo>
                    <a:pt x="154" y="418"/>
                  </a:lnTo>
                  <a:lnTo>
                    <a:pt x="154" y="416"/>
                  </a:lnTo>
                  <a:lnTo>
                    <a:pt x="154" y="418"/>
                  </a:lnTo>
                  <a:lnTo>
                    <a:pt x="152" y="418"/>
                  </a:lnTo>
                  <a:lnTo>
                    <a:pt x="154" y="418"/>
                  </a:lnTo>
                  <a:lnTo>
                    <a:pt x="154" y="421"/>
                  </a:lnTo>
                  <a:lnTo>
                    <a:pt x="152" y="421"/>
                  </a:lnTo>
                  <a:lnTo>
                    <a:pt x="152" y="418"/>
                  </a:lnTo>
                  <a:lnTo>
                    <a:pt x="149" y="418"/>
                  </a:lnTo>
                  <a:lnTo>
                    <a:pt x="152" y="418"/>
                  </a:lnTo>
                  <a:lnTo>
                    <a:pt x="149" y="418"/>
                  </a:lnTo>
                  <a:lnTo>
                    <a:pt x="149" y="416"/>
                  </a:lnTo>
                  <a:lnTo>
                    <a:pt x="149" y="418"/>
                  </a:lnTo>
                  <a:lnTo>
                    <a:pt x="152" y="418"/>
                  </a:lnTo>
                  <a:lnTo>
                    <a:pt x="149" y="418"/>
                  </a:lnTo>
                  <a:lnTo>
                    <a:pt x="152" y="418"/>
                  </a:lnTo>
                  <a:lnTo>
                    <a:pt x="152" y="421"/>
                  </a:lnTo>
                  <a:lnTo>
                    <a:pt x="149" y="421"/>
                  </a:lnTo>
                  <a:lnTo>
                    <a:pt x="149" y="423"/>
                  </a:lnTo>
                  <a:lnTo>
                    <a:pt x="149" y="426"/>
                  </a:lnTo>
                  <a:lnTo>
                    <a:pt x="147" y="426"/>
                  </a:lnTo>
                  <a:lnTo>
                    <a:pt x="147" y="428"/>
                  </a:lnTo>
                  <a:lnTo>
                    <a:pt x="147" y="426"/>
                  </a:lnTo>
                  <a:lnTo>
                    <a:pt x="144" y="426"/>
                  </a:lnTo>
                  <a:lnTo>
                    <a:pt x="147" y="426"/>
                  </a:lnTo>
                  <a:lnTo>
                    <a:pt x="144" y="426"/>
                  </a:lnTo>
                  <a:lnTo>
                    <a:pt x="144" y="423"/>
                  </a:lnTo>
                  <a:lnTo>
                    <a:pt x="147" y="423"/>
                  </a:lnTo>
                  <a:lnTo>
                    <a:pt x="144" y="423"/>
                  </a:lnTo>
                  <a:lnTo>
                    <a:pt x="144" y="426"/>
                  </a:lnTo>
                  <a:lnTo>
                    <a:pt x="142" y="426"/>
                  </a:lnTo>
                  <a:lnTo>
                    <a:pt x="142" y="423"/>
                  </a:lnTo>
                  <a:lnTo>
                    <a:pt x="140" y="423"/>
                  </a:lnTo>
                  <a:lnTo>
                    <a:pt x="142" y="423"/>
                  </a:lnTo>
                  <a:lnTo>
                    <a:pt x="142" y="421"/>
                  </a:lnTo>
                  <a:lnTo>
                    <a:pt x="142" y="423"/>
                  </a:lnTo>
                  <a:lnTo>
                    <a:pt x="140" y="423"/>
                  </a:lnTo>
                  <a:lnTo>
                    <a:pt x="140" y="421"/>
                  </a:lnTo>
                  <a:lnTo>
                    <a:pt x="137" y="421"/>
                  </a:lnTo>
                  <a:lnTo>
                    <a:pt x="137" y="423"/>
                  </a:lnTo>
                  <a:lnTo>
                    <a:pt x="135" y="423"/>
                  </a:lnTo>
                  <a:lnTo>
                    <a:pt x="135" y="421"/>
                  </a:lnTo>
                  <a:lnTo>
                    <a:pt x="137" y="421"/>
                  </a:lnTo>
                  <a:lnTo>
                    <a:pt x="135" y="421"/>
                  </a:lnTo>
                  <a:lnTo>
                    <a:pt x="133" y="421"/>
                  </a:lnTo>
                  <a:lnTo>
                    <a:pt x="133" y="418"/>
                  </a:lnTo>
                  <a:lnTo>
                    <a:pt x="135" y="418"/>
                  </a:lnTo>
                  <a:lnTo>
                    <a:pt x="133" y="418"/>
                  </a:lnTo>
                  <a:lnTo>
                    <a:pt x="130" y="418"/>
                  </a:lnTo>
                  <a:lnTo>
                    <a:pt x="133" y="418"/>
                  </a:lnTo>
                  <a:lnTo>
                    <a:pt x="130" y="418"/>
                  </a:lnTo>
                  <a:lnTo>
                    <a:pt x="130" y="416"/>
                  </a:lnTo>
                  <a:lnTo>
                    <a:pt x="133" y="416"/>
                  </a:lnTo>
                  <a:lnTo>
                    <a:pt x="133" y="414"/>
                  </a:lnTo>
                  <a:lnTo>
                    <a:pt x="130" y="414"/>
                  </a:lnTo>
                  <a:lnTo>
                    <a:pt x="130" y="416"/>
                  </a:lnTo>
                  <a:lnTo>
                    <a:pt x="130" y="414"/>
                  </a:lnTo>
                  <a:lnTo>
                    <a:pt x="128" y="414"/>
                  </a:lnTo>
                  <a:lnTo>
                    <a:pt x="130" y="414"/>
                  </a:lnTo>
                  <a:lnTo>
                    <a:pt x="130" y="416"/>
                  </a:lnTo>
                  <a:lnTo>
                    <a:pt x="130" y="418"/>
                  </a:lnTo>
                  <a:lnTo>
                    <a:pt x="128" y="418"/>
                  </a:lnTo>
                  <a:lnTo>
                    <a:pt x="130" y="418"/>
                  </a:lnTo>
                  <a:lnTo>
                    <a:pt x="130" y="421"/>
                  </a:lnTo>
                  <a:lnTo>
                    <a:pt x="130" y="418"/>
                  </a:lnTo>
                  <a:lnTo>
                    <a:pt x="130" y="421"/>
                  </a:lnTo>
                  <a:lnTo>
                    <a:pt x="128" y="421"/>
                  </a:lnTo>
                  <a:lnTo>
                    <a:pt x="128" y="418"/>
                  </a:lnTo>
                  <a:lnTo>
                    <a:pt x="125" y="418"/>
                  </a:lnTo>
                  <a:lnTo>
                    <a:pt x="123" y="418"/>
                  </a:lnTo>
                  <a:lnTo>
                    <a:pt x="123" y="421"/>
                  </a:lnTo>
                  <a:lnTo>
                    <a:pt x="121" y="421"/>
                  </a:lnTo>
                  <a:lnTo>
                    <a:pt x="118" y="421"/>
                  </a:lnTo>
                  <a:lnTo>
                    <a:pt x="116" y="421"/>
                  </a:lnTo>
                  <a:lnTo>
                    <a:pt x="116" y="418"/>
                  </a:lnTo>
                  <a:lnTo>
                    <a:pt x="116" y="421"/>
                  </a:lnTo>
                  <a:lnTo>
                    <a:pt x="114" y="421"/>
                  </a:lnTo>
                  <a:lnTo>
                    <a:pt x="111" y="421"/>
                  </a:lnTo>
                  <a:lnTo>
                    <a:pt x="111" y="423"/>
                  </a:lnTo>
                  <a:lnTo>
                    <a:pt x="111" y="426"/>
                  </a:lnTo>
                  <a:lnTo>
                    <a:pt x="109" y="426"/>
                  </a:lnTo>
                  <a:lnTo>
                    <a:pt x="106" y="426"/>
                  </a:lnTo>
                  <a:lnTo>
                    <a:pt x="106" y="428"/>
                  </a:lnTo>
                  <a:lnTo>
                    <a:pt x="106" y="426"/>
                  </a:lnTo>
                  <a:lnTo>
                    <a:pt x="106" y="428"/>
                  </a:lnTo>
                  <a:lnTo>
                    <a:pt x="106" y="426"/>
                  </a:lnTo>
                  <a:lnTo>
                    <a:pt x="106" y="428"/>
                  </a:lnTo>
                  <a:lnTo>
                    <a:pt x="104" y="428"/>
                  </a:lnTo>
                  <a:lnTo>
                    <a:pt x="104" y="430"/>
                  </a:lnTo>
                  <a:lnTo>
                    <a:pt x="104" y="428"/>
                  </a:lnTo>
                  <a:lnTo>
                    <a:pt x="104" y="430"/>
                  </a:lnTo>
                  <a:lnTo>
                    <a:pt x="104" y="428"/>
                  </a:lnTo>
                  <a:lnTo>
                    <a:pt x="102" y="428"/>
                  </a:lnTo>
                  <a:lnTo>
                    <a:pt x="104" y="426"/>
                  </a:lnTo>
                  <a:lnTo>
                    <a:pt x="104" y="423"/>
                  </a:lnTo>
                  <a:lnTo>
                    <a:pt x="104" y="426"/>
                  </a:lnTo>
                  <a:lnTo>
                    <a:pt x="102" y="426"/>
                  </a:lnTo>
                  <a:lnTo>
                    <a:pt x="104" y="426"/>
                  </a:lnTo>
                  <a:lnTo>
                    <a:pt x="102" y="426"/>
                  </a:lnTo>
                  <a:lnTo>
                    <a:pt x="102" y="428"/>
                  </a:lnTo>
                  <a:lnTo>
                    <a:pt x="102" y="426"/>
                  </a:lnTo>
                  <a:lnTo>
                    <a:pt x="102" y="428"/>
                  </a:lnTo>
                  <a:lnTo>
                    <a:pt x="102" y="430"/>
                  </a:lnTo>
                  <a:lnTo>
                    <a:pt x="102" y="428"/>
                  </a:lnTo>
                  <a:lnTo>
                    <a:pt x="102" y="430"/>
                  </a:lnTo>
                  <a:lnTo>
                    <a:pt x="102" y="433"/>
                  </a:lnTo>
                  <a:lnTo>
                    <a:pt x="99" y="433"/>
                  </a:lnTo>
                  <a:lnTo>
                    <a:pt x="99" y="430"/>
                  </a:lnTo>
                  <a:lnTo>
                    <a:pt x="99" y="433"/>
                  </a:lnTo>
                  <a:lnTo>
                    <a:pt x="97" y="433"/>
                  </a:lnTo>
                  <a:lnTo>
                    <a:pt x="99" y="433"/>
                  </a:lnTo>
                  <a:lnTo>
                    <a:pt x="102" y="433"/>
                  </a:lnTo>
                  <a:lnTo>
                    <a:pt x="99" y="433"/>
                  </a:lnTo>
                  <a:lnTo>
                    <a:pt x="102" y="433"/>
                  </a:lnTo>
                  <a:lnTo>
                    <a:pt x="102" y="435"/>
                  </a:lnTo>
                  <a:lnTo>
                    <a:pt x="102" y="437"/>
                  </a:lnTo>
                  <a:lnTo>
                    <a:pt x="99" y="437"/>
                  </a:lnTo>
                  <a:lnTo>
                    <a:pt x="97" y="437"/>
                  </a:lnTo>
                  <a:lnTo>
                    <a:pt x="97" y="440"/>
                  </a:lnTo>
                  <a:lnTo>
                    <a:pt x="97" y="437"/>
                  </a:lnTo>
                  <a:lnTo>
                    <a:pt x="95" y="437"/>
                  </a:lnTo>
                  <a:lnTo>
                    <a:pt x="95" y="435"/>
                  </a:lnTo>
                  <a:lnTo>
                    <a:pt x="95" y="433"/>
                  </a:lnTo>
                  <a:lnTo>
                    <a:pt x="92" y="433"/>
                  </a:lnTo>
                  <a:lnTo>
                    <a:pt x="90" y="433"/>
                  </a:lnTo>
                  <a:lnTo>
                    <a:pt x="90" y="430"/>
                  </a:lnTo>
                  <a:lnTo>
                    <a:pt x="88" y="430"/>
                  </a:lnTo>
                  <a:lnTo>
                    <a:pt x="85" y="430"/>
                  </a:lnTo>
                  <a:lnTo>
                    <a:pt x="85" y="433"/>
                  </a:lnTo>
                  <a:lnTo>
                    <a:pt x="88" y="433"/>
                  </a:lnTo>
                  <a:lnTo>
                    <a:pt x="85" y="433"/>
                  </a:lnTo>
                  <a:lnTo>
                    <a:pt x="85" y="435"/>
                  </a:lnTo>
                  <a:lnTo>
                    <a:pt x="83" y="435"/>
                  </a:lnTo>
                  <a:lnTo>
                    <a:pt x="80" y="435"/>
                  </a:lnTo>
                  <a:lnTo>
                    <a:pt x="80" y="433"/>
                  </a:lnTo>
                  <a:lnTo>
                    <a:pt x="80" y="430"/>
                  </a:lnTo>
                  <a:lnTo>
                    <a:pt x="80" y="428"/>
                  </a:lnTo>
                  <a:lnTo>
                    <a:pt x="83" y="428"/>
                  </a:lnTo>
                  <a:lnTo>
                    <a:pt x="85" y="428"/>
                  </a:lnTo>
                  <a:lnTo>
                    <a:pt x="85" y="426"/>
                  </a:lnTo>
                  <a:lnTo>
                    <a:pt x="88" y="426"/>
                  </a:lnTo>
                  <a:lnTo>
                    <a:pt x="88" y="428"/>
                  </a:lnTo>
                  <a:lnTo>
                    <a:pt x="90" y="428"/>
                  </a:lnTo>
                  <a:lnTo>
                    <a:pt x="90" y="426"/>
                  </a:lnTo>
                  <a:lnTo>
                    <a:pt x="92" y="426"/>
                  </a:lnTo>
                  <a:lnTo>
                    <a:pt x="95" y="426"/>
                  </a:lnTo>
                  <a:lnTo>
                    <a:pt x="95" y="423"/>
                  </a:lnTo>
                  <a:lnTo>
                    <a:pt x="97" y="423"/>
                  </a:lnTo>
                  <a:lnTo>
                    <a:pt x="97" y="421"/>
                  </a:lnTo>
                  <a:lnTo>
                    <a:pt x="99" y="421"/>
                  </a:lnTo>
                  <a:lnTo>
                    <a:pt x="99" y="418"/>
                  </a:lnTo>
                  <a:lnTo>
                    <a:pt x="99" y="416"/>
                  </a:lnTo>
                  <a:lnTo>
                    <a:pt x="102" y="416"/>
                  </a:lnTo>
                  <a:lnTo>
                    <a:pt x="102" y="414"/>
                  </a:lnTo>
                  <a:lnTo>
                    <a:pt x="102" y="411"/>
                  </a:lnTo>
                  <a:lnTo>
                    <a:pt x="104" y="411"/>
                  </a:lnTo>
                  <a:lnTo>
                    <a:pt x="102" y="411"/>
                  </a:lnTo>
                  <a:lnTo>
                    <a:pt x="104" y="411"/>
                  </a:lnTo>
                  <a:lnTo>
                    <a:pt x="102" y="411"/>
                  </a:lnTo>
                  <a:lnTo>
                    <a:pt x="104" y="411"/>
                  </a:lnTo>
                  <a:lnTo>
                    <a:pt x="102" y="411"/>
                  </a:lnTo>
                  <a:lnTo>
                    <a:pt x="102" y="409"/>
                  </a:lnTo>
                  <a:lnTo>
                    <a:pt x="104" y="409"/>
                  </a:lnTo>
                  <a:lnTo>
                    <a:pt x="104" y="411"/>
                  </a:lnTo>
                  <a:lnTo>
                    <a:pt x="104" y="409"/>
                  </a:lnTo>
                  <a:lnTo>
                    <a:pt x="106" y="409"/>
                  </a:lnTo>
                  <a:lnTo>
                    <a:pt x="106" y="411"/>
                  </a:lnTo>
                  <a:lnTo>
                    <a:pt x="109" y="411"/>
                  </a:lnTo>
                  <a:lnTo>
                    <a:pt x="106" y="411"/>
                  </a:lnTo>
                  <a:lnTo>
                    <a:pt x="106" y="409"/>
                  </a:lnTo>
                  <a:lnTo>
                    <a:pt x="109" y="409"/>
                  </a:lnTo>
                  <a:lnTo>
                    <a:pt x="109" y="407"/>
                  </a:lnTo>
                  <a:lnTo>
                    <a:pt x="109" y="409"/>
                  </a:lnTo>
                  <a:lnTo>
                    <a:pt x="109" y="407"/>
                  </a:lnTo>
                  <a:lnTo>
                    <a:pt x="109" y="409"/>
                  </a:lnTo>
                  <a:lnTo>
                    <a:pt x="109" y="407"/>
                  </a:lnTo>
                  <a:lnTo>
                    <a:pt x="109" y="409"/>
                  </a:lnTo>
                  <a:lnTo>
                    <a:pt x="109" y="407"/>
                  </a:lnTo>
                  <a:lnTo>
                    <a:pt x="111" y="407"/>
                  </a:lnTo>
                  <a:lnTo>
                    <a:pt x="111" y="404"/>
                  </a:lnTo>
                  <a:lnTo>
                    <a:pt x="114" y="404"/>
                  </a:lnTo>
                  <a:lnTo>
                    <a:pt x="114" y="402"/>
                  </a:lnTo>
                  <a:lnTo>
                    <a:pt x="116" y="402"/>
                  </a:lnTo>
                  <a:lnTo>
                    <a:pt x="116" y="399"/>
                  </a:lnTo>
                  <a:lnTo>
                    <a:pt x="118" y="399"/>
                  </a:lnTo>
                  <a:lnTo>
                    <a:pt x="118" y="397"/>
                  </a:lnTo>
                  <a:lnTo>
                    <a:pt x="118" y="395"/>
                  </a:lnTo>
                  <a:lnTo>
                    <a:pt x="118" y="392"/>
                  </a:lnTo>
                  <a:lnTo>
                    <a:pt x="118" y="390"/>
                  </a:lnTo>
                  <a:lnTo>
                    <a:pt x="118" y="388"/>
                  </a:lnTo>
                  <a:lnTo>
                    <a:pt x="121" y="388"/>
                  </a:lnTo>
                  <a:lnTo>
                    <a:pt x="118" y="388"/>
                  </a:lnTo>
                  <a:lnTo>
                    <a:pt x="121" y="388"/>
                  </a:lnTo>
                  <a:lnTo>
                    <a:pt x="123" y="388"/>
                  </a:lnTo>
                  <a:lnTo>
                    <a:pt x="125" y="388"/>
                  </a:lnTo>
                  <a:lnTo>
                    <a:pt x="128" y="388"/>
                  </a:lnTo>
                  <a:lnTo>
                    <a:pt x="128" y="385"/>
                  </a:lnTo>
                  <a:lnTo>
                    <a:pt x="130" y="385"/>
                  </a:lnTo>
                  <a:lnTo>
                    <a:pt x="130" y="388"/>
                  </a:lnTo>
                  <a:lnTo>
                    <a:pt x="130" y="385"/>
                  </a:lnTo>
                  <a:lnTo>
                    <a:pt x="133" y="385"/>
                  </a:lnTo>
                  <a:lnTo>
                    <a:pt x="133" y="383"/>
                  </a:lnTo>
                  <a:lnTo>
                    <a:pt x="135" y="385"/>
                  </a:lnTo>
                  <a:lnTo>
                    <a:pt x="135" y="383"/>
                  </a:lnTo>
                  <a:lnTo>
                    <a:pt x="133" y="383"/>
                  </a:lnTo>
                  <a:lnTo>
                    <a:pt x="130" y="385"/>
                  </a:lnTo>
                  <a:lnTo>
                    <a:pt x="130" y="383"/>
                  </a:lnTo>
                  <a:lnTo>
                    <a:pt x="128" y="383"/>
                  </a:lnTo>
                  <a:lnTo>
                    <a:pt x="130" y="380"/>
                  </a:lnTo>
                  <a:lnTo>
                    <a:pt x="128" y="380"/>
                  </a:lnTo>
                  <a:lnTo>
                    <a:pt x="130" y="380"/>
                  </a:lnTo>
                  <a:lnTo>
                    <a:pt x="130" y="378"/>
                  </a:lnTo>
                  <a:lnTo>
                    <a:pt x="133" y="378"/>
                  </a:lnTo>
                  <a:lnTo>
                    <a:pt x="135" y="378"/>
                  </a:lnTo>
                  <a:lnTo>
                    <a:pt x="137" y="378"/>
                  </a:lnTo>
                  <a:lnTo>
                    <a:pt x="140" y="378"/>
                  </a:lnTo>
                  <a:lnTo>
                    <a:pt x="140" y="376"/>
                  </a:lnTo>
                  <a:lnTo>
                    <a:pt x="140" y="378"/>
                  </a:lnTo>
                  <a:lnTo>
                    <a:pt x="140" y="376"/>
                  </a:lnTo>
                  <a:lnTo>
                    <a:pt x="142" y="376"/>
                  </a:lnTo>
                  <a:lnTo>
                    <a:pt x="144" y="376"/>
                  </a:lnTo>
                  <a:lnTo>
                    <a:pt x="147" y="376"/>
                  </a:lnTo>
                  <a:lnTo>
                    <a:pt x="149" y="378"/>
                  </a:lnTo>
                  <a:lnTo>
                    <a:pt x="152" y="378"/>
                  </a:lnTo>
                  <a:lnTo>
                    <a:pt x="152" y="376"/>
                  </a:lnTo>
                  <a:lnTo>
                    <a:pt x="154" y="378"/>
                  </a:lnTo>
                  <a:lnTo>
                    <a:pt x="156" y="378"/>
                  </a:lnTo>
                  <a:lnTo>
                    <a:pt x="159" y="378"/>
                  </a:lnTo>
                  <a:lnTo>
                    <a:pt x="161" y="378"/>
                  </a:lnTo>
                  <a:lnTo>
                    <a:pt x="163" y="378"/>
                  </a:lnTo>
                  <a:lnTo>
                    <a:pt x="166" y="378"/>
                  </a:lnTo>
                  <a:lnTo>
                    <a:pt x="168" y="378"/>
                  </a:lnTo>
                  <a:lnTo>
                    <a:pt x="168" y="380"/>
                  </a:lnTo>
                  <a:lnTo>
                    <a:pt x="168" y="378"/>
                  </a:lnTo>
                  <a:lnTo>
                    <a:pt x="171" y="378"/>
                  </a:lnTo>
                  <a:lnTo>
                    <a:pt x="171" y="376"/>
                  </a:lnTo>
                  <a:lnTo>
                    <a:pt x="168" y="376"/>
                  </a:lnTo>
                  <a:lnTo>
                    <a:pt x="168" y="373"/>
                  </a:lnTo>
                  <a:lnTo>
                    <a:pt x="171" y="373"/>
                  </a:lnTo>
                  <a:lnTo>
                    <a:pt x="168" y="373"/>
                  </a:lnTo>
                  <a:lnTo>
                    <a:pt x="168" y="371"/>
                  </a:lnTo>
                  <a:lnTo>
                    <a:pt x="171" y="371"/>
                  </a:lnTo>
                  <a:lnTo>
                    <a:pt x="171" y="373"/>
                  </a:lnTo>
                  <a:lnTo>
                    <a:pt x="171" y="371"/>
                  </a:lnTo>
                  <a:lnTo>
                    <a:pt x="171" y="369"/>
                  </a:lnTo>
                  <a:lnTo>
                    <a:pt x="173" y="369"/>
                  </a:lnTo>
                  <a:lnTo>
                    <a:pt x="173" y="366"/>
                  </a:lnTo>
                  <a:lnTo>
                    <a:pt x="175" y="366"/>
                  </a:lnTo>
                  <a:lnTo>
                    <a:pt x="175" y="364"/>
                  </a:lnTo>
                  <a:lnTo>
                    <a:pt x="178" y="364"/>
                  </a:lnTo>
                  <a:lnTo>
                    <a:pt x="180" y="364"/>
                  </a:lnTo>
                  <a:lnTo>
                    <a:pt x="180" y="361"/>
                  </a:lnTo>
                  <a:lnTo>
                    <a:pt x="180" y="359"/>
                  </a:lnTo>
                  <a:lnTo>
                    <a:pt x="182" y="359"/>
                  </a:lnTo>
                  <a:lnTo>
                    <a:pt x="182" y="357"/>
                  </a:lnTo>
                  <a:lnTo>
                    <a:pt x="185" y="357"/>
                  </a:lnTo>
                  <a:lnTo>
                    <a:pt x="185" y="354"/>
                  </a:lnTo>
                  <a:lnTo>
                    <a:pt x="187" y="354"/>
                  </a:lnTo>
                  <a:lnTo>
                    <a:pt x="187" y="352"/>
                  </a:lnTo>
                  <a:lnTo>
                    <a:pt x="190" y="352"/>
                  </a:lnTo>
                  <a:lnTo>
                    <a:pt x="190" y="350"/>
                  </a:lnTo>
                  <a:lnTo>
                    <a:pt x="187" y="350"/>
                  </a:lnTo>
                  <a:lnTo>
                    <a:pt x="190" y="350"/>
                  </a:lnTo>
                  <a:lnTo>
                    <a:pt x="190" y="347"/>
                  </a:lnTo>
                  <a:lnTo>
                    <a:pt x="190" y="350"/>
                  </a:lnTo>
                  <a:lnTo>
                    <a:pt x="192" y="350"/>
                  </a:lnTo>
                  <a:lnTo>
                    <a:pt x="192" y="347"/>
                  </a:lnTo>
                  <a:lnTo>
                    <a:pt x="192" y="350"/>
                  </a:lnTo>
                  <a:lnTo>
                    <a:pt x="190" y="350"/>
                  </a:lnTo>
                  <a:lnTo>
                    <a:pt x="190" y="347"/>
                  </a:lnTo>
                  <a:lnTo>
                    <a:pt x="187" y="347"/>
                  </a:lnTo>
                  <a:lnTo>
                    <a:pt x="187" y="350"/>
                  </a:lnTo>
                  <a:lnTo>
                    <a:pt x="190" y="350"/>
                  </a:lnTo>
                  <a:lnTo>
                    <a:pt x="187" y="352"/>
                  </a:lnTo>
                  <a:lnTo>
                    <a:pt x="187" y="354"/>
                  </a:lnTo>
                  <a:lnTo>
                    <a:pt x="185" y="354"/>
                  </a:lnTo>
                  <a:lnTo>
                    <a:pt x="182" y="354"/>
                  </a:lnTo>
                  <a:lnTo>
                    <a:pt x="182" y="357"/>
                  </a:lnTo>
                  <a:lnTo>
                    <a:pt x="182" y="359"/>
                  </a:lnTo>
                  <a:lnTo>
                    <a:pt x="180" y="359"/>
                  </a:lnTo>
                  <a:lnTo>
                    <a:pt x="180" y="357"/>
                  </a:lnTo>
                  <a:lnTo>
                    <a:pt x="180" y="359"/>
                  </a:lnTo>
                  <a:lnTo>
                    <a:pt x="178" y="359"/>
                  </a:lnTo>
                  <a:lnTo>
                    <a:pt x="178" y="361"/>
                  </a:lnTo>
                  <a:lnTo>
                    <a:pt x="175" y="361"/>
                  </a:lnTo>
                  <a:lnTo>
                    <a:pt x="173" y="361"/>
                  </a:lnTo>
                  <a:lnTo>
                    <a:pt x="171" y="361"/>
                  </a:lnTo>
                  <a:lnTo>
                    <a:pt x="168" y="361"/>
                  </a:lnTo>
                  <a:lnTo>
                    <a:pt x="168" y="364"/>
                  </a:lnTo>
                  <a:lnTo>
                    <a:pt x="166" y="364"/>
                  </a:lnTo>
                  <a:lnTo>
                    <a:pt x="166" y="366"/>
                  </a:lnTo>
                  <a:lnTo>
                    <a:pt x="163" y="366"/>
                  </a:lnTo>
                  <a:lnTo>
                    <a:pt x="163" y="369"/>
                  </a:lnTo>
                  <a:lnTo>
                    <a:pt x="161" y="369"/>
                  </a:lnTo>
                  <a:lnTo>
                    <a:pt x="159" y="369"/>
                  </a:lnTo>
                  <a:lnTo>
                    <a:pt x="156" y="369"/>
                  </a:lnTo>
                  <a:lnTo>
                    <a:pt x="154" y="369"/>
                  </a:lnTo>
                  <a:lnTo>
                    <a:pt x="152" y="369"/>
                  </a:lnTo>
                  <a:lnTo>
                    <a:pt x="152" y="366"/>
                  </a:lnTo>
                  <a:lnTo>
                    <a:pt x="149" y="366"/>
                  </a:lnTo>
                  <a:lnTo>
                    <a:pt x="149" y="364"/>
                  </a:lnTo>
                  <a:lnTo>
                    <a:pt x="147" y="364"/>
                  </a:lnTo>
                  <a:lnTo>
                    <a:pt x="144" y="364"/>
                  </a:lnTo>
                  <a:lnTo>
                    <a:pt x="144" y="361"/>
                  </a:lnTo>
                  <a:lnTo>
                    <a:pt x="144" y="359"/>
                  </a:lnTo>
                  <a:lnTo>
                    <a:pt x="142" y="359"/>
                  </a:lnTo>
                  <a:lnTo>
                    <a:pt x="144" y="359"/>
                  </a:lnTo>
                  <a:lnTo>
                    <a:pt x="142" y="359"/>
                  </a:lnTo>
                  <a:lnTo>
                    <a:pt x="144" y="359"/>
                  </a:lnTo>
                  <a:lnTo>
                    <a:pt x="142" y="359"/>
                  </a:lnTo>
                  <a:lnTo>
                    <a:pt x="142" y="357"/>
                  </a:lnTo>
                  <a:lnTo>
                    <a:pt x="140" y="357"/>
                  </a:lnTo>
                  <a:lnTo>
                    <a:pt x="140" y="359"/>
                  </a:lnTo>
                  <a:lnTo>
                    <a:pt x="137" y="359"/>
                  </a:lnTo>
                  <a:lnTo>
                    <a:pt x="137" y="361"/>
                  </a:lnTo>
                  <a:lnTo>
                    <a:pt x="137" y="359"/>
                  </a:lnTo>
                  <a:lnTo>
                    <a:pt x="137" y="361"/>
                  </a:lnTo>
                  <a:lnTo>
                    <a:pt x="135" y="361"/>
                  </a:lnTo>
                  <a:lnTo>
                    <a:pt x="135" y="359"/>
                  </a:lnTo>
                  <a:lnTo>
                    <a:pt x="135" y="361"/>
                  </a:lnTo>
                  <a:lnTo>
                    <a:pt x="135" y="359"/>
                  </a:lnTo>
                  <a:lnTo>
                    <a:pt x="135" y="361"/>
                  </a:lnTo>
                  <a:lnTo>
                    <a:pt x="133" y="361"/>
                  </a:lnTo>
                  <a:lnTo>
                    <a:pt x="133" y="359"/>
                  </a:lnTo>
                  <a:lnTo>
                    <a:pt x="133" y="361"/>
                  </a:lnTo>
                  <a:lnTo>
                    <a:pt x="130" y="361"/>
                  </a:lnTo>
                  <a:lnTo>
                    <a:pt x="128" y="361"/>
                  </a:lnTo>
                  <a:lnTo>
                    <a:pt x="128" y="359"/>
                  </a:lnTo>
                  <a:lnTo>
                    <a:pt x="125" y="359"/>
                  </a:lnTo>
                  <a:lnTo>
                    <a:pt x="128" y="359"/>
                  </a:lnTo>
                  <a:lnTo>
                    <a:pt x="128" y="357"/>
                  </a:lnTo>
                  <a:lnTo>
                    <a:pt x="128" y="359"/>
                  </a:lnTo>
                  <a:lnTo>
                    <a:pt x="128" y="357"/>
                  </a:lnTo>
                  <a:lnTo>
                    <a:pt x="130" y="357"/>
                  </a:lnTo>
                  <a:lnTo>
                    <a:pt x="133" y="357"/>
                  </a:lnTo>
                  <a:lnTo>
                    <a:pt x="135" y="357"/>
                  </a:lnTo>
                  <a:lnTo>
                    <a:pt x="135" y="354"/>
                  </a:lnTo>
                  <a:lnTo>
                    <a:pt x="133" y="357"/>
                  </a:lnTo>
                  <a:lnTo>
                    <a:pt x="130" y="354"/>
                  </a:lnTo>
                  <a:lnTo>
                    <a:pt x="128" y="354"/>
                  </a:lnTo>
                  <a:lnTo>
                    <a:pt x="125" y="354"/>
                  </a:lnTo>
                  <a:lnTo>
                    <a:pt x="125" y="352"/>
                  </a:lnTo>
                  <a:lnTo>
                    <a:pt x="125" y="350"/>
                  </a:lnTo>
                  <a:lnTo>
                    <a:pt x="125" y="347"/>
                  </a:lnTo>
                  <a:lnTo>
                    <a:pt x="125" y="350"/>
                  </a:lnTo>
                  <a:lnTo>
                    <a:pt x="123" y="350"/>
                  </a:lnTo>
                  <a:lnTo>
                    <a:pt x="123" y="352"/>
                  </a:lnTo>
                  <a:lnTo>
                    <a:pt x="123" y="350"/>
                  </a:lnTo>
                  <a:lnTo>
                    <a:pt x="121" y="350"/>
                  </a:lnTo>
                  <a:lnTo>
                    <a:pt x="123" y="350"/>
                  </a:lnTo>
                  <a:lnTo>
                    <a:pt x="121" y="350"/>
                  </a:lnTo>
                  <a:lnTo>
                    <a:pt x="123" y="352"/>
                  </a:lnTo>
                  <a:lnTo>
                    <a:pt x="121" y="352"/>
                  </a:lnTo>
                  <a:lnTo>
                    <a:pt x="118" y="352"/>
                  </a:lnTo>
                  <a:lnTo>
                    <a:pt x="116" y="352"/>
                  </a:lnTo>
                  <a:lnTo>
                    <a:pt x="114" y="352"/>
                  </a:lnTo>
                  <a:lnTo>
                    <a:pt x="114" y="354"/>
                  </a:lnTo>
                  <a:lnTo>
                    <a:pt x="114" y="357"/>
                  </a:lnTo>
                  <a:lnTo>
                    <a:pt x="111" y="357"/>
                  </a:lnTo>
                  <a:lnTo>
                    <a:pt x="109" y="357"/>
                  </a:lnTo>
                  <a:lnTo>
                    <a:pt x="106" y="357"/>
                  </a:lnTo>
                  <a:lnTo>
                    <a:pt x="106" y="359"/>
                  </a:lnTo>
                  <a:lnTo>
                    <a:pt x="104" y="359"/>
                  </a:lnTo>
                  <a:lnTo>
                    <a:pt x="104" y="357"/>
                  </a:lnTo>
                  <a:lnTo>
                    <a:pt x="102" y="357"/>
                  </a:lnTo>
                  <a:lnTo>
                    <a:pt x="102" y="354"/>
                  </a:lnTo>
                  <a:lnTo>
                    <a:pt x="99" y="354"/>
                  </a:lnTo>
                  <a:lnTo>
                    <a:pt x="102" y="354"/>
                  </a:lnTo>
                  <a:lnTo>
                    <a:pt x="104" y="354"/>
                  </a:lnTo>
                  <a:lnTo>
                    <a:pt x="106" y="354"/>
                  </a:lnTo>
                  <a:lnTo>
                    <a:pt x="104" y="354"/>
                  </a:lnTo>
                  <a:lnTo>
                    <a:pt x="106" y="354"/>
                  </a:lnTo>
                  <a:lnTo>
                    <a:pt x="106" y="352"/>
                  </a:lnTo>
                  <a:lnTo>
                    <a:pt x="109" y="352"/>
                  </a:lnTo>
                  <a:lnTo>
                    <a:pt x="109" y="354"/>
                  </a:lnTo>
                  <a:lnTo>
                    <a:pt x="109" y="352"/>
                  </a:lnTo>
                  <a:lnTo>
                    <a:pt x="106" y="352"/>
                  </a:lnTo>
                  <a:lnTo>
                    <a:pt x="106" y="350"/>
                  </a:lnTo>
                  <a:lnTo>
                    <a:pt x="109" y="350"/>
                  </a:lnTo>
                  <a:lnTo>
                    <a:pt x="106" y="350"/>
                  </a:lnTo>
                  <a:lnTo>
                    <a:pt x="106" y="352"/>
                  </a:lnTo>
                  <a:lnTo>
                    <a:pt x="106" y="354"/>
                  </a:lnTo>
                  <a:lnTo>
                    <a:pt x="106" y="352"/>
                  </a:lnTo>
                  <a:lnTo>
                    <a:pt x="106" y="354"/>
                  </a:lnTo>
                  <a:lnTo>
                    <a:pt x="104" y="354"/>
                  </a:lnTo>
                  <a:lnTo>
                    <a:pt x="104" y="352"/>
                  </a:lnTo>
                  <a:lnTo>
                    <a:pt x="104" y="354"/>
                  </a:lnTo>
                  <a:lnTo>
                    <a:pt x="102" y="352"/>
                  </a:lnTo>
                  <a:lnTo>
                    <a:pt x="102" y="354"/>
                  </a:lnTo>
                  <a:lnTo>
                    <a:pt x="102" y="352"/>
                  </a:lnTo>
                  <a:lnTo>
                    <a:pt x="99" y="352"/>
                  </a:lnTo>
                  <a:lnTo>
                    <a:pt x="99" y="354"/>
                  </a:lnTo>
                  <a:lnTo>
                    <a:pt x="99" y="352"/>
                  </a:lnTo>
                  <a:lnTo>
                    <a:pt x="99" y="354"/>
                  </a:lnTo>
                  <a:lnTo>
                    <a:pt x="97" y="354"/>
                  </a:lnTo>
                  <a:lnTo>
                    <a:pt x="97" y="352"/>
                  </a:lnTo>
                  <a:lnTo>
                    <a:pt x="95" y="352"/>
                  </a:lnTo>
                  <a:lnTo>
                    <a:pt x="97" y="352"/>
                  </a:lnTo>
                  <a:lnTo>
                    <a:pt x="97" y="350"/>
                  </a:lnTo>
                  <a:lnTo>
                    <a:pt x="99" y="350"/>
                  </a:lnTo>
                  <a:lnTo>
                    <a:pt x="99" y="347"/>
                  </a:lnTo>
                  <a:lnTo>
                    <a:pt x="99" y="345"/>
                  </a:lnTo>
                  <a:lnTo>
                    <a:pt x="97" y="345"/>
                  </a:lnTo>
                  <a:lnTo>
                    <a:pt x="95" y="345"/>
                  </a:lnTo>
                  <a:lnTo>
                    <a:pt x="92" y="345"/>
                  </a:lnTo>
                  <a:lnTo>
                    <a:pt x="95" y="345"/>
                  </a:lnTo>
                  <a:lnTo>
                    <a:pt x="95" y="342"/>
                  </a:lnTo>
                  <a:lnTo>
                    <a:pt x="97" y="342"/>
                  </a:lnTo>
                  <a:lnTo>
                    <a:pt x="99" y="342"/>
                  </a:lnTo>
                  <a:lnTo>
                    <a:pt x="99" y="340"/>
                  </a:lnTo>
                  <a:lnTo>
                    <a:pt x="102" y="340"/>
                  </a:lnTo>
                  <a:lnTo>
                    <a:pt x="102" y="338"/>
                  </a:lnTo>
                  <a:lnTo>
                    <a:pt x="104" y="338"/>
                  </a:lnTo>
                  <a:lnTo>
                    <a:pt x="104" y="340"/>
                  </a:lnTo>
                  <a:lnTo>
                    <a:pt x="104" y="338"/>
                  </a:lnTo>
                  <a:lnTo>
                    <a:pt x="104" y="340"/>
                  </a:lnTo>
                  <a:lnTo>
                    <a:pt x="104" y="338"/>
                  </a:lnTo>
                  <a:lnTo>
                    <a:pt x="106" y="338"/>
                  </a:lnTo>
                  <a:lnTo>
                    <a:pt x="109" y="338"/>
                  </a:lnTo>
                  <a:lnTo>
                    <a:pt x="109" y="335"/>
                  </a:lnTo>
                  <a:lnTo>
                    <a:pt x="111" y="335"/>
                  </a:lnTo>
                  <a:lnTo>
                    <a:pt x="111" y="333"/>
                  </a:lnTo>
                  <a:lnTo>
                    <a:pt x="114" y="333"/>
                  </a:lnTo>
                  <a:lnTo>
                    <a:pt x="114" y="335"/>
                  </a:lnTo>
                  <a:lnTo>
                    <a:pt x="114" y="333"/>
                  </a:lnTo>
                  <a:lnTo>
                    <a:pt x="116" y="333"/>
                  </a:lnTo>
                  <a:lnTo>
                    <a:pt x="118" y="333"/>
                  </a:lnTo>
                  <a:lnTo>
                    <a:pt x="118" y="331"/>
                  </a:lnTo>
                  <a:lnTo>
                    <a:pt x="118" y="333"/>
                  </a:lnTo>
                  <a:lnTo>
                    <a:pt x="121" y="333"/>
                  </a:lnTo>
                  <a:lnTo>
                    <a:pt x="121" y="331"/>
                  </a:lnTo>
                  <a:lnTo>
                    <a:pt x="123" y="331"/>
                  </a:lnTo>
                  <a:lnTo>
                    <a:pt x="123" y="328"/>
                  </a:lnTo>
                  <a:lnTo>
                    <a:pt x="125" y="328"/>
                  </a:lnTo>
                  <a:lnTo>
                    <a:pt x="128" y="328"/>
                  </a:lnTo>
                  <a:lnTo>
                    <a:pt x="128" y="326"/>
                  </a:lnTo>
                  <a:lnTo>
                    <a:pt x="130" y="326"/>
                  </a:lnTo>
                  <a:lnTo>
                    <a:pt x="130" y="323"/>
                  </a:lnTo>
                  <a:lnTo>
                    <a:pt x="133" y="323"/>
                  </a:lnTo>
                  <a:lnTo>
                    <a:pt x="133" y="321"/>
                  </a:lnTo>
                  <a:lnTo>
                    <a:pt x="133" y="319"/>
                  </a:lnTo>
                  <a:lnTo>
                    <a:pt x="135" y="319"/>
                  </a:lnTo>
                  <a:lnTo>
                    <a:pt x="135" y="316"/>
                  </a:lnTo>
                  <a:lnTo>
                    <a:pt x="135" y="314"/>
                  </a:lnTo>
                  <a:lnTo>
                    <a:pt x="135" y="312"/>
                  </a:lnTo>
                  <a:lnTo>
                    <a:pt x="135" y="314"/>
                  </a:lnTo>
                  <a:lnTo>
                    <a:pt x="137" y="314"/>
                  </a:lnTo>
                  <a:lnTo>
                    <a:pt x="137" y="312"/>
                  </a:lnTo>
                  <a:lnTo>
                    <a:pt x="140" y="312"/>
                  </a:lnTo>
                  <a:lnTo>
                    <a:pt x="137" y="312"/>
                  </a:lnTo>
                  <a:lnTo>
                    <a:pt x="135" y="312"/>
                  </a:lnTo>
                  <a:lnTo>
                    <a:pt x="133" y="309"/>
                  </a:lnTo>
                  <a:lnTo>
                    <a:pt x="133" y="307"/>
                  </a:lnTo>
                  <a:lnTo>
                    <a:pt x="135" y="304"/>
                  </a:lnTo>
                  <a:lnTo>
                    <a:pt x="137" y="302"/>
                  </a:lnTo>
                  <a:lnTo>
                    <a:pt x="137" y="304"/>
                  </a:lnTo>
                  <a:lnTo>
                    <a:pt x="137" y="302"/>
                  </a:lnTo>
                  <a:lnTo>
                    <a:pt x="140" y="302"/>
                  </a:lnTo>
                  <a:lnTo>
                    <a:pt x="137" y="302"/>
                  </a:lnTo>
                  <a:lnTo>
                    <a:pt x="135" y="302"/>
                  </a:lnTo>
                  <a:lnTo>
                    <a:pt x="135" y="304"/>
                  </a:lnTo>
                  <a:lnTo>
                    <a:pt x="135" y="302"/>
                  </a:lnTo>
                  <a:lnTo>
                    <a:pt x="133" y="302"/>
                  </a:lnTo>
                  <a:lnTo>
                    <a:pt x="133" y="300"/>
                  </a:lnTo>
                  <a:lnTo>
                    <a:pt x="133" y="297"/>
                  </a:lnTo>
                  <a:lnTo>
                    <a:pt x="133" y="295"/>
                  </a:lnTo>
                  <a:lnTo>
                    <a:pt x="135" y="295"/>
                  </a:lnTo>
                  <a:lnTo>
                    <a:pt x="135" y="293"/>
                  </a:lnTo>
                  <a:lnTo>
                    <a:pt x="137" y="293"/>
                  </a:lnTo>
                  <a:lnTo>
                    <a:pt x="135" y="293"/>
                  </a:lnTo>
                  <a:lnTo>
                    <a:pt x="133" y="295"/>
                  </a:lnTo>
                  <a:lnTo>
                    <a:pt x="133" y="293"/>
                  </a:lnTo>
                  <a:lnTo>
                    <a:pt x="133" y="295"/>
                  </a:lnTo>
                  <a:lnTo>
                    <a:pt x="130" y="295"/>
                  </a:lnTo>
                  <a:lnTo>
                    <a:pt x="130" y="293"/>
                  </a:lnTo>
                  <a:lnTo>
                    <a:pt x="128" y="293"/>
                  </a:lnTo>
                  <a:lnTo>
                    <a:pt x="128" y="295"/>
                  </a:lnTo>
                  <a:lnTo>
                    <a:pt x="128" y="293"/>
                  </a:lnTo>
                  <a:lnTo>
                    <a:pt x="128" y="295"/>
                  </a:lnTo>
                  <a:lnTo>
                    <a:pt x="125" y="295"/>
                  </a:lnTo>
                  <a:lnTo>
                    <a:pt x="123" y="295"/>
                  </a:lnTo>
                  <a:lnTo>
                    <a:pt x="121" y="295"/>
                  </a:lnTo>
                  <a:lnTo>
                    <a:pt x="121" y="297"/>
                  </a:lnTo>
                  <a:lnTo>
                    <a:pt x="121" y="300"/>
                  </a:lnTo>
                  <a:lnTo>
                    <a:pt x="118" y="300"/>
                  </a:lnTo>
                  <a:lnTo>
                    <a:pt x="118" y="297"/>
                  </a:lnTo>
                  <a:lnTo>
                    <a:pt x="116" y="297"/>
                  </a:lnTo>
                  <a:lnTo>
                    <a:pt x="116" y="300"/>
                  </a:lnTo>
                  <a:lnTo>
                    <a:pt x="114" y="300"/>
                  </a:lnTo>
                  <a:lnTo>
                    <a:pt x="111" y="300"/>
                  </a:lnTo>
                  <a:lnTo>
                    <a:pt x="111" y="297"/>
                  </a:lnTo>
                  <a:lnTo>
                    <a:pt x="114" y="297"/>
                  </a:lnTo>
                  <a:lnTo>
                    <a:pt x="114" y="295"/>
                  </a:lnTo>
                  <a:lnTo>
                    <a:pt x="116" y="295"/>
                  </a:lnTo>
                  <a:lnTo>
                    <a:pt x="116" y="293"/>
                  </a:lnTo>
                  <a:lnTo>
                    <a:pt x="118" y="293"/>
                  </a:lnTo>
                  <a:lnTo>
                    <a:pt x="121" y="293"/>
                  </a:lnTo>
                  <a:lnTo>
                    <a:pt x="121" y="290"/>
                  </a:lnTo>
                  <a:lnTo>
                    <a:pt x="123" y="290"/>
                  </a:lnTo>
                  <a:lnTo>
                    <a:pt x="123" y="288"/>
                  </a:lnTo>
                  <a:lnTo>
                    <a:pt x="125" y="288"/>
                  </a:lnTo>
                  <a:lnTo>
                    <a:pt x="125" y="285"/>
                  </a:lnTo>
                  <a:lnTo>
                    <a:pt x="125" y="283"/>
                  </a:lnTo>
                  <a:lnTo>
                    <a:pt x="125" y="285"/>
                  </a:lnTo>
                  <a:lnTo>
                    <a:pt x="125" y="283"/>
                  </a:lnTo>
                  <a:lnTo>
                    <a:pt x="128" y="283"/>
                  </a:lnTo>
                  <a:lnTo>
                    <a:pt x="125" y="283"/>
                  </a:lnTo>
                  <a:lnTo>
                    <a:pt x="128" y="283"/>
                  </a:lnTo>
                  <a:lnTo>
                    <a:pt x="128" y="281"/>
                  </a:lnTo>
                  <a:lnTo>
                    <a:pt x="130" y="281"/>
                  </a:lnTo>
                  <a:lnTo>
                    <a:pt x="130" y="278"/>
                  </a:lnTo>
                  <a:lnTo>
                    <a:pt x="133" y="278"/>
                  </a:lnTo>
                  <a:lnTo>
                    <a:pt x="135" y="278"/>
                  </a:lnTo>
                  <a:lnTo>
                    <a:pt x="137" y="278"/>
                  </a:lnTo>
                  <a:lnTo>
                    <a:pt x="137" y="276"/>
                  </a:lnTo>
                  <a:lnTo>
                    <a:pt x="140" y="276"/>
                  </a:lnTo>
                  <a:lnTo>
                    <a:pt x="142" y="276"/>
                  </a:lnTo>
                  <a:lnTo>
                    <a:pt x="142" y="274"/>
                  </a:lnTo>
                  <a:lnTo>
                    <a:pt x="142" y="276"/>
                  </a:lnTo>
                  <a:lnTo>
                    <a:pt x="144" y="276"/>
                  </a:lnTo>
                  <a:lnTo>
                    <a:pt x="142" y="276"/>
                  </a:lnTo>
                  <a:lnTo>
                    <a:pt x="142" y="274"/>
                  </a:lnTo>
                  <a:lnTo>
                    <a:pt x="140" y="274"/>
                  </a:lnTo>
                  <a:lnTo>
                    <a:pt x="142" y="271"/>
                  </a:lnTo>
                  <a:lnTo>
                    <a:pt x="142" y="274"/>
                  </a:lnTo>
                  <a:lnTo>
                    <a:pt x="144" y="274"/>
                  </a:lnTo>
                  <a:lnTo>
                    <a:pt x="147" y="274"/>
                  </a:lnTo>
                  <a:lnTo>
                    <a:pt x="149" y="276"/>
                  </a:lnTo>
                  <a:lnTo>
                    <a:pt x="149" y="274"/>
                  </a:lnTo>
                  <a:lnTo>
                    <a:pt x="149" y="276"/>
                  </a:lnTo>
                  <a:lnTo>
                    <a:pt x="149" y="274"/>
                  </a:lnTo>
                  <a:lnTo>
                    <a:pt x="152" y="274"/>
                  </a:lnTo>
                  <a:lnTo>
                    <a:pt x="154" y="274"/>
                  </a:lnTo>
                  <a:lnTo>
                    <a:pt x="156" y="274"/>
                  </a:lnTo>
                  <a:lnTo>
                    <a:pt x="156" y="271"/>
                  </a:lnTo>
                  <a:lnTo>
                    <a:pt x="159" y="271"/>
                  </a:lnTo>
                  <a:lnTo>
                    <a:pt x="159" y="274"/>
                  </a:lnTo>
                  <a:lnTo>
                    <a:pt x="161" y="274"/>
                  </a:lnTo>
                  <a:lnTo>
                    <a:pt x="163" y="274"/>
                  </a:lnTo>
                  <a:lnTo>
                    <a:pt x="163" y="276"/>
                  </a:lnTo>
                  <a:lnTo>
                    <a:pt x="166" y="276"/>
                  </a:lnTo>
                  <a:lnTo>
                    <a:pt x="166" y="278"/>
                  </a:lnTo>
                  <a:lnTo>
                    <a:pt x="168" y="278"/>
                  </a:lnTo>
                  <a:lnTo>
                    <a:pt x="166" y="276"/>
                  </a:lnTo>
                  <a:lnTo>
                    <a:pt x="168" y="276"/>
                  </a:lnTo>
                  <a:lnTo>
                    <a:pt x="166" y="276"/>
                  </a:lnTo>
                  <a:lnTo>
                    <a:pt x="168" y="276"/>
                  </a:lnTo>
                  <a:lnTo>
                    <a:pt x="166" y="276"/>
                  </a:lnTo>
                  <a:lnTo>
                    <a:pt x="166" y="274"/>
                  </a:lnTo>
                  <a:lnTo>
                    <a:pt x="166" y="271"/>
                  </a:lnTo>
                  <a:lnTo>
                    <a:pt x="163" y="271"/>
                  </a:lnTo>
                  <a:lnTo>
                    <a:pt x="163" y="269"/>
                  </a:lnTo>
                  <a:lnTo>
                    <a:pt x="166" y="269"/>
                  </a:lnTo>
                  <a:lnTo>
                    <a:pt x="168" y="269"/>
                  </a:lnTo>
                  <a:lnTo>
                    <a:pt x="168" y="266"/>
                  </a:lnTo>
                  <a:lnTo>
                    <a:pt x="168" y="269"/>
                  </a:lnTo>
                  <a:lnTo>
                    <a:pt x="171" y="269"/>
                  </a:lnTo>
                  <a:lnTo>
                    <a:pt x="168" y="269"/>
                  </a:lnTo>
                  <a:lnTo>
                    <a:pt x="171" y="269"/>
                  </a:lnTo>
                  <a:lnTo>
                    <a:pt x="171" y="271"/>
                  </a:lnTo>
                  <a:lnTo>
                    <a:pt x="171" y="274"/>
                  </a:lnTo>
                  <a:lnTo>
                    <a:pt x="173" y="274"/>
                  </a:lnTo>
                  <a:lnTo>
                    <a:pt x="173" y="276"/>
                  </a:lnTo>
                  <a:lnTo>
                    <a:pt x="175" y="276"/>
                  </a:lnTo>
                  <a:lnTo>
                    <a:pt x="175" y="274"/>
                  </a:lnTo>
                  <a:lnTo>
                    <a:pt x="178" y="274"/>
                  </a:lnTo>
                  <a:lnTo>
                    <a:pt x="178" y="271"/>
                  </a:lnTo>
                  <a:lnTo>
                    <a:pt x="180" y="271"/>
                  </a:lnTo>
                  <a:lnTo>
                    <a:pt x="182" y="271"/>
                  </a:lnTo>
                  <a:lnTo>
                    <a:pt x="180" y="271"/>
                  </a:lnTo>
                  <a:lnTo>
                    <a:pt x="178" y="271"/>
                  </a:lnTo>
                  <a:lnTo>
                    <a:pt x="178" y="274"/>
                  </a:lnTo>
                  <a:lnTo>
                    <a:pt x="175" y="274"/>
                  </a:lnTo>
                  <a:lnTo>
                    <a:pt x="173" y="274"/>
                  </a:lnTo>
                  <a:lnTo>
                    <a:pt x="173" y="271"/>
                  </a:lnTo>
                  <a:lnTo>
                    <a:pt x="171" y="271"/>
                  </a:lnTo>
                  <a:lnTo>
                    <a:pt x="171" y="269"/>
                  </a:lnTo>
                  <a:lnTo>
                    <a:pt x="171" y="266"/>
                  </a:lnTo>
                  <a:lnTo>
                    <a:pt x="168" y="266"/>
                  </a:lnTo>
                  <a:lnTo>
                    <a:pt x="171" y="266"/>
                  </a:lnTo>
                  <a:lnTo>
                    <a:pt x="168" y="266"/>
                  </a:lnTo>
                  <a:lnTo>
                    <a:pt x="171" y="266"/>
                  </a:lnTo>
                  <a:lnTo>
                    <a:pt x="168" y="266"/>
                  </a:lnTo>
                  <a:lnTo>
                    <a:pt x="168" y="264"/>
                  </a:lnTo>
                  <a:lnTo>
                    <a:pt x="168" y="262"/>
                  </a:lnTo>
                  <a:lnTo>
                    <a:pt x="166" y="262"/>
                  </a:lnTo>
                  <a:lnTo>
                    <a:pt x="168" y="259"/>
                  </a:lnTo>
                  <a:lnTo>
                    <a:pt x="168" y="257"/>
                  </a:lnTo>
                  <a:lnTo>
                    <a:pt x="171" y="257"/>
                  </a:lnTo>
                  <a:lnTo>
                    <a:pt x="171" y="255"/>
                  </a:lnTo>
                  <a:lnTo>
                    <a:pt x="173" y="255"/>
                  </a:lnTo>
                  <a:lnTo>
                    <a:pt x="173" y="252"/>
                  </a:lnTo>
                  <a:lnTo>
                    <a:pt x="175" y="252"/>
                  </a:lnTo>
                  <a:lnTo>
                    <a:pt x="178" y="252"/>
                  </a:lnTo>
                  <a:lnTo>
                    <a:pt x="175" y="252"/>
                  </a:lnTo>
                  <a:lnTo>
                    <a:pt x="173" y="252"/>
                  </a:lnTo>
                  <a:lnTo>
                    <a:pt x="171" y="252"/>
                  </a:lnTo>
                  <a:lnTo>
                    <a:pt x="168" y="252"/>
                  </a:lnTo>
                  <a:lnTo>
                    <a:pt x="168" y="250"/>
                  </a:lnTo>
                  <a:lnTo>
                    <a:pt x="168" y="247"/>
                  </a:lnTo>
                  <a:lnTo>
                    <a:pt x="168" y="245"/>
                  </a:lnTo>
                  <a:lnTo>
                    <a:pt x="168" y="243"/>
                  </a:lnTo>
                  <a:lnTo>
                    <a:pt x="171" y="243"/>
                  </a:lnTo>
                  <a:lnTo>
                    <a:pt x="171" y="245"/>
                  </a:lnTo>
                  <a:lnTo>
                    <a:pt x="171" y="247"/>
                  </a:lnTo>
                  <a:lnTo>
                    <a:pt x="173" y="247"/>
                  </a:lnTo>
                  <a:lnTo>
                    <a:pt x="171" y="247"/>
                  </a:lnTo>
                  <a:lnTo>
                    <a:pt x="171" y="245"/>
                  </a:lnTo>
                  <a:lnTo>
                    <a:pt x="171" y="243"/>
                  </a:lnTo>
                  <a:lnTo>
                    <a:pt x="173" y="243"/>
                  </a:lnTo>
                  <a:lnTo>
                    <a:pt x="175" y="243"/>
                  </a:lnTo>
                  <a:lnTo>
                    <a:pt x="175" y="240"/>
                  </a:lnTo>
                  <a:lnTo>
                    <a:pt x="173" y="240"/>
                  </a:lnTo>
                  <a:lnTo>
                    <a:pt x="175" y="240"/>
                  </a:lnTo>
                  <a:lnTo>
                    <a:pt x="175" y="238"/>
                  </a:lnTo>
                  <a:lnTo>
                    <a:pt x="175" y="240"/>
                  </a:lnTo>
                  <a:lnTo>
                    <a:pt x="175" y="238"/>
                  </a:lnTo>
                  <a:lnTo>
                    <a:pt x="175" y="240"/>
                  </a:lnTo>
                  <a:lnTo>
                    <a:pt x="173" y="240"/>
                  </a:lnTo>
                  <a:lnTo>
                    <a:pt x="173" y="238"/>
                  </a:lnTo>
                  <a:lnTo>
                    <a:pt x="173" y="236"/>
                  </a:lnTo>
                  <a:lnTo>
                    <a:pt x="175" y="236"/>
                  </a:lnTo>
                  <a:lnTo>
                    <a:pt x="175" y="233"/>
                  </a:lnTo>
                  <a:lnTo>
                    <a:pt x="178" y="233"/>
                  </a:lnTo>
                  <a:lnTo>
                    <a:pt x="175" y="233"/>
                  </a:lnTo>
                  <a:lnTo>
                    <a:pt x="175" y="231"/>
                  </a:lnTo>
                  <a:lnTo>
                    <a:pt x="175" y="228"/>
                  </a:lnTo>
                  <a:lnTo>
                    <a:pt x="178" y="228"/>
                  </a:lnTo>
                  <a:lnTo>
                    <a:pt x="175" y="226"/>
                  </a:lnTo>
                  <a:lnTo>
                    <a:pt x="175" y="228"/>
                  </a:lnTo>
                  <a:lnTo>
                    <a:pt x="173" y="228"/>
                  </a:lnTo>
                  <a:lnTo>
                    <a:pt x="173" y="231"/>
                  </a:lnTo>
                  <a:lnTo>
                    <a:pt x="171" y="231"/>
                  </a:lnTo>
                  <a:lnTo>
                    <a:pt x="168" y="228"/>
                  </a:lnTo>
                  <a:lnTo>
                    <a:pt x="171" y="228"/>
                  </a:lnTo>
                  <a:lnTo>
                    <a:pt x="168" y="228"/>
                  </a:lnTo>
                  <a:lnTo>
                    <a:pt x="168" y="226"/>
                  </a:lnTo>
                  <a:lnTo>
                    <a:pt x="168" y="228"/>
                  </a:lnTo>
                  <a:lnTo>
                    <a:pt x="168" y="231"/>
                  </a:lnTo>
                  <a:lnTo>
                    <a:pt x="168" y="233"/>
                  </a:lnTo>
                  <a:lnTo>
                    <a:pt x="166" y="233"/>
                  </a:lnTo>
                  <a:lnTo>
                    <a:pt x="166" y="236"/>
                  </a:lnTo>
                  <a:lnTo>
                    <a:pt x="163" y="236"/>
                  </a:lnTo>
                  <a:lnTo>
                    <a:pt x="166" y="236"/>
                  </a:lnTo>
                  <a:lnTo>
                    <a:pt x="163" y="236"/>
                  </a:lnTo>
                  <a:lnTo>
                    <a:pt x="163" y="233"/>
                  </a:lnTo>
                  <a:lnTo>
                    <a:pt x="163" y="236"/>
                  </a:lnTo>
                  <a:lnTo>
                    <a:pt x="161" y="233"/>
                  </a:lnTo>
                  <a:lnTo>
                    <a:pt x="161" y="231"/>
                  </a:lnTo>
                  <a:lnTo>
                    <a:pt x="163" y="231"/>
                  </a:lnTo>
                  <a:lnTo>
                    <a:pt x="163" y="228"/>
                  </a:lnTo>
                  <a:lnTo>
                    <a:pt x="163" y="226"/>
                  </a:lnTo>
                  <a:lnTo>
                    <a:pt x="161" y="226"/>
                  </a:lnTo>
                  <a:lnTo>
                    <a:pt x="163" y="226"/>
                  </a:lnTo>
                  <a:lnTo>
                    <a:pt x="161" y="228"/>
                  </a:lnTo>
                  <a:lnTo>
                    <a:pt x="161" y="231"/>
                  </a:lnTo>
                  <a:lnTo>
                    <a:pt x="161" y="228"/>
                  </a:lnTo>
                  <a:lnTo>
                    <a:pt x="161" y="231"/>
                  </a:lnTo>
                  <a:lnTo>
                    <a:pt x="159" y="231"/>
                  </a:lnTo>
                  <a:lnTo>
                    <a:pt x="159" y="228"/>
                  </a:lnTo>
                  <a:lnTo>
                    <a:pt x="156" y="226"/>
                  </a:lnTo>
                  <a:lnTo>
                    <a:pt x="156" y="224"/>
                  </a:lnTo>
                  <a:lnTo>
                    <a:pt x="156" y="221"/>
                  </a:lnTo>
                  <a:lnTo>
                    <a:pt x="154" y="221"/>
                  </a:lnTo>
                  <a:lnTo>
                    <a:pt x="154" y="219"/>
                  </a:lnTo>
                  <a:lnTo>
                    <a:pt x="152" y="219"/>
                  </a:lnTo>
                  <a:lnTo>
                    <a:pt x="152" y="217"/>
                  </a:lnTo>
                  <a:lnTo>
                    <a:pt x="149" y="214"/>
                  </a:lnTo>
                  <a:lnTo>
                    <a:pt x="149" y="212"/>
                  </a:lnTo>
                  <a:lnTo>
                    <a:pt x="152" y="212"/>
                  </a:lnTo>
                  <a:lnTo>
                    <a:pt x="152" y="209"/>
                  </a:lnTo>
                  <a:lnTo>
                    <a:pt x="152" y="207"/>
                  </a:lnTo>
                  <a:lnTo>
                    <a:pt x="152" y="205"/>
                  </a:lnTo>
                  <a:lnTo>
                    <a:pt x="154" y="205"/>
                  </a:lnTo>
                  <a:lnTo>
                    <a:pt x="154" y="202"/>
                  </a:lnTo>
                  <a:lnTo>
                    <a:pt x="156" y="202"/>
                  </a:lnTo>
                  <a:lnTo>
                    <a:pt x="156" y="200"/>
                  </a:lnTo>
                  <a:lnTo>
                    <a:pt x="156" y="198"/>
                  </a:lnTo>
                  <a:lnTo>
                    <a:pt x="156" y="195"/>
                  </a:lnTo>
                  <a:lnTo>
                    <a:pt x="159" y="195"/>
                  </a:lnTo>
                  <a:lnTo>
                    <a:pt x="159" y="193"/>
                  </a:lnTo>
                  <a:lnTo>
                    <a:pt x="159" y="195"/>
                  </a:lnTo>
                  <a:lnTo>
                    <a:pt x="161" y="195"/>
                  </a:lnTo>
                  <a:lnTo>
                    <a:pt x="161" y="193"/>
                  </a:lnTo>
                  <a:lnTo>
                    <a:pt x="163" y="193"/>
                  </a:lnTo>
                  <a:lnTo>
                    <a:pt x="161" y="193"/>
                  </a:lnTo>
                  <a:lnTo>
                    <a:pt x="161" y="190"/>
                  </a:lnTo>
                  <a:lnTo>
                    <a:pt x="163" y="190"/>
                  </a:lnTo>
                  <a:lnTo>
                    <a:pt x="163" y="193"/>
                  </a:lnTo>
                  <a:lnTo>
                    <a:pt x="166" y="193"/>
                  </a:lnTo>
                  <a:lnTo>
                    <a:pt x="168" y="193"/>
                  </a:lnTo>
                  <a:lnTo>
                    <a:pt x="168" y="190"/>
                  </a:lnTo>
                  <a:lnTo>
                    <a:pt x="168" y="193"/>
                  </a:lnTo>
                  <a:lnTo>
                    <a:pt x="168" y="190"/>
                  </a:lnTo>
                  <a:lnTo>
                    <a:pt x="168" y="193"/>
                  </a:lnTo>
                  <a:lnTo>
                    <a:pt x="168" y="190"/>
                  </a:lnTo>
                  <a:lnTo>
                    <a:pt x="166" y="190"/>
                  </a:lnTo>
                  <a:lnTo>
                    <a:pt x="168" y="190"/>
                  </a:lnTo>
                  <a:lnTo>
                    <a:pt x="166" y="190"/>
                  </a:lnTo>
                  <a:lnTo>
                    <a:pt x="163" y="190"/>
                  </a:lnTo>
                  <a:lnTo>
                    <a:pt x="161" y="190"/>
                  </a:lnTo>
                  <a:lnTo>
                    <a:pt x="159" y="190"/>
                  </a:lnTo>
                  <a:lnTo>
                    <a:pt x="156" y="190"/>
                  </a:lnTo>
                  <a:lnTo>
                    <a:pt x="154" y="190"/>
                  </a:lnTo>
                  <a:lnTo>
                    <a:pt x="156" y="190"/>
                  </a:lnTo>
                  <a:lnTo>
                    <a:pt x="154" y="190"/>
                  </a:lnTo>
                  <a:lnTo>
                    <a:pt x="152" y="190"/>
                  </a:lnTo>
                  <a:lnTo>
                    <a:pt x="152" y="188"/>
                  </a:lnTo>
                  <a:lnTo>
                    <a:pt x="152" y="190"/>
                  </a:lnTo>
                  <a:lnTo>
                    <a:pt x="152" y="193"/>
                  </a:lnTo>
                  <a:lnTo>
                    <a:pt x="152" y="195"/>
                  </a:lnTo>
                  <a:lnTo>
                    <a:pt x="149" y="195"/>
                  </a:lnTo>
                  <a:lnTo>
                    <a:pt x="147" y="195"/>
                  </a:lnTo>
                  <a:lnTo>
                    <a:pt x="144" y="195"/>
                  </a:lnTo>
                  <a:lnTo>
                    <a:pt x="142" y="195"/>
                  </a:lnTo>
                  <a:lnTo>
                    <a:pt x="144" y="198"/>
                  </a:lnTo>
                  <a:lnTo>
                    <a:pt x="142" y="198"/>
                  </a:lnTo>
                  <a:lnTo>
                    <a:pt x="142" y="195"/>
                  </a:lnTo>
                  <a:lnTo>
                    <a:pt x="142" y="198"/>
                  </a:lnTo>
                  <a:lnTo>
                    <a:pt x="142" y="200"/>
                  </a:lnTo>
                  <a:lnTo>
                    <a:pt x="140" y="200"/>
                  </a:lnTo>
                  <a:lnTo>
                    <a:pt x="137" y="200"/>
                  </a:lnTo>
                  <a:lnTo>
                    <a:pt x="135" y="200"/>
                  </a:lnTo>
                  <a:lnTo>
                    <a:pt x="135" y="198"/>
                  </a:lnTo>
                  <a:lnTo>
                    <a:pt x="135" y="200"/>
                  </a:lnTo>
                  <a:lnTo>
                    <a:pt x="133" y="200"/>
                  </a:lnTo>
                  <a:lnTo>
                    <a:pt x="135" y="200"/>
                  </a:lnTo>
                  <a:lnTo>
                    <a:pt x="133" y="200"/>
                  </a:lnTo>
                  <a:lnTo>
                    <a:pt x="130" y="200"/>
                  </a:lnTo>
                  <a:lnTo>
                    <a:pt x="130" y="198"/>
                  </a:lnTo>
                  <a:lnTo>
                    <a:pt x="130" y="200"/>
                  </a:lnTo>
                  <a:lnTo>
                    <a:pt x="130" y="198"/>
                  </a:lnTo>
                  <a:lnTo>
                    <a:pt x="130" y="200"/>
                  </a:lnTo>
                  <a:lnTo>
                    <a:pt x="130" y="198"/>
                  </a:lnTo>
                  <a:lnTo>
                    <a:pt x="130" y="195"/>
                  </a:lnTo>
                  <a:lnTo>
                    <a:pt x="130" y="198"/>
                  </a:lnTo>
                  <a:lnTo>
                    <a:pt x="128" y="198"/>
                  </a:lnTo>
                  <a:lnTo>
                    <a:pt x="125" y="198"/>
                  </a:lnTo>
                  <a:lnTo>
                    <a:pt x="125" y="195"/>
                  </a:lnTo>
                  <a:lnTo>
                    <a:pt x="123" y="195"/>
                  </a:lnTo>
                  <a:lnTo>
                    <a:pt x="125" y="195"/>
                  </a:lnTo>
                  <a:lnTo>
                    <a:pt x="123" y="195"/>
                  </a:lnTo>
                  <a:lnTo>
                    <a:pt x="123" y="193"/>
                  </a:lnTo>
                  <a:lnTo>
                    <a:pt x="121" y="193"/>
                  </a:lnTo>
                  <a:lnTo>
                    <a:pt x="123" y="193"/>
                  </a:lnTo>
                  <a:lnTo>
                    <a:pt x="123" y="195"/>
                  </a:lnTo>
                  <a:lnTo>
                    <a:pt x="123" y="198"/>
                  </a:lnTo>
                  <a:lnTo>
                    <a:pt x="125" y="198"/>
                  </a:lnTo>
                  <a:lnTo>
                    <a:pt x="125" y="200"/>
                  </a:lnTo>
                  <a:lnTo>
                    <a:pt x="125" y="202"/>
                  </a:lnTo>
                  <a:lnTo>
                    <a:pt x="125" y="205"/>
                  </a:lnTo>
                  <a:lnTo>
                    <a:pt x="123" y="205"/>
                  </a:lnTo>
                  <a:lnTo>
                    <a:pt x="121" y="205"/>
                  </a:lnTo>
                  <a:lnTo>
                    <a:pt x="121" y="202"/>
                  </a:lnTo>
                  <a:lnTo>
                    <a:pt x="118" y="202"/>
                  </a:lnTo>
                  <a:lnTo>
                    <a:pt x="118" y="200"/>
                  </a:lnTo>
                  <a:lnTo>
                    <a:pt x="116" y="200"/>
                  </a:lnTo>
                  <a:lnTo>
                    <a:pt x="114" y="200"/>
                  </a:lnTo>
                  <a:lnTo>
                    <a:pt x="114" y="198"/>
                  </a:lnTo>
                  <a:lnTo>
                    <a:pt x="111" y="198"/>
                  </a:lnTo>
                  <a:lnTo>
                    <a:pt x="111" y="195"/>
                  </a:lnTo>
                  <a:lnTo>
                    <a:pt x="109" y="195"/>
                  </a:lnTo>
                  <a:lnTo>
                    <a:pt x="106" y="198"/>
                  </a:lnTo>
                  <a:lnTo>
                    <a:pt x="104" y="200"/>
                  </a:lnTo>
                  <a:lnTo>
                    <a:pt x="106" y="200"/>
                  </a:lnTo>
                  <a:lnTo>
                    <a:pt x="106" y="202"/>
                  </a:lnTo>
                  <a:lnTo>
                    <a:pt x="106" y="205"/>
                  </a:lnTo>
                  <a:lnTo>
                    <a:pt x="109" y="205"/>
                  </a:lnTo>
                  <a:lnTo>
                    <a:pt x="109" y="207"/>
                  </a:lnTo>
                  <a:lnTo>
                    <a:pt x="106" y="207"/>
                  </a:lnTo>
                  <a:lnTo>
                    <a:pt x="104" y="207"/>
                  </a:lnTo>
                  <a:lnTo>
                    <a:pt x="104" y="205"/>
                  </a:lnTo>
                  <a:lnTo>
                    <a:pt x="106" y="205"/>
                  </a:lnTo>
                  <a:lnTo>
                    <a:pt x="104" y="202"/>
                  </a:lnTo>
                  <a:lnTo>
                    <a:pt x="106" y="202"/>
                  </a:lnTo>
                  <a:lnTo>
                    <a:pt x="104" y="202"/>
                  </a:lnTo>
                  <a:lnTo>
                    <a:pt x="104" y="200"/>
                  </a:lnTo>
                  <a:lnTo>
                    <a:pt x="102" y="200"/>
                  </a:lnTo>
                  <a:lnTo>
                    <a:pt x="102" y="198"/>
                  </a:lnTo>
                  <a:lnTo>
                    <a:pt x="99" y="198"/>
                  </a:lnTo>
                  <a:lnTo>
                    <a:pt x="99" y="195"/>
                  </a:lnTo>
                  <a:lnTo>
                    <a:pt x="97" y="193"/>
                  </a:lnTo>
                  <a:lnTo>
                    <a:pt x="97" y="190"/>
                  </a:lnTo>
                  <a:lnTo>
                    <a:pt x="97" y="188"/>
                  </a:lnTo>
                  <a:lnTo>
                    <a:pt x="99" y="188"/>
                  </a:lnTo>
                  <a:lnTo>
                    <a:pt x="102" y="188"/>
                  </a:lnTo>
                  <a:lnTo>
                    <a:pt x="102" y="190"/>
                  </a:lnTo>
                  <a:lnTo>
                    <a:pt x="102" y="193"/>
                  </a:lnTo>
                  <a:lnTo>
                    <a:pt x="104" y="193"/>
                  </a:lnTo>
                  <a:lnTo>
                    <a:pt x="104" y="190"/>
                  </a:lnTo>
                  <a:lnTo>
                    <a:pt x="102" y="190"/>
                  </a:lnTo>
                  <a:lnTo>
                    <a:pt x="102" y="188"/>
                  </a:lnTo>
                  <a:lnTo>
                    <a:pt x="102" y="186"/>
                  </a:lnTo>
                  <a:lnTo>
                    <a:pt x="104" y="183"/>
                  </a:lnTo>
                  <a:lnTo>
                    <a:pt x="104" y="181"/>
                  </a:lnTo>
                  <a:lnTo>
                    <a:pt x="106" y="181"/>
                  </a:lnTo>
                  <a:lnTo>
                    <a:pt x="106" y="179"/>
                  </a:lnTo>
                  <a:lnTo>
                    <a:pt x="109" y="179"/>
                  </a:lnTo>
                  <a:lnTo>
                    <a:pt x="109" y="176"/>
                  </a:lnTo>
                  <a:lnTo>
                    <a:pt x="109" y="174"/>
                  </a:lnTo>
                  <a:lnTo>
                    <a:pt x="109" y="171"/>
                  </a:lnTo>
                  <a:lnTo>
                    <a:pt x="111" y="171"/>
                  </a:lnTo>
                  <a:lnTo>
                    <a:pt x="111" y="169"/>
                  </a:lnTo>
                  <a:lnTo>
                    <a:pt x="111" y="167"/>
                  </a:lnTo>
                  <a:lnTo>
                    <a:pt x="114" y="167"/>
                  </a:lnTo>
                  <a:lnTo>
                    <a:pt x="116" y="167"/>
                  </a:lnTo>
                  <a:lnTo>
                    <a:pt x="116" y="164"/>
                  </a:lnTo>
                  <a:lnTo>
                    <a:pt x="116" y="162"/>
                  </a:lnTo>
                  <a:lnTo>
                    <a:pt x="114" y="162"/>
                  </a:lnTo>
                  <a:lnTo>
                    <a:pt x="116" y="162"/>
                  </a:lnTo>
                  <a:lnTo>
                    <a:pt x="116" y="160"/>
                  </a:lnTo>
                  <a:lnTo>
                    <a:pt x="114" y="160"/>
                  </a:lnTo>
                  <a:lnTo>
                    <a:pt x="114" y="157"/>
                  </a:lnTo>
                  <a:lnTo>
                    <a:pt x="111" y="157"/>
                  </a:lnTo>
                  <a:lnTo>
                    <a:pt x="109" y="157"/>
                  </a:lnTo>
                  <a:lnTo>
                    <a:pt x="111" y="157"/>
                  </a:lnTo>
                  <a:lnTo>
                    <a:pt x="109" y="157"/>
                  </a:lnTo>
                  <a:lnTo>
                    <a:pt x="109" y="155"/>
                  </a:lnTo>
                  <a:lnTo>
                    <a:pt x="106" y="155"/>
                  </a:lnTo>
                  <a:lnTo>
                    <a:pt x="106" y="152"/>
                  </a:lnTo>
                  <a:lnTo>
                    <a:pt x="109" y="152"/>
                  </a:lnTo>
                  <a:lnTo>
                    <a:pt x="109" y="150"/>
                  </a:lnTo>
                  <a:lnTo>
                    <a:pt x="109" y="148"/>
                  </a:lnTo>
                  <a:lnTo>
                    <a:pt x="106" y="148"/>
                  </a:lnTo>
                  <a:lnTo>
                    <a:pt x="106" y="145"/>
                  </a:lnTo>
                  <a:lnTo>
                    <a:pt x="106" y="143"/>
                  </a:lnTo>
                  <a:lnTo>
                    <a:pt x="109" y="143"/>
                  </a:lnTo>
                  <a:lnTo>
                    <a:pt x="109" y="141"/>
                  </a:lnTo>
                  <a:lnTo>
                    <a:pt x="111" y="141"/>
                  </a:lnTo>
                  <a:lnTo>
                    <a:pt x="114" y="141"/>
                  </a:lnTo>
                  <a:lnTo>
                    <a:pt x="116" y="141"/>
                  </a:lnTo>
                  <a:lnTo>
                    <a:pt x="118" y="143"/>
                  </a:lnTo>
                  <a:lnTo>
                    <a:pt x="121" y="143"/>
                  </a:lnTo>
                  <a:lnTo>
                    <a:pt x="121" y="141"/>
                  </a:lnTo>
                  <a:lnTo>
                    <a:pt x="118" y="141"/>
                  </a:lnTo>
                  <a:lnTo>
                    <a:pt x="116" y="141"/>
                  </a:lnTo>
                  <a:lnTo>
                    <a:pt x="114" y="141"/>
                  </a:lnTo>
                  <a:lnTo>
                    <a:pt x="114" y="138"/>
                  </a:lnTo>
                  <a:lnTo>
                    <a:pt x="114" y="141"/>
                  </a:lnTo>
                  <a:lnTo>
                    <a:pt x="114" y="138"/>
                  </a:lnTo>
                  <a:lnTo>
                    <a:pt x="111" y="138"/>
                  </a:lnTo>
                  <a:lnTo>
                    <a:pt x="111" y="136"/>
                  </a:lnTo>
                  <a:lnTo>
                    <a:pt x="109" y="136"/>
                  </a:lnTo>
                  <a:lnTo>
                    <a:pt x="109" y="133"/>
                  </a:lnTo>
                  <a:lnTo>
                    <a:pt x="109" y="136"/>
                  </a:lnTo>
                  <a:lnTo>
                    <a:pt x="111" y="136"/>
                  </a:lnTo>
                  <a:lnTo>
                    <a:pt x="111" y="138"/>
                  </a:lnTo>
                  <a:lnTo>
                    <a:pt x="109" y="138"/>
                  </a:lnTo>
                  <a:lnTo>
                    <a:pt x="109" y="136"/>
                  </a:lnTo>
                  <a:lnTo>
                    <a:pt x="109" y="133"/>
                  </a:lnTo>
                  <a:lnTo>
                    <a:pt x="109" y="131"/>
                  </a:lnTo>
                  <a:lnTo>
                    <a:pt x="111" y="131"/>
                  </a:lnTo>
                  <a:lnTo>
                    <a:pt x="111" y="129"/>
                  </a:lnTo>
                  <a:lnTo>
                    <a:pt x="109" y="131"/>
                  </a:lnTo>
                  <a:lnTo>
                    <a:pt x="109" y="133"/>
                  </a:lnTo>
                  <a:lnTo>
                    <a:pt x="106" y="131"/>
                  </a:lnTo>
                  <a:lnTo>
                    <a:pt x="109" y="131"/>
                  </a:lnTo>
                  <a:lnTo>
                    <a:pt x="106" y="131"/>
                  </a:lnTo>
                  <a:lnTo>
                    <a:pt x="106" y="129"/>
                  </a:lnTo>
                  <a:lnTo>
                    <a:pt x="106" y="131"/>
                  </a:lnTo>
                  <a:lnTo>
                    <a:pt x="106" y="133"/>
                  </a:lnTo>
                  <a:lnTo>
                    <a:pt x="109" y="133"/>
                  </a:lnTo>
                  <a:lnTo>
                    <a:pt x="106" y="136"/>
                  </a:lnTo>
                  <a:lnTo>
                    <a:pt x="106" y="138"/>
                  </a:lnTo>
                  <a:lnTo>
                    <a:pt x="104" y="138"/>
                  </a:lnTo>
                  <a:lnTo>
                    <a:pt x="106" y="138"/>
                  </a:lnTo>
                  <a:lnTo>
                    <a:pt x="106" y="141"/>
                  </a:lnTo>
                  <a:lnTo>
                    <a:pt x="106" y="143"/>
                  </a:lnTo>
                  <a:lnTo>
                    <a:pt x="104" y="143"/>
                  </a:lnTo>
                  <a:lnTo>
                    <a:pt x="104" y="145"/>
                  </a:lnTo>
                  <a:lnTo>
                    <a:pt x="102" y="145"/>
                  </a:lnTo>
                  <a:lnTo>
                    <a:pt x="102" y="143"/>
                  </a:lnTo>
                  <a:lnTo>
                    <a:pt x="102" y="141"/>
                  </a:lnTo>
                  <a:lnTo>
                    <a:pt x="99" y="141"/>
                  </a:lnTo>
                  <a:lnTo>
                    <a:pt x="99" y="138"/>
                  </a:lnTo>
                  <a:lnTo>
                    <a:pt x="99" y="141"/>
                  </a:lnTo>
                  <a:lnTo>
                    <a:pt x="102" y="141"/>
                  </a:lnTo>
                  <a:lnTo>
                    <a:pt x="102" y="143"/>
                  </a:lnTo>
                  <a:lnTo>
                    <a:pt x="99" y="143"/>
                  </a:lnTo>
                  <a:lnTo>
                    <a:pt x="99" y="141"/>
                  </a:lnTo>
                  <a:lnTo>
                    <a:pt x="97" y="141"/>
                  </a:lnTo>
                  <a:lnTo>
                    <a:pt x="97" y="138"/>
                  </a:lnTo>
                  <a:lnTo>
                    <a:pt x="97" y="141"/>
                  </a:lnTo>
                  <a:lnTo>
                    <a:pt x="97" y="143"/>
                  </a:lnTo>
                  <a:lnTo>
                    <a:pt x="97" y="145"/>
                  </a:lnTo>
                  <a:lnTo>
                    <a:pt x="97" y="148"/>
                  </a:lnTo>
                  <a:lnTo>
                    <a:pt x="97" y="145"/>
                  </a:lnTo>
                  <a:lnTo>
                    <a:pt x="95" y="145"/>
                  </a:lnTo>
                  <a:lnTo>
                    <a:pt x="92" y="145"/>
                  </a:lnTo>
                  <a:lnTo>
                    <a:pt x="95" y="145"/>
                  </a:lnTo>
                  <a:lnTo>
                    <a:pt x="92" y="145"/>
                  </a:lnTo>
                  <a:lnTo>
                    <a:pt x="95" y="145"/>
                  </a:lnTo>
                  <a:lnTo>
                    <a:pt x="92" y="145"/>
                  </a:lnTo>
                  <a:lnTo>
                    <a:pt x="92" y="143"/>
                  </a:lnTo>
                  <a:lnTo>
                    <a:pt x="92" y="141"/>
                  </a:lnTo>
                  <a:lnTo>
                    <a:pt x="92" y="138"/>
                  </a:lnTo>
                  <a:lnTo>
                    <a:pt x="95" y="138"/>
                  </a:lnTo>
                  <a:lnTo>
                    <a:pt x="95" y="136"/>
                  </a:lnTo>
                  <a:lnTo>
                    <a:pt x="95" y="133"/>
                  </a:lnTo>
                  <a:lnTo>
                    <a:pt x="97" y="133"/>
                  </a:lnTo>
                  <a:lnTo>
                    <a:pt x="97" y="131"/>
                  </a:lnTo>
                  <a:lnTo>
                    <a:pt x="99" y="131"/>
                  </a:lnTo>
                  <a:lnTo>
                    <a:pt x="102" y="131"/>
                  </a:lnTo>
                  <a:lnTo>
                    <a:pt x="102" y="129"/>
                  </a:lnTo>
                  <a:lnTo>
                    <a:pt x="102" y="126"/>
                  </a:lnTo>
                  <a:lnTo>
                    <a:pt x="104" y="126"/>
                  </a:lnTo>
                  <a:lnTo>
                    <a:pt x="106" y="126"/>
                  </a:lnTo>
                  <a:lnTo>
                    <a:pt x="106" y="124"/>
                  </a:lnTo>
                  <a:lnTo>
                    <a:pt x="104" y="124"/>
                  </a:lnTo>
                  <a:lnTo>
                    <a:pt x="104" y="126"/>
                  </a:lnTo>
                  <a:lnTo>
                    <a:pt x="102" y="126"/>
                  </a:lnTo>
                  <a:lnTo>
                    <a:pt x="102" y="129"/>
                  </a:lnTo>
                  <a:lnTo>
                    <a:pt x="99" y="129"/>
                  </a:lnTo>
                  <a:lnTo>
                    <a:pt x="99" y="131"/>
                  </a:lnTo>
                  <a:lnTo>
                    <a:pt x="97" y="131"/>
                  </a:lnTo>
                  <a:lnTo>
                    <a:pt x="95" y="133"/>
                  </a:lnTo>
                  <a:lnTo>
                    <a:pt x="95" y="136"/>
                  </a:lnTo>
                  <a:lnTo>
                    <a:pt x="92" y="136"/>
                  </a:lnTo>
                  <a:lnTo>
                    <a:pt x="92" y="133"/>
                  </a:lnTo>
                  <a:lnTo>
                    <a:pt x="92" y="136"/>
                  </a:lnTo>
                  <a:lnTo>
                    <a:pt x="92" y="138"/>
                  </a:lnTo>
                  <a:lnTo>
                    <a:pt x="90" y="138"/>
                  </a:lnTo>
                  <a:lnTo>
                    <a:pt x="90" y="136"/>
                  </a:lnTo>
                  <a:lnTo>
                    <a:pt x="90" y="138"/>
                  </a:lnTo>
                  <a:lnTo>
                    <a:pt x="90" y="141"/>
                  </a:lnTo>
                  <a:lnTo>
                    <a:pt x="90" y="143"/>
                  </a:lnTo>
                  <a:lnTo>
                    <a:pt x="90" y="145"/>
                  </a:lnTo>
                  <a:lnTo>
                    <a:pt x="92" y="145"/>
                  </a:lnTo>
                  <a:lnTo>
                    <a:pt x="92" y="148"/>
                  </a:lnTo>
                  <a:lnTo>
                    <a:pt x="95" y="150"/>
                  </a:lnTo>
                  <a:lnTo>
                    <a:pt x="92" y="150"/>
                  </a:lnTo>
                  <a:lnTo>
                    <a:pt x="90" y="150"/>
                  </a:lnTo>
                  <a:lnTo>
                    <a:pt x="90" y="152"/>
                  </a:lnTo>
                  <a:lnTo>
                    <a:pt x="90" y="155"/>
                  </a:lnTo>
                  <a:lnTo>
                    <a:pt x="88" y="155"/>
                  </a:lnTo>
                  <a:lnTo>
                    <a:pt x="88" y="157"/>
                  </a:lnTo>
                  <a:lnTo>
                    <a:pt x="88" y="160"/>
                  </a:lnTo>
                  <a:lnTo>
                    <a:pt x="90" y="160"/>
                  </a:lnTo>
                  <a:lnTo>
                    <a:pt x="88" y="160"/>
                  </a:lnTo>
                  <a:lnTo>
                    <a:pt x="90" y="160"/>
                  </a:lnTo>
                  <a:lnTo>
                    <a:pt x="88" y="160"/>
                  </a:lnTo>
                  <a:lnTo>
                    <a:pt x="88" y="162"/>
                  </a:lnTo>
                  <a:lnTo>
                    <a:pt x="88" y="164"/>
                  </a:lnTo>
                  <a:lnTo>
                    <a:pt x="85" y="164"/>
                  </a:lnTo>
                  <a:lnTo>
                    <a:pt x="85" y="167"/>
                  </a:lnTo>
                  <a:lnTo>
                    <a:pt x="85" y="169"/>
                  </a:lnTo>
                  <a:lnTo>
                    <a:pt x="85" y="167"/>
                  </a:lnTo>
                  <a:lnTo>
                    <a:pt x="85" y="169"/>
                  </a:lnTo>
                  <a:lnTo>
                    <a:pt x="88" y="169"/>
                  </a:lnTo>
                  <a:lnTo>
                    <a:pt x="88" y="171"/>
                  </a:lnTo>
                  <a:lnTo>
                    <a:pt x="85" y="171"/>
                  </a:lnTo>
                  <a:lnTo>
                    <a:pt x="85" y="174"/>
                  </a:lnTo>
                  <a:lnTo>
                    <a:pt x="83" y="174"/>
                  </a:lnTo>
                  <a:lnTo>
                    <a:pt x="80" y="174"/>
                  </a:lnTo>
                  <a:lnTo>
                    <a:pt x="78" y="174"/>
                  </a:lnTo>
                  <a:lnTo>
                    <a:pt x="78" y="171"/>
                  </a:lnTo>
                  <a:lnTo>
                    <a:pt x="78" y="169"/>
                  </a:lnTo>
                  <a:lnTo>
                    <a:pt x="78" y="167"/>
                  </a:lnTo>
                  <a:lnTo>
                    <a:pt x="80" y="167"/>
                  </a:lnTo>
                  <a:lnTo>
                    <a:pt x="80" y="164"/>
                  </a:lnTo>
                  <a:lnTo>
                    <a:pt x="80" y="162"/>
                  </a:lnTo>
                  <a:lnTo>
                    <a:pt x="80" y="160"/>
                  </a:lnTo>
                  <a:lnTo>
                    <a:pt x="80" y="157"/>
                  </a:lnTo>
                  <a:lnTo>
                    <a:pt x="83" y="157"/>
                  </a:lnTo>
                  <a:lnTo>
                    <a:pt x="83" y="155"/>
                  </a:lnTo>
                  <a:lnTo>
                    <a:pt x="83" y="152"/>
                  </a:lnTo>
                  <a:lnTo>
                    <a:pt x="85" y="152"/>
                  </a:lnTo>
                  <a:lnTo>
                    <a:pt x="85" y="150"/>
                  </a:lnTo>
                  <a:lnTo>
                    <a:pt x="88" y="150"/>
                  </a:lnTo>
                  <a:lnTo>
                    <a:pt x="88" y="148"/>
                  </a:lnTo>
                  <a:lnTo>
                    <a:pt x="90" y="148"/>
                  </a:lnTo>
                  <a:lnTo>
                    <a:pt x="90" y="145"/>
                  </a:lnTo>
                  <a:lnTo>
                    <a:pt x="88" y="145"/>
                  </a:lnTo>
                  <a:lnTo>
                    <a:pt x="88" y="148"/>
                  </a:lnTo>
                  <a:lnTo>
                    <a:pt x="85" y="150"/>
                  </a:lnTo>
                  <a:lnTo>
                    <a:pt x="83" y="150"/>
                  </a:lnTo>
                  <a:lnTo>
                    <a:pt x="85" y="150"/>
                  </a:lnTo>
                  <a:lnTo>
                    <a:pt x="83" y="150"/>
                  </a:lnTo>
                  <a:lnTo>
                    <a:pt x="83" y="148"/>
                  </a:lnTo>
                  <a:lnTo>
                    <a:pt x="83" y="150"/>
                  </a:lnTo>
                  <a:lnTo>
                    <a:pt x="83" y="148"/>
                  </a:lnTo>
                  <a:lnTo>
                    <a:pt x="83" y="145"/>
                  </a:lnTo>
                  <a:lnTo>
                    <a:pt x="83" y="143"/>
                  </a:lnTo>
                  <a:lnTo>
                    <a:pt x="85" y="143"/>
                  </a:lnTo>
                  <a:lnTo>
                    <a:pt x="85" y="141"/>
                  </a:lnTo>
                  <a:lnTo>
                    <a:pt x="83" y="141"/>
                  </a:lnTo>
                  <a:lnTo>
                    <a:pt x="83" y="143"/>
                  </a:lnTo>
                  <a:lnTo>
                    <a:pt x="80" y="143"/>
                  </a:lnTo>
                  <a:lnTo>
                    <a:pt x="83" y="141"/>
                  </a:lnTo>
                  <a:lnTo>
                    <a:pt x="83" y="138"/>
                  </a:lnTo>
                  <a:lnTo>
                    <a:pt x="85" y="138"/>
                  </a:lnTo>
                  <a:lnTo>
                    <a:pt x="85" y="136"/>
                  </a:lnTo>
                  <a:lnTo>
                    <a:pt x="85" y="138"/>
                  </a:lnTo>
                  <a:lnTo>
                    <a:pt x="85" y="136"/>
                  </a:lnTo>
                  <a:lnTo>
                    <a:pt x="83" y="136"/>
                  </a:lnTo>
                  <a:lnTo>
                    <a:pt x="85" y="136"/>
                  </a:lnTo>
                  <a:lnTo>
                    <a:pt x="83" y="136"/>
                  </a:lnTo>
                  <a:lnTo>
                    <a:pt x="83" y="138"/>
                  </a:lnTo>
                  <a:lnTo>
                    <a:pt x="83" y="141"/>
                  </a:lnTo>
                  <a:lnTo>
                    <a:pt x="83" y="138"/>
                  </a:lnTo>
                  <a:lnTo>
                    <a:pt x="83" y="141"/>
                  </a:lnTo>
                  <a:lnTo>
                    <a:pt x="80" y="141"/>
                  </a:lnTo>
                  <a:lnTo>
                    <a:pt x="83" y="141"/>
                  </a:lnTo>
                  <a:lnTo>
                    <a:pt x="80" y="141"/>
                  </a:lnTo>
                  <a:lnTo>
                    <a:pt x="80" y="138"/>
                  </a:lnTo>
                  <a:lnTo>
                    <a:pt x="83" y="138"/>
                  </a:lnTo>
                  <a:lnTo>
                    <a:pt x="83" y="136"/>
                  </a:lnTo>
                  <a:lnTo>
                    <a:pt x="83" y="138"/>
                  </a:lnTo>
                  <a:lnTo>
                    <a:pt x="83" y="136"/>
                  </a:lnTo>
                  <a:lnTo>
                    <a:pt x="83" y="133"/>
                  </a:lnTo>
                  <a:lnTo>
                    <a:pt x="85" y="133"/>
                  </a:lnTo>
                  <a:lnTo>
                    <a:pt x="88" y="133"/>
                  </a:lnTo>
                  <a:lnTo>
                    <a:pt x="85" y="133"/>
                  </a:lnTo>
                  <a:lnTo>
                    <a:pt x="88" y="133"/>
                  </a:lnTo>
                  <a:lnTo>
                    <a:pt x="85" y="133"/>
                  </a:lnTo>
                  <a:lnTo>
                    <a:pt x="88" y="133"/>
                  </a:lnTo>
                  <a:lnTo>
                    <a:pt x="85" y="133"/>
                  </a:lnTo>
                  <a:lnTo>
                    <a:pt x="85" y="131"/>
                  </a:lnTo>
                  <a:lnTo>
                    <a:pt x="88" y="131"/>
                  </a:lnTo>
                  <a:lnTo>
                    <a:pt x="88" y="129"/>
                  </a:lnTo>
                  <a:lnTo>
                    <a:pt x="85" y="129"/>
                  </a:lnTo>
                  <a:lnTo>
                    <a:pt x="85" y="131"/>
                  </a:lnTo>
                  <a:lnTo>
                    <a:pt x="83" y="131"/>
                  </a:lnTo>
                  <a:lnTo>
                    <a:pt x="85" y="131"/>
                  </a:lnTo>
                  <a:lnTo>
                    <a:pt x="85" y="129"/>
                  </a:lnTo>
                  <a:lnTo>
                    <a:pt x="85" y="126"/>
                  </a:lnTo>
                  <a:lnTo>
                    <a:pt x="88" y="126"/>
                  </a:lnTo>
                  <a:lnTo>
                    <a:pt x="88" y="124"/>
                  </a:lnTo>
                  <a:lnTo>
                    <a:pt x="85" y="124"/>
                  </a:lnTo>
                  <a:lnTo>
                    <a:pt x="85" y="126"/>
                  </a:lnTo>
                  <a:lnTo>
                    <a:pt x="85" y="124"/>
                  </a:lnTo>
                  <a:lnTo>
                    <a:pt x="85" y="122"/>
                  </a:lnTo>
                  <a:lnTo>
                    <a:pt x="83" y="124"/>
                  </a:lnTo>
                  <a:lnTo>
                    <a:pt x="85" y="124"/>
                  </a:lnTo>
                  <a:lnTo>
                    <a:pt x="83" y="124"/>
                  </a:lnTo>
                  <a:lnTo>
                    <a:pt x="83" y="122"/>
                  </a:lnTo>
                  <a:lnTo>
                    <a:pt x="85" y="122"/>
                  </a:lnTo>
                  <a:lnTo>
                    <a:pt x="83" y="122"/>
                  </a:lnTo>
                  <a:lnTo>
                    <a:pt x="85" y="122"/>
                  </a:lnTo>
                  <a:lnTo>
                    <a:pt x="85" y="119"/>
                  </a:lnTo>
                  <a:lnTo>
                    <a:pt x="85" y="122"/>
                  </a:lnTo>
                  <a:lnTo>
                    <a:pt x="85" y="119"/>
                  </a:lnTo>
                  <a:lnTo>
                    <a:pt x="88" y="119"/>
                  </a:lnTo>
                  <a:lnTo>
                    <a:pt x="88" y="122"/>
                  </a:lnTo>
                  <a:lnTo>
                    <a:pt x="88" y="119"/>
                  </a:lnTo>
                  <a:lnTo>
                    <a:pt x="90" y="119"/>
                  </a:lnTo>
                  <a:lnTo>
                    <a:pt x="88" y="119"/>
                  </a:lnTo>
                  <a:lnTo>
                    <a:pt x="85" y="119"/>
                  </a:lnTo>
                  <a:lnTo>
                    <a:pt x="88" y="119"/>
                  </a:lnTo>
                  <a:lnTo>
                    <a:pt x="85" y="119"/>
                  </a:lnTo>
                  <a:lnTo>
                    <a:pt x="88" y="119"/>
                  </a:lnTo>
                  <a:lnTo>
                    <a:pt x="88" y="117"/>
                  </a:lnTo>
                  <a:lnTo>
                    <a:pt x="88" y="114"/>
                  </a:lnTo>
                  <a:lnTo>
                    <a:pt x="90" y="114"/>
                  </a:lnTo>
                  <a:lnTo>
                    <a:pt x="92" y="114"/>
                  </a:lnTo>
                  <a:lnTo>
                    <a:pt x="95" y="114"/>
                  </a:lnTo>
                  <a:lnTo>
                    <a:pt x="97" y="117"/>
                  </a:lnTo>
                  <a:lnTo>
                    <a:pt x="97" y="114"/>
                  </a:lnTo>
                  <a:lnTo>
                    <a:pt x="99" y="114"/>
                  </a:lnTo>
                  <a:lnTo>
                    <a:pt x="99" y="112"/>
                  </a:lnTo>
                  <a:lnTo>
                    <a:pt x="102" y="112"/>
                  </a:lnTo>
                  <a:lnTo>
                    <a:pt x="102" y="110"/>
                  </a:lnTo>
                  <a:lnTo>
                    <a:pt x="99" y="112"/>
                  </a:lnTo>
                  <a:lnTo>
                    <a:pt x="99" y="114"/>
                  </a:lnTo>
                  <a:lnTo>
                    <a:pt x="97" y="114"/>
                  </a:lnTo>
                  <a:lnTo>
                    <a:pt x="95" y="114"/>
                  </a:lnTo>
                  <a:lnTo>
                    <a:pt x="92" y="114"/>
                  </a:lnTo>
                  <a:lnTo>
                    <a:pt x="90" y="114"/>
                  </a:lnTo>
                  <a:lnTo>
                    <a:pt x="90" y="112"/>
                  </a:lnTo>
                  <a:lnTo>
                    <a:pt x="90" y="114"/>
                  </a:lnTo>
                  <a:lnTo>
                    <a:pt x="90" y="112"/>
                  </a:lnTo>
                  <a:lnTo>
                    <a:pt x="88" y="114"/>
                  </a:lnTo>
                  <a:lnTo>
                    <a:pt x="88" y="112"/>
                  </a:lnTo>
                  <a:lnTo>
                    <a:pt x="90" y="112"/>
                  </a:lnTo>
                  <a:lnTo>
                    <a:pt x="92" y="112"/>
                  </a:lnTo>
                  <a:lnTo>
                    <a:pt x="95" y="112"/>
                  </a:lnTo>
                  <a:lnTo>
                    <a:pt x="95" y="110"/>
                  </a:lnTo>
                  <a:lnTo>
                    <a:pt x="92" y="110"/>
                  </a:lnTo>
                  <a:lnTo>
                    <a:pt x="92" y="112"/>
                  </a:lnTo>
                  <a:lnTo>
                    <a:pt x="92" y="110"/>
                  </a:lnTo>
                  <a:lnTo>
                    <a:pt x="90" y="110"/>
                  </a:lnTo>
                  <a:lnTo>
                    <a:pt x="92" y="110"/>
                  </a:lnTo>
                  <a:lnTo>
                    <a:pt x="90" y="110"/>
                  </a:lnTo>
                  <a:lnTo>
                    <a:pt x="92" y="110"/>
                  </a:lnTo>
                  <a:lnTo>
                    <a:pt x="92" y="107"/>
                  </a:lnTo>
                  <a:lnTo>
                    <a:pt x="92" y="105"/>
                  </a:lnTo>
                  <a:lnTo>
                    <a:pt x="95" y="105"/>
                  </a:lnTo>
                  <a:lnTo>
                    <a:pt x="92" y="105"/>
                  </a:lnTo>
                  <a:lnTo>
                    <a:pt x="95" y="105"/>
                  </a:lnTo>
                  <a:lnTo>
                    <a:pt x="95" y="103"/>
                  </a:lnTo>
                  <a:lnTo>
                    <a:pt x="95" y="105"/>
                  </a:lnTo>
                  <a:lnTo>
                    <a:pt x="95" y="103"/>
                  </a:lnTo>
                  <a:lnTo>
                    <a:pt x="97" y="103"/>
                  </a:lnTo>
                  <a:lnTo>
                    <a:pt x="99" y="103"/>
                  </a:lnTo>
                  <a:lnTo>
                    <a:pt x="102" y="103"/>
                  </a:lnTo>
                  <a:lnTo>
                    <a:pt x="99" y="103"/>
                  </a:lnTo>
                  <a:lnTo>
                    <a:pt x="97" y="103"/>
                  </a:lnTo>
                  <a:lnTo>
                    <a:pt x="95" y="103"/>
                  </a:lnTo>
                  <a:lnTo>
                    <a:pt x="97" y="103"/>
                  </a:lnTo>
                  <a:lnTo>
                    <a:pt x="97" y="100"/>
                  </a:lnTo>
                  <a:lnTo>
                    <a:pt x="99" y="98"/>
                  </a:lnTo>
                  <a:lnTo>
                    <a:pt x="99" y="95"/>
                  </a:lnTo>
                  <a:lnTo>
                    <a:pt x="102" y="95"/>
                  </a:lnTo>
                  <a:lnTo>
                    <a:pt x="99" y="95"/>
                  </a:lnTo>
                  <a:lnTo>
                    <a:pt x="97" y="95"/>
                  </a:lnTo>
                  <a:lnTo>
                    <a:pt x="97" y="93"/>
                  </a:lnTo>
                  <a:lnTo>
                    <a:pt x="95" y="95"/>
                  </a:lnTo>
                  <a:lnTo>
                    <a:pt x="95" y="93"/>
                  </a:lnTo>
                  <a:lnTo>
                    <a:pt x="95" y="95"/>
                  </a:lnTo>
                  <a:lnTo>
                    <a:pt x="95" y="93"/>
                  </a:lnTo>
                  <a:lnTo>
                    <a:pt x="92" y="93"/>
                  </a:lnTo>
                  <a:lnTo>
                    <a:pt x="92" y="95"/>
                  </a:lnTo>
                  <a:lnTo>
                    <a:pt x="95" y="95"/>
                  </a:lnTo>
                  <a:lnTo>
                    <a:pt x="97" y="95"/>
                  </a:lnTo>
                  <a:lnTo>
                    <a:pt x="99" y="95"/>
                  </a:lnTo>
                  <a:lnTo>
                    <a:pt x="99" y="98"/>
                  </a:lnTo>
                  <a:lnTo>
                    <a:pt x="97" y="98"/>
                  </a:lnTo>
                  <a:lnTo>
                    <a:pt x="97" y="100"/>
                  </a:lnTo>
                  <a:lnTo>
                    <a:pt x="95" y="100"/>
                  </a:lnTo>
                  <a:lnTo>
                    <a:pt x="97" y="100"/>
                  </a:lnTo>
                  <a:lnTo>
                    <a:pt x="95" y="100"/>
                  </a:lnTo>
                  <a:lnTo>
                    <a:pt x="95" y="103"/>
                  </a:lnTo>
                  <a:lnTo>
                    <a:pt x="92" y="103"/>
                  </a:lnTo>
                  <a:lnTo>
                    <a:pt x="92" y="105"/>
                  </a:lnTo>
                  <a:lnTo>
                    <a:pt x="90" y="105"/>
                  </a:lnTo>
                  <a:lnTo>
                    <a:pt x="88" y="107"/>
                  </a:lnTo>
                  <a:lnTo>
                    <a:pt x="88" y="110"/>
                  </a:lnTo>
                  <a:lnTo>
                    <a:pt x="85" y="110"/>
                  </a:lnTo>
                  <a:lnTo>
                    <a:pt x="85" y="112"/>
                  </a:lnTo>
                  <a:lnTo>
                    <a:pt x="83" y="112"/>
                  </a:lnTo>
                  <a:lnTo>
                    <a:pt x="80" y="112"/>
                  </a:lnTo>
                  <a:lnTo>
                    <a:pt x="78" y="112"/>
                  </a:lnTo>
                  <a:lnTo>
                    <a:pt x="78" y="110"/>
                  </a:lnTo>
                  <a:lnTo>
                    <a:pt x="80" y="110"/>
                  </a:lnTo>
                  <a:lnTo>
                    <a:pt x="78" y="110"/>
                  </a:lnTo>
                  <a:lnTo>
                    <a:pt x="76" y="110"/>
                  </a:lnTo>
                  <a:lnTo>
                    <a:pt x="73" y="110"/>
                  </a:lnTo>
                  <a:lnTo>
                    <a:pt x="73" y="107"/>
                  </a:lnTo>
                  <a:lnTo>
                    <a:pt x="71" y="107"/>
                  </a:lnTo>
                  <a:lnTo>
                    <a:pt x="71" y="105"/>
                  </a:lnTo>
                  <a:lnTo>
                    <a:pt x="73" y="105"/>
                  </a:lnTo>
                  <a:lnTo>
                    <a:pt x="73" y="103"/>
                  </a:lnTo>
                  <a:lnTo>
                    <a:pt x="73" y="105"/>
                  </a:lnTo>
                  <a:lnTo>
                    <a:pt x="73" y="103"/>
                  </a:lnTo>
                  <a:lnTo>
                    <a:pt x="73" y="105"/>
                  </a:lnTo>
                  <a:lnTo>
                    <a:pt x="76" y="103"/>
                  </a:lnTo>
                  <a:lnTo>
                    <a:pt x="76" y="105"/>
                  </a:lnTo>
                  <a:lnTo>
                    <a:pt x="73" y="105"/>
                  </a:lnTo>
                  <a:lnTo>
                    <a:pt x="76" y="105"/>
                  </a:lnTo>
                  <a:lnTo>
                    <a:pt x="78" y="103"/>
                  </a:lnTo>
                  <a:lnTo>
                    <a:pt x="80" y="103"/>
                  </a:lnTo>
                  <a:lnTo>
                    <a:pt x="83" y="103"/>
                  </a:lnTo>
                  <a:lnTo>
                    <a:pt x="85" y="103"/>
                  </a:lnTo>
                  <a:lnTo>
                    <a:pt x="83" y="103"/>
                  </a:lnTo>
                  <a:lnTo>
                    <a:pt x="80" y="103"/>
                  </a:lnTo>
                  <a:lnTo>
                    <a:pt x="78" y="103"/>
                  </a:lnTo>
                  <a:lnTo>
                    <a:pt x="78" y="100"/>
                  </a:lnTo>
                  <a:lnTo>
                    <a:pt x="78" y="103"/>
                  </a:lnTo>
                  <a:lnTo>
                    <a:pt x="76" y="103"/>
                  </a:lnTo>
                  <a:lnTo>
                    <a:pt x="73" y="103"/>
                  </a:lnTo>
                  <a:lnTo>
                    <a:pt x="71" y="103"/>
                  </a:lnTo>
                  <a:lnTo>
                    <a:pt x="69" y="103"/>
                  </a:lnTo>
                  <a:lnTo>
                    <a:pt x="66" y="103"/>
                  </a:lnTo>
                  <a:lnTo>
                    <a:pt x="64" y="103"/>
                  </a:lnTo>
                  <a:lnTo>
                    <a:pt x="64" y="100"/>
                  </a:lnTo>
                  <a:lnTo>
                    <a:pt x="66" y="100"/>
                  </a:lnTo>
                  <a:lnTo>
                    <a:pt x="66" y="98"/>
                  </a:lnTo>
                  <a:lnTo>
                    <a:pt x="69" y="98"/>
                  </a:lnTo>
                  <a:lnTo>
                    <a:pt x="69" y="100"/>
                  </a:lnTo>
                  <a:lnTo>
                    <a:pt x="69" y="98"/>
                  </a:lnTo>
                  <a:lnTo>
                    <a:pt x="69" y="100"/>
                  </a:lnTo>
                  <a:lnTo>
                    <a:pt x="69" y="98"/>
                  </a:lnTo>
                  <a:lnTo>
                    <a:pt x="71" y="98"/>
                  </a:lnTo>
                  <a:lnTo>
                    <a:pt x="73" y="98"/>
                  </a:lnTo>
                  <a:lnTo>
                    <a:pt x="73" y="100"/>
                  </a:lnTo>
                  <a:lnTo>
                    <a:pt x="76" y="100"/>
                  </a:lnTo>
                  <a:lnTo>
                    <a:pt x="76" y="98"/>
                  </a:lnTo>
                  <a:lnTo>
                    <a:pt x="76" y="100"/>
                  </a:lnTo>
                  <a:lnTo>
                    <a:pt x="76" y="98"/>
                  </a:lnTo>
                  <a:lnTo>
                    <a:pt x="76" y="100"/>
                  </a:lnTo>
                  <a:lnTo>
                    <a:pt x="76" y="98"/>
                  </a:lnTo>
                  <a:lnTo>
                    <a:pt x="73" y="98"/>
                  </a:lnTo>
                  <a:lnTo>
                    <a:pt x="76" y="98"/>
                  </a:lnTo>
                  <a:lnTo>
                    <a:pt x="78" y="98"/>
                  </a:lnTo>
                  <a:lnTo>
                    <a:pt x="76" y="98"/>
                  </a:lnTo>
                  <a:lnTo>
                    <a:pt x="76" y="95"/>
                  </a:lnTo>
                  <a:lnTo>
                    <a:pt x="76" y="98"/>
                  </a:lnTo>
                  <a:lnTo>
                    <a:pt x="76" y="95"/>
                  </a:lnTo>
                  <a:lnTo>
                    <a:pt x="78" y="95"/>
                  </a:lnTo>
                  <a:lnTo>
                    <a:pt x="80" y="95"/>
                  </a:lnTo>
                  <a:lnTo>
                    <a:pt x="80" y="93"/>
                  </a:lnTo>
                  <a:lnTo>
                    <a:pt x="83" y="93"/>
                  </a:lnTo>
                  <a:lnTo>
                    <a:pt x="80" y="93"/>
                  </a:lnTo>
                  <a:lnTo>
                    <a:pt x="80" y="95"/>
                  </a:lnTo>
                  <a:lnTo>
                    <a:pt x="80" y="93"/>
                  </a:lnTo>
                  <a:lnTo>
                    <a:pt x="80" y="95"/>
                  </a:lnTo>
                  <a:lnTo>
                    <a:pt x="80" y="93"/>
                  </a:lnTo>
                  <a:lnTo>
                    <a:pt x="78" y="93"/>
                  </a:lnTo>
                  <a:lnTo>
                    <a:pt x="80" y="93"/>
                  </a:lnTo>
                  <a:lnTo>
                    <a:pt x="78" y="93"/>
                  </a:lnTo>
                  <a:lnTo>
                    <a:pt x="76" y="93"/>
                  </a:lnTo>
                  <a:lnTo>
                    <a:pt x="73" y="93"/>
                  </a:lnTo>
                  <a:lnTo>
                    <a:pt x="73" y="91"/>
                  </a:lnTo>
                  <a:lnTo>
                    <a:pt x="76" y="91"/>
                  </a:lnTo>
                  <a:lnTo>
                    <a:pt x="76" y="93"/>
                  </a:lnTo>
                  <a:lnTo>
                    <a:pt x="76" y="91"/>
                  </a:lnTo>
                  <a:lnTo>
                    <a:pt x="76" y="93"/>
                  </a:lnTo>
                  <a:lnTo>
                    <a:pt x="76" y="91"/>
                  </a:lnTo>
                  <a:lnTo>
                    <a:pt x="76" y="88"/>
                  </a:lnTo>
                  <a:lnTo>
                    <a:pt x="78" y="88"/>
                  </a:lnTo>
                  <a:lnTo>
                    <a:pt x="76" y="88"/>
                  </a:lnTo>
                  <a:lnTo>
                    <a:pt x="76" y="86"/>
                  </a:lnTo>
                  <a:lnTo>
                    <a:pt x="78" y="86"/>
                  </a:lnTo>
                  <a:lnTo>
                    <a:pt x="80" y="86"/>
                  </a:lnTo>
                  <a:lnTo>
                    <a:pt x="80" y="88"/>
                  </a:lnTo>
                  <a:lnTo>
                    <a:pt x="83" y="88"/>
                  </a:lnTo>
                  <a:lnTo>
                    <a:pt x="85" y="88"/>
                  </a:lnTo>
                  <a:lnTo>
                    <a:pt x="88" y="86"/>
                  </a:lnTo>
                  <a:lnTo>
                    <a:pt x="85" y="86"/>
                  </a:lnTo>
                  <a:lnTo>
                    <a:pt x="85" y="88"/>
                  </a:lnTo>
                  <a:lnTo>
                    <a:pt x="83" y="88"/>
                  </a:lnTo>
                  <a:lnTo>
                    <a:pt x="83" y="86"/>
                  </a:lnTo>
                  <a:lnTo>
                    <a:pt x="80" y="86"/>
                  </a:lnTo>
                  <a:lnTo>
                    <a:pt x="83" y="86"/>
                  </a:lnTo>
                  <a:lnTo>
                    <a:pt x="80" y="86"/>
                  </a:lnTo>
                  <a:lnTo>
                    <a:pt x="80" y="84"/>
                  </a:lnTo>
                  <a:lnTo>
                    <a:pt x="80" y="86"/>
                  </a:lnTo>
                  <a:lnTo>
                    <a:pt x="78" y="86"/>
                  </a:lnTo>
                  <a:lnTo>
                    <a:pt x="78" y="84"/>
                  </a:lnTo>
                  <a:lnTo>
                    <a:pt x="78" y="81"/>
                  </a:lnTo>
                  <a:lnTo>
                    <a:pt x="80" y="81"/>
                  </a:lnTo>
                  <a:lnTo>
                    <a:pt x="83" y="81"/>
                  </a:lnTo>
                  <a:lnTo>
                    <a:pt x="85" y="81"/>
                  </a:lnTo>
                  <a:lnTo>
                    <a:pt x="88" y="81"/>
                  </a:lnTo>
                  <a:lnTo>
                    <a:pt x="90" y="81"/>
                  </a:lnTo>
                  <a:lnTo>
                    <a:pt x="92" y="81"/>
                  </a:lnTo>
                  <a:lnTo>
                    <a:pt x="90" y="81"/>
                  </a:lnTo>
                  <a:lnTo>
                    <a:pt x="88" y="81"/>
                  </a:lnTo>
                  <a:lnTo>
                    <a:pt x="85" y="81"/>
                  </a:lnTo>
                  <a:lnTo>
                    <a:pt x="85" y="79"/>
                  </a:lnTo>
                  <a:lnTo>
                    <a:pt x="83" y="79"/>
                  </a:lnTo>
                  <a:lnTo>
                    <a:pt x="80" y="79"/>
                  </a:lnTo>
                  <a:lnTo>
                    <a:pt x="80" y="76"/>
                  </a:lnTo>
                  <a:lnTo>
                    <a:pt x="83" y="76"/>
                  </a:lnTo>
                  <a:lnTo>
                    <a:pt x="83" y="74"/>
                  </a:lnTo>
                  <a:lnTo>
                    <a:pt x="85" y="74"/>
                  </a:lnTo>
                  <a:lnTo>
                    <a:pt x="85" y="72"/>
                  </a:lnTo>
                  <a:lnTo>
                    <a:pt x="88" y="72"/>
                  </a:lnTo>
                  <a:lnTo>
                    <a:pt x="88" y="74"/>
                  </a:lnTo>
                  <a:lnTo>
                    <a:pt x="90" y="74"/>
                  </a:lnTo>
                  <a:lnTo>
                    <a:pt x="90" y="76"/>
                  </a:lnTo>
                  <a:lnTo>
                    <a:pt x="90" y="74"/>
                  </a:lnTo>
                  <a:lnTo>
                    <a:pt x="88" y="74"/>
                  </a:lnTo>
                  <a:lnTo>
                    <a:pt x="88" y="72"/>
                  </a:lnTo>
                  <a:lnTo>
                    <a:pt x="90" y="72"/>
                  </a:lnTo>
                  <a:lnTo>
                    <a:pt x="90" y="69"/>
                  </a:lnTo>
                  <a:lnTo>
                    <a:pt x="88" y="69"/>
                  </a:lnTo>
                  <a:lnTo>
                    <a:pt x="88" y="72"/>
                  </a:lnTo>
                  <a:lnTo>
                    <a:pt x="85" y="72"/>
                  </a:lnTo>
                  <a:lnTo>
                    <a:pt x="83" y="72"/>
                  </a:lnTo>
                  <a:lnTo>
                    <a:pt x="80" y="72"/>
                  </a:lnTo>
                  <a:lnTo>
                    <a:pt x="80" y="69"/>
                  </a:lnTo>
                  <a:lnTo>
                    <a:pt x="83" y="69"/>
                  </a:lnTo>
                  <a:lnTo>
                    <a:pt x="85" y="69"/>
                  </a:lnTo>
                  <a:lnTo>
                    <a:pt x="88" y="69"/>
                  </a:lnTo>
                  <a:lnTo>
                    <a:pt x="88" y="67"/>
                  </a:lnTo>
                  <a:lnTo>
                    <a:pt x="90" y="67"/>
                  </a:lnTo>
                  <a:lnTo>
                    <a:pt x="90" y="65"/>
                  </a:lnTo>
                  <a:lnTo>
                    <a:pt x="88" y="65"/>
                  </a:lnTo>
                  <a:lnTo>
                    <a:pt x="88" y="67"/>
                  </a:lnTo>
                  <a:lnTo>
                    <a:pt x="85" y="67"/>
                  </a:lnTo>
                  <a:lnTo>
                    <a:pt x="85" y="69"/>
                  </a:lnTo>
                  <a:lnTo>
                    <a:pt x="85" y="67"/>
                  </a:lnTo>
                  <a:lnTo>
                    <a:pt x="85" y="69"/>
                  </a:lnTo>
                  <a:lnTo>
                    <a:pt x="85" y="67"/>
                  </a:lnTo>
                  <a:lnTo>
                    <a:pt x="85" y="69"/>
                  </a:lnTo>
                  <a:lnTo>
                    <a:pt x="83" y="69"/>
                  </a:lnTo>
                  <a:lnTo>
                    <a:pt x="83" y="67"/>
                  </a:lnTo>
                  <a:lnTo>
                    <a:pt x="85" y="67"/>
                  </a:lnTo>
                  <a:lnTo>
                    <a:pt x="83" y="67"/>
                  </a:lnTo>
                  <a:lnTo>
                    <a:pt x="85" y="67"/>
                  </a:lnTo>
                  <a:lnTo>
                    <a:pt x="83" y="67"/>
                  </a:lnTo>
                  <a:lnTo>
                    <a:pt x="83" y="65"/>
                  </a:lnTo>
                  <a:lnTo>
                    <a:pt x="83" y="67"/>
                  </a:lnTo>
                  <a:lnTo>
                    <a:pt x="80" y="67"/>
                  </a:lnTo>
                  <a:lnTo>
                    <a:pt x="80" y="69"/>
                  </a:lnTo>
                  <a:lnTo>
                    <a:pt x="78" y="69"/>
                  </a:lnTo>
                  <a:lnTo>
                    <a:pt x="78" y="67"/>
                  </a:lnTo>
                  <a:lnTo>
                    <a:pt x="76" y="67"/>
                  </a:lnTo>
                  <a:lnTo>
                    <a:pt x="78" y="67"/>
                  </a:lnTo>
                  <a:lnTo>
                    <a:pt x="76" y="67"/>
                  </a:lnTo>
                  <a:lnTo>
                    <a:pt x="78" y="67"/>
                  </a:lnTo>
                  <a:lnTo>
                    <a:pt x="78" y="65"/>
                  </a:lnTo>
                  <a:lnTo>
                    <a:pt x="76" y="65"/>
                  </a:lnTo>
                  <a:lnTo>
                    <a:pt x="78" y="65"/>
                  </a:lnTo>
                  <a:lnTo>
                    <a:pt x="76" y="65"/>
                  </a:lnTo>
                  <a:lnTo>
                    <a:pt x="76" y="62"/>
                  </a:lnTo>
                  <a:lnTo>
                    <a:pt x="76" y="60"/>
                  </a:lnTo>
                  <a:lnTo>
                    <a:pt x="76" y="57"/>
                  </a:lnTo>
                  <a:lnTo>
                    <a:pt x="78" y="57"/>
                  </a:lnTo>
                  <a:lnTo>
                    <a:pt x="76" y="57"/>
                  </a:lnTo>
                  <a:lnTo>
                    <a:pt x="78" y="57"/>
                  </a:lnTo>
                  <a:lnTo>
                    <a:pt x="80" y="57"/>
                  </a:lnTo>
                  <a:lnTo>
                    <a:pt x="80" y="60"/>
                  </a:lnTo>
                  <a:lnTo>
                    <a:pt x="83" y="60"/>
                  </a:lnTo>
                  <a:lnTo>
                    <a:pt x="83" y="57"/>
                  </a:lnTo>
                  <a:lnTo>
                    <a:pt x="83" y="60"/>
                  </a:lnTo>
                  <a:lnTo>
                    <a:pt x="83" y="57"/>
                  </a:lnTo>
                  <a:lnTo>
                    <a:pt x="83" y="60"/>
                  </a:lnTo>
                  <a:lnTo>
                    <a:pt x="85" y="60"/>
                  </a:lnTo>
                  <a:lnTo>
                    <a:pt x="88" y="60"/>
                  </a:lnTo>
                  <a:lnTo>
                    <a:pt x="88" y="57"/>
                  </a:lnTo>
                  <a:lnTo>
                    <a:pt x="85" y="57"/>
                  </a:lnTo>
                  <a:lnTo>
                    <a:pt x="83" y="57"/>
                  </a:lnTo>
                  <a:lnTo>
                    <a:pt x="80" y="57"/>
                  </a:lnTo>
                  <a:lnTo>
                    <a:pt x="80" y="55"/>
                  </a:lnTo>
                  <a:lnTo>
                    <a:pt x="78" y="55"/>
                  </a:lnTo>
                  <a:lnTo>
                    <a:pt x="78" y="53"/>
                  </a:lnTo>
                  <a:lnTo>
                    <a:pt x="78" y="50"/>
                  </a:lnTo>
                  <a:lnTo>
                    <a:pt x="80" y="50"/>
                  </a:lnTo>
                  <a:lnTo>
                    <a:pt x="83" y="50"/>
                  </a:lnTo>
                  <a:lnTo>
                    <a:pt x="80" y="50"/>
                  </a:lnTo>
                  <a:lnTo>
                    <a:pt x="80" y="48"/>
                  </a:lnTo>
                  <a:lnTo>
                    <a:pt x="78" y="48"/>
                  </a:lnTo>
                  <a:lnTo>
                    <a:pt x="78" y="46"/>
                  </a:lnTo>
                  <a:lnTo>
                    <a:pt x="78" y="43"/>
                  </a:lnTo>
                  <a:lnTo>
                    <a:pt x="78" y="41"/>
                  </a:lnTo>
                  <a:lnTo>
                    <a:pt x="80" y="41"/>
                  </a:lnTo>
                  <a:lnTo>
                    <a:pt x="80" y="43"/>
                  </a:lnTo>
                  <a:lnTo>
                    <a:pt x="83" y="43"/>
                  </a:lnTo>
                  <a:lnTo>
                    <a:pt x="83" y="46"/>
                  </a:lnTo>
                  <a:lnTo>
                    <a:pt x="83" y="48"/>
                  </a:lnTo>
                  <a:lnTo>
                    <a:pt x="85" y="48"/>
                  </a:lnTo>
                  <a:lnTo>
                    <a:pt x="85" y="46"/>
                  </a:lnTo>
                  <a:lnTo>
                    <a:pt x="83" y="46"/>
                  </a:lnTo>
                  <a:lnTo>
                    <a:pt x="85" y="46"/>
                  </a:lnTo>
                  <a:lnTo>
                    <a:pt x="85" y="43"/>
                  </a:lnTo>
                  <a:lnTo>
                    <a:pt x="83" y="43"/>
                  </a:lnTo>
                  <a:lnTo>
                    <a:pt x="83" y="41"/>
                  </a:lnTo>
                  <a:lnTo>
                    <a:pt x="83" y="38"/>
                  </a:lnTo>
                  <a:lnTo>
                    <a:pt x="85" y="38"/>
                  </a:lnTo>
                  <a:lnTo>
                    <a:pt x="85" y="41"/>
                  </a:lnTo>
                  <a:lnTo>
                    <a:pt x="88" y="41"/>
                  </a:lnTo>
                  <a:lnTo>
                    <a:pt x="88" y="43"/>
                  </a:lnTo>
                  <a:lnTo>
                    <a:pt x="90" y="43"/>
                  </a:lnTo>
                  <a:lnTo>
                    <a:pt x="88" y="41"/>
                  </a:lnTo>
                  <a:lnTo>
                    <a:pt x="90" y="41"/>
                  </a:lnTo>
                  <a:lnTo>
                    <a:pt x="90" y="38"/>
                  </a:lnTo>
                  <a:lnTo>
                    <a:pt x="90" y="41"/>
                  </a:lnTo>
                  <a:lnTo>
                    <a:pt x="92" y="41"/>
                  </a:lnTo>
                  <a:lnTo>
                    <a:pt x="95" y="41"/>
                  </a:lnTo>
                  <a:lnTo>
                    <a:pt x="95" y="43"/>
                  </a:lnTo>
                  <a:lnTo>
                    <a:pt x="97" y="43"/>
                  </a:lnTo>
                  <a:lnTo>
                    <a:pt x="97" y="41"/>
                  </a:lnTo>
                  <a:lnTo>
                    <a:pt x="95" y="41"/>
                  </a:lnTo>
                  <a:lnTo>
                    <a:pt x="92" y="41"/>
                  </a:lnTo>
                  <a:lnTo>
                    <a:pt x="92" y="38"/>
                  </a:lnTo>
                  <a:lnTo>
                    <a:pt x="90" y="38"/>
                  </a:lnTo>
                  <a:lnTo>
                    <a:pt x="92" y="38"/>
                  </a:lnTo>
                  <a:lnTo>
                    <a:pt x="95" y="38"/>
                  </a:lnTo>
                  <a:lnTo>
                    <a:pt x="97" y="38"/>
                  </a:lnTo>
                  <a:lnTo>
                    <a:pt x="97" y="41"/>
                  </a:lnTo>
                  <a:lnTo>
                    <a:pt x="99" y="41"/>
                  </a:lnTo>
                  <a:lnTo>
                    <a:pt x="102" y="43"/>
                  </a:lnTo>
                  <a:lnTo>
                    <a:pt x="102" y="41"/>
                  </a:lnTo>
                  <a:lnTo>
                    <a:pt x="99" y="41"/>
                  </a:lnTo>
                  <a:lnTo>
                    <a:pt x="97" y="41"/>
                  </a:lnTo>
                  <a:lnTo>
                    <a:pt x="97" y="38"/>
                  </a:lnTo>
                  <a:lnTo>
                    <a:pt x="97" y="36"/>
                  </a:lnTo>
                  <a:lnTo>
                    <a:pt x="95" y="36"/>
                  </a:lnTo>
                  <a:lnTo>
                    <a:pt x="97" y="36"/>
                  </a:lnTo>
                  <a:lnTo>
                    <a:pt x="95" y="36"/>
                  </a:lnTo>
                  <a:lnTo>
                    <a:pt x="92" y="36"/>
                  </a:lnTo>
                  <a:lnTo>
                    <a:pt x="92" y="34"/>
                  </a:lnTo>
                  <a:lnTo>
                    <a:pt x="90" y="34"/>
                  </a:lnTo>
                  <a:lnTo>
                    <a:pt x="90" y="31"/>
                  </a:lnTo>
                  <a:lnTo>
                    <a:pt x="90" y="29"/>
                  </a:lnTo>
                  <a:lnTo>
                    <a:pt x="92" y="31"/>
                  </a:lnTo>
                  <a:lnTo>
                    <a:pt x="95" y="31"/>
                  </a:lnTo>
                  <a:lnTo>
                    <a:pt x="95" y="29"/>
                  </a:lnTo>
                  <a:lnTo>
                    <a:pt x="95" y="26"/>
                  </a:lnTo>
                  <a:lnTo>
                    <a:pt x="97" y="26"/>
                  </a:lnTo>
                  <a:lnTo>
                    <a:pt x="95" y="26"/>
                  </a:lnTo>
                  <a:lnTo>
                    <a:pt x="92" y="26"/>
                  </a:lnTo>
                  <a:lnTo>
                    <a:pt x="95" y="26"/>
                  </a:lnTo>
                  <a:lnTo>
                    <a:pt x="92" y="26"/>
                  </a:lnTo>
                  <a:lnTo>
                    <a:pt x="92" y="24"/>
                  </a:lnTo>
                  <a:lnTo>
                    <a:pt x="92" y="22"/>
                  </a:lnTo>
                  <a:lnTo>
                    <a:pt x="90" y="22"/>
                  </a:lnTo>
                  <a:lnTo>
                    <a:pt x="92" y="22"/>
                  </a:lnTo>
                  <a:lnTo>
                    <a:pt x="95" y="22"/>
                  </a:lnTo>
                  <a:lnTo>
                    <a:pt x="95" y="24"/>
                  </a:lnTo>
                  <a:lnTo>
                    <a:pt x="95" y="22"/>
                  </a:lnTo>
                  <a:lnTo>
                    <a:pt x="97" y="22"/>
                  </a:lnTo>
                  <a:lnTo>
                    <a:pt x="99" y="22"/>
                  </a:lnTo>
                  <a:lnTo>
                    <a:pt x="102" y="22"/>
                  </a:lnTo>
                  <a:lnTo>
                    <a:pt x="99" y="22"/>
                  </a:lnTo>
                  <a:lnTo>
                    <a:pt x="102" y="22"/>
                  </a:lnTo>
                  <a:lnTo>
                    <a:pt x="104" y="22"/>
                  </a:lnTo>
                  <a:lnTo>
                    <a:pt x="102" y="22"/>
                  </a:lnTo>
                  <a:lnTo>
                    <a:pt x="102" y="19"/>
                  </a:lnTo>
                  <a:lnTo>
                    <a:pt x="99" y="19"/>
                  </a:lnTo>
                  <a:lnTo>
                    <a:pt x="99" y="17"/>
                  </a:lnTo>
                  <a:lnTo>
                    <a:pt x="99" y="19"/>
                  </a:lnTo>
                  <a:lnTo>
                    <a:pt x="97" y="19"/>
                  </a:lnTo>
                  <a:lnTo>
                    <a:pt x="99" y="17"/>
                  </a:lnTo>
                  <a:lnTo>
                    <a:pt x="97" y="17"/>
                  </a:lnTo>
                  <a:lnTo>
                    <a:pt x="99" y="17"/>
                  </a:lnTo>
                  <a:lnTo>
                    <a:pt x="97" y="17"/>
                  </a:lnTo>
                  <a:lnTo>
                    <a:pt x="99" y="17"/>
                  </a:lnTo>
                  <a:lnTo>
                    <a:pt x="97" y="17"/>
                  </a:lnTo>
                  <a:lnTo>
                    <a:pt x="99" y="15"/>
                  </a:lnTo>
                  <a:lnTo>
                    <a:pt x="99" y="12"/>
                  </a:lnTo>
                  <a:lnTo>
                    <a:pt x="99" y="15"/>
                  </a:lnTo>
                  <a:lnTo>
                    <a:pt x="102" y="15"/>
                  </a:lnTo>
                  <a:lnTo>
                    <a:pt x="102" y="12"/>
                  </a:lnTo>
                  <a:lnTo>
                    <a:pt x="102" y="15"/>
                  </a:lnTo>
                  <a:lnTo>
                    <a:pt x="102" y="12"/>
                  </a:lnTo>
                  <a:lnTo>
                    <a:pt x="99" y="12"/>
                  </a:lnTo>
                  <a:lnTo>
                    <a:pt x="102" y="12"/>
                  </a:lnTo>
                  <a:lnTo>
                    <a:pt x="99" y="12"/>
                  </a:lnTo>
                  <a:lnTo>
                    <a:pt x="102" y="12"/>
                  </a:lnTo>
                  <a:lnTo>
                    <a:pt x="99" y="12"/>
                  </a:lnTo>
                  <a:lnTo>
                    <a:pt x="102" y="12"/>
                  </a:lnTo>
                  <a:lnTo>
                    <a:pt x="104" y="12"/>
                  </a:lnTo>
                  <a:lnTo>
                    <a:pt x="102" y="12"/>
                  </a:lnTo>
                  <a:lnTo>
                    <a:pt x="102" y="10"/>
                  </a:lnTo>
                  <a:lnTo>
                    <a:pt x="99" y="10"/>
                  </a:lnTo>
                  <a:lnTo>
                    <a:pt x="102" y="10"/>
                  </a:lnTo>
                  <a:lnTo>
                    <a:pt x="99" y="10"/>
                  </a:lnTo>
                  <a:lnTo>
                    <a:pt x="99" y="7"/>
                  </a:lnTo>
                  <a:lnTo>
                    <a:pt x="102" y="7"/>
                  </a:lnTo>
                  <a:lnTo>
                    <a:pt x="102" y="5"/>
                  </a:lnTo>
                  <a:lnTo>
                    <a:pt x="104" y="5"/>
                  </a:lnTo>
                  <a:lnTo>
                    <a:pt x="104" y="3"/>
                  </a:lnTo>
                  <a:lnTo>
                    <a:pt x="106" y="3"/>
                  </a:lnTo>
                  <a:lnTo>
                    <a:pt x="109" y="3"/>
                  </a:lnTo>
                  <a:lnTo>
                    <a:pt x="109" y="5"/>
                  </a:lnTo>
                  <a:lnTo>
                    <a:pt x="111" y="5"/>
                  </a:lnTo>
                  <a:lnTo>
                    <a:pt x="111" y="7"/>
                  </a:lnTo>
                  <a:lnTo>
                    <a:pt x="109" y="7"/>
                  </a:lnTo>
                  <a:lnTo>
                    <a:pt x="111" y="7"/>
                  </a:lnTo>
                  <a:lnTo>
                    <a:pt x="111" y="5"/>
                  </a:lnTo>
                  <a:lnTo>
                    <a:pt x="111" y="3"/>
                  </a:lnTo>
                  <a:lnTo>
                    <a:pt x="111" y="5"/>
                  </a:lnTo>
                  <a:lnTo>
                    <a:pt x="114" y="5"/>
                  </a:lnTo>
                  <a:lnTo>
                    <a:pt x="116" y="5"/>
                  </a:lnTo>
                  <a:lnTo>
                    <a:pt x="116" y="7"/>
                  </a:lnTo>
                  <a:lnTo>
                    <a:pt x="114" y="7"/>
                  </a:lnTo>
                  <a:lnTo>
                    <a:pt x="114" y="10"/>
                  </a:lnTo>
                  <a:lnTo>
                    <a:pt x="111" y="10"/>
                  </a:lnTo>
                  <a:lnTo>
                    <a:pt x="111" y="12"/>
                  </a:lnTo>
                  <a:lnTo>
                    <a:pt x="114" y="12"/>
                  </a:lnTo>
                  <a:lnTo>
                    <a:pt x="114" y="10"/>
                  </a:lnTo>
                  <a:lnTo>
                    <a:pt x="116" y="10"/>
                  </a:lnTo>
                  <a:lnTo>
                    <a:pt x="116" y="7"/>
                  </a:lnTo>
                  <a:lnTo>
                    <a:pt x="116" y="10"/>
                  </a:lnTo>
                  <a:lnTo>
                    <a:pt x="116" y="7"/>
                  </a:lnTo>
                  <a:lnTo>
                    <a:pt x="118" y="7"/>
                  </a:lnTo>
                  <a:lnTo>
                    <a:pt x="118" y="5"/>
                  </a:lnTo>
                  <a:lnTo>
                    <a:pt x="116" y="5"/>
                  </a:lnTo>
                  <a:lnTo>
                    <a:pt x="118" y="5"/>
                  </a:lnTo>
                  <a:lnTo>
                    <a:pt x="121" y="5"/>
                  </a:lnTo>
                  <a:lnTo>
                    <a:pt x="123" y="5"/>
                  </a:lnTo>
                  <a:lnTo>
                    <a:pt x="123" y="7"/>
                  </a:lnTo>
                  <a:lnTo>
                    <a:pt x="123" y="10"/>
                  </a:lnTo>
                  <a:lnTo>
                    <a:pt x="121" y="10"/>
                  </a:lnTo>
                  <a:lnTo>
                    <a:pt x="123" y="10"/>
                  </a:lnTo>
                  <a:lnTo>
                    <a:pt x="121" y="10"/>
                  </a:lnTo>
                  <a:lnTo>
                    <a:pt x="121" y="12"/>
                  </a:lnTo>
                  <a:lnTo>
                    <a:pt x="121" y="10"/>
                  </a:lnTo>
                  <a:lnTo>
                    <a:pt x="123" y="10"/>
                  </a:lnTo>
                  <a:lnTo>
                    <a:pt x="123" y="7"/>
                  </a:lnTo>
                  <a:lnTo>
                    <a:pt x="125" y="7"/>
                  </a:lnTo>
                  <a:lnTo>
                    <a:pt x="128" y="7"/>
                  </a:lnTo>
                  <a:lnTo>
                    <a:pt x="130" y="7"/>
                  </a:lnTo>
                  <a:lnTo>
                    <a:pt x="128" y="7"/>
                  </a:lnTo>
                  <a:lnTo>
                    <a:pt x="130" y="7"/>
                  </a:lnTo>
                  <a:lnTo>
                    <a:pt x="130" y="5"/>
                  </a:lnTo>
                  <a:lnTo>
                    <a:pt x="130" y="7"/>
                  </a:lnTo>
                  <a:lnTo>
                    <a:pt x="130" y="5"/>
                  </a:lnTo>
                  <a:lnTo>
                    <a:pt x="133" y="5"/>
                  </a:lnTo>
                  <a:lnTo>
                    <a:pt x="135" y="5"/>
                  </a:lnTo>
                  <a:lnTo>
                    <a:pt x="135" y="3"/>
                  </a:lnTo>
                  <a:lnTo>
                    <a:pt x="137" y="3"/>
                  </a:lnTo>
                  <a:lnTo>
                    <a:pt x="137" y="5"/>
                  </a:lnTo>
                  <a:lnTo>
                    <a:pt x="140" y="5"/>
                  </a:lnTo>
                  <a:lnTo>
                    <a:pt x="142" y="5"/>
                  </a:lnTo>
                  <a:lnTo>
                    <a:pt x="144" y="5"/>
                  </a:lnTo>
                  <a:lnTo>
                    <a:pt x="147" y="3"/>
                  </a:lnTo>
                  <a:lnTo>
                    <a:pt x="149" y="3"/>
                  </a:lnTo>
                  <a:lnTo>
                    <a:pt x="152" y="3"/>
                  </a:lnTo>
                  <a:lnTo>
                    <a:pt x="154" y="3"/>
                  </a:lnTo>
                  <a:lnTo>
                    <a:pt x="156" y="3"/>
                  </a:lnTo>
                  <a:lnTo>
                    <a:pt x="159" y="3"/>
                  </a:lnTo>
                  <a:lnTo>
                    <a:pt x="156" y="3"/>
                  </a:lnTo>
                  <a:lnTo>
                    <a:pt x="156" y="0"/>
                  </a:lnTo>
                  <a:lnTo>
                    <a:pt x="159" y="0"/>
                  </a:lnTo>
                  <a:lnTo>
                    <a:pt x="161" y="0"/>
                  </a:lnTo>
                  <a:lnTo>
                    <a:pt x="163" y="0"/>
                  </a:lnTo>
                  <a:lnTo>
                    <a:pt x="166" y="0"/>
                  </a:lnTo>
                  <a:lnTo>
                    <a:pt x="168" y="0"/>
                  </a:lnTo>
                  <a:lnTo>
                    <a:pt x="168" y="3"/>
                  </a:lnTo>
                  <a:lnTo>
                    <a:pt x="168" y="5"/>
                  </a:lnTo>
                  <a:lnTo>
                    <a:pt x="166" y="7"/>
                  </a:lnTo>
                  <a:lnTo>
                    <a:pt x="166" y="10"/>
                  </a:lnTo>
                  <a:lnTo>
                    <a:pt x="168" y="10"/>
                  </a:lnTo>
                  <a:lnTo>
                    <a:pt x="168" y="12"/>
                  </a:lnTo>
                  <a:lnTo>
                    <a:pt x="166" y="15"/>
                  </a:lnTo>
                  <a:lnTo>
                    <a:pt x="166" y="17"/>
                  </a:lnTo>
                  <a:lnTo>
                    <a:pt x="163" y="17"/>
                  </a:lnTo>
                  <a:lnTo>
                    <a:pt x="163" y="19"/>
                  </a:lnTo>
                  <a:lnTo>
                    <a:pt x="161" y="19"/>
                  </a:lnTo>
                  <a:lnTo>
                    <a:pt x="159" y="19"/>
                  </a:lnTo>
                  <a:lnTo>
                    <a:pt x="156" y="22"/>
                  </a:lnTo>
                  <a:lnTo>
                    <a:pt x="156" y="24"/>
                  </a:lnTo>
                  <a:lnTo>
                    <a:pt x="154" y="24"/>
                  </a:lnTo>
                  <a:lnTo>
                    <a:pt x="154" y="26"/>
                  </a:lnTo>
                  <a:lnTo>
                    <a:pt x="152" y="26"/>
                  </a:lnTo>
                  <a:lnTo>
                    <a:pt x="149" y="29"/>
                  </a:lnTo>
                  <a:lnTo>
                    <a:pt x="147" y="29"/>
                  </a:lnTo>
                  <a:lnTo>
                    <a:pt x="147" y="31"/>
                  </a:lnTo>
                  <a:lnTo>
                    <a:pt x="144" y="31"/>
                  </a:lnTo>
                  <a:lnTo>
                    <a:pt x="142" y="34"/>
                  </a:lnTo>
                  <a:lnTo>
                    <a:pt x="142" y="36"/>
                  </a:lnTo>
                  <a:lnTo>
                    <a:pt x="140" y="36"/>
                  </a:lnTo>
                  <a:lnTo>
                    <a:pt x="137" y="36"/>
                  </a:lnTo>
                  <a:lnTo>
                    <a:pt x="137" y="38"/>
                  </a:lnTo>
                  <a:lnTo>
                    <a:pt x="135" y="38"/>
                  </a:lnTo>
                  <a:lnTo>
                    <a:pt x="137" y="38"/>
                  </a:lnTo>
                  <a:lnTo>
                    <a:pt x="135" y="38"/>
                  </a:lnTo>
                  <a:lnTo>
                    <a:pt x="135" y="36"/>
                  </a:lnTo>
                  <a:lnTo>
                    <a:pt x="135" y="38"/>
                  </a:lnTo>
                  <a:lnTo>
                    <a:pt x="135" y="36"/>
                  </a:lnTo>
                  <a:lnTo>
                    <a:pt x="135" y="38"/>
                  </a:lnTo>
                  <a:lnTo>
                    <a:pt x="137" y="38"/>
                  </a:lnTo>
                  <a:lnTo>
                    <a:pt x="137" y="41"/>
                  </a:lnTo>
                  <a:lnTo>
                    <a:pt x="137" y="43"/>
                  </a:lnTo>
                  <a:lnTo>
                    <a:pt x="137" y="41"/>
                  </a:lnTo>
                  <a:lnTo>
                    <a:pt x="135" y="41"/>
                  </a:lnTo>
                  <a:lnTo>
                    <a:pt x="135" y="43"/>
                  </a:lnTo>
                  <a:lnTo>
                    <a:pt x="133" y="43"/>
                  </a:lnTo>
                  <a:lnTo>
                    <a:pt x="130" y="43"/>
                  </a:lnTo>
                  <a:lnTo>
                    <a:pt x="130" y="41"/>
                  </a:lnTo>
                  <a:lnTo>
                    <a:pt x="128" y="41"/>
                  </a:lnTo>
                  <a:lnTo>
                    <a:pt x="128" y="43"/>
                  </a:lnTo>
                  <a:lnTo>
                    <a:pt x="128" y="41"/>
                  </a:lnTo>
                  <a:lnTo>
                    <a:pt x="125" y="41"/>
                  </a:lnTo>
                  <a:lnTo>
                    <a:pt x="125" y="38"/>
                  </a:lnTo>
                  <a:lnTo>
                    <a:pt x="123" y="38"/>
                  </a:lnTo>
                  <a:lnTo>
                    <a:pt x="125" y="41"/>
                  </a:lnTo>
                  <a:lnTo>
                    <a:pt x="125" y="43"/>
                  </a:lnTo>
                  <a:lnTo>
                    <a:pt x="125" y="41"/>
                  </a:lnTo>
                  <a:lnTo>
                    <a:pt x="128" y="41"/>
                  </a:lnTo>
                  <a:lnTo>
                    <a:pt x="128" y="43"/>
                  </a:lnTo>
                  <a:lnTo>
                    <a:pt x="130" y="43"/>
                  </a:lnTo>
                  <a:lnTo>
                    <a:pt x="130" y="41"/>
                  </a:lnTo>
                  <a:lnTo>
                    <a:pt x="130" y="43"/>
                  </a:lnTo>
                  <a:lnTo>
                    <a:pt x="133" y="43"/>
                  </a:lnTo>
                  <a:lnTo>
                    <a:pt x="135" y="43"/>
                  </a:lnTo>
                  <a:lnTo>
                    <a:pt x="135" y="46"/>
                  </a:lnTo>
                  <a:lnTo>
                    <a:pt x="135" y="43"/>
                  </a:lnTo>
                  <a:lnTo>
                    <a:pt x="137" y="43"/>
                  </a:lnTo>
                  <a:lnTo>
                    <a:pt x="140" y="43"/>
                  </a:lnTo>
                  <a:lnTo>
                    <a:pt x="140" y="46"/>
                  </a:lnTo>
                  <a:lnTo>
                    <a:pt x="137" y="46"/>
                  </a:lnTo>
                  <a:lnTo>
                    <a:pt x="140" y="46"/>
                  </a:lnTo>
                  <a:lnTo>
                    <a:pt x="140" y="43"/>
                  </a:lnTo>
                  <a:lnTo>
                    <a:pt x="140" y="46"/>
                  </a:lnTo>
                  <a:lnTo>
                    <a:pt x="140" y="43"/>
                  </a:lnTo>
                  <a:lnTo>
                    <a:pt x="142" y="43"/>
                  </a:lnTo>
                  <a:lnTo>
                    <a:pt x="144" y="41"/>
                  </a:lnTo>
                  <a:lnTo>
                    <a:pt x="144" y="43"/>
                  </a:lnTo>
                  <a:lnTo>
                    <a:pt x="142" y="43"/>
                  </a:lnTo>
                  <a:lnTo>
                    <a:pt x="142" y="46"/>
                  </a:lnTo>
                  <a:lnTo>
                    <a:pt x="140" y="48"/>
                  </a:lnTo>
                  <a:lnTo>
                    <a:pt x="137" y="50"/>
                  </a:lnTo>
                  <a:lnTo>
                    <a:pt x="135" y="50"/>
                  </a:lnTo>
                  <a:lnTo>
                    <a:pt x="137" y="48"/>
                  </a:lnTo>
                  <a:lnTo>
                    <a:pt x="135" y="48"/>
                  </a:lnTo>
                  <a:lnTo>
                    <a:pt x="133" y="50"/>
                  </a:lnTo>
                  <a:lnTo>
                    <a:pt x="130" y="50"/>
                  </a:lnTo>
                  <a:lnTo>
                    <a:pt x="128" y="50"/>
                  </a:lnTo>
                  <a:lnTo>
                    <a:pt x="128" y="53"/>
                  </a:lnTo>
                  <a:lnTo>
                    <a:pt x="128" y="50"/>
                  </a:lnTo>
                  <a:lnTo>
                    <a:pt x="128" y="53"/>
                  </a:lnTo>
                  <a:lnTo>
                    <a:pt x="125" y="53"/>
                  </a:lnTo>
                  <a:lnTo>
                    <a:pt x="125" y="55"/>
                  </a:lnTo>
                  <a:lnTo>
                    <a:pt x="123" y="55"/>
                  </a:lnTo>
                  <a:lnTo>
                    <a:pt x="123" y="57"/>
                  </a:lnTo>
                  <a:lnTo>
                    <a:pt x="123" y="55"/>
                  </a:lnTo>
                  <a:lnTo>
                    <a:pt x="125" y="55"/>
                  </a:lnTo>
                  <a:lnTo>
                    <a:pt x="128" y="53"/>
                  </a:lnTo>
                  <a:lnTo>
                    <a:pt x="130" y="53"/>
                  </a:lnTo>
                  <a:lnTo>
                    <a:pt x="133" y="53"/>
                  </a:lnTo>
                  <a:lnTo>
                    <a:pt x="130" y="53"/>
                  </a:lnTo>
                  <a:lnTo>
                    <a:pt x="133" y="53"/>
                  </a:lnTo>
                  <a:lnTo>
                    <a:pt x="135" y="53"/>
                  </a:lnTo>
                  <a:lnTo>
                    <a:pt x="135" y="50"/>
                  </a:lnTo>
                  <a:lnTo>
                    <a:pt x="137" y="53"/>
                  </a:lnTo>
                  <a:lnTo>
                    <a:pt x="137" y="50"/>
                  </a:lnTo>
                  <a:lnTo>
                    <a:pt x="137" y="53"/>
                  </a:lnTo>
                  <a:lnTo>
                    <a:pt x="135" y="53"/>
                  </a:lnTo>
                  <a:lnTo>
                    <a:pt x="135" y="55"/>
                  </a:lnTo>
                  <a:lnTo>
                    <a:pt x="133" y="55"/>
                  </a:lnTo>
                  <a:lnTo>
                    <a:pt x="133" y="57"/>
                  </a:lnTo>
                  <a:lnTo>
                    <a:pt x="135" y="57"/>
                  </a:lnTo>
                  <a:lnTo>
                    <a:pt x="133" y="57"/>
                  </a:lnTo>
                  <a:lnTo>
                    <a:pt x="130" y="57"/>
                  </a:lnTo>
                  <a:lnTo>
                    <a:pt x="128" y="57"/>
                  </a:lnTo>
                  <a:lnTo>
                    <a:pt x="130" y="57"/>
                  </a:lnTo>
                  <a:lnTo>
                    <a:pt x="130" y="60"/>
                  </a:lnTo>
                  <a:lnTo>
                    <a:pt x="130" y="57"/>
                  </a:lnTo>
                  <a:lnTo>
                    <a:pt x="130" y="60"/>
                  </a:lnTo>
                  <a:lnTo>
                    <a:pt x="128" y="60"/>
                  </a:lnTo>
                  <a:lnTo>
                    <a:pt x="125" y="60"/>
                  </a:lnTo>
                  <a:lnTo>
                    <a:pt x="123" y="60"/>
                  </a:lnTo>
                  <a:lnTo>
                    <a:pt x="123" y="62"/>
                  </a:lnTo>
                  <a:lnTo>
                    <a:pt x="123" y="60"/>
                  </a:lnTo>
                  <a:lnTo>
                    <a:pt x="123" y="62"/>
                  </a:lnTo>
                  <a:lnTo>
                    <a:pt x="125" y="62"/>
                  </a:lnTo>
                  <a:lnTo>
                    <a:pt x="128" y="62"/>
                  </a:lnTo>
                  <a:lnTo>
                    <a:pt x="130" y="62"/>
                  </a:lnTo>
                  <a:lnTo>
                    <a:pt x="130" y="60"/>
                  </a:lnTo>
                  <a:lnTo>
                    <a:pt x="130" y="62"/>
                  </a:lnTo>
                  <a:lnTo>
                    <a:pt x="133" y="62"/>
                  </a:lnTo>
                  <a:lnTo>
                    <a:pt x="133" y="60"/>
                  </a:lnTo>
                  <a:lnTo>
                    <a:pt x="135" y="57"/>
                  </a:lnTo>
                  <a:lnTo>
                    <a:pt x="135" y="55"/>
                  </a:lnTo>
                  <a:lnTo>
                    <a:pt x="137" y="55"/>
                  </a:lnTo>
                  <a:lnTo>
                    <a:pt x="140" y="57"/>
                  </a:lnTo>
                  <a:lnTo>
                    <a:pt x="140" y="55"/>
                  </a:lnTo>
                  <a:lnTo>
                    <a:pt x="142" y="55"/>
                  </a:lnTo>
                  <a:lnTo>
                    <a:pt x="144" y="55"/>
                  </a:lnTo>
                  <a:lnTo>
                    <a:pt x="142" y="55"/>
                  </a:lnTo>
                  <a:lnTo>
                    <a:pt x="144" y="55"/>
                  </a:lnTo>
                  <a:lnTo>
                    <a:pt x="144" y="53"/>
                  </a:lnTo>
                  <a:lnTo>
                    <a:pt x="147" y="53"/>
                  </a:lnTo>
                  <a:lnTo>
                    <a:pt x="144" y="53"/>
                  </a:lnTo>
                  <a:lnTo>
                    <a:pt x="144" y="55"/>
                  </a:lnTo>
                  <a:lnTo>
                    <a:pt x="147" y="53"/>
                  </a:lnTo>
                  <a:lnTo>
                    <a:pt x="149" y="53"/>
                  </a:lnTo>
                  <a:lnTo>
                    <a:pt x="149" y="55"/>
                  </a:lnTo>
                  <a:lnTo>
                    <a:pt x="152" y="55"/>
                  </a:lnTo>
                  <a:lnTo>
                    <a:pt x="152" y="53"/>
                  </a:lnTo>
                  <a:lnTo>
                    <a:pt x="149" y="53"/>
                  </a:lnTo>
                  <a:lnTo>
                    <a:pt x="152" y="53"/>
                  </a:lnTo>
                  <a:lnTo>
                    <a:pt x="154" y="53"/>
                  </a:lnTo>
                  <a:lnTo>
                    <a:pt x="154" y="50"/>
                  </a:lnTo>
                  <a:lnTo>
                    <a:pt x="156" y="50"/>
                  </a:lnTo>
                  <a:lnTo>
                    <a:pt x="159" y="50"/>
                  </a:lnTo>
                  <a:lnTo>
                    <a:pt x="161" y="50"/>
                  </a:lnTo>
                  <a:lnTo>
                    <a:pt x="161" y="48"/>
                  </a:lnTo>
                  <a:lnTo>
                    <a:pt x="161" y="50"/>
                  </a:lnTo>
                  <a:lnTo>
                    <a:pt x="163" y="50"/>
                  </a:lnTo>
                  <a:lnTo>
                    <a:pt x="166" y="53"/>
                  </a:lnTo>
                  <a:lnTo>
                    <a:pt x="168" y="53"/>
                  </a:lnTo>
                  <a:lnTo>
                    <a:pt x="171" y="53"/>
                  </a:lnTo>
                  <a:lnTo>
                    <a:pt x="171" y="50"/>
                  </a:lnTo>
                  <a:lnTo>
                    <a:pt x="171" y="53"/>
                  </a:lnTo>
                  <a:lnTo>
                    <a:pt x="171" y="50"/>
                  </a:lnTo>
                  <a:lnTo>
                    <a:pt x="173" y="50"/>
                  </a:lnTo>
                  <a:lnTo>
                    <a:pt x="175" y="50"/>
                  </a:lnTo>
                  <a:lnTo>
                    <a:pt x="178" y="50"/>
                  </a:lnTo>
                  <a:lnTo>
                    <a:pt x="180" y="50"/>
                  </a:lnTo>
                  <a:lnTo>
                    <a:pt x="182" y="50"/>
                  </a:lnTo>
                  <a:lnTo>
                    <a:pt x="182" y="53"/>
                  </a:lnTo>
                  <a:lnTo>
                    <a:pt x="185" y="50"/>
                  </a:lnTo>
                  <a:lnTo>
                    <a:pt x="185" y="53"/>
                  </a:lnTo>
                  <a:lnTo>
                    <a:pt x="187" y="53"/>
                  </a:lnTo>
                  <a:lnTo>
                    <a:pt x="190" y="53"/>
                  </a:lnTo>
                  <a:lnTo>
                    <a:pt x="192" y="53"/>
                  </a:lnTo>
                  <a:lnTo>
                    <a:pt x="192" y="50"/>
                  </a:lnTo>
                  <a:lnTo>
                    <a:pt x="194" y="50"/>
                  </a:lnTo>
                  <a:lnTo>
                    <a:pt x="194" y="53"/>
                  </a:lnTo>
                  <a:lnTo>
                    <a:pt x="194" y="50"/>
                  </a:lnTo>
                  <a:lnTo>
                    <a:pt x="197" y="53"/>
                  </a:lnTo>
                  <a:lnTo>
                    <a:pt x="197" y="50"/>
                  </a:lnTo>
                  <a:lnTo>
                    <a:pt x="199" y="50"/>
                  </a:lnTo>
                  <a:lnTo>
                    <a:pt x="201" y="50"/>
                  </a:lnTo>
                  <a:lnTo>
                    <a:pt x="204" y="50"/>
                  </a:lnTo>
                  <a:lnTo>
                    <a:pt x="204" y="53"/>
                  </a:lnTo>
                  <a:lnTo>
                    <a:pt x="204" y="50"/>
                  </a:lnTo>
                  <a:lnTo>
                    <a:pt x="206" y="53"/>
                  </a:lnTo>
                  <a:lnTo>
                    <a:pt x="206" y="55"/>
                  </a:lnTo>
                  <a:lnTo>
                    <a:pt x="209" y="55"/>
                  </a:lnTo>
                  <a:lnTo>
                    <a:pt x="209" y="57"/>
                  </a:lnTo>
                  <a:lnTo>
                    <a:pt x="209" y="60"/>
                  </a:lnTo>
                  <a:lnTo>
                    <a:pt x="211" y="60"/>
                  </a:lnTo>
                  <a:lnTo>
                    <a:pt x="211" y="62"/>
                  </a:lnTo>
                  <a:lnTo>
                    <a:pt x="209" y="62"/>
                  </a:lnTo>
                  <a:lnTo>
                    <a:pt x="211" y="62"/>
                  </a:lnTo>
                  <a:lnTo>
                    <a:pt x="209" y="62"/>
                  </a:lnTo>
                  <a:lnTo>
                    <a:pt x="209" y="65"/>
                  </a:lnTo>
                  <a:lnTo>
                    <a:pt x="209" y="67"/>
                  </a:lnTo>
                  <a:lnTo>
                    <a:pt x="206" y="67"/>
                  </a:lnTo>
                  <a:lnTo>
                    <a:pt x="206" y="69"/>
                  </a:lnTo>
                  <a:lnTo>
                    <a:pt x="204" y="69"/>
                  </a:lnTo>
                  <a:lnTo>
                    <a:pt x="204" y="72"/>
                  </a:lnTo>
                  <a:lnTo>
                    <a:pt x="204" y="69"/>
                  </a:lnTo>
                  <a:lnTo>
                    <a:pt x="201" y="69"/>
                  </a:lnTo>
                  <a:lnTo>
                    <a:pt x="204" y="69"/>
                  </a:lnTo>
                  <a:lnTo>
                    <a:pt x="201" y="69"/>
                  </a:lnTo>
                  <a:lnTo>
                    <a:pt x="204" y="69"/>
                  </a:lnTo>
                  <a:lnTo>
                    <a:pt x="204" y="72"/>
                  </a:lnTo>
                  <a:lnTo>
                    <a:pt x="201" y="74"/>
                  </a:lnTo>
                  <a:lnTo>
                    <a:pt x="201" y="76"/>
                  </a:lnTo>
                  <a:lnTo>
                    <a:pt x="201" y="79"/>
                  </a:lnTo>
                  <a:lnTo>
                    <a:pt x="201" y="81"/>
                  </a:lnTo>
                  <a:lnTo>
                    <a:pt x="199" y="81"/>
                  </a:lnTo>
                  <a:lnTo>
                    <a:pt x="199" y="84"/>
                  </a:lnTo>
                  <a:lnTo>
                    <a:pt x="199" y="86"/>
                  </a:lnTo>
                  <a:lnTo>
                    <a:pt x="197" y="86"/>
                  </a:lnTo>
                  <a:lnTo>
                    <a:pt x="197" y="88"/>
                  </a:lnTo>
                  <a:lnTo>
                    <a:pt x="197" y="91"/>
                  </a:lnTo>
                  <a:lnTo>
                    <a:pt x="197" y="93"/>
                  </a:lnTo>
                  <a:lnTo>
                    <a:pt x="194" y="93"/>
                  </a:lnTo>
                  <a:lnTo>
                    <a:pt x="194" y="95"/>
                  </a:lnTo>
                  <a:lnTo>
                    <a:pt x="192" y="95"/>
                  </a:lnTo>
                  <a:lnTo>
                    <a:pt x="192" y="98"/>
                  </a:lnTo>
                  <a:lnTo>
                    <a:pt x="190" y="98"/>
                  </a:lnTo>
                  <a:lnTo>
                    <a:pt x="190" y="100"/>
                  </a:lnTo>
                  <a:lnTo>
                    <a:pt x="187" y="100"/>
                  </a:lnTo>
                  <a:lnTo>
                    <a:pt x="187" y="103"/>
                  </a:lnTo>
                  <a:lnTo>
                    <a:pt x="187" y="100"/>
                  </a:lnTo>
                  <a:lnTo>
                    <a:pt x="185" y="100"/>
                  </a:lnTo>
                  <a:lnTo>
                    <a:pt x="185" y="103"/>
                  </a:lnTo>
                  <a:lnTo>
                    <a:pt x="187" y="103"/>
                  </a:lnTo>
                  <a:lnTo>
                    <a:pt x="190" y="103"/>
                  </a:lnTo>
                  <a:lnTo>
                    <a:pt x="187" y="103"/>
                  </a:lnTo>
                  <a:lnTo>
                    <a:pt x="190" y="103"/>
                  </a:lnTo>
                  <a:lnTo>
                    <a:pt x="187" y="103"/>
                  </a:lnTo>
                  <a:lnTo>
                    <a:pt x="187" y="105"/>
                  </a:lnTo>
                  <a:lnTo>
                    <a:pt x="187" y="107"/>
                  </a:lnTo>
                  <a:lnTo>
                    <a:pt x="185" y="107"/>
                  </a:lnTo>
                  <a:lnTo>
                    <a:pt x="185" y="110"/>
                  </a:lnTo>
                  <a:lnTo>
                    <a:pt x="182" y="110"/>
                  </a:lnTo>
                  <a:lnTo>
                    <a:pt x="182" y="112"/>
                  </a:lnTo>
                  <a:lnTo>
                    <a:pt x="180" y="112"/>
                  </a:lnTo>
                  <a:lnTo>
                    <a:pt x="180" y="114"/>
                  </a:lnTo>
                  <a:lnTo>
                    <a:pt x="178" y="114"/>
                  </a:lnTo>
                  <a:lnTo>
                    <a:pt x="175" y="114"/>
                  </a:lnTo>
                  <a:lnTo>
                    <a:pt x="173" y="114"/>
                  </a:lnTo>
                  <a:lnTo>
                    <a:pt x="171" y="114"/>
                  </a:lnTo>
                  <a:lnTo>
                    <a:pt x="168" y="114"/>
                  </a:lnTo>
                  <a:lnTo>
                    <a:pt x="166" y="114"/>
                  </a:lnTo>
                  <a:lnTo>
                    <a:pt x="166" y="117"/>
                  </a:lnTo>
                  <a:lnTo>
                    <a:pt x="163" y="117"/>
                  </a:lnTo>
                  <a:lnTo>
                    <a:pt x="163" y="119"/>
                  </a:lnTo>
                  <a:lnTo>
                    <a:pt x="161" y="119"/>
                  </a:lnTo>
                  <a:lnTo>
                    <a:pt x="159" y="119"/>
                  </a:lnTo>
                  <a:lnTo>
                    <a:pt x="161" y="119"/>
                  </a:lnTo>
                  <a:lnTo>
                    <a:pt x="163" y="119"/>
                  </a:lnTo>
                  <a:lnTo>
                    <a:pt x="166" y="119"/>
                  </a:lnTo>
                  <a:lnTo>
                    <a:pt x="166" y="117"/>
                  </a:lnTo>
                  <a:lnTo>
                    <a:pt x="168" y="117"/>
                  </a:lnTo>
                  <a:lnTo>
                    <a:pt x="171" y="117"/>
                  </a:lnTo>
                  <a:lnTo>
                    <a:pt x="173" y="114"/>
                  </a:lnTo>
                  <a:lnTo>
                    <a:pt x="175" y="114"/>
                  </a:lnTo>
                  <a:lnTo>
                    <a:pt x="175" y="117"/>
                  </a:lnTo>
                  <a:lnTo>
                    <a:pt x="175" y="119"/>
                  </a:lnTo>
                  <a:lnTo>
                    <a:pt x="173" y="119"/>
                  </a:lnTo>
                  <a:lnTo>
                    <a:pt x="175" y="119"/>
                  </a:lnTo>
                  <a:lnTo>
                    <a:pt x="175" y="122"/>
                  </a:lnTo>
                  <a:lnTo>
                    <a:pt x="178" y="122"/>
                  </a:lnTo>
                  <a:lnTo>
                    <a:pt x="180" y="122"/>
                  </a:lnTo>
                  <a:lnTo>
                    <a:pt x="182" y="122"/>
                  </a:lnTo>
                  <a:lnTo>
                    <a:pt x="180" y="122"/>
                  </a:lnTo>
                  <a:lnTo>
                    <a:pt x="182" y="122"/>
                  </a:lnTo>
                  <a:lnTo>
                    <a:pt x="182" y="124"/>
                  </a:lnTo>
                  <a:lnTo>
                    <a:pt x="185" y="124"/>
                  </a:lnTo>
                  <a:lnTo>
                    <a:pt x="182" y="124"/>
                  </a:lnTo>
                  <a:lnTo>
                    <a:pt x="182" y="126"/>
                  </a:lnTo>
                  <a:lnTo>
                    <a:pt x="180" y="126"/>
                  </a:lnTo>
                  <a:lnTo>
                    <a:pt x="178" y="126"/>
                  </a:lnTo>
                  <a:lnTo>
                    <a:pt x="178" y="129"/>
                  </a:lnTo>
                  <a:lnTo>
                    <a:pt x="175" y="129"/>
                  </a:lnTo>
                  <a:lnTo>
                    <a:pt x="173" y="129"/>
                  </a:lnTo>
                  <a:lnTo>
                    <a:pt x="173" y="126"/>
                  </a:lnTo>
                  <a:lnTo>
                    <a:pt x="171" y="126"/>
                  </a:lnTo>
                  <a:lnTo>
                    <a:pt x="171" y="129"/>
                  </a:lnTo>
                  <a:lnTo>
                    <a:pt x="168" y="129"/>
                  </a:lnTo>
                  <a:lnTo>
                    <a:pt x="168" y="131"/>
                  </a:lnTo>
                  <a:lnTo>
                    <a:pt x="166" y="131"/>
                  </a:lnTo>
                  <a:lnTo>
                    <a:pt x="166" y="133"/>
                  </a:lnTo>
                  <a:lnTo>
                    <a:pt x="163" y="133"/>
                  </a:lnTo>
                  <a:lnTo>
                    <a:pt x="166" y="133"/>
                  </a:lnTo>
                  <a:lnTo>
                    <a:pt x="163" y="133"/>
                  </a:lnTo>
                  <a:lnTo>
                    <a:pt x="163" y="136"/>
                  </a:lnTo>
                  <a:lnTo>
                    <a:pt x="161" y="136"/>
                  </a:lnTo>
                  <a:lnTo>
                    <a:pt x="159" y="136"/>
                  </a:lnTo>
                  <a:lnTo>
                    <a:pt x="156" y="136"/>
                  </a:lnTo>
                  <a:lnTo>
                    <a:pt x="156" y="138"/>
                  </a:lnTo>
                  <a:lnTo>
                    <a:pt x="156" y="136"/>
                  </a:lnTo>
                  <a:lnTo>
                    <a:pt x="156" y="138"/>
                  </a:lnTo>
                  <a:lnTo>
                    <a:pt x="154" y="138"/>
                  </a:lnTo>
                  <a:lnTo>
                    <a:pt x="154" y="136"/>
                  </a:lnTo>
                  <a:lnTo>
                    <a:pt x="152" y="136"/>
                  </a:lnTo>
                  <a:lnTo>
                    <a:pt x="149" y="136"/>
                  </a:lnTo>
                  <a:lnTo>
                    <a:pt x="147" y="136"/>
                  </a:lnTo>
                  <a:lnTo>
                    <a:pt x="147" y="133"/>
                  </a:lnTo>
                  <a:lnTo>
                    <a:pt x="144" y="133"/>
                  </a:lnTo>
                  <a:lnTo>
                    <a:pt x="142" y="133"/>
                  </a:lnTo>
                  <a:lnTo>
                    <a:pt x="142" y="131"/>
                  </a:lnTo>
                  <a:lnTo>
                    <a:pt x="142" y="133"/>
                  </a:lnTo>
                  <a:lnTo>
                    <a:pt x="144" y="133"/>
                  </a:lnTo>
                  <a:lnTo>
                    <a:pt x="144" y="136"/>
                  </a:lnTo>
                  <a:lnTo>
                    <a:pt x="147" y="136"/>
                  </a:lnTo>
                  <a:lnTo>
                    <a:pt x="147" y="138"/>
                  </a:lnTo>
                  <a:lnTo>
                    <a:pt x="149" y="138"/>
                  </a:lnTo>
                  <a:lnTo>
                    <a:pt x="149" y="136"/>
                  </a:lnTo>
                  <a:lnTo>
                    <a:pt x="152" y="138"/>
                  </a:lnTo>
                  <a:lnTo>
                    <a:pt x="154" y="138"/>
                  </a:lnTo>
                  <a:lnTo>
                    <a:pt x="156" y="138"/>
                  </a:lnTo>
                  <a:lnTo>
                    <a:pt x="159" y="138"/>
                  </a:lnTo>
                  <a:lnTo>
                    <a:pt x="161" y="138"/>
                  </a:lnTo>
                  <a:lnTo>
                    <a:pt x="163" y="138"/>
                  </a:lnTo>
                  <a:lnTo>
                    <a:pt x="166" y="138"/>
                  </a:lnTo>
                  <a:lnTo>
                    <a:pt x="166" y="141"/>
                  </a:lnTo>
                  <a:lnTo>
                    <a:pt x="168" y="141"/>
                  </a:lnTo>
                  <a:lnTo>
                    <a:pt x="171" y="141"/>
                  </a:lnTo>
                  <a:lnTo>
                    <a:pt x="173" y="141"/>
                  </a:lnTo>
                  <a:lnTo>
                    <a:pt x="173" y="138"/>
                  </a:lnTo>
                  <a:lnTo>
                    <a:pt x="175" y="138"/>
                  </a:lnTo>
                  <a:lnTo>
                    <a:pt x="173" y="136"/>
                  </a:lnTo>
                  <a:lnTo>
                    <a:pt x="175" y="136"/>
                  </a:lnTo>
                  <a:lnTo>
                    <a:pt x="178" y="136"/>
                  </a:lnTo>
                  <a:lnTo>
                    <a:pt x="178" y="133"/>
                  </a:lnTo>
                  <a:lnTo>
                    <a:pt x="178" y="136"/>
                  </a:lnTo>
                  <a:lnTo>
                    <a:pt x="178" y="133"/>
                  </a:lnTo>
                  <a:lnTo>
                    <a:pt x="178" y="136"/>
                  </a:lnTo>
                  <a:lnTo>
                    <a:pt x="180" y="136"/>
                  </a:lnTo>
                  <a:lnTo>
                    <a:pt x="182" y="136"/>
                  </a:lnTo>
                  <a:lnTo>
                    <a:pt x="185" y="136"/>
                  </a:lnTo>
                  <a:lnTo>
                    <a:pt x="182" y="136"/>
                  </a:lnTo>
                  <a:lnTo>
                    <a:pt x="182" y="138"/>
                  </a:lnTo>
                  <a:lnTo>
                    <a:pt x="185" y="138"/>
                  </a:lnTo>
                  <a:lnTo>
                    <a:pt x="187" y="138"/>
                  </a:lnTo>
                  <a:lnTo>
                    <a:pt x="190" y="138"/>
                  </a:lnTo>
                  <a:lnTo>
                    <a:pt x="190" y="141"/>
                  </a:lnTo>
                  <a:lnTo>
                    <a:pt x="192" y="141"/>
                  </a:lnTo>
                  <a:lnTo>
                    <a:pt x="194" y="141"/>
                  </a:lnTo>
                  <a:lnTo>
                    <a:pt x="194" y="143"/>
                  </a:lnTo>
                  <a:lnTo>
                    <a:pt x="194" y="141"/>
                  </a:lnTo>
                  <a:lnTo>
                    <a:pt x="197" y="141"/>
                  </a:lnTo>
                  <a:lnTo>
                    <a:pt x="197" y="143"/>
                  </a:lnTo>
                  <a:lnTo>
                    <a:pt x="199" y="143"/>
                  </a:lnTo>
                  <a:lnTo>
                    <a:pt x="199" y="145"/>
                  </a:lnTo>
                  <a:lnTo>
                    <a:pt x="201" y="145"/>
                  </a:lnTo>
                  <a:lnTo>
                    <a:pt x="201" y="148"/>
                  </a:lnTo>
                  <a:lnTo>
                    <a:pt x="204" y="148"/>
                  </a:lnTo>
                  <a:lnTo>
                    <a:pt x="204" y="150"/>
                  </a:lnTo>
                  <a:lnTo>
                    <a:pt x="204" y="152"/>
                  </a:lnTo>
                  <a:lnTo>
                    <a:pt x="206" y="152"/>
                  </a:lnTo>
                  <a:lnTo>
                    <a:pt x="206" y="155"/>
                  </a:lnTo>
                  <a:lnTo>
                    <a:pt x="209" y="155"/>
                  </a:lnTo>
                  <a:lnTo>
                    <a:pt x="209" y="157"/>
                  </a:lnTo>
                  <a:lnTo>
                    <a:pt x="211" y="155"/>
                  </a:lnTo>
                  <a:lnTo>
                    <a:pt x="209" y="155"/>
                  </a:lnTo>
                  <a:lnTo>
                    <a:pt x="211" y="155"/>
                  </a:lnTo>
                  <a:lnTo>
                    <a:pt x="211" y="157"/>
                  </a:lnTo>
                  <a:lnTo>
                    <a:pt x="213" y="157"/>
                  </a:lnTo>
                  <a:lnTo>
                    <a:pt x="213" y="160"/>
                  </a:lnTo>
                  <a:lnTo>
                    <a:pt x="216" y="160"/>
                  </a:lnTo>
                  <a:lnTo>
                    <a:pt x="216" y="162"/>
                  </a:lnTo>
                  <a:lnTo>
                    <a:pt x="216" y="164"/>
                  </a:lnTo>
                  <a:lnTo>
                    <a:pt x="216" y="167"/>
                  </a:lnTo>
                  <a:lnTo>
                    <a:pt x="216" y="169"/>
                  </a:lnTo>
                  <a:lnTo>
                    <a:pt x="216" y="171"/>
                  </a:lnTo>
                  <a:lnTo>
                    <a:pt x="218" y="171"/>
                  </a:lnTo>
                  <a:lnTo>
                    <a:pt x="218" y="174"/>
                  </a:lnTo>
                  <a:lnTo>
                    <a:pt x="218" y="176"/>
                  </a:lnTo>
                  <a:lnTo>
                    <a:pt x="218" y="179"/>
                  </a:lnTo>
                  <a:lnTo>
                    <a:pt x="220" y="179"/>
                  </a:lnTo>
                  <a:lnTo>
                    <a:pt x="218" y="179"/>
                  </a:lnTo>
                  <a:lnTo>
                    <a:pt x="218" y="181"/>
                  </a:lnTo>
                  <a:lnTo>
                    <a:pt x="218" y="183"/>
                  </a:lnTo>
                  <a:lnTo>
                    <a:pt x="220" y="183"/>
                  </a:lnTo>
                  <a:lnTo>
                    <a:pt x="220" y="186"/>
                  </a:lnTo>
                  <a:lnTo>
                    <a:pt x="223" y="186"/>
                  </a:lnTo>
                  <a:lnTo>
                    <a:pt x="223" y="188"/>
                  </a:lnTo>
                  <a:lnTo>
                    <a:pt x="220" y="188"/>
                  </a:lnTo>
                  <a:lnTo>
                    <a:pt x="220" y="190"/>
                  </a:lnTo>
                  <a:lnTo>
                    <a:pt x="218" y="190"/>
                  </a:lnTo>
                  <a:lnTo>
                    <a:pt x="216" y="190"/>
                  </a:lnTo>
                  <a:lnTo>
                    <a:pt x="213" y="190"/>
                  </a:lnTo>
                  <a:lnTo>
                    <a:pt x="216" y="190"/>
                  </a:lnTo>
                  <a:lnTo>
                    <a:pt x="218" y="190"/>
                  </a:lnTo>
                  <a:lnTo>
                    <a:pt x="220" y="190"/>
                  </a:lnTo>
                  <a:lnTo>
                    <a:pt x="220" y="188"/>
                  </a:lnTo>
                  <a:lnTo>
                    <a:pt x="223" y="188"/>
                  </a:lnTo>
                  <a:lnTo>
                    <a:pt x="223" y="190"/>
                  </a:lnTo>
                  <a:lnTo>
                    <a:pt x="225" y="190"/>
                  </a:lnTo>
                  <a:lnTo>
                    <a:pt x="223" y="193"/>
                  </a:lnTo>
                  <a:lnTo>
                    <a:pt x="225" y="193"/>
                  </a:lnTo>
                  <a:lnTo>
                    <a:pt x="223" y="19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9" name="Freeform 57774"/>
            <p:cNvSpPr>
              <a:spLocks noEditPoints="1"/>
            </p:cNvSpPr>
            <p:nvPr/>
          </p:nvSpPr>
          <p:spPr bwMode="auto">
            <a:xfrm>
              <a:off x="1573210" y="3822715"/>
              <a:ext cx="534988" cy="885828"/>
            </a:xfrm>
            <a:custGeom>
              <a:avLst/>
              <a:gdLst>
                <a:gd name="T0" fmla="*/ 221 w 337"/>
                <a:gd name="T1" fmla="*/ 518 h 558"/>
                <a:gd name="T2" fmla="*/ 244 w 337"/>
                <a:gd name="T3" fmla="*/ 525 h 558"/>
                <a:gd name="T4" fmla="*/ 254 w 337"/>
                <a:gd name="T5" fmla="*/ 513 h 558"/>
                <a:gd name="T6" fmla="*/ 313 w 337"/>
                <a:gd name="T7" fmla="*/ 487 h 558"/>
                <a:gd name="T8" fmla="*/ 109 w 337"/>
                <a:gd name="T9" fmla="*/ 463 h 558"/>
                <a:gd name="T10" fmla="*/ 131 w 337"/>
                <a:gd name="T11" fmla="*/ 390 h 558"/>
                <a:gd name="T12" fmla="*/ 102 w 337"/>
                <a:gd name="T13" fmla="*/ 333 h 558"/>
                <a:gd name="T14" fmla="*/ 95 w 337"/>
                <a:gd name="T15" fmla="*/ 273 h 558"/>
                <a:gd name="T16" fmla="*/ 123 w 337"/>
                <a:gd name="T17" fmla="*/ 264 h 558"/>
                <a:gd name="T18" fmla="*/ 114 w 337"/>
                <a:gd name="T19" fmla="*/ 261 h 558"/>
                <a:gd name="T20" fmla="*/ 78 w 337"/>
                <a:gd name="T21" fmla="*/ 252 h 558"/>
                <a:gd name="T22" fmla="*/ 102 w 337"/>
                <a:gd name="T23" fmla="*/ 245 h 558"/>
                <a:gd name="T24" fmla="*/ 97 w 337"/>
                <a:gd name="T25" fmla="*/ 242 h 558"/>
                <a:gd name="T26" fmla="*/ 105 w 337"/>
                <a:gd name="T27" fmla="*/ 235 h 558"/>
                <a:gd name="T28" fmla="*/ 62 w 337"/>
                <a:gd name="T29" fmla="*/ 228 h 558"/>
                <a:gd name="T30" fmla="*/ 62 w 337"/>
                <a:gd name="T31" fmla="*/ 226 h 558"/>
                <a:gd name="T32" fmla="*/ 74 w 337"/>
                <a:gd name="T33" fmla="*/ 221 h 558"/>
                <a:gd name="T34" fmla="*/ 74 w 337"/>
                <a:gd name="T35" fmla="*/ 219 h 558"/>
                <a:gd name="T36" fmla="*/ 78 w 337"/>
                <a:gd name="T37" fmla="*/ 211 h 558"/>
                <a:gd name="T38" fmla="*/ 83 w 337"/>
                <a:gd name="T39" fmla="*/ 209 h 558"/>
                <a:gd name="T40" fmla="*/ 43 w 337"/>
                <a:gd name="T41" fmla="*/ 204 h 558"/>
                <a:gd name="T42" fmla="*/ 38 w 337"/>
                <a:gd name="T43" fmla="*/ 204 h 558"/>
                <a:gd name="T44" fmla="*/ 76 w 337"/>
                <a:gd name="T45" fmla="*/ 200 h 558"/>
                <a:gd name="T46" fmla="*/ 90 w 337"/>
                <a:gd name="T47" fmla="*/ 185 h 558"/>
                <a:gd name="T48" fmla="*/ 48 w 337"/>
                <a:gd name="T49" fmla="*/ 181 h 558"/>
                <a:gd name="T50" fmla="*/ 45 w 337"/>
                <a:gd name="T51" fmla="*/ 190 h 558"/>
                <a:gd name="T52" fmla="*/ 43 w 337"/>
                <a:gd name="T53" fmla="*/ 188 h 558"/>
                <a:gd name="T54" fmla="*/ 48 w 337"/>
                <a:gd name="T55" fmla="*/ 178 h 558"/>
                <a:gd name="T56" fmla="*/ 40 w 337"/>
                <a:gd name="T57" fmla="*/ 181 h 558"/>
                <a:gd name="T58" fmla="*/ 45 w 337"/>
                <a:gd name="T59" fmla="*/ 178 h 558"/>
                <a:gd name="T60" fmla="*/ 36 w 337"/>
                <a:gd name="T61" fmla="*/ 176 h 558"/>
                <a:gd name="T62" fmla="*/ 90 w 337"/>
                <a:gd name="T63" fmla="*/ 173 h 558"/>
                <a:gd name="T64" fmla="*/ 50 w 337"/>
                <a:gd name="T65" fmla="*/ 173 h 558"/>
                <a:gd name="T66" fmla="*/ 43 w 337"/>
                <a:gd name="T67" fmla="*/ 169 h 558"/>
                <a:gd name="T68" fmla="*/ 95 w 337"/>
                <a:gd name="T69" fmla="*/ 164 h 558"/>
                <a:gd name="T70" fmla="*/ 2 w 337"/>
                <a:gd name="T71" fmla="*/ 162 h 558"/>
                <a:gd name="T72" fmla="*/ 64 w 337"/>
                <a:gd name="T73" fmla="*/ 159 h 558"/>
                <a:gd name="T74" fmla="*/ 74 w 337"/>
                <a:gd name="T75" fmla="*/ 150 h 558"/>
                <a:gd name="T76" fmla="*/ 107 w 337"/>
                <a:gd name="T77" fmla="*/ 150 h 558"/>
                <a:gd name="T78" fmla="*/ 116 w 337"/>
                <a:gd name="T79" fmla="*/ 135 h 558"/>
                <a:gd name="T80" fmla="*/ 183 w 337"/>
                <a:gd name="T81" fmla="*/ 109 h 558"/>
                <a:gd name="T82" fmla="*/ 178 w 337"/>
                <a:gd name="T83" fmla="*/ 109 h 558"/>
                <a:gd name="T84" fmla="*/ 192 w 337"/>
                <a:gd name="T85" fmla="*/ 95 h 558"/>
                <a:gd name="T86" fmla="*/ 93 w 337"/>
                <a:gd name="T87" fmla="*/ 93 h 558"/>
                <a:gd name="T88" fmla="*/ 199 w 337"/>
                <a:gd name="T89" fmla="*/ 95 h 558"/>
                <a:gd name="T90" fmla="*/ 183 w 337"/>
                <a:gd name="T91" fmla="*/ 88 h 558"/>
                <a:gd name="T92" fmla="*/ 204 w 337"/>
                <a:gd name="T93" fmla="*/ 85 h 558"/>
                <a:gd name="T94" fmla="*/ 202 w 337"/>
                <a:gd name="T95" fmla="*/ 85 h 558"/>
                <a:gd name="T96" fmla="*/ 188 w 337"/>
                <a:gd name="T97" fmla="*/ 83 h 558"/>
                <a:gd name="T98" fmla="*/ 207 w 337"/>
                <a:gd name="T99" fmla="*/ 78 h 558"/>
                <a:gd name="T100" fmla="*/ 240 w 337"/>
                <a:gd name="T101" fmla="*/ 38 h 558"/>
                <a:gd name="T102" fmla="*/ 242 w 337"/>
                <a:gd name="T103" fmla="*/ 38 h 558"/>
                <a:gd name="T104" fmla="*/ 252 w 337"/>
                <a:gd name="T105" fmla="*/ 40 h 558"/>
                <a:gd name="T106" fmla="*/ 230 w 337"/>
                <a:gd name="T107" fmla="*/ 26 h 558"/>
                <a:gd name="T108" fmla="*/ 240 w 337"/>
                <a:gd name="T109" fmla="*/ 24 h 558"/>
                <a:gd name="T110" fmla="*/ 254 w 337"/>
                <a:gd name="T111" fmla="*/ 14 h 558"/>
                <a:gd name="T112" fmla="*/ 259 w 337"/>
                <a:gd name="T113" fmla="*/ 12 h 558"/>
                <a:gd name="T114" fmla="*/ 252 w 337"/>
                <a:gd name="T115" fmla="*/ 14 h 558"/>
                <a:gd name="T116" fmla="*/ 247 w 337"/>
                <a:gd name="T117" fmla="*/ 12 h 558"/>
                <a:gd name="T118" fmla="*/ 259 w 337"/>
                <a:gd name="T119" fmla="*/ 2 h 558"/>
                <a:gd name="T120" fmla="*/ 254 w 337"/>
                <a:gd name="T121" fmla="*/ 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7" h="558">
                  <a:moveTo>
                    <a:pt x="78" y="556"/>
                  </a:moveTo>
                  <a:lnTo>
                    <a:pt x="78" y="558"/>
                  </a:lnTo>
                  <a:lnTo>
                    <a:pt x="78" y="556"/>
                  </a:lnTo>
                  <a:lnTo>
                    <a:pt x="78" y="558"/>
                  </a:lnTo>
                  <a:lnTo>
                    <a:pt x="76" y="556"/>
                  </a:lnTo>
                  <a:lnTo>
                    <a:pt x="78" y="556"/>
                  </a:lnTo>
                  <a:close/>
                  <a:moveTo>
                    <a:pt x="76" y="556"/>
                  </a:moveTo>
                  <a:lnTo>
                    <a:pt x="76" y="553"/>
                  </a:lnTo>
                  <a:lnTo>
                    <a:pt x="76" y="556"/>
                  </a:lnTo>
                  <a:close/>
                  <a:moveTo>
                    <a:pt x="76" y="553"/>
                  </a:moveTo>
                  <a:lnTo>
                    <a:pt x="76" y="556"/>
                  </a:lnTo>
                  <a:lnTo>
                    <a:pt x="78" y="556"/>
                  </a:lnTo>
                  <a:lnTo>
                    <a:pt x="76" y="556"/>
                  </a:lnTo>
                  <a:lnTo>
                    <a:pt x="76" y="553"/>
                  </a:lnTo>
                  <a:close/>
                  <a:moveTo>
                    <a:pt x="78" y="553"/>
                  </a:moveTo>
                  <a:lnTo>
                    <a:pt x="78" y="556"/>
                  </a:lnTo>
                  <a:lnTo>
                    <a:pt x="78" y="553"/>
                  </a:lnTo>
                  <a:close/>
                  <a:moveTo>
                    <a:pt x="221" y="520"/>
                  </a:moveTo>
                  <a:lnTo>
                    <a:pt x="221" y="518"/>
                  </a:lnTo>
                  <a:lnTo>
                    <a:pt x="221" y="520"/>
                  </a:lnTo>
                  <a:close/>
                  <a:moveTo>
                    <a:pt x="244" y="518"/>
                  </a:moveTo>
                  <a:lnTo>
                    <a:pt x="242" y="518"/>
                  </a:lnTo>
                  <a:lnTo>
                    <a:pt x="244" y="518"/>
                  </a:lnTo>
                  <a:lnTo>
                    <a:pt x="244" y="515"/>
                  </a:lnTo>
                  <a:lnTo>
                    <a:pt x="242" y="515"/>
                  </a:lnTo>
                  <a:lnTo>
                    <a:pt x="244" y="515"/>
                  </a:lnTo>
                  <a:lnTo>
                    <a:pt x="244" y="518"/>
                  </a:lnTo>
                  <a:lnTo>
                    <a:pt x="247" y="518"/>
                  </a:lnTo>
                  <a:lnTo>
                    <a:pt x="249" y="518"/>
                  </a:lnTo>
                  <a:lnTo>
                    <a:pt x="249" y="520"/>
                  </a:lnTo>
                  <a:lnTo>
                    <a:pt x="249" y="518"/>
                  </a:lnTo>
                  <a:lnTo>
                    <a:pt x="249" y="520"/>
                  </a:lnTo>
                  <a:lnTo>
                    <a:pt x="252" y="520"/>
                  </a:lnTo>
                  <a:lnTo>
                    <a:pt x="249" y="520"/>
                  </a:lnTo>
                  <a:lnTo>
                    <a:pt x="247" y="520"/>
                  </a:lnTo>
                  <a:lnTo>
                    <a:pt x="247" y="523"/>
                  </a:lnTo>
                  <a:lnTo>
                    <a:pt x="247" y="525"/>
                  </a:lnTo>
                  <a:lnTo>
                    <a:pt x="244" y="525"/>
                  </a:lnTo>
                  <a:lnTo>
                    <a:pt x="242" y="525"/>
                  </a:lnTo>
                  <a:lnTo>
                    <a:pt x="242" y="523"/>
                  </a:lnTo>
                  <a:lnTo>
                    <a:pt x="240" y="523"/>
                  </a:lnTo>
                  <a:lnTo>
                    <a:pt x="237" y="523"/>
                  </a:lnTo>
                  <a:lnTo>
                    <a:pt x="237" y="520"/>
                  </a:lnTo>
                  <a:lnTo>
                    <a:pt x="235" y="520"/>
                  </a:lnTo>
                  <a:lnTo>
                    <a:pt x="233" y="520"/>
                  </a:lnTo>
                  <a:lnTo>
                    <a:pt x="235" y="520"/>
                  </a:lnTo>
                  <a:lnTo>
                    <a:pt x="235" y="518"/>
                  </a:lnTo>
                  <a:lnTo>
                    <a:pt x="237" y="518"/>
                  </a:lnTo>
                  <a:lnTo>
                    <a:pt x="240" y="518"/>
                  </a:lnTo>
                  <a:lnTo>
                    <a:pt x="242" y="518"/>
                  </a:lnTo>
                  <a:lnTo>
                    <a:pt x="242" y="515"/>
                  </a:lnTo>
                  <a:lnTo>
                    <a:pt x="244" y="515"/>
                  </a:lnTo>
                  <a:lnTo>
                    <a:pt x="242" y="518"/>
                  </a:lnTo>
                  <a:lnTo>
                    <a:pt x="244" y="518"/>
                  </a:lnTo>
                  <a:close/>
                  <a:moveTo>
                    <a:pt x="254" y="513"/>
                  </a:moveTo>
                  <a:lnTo>
                    <a:pt x="254" y="511"/>
                  </a:lnTo>
                  <a:lnTo>
                    <a:pt x="254" y="513"/>
                  </a:lnTo>
                  <a:close/>
                  <a:moveTo>
                    <a:pt x="133" y="496"/>
                  </a:moveTo>
                  <a:lnTo>
                    <a:pt x="131" y="496"/>
                  </a:lnTo>
                  <a:lnTo>
                    <a:pt x="131" y="494"/>
                  </a:lnTo>
                  <a:lnTo>
                    <a:pt x="133" y="494"/>
                  </a:lnTo>
                  <a:lnTo>
                    <a:pt x="133" y="496"/>
                  </a:lnTo>
                  <a:close/>
                  <a:moveTo>
                    <a:pt x="304" y="485"/>
                  </a:moveTo>
                  <a:lnTo>
                    <a:pt x="306" y="485"/>
                  </a:lnTo>
                  <a:lnTo>
                    <a:pt x="304" y="485"/>
                  </a:lnTo>
                  <a:close/>
                  <a:moveTo>
                    <a:pt x="309" y="482"/>
                  </a:moveTo>
                  <a:lnTo>
                    <a:pt x="309" y="485"/>
                  </a:lnTo>
                  <a:lnTo>
                    <a:pt x="309" y="482"/>
                  </a:lnTo>
                  <a:close/>
                  <a:moveTo>
                    <a:pt x="311" y="482"/>
                  </a:moveTo>
                  <a:lnTo>
                    <a:pt x="313" y="482"/>
                  </a:lnTo>
                  <a:lnTo>
                    <a:pt x="316" y="482"/>
                  </a:lnTo>
                  <a:lnTo>
                    <a:pt x="316" y="485"/>
                  </a:lnTo>
                  <a:lnTo>
                    <a:pt x="318" y="485"/>
                  </a:lnTo>
                  <a:lnTo>
                    <a:pt x="318" y="487"/>
                  </a:lnTo>
                  <a:lnTo>
                    <a:pt x="316" y="487"/>
                  </a:lnTo>
                  <a:lnTo>
                    <a:pt x="313" y="487"/>
                  </a:lnTo>
                  <a:lnTo>
                    <a:pt x="311" y="485"/>
                  </a:lnTo>
                  <a:lnTo>
                    <a:pt x="311" y="487"/>
                  </a:lnTo>
                  <a:lnTo>
                    <a:pt x="311" y="485"/>
                  </a:lnTo>
                  <a:lnTo>
                    <a:pt x="309" y="485"/>
                  </a:lnTo>
                  <a:lnTo>
                    <a:pt x="311" y="485"/>
                  </a:lnTo>
                  <a:lnTo>
                    <a:pt x="311" y="482"/>
                  </a:lnTo>
                  <a:close/>
                  <a:moveTo>
                    <a:pt x="311" y="473"/>
                  </a:moveTo>
                  <a:lnTo>
                    <a:pt x="309" y="473"/>
                  </a:lnTo>
                  <a:lnTo>
                    <a:pt x="311" y="473"/>
                  </a:lnTo>
                  <a:close/>
                  <a:moveTo>
                    <a:pt x="311" y="468"/>
                  </a:moveTo>
                  <a:lnTo>
                    <a:pt x="309" y="468"/>
                  </a:lnTo>
                  <a:lnTo>
                    <a:pt x="311" y="468"/>
                  </a:lnTo>
                  <a:close/>
                  <a:moveTo>
                    <a:pt x="318" y="466"/>
                  </a:moveTo>
                  <a:lnTo>
                    <a:pt x="316" y="466"/>
                  </a:lnTo>
                  <a:lnTo>
                    <a:pt x="318" y="466"/>
                  </a:lnTo>
                  <a:lnTo>
                    <a:pt x="318" y="463"/>
                  </a:lnTo>
                  <a:lnTo>
                    <a:pt x="318" y="466"/>
                  </a:lnTo>
                  <a:close/>
                  <a:moveTo>
                    <a:pt x="109" y="461"/>
                  </a:moveTo>
                  <a:lnTo>
                    <a:pt x="109" y="463"/>
                  </a:lnTo>
                  <a:lnTo>
                    <a:pt x="109" y="461"/>
                  </a:lnTo>
                  <a:close/>
                  <a:moveTo>
                    <a:pt x="337" y="451"/>
                  </a:moveTo>
                  <a:lnTo>
                    <a:pt x="335" y="451"/>
                  </a:lnTo>
                  <a:lnTo>
                    <a:pt x="337" y="451"/>
                  </a:lnTo>
                  <a:close/>
                  <a:moveTo>
                    <a:pt x="128" y="418"/>
                  </a:moveTo>
                  <a:lnTo>
                    <a:pt x="128" y="416"/>
                  </a:lnTo>
                  <a:lnTo>
                    <a:pt x="128" y="418"/>
                  </a:lnTo>
                  <a:close/>
                  <a:moveTo>
                    <a:pt x="133" y="390"/>
                  </a:moveTo>
                  <a:lnTo>
                    <a:pt x="135" y="390"/>
                  </a:lnTo>
                  <a:lnTo>
                    <a:pt x="135" y="392"/>
                  </a:lnTo>
                  <a:lnTo>
                    <a:pt x="133" y="392"/>
                  </a:lnTo>
                  <a:lnTo>
                    <a:pt x="135" y="392"/>
                  </a:lnTo>
                  <a:lnTo>
                    <a:pt x="135" y="394"/>
                  </a:lnTo>
                  <a:lnTo>
                    <a:pt x="135" y="392"/>
                  </a:lnTo>
                  <a:lnTo>
                    <a:pt x="135" y="394"/>
                  </a:lnTo>
                  <a:lnTo>
                    <a:pt x="133" y="394"/>
                  </a:lnTo>
                  <a:lnTo>
                    <a:pt x="133" y="392"/>
                  </a:lnTo>
                  <a:lnTo>
                    <a:pt x="131" y="392"/>
                  </a:lnTo>
                  <a:lnTo>
                    <a:pt x="131" y="390"/>
                  </a:lnTo>
                  <a:lnTo>
                    <a:pt x="133" y="390"/>
                  </a:lnTo>
                  <a:close/>
                  <a:moveTo>
                    <a:pt x="263" y="371"/>
                  </a:moveTo>
                  <a:lnTo>
                    <a:pt x="263" y="368"/>
                  </a:lnTo>
                  <a:lnTo>
                    <a:pt x="263" y="371"/>
                  </a:lnTo>
                  <a:close/>
                  <a:moveTo>
                    <a:pt x="178" y="352"/>
                  </a:moveTo>
                  <a:lnTo>
                    <a:pt x="180" y="352"/>
                  </a:lnTo>
                  <a:lnTo>
                    <a:pt x="180" y="354"/>
                  </a:lnTo>
                  <a:lnTo>
                    <a:pt x="180" y="352"/>
                  </a:lnTo>
                  <a:lnTo>
                    <a:pt x="180" y="354"/>
                  </a:lnTo>
                  <a:lnTo>
                    <a:pt x="180" y="352"/>
                  </a:lnTo>
                  <a:lnTo>
                    <a:pt x="180" y="354"/>
                  </a:lnTo>
                  <a:lnTo>
                    <a:pt x="180" y="352"/>
                  </a:lnTo>
                  <a:lnTo>
                    <a:pt x="178" y="352"/>
                  </a:lnTo>
                  <a:lnTo>
                    <a:pt x="178" y="349"/>
                  </a:lnTo>
                  <a:lnTo>
                    <a:pt x="178" y="347"/>
                  </a:lnTo>
                  <a:lnTo>
                    <a:pt x="178" y="349"/>
                  </a:lnTo>
                  <a:lnTo>
                    <a:pt x="178" y="352"/>
                  </a:lnTo>
                  <a:close/>
                  <a:moveTo>
                    <a:pt x="100" y="333"/>
                  </a:moveTo>
                  <a:lnTo>
                    <a:pt x="102" y="333"/>
                  </a:lnTo>
                  <a:lnTo>
                    <a:pt x="100" y="333"/>
                  </a:lnTo>
                  <a:close/>
                  <a:moveTo>
                    <a:pt x="100" y="333"/>
                  </a:moveTo>
                  <a:lnTo>
                    <a:pt x="100" y="330"/>
                  </a:lnTo>
                  <a:lnTo>
                    <a:pt x="100" y="333"/>
                  </a:lnTo>
                  <a:close/>
                  <a:moveTo>
                    <a:pt x="105" y="321"/>
                  </a:moveTo>
                  <a:lnTo>
                    <a:pt x="102" y="321"/>
                  </a:lnTo>
                  <a:lnTo>
                    <a:pt x="105" y="321"/>
                  </a:lnTo>
                  <a:close/>
                  <a:moveTo>
                    <a:pt x="102" y="290"/>
                  </a:moveTo>
                  <a:lnTo>
                    <a:pt x="102" y="292"/>
                  </a:lnTo>
                  <a:lnTo>
                    <a:pt x="102" y="290"/>
                  </a:lnTo>
                  <a:close/>
                  <a:moveTo>
                    <a:pt x="81" y="290"/>
                  </a:moveTo>
                  <a:lnTo>
                    <a:pt x="83" y="290"/>
                  </a:lnTo>
                  <a:lnTo>
                    <a:pt x="81" y="290"/>
                  </a:lnTo>
                  <a:lnTo>
                    <a:pt x="83" y="292"/>
                  </a:lnTo>
                  <a:lnTo>
                    <a:pt x="81" y="292"/>
                  </a:lnTo>
                  <a:lnTo>
                    <a:pt x="81" y="290"/>
                  </a:lnTo>
                  <a:lnTo>
                    <a:pt x="78" y="290"/>
                  </a:lnTo>
                  <a:lnTo>
                    <a:pt x="81" y="290"/>
                  </a:lnTo>
                  <a:close/>
                  <a:moveTo>
                    <a:pt x="95" y="273"/>
                  </a:moveTo>
                  <a:lnTo>
                    <a:pt x="97" y="273"/>
                  </a:lnTo>
                  <a:lnTo>
                    <a:pt x="95" y="273"/>
                  </a:lnTo>
                  <a:close/>
                  <a:moveTo>
                    <a:pt x="226" y="271"/>
                  </a:moveTo>
                  <a:lnTo>
                    <a:pt x="228" y="271"/>
                  </a:lnTo>
                  <a:lnTo>
                    <a:pt x="226" y="271"/>
                  </a:lnTo>
                  <a:close/>
                  <a:moveTo>
                    <a:pt x="97" y="268"/>
                  </a:moveTo>
                  <a:lnTo>
                    <a:pt x="97" y="271"/>
                  </a:lnTo>
                  <a:lnTo>
                    <a:pt x="95" y="271"/>
                  </a:lnTo>
                  <a:lnTo>
                    <a:pt x="95" y="273"/>
                  </a:lnTo>
                  <a:lnTo>
                    <a:pt x="95" y="271"/>
                  </a:lnTo>
                  <a:lnTo>
                    <a:pt x="97" y="268"/>
                  </a:lnTo>
                  <a:lnTo>
                    <a:pt x="95" y="268"/>
                  </a:lnTo>
                  <a:lnTo>
                    <a:pt x="97" y="268"/>
                  </a:lnTo>
                  <a:close/>
                  <a:moveTo>
                    <a:pt x="123" y="268"/>
                  </a:moveTo>
                  <a:lnTo>
                    <a:pt x="121" y="268"/>
                  </a:lnTo>
                  <a:lnTo>
                    <a:pt x="123" y="268"/>
                  </a:lnTo>
                  <a:close/>
                  <a:moveTo>
                    <a:pt x="123" y="264"/>
                  </a:moveTo>
                  <a:lnTo>
                    <a:pt x="123" y="266"/>
                  </a:lnTo>
                  <a:lnTo>
                    <a:pt x="123" y="264"/>
                  </a:lnTo>
                  <a:close/>
                  <a:moveTo>
                    <a:pt x="116" y="266"/>
                  </a:moveTo>
                  <a:lnTo>
                    <a:pt x="116" y="264"/>
                  </a:lnTo>
                  <a:lnTo>
                    <a:pt x="116" y="266"/>
                  </a:lnTo>
                  <a:close/>
                  <a:moveTo>
                    <a:pt x="114" y="259"/>
                  </a:moveTo>
                  <a:lnTo>
                    <a:pt x="116" y="259"/>
                  </a:lnTo>
                  <a:lnTo>
                    <a:pt x="119" y="259"/>
                  </a:lnTo>
                  <a:lnTo>
                    <a:pt x="119" y="261"/>
                  </a:lnTo>
                  <a:lnTo>
                    <a:pt x="121" y="261"/>
                  </a:lnTo>
                  <a:lnTo>
                    <a:pt x="121" y="264"/>
                  </a:lnTo>
                  <a:lnTo>
                    <a:pt x="121" y="266"/>
                  </a:lnTo>
                  <a:lnTo>
                    <a:pt x="119" y="266"/>
                  </a:lnTo>
                  <a:lnTo>
                    <a:pt x="121" y="266"/>
                  </a:lnTo>
                  <a:lnTo>
                    <a:pt x="121" y="268"/>
                  </a:lnTo>
                  <a:lnTo>
                    <a:pt x="119" y="268"/>
                  </a:lnTo>
                  <a:lnTo>
                    <a:pt x="119" y="266"/>
                  </a:lnTo>
                  <a:lnTo>
                    <a:pt x="116" y="266"/>
                  </a:lnTo>
                  <a:lnTo>
                    <a:pt x="116" y="264"/>
                  </a:lnTo>
                  <a:lnTo>
                    <a:pt x="116" y="261"/>
                  </a:lnTo>
                  <a:lnTo>
                    <a:pt x="114" y="261"/>
                  </a:lnTo>
                  <a:lnTo>
                    <a:pt x="114" y="259"/>
                  </a:lnTo>
                  <a:close/>
                  <a:moveTo>
                    <a:pt x="81" y="252"/>
                  </a:moveTo>
                  <a:lnTo>
                    <a:pt x="81" y="254"/>
                  </a:lnTo>
                  <a:lnTo>
                    <a:pt x="81" y="252"/>
                  </a:lnTo>
                  <a:lnTo>
                    <a:pt x="81" y="254"/>
                  </a:lnTo>
                  <a:lnTo>
                    <a:pt x="78" y="254"/>
                  </a:lnTo>
                  <a:lnTo>
                    <a:pt x="81" y="254"/>
                  </a:lnTo>
                  <a:lnTo>
                    <a:pt x="78" y="254"/>
                  </a:lnTo>
                  <a:lnTo>
                    <a:pt x="78" y="252"/>
                  </a:lnTo>
                  <a:lnTo>
                    <a:pt x="81" y="252"/>
                  </a:lnTo>
                  <a:close/>
                  <a:moveTo>
                    <a:pt x="83" y="247"/>
                  </a:moveTo>
                  <a:lnTo>
                    <a:pt x="83" y="249"/>
                  </a:lnTo>
                  <a:lnTo>
                    <a:pt x="81" y="249"/>
                  </a:lnTo>
                  <a:lnTo>
                    <a:pt x="81" y="252"/>
                  </a:lnTo>
                  <a:lnTo>
                    <a:pt x="83" y="252"/>
                  </a:lnTo>
                  <a:lnTo>
                    <a:pt x="81" y="252"/>
                  </a:lnTo>
                  <a:lnTo>
                    <a:pt x="78" y="252"/>
                  </a:lnTo>
                  <a:lnTo>
                    <a:pt x="81" y="252"/>
                  </a:lnTo>
                  <a:lnTo>
                    <a:pt x="78" y="252"/>
                  </a:lnTo>
                  <a:lnTo>
                    <a:pt x="81" y="252"/>
                  </a:lnTo>
                  <a:lnTo>
                    <a:pt x="78" y="252"/>
                  </a:lnTo>
                  <a:lnTo>
                    <a:pt x="81" y="252"/>
                  </a:lnTo>
                  <a:lnTo>
                    <a:pt x="78" y="252"/>
                  </a:lnTo>
                  <a:lnTo>
                    <a:pt x="81" y="249"/>
                  </a:lnTo>
                  <a:lnTo>
                    <a:pt x="78" y="249"/>
                  </a:lnTo>
                  <a:lnTo>
                    <a:pt x="81" y="249"/>
                  </a:lnTo>
                  <a:lnTo>
                    <a:pt x="83" y="249"/>
                  </a:lnTo>
                  <a:lnTo>
                    <a:pt x="81" y="249"/>
                  </a:lnTo>
                  <a:lnTo>
                    <a:pt x="83" y="247"/>
                  </a:lnTo>
                  <a:lnTo>
                    <a:pt x="81" y="247"/>
                  </a:lnTo>
                  <a:lnTo>
                    <a:pt x="83" y="247"/>
                  </a:lnTo>
                  <a:close/>
                  <a:moveTo>
                    <a:pt x="102" y="247"/>
                  </a:moveTo>
                  <a:lnTo>
                    <a:pt x="102" y="245"/>
                  </a:lnTo>
                  <a:lnTo>
                    <a:pt x="105" y="245"/>
                  </a:lnTo>
                  <a:lnTo>
                    <a:pt x="102" y="247"/>
                  </a:lnTo>
                  <a:close/>
                  <a:moveTo>
                    <a:pt x="102" y="245"/>
                  </a:moveTo>
                  <a:lnTo>
                    <a:pt x="105" y="245"/>
                  </a:lnTo>
                  <a:lnTo>
                    <a:pt x="102" y="245"/>
                  </a:lnTo>
                  <a:close/>
                  <a:moveTo>
                    <a:pt x="97" y="245"/>
                  </a:moveTo>
                  <a:lnTo>
                    <a:pt x="100" y="245"/>
                  </a:lnTo>
                  <a:lnTo>
                    <a:pt x="97" y="245"/>
                  </a:lnTo>
                  <a:lnTo>
                    <a:pt x="100" y="245"/>
                  </a:lnTo>
                  <a:lnTo>
                    <a:pt x="97" y="245"/>
                  </a:lnTo>
                  <a:lnTo>
                    <a:pt x="97" y="247"/>
                  </a:lnTo>
                  <a:lnTo>
                    <a:pt x="97" y="245"/>
                  </a:lnTo>
                  <a:lnTo>
                    <a:pt x="97" y="247"/>
                  </a:lnTo>
                  <a:lnTo>
                    <a:pt x="97" y="245"/>
                  </a:lnTo>
                  <a:lnTo>
                    <a:pt x="97" y="247"/>
                  </a:lnTo>
                  <a:lnTo>
                    <a:pt x="97" y="245"/>
                  </a:lnTo>
                  <a:lnTo>
                    <a:pt x="95" y="245"/>
                  </a:lnTo>
                  <a:lnTo>
                    <a:pt x="97" y="245"/>
                  </a:lnTo>
                  <a:close/>
                  <a:moveTo>
                    <a:pt x="100" y="242"/>
                  </a:moveTo>
                  <a:lnTo>
                    <a:pt x="102" y="242"/>
                  </a:lnTo>
                  <a:lnTo>
                    <a:pt x="102" y="245"/>
                  </a:lnTo>
                  <a:lnTo>
                    <a:pt x="100" y="245"/>
                  </a:lnTo>
                  <a:lnTo>
                    <a:pt x="100" y="242"/>
                  </a:lnTo>
                  <a:close/>
                  <a:moveTo>
                    <a:pt x="97" y="242"/>
                  </a:moveTo>
                  <a:lnTo>
                    <a:pt x="97" y="245"/>
                  </a:lnTo>
                  <a:lnTo>
                    <a:pt x="97" y="242"/>
                  </a:lnTo>
                  <a:close/>
                  <a:moveTo>
                    <a:pt x="97" y="242"/>
                  </a:moveTo>
                  <a:lnTo>
                    <a:pt x="95" y="242"/>
                  </a:lnTo>
                  <a:lnTo>
                    <a:pt x="97" y="242"/>
                  </a:lnTo>
                  <a:close/>
                  <a:moveTo>
                    <a:pt x="100" y="240"/>
                  </a:moveTo>
                  <a:lnTo>
                    <a:pt x="100" y="242"/>
                  </a:lnTo>
                  <a:lnTo>
                    <a:pt x="100" y="240"/>
                  </a:lnTo>
                  <a:lnTo>
                    <a:pt x="100" y="242"/>
                  </a:lnTo>
                  <a:lnTo>
                    <a:pt x="100" y="245"/>
                  </a:lnTo>
                  <a:lnTo>
                    <a:pt x="100" y="242"/>
                  </a:lnTo>
                  <a:lnTo>
                    <a:pt x="100" y="240"/>
                  </a:lnTo>
                  <a:close/>
                  <a:moveTo>
                    <a:pt x="76" y="235"/>
                  </a:moveTo>
                  <a:lnTo>
                    <a:pt x="76" y="238"/>
                  </a:lnTo>
                  <a:lnTo>
                    <a:pt x="74" y="238"/>
                  </a:lnTo>
                  <a:lnTo>
                    <a:pt x="74" y="235"/>
                  </a:lnTo>
                  <a:lnTo>
                    <a:pt x="76" y="235"/>
                  </a:lnTo>
                  <a:close/>
                  <a:moveTo>
                    <a:pt x="105" y="233"/>
                  </a:moveTo>
                  <a:lnTo>
                    <a:pt x="105" y="235"/>
                  </a:lnTo>
                  <a:lnTo>
                    <a:pt x="102" y="235"/>
                  </a:lnTo>
                  <a:lnTo>
                    <a:pt x="102" y="233"/>
                  </a:lnTo>
                  <a:lnTo>
                    <a:pt x="105" y="233"/>
                  </a:lnTo>
                  <a:close/>
                  <a:moveTo>
                    <a:pt x="76" y="233"/>
                  </a:moveTo>
                  <a:lnTo>
                    <a:pt x="76" y="230"/>
                  </a:lnTo>
                  <a:lnTo>
                    <a:pt x="76" y="233"/>
                  </a:lnTo>
                  <a:close/>
                  <a:moveTo>
                    <a:pt x="83" y="230"/>
                  </a:moveTo>
                  <a:lnTo>
                    <a:pt x="83" y="233"/>
                  </a:lnTo>
                  <a:lnTo>
                    <a:pt x="83" y="230"/>
                  </a:lnTo>
                  <a:close/>
                  <a:moveTo>
                    <a:pt x="81" y="230"/>
                  </a:moveTo>
                  <a:lnTo>
                    <a:pt x="78" y="230"/>
                  </a:lnTo>
                  <a:lnTo>
                    <a:pt x="81" y="230"/>
                  </a:lnTo>
                  <a:close/>
                  <a:moveTo>
                    <a:pt x="74" y="228"/>
                  </a:moveTo>
                  <a:lnTo>
                    <a:pt x="74" y="230"/>
                  </a:lnTo>
                  <a:lnTo>
                    <a:pt x="74" y="228"/>
                  </a:lnTo>
                  <a:close/>
                  <a:moveTo>
                    <a:pt x="76" y="228"/>
                  </a:moveTo>
                  <a:lnTo>
                    <a:pt x="74" y="228"/>
                  </a:lnTo>
                  <a:lnTo>
                    <a:pt x="76" y="228"/>
                  </a:lnTo>
                  <a:close/>
                  <a:moveTo>
                    <a:pt x="62" y="228"/>
                  </a:moveTo>
                  <a:lnTo>
                    <a:pt x="64" y="228"/>
                  </a:lnTo>
                  <a:lnTo>
                    <a:pt x="62" y="228"/>
                  </a:lnTo>
                  <a:close/>
                  <a:moveTo>
                    <a:pt x="107" y="226"/>
                  </a:moveTo>
                  <a:lnTo>
                    <a:pt x="107" y="228"/>
                  </a:lnTo>
                  <a:lnTo>
                    <a:pt x="107" y="226"/>
                  </a:lnTo>
                  <a:close/>
                  <a:moveTo>
                    <a:pt x="64" y="226"/>
                  </a:moveTo>
                  <a:lnTo>
                    <a:pt x="64" y="228"/>
                  </a:lnTo>
                  <a:lnTo>
                    <a:pt x="62" y="228"/>
                  </a:lnTo>
                  <a:lnTo>
                    <a:pt x="59" y="228"/>
                  </a:lnTo>
                  <a:lnTo>
                    <a:pt x="59" y="230"/>
                  </a:lnTo>
                  <a:lnTo>
                    <a:pt x="57" y="230"/>
                  </a:lnTo>
                  <a:lnTo>
                    <a:pt x="55" y="230"/>
                  </a:lnTo>
                  <a:lnTo>
                    <a:pt x="57" y="230"/>
                  </a:lnTo>
                  <a:lnTo>
                    <a:pt x="55" y="230"/>
                  </a:lnTo>
                  <a:lnTo>
                    <a:pt x="55" y="228"/>
                  </a:lnTo>
                  <a:lnTo>
                    <a:pt x="57" y="228"/>
                  </a:lnTo>
                  <a:lnTo>
                    <a:pt x="59" y="228"/>
                  </a:lnTo>
                  <a:lnTo>
                    <a:pt x="59" y="226"/>
                  </a:lnTo>
                  <a:lnTo>
                    <a:pt x="62" y="226"/>
                  </a:lnTo>
                  <a:lnTo>
                    <a:pt x="64" y="226"/>
                  </a:lnTo>
                  <a:close/>
                  <a:moveTo>
                    <a:pt x="107" y="226"/>
                  </a:moveTo>
                  <a:lnTo>
                    <a:pt x="105" y="226"/>
                  </a:lnTo>
                  <a:lnTo>
                    <a:pt x="105" y="228"/>
                  </a:lnTo>
                  <a:lnTo>
                    <a:pt x="102" y="230"/>
                  </a:lnTo>
                  <a:lnTo>
                    <a:pt x="102" y="228"/>
                  </a:lnTo>
                  <a:lnTo>
                    <a:pt x="105" y="228"/>
                  </a:lnTo>
                  <a:lnTo>
                    <a:pt x="105" y="226"/>
                  </a:lnTo>
                  <a:lnTo>
                    <a:pt x="107" y="226"/>
                  </a:lnTo>
                  <a:close/>
                  <a:moveTo>
                    <a:pt x="107" y="223"/>
                  </a:moveTo>
                  <a:lnTo>
                    <a:pt x="109" y="223"/>
                  </a:lnTo>
                  <a:lnTo>
                    <a:pt x="107" y="223"/>
                  </a:lnTo>
                  <a:close/>
                  <a:moveTo>
                    <a:pt x="86" y="223"/>
                  </a:moveTo>
                  <a:lnTo>
                    <a:pt x="88" y="223"/>
                  </a:lnTo>
                  <a:lnTo>
                    <a:pt x="86" y="223"/>
                  </a:lnTo>
                  <a:lnTo>
                    <a:pt x="86" y="221"/>
                  </a:lnTo>
                  <a:lnTo>
                    <a:pt x="86" y="223"/>
                  </a:lnTo>
                  <a:close/>
                  <a:moveTo>
                    <a:pt x="74" y="219"/>
                  </a:moveTo>
                  <a:lnTo>
                    <a:pt x="74" y="221"/>
                  </a:lnTo>
                  <a:lnTo>
                    <a:pt x="71" y="221"/>
                  </a:lnTo>
                  <a:lnTo>
                    <a:pt x="71" y="223"/>
                  </a:lnTo>
                  <a:lnTo>
                    <a:pt x="71" y="221"/>
                  </a:lnTo>
                  <a:lnTo>
                    <a:pt x="71" y="223"/>
                  </a:lnTo>
                  <a:lnTo>
                    <a:pt x="69" y="223"/>
                  </a:lnTo>
                  <a:lnTo>
                    <a:pt x="69" y="226"/>
                  </a:lnTo>
                  <a:lnTo>
                    <a:pt x="67" y="226"/>
                  </a:lnTo>
                  <a:lnTo>
                    <a:pt x="67" y="223"/>
                  </a:lnTo>
                  <a:lnTo>
                    <a:pt x="67" y="226"/>
                  </a:lnTo>
                  <a:lnTo>
                    <a:pt x="67" y="223"/>
                  </a:lnTo>
                  <a:lnTo>
                    <a:pt x="67" y="226"/>
                  </a:lnTo>
                  <a:lnTo>
                    <a:pt x="64" y="226"/>
                  </a:lnTo>
                  <a:lnTo>
                    <a:pt x="64" y="223"/>
                  </a:lnTo>
                  <a:lnTo>
                    <a:pt x="67" y="223"/>
                  </a:lnTo>
                  <a:lnTo>
                    <a:pt x="67" y="221"/>
                  </a:lnTo>
                  <a:lnTo>
                    <a:pt x="69" y="221"/>
                  </a:lnTo>
                  <a:lnTo>
                    <a:pt x="69" y="219"/>
                  </a:lnTo>
                  <a:lnTo>
                    <a:pt x="71" y="219"/>
                  </a:lnTo>
                  <a:lnTo>
                    <a:pt x="74" y="219"/>
                  </a:lnTo>
                  <a:close/>
                  <a:moveTo>
                    <a:pt x="33" y="214"/>
                  </a:moveTo>
                  <a:lnTo>
                    <a:pt x="36" y="214"/>
                  </a:lnTo>
                  <a:lnTo>
                    <a:pt x="33" y="214"/>
                  </a:lnTo>
                  <a:close/>
                  <a:moveTo>
                    <a:pt x="93" y="214"/>
                  </a:moveTo>
                  <a:lnTo>
                    <a:pt x="93" y="211"/>
                  </a:lnTo>
                  <a:lnTo>
                    <a:pt x="93" y="214"/>
                  </a:lnTo>
                  <a:lnTo>
                    <a:pt x="95" y="214"/>
                  </a:lnTo>
                  <a:lnTo>
                    <a:pt x="93" y="214"/>
                  </a:lnTo>
                  <a:lnTo>
                    <a:pt x="93" y="211"/>
                  </a:lnTo>
                  <a:lnTo>
                    <a:pt x="93" y="214"/>
                  </a:lnTo>
                  <a:close/>
                  <a:moveTo>
                    <a:pt x="36" y="211"/>
                  </a:moveTo>
                  <a:lnTo>
                    <a:pt x="33" y="211"/>
                  </a:lnTo>
                  <a:lnTo>
                    <a:pt x="36" y="211"/>
                  </a:lnTo>
                  <a:lnTo>
                    <a:pt x="33" y="211"/>
                  </a:lnTo>
                  <a:lnTo>
                    <a:pt x="36" y="214"/>
                  </a:lnTo>
                  <a:lnTo>
                    <a:pt x="33" y="214"/>
                  </a:lnTo>
                  <a:lnTo>
                    <a:pt x="33" y="211"/>
                  </a:lnTo>
                  <a:lnTo>
                    <a:pt x="36" y="211"/>
                  </a:lnTo>
                  <a:close/>
                  <a:moveTo>
                    <a:pt x="78" y="211"/>
                  </a:moveTo>
                  <a:lnTo>
                    <a:pt x="81" y="211"/>
                  </a:lnTo>
                  <a:lnTo>
                    <a:pt x="78" y="211"/>
                  </a:lnTo>
                  <a:close/>
                  <a:moveTo>
                    <a:pt x="36" y="209"/>
                  </a:moveTo>
                  <a:lnTo>
                    <a:pt x="38" y="211"/>
                  </a:lnTo>
                  <a:lnTo>
                    <a:pt x="36" y="211"/>
                  </a:lnTo>
                  <a:lnTo>
                    <a:pt x="36" y="209"/>
                  </a:lnTo>
                  <a:close/>
                  <a:moveTo>
                    <a:pt x="36" y="209"/>
                  </a:moveTo>
                  <a:lnTo>
                    <a:pt x="36" y="207"/>
                  </a:lnTo>
                  <a:lnTo>
                    <a:pt x="36" y="209"/>
                  </a:lnTo>
                  <a:close/>
                  <a:moveTo>
                    <a:pt x="38" y="209"/>
                  </a:moveTo>
                  <a:lnTo>
                    <a:pt x="38" y="207"/>
                  </a:lnTo>
                  <a:lnTo>
                    <a:pt x="38" y="209"/>
                  </a:lnTo>
                  <a:lnTo>
                    <a:pt x="38" y="207"/>
                  </a:lnTo>
                  <a:lnTo>
                    <a:pt x="38" y="209"/>
                  </a:lnTo>
                  <a:close/>
                  <a:moveTo>
                    <a:pt x="93" y="207"/>
                  </a:moveTo>
                  <a:lnTo>
                    <a:pt x="90" y="207"/>
                  </a:lnTo>
                  <a:lnTo>
                    <a:pt x="93" y="207"/>
                  </a:lnTo>
                  <a:close/>
                  <a:moveTo>
                    <a:pt x="83" y="207"/>
                  </a:moveTo>
                  <a:lnTo>
                    <a:pt x="83" y="209"/>
                  </a:lnTo>
                  <a:lnTo>
                    <a:pt x="81" y="209"/>
                  </a:lnTo>
                  <a:lnTo>
                    <a:pt x="81" y="207"/>
                  </a:lnTo>
                  <a:lnTo>
                    <a:pt x="83" y="207"/>
                  </a:lnTo>
                  <a:close/>
                  <a:moveTo>
                    <a:pt x="36" y="204"/>
                  </a:moveTo>
                  <a:lnTo>
                    <a:pt x="38" y="207"/>
                  </a:lnTo>
                  <a:lnTo>
                    <a:pt x="38" y="204"/>
                  </a:lnTo>
                  <a:lnTo>
                    <a:pt x="38" y="207"/>
                  </a:lnTo>
                  <a:lnTo>
                    <a:pt x="40" y="207"/>
                  </a:lnTo>
                  <a:lnTo>
                    <a:pt x="38" y="207"/>
                  </a:lnTo>
                  <a:lnTo>
                    <a:pt x="36" y="207"/>
                  </a:lnTo>
                  <a:lnTo>
                    <a:pt x="38" y="207"/>
                  </a:lnTo>
                  <a:lnTo>
                    <a:pt x="36" y="207"/>
                  </a:lnTo>
                  <a:lnTo>
                    <a:pt x="36" y="204"/>
                  </a:lnTo>
                  <a:close/>
                  <a:moveTo>
                    <a:pt x="67" y="204"/>
                  </a:moveTo>
                  <a:lnTo>
                    <a:pt x="64" y="204"/>
                  </a:lnTo>
                  <a:lnTo>
                    <a:pt x="67" y="204"/>
                  </a:lnTo>
                  <a:close/>
                  <a:moveTo>
                    <a:pt x="43" y="204"/>
                  </a:moveTo>
                  <a:lnTo>
                    <a:pt x="43" y="202"/>
                  </a:lnTo>
                  <a:lnTo>
                    <a:pt x="43" y="204"/>
                  </a:lnTo>
                  <a:close/>
                  <a:moveTo>
                    <a:pt x="45" y="202"/>
                  </a:moveTo>
                  <a:lnTo>
                    <a:pt x="43" y="202"/>
                  </a:lnTo>
                  <a:lnTo>
                    <a:pt x="45" y="202"/>
                  </a:lnTo>
                  <a:lnTo>
                    <a:pt x="43" y="202"/>
                  </a:lnTo>
                  <a:lnTo>
                    <a:pt x="45" y="202"/>
                  </a:lnTo>
                  <a:close/>
                  <a:moveTo>
                    <a:pt x="40" y="200"/>
                  </a:moveTo>
                  <a:lnTo>
                    <a:pt x="40" y="202"/>
                  </a:lnTo>
                  <a:lnTo>
                    <a:pt x="43" y="202"/>
                  </a:lnTo>
                  <a:lnTo>
                    <a:pt x="40" y="202"/>
                  </a:lnTo>
                  <a:lnTo>
                    <a:pt x="43" y="202"/>
                  </a:lnTo>
                  <a:lnTo>
                    <a:pt x="43" y="204"/>
                  </a:lnTo>
                  <a:lnTo>
                    <a:pt x="40" y="204"/>
                  </a:lnTo>
                  <a:lnTo>
                    <a:pt x="43" y="204"/>
                  </a:lnTo>
                  <a:lnTo>
                    <a:pt x="40" y="204"/>
                  </a:lnTo>
                  <a:lnTo>
                    <a:pt x="40" y="207"/>
                  </a:lnTo>
                  <a:lnTo>
                    <a:pt x="38" y="207"/>
                  </a:lnTo>
                  <a:lnTo>
                    <a:pt x="38" y="204"/>
                  </a:lnTo>
                  <a:lnTo>
                    <a:pt x="38" y="207"/>
                  </a:lnTo>
                  <a:lnTo>
                    <a:pt x="38" y="204"/>
                  </a:lnTo>
                  <a:lnTo>
                    <a:pt x="36" y="204"/>
                  </a:lnTo>
                  <a:lnTo>
                    <a:pt x="38" y="204"/>
                  </a:lnTo>
                  <a:lnTo>
                    <a:pt x="38" y="202"/>
                  </a:lnTo>
                  <a:lnTo>
                    <a:pt x="40" y="202"/>
                  </a:lnTo>
                  <a:lnTo>
                    <a:pt x="40" y="200"/>
                  </a:lnTo>
                  <a:close/>
                  <a:moveTo>
                    <a:pt x="78" y="200"/>
                  </a:moveTo>
                  <a:lnTo>
                    <a:pt x="78" y="202"/>
                  </a:lnTo>
                  <a:lnTo>
                    <a:pt x="81" y="202"/>
                  </a:lnTo>
                  <a:lnTo>
                    <a:pt x="78" y="202"/>
                  </a:lnTo>
                  <a:lnTo>
                    <a:pt x="81" y="202"/>
                  </a:lnTo>
                  <a:lnTo>
                    <a:pt x="81" y="204"/>
                  </a:lnTo>
                  <a:lnTo>
                    <a:pt x="78" y="204"/>
                  </a:lnTo>
                  <a:lnTo>
                    <a:pt x="78" y="207"/>
                  </a:lnTo>
                  <a:lnTo>
                    <a:pt x="76" y="207"/>
                  </a:lnTo>
                  <a:lnTo>
                    <a:pt x="76" y="204"/>
                  </a:lnTo>
                  <a:lnTo>
                    <a:pt x="74" y="204"/>
                  </a:lnTo>
                  <a:lnTo>
                    <a:pt x="74" y="202"/>
                  </a:lnTo>
                  <a:lnTo>
                    <a:pt x="74" y="200"/>
                  </a:lnTo>
                  <a:lnTo>
                    <a:pt x="76" y="200"/>
                  </a:lnTo>
                  <a:lnTo>
                    <a:pt x="78" y="200"/>
                  </a:lnTo>
                  <a:close/>
                  <a:moveTo>
                    <a:pt x="71" y="200"/>
                  </a:moveTo>
                  <a:lnTo>
                    <a:pt x="74" y="200"/>
                  </a:lnTo>
                  <a:lnTo>
                    <a:pt x="71" y="200"/>
                  </a:lnTo>
                  <a:lnTo>
                    <a:pt x="69" y="200"/>
                  </a:lnTo>
                  <a:lnTo>
                    <a:pt x="71" y="200"/>
                  </a:lnTo>
                  <a:close/>
                  <a:moveTo>
                    <a:pt x="45" y="197"/>
                  </a:moveTo>
                  <a:lnTo>
                    <a:pt x="45" y="200"/>
                  </a:lnTo>
                  <a:lnTo>
                    <a:pt x="45" y="197"/>
                  </a:lnTo>
                  <a:close/>
                  <a:moveTo>
                    <a:pt x="81" y="195"/>
                  </a:moveTo>
                  <a:lnTo>
                    <a:pt x="83" y="195"/>
                  </a:lnTo>
                  <a:lnTo>
                    <a:pt x="81" y="195"/>
                  </a:lnTo>
                  <a:lnTo>
                    <a:pt x="81" y="197"/>
                  </a:lnTo>
                  <a:lnTo>
                    <a:pt x="81" y="195"/>
                  </a:lnTo>
                  <a:lnTo>
                    <a:pt x="78" y="195"/>
                  </a:lnTo>
                  <a:lnTo>
                    <a:pt x="81" y="195"/>
                  </a:lnTo>
                  <a:close/>
                  <a:moveTo>
                    <a:pt x="93" y="188"/>
                  </a:moveTo>
                  <a:lnTo>
                    <a:pt x="90" y="188"/>
                  </a:lnTo>
                  <a:lnTo>
                    <a:pt x="90" y="185"/>
                  </a:lnTo>
                  <a:lnTo>
                    <a:pt x="93" y="185"/>
                  </a:lnTo>
                  <a:lnTo>
                    <a:pt x="93" y="188"/>
                  </a:lnTo>
                  <a:close/>
                  <a:moveTo>
                    <a:pt x="88" y="185"/>
                  </a:moveTo>
                  <a:lnTo>
                    <a:pt x="90" y="185"/>
                  </a:lnTo>
                  <a:lnTo>
                    <a:pt x="90" y="188"/>
                  </a:lnTo>
                  <a:lnTo>
                    <a:pt x="88" y="188"/>
                  </a:lnTo>
                  <a:lnTo>
                    <a:pt x="88" y="185"/>
                  </a:lnTo>
                  <a:close/>
                  <a:moveTo>
                    <a:pt x="74" y="185"/>
                  </a:moveTo>
                  <a:lnTo>
                    <a:pt x="71" y="185"/>
                  </a:lnTo>
                  <a:lnTo>
                    <a:pt x="74" y="185"/>
                  </a:lnTo>
                  <a:close/>
                  <a:moveTo>
                    <a:pt x="93" y="185"/>
                  </a:moveTo>
                  <a:lnTo>
                    <a:pt x="95" y="185"/>
                  </a:lnTo>
                  <a:lnTo>
                    <a:pt x="93" y="185"/>
                  </a:lnTo>
                  <a:close/>
                  <a:moveTo>
                    <a:pt x="71" y="183"/>
                  </a:moveTo>
                  <a:lnTo>
                    <a:pt x="71" y="185"/>
                  </a:lnTo>
                  <a:lnTo>
                    <a:pt x="71" y="183"/>
                  </a:lnTo>
                  <a:close/>
                  <a:moveTo>
                    <a:pt x="48" y="181"/>
                  </a:moveTo>
                  <a:lnTo>
                    <a:pt x="48" y="183"/>
                  </a:lnTo>
                  <a:lnTo>
                    <a:pt x="48" y="181"/>
                  </a:lnTo>
                  <a:lnTo>
                    <a:pt x="50" y="183"/>
                  </a:lnTo>
                  <a:lnTo>
                    <a:pt x="48" y="183"/>
                  </a:lnTo>
                  <a:lnTo>
                    <a:pt x="48" y="181"/>
                  </a:lnTo>
                  <a:close/>
                  <a:moveTo>
                    <a:pt x="43" y="183"/>
                  </a:moveTo>
                  <a:lnTo>
                    <a:pt x="45" y="183"/>
                  </a:lnTo>
                  <a:lnTo>
                    <a:pt x="45" y="185"/>
                  </a:lnTo>
                  <a:lnTo>
                    <a:pt x="48" y="183"/>
                  </a:lnTo>
                  <a:lnTo>
                    <a:pt x="48" y="185"/>
                  </a:lnTo>
                  <a:lnTo>
                    <a:pt x="45" y="185"/>
                  </a:lnTo>
                  <a:lnTo>
                    <a:pt x="48" y="185"/>
                  </a:lnTo>
                  <a:lnTo>
                    <a:pt x="45" y="185"/>
                  </a:lnTo>
                  <a:lnTo>
                    <a:pt x="48" y="185"/>
                  </a:lnTo>
                  <a:lnTo>
                    <a:pt x="48" y="188"/>
                  </a:lnTo>
                  <a:lnTo>
                    <a:pt x="48" y="190"/>
                  </a:lnTo>
                  <a:lnTo>
                    <a:pt x="45" y="190"/>
                  </a:lnTo>
                  <a:lnTo>
                    <a:pt x="48" y="190"/>
                  </a:lnTo>
                  <a:lnTo>
                    <a:pt x="45" y="190"/>
                  </a:lnTo>
                  <a:lnTo>
                    <a:pt x="43" y="190"/>
                  </a:lnTo>
                  <a:lnTo>
                    <a:pt x="45" y="190"/>
                  </a:lnTo>
                  <a:lnTo>
                    <a:pt x="45" y="192"/>
                  </a:lnTo>
                  <a:lnTo>
                    <a:pt x="48" y="192"/>
                  </a:lnTo>
                  <a:lnTo>
                    <a:pt x="48" y="195"/>
                  </a:lnTo>
                  <a:lnTo>
                    <a:pt x="45" y="195"/>
                  </a:lnTo>
                  <a:lnTo>
                    <a:pt x="43" y="195"/>
                  </a:lnTo>
                  <a:lnTo>
                    <a:pt x="45" y="195"/>
                  </a:lnTo>
                  <a:lnTo>
                    <a:pt x="48" y="195"/>
                  </a:lnTo>
                  <a:lnTo>
                    <a:pt x="48" y="197"/>
                  </a:lnTo>
                  <a:lnTo>
                    <a:pt x="45" y="197"/>
                  </a:lnTo>
                  <a:lnTo>
                    <a:pt x="43" y="197"/>
                  </a:lnTo>
                  <a:lnTo>
                    <a:pt x="40" y="195"/>
                  </a:lnTo>
                  <a:lnTo>
                    <a:pt x="40" y="197"/>
                  </a:lnTo>
                  <a:lnTo>
                    <a:pt x="40" y="195"/>
                  </a:lnTo>
                  <a:lnTo>
                    <a:pt x="43" y="195"/>
                  </a:lnTo>
                  <a:lnTo>
                    <a:pt x="40" y="195"/>
                  </a:lnTo>
                  <a:lnTo>
                    <a:pt x="40" y="192"/>
                  </a:lnTo>
                  <a:lnTo>
                    <a:pt x="40" y="190"/>
                  </a:lnTo>
                  <a:lnTo>
                    <a:pt x="40" y="188"/>
                  </a:lnTo>
                  <a:lnTo>
                    <a:pt x="43" y="188"/>
                  </a:lnTo>
                  <a:lnTo>
                    <a:pt x="43" y="185"/>
                  </a:lnTo>
                  <a:lnTo>
                    <a:pt x="40" y="183"/>
                  </a:lnTo>
                  <a:lnTo>
                    <a:pt x="43" y="183"/>
                  </a:lnTo>
                  <a:lnTo>
                    <a:pt x="43" y="181"/>
                  </a:lnTo>
                  <a:lnTo>
                    <a:pt x="43" y="183"/>
                  </a:lnTo>
                  <a:close/>
                  <a:moveTo>
                    <a:pt x="50" y="178"/>
                  </a:moveTo>
                  <a:lnTo>
                    <a:pt x="48" y="178"/>
                  </a:lnTo>
                  <a:lnTo>
                    <a:pt x="50" y="178"/>
                  </a:lnTo>
                  <a:close/>
                  <a:moveTo>
                    <a:pt x="45" y="178"/>
                  </a:moveTo>
                  <a:lnTo>
                    <a:pt x="48" y="178"/>
                  </a:lnTo>
                  <a:lnTo>
                    <a:pt x="45" y="178"/>
                  </a:lnTo>
                  <a:lnTo>
                    <a:pt x="48" y="178"/>
                  </a:lnTo>
                  <a:lnTo>
                    <a:pt x="45" y="178"/>
                  </a:lnTo>
                  <a:close/>
                  <a:moveTo>
                    <a:pt x="45" y="178"/>
                  </a:moveTo>
                  <a:lnTo>
                    <a:pt x="43" y="178"/>
                  </a:lnTo>
                  <a:lnTo>
                    <a:pt x="45" y="178"/>
                  </a:lnTo>
                  <a:lnTo>
                    <a:pt x="48" y="178"/>
                  </a:lnTo>
                  <a:lnTo>
                    <a:pt x="48" y="181"/>
                  </a:lnTo>
                  <a:lnTo>
                    <a:pt x="48" y="178"/>
                  </a:lnTo>
                  <a:lnTo>
                    <a:pt x="48" y="181"/>
                  </a:lnTo>
                  <a:lnTo>
                    <a:pt x="48" y="178"/>
                  </a:lnTo>
                  <a:lnTo>
                    <a:pt x="48" y="181"/>
                  </a:lnTo>
                  <a:lnTo>
                    <a:pt x="45" y="181"/>
                  </a:lnTo>
                  <a:lnTo>
                    <a:pt x="48" y="181"/>
                  </a:lnTo>
                  <a:lnTo>
                    <a:pt x="45" y="181"/>
                  </a:lnTo>
                  <a:lnTo>
                    <a:pt x="48" y="181"/>
                  </a:lnTo>
                  <a:lnTo>
                    <a:pt x="48" y="183"/>
                  </a:lnTo>
                  <a:lnTo>
                    <a:pt x="45" y="181"/>
                  </a:lnTo>
                  <a:lnTo>
                    <a:pt x="45" y="183"/>
                  </a:lnTo>
                  <a:lnTo>
                    <a:pt x="48" y="183"/>
                  </a:lnTo>
                  <a:lnTo>
                    <a:pt x="45" y="183"/>
                  </a:lnTo>
                  <a:lnTo>
                    <a:pt x="48" y="183"/>
                  </a:lnTo>
                  <a:lnTo>
                    <a:pt x="45" y="183"/>
                  </a:lnTo>
                  <a:lnTo>
                    <a:pt x="45" y="181"/>
                  </a:lnTo>
                  <a:lnTo>
                    <a:pt x="45" y="183"/>
                  </a:lnTo>
                  <a:lnTo>
                    <a:pt x="45" y="181"/>
                  </a:lnTo>
                  <a:lnTo>
                    <a:pt x="43" y="181"/>
                  </a:lnTo>
                  <a:lnTo>
                    <a:pt x="40" y="181"/>
                  </a:lnTo>
                  <a:lnTo>
                    <a:pt x="40" y="178"/>
                  </a:lnTo>
                  <a:lnTo>
                    <a:pt x="43" y="178"/>
                  </a:lnTo>
                  <a:lnTo>
                    <a:pt x="40" y="178"/>
                  </a:lnTo>
                  <a:lnTo>
                    <a:pt x="43" y="178"/>
                  </a:lnTo>
                  <a:lnTo>
                    <a:pt x="45" y="178"/>
                  </a:lnTo>
                  <a:close/>
                  <a:moveTo>
                    <a:pt x="48" y="176"/>
                  </a:moveTo>
                  <a:lnTo>
                    <a:pt x="50" y="176"/>
                  </a:lnTo>
                  <a:lnTo>
                    <a:pt x="50" y="178"/>
                  </a:lnTo>
                  <a:lnTo>
                    <a:pt x="48" y="178"/>
                  </a:lnTo>
                  <a:lnTo>
                    <a:pt x="48" y="176"/>
                  </a:lnTo>
                  <a:lnTo>
                    <a:pt x="50" y="178"/>
                  </a:lnTo>
                  <a:lnTo>
                    <a:pt x="48" y="176"/>
                  </a:lnTo>
                  <a:close/>
                  <a:moveTo>
                    <a:pt x="50" y="176"/>
                  </a:moveTo>
                  <a:lnTo>
                    <a:pt x="50" y="178"/>
                  </a:lnTo>
                  <a:lnTo>
                    <a:pt x="50" y="176"/>
                  </a:lnTo>
                  <a:close/>
                  <a:moveTo>
                    <a:pt x="45" y="176"/>
                  </a:moveTo>
                  <a:lnTo>
                    <a:pt x="48" y="176"/>
                  </a:lnTo>
                  <a:lnTo>
                    <a:pt x="48" y="178"/>
                  </a:lnTo>
                  <a:lnTo>
                    <a:pt x="45" y="178"/>
                  </a:lnTo>
                  <a:lnTo>
                    <a:pt x="45" y="176"/>
                  </a:lnTo>
                  <a:lnTo>
                    <a:pt x="45" y="178"/>
                  </a:lnTo>
                  <a:lnTo>
                    <a:pt x="45" y="176"/>
                  </a:lnTo>
                  <a:lnTo>
                    <a:pt x="48" y="176"/>
                  </a:lnTo>
                  <a:lnTo>
                    <a:pt x="45" y="176"/>
                  </a:lnTo>
                  <a:close/>
                  <a:moveTo>
                    <a:pt x="88" y="178"/>
                  </a:moveTo>
                  <a:lnTo>
                    <a:pt x="88" y="181"/>
                  </a:lnTo>
                  <a:lnTo>
                    <a:pt x="88" y="183"/>
                  </a:lnTo>
                  <a:lnTo>
                    <a:pt x="88" y="185"/>
                  </a:lnTo>
                  <a:lnTo>
                    <a:pt x="86" y="185"/>
                  </a:lnTo>
                  <a:lnTo>
                    <a:pt x="86" y="183"/>
                  </a:lnTo>
                  <a:lnTo>
                    <a:pt x="86" y="181"/>
                  </a:lnTo>
                  <a:lnTo>
                    <a:pt x="86" y="178"/>
                  </a:lnTo>
                  <a:lnTo>
                    <a:pt x="88" y="178"/>
                  </a:lnTo>
                  <a:lnTo>
                    <a:pt x="88" y="176"/>
                  </a:lnTo>
                  <a:lnTo>
                    <a:pt x="88" y="178"/>
                  </a:lnTo>
                  <a:close/>
                  <a:moveTo>
                    <a:pt x="36" y="176"/>
                  </a:moveTo>
                  <a:lnTo>
                    <a:pt x="33" y="176"/>
                  </a:lnTo>
                  <a:lnTo>
                    <a:pt x="36" y="176"/>
                  </a:lnTo>
                  <a:close/>
                  <a:moveTo>
                    <a:pt x="43" y="176"/>
                  </a:moveTo>
                  <a:lnTo>
                    <a:pt x="43" y="173"/>
                  </a:lnTo>
                  <a:lnTo>
                    <a:pt x="43" y="176"/>
                  </a:lnTo>
                  <a:lnTo>
                    <a:pt x="43" y="173"/>
                  </a:lnTo>
                  <a:lnTo>
                    <a:pt x="43" y="176"/>
                  </a:lnTo>
                  <a:lnTo>
                    <a:pt x="40" y="173"/>
                  </a:lnTo>
                  <a:lnTo>
                    <a:pt x="43" y="173"/>
                  </a:lnTo>
                  <a:lnTo>
                    <a:pt x="43" y="176"/>
                  </a:lnTo>
                  <a:close/>
                  <a:moveTo>
                    <a:pt x="40" y="173"/>
                  </a:moveTo>
                  <a:lnTo>
                    <a:pt x="43" y="173"/>
                  </a:lnTo>
                  <a:lnTo>
                    <a:pt x="40" y="173"/>
                  </a:lnTo>
                  <a:lnTo>
                    <a:pt x="43" y="173"/>
                  </a:lnTo>
                  <a:lnTo>
                    <a:pt x="40" y="173"/>
                  </a:lnTo>
                  <a:close/>
                  <a:moveTo>
                    <a:pt x="90" y="173"/>
                  </a:moveTo>
                  <a:lnTo>
                    <a:pt x="88" y="173"/>
                  </a:lnTo>
                  <a:lnTo>
                    <a:pt x="90" y="173"/>
                  </a:lnTo>
                  <a:lnTo>
                    <a:pt x="88" y="176"/>
                  </a:lnTo>
                  <a:lnTo>
                    <a:pt x="88" y="173"/>
                  </a:lnTo>
                  <a:lnTo>
                    <a:pt x="90" y="173"/>
                  </a:lnTo>
                  <a:close/>
                  <a:moveTo>
                    <a:pt x="43" y="169"/>
                  </a:moveTo>
                  <a:lnTo>
                    <a:pt x="40" y="169"/>
                  </a:lnTo>
                  <a:lnTo>
                    <a:pt x="43" y="169"/>
                  </a:lnTo>
                  <a:close/>
                  <a:moveTo>
                    <a:pt x="48" y="166"/>
                  </a:moveTo>
                  <a:lnTo>
                    <a:pt x="45" y="166"/>
                  </a:lnTo>
                  <a:lnTo>
                    <a:pt x="48" y="166"/>
                  </a:lnTo>
                  <a:close/>
                  <a:moveTo>
                    <a:pt x="48" y="166"/>
                  </a:moveTo>
                  <a:lnTo>
                    <a:pt x="50" y="166"/>
                  </a:lnTo>
                  <a:lnTo>
                    <a:pt x="50" y="169"/>
                  </a:lnTo>
                  <a:lnTo>
                    <a:pt x="52" y="169"/>
                  </a:lnTo>
                  <a:lnTo>
                    <a:pt x="50" y="169"/>
                  </a:lnTo>
                  <a:lnTo>
                    <a:pt x="52" y="169"/>
                  </a:lnTo>
                  <a:lnTo>
                    <a:pt x="52" y="171"/>
                  </a:lnTo>
                  <a:lnTo>
                    <a:pt x="50" y="171"/>
                  </a:lnTo>
                  <a:lnTo>
                    <a:pt x="52" y="171"/>
                  </a:lnTo>
                  <a:lnTo>
                    <a:pt x="50" y="171"/>
                  </a:lnTo>
                  <a:lnTo>
                    <a:pt x="52" y="171"/>
                  </a:lnTo>
                  <a:lnTo>
                    <a:pt x="52" y="173"/>
                  </a:lnTo>
                  <a:lnTo>
                    <a:pt x="50" y="173"/>
                  </a:lnTo>
                  <a:lnTo>
                    <a:pt x="48" y="173"/>
                  </a:lnTo>
                  <a:lnTo>
                    <a:pt x="50" y="173"/>
                  </a:lnTo>
                  <a:lnTo>
                    <a:pt x="50" y="176"/>
                  </a:lnTo>
                  <a:lnTo>
                    <a:pt x="48" y="176"/>
                  </a:lnTo>
                  <a:lnTo>
                    <a:pt x="45" y="176"/>
                  </a:lnTo>
                  <a:lnTo>
                    <a:pt x="43" y="176"/>
                  </a:lnTo>
                  <a:lnTo>
                    <a:pt x="45" y="176"/>
                  </a:lnTo>
                  <a:lnTo>
                    <a:pt x="43" y="176"/>
                  </a:lnTo>
                  <a:lnTo>
                    <a:pt x="43" y="173"/>
                  </a:lnTo>
                  <a:lnTo>
                    <a:pt x="40" y="173"/>
                  </a:lnTo>
                  <a:lnTo>
                    <a:pt x="38" y="173"/>
                  </a:lnTo>
                  <a:lnTo>
                    <a:pt x="38" y="171"/>
                  </a:lnTo>
                  <a:lnTo>
                    <a:pt x="38" y="173"/>
                  </a:lnTo>
                  <a:lnTo>
                    <a:pt x="38" y="171"/>
                  </a:lnTo>
                  <a:lnTo>
                    <a:pt x="36" y="171"/>
                  </a:lnTo>
                  <a:lnTo>
                    <a:pt x="38" y="171"/>
                  </a:lnTo>
                  <a:lnTo>
                    <a:pt x="38" y="169"/>
                  </a:lnTo>
                  <a:lnTo>
                    <a:pt x="40" y="169"/>
                  </a:lnTo>
                  <a:lnTo>
                    <a:pt x="43" y="169"/>
                  </a:lnTo>
                  <a:lnTo>
                    <a:pt x="40" y="169"/>
                  </a:lnTo>
                  <a:lnTo>
                    <a:pt x="43" y="169"/>
                  </a:lnTo>
                  <a:lnTo>
                    <a:pt x="43" y="166"/>
                  </a:lnTo>
                  <a:lnTo>
                    <a:pt x="45" y="166"/>
                  </a:lnTo>
                  <a:lnTo>
                    <a:pt x="45" y="169"/>
                  </a:lnTo>
                  <a:lnTo>
                    <a:pt x="43" y="169"/>
                  </a:lnTo>
                  <a:lnTo>
                    <a:pt x="45" y="169"/>
                  </a:lnTo>
                  <a:lnTo>
                    <a:pt x="48" y="169"/>
                  </a:lnTo>
                  <a:lnTo>
                    <a:pt x="45" y="169"/>
                  </a:lnTo>
                  <a:lnTo>
                    <a:pt x="48" y="169"/>
                  </a:lnTo>
                  <a:lnTo>
                    <a:pt x="48" y="166"/>
                  </a:lnTo>
                  <a:lnTo>
                    <a:pt x="50" y="166"/>
                  </a:lnTo>
                  <a:lnTo>
                    <a:pt x="48" y="166"/>
                  </a:lnTo>
                  <a:close/>
                  <a:moveTo>
                    <a:pt x="78" y="166"/>
                  </a:moveTo>
                  <a:lnTo>
                    <a:pt x="78" y="164"/>
                  </a:lnTo>
                  <a:lnTo>
                    <a:pt x="78" y="166"/>
                  </a:lnTo>
                  <a:close/>
                  <a:moveTo>
                    <a:pt x="95" y="164"/>
                  </a:moveTo>
                  <a:lnTo>
                    <a:pt x="93" y="164"/>
                  </a:lnTo>
                  <a:lnTo>
                    <a:pt x="95" y="164"/>
                  </a:lnTo>
                  <a:close/>
                  <a:moveTo>
                    <a:pt x="50" y="164"/>
                  </a:moveTo>
                  <a:lnTo>
                    <a:pt x="50" y="166"/>
                  </a:lnTo>
                  <a:lnTo>
                    <a:pt x="48" y="166"/>
                  </a:lnTo>
                  <a:lnTo>
                    <a:pt x="48" y="164"/>
                  </a:lnTo>
                  <a:lnTo>
                    <a:pt x="50" y="164"/>
                  </a:lnTo>
                  <a:close/>
                  <a:moveTo>
                    <a:pt x="52" y="164"/>
                  </a:moveTo>
                  <a:lnTo>
                    <a:pt x="52" y="162"/>
                  </a:lnTo>
                  <a:lnTo>
                    <a:pt x="52" y="164"/>
                  </a:lnTo>
                  <a:close/>
                  <a:moveTo>
                    <a:pt x="48" y="162"/>
                  </a:moveTo>
                  <a:lnTo>
                    <a:pt x="48" y="164"/>
                  </a:lnTo>
                  <a:lnTo>
                    <a:pt x="45" y="164"/>
                  </a:lnTo>
                  <a:lnTo>
                    <a:pt x="45" y="162"/>
                  </a:lnTo>
                  <a:lnTo>
                    <a:pt x="48" y="162"/>
                  </a:lnTo>
                  <a:close/>
                  <a:moveTo>
                    <a:pt x="48" y="162"/>
                  </a:moveTo>
                  <a:lnTo>
                    <a:pt x="45" y="162"/>
                  </a:lnTo>
                  <a:lnTo>
                    <a:pt x="48" y="162"/>
                  </a:lnTo>
                  <a:close/>
                  <a:moveTo>
                    <a:pt x="2" y="159"/>
                  </a:moveTo>
                  <a:lnTo>
                    <a:pt x="5" y="162"/>
                  </a:lnTo>
                  <a:lnTo>
                    <a:pt x="2" y="162"/>
                  </a:lnTo>
                  <a:lnTo>
                    <a:pt x="5" y="162"/>
                  </a:lnTo>
                  <a:lnTo>
                    <a:pt x="2" y="162"/>
                  </a:lnTo>
                  <a:lnTo>
                    <a:pt x="2" y="159"/>
                  </a:lnTo>
                  <a:close/>
                  <a:moveTo>
                    <a:pt x="0" y="159"/>
                  </a:moveTo>
                  <a:lnTo>
                    <a:pt x="2" y="159"/>
                  </a:lnTo>
                  <a:lnTo>
                    <a:pt x="0" y="159"/>
                  </a:lnTo>
                  <a:close/>
                  <a:moveTo>
                    <a:pt x="100" y="159"/>
                  </a:moveTo>
                  <a:lnTo>
                    <a:pt x="102" y="159"/>
                  </a:lnTo>
                  <a:lnTo>
                    <a:pt x="100" y="159"/>
                  </a:lnTo>
                  <a:close/>
                  <a:moveTo>
                    <a:pt x="5" y="159"/>
                  </a:moveTo>
                  <a:lnTo>
                    <a:pt x="5" y="157"/>
                  </a:lnTo>
                  <a:lnTo>
                    <a:pt x="7" y="157"/>
                  </a:lnTo>
                  <a:lnTo>
                    <a:pt x="5" y="159"/>
                  </a:lnTo>
                  <a:close/>
                  <a:moveTo>
                    <a:pt x="64" y="157"/>
                  </a:moveTo>
                  <a:lnTo>
                    <a:pt x="67" y="157"/>
                  </a:lnTo>
                  <a:lnTo>
                    <a:pt x="67" y="159"/>
                  </a:lnTo>
                  <a:lnTo>
                    <a:pt x="64" y="159"/>
                  </a:lnTo>
                  <a:lnTo>
                    <a:pt x="64" y="157"/>
                  </a:lnTo>
                  <a:lnTo>
                    <a:pt x="64" y="159"/>
                  </a:lnTo>
                  <a:lnTo>
                    <a:pt x="64" y="157"/>
                  </a:lnTo>
                  <a:close/>
                  <a:moveTo>
                    <a:pt x="105" y="157"/>
                  </a:moveTo>
                  <a:lnTo>
                    <a:pt x="107" y="157"/>
                  </a:lnTo>
                  <a:lnTo>
                    <a:pt x="105" y="157"/>
                  </a:lnTo>
                  <a:lnTo>
                    <a:pt x="107" y="157"/>
                  </a:lnTo>
                  <a:lnTo>
                    <a:pt x="105" y="157"/>
                  </a:lnTo>
                  <a:lnTo>
                    <a:pt x="107" y="157"/>
                  </a:lnTo>
                  <a:lnTo>
                    <a:pt x="105" y="157"/>
                  </a:lnTo>
                  <a:close/>
                  <a:moveTo>
                    <a:pt x="78" y="157"/>
                  </a:moveTo>
                  <a:lnTo>
                    <a:pt x="76" y="157"/>
                  </a:lnTo>
                  <a:lnTo>
                    <a:pt x="78" y="157"/>
                  </a:lnTo>
                  <a:close/>
                  <a:moveTo>
                    <a:pt x="55" y="154"/>
                  </a:moveTo>
                  <a:lnTo>
                    <a:pt x="55" y="157"/>
                  </a:lnTo>
                  <a:lnTo>
                    <a:pt x="52" y="157"/>
                  </a:lnTo>
                  <a:lnTo>
                    <a:pt x="55" y="154"/>
                  </a:lnTo>
                  <a:close/>
                  <a:moveTo>
                    <a:pt x="57" y="154"/>
                  </a:moveTo>
                  <a:lnTo>
                    <a:pt x="55" y="154"/>
                  </a:lnTo>
                  <a:lnTo>
                    <a:pt x="57" y="154"/>
                  </a:lnTo>
                  <a:close/>
                  <a:moveTo>
                    <a:pt x="74" y="150"/>
                  </a:moveTo>
                  <a:lnTo>
                    <a:pt x="74" y="152"/>
                  </a:lnTo>
                  <a:lnTo>
                    <a:pt x="74" y="150"/>
                  </a:lnTo>
                  <a:close/>
                  <a:moveTo>
                    <a:pt x="64" y="152"/>
                  </a:moveTo>
                  <a:lnTo>
                    <a:pt x="64" y="150"/>
                  </a:lnTo>
                  <a:lnTo>
                    <a:pt x="64" y="152"/>
                  </a:lnTo>
                  <a:close/>
                  <a:moveTo>
                    <a:pt x="107" y="150"/>
                  </a:moveTo>
                  <a:lnTo>
                    <a:pt x="109" y="150"/>
                  </a:lnTo>
                  <a:lnTo>
                    <a:pt x="107" y="150"/>
                  </a:lnTo>
                  <a:close/>
                  <a:moveTo>
                    <a:pt x="50" y="150"/>
                  </a:moveTo>
                  <a:lnTo>
                    <a:pt x="52" y="150"/>
                  </a:lnTo>
                  <a:lnTo>
                    <a:pt x="50" y="150"/>
                  </a:lnTo>
                  <a:close/>
                  <a:moveTo>
                    <a:pt x="107" y="147"/>
                  </a:moveTo>
                  <a:lnTo>
                    <a:pt x="107" y="150"/>
                  </a:lnTo>
                  <a:lnTo>
                    <a:pt x="107" y="147"/>
                  </a:lnTo>
                  <a:close/>
                  <a:moveTo>
                    <a:pt x="107" y="150"/>
                  </a:moveTo>
                  <a:lnTo>
                    <a:pt x="105" y="150"/>
                  </a:lnTo>
                  <a:lnTo>
                    <a:pt x="105" y="147"/>
                  </a:lnTo>
                  <a:lnTo>
                    <a:pt x="107" y="147"/>
                  </a:lnTo>
                  <a:lnTo>
                    <a:pt x="107" y="150"/>
                  </a:lnTo>
                  <a:close/>
                  <a:moveTo>
                    <a:pt x="109" y="142"/>
                  </a:moveTo>
                  <a:lnTo>
                    <a:pt x="112" y="142"/>
                  </a:lnTo>
                  <a:lnTo>
                    <a:pt x="109" y="142"/>
                  </a:lnTo>
                  <a:close/>
                  <a:moveTo>
                    <a:pt x="59" y="140"/>
                  </a:moveTo>
                  <a:lnTo>
                    <a:pt x="57" y="140"/>
                  </a:lnTo>
                  <a:lnTo>
                    <a:pt x="59" y="140"/>
                  </a:lnTo>
                  <a:close/>
                  <a:moveTo>
                    <a:pt x="57" y="138"/>
                  </a:moveTo>
                  <a:lnTo>
                    <a:pt x="57" y="140"/>
                  </a:lnTo>
                  <a:lnTo>
                    <a:pt x="57" y="138"/>
                  </a:lnTo>
                  <a:close/>
                  <a:moveTo>
                    <a:pt x="59" y="138"/>
                  </a:moveTo>
                  <a:lnTo>
                    <a:pt x="62" y="138"/>
                  </a:lnTo>
                  <a:lnTo>
                    <a:pt x="62" y="140"/>
                  </a:lnTo>
                  <a:lnTo>
                    <a:pt x="62" y="138"/>
                  </a:lnTo>
                  <a:lnTo>
                    <a:pt x="62" y="140"/>
                  </a:lnTo>
                  <a:lnTo>
                    <a:pt x="59" y="140"/>
                  </a:lnTo>
                  <a:lnTo>
                    <a:pt x="59" y="138"/>
                  </a:lnTo>
                  <a:close/>
                  <a:moveTo>
                    <a:pt x="116" y="135"/>
                  </a:moveTo>
                  <a:lnTo>
                    <a:pt x="114" y="135"/>
                  </a:lnTo>
                  <a:lnTo>
                    <a:pt x="116" y="135"/>
                  </a:lnTo>
                  <a:close/>
                  <a:moveTo>
                    <a:pt x="116" y="131"/>
                  </a:moveTo>
                  <a:lnTo>
                    <a:pt x="114" y="131"/>
                  </a:lnTo>
                  <a:lnTo>
                    <a:pt x="116" y="131"/>
                  </a:lnTo>
                  <a:close/>
                  <a:moveTo>
                    <a:pt x="145" y="121"/>
                  </a:moveTo>
                  <a:lnTo>
                    <a:pt x="145" y="123"/>
                  </a:lnTo>
                  <a:lnTo>
                    <a:pt x="145" y="121"/>
                  </a:lnTo>
                  <a:close/>
                  <a:moveTo>
                    <a:pt x="131" y="121"/>
                  </a:moveTo>
                  <a:lnTo>
                    <a:pt x="133" y="121"/>
                  </a:lnTo>
                  <a:lnTo>
                    <a:pt x="131" y="121"/>
                  </a:lnTo>
                  <a:close/>
                  <a:moveTo>
                    <a:pt x="183" y="116"/>
                  </a:moveTo>
                  <a:lnTo>
                    <a:pt x="183" y="114"/>
                  </a:lnTo>
                  <a:lnTo>
                    <a:pt x="183" y="116"/>
                  </a:lnTo>
                  <a:close/>
                  <a:moveTo>
                    <a:pt x="185" y="107"/>
                  </a:moveTo>
                  <a:lnTo>
                    <a:pt x="183" y="107"/>
                  </a:lnTo>
                  <a:lnTo>
                    <a:pt x="185" y="107"/>
                  </a:lnTo>
                  <a:lnTo>
                    <a:pt x="185" y="109"/>
                  </a:lnTo>
                  <a:lnTo>
                    <a:pt x="183" y="109"/>
                  </a:lnTo>
                  <a:lnTo>
                    <a:pt x="183" y="107"/>
                  </a:lnTo>
                  <a:lnTo>
                    <a:pt x="183" y="109"/>
                  </a:lnTo>
                  <a:lnTo>
                    <a:pt x="183" y="107"/>
                  </a:lnTo>
                  <a:lnTo>
                    <a:pt x="185" y="107"/>
                  </a:lnTo>
                  <a:close/>
                  <a:moveTo>
                    <a:pt x="180" y="107"/>
                  </a:moveTo>
                  <a:lnTo>
                    <a:pt x="183" y="107"/>
                  </a:lnTo>
                  <a:lnTo>
                    <a:pt x="180" y="107"/>
                  </a:lnTo>
                  <a:lnTo>
                    <a:pt x="183" y="107"/>
                  </a:lnTo>
                  <a:lnTo>
                    <a:pt x="180" y="107"/>
                  </a:lnTo>
                  <a:close/>
                  <a:moveTo>
                    <a:pt x="180" y="107"/>
                  </a:moveTo>
                  <a:lnTo>
                    <a:pt x="180" y="104"/>
                  </a:lnTo>
                  <a:lnTo>
                    <a:pt x="180" y="107"/>
                  </a:lnTo>
                  <a:close/>
                  <a:moveTo>
                    <a:pt x="180" y="104"/>
                  </a:moveTo>
                  <a:lnTo>
                    <a:pt x="183" y="104"/>
                  </a:lnTo>
                  <a:lnTo>
                    <a:pt x="180" y="104"/>
                  </a:lnTo>
                  <a:close/>
                  <a:moveTo>
                    <a:pt x="176" y="102"/>
                  </a:moveTo>
                  <a:lnTo>
                    <a:pt x="178" y="104"/>
                  </a:lnTo>
                  <a:lnTo>
                    <a:pt x="180" y="104"/>
                  </a:lnTo>
                  <a:lnTo>
                    <a:pt x="180" y="107"/>
                  </a:lnTo>
                  <a:lnTo>
                    <a:pt x="180" y="109"/>
                  </a:lnTo>
                  <a:lnTo>
                    <a:pt x="178" y="109"/>
                  </a:lnTo>
                  <a:lnTo>
                    <a:pt x="180" y="109"/>
                  </a:lnTo>
                  <a:lnTo>
                    <a:pt x="183" y="109"/>
                  </a:lnTo>
                  <a:lnTo>
                    <a:pt x="180" y="109"/>
                  </a:lnTo>
                  <a:lnTo>
                    <a:pt x="178" y="109"/>
                  </a:lnTo>
                  <a:lnTo>
                    <a:pt x="180" y="109"/>
                  </a:lnTo>
                  <a:lnTo>
                    <a:pt x="178" y="112"/>
                  </a:lnTo>
                  <a:lnTo>
                    <a:pt x="178" y="109"/>
                  </a:lnTo>
                  <a:lnTo>
                    <a:pt x="176" y="109"/>
                  </a:lnTo>
                  <a:lnTo>
                    <a:pt x="176" y="107"/>
                  </a:lnTo>
                  <a:lnTo>
                    <a:pt x="173" y="107"/>
                  </a:lnTo>
                  <a:lnTo>
                    <a:pt x="176" y="107"/>
                  </a:lnTo>
                  <a:lnTo>
                    <a:pt x="173" y="107"/>
                  </a:lnTo>
                  <a:lnTo>
                    <a:pt x="173" y="104"/>
                  </a:lnTo>
                  <a:lnTo>
                    <a:pt x="173" y="102"/>
                  </a:lnTo>
                  <a:lnTo>
                    <a:pt x="176" y="102"/>
                  </a:lnTo>
                  <a:close/>
                  <a:moveTo>
                    <a:pt x="178" y="102"/>
                  </a:moveTo>
                  <a:lnTo>
                    <a:pt x="176" y="102"/>
                  </a:lnTo>
                  <a:lnTo>
                    <a:pt x="178" y="102"/>
                  </a:lnTo>
                  <a:close/>
                  <a:moveTo>
                    <a:pt x="192" y="95"/>
                  </a:moveTo>
                  <a:lnTo>
                    <a:pt x="195" y="95"/>
                  </a:lnTo>
                  <a:lnTo>
                    <a:pt x="192" y="95"/>
                  </a:lnTo>
                  <a:lnTo>
                    <a:pt x="192" y="97"/>
                  </a:lnTo>
                  <a:lnTo>
                    <a:pt x="190" y="97"/>
                  </a:lnTo>
                  <a:lnTo>
                    <a:pt x="190" y="95"/>
                  </a:lnTo>
                  <a:lnTo>
                    <a:pt x="192" y="95"/>
                  </a:lnTo>
                  <a:lnTo>
                    <a:pt x="195" y="95"/>
                  </a:lnTo>
                  <a:lnTo>
                    <a:pt x="192" y="95"/>
                  </a:lnTo>
                  <a:close/>
                  <a:moveTo>
                    <a:pt x="140" y="95"/>
                  </a:moveTo>
                  <a:lnTo>
                    <a:pt x="140" y="93"/>
                  </a:lnTo>
                  <a:lnTo>
                    <a:pt x="140" y="95"/>
                  </a:lnTo>
                  <a:close/>
                  <a:moveTo>
                    <a:pt x="188" y="95"/>
                  </a:moveTo>
                  <a:lnTo>
                    <a:pt x="188" y="93"/>
                  </a:lnTo>
                  <a:lnTo>
                    <a:pt x="188" y="95"/>
                  </a:lnTo>
                  <a:close/>
                  <a:moveTo>
                    <a:pt x="192" y="93"/>
                  </a:moveTo>
                  <a:lnTo>
                    <a:pt x="192" y="90"/>
                  </a:lnTo>
                  <a:lnTo>
                    <a:pt x="192" y="93"/>
                  </a:lnTo>
                  <a:close/>
                  <a:moveTo>
                    <a:pt x="95" y="93"/>
                  </a:moveTo>
                  <a:lnTo>
                    <a:pt x="93" y="93"/>
                  </a:lnTo>
                  <a:lnTo>
                    <a:pt x="93" y="90"/>
                  </a:lnTo>
                  <a:lnTo>
                    <a:pt x="95" y="93"/>
                  </a:lnTo>
                  <a:close/>
                  <a:moveTo>
                    <a:pt x="197" y="90"/>
                  </a:moveTo>
                  <a:lnTo>
                    <a:pt x="197" y="93"/>
                  </a:lnTo>
                  <a:lnTo>
                    <a:pt x="197" y="90"/>
                  </a:lnTo>
                  <a:close/>
                  <a:moveTo>
                    <a:pt x="202" y="90"/>
                  </a:moveTo>
                  <a:lnTo>
                    <a:pt x="199" y="90"/>
                  </a:lnTo>
                  <a:lnTo>
                    <a:pt x="202" y="90"/>
                  </a:lnTo>
                  <a:close/>
                  <a:moveTo>
                    <a:pt x="199" y="90"/>
                  </a:moveTo>
                  <a:lnTo>
                    <a:pt x="202" y="90"/>
                  </a:lnTo>
                  <a:lnTo>
                    <a:pt x="199" y="90"/>
                  </a:lnTo>
                  <a:lnTo>
                    <a:pt x="199" y="93"/>
                  </a:lnTo>
                  <a:lnTo>
                    <a:pt x="202" y="93"/>
                  </a:lnTo>
                  <a:lnTo>
                    <a:pt x="202" y="95"/>
                  </a:lnTo>
                  <a:lnTo>
                    <a:pt x="199" y="95"/>
                  </a:lnTo>
                  <a:lnTo>
                    <a:pt x="199" y="93"/>
                  </a:lnTo>
                  <a:lnTo>
                    <a:pt x="197" y="93"/>
                  </a:lnTo>
                  <a:lnTo>
                    <a:pt x="199" y="93"/>
                  </a:lnTo>
                  <a:lnTo>
                    <a:pt x="199" y="95"/>
                  </a:lnTo>
                  <a:lnTo>
                    <a:pt x="197" y="95"/>
                  </a:lnTo>
                  <a:lnTo>
                    <a:pt x="197" y="93"/>
                  </a:lnTo>
                  <a:lnTo>
                    <a:pt x="199" y="93"/>
                  </a:lnTo>
                  <a:lnTo>
                    <a:pt x="199" y="90"/>
                  </a:lnTo>
                  <a:lnTo>
                    <a:pt x="197" y="90"/>
                  </a:lnTo>
                  <a:lnTo>
                    <a:pt x="199" y="90"/>
                  </a:lnTo>
                  <a:close/>
                  <a:moveTo>
                    <a:pt x="190" y="93"/>
                  </a:moveTo>
                  <a:lnTo>
                    <a:pt x="190" y="90"/>
                  </a:lnTo>
                  <a:lnTo>
                    <a:pt x="190" y="93"/>
                  </a:lnTo>
                  <a:close/>
                  <a:moveTo>
                    <a:pt x="185" y="88"/>
                  </a:moveTo>
                  <a:lnTo>
                    <a:pt x="185" y="90"/>
                  </a:lnTo>
                  <a:lnTo>
                    <a:pt x="188" y="90"/>
                  </a:lnTo>
                  <a:lnTo>
                    <a:pt x="188" y="88"/>
                  </a:lnTo>
                  <a:lnTo>
                    <a:pt x="188" y="90"/>
                  </a:lnTo>
                  <a:lnTo>
                    <a:pt x="188" y="93"/>
                  </a:lnTo>
                  <a:lnTo>
                    <a:pt x="185" y="93"/>
                  </a:lnTo>
                  <a:lnTo>
                    <a:pt x="185" y="90"/>
                  </a:lnTo>
                  <a:lnTo>
                    <a:pt x="183" y="90"/>
                  </a:lnTo>
                  <a:lnTo>
                    <a:pt x="183" y="88"/>
                  </a:lnTo>
                  <a:lnTo>
                    <a:pt x="185" y="88"/>
                  </a:lnTo>
                  <a:close/>
                  <a:moveTo>
                    <a:pt x="192" y="88"/>
                  </a:moveTo>
                  <a:lnTo>
                    <a:pt x="192" y="85"/>
                  </a:lnTo>
                  <a:lnTo>
                    <a:pt x="192" y="88"/>
                  </a:lnTo>
                  <a:close/>
                  <a:moveTo>
                    <a:pt x="197" y="85"/>
                  </a:moveTo>
                  <a:lnTo>
                    <a:pt x="195" y="85"/>
                  </a:lnTo>
                  <a:lnTo>
                    <a:pt x="197" y="85"/>
                  </a:lnTo>
                  <a:close/>
                  <a:moveTo>
                    <a:pt x="195" y="85"/>
                  </a:moveTo>
                  <a:lnTo>
                    <a:pt x="195" y="88"/>
                  </a:lnTo>
                  <a:lnTo>
                    <a:pt x="195" y="90"/>
                  </a:lnTo>
                  <a:lnTo>
                    <a:pt x="192" y="90"/>
                  </a:lnTo>
                  <a:lnTo>
                    <a:pt x="192" y="88"/>
                  </a:lnTo>
                  <a:lnTo>
                    <a:pt x="195" y="88"/>
                  </a:lnTo>
                  <a:lnTo>
                    <a:pt x="195" y="85"/>
                  </a:lnTo>
                  <a:close/>
                  <a:moveTo>
                    <a:pt x="207" y="83"/>
                  </a:moveTo>
                  <a:lnTo>
                    <a:pt x="204" y="83"/>
                  </a:lnTo>
                  <a:lnTo>
                    <a:pt x="204" y="85"/>
                  </a:lnTo>
                  <a:lnTo>
                    <a:pt x="202" y="85"/>
                  </a:lnTo>
                  <a:lnTo>
                    <a:pt x="204" y="85"/>
                  </a:lnTo>
                  <a:lnTo>
                    <a:pt x="202" y="85"/>
                  </a:lnTo>
                  <a:lnTo>
                    <a:pt x="204" y="85"/>
                  </a:lnTo>
                  <a:lnTo>
                    <a:pt x="204" y="88"/>
                  </a:lnTo>
                  <a:lnTo>
                    <a:pt x="204" y="85"/>
                  </a:lnTo>
                  <a:lnTo>
                    <a:pt x="202" y="85"/>
                  </a:lnTo>
                  <a:lnTo>
                    <a:pt x="202" y="88"/>
                  </a:lnTo>
                  <a:lnTo>
                    <a:pt x="202" y="85"/>
                  </a:lnTo>
                  <a:lnTo>
                    <a:pt x="199" y="85"/>
                  </a:lnTo>
                  <a:lnTo>
                    <a:pt x="199" y="88"/>
                  </a:lnTo>
                  <a:lnTo>
                    <a:pt x="197" y="88"/>
                  </a:lnTo>
                  <a:lnTo>
                    <a:pt x="197" y="85"/>
                  </a:lnTo>
                  <a:lnTo>
                    <a:pt x="199" y="85"/>
                  </a:lnTo>
                  <a:lnTo>
                    <a:pt x="199" y="83"/>
                  </a:lnTo>
                  <a:lnTo>
                    <a:pt x="199" y="85"/>
                  </a:lnTo>
                  <a:lnTo>
                    <a:pt x="199" y="83"/>
                  </a:lnTo>
                  <a:lnTo>
                    <a:pt x="202" y="83"/>
                  </a:lnTo>
                  <a:lnTo>
                    <a:pt x="202" y="85"/>
                  </a:lnTo>
                  <a:lnTo>
                    <a:pt x="202" y="83"/>
                  </a:lnTo>
                  <a:lnTo>
                    <a:pt x="202" y="85"/>
                  </a:lnTo>
                  <a:lnTo>
                    <a:pt x="202" y="83"/>
                  </a:lnTo>
                  <a:lnTo>
                    <a:pt x="204" y="83"/>
                  </a:lnTo>
                  <a:lnTo>
                    <a:pt x="207" y="81"/>
                  </a:lnTo>
                  <a:lnTo>
                    <a:pt x="207" y="83"/>
                  </a:lnTo>
                  <a:close/>
                  <a:moveTo>
                    <a:pt x="192" y="81"/>
                  </a:moveTo>
                  <a:lnTo>
                    <a:pt x="190" y="81"/>
                  </a:lnTo>
                  <a:lnTo>
                    <a:pt x="192" y="81"/>
                  </a:lnTo>
                  <a:close/>
                  <a:moveTo>
                    <a:pt x="188" y="81"/>
                  </a:moveTo>
                  <a:lnTo>
                    <a:pt x="188" y="83"/>
                  </a:lnTo>
                  <a:lnTo>
                    <a:pt x="190" y="83"/>
                  </a:lnTo>
                  <a:lnTo>
                    <a:pt x="190" y="85"/>
                  </a:lnTo>
                  <a:lnTo>
                    <a:pt x="190" y="83"/>
                  </a:lnTo>
                  <a:lnTo>
                    <a:pt x="192" y="83"/>
                  </a:lnTo>
                  <a:lnTo>
                    <a:pt x="192" y="85"/>
                  </a:lnTo>
                  <a:lnTo>
                    <a:pt x="190" y="85"/>
                  </a:lnTo>
                  <a:lnTo>
                    <a:pt x="190" y="83"/>
                  </a:lnTo>
                  <a:lnTo>
                    <a:pt x="188" y="83"/>
                  </a:lnTo>
                  <a:lnTo>
                    <a:pt x="188" y="85"/>
                  </a:lnTo>
                  <a:lnTo>
                    <a:pt x="188" y="83"/>
                  </a:lnTo>
                  <a:lnTo>
                    <a:pt x="185" y="83"/>
                  </a:lnTo>
                  <a:lnTo>
                    <a:pt x="185" y="81"/>
                  </a:lnTo>
                  <a:lnTo>
                    <a:pt x="188" y="81"/>
                  </a:lnTo>
                  <a:lnTo>
                    <a:pt x="188" y="78"/>
                  </a:lnTo>
                  <a:lnTo>
                    <a:pt x="188" y="81"/>
                  </a:lnTo>
                  <a:lnTo>
                    <a:pt x="190" y="81"/>
                  </a:lnTo>
                  <a:lnTo>
                    <a:pt x="188" y="81"/>
                  </a:lnTo>
                  <a:close/>
                  <a:moveTo>
                    <a:pt x="192" y="78"/>
                  </a:moveTo>
                  <a:lnTo>
                    <a:pt x="190" y="78"/>
                  </a:lnTo>
                  <a:lnTo>
                    <a:pt x="190" y="81"/>
                  </a:lnTo>
                  <a:lnTo>
                    <a:pt x="190" y="78"/>
                  </a:lnTo>
                  <a:lnTo>
                    <a:pt x="192" y="78"/>
                  </a:lnTo>
                  <a:lnTo>
                    <a:pt x="190" y="78"/>
                  </a:lnTo>
                  <a:lnTo>
                    <a:pt x="192" y="78"/>
                  </a:lnTo>
                  <a:close/>
                  <a:moveTo>
                    <a:pt x="207" y="78"/>
                  </a:moveTo>
                  <a:lnTo>
                    <a:pt x="207" y="81"/>
                  </a:lnTo>
                  <a:lnTo>
                    <a:pt x="204" y="81"/>
                  </a:lnTo>
                  <a:lnTo>
                    <a:pt x="204" y="78"/>
                  </a:lnTo>
                  <a:lnTo>
                    <a:pt x="207" y="78"/>
                  </a:lnTo>
                  <a:close/>
                  <a:moveTo>
                    <a:pt x="233" y="69"/>
                  </a:moveTo>
                  <a:lnTo>
                    <a:pt x="233" y="71"/>
                  </a:lnTo>
                  <a:lnTo>
                    <a:pt x="230" y="71"/>
                  </a:lnTo>
                  <a:lnTo>
                    <a:pt x="233" y="71"/>
                  </a:lnTo>
                  <a:lnTo>
                    <a:pt x="230" y="71"/>
                  </a:lnTo>
                  <a:lnTo>
                    <a:pt x="233" y="71"/>
                  </a:lnTo>
                  <a:lnTo>
                    <a:pt x="233" y="69"/>
                  </a:lnTo>
                  <a:close/>
                  <a:moveTo>
                    <a:pt x="242" y="47"/>
                  </a:moveTo>
                  <a:lnTo>
                    <a:pt x="240" y="47"/>
                  </a:lnTo>
                  <a:lnTo>
                    <a:pt x="242" y="47"/>
                  </a:lnTo>
                  <a:close/>
                  <a:moveTo>
                    <a:pt x="240" y="43"/>
                  </a:moveTo>
                  <a:lnTo>
                    <a:pt x="242" y="45"/>
                  </a:lnTo>
                  <a:lnTo>
                    <a:pt x="240" y="45"/>
                  </a:lnTo>
                  <a:lnTo>
                    <a:pt x="240" y="43"/>
                  </a:lnTo>
                  <a:close/>
                  <a:moveTo>
                    <a:pt x="240" y="38"/>
                  </a:moveTo>
                  <a:lnTo>
                    <a:pt x="242" y="38"/>
                  </a:lnTo>
                  <a:lnTo>
                    <a:pt x="242" y="40"/>
                  </a:lnTo>
                  <a:lnTo>
                    <a:pt x="240" y="40"/>
                  </a:lnTo>
                  <a:lnTo>
                    <a:pt x="240" y="38"/>
                  </a:lnTo>
                  <a:close/>
                  <a:moveTo>
                    <a:pt x="242" y="38"/>
                  </a:moveTo>
                  <a:lnTo>
                    <a:pt x="242" y="40"/>
                  </a:lnTo>
                  <a:lnTo>
                    <a:pt x="242" y="38"/>
                  </a:lnTo>
                  <a:lnTo>
                    <a:pt x="242" y="40"/>
                  </a:lnTo>
                  <a:lnTo>
                    <a:pt x="242" y="38"/>
                  </a:lnTo>
                  <a:close/>
                  <a:moveTo>
                    <a:pt x="244" y="38"/>
                  </a:moveTo>
                  <a:lnTo>
                    <a:pt x="244" y="40"/>
                  </a:lnTo>
                  <a:lnTo>
                    <a:pt x="242" y="40"/>
                  </a:lnTo>
                  <a:lnTo>
                    <a:pt x="242" y="43"/>
                  </a:lnTo>
                  <a:lnTo>
                    <a:pt x="242" y="40"/>
                  </a:lnTo>
                  <a:lnTo>
                    <a:pt x="242" y="43"/>
                  </a:lnTo>
                  <a:lnTo>
                    <a:pt x="240" y="43"/>
                  </a:lnTo>
                  <a:lnTo>
                    <a:pt x="242" y="43"/>
                  </a:lnTo>
                  <a:lnTo>
                    <a:pt x="242" y="40"/>
                  </a:lnTo>
                  <a:lnTo>
                    <a:pt x="242" y="38"/>
                  </a:lnTo>
                  <a:lnTo>
                    <a:pt x="244" y="38"/>
                  </a:lnTo>
                  <a:close/>
                  <a:moveTo>
                    <a:pt x="242" y="38"/>
                  </a:moveTo>
                  <a:lnTo>
                    <a:pt x="240" y="38"/>
                  </a:lnTo>
                  <a:lnTo>
                    <a:pt x="242" y="38"/>
                  </a:lnTo>
                  <a:close/>
                  <a:moveTo>
                    <a:pt x="252" y="38"/>
                  </a:moveTo>
                  <a:lnTo>
                    <a:pt x="254" y="38"/>
                  </a:lnTo>
                  <a:lnTo>
                    <a:pt x="252" y="38"/>
                  </a:lnTo>
                  <a:close/>
                  <a:moveTo>
                    <a:pt x="218" y="38"/>
                  </a:moveTo>
                  <a:lnTo>
                    <a:pt x="218" y="40"/>
                  </a:lnTo>
                  <a:lnTo>
                    <a:pt x="216" y="40"/>
                  </a:lnTo>
                  <a:lnTo>
                    <a:pt x="216" y="38"/>
                  </a:lnTo>
                  <a:lnTo>
                    <a:pt x="218" y="38"/>
                  </a:lnTo>
                  <a:close/>
                  <a:moveTo>
                    <a:pt x="252" y="36"/>
                  </a:moveTo>
                  <a:lnTo>
                    <a:pt x="249" y="36"/>
                  </a:lnTo>
                  <a:lnTo>
                    <a:pt x="252" y="36"/>
                  </a:lnTo>
                  <a:lnTo>
                    <a:pt x="249" y="36"/>
                  </a:lnTo>
                  <a:lnTo>
                    <a:pt x="252" y="36"/>
                  </a:lnTo>
                  <a:lnTo>
                    <a:pt x="249" y="36"/>
                  </a:lnTo>
                  <a:lnTo>
                    <a:pt x="249" y="38"/>
                  </a:lnTo>
                  <a:lnTo>
                    <a:pt x="252" y="38"/>
                  </a:lnTo>
                  <a:lnTo>
                    <a:pt x="252" y="36"/>
                  </a:lnTo>
                  <a:lnTo>
                    <a:pt x="252" y="38"/>
                  </a:lnTo>
                  <a:lnTo>
                    <a:pt x="252" y="40"/>
                  </a:lnTo>
                  <a:lnTo>
                    <a:pt x="249" y="40"/>
                  </a:lnTo>
                  <a:lnTo>
                    <a:pt x="249" y="38"/>
                  </a:lnTo>
                  <a:lnTo>
                    <a:pt x="249" y="36"/>
                  </a:lnTo>
                  <a:lnTo>
                    <a:pt x="247" y="36"/>
                  </a:lnTo>
                  <a:lnTo>
                    <a:pt x="249" y="36"/>
                  </a:lnTo>
                  <a:lnTo>
                    <a:pt x="252" y="36"/>
                  </a:lnTo>
                  <a:close/>
                  <a:moveTo>
                    <a:pt x="235" y="33"/>
                  </a:moveTo>
                  <a:lnTo>
                    <a:pt x="235" y="36"/>
                  </a:lnTo>
                  <a:lnTo>
                    <a:pt x="233" y="36"/>
                  </a:lnTo>
                  <a:lnTo>
                    <a:pt x="233" y="33"/>
                  </a:lnTo>
                  <a:lnTo>
                    <a:pt x="235" y="33"/>
                  </a:lnTo>
                  <a:close/>
                  <a:moveTo>
                    <a:pt x="240" y="28"/>
                  </a:moveTo>
                  <a:lnTo>
                    <a:pt x="240" y="26"/>
                  </a:lnTo>
                  <a:lnTo>
                    <a:pt x="240" y="28"/>
                  </a:lnTo>
                  <a:close/>
                  <a:moveTo>
                    <a:pt x="230" y="26"/>
                  </a:moveTo>
                  <a:lnTo>
                    <a:pt x="230" y="28"/>
                  </a:lnTo>
                  <a:lnTo>
                    <a:pt x="230" y="26"/>
                  </a:lnTo>
                  <a:lnTo>
                    <a:pt x="230" y="28"/>
                  </a:lnTo>
                  <a:lnTo>
                    <a:pt x="230" y="26"/>
                  </a:lnTo>
                  <a:lnTo>
                    <a:pt x="230" y="28"/>
                  </a:lnTo>
                  <a:lnTo>
                    <a:pt x="228" y="28"/>
                  </a:lnTo>
                  <a:lnTo>
                    <a:pt x="228" y="26"/>
                  </a:lnTo>
                  <a:lnTo>
                    <a:pt x="230" y="26"/>
                  </a:lnTo>
                  <a:close/>
                  <a:moveTo>
                    <a:pt x="242" y="26"/>
                  </a:moveTo>
                  <a:lnTo>
                    <a:pt x="240" y="26"/>
                  </a:lnTo>
                  <a:lnTo>
                    <a:pt x="242" y="26"/>
                  </a:lnTo>
                  <a:close/>
                  <a:moveTo>
                    <a:pt x="256" y="26"/>
                  </a:moveTo>
                  <a:lnTo>
                    <a:pt x="254" y="26"/>
                  </a:lnTo>
                  <a:lnTo>
                    <a:pt x="254" y="28"/>
                  </a:lnTo>
                  <a:lnTo>
                    <a:pt x="252" y="28"/>
                  </a:lnTo>
                  <a:lnTo>
                    <a:pt x="252" y="26"/>
                  </a:lnTo>
                  <a:lnTo>
                    <a:pt x="252" y="28"/>
                  </a:lnTo>
                  <a:lnTo>
                    <a:pt x="252" y="26"/>
                  </a:lnTo>
                  <a:lnTo>
                    <a:pt x="254" y="26"/>
                  </a:lnTo>
                  <a:lnTo>
                    <a:pt x="252" y="26"/>
                  </a:lnTo>
                  <a:lnTo>
                    <a:pt x="254" y="26"/>
                  </a:lnTo>
                  <a:lnTo>
                    <a:pt x="256" y="26"/>
                  </a:lnTo>
                  <a:close/>
                  <a:moveTo>
                    <a:pt x="240" y="24"/>
                  </a:moveTo>
                  <a:lnTo>
                    <a:pt x="240" y="26"/>
                  </a:lnTo>
                  <a:lnTo>
                    <a:pt x="237" y="26"/>
                  </a:lnTo>
                  <a:lnTo>
                    <a:pt x="237" y="24"/>
                  </a:lnTo>
                  <a:lnTo>
                    <a:pt x="240" y="24"/>
                  </a:lnTo>
                  <a:close/>
                  <a:moveTo>
                    <a:pt x="261" y="21"/>
                  </a:moveTo>
                  <a:lnTo>
                    <a:pt x="261" y="24"/>
                  </a:lnTo>
                  <a:lnTo>
                    <a:pt x="259" y="24"/>
                  </a:lnTo>
                  <a:lnTo>
                    <a:pt x="261" y="24"/>
                  </a:lnTo>
                  <a:lnTo>
                    <a:pt x="261" y="21"/>
                  </a:lnTo>
                  <a:close/>
                  <a:moveTo>
                    <a:pt x="249" y="21"/>
                  </a:moveTo>
                  <a:lnTo>
                    <a:pt x="247" y="21"/>
                  </a:lnTo>
                  <a:lnTo>
                    <a:pt x="249" y="21"/>
                  </a:lnTo>
                  <a:close/>
                  <a:moveTo>
                    <a:pt x="244" y="19"/>
                  </a:moveTo>
                  <a:lnTo>
                    <a:pt x="242" y="19"/>
                  </a:lnTo>
                  <a:lnTo>
                    <a:pt x="244" y="19"/>
                  </a:lnTo>
                  <a:lnTo>
                    <a:pt x="244" y="17"/>
                  </a:lnTo>
                  <a:lnTo>
                    <a:pt x="244" y="19"/>
                  </a:lnTo>
                  <a:close/>
                  <a:moveTo>
                    <a:pt x="254" y="12"/>
                  </a:moveTo>
                  <a:lnTo>
                    <a:pt x="254" y="14"/>
                  </a:lnTo>
                  <a:lnTo>
                    <a:pt x="252" y="14"/>
                  </a:lnTo>
                  <a:lnTo>
                    <a:pt x="254" y="14"/>
                  </a:lnTo>
                  <a:lnTo>
                    <a:pt x="252" y="14"/>
                  </a:lnTo>
                  <a:lnTo>
                    <a:pt x="254" y="12"/>
                  </a:lnTo>
                  <a:close/>
                  <a:moveTo>
                    <a:pt x="259" y="12"/>
                  </a:moveTo>
                  <a:lnTo>
                    <a:pt x="259" y="14"/>
                  </a:lnTo>
                  <a:lnTo>
                    <a:pt x="259" y="12"/>
                  </a:lnTo>
                  <a:lnTo>
                    <a:pt x="261" y="12"/>
                  </a:lnTo>
                  <a:lnTo>
                    <a:pt x="261" y="14"/>
                  </a:lnTo>
                  <a:lnTo>
                    <a:pt x="259" y="14"/>
                  </a:lnTo>
                  <a:lnTo>
                    <a:pt x="256" y="14"/>
                  </a:lnTo>
                  <a:lnTo>
                    <a:pt x="256" y="17"/>
                  </a:lnTo>
                  <a:lnTo>
                    <a:pt x="256" y="14"/>
                  </a:lnTo>
                  <a:lnTo>
                    <a:pt x="256" y="17"/>
                  </a:lnTo>
                  <a:lnTo>
                    <a:pt x="256" y="14"/>
                  </a:lnTo>
                  <a:lnTo>
                    <a:pt x="254" y="14"/>
                  </a:lnTo>
                  <a:lnTo>
                    <a:pt x="254" y="12"/>
                  </a:lnTo>
                  <a:lnTo>
                    <a:pt x="256" y="12"/>
                  </a:lnTo>
                  <a:lnTo>
                    <a:pt x="259" y="12"/>
                  </a:lnTo>
                  <a:close/>
                  <a:moveTo>
                    <a:pt x="252" y="7"/>
                  </a:moveTo>
                  <a:lnTo>
                    <a:pt x="254" y="7"/>
                  </a:lnTo>
                  <a:lnTo>
                    <a:pt x="252" y="7"/>
                  </a:lnTo>
                  <a:lnTo>
                    <a:pt x="254" y="7"/>
                  </a:lnTo>
                  <a:lnTo>
                    <a:pt x="252" y="7"/>
                  </a:lnTo>
                  <a:lnTo>
                    <a:pt x="254" y="7"/>
                  </a:lnTo>
                  <a:lnTo>
                    <a:pt x="254" y="9"/>
                  </a:lnTo>
                  <a:lnTo>
                    <a:pt x="254" y="7"/>
                  </a:lnTo>
                  <a:lnTo>
                    <a:pt x="252" y="7"/>
                  </a:lnTo>
                  <a:lnTo>
                    <a:pt x="254" y="7"/>
                  </a:lnTo>
                  <a:lnTo>
                    <a:pt x="254" y="9"/>
                  </a:lnTo>
                  <a:lnTo>
                    <a:pt x="254" y="12"/>
                  </a:lnTo>
                  <a:lnTo>
                    <a:pt x="252" y="12"/>
                  </a:lnTo>
                  <a:lnTo>
                    <a:pt x="252" y="9"/>
                  </a:lnTo>
                  <a:lnTo>
                    <a:pt x="252" y="12"/>
                  </a:lnTo>
                  <a:lnTo>
                    <a:pt x="252" y="14"/>
                  </a:lnTo>
                  <a:lnTo>
                    <a:pt x="252" y="12"/>
                  </a:lnTo>
                  <a:lnTo>
                    <a:pt x="249" y="14"/>
                  </a:lnTo>
                  <a:lnTo>
                    <a:pt x="252" y="14"/>
                  </a:lnTo>
                  <a:lnTo>
                    <a:pt x="254" y="14"/>
                  </a:lnTo>
                  <a:lnTo>
                    <a:pt x="252" y="14"/>
                  </a:lnTo>
                  <a:lnTo>
                    <a:pt x="252" y="17"/>
                  </a:lnTo>
                  <a:lnTo>
                    <a:pt x="252" y="19"/>
                  </a:lnTo>
                  <a:lnTo>
                    <a:pt x="249" y="19"/>
                  </a:lnTo>
                  <a:lnTo>
                    <a:pt x="247" y="19"/>
                  </a:lnTo>
                  <a:lnTo>
                    <a:pt x="247" y="17"/>
                  </a:lnTo>
                  <a:lnTo>
                    <a:pt x="247" y="19"/>
                  </a:lnTo>
                  <a:lnTo>
                    <a:pt x="247" y="17"/>
                  </a:lnTo>
                  <a:lnTo>
                    <a:pt x="247" y="14"/>
                  </a:lnTo>
                  <a:lnTo>
                    <a:pt x="247" y="17"/>
                  </a:lnTo>
                  <a:lnTo>
                    <a:pt x="247" y="14"/>
                  </a:lnTo>
                  <a:lnTo>
                    <a:pt x="247" y="12"/>
                  </a:lnTo>
                  <a:lnTo>
                    <a:pt x="247" y="9"/>
                  </a:lnTo>
                  <a:lnTo>
                    <a:pt x="247" y="12"/>
                  </a:lnTo>
                  <a:lnTo>
                    <a:pt x="249" y="12"/>
                  </a:lnTo>
                  <a:lnTo>
                    <a:pt x="249" y="14"/>
                  </a:lnTo>
                  <a:lnTo>
                    <a:pt x="249" y="12"/>
                  </a:lnTo>
                  <a:lnTo>
                    <a:pt x="247" y="12"/>
                  </a:lnTo>
                  <a:lnTo>
                    <a:pt x="249" y="12"/>
                  </a:lnTo>
                  <a:lnTo>
                    <a:pt x="247" y="12"/>
                  </a:lnTo>
                  <a:lnTo>
                    <a:pt x="249" y="12"/>
                  </a:lnTo>
                  <a:lnTo>
                    <a:pt x="249" y="9"/>
                  </a:lnTo>
                  <a:lnTo>
                    <a:pt x="249" y="7"/>
                  </a:lnTo>
                  <a:lnTo>
                    <a:pt x="252" y="7"/>
                  </a:lnTo>
                  <a:lnTo>
                    <a:pt x="249" y="7"/>
                  </a:lnTo>
                  <a:lnTo>
                    <a:pt x="252" y="7"/>
                  </a:lnTo>
                  <a:close/>
                  <a:moveTo>
                    <a:pt x="259" y="5"/>
                  </a:moveTo>
                  <a:lnTo>
                    <a:pt x="261" y="5"/>
                  </a:lnTo>
                  <a:lnTo>
                    <a:pt x="259" y="5"/>
                  </a:lnTo>
                  <a:lnTo>
                    <a:pt x="261" y="5"/>
                  </a:lnTo>
                  <a:lnTo>
                    <a:pt x="259" y="7"/>
                  </a:lnTo>
                  <a:lnTo>
                    <a:pt x="259" y="5"/>
                  </a:lnTo>
                  <a:close/>
                  <a:moveTo>
                    <a:pt x="256" y="0"/>
                  </a:moveTo>
                  <a:lnTo>
                    <a:pt x="256" y="2"/>
                  </a:lnTo>
                  <a:lnTo>
                    <a:pt x="259" y="2"/>
                  </a:lnTo>
                  <a:lnTo>
                    <a:pt x="259" y="0"/>
                  </a:lnTo>
                  <a:lnTo>
                    <a:pt x="259" y="2"/>
                  </a:lnTo>
                  <a:lnTo>
                    <a:pt x="259" y="0"/>
                  </a:lnTo>
                  <a:lnTo>
                    <a:pt x="259" y="2"/>
                  </a:lnTo>
                  <a:lnTo>
                    <a:pt x="259" y="0"/>
                  </a:lnTo>
                  <a:lnTo>
                    <a:pt x="259" y="2"/>
                  </a:lnTo>
                  <a:lnTo>
                    <a:pt x="261" y="2"/>
                  </a:lnTo>
                  <a:lnTo>
                    <a:pt x="259" y="2"/>
                  </a:lnTo>
                  <a:lnTo>
                    <a:pt x="261" y="2"/>
                  </a:lnTo>
                  <a:lnTo>
                    <a:pt x="259" y="2"/>
                  </a:lnTo>
                  <a:lnTo>
                    <a:pt x="261" y="2"/>
                  </a:lnTo>
                  <a:lnTo>
                    <a:pt x="261" y="5"/>
                  </a:lnTo>
                  <a:lnTo>
                    <a:pt x="259" y="5"/>
                  </a:lnTo>
                  <a:lnTo>
                    <a:pt x="259" y="2"/>
                  </a:lnTo>
                  <a:lnTo>
                    <a:pt x="259" y="5"/>
                  </a:lnTo>
                  <a:lnTo>
                    <a:pt x="259" y="7"/>
                  </a:lnTo>
                  <a:lnTo>
                    <a:pt x="256" y="7"/>
                  </a:lnTo>
                  <a:lnTo>
                    <a:pt x="256" y="9"/>
                  </a:lnTo>
                  <a:lnTo>
                    <a:pt x="259" y="9"/>
                  </a:lnTo>
                  <a:lnTo>
                    <a:pt x="256" y="9"/>
                  </a:lnTo>
                  <a:lnTo>
                    <a:pt x="254" y="9"/>
                  </a:lnTo>
                  <a:lnTo>
                    <a:pt x="254" y="7"/>
                  </a:lnTo>
                  <a:lnTo>
                    <a:pt x="254" y="9"/>
                  </a:lnTo>
                  <a:lnTo>
                    <a:pt x="254" y="7"/>
                  </a:lnTo>
                  <a:lnTo>
                    <a:pt x="254" y="5"/>
                  </a:lnTo>
                  <a:lnTo>
                    <a:pt x="254" y="2"/>
                  </a:lnTo>
                  <a:lnTo>
                    <a:pt x="256" y="2"/>
                  </a:lnTo>
                  <a:lnTo>
                    <a:pt x="254" y="2"/>
                  </a:lnTo>
                  <a:lnTo>
                    <a:pt x="256" y="2"/>
                  </a:lnTo>
                  <a:lnTo>
                    <a:pt x="25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0" name="Freeform 57948"/>
            <p:cNvSpPr>
              <a:spLocks noEditPoints="1"/>
            </p:cNvSpPr>
            <p:nvPr/>
          </p:nvSpPr>
          <p:spPr bwMode="auto">
            <a:xfrm>
              <a:off x="1622423" y="3822713"/>
              <a:ext cx="458787" cy="882653"/>
            </a:xfrm>
            <a:custGeom>
              <a:avLst/>
              <a:gdLst>
                <a:gd name="T0" fmla="*/ 47 w 289"/>
                <a:gd name="T1" fmla="*/ 553 h 556"/>
                <a:gd name="T2" fmla="*/ 187 w 289"/>
                <a:gd name="T3" fmla="*/ 520 h 556"/>
                <a:gd name="T4" fmla="*/ 204 w 289"/>
                <a:gd name="T5" fmla="*/ 518 h 556"/>
                <a:gd name="T6" fmla="*/ 275 w 289"/>
                <a:gd name="T7" fmla="*/ 482 h 556"/>
                <a:gd name="T8" fmla="*/ 273 w 289"/>
                <a:gd name="T9" fmla="*/ 480 h 556"/>
                <a:gd name="T10" fmla="*/ 83 w 289"/>
                <a:gd name="T11" fmla="*/ 466 h 556"/>
                <a:gd name="T12" fmla="*/ 178 w 289"/>
                <a:gd name="T13" fmla="*/ 463 h 556"/>
                <a:gd name="T14" fmla="*/ 76 w 289"/>
                <a:gd name="T15" fmla="*/ 461 h 556"/>
                <a:gd name="T16" fmla="*/ 123 w 289"/>
                <a:gd name="T17" fmla="*/ 390 h 556"/>
                <a:gd name="T18" fmla="*/ 66 w 289"/>
                <a:gd name="T19" fmla="*/ 337 h 556"/>
                <a:gd name="T20" fmla="*/ 69 w 289"/>
                <a:gd name="T21" fmla="*/ 335 h 556"/>
                <a:gd name="T22" fmla="*/ 71 w 289"/>
                <a:gd name="T23" fmla="*/ 328 h 556"/>
                <a:gd name="T24" fmla="*/ 100 w 289"/>
                <a:gd name="T25" fmla="*/ 323 h 556"/>
                <a:gd name="T26" fmla="*/ 116 w 289"/>
                <a:gd name="T27" fmla="*/ 314 h 556"/>
                <a:gd name="T28" fmla="*/ 199 w 289"/>
                <a:gd name="T29" fmla="*/ 273 h 556"/>
                <a:gd name="T30" fmla="*/ 66 w 289"/>
                <a:gd name="T31" fmla="*/ 271 h 556"/>
                <a:gd name="T32" fmla="*/ 57 w 289"/>
                <a:gd name="T33" fmla="*/ 266 h 556"/>
                <a:gd name="T34" fmla="*/ 74 w 289"/>
                <a:gd name="T35" fmla="*/ 261 h 556"/>
                <a:gd name="T36" fmla="*/ 78 w 289"/>
                <a:gd name="T37" fmla="*/ 259 h 556"/>
                <a:gd name="T38" fmla="*/ 85 w 289"/>
                <a:gd name="T39" fmla="*/ 259 h 556"/>
                <a:gd name="T40" fmla="*/ 102 w 289"/>
                <a:gd name="T41" fmla="*/ 257 h 556"/>
                <a:gd name="T42" fmla="*/ 147 w 289"/>
                <a:gd name="T43" fmla="*/ 252 h 556"/>
                <a:gd name="T44" fmla="*/ 71 w 289"/>
                <a:gd name="T45" fmla="*/ 247 h 556"/>
                <a:gd name="T46" fmla="*/ 71 w 289"/>
                <a:gd name="T47" fmla="*/ 247 h 556"/>
                <a:gd name="T48" fmla="*/ 71 w 289"/>
                <a:gd name="T49" fmla="*/ 245 h 556"/>
                <a:gd name="T50" fmla="*/ 45 w 289"/>
                <a:gd name="T51" fmla="*/ 240 h 556"/>
                <a:gd name="T52" fmla="*/ 50 w 289"/>
                <a:gd name="T53" fmla="*/ 238 h 556"/>
                <a:gd name="T54" fmla="*/ 71 w 289"/>
                <a:gd name="T55" fmla="*/ 230 h 556"/>
                <a:gd name="T56" fmla="*/ 74 w 289"/>
                <a:gd name="T57" fmla="*/ 228 h 556"/>
                <a:gd name="T58" fmla="*/ 40 w 289"/>
                <a:gd name="T59" fmla="*/ 219 h 556"/>
                <a:gd name="T60" fmla="*/ 47 w 289"/>
                <a:gd name="T61" fmla="*/ 211 h 556"/>
                <a:gd name="T62" fmla="*/ 59 w 289"/>
                <a:gd name="T63" fmla="*/ 209 h 556"/>
                <a:gd name="T64" fmla="*/ 17 w 289"/>
                <a:gd name="T65" fmla="*/ 195 h 556"/>
                <a:gd name="T66" fmla="*/ 71 w 289"/>
                <a:gd name="T67" fmla="*/ 185 h 556"/>
                <a:gd name="T68" fmla="*/ 17 w 289"/>
                <a:gd name="T69" fmla="*/ 183 h 556"/>
                <a:gd name="T70" fmla="*/ 36 w 289"/>
                <a:gd name="T71" fmla="*/ 178 h 556"/>
                <a:gd name="T72" fmla="*/ 2 w 289"/>
                <a:gd name="T73" fmla="*/ 176 h 556"/>
                <a:gd name="T74" fmla="*/ 40 w 289"/>
                <a:gd name="T75" fmla="*/ 171 h 556"/>
                <a:gd name="T76" fmla="*/ 21 w 289"/>
                <a:gd name="T77" fmla="*/ 169 h 556"/>
                <a:gd name="T78" fmla="*/ 2 w 289"/>
                <a:gd name="T79" fmla="*/ 166 h 556"/>
                <a:gd name="T80" fmla="*/ 21 w 289"/>
                <a:gd name="T81" fmla="*/ 162 h 556"/>
                <a:gd name="T82" fmla="*/ 17 w 289"/>
                <a:gd name="T83" fmla="*/ 162 h 556"/>
                <a:gd name="T84" fmla="*/ 31 w 289"/>
                <a:gd name="T85" fmla="*/ 159 h 556"/>
                <a:gd name="T86" fmla="*/ 33 w 289"/>
                <a:gd name="T87" fmla="*/ 159 h 556"/>
                <a:gd name="T88" fmla="*/ 76 w 289"/>
                <a:gd name="T89" fmla="*/ 152 h 556"/>
                <a:gd name="T90" fmla="*/ 21 w 289"/>
                <a:gd name="T91" fmla="*/ 142 h 556"/>
                <a:gd name="T92" fmla="*/ 5 w 289"/>
                <a:gd name="T93" fmla="*/ 138 h 556"/>
                <a:gd name="T94" fmla="*/ 85 w 289"/>
                <a:gd name="T95" fmla="*/ 135 h 556"/>
                <a:gd name="T96" fmla="*/ 154 w 289"/>
                <a:gd name="T97" fmla="*/ 97 h 556"/>
                <a:gd name="T98" fmla="*/ 159 w 289"/>
                <a:gd name="T99" fmla="*/ 90 h 556"/>
                <a:gd name="T100" fmla="*/ 199 w 289"/>
                <a:gd name="T101" fmla="*/ 71 h 556"/>
                <a:gd name="T102" fmla="*/ 211 w 289"/>
                <a:gd name="T103" fmla="*/ 55 h 556"/>
                <a:gd name="T104" fmla="*/ 211 w 289"/>
                <a:gd name="T105" fmla="*/ 36 h 556"/>
                <a:gd name="T106" fmla="*/ 228 w 289"/>
                <a:gd name="T107" fmla="*/ 28 h 556"/>
                <a:gd name="T108" fmla="*/ 225 w 289"/>
                <a:gd name="T109" fmla="*/ 26 h 556"/>
                <a:gd name="T110" fmla="*/ 218 w 289"/>
                <a:gd name="T111" fmla="*/ 19 h 556"/>
                <a:gd name="T112" fmla="*/ 230 w 289"/>
                <a:gd name="T113"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9" h="556">
                  <a:moveTo>
                    <a:pt x="47" y="556"/>
                  </a:moveTo>
                  <a:lnTo>
                    <a:pt x="45" y="556"/>
                  </a:lnTo>
                  <a:lnTo>
                    <a:pt x="47" y="556"/>
                  </a:lnTo>
                  <a:close/>
                  <a:moveTo>
                    <a:pt x="47" y="553"/>
                  </a:moveTo>
                  <a:lnTo>
                    <a:pt x="45" y="553"/>
                  </a:lnTo>
                  <a:lnTo>
                    <a:pt x="47" y="553"/>
                  </a:lnTo>
                  <a:close/>
                  <a:moveTo>
                    <a:pt x="47" y="553"/>
                  </a:moveTo>
                  <a:lnTo>
                    <a:pt x="45" y="553"/>
                  </a:lnTo>
                  <a:lnTo>
                    <a:pt x="47" y="553"/>
                  </a:lnTo>
                  <a:close/>
                  <a:moveTo>
                    <a:pt x="187" y="520"/>
                  </a:moveTo>
                  <a:lnTo>
                    <a:pt x="187" y="518"/>
                  </a:lnTo>
                  <a:lnTo>
                    <a:pt x="187" y="520"/>
                  </a:lnTo>
                  <a:close/>
                  <a:moveTo>
                    <a:pt x="204" y="518"/>
                  </a:moveTo>
                  <a:lnTo>
                    <a:pt x="204" y="515"/>
                  </a:lnTo>
                  <a:lnTo>
                    <a:pt x="204" y="518"/>
                  </a:lnTo>
                  <a:close/>
                  <a:moveTo>
                    <a:pt x="204" y="518"/>
                  </a:moveTo>
                  <a:lnTo>
                    <a:pt x="204" y="515"/>
                  </a:lnTo>
                  <a:lnTo>
                    <a:pt x="204" y="518"/>
                  </a:lnTo>
                  <a:close/>
                  <a:moveTo>
                    <a:pt x="157" y="494"/>
                  </a:moveTo>
                  <a:lnTo>
                    <a:pt x="154" y="494"/>
                  </a:lnTo>
                  <a:lnTo>
                    <a:pt x="154" y="492"/>
                  </a:lnTo>
                  <a:lnTo>
                    <a:pt x="157" y="494"/>
                  </a:lnTo>
                  <a:close/>
                  <a:moveTo>
                    <a:pt x="275" y="485"/>
                  </a:moveTo>
                  <a:lnTo>
                    <a:pt x="275" y="482"/>
                  </a:lnTo>
                  <a:lnTo>
                    <a:pt x="275" y="485"/>
                  </a:lnTo>
                  <a:close/>
                  <a:moveTo>
                    <a:pt x="273" y="480"/>
                  </a:moveTo>
                  <a:lnTo>
                    <a:pt x="273" y="477"/>
                  </a:lnTo>
                  <a:lnTo>
                    <a:pt x="273" y="480"/>
                  </a:lnTo>
                  <a:close/>
                  <a:moveTo>
                    <a:pt x="273" y="477"/>
                  </a:moveTo>
                  <a:lnTo>
                    <a:pt x="273" y="480"/>
                  </a:lnTo>
                  <a:lnTo>
                    <a:pt x="273" y="477"/>
                  </a:lnTo>
                  <a:close/>
                  <a:moveTo>
                    <a:pt x="111" y="475"/>
                  </a:moveTo>
                  <a:lnTo>
                    <a:pt x="111" y="477"/>
                  </a:lnTo>
                  <a:lnTo>
                    <a:pt x="111" y="475"/>
                  </a:lnTo>
                  <a:close/>
                  <a:moveTo>
                    <a:pt x="85" y="466"/>
                  </a:moveTo>
                  <a:lnTo>
                    <a:pt x="83" y="466"/>
                  </a:lnTo>
                  <a:lnTo>
                    <a:pt x="85" y="466"/>
                  </a:lnTo>
                  <a:close/>
                  <a:moveTo>
                    <a:pt x="289" y="466"/>
                  </a:moveTo>
                  <a:lnTo>
                    <a:pt x="289" y="463"/>
                  </a:lnTo>
                  <a:lnTo>
                    <a:pt x="289" y="466"/>
                  </a:lnTo>
                  <a:close/>
                  <a:moveTo>
                    <a:pt x="178" y="466"/>
                  </a:moveTo>
                  <a:lnTo>
                    <a:pt x="178" y="463"/>
                  </a:lnTo>
                  <a:lnTo>
                    <a:pt x="178" y="466"/>
                  </a:lnTo>
                  <a:close/>
                  <a:moveTo>
                    <a:pt x="78" y="461"/>
                  </a:moveTo>
                  <a:lnTo>
                    <a:pt x="76" y="461"/>
                  </a:lnTo>
                  <a:lnTo>
                    <a:pt x="78" y="461"/>
                  </a:lnTo>
                  <a:close/>
                  <a:moveTo>
                    <a:pt x="78" y="461"/>
                  </a:moveTo>
                  <a:lnTo>
                    <a:pt x="76" y="461"/>
                  </a:lnTo>
                  <a:lnTo>
                    <a:pt x="78" y="461"/>
                  </a:lnTo>
                  <a:close/>
                  <a:moveTo>
                    <a:pt x="121" y="409"/>
                  </a:moveTo>
                  <a:lnTo>
                    <a:pt x="121" y="411"/>
                  </a:lnTo>
                  <a:lnTo>
                    <a:pt x="121" y="409"/>
                  </a:lnTo>
                  <a:close/>
                  <a:moveTo>
                    <a:pt x="121" y="390"/>
                  </a:moveTo>
                  <a:lnTo>
                    <a:pt x="123" y="390"/>
                  </a:lnTo>
                  <a:lnTo>
                    <a:pt x="121" y="390"/>
                  </a:lnTo>
                  <a:close/>
                  <a:moveTo>
                    <a:pt x="55" y="352"/>
                  </a:moveTo>
                  <a:lnTo>
                    <a:pt x="55" y="354"/>
                  </a:lnTo>
                  <a:lnTo>
                    <a:pt x="55" y="352"/>
                  </a:lnTo>
                  <a:close/>
                  <a:moveTo>
                    <a:pt x="69" y="337"/>
                  </a:moveTo>
                  <a:lnTo>
                    <a:pt x="66" y="337"/>
                  </a:lnTo>
                  <a:lnTo>
                    <a:pt x="69" y="337"/>
                  </a:lnTo>
                  <a:close/>
                  <a:moveTo>
                    <a:pt x="71" y="335"/>
                  </a:moveTo>
                  <a:lnTo>
                    <a:pt x="69" y="335"/>
                  </a:lnTo>
                  <a:lnTo>
                    <a:pt x="71" y="335"/>
                  </a:lnTo>
                  <a:close/>
                  <a:moveTo>
                    <a:pt x="69" y="337"/>
                  </a:moveTo>
                  <a:lnTo>
                    <a:pt x="69" y="335"/>
                  </a:lnTo>
                  <a:lnTo>
                    <a:pt x="69" y="337"/>
                  </a:lnTo>
                  <a:close/>
                  <a:moveTo>
                    <a:pt x="69" y="330"/>
                  </a:moveTo>
                  <a:lnTo>
                    <a:pt x="69" y="333"/>
                  </a:lnTo>
                  <a:lnTo>
                    <a:pt x="69" y="330"/>
                  </a:lnTo>
                  <a:close/>
                  <a:moveTo>
                    <a:pt x="71" y="330"/>
                  </a:moveTo>
                  <a:lnTo>
                    <a:pt x="71" y="328"/>
                  </a:lnTo>
                  <a:lnTo>
                    <a:pt x="71" y="330"/>
                  </a:lnTo>
                  <a:close/>
                  <a:moveTo>
                    <a:pt x="71" y="328"/>
                  </a:moveTo>
                  <a:lnTo>
                    <a:pt x="71" y="330"/>
                  </a:lnTo>
                  <a:lnTo>
                    <a:pt x="71" y="328"/>
                  </a:lnTo>
                  <a:close/>
                  <a:moveTo>
                    <a:pt x="100" y="321"/>
                  </a:moveTo>
                  <a:lnTo>
                    <a:pt x="100" y="323"/>
                  </a:lnTo>
                  <a:lnTo>
                    <a:pt x="100" y="321"/>
                  </a:lnTo>
                  <a:close/>
                  <a:moveTo>
                    <a:pt x="116" y="314"/>
                  </a:moveTo>
                  <a:lnTo>
                    <a:pt x="116" y="316"/>
                  </a:lnTo>
                  <a:lnTo>
                    <a:pt x="116" y="314"/>
                  </a:lnTo>
                  <a:close/>
                  <a:moveTo>
                    <a:pt x="114" y="314"/>
                  </a:moveTo>
                  <a:lnTo>
                    <a:pt x="116" y="314"/>
                  </a:lnTo>
                  <a:lnTo>
                    <a:pt x="114" y="314"/>
                  </a:lnTo>
                  <a:close/>
                  <a:moveTo>
                    <a:pt x="202" y="273"/>
                  </a:moveTo>
                  <a:lnTo>
                    <a:pt x="199" y="273"/>
                  </a:lnTo>
                  <a:lnTo>
                    <a:pt x="202" y="273"/>
                  </a:lnTo>
                  <a:close/>
                  <a:moveTo>
                    <a:pt x="202" y="273"/>
                  </a:moveTo>
                  <a:lnTo>
                    <a:pt x="199" y="273"/>
                  </a:lnTo>
                  <a:lnTo>
                    <a:pt x="202" y="273"/>
                  </a:lnTo>
                  <a:close/>
                  <a:moveTo>
                    <a:pt x="95" y="273"/>
                  </a:moveTo>
                  <a:lnTo>
                    <a:pt x="95" y="271"/>
                  </a:lnTo>
                  <a:lnTo>
                    <a:pt x="95" y="273"/>
                  </a:lnTo>
                  <a:close/>
                  <a:moveTo>
                    <a:pt x="66" y="273"/>
                  </a:moveTo>
                  <a:lnTo>
                    <a:pt x="66" y="271"/>
                  </a:lnTo>
                  <a:lnTo>
                    <a:pt x="66" y="273"/>
                  </a:lnTo>
                  <a:close/>
                  <a:moveTo>
                    <a:pt x="40" y="268"/>
                  </a:moveTo>
                  <a:lnTo>
                    <a:pt x="40" y="271"/>
                  </a:lnTo>
                  <a:lnTo>
                    <a:pt x="40" y="268"/>
                  </a:lnTo>
                  <a:close/>
                  <a:moveTo>
                    <a:pt x="57" y="264"/>
                  </a:moveTo>
                  <a:lnTo>
                    <a:pt x="57" y="266"/>
                  </a:lnTo>
                  <a:lnTo>
                    <a:pt x="57" y="264"/>
                  </a:lnTo>
                  <a:close/>
                  <a:moveTo>
                    <a:pt x="57" y="264"/>
                  </a:moveTo>
                  <a:lnTo>
                    <a:pt x="55" y="264"/>
                  </a:lnTo>
                  <a:lnTo>
                    <a:pt x="57" y="264"/>
                  </a:lnTo>
                  <a:close/>
                  <a:moveTo>
                    <a:pt x="76" y="261"/>
                  </a:moveTo>
                  <a:lnTo>
                    <a:pt x="74" y="261"/>
                  </a:lnTo>
                  <a:lnTo>
                    <a:pt x="76" y="261"/>
                  </a:lnTo>
                  <a:close/>
                  <a:moveTo>
                    <a:pt x="59" y="264"/>
                  </a:moveTo>
                  <a:lnTo>
                    <a:pt x="59" y="261"/>
                  </a:lnTo>
                  <a:lnTo>
                    <a:pt x="59" y="264"/>
                  </a:lnTo>
                  <a:close/>
                  <a:moveTo>
                    <a:pt x="78" y="261"/>
                  </a:moveTo>
                  <a:lnTo>
                    <a:pt x="78" y="259"/>
                  </a:lnTo>
                  <a:lnTo>
                    <a:pt x="78" y="261"/>
                  </a:lnTo>
                  <a:close/>
                  <a:moveTo>
                    <a:pt x="85" y="259"/>
                  </a:moveTo>
                  <a:lnTo>
                    <a:pt x="83" y="259"/>
                  </a:lnTo>
                  <a:lnTo>
                    <a:pt x="83" y="257"/>
                  </a:lnTo>
                  <a:lnTo>
                    <a:pt x="85" y="257"/>
                  </a:lnTo>
                  <a:lnTo>
                    <a:pt x="85" y="259"/>
                  </a:lnTo>
                  <a:close/>
                  <a:moveTo>
                    <a:pt x="83" y="257"/>
                  </a:moveTo>
                  <a:lnTo>
                    <a:pt x="83" y="259"/>
                  </a:lnTo>
                  <a:lnTo>
                    <a:pt x="83" y="257"/>
                  </a:lnTo>
                  <a:close/>
                  <a:moveTo>
                    <a:pt x="102" y="257"/>
                  </a:moveTo>
                  <a:lnTo>
                    <a:pt x="100" y="257"/>
                  </a:lnTo>
                  <a:lnTo>
                    <a:pt x="102" y="257"/>
                  </a:lnTo>
                  <a:close/>
                  <a:moveTo>
                    <a:pt x="71" y="254"/>
                  </a:moveTo>
                  <a:lnTo>
                    <a:pt x="69" y="254"/>
                  </a:lnTo>
                  <a:lnTo>
                    <a:pt x="71" y="254"/>
                  </a:lnTo>
                  <a:lnTo>
                    <a:pt x="69" y="254"/>
                  </a:lnTo>
                  <a:lnTo>
                    <a:pt x="71" y="254"/>
                  </a:lnTo>
                  <a:close/>
                  <a:moveTo>
                    <a:pt x="147" y="252"/>
                  </a:moveTo>
                  <a:lnTo>
                    <a:pt x="145" y="252"/>
                  </a:lnTo>
                  <a:lnTo>
                    <a:pt x="147" y="252"/>
                  </a:lnTo>
                  <a:close/>
                  <a:moveTo>
                    <a:pt x="69" y="249"/>
                  </a:moveTo>
                  <a:lnTo>
                    <a:pt x="69" y="247"/>
                  </a:lnTo>
                  <a:lnTo>
                    <a:pt x="69" y="249"/>
                  </a:lnTo>
                  <a:close/>
                  <a:moveTo>
                    <a:pt x="71" y="247"/>
                  </a:moveTo>
                  <a:lnTo>
                    <a:pt x="69" y="247"/>
                  </a:lnTo>
                  <a:lnTo>
                    <a:pt x="71" y="245"/>
                  </a:lnTo>
                  <a:lnTo>
                    <a:pt x="71" y="247"/>
                  </a:lnTo>
                  <a:close/>
                  <a:moveTo>
                    <a:pt x="71" y="247"/>
                  </a:moveTo>
                  <a:lnTo>
                    <a:pt x="71" y="245"/>
                  </a:lnTo>
                  <a:lnTo>
                    <a:pt x="71" y="247"/>
                  </a:lnTo>
                  <a:close/>
                  <a:moveTo>
                    <a:pt x="66" y="242"/>
                  </a:moveTo>
                  <a:lnTo>
                    <a:pt x="66" y="245"/>
                  </a:lnTo>
                  <a:lnTo>
                    <a:pt x="66" y="242"/>
                  </a:lnTo>
                  <a:close/>
                  <a:moveTo>
                    <a:pt x="71" y="245"/>
                  </a:moveTo>
                  <a:lnTo>
                    <a:pt x="71" y="242"/>
                  </a:lnTo>
                  <a:lnTo>
                    <a:pt x="71" y="245"/>
                  </a:lnTo>
                  <a:close/>
                  <a:moveTo>
                    <a:pt x="66" y="242"/>
                  </a:moveTo>
                  <a:lnTo>
                    <a:pt x="66" y="240"/>
                  </a:lnTo>
                  <a:lnTo>
                    <a:pt x="66" y="242"/>
                  </a:lnTo>
                  <a:close/>
                  <a:moveTo>
                    <a:pt x="45" y="240"/>
                  </a:moveTo>
                  <a:lnTo>
                    <a:pt x="45" y="238"/>
                  </a:lnTo>
                  <a:lnTo>
                    <a:pt x="45" y="240"/>
                  </a:lnTo>
                  <a:close/>
                  <a:moveTo>
                    <a:pt x="59" y="238"/>
                  </a:moveTo>
                  <a:lnTo>
                    <a:pt x="57" y="238"/>
                  </a:lnTo>
                  <a:lnTo>
                    <a:pt x="59" y="238"/>
                  </a:lnTo>
                  <a:close/>
                  <a:moveTo>
                    <a:pt x="50" y="238"/>
                  </a:moveTo>
                  <a:lnTo>
                    <a:pt x="47" y="238"/>
                  </a:lnTo>
                  <a:lnTo>
                    <a:pt x="50" y="238"/>
                  </a:lnTo>
                  <a:close/>
                  <a:moveTo>
                    <a:pt x="43" y="235"/>
                  </a:moveTo>
                  <a:lnTo>
                    <a:pt x="40" y="235"/>
                  </a:lnTo>
                  <a:lnTo>
                    <a:pt x="43" y="235"/>
                  </a:lnTo>
                  <a:close/>
                  <a:moveTo>
                    <a:pt x="71" y="230"/>
                  </a:moveTo>
                  <a:lnTo>
                    <a:pt x="69" y="230"/>
                  </a:lnTo>
                  <a:lnTo>
                    <a:pt x="71" y="230"/>
                  </a:lnTo>
                  <a:close/>
                  <a:moveTo>
                    <a:pt x="74" y="228"/>
                  </a:moveTo>
                  <a:lnTo>
                    <a:pt x="74" y="230"/>
                  </a:lnTo>
                  <a:lnTo>
                    <a:pt x="74" y="228"/>
                  </a:lnTo>
                  <a:close/>
                  <a:moveTo>
                    <a:pt x="74" y="228"/>
                  </a:moveTo>
                  <a:lnTo>
                    <a:pt x="74" y="230"/>
                  </a:lnTo>
                  <a:lnTo>
                    <a:pt x="74" y="228"/>
                  </a:lnTo>
                  <a:close/>
                  <a:moveTo>
                    <a:pt x="76" y="228"/>
                  </a:moveTo>
                  <a:lnTo>
                    <a:pt x="74" y="228"/>
                  </a:lnTo>
                  <a:lnTo>
                    <a:pt x="76" y="228"/>
                  </a:lnTo>
                  <a:close/>
                  <a:moveTo>
                    <a:pt x="40" y="219"/>
                  </a:moveTo>
                  <a:lnTo>
                    <a:pt x="38" y="219"/>
                  </a:lnTo>
                  <a:lnTo>
                    <a:pt x="40" y="219"/>
                  </a:lnTo>
                  <a:close/>
                  <a:moveTo>
                    <a:pt x="5" y="211"/>
                  </a:moveTo>
                  <a:lnTo>
                    <a:pt x="2" y="211"/>
                  </a:lnTo>
                  <a:lnTo>
                    <a:pt x="5" y="211"/>
                  </a:lnTo>
                  <a:close/>
                  <a:moveTo>
                    <a:pt x="47" y="211"/>
                  </a:moveTo>
                  <a:lnTo>
                    <a:pt x="47" y="209"/>
                  </a:lnTo>
                  <a:lnTo>
                    <a:pt x="47" y="211"/>
                  </a:lnTo>
                  <a:close/>
                  <a:moveTo>
                    <a:pt x="7" y="209"/>
                  </a:moveTo>
                  <a:lnTo>
                    <a:pt x="5" y="209"/>
                  </a:lnTo>
                  <a:lnTo>
                    <a:pt x="7" y="209"/>
                  </a:lnTo>
                  <a:close/>
                  <a:moveTo>
                    <a:pt x="59" y="209"/>
                  </a:moveTo>
                  <a:lnTo>
                    <a:pt x="59" y="207"/>
                  </a:lnTo>
                  <a:lnTo>
                    <a:pt x="59" y="209"/>
                  </a:lnTo>
                  <a:close/>
                  <a:moveTo>
                    <a:pt x="17" y="200"/>
                  </a:moveTo>
                  <a:lnTo>
                    <a:pt x="17" y="197"/>
                  </a:lnTo>
                  <a:lnTo>
                    <a:pt x="17" y="200"/>
                  </a:lnTo>
                  <a:close/>
                  <a:moveTo>
                    <a:pt x="17" y="195"/>
                  </a:moveTo>
                  <a:lnTo>
                    <a:pt x="14" y="195"/>
                  </a:lnTo>
                  <a:lnTo>
                    <a:pt x="17" y="195"/>
                  </a:lnTo>
                  <a:close/>
                  <a:moveTo>
                    <a:pt x="71" y="190"/>
                  </a:moveTo>
                  <a:lnTo>
                    <a:pt x="71" y="188"/>
                  </a:lnTo>
                  <a:lnTo>
                    <a:pt x="71" y="190"/>
                  </a:lnTo>
                  <a:close/>
                  <a:moveTo>
                    <a:pt x="71" y="185"/>
                  </a:moveTo>
                  <a:lnTo>
                    <a:pt x="69" y="185"/>
                  </a:lnTo>
                  <a:lnTo>
                    <a:pt x="71" y="185"/>
                  </a:lnTo>
                  <a:close/>
                  <a:moveTo>
                    <a:pt x="40" y="185"/>
                  </a:moveTo>
                  <a:lnTo>
                    <a:pt x="40" y="183"/>
                  </a:lnTo>
                  <a:lnTo>
                    <a:pt x="40" y="185"/>
                  </a:lnTo>
                  <a:close/>
                  <a:moveTo>
                    <a:pt x="17" y="183"/>
                  </a:moveTo>
                  <a:lnTo>
                    <a:pt x="14" y="183"/>
                  </a:lnTo>
                  <a:lnTo>
                    <a:pt x="17" y="183"/>
                  </a:lnTo>
                  <a:close/>
                  <a:moveTo>
                    <a:pt x="19" y="178"/>
                  </a:moveTo>
                  <a:lnTo>
                    <a:pt x="19" y="181"/>
                  </a:lnTo>
                  <a:lnTo>
                    <a:pt x="19" y="178"/>
                  </a:lnTo>
                  <a:close/>
                  <a:moveTo>
                    <a:pt x="36" y="178"/>
                  </a:moveTo>
                  <a:lnTo>
                    <a:pt x="36" y="181"/>
                  </a:lnTo>
                  <a:lnTo>
                    <a:pt x="36" y="178"/>
                  </a:lnTo>
                  <a:close/>
                  <a:moveTo>
                    <a:pt x="38" y="181"/>
                  </a:moveTo>
                  <a:lnTo>
                    <a:pt x="38" y="178"/>
                  </a:lnTo>
                  <a:lnTo>
                    <a:pt x="38" y="181"/>
                  </a:lnTo>
                  <a:close/>
                  <a:moveTo>
                    <a:pt x="2" y="176"/>
                  </a:moveTo>
                  <a:lnTo>
                    <a:pt x="0" y="176"/>
                  </a:lnTo>
                  <a:lnTo>
                    <a:pt x="2" y="176"/>
                  </a:lnTo>
                  <a:close/>
                  <a:moveTo>
                    <a:pt x="40" y="173"/>
                  </a:moveTo>
                  <a:lnTo>
                    <a:pt x="40" y="171"/>
                  </a:lnTo>
                  <a:lnTo>
                    <a:pt x="40" y="173"/>
                  </a:lnTo>
                  <a:close/>
                  <a:moveTo>
                    <a:pt x="40" y="171"/>
                  </a:moveTo>
                  <a:lnTo>
                    <a:pt x="38" y="171"/>
                  </a:lnTo>
                  <a:lnTo>
                    <a:pt x="40" y="171"/>
                  </a:lnTo>
                  <a:close/>
                  <a:moveTo>
                    <a:pt x="12" y="169"/>
                  </a:moveTo>
                  <a:lnTo>
                    <a:pt x="9" y="169"/>
                  </a:lnTo>
                  <a:lnTo>
                    <a:pt x="12" y="169"/>
                  </a:lnTo>
                  <a:close/>
                  <a:moveTo>
                    <a:pt x="21" y="169"/>
                  </a:moveTo>
                  <a:lnTo>
                    <a:pt x="19" y="169"/>
                  </a:lnTo>
                  <a:lnTo>
                    <a:pt x="21" y="169"/>
                  </a:lnTo>
                  <a:close/>
                  <a:moveTo>
                    <a:pt x="21" y="166"/>
                  </a:moveTo>
                  <a:lnTo>
                    <a:pt x="21" y="169"/>
                  </a:lnTo>
                  <a:lnTo>
                    <a:pt x="21" y="166"/>
                  </a:lnTo>
                  <a:close/>
                  <a:moveTo>
                    <a:pt x="2" y="166"/>
                  </a:moveTo>
                  <a:lnTo>
                    <a:pt x="0" y="166"/>
                  </a:lnTo>
                  <a:lnTo>
                    <a:pt x="2" y="166"/>
                  </a:lnTo>
                  <a:close/>
                  <a:moveTo>
                    <a:pt x="21" y="164"/>
                  </a:moveTo>
                  <a:lnTo>
                    <a:pt x="21" y="166"/>
                  </a:lnTo>
                  <a:lnTo>
                    <a:pt x="21" y="164"/>
                  </a:lnTo>
                  <a:close/>
                  <a:moveTo>
                    <a:pt x="21" y="162"/>
                  </a:moveTo>
                  <a:lnTo>
                    <a:pt x="21" y="164"/>
                  </a:lnTo>
                  <a:lnTo>
                    <a:pt x="21" y="162"/>
                  </a:lnTo>
                  <a:close/>
                  <a:moveTo>
                    <a:pt x="21" y="164"/>
                  </a:moveTo>
                  <a:lnTo>
                    <a:pt x="21" y="162"/>
                  </a:lnTo>
                  <a:lnTo>
                    <a:pt x="21" y="164"/>
                  </a:lnTo>
                  <a:close/>
                  <a:moveTo>
                    <a:pt x="17" y="162"/>
                  </a:moveTo>
                  <a:lnTo>
                    <a:pt x="14" y="162"/>
                  </a:lnTo>
                  <a:lnTo>
                    <a:pt x="17" y="162"/>
                  </a:lnTo>
                  <a:close/>
                  <a:moveTo>
                    <a:pt x="71" y="162"/>
                  </a:moveTo>
                  <a:lnTo>
                    <a:pt x="71" y="159"/>
                  </a:lnTo>
                  <a:lnTo>
                    <a:pt x="71" y="162"/>
                  </a:lnTo>
                  <a:close/>
                  <a:moveTo>
                    <a:pt x="31" y="159"/>
                  </a:moveTo>
                  <a:lnTo>
                    <a:pt x="31" y="162"/>
                  </a:lnTo>
                  <a:lnTo>
                    <a:pt x="31" y="159"/>
                  </a:lnTo>
                  <a:close/>
                  <a:moveTo>
                    <a:pt x="126" y="159"/>
                  </a:moveTo>
                  <a:lnTo>
                    <a:pt x="123" y="159"/>
                  </a:lnTo>
                  <a:lnTo>
                    <a:pt x="126" y="159"/>
                  </a:lnTo>
                  <a:close/>
                  <a:moveTo>
                    <a:pt x="33" y="159"/>
                  </a:moveTo>
                  <a:lnTo>
                    <a:pt x="33" y="157"/>
                  </a:lnTo>
                  <a:lnTo>
                    <a:pt x="33" y="159"/>
                  </a:lnTo>
                  <a:close/>
                  <a:moveTo>
                    <a:pt x="36" y="157"/>
                  </a:moveTo>
                  <a:lnTo>
                    <a:pt x="36" y="154"/>
                  </a:lnTo>
                  <a:lnTo>
                    <a:pt x="36" y="157"/>
                  </a:lnTo>
                  <a:close/>
                  <a:moveTo>
                    <a:pt x="76" y="152"/>
                  </a:moveTo>
                  <a:lnTo>
                    <a:pt x="74" y="152"/>
                  </a:lnTo>
                  <a:lnTo>
                    <a:pt x="76" y="152"/>
                  </a:lnTo>
                  <a:close/>
                  <a:moveTo>
                    <a:pt x="45" y="145"/>
                  </a:moveTo>
                  <a:lnTo>
                    <a:pt x="45" y="147"/>
                  </a:lnTo>
                  <a:lnTo>
                    <a:pt x="45" y="145"/>
                  </a:lnTo>
                  <a:close/>
                  <a:moveTo>
                    <a:pt x="21" y="142"/>
                  </a:moveTo>
                  <a:lnTo>
                    <a:pt x="19" y="142"/>
                  </a:lnTo>
                  <a:lnTo>
                    <a:pt x="21" y="142"/>
                  </a:lnTo>
                  <a:close/>
                  <a:moveTo>
                    <a:pt x="28" y="138"/>
                  </a:moveTo>
                  <a:lnTo>
                    <a:pt x="28" y="135"/>
                  </a:lnTo>
                  <a:lnTo>
                    <a:pt x="28" y="138"/>
                  </a:lnTo>
                  <a:close/>
                  <a:moveTo>
                    <a:pt x="5" y="138"/>
                  </a:moveTo>
                  <a:lnTo>
                    <a:pt x="5" y="135"/>
                  </a:lnTo>
                  <a:lnTo>
                    <a:pt x="5" y="138"/>
                  </a:lnTo>
                  <a:close/>
                  <a:moveTo>
                    <a:pt x="28" y="138"/>
                  </a:moveTo>
                  <a:lnTo>
                    <a:pt x="28" y="135"/>
                  </a:lnTo>
                  <a:lnTo>
                    <a:pt x="28" y="138"/>
                  </a:lnTo>
                  <a:close/>
                  <a:moveTo>
                    <a:pt x="85" y="135"/>
                  </a:moveTo>
                  <a:lnTo>
                    <a:pt x="83" y="135"/>
                  </a:lnTo>
                  <a:lnTo>
                    <a:pt x="85" y="135"/>
                  </a:lnTo>
                  <a:close/>
                  <a:moveTo>
                    <a:pt x="85" y="131"/>
                  </a:moveTo>
                  <a:lnTo>
                    <a:pt x="85" y="128"/>
                  </a:lnTo>
                  <a:lnTo>
                    <a:pt x="85" y="131"/>
                  </a:lnTo>
                  <a:close/>
                  <a:moveTo>
                    <a:pt x="154" y="97"/>
                  </a:moveTo>
                  <a:lnTo>
                    <a:pt x="152" y="97"/>
                  </a:lnTo>
                  <a:lnTo>
                    <a:pt x="154" y="97"/>
                  </a:lnTo>
                  <a:close/>
                  <a:moveTo>
                    <a:pt x="157" y="95"/>
                  </a:moveTo>
                  <a:lnTo>
                    <a:pt x="157" y="93"/>
                  </a:lnTo>
                  <a:lnTo>
                    <a:pt x="157" y="95"/>
                  </a:lnTo>
                  <a:close/>
                  <a:moveTo>
                    <a:pt x="159" y="90"/>
                  </a:moveTo>
                  <a:lnTo>
                    <a:pt x="159" y="88"/>
                  </a:lnTo>
                  <a:lnTo>
                    <a:pt x="159" y="90"/>
                  </a:lnTo>
                  <a:close/>
                  <a:moveTo>
                    <a:pt x="166" y="90"/>
                  </a:moveTo>
                  <a:lnTo>
                    <a:pt x="166" y="88"/>
                  </a:lnTo>
                  <a:lnTo>
                    <a:pt x="166" y="90"/>
                  </a:lnTo>
                  <a:close/>
                  <a:moveTo>
                    <a:pt x="199" y="71"/>
                  </a:moveTo>
                  <a:lnTo>
                    <a:pt x="202" y="71"/>
                  </a:lnTo>
                  <a:lnTo>
                    <a:pt x="199" y="71"/>
                  </a:lnTo>
                  <a:close/>
                  <a:moveTo>
                    <a:pt x="202" y="71"/>
                  </a:moveTo>
                  <a:lnTo>
                    <a:pt x="199" y="71"/>
                  </a:lnTo>
                  <a:lnTo>
                    <a:pt x="202" y="71"/>
                  </a:lnTo>
                  <a:close/>
                  <a:moveTo>
                    <a:pt x="211" y="55"/>
                  </a:moveTo>
                  <a:lnTo>
                    <a:pt x="211" y="52"/>
                  </a:lnTo>
                  <a:lnTo>
                    <a:pt x="211" y="55"/>
                  </a:lnTo>
                  <a:close/>
                  <a:moveTo>
                    <a:pt x="209" y="47"/>
                  </a:moveTo>
                  <a:lnTo>
                    <a:pt x="211" y="47"/>
                  </a:lnTo>
                  <a:lnTo>
                    <a:pt x="209" y="47"/>
                  </a:lnTo>
                  <a:close/>
                  <a:moveTo>
                    <a:pt x="211" y="36"/>
                  </a:moveTo>
                  <a:lnTo>
                    <a:pt x="211" y="38"/>
                  </a:lnTo>
                  <a:lnTo>
                    <a:pt x="211" y="36"/>
                  </a:lnTo>
                  <a:close/>
                  <a:moveTo>
                    <a:pt x="216" y="33"/>
                  </a:moveTo>
                  <a:lnTo>
                    <a:pt x="218" y="33"/>
                  </a:lnTo>
                  <a:lnTo>
                    <a:pt x="216" y="33"/>
                  </a:lnTo>
                  <a:close/>
                  <a:moveTo>
                    <a:pt x="228" y="28"/>
                  </a:moveTo>
                  <a:lnTo>
                    <a:pt x="225" y="28"/>
                  </a:lnTo>
                  <a:lnTo>
                    <a:pt x="228" y="28"/>
                  </a:lnTo>
                  <a:close/>
                  <a:moveTo>
                    <a:pt x="225" y="28"/>
                  </a:moveTo>
                  <a:lnTo>
                    <a:pt x="225" y="26"/>
                  </a:lnTo>
                  <a:lnTo>
                    <a:pt x="225" y="28"/>
                  </a:lnTo>
                  <a:close/>
                  <a:moveTo>
                    <a:pt x="225" y="26"/>
                  </a:moveTo>
                  <a:lnTo>
                    <a:pt x="225" y="24"/>
                  </a:lnTo>
                  <a:lnTo>
                    <a:pt x="225" y="26"/>
                  </a:lnTo>
                  <a:close/>
                  <a:moveTo>
                    <a:pt x="216" y="24"/>
                  </a:moveTo>
                  <a:lnTo>
                    <a:pt x="218" y="24"/>
                  </a:lnTo>
                  <a:lnTo>
                    <a:pt x="216" y="24"/>
                  </a:lnTo>
                  <a:close/>
                  <a:moveTo>
                    <a:pt x="218" y="19"/>
                  </a:moveTo>
                  <a:lnTo>
                    <a:pt x="216" y="19"/>
                  </a:lnTo>
                  <a:lnTo>
                    <a:pt x="218" y="19"/>
                  </a:lnTo>
                  <a:close/>
                  <a:moveTo>
                    <a:pt x="211" y="12"/>
                  </a:moveTo>
                  <a:lnTo>
                    <a:pt x="211" y="9"/>
                  </a:lnTo>
                  <a:lnTo>
                    <a:pt x="211" y="12"/>
                  </a:lnTo>
                  <a:close/>
                  <a:moveTo>
                    <a:pt x="230" y="0"/>
                  </a:moveTo>
                  <a:lnTo>
                    <a:pt x="230" y="2"/>
                  </a:lnTo>
                  <a:lnTo>
                    <a:pt x="23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1" name="Freeform 57949"/>
            <p:cNvSpPr>
              <a:spLocks noEditPoints="1"/>
            </p:cNvSpPr>
            <p:nvPr/>
          </p:nvSpPr>
          <p:spPr bwMode="auto">
            <a:xfrm>
              <a:off x="1084261" y="6191272"/>
              <a:ext cx="241300" cy="101600"/>
            </a:xfrm>
            <a:custGeom>
              <a:avLst/>
              <a:gdLst>
                <a:gd name="T0" fmla="*/ 85 w 152"/>
                <a:gd name="T1" fmla="*/ 47 h 64"/>
                <a:gd name="T2" fmla="*/ 87 w 152"/>
                <a:gd name="T3" fmla="*/ 55 h 64"/>
                <a:gd name="T4" fmla="*/ 85 w 152"/>
                <a:gd name="T5" fmla="*/ 57 h 64"/>
                <a:gd name="T6" fmla="*/ 80 w 152"/>
                <a:gd name="T7" fmla="*/ 62 h 64"/>
                <a:gd name="T8" fmla="*/ 76 w 152"/>
                <a:gd name="T9" fmla="*/ 62 h 64"/>
                <a:gd name="T10" fmla="*/ 71 w 152"/>
                <a:gd name="T11" fmla="*/ 57 h 64"/>
                <a:gd name="T12" fmla="*/ 71 w 152"/>
                <a:gd name="T13" fmla="*/ 52 h 64"/>
                <a:gd name="T14" fmla="*/ 76 w 152"/>
                <a:gd name="T15" fmla="*/ 47 h 64"/>
                <a:gd name="T16" fmla="*/ 83 w 152"/>
                <a:gd name="T17" fmla="*/ 45 h 64"/>
                <a:gd name="T18" fmla="*/ 61 w 152"/>
                <a:gd name="T19" fmla="*/ 26 h 64"/>
                <a:gd name="T20" fmla="*/ 59 w 152"/>
                <a:gd name="T21" fmla="*/ 33 h 64"/>
                <a:gd name="T22" fmla="*/ 57 w 152"/>
                <a:gd name="T23" fmla="*/ 36 h 64"/>
                <a:gd name="T24" fmla="*/ 52 w 152"/>
                <a:gd name="T25" fmla="*/ 40 h 64"/>
                <a:gd name="T26" fmla="*/ 49 w 152"/>
                <a:gd name="T27" fmla="*/ 47 h 64"/>
                <a:gd name="T28" fmla="*/ 42 w 152"/>
                <a:gd name="T29" fmla="*/ 52 h 64"/>
                <a:gd name="T30" fmla="*/ 40 w 152"/>
                <a:gd name="T31" fmla="*/ 45 h 64"/>
                <a:gd name="T32" fmla="*/ 38 w 152"/>
                <a:gd name="T33" fmla="*/ 38 h 64"/>
                <a:gd name="T34" fmla="*/ 40 w 152"/>
                <a:gd name="T35" fmla="*/ 36 h 64"/>
                <a:gd name="T36" fmla="*/ 47 w 152"/>
                <a:gd name="T37" fmla="*/ 33 h 64"/>
                <a:gd name="T38" fmla="*/ 52 w 152"/>
                <a:gd name="T39" fmla="*/ 28 h 64"/>
                <a:gd name="T40" fmla="*/ 61 w 152"/>
                <a:gd name="T41" fmla="*/ 28 h 64"/>
                <a:gd name="T42" fmla="*/ 137 w 152"/>
                <a:gd name="T43" fmla="*/ 21 h 64"/>
                <a:gd name="T44" fmla="*/ 137 w 152"/>
                <a:gd name="T45" fmla="*/ 31 h 64"/>
                <a:gd name="T46" fmla="*/ 135 w 152"/>
                <a:gd name="T47" fmla="*/ 38 h 64"/>
                <a:gd name="T48" fmla="*/ 135 w 152"/>
                <a:gd name="T49" fmla="*/ 43 h 64"/>
                <a:gd name="T50" fmla="*/ 128 w 152"/>
                <a:gd name="T51" fmla="*/ 45 h 64"/>
                <a:gd name="T52" fmla="*/ 123 w 152"/>
                <a:gd name="T53" fmla="*/ 47 h 64"/>
                <a:gd name="T54" fmla="*/ 116 w 152"/>
                <a:gd name="T55" fmla="*/ 50 h 64"/>
                <a:gd name="T56" fmla="*/ 121 w 152"/>
                <a:gd name="T57" fmla="*/ 45 h 64"/>
                <a:gd name="T58" fmla="*/ 125 w 152"/>
                <a:gd name="T59" fmla="*/ 40 h 64"/>
                <a:gd name="T60" fmla="*/ 128 w 152"/>
                <a:gd name="T61" fmla="*/ 33 h 64"/>
                <a:gd name="T62" fmla="*/ 130 w 152"/>
                <a:gd name="T63" fmla="*/ 26 h 64"/>
                <a:gd name="T64" fmla="*/ 135 w 152"/>
                <a:gd name="T65" fmla="*/ 21 h 64"/>
                <a:gd name="T66" fmla="*/ 4 w 152"/>
                <a:gd name="T67" fmla="*/ 17 h 64"/>
                <a:gd name="T68" fmla="*/ 9 w 152"/>
                <a:gd name="T69" fmla="*/ 21 h 64"/>
                <a:gd name="T70" fmla="*/ 9 w 152"/>
                <a:gd name="T71" fmla="*/ 26 h 64"/>
                <a:gd name="T72" fmla="*/ 7 w 152"/>
                <a:gd name="T73" fmla="*/ 33 h 64"/>
                <a:gd name="T74" fmla="*/ 2 w 152"/>
                <a:gd name="T75" fmla="*/ 28 h 64"/>
                <a:gd name="T76" fmla="*/ 0 w 152"/>
                <a:gd name="T77" fmla="*/ 21 h 64"/>
                <a:gd name="T78" fmla="*/ 2 w 152"/>
                <a:gd name="T79" fmla="*/ 19 h 64"/>
                <a:gd name="T80" fmla="*/ 4 w 152"/>
                <a:gd name="T81" fmla="*/ 17 h 64"/>
                <a:gd name="T82" fmla="*/ 149 w 152"/>
                <a:gd name="T83" fmla="*/ 2 h 64"/>
                <a:gd name="T84" fmla="*/ 147 w 152"/>
                <a:gd name="T85" fmla="*/ 9 h 64"/>
                <a:gd name="T86" fmla="*/ 144 w 152"/>
                <a:gd name="T87" fmla="*/ 12 h 64"/>
                <a:gd name="T88" fmla="*/ 142 w 152"/>
                <a:gd name="T89" fmla="*/ 14 h 64"/>
                <a:gd name="T90" fmla="*/ 137 w 152"/>
                <a:gd name="T91" fmla="*/ 14 h 64"/>
                <a:gd name="T92" fmla="*/ 137 w 152"/>
                <a:gd name="T93" fmla="*/ 9 h 64"/>
                <a:gd name="T94" fmla="*/ 142 w 152"/>
                <a:gd name="T95" fmla="*/ 5 h 64"/>
                <a:gd name="T96" fmla="*/ 142 w 152"/>
                <a:gd name="T97" fmla="*/ 5 h 64"/>
                <a:gd name="T98" fmla="*/ 149 w 152"/>
                <a:gd name="T99"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64">
                  <a:moveTo>
                    <a:pt x="85" y="45"/>
                  </a:moveTo>
                  <a:lnTo>
                    <a:pt x="85" y="47"/>
                  </a:lnTo>
                  <a:lnTo>
                    <a:pt x="85" y="45"/>
                  </a:lnTo>
                  <a:lnTo>
                    <a:pt x="85" y="47"/>
                  </a:lnTo>
                  <a:lnTo>
                    <a:pt x="85" y="50"/>
                  </a:lnTo>
                  <a:lnTo>
                    <a:pt x="87" y="50"/>
                  </a:lnTo>
                  <a:lnTo>
                    <a:pt x="87" y="52"/>
                  </a:lnTo>
                  <a:lnTo>
                    <a:pt x="87" y="55"/>
                  </a:lnTo>
                  <a:lnTo>
                    <a:pt x="87" y="57"/>
                  </a:lnTo>
                  <a:lnTo>
                    <a:pt x="85" y="57"/>
                  </a:lnTo>
                  <a:lnTo>
                    <a:pt x="87" y="57"/>
                  </a:lnTo>
                  <a:lnTo>
                    <a:pt x="85" y="57"/>
                  </a:lnTo>
                  <a:lnTo>
                    <a:pt x="85" y="59"/>
                  </a:lnTo>
                  <a:lnTo>
                    <a:pt x="85" y="62"/>
                  </a:lnTo>
                  <a:lnTo>
                    <a:pt x="83" y="62"/>
                  </a:lnTo>
                  <a:lnTo>
                    <a:pt x="80" y="62"/>
                  </a:lnTo>
                  <a:lnTo>
                    <a:pt x="80" y="64"/>
                  </a:lnTo>
                  <a:lnTo>
                    <a:pt x="78" y="64"/>
                  </a:lnTo>
                  <a:lnTo>
                    <a:pt x="78" y="62"/>
                  </a:lnTo>
                  <a:lnTo>
                    <a:pt x="76" y="62"/>
                  </a:lnTo>
                  <a:lnTo>
                    <a:pt x="76" y="59"/>
                  </a:lnTo>
                  <a:lnTo>
                    <a:pt x="73" y="59"/>
                  </a:lnTo>
                  <a:lnTo>
                    <a:pt x="73" y="57"/>
                  </a:lnTo>
                  <a:lnTo>
                    <a:pt x="71" y="57"/>
                  </a:lnTo>
                  <a:lnTo>
                    <a:pt x="71" y="55"/>
                  </a:lnTo>
                  <a:lnTo>
                    <a:pt x="71" y="52"/>
                  </a:lnTo>
                  <a:lnTo>
                    <a:pt x="73" y="52"/>
                  </a:lnTo>
                  <a:lnTo>
                    <a:pt x="71" y="52"/>
                  </a:lnTo>
                  <a:lnTo>
                    <a:pt x="73" y="52"/>
                  </a:lnTo>
                  <a:lnTo>
                    <a:pt x="73" y="50"/>
                  </a:lnTo>
                  <a:lnTo>
                    <a:pt x="76" y="50"/>
                  </a:lnTo>
                  <a:lnTo>
                    <a:pt x="76" y="47"/>
                  </a:lnTo>
                  <a:lnTo>
                    <a:pt x="76" y="45"/>
                  </a:lnTo>
                  <a:lnTo>
                    <a:pt x="78" y="45"/>
                  </a:lnTo>
                  <a:lnTo>
                    <a:pt x="80" y="45"/>
                  </a:lnTo>
                  <a:lnTo>
                    <a:pt x="83" y="45"/>
                  </a:lnTo>
                  <a:lnTo>
                    <a:pt x="83" y="47"/>
                  </a:lnTo>
                  <a:lnTo>
                    <a:pt x="85" y="47"/>
                  </a:lnTo>
                  <a:lnTo>
                    <a:pt x="85" y="45"/>
                  </a:lnTo>
                  <a:close/>
                  <a:moveTo>
                    <a:pt x="61" y="26"/>
                  </a:moveTo>
                  <a:lnTo>
                    <a:pt x="61" y="28"/>
                  </a:lnTo>
                  <a:lnTo>
                    <a:pt x="61" y="31"/>
                  </a:lnTo>
                  <a:lnTo>
                    <a:pt x="59" y="31"/>
                  </a:lnTo>
                  <a:lnTo>
                    <a:pt x="59" y="33"/>
                  </a:lnTo>
                  <a:lnTo>
                    <a:pt x="59" y="31"/>
                  </a:lnTo>
                  <a:lnTo>
                    <a:pt x="59" y="33"/>
                  </a:lnTo>
                  <a:lnTo>
                    <a:pt x="57" y="33"/>
                  </a:lnTo>
                  <a:lnTo>
                    <a:pt x="57" y="36"/>
                  </a:lnTo>
                  <a:lnTo>
                    <a:pt x="54" y="36"/>
                  </a:lnTo>
                  <a:lnTo>
                    <a:pt x="54" y="38"/>
                  </a:lnTo>
                  <a:lnTo>
                    <a:pt x="54" y="40"/>
                  </a:lnTo>
                  <a:lnTo>
                    <a:pt x="52" y="40"/>
                  </a:lnTo>
                  <a:lnTo>
                    <a:pt x="52" y="43"/>
                  </a:lnTo>
                  <a:lnTo>
                    <a:pt x="52" y="45"/>
                  </a:lnTo>
                  <a:lnTo>
                    <a:pt x="52" y="47"/>
                  </a:lnTo>
                  <a:lnTo>
                    <a:pt x="49" y="47"/>
                  </a:lnTo>
                  <a:lnTo>
                    <a:pt x="49" y="50"/>
                  </a:lnTo>
                  <a:lnTo>
                    <a:pt x="47" y="50"/>
                  </a:lnTo>
                  <a:lnTo>
                    <a:pt x="45" y="52"/>
                  </a:lnTo>
                  <a:lnTo>
                    <a:pt x="42" y="52"/>
                  </a:lnTo>
                  <a:lnTo>
                    <a:pt x="42" y="50"/>
                  </a:lnTo>
                  <a:lnTo>
                    <a:pt x="42" y="47"/>
                  </a:lnTo>
                  <a:lnTo>
                    <a:pt x="40" y="47"/>
                  </a:lnTo>
                  <a:lnTo>
                    <a:pt x="40" y="45"/>
                  </a:lnTo>
                  <a:lnTo>
                    <a:pt x="40" y="43"/>
                  </a:lnTo>
                  <a:lnTo>
                    <a:pt x="38" y="43"/>
                  </a:lnTo>
                  <a:lnTo>
                    <a:pt x="38" y="40"/>
                  </a:lnTo>
                  <a:lnTo>
                    <a:pt x="38" y="38"/>
                  </a:lnTo>
                  <a:lnTo>
                    <a:pt x="35" y="38"/>
                  </a:lnTo>
                  <a:lnTo>
                    <a:pt x="35" y="36"/>
                  </a:lnTo>
                  <a:lnTo>
                    <a:pt x="38" y="36"/>
                  </a:lnTo>
                  <a:lnTo>
                    <a:pt x="40" y="36"/>
                  </a:lnTo>
                  <a:lnTo>
                    <a:pt x="42" y="36"/>
                  </a:lnTo>
                  <a:lnTo>
                    <a:pt x="45" y="36"/>
                  </a:lnTo>
                  <a:lnTo>
                    <a:pt x="47" y="36"/>
                  </a:lnTo>
                  <a:lnTo>
                    <a:pt x="47" y="33"/>
                  </a:lnTo>
                  <a:lnTo>
                    <a:pt x="49" y="33"/>
                  </a:lnTo>
                  <a:lnTo>
                    <a:pt x="52" y="33"/>
                  </a:lnTo>
                  <a:lnTo>
                    <a:pt x="52" y="31"/>
                  </a:lnTo>
                  <a:lnTo>
                    <a:pt x="52" y="28"/>
                  </a:lnTo>
                  <a:lnTo>
                    <a:pt x="54" y="28"/>
                  </a:lnTo>
                  <a:lnTo>
                    <a:pt x="57" y="28"/>
                  </a:lnTo>
                  <a:lnTo>
                    <a:pt x="59" y="28"/>
                  </a:lnTo>
                  <a:lnTo>
                    <a:pt x="61" y="28"/>
                  </a:lnTo>
                  <a:lnTo>
                    <a:pt x="61" y="26"/>
                  </a:lnTo>
                  <a:close/>
                  <a:moveTo>
                    <a:pt x="135" y="19"/>
                  </a:moveTo>
                  <a:lnTo>
                    <a:pt x="137" y="19"/>
                  </a:lnTo>
                  <a:lnTo>
                    <a:pt x="137" y="21"/>
                  </a:lnTo>
                  <a:lnTo>
                    <a:pt x="137" y="24"/>
                  </a:lnTo>
                  <a:lnTo>
                    <a:pt x="137" y="26"/>
                  </a:lnTo>
                  <a:lnTo>
                    <a:pt x="137" y="28"/>
                  </a:lnTo>
                  <a:lnTo>
                    <a:pt x="137" y="31"/>
                  </a:lnTo>
                  <a:lnTo>
                    <a:pt x="137" y="33"/>
                  </a:lnTo>
                  <a:lnTo>
                    <a:pt x="137" y="36"/>
                  </a:lnTo>
                  <a:lnTo>
                    <a:pt x="137" y="38"/>
                  </a:lnTo>
                  <a:lnTo>
                    <a:pt x="135" y="38"/>
                  </a:lnTo>
                  <a:lnTo>
                    <a:pt x="137" y="38"/>
                  </a:lnTo>
                  <a:lnTo>
                    <a:pt x="135" y="38"/>
                  </a:lnTo>
                  <a:lnTo>
                    <a:pt x="135" y="40"/>
                  </a:lnTo>
                  <a:lnTo>
                    <a:pt x="135" y="43"/>
                  </a:lnTo>
                  <a:lnTo>
                    <a:pt x="133" y="43"/>
                  </a:lnTo>
                  <a:lnTo>
                    <a:pt x="130" y="43"/>
                  </a:lnTo>
                  <a:lnTo>
                    <a:pt x="128" y="43"/>
                  </a:lnTo>
                  <a:lnTo>
                    <a:pt x="128" y="45"/>
                  </a:lnTo>
                  <a:lnTo>
                    <a:pt x="128" y="43"/>
                  </a:lnTo>
                  <a:lnTo>
                    <a:pt x="128" y="45"/>
                  </a:lnTo>
                  <a:lnTo>
                    <a:pt x="125" y="45"/>
                  </a:lnTo>
                  <a:lnTo>
                    <a:pt x="123" y="47"/>
                  </a:lnTo>
                  <a:lnTo>
                    <a:pt x="123" y="50"/>
                  </a:lnTo>
                  <a:lnTo>
                    <a:pt x="121" y="50"/>
                  </a:lnTo>
                  <a:lnTo>
                    <a:pt x="118" y="50"/>
                  </a:lnTo>
                  <a:lnTo>
                    <a:pt x="116" y="50"/>
                  </a:lnTo>
                  <a:lnTo>
                    <a:pt x="116" y="47"/>
                  </a:lnTo>
                  <a:lnTo>
                    <a:pt x="118" y="47"/>
                  </a:lnTo>
                  <a:lnTo>
                    <a:pt x="121" y="47"/>
                  </a:lnTo>
                  <a:lnTo>
                    <a:pt x="121" y="45"/>
                  </a:lnTo>
                  <a:lnTo>
                    <a:pt x="123" y="45"/>
                  </a:lnTo>
                  <a:lnTo>
                    <a:pt x="123" y="43"/>
                  </a:lnTo>
                  <a:lnTo>
                    <a:pt x="125" y="43"/>
                  </a:lnTo>
                  <a:lnTo>
                    <a:pt x="125" y="40"/>
                  </a:lnTo>
                  <a:lnTo>
                    <a:pt x="125" y="38"/>
                  </a:lnTo>
                  <a:lnTo>
                    <a:pt x="125" y="36"/>
                  </a:lnTo>
                  <a:lnTo>
                    <a:pt x="128" y="36"/>
                  </a:lnTo>
                  <a:lnTo>
                    <a:pt x="128" y="33"/>
                  </a:lnTo>
                  <a:lnTo>
                    <a:pt x="128" y="31"/>
                  </a:lnTo>
                  <a:lnTo>
                    <a:pt x="130" y="31"/>
                  </a:lnTo>
                  <a:lnTo>
                    <a:pt x="130" y="28"/>
                  </a:lnTo>
                  <a:lnTo>
                    <a:pt x="130" y="26"/>
                  </a:lnTo>
                  <a:lnTo>
                    <a:pt x="130" y="24"/>
                  </a:lnTo>
                  <a:lnTo>
                    <a:pt x="133" y="24"/>
                  </a:lnTo>
                  <a:lnTo>
                    <a:pt x="133" y="21"/>
                  </a:lnTo>
                  <a:lnTo>
                    <a:pt x="135" y="21"/>
                  </a:lnTo>
                  <a:lnTo>
                    <a:pt x="135" y="19"/>
                  </a:lnTo>
                  <a:lnTo>
                    <a:pt x="135" y="21"/>
                  </a:lnTo>
                  <a:lnTo>
                    <a:pt x="135" y="19"/>
                  </a:lnTo>
                  <a:close/>
                  <a:moveTo>
                    <a:pt x="4" y="17"/>
                  </a:moveTo>
                  <a:lnTo>
                    <a:pt x="7" y="17"/>
                  </a:lnTo>
                  <a:lnTo>
                    <a:pt x="9" y="17"/>
                  </a:lnTo>
                  <a:lnTo>
                    <a:pt x="9" y="19"/>
                  </a:lnTo>
                  <a:lnTo>
                    <a:pt x="9" y="21"/>
                  </a:lnTo>
                  <a:lnTo>
                    <a:pt x="9" y="24"/>
                  </a:lnTo>
                  <a:lnTo>
                    <a:pt x="7" y="24"/>
                  </a:lnTo>
                  <a:lnTo>
                    <a:pt x="9" y="24"/>
                  </a:lnTo>
                  <a:lnTo>
                    <a:pt x="9" y="26"/>
                  </a:lnTo>
                  <a:lnTo>
                    <a:pt x="9" y="28"/>
                  </a:lnTo>
                  <a:lnTo>
                    <a:pt x="7" y="28"/>
                  </a:lnTo>
                  <a:lnTo>
                    <a:pt x="7" y="31"/>
                  </a:lnTo>
                  <a:lnTo>
                    <a:pt x="7" y="33"/>
                  </a:lnTo>
                  <a:lnTo>
                    <a:pt x="4" y="33"/>
                  </a:lnTo>
                  <a:lnTo>
                    <a:pt x="4" y="31"/>
                  </a:lnTo>
                  <a:lnTo>
                    <a:pt x="4" y="28"/>
                  </a:lnTo>
                  <a:lnTo>
                    <a:pt x="2" y="28"/>
                  </a:lnTo>
                  <a:lnTo>
                    <a:pt x="2" y="26"/>
                  </a:lnTo>
                  <a:lnTo>
                    <a:pt x="2" y="24"/>
                  </a:lnTo>
                  <a:lnTo>
                    <a:pt x="2" y="21"/>
                  </a:lnTo>
                  <a:lnTo>
                    <a:pt x="0" y="21"/>
                  </a:lnTo>
                  <a:lnTo>
                    <a:pt x="2" y="21"/>
                  </a:lnTo>
                  <a:lnTo>
                    <a:pt x="0" y="21"/>
                  </a:lnTo>
                  <a:lnTo>
                    <a:pt x="0" y="19"/>
                  </a:lnTo>
                  <a:lnTo>
                    <a:pt x="2" y="19"/>
                  </a:lnTo>
                  <a:lnTo>
                    <a:pt x="2" y="17"/>
                  </a:lnTo>
                  <a:lnTo>
                    <a:pt x="0" y="17"/>
                  </a:lnTo>
                  <a:lnTo>
                    <a:pt x="2" y="17"/>
                  </a:lnTo>
                  <a:lnTo>
                    <a:pt x="4" y="17"/>
                  </a:lnTo>
                  <a:close/>
                  <a:moveTo>
                    <a:pt x="149" y="0"/>
                  </a:moveTo>
                  <a:lnTo>
                    <a:pt x="152" y="0"/>
                  </a:lnTo>
                  <a:lnTo>
                    <a:pt x="152" y="2"/>
                  </a:lnTo>
                  <a:lnTo>
                    <a:pt x="149" y="2"/>
                  </a:lnTo>
                  <a:lnTo>
                    <a:pt x="149" y="5"/>
                  </a:lnTo>
                  <a:lnTo>
                    <a:pt x="149" y="7"/>
                  </a:lnTo>
                  <a:lnTo>
                    <a:pt x="149" y="9"/>
                  </a:lnTo>
                  <a:lnTo>
                    <a:pt x="147" y="9"/>
                  </a:lnTo>
                  <a:lnTo>
                    <a:pt x="147" y="12"/>
                  </a:lnTo>
                  <a:lnTo>
                    <a:pt x="144" y="12"/>
                  </a:lnTo>
                  <a:lnTo>
                    <a:pt x="144" y="14"/>
                  </a:lnTo>
                  <a:lnTo>
                    <a:pt x="144" y="12"/>
                  </a:lnTo>
                  <a:lnTo>
                    <a:pt x="142" y="12"/>
                  </a:lnTo>
                  <a:lnTo>
                    <a:pt x="142" y="14"/>
                  </a:lnTo>
                  <a:lnTo>
                    <a:pt x="142" y="12"/>
                  </a:lnTo>
                  <a:lnTo>
                    <a:pt x="142" y="14"/>
                  </a:lnTo>
                  <a:lnTo>
                    <a:pt x="140" y="14"/>
                  </a:lnTo>
                  <a:lnTo>
                    <a:pt x="140" y="17"/>
                  </a:lnTo>
                  <a:lnTo>
                    <a:pt x="137" y="17"/>
                  </a:lnTo>
                  <a:lnTo>
                    <a:pt x="137" y="14"/>
                  </a:lnTo>
                  <a:lnTo>
                    <a:pt x="135" y="14"/>
                  </a:lnTo>
                  <a:lnTo>
                    <a:pt x="137" y="14"/>
                  </a:lnTo>
                  <a:lnTo>
                    <a:pt x="137" y="12"/>
                  </a:lnTo>
                  <a:lnTo>
                    <a:pt x="137" y="9"/>
                  </a:lnTo>
                  <a:lnTo>
                    <a:pt x="137" y="7"/>
                  </a:lnTo>
                  <a:lnTo>
                    <a:pt x="140" y="7"/>
                  </a:lnTo>
                  <a:lnTo>
                    <a:pt x="142" y="7"/>
                  </a:lnTo>
                  <a:lnTo>
                    <a:pt x="142" y="5"/>
                  </a:lnTo>
                  <a:lnTo>
                    <a:pt x="142" y="7"/>
                  </a:lnTo>
                  <a:lnTo>
                    <a:pt x="142" y="5"/>
                  </a:lnTo>
                  <a:lnTo>
                    <a:pt x="144" y="5"/>
                  </a:lnTo>
                  <a:lnTo>
                    <a:pt x="142" y="5"/>
                  </a:lnTo>
                  <a:lnTo>
                    <a:pt x="144" y="5"/>
                  </a:lnTo>
                  <a:lnTo>
                    <a:pt x="147" y="5"/>
                  </a:lnTo>
                  <a:lnTo>
                    <a:pt x="147" y="2"/>
                  </a:lnTo>
                  <a:lnTo>
                    <a:pt x="149" y="2"/>
                  </a:lnTo>
                  <a:lnTo>
                    <a:pt x="14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2" name="Freeform 57950"/>
            <p:cNvSpPr>
              <a:spLocks noEditPoints="1"/>
            </p:cNvSpPr>
            <p:nvPr/>
          </p:nvSpPr>
          <p:spPr bwMode="auto">
            <a:xfrm>
              <a:off x="1076324" y="6180155"/>
              <a:ext cx="244475" cy="115888"/>
            </a:xfrm>
            <a:custGeom>
              <a:avLst/>
              <a:gdLst>
                <a:gd name="T0" fmla="*/ 9 w 154"/>
                <a:gd name="T1" fmla="*/ 66 h 73"/>
                <a:gd name="T2" fmla="*/ 9 w 154"/>
                <a:gd name="T3" fmla="*/ 66 h 73"/>
                <a:gd name="T4" fmla="*/ 9 w 154"/>
                <a:gd name="T5" fmla="*/ 69 h 73"/>
                <a:gd name="T6" fmla="*/ 7 w 154"/>
                <a:gd name="T7" fmla="*/ 69 h 73"/>
                <a:gd name="T8" fmla="*/ 7 w 154"/>
                <a:gd name="T9" fmla="*/ 71 h 73"/>
                <a:gd name="T10" fmla="*/ 7 w 154"/>
                <a:gd name="T11" fmla="*/ 71 h 73"/>
                <a:gd name="T12" fmla="*/ 7 w 154"/>
                <a:gd name="T13" fmla="*/ 73 h 73"/>
                <a:gd name="T14" fmla="*/ 5 w 154"/>
                <a:gd name="T15" fmla="*/ 73 h 73"/>
                <a:gd name="T16" fmla="*/ 5 w 154"/>
                <a:gd name="T17" fmla="*/ 73 h 73"/>
                <a:gd name="T18" fmla="*/ 5 w 154"/>
                <a:gd name="T19" fmla="*/ 71 h 73"/>
                <a:gd name="T20" fmla="*/ 2 w 154"/>
                <a:gd name="T21" fmla="*/ 71 h 73"/>
                <a:gd name="T22" fmla="*/ 0 w 154"/>
                <a:gd name="T23" fmla="*/ 71 h 73"/>
                <a:gd name="T24" fmla="*/ 0 w 154"/>
                <a:gd name="T25" fmla="*/ 71 h 73"/>
                <a:gd name="T26" fmla="*/ 0 w 154"/>
                <a:gd name="T27" fmla="*/ 69 h 73"/>
                <a:gd name="T28" fmla="*/ 2 w 154"/>
                <a:gd name="T29" fmla="*/ 69 h 73"/>
                <a:gd name="T30" fmla="*/ 5 w 154"/>
                <a:gd name="T31" fmla="*/ 69 h 73"/>
                <a:gd name="T32" fmla="*/ 5 w 154"/>
                <a:gd name="T33" fmla="*/ 69 h 73"/>
                <a:gd name="T34" fmla="*/ 5 w 154"/>
                <a:gd name="T35" fmla="*/ 66 h 73"/>
                <a:gd name="T36" fmla="*/ 5 w 154"/>
                <a:gd name="T37" fmla="*/ 66 h 73"/>
                <a:gd name="T38" fmla="*/ 7 w 154"/>
                <a:gd name="T39" fmla="*/ 66 h 73"/>
                <a:gd name="T40" fmla="*/ 7 w 154"/>
                <a:gd name="T41" fmla="*/ 66 h 73"/>
                <a:gd name="T42" fmla="*/ 31 w 154"/>
                <a:gd name="T43" fmla="*/ 50 h 73"/>
                <a:gd name="T44" fmla="*/ 31 w 154"/>
                <a:gd name="T45" fmla="*/ 50 h 73"/>
                <a:gd name="T46" fmla="*/ 31 w 154"/>
                <a:gd name="T47" fmla="*/ 50 h 73"/>
                <a:gd name="T48" fmla="*/ 33 w 154"/>
                <a:gd name="T49" fmla="*/ 52 h 73"/>
                <a:gd name="T50" fmla="*/ 33 w 154"/>
                <a:gd name="T51" fmla="*/ 52 h 73"/>
                <a:gd name="T52" fmla="*/ 33 w 154"/>
                <a:gd name="T53" fmla="*/ 52 h 73"/>
                <a:gd name="T54" fmla="*/ 36 w 154"/>
                <a:gd name="T55" fmla="*/ 54 h 73"/>
                <a:gd name="T56" fmla="*/ 36 w 154"/>
                <a:gd name="T57" fmla="*/ 54 h 73"/>
                <a:gd name="T58" fmla="*/ 36 w 154"/>
                <a:gd name="T59" fmla="*/ 54 h 73"/>
                <a:gd name="T60" fmla="*/ 33 w 154"/>
                <a:gd name="T61" fmla="*/ 57 h 73"/>
                <a:gd name="T62" fmla="*/ 33 w 154"/>
                <a:gd name="T63" fmla="*/ 57 h 73"/>
                <a:gd name="T64" fmla="*/ 33 w 154"/>
                <a:gd name="T65" fmla="*/ 57 h 73"/>
                <a:gd name="T66" fmla="*/ 31 w 154"/>
                <a:gd name="T67" fmla="*/ 57 h 73"/>
                <a:gd name="T68" fmla="*/ 31 w 154"/>
                <a:gd name="T69" fmla="*/ 57 h 73"/>
                <a:gd name="T70" fmla="*/ 31 w 154"/>
                <a:gd name="T71" fmla="*/ 57 h 73"/>
                <a:gd name="T72" fmla="*/ 28 w 154"/>
                <a:gd name="T73" fmla="*/ 57 h 73"/>
                <a:gd name="T74" fmla="*/ 28 w 154"/>
                <a:gd name="T75" fmla="*/ 57 h 73"/>
                <a:gd name="T76" fmla="*/ 28 w 154"/>
                <a:gd name="T77" fmla="*/ 57 h 73"/>
                <a:gd name="T78" fmla="*/ 26 w 154"/>
                <a:gd name="T79" fmla="*/ 54 h 73"/>
                <a:gd name="T80" fmla="*/ 26 w 154"/>
                <a:gd name="T81" fmla="*/ 52 h 73"/>
                <a:gd name="T82" fmla="*/ 28 w 154"/>
                <a:gd name="T83" fmla="*/ 52 h 73"/>
                <a:gd name="T84" fmla="*/ 28 w 154"/>
                <a:gd name="T85" fmla="*/ 50 h 73"/>
                <a:gd name="T86" fmla="*/ 28 w 154"/>
                <a:gd name="T87" fmla="*/ 50 h 73"/>
                <a:gd name="T88" fmla="*/ 142 w 154"/>
                <a:gd name="T89" fmla="*/ 26 h 73"/>
                <a:gd name="T90" fmla="*/ 142 w 154"/>
                <a:gd name="T91" fmla="*/ 28 h 73"/>
                <a:gd name="T92" fmla="*/ 142 w 154"/>
                <a:gd name="T93" fmla="*/ 26 h 73"/>
                <a:gd name="T94" fmla="*/ 154 w 154"/>
                <a:gd name="T95" fmla="*/ 5 h 73"/>
                <a:gd name="T96" fmla="*/ 154 w 154"/>
                <a:gd name="T97" fmla="*/ 5 h 73"/>
                <a:gd name="T98" fmla="*/ 154 w 154"/>
                <a:gd name="T99" fmla="*/ 7 h 73"/>
                <a:gd name="T100" fmla="*/ 152 w 154"/>
                <a:gd name="T101" fmla="*/ 7 h 73"/>
                <a:gd name="T102" fmla="*/ 152 w 154"/>
                <a:gd name="T103" fmla="*/ 7 h 73"/>
                <a:gd name="T104" fmla="*/ 152 w 154"/>
                <a:gd name="T105" fmla="*/ 7 h 73"/>
                <a:gd name="T106" fmla="*/ 154 w 154"/>
                <a:gd name="T107" fmla="*/ 5 h 73"/>
                <a:gd name="T108" fmla="*/ 154 w 154"/>
                <a:gd name="T109" fmla="*/ 5 h 73"/>
                <a:gd name="T110" fmla="*/ 152 w 154"/>
                <a:gd name="T111" fmla="*/ 5 h 73"/>
                <a:gd name="T112" fmla="*/ 152 w 154"/>
                <a:gd name="T113" fmla="*/ 5 h 73"/>
                <a:gd name="T114" fmla="*/ 154 w 154"/>
                <a:gd name="T115" fmla="*/ 0 h 73"/>
                <a:gd name="T116" fmla="*/ 152 w 154"/>
                <a:gd name="T117" fmla="*/ 0 h 73"/>
                <a:gd name="T118" fmla="*/ 152 w 154"/>
                <a:gd name="T119" fmla="*/ 0 h 73"/>
                <a:gd name="T120" fmla="*/ 154 w 154"/>
                <a:gd name="T1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 h="73">
                  <a:moveTo>
                    <a:pt x="7" y="66"/>
                  </a:moveTo>
                  <a:lnTo>
                    <a:pt x="7" y="66"/>
                  </a:lnTo>
                  <a:lnTo>
                    <a:pt x="7"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9"/>
                  </a:lnTo>
                  <a:lnTo>
                    <a:pt x="9" y="69"/>
                  </a:lnTo>
                  <a:lnTo>
                    <a:pt x="9" y="69"/>
                  </a:lnTo>
                  <a:lnTo>
                    <a:pt x="9" y="69"/>
                  </a:lnTo>
                  <a:lnTo>
                    <a:pt x="9" y="69"/>
                  </a:lnTo>
                  <a:lnTo>
                    <a:pt x="9" y="69"/>
                  </a:lnTo>
                  <a:lnTo>
                    <a:pt x="9" y="69"/>
                  </a:lnTo>
                  <a:lnTo>
                    <a:pt x="9" y="69"/>
                  </a:lnTo>
                  <a:lnTo>
                    <a:pt x="9" y="69"/>
                  </a:lnTo>
                  <a:lnTo>
                    <a:pt x="7" y="69"/>
                  </a:lnTo>
                  <a:lnTo>
                    <a:pt x="7" y="69"/>
                  </a:lnTo>
                  <a:lnTo>
                    <a:pt x="7" y="69"/>
                  </a:lnTo>
                  <a:lnTo>
                    <a:pt x="7" y="69"/>
                  </a:lnTo>
                  <a:lnTo>
                    <a:pt x="7" y="69"/>
                  </a:lnTo>
                  <a:lnTo>
                    <a:pt x="7" y="69"/>
                  </a:lnTo>
                  <a:lnTo>
                    <a:pt x="7" y="69"/>
                  </a:lnTo>
                  <a:lnTo>
                    <a:pt x="7" y="69"/>
                  </a:lnTo>
                  <a:lnTo>
                    <a:pt x="7" y="69"/>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3"/>
                  </a:lnTo>
                  <a:lnTo>
                    <a:pt x="7" y="73"/>
                  </a:lnTo>
                  <a:lnTo>
                    <a:pt x="7" y="73"/>
                  </a:lnTo>
                  <a:lnTo>
                    <a:pt x="7" y="73"/>
                  </a:lnTo>
                  <a:lnTo>
                    <a:pt x="7" y="73"/>
                  </a:lnTo>
                  <a:lnTo>
                    <a:pt x="7" y="73"/>
                  </a:lnTo>
                  <a:lnTo>
                    <a:pt x="7" y="73"/>
                  </a:lnTo>
                  <a:lnTo>
                    <a:pt x="7" y="73"/>
                  </a:lnTo>
                  <a:lnTo>
                    <a:pt x="7" y="73"/>
                  </a:lnTo>
                  <a:lnTo>
                    <a:pt x="7"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1"/>
                  </a:lnTo>
                  <a:lnTo>
                    <a:pt x="5" y="71"/>
                  </a:lnTo>
                  <a:lnTo>
                    <a:pt x="2" y="71"/>
                  </a:lnTo>
                  <a:lnTo>
                    <a:pt x="2" y="71"/>
                  </a:lnTo>
                  <a:lnTo>
                    <a:pt x="2" y="71"/>
                  </a:lnTo>
                  <a:lnTo>
                    <a:pt x="2" y="71"/>
                  </a:lnTo>
                  <a:lnTo>
                    <a:pt x="2" y="71"/>
                  </a:lnTo>
                  <a:lnTo>
                    <a:pt x="2" y="71"/>
                  </a:lnTo>
                  <a:lnTo>
                    <a:pt x="2" y="71"/>
                  </a:lnTo>
                  <a:lnTo>
                    <a:pt x="2" y="71"/>
                  </a:lnTo>
                  <a:lnTo>
                    <a:pt x="2" y="71"/>
                  </a:lnTo>
                  <a:lnTo>
                    <a:pt x="2" y="71"/>
                  </a:lnTo>
                  <a:lnTo>
                    <a:pt x="0" y="71"/>
                  </a:lnTo>
                  <a:lnTo>
                    <a:pt x="0" y="71"/>
                  </a:lnTo>
                  <a:lnTo>
                    <a:pt x="0" y="71"/>
                  </a:lnTo>
                  <a:lnTo>
                    <a:pt x="0" y="71"/>
                  </a:lnTo>
                  <a:lnTo>
                    <a:pt x="0" y="71"/>
                  </a:lnTo>
                  <a:lnTo>
                    <a:pt x="0" y="71"/>
                  </a:lnTo>
                  <a:lnTo>
                    <a:pt x="0" y="71"/>
                  </a:lnTo>
                  <a:lnTo>
                    <a:pt x="0" y="71"/>
                  </a:lnTo>
                  <a:lnTo>
                    <a:pt x="0" y="71"/>
                  </a:lnTo>
                  <a:lnTo>
                    <a:pt x="0" y="71"/>
                  </a:lnTo>
                  <a:lnTo>
                    <a:pt x="0" y="71"/>
                  </a:lnTo>
                  <a:lnTo>
                    <a:pt x="0" y="71"/>
                  </a:lnTo>
                  <a:lnTo>
                    <a:pt x="0" y="71"/>
                  </a:lnTo>
                  <a:lnTo>
                    <a:pt x="0" y="71"/>
                  </a:lnTo>
                  <a:lnTo>
                    <a:pt x="0" y="69"/>
                  </a:lnTo>
                  <a:lnTo>
                    <a:pt x="0" y="69"/>
                  </a:lnTo>
                  <a:lnTo>
                    <a:pt x="0" y="69"/>
                  </a:lnTo>
                  <a:lnTo>
                    <a:pt x="0" y="69"/>
                  </a:lnTo>
                  <a:lnTo>
                    <a:pt x="0" y="69"/>
                  </a:lnTo>
                  <a:lnTo>
                    <a:pt x="0" y="69"/>
                  </a:lnTo>
                  <a:lnTo>
                    <a:pt x="0" y="69"/>
                  </a:lnTo>
                  <a:lnTo>
                    <a:pt x="0" y="69"/>
                  </a:lnTo>
                  <a:lnTo>
                    <a:pt x="0" y="69"/>
                  </a:lnTo>
                  <a:lnTo>
                    <a:pt x="0" y="69"/>
                  </a:lnTo>
                  <a:lnTo>
                    <a:pt x="0" y="69"/>
                  </a:lnTo>
                  <a:lnTo>
                    <a:pt x="0" y="69"/>
                  </a:lnTo>
                  <a:lnTo>
                    <a:pt x="0" y="69"/>
                  </a:lnTo>
                  <a:lnTo>
                    <a:pt x="2" y="69"/>
                  </a:lnTo>
                  <a:lnTo>
                    <a:pt x="2" y="69"/>
                  </a:lnTo>
                  <a:lnTo>
                    <a:pt x="2" y="69"/>
                  </a:lnTo>
                  <a:lnTo>
                    <a:pt x="2" y="69"/>
                  </a:lnTo>
                  <a:lnTo>
                    <a:pt x="2" y="69"/>
                  </a:lnTo>
                  <a:lnTo>
                    <a:pt x="2" y="69"/>
                  </a:lnTo>
                  <a:lnTo>
                    <a:pt x="2" y="69"/>
                  </a:lnTo>
                  <a:lnTo>
                    <a:pt x="2" y="69"/>
                  </a:lnTo>
                  <a:lnTo>
                    <a:pt x="2" y="69"/>
                  </a:lnTo>
                  <a:lnTo>
                    <a:pt x="2" y="69"/>
                  </a:lnTo>
                  <a:lnTo>
                    <a:pt x="5" y="69"/>
                  </a:lnTo>
                  <a:lnTo>
                    <a:pt x="5" y="69"/>
                  </a:lnTo>
                  <a:lnTo>
                    <a:pt x="5" y="69"/>
                  </a:lnTo>
                  <a:lnTo>
                    <a:pt x="5" y="69"/>
                  </a:lnTo>
                  <a:lnTo>
                    <a:pt x="5" y="69"/>
                  </a:lnTo>
                  <a:lnTo>
                    <a:pt x="5" y="69"/>
                  </a:lnTo>
                  <a:lnTo>
                    <a:pt x="5" y="69"/>
                  </a:lnTo>
                  <a:lnTo>
                    <a:pt x="5" y="69"/>
                  </a:lnTo>
                  <a:lnTo>
                    <a:pt x="5" y="69"/>
                  </a:lnTo>
                  <a:lnTo>
                    <a:pt x="5" y="69"/>
                  </a:lnTo>
                  <a:lnTo>
                    <a:pt x="5" y="69"/>
                  </a:lnTo>
                  <a:lnTo>
                    <a:pt x="5" y="69"/>
                  </a:lnTo>
                  <a:lnTo>
                    <a:pt x="5" y="66"/>
                  </a:lnTo>
                  <a:lnTo>
                    <a:pt x="5" y="66"/>
                  </a:lnTo>
                  <a:lnTo>
                    <a:pt x="5" y="66"/>
                  </a:lnTo>
                  <a:lnTo>
                    <a:pt x="5" y="66"/>
                  </a:lnTo>
                  <a:lnTo>
                    <a:pt x="5" y="66"/>
                  </a:lnTo>
                  <a:lnTo>
                    <a:pt x="5" y="66"/>
                  </a:lnTo>
                  <a:lnTo>
                    <a:pt x="5" y="66"/>
                  </a:lnTo>
                  <a:lnTo>
                    <a:pt x="5" y="66"/>
                  </a:lnTo>
                  <a:lnTo>
                    <a:pt x="5" y="66"/>
                  </a:lnTo>
                  <a:lnTo>
                    <a:pt x="5" y="66"/>
                  </a:lnTo>
                  <a:lnTo>
                    <a:pt x="5" y="66"/>
                  </a:lnTo>
                  <a:lnTo>
                    <a:pt x="5" y="66"/>
                  </a:lnTo>
                  <a:lnTo>
                    <a:pt x="5"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close/>
                  <a:moveTo>
                    <a:pt x="28" y="50"/>
                  </a:moveTo>
                  <a:lnTo>
                    <a:pt x="28"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6" y="52"/>
                  </a:lnTo>
                  <a:lnTo>
                    <a:pt x="36" y="52"/>
                  </a:lnTo>
                  <a:lnTo>
                    <a:pt x="36" y="52"/>
                  </a:lnTo>
                  <a:lnTo>
                    <a:pt x="36" y="52"/>
                  </a:lnTo>
                  <a:lnTo>
                    <a:pt x="36" y="52"/>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1" y="57"/>
                  </a:lnTo>
                  <a:lnTo>
                    <a:pt x="31" y="57"/>
                  </a:lnTo>
                  <a:lnTo>
                    <a:pt x="31" y="57"/>
                  </a:lnTo>
                  <a:lnTo>
                    <a:pt x="31" y="57"/>
                  </a:lnTo>
                  <a:lnTo>
                    <a:pt x="31" y="57"/>
                  </a:lnTo>
                  <a:lnTo>
                    <a:pt x="31" y="57"/>
                  </a:lnTo>
                  <a:lnTo>
                    <a:pt x="31" y="57"/>
                  </a:lnTo>
                  <a:lnTo>
                    <a:pt x="31" y="57"/>
                  </a:lnTo>
                  <a:lnTo>
                    <a:pt x="31" y="57"/>
                  </a:lnTo>
                  <a:lnTo>
                    <a:pt x="31" y="57"/>
                  </a:lnTo>
                  <a:lnTo>
                    <a:pt x="31" y="57"/>
                  </a:lnTo>
                  <a:lnTo>
                    <a:pt x="31" y="57"/>
                  </a:lnTo>
                  <a:lnTo>
                    <a:pt x="31" y="59"/>
                  </a:lnTo>
                  <a:lnTo>
                    <a:pt x="31" y="59"/>
                  </a:lnTo>
                  <a:lnTo>
                    <a:pt x="31" y="59"/>
                  </a:lnTo>
                  <a:lnTo>
                    <a:pt x="31" y="57"/>
                  </a:lnTo>
                  <a:lnTo>
                    <a:pt x="31" y="57"/>
                  </a:lnTo>
                  <a:lnTo>
                    <a:pt x="31" y="57"/>
                  </a:lnTo>
                  <a:lnTo>
                    <a:pt x="31"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4"/>
                  </a:lnTo>
                  <a:lnTo>
                    <a:pt x="26" y="54"/>
                  </a:lnTo>
                  <a:lnTo>
                    <a:pt x="26" y="54"/>
                  </a:lnTo>
                  <a:lnTo>
                    <a:pt x="26" y="54"/>
                  </a:lnTo>
                  <a:lnTo>
                    <a:pt x="26" y="54"/>
                  </a:lnTo>
                  <a:lnTo>
                    <a:pt x="26" y="54"/>
                  </a:lnTo>
                  <a:lnTo>
                    <a:pt x="26" y="54"/>
                  </a:lnTo>
                  <a:lnTo>
                    <a:pt x="26" y="54"/>
                  </a:lnTo>
                  <a:lnTo>
                    <a:pt x="26" y="54"/>
                  </a:lnTo>
                  <a:lnTo>
                    <a:pt x="26" y="54"/>
                  </a:lnTo>
                  <a:lnTo>
                    <a:pt x="26" y="54"/>
                  </a:lnTo>
                  <a:lnTo>
                    <a:pt x="26" y="54"/>
                  </a:lnTo>
                  <a:lnTo>
                    <a:pt x="26" y="54"/>
                  </a:lnTo>
                  <a:lnTo>
                    <a:pt x="26" y="52"/>
                  </a:lnTo>
                  <a:lnTo>
                    <a:pt x="26" y="52"/>
                  </a:lnTo>
                  <a:lnTo>
                    <a:pt x="26" y="52"/>
                  </a:lnTo>
                  <a:lnTo>
                    <a:pt x="26" y="52"/>
                  </a:lnTo>
                  <a:lnTo>
                    <a:pt x="26" y="52"/>
                  </a:lnTo>
                  <a:lnTo>
                    <a:pt x="26" y="52"/>
                  </a:lnTo>
                  <a:lnTo>
                    <a:pt x="26" y="52"/>
                  </a:lnTo>
                  <a:lnTo>
                    <a:pt x="26" y="52"/>
                  </a:lnTo>
                  <a:lnTo>
                    <a:pt x="26" y="52"/>
                  </a:lnTo>
                  <a:lnTo>
                    <a:pt x="26" y="52"/>
                  </a:lnTo>
                  <a:lnTo>
                    <a:pt x="28" y="52"/>
                  </a:lnTo>
                  <a:lnTo>
                    <a:pt x="28" y="52"/>
                  </a:lnTo>
                  <a:lnTo>
                    <a:pt x="28" y="52"/>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close/>
                  <a:moveTo>
                    <a:pt x="142" y="26"/>
                  </a:moveTo>
                  <a:lnTo>
                    <a:pt x="142" y="26"/>
                  </a:lnTo>
                  <a:lnTo>
                    <a:pt x="142" y="26"/>
                  </a:lnTo>
                  <a:lnTo>
                    <a:pt x="142" y="28"/>
                  </a:lnTo>
                  <a:lnTo>
                    <a:pt x="142" y="28"/>
                  </a:lnTo>
                  <a:lnTo>
                    <a:pt x="142" y="28"/>
                  </a:lnTo>
                  <a:lnTo>
                    <a:pt x="142" y="28"/>
                  </a:lnTo>
                  <a:lnTo>
                    <a:pt x="142" y="28"/>
                  </a:lnTo>
                  <a:lnTo>
                    <a:pt x="142" y="28"/>
                  </a:lnTo>
                  <a:lnTo>
                    <a:pt x="142" y="28"/>
                  </a:lnTo>
                  <a:lnTo>
                    <a:pt x="142" y="28"/>
                  </a:lnTo>
                  <a:lnTo>
                    <a:pt x="142" y="28"/>
                  </a:lnTo>
                  <a:lnTo>
                    <a:pt x="142" y="28"/>
                  </a:lnTo>
                  <a:lnTo>
                    <a:pt x="142" y="28"/>
                  </a:lnTo>
                  <a:lnTo>
                    <a:pt x="142" y="28"/>
                  </a:lnTo>
                  <a:lnTo>
                    <a:pt x="142" y="26"/>
                  </a:lnTo>
                  <a:lnTo>
                    <a:pt x="142" y="26"/>
                  </a:lnTo>
                  <a:lnTo>
                    <a:pt x="142" y="26"/>
                  </a:lnTo>
                  <a:lnTo>
                    <a:pt x="142" y="26"/>
                  </a:lnTo>
                  <a:lnTo>
                    <a:pt x="142" y="26"/>
                  </a:lnTo>
                  <a:lnTo>
                    <a:pt x="142" y="26"/>
                  </a:lnTo>
                  <a:lnTo>
                    <a:pt x="142" y="26"/>
                  </a:lnTo>
                  <a:lnTo>
                    <a:pt x="142" y="26"/>
                  </a:lnTo>
                  <a:lnTo>
                    <a:pt x="142" y="26"/>
                  </a:lnTo>
                  <a:close/>
                  <a:moveTo>
                    <a:pt x="154" y="5"/>
                  </a:moveTo>
                  <a:lnTo>
                    <a:pt x="154" y="5"/>
                  </a:lnTo>
                  <a:lnTo>
                    <a:pt x="154" y="5"/>
                  </a:lnTo>
                  <a:lnTo>
                    <a:pt x="154" y="5"/>
                  </a:lnTo>
                  <a:lnTo>
                    <a:pt x="154" y="5"/>
                  </a:lnTo>
                  <a:lnTo>
                    <a:pt x="154" y="5"/>
                  </a:lnTo>
                  <a:lnTo>
                    <a:pt x="154" y="5"/>
                  </a:lnTo>
                  <a:lnTo>
                    <a:pt x="154" y="5"/>
                  </a:lnTo>
                  <a:lnTo>
                    <a:pt x="154" y="5"/>
                  </a:lnTo>
                  <a:lnTo>
                    <a:pt x="154" y="5"/>
                  </a:lnTo>
                  <a:lnTo>
                    <a:pt x="154" y="5"/>
                  </a:lnTo>
                  <a:lnTo>
                    <a:pt x="154" y="5"/>
                  </a:lnTo>
                  <a:lnTo>
                    <a:pt x="154" y="5"/>
                  </a:lnTo>
                  <a:lnTo>
                    <a:pt x="154" y="7"/>
                  </a:lnTo>
                  <a:lnTo>
                    <a:pt x="154" y="7"/>
                  </a:lnTo>
                  <a:lnTo>
                    <a:pt x="154" y="7"/>
                  </a:lnTo>
                  <a:lnTo>
                    <a:pt x="154" y="7"/>
                  </a:lnTo>
                  <a:lnTo>
                    <a:pt x="154" y="7"/>
                  </a:lnTo>
                  <a:lnTo>
                    <a:pt x="154" y="7"/>
                  </a:lnTo>
                  <a:lnTo>
                    <a:pt x="154" y="7"/>
                  </a:lnTo>
                  <a:lnTo>
                    <a:pt x="154" y="7"/>
                  </a:lnTo>
                  <a:lnTo>
                    <a:pt x="154" y="7"/>
                  </a:lnTo>
                  <a:lnTo>
                    <a:pt x="154" y="7"/>
                  </a:lnTo>
                  <a:lnTo>
                    <a:pt x="154"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5"/>
                  </a:lnTo>
                  <a:lnTo>
                    <a:pt x="152" y="5"/>
                  </a:lnTo>
                  <a:lnTo>
                    <a:pt x="152" y="5"/>
                  </a:lnTo>
                  <a:lnTo>
                    <a:pt x="152" y="5"/>
                  </a:lnTo>
                  <a:lnTo>
                    <a:pt x="154" y="5"/>
                  </a:lnTo>
                  <a:lnTo>
                    <a:pt x="154" y="5"/>
                  </a:lnTo>
                  <a:lnTo>
                    <a:pt x="154" y="5"/>
                  </a:lnTo>
                  <a:lnTo>
                    <a:pt x="154" y="5"/>
                  </a:lnTo>
                  <a:lnTo>
                    <a:pt x="154" y="5"/>
                  </a:lnTo>
                  <a:lnTo>
                    <a:pt x="154" y="5"/>
                  </a:lnTo>
                  <a:lnTo>
                    <a:pt x="154" y="5"/>
                  </a:lnTo>
                  <a:lnTo>
                    <a:pt x="154" y="5"/>
                  </a:lnTo>
                  <a:lnTo>
                    <a:pt x="154" y="5"/>
                  </a:lnTo>
                  <a:lnTo>
                    <a:pt x="154" y="5"/>
                  </a:lnTo>
                  <a:lnTo>
                    <a:pt x="154" y="5"/>
                  </a:lnTo>
                  <a:lnTo>
                    <a:pt x="154" y="5"/>
                  </a:lnTo>
                  <a:close/>
                  <a:moveTo>
                    <a:pt x="152" y="5"/>
                  </a:move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close/>
                  <a:moveTo>
                    <a:pt x="154" y="0"/>
                  </a:moveTo>
                  <a:lnTo>
                    <a:pt x="154" y="0"/>
                  </a:lnTo>
                  <a:lnTo>
                    <a:pt x="154" y="0"/>
                  </a:lnTo>
                  <a:lnTo>
                    <a:pt x="154" y="0"/>
                  </a:lnTo>
                  <a:lnTo>
                    <a:pt x="154" y="0"/>
                  </a:lnTo>
                  <a:lnTo>
                    <a:pt x="154" y="0"/>
                  </a:lnTo>
                  <a:lnTo>
                    <a:pt x="154" y="0"/>
                  </a:lnTo>
                  <a:lnTo>
                    <a:pt x="154" y="0"/>
                  </a:lnTo>
                  <a:lnTo>
                    <a:pt x="154" y="0"/>
                  </a:lnTo>
                  <a:lnTo>
                    <a:pt x="154" y="0"/>
                  </a:lnTo>
                  <a:lnTo>
                    <a:pt x="154" y="0"/>
                  </a:lnTo>
                  <a:lnTo>
                    <a:pt x="154" y="0"/>
                  </a:lnTo>
                  <a:lnTo>
                    <a:pt x="154" y="0"/>
                  </a:lnTo>
                  <a:lnTo>
                    <a:pt x="154" y="0"/>
                  </a:lnTo>
                  <a:lnTo>
                    <a:pt x="152" y="0"/>
                  </a:lnTo>
                  <a:lnTo>
                    <a:pt x="152" y="0"/>
                  </a:lnTo>
                  <a:lnTo>
                    <a:pt x="152" y="0"/>
                  </a:lnTo>
                  <a:lnTo>
                    <a:pt x="152" y="0"/>
                  </a:lnTo>
                  <a:lnTo>
                    <a:pt x="152" y="0"/>
                  </a:lnTo>
                  <a:lnTo>
                    <a:pt x="152" y="0"/>
                  </a:lnTo>
                  <a:lnTo>
                    <a:pt x="152" y="0"/>
                  </a:lnTo>
                  <a:lnTo>
                    <a:pt x="152" y="0"/>
                  </a:lnTo>
                  <a:lnTo>
                    <a:pt x="152" y="0"/>
                  </a:lnTo>
                  <a:lnTo>
                    <a:pt x="152" y="0"/>
                  </a:lnTo>
                  <a:lnTo>
                    <a:pt x="152" y="0"/>
                  </a:lnTo>
                  <a:lnTo>
                    <a:pt x="154" y="0"/>
                  </a:lnTo>
                  <a:lnTo>
                    <a:pt x="154" y="0"/>
                  </a:lnTo>
                  <a:lnTo>
                    <a:pt x="154" y="0"/>
                  </a:lnTo>
                  <a:lnTo>
                    <a:pt x="154" y="0"/>
                  </a:lnTo>
                  <a:lnTo>
                    <a:pt x="154" y="0"/>
                  </a:lnTo>
                  <a:lnTo>
                    <a:pt x="154" y="0"/>
                  </a:lnTo>
                  <a:lnTo>
                    <a:pt x="154" y="0"/>
                  </a:lnTo>
                  <a:lnTo>
                    <a:pt x="15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3" name="Freeform 57951"/>
            <p:cNvSpPr>
              <a:spLocks noEditPoints="1"/>
            </p:cNvSpPr>
            <p:nvPr/>
          </p:nvSpPr>
          <p:spPr bwMode="auto">
            <a:xfrm>
              <a:off x="1177924" y="6183331"/>
              <a:ext cx="139700" cy="90488"/>
            </a:xfrm>
            <a:custGeom>
              <a:avLst/>
              <a:gdLst>
                <a:gd name="T0" fmla="*/ 28 w 88"/>
                <a:gd name="T1" fmla="*/ 57 h 57"/>
                <a:gd name="T2" fmla="*/ 28 w 88"/>
                <a:gd name="T3" fmla="*/ 57 h 57"/>
                <a:gd name="T4" fmla="*/ 28 w 88"/>
                <a:gd name="T5" fmla="*/ 57 h 57"/>
                <a:gd name="T6" fmla="*/ 28 w 88"/>
                <a:gd name="T7" fmla="*/ 57 h 57"/>
                <a:gd name="T8" fmla="*/ 28 w 88"/>
                <a:gd name="T9" fmla="*/ 57 h 57"/>
                <a:gd name="T10" fmla="*/ 57 w 88"/>
                <a:gd name="T11" fmla="*/ 55 h 57"/>
                <a:gd name="T12" fmla="*/ 57 w 88"/>
                <a:gd name="T13" fmla="*/ 55 h 57"/>
                <a:gd name="T14" fmla="*/ 57 w 88"/>
                <a:gd name="T15" fmla="*/ 55 h 57"/>
                <a:gd name="T16" fmla="*/ 57 w 88"/>
                <a:gd name="T17" fmla="*/ 55 h 57"/>
                <a:gd name="T18" fmla="*/ 57 w 88"/>
                <a:gd name="T19" fmla="*/ 55 h 57"/>
                <a:gd name="T20" fmla="*/ 26 w 88"/>
                <a:gd name="T21" fmla="*/ 52 h 57"/>
                <a:gd name="T22" fmla="*/ 26 w 88"/>
                <a:gd name="T23" fmla="*/ 52 h 57"/>
                <a:gd name="T24" fmla="*/ 26 w 88"/>
                <a:gd name="T25" fmla="*/ 52 h 57"/>
                <a:gd name="T26" fmla="*/ 26 w 88"/>
                <a:gd name="T27" fmla="*/ 52 h 57"/>
                <a:gd name="T28" fmla="*/ 26 w 88"/>
                <a:gd name="T29" fmla="*/ 52 h 57"/>
                <a:gd name="T30" fmla="*/ 26 w 88"/>
                <a:gd name="T31" fmla="*/ 52 h 57"/>
                <a:gd name="T32" fmla="*/ 26 w 88"/>
                <a:gd name="T33" fmla="*/ 50 h 57"/>
                <a:gd name="T34" fmla="*/ 26 w 88"/>
                <a:gd name="T35" fmla="*/ 50 h 57"/>
                <a:gd name="T36" fmla="*/ 26 w 88"/>
                <a:gd name="T37" fmla="*/ 50 h 57"/>
                <a:gd name="T38" fmla="*/ 26 w 88"/>
                <a:gd name="T39" fmla="*/ 50 h 57"/>
                <a:gd name="T40" fmla="*/ 26 w 88"/>
                <a:gd name="T41" fmla="*/ 50 h 57"/>
                <a:gd name="T42" fmla="*/ 0 w 88"/>
                <a:gd name="T43" fmla="*/ 38 h 57"/>
                <a:gd name="T44" fmla="*/ 0 w 88"/>
                <a:gd name="T45" fmla="*/ 38 h 57"/>
                <a:gd name="T46" fmla="*/ 0 w 88"/>
                <a:gd name="T47" fmla="*/ 38 h 57"/>
                <a:gd name="T48" fmla="*/ 0 w 88"/>
                <a:gd name="T49" fmla="*/ 38 h 57"/>
                <a:gd name="T50" fmla="*/ 0 w 88"/>
                <a:gd name="T51" fmla="*/ 38 h 57"/>
                <a:gd name="T52" fmla="*/ 0 w 88"/>
                <a:gd name="T53" fmla="*/ 36 h 57"/>
                <a:gd name="T54" fmla="*/ 0 w 88"/>
                <a:gd name="T55" fmla="*/ 36 h 57"/>
                <a:gd name="T56" fmla="*/ 0 w 88"/>
                <a:gd name="T57" fmla="*/ 36 h 57"/>
                <a:gd name="T58" fmla="*/ 0 w 88"/>
                <a:gd name="T59" fmla="*/ 36 h 57"/>
                <a:gd name="T60" fmla="*/ 0 w 88"/>
                <a:gd name="T61" fmla="*/ 36 h 57"/>
                <a:gd name="T62" fmla="*/ 0 w 88"/>
                <a:gd name="T63" fmla="*/ 36 h 57"/>
                <a:gd name="T64" fmla="*/ 2 w 88"/>
                <a:gd name="T65" fmla="*/ 31 h 57"/>
                <a:gd name="T66" fmla="*/ 2 w 88"/>
                <a:gd name="T67" fmla="*/ 31 h 57"/>
                <a:gd name="T68" fmla="*/ 2 w 88"/>
                <a:gd name="T69" fmla="*/ 31 h 57"/>
                <a:gd name="T70" fmla="*/ 2 w 88"/>
                <a:gd name="T71" fmla="*/ 31 h 57"/>
                <a:gd name="T72" fmla="*/ 2 w 88"/>
                <a:gd name="T73" fmla="*/ 31 h 57"/>
                <a:gd name="T74" fmla="*/ 88 w 88"/>
                <a:gd name="T75" fmla="*/ 0 h 57"/>
                <a:gd name="T76" fmla="*/ 88 w 88"/>
                <a:gd name="T77" fmla="*/ 0 h 57"/>
                <a:gd name="T78" fmla="*/ 88 w 88"/>
                <a:gd name="T79" fmla="*/ 0 h 57"/>
                <a:gd name="T80" fmla="*/ 88 w 88"/>
                <a:gd name="T81" fmla="*/ 0 h 57"/>
                <a:gd name="T82" fmla="*/ 88 w 88"/>
                <a:gd name="T8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57">
                  <a:moveTo>
                    <a:pt x="28" y="57"/>
                  </a:moveTo>
                  <a:lnTo>
                    <a:pt x="28" y="57"/>
                  </a:lnTo>
                  <a:lnTo>
                    <a:pt x="28" y="57"/>
                  </a:lnTo>
                  <a:lnTo>
                    <a:pt x="28" y="57"/>
                  </a:lnTo>
                  <a:lnTo>
                    <a:pt x="28" y="57"/>
                  </a:lnTo>
                  <a:close/>
                  <a:moveTo>
                    <a:pt x="57" y="55"/>
                  </a:moveTo>
                  <a:lnTo>
                    <a:pt x="57" y="55"/>
                  </a:lnTo>
                  <a:lnTo>
                    <a:pt x="57" y="55"/>
                  </a:lnTo>
                  <a:lnTo>
                    <a:pt x="57" y="55"/>
                  </a:lnTo>
                  <a:lnTo>
                    <a:pt x="57" y="55"/>
                  </a:lnTo>
                  <a:close/>
                  <a:moveTo>
                    <a:pt x="26" y="52"/>
                  </a:moveTo>
                  <a:lnTo>
                    <a:pt x="26" y="52"/>
                  </a:lnTo>
                  <a:lnTo>
                    <a:pt x="26" y="52"/>
                  </a:lnTo>
                  <a:lnTo>
                    <a:pt x="26" y="52"/>
                  </a:lnTo>
                  <a:lnTo>
                    <a:pt x="26" y="52"/>
                  </a:lnTo>
                  <a:lnTo>
                    <a:pt x="26" y="52"/>
                  </a:lnTo>
                  <a:close/>
                  <a:moveTo>
                    <a:pt x="26" y="50"/>
                  </a:moveTo>
                  <a:lnTo>
                    <a:pt x="26" y="50"/>
                  </a:lnTo>
                  <a:lnTo>
                    <a:pt x="26" y="50"/>
                  </a:lnTo>
                  <a:lnTo>
                    <a:pt x="26" y="50"/>
                  </a:lnTo>
                  <a:lnTo>
                    <a:pt x="26" y="50"/>
                  </a:lnTo>
                  <a:close/>
                  <a:moveTo>
                    <a:pt x="0" y="38"/>
                  </a:moveTo>
                  <a:lnTo>
                    <a:pt x="0" y="38"/>
                  </a:lnTo>
                  <a:lnTo>
                    <a:pt x="0" y="38"/>
                  </a:lnTo>
                  <a:lnTo>
                    <a:pt x="0" y="38"/>
                  </a:lnTo>
                  <a:lnTo>
                    <a:pt x="0" y="38"/>
                  </a:lnTo>
                  <a:close/>
                  <a:moveTo>
                    <a:pt x="0" y="36"/>
                  </a:moveTo>
                  <a:lnTo>
                    <a:pt x="0" y="36"/>
                  </a:lnTo>
                  <a:lnTo>
                    <a:pt x="0" y="36"/>
                  </a:lnTo>
                  <a:lnTo>
                    <a:pt x="0" y="36"/>
                  </a:lnTo>
                  <a:lnTo>
                    <a:pt x="0" y="36"/>
                  </a:lnTo>
                  <a:lnTo>
                    <a:pt x="0" y="36"/>
                  </a:lnTo>
                  <a:close/>
                  <a:moveTo>
                    <a:pt x="2" y="31"/>
                  </a:moveTo>
                  <a:lnTo>
                    <a:pt x="2" y="31"/>
                  </a:lnTo>
                  <a:lnTo>
                    <a:pt x="2" y="31"/>
                  </a:lnTo>
                  <a:lnTo>
                    <a:pt x="2" y="31"/>
                  </a:lnTo>
                  <a:lnTo>
                    <a:pt x="2" y="31"/>
                  </a:lnTo>
                  <a:close/>
                  <a:moveTo>
                    <a:pt x="88" y="0"/>
                  </a:moveTo>
                  <a:lnTo>
                    <a:pt x="88" y="0"/>
                  </a:lnTo>
                  <a:lnTo>
                    <a:pt x="88" y="0"/>
                  </a:lnTo>
                  <a:lnTo>
                    <a:pt x="88" y="0"/>
                  </a:lnTo>
                  <a:lnTo>
                    <a:pt x="8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4" name="Freeform 57952"/>
            <p:cNvSpPr>
              <a:spLocks noEditPoints="1"/>
            </p:cNvSpPr>
            <p:nvPr/>
          </p:nvSpPr>
          <p:spPr bwMode="auto">
            <a:xfrm>
              <a:off x="1897060" y="5783280"/>
              <a:ext cx="4763" cy="0"/>
            </a:xfrm>
            <a:custGeom>
              <a:avLst/>
              <a:gdLst>
                <a:gd name="T0" fmla="*/ 3 w 3"/>
                <a:gd name="T1" fmla="*/ 3 w 3"/>
                <a:gd name="T2" fmla="*/ 3 w 3"/>
                <a:gd name="T3" fmla="*/ 0 w 3"/>
                <a:gd name="T4" fmla="*/ 0 w 3"/>
                <a:gd name="T5" fmla="*/ 0 w 3"/>
                <a:gd name="T6" fmla="*/ 0 w 3"/>
                <a:gd name="T7" fmla="*/ 0 w 3"/>
                <a:gd name="T8" fmla="*/ 3 w 3"/>
                <a:gd name="T9" fmla="*/ 3 w 3"/>
                <a:gd name="T10" fmla="*/ 3 w 3"/>
                <a:gd name="T11" fmla="*/ 3 w 3"/>
                <a:gd name="T12" fmla="*/ 3 w 3"/>
                <a:gd name="T13" fmla="*/ 3 w 3"/>
                <a:gd name="T14" fmla="*/ 3 w 3"/>
                <a:gd name="T15" fmla="*/ 3 w 3"/>
                <a:gd name="T16" fmla="*/ 3 w 3"/>
                <a:gd name="T17" fmla="*/ 3 w 3"/>
                <a:gd name="T18" fmla="*/ 3 w 3"/>
                <a:gd name="T19" fmla="*/ 3 w 3"/>
                <a:gd name="T20" fmla="*/ 3 w 3"/>
                <a:gd name="T21" fmla="*/ 3 w 3"/>
                <a:gd name="T22" fmla="*/ 3 w 3"/>
                <a:gd name="T23"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Lst>
              <a:rect l="0" t="0" r="r" b="b"/>
              <a:pathLst>
                <a:path w="3">
                  <a:moveTo>
                    <a:pt x="3" y="0"/>
                  </a:moveTo>
                  <a:lnTo>
                    <a:pt x="3" y="0"/>
                  </a:lnTo>
                  <a:lnTo>
                    <a:pt x="3" y="0"/>
                  </a:lnTo>
                  <a:lnTo>
                    <a:pt x="0" y="0"/>
                  </a:lnTo>
                  <a:lnTo>
                    <a:pt x="0" y="0"/>
                  </a:lnTo>
                  <a:lnTo>
                    <a:pt x="0" y="0"/>
                  </a:lnTo>
                  <a:lnTo>
                    <a:pt x="0" y="0"/>
                  </a:lnTo>
                  <a:lnTo>
                    <a:pt x="0" y="0"/>
                  </a:lnTo>
                  <a:lnTo>
                    <a:pt x="3" y="0"/>
                  </a:lnTo>
                  <a:lnTo>
                    <a:pt x="3" y="0"/>
                  </a:lnTo>
                  <a:close/>
                  <a:moveTo>
                    <a:pt x="3" y="0"/>
                  </a:moveTo>
                  <a:lnTo>
                    <a:pt x="3" y="0"/>
                  </a:lnTo>
                  <a:lnTo>
                    <a:pt x="3" y="0"/>
                  </a:lnTo>
                  <a:lnTo>
                    <a:pt x="3" y="0"/>
                  </a:lnTo>
                  <a:lnTo>
                    <a:pt x="3" y="0"/>
                  </a:lnTo>
                  <a:lnTo>
                    <a:pt x="3" y="0"/>
                  </a:lnTo>
                  <a:lnTo>
                    <a:pt x="3" y="0"/>
                  </a:lnTo>
                  <a:close/>
                  <a:moveTo>
                    <a:pt x="3" y="0"/>
                  </a:move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5" name="Freeform 57953"/>
            <p:cNvSpPr>
              <a:spLocks noEditPoints="1"/>
            </p:cNvSpPr>
            <p:nvPr/>
          </p:nvSpPr>
          <p:spPr bwMode="auto">
            <a:xfrm>
              <a:off x="1746248" y="5730892"/>
              <a:ext cx="128588" cy="46038"/>
            </a:xfrm>
            <a:custGeom>
              <a:avLst/>
              <a:gdLst>
                <a:gd name="T0" fmla="*/ 81 w 81"/>
                <a:gd name="T1" fmla="*/ 29 h 29"/>
                <a:gd name="T2" fmla="*/ 81 w 81"/>
                <a:gd name="T3" fmla="*/ 29 h 29"/>
                <a:gd name="T4" fmla="*/ 81 w 81"/>
                <a:gd name="T5" fmla="*/ 29 h 29"/>
                <a:gd name="T6" fmla="*/ 81 w 81"/>
                <a:gd name="T7" fmla="*/ 29 h 29"/>
                <a:gd name="T8" fmla="*/ 81 w 81"/>
                <a:gd name="T9" fmla="*/ 29 h 29"/>
                <a:gd name="T10" fmla="*/ 79 w 81"/>
                <a:gd name="T11" fmla="*/ 29 h 29"/>
                <a:gd name="T12" fmla="*/ 79 w 81"/>
                <a:gd name="T13" fmla="*/ 26 h 29"/>
                <a:gd name="T14" fmla="*/ 79 w 81"/>
                <a:gd name="T15" fmla="*/ 26 h 29"/>
                <a:gd name="T16" fmla="*/ 79 w 81"/>
                <a:gd name="T17" fmla="*/ 26 h 29"/>
                <a:gd name="T18" fmla="*/ 79 w 81"/>
                <a:gd name="T19" fmla="*/ 26 h 29"/>
                <a:gd name="T20" fmla="*/ 79 w 81"/>
                <a:gd name="T21" fmla="*/ 26 h 29"/>
                <a:gd name="T22" fmla="*/ 79 w 81"/>
                <a:gd name="T23" fmla="*/ 26 h 29"/>
                <a:gd name="T24" fmla="*/ 79 w 81"/>
                <a:gd name="T25" fmla="*/ 26 h 29"/>
                <a:gd name="T26" fmla="*/ 79 w 81"/>
                <a:gd name="T27" fmla="*/ 26 h 29"/>
                <a:gd name="T28" fmla="*/ 81 w 81"/>
                <a:gd name="T29" fmla="*/ 26 h 29"/>
                <a:gd name="T30" fmla="*/ 81 w 81"/>
                <a:gd name="T31" fmla="*/ 29 h 29"/>
                <a:gd name="T32" fmla="*/ 0 w 81"/>
                <a:gd name="T33" fmla="*/ 0 h 29"/>
                <a:gd name="T34" fmla="*/ 0 w 81"/>
                <a:gd name="T35" fmla="*/ 0 h 29"/>
                <a:gd name="T36" fmla="*/ 0 w 81"/>
                <a:gd name="T37" fmla="*/ 0 h 29"/>
                <a:gd name="T38" fmla="*/ 0 w 81"/>
                <a:gd name="T39" fmla="*/ 2 h 29"/>
                <a:gd name="T40" fmla="*/ 0 w 81"/>
                <a:gd name="T41" fmla="*/ 0 h 29"/>
                <a:gd name="T42" fmla="*/ 0 w 81"/>
                <a:gd name="T43" fmla="*/ 0 h 29"/>
                <a:gd name="T44" fmla="*/ 3 w 81"/>
                <a:gd name="T45" fmla="*/ 0 h 29"/>
                <a:gd name="T46" fmla="*/ 0 w 81"/>
                <a:gd name="T47" fmla="*/ 0 h 29"/>
                <a:gd name="T48" fmla="*/ 0 w 81"/>
                <a:gd name="T49" fmla="*/ 2 h 29"/>
                <a:gd name="T50" fmla="*/ 3 w 81"/>
                <a:gd name="T51" fmla="*/ 2 h 29"/>
                <a:gd name="T52" fmla="*/ 3 w 81"/>
                <a:gd name="T53" fmla="*/ 2 h 29"/>
                <a:gd name="T54" fmla="*/ 3 w 81"/>
                <a:gd name="T55" fmla="*/ 2 h 29"/>
                <a:gd name="T56" fmla="*/ 3 w 81"/>
                <a:gd name="T57" fmla="*/ 2 h 29"/>
                <a:gd name="T58" fmla="*/ 3 w 81"/>
                <a:gd name="T59" fmla="*/ 0 h 29"/>
                <a:gd name="T60" fmla="*/ 3 w 81"/>
                <a:gd name="T61" fmla="*/ 0 h 29"/>
                <a:gd name="T62" fmla="*/ 3 w 81"/>
                <a:gd name="T63" fmla="*/ 0 h 29"/>
                <a:gd name="T64" fmla="*/ 3 w 81"/>
                <a:gd name="T65" fmla="*/ 0 h 29"/>
                <a:gd name="T66" fmla="*/ 3 w 81"/>
                <a:gd name="T67" fmla="*/ 0 h 29"/>
                <a:gd name="T68" fmla="*/ 3 w 81"/>
                <a:gd name="T69" fmla="*/ 2 h 29"/>
                <a:gd name="T70" fmla="*/ 3 w 81"/>
                <a:gd name="T71" fmla="*/ 2 h 29"/>
                <a:gd name="T72" fmla="*/ 3 w 81"/>
                <a:gd name="T73" fmla="*/ 2 h 29"/>
                <a:gd name="T74" fmla="*/ 3 w 81"/>
                <a:gd name="T75" fmla="*/ 2 h 29"/>
                <a:gd name="T76" fmla="*/ 0 w 81"/>
                <a:gd name="T77" fmla="*/ 2 h 29"/>
                <a:gd name="T78" fmla="*/ 0 w 81"/>
                <a:gd name="T79" fmla="*/ 2 h 29"/>
                <a:gd name="T80" fmla="*/ 0 w 81"/>
                <a:gd name="T81" fmla="*/ 2 h 29"/>
                <a:gd name="T82" fmla="*/ 0 w 81"/>
                <a:gd name="T83" fmla="*/ 2 h 29"/>
                <a:gd name="T84" fmla="*/ 0 w 81"/>
                <a:gd name="T85" fmla="*/ 2 h 29"/>
                <a:gd name="T86" fmla="*/ 0 w 81"/>
                <a:gd name="T87" fmla="*/ 2 h 29"/>
                <a:gd name="T88" fmla="*/ 0 w 81"/>
                <a:gd name="T89" fmla="*/ 2 h 29"/>
                <a:gd name="T90" fmla="*/ 0 w 81"/>
                <a:gd name="T91" fmla="*/ 2 h 29"/>
                <a:gd name="T92" fmla="*/ 0 w 81"/>
                <a:gd name="T93" fmla="*/ 2 h 29"/>
                <a:gd name="T94" fmla="*/ 0 w 81"/>
                <a:gd name="T95" fmla="*/ 2 h 29"/>
                <a:gd name="T96" fmla="*/ 0 w 81"/>
                <a:gd name="T97" fmla="*/ 2 h 29"/>
                <a:gd name="T98" fmla="*/ 0 w 81"/>
                <a:gd name="T99" fmla="*/ 0 h 29"/>
                <a:gd name="T100" fmla="*/ 0 w 81"/>
                <a:gd name="T101" fmla="*/ 0 h 29"/>
                <a:gd name="T102" fmla="*/ 0 w 81"/>
                <a:gd name="T103" fmla="*/ 0 h 29"/>
                <a:gd name="T104" fmla="*/ 0 w 81"/>
                <a:gd name="T10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 h="29">
                  <a:moveTo>
                    <a:pt x="81" y="29"/>
                  </a:moveTo>
                  <a:lnTo>
                    <a:pt x="81" y="29"/>
                  </a:lnTo>
                  <a:lnTo>
                    <a:pt x="81" y="29"/>
                  </a:lnTo>
                  <a:lnTo>
                    <a:pt x="81" y="29"/>
                  </a:lnTo>
                  <a:lnTo>
                    <a:pt x="81" y="29"/>
                  </a:lnTo>
                  <a:lnTo>
                    <a:pt x="81" y="29"/>
                  </a:lnTo>
                  <a:lnTo>
                    <a:pt x="81" y="29"/>
                  </a:lnTo>
                  <a:lnTo>
                    <a:pt x="81" y="29"/>
                  </a:lnTo>
                  <a:lnTo>
                    <a:pt x="81" y="29"/>
                  </a:lnTo>
                  <a:lnTo>
                    <a:pt x="81" y="29"/>
                  </a:lnTo>
                  <a:lnTo>
                    <a:pt x="81" y="29"/>
                  </a:lnTo>
                  <a:lnTo>
                    <a:pt x="79" y="29"/>
                  </a:lnTo>
                  <a:lnTo>
                    <a:pt x="79" y="29"/>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81" y="26"/>
                  </a:lnTo>
                  <a:lnTo>
                    <a:pt x="81" y="26"/>
                  </a:lnTo>
                  <a:lnTo>
                    <a:pt x="81" y="29"/>
                  </a:lnTo>
                  <a:lnTo>
                    <a:pt x="81" y="29"/>
                  </a:lnTo>
                  <a:lnTo>
                    <a:pt x="81" y="29"/>
                  </a:lnTo>
                  <a:close/>
                  <a:moveTo>
                    <a:pt x="0" y="0"/>
                  </a:moveTo>
                  <a:lnTo>
                    <a:pt x="0" y="0"/>
                  </a:lnTo>
                  <a:lnTo>
                    <a:pt x="0" y="0"/>
                  </a:lnTo>
                  <a:lnTo>
                    <a:pt x="0" y="0"/>
                  </a:lnTo>
                  <a:lnTo>
                    <a:pt x="0" y="0"/>
                  </a:lnTo>
                  <a:lnTo>
                    <a:pt x="0" y="0"/>
                  </a:lnTo>
                  <a:lnTo>
                    <a:pt x="0" y="2"/>
                  </a:lnTo>
                  <a:lnTo>
                    <a:pt x="0" y="2"/>
                  </a:lnTo>
                  <a:lnTo>
                    <a:pt x="0" y="0"/>
                  </a:lnTo>
                  <a:lnTo>
                    <a:pt x="0" y="0"/>
                  </a:lnTo>
                  <a:lnTo>
                    <a:pt x="0" y="0"/>
                  </a:lnTo>
                  <a:lnTo>
                    <a:pt x="3" y="0"/>
                  </a:lnTo>
                  <a:lnTo>
                    <a:pt x="3" y="0"/>
                  </a:lnTo>
                  <a:lnTo>
                    <a:pt x="0" y="0"/>
                  </a:lnTo>
                  <a:lnTo>
                    <a:pt x="0" y="0"/>
                  </a:lnTo>
                  <a:lnTo>
                    <a:pt x="0" y="0"/>
                  </a:lnTo>
                  <a:lnTo>
                    <a:pt x="0" y="2"/>
                  </a:lnTo>
                  <a:lnTo>
                    <a:pt x="3" y="2"/>
                  </a:lnTo>
                  <a:lnTo>
                    <a:pt x="3" y="2"/>
                  </a:lnTo>
                  <a:lnTo>
                    <a:pt x="3" y="2"/>
                  </a:lnTo>
                  <a:lnTo>
                    <a:pt x="3" y="2"/>
                  </a:lnTo>
                  <a:lnTo>
                    <a:pt x="3" y="2"/>
                  </a:lnTo>
                  <a:lnTo>
                    <a:pt x="3" y="2"/>
                  </a:lnTo>
                  <a:lnTo>
                    <a:pt x="3" y="2"/>
                  </a:lnTo>
                  <a:lnTo>
                    <a:pt x="3" y="2"/>
                  </a:lnTo>
                  <a:lnTo>
                    <a:pt x="3" y="2"/>
                  </a:lnTo>
                  <a:lnTo>
                    <a:pt x="3" y="0"/>
                  </a:lnTo>
                  <a:lnTo>
                    <a:pt x="3" y="0"/>
                  </a:lnTo>
                  <a:lnTo>
                    <a:pt x="3" y="0"/>
                  </a:lnTo>
                  <a:lnTo>
                    <a:pt x="3" y="0"/>
                  </a:lnTo>
                  <a:lnTo>
                    <a:pt x="3" y="0"/>
                  </a:lnTo>
                  <a:lnTo>
                    <a:pt x="3" y="0"/>
                  </a:lnTo>
                  <a:lnTo>
                    <a:pt x="3" y="0"/>
                  </a:lnTo>
                  <a:lnTo>
                    <a:pt x="3" y="0"/>
                  </a:lnTo>
                  <a:lnTo>
                    <a:pt x="3" y="0"/>
                  </a:lnTo>
                  <a:lnTo>
                    <a:pt x="3" y="2"/>
                  </a:lnTo>
                  <a:lnTo>
                    <a:pt x="3" y="2"/>
                  </a:lnTo>
                  <a:lnTo>
                    <a:pt x="3" y="2"/>
                  </a:lnTo>
                  <a:lnTo>
                    <a:pt x="3" y="2"/>
                  </a:lnTo>
                  <a:lnTo>
                    <a:pt x="3" y="2"/>
                  </a:lnTo>
                  <a:lnTo>
                    <a:pt x="3" y="2"/>
                  </a:lnTo>
                  <a:lnTo>
                    <a:pt x="3" y="2"/>
                  </a:lnTo>
                  <a:lnTo>
                    <a:pt x="3"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6" name="Freeform 57954"/>
            <p:cNvSpPr>
              <a:spLocks noEditPoints="1"/>
            </p:cNvSpPr>
            <p:nvPr/>
          </p:nvSpPr>
          <p:spPr bwMode="auto">
            <a:xfrm>
              <a:off x="2089147" y="5437205"/>
              <a:ext cx="166688" cy="90488"/>
            </a:xfrm>
            <a:custGeom>
              <a:avLst/>
              <a:gdLst>
                <a:gd name="T0" fmla="*/ 12 w 105"/>
                <a:gd name="T1" fmla="*/ 45 h 57"/>
                <a:gd name="T2" fmla="*/ 12 w 105"/>
                <a:gd name="T3" fmla="*/ 50 h 57"/>
                <a:gd name="T4" fmla="*/ 7 w 105"/>
                <a:gd name="T5" fmla="*/ 54 h 57"/>
                <a:gd name="T6" fmla="*/ 5 w 105"/>
                <a:gd name="T7" fmla="*/ 57 h 57"/>
                <a:gd name="T8" fmla="*/ 3 w 105"/>
                <a:gd name="T9" fmla="*/ 54 h 57"/>
                <a:gd name="T10" fmla="*/ 3 w 105"/>
                <a:gd name="T11" fmla="*/ 50 h 57"/>
                <a:gd name="T12" fmla="*/ 3 w 105"/>
                <a:gd name="T13" fmla="*/ 50 h 57"/>
                <a:gd name="T14" fmla="*/ 7 w 105"/>
                <a:gd name="T15" fmla="*/ 45 h 57"/>
                <a:gd name="T16" fmla="*/ 10 w 105"/>
                <a:gd name="T17" fmla="*/ 43 h 57"/>
                <a:gd name="T18" fmla="*/ 67 w 105"/>
                <a:gd name="T19" fmla="*/ 5 h 57"/>
                <a:gd name="T20" fmla="*/ 62 w 105"/>
                <a:gd name="T21" fmla="*/ 9 h 57"/>
                <a:gd name="T22" fmla="*/ 67 w 105"/>
                <a:gd name="T23" fmla="*/ 9 h 57"/>
                <a:gd name="T24" fmla="*/ 64 w 105"/>
                <a:gd name="T25" fmla="*/ 12 h 57"/>
                <a:gd name="T26" fmla="*/ 69 w 105"/>
                <a:gd name="T27" fmla="*/ 16 h 57"/>
                <a:gd name="T28" fmla="*/ 71 w 105"/>
                <a:gd name="T29" fmla="*/ 14 h 57"/>
                <a:gd name="T30" fmla="*/ 76 w 105"/>
                <a:gd name="T31" fmla="*/ 14 h 57"/>
                <a:gd name="T32" fmla="*/ 74 w 105"/>
                <a:gd name="T33" fmla="*/ 19 h 57"/>
                <a:gd name="T34" fmla="*/ 74 w 105"/>
                <a:gd name="T35" fmla="*/ 24 h 57"/>
                <a:gd name="T36" fmla="*/ 69 w 105"/>
                <a:gd name="T37" fmla="*/ 28 h 57"/>
                <a:gd name="T38" fmla="*/ 67 w 105"/>
                <a:gd name="T39" fmla="*/ 31 h 57"/>
                <a:gd name="T40" fmla="*/ 62 w 105"/>
                <a:gd name="T41" fmla="*/ 35 h 57"/>
                <a:gd name="T42" fmla="*/ 59 w 105"/>
                <a:gd name="T43" fmla="*/ 33 h 57"/>
                <a:gd name="T44" fmla="*/ 52 w 105"/>
                <a:gd name="T45" fmla="*/ 33 h 57"/>
                <a:gd name="T46" fmla="*/ 50 w 105"/>
                <a:gd name="T47" fmla="*/ 31 h 57"/>
                <a:gd name="T48" fmla="*/ 52 w 105"/>
                <a:gd name="T49" fmla="*/ 26 h 57"/>
                <a:gd name="T50" fmla="*/ 45 w 105"/>
                <a:gd name="T51" fmla="*/ 26 h 57"/>
                <a:gd name="T52" fmla="*/ 43 w 105"/>
                <a:gd name="T53" fmla="*/ 28 h 57"/>
                <a:gd name="T54" fmla="*/ 43 w 105"/>
                <a:gd name="T55" fmla="*/ 28 h 57"/>
                <a:gd name="T56" fmla="*/ 41 w 105"/>
                <a:gd name="T57" fmla="*/ 26 h 57"/>
                <a:gd name="T58" fmla="*/ 41 w 105"/>
                <a:gd name="T59" fmla="*/ 26 h 57"/>
                <a:gd name="T60" fmla="*/ 38 w 105"/>
                <a:gd name="T61" fmla="*/ 24 h 57"/>
                <a:gd name="T62" fmla="*/ 43 w 105"/>
                <a:gd name="T63" fmla="*/ 19 h 57"/>
                <a:gd name="T64" fmla="*/ 48 w 105"/>
                <a:gd name="T65" fmla="*/ 14 h 57"/>
                <a:gd name="T66" fmla="*/ 52 w 105"/>
                <a:gd name="T67" fmla="*/ 12 h 57"/>
                <a:gd name="T68" fmla="*/ 57 w 105"/>
                <a:gd name="T69" fmla="*/ 7 h 57"/>
                <a:gd name="T70" fmla="*/ 62 w 105"/>
                <a:gd name="T71" fmla="*/ 7 h 57"/>
                <a:gd name="T72" fmla="*/ 64 w 105"/>
                <a:gd name="T73" fmla="*/ 5 h 57"/>
                <a:gd name="T74" fmla="*/ 97 w 105"/>
                <a:gd name="T75" fmla="*/ 2 h 57"/>
                <a:gd name="T76" fmla="*/ 97 w 105"/>
                <a:gd name="T77" fmla="*/ 2 h 57"/>
                <a:gd name="T78" fmla="*/ 100 w 105"/>
                <a:gd name="T79" fmla="*/ 5 h 57"/>
                <a:gd name="T80" fmla="*/ 102 w 105"/>
                <a:gd name="T81" fmla="*/ 2 h 57"/>
                <a:gd name="T82" fmla="*/ 102 w 105"/>
                <a:gd name="T83" fmla="*/ 7 h 57"/>
                <a:gd name="T84" fmla="*/ 102 w 105"/>
                <a:gd name="T85" fmla="*/ 7 h 57"/>
                <a:gd name="T86" fmla="*/ 102 w 105"/>
                <a:gd name="T87" fmla="*/ 12 h 57"/>
                <a:gd name="T88" fmla="*/ 95 w 105"/>
                <a:gd name="T89" fmla="*/ 7 h 57"/>
                <a:gd name="T90" fmla="*/ 88 w 105"/>
                <a:gd name="T91" fmla="*/ 5 h 57"/>
                <a:gd name="T92" fmla="*/ 86 w 105"/>
                <a:gd name="T93" fmla="*/ 2 h 57"/>
                <a:gd name="T94" fmla="*/ 88 w 105"/>
                <a:gd name="T95" fmla="*/ 0 h 57"/>
                <a:gd name="T96" fmla="*/ 90 w 105"/>
                <a:gd name="T9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57">
                  <a:moveTo>
                    <a:pt x="12" y="43"/>
                  </a:moveTo>
                  <a:lnTo>
                    <a:pt x="12" y="45"/>
                  </a:lnTo>
                  <a:lnTo>
                    <a:pt x="14" y="45"/>
                  </a:lnTo>
                  <a:lnTo>
                    <a:pt x="12" y="45"/>
                  </a:lnTo>
                  <a:lnTo>
                    <a:pt x="14" y="45"/>
                  </a:lnTo>
                  <a:lnTo>
                    <a:pt x="14" y="47"/>
                  </a:lnTo>
                  <a:lnTo>
                    <a:pt x="12" y="47"/>
                  </a:lnTo>
                  <a:lnTo>
                    <a:pt x="12" y="50"/>
                  </a:lnTo>
                  <a:lnTo>
                    <a:pt x="10" y="50"/>
                  </a:lnTo>
                  <a:lnTo>
                    <a:pt x="10" y="52"/>
                  </a:lnTo>
                  <a:lnTo>
                    <a:pt x="7" y="52"/>
                  </a:lnTo>
                  <a:lnTo>
                    <a:pt x="7" y="54"/>
                  </a:lnTo>
                  <a:lnTo>
                    <a:pt x="7" y="57"/>
                  </a:lnTo>
                  <a:lnTo>
                    <a:pt x="7" y="54"/>
                  </a:lnTo>
                  <a:lnTo>
                    <a:pt x="7" y="57"/>
                  </a:lnTo>
                  <a:lnTo>
                    <a:pt x="5" y="57"/>
                  </a:lnTo>
                  <a:lnTo>
                    <a:pt x="5" y="54"/>
                  </a:lnTo>
                  <a:lnTo>
                    <a:pt x="3" y="54"/>
                  </a:lnTo>
                  <a:lnTo>
                    <a:pt x="5" y="54"/>
                  </a:lnTo>
                  <a:lnTo>
                    <a:pt x="3" y="54"/>
                  </a:lnTo>
                  <a:lnTo>
                    <a:pt x="0" y="54"/>
                  </a:lnTo>
                  <a:lnTo>
                    <a:pt x="0" y="52"/>
                  </a:lnTo>
                  <a:lnTo>
                    <a:pt x="3" y="52"/>
                  </a:lnTo>
                  <a:lnTo>
                    <a:pt x="3" y="50"/>
                  </a:lnTo>
                  <a:lnTo>
                    <a:pt x="0" y="50"/>
                  </a:lnTo>
                  <a:lnTo>
                    <a:pt x="3" y="50"/>
                  </a:lnTo>
                  <a:lnTo>
                    <a:pt x="5" y="50"/>
                  </a:lnTo>
                  <a:lnTo>
                    <a:pt x="3" y="50"/>
                  </a:lnTo>
                  <a:lnTo>
                    <a:pt x="3" y="47"/>
                  </a:lnTo>
                  <a:lnTo>
                    <a:pt x="5" y="47"/>
                  </a:lnTo>
                  <a:lnTo>
                    <a:pt x="5" y="45"/>
                  </a:lnTo>
                  <a:lnTo>
                    <a:pt x="7" y="45"/>
                  </a:lnTo>
                  <a:lnTo>
                    <a:pt x="10" y="45"/>
                  </a:lnTo>
                  <a:lnTo>
                    <a:pt x="10" y="43"/>
                  </a:lnTo>
                  <a:lnTo>
                    <a:pt x="10" y="45"/>
                  </a:lnTo>
                  <a:lnTo>
                    <a:pt x="10" y="43"/>
                  </a:lnTo>
                  <a:lnTo>
                    <a:pt x="10" y="45"/>
                  </a:lnTo>
                  <a:lnTo>
                    <a:pt x="10" y="43"/>
                  </a:lnTo>
                  <a:lnTo>
                    <a:pt x="12" y="43"/>
                  </a:lnTo>
                  <a:close/>
                  <a:moveTo>
                    <a:pt x="67" y="5"/>
                  </a:moveTo>
                  <a:lnTo>
                    <a:pt x="67" y="7"/>
                  </a:lnTo>
                  <a:lnTo>
                    <a:pt x="64" y="7"/>
                  </a:lnTo>
                  <a:lnTo>
                    <a:pt x="62" y="7"/>
                  </a:lnTo>
                  <a:lnTo>
                    <a:pt x="62" y="9"/>
                  </a:lnTo>
                  <a:lnTo>
                    <a:pt x="64" y="9"/>
                  </a:lnTo>
                  <a:lnTo>
                    <a:pt x="67" y="9"/>
                  </a:lnTo>
                  <a:lnTo>
                    <a:pt x="67" y="7"/>
                  </a:lnTo>
                  <a:lnTo>
                    <a:pt x="67" y="9"/>
                  </a:lnTo>
                  <a:lnTo>
                    <a:pt x="67" y="12"/>
                  </a:lnTo>
                  <a:lnTo>
                    <a:pt x="64" y="12"/>
                  </a:lnTo>
                  <a:lnTo>
                    <a:pt x="64" y="9"/>
                  </a:lnTo>
                  <a:lnTo>
                    <a:pt x="64" y="12"/>
                  </a:lnTo>
                  <a:lnTo>
                    <a:pt x="64" y="14"/>
                  </a:lnTo>
                  <a:lnTo>
                    <a:pt x="67" y="14"/>
                  </a:lnTo>
                  <a:lnTo>
                    <a:pt x="67" y="16"/>
                  </a:lnTo>
                  <a:lnTo>
                    <a:pt x="69" y="16"/>
                  </a:lnTo>
                  <a:lnTo>
                    <a:pt x="69" y="14"/>
                  </a:lnTo>
                  <a:lnTo>
                    <a:pt x="71" y="14"/>
                  </a:lnTo>
                  <a:lnTo>
                    <a:pt x="71" y="12"/>
                  </a:lnTo>
                  <a:lnTo>
                    <a:pt x="71" y="14"/>
                  </a:lnTo>
                  <a:lnTo>
                    <a:pt x="74" y="14"/>
                  </a:lnTo>
                  <a:lnTo>
                    <a:pt x="76" y="14"/>
                  </a:lnTo>
                  <a:lnTo>
                    <a:pt x="74" y="14"/>
                  </a:lnTo>
                  <a:lnTo>
                    <a:pt x="76" y="14"/>
                  </a:lnTo>
                  <a:lnTo>
                    <a:pt x="74" y="16"/>
                  </a:lnTo>
                  <a:lnTo>
                    <a:pt x="76" y="16"/>
                  </a:lnTo>
                  <a:lnTo>
                    <a:pt x="74" y="16"/>
                  </a:lnTo>
                  <a:lnTo>
                    <a:pt x="74" y="19"/>
                  </a:lnTo>
                  <a:lnTo>
                    <a:pt x="74" y="21"/>
                  </a:lnTo>
                  <a:lnTo>
                    <a:pt x="71" y="21"/>
                  </a:lnTo>
                  <a:lnTo>
                    <a:pt x="74" y="21"/>
                  </a:lnTo>
                  <a:lnTo>
                    <a:pt x="74" y="24"/>
                  </a:lnTo>
                  <a:lnTo>
                    <a:pt x="71" y="24"/>
                  </a:lnTo>
                  <a:lnTo>
                    <a:pt x="71" y="26"/>
                  </a:lnTo>
                  <a:lnTo>
                    <a:pt x="69" y="26"/>
                  </a:lnTo>
                  <a:lnTo>
                    <a:pt x="69" y="28"/>
                  </a:lnTo>
                  <a:lnTo>
                    <a:pt x="69" y="31"/>
                  </a:lnTo>
                  <a:lnTo>
                    <a:pt x="69" y="28"/>
                  </a:lnTo>
                  <a:lnTo>
                    <a:pt x="69" y="31"/>
                  </a:lnTo>
                  <a:lnTo>
                    <a:pt x="67" y="31"/>
                  </a:lnTo>
                  <a:lnTo>
                    <a:pt x="67" y="33"/>
                  </a:lnTo>
                  <a:lnTo>
                    <a:pt x="64" y="33"/>
                  </a:lnTo>
                  <a:lnTo>
                    <a:pt x="64" y="35"/>
                  </a:lnTo>
                  <a:lnTo>
                    <a:pt x="62" y="35"/>
                  </a:lnTo>
                  <a:lnTo>
                    <a:pt x="59" y="35"/>
                  </a:lnTo>
                  <a:lnTo>
                    <a:pt x="59" y="33"/>
                  </a:lnTo>
                  <a:lnTo>
                    <a:pt x="59" y="35"/>
                  </a:lnTo>
                  <a:lnTo>
                    <a:pt x="59" y="33"/>
                  </a:lnTo>
                  <a:lnTo>
                    <a:pt x="57" y="33"/>
                  </a:lnTo>
                  <a:lnTo>
                    <a:pt x="55" y="31"/>
                  </a:lnTo>
                  <a:lnTo>
                    <a:pt x="55" y="33"/>
                  </a:lnTo>
                  <a:lnTo>
                    <a:pt x="52" y="33"/>
                  </a:lnTo>
                  <a:lnTo>
                    <a:pt x="52" y="31"/>
                  </a:lnTo>
                  <a:lnTo>
                    <a:pt x="52" y="33"/>
                  </a:lnTo>
                  <a:lnTo>
                    <a:pt x="52" y="31"/>
                  </a:lnTo>
                  <a:lnTo>
                    <a:pt x="50" y="31"/>
                  </a:lnTo>
                  <a:lnTo>
                    <a:pt x="52" y="28"/>
                  </a:lnTo>
                  <a:lnTo>
                    <a:pt x="50" y="28"/>
                  </a:lnTo>
                  <a:lnTo>
                    <a:pt x="50" y="26"/>
                  </a:lnTo>
                  <a:lnTo>
                    <a:pt x="52" y="26"/>
                  </a:lnTo>
                  <a:lnTo>
                    <a:pt x="50" y="24"/>
                  </a:lnTo>
                  <a:lnTo>
                    <a:pt x="48" y="24"/>
                  </a:lnTo>
                  <a:lnTo>
                    <a:pt x="45" y="24"/>
                  </a:lnTo>
                  <a:lnTo>
                    <a:pt x="45" y="26"/>
                  </a:lnTo>
                  <a:lnTo>
                    <a:pt x="45" y="24"/>
                  </a:lnTo>
                  <a:lnTo>
                    <a:pt x="45" y="26"/>
                  </a:lnTo>
                  <a:lnTo>
                    <a:pt x="43" y="26"/>
                  </a:lnTo>
                  <a:lnTo>
                    <a:pt x="43" y="28"/>
                  </a:lnTo>
                  <a:lnTo>
                    <a:pt x="45" y="28"/>
                  </a:lnTo>
                  <a:lnTo>
                    <a:pt x="43" y="28"/>
                  </a:lnTo>
                  <a:lnTo>
                    <a:pt x="43" y="26"/>
                  </a:lnTo>
                  <a:lnTo>
                    <a:pt x="43" y="28"/>
                  </a:lnTo>
                  <a:lnTo>
                    <a:pt x="43" y="26"/>
                  </a:lnTo>
                  <a:lnTo>
                    <a:pt x="43" y="24"/>
                  </a:lnTo>
                  <a:lnTo>
                    <a:pt x="41" y="24"/>
                  </a:lnTo>
                  <a:lnTo>
                    <a:pt x="41" y="26"/>
                  </a:lnTo>
                  <a:lnTo>
                    <a:pt x="41" y="24"/>
                  </a:lnTo>
                  <a:lnTo>
                    <a:pt x="41" y="26"/>
                  </a:lnTo>
                  <a:lnTo>
                    <a:pt x="41" y="24"/>
                  </a:lnTo>
                  <a:lnTo>
                    <a:pt x="41" y="26"/>
                  </a:lnTo>
                  <a:lnTo>
                    <a:pt x="41" y="24"/>
                  </a:lnTo>
                  <a:lnTo>
                    <a:pt x="38" y="24"/>
                  </a:lnTo>
                  <a:lnTo>
                    <a:pt x="41" y="24"/>
                  </a:lnTo>
                  <a:lnTo>
                    <a:pt x="38" y="24"/>
                  </a:lnTo>
                  <a:lnTo>
                    <a:pt x="38" y="21"/>
                  </a:lnTo>
                  <a:lnTo>
                    <a:pt x="41" y="21"/>
                  </a:lnTo>
                  <a:lnTo>
                    <a:pt x="41" y="19"/>
                  </a:lnTo>
                  <a:lnTo>
                    <a:pt x="43" y="19"/>
                  </a:lnTo>
                  <a:lnTo>
                    <a:pt x="43" y="16"/>
                  </a:lnTo>
                  <a:lnTo>
                    <a:pt x="45" y="16"/>
                  </a:lnTo>
                  <a:lnTo>
                    <a:pt x="48" y="16"/>
                  </a:lnTo>
                  <a:lnTo>
                    <a:pt x="48" y="14"/>
                  </a:lnTo>
                  <a:lnTo>
                    <a:pt x="50" y="12"/>
                  </a:lnTo>
                  <a:lnTo>
                    <a:pt x="52" y="12"/>
                  </a:lnTo>
                  <a:lnTo>
                    <a:pt x="52" y="9"/>
                  </a:lnTo>
                  <a:lnTo>
                    <a:pt x="52" y="12"/>
                  </a:lnTo>
                  <a:lnTo>
                    <a:pt x="52" y="9"/>
                  </a:lnTo>
                  <a:lnTo>
                    <a:pt x="55" y="9"/>
                  </a:lnTo>
                  <a:lnTo>
                    <a:pt x="57" y="9"/>
                  </a:lnTo>
                  <a:lnTo>
                    <a:pt x="57" y="7"/>
                  </a:lnTo>
                  <a:lnTo>
                    <a:pt x="59" y="7"/>
                  </a:lnTo>
                  <a:lnTo>
                    <a:pt x="62" y="7"/>
                  </a:lnTo>
                  <a:lnTo>
                    <a:pt x="64" y="7"/>
                  </a:lnTo>
                  <a:lnTo>
                    <a:pt x="62" y="7"/>
                  </a:lnTo>
                  <a:lnTo>
                    <a:pt x="64" y="7"/>
                  </a:lnTo>
                  <a:lnTo>
                    <a:pt x="64" y="5"/>
                  </a:lnTo>
                  <a:lnTo>
                    <a:pt x="64" y="7"/>
                  </a:lnTo>
                  <a:lnTo>
                    <a:pt x="64" y="5"/>
                  </a:lnTo>
                  <a:lnTo>
                    <a:pt x="67" y="5"/>
                  </a:lnTo>
                  <a:close/>
                  <a:moveTo>
                    <a:pt x="95" y="0"/>
                  </a:moveTo>
                  <a:lnTo>
                    <a:pt x="95" y="2"/>
                  </a:lnTo>
                  <a:lnTo>
                    <a:pt x="97" y="2"/>
                  </a:lnTo>
                  <a:lnTo>
                    <a:pt x="97" y="0"/>
                  </a:lnTo>
                  <a:lnTo>
                    <a:pt x="97" y="2"/>
                  </a:lnTo>
                  <a:lnTo>
                    <a:pt x="97" y="0"/>
                  </a:lnTo>
                  <a:lnTo>
                    <a:pt x="97" y="2"/>
                  </a:lnTo>
                  <a:lnTo>
                    <a:pt x="100" y="2"/>
                  </a:lnTo>
                  <a:lnTo>
                    <a:pt x="100" y="5"/>
                  </a:lnTo>
                  <a:lnTo>
                    <a:pt x="100" y="2"/>
                  </a:lnTo>
                  <a:lnTo>
                    <a:pt x="100" y="5"/>
                  </a:lnTo>
                  <a:lnTo>
                    <a:pt x="100" y="2"/>
                  </a:lnTo>
                  <a:lnTo>
                    <a:pt x="100" y="5"/>
                  </a:lnTo>
                  <a:lnTo>
                    <a:pt x="100" y="2"/>
                  </a:lnTo>
                  <a:lnTo>
                    <a:pt x="102" y="2"/>
                  </a:lnTo>
                  <a:lnTo>
                    <a:pt x="102" y="5"/>
                  </a:lnTo>
                  <a:lnTo>
                    <a:pt x="102" y="2"/>
                  </a:lnTo>
                  <a:lnTo>
                    <a:pt x="102" y="5"/>
                  </a:lnTo>
                  <a:lnTo>
                    <a:pt x="102" y="7"/>
                  </a:lnTo>
                  <a:lnTo>
                    <a:pt x="102" y="9"/>
                  </a:lnTo>
                  <a:lnTo>
                    <a:pt x="105" y="9"/>
                  </a:lnTo>
                  <a:lnTo>
                    <a:pt x="102" y="9"/>
                  </a:lnTo>
                  <a:lnTo>
                    <a:pt x="102" y="7"/>
                  </a:lnTo>
                  <a:lnTo>
                    <a:pt x="102" y="9"/>
                  </a:lnTo>
                  <a:lnTo>
                    <a:pt x="102" y="7"/>
                  </a:lnTo>
                  <a:lnTo>
                    <a:pt x="102" y="9"/>
                  </a:lnTo>
                  <a:lnTo>
                    <a:pt x="102" y="12"/>
                  </a:lnTo>
                  <a:lnTo>
                    <a:pt x="100" y="12"/>
                  </a:lnTo>
                  <a:lnTo>
                    <a:pt x="97" y="9"/>
                  </a:lnTo>
                  <a:lnTo>
                    <a:pt x="95" y="9"/>
                  </a:lnTo>
                  <a:lnTo>
                    <a:pt x="95" y="7"/>
                  </a:lnTo>
                  <a:lnTo>
                    <a:pt x="93" y="7"/>
                  </a:lnTo>
                  <a:lnTo>
                    <a:pt x="90" y="7"/>
                  </a:lnTo>
                  <a:lnTo>
                    <a:pt x="88" y="7"/>
                  </a:lnTo>
                  <a:lnTo>
                    <a:pt x="88" y="5"/>
                  </a:lnTo>
                  <a:lnTo>
                    <a:pt x="86" y="5"/>
                  </a:lnTo>
                  <a:lnTo>
                    <a:pt x="86" y="2"/>
                  </a:lnTo>
                  <a:lnTo>
                    <a:pt x="86" y="5"/>
                  </a:lnTo>
                  <a:lnTo>
                    <a:pt x="86" y="2"/>
                  </a:lnTo>
                  <a:lnTo>
                    <a:pt x="88" y="2"/>
                  </a:lnTo>
                  <a:lnTo>
                    <a:pt x="88" y="0"/>
                  </a:lnTo>
                  <a:lnTo>
                    <a:pt x="88" y="2"/>
                  </a:lnTo>
                  <a:lnTo>
                    <a:pt x="88" y="0"/>
                  </a:lnTo>
                  <a:lnTo>
                    <a:pt x="90" y="0"/>
                  </a:lnTo>
                  <a:lnTo>
                    <a:pt x="90" y="2"/>
                  </a:lnTo>
                  <a:lnTo>
                    <a:pt x="90" y="0"/>
                  </a:lnTo>
                  <a:lnTo>
                    <a:pt x="90" y="2"/>
                  </a:lnTo>
                  <a:lnTo>
                    <a:pt x="90" y="0"/>
                  </a:lnTo>
                  <a:lnTo>
                    <a:pt x="93" y="0"/>
                  </a:lnTo>
                  <a:lnTo>
                    <a:pt x="9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7" name="Freeform 57955"/>
            <p:cNvSpPr>
              <a:spLocks noEditPoints="1"/>
            </p:cNvSpPr>
            <p:nvPr/>
          </p:nvSpPr>
          <p:spPr bwMode="auto">
            <a:xfrm>
              <a:off x="1539873" y="5168916"/>
              <a:ext cx="661988" cy="558801"/>
            </a:xfrm>
            <a:custGeom>
              <a:avLst/>
              <a:gdLst>
                <a:gd name="T0" fmla="*/ 192 w 417"/>
                <a:gd name="T1" fmla="*/ 17 h 352"/>
                <a:gd name="T2" fmla="*/ 206 w 417"/>
                <a:gd name="T3" fmla="*/ 19 h 352"/>
                <a:gd name="T4" fmla="*/ 216 w 417"/>
                <a:gd name="T5" fmla="*/ 17 h 352"/>
                <a:gd name="T6" fmla="*/ 247 w 417"/>
                <a:gd name="T7" fmla="*/ 19 h 352"/>
                <a:gd name="T8" fmla="*/ 261 w 417"/>
                <a:gd name="T9" fmla="*/ 29 h 352"/>
                <a:gd name="T10" fmla="*/ 282 w 417"/>
                <a:gd name="T11" fmla="*/ 38 h 352"/>
                <a:gd name="T12" fmla="*/ 315 w 417"/>
                <a:gd name="T13" fmla="*/ 48 h 352"/>
                <a:gd name="T14" fmla="*/ 344 w 417"/>
                <a:gd name="T15" fmla="*/ 45 h 352"/>
                <a:gd name="T16" fmla="*/ 363 w 417"/>
                <a:gd name="T17" fmla="*/ 57 h 352"/>
                <a:gd name="T18" fmla="*/ 396 w 417"/>
                <a:gd name="T19" fmla="*/ 67 h 352"/>
                <a:gd name="T20" fmla="*/ 415 w 417"/>
                <a:gd name="T21" fmla="*/ 67 h 352"/>
                <a:gd name="T22" fmla="*/ 408 w 417"/>
                <a:gd name="T23" fmla="*/ 90 h 352"/>
                <a:gd name="T24" fmla="*/ 379 w 417"/>
                <a:gd name="T25" fmla="*/ 109 h 352"/>
                <a:gd name="T26" fmla="*/ 349 w 417"/>
                <a:gd name="T27" fmla="*/ 121 h 352"/>
                <a:gd name="T28" fmla="*/ 332 w 417"/>
                <a:gd name="T29" fmla="*/ 138 h 352"/>
                <a:gd name="T30" fmla="*/ 322 w 417"/>
                <a:gd name="T31" fmla="*/ 135 h 352"/>
                <a:gd name="T32" fmla="*/ 330 w 417"/>
                <a:gd name="T33" fmla="*/ 147 h 352"/>
                <a:gd name="T34" fmla="*/ 313 w 417"/>
                <a:gd name="T35" fmla="*/ 166 h 352"/>
                <a:gd name="T36" fmla="*/ 294 w 417"/>
                <a:gd name="T37" fmla="*/ 197 h 352"/>
                <a:gd name="T38" fmla="*/ 313 w 417"/>
                <a:gd name="T39" fmla="*/ 226 h 352"/>
                <a:gd name="T40" fmla="*/ 294 w 417"/>
                <a:gd name="T41" fmla="*/ 245 h 352"/>
                <a:gd name="T42" fmla="*/ 282 w 417"/>
                <a:gd name="T43" fmla="*/ 271 h 352"/>
                <a:gd name="T44" fmla="*/ 275 w 417"/>
                <a:gd name="T45" fmla="*/ 283 h 352"/>
                <a:gd name="T46" fmla="*/ 256 w 417"/>
                <a:gd name="T47" fmla="*/ 288 h 352"/>
                <a:gd name="T48" fmla="*/ 237 w 417"/>
                <a:gd name="T49" fmla="*/ 316 h 352"/>
                <a:gd name="T50" fmla="*/ 197 w 417"/>
                <a:gd name="T51" fmla="*/ 318 h 352"/>
                <a:gd name="T52" fmla="*/ 161 w 417"/>
                <a:gd name="T53" fmla="*/ 321 h 352"/>
                <a:gd name="T54" fmla="*/ 135 w 417"/>
                <a:gd name="T55" fmla="*/ 335 h 352"/>
                <a:gd name="T56" fmla="*/ 111 w 417"/>
                <a:gd name="T57" fmla="*/ 342 h 352"/>
                <a:gd name="T58" fmla="*/ 99 w 417"/>
                <a:gd name="T59" fmla="*/ 328 h 352"/>
                <a:gd name="T60" fmla="*/ 95 w 417"/>
                <a:gd name="T61" fmla="*/ 309 h 352"/>
                <a:gd name="T62" fmla="*/ 78 w 417"/>
                <a:gd name="T63" fmla="*/ 295 h 352"/>
                <a:gd name="T64" fmla="*/ 73 w 417"/>
                <a:gd name="T65" fmla="*/ 297 h 352"/>
                <a:gd name="T66" fmla="*/ 59 w 417"/>
                <a:gd name="T67" fmla="*/ 283 h 352"/>
                <a:gd name="T68" fmla="*/ 76 w 417"/>
                <a:gd name="T69" fmla="*/ 257 h 352"/>
                <a:gd name="T70" fmla="*/ 71 w 417"/>
                <a:gd name="T71" fmla="*/ 226 h 352"/>
                <a:gd name="T72" fmla="*/ 66 w 417"/>
                <a:gd name="T73" fmla="*/ 195 h 352"/>
                <a:gd name="T74" fmla="*/ 80 w 417"/>
                <a:gd name="T75" fmla="*/ 176 h 352"/>
                <a:gd name="T76" fmla="*/ 80 w 417"/>
                <a:gd name="T77" fmla="*/ 145 h 352"/>
                <a:gd name="T78" fmla="*/ 85 w 417"/>
                <a:gd name="T79" fmla="*/ 121 h 352"/>
                <a:gd name="T80" fmla="*/ 97 w 417"/>
                <a:gd name="T81" fmla="*/ 95 h 352"/>
                <a:gd name="T82" fmla="*/ 73 w 417"/>
                <a:gd name="T83" fmla="*/ 83 h 352"/>
                <a:gd name="T84" fmla="*/ 42 w 417"/>
                <a:gd name="T85" fmla="*/ 90 h 352"/>
                <a:gd name="T86" fmla="*/ 23 w 417"/>
                <a:gd name="T87" fmla="*/ 78 h 352"/>
                <a:gd name="T88" fmla="*/ 23 w 417"/>
                <a:gd name="T89" fmla="*/ 69 h 352"/>
                <a:gd name="T90" fmla="*/ 19 w 417"/>
                <a:gd name="T91" fmla="*/ 64 h 352"/>
                <a:gd name="T92" fmla="*/ 16 w 417"/>
                <a:gd name="T93" fmla="*/ 57 h 352"/>
                <a:gd name="T94" fmla="*/ 14 w 417"/>
                <a:gd name="T95" fmla="*/ 52 h 352"/>
                <a:gd name="T96" fmla="*/ 14 w 417"/>
                <a:gd name="T97" fmla="*/ 43 h 352"/>
                <a:gd name="T98" fmla="*/ 2 w 417"/>
                <a:gd name="T99" fmla="*/ 38 h 352"/>
                <a:gd name="T100" fmla="*/ 9 w 417"/>
                <a:gd name="T101" fmla="*/ 26 h 352"/>
                <a:gd name="T102" fmla="*/ 28 w 417"/>
                <a:gd name="T103" fmla="*/ 17 h 352"/>
                <a:gd name="T104" fmla="*/ 33 w 417"/>
                <a:gd name="T105" fmla="*/ 14 h 352"/>
                <a:gd name="T106" fmla="*/ 40 w 417"/>
                <a:gd name="T107" fmla="*/ 5 h 352"/>
                <a:gd name="T108" fmla="*/ 47 w 417"/>
                <a:gd name="T109" fmla="*/ 2 h 352"/>
                <a:gd name="T110" fmla="*/ 64 w 417"/>
                <a:gd name="T111" fmla="*/ 7 h 352"/>
                <a:gd name="T112" fmla="*/ 85 w 417"/>
                <a:gd name="T113" fmla="*/ 10 h 352"/>
                <a:gd name="T114" fmla="*/ 111 w 417"/>
                <a:gd name="T115" fmla="*/ 7 h 352"/>
                <a:gd name="T116" fmla="*/ 137 w 417"/>
                <a:gd name="T117" fmla="*/ 14 h 352"/>
                <a:gd name="T118" fmla="*/ 173 w 417"/>
                <a:gd name="T119" fmla="*/ 14 h 352"/>
                <a:gd name="T120" fmla="*/ 185 w 417"/>
                <a:gd name="T121" fmla="*/ 1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7" h="352">
                  <a:moveTo>
                    <a:pt x="372" y="62"/>
                  </a:moveTo>
                  <a:lnTo>
                    <a:pt x="372" y="59"/>
                  </a:lnTo>
                  <a:lnTo>
                    <a:pt x="372" y="62"/>
                  </a:lnTo>
                  <a:close/>
                  <a:moveTo>
                    <a:pt x="190" y="12"/>
                  </a:moveTo>
                  <a:lnTo>
                    <a:pt x="187" y="12"/>
                  </a:lnTo>
                  <a:lnTo>
                    <a:pt x="187" y="14"/>
                  </a:lnTo>
                  <a:lnTo>
                    <a:pt x="190" y="14"/>
                  </a:lnTo>
                  <a:lnTo>
                    <a:pt x="187" y="12"/>
                  </a:lnTo>
                  <a:lnTo>
                    <a:pt x="190" y="12"/>
                  </a:lnTo>
                  <a:lnTo>
                    <a:pt x="190" y="14"/>
                  </a:lnTo>
                  <a:lnTo>
                    <a:pt x="190" y="12"/>
                  </a:lnTo>
                  <a:lnTo>
                    <a:pt x="192" y="12"/>
                  </a:lnTo>
                  <a:lnTo>
                    <a:pt x="192" y="14"/>
                  </a:lnTo>
                  <a:lnTo>
                    <a:pt x="194" y="14"/>
                  </a:lnTo>
                  <a:lnTo>
                    <a:pt x="192" y="14"/>
                  </a:lnTo>
                  <a:lnTo>
                    <a:pt x="192" y="17"/>
                  </a:lnTo>
                  <a:lnTo>
                    <a:pt x="192" y="14"/>
                  </a:lnTo>
                  <a:lnTo>
                    <a:pt x="192" y="17"/>
                  </a:lnTo>
                  <a:lnTo>
                    <a:pt x="190" y="17"/>
                  </a:lnTo>
                  <a:lnTo>
                    <a:pt x="192" y="17"/>
                  </a:lnTo>
                  <a:lnTo>
                    <a:pt x="192" y="19"/>
                  </a:lnTo>
                  <a:lnTo>
                    <a:pt x="192" y="17"/>
                  </a:lnTo>
                  <a:lnTo>
                    <a:pt x="194" y="19"/>
                  </a:lnTo>
                  <a:lnTo>
                    <a:pt x="194" y="17"/>
                  </a:lnTo>
                  <a:lnTo>
                    <a:pt x="192" y="17"/>
                  </a:lnTo>
                  <a:lnTo>
                    <a:pt x="192" y="14"/>
                  </a:lnTo>
                  <a:lnTo>
                    <a:pt x="194" y="17"/>
                  </a:lnTo>
                  <a:lnTo>
                    <a:pt x="197" y="17"/>
                  </a:lnTo>
                  <a:lnTo>
                    <a:pt x="199" y="17"/>
                  </a:lnTo>
                  <a:lnTo>
                    <a:pt x="201" y="17"/>
                  </a:lnTo>
                  <a:lnTo>
                    <a:pt x="201" y="19"/>
                  </a:lnTo>
                  <a:lnTo>
                    <a:pt x="201" y="17"/>
                  </a:lnTo>
                  <a:lnTo>
                    <a:pt x="201" y="19"/>
                  </a:lnTo>
                  <a:lnTo>
                    <a:pt x="204" y="19"/>
                  </a:lnTo>
                  <a:lnTo>
                    <a:pt x="206" y="19"/>
                  </a:lnTo>
                  <a:lnTo>
                    <a:pt x="204" y="19"/>
                  </a:lnTo>
                  <a:lnTo>
                    <a:pt x="206" y="19"/>
                  </a:lnTo>
                  <a:lnTo>
                    <a:pt x="206" y="21"/>
                  </a:lnTo>
                  <a:lnTo>
                    <a:pt x="209" y="21"/>
                  </a:lnTo>
                  <a:lnTo>
                    <a:pt x="206" y="21"/>
                  </a:lnTo>
                  <a:lnTo>
                    <a:pt x="206" y="19"/>
                  </a:lnTo>
                  <a:lnTo>
                    <a:pt x="209" y="21"/>
                  </a:lnTo>
                  <a:lnTo>
                    <a:pt x="209" y="19"/>
                  </a:lnTo>
                  <a:lnTo>
                    <a:pt x="206" y="19"/>
                  </a:lnTo>
                  <a:lnTo>
                    <a:pt x="209" y="19"/>
                  </a:lnTo>
                  <a:lnTo>
                    <a:pt x="206" y="19"/>
                  </a:lnTo>
                  <a:lnTo>
                    <a:pt x="209" y="19"/>
                  </a:lnTo>
                  <a:lnTo>
                    <a:pt x="209" y="17"/>
                  </a:lnTo>
                  <a:lnTo>
                    <a:pt x="209" y="14"/>
                  </a:lnTo>
                  <a:lnTo>
                    <a:pt x="211" y="14"/>
                  </a:lnTo>
                  <a:lnTo>
                    <a:pt x="211" y="17"/>
                  </a:lnTo>
                  <a:lnTo>
                    <a:pt x="211" y="14"/>
                  </a:lnTo>
                  <a:lnTo>
                    <a:pt x="213" y="14"/>
                  </a:lnTo>
                  <a:lnTo>
                    <a:pt x="213" y="17"/>
                  </a:lnTo>
                  <a:lnTo>
                    <a:pt x="213" y="14"/>
                  </a:lnTo>
                  <a:lnTo>
                    <a:pt x="213" y="17"/>
                  </a:lnTo>
                  <a:lnTo>
                    <a:pt x="213" y="14"/>
                  </a:lnTo>
                  <a:lnTo>
                    <a:pt x="213" y="17"/>
                  </a:lnTo>
                  <a:lnTo>
                    <a:pt x="213" y="14"/>
                  </a:lnTo>
                  <a:lnTo>
                    <a:pt x="213" y="17"/>
                  </a:lnTo>
                  <a:lnTo>
                    <a:pt x="213" y="14"/>
                  </a:lnTo>
                  <a:lnTo>
                    <a:pt x="213" y="17"/>
                  </a:lnTo>
                  <a:lnTo>
                    <a:pt x="213" y="14"/>
                  </a:lnTo>
                  <a:lnTo>
                    <a:pt x="213" y="17"/>
                  </a:lnTo>
                  <a:lnTo>
                    <a:pt x="216" y="14"/>
                  </a:lnTo>
                  <a:lnTo>
                    <a:pt x="216" y="17"/>
                  </a:lnTo>
                  <a:lnTo>
                    <a:pt x="218" y="17"/>
                  </a:lnTo>
                  <a:lnTo>
                    <a:pt x="218" y="19"/>
                  </a:lnTo>
                  <a:lnTo>
                    <a:pt x="218" y="17"/>
                  </a:lnTo>
                  <a:lnTo>
                    <a:pt x="220" y="17"/>
                  </a:lnTo>
                  <a:lnTo>
                    <a:pt x="223" y="17"/>
                  </a:lnTo>
                  <a:lnTo>
                    <a:pt x="223" y="19"/>
                  </a:lnTo>
                  <a:lnTo>
                    <a:pt x="225" y="19"/>
                  </a:lnTo>
                  <a:lnTo>
                    <a:pt x="228" y="19"/>
                  </a:lnTo>
                  <a:lnTo>
                    <a:pt x="228" y="21"/>
                  </a:lnTo>
                  <a:lnTo>
                    <a:pt x="230" y="21"/>
                  </a:lnTo>
                  <a:lnTo>
                    <a:pt x="232" y="21"/>
                  </a:lnTo>
                  <a:lnTo>
                    <a:pt x="235" y="21"/>
                  </a:lnTo>
                  <a:lnTo>
                    <a:pt x="237" y="21"/>
                  </a:lnTo>
                  <a:lnTo>
                    <a:pt x="237" y="24"/>
                  </a:lnTo>
                  <a:lnTo>
                    <a:pt x="237" y="21"/>
                  </a:lnTo>
                  <a:lnTo>
                    <a:pt x="239" y="21"/>
                  </a:lnTo>
                  <a:lnTo>
                    <a:pt x="242" y="21"/>
                  </a:lnTo>
                  <a:lnTo>
                    <a:pt x="242" y="19"/>
                  </a:lnTo>
                  <a:lnTo>
                    <a:pt x="244" y="19"/>
                  </a:lnTo>
                  <a:lnTo>
                    <a:pt x="244" y="21"/>
                  </a:lnTo>
                  <a:lnTo>
                    <a:pt x="244" y="19"/>
                  </a:lnTo>
                  <a:lnTo>
                    <a:pt x="247" y="19"/>
                  </a:lnTo>
                  <a:lnTo>
                    <a:pt x="247" y="17"/>
                  </a:lnTo>
                  <a:lnTo>
                    <a:pt x="249" y="17"/>
                  </a:lnTo>
                  <a:lnTo>
                    <a:pt x="247" y="17"/>
                  </a:lnTo>
                  <a:lnTo>
                    <a:pt x="247" y="19"/>
                  </a:lnTo>
                  <a:lnTo>
                    <a:pt x="249" y="19"/>
                  </a:lnTo>
                  <a:lnTo>
                    <a:pt x="247" y="19"/>
                  </a:lnTo>
                  <a:lnTo>
                    <a:pt x="249" y="19"/>
                  </a:lnTo>
                  <a:lnTo>
                    <a:pt x="247" y="19"/>
                  </a:lnTo>
                  <a:lnTo>
                    <a:pt x="249" y="19"/>
                  </a:lnTo>
                  <a:lnTo>
                    <a:pt x="247" y="19"/>
                  </a:lnTo>
                  <a:lnTo>
                    <a:pt x="249" y="19"/>
                  </a:lnTo>
                  <a:lnTo>
                    <a:pt x="249" y="21"/>
                  </a:lnTo>
                  <a:lnTo>
                    <a:pt x="251" y="21"/>
                  </a:lnTo>
                  <a:lnTo>
                    <a:pt x="254" y="21"/>
                  </a:lnTo>
                  <a:lnTo>
                    <a:pt x="254" y="24"/>
                  </a:lnTo>
                  <a:lnTo>
                    <a:pt x="256" y="24"/>
                  </a:lnTo>
                  <a:lnTo>
                    <a:pt x="256" y="21"/>
                  </a:lnTo>
                  <a:lnTo>
                    <a:pt x="258" y="21"/>
                  </a:lnTo>
                  <a:lnTo>
                    <a:pt x="258" y="24"/>
                  </a:lnTo>
                  <a:lnTo>
                    <a:pt x="261" y="24"/>
                  </a:lnTo>
                  <a:lnTo>
                    <a:pt x="261" y="26"/>
                  </a:lnTo>
                  <a:lnTo>
                    <a:pt x="261" y="29"/>
                  </a:lnTo>
                  <a:lnTo>
                    <a:pt x="261" y="31"/>
                  </a:lnTo>
                  <a:lnTo>
                    <a:pt x="258" y="31"/>
                  </a:lnTo>
                  <a:lnTo>
                    <a:pt x="258" y="33"/>
                  </a:lnTo>
                  <a:lnTo>
                    <a:pt x="263" y="33"/>
                  </a:lnTo>
                  <a:lnTo>
                    <a:pt x="263" y="31"/>
                  </a:lnTo>
                  <a:lnTo>
                    <a:pt x="265" y="31"/>
                  </a:lnTo>
                  <a:lnTo>
                    <a:pt x="263" y="31"/>
                  </a:lnTo>
                  <a:lnTo>
                    <a:pt x="263" y="33"/>
                  </a:lnTo>
                  <a:lnTo>
                    <a:pt x="265" y="33"/>
                  </a:lnTo>
                  <a:lnTo>
                    <a:pt x="268" y="33"/>
                  </a:lnTo>
                  <a:lnTo>
                    <a:pt x="270" y="33"/>
                  </a:lnTo>
                  <a:lnTo>
                    <a:pt x="268" y="36"/>
                  </a:lnTo>
                  <a:lnTo>
                    <a:pt x="270" y="36"/>
                  </a:lnTo>
                  <a:lnTo>
                    <a:pt x="270" y="33"/>
                  </a:lnTo>
                  <a:lnTo>
                    <a:pt x="270" y="36"/>
                  </a:lnTo>
                  <a:lnTo>
                    <a:pt x="273" y="36"/>
                  </a:lnTo>
                  <a:lnTo>
                    <a:pt x="275" y="36"/>
                  </a:lnTo>
                  <a:lnTo>
                    <a:pt x="275" y="38"/>
                  </a:lnTo>
                  <a:lnTo>
                    <a:pt x="277" y="38"/>
                  </a:lnTo>
                  <a:lnTo>
                    <a:pt x="280" y="38"/>
                  </a:lnTo>
                  <a:lnTo>
                    <a:pt x="282" y="36"/>
                  </a:lnTo>
                  <a:lnTo>
                    <a:pt x="282" y="38"/>
                  </a:lnTo>
                  <a:lnTo>
                    <a:pt x="282" y="40"/>
                  </a:lnTo>
                  <a:lnTo>
                    <a:pt x="284" y="40"/>
                  </a:lnTo>
                  <a:lnTo>
                    <a:pt x="284" y="43"/>
                  </a:lnTo>
                  <a:lnTo>
                    <a:pt x="287" y="43"/>
                  </a:lnTo>
                  <a:lnTo>
                    <a:pt x="287" y="45"/>
                  </a:lnTo>
                  <a:lnTo>
                    <a:pt x="289" y="45"/>
                  </a:lnTo>
                  <a:lnTo>
                    <a:pt x="289" y="43"/>
                  </a:lnTo>
                  <a:lnTo>
                    <a:pt x="292" y="43"/>
                  </a:lnTo>
                  <a:lnTo>
                    <a:pt x="292" y="45"/>
                  </a:lnTo>
                  <a:lnTo>
                    <a:pt x="294" y="45"/>
                  </a:lnTo>
                  <a:lnTo>
                    <a:pt x="294" y="43"/>
                  </a:lnTo>
                  <a:lnTo>
                    <a:pt x="296" y="43"/>
                  </a:lnTo>
                  <a:lnTo>
                    <a:pt x="299" y="43"/>
                  </a:lnTo>
                  <a:lnTo>
                    <a:pt x="299" y="45"/>
                  </a:lnTo>
                  <a:lnTo>
                    <a:pt x="301" y="45"/>
                  </a:lnTo>
                  <a:lnTo>
                    <a:pt x="303" y="48"/>
                  </a:lnTo>
                  <a:lnTo>
                    <a:pt x="306" y="50"/>
                  </a:lnTo>
                  <a:lnTo>
                    <a:pt x="308" y="50"/>
                  </a:lnTo>
                  <a:lnTo>
                    <a:pt x="308" y="48"/>
                  </a:lnTo>
                  <a:lnTo>
                    <a:pt x="311" y="48"/>
                  </a:lnTo>
                  <a:lnTo>
                    <a:pt x="313" y="48"/>
                  </a:lnTo>
                  <a:lnTo>
                    <a:pt x="315" y="48"/>
                  </a:lnTo>
                  <a:lnTo>
                    <a:pt x="315" y="50"/>
                  </a:lnTo>
                  <a:lnTo>
                    <a:pt x="318" y="50"/>
                  </a:lnTo>
                  <a:lnTo>
                    <a:pt x="318" y="48"/>
                  </a:lnTo>
                  <a:lnTo>
                    <a:pt x="320" y="48"/>
                  </a:lnTo>
                  <a:lnTo>
                    <a:pt x="320" y="50"/>
                  </a:lnTo>
                  <a:lnTo>
                    <a:pt x="322" y="50"/>
                  </a:lnTo>
                  <a:lnTo>
                    <a:pt x="325" y="50"/>
                  </a:lnTo>
                  <a:lnTo>
                    <a:pt x="327" y="50"/>
                  </a:lnTo>
                  <a:lnTo>
                    <a:pt x="330" y="50"/>
                  </a:lnTo>
                  <a:lnTo>
                    <a:pt x="330" y="48"/>
                  </a:lnTo>
                  <a:lnTo>
                    <a:pt x="327" y="48"/>
                  </a:lnTo>
                  <a:lnTo>
                    <a:pt x="330" y="45"/>
                  </a:lnTo>
                  <a:lnTo>
                    <a:pt x="327" y="45"/>
                  </a:lnTo>
                  <a:lnTo>
                    <a:pt x="330" y="45"/>
                  </a:lnTo>
                  <a:lnTo>
                    <a:pt x="330" y="43"/>
                  </a:lnTo>
                  <a:lnTo>
                    <a:pt x="332" y="43"/>
                  </a:lnTo>
                  <a:lnTo>
                    <a:pt x="334" y="43"/>
                  </a:lnTo>
                  <a:lnTo>
                    <a:pt x="337" y="43"/>
                  </a:lnTo>
                  <a:lnTo>
                    <a:pt x="337" y="45"/>
                  </a:lnTo>
                  <a:lnTo>
                    <a:pt x="339" y="45"/>
                  </a:lnTo>
                  <a:lnTo>
                    <a:pt x="341" y="45"/>
                  </a:lnTo>
                  <a:lnTo>
                    <a:pt x="344" y="45"/>
                  </a:lnTo>
                  <a:lnTo>
                    <a:pt x="344" y="48"/>
                  </a:lnTo>
                  <a:lnTo>
                    <a:pt x="346" y="50"/>
                  </a:lnTo>
                  <a:lnTo>
                    <a:pt x="346" y="48"/>
                  </a:lnTo>
                  <a:lnTo>
                    <a:pt x="349" y="48"/>
                  </a:lnTo>
                  <a:lnTo>
                    <a:pt x="351" y="48"/>
                  </a:lnTo>
                  <a:lnTo>
                    <a:pt x="351" y="50"/>
                  </a:lnTo>
                  <a:lnTo>
                    <a:pt x="353" y="50"/>
                  </a:lnTo>
                  <a:lnTo>
                    <a:pt x="353" y="52"/>
                  </a:lnTo>
                  <a:lnTo>
                    <a:pt x="353" y="55"/>
                  </a:lnTo>
                  <a:lnTo>
                    <a:pt x="356" y="55"/>
                  </a:lnTo>
                  <a:lnTo>
                    <a:pt x="353" y="55"/>
                  </a:lnTo>
                  <a:lnTo>
                    <a:pt x="353" y="57"/>
                  </a:lnTo>
                  <a:lnTo>
                    <a:pt x="356" y="57"/>
                  </a:lnTo>
                  <a:lnTo>
                    <a:pt x="353" y="59"/>
                  </a:lnTo>
                  <a:lnTo>
                    <a:pt x="356" y="62"/>
                  </a:lnTo>
                  <a:lnTo>
                    <a:pt x="358" y="62"/>
                  </a:lnTo>
                  <a:lnTo>
                    <a:pt x="358" y="59"/>
                  </a:lnTo>
                  <a:lnTo>
                    <a:pt x="358" y="62"/>
                  </a:lnTo>
                  <a:lnTo>
                    <a:pt x="358" y="59"/>
                  </a:lnTo>
                  <a:lnTo>
                    <a:pt x="360" y="59"/>
                  </a:lnTo>
                  <a:lnTo>
                    <a:pt x="363" y="59"/>
                  </a:lnTo>
                  <a:lnTo>
                    <a:pt x="363" y="57"/>
                  </a:lnTo>
                  <a:lnTo>
                    <a:pt x="363" y="59"/>
                  </a:lnTo>
                  <a:lnTo>
                    <a:pt x="365" y="59"/>
                  </a:lnTo>
                  <a:lnTo>
                    <a:pt x="368" y="59"/>
                  </a:lnTo>
                  <a:lnTo>
                    <a:pt x="370" y="59"/>
                  </a:lnTo>
                  <a:lnTo>
                    <a:pt x="370" y="62"/>
                  </a:lnTo>
                  <a:lnTo>
                    <a:pt x="372" y="62"/>
                  </a:lnTo>
                  <a:lnTo>
                    <a:pt x="372" y="64"/>
                  </a:lnTo>
                  <a:lnTo>
                    <a:pt x="375" y="64"/>
                  </a:lnTo>
                  <a:lnTo>
                    <a:pt x="377" y="64"/>
                  </a:lnTo>
                  <a:lnTo>
                    <a:pt x="377" y="62"/>
                  </a:lnTo>
                  <a:lnTo>
                    <a:pt x="379" y="62"/>
                  </a:lnTo>
                  <a:lnTo>
                    <a:pt x="382" y="62"/>
                  </a:lnTo>
                  <a:lnTo>
                    <a:pt x="384" y="62"/>
                  </a:lnTo>
                  <a:lnTo>
                    <a:pt x="387" y="62"/>
                  </a:lnTo>
                  <a:lnTo>
                    <a:pt x="387" y="64"/>
                  </a:lnTo>
                  <a:lnTo>
                    <a:pt x="389" y="64"/>
                  </a:lnTo>
                  <a:lnTo>
                    <a:pt x="389" y="67"/>
                  </a:lnTo>
                  <a:lnTo>
                    <a:pt x="391" y="67"/>
                  </a:lnTo>
                  <a:lnTo>
                    <a:pt x="391" y="64"/>
                  </a:lnTo>
                  <a:lnTo>
                    <a:pt x="394" y="64"/>
                  </a:lnTo>
                  <a:lnTo>
                    <a:pt x="394" y="67"/>
                  </a:lnTo>
                  <a:lnTo>
                    <a:pt x="396" y="67"/>
                  </a:lnTo>
                  <a:lnTo>
                    <a:pt x="396" y="64"/>
                  </a:lnTo>
                  <a:lnTo>
                    <a:pt x="394" y="64"/>
                  </a:lnTo>
                  <a:lnTo>
                    <a:pt x="396" y="64"/>
                  </a:lnTo>
                  <a:lnTo>
                    <a:pt x="396" y="62"/>
                  </a:lnTo>
                  <a:lnTo>
                    <a:pt x="398" y="62"/>
                  </a:lnTo>
                  <a:lnTo>
                    <a:pt x="401" y="62"/>
                  </a:lnTo>
                  <a:lnTo>
                    <a:pt x="401" y="59"/>
                  </a:lnTo>
                  <a:lnTo>
                    <a:pt x="403" y="59"/>
                  </a:lnTo>
                  <a:lnTo>
                    <a:pt x="405" y="59"/>
                  </a:lnTo>
                  <a:lnTo>
                    <a:pt x="408" y="59"/>
                  </a:lnTo>
                  <a:lnTo>
                    <a:pt x="408" y="62"/>
                  </a:lnTo>
                  <a:lnTo>
                    <a:pt x="410" y="62"/>
                  </a:lnTo>
                  <a:lnTo>
                    <a:pt x="413" y="62"/>
                  </a:lnTo>
                  <a:lnTo>
                    <a:pt x="410" y="62"/>
                  </a:lnTo>
                  <a:lnTo>
                    <a:pt x="410" y="64"/>
                  </a:lnTo>
                  <a:lnTo>
                    <a:pt x="413" y="64"/>
                  </a:lnTo>
                  <a:lnTo>
                    <a:pt x="413" y="67"/>
                  </a:lnTo>
                  <a:lnTo>
                    <a:pt x="413" y="64"/>
                  </a:lnTo>
                  <a:lnTo>
                    <a:pt x="413" y="67"/>
                  </a:lnTo>
                  <a:lnTo>
                    <a:pt x="415" y="67"/>
                  </a:lnTo>
                  <a:lnTo>
                    <a:pt x="417" y="67"/>
                  </a:lnTo>
                  <a:lnTo>
                    <a:pt x="415" y="67"/>
                  </a:lnTo>
                  <a:lnTo>
                    <a:pt x="415" y="69"/>
                  </a:lnTo>
                  <a:lnTo>
                    <a:pt x="415" y="71"/>
                  </a:lnTo>
                  <a:lnTo>
                    <a:pt x="413" y="69"/>
                  </a:lnTo>
                  <a:lnTo>
                    <a:pt x="413" y="71"/>
                  </a:lnTo>
                  <a:lnTo>
                    <a:pt x="413" y="69"/>
                  </a:lnTo>
                  <a:lnTo>
                    <a:pt x="410" y="69"/>
                  </a:lnTo>
                  <a:lnTo>
                    <a:pt x="410" y="71"/>
                  </a:lnTo>
                  <a:lnTo>
                    <a:pt x="410" y="74"/>
                  </a:lnTo>
                  <a:lnTo>
                    <a:pt x="410" y="76"/>
                  </a:lnTo>
                  <a:lnTo>
                    <a:pt x="413" y="76"/>
                  </a:lnTo>
                  <a:lnTo>
                    <a:pt x="410" y="76"/>
                  </a:lnTo>
                  <a:lnTo>
                    <a:pt x="413" y="76"/>
                  </a:lnTo>
                  <a:lnTo>
                    <a:pt x="413" y="78"/>
                  </a:lnTo>
                  <a:lnTo>
                    <a:pt x="413" y="81"/>
                  </a:lnTo>
                  <a:lnTo>
                    <a:pt x="410" y="81"/>
                  </a:lnTo>
                  <a:lnTo>
                    <a:pt x="413" y="81"/>
                  </a:lnTo>
                  <a:lnTo>
                    <a:pt x="413" y="83"/>
                  </a:lnTo>
                  <a:lnTo>
                    <a:pt x="413" y="86"/>
                  </a:lnTo>
                  <a:lnTo>
                    <a:pt x="413" y="88"/>
                  </a:lnTo>
                  <a:lnTo>
                    <a:pt x="410" y="88"/>
                  </a:lnTo>
                  <a:lnTo>
                    <a:pt x="408" y="88"/>
                  </a:lnTo>
                  <a:lnTo>
                    <a:pt x="408" y="90"/>
                  </a:lnTo>
                  <a:lnTo>
                    <a:pt x="408" y="93"/>
                  </a:lnTo>
                  <a:lnTo>
                    <a:pt x="405" y="93"/>
                  </a:lnTo>
                  <a:lnTo>
                    <a:pt x="403" y="93"/>
                  </a:lnTo>
                  <a:lnTo>
                    <a:pt x="403" y="95"/>
                  </a:lnTo>
                  <a:lnTo>
                    <a:pt x="401" y="95"/>
                  </a:lnTo>
                  <a:lnTo>
                    <a:pt x="398" y="95"/>
                  </a:lnTo>
                  <a:lnTo>
                    <a:pt x="398" y="97"/>
                  </a:lnTo>
                  <a:lnTo>
                    <a:pt x="398" y="95"/>
                  </a:lnTo>
                  <a:lnTo>
                    <a:pt x="398" y="97"/>
                  </a:lnTo>
                  <a:lnTo>
                    <a:pt x="396" y="97"/>
                  </a:lnTo>
                  <a:lnTo>
                    <a:pt x="394" y="100"/>
                  </a:lnTo>
                  <a:lnTo>
                    <a:pt x="391" y="100"/>
                  </a:lnTo>
                  <a:lnTo>
                    <a:pt x="389" y="102"/>
                  </a:lnTo>
                  <a:lnTo>
                    <a:pt x="387" y="102"/>
                  </a:lnTo>
                  <a:lnTo>
                    <a:pt x="387" y="105"/>
                  </a:lnTo>
                  <a:lnTo>
                    <a:pt x="384" y="105"/>
                  </a:lnTo>
                  <a:lnTo>
                    <a:pt x="382" y="105"/>
                  </a:lnTo>
                  <a:lnTo>
                    <a:pt x="382" y="107"/>
                  </a:lnTo>
                  <a:lnTo>
                    <a:pt x="379" y="107"/>
                  </a:lnTo>
                  <a:lnTo>
                    <a:pt x="379" y="109"/>
                  </a:lnTo>
                  <a:lnTo>
                    <a:pt x="379" y="112"/>
                  </a:lnTo>
                  <a:lnTo>
                    <a:pt x="379" y="109"/>
                  </a:lnTo>
                  <a:lnTo>
                    <a:pt x="379" y="112"/>
                  </a:lnTo>
                  <a:lnTo>
                    <a:pt x="377" y="112"/>
                  </a:lnTo>
                  <a:lnTo>
                    <a:pt x="379" y="112"/>
                  </a:lnTo>
                  <a:lnTo>
                    <a:pt x="377" y="112"/>
                  </a:lnTo>
                  <a:lnTo>
                    <a:pt x="377" y="114"/>
                  </a:lnTo>
                  <a:lnTo>
                    <a:pt x="375" y="114"/>
                  </a:lnTo>
                  <a:lnTo>
                    <a:pt x="372" y="114"/>
                  </a:lnTo>
                  <a:lnTo>
                    <a:pt x="370" y="114"/>
                  </a:lnTo>
                  <a:lnTo>
                    <a:pt x="370" y="116"/>
                  </a:lnTo>
                  <a:lnTo>
                    <a:pt x="368" y="116"/>
                  </a:lnTo>
                  <a:lnTo>
                    <a:pt x="365" y="116"/>
                  </a:lnTo>
                  <a:lnTo>
                    <a:pt x="363" y="116"/>
                  </a:lnTo>
                  <a:lnTo>
                    <a:pt x="365" y="116"/>
                  </a:lnTo>
                  <a:lnTo>
                    <a:pt x="363" y="116"/>
                  </a:lnTo>
                  <a:lnTo>
                    <a:pt x="363" y="119"/>
                  </a:lnTo>
                  <a:lnTo>
                    <a:pt x="360" y="119"/>
                  </a:lnTo>
                  <a:lnTo>
                    <a:pt x="358" y="119"/>
                  </a:lnTo>
                  <a:lnTo>
                    <a:pt x="356" y="119"/>
                  </a:lnTo>
                  <a:lnTo>
                    <a:pt x="353" y="119"/>
                  </a:lnTo>
                  <a:lnTo>
                    <a:pt x="353" y="121"/>
                  </a:lnTo>
                  <a:lnTo>
                    <a:pt x="351" y="121"/>
                  </a:lnTo>
                  <a:lnTo>
                    <a:pt x="349" y="121"/>
                  </a:lnTo>
                  <a:lnTo>
                    <a:pt x="349" y="124"/>
                  </a:lnTo>
                  <a:lnTo>
                    <a:pt x="346" y="124"/>
                  </a:lnTo>
                  <a:lnTo>
                    <a:pt x="349" y="124"/>
                  </a:lnTo>
                  <a:lnTo>
                    <a:pt x="349" y="121"/>
                  </a:lnTo>
                  <a:lnTo>
                    <a:pt x="346" y="124"/>
                  </a:lnTo>
                  <a:lnTo>
                    <a:pt x="346" y="121"/>
                  </a:lnTo>
                  <a:lnTo>
                    <a:pt x="346" y="124"/>
                  </a:lnTo>
                  <a:lnTo>
                    <a:pt x="344" y="124"/>
                  </a:lnTo>
                  <a:lnTo>
                    <a:pt x="341" y="124"/>
                  </a:lnTo>
                  <a:lnTo>
                    <a:pt x="339" y="126"/>
                  </a:lnTo>
                  <a:lnTo>
                    <a:pt x="337" y="126"/>
                  </a:lnTo>
                  <a:lnTo>
                    <a:pt x="337" y="128"/>
                  </a:lnTo>
                  <a:lnTo>
                    <a:pt x="334" y="128"/>
                  </a:lnTo>
                  <a:lnTo>
                    <a:pt x="334" y="131"/>
                  </a:lnTo>
                  <a:lnTo>
                    <a:pt x="334" y="133"/>
                  </a:lnTo>
                  <a:lnTo>
                    <a:pt x="332" y="133"/>
                  </a:lnTo>
                  <a:lnTo>
                    <a:pt x="332" y="135"/>
                  </a:lnTo>
                  <a:lnTo>
                    <a:pt x="330" y="135"/>
                  </a:lnTo>
                  <a:lnTo>
                    <a:pt x="330" y="138"/>
                  </a:lnTo>
                  <a:lnTo>
                    <a:pt x="332" y="138"/>
                  </a:lnTo>
                  <a:lnTo>
                    <a:pt x="332" y="135"/>
                  </a:lnTo>
                  <a:lnTo>
                    <a:pt x="332" y="138"/>
                  </a:lnTo>
                  <a:lnTo>
                    <a:pt x="334" y="138"/>
                  </a:lnTo>
                  <a:lnTo>
                    <a:pt x="334" y="140"/>
                  </a:lnTo>
                  <a:lnTo>
                    <a:pt x="334" y="138"/>
                  </a:lnTo>
                  <a:lnTo>
                    <a:pt x="334" y="140"/>
                  </a:lnTo>
                  <a:lnTo>
                    <a:pt x="332" y="140"/>
                  </a:lnTo>
                  <a:lnTo>
                    <a:pt x="330" y="140"/>
                  </a:lnTo>
                  <a:lnTo>
                    <a:pt x="327" y="140"/>
                  </a:lnTo>
                  <a:lnTo>
                    <a:pt x="325" y="140"/>
                  </a:lnTo>
                  <a:lnTo>
                    <a:pt x="325" y="138"/>
                  </a:lnTo>
                  <a:lnTo>
                    <a:pt x="322" y="135"/>
                  </a:lnTo>
                  <a:lnTo>
                    <a:pt x="325" y="135"/>
                  </a:lnTo>
                  <a:lnTo>
                    <a:pt x="325" y="133"/>
                  </a:lnTo>
                  <a:lnTo>
                    <a:pt x="322" y="133"/>
                  </a:lnTo>
                  <a:lnTo>
                    <a:pt x="322" y="131"/>
                  </a:lnTo>
                  <a:lnTo>
                    <a:pt x="325" y="131"/>
                  </a:lnTo>
                  <a:lnTo>
                    <a:pt x="322" y="131"/>
                  </a:lnTo>
                  <a:lnTo>
                    <a:pt x="322" y="128"/>
                  </a:lnTo>
                  <a:lnTo>
                    <a:pt x="322" y="131"/>
                  </a:lnTo>
                  <a:lnTo>
                    <a:pt x="322" y="133"/>
                  </a:lnTo>
                  <a:lnTo>
                    <a:pt x="325" y="133"/>
                  </a:lnTo>
                  <a:lnTo>
                    <a:pt x="325" y="135"/>
                  </a:lnTo>
                  <a:lnTo>
                    <a:pt x="322" y="135"/>
                  </a:lnTo>
                  <a:lnTo>
                    <a:pt x="322" y="138"/>
                  </a:lnTo>
                  <a:lnTo>
                    <a:pt x="325" y="138"/>
                  </a:lnTo>
                  <a:lnTo>
                    <a:pt x="325" y="140"/>
                  </a:lnTo>
                  <a:lnTo>
                    <a:pt x="327" y="140"/>
                  </a:lnTo>
                  <a:lnTo>
                    <a:pt x="330" y="140"/>
                  </a:lnTo>
                  <a:lnTo>
                    <a:pt x="332" y="140"/>
                  </a:lnTo>
                  <a:lnTo>
                    <a:pt x="334" y="140"/>
                  </a:lnTo>
                  <a:lnTo>
                    <a:pt x="337" y="140"/>
                  </a:lnTo>
                  <a:lnTo>
                    <a:pt x="334" y="140"/>
                  </a:lnTo>
                  <a:lnTo>
                    <a:pt x="334" y="143"/>
                  </a:lnTo>
                  <a:lnTo>
                    <a:pt x="332" y="143"/>
                  </a:lnTo>
                  <a:lnTo>
                    <a:pt x="332" y="145"/>
                  </a:lnTo>
                  <a:lnTo>
                    <a:pt x="330" y="145"/>
                  </a:lnTo>
                  <a:lnTo>
                    <a:pt x="330" y="147"/>
                  </a:lnTo>
                  <a:lnTo>
                    <a:pt x="327" y="147"/>
                  </a:lnTo>
                  <a:lnTo>
                    <a:pt x="327" y="145"/>
                  </a:lnTo>
                  <a:lnTo>
                    <a:pt x="327" y="147"/>
                  </a:lnTo>
                  <a:lnTo>
                    <a:pt x="327" y="145"/>
                  </a:lnTo>
                  <a:lnTo>
                    <a:pt x="330" y="145"/>
                  </a:lnTo>
                  <a:lnTo>
                    <a:pt x="327" y="145"/>
                  </a:lnTo>
                  <a:lnTo>
                    <a:pt x="330" y="145"/>
                  </a:lnTo>
                  <a:lnTo>
                    <a:pt x="330" y="147"/>
                  </a:lnTo>
                  <a:lnTo>
                    <a:pt x="330" y="145"/>
                  </a:lnTo>
                  <a:lnTo>
                    <a:pt x="330" y="147"/>
                  </a:lnTo>
                  <a:lnTo>
                    <a:pt x="330" y="145"/>
                  </a:lnTo>
                  <a:lnTo>
                    <a:pt x="332" y="145"/>
                  </a:lnTo>
                  <a:lnTo>
                    <a:pt x="332" y="143"/>
                  </a:lnTo>
                  <a:lnTo>
                    <a:pt x="330" y="143"/>
                  </a:lnTo>
                  <a:lnTo>
                    <a:pt x="330" y="145"/>
                  </a:lnTo>
                  <a:lnTo>
                    <a:pt x="327" y="145"/>
                  </a:lnTo>
                  <a:lnTo>
                    <a:pt x="325" y="145"/>
                  </a:lnTo>
                  <a:lnTo>
                    <a:pt x="325" y="147"/>
                  </a:lnTo>
                  <a:lnTo>
                    <a:pt x="325" y="150"/>
                  </a:lnTo>
                  <a:lnTo>
                    <a:pt x="322" y="150"/>
                  </a:lnTo>
                  <a:lnTo>
                    <a:pt x="322" y="152"/>
                  </a:lnTo>
                  <a:lnTo>
                    <a:pt x="320" y="154"/>
                  </a:lnTo>
                  <a:lnTo>
                    <a:pt x="320" y="157"/>
                  </a:lnTo>
                  <a:lnTo>
                    <a:pt x="318" y="157"/>
                  </a:lnTo>
                  <a:lnTo>
                    <a:pt x="318" y="159"/>
                  </a:lnTo>
                  <a:lnTo>
                    <a:pt x="318" y="162"/>
                  </a:lnTo>
                  <a:lnTo>
                    <a:pt x="315" y="162"/>
                  </a:lnTo>
                  <a:lnTo>
                    <a:pt x="315" y="164"/>
                  </a:lnTo>
                  <a:lnTo>
                    <a:pt x="313" y="164"/>
                  </a:lnTo>
                  <a:lnTo>
                    <a:pt x="313" y="166"/>
                  </a:lnTo>
                  <a:lnTo>
                    <a:pt x="311" y="169"/>
                  </a:lnTo>
                  <a:lnTo>
                    <a:pt x="308" y="171"/>
                  </a:lnTo>
                  <a:lnTo>
                    <a:pt x="308" y="174"/>
                  </a:lnTo>
                  <a:lnTo>
                    <a:pt x="306" y="174"/>
                  </a:lnTo>
                  <a:lnTo>
                    <a:pt x="306" y="176"/>
                  </a:lnTo>
                  <a:lnTo>
                    <a:pt x="306" y="178"/>
                  </a:lnTo>
                  <a:lnTo>
                    <a:pt x="303" y="178"/>
                  </a:lnTo>
                  <a:lnTo>
                    <a:pt x="303" y="181"/>
                  </a:lnTo>
                  <a:lnTo>
                    <a:pt x="301" y="183"/>
                  </a:lnTo>
                  <a:lnTo>
                    <a:pt x="301" y="185"/>
                  </a:lnTo>
                  <a:lnTo>
                    <a:pt x="301" y="188"/>
                  </a:lnTo>
                  <a:lnTo>
                    <a:pt x="299" y="188"/>
                  </a:lnTo>
                  <a:lnTo>
                    <a:pt x="301" y="188"/>
                  </a:lnTo>
                  <a:lnTo>
                    <a:pt x="299" y="188"/>
                  </a:lnTo>
                  <a:lnTo>
                    <a:pt x="301" y="188"/>
                  </a:lnTo>
                  <a:lnTo>
                    <a:pt x="299" y="188"/>
                  </a:lnTo>
                  <a:lnTo>
                    <a:pt x="299" y="190"/>
                  </a:lnTo>
                  <a:lnTo>
                    <a:pt x="299" y="193"/>
                  </a:lnTo>
                  <a:lnTo>
                    <a:pt x="296" y="193"/>
                  </a:lnTo>
                  <a:lnTo>
                    <a:pt x="296" y="195"/>
                  </a:lnTo>
                  <a:lnTo>
                    <a:pt x="296" y="197"/>
                  </a:lnTo>
                  <a:lnTo>
                    <a:pt x="294" y="197"/>
                  </a:lnTo>
                  <a:lnTo>
                    <a:pt x="296" y="197"/>
                  </a:lnTo>
                  <a:lnTo>
                    <a:pt x="296" y="200"/>
                  </a:lnTo>
                  <a:lnTo>
                    <a:pt x="296" y="202"/>
                  </a:lnTo>
                  <a:lnTo>
                    <a:pt x="296" y="204"/>
                  </a:lnTo>
                  <a:lnTo>
                    <a:pt x="299" y="204"/>
                  </a:lnTo>
                  <a:lnTo>
                    <a:pt x="299" y="207"/>
                  </a:lnTo>
                  <a:lnTo>
                    <a:pt x="299" y="209"/>
                  </a:lnTo>
                  <a:lnTo>
                    <a:pt x="299" y="212"/>
                  </a:lnTo>
                  <a:lnTo>
                    <a:pt x="299" y="214"/>
                  </a:lnTo>
                  <a:lnTo>
                    <a:pt x="301" y="214"/>
                  </a:lnTo>
                  <a:lnTo>
                    <a:pt x="301" y="216"/>
                  </a:lnTo>
                  <a:lnTo>
                    <a:pt x="301" y="219"/>
                  </a:lnTo>
                  <a:lnTo>
                    <a:pt x="301" y="216"/>
                  </a:lnTo>
                  <a:lnTo>
                    <a:pt x="301" y="219"/>
                  </a:lnTo>
                  <a:lnTo>
                    <a:pt x="303" y="219"/>
                  </a:lnTo>
                  <a:lnTo>
                    <a:pt x="303" y="221"/>
                  </a:lnTo>
                  <a:lnTo>
                    <a:pt x="306" y="221"/>
                  </a:lnTo>
                  <a:lnTo>
                    <a:pt x="306" y="223"/>
                  </a:lnTo>
                  <a:lnTo>
                    <a:pt x="308" y="223"/>
                  </a:lnTo>
                  <a:lnTo>
                    <a:pt x="311" y="223"/>
                  </a:lnTo>
                  <a:lnTo>
                    <a:pt x="311" y="226"/>
                  </a:lnTo>
                  <a:lnTo>
                    <a:pt x="313" y="226"/>
                  </a:lnTo>
                  <a:lnTo>
                    <a:pt x="313" y="228"/>
                  </a:lnTo>
                  <a:lnTo>
                    <a:pt x="315" y="228"/>
                  </a:lnTo>
                  <a:lnTo>
                    <a:pt x="313" y="228"/>
                  </a:lnTo>
                  <a:lnTo>
                    <a:pt x="313" y="231"/>
                  </a:lnTo>
                  <a:lnTo>
                    <a:pt x="313" y="228"/>
                  </a:lnTo>
                  <a:lnTo>
                    <a:pt x="313" y="231"/>
                  </a:lnTo>
                  <a:lnTo>
                    <a:pt x="311" y="231"/>
                  </a:lnTo>
                  <a:lnTo>
                    <a:pt x="311" y="233"/>
                  </a:lnTo>
                  <a:lnTo>
                    <a:pt x="308" y="233"/>
                  </a:lnTo>
                  <a:lnTo>
                    <a:pt x="311" y="233"/>
                  </a:lnTo>
                  <a:lnTo>
                    <a:pt x="308" y="233"/>
                  </a:lnTo>
                  <a:lnTo>
                    <a:pt x="306" y="233"/>
                  </a:lnTo>
                  <a:lnTo>
                    <a:pt x="306" y="235"/>
                  </a:lnTo>
                  <a:lnTo>
                    <a:pt x="306" y="238"/>
                  </a:lnTo>
                  <a:lnTo>
                    <a:pt x="303" y="238"/>
                  </a:lnTo>
                  <a:lnTo>
                    <a:pt x="301" y="238"/>
                  </a:lnTo>
                  <a:lnTo>
                    <a:pt x="301" y="240"/>
                  </a:lnTo>
                  <a:lnTo>
                    <a:pt x="299" y="240"/>
                  </a:lnTo>
                  <a:lnTo>
                    <a:pt x="296" y="240"/>
                  </a:lnTo>
                  <a:lnTo>
                    <a:pt x="296" y="242"/>
                  </a:lnTo>
                  <a:lnTo>
                    <a:pt x="294" y="242"/>
                  </a:lnTo>
                  <a:lnTo>
                    <a:pt x="294" y="245"/>
                  </a:lnTo>
                  <a:lnTo>
                    <a:pt x="294" y="247"/>
                  </a:lnTo>
                  <a:lnTo>
                    <a:pt x="292" y="247"/>
                  </a:lnTo>
                  <a:lnTo>
                    <a:pt x="292" y="245"/>
                  </a:lnTo>
                  <a:lnTo>
                    <a:pt x="292" y="247"/>
                  </a:lnTo>
                  <a:lnTo>
                    <a:pt x="289" y="247"/>
                  </a:lnTo>
                  <a:lnTo>
                    <a:pt x="289" y="250"/>
                  </a:lnTo>
                  <a:lnTo>
                    <a:pt x="289" y="252"/>
                  </a:lnTo>
                  <a:lnTo>
                    <a:pt x="289" y="254"/>
                  </a:lnTo>
                  <a:lnTo>
                    <a:pt x="287" y="254"/>
                  </a:lnTo>
                  <a:lnTo>
                    <a:pt x="287" y="257"/>
                  </a:lnTo>
                  <a:lnTo>
                    <a:pt x="284" y="257"/>
                  </a:lnTo>
                  <a:lnTo>
                    <a:pt x="284" y="259"/>
                  </a:lnTo>
                  <a:lnTo>
                    <a:pt x="284" y="261"/>
                  </a:lnTo>
                  <a:lnTo>
                    <a:pt x="284" y="264"/>
                  </a:lnTo>
                  <a:lnTo>
                    <a:pt x="282" y="264"/>
                  </a:lnTo>
                  <a:lnTo>
                    <a:pt x="282" y="266"/>
                  </a:lnTo>
                  <a:lnTo>
                    <a:pt x="282" y="269"/>
                  </a:lnTo>
                  <a:lnTo>
                    <a:pt x="282" y="271"/>
                  </a:lnTo>
                  <a:lnTo>
                    <a:pt x="282" y="269"/>
                  </a:lnTo>
                  <a:lnTo>
                    <a:pt x="282" y="271"/>
                  </a:lnTo>
                  <a:lnTo>
                    <a:pt x="282" y="269"/>
                  </a:lnTo>
                  <a:lnTo>
                    <a:pt x="282" y="271"/>
                  </a:lnTo>
                  <a:lnTo>
                    <a:pt x="280" y="271"/>
                  </a:lnTo>
                  <a:lnTo>
                    <a:pt x="280" y="273"/>
                  </a:lnTo>
                  <a:lnTo>
                    <a:pt x="277" y="273"/>
                  </a:lnTo>
                  <a:lnTo>
                    <a:pt x="277" y="276"/>
                  </a:lnTo>
                  <a:lnTo>
                    <a:pt x="280" y="276"/>
                  </a:lnTo>
                  <a:lnTo>
                    <a:pt x="280" y="278"/>
                  </a:lnTo>
                  <a:lnTo>
                    <a:pt x="282" y="278"/>
                  </a:lnTo>
                  <a:lnTo>
                    <a:pt x="282" y="276"/>
                  </a:lnTo>
                  <a:lnTo>
                    <a:pt x="282" y="273"/>
                  </a:lnTo>
                  <a:lnTo>
                    <a:pt x="282" y="271"/>
                  </a:lnTo>
                  <a:lnTo>
                    <a:pt x="282" y="273"/>
                  </a:lnTo>
                  <a:lnTo>
                    <a:pt x="282" y="276"/>
                  </a:lnTo>
                  <a:lnTo>
                    <a:pt x="282" y="278"/>
                  </a:lnTo>
                  <a:lnTo>
                    <a:pt x="284" y="278"/>
                  </a:lnTo>
                  <a:lnTo>
                    <a:pt x="282" y="278"/>
                  </a:lnTo>
                  <a:lnTo>
                    <a:pt x="282" y="280"/>
                  </a:lnTo>
                  <a:lnTo>
                    <a:pt x="280" y="280"/>
                  </a:lnTo>
                  <a:lnTo>
                    <a:pt x="277" y="280"/>
                  </a:lnTo>
                  <a:lnTo>
                    <a:pt x="277" y="283"/>
                  </a:lnTo>
                  <a:lnTo>
                    <a:pt x="275" y="283"/>
                  </a:lnTo>
                  <a:lnTo>
                    <a:pt x="275" y="280"/>
                  </a:lnTo>
                  <a:lnTo>
                    <a:pt x="275" y="283"/>
                  </a:lnTo>
                  <a:lnTo>
                    <a:pt x="275" y="280"/>
                  </a:lnTo>
                  <a:lnTo>
                    <a:pt x="273" y="280"/>
                  </a:lnTo>
                  <a:lnTo>
                    <a:pt x="270" y="280"/>
                  </a:lnTo>
                  <a:lnTo>
                    <a:pt x="270" y="283"/>
                  </a:lnTo>
                  <a:lnTo>
                    <a:pt x="268" y="283"/>
                  </a:lnTo>
                  <a:lnTo>
                    <a:pt x="268" y="280"/>
                  </a:lnTo>
                  <a:lnTo>
                    <a:pt x="265" y="280"/>
                  </a:lnTo>
                  <a:lnTo>
                    <a:pt x="265" y="283"/>
                  </a:lnTo>
                  <a:lnTo>
                    <a:pt x="265" y="280"/>
                  </a:lnTo>
                  <a:lnTo>
                    <a:pt x="265" y="283"/>
                  </a:lnTo>
                  <a:lnTo>
                    <a:pt x="265" y="280"/>
                  </a:lnTo>
                  <a:lnTo>
                    <a:pt x="265" y="283"/>
                  </a:lnTo>
                  <a:lnTo>
                    <a:pt x="265" y="280"/>
                  </a:lnTo>
                  <a:lnTo>
                    <a:pt x="263" y="280"/>
                  </a:lnTo>
                  <a:lnTo>
                    <a:pt x="263" y="283"/>
                  </a:lnTo>
                  <a:lnTo>
                    <a:pt x="261" y="283"/>
                  </a:lnTo>
                  <a:lnTo>
                    <a:pt x="261" y="285"/>
                  </a:lnTo>
                  <a:lnTo>
                    <a:pt x="258" y="285"/>
                  </a:lnTo>
                  <a:lnTo>
                    <a:pt x="258" y="288"/>
                  </a:lnTo>
                  <a:lnTo>
                    <a:pt x="256" y="288"/>
                  </a:lnTo>
                  <a:lnTo>
                    <a:pt x="254" y="288"/>
                  </a:lnTo>
                  <a:lnTo>
                    <a:pt x="256" y="288"/>
                  </a:lnTo>
                  <a:lnTo>
                    <a:pt x="254" y="288"/>
                  </a:lnTo>
                  <a:lnTo>
                    <a:pt x="254" y="290"/>
                  </a:lnTo>
                  <a:lnTo>
                    <a:pt x="251" y="290"/>
                  </a:lnTo>
                  <a:lnTo>
                    <a:pt x="251" y="292"/>
                  </a:lnTo>
                  <a:lnTo>
                    <a:pt x="249" y="292"/>
                  </a:lnTo>
                  <a:lnTo>
                    <a:pt x="249" y="295"/>
                  </a:lnTo>
                  <a:lnTo>
                    <a:pt x="249" y="297"/>
                  </a:lnTo>
                  <a:lnTo>
                    <a:pt x="247" y="297"/>
                  </a:lnTo>
                  <a:lnTo>
                    <a:pt x="247" y="299"/>
                  </a:lnTo>
                  <a:lnTo>
                    <a:pt x="247" y="302"/>
                  </a:lnTo>
                  <a:lnTo>
                    <a:pt x="247" y="304"/>
                  </a:lnTo>
                  <a:lnTo>
                    <a:pt x="244" y="304"/>
                  </a:lnTo>
                  <a:lnTo>
                    <a:pt x="244" y="307"/>
                  </a:lnTo>
                  <a:lnTo>
                    <a:pt x="244" y="309"/>
                  </a:lnTo>
                  <a:lnTo>
                    <a:pt x="242" y="309"/>
                  </a:lnTo>
                  <a:lnTo>
                    <a:pt x="242" y="311"/>
                  </a:lnTo>
                  <a:lnTo>
                    <a:pt x="242" y="314"/>
                  </a:lnTo>
                  <a:lnTo>
                    <a:pt x="239" y="314"/>
                  </a:lnTo>
                  <a:lnTo>
                    <a:pt x="239" y="316"/>
                  </a:lnTo>
                  <a:lnTo>
                    <a:pt x="237" y="316"/>
                  </a:lnTo>
                  <a:lnTo>
                    <a:pt x="239" y="316"/>
                  </a:lnTo>
                  <a:lnTo>
                    <a:pt x="237" y="316"/>
                  </a:lnTo>
                  <a:lnTo>
                    <a:pt x="237" y="318"/>
                  </a:lnTo>
                  <a:lnTo>
                    <a:pt x="235" y="318"/>
                  </a:lnTo>
                  <a:lnTo>
                    <a:pt x="232" y="316"/>
                  </a:lnTo>
                  <a:lnTo>
                    <a:pt x="232" y="314"/>
                  </a:lnTo>
                  <a:lnTo>
                    <a:pt x="230" y="314"/>
                  </a:lnTo>
                  <a:lnTo>
                    <a:pt x="228" y="314"/>
                  </a:lnTo>
                  <a:lnTo>
                    <a:pt x="225" y="314"/>
                  </a:lnTo>
                  <a:lnTo>
                    <a:pt x="223" y="314"/>
                  </a:lnTo>
                  <a:lnTo>
                    <a:pt x="223" y="316"/>
                  </a:lnTo>
                  <a:lnTo>
                    <a:pt x="220" y="316"/>
                  </a:lnTo>
                  <a:lnTo>
                    <a:pt x="220" y="318"/>
                  </a:lnTo>
                  <a:lnTo>
                    <a:pt x="218" y="321"/>
                  </a:lnTo>
                  <a:lnTo>
                    <a:pt x="216" y="321"/>
                  </a:lnTo>
                  <a:lnTo>
                    <a:pt x="213" y="318"/>
                  </a:lnTo>
                  <a:lnTo>
                    <a:pt x="213" y="321"/>
                  </a:lnTo>
                  <a:lnTo>
                    <a:pt x="211" y="318"/>
                  </a:lnTo>
                  <a:lnTo>
                    <a:pt x="209" y="318"/>
                  </a:lnTo>
                  <a:lnTo>
                    <a:pt x="206" y="318"/>
                  </a:lnTo>
                  <a:lnTo>
                    <a:pt x="204" y="318"/>
                  </a:lnTo>
                  <a:lnTo>
                    <a:pt x="201" y="318"/>
                  </a:lnTo>
                  <a:lnTo>
                    <a:pt x="199" y="318"/>
                  </a:lnTo>
                  <a:lnTo>
                    <a:pt x="197" y="318"/>
                  </a:lnTo>
                  <a:lnTo>
                    <a:pt x="194" y="318"/>
                  </a:lnTo>
                  <a:lnTo>
                    <a:pt x="194" y="321"/>
                  </a:lnTo>
                  <a:lnTo>
                    <a:pt x="194" y="318"/>
                  </a:lnTo>
                  <a:lnTo>
                    <a:pt x="194" y="321"/>
                  </a:lnTo>
                  <a:lnTo>
                    <a:pt x="192" y="321"/>
                  </a:lnTo>
                  <a:lnTo>
                    <a:pt x="192" y="318"/>
                  </a:lnTo>
                  <a:lnTo>
                    <a:pt x="190" y="318"/>
                  </a:lnTo>
                  <a:lnTo>
                    <a:pt x="187" y="318"/>
                  </a:lnTo>
                  <a:lnTo>
                    <a:pt x="185" y="318"/>
                  </a:lnTo>
                  <a:lnTo>
                    <a:pt x="182" y="318"/>
                  </a:lnTo>
                  <a:lnTo>
                    <a:pt x="180" y="318"/>
                  </a:lnTo>
                  <a:lnTo>
                    <a:pt x="178" y="318"/>
                  </a:lnTo>
                  <a:lnTo>
                    <a:pt x="175" y="318"/>
                  </a:lnTo>
                  <a:lnTo>
                    <a:pt x="173" y="318"/>
                  </a:lnTo>
                  <a:lnTo>
                    <a:pt x="171" y="318"/>
                  </a:lnTo>
                  <a:lnTo>
                    <a:pt x="168" y="318"/>
                  </a:lnTo>
                  <a:lnTo>
                    <a:pt x="166" y="318"/>
                  </a:lnTo>
                  <a:lnTo>
                    <a:pt x="163" y="318"/>
                  </a:lnTo>
                  <a:lnTo>
                    <a:pt x="161" y="318"/>
                  </a:lnTo>
                  <a:lnTo>
                    <a:pt x="161" y="321"/>
                  </a:lnTo>
                  <a:lnTo>
                    <a:pt x="161" y="318"/>
                  </a:lnTo>
                  <a:lnTo>
                    <a:pt x="161" y="321"/>
                  </a:lnTo>
                  <a:lnTo>
                    <a:pt x="161" y="318"/>
                  </a:lnTo>
                  <a:lnTo>
                    <a:pt x="161" y="321"/>
                  </a:lnTo>
                  <a:lnTo>
                    <a:pt x="159" y="321"/>
                  </a:lnTo>
                  <a:lnTo>
                    <a:pt x="159" y="323"/>
                  </a:lnTo>
                  <a:lnTo>
                    <a:pt x="159" y="326"/>
                  </a:lnTo>
                  <a:lnTo>
                    <a:pt x="159" y="323"/>
                  </a:lnTo>
                  <a:lnTo>
                    <a:pt x="159" y="326"/>
                  </a:lnTo>
                  <a:lnTo>
                    <a:pt x="156" y="326"/>
                  </a:lnTo>
                  <a:lnTo>
                    <a:pt x="154" y="326"/>
                  </a:lnTo>
                  <a:lnTo>
                    <a:pt x="154" y="328"/>
                  </a:lnTo>
                  <a:lnTo>
                    <a:pt x="152" y="328"/>
                  </a:lnTo>
                  <a:lnTo>
                    <a:pt x="152" y="330"/>
                  </a:lnTo>
                  <a:lnTo>
                    <a:pt x="149" y="330"/>
                  </a:lnTo>
                  <a:lnTo>
                    <a:pt x="147" y="328"/>
                  </a:lnTo>
                  <a:lnTo>
                    <a:pt x="144" y="328"/>
                  </a:lnTo>
                  <a:lnTo>
                    <a:pt x="144" y="330"/>
                  </a:lnTo>
                  <a:lnTo>
                    <a:pt x="142" y="330"/>
                  </a:lnTo>
                  <a:lnTo>
                    <a:pt x="140" y="330"/>
                  </a:lnTo>
                  <a:lnTo>
                    <a:pt x="137" y="330"/>
                  </a:lnTo>
                  <a:lnTo>
                    <a:pt x="137" y="333"/>
                  </a:lnTo>
                  <a:lnTo>
                    <a:pt x="135" y="333"/>
                  </a:lnTo>
                  <a:lnTo>
                    <a:pt x="135" y="335"/>
                  </a:lnTo>
                  <a:lnTo>
                    <a:pt x="133" y="337"/>
                  </a:lnTo>
                  <a:lnTo>
                    <a:pt x="133" y="340"/>
                  </a:lnTo>
                  <a:lnTo>
                    <a:pt x="130" y="340"/>
                  </a:lnTo>
                  <a:lnTo>
                    <a:pt x="130" y="342"/>
                  </a:lnTo>
                  <a:lnTo>
                    <a:pt x="130" y="345"/>
                  </a:lnTo>
                  <a:lnTo>
                    <a:pt x="130" y="342"/>
                  </a:lnTo>
                  <a:lnTo>
                    <a:pt x="128" y="342"/>
                  </a:lnTo>
                  <a:lnTo>
                    <a:pt x="128" y="345"/>
                  </a:lnTo>
                  <a:lnTo>
                    <a:pt x="128" y="347"/>
                  </a:lnTo>
                  <a:lnTo>
                    <a:pt x="128" y="349"/>
                  </a:lnTo>
                  <a:lnTo>
                    <a:pt x="126" y="349"/>
                  </a:lnTo>
                  <a:lnTo>
                    <a:pt x="123" y="349"/>
                  </a:lnTo>
                  <a:lnTo>
                    <a:pt x="121" y="349"/>
                  </a:lnTo>
                  <a:lnTo>
                    <a:pt x="121" y="352"/>
                  </a:lnTo>
                  <a:lnTo>
                    <a:pt x="121" y="349"/>
                  </a:lnTo>
                  <a:lnTo>
                    <a:pt x="121" y="347"/>
                  </a:lnTo>
                  <a:lnTo>
                    <a:pt x="118" y="347"/>
                  </a:lnTo>
                  <a:lnTo>
                    <a:pt x="116" y="347"/>
                  </a:lnTo>
                  <a:lnTo>
                    <a:pt x="114" y="347"/>
                  </a:lnTo>
                  <a:lnTo>
                    <a:pt x="114" y="345"/>
                  </a:lnTo>
                  <a:lnTo>
                    <a:pt x="114" y="342"/>
                  </a:lnTo>
                  <a:lnTo>
                    <a:pt x="111" y="342"/>
                  </a:lnTo>
                  <a:lnTo>
                    <a:pt x="109" y="342"/>
                  </a:lnTo>
                  <a:lnTo>
                    <a:pt x="107" y="342"/>
                  </a:lnTo>
                  <a:lnTo>
                    <a:pt x="107" y="340"/>
                  </a:lnTo>
                  <a:lnTo>
                    <a:pt x="104" y="337"/>
                  </a:lnTo>
                  <a:lnTo>
                    <a:pt x="104" y="335"/>
                  </a:lnTo>
                  <a:lnTo>
                    <a:pt x="102" y="335"/>
                  </a:lnTo>
                  <a:lnTo>
                    <a:pt x="102" y="333"/>
                  </a:lnTo>
                  <a:lnTo>
                    <a:pt x="102" y="330"/>
                  </a:lnTo>
                  <a:lnTo>
                    <a:pt x="102" y="333"/>
                  </a:lnTo>
                  <a:lnTo>
                    <a:pt x="102" y="330"/>
                  </a:lnTo>
                  <a:lnTo>
                    <a:pt x="99" y="330"/>
                  </a:lnTo>
                  <a:lnTo>
                    <a:pt x="99" y="328"/>
                  </a:lnTo>
                  <a:lnTo>
                    <a:pt x="99" y="326"/>
                  </a:lnTo>
                  <a:lnTo>
                    <a:pt x="99" y="328"/>
                  </a:lnTo>
                  <a:lnTo>
                    <a:pt x="99" y="330"/>
                  </a:lnTo>
                  <a:lnTo>
                    <a:pt x="102" y="330"/>
                  </a:lnTo>
                  <a:lnTo>
                    <a:pt x="102" y="328"/>
                  </a:lnTo>
                  <a:lnTo>
                    <a:pt x="104" y="328"/>
                  </a:lnTo>
                  <a:lnTo>
                    <a:pt x="102" y="328"/>
                  </a:lnTo>
                  <a:lnTo>
                    <a:pt x="104" y="328"/>
                  </a:lnTo>
                  <a:lnTo>
                    <a:pt x="102" y="328"/>
                  </a:lnTo>
                  <a:lnTo>
                    <a:pt x="99" y="328"/>
                  </a:lnTo>
                  <a:lnTo>
                    <a:pt x="102" y="328"/>
                  </a:lnTo>
                  <a:lnTo>
                    <a:pt x="102" y="326"/>
                  </a:lnTo>
                  <a:lnTo>
                    <a:pt x="102" y="328"/>
                  </a:lnTo>
                  <a:lnTo>
                    <a:pt x="102" y="326"/>
                  </a:lnTo>
                  <a:lnTo>
                    <a:pt x="99" y="326"/>
                  </a:lnTo>
                  <a:lnTo>
                    <a:pt x="99" y="323"/>
                  </a:lnTo>
                  <a:lnTo>
                    <a:pt x="97" y="323"/>
                  </a:lnTo>
                  <a:lnTo>
                    <a:pt x="95" y="321"/>
                  </a:lnTo>
                  <a:lnTo>
                    <a:pt x="95" y="318"/>
                  </a:lnTo>
                  <a:lnTo>
                    <a:pt x="95" y="316"/>
                  </a:lnTo>
                  <a:lnTo>
                    <a:pt x="97" y="316"/>
                  </a:lnTo>
                  <a:lnTo>
                    <a:pt x="97" y="314"/>
                  </a:lnTo>
                  <a:lnTo>
                    <a:pt x="97" y="311"/>
                  </a:lnTo>
                  <a:lnTo>
                    <a:pt x="99" y="311"/>
                  </a:lnTo>
                  <a:lnTo>
                    <a:pt x="102" y="311"/>
                  </a:lnTo>
                  <a:lnTo>
                    <a:pt x="99" y="311"/>
                  </a:lnTo>
                  <a:lnTo>
                    <a:pt x="97" y="311"/>
                  </a:lnTo>
                  <a:lnTo>
                    <a:pt x="97" y="314"/>
                  </a:lnTo>
                  <a:lnTo>
                    <a:pt x="97" y="316"/>
                  </a:lnTo>
                  <a:lnTo>
                    <a:pt x="95" y="314"/>
                  </a:lnTo>
                  <a:lnTo>
                    <a:pt x="95" y="311"/>
                  </a:lnTo>
                  <a:lnTo>
                    <a:pt x="95" y="309"/>
                  </a:lnTo>
                  <a:lnTo>
                    <a:pt x="92" y="309"/>
                  </a:lnTo>
                  <a:lnTo>
                    <a:pt x="92" y="307"/>
                  </a:lnTo>
                  <a:lnTo>
                    <a:pt x="90" y="307"/>
                  </a:lnTo>
                  <a:lnTo>
                    <a:pt x="88" y="304"/>
                  </a:lnTo>
                  <a:lnTo>
                    <a:pt x="85" y="302"/>
                  </a:lnTo>
                  <a:lnTo>
                    <a:pt x="83" y="302"/>
                  </a:lnTo>
                  <a:lnTo>
                    <a:pt x="83" y="299"/>
                  </a:lnTo>
                  <a:lnTo>
                    <a:pt x="80" y="302"/>
                  </a:lnTo>
                  <a:lnTo>
                    <a:pt x="80" y="299"/>
                  </a:lnTo>
                  <a:lnTo>
                    <a:pt x="80" y="302"/>
                  </a:lnTo>
                  <a:lnTo>
                    <a:pt x="80" y="299"/>
                  </a:lnTo>
                  <a:lnTo>
                    <a:pt x="78" y="299"/>
                  </a:lnTo>
                  <a:lnTo>
                    <a:pt x="78" y="297"/>
                  </a:lnTo>
                  <a:lnTo>
                    <a:pt x="78" y="295"/>
                  </a:lnTo>
                  <a:lnTo>
                    <a:pt x="80" y="295"/>
                  </a:lnTo>
                  <a:lnTo>
                    <a:pt x="80" y="292"/>
                  </a:lnTo>
                  <a:lnTo>
                    <a:pt x="80" y="295"/>
                  </a:lnTo>
                  <a:lnTo>
                    <a:pt x="78" y="295"/>
                  </a:lnTo>
                  <a:lnTo>
                    <a:pt x="78" y="297"/>
                  </a:lnTo>
                  <a:lnTo>
                    <a:pt x="78" y="295"/>
                  </a:lnTo>
                  <a:lnTo>
                    <a:pt x="78" y="292"/>
                  </a:lnTo>
                  <a:lnTo>
                    <a:pt x="78" y="295"/>
                  </a:lnTo>
                  <a:lnTo>
                    <a:pt x="78" y="292"/>
                  </a:lnTo>
                  <a:lnTo>
                    <a:pt x="78" y="295"/>
                  </a:lnTo>
                  <a:lnTo>
                    <a:pt x="76" y="292"/>
                  </a:lnTo>
                  <a:lnTo>
                    <a:pt x="76" y="295"/>
                  </a:lnTo>
                  <a:lnTo>
                    <a:pt x="78" y="295"/>
                  </a:lnTo>
                  <a:lnTo>
                    <a:pt x="76" y="295"/>
                  </a:lnTo>
                  <a:lnTo>
                    <a:pt x="78" y="295"/>
                  </a:lnTo>
                  <a:lnTo>
                    <a:pt x="78" y="297"/>
                  </a:lnTo>
                  <a:lnTo>
                    <a:pt x="76" y="297"/>
                  </a:lnTo>
                  <a:lnTo>
                    <a:pt x="78" y="295"/>
                  </a:lnTo>
                  <a:lnTo>
                    <a:pt x="76" y="295"/>
                  </a:lnTo>
                  <a:lnTo>
                    <a:pt x="76" y="297"/>
                  </a:lnTo>
                  <a:lnTo>
                    <a:pt x="78" y="297"/>
                  </a:lnTo>
                  <a:lnTo>
                    <a:pt x="78" y="299"/>
                  </a:lnTo>
                  <a:lnTo>
                    <a:pt x="76" y="297"/>
                  </a:lnTo>
                  <a:lnTo>
                    <a:pt x="73" y="297"/>
                  </a:lnTo>
                  <a:lnTo>
                    <a:pt x="71" y="297"/>
                  </a:lnTo>
                  <a:lnTo>
                    <a:pt x="71" y="295"/>
                  </a:lnTo>
                  <a:lnTo>
                    <a:pt x="71" y="297"/>
                  </a:lnTo>
                  <a:lnTo>
                    <a:pt x="71" y="295"/>
                  </a:lnTo>
                  <a:lnTo>
                    <a:pt x="71" y="297"/>
                  </a:lnTo>
                  <a:lnTo>
                    <a:pt x="73" y="297"/>
                  </a:lnTo>
                  <a:lnTo>
                    <a:pt x="71" y="297"/>
                  </a:lnTo>
                  <a:lnTo>
                    <a:pt x="69" y="297"/>
                  </a:lnTo>
                  <a:lnTo>
                    <a:pt x="66" y="297"/>
                  </a:lnTo>
                  <a:lnTo>
                    <a:pt x="64" y="297"/>
                  </a:lnTo>
                  <a:lnTo>
                    <a:pt x="66" y="297"/>
                  </a:lnTo>
                  <a:lnTo>
                    <a:pt x="64" y="297"/>
                  </a:lnTo>
                  <a:lnTo>
                    <a:pt x="66" y="297"/>
                  </a:lnTo>
                  <a:lnTo>
                    <a:pt x="64" y="297"/>
                  </a:lnTo>
                  <a:lnTo>
                    <a:pt x="66" y="297"/>
                  </a:lnTo>
                  <a:lnTo>
                    <a:pt x="64" y="297"/>
                  </a:lnTo>
                  <a:lnTo>
                    <a:pt x="66" y="297"/>
                  </a:lnTo>
                  <a:lnTo>
                    <a:pt x="64" y="297"/>
                  </a:lnTo>
                  <a:lnTo>
                    <a:pt x="64" y="299"/>
                  </a:lnTo>
                  <a:lnTo>
                    <a:pt x="64" y="297"/>
                  </a:lnTo>
                  <a:lnTo>
                    <a:pt x="61" y="297"/>
                  </a:lnTo>
                  <a:lnTo>
                    <a:pt x="61" y="295"/>
                  </a:lnTo>
                  <a:lnTo>
                    <a:pt x="61" y="292"/>
                  </a:lnTo>
                  <a:lnTo>
                    <a:pt x="61" y="290"/>
                  </a:lnTo>
                  <a:lnTo>
                    <a:pt x="61" y="288"/>
                  </a:lnTo>
                  <a:lnTo>
                    <a:pt x="61" y="285"/>
                  </a:lnTo>
                  <a:lnTo>
                    <a:pt x="59" y="285"/>
                  </a:lnTo>
                  <a:lnTo>
                    <a:pt x="59" y="283"/>
                  </a:lnTo>
                  <a:lnTo>
                    <a:pt x="59" y="280"/>
                  </a:lnTo>
                  <a:lnTo>
                    <a:pt x="59" y="283"/>
                  </a:lnTo>
                  <a:lnTo>
                    <a:pt x="59" y="280"/>
                  </a:lnTo>
                  <a:lnTo>
                    <a:pt x="59" y="278"/>
                  </a:lnTo>
                  <a:lnTo>
                    <a:pt x="61" y="278"/>
                  </a:lnTo>
                  <a:lnTo>
                    <a:pt x="61" y="276"/>
                  </a:lnTo>
                  <a:lnTo>
                    <a:pt x="61" y="273"/>
                  </a:lnTo>
                  <a:lnTo>
                    <a:pt x="64" y="273"/>
                  </a:lnTo>
                  <a:lnTo>
                    <a:pt x="64" y="271"/>
                  </a:lnTo>
                  <a:lnTo>
                    <a:pt x="66" y="271"/>
                  </a:lnTo>
                  <a:lnTo>
                    <a:pt x="66" y="269"/>
                  </a:lnTo>
                  <a:lnTo>
                    <a:pt x="66" y="266"/>
                  </a:lnTo>
                  <a:lnTo>
                    <a:pt x="69" y="266"/>
                  </a:lnTo>
                  <a:lnTo>
                    <a:pt x="69" y="264"/>
                  </a:lnTo>
                  <a:lnTo>
                    <a:pt x="66" y="264"/>
                  </a:lnTo>
                  <a:lnTo>
                    <a:pt x="69" y="261"/>
                  </a:lnTo>
                  <a:lnTo>
                    <a:pt x="71" y="261"/>
                  </a:lnTo>
                  <a:lnTo>
                    <a:pt x="73" y="259"/>
                  </a:lnTo>
                  <a:lnTo>
                    <a:pt x="73" y="261"/>
                  </a:lnTo>
                  <a:lnTo>
                    <a:pt x="76" y="261"/>
                  </a:lnTo>
                  <a:lnTo>
                    <a:pt x="76" y="259"/>
                  </a:lnTo>
                  <a:lnTo>
                    <a:pt x="76" y="257"/>
                  </a:lnTo>
                  <a:lnTo>
                    <a:pt x="78" y="254"/>
                  </a:lnTo>
                  <a:lnTo>
                    <a:pt x="78" y="252"/>
                  </a:lnTo>
                  <a:lnTo>
                    <a:pt x="76" y="252"/>
                  </a:lnTo>
                  <a:lnTo>
                    <a:pt x="76" y="254"/>
                  </a:lnTo>
                  <a:lnTo>
                    <a:pt x="73" y="254"/>
                  </a:lnTo>
                  <a:lnTo>
                    <a:pt x="71" y="252"/>
                  </a:lnTo>
                  <a:lnTo>
                    <a:pt x="71" y="250"/>
                  </a:lnTo>
                  <a:lnTo>
                    <a:pt x="69" y="247"/>
                  </a:lnTo>
                  <a:lnTo>
                    <a:pt x="69" y="245"/>
                  </a:lnTo>
                  <a:lnTo>
                    <a:pt x="66" y="245"/>
                  </a:lnTo>
                  <a:lnTo>
                    <a:pt x="66" y="242"/>
                  </a:lnTo>
                  <a:lnTo>
                    <a:pt x="66" y="240"/>
                  </a:lnTo>
                  <a:lnTo>
                    <a:pt x="66" y="238"/>
                  </a:lnTo>
                  <a:lnTo>
                    <a:pt x="66" y="235"/>
                  </a:lnTo>
                  <a:lnTo>
                    <a:pt x="69" y="235"/>
                  </a:lnTo>
                  <a:lnTo>
                    <a:pt x="69" y="233"/>
                  </a:lnTo>
                  <a:lnTo>
                    <a:pt x="66" y="233"/>
                  </a:lnTo>
                  <a:lnTo>
                    <a:pt x="66" y="231"/>
                  </a:lnTo>
                  <a:lnTo>
                    <a:pt x="69" y="231"/>
                  </a:lnTo>
                  <a:lnTo>
                    <a:pt x="69" y="228"/>
                  </a:lnTo>
                  <a:lnTo>
                    <a:pt x="71" y="228"/>
                  </a:lnTo>
                  <a:lnTo>
                    <a:pt x="71" y="226"/>
                  </a:lnTo>
                  <a:lnTo>
                    <a:pt x="73" y="226"/>
                  </a:lnTo>
                  <a:lnTo>
                    <a:pt x="73" y="223"/>
                  </a:lnTo>
                  <a:lnTo>
                    <a:pt x="76" y="223"/>
                  </a:lnTo>
                  <a:lnTo>
                    <a:pt x="76" y="221"/>
                  </a:lnTo>
                  <a:lnTo>
                    <a:pt x="73" y="221"/>
                  </a:lnTo>
                  <a:lnTo>
                    <a:pt x="76" y="221"/>
                  </a:lnTo>
                  <a:lnTo>
                    <a:pt x="76" y="219"/>
                  </a:lnTo>
                  <a:lnTo>
                    <a:pt x="78" y="216"/>
                  </a:lnTo>
                  <a:lnTo>
                    <a:pt x="78" y="214"/>
                  </a:lnTo>
                  <a:lnTo>
                    <a:pt x="76" y="214"/>
                  </a:lnTo>
                  <a:lnTo>
                    <a:pt x="76" y="212"/>
                  </a:lnTo>
                  <a:lnTo>
                    <a:pt x="73" y="212"/>
                  </a:lnTo>
                  <a:lnTo>
                    <a:pt x="71" y="212"/>
                  </a:lnTo>
                  <a:lnTo>
                    <a:pt x="71" y="209"/>
                  </a:lnTo>
                  <a:lnTo>
                    <a:pt x="69" y="209"/>
                  </a:lnTo>
                  <a:lnTo>
                    <a:pt x="69" y="207"/>
                  </a:lnTo>
                  <a:lnTo>
                    <a:pt x="69" y="204"/>
                  </a:lnTo>
                  <a:lnTo>
                    <a:pt x="66" y="204"/>
                  </a:lnTo>
                  <a:lnTo>
                    <a:pt x="66" y="202"/>
                  </a:lnTo>
                  <a:lnTo>
                    <a:pt x="66" y="200"/>
                  </a:lnTo>
                  <a:lnTo>
                    <a:pt x="66" y="197"/>
                  </a:lnTo>
                  <a:lnTo>
                    <a:pt x="66" y="195"/>
                  </a:lnTo>
                  <a:lnTo>
                    <a:pt x="64" y="195"/>
                  </a:lnTo>
                  <a:lnTo>
                    <a:pt x="64" y="193"/>
                  </a:lnTo>
                  <a:lnTo>
                    <a:pt x="61" y="193"/>
                  </a:lnTo>
                  <a:lnTo>
                    <a:pt x="61" y="190"/>
                  </a:lnTo>
                  <a:lnTo>
                    <a:pt x="59" y="190"/>
                  </a:lnTo>
                  <a:lnTo>
                    <a:pt x="59" y="188"/>
                  </a:lnTo>
                  <a:lnTo>
                    <a:pt x="61" y="188"/>
                  </a:lnTo>
                  <a:lnTo>
                    <a:pt x="64" y="188"/>
                  </a:lnTo>
                  <a:lnTo>
                    <a:pt x="66" y="188"/>
                  </a:lnTo>
                  <a:lnTo>
                    <a:pt x="69" y="188"/>
                  </a:lnTo>
                  <a:lnTo>
                    <a:pt x="71" y="188"/>
                  </a:lnTo>
                  <a:lnTo>
                    <a:pt x="73" y="188"/>
                  </a:lnTo>
                  <a:lnTo>
                    <a:pt x="76" y="188"/>
                  </a:lnTo>
                  <a:lnTo>
                    <a:pt x="76" y="185"/>
                  </a:lnTo>
                  <a:lnTo>
                    <a:pt x="76" y="183"/>
                  </a:lnTo>
                  <a:lnTo>
                    <a:pt x="76" y="181"/>
                  </a:lnTo>
                  <a:lnTo>
                    <a:pt x="78" y="181"/>
                  </a:lnTo>
                  <a:lnTo>
                    <a:pt x="78" y="178"/>
                  </a:lnTo>
                  <a:lnTo>
                    <a:pt x="78" y="176"/>
                  </a:lnTo>
                  <a:lnTo>
                    <a:pt x="80" y="176"/>
                  </a:lnTo>
                  <a:lnTo>
                    <a:pt x="78" y="176"/>
                  </a:lnTo>
                  <a:lnTo>
                    <a:pt x="80" y="176"/>
                  </a:lnTo>
                  <a:lnTo>
                    <a:pt x="78" y="176"/>
                  </a:lnTo>
                  <a:lnTo>
                    <a:pt x="80" y="176"/>
                  </a:lnTo>
                  <a:lnTo>
                    <a:pt x="80" y="174"/>
                  </a:lnTo>
                  <a:lnTo>
                    <a:pt x="80" y="171"/>
                  </a:lnTo>
                  <a:lnTo>
                    <a:pt x="80" y="169"/>
                  </a:lnTo>
                  <a:lnTo>
                    <a:pt x="78" y="169"/>
                  </a:lnTo>
                  <a:lnTo>
                    <a:pt x="78" y="166"/>
                  </a:lnTo>
                  <a:lnTo>
                    <a:pt x="76" y="166"/>
                  </a:lnTo>
                  <a:lnTo>
                    <a:pt x="76" y="164"/>
                  </a:lnTo>
                  <a:lnTo>
                    <a:pt x="76" y="162"/>
                  </a:lnTo>
                  <a:lnTo>
                    <a:pt x="78" y="162"/>
                  </a:lnTo>
                  <a:lnTo>
                    <a:pt x="80" y="162"/>
                  </a:lnTo>
                  <a:lnTo>
                    <a:pt x="80" y="159"/>
                  </a:lnTo>
                  <a:lnTo>
                    <a:pt x="83" y="157"/>
                  </a:lnTo>
                  <a:lnTo>
                    <a:pt x="83" y="154"/>
                  </a:lnTo>
                  <a:lnTo>
                    <a:pt x="80" y="154"/>
                  </a:lnTo>
                  <a:lnTo>
                    <a:pt x="80" y="152"/>
                  </a:lnTo>
                  <a:lnTo>
                    <a:pt x="80" y="150"/>
                  </a:lnTo>
                  <a:lnTo>
                    <a:pt x="83" y="150"/>
                  </a:lnTo>
                  <a:lnTo>
                    <a:pt x="83" y="147"/>
                  </a:lnTo>
                  <a:lnTo>
                    <a:pt x="80" y="147"/>
                  </a:lnTo>
                  <a:lnTo>
                    <a:pt x="80" y="145"/>
                  </a:lnTo>
                  <a:lnTo>
                    <a:pt x="83" y="145"/>
                  </a:lnTo>
                  <a:lnTo>
                    <a:pt x="83" y="143"/>
                  </a:lnTo>
                  <a:lnTo>
                    <a:pt x="83" y="140"/>
                  </a:lnTo>
                  <a:lnTo>
                    <a:pt x="80" y="140"/>
                  </a:lnTo>
                  <a:lnTo>
                    <a:pt x="80" y="138"/>
                  </a:lnTo>
                  <a:lnTo>
                    <a:pt x="83" y="138"/>
                  </a:lnTo>
                  <a:lnTo>
                    <a:pt x="80" y="138"/>
                  </a:lnTo>
                  <a:lnTo>
                    <a:pt x="80" y="135"/>
                  </a:lnTo>
                  <a:lnTo>
                    <a:pt x="83" y="135"/>
                  </a:lnTo>
                  <a:lnTo>
                    <a:pt x="83" y="133"/>
                  </a:lnTo>
                  <a:lnTo>
                    <a:pt x="80" y="133"/>
                  </a:lnTo>
                  <a:lnTo>
                    <a:pt x="80" y="131"/>
                  </a:lnTo>
                  <a:lnTo>
                    <a:pt x="80" y="128"/>
                  </a:lnTo>
                  <a:lnTo>
                    <a:pt x="78" y="128"/>
                  </a:lnTo>
                  <a:lnTo>
                    <a:pt x="78" y="126"/>
                  </a:lnTo>
                  <a:lnTo>
                    <a:pt x="80" y="126"/>
                  </a:lnTo>
                  <a:lnTo>
                    <a:pt x="83" y="126"/>
                  </a:lnTo>
                  <a:lnTo>
                    <a:pt x="83" y="124"/>
                  </a:lnTo>
                  <a:lnTo>
                    <a:pt x="83" y="121"/>
                  </a:lnTo>
                  <a:lnTo>
                    <a:pt x="85" y="121"/>
                  </a:lnTo>
                  <a:lnTo>
                    <a:pt x="83" y="121"/>
                  </a:lnTo>
                  <a:lnTo>
                    <a:pt x="85" y="121"/>
                  </a:lnTo>
                  <a:lnTo>
                    <a:pt x="85" y="119"/>
                  </a:lnTo>
                  <a:lnTo>
                    <a:pt x="85" y="116"/>
                  </a:lnTo>
                  <a:lnTo>
                    <a:pt x="88" y="116"/>
                  </a:lnTo>
                  <a:lnTo>
                    <a:pt x="90" y="116"/>
                  </a:lnTo>
                  <a:lnTo>
                    <a:pt x="90" y="114"/>
                  </a:lnTo>
                  <a:lnTo>
                    <a:pt x="92" y="114"/>
                  </a:lnTo>
                  <a:lnTo>
                    <a:pt x="95" y="114"/>
                  </a:lnTo>
                  <a:lnTo>
                    <a:pt x="95" y="112"/>
                  </a:lnTo>
                  <a:lnTo>
                    <a:pt x="97" y="112"/>
                  </a:lnTo>
                  <a:lnTo>
                    <a:pt x="97" y="109"/>
                  </a:lnTo>
                  <a:lnTo>
                    <a:pt x="99" y="109"/>
                  </a:lnTo>
                  <a:lnTo>
                    <a:pt x="97" y="109"/>
                  </a:lnTo>
                  <a:lnTo>
                    <a:pt x="97" y="107"/>
                  </a:lnTo>
                  <a:lnTo>
                    <a:pt x="99" y="107"/>
                  </a:lnTo>
                  <a:lnTo>
                    <a:pt x="99" y="105"/>
                  </a:lnTo>
                  <a:lnTo>
                    <a:pt x="102" y="105"/>
                  </a:lnTo>
                  <a:lnTo>
                    <a:pt x="99" y="105"/>
                  </a:lnTo>
                  <a:lnTo>
                    <a:pt x="102" y="105"/>
                  </a:lnTo>
                  <a:lnTo>
                    <a:pt x="102" y="102"/>
                  </a:lnTo>
                  <a:lnTo>
                    <a:pt x="102" y="100"/>
                  </a:lnTo>
                  <a:lnTo>
                    <a:pt x="99" y="97"/>
                  </a:lnTo>
                  <a:lnTo>
                    <a:pt x="97" y="95"/>
                  </a:lnTo>
                  <a:lnTo>
                    <a:pt x="95" y="95"/>
                  </a:lnTo>
                  <a:lnTo>
                    <a:pt x="92" y="97"/>
                  </a:lnTo>
                  <a:lnTo>
                    <a:pt x="90" y="95"/>
                  </a:lnTo>
                  <a:lnTo>
                    <a:pt x="90" y="93"/>
                  </a:lnTo>
                  <a:lnTo>
                    <a:pt x="90" y="90"/>
                  </a:lnTo>
                  <a:lnTo>
                    <a:pt x="92" y="90"/>
                  </a:lnTo>
                  <a:lnTo>
                    <a:pt x="90" y="90"/>
                  </a:lnTo>
                  <a:lnTo>
                    <a:pt x="92" y="90"/>
                  </a:lnTo>
                  <a:lnTo>
                    <a:pt x="92" y="88"/>
                  </a:lnTo>
                  <a:lnTo>
                    <a:pt x="90" y="88"/>
                  </a:lnTo>
                  <a:lnTo>
                    <a:pt x="90" y="86"/>
                  </a:lnTo>
                  <a:lnTo>
                    <a:pt x="90" y="83"/>
                  </a:lnTo>
                  <a:lnTo>
                    <a:pt x="88" y="83"/>
                  </a:lnTo>
                  <a:lnTo>
                    <a:pt x="85" y="86"/>
                  </a:lnTo>
                  <a:lnTo>
                    <a:pt x="85" y="83"/>
                  </a:lnTo>
                  <a:lnTo>
                    <a:pt x="83" y="83"/>
                  </a:lnTo>
                  <a:lnTo>
                    <a:pt x="83" y="81"/>
                  </a:lnTo>
                  <a:lnTo>
                    <a:pt x="83" y="83"/>
                  </a:lnTo>
                  <a:lnTo>
                    <a:pt x="80" y="83"/>
                  </a:lnTo>
                  <a:lnTo>
                    <a:pt x="78" y="83"/>
                  </a:lnTo>
                  <a:lnTo>
                    <a:pt x="76" y="83"/>
                  </a:lnTo>
                  <a:lnTo>
                    <a:pt x="73" y="83"/>
                  </a:lnTo>
                  <a:lnTo>
                    <a:pt x="71" y="81"/>
                  </a:lnTo>
                  <a:lnTo>
                    <a:pt x="71" y="83"/>
                  </a:lnTo>
                  <a:lnTo>
                    <a:pt x="71" y="86"/>
                  </a:lnTo>
                  <a:lnTo>
                    <a:pt x="69" y="86"/>
                  </a:lnTo>
                  <a:lnTo>
                    <a:pt x="69" y="88"/>
                  </a:lnTo>
                  <a:lnTo>
                    <a:pt x="66" y="88"/>
                  </a:lnTo>
                  <a:lnTo>
                    <a:pt x="64" y="88"/>
                  </a:lnTo>
                  <a:lnTo>
                    <a:pt x="61" y="90"/>
                  </a:lnTo>
                  <a:lnTo>
                    <a:pt x="61" y="88"/>
                  </a:lnTo>
                  <a:lnTo>
                    <a:pt x="59" y="88"/>
                  </a:lnTo>
                  <a:lnTo>
                    <a:pt x="57" y="88"/>
                  </a:lnTo>
                  <a:lnTo>
                    <a:pt x="57" y="86"/>
                  </a:lnTo>
                  <a:lnTo>
                    <a:pt x="54" y="88"/>
                  </a:lnTo>
                  <a:lnTo>
                    <a:pt x="54" y="86"/>
                  </a:lnTo>
                  <a:lnTo>
                    <a:pt x="52" y="86"/>
                  </a:lnTo>
                  <a:lnTo>
                    <a:pt x="50" y="86"/>
                  </a:lnTo>
                  <a:lnTo>
                    <a:pt x="47" y="88"/>
                  </a:lnTo>
                  <a:lnTo>
                    <a:pt x="47" y="86"/>
                  </a:lnTo>
                  <a:lnTo>
                    <a:pt x="45" y="86"/>
                  </a:lnTo>
                  <a:lnTo>
                    <a:pt x="45" y="88"/>
                  </a:lnTo>
                  <a:lnTo>
                    <a:pt x="42" y="88"/>
                  </a:lnTo>
                  <a:lnTo>
                    <a:pt x="42" y="90"/>
                  </a:lnTo>
                  <a:lnTo>
                    <a:pt x="40" y="90"/>
                  </a:lnTo>
                  <a:lnTo>
                    <a:pt x="38" y="90"/>
                  </a:lnTo>
                  <a:lnTo>
                    <a:pt x="38" y="88"/>
                  </a:lnTo>
                  <a:lnTo>
                    <a:pt x="35" y="88"/>
                  </a:lnTo>
                  <a:lnTo>
                    <a:pt x="35" y="86"/>
                  </a:lnTo>
                  <a:lnTo>
                    <a:pt x="35" y="83"/>
                  </a:lnTo>
                  <a:lnTo>
                    <a:pt x="38" y="83"/>
                  </a:lnTo>
                  <a:lnTo>
                    <a:pt x="38" y="81"/>
                  </a:lnTo>
                  <a:lnTo>
                    <a:pt x="40" y="81"/>
                  </a:lnTo>
                  <a:lnTo>
                    <a:pt x="40" y="78"/>
                  </a:lnTo>
                  <a:lnTo>
                    <a:pt x="38" y="78"/>
                  </a:lnTo>
                  <a:lnTo>
                    <a:pt x="38" y="76"/>
                  </a:lnTo>
                  <a:lnTo>
                    <a:pt x="35" y="74"/>
                  </a:lnTo>
                  <a:lnTo>
                    <a:pt x="35" y="76"/>
                  </a:lnTo>
                  <a:lnTo>
                    <a:pt x="33" y="76"/>
                  </a:lnTo>
                  <a:lnTo>
                    <a:pt x="33" y="78"/>
                  </a:lnTo>
                  <a:lnTo>
                    <a:pt x="31" y="78"/>
                  </a:lnTo>
                  <a:lnTo>
                    <a:pt x="31" y="76"/>
                  </a:lnTo>
                  <a:lnTo>
                    <a:pt x="31" y="78"/>
                  </a:lnTo>
                  <a:lnTo>
                    <a:pt x="28" y="78"/>
                  </a:lnTo>
                  <a:lnTo>
                    <a:pt x="26" y="78"/>
                  </a:lnTo>
                  <a:lnTo>
                    <a:pt x="23" y="78"/>
                  </a:lnTo>
                  <a:lnTo>
                    <a:pt x="21" y="78"/>
                  </a:lnTo>
                  <a:lnTo>
                    <a:pt x="21" y="81"/>
                  </a:lnTo>
                  <a:lnTo>
                    <a:pt x="19" y="83"/>
                  </a:lnTo>
                  <a:lnTo>
                    <a:pt x="16" y="86"/>
                  </a:lnTo>
                  <a:lnTo>
                    <a:pt x="14" y="86"/>
                  </a:lnTo>
                  <a:lnTo>
                    <a:pt x="16" y="86"/>
                  </a:lnTo>
                  <a:lnTo>
                    <a:pt x="14" y="86"/>
                  </a:lnTo>
                  <a:lnTo>
                    <a:pt x="14" y="88"/>
                  </a:lnTo>
                  <a:lnTo>
                    <a:pt x="14" y="86"/>
                  </a:lnTo>
                  <a:lnTo>
                    <a:pt x="14" y="83"/>
                  </a:lnTo>
                  <a:lnTo>
                    <a:pt x="14" y="81"/>
                  </a:lnTo>
                  <a:lnTo>
                    <a:pt x="14" y="78"/>
                  </a:lnTo>
                  <a:lnTo>
                    <a:pt x="14" y="76"/>
                  </a:lnTo>
                  <a:lnTo>
                    <a:pt x="16" y="76"/>
                  </a:lnTo>
                  <a:lnTo>
                    <a:pt x="16" y="74"/>
                  </a:lnTo>
                  <a:lnTo>
                    <a:pt x="14" y="74"/>
                  </a:lnTo>
                  <a:lnTo>
                    <a:pt x="16" y="74"/>
                  </a:lnTo>
                  <a:lnTo>
                    <a:pt x="16" y="71"/>
                  </a:lnTo>
                  <a:lnTo>
                    <a:pt x="19" y="71"/>
                  </a:lnTo>
                  <a:lnTo>
                    <a:pt x="19" y="69"/>
                  </a:lnTo>
                  <a:lnTo>
                    <a:pt x="21" y="69"/>
                  </a:lnTo>
                  <a:lnTo>
                    <a:pt x="23" y="69"/>
                  </a:lnTo>
                  <a:lnTo>
                    <a:pt x="23" y="67"/>
                  </a:lnTo>
                  <a:lnTo>
                    <a:pt x="23" y="64"/>
                  </a:lnTo>
                  <a:lnTo>
                    <a:pt x="23" y="67"/>
                  </a:lnTo>
                  <a:lnTo>
                    <a:pt x="21" y="64"/>
                  </a:lnTo>
                  <a:lnTo>
                    <a:pt x="21" y="67"/>
                  </a:lnTo>
                  <a:lnTo>
                    <a:pt x="21" y="69"/>
                  </a:lnTo>
                  <a:lnTo>
                    <a:pt x="19" y="69"/>
                  </a:lnTo>
                  <a:lnTo>
                    <a:pt x="16" y="69"/>
                  </a:lnTo>
                  <a:lnTo>
                    <a:pt x="14" y="69"/>
                  </a:lnTo>
                  <a:lnTo>
                    <a:pt x="14" y="67"/>
                  </a:lnTo>
                  <a:lnTo>
                    <a:pt x="14" y="69"/>
                  </a:lnTo>
                  <a:lnTo>
                    <a:pt x="16" y="69"/>
                  </a:lnTo>
                  <a:lnTo>
                    <a:pt x="16" y="67"/>
                  </a:lnTo>
                  <a:lnTo>
                    <a:pt x="19" y="67"/>
                  </a:lnTo>
                  <a:lnTo>
                    <a:pt x="19" y="64"/>
                  </a:lnTo>
                  <a:lnTo>
                    <a:pt x="21" y="64"/>
                  </a:lnTo>
                  <a:lnTo>
                    <a:pt x="21" y="62"/>
                  </a:lnTo>
                  <a:lnTo>
                    <a:pt x="21" y="64"/>
                  </a:lnTo>
                  <a:lnTo>
                    <a:pt x="19" y="62"/>
                  </a:lnTo>
                  <a:lnTo>
                    <a:pt x="21" y="62"/>
                  </a:lnTo>
                  <a:lnTo>
                    <a:pt x="19" y="62"/>
                  </a:lnTo>
                  <a:lnTo>
                    <a:pt x="19" y="64"/>
                  </a:lnTo>
                  <a:lnTo>
                    <a:pt x="16" y="64"/>
                  </a:lnTo>
                  <a:lnTo>
                    <a:pt x="16" y="62"/>
                  </a:lnTo>
                  <a:lnTo>
                    <a:pt x="16" y="64"/>
                  </a:lnTo>
                  <a:lnTo>
                    <a:pt x="16" y="62"/>
                  </a:lnTo>
                  <a:lnTo>
                    <a:pt x="16" y="64"/>
                  </a:lnTo>
                  <a:lnTo>
                    <a:pt x="14" y="64"/>
                  </a:lnTo>
                  <a:lnTo>
                    <a:pt x="16" y="64"/>
                  </a:lnTo>
                  <a:lnTo>
                    <a:pt x="14" y="64"/>
                  </a:lnTo>
                  <a:lnTo>
                    <a:pt x="14" y="62"/>
                  </a:lnTo>
                  <a:lnTo>
                    <a:pt x="14" y="59"/>
                  </a:lnTo>
                  <a:lnTo>
                    <a:pt x="12" y="59"/>
                  </a:lnTo>
                  <a:lnTo>
                    <a:pt x="12" y="62"/>
                  </a:lnTo>
                  <a:lnTo>
                    <a:pt x="12" y="59"/>
                  </a:lnTo>
                  <a:lnTo>
                    <a:pt x="14" y="59"/>
                  </a:lnTo>
                  <a:lnTo>
                    <a:pt x="14" y="62"/>
                  </a:lnTo>
                  <a:lnTo>
                    <a:pt x="14" y="59"/>
                  </a:lnTo>
                  <a:lnTo>
                    <a:pt x="16" y="59"/>
                  </a:lnTo>
                  <a:lnTo>
                    <a:pt x="16" y="57"/>
                  </a:lnTo>
                  <a:lnTo>
                    <a:pt x="16" y="55"/>
                  </a:lnTo>
                  <a:lnTo>
                    <a:pt x="16" y="57"/>
                  </a:lnTo>
                  <a:lnTo>
                    <a:pt x="16" y="55"/>
                  </a:lnTo>
                  <a:lnTo>
                    <a:pt x="16" y="57"/>
                  </a:lnTo>
                  <a:lnTo>
                    <a:pt x="16" y="55"/>
                  </a:lnTo>
                  <a:lnTo>
                    <a:pt x="19" y="55"/>
                  </a:lnTo>
                  <a:lnTo>
                    <a:pt x="16" y="55"/>
                  </a:lnTo>
                  <a:lnTo>
                    <a:pt x="19" y="55"/>
                  </a:lnTo>
                  <a:lnTo>
                    <a:pt x="16" y="52"/>
                  </a:lnTo>
                  <a:lnTo>
                    <a:pt x="19" y="52"/>
                  </a:lnTo>
                  <a:lnTo>
                    <a:pt x="19" y="50"/>
                  </a:lnTo>
                  <a:lnTo>
                    <a:pt x="21" y="50"/>
                  </a:lnTo>
                  <a:lnTo>
                    <a:pt x="21" y="48"/>
                  </a:lnTo>
                  <a:lnTo>
                    <a:pt x="21" y="50"/>
                  </a:lnTo>
                  <a:lnTo>
                    <a:pt x="19" y="50"/>
                  </a:lnTo>
                  <a:lnTo>
                    <a:pt x="19" y="52"/>
                  </a:lnTo>
                  <a:lnTo>
                    <a:pt x="16" y="52"/>
                  </a:lnTo>
                  <a:lnTo>
                    <a:pt x="16" y="50"/>
                  </a:lnTo>
                  <a:lnTo>
                    <a:pt x="14" y="50"/>
                  </a:lnTo>
                  <a:lnTo>
                    <a:pt x="16" y="50"/>
                  </a:lnTo>
                  <a:lnTo>
                    <a:pt x="14" y="50"/>
                  </a:lnTo>
                  <a:lnTo>
                    <a:pt x="14" y="52"/>
                  </a:lnTo>
                  <a:lnTo>
                    <a:pt x="16" y="52"/>
                  </a:lnTo>
                  <a:lnTo>
                    <a:pt x="14" y="52"/>
                  </a:lnTo>
                  <a:lnTo>
                    <a:pt x="14" y="55"/>
                  </a:lnTo>
                  <a:lnTo>
                    <a:pt x="14" y="52"/>
                  </a:lnTo>
                  <a:lnTo>
                    <a:pt x="12" y="52"/>
                  </a:lnTo>
                  <a:lnTo>
                    <a:pt x="12" y="55"/>
                  </a:lnTo>
                  <a:lnTo>
                    <a:pt x="12" y="52"/>
                  </a:lnTo>
                  <a:lnTo>
                    <a:pt x="12" y="55"/>
                  </a:lnTo>
                  <a:lnTo>
                    <a:pt x="9" y="55"/>
                  </a:lnTo>
                  <a:lnTo>
                    <a:pt x="9" y="57"/>
                  </a:lnTo>
                  <a:lnTo>
                    <a:pt x="12" y="57"/>
                  </a:lnTo>
                  <a:lnTo>
                    <a:pt x="9" y="57"/>
                  </a:lnTo>
                  <a:lnTo>
                    <a:pt x="9" y="55"/>
                  </a:lnTo>
                  <a:lnTo>
                    <a:pt x="7" y="55"/>
                  </a:lnTo>
                  <a:lnTo>
                    <a:pt x="7" y="52"/>
                  </a:lnTo>
                  <a:lnTo>
                    <a:pt x="9" y="52"/>
                  </a:lnTo>
                  <a:lnTo>
                    <a:pt x="9" y="50"/>
                  </a:lnTo>
                  <a:lnTo>
                    <a:pt x="9" y="48"/>
                  </a:lnTo>
                  <a:lnTo>
                    <a:pt x="9" y="50"/>
                  </a:lnTo>
                  <a:lnTo>
                    <a:pt x="9" y="48"/>
                  </a:lnTo>
                  <a:lnTo>
                    <a:pt x="12" y="48"/>
                  </a:lnTo>
                  <a:lnTo>
                    <a:pt x="12" y="45"/>
                  </a:lnTo>
                  <a:lnTo>
                    <a:pt x="14" y="45"/>
                  </a:lnTo>
                  <a:lnTo>
                    <a:pt x="14" y="43"/>
                  </a:lnTo>
                  <a:lnTo>
                    <a:pt x="14" y="45"/>
                  </a:lnTo>
                  <a:lnTo>
                    <a:pt x="14" y="43"/>
                  </a:lnTo>
                  <a:lnTo>
                    <a:pt x="14" y="45"/>
                  </a:lnTo>
                  <a:lnTo>
                    <a:pt x="12" y="45"/>
                  </a:lnTo>
                  <a:lnTo>
                    <a:pt x="9" y="45"/>
                  </a:lnTo>
                  <a:lnTo>
                    <a:pt x="7" y="45"/>
                  </a:lnTo>
                  <a:lnTo>
                    <a:pt x="9" y="45"/>
                  </a:lnTo>
                  <a:lnTo>
                    <a:pt x="7" y="48"/>
                  </a:lnTo>
                  <a:lnTo>
                    <a:pt x="7" y="45"/>
                  </a:lnTo>
                  <a:lnTo>
                    <a:pt x="4" y="45"/>
                  </a:lnTo>
                  <a:lnTo>
                    <a:pt x="7" y="45"/>
                  </a:lnTo>
                  <a:lnTo>
                    <a:pt x="4" y="45"/>
                  </a:lnTo>
                  <a:lnTo>
                    <a:pt x="7" y="45"/>
                  </a:lnTo>
                  <a:lnTo>
                    <a:pt x="7" y="43"/>
                  </a:lnTo>
                  <a:lnTo>
                    <a:pt x="4" y="43"/>
                  </a:lnTo>
                  <a:lnTo>
                    <a:pt x="4" y="40"/>
                  </a:lnTo>
                  <a:lnTo>
                    <a:pt x="7" y="40"/>
                  </a:lnTo>
                  <a:lnTo>
                    <a:pt x="4" y="40"/>
                  </a:lnTo>
                  <a:lnTo>
                    <a:pt x="4" y="38"/>
                  </a:lnTo>
                  <a:lnTo>
                    <a:pt x="4" y="40"/>
                  </a:lnTo>
                  <a:lnTo>
                    <a:pt x="4" y="38"/>
                  </a:lnTo>
                  <a:lnTo>
                    <a:pt x="2" y="38"/>
                  </a:lnTo>
                  <a:lnTo>
                    <a:pt x="2" y="40"/>
                  </a:lnTo>
                  <a:lnTo>
                    <a:pt x="2" y="38"/>
                  </a:lnTo>
                  <a:lnTo>
                    <a:pt x="2" y="40"/>
                  </a:lnTo>
                  <a:lnTo>
                    <a:pt x="0" y="40"/>
                  </a:lnTo>
                  <a:lnTo>
                    <a:pt x="0" y="38"/>
                  </a:lnTo>
                  <a:lnTo>
                    <a:pt x="2" y="38"/>
                  </a:lnTo>
                  <a:lnTo>
                    <a:pt x="2" y="36"/>
                  </a:lnTo>
                  <a:lnTo>
                    <a:pt x="0" y="36"/>
                  </a:lnTo>
                  <a:lnTo>
                    <a:pt x="0" y="33"/>
                  </a:lnTo>
                  <a:lnTo>
                    <a:pt x="2" y="33"/>
                  </a:lnTo>
                  <a:lnTo>
                    <a:pt x="2" y="31"/>
                  </a:lnTo>
                  <a:lnTo>
                    <a:pt x="4" y="31"/>
                  </a:lnTo>
                  <a:lnTo>
                    <a:pt x="4" y="29"/>
                  </a:lnTo>
                  <a:lnTo>
                    <a:pt x="4" y="31"/>
                  </a:lnTo>
                  <a:lnTo>
                    <a:pt x="4" y="29"/>
                  </a:lnTo>
                  <a:lnTo>
                    <a:pt x="4" y="31"/>
                  </a:lnTo>
                  <a:lnTo>
                    <a:pt x="4" y="29"/>
                  </a:lnTo>
                  <a:lnTo>
                    <a:pt x="2" y="29"/>
                  </a:lnTo>
                  <a:lnTo>
                    <a:pt x="4" y="29"/>
                  </a:lnTo>
                  <a:lnTo>
                    <a:pt x="4" y="26"/>
                  </a:lnTo>
                  <a:lnTo>
                    <a:pt x="7" y="26"/>
                  </a:lnTo>
                  <a:lnTo>
                    <a:pt x="9" y="26"/>
                  </a:lnTo>
                  <a:lnTo>
                    <a:pt x="9" y="24"/>
                  </a:lnTo>
                  <a:lnTo>
                    <a:pt x="9" y="26"/>
                  </a:lnTo>
                  <a:lnTo>
                    <a:pt x="12" y="24"/>
                  </a:lnTo>
                  <a:lnTo>
                    <a:pt x="12" y="26"/>
                  </a:lnTo>
                  <a:lnTo>
                    <a:pt x="12" y="24"/>
                  </a:lnTo>
                  <a:lnTo>
                    <a:pt x="12" y="26"/>
                  </a:lnTo>
                  <a:lnTo>
                    <a:pt x="12" y="24"/>
                  </a:lnTo>
                  <a:lnTo>
                    <a:pt x="14" y="24"/>
                  </a:lnTo>
                  <a:lnTo>
                    <a:pt x="12" y="24"/>
                  </a:lnTo>
                  <a:lnTo>
                    <a:pt x="12" y="26"/>
                  </a:lnTo>
                  <a:lnTo>
                    <a:pt x="12" y="24"/>
                  </a:lnTo>
                  <a:lnTo>
                    <a:pt x="9" y="24"/>
                  </a:lnTo>
                  <a:lnTo>
                    <a:pt x="12" y="21"/>
                  </a:lnTo>
                  <a:lnTo>
                    <a:pt x="14" y="21"/>
                  </a:lnTo>
                  <a:lnTo>
                    <a:pt x="14" y="19"/>
                  </a:lnTo>
                  <a:lnTo>
                    <a:pt x="16" y="19"/>
                  </a:lnTo>
                  <a:lnTo>
                    <a:pt x="16" y="21"/>
                  </a:lnTo>
                  <a:lnTo>
                    <a:pt x="19" y="21"/>
                  </a:lnTo>
                  <a:lnTo>
                    <a:pt x="21" y="21"/>
                  </a:lnTo>
                  <a:lnTo>
                    <a:pt x="23" y="21"/>
                  </a:lnTo>
                  <a:lnTo>
                    <a:pt x="26" y="21"/>
                  </a:lnTo>
                  <a:lnTo>
                    <a:pt x="26" y="19"/>
                  </a:lnTo>
                  <a:lnTo>
                    <a:pt x="28" y="19"/>
                  </a:lnTo>
                  <a:lnTo>
                    <a:pt x="28" y="17"/>
                  </a:lnTo>
                  <a:lnTo>
                    <a:pt x="28" y="19"/>
                  </a:lnTo>
                  <a:lnTo>
                    <a:pt x="31" y="19"/>
                  </a:lnTo>
                  <a:lnTo>
                    <a:pt x="28" y="19"/>
                  </a:lnTo>
                  <a:lnTo>
                    <a:pt x="28" y="17"/>
                  </a:lnTo>
                  <a:lnTo>
                    <a:pt x="31" y="17"/>
                  </a:lnTo>
                  <a:lnTo>
                    <a:pt x="31" y="19"/>
                  </a:lnTo>
                  <a:lnTo>
                    <a:pt x="31" y="21"/>
                  </a:lnTo>
                  <a:lnTo>
                    <a:pt x="31" y="19"/>
                  </a:lnTo>
                  <a:lnTo>
                    <a:pt x="33" y="19"/>
                  </a:lnTo>
                  <a:lnTo>
                    <a:pt x="31" y="17"/>
                  </a:lnTo>
                  <a:lnTo>
                    <a:pt x="31" y="19"/>
                  </a:lnTo>
                  <a:lnTo>
                    <a:pt x="31" y="17"/>
                  </a:lnTo>
                  <a:lnTo>
                    <a:pt x="33" y="17"/>
                  </a:lnTo>
                  <a:lnTo>
                    <a:pt x="35" y="17"/>
                  </a:lnTo>
                  <a:lnTo>
                    <a:pt x="35" y="19"/>
                  </a:lnTo>
                  <a:lnTo>
                    <a:pt x="35" y="21"/>
                  </a:lnTo>
                  <a:lnTo>
                    <a:pt x="35" y="19"/>
                  </a:lnTo>
                  <a:lnTo>
                    <a:pt x="35" y="17"/>
                  </a:lnTo>
                  <a:lnTo>
                    <a:pt x="38" y="17"/>
                  </a:lnTo>
                  <a:lnTo>
                    <a:pt x="35" y="17"/>
                  </a:lnTo>
                  <a:lnTo>
                    <a:pt x="33" y="17"/>
                  </a:lnTo>
                  <a:lnTo>
                    <a:pt x="33" y="14"/>
                  </a:lnTo>
                  <a:lnTo>
                    <a:pt x="35" y="14"/>
                  </a:lnTo>
                  <a:lnTo>
                    <a:pt x="38" y="14"/>
                  </a:lnTo>
                  <a:lnTo>
                    <a:pt x="38" y="12"/>
                  </a:lnTo>
                  <a:lnTo>
                    <a:pt x="35" y="12"/>
                  </a:lnTo>
                  <a:lnTo>
                    <a:pt x="38" y="12"/>
                  </a:lnTo>
                  <a:lnTo>
                    <a:pt x="38" y="14"/>
                  </a:lnTo>
                  <a:lnTo>
                    <a:pt x="35" y="14"/>
                  </a:lnTo>
                  <a:lnTo>
                    <a:pt x="35" y="12"/>
                  </a:lnTo>
                  <a:lnTo>
                    <a:pt x="35" y="14"/>
                  </a:lnTo>
                  <a:lnTo>
                    <a:pt x="35" y="12"/>
                  </a:lnTo>
                  <a:lnTo>
                    <a:pt x="35" y="14"/>
                  </a:lnTo>
                  <a:lnTo>
                    <a:pt x="33" y="14"/>
                  </a:lnTo>
                  <a:lnTo>
                    <a:pt x="31" y="14"/>
                  </a:lnTo>
                  <a:lnTo>
                    <a:pt x="33" y="14"/>
                  </a:lnTo>
                  <a:lnTo>
                    <a:pt x="33" y="12"/>
                  </a:lnTo>
                  <a:lnTo>
                    <a:pt x="33" y="10"/>
                  </a:lnTo>
                  <a:lnTo>
                    <a:pt x="35" y="10"/>
                  </a:lnTo>
                  <a:lnTo>
                    <a:pt x="35" y="7"/>
                  </a:lnTo>
                  <a:lnTo>
                    <a:pt x="38" y="7"/>
                  </a:lnTo>
                  <a:lnTo>
                    <a:pt x="35" y="7"/>
                  </a:lnTo>
                  <a:lnTo>
                    <a:pt x="38" y="7"/>
                  </a:lnTo>
                  <a:lnTo>
                    <a:pt x="40" y="5"/>
                  </a:lnTo>
                  <a:lnTo>
                    <a:pt x="40" y="7"/>
                  </a:lnTo>
                  <a:lnTo>
                    <a:pt x="40" y="5"/>
                  </a:lnTo>
                  <a:lnTo>
                    <a:pt x="40" y="7"/>
                  </a:lnTo>
                  <a:lnTo>
                    <a:pt x="42" y="7"/>
                  </a:lnTo>
                  <a:lnTo>
                    <a:pt x="40" y="7"/>
                  </a:lnTo>
                  <a:lnTo>
                    <a:pt x="40" y="5"/>
                  </a:lnTo>
                  <a:lnTo>
                    <a:pt x="42" y="5"/>
                  </a:lnTo>
                  <a:lnTo>
                    <a:pt x="40" y="5"/>
                  </a:lnTo>
                  <a:lnTo>
                    <a:pt x="40" y="2"/>
                  </a:lnTo>
                  <a:lnTo>
                    <a:pt x="42" y="2"/>
                  </a:lnTo>
                  <a:lnTo>
                    <a:pt x="45" y="2"/>
                  </a:lnTo>
                  <a:lnTo>
                    <a:pt x="45" y="0"/>
                  </a:lnTo>
                  <a:lnTo>
                    <a:pt x="45" y="2"/>
                  </a:lnTo>
                  <a:lnTo>
                    <a:pt x="45" y="0"/>
                  </a:lnTo>
                  <a:lnTo>
                    <a:pt x="47" y="0"/>
                  </a:lnTo>
                  <a:lnTo>
                    <a:pt x="47" y="2"/>
                  </a:lnTo>
                  <a:lnTo>
                    <a:pt x="47" y="5"/>
                  </a:lnTo>
                  <a:lnTo>
                    <a:pt x="47" y="2"/>
                  </a:lnTo>
                  <a:lnTo>
                    <a:pt x="47" y="5"/>
                  </a:lnTo>
                  <a:lnTo>
                    <a:pt x="47" y="2"/>
                  </a:lnTo>
                  <a:lnTo>
                    <a:pt x="50" y="2"/>
                  </a:lnTo>
                  <a:lnTo>
                    <a:pt x="47" y="2"/>
                  </a:lnTo>
                  <a:lnTo>
                    <a:pt x="50" y="2"/>
                  </a:lnTo>
                  <a:lnTo>
                    <a:pt x="52" y="2"/>
                  </a:lnTo>
                  <a:lnTo>
                    <a:pt x="52" y="0"/>
                  </a:lnTo>
                  <a:lnTo>
                    <a:pt x="54" y="0"/>
                  </a:lnTo>
                  <a:lnTo>
                    <a:pt x="52" y="2"/>
                  </a:lnTo>
                  <a:lnTo>
                    <a:pt x="54" y="2"/>
                  </a:lnTo>
                  <a:lnTo>
                    <a:pt x="52" y="2"/>
                  </a:lnTo>
                  <a:lnTo>
                    <a:pt x="54" y="2"/>
                  </a:lnTo>
                  <a:lnTo>
                    <a:pt x="54" y="0"/>
                  </a:lnTo>
                  <a:lnTo>
                    <a:pt x="54" y="2"/>
                  </a:lnTo>
                  <a:lnTo>
                    <a:pt x="57" y="2"/>
                  </a:lnTo>
                  <a:lnTo>
                    <a:pt x="57" y="5"/>
                  </a:lnTo>
                  <a:lnTo>
                    <a:pt x="57" y="2"/>
                  </a:lnTo>
                  <a:lnTo>
                    <a:pt x="59" y="2"/>
                  </a:lnTo>
                  <a:lnTo>
                    <a:pt x="61" y="2"/>
                  </a:lnTo>
                  <a:lnTo>
                    <a:pt x="59" y="2"/>
                  </a:lnTo>
                  <a:lnTo>
                    <a:pt x="61" y="2"/>
                  </a:lnTo>
                  <a:lnTo>
                    <a:pt x="61" y="5"/>
                  </a:lnTo>
                  <a:lnTo>
                    <a:pt x="64" y="5"/>
                  </a:lnTo>
                  <a:lnTo>
                    <a:pt x="61" y="5"/>
                  </a:lnTo>
                  <a:lnTo>
                    <a:pt x="64" y="5"/>
                  </a:lnTo>
                  <a:lnTo>
                    <a:pt x="64" y="7"/>
                  </a:lnTo>
                  <a:lnTo>
                    <a:pt x="66" y="7"/>
                  </a:lnTo>
                  <a:lnTo>
                    <a:pt x="64" y="7"/>
                  </a:lnTo>
                  <a:lnTo>
                    <a:pt x="66" y="7"/>
                  </a:lnTo>
                  <a:lnTo>
                    <a:pt x="66" y="10"/>
                  </a:lnTo>
                  <a:lnTo>
                    <a:pt x="69" y="10"/>
                  </a:lnTo>
                  <a:lnTo>
                    <a:pt x="66" y="10"/>
                  </a:lnTo>
                  <a:lnTo>
                    <a:pt x="69" y="10"/>
                  </a:lnTo>
                  <a:lnTo>
                    <a:pt x="66" y="10"/>
                  </a:lnTo>
                  <a:lnTo>
                    <a:pt x="69" y="10"/>
                  </a:lnTo>
                  <a:lnTo>
                    <a:pt x="71" y="10"/>
                  </a:lnTo>
                  <a:lnTo>
                    <a:pt x="73" y="10"/>
                  </a:lnTo>
                  <a:lnTo>
                    <a:pt x="76" y="10"/>
                  </a:lnTo>
                  <a:lnTo>
                    <a:pt x="76" y="12"/>
                  </a:lnTo>
                  <a:lnTo>
                    <a:pt x="73" y="12"/>
                  </a:lnTo>
                  <a:lnTo>
                    <a:pt x="73" y="14"/>
                  </a:lnTo>
                  <a:lnTo>
                    <a:pt x="73" y="12"/>
                  </a:lnTo>
                  <a:lnTo>
                    <a:pt x="76" y="12"/>
                  </a:lnTo>
                  <a:lnTo>
                    <a:pt x="76" y="10"/>
                  </a:lnTo>
                  <a:lnTo>
                    <a:pt x="78" y="10"/>
                  </a:lnTo>
                  <a:lnTo>
                    <a:pt x="80" y="10"/>
                  </a:lnTo>
                  <a:lnTo>
                    <a:pt x="83" y="10"/>
                  </a:lnTo>
                  <a:lnTo>
                    <a:pt x="85" y="10"/>
                  </a:lnTo>
                  <a:lnTo>
                    <a:pt x="85" y="12"/>
                  </a:lnTo>
                  <a:lnTo>
                    <a:pt x="85" y="10"/>
                  </a:lnTo>
                  <a:lnTo>
                    <a:pt x="88" y="10"/>
                  </a:lnTo>
                  <a:lnTo>
                    <a:pt x="90" y="10"/>
                  </a:lnTo>
                  <a:lnTo>
                    <a:pt x="92" y="10"/>
                  </a:lnTo>
                  <a:lnTo>
                    <a:pt x="90" y="10"/>
                  </a:lnTo>
                  <a:lnTo>
                    <a:pt x="92" y="10"/>
                  </a:lnTo>
                  <a:lnTo>
                    <a:pt x="95" y="10"/>
                  </a:lnTo>
                  <a:lnTo>
                    <a:pt x="97" y="10"/>
                  </a:lnTo>
                  <a:lnTo>
                    <a:pt x="99" y="10"/>
                  </a:lnTo>
                  <a:lnTo>
                    <a:pt x="102" y="10"/>
                  </a:lnTo>
                  <a:lnTo>
                    <a:pt x="102" y="7"/>
                  </a:lnTo>
                  <a:lnTo>
                    <a:pt x="102" y="10"/>
                  </a:lnTo>
                  <a:lnTo>
                    <a:pt x="104" y="10"/>
                  </a:lnTo>
                  <a:lnTo>
                    <a:pt x="107" y="10"/>
                  </a:lnTo>
                  <a:lnTo>
                    <a:pt x="109" y="10"/>
                  </a:lnTo>
                  <a:lnTo>
                    <a:pt x="107" y="10"/>
                  </a:lnTo>
                  <a:lnTo>
                    <a:pt x="109" y="10"/>
                  </a:lnTo>
                  <a:lnTo>
                    <a:pt x="109" y="7"/>
                  </a:lnTo>
                  <a:lnTo>
                    <a:pt x="109" y="10"/>
                  </a:lnTo>
                  <a:lnTo>
                    <a:pt x="111" y="10"/>
                  </a:lnTo>
                  <a:lnTo>
                    <a:pt x="111" y="7"/>
                  </a:lnTo>
                  <a:lnTo>
                    <a:pt x="111" y="10"/>
                  </a:lnTo>
                  <a:lnTo>
                    <a:pt x="111" y="7"/>
                  </a:lnTo>
                  <a:lnTo>
                    <a:pt x="114" y="7"/>
                  </a:lnTo>
                  <a:lnTo>
                    <a:pt x="114" y="5"/>
                  </a:lnTo>
                  <a:lnTo>
                    <a:pt x="116" y="5"/>
                  </a:lnTo>
                  <a:lnTo>
                    <a:pt x="116" y="7"/>
                  </a:lnTo>
                  <a:lnTo>
                    <a:pt x="116" y="10"/>
                  </a:lnTo>
                  <a:lnTo>
                    <a:pt x="118" y="10"/>
                  </a:lnTo>
                  <a:lnTo>
                    <a:pt x="121" y="10"/>
                  </a:lnTo>
                  <a:lnTo>
                    <a:pt x="123" y="10"/>
                  </a:lnTo>
                  <a:lnTo>
                    <a:pt x="126" y="10"/>
                  </a:lnTo>
                  <a:lnTo>
                    <a:pt x="128" y="10"/>
                  </a:lnTo>
                  <a:lnTo>
                    <a:pt x="130" y="10"/>
                  </a:lnTo>
                  <a:lnTo>
                    <a:pt x="130" y="12"/>
                  </a:lnTo>
                  <a:lnTo>
                    <a:pt x="128" y="12"/>
                  </a:lnTo>
                  <a:lnTo>
                    <a:pt x="130" y="12"/>
                  </a:lnTo>
                  <a:lnTo>
                    <a:pt x="130" y="10"/>
                  </a:lnTo>
                  <a:lnTo>
                    <a:pt x="130" y="12"/>
                  </a:lnTo>
                  <a:lnTo>
                    <a:pt x="133" y="12"/>
                  </a:lnTo>
                  <a:lnTo>
                    <a:pt x="135" y="12"/>
                  </a:lnTo>
                  <a:lnTo>
                    <a:pt x="135" y="14"/>
                  </a:lnTo>
                  <a:lnTo>
                    <a:pt x="137" y="14"/>
                  </a:lnTo>
                  <a:lnTo>
                    <a:pt x="137" y="12"/>
                  </a:lnTo>
                  <a:lnTo>
                    <a:pt x="137" y="14"/>
                  </a:lnTo>
                  <a:lnTo>
                    <a:pt x="140" y="14"/>
                  </a:lnTo>
                  <a:lnTo>
                    <a:pt x="142" y="14"/>
                  </a:lnTo>
                  <a:lnTo>
                    <a:pt x="144" y="14"/>
                  </a:lnTo>
                  <a:lnTo>
                    <a:pt x="147" y="14"/>
                  </a:lnTo>
                  <a:lnTo>
                    <a:pt x="149" y="14"/>
                  </a:lnTo>
                  <a:lnTo>
                    <a:pt x="149" y="17"/>
                  </a:lnTo>
                  <a:lnTo>
                    <a:pt x="152" y="17"/>
                  </a:lnTo>
                  <a:lnTo>
                    <a:pt x="154" y="17"/>
                  </a:lnTo>
                  <a:lnTo>
                    <a:pt x="156" y="17"/>
                  </a:lnTo>
                  <a:lnTo>
                    <a:pt x="159" y="17"/>
                  </a:lnTo>
                  <a:lnTo>
                    <a:pt x="161" y="17"/>
                  </a:lnTo>
                  <a:lnTo>
                    <a:pt x="163" y="17"/>
                  </a:lnTo>
                  <a:lnTo>
                    <a:pt x="166" y="17"/>
                  </a:lnTo>
                  <a:lnTo>
                    <a:pt x="168" y="17"/>
                  </a:lnTo>
                  <a:lnTo>
                    <a:pt x="171" y="17"/>
                  </a:lnTo>
                  <a:lnTo>
                    <a:pt x="173" y="17"/>
                  </a:lnTo>
                  <a:lnTo>
                    <a:pt x="171" y="17"/>
                  </a:lnTo>
                  <a:lnTo>
                    <a:pt x="173" y="14"/>
                  </a:lnTo>
                  <a:lnTo>
                    <a:pt x="173" y="17"/>
                  </a:lnTo>
                  <a:lnTo>
                    <a:pt x="173" y="14"/>
                  </a:lnTo>
                  <a:lnTo>
                    <a:pt x="175" y="14"/>
                  </a:lnTo>
                  <a:lnTo>
                    <a:pt x="175" y="17"/>
                  </a:lnTo>
                  <a:lnTo>
                    <a:pt x="175" y="14"/>
                  </a:lnTo>
                  <a:lnTo>
                    <a:pt x="178" y="14"/>
                  </a:lnTo>
                  <a:lnTo>
                    <a:pt x="180" y="14"/>
                  </a:lnTo>
                  <a:lnTo>
                    <a:pt x="180" y="12"/>
                  </a:lnTo>
                  <a:lnTo>
                    <a:pt x="180" y="14"/>
                  </a:lnTo>
                  <a:lnTo>
                    <a:pt x="180" y="12"/>
                  </a:lnTo>
                  <a:lnTo>
                    <a:pt x="182" y="12"/>
                  </a:lnTo>
                  <a:lnTo>
                    <a:pt x="182" y="14"/>
                  </a:lnTo>
                  <a:lnTo>
                    <a:pt x="180" y="14"/>
                  </a:lnTo>
                  <a:lnTo>
                    <a:pt x="180" y="17"/>
                  </a:lnTo>
                  <a:lnTo>
                    <a:pt x="182" y="17"/>
                  </a:lnTo>
                  <a:lnTo>
                    <a:pt x="180" y="17"/>
                  </a:lnTo>
                  <a:lnTo>
                    <a:pt x="182" y="17"/>
                  </a:lnTo>
                  <a:lnTo>
                    <a:pt x="180" y="17"/>
                  </a:lnTo>
                  <a:lnTo>
                    <a:pt x="182" y="17"/>
                  </a:lnTo>
                  <a:lnTo>
                    <a:pt x="180" y="17"/>
                  </a:lnTo>
                  <a:lnTo>
                    <a:pt x="182" y="17"/>
                  </a:lnTo>
                  <a:lnTo>
                    <a:pt x="182" y="14"/>
                  </a:lnTo>
                  <a:lnTo>
                    <a:pt x="182" y="17"/>
                  </a:lnTo>
                  <a:lnTo>
                    <a:pt x="185" y="14"/>
                  </a:lnTo>
                  <a:lnTo>
                    <a:pt x="182" y="14"/>
                  </a:lnTo>
                  <a:lnTo>
                    <a:pt x="185" y="14"/>
                  </a:lnTo>
                  <a:lnTo>
                    <a:pt x="185" y="12"/>
                  </a:lnTo>
                  <a:lnTo>
                    <a:pt x="187" y="12"/>
                  </a:lnTo>
                  <a:lnTo>
                    <a:pt x="190" y="1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8" name="Freeform 57959"/>
            <p:cNvSpPr>
              <a:spLocks noEditPoints="1"/>
            </p:cNvSpPr>
            <p:nvPr/>
          </p:nvSpPr>
          <p:spPr bwMode="auto">
            <a:xfrm>
              <a:off x="1558923" y="5199079"/>
              <a:ext cx="623888" cy="449265"/>
            </a:xfrm>
            <a:custGeom>
              <a:avLst/>
              <a:gdLst>
                <a:gd name="T0" fmla="*/ 68 w 393"/>
                <a:gd name="T1" fmla="*/ 280 h 283"/>
                <a:gd name="T2" fmla="*/ 68 w 393"/>
                <a:gd name="T3" fmla="*/ 280 h 283"/>
                <a:gd name="T4" fmla="*/ 66 w 393"/>
                <a:gd name="T5" fmla="*/ 280 h 283"/>
                <a:gd name="T6" fmla="*/ 64 w 393"/>
                <a:gd name="T7" fmla="*/ 278 h 283"/>
                <a:gd name="T8" fmla="*/ 66 w 393"/>
                <a:gd name="T9" fmla="*/ 280 h 283"/>
                <a:gd name="T10" fmla="*/ 66 w 393"/>
                <a:gd name="T11" fmla="*/ 278 h 283"/>
                <a:gd name="T12" fmla="*/ 64 w 393"/>
                <a:gd name="T13" fmla="*/ 276 h 283"/>
                <a:gd name="T14" fmla="*/ 341 w 393"/>
                <a:gd name="T15" fmla="*/ 207 h 283"/>
                <a:gd name="T16" fmla="*/ 344 w 393"/>
                <a:gd name="T17" fmla="*/ 209 h 283"/>
                <a:gd name="T18" fmla="*/ 346 w 393"/>
                <a:gd name="T19" fmla="*/ 214 h 283"/>
                <a:gd name="T20" fmla="*/ 346 w 393"/>
                <a:gd name="T21" fmla="*/ 214 h 283"/>
                <a:gd name="T22" fmla="*/ 344 w 393"/>
                <a:gd name="T23" fmla="*/ 212 h 283"/>
                <a:gd name="T24" fmla="*/ 341 w 393"/>
                <a:gd name="T25" fmla="*/ 214 h 283"/>
                <a:gd name="T26" fmla="*/ 341 w 393"/>
                <a:gd name="T27" fmla="*/ 209 h 283"/>
                <a:gd name="T28" fmla="*/ 341 w 393"/>
                <a:gd name="T29" fmla="*/ 209 h 283"/>
                <a:gd name="T30" fmla="*/ 334 w 393"/>
                <a:gd name="T31" fmla="*/ 200 h 283"/>
                <a:gd name="T32" fmla="*/ 334 w 393"/>
                <a:gd name="T33" fmla="*/ 200 h 283"/>
                <a:gd name="T34" fmla="*/ 393 w 393"/>
                <a:gd name="T35" fmla="*/ 190 h 283"/>
                <a:gd name="T36" fmla="*/ 391 w 393"/>
                <a:gd name="T37" fmla="*/ 193 h 283"/>
                <a:gd name="T38" fmla="*/ 391 w 393"/>
                <a:gd name="T39" fmla="*/ 193 h 283"/>
                <a:gd name="T40" fmla="*/ 391 w 393"/>
                <a:gd name="T41" fmla="*/ 193 h 283"/>
                <a:gd name="T42" fmla="*/ 391 w 393"/>
                <a:gd name="T43" fmla="*/ 193 h 283"/>
                <a:gd name="T44" fmla="*/ 393 w 393"/>
                <a:gd name="T45" fmla="*/ 190 h 283"/>
                <a:gd name="T46" fmla="*/ 393 w 393"/>
                <a:gd name="T47" fmla="*/ 190 h 283"/>
                <a:gd name="T48" fmla="*/ 372 w 393"/>
                <a:gd name="T49" fmla="*/ 174 h 283"/>
                <a:gd name="T50" fmla="*/ 370 w 393"/>
                <a:gd name="T51" fmla="*/ 171 h 283"/>
                <a:gd name="T52" fmla="*/ 2 w 393"/>
                <a:gd name="T53" fmla="*/ 52 h 283"/>
                <a:gd name="T54" fmla="*/ 2 w 393"/>
                <a:gd name="T55" fmla="*/ 52 h 283"/>
                <a:gd name="T56" fmla="*/ 2 w 393"/>
                <a:gd name="T57" fmla="*/ 52 h 283"/>
                <a:gd name="T58" fmla="*/ 0 w 393"/>
                <a:gd name="T59" fmla="*/ 52 h 283"/>
                <a:gd name="T60" fmla="*/ 0 w 393"/>
                <a:gd name="T61" fmla="*/ 50 h 283"/>
                <a:gd name="T62" fmla="*/ 2 w 393"/>
                <a:gd name="T63" fmla="*/ 52 h 283"/>
                <a:gd name="T64" fmla="*/ 0 w 393"/>
                <a:gd name="T65" fmla="*/ 43 h 283"/>
                <a:gd name="T66" fmla="*/ 4 w 393"/>
                <a:gd name="T67" fmla="*/ 40 h 283"/>
                <a:gd name="T68" fmla="*/ 4 w 393"/>
                <a:gd name="T69" fmla="*/ 40 h 283"/>
                <a:gd name="T70" fmla="*/ 4 w 393"/>
                <a:gd name="T71" fmla="*/ 40 h 283"/>
                <a:gd name="T72" fmla="*/ 2 w 393"/>
                <a:gd name="T73" fmla="*/ 38 h 283"/>
                <a:gd name="T74" fmla="*/ 4 w 393"/>
                <a:gd name="T75" fmla="*/ 0 h 283"/>
                <a:gd name="T76" fmla="*/ 4 w 393"/>
                <a:gd name="T7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3" h="283">
                  <a:moveTo>
                    <a:pt x="66" y="280"/>
                  </a:moveTo>
                  <a:lnTo>
                    <a:pt x="68" y="280"/>
                  </a:lnTo>
                  <a:lnTo>
                    <a:pt x="68" y="283"/>
                  </a:lnTo>
                  <a:lnTo>
                    <a:pt x="68" y="280"/>
                  </a:lnTo>
                  <a:lnTo>
                    <a:pt x="66" y="280"/>
                  </a:lnTo>
                  <a:close/>
                  <a:moveTo>
                    <a:pt x="66" y="280"/>
                  </a:moveTo>
                  <a:lnTo>
                    <a:pt x="66" y="278"/>
                  </a:lnTo>
                  <a:lnTo>
                    <a:pt x="64" y="278"/>
                  </a:lnTo>
                  <a:lnTo>
                    <a:pt x="66" y="278"/>
                  </a:lnTo>
                  <a:lnTo>
                    <a:pt x="66" y="280"/>
                  </a:lnTo>
                  <a:close/>
                  <a:moveTo>
                    <a:pt x="64" y="278"/>
                  </a:moveTo>
                  <a:lnTo>
                    <a:pt x="66" y="278"/>
                  </a:lnTo>
                  <a:lnTo>
                    <a:pt x="64" y="278"/>
                  </a:lnTo>
                  <a:lnTo>
                    <a:pt x="64" y="276"/>
                  </a:lnTo>
                  <a:lnTo>
                    <a:pt x="64" y="278"/>
                  </a:lnTo>
                  <a:close/>
                  <a:moveTo>
                    <a:pt x="341" y="207"/>
                  </a:moveTo>
                  <a:lnTo>
                    <a:pt x="341" y="209"/>
                  </a:lnTo>
                  <a:lnTo>
                    <a:pt x="344" y="209"/>
                  </a:lnTo>
                  <a:lnTo>
                    <a:pt x="344" y="212"/>
                  </a:lnTo>
                  <a:lnTo>
                    <a:pt x="346" y="214"/>
                  </a:lnTo>
                  <a:lnTo>
                    <a:pt x="346" y="212"/>
                  </a:lnTo>
                  <a:lnTo>
                    <a:pt x="346" y="214"/>
                  </a:lnTo>
                  <a:lnTo>
                    <a:pt x="344" y="214"/>
                  </a:lnTo>
                  <a:lnTo>
                    <a:pt x="344" y="212"/>
                  </a:lnTo>
                  <a:lnTo>
                    <a:pt x="341" y="212"/>
                  </a:lnTo>
                  <a:lnTo>
                    <a:pt x="341" y="214"/>
                  </a:lnTo>
                  <a:lnTo>
                    <a:pt x="341" y="212"/>
                  </a:lnTo>
                  <a:lnTo>
                    <a:pt x="341" y="209"/>
                  </a:lnTo>
                  <a:lnTo>
                    <a:pt x="341" y="212"/>
                  </a:lnTo>
                  <a:lnTo>
                    <a:pt x="341" y="209"/>
                  </a:lnTo>
                  <a:lnTo>
                    <a:pt x="341" y="207"/>
                  </a:lnTo>
                  <a:close/>
                  <a:moveTo>
                    <a:pt x="334" y="200"/>
                  </a:moveTo>
                  <a:lnTo>
                    <a:pt x="334" y="197"/>
                  </a:lnTo>
                  <a:lnTo>
                    <a:pt x="334" y="200"/>
                  </a:lnTo>
                  <a:close/>
                  <a:moveTo>
                    <a:pt x="391" y="190"/>
                  </a:moveTo>
                  <a:lnTo>
                    <a:pt x="393" y="190"/>
                  </a:lnTo>
                  <a:lnTo>
                    <a:pt x="393" y="193"/>
                  </a:lnTo>
                  <a:lnTo>
                    <a:pt x="391" y="193"/>
                  </a:lnTo>
                  <a:lnTo>
                    <a:pt x="393" y="193"/>
                  </a:lnTo>
                  <a:lnTo>
                    <a:pt x="391" y="193"/>
                  </a:lnTo>
                  <a:lnTo>
                    <a:pt x="391" y="190"/>
                  </a:lnTo>
                  <a:lnTo>
                    <a:pt x="391" y="193"/>
                  </a:lnTo>
                  <a:lnTo>
                    <a:pt x="391" y="190"/>
                  </a:lnTo>
                  <a:lnTo>
                    <a:pt x="391" y="193"/>
                  </a:lnTo>
                  <a:lnTo>
                    <a:pt x="391" y="190"/>
                  </a:lnTo>
                  <a:close/>
                  <a:moveTo>
                    <a:pt x="393" y="190"/>
                  </a:moveTo>
                  <a:lnTo>
                    <a:pt x="391" y="190"/>
                  </a:lnTo>
                  <a:lnTo>
                    <a:pt x="393" y="190"/>
                  </a:lnTo>
                  <a:close/>
                  <a:moveTo>
                    <a:pt x="372" y="171"/>
                  </a:moveTo>
                  <a:lnTo>
                    <a:pt x="372" y="174"/>
                  </a:lnTo>
                  <a:lnTo>
                    <a:pt x="370" y="174"/>
                  </a:lnTo>
                  <a:lnTo>
                    <a:pt x="370" y="171"/>
                  </a:lnTo>
                  <a:lnTo>
                    <a:pt x="372" y="171"/>
                  </a:lnTo>
                  <a:close/>
                  <a:moveTo>
                    <a:pt x="2" y="52"/>
                  </a:moveTo>
                  <a:lnTo>
                    <a:pt x="2" y="55"/>
                  </a:lnTo>
                  <a:lnTo>
                    <a:pt x="2" y="52"/>
                  </a:lnTo>
                  <a:lnTo>
                    <a:pt x="2" y="55"/>
                  </a:lnTo>
                  <a:lnTo>
                    <a:pt x="2" y="52"/>
                  </a:lnTo>
                  <a:close/>
                  <a:moveTo>
                    <a:pt x="2" y="52"/>
                  </a:moveTo>
                  <a:lnTo>
                    <a:pt x="0" y="52"/>
                  </a:lnTo>
                  <a:lnTo>
                    <a:pt x="2" y="52"/>
                  </a:lnTo>
                  <a:lnTo>
                    <a:pt x="0" y="50"/>
                  </a:lnTo>
                  <a:lnTo>
                    <a:pt x="2" y="50"/>
                  </a:lnTo>
                  <a:lnTo>
                    <a:pt x="2" y="52"/>
                  </a:lnTo>
                  <a:close/>
                  <a:moveTo>
                    <a:pt x="0" y="45"/>
                  </a:moveTo>
                  <a:lnTo>
                    <a:pt x="0" y="43"/>
                  </a:lnTo>
                  <a:lnTo>
                    <a:pt x="0" y="45"/>
                  </a:lnTo>
                  <a:close/>
                  <a:moveTo>
                    <a:pt x="4" y="40"/>
                  </a:moveTo>
                  <a:lnTo>
                    <a:pt x="2" y="40"/>
                  </a:lnTo>
                  <a:lnTo>
                    <a:pt x="4" y="40"/>
                  </a:lnTo>
                  <a:lnTo>
                    <a:pt x="2" y="40"/>
                  </a:lnTo>
                  <a:lnTo>
                    <a:pt x="4" y="40"/>
                  </a:lnTo>
                  <a:close/>
                  <a:moveTo>
                    <a:pt x="2" y="36"/>
                  </a:moveTo>
                  <a:lnTo>
                    <a:pt x="2" y="38"/>
                  </a:lnTo>
                  <a:lnTo>
                    <a:pt x="2" y="36"/>
                  </a:lnTo>
                  <a:close/>
                  <a:moveTo>
                    <a:pt x="4" y="0"/>
                  </a:moveTo>
                  <a:lnTo>
                    <a:pt x="2" y="0"/>
                  </a:lnTo>
                  <a:lnTo>
                    <a:pt x="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9" name="Freeform 57960"/>
            <p:cNvSpPr>
              <a:spLocks noEditPoints="1"/>
            </p:cNvSpPr>
            <p:nvPr/>
          </p:nvSpPr>
          <p:spPr bwMode="auto">
            <a:xfrm>
              <a:off x="1546223" y="5172090"/>
              <a:ext cx="636587" cy="528639"/>
            </a:xfrm>
            <a:custGeom>
              <a:avLst/>
              <a:gdLst>
                <a:gd name="T0" fmla="*/ 98 w 401"/>
                <a:gd name="T1" fmla="*/ 331 h 333"/>
                <a:gd name="T2" fmla="*/ 98 w 401"/>
                <a:gd name="T3" fmla="*/ 333 h 333"/>
                <a:gd name="T4" fmla="*/ 98 w 401"/>
                <a:gd name="T5" fmla="*/ 331 h 333"/>
                <a:gd name="T6" fmla="*/ 72 w 401"/>
                <a:gd name="T7" fmla="*/ 295 h 333"/>
                <a:gd name="T8" fmla="*/ 72 w 401"/>
                <a:gd name="T9" fmla="*/ 293 h 333"/>
                <a:gd name="T10" fmla="*/ 72 w 401"/>
                <a:gd name="T11" fmla="*/ 295 h 333"/>
                <a:gd name="T12" fmla="*/ 74 w 401"/>
                <a:gd name="T13" fmla="*/ 293 h 333"/>
                <a:gd name="T14" fmla="*/ 72 w 401"/>
                <a:gd name="T15" fmla="*/ 293 h 333"/>
                <a:gd name="T16" fmla="*/ 74 w 401"/>
                <a:gd name="T17" fmla="*/ 293 h 333"/>
                <a:gd name="T18" fmla="*/ 271 w 401"/>
                <a:gd name="T19" fmla="*/ 278 h 333"/>
                <a:gd name="T20" fmla="*/ 271 w 401"/>
                <a:gd name="T21" fmla="*/ 281 h 333"/>
                <a:gd name="T22" fmla="*/ 271 w 401"/>
                <a:gd name="T23" fmla="*/ 278 h 333"/>
                <a:gd name="T24" fmla="*/ 278 w 401"/>
                <a:gd name="T25" fmla="*/ 274 h 333"/>
                <a:gd name="T26" fmla="*/ 278 w 401"/>
                <a:gd name="T27" fmla="*/ 276 h 333"/>
                <a:gd name="T28" fmla="*/ 278 w 401"/>
                <a:gd name="T29" fmla="*/ 274 h 333"/>
                <a:gd name="T30" fmla="*/ 349 w 401"/>
                <a:gd name="T31" fmla="*/ 221 h 333"/>
                <a:gd name="T32" fmla="*/ 349 w 401"/>
                <a:gd name="T33" fmla="*/ 219 h 333"/>
                <a:gd name="T34" fmla="*/ 349 w 401"/>
                <a:gd name="T35" fmla="*/ 221 h 333"/>
                <a:gd name="T36" fmla="*/ 342 w 401"/>
                <a:gd name="T37" fmla="*/ 217 h 333"/>
                <a:gd name="T38" fmla="*/ 340 w 401"/>
                <a:gd name="T39" fmla="*/ 217 h 333"/>
                <a:gd name="T40" fmla="*/ 342 w 401"/>
                <a:gd name="T41" fmla="*/ 217 h 333"/>
                <a:gd name="T42" fmla="*/ 401 w 401"/>
                <a:gd name="T43" fmla="*/ 207 h 333"/>
                <a:gd name="T44" fmla="*/ 401 w 401"/>
                <a:gd name="T45" fmla="*/ 205 h 333"/>
                <a:gd name="T46" fmla="*/ 401 w 401"/>
                <a:gd name="T47" fmla="*/ 207 h 333"/>
                <a:gd name="T48" fmla="*/ 383 w 401"/>
                <a:gd name="T49" fmla="*/ 193 h 333"/>
                <a:gd name="T50" fmla="*/ 385 w 401"/>
                <a:gd name="T51" fmla="*/ 193 h 333"/>
                <a:gd name="T52" fmla="*/ 383 w 401"/>
                <a:gd name="T53" fmla="*/ 193 h 333"/>
                <a:gd name="T54" fmla="*/ 380 w 401"/>
                <a:gd name="T55" fmla="*/ 191 h 333"/>
                <a:gd name="T56" fmla="*/ 380 w 401"/>
                <a:gd name="T57" fmla="*/ 188 h 333"/>
                <a:gd name="T58" fmla="*/ 380 w 401"/>
                <a:gd name="T59" fmla="*/ 191 h 333"/>
                <a:gd name="T60" fmla="*/ 8 w 401"/>
                <a:gd name="T61" fmla="*/ 65 h 333"/>
                <a:gd name="T62" fmla="*/ 8 w 401"/>
                <a:gd name="T63" fmla="*/ 62 h 333"/>
                <a:gd name="T64" fmla="*/ 8 w 401"/>
                <a:gd name="T65" fmla="*/ 65 h 333"/>
                <a:gd name="T66" fmla="*/ 10 w 401"/>
                <a:gd name="T67" fmla="*/ 55 h 333"/>
                <a:gd name="T68" fmla="*/ 8 w 401"/>
                <a:gd name="T69" fmla="*/ 55 h 333"/>
                <a:gd name="T70" fmla="*/ 10 w 401"/>
                <a:gd name="T71" fmla="*/ 55 h 333"/>
                <a:gd name="T72" fmla="*/ 0 w 401"/>
                <a:gd name="T73" fmla="*/ 43 h 333"/>
                <a:gd name="T74" fmla="*/ 0 w 401"/>
                <a:gd name="T75" fmla="*/ 41 h 333"/>
                <a:gd name="T76" fmla="*/ 0 w 401"/>
                <a:gd name="T77" fmla="*/ 43 h 333"/>
                <a:gd name="T78" fmla="*/ 0 w 401"/>
                <a:gd name="T79" fmla="*/ 41 h 333"/>
                <a:gd name="T80" fmla="*/ 0 w 401"/>
                <a:gd name="T81" fmla="*/ 38 h 333"/>
                <a:gd name="T82" fmla="*/ 0 w 401"/>
                <a:gd name="T83" fmla="*/ 41 h 333"/>
                <a:gd name="T84" fmla="*/ 24 w 401"/>
                <a:gd name="T85" fmla="*/ 17 h 333"/>
                <a:gd name="T86" fmla="*/ 24 w 401"/>
                <a:gd name="T87" fmla="*/ 15 h 333"/>
                <a:gd name="T88" fmla="*/ 24 w 401"/>
                <a:gd name="T89" fmla="*/ 17 h 333"/>
                <a:gd name="T90" fmla="*/ 171 w 401"/>
                <a:gd name="T91" fmla="*/ 12 h 333"/>
                <a:gd name="T92" fmla="*/ 169 w 401"/>
                <a:gd name="T93" fmla="*/ 12 h 333"/>
                <a:gd name="T94" fmla="*/ 171 w 401"/>
                <a:gd name="T95" fmla="*/ 12 h 333"/>
                <a:gd name="T96" fmla="*/ 29 w 401"/>
                <a:gd name="T97" fmla="*/ 10 h 333"/>
                <a:gd name="T98" fmla="*/ 27 w 401"/>
                <a:gd name="T99" fmla="*/ 10 h 333"/>
                <a:gd name="T100" fmla="*/ 29 w 401"/>
                <a:gd name="T101" fmla="*/ 10 h 333"/>
                <a:gd name="T102" fmla="*/ 46 w 401"/>
                <a:gd name="T103" fmla="*/ 0 h 333"/>
                <a:gd name="T104" fmla="*/ 43 w 401"/>
                <a:gd name="T105" fmla="*/ 0 h 333"/>
                <a:gd name="T106" fmla="*/ 46 w 401"/>
                <a:gd name="T107"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1" h="333">
                  <a:moveTo>
                    <a:pt x="98" y="331"/>
                  </a:moveTo>
                  <a:lnTo>
                    <a:pt x="98" y="333"/>
                  </a:lnTo>
                  <a:lnTo>
                    <a:pt x="98" y="331"/>
                  </a:lnTo>
                  <a:close/>
                  <a:moveTo>
                    <a:pt x="72" y="295"/>
                  </a:moveTo>
                  <a:lnTo>
                    <a:pt x="72" y="293"/>
                  </a:lnTo>
                  <a:lnTo>
                    <a:pt x="72" y="295"/>
                  </a:lnTo>
                  <a:close/>
                  <a:moveTo>
                    <a:pt x="74" y="293"/>
                  </a:moveTo>
                  <a:lnTo>
                    <a:pt x="72" y="293"/>
                  </a:lnTo>
                  <a:lnTo>
                    <a:pt x="74" y="293"/>
                  </a:lnTo>
                  <a:close/>
                  <a:moveTo>
                    <a:pt x="271" y="278"/>
                  </a:moveTo>
                  <a:lnTo>
                    <a:pt x="271" y="281"/>
                  </a:lnTo>
                  <a:lnTo>
                    <a:pt x="271" y="278"/>
                  </a:lnTo>
                  <a:close/>
                  <a:moveTo>
                    <a:pt x="278" y="274"/>
                  </a:moveTo>
                  <a:lnTo>
                    <a:pt x="278" y="276"/>
                  </a:lnTo>
                  <a:lnTo>
                    <a:pt x="278" y="274"/>
                  </a:lnTo>
                  <a:close/>
                  <a:moveTo>
                    <a:pt x="349" y="221"/>
                  </a:moveTo>
                  <a:lnTo>
                    <a:pt x="349" y="219"/>
                  </a:lnTo>
                  <a:lnTo>
                    <a:pt x="349" y="221"/>
                  </a:lnTo>
                  <a:close/>
                  <a:moveTo>
                    <a:pt x="342" y="217"/>
                  </a:moveTo>
                  <a:lnTo>
                    <a:pt x="340" y="217"/>
                  </a:lnTo>
                  <a:lnTo>
                    <a:pt x="342" y="217"/>
                  </a:lnTo>
                  <a:close/>
                  <a:moveTo>
                    <a:pt x="401" y="207"/>
                  </a:moveTo>
                  <a:lnTo>
                    <a:pt x="401" y="205"/>
                  </a:lnTo>
                  <a:lnTo>
                    <a:pt x="401" y="207"/>
                  </a:lnTo>
                  <a:close/>
                  <a:moveTo>
                    <a:pt x="383" y="193"/>
                  </a:moveTo>
                  <a:lnTo>
                    <a:pt x="385" y="193"/>
                  </a:lnTo>
                  <a:lnTo>
                    <a:pt x="383" y="193"/>
                  </a:lnTo>
                  <a:close/>
                  <a:moveTo>
                    <a:pt x="380" y="191"/>
                  </a:moveTo>
                  <a:lnTo>
                    <a:pt x="380" y="188"/>
                  </a:lnTo>
                  <a:lnTo>
                    <a:pt x="380" y="191"/>
                  </a:lnTo>
                  <a:close/>
                  <a:moveTo>
                    <a:pt x="8" y="65"/>
                  </a:moveTo>
                  <a:lnTo>
                    <a:pt x="8" y="62"/>
                  </a:lnTo>
                  <a:lnTo>
                    <a:pt x="8" y="65"/>
                  </a:lnTo>
                  <a:close/>
                  <a:moveTo>
                    <a:pt x="10" y="55"/>
                  </a:moveTo>
                  <a:lnTo>
                    <a:pt x="8" y="55"/>
                  </a:lnTo>
                  <a:lnTo>
                    <a:pt x="10" y="55"/>
                  </a:lnTo>
                  <a:close/>
                  <a:moveTo>
                    <a:pt x="0" y="43"/>
                  </a:moveTo>
                  <a:lnTo>
                    <a:pt x="0" y="41"/>
                  </a:lnTo>
                  <a:lnTo>
                    <a:pt x="0" y="43"/>
                  </a:lnTo>
                  <a:close/>
                  <a:moveTo>
                    <a:pt x="0" y="41"/>
                  </a:moveTo>
                  <a:lnTo>
                    <a:pt x="0" y="38"/>
                  </a:lnTo>
                  <a:lnTo>
                    <a:pt x="0" y="41"/>
                  </a:lnTo>
                  <a:close/>
                  <a:moveTo>
                    <a:pt x="24" y="17"/>
                  </a:moveTo>
                  <a:lnTo>
                    <a:pt x="24" y="15"/>
                  </a:lnTo>
                  <a:lnTo>
                    <a:pt x="24" y="17"/>
                  </a:lnTo>
                  <a:close/>
                  <a:moveTo>
                    <a:pt x="171" y="12"/>
                  </a:moveTo>
                  <a:lnTo>
                    <a:pt x="169" y="12"/>
                  </a:lnTo>
                  <a:lnTo>
                    <a:pt x="171" y="12"/>
                  </a:lnTo>
                  <a:close/>
                  <a:moveTo>
                    <a:pt x="29" y="10"/>
                  </a:moveTo>
                  <a:lnTo>
                    <a:pt x="27" y="10"/>
                  </a:lnTo>
                  <a:lnTo>
                    <a:pt x="29" y="10"/>
                  </a:lnTo>
                  <a:close/>
                  <a:moveTo>
                    <a:pt x="46" y="0"/>
                  </a:moveTo>
                  <a:lnTo>
                    <a:pt x="43" y="0"/>
                  </a:lnTo>
                  <a:lnTo>
                    <a:pt x="4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0" name="Freeform 57962"/>
            <p:cNvSpPr>
              <a:spLocks noEditPoints="1"/>
            </p:cNvSpPr>
            <p:nvPr/>
          </p:nvSpPr>
          <p:spPr bwMode="auto">
            <a:xfrm>
              <a:off x="586147" y="5488408"/>
              <a:ext cx="328613" cy="196850"/>
            </a:xfrm>
            <a:custGeom>
              <a:avLst/>
              <a:gdLst>
                <a:gd name="T0" fmla="*/ 207 w 207"/>
                <a:gd name="T1" fmla="*/ 122 h 124"/>
                <a:gd name="T2" fmla="*/ 207 w 207"/>
                <a:gd name="T3" fmla="*/ 124 h 124"/>
                <a:gd name="T4" fmla="*/ 202 w 207"/>
                <a:gd name="T5" fmla="*/ 124 h 124"/>
                <a:gd name="T6" fmla="*/ 199 w 207"/>
                <a:gd name="T7" fmla="*/ 122 h 124"/>
                <a:gd name="T8" fmla="*/ 204 w 207"/>
                <a:gd name="T9" fmla="*/ 122 h 124"/>
                <a:gd name="T10" fmla="*/ 97 w 207"/>
                <a:gd name="T11" fmla="*/ 53 h 124"/>
                <a:gd name="T12" fmla="*/ 100 w 207"/>
                <a:gd name="T13" fmla="*/ 55 h 124"/>
                <a:gd name="T14" fmla="*/ 104 w 207"/>
                <a:gd name="T15" fmla="*/ 57 h 124"/>
                <a:gd name="T16" fmla="*/ 107 w 207"/>
                <a:gd name="T17" fmla="*/ 60 h 124"/>
                <a:gd name="T18" fmla="*/ 102 w 207"/>
                <a:gd name="T19" fmla="*/ 60 h 124"/>
                <a:gd name="T20" fmla="*/ 97 w 207"/>
                <a:gd name="T21" fmla="*/ 57 h 124"/>
                <a:gd name="T22" fmla="*/ 97 w 207"/>
                <a:gd name="T23" fmla="*/ 57 h 124"/>
                <a:gd name="T24" fmla="*/ 97 w 207"/>
                <a:gd name="T25" fmla="*/ 57 h 124"/>
                <a:gd name="T26" fmla="*/ 93 w 207"/>
                <a:gd name="T27" fmla="*/ 57 h 124"/>
                <a:gd name="T28" fmla="*/ 90 w 207"/>
                <a:gd name="T29" fmla="*/ 55 h 124"/>
                <a:gd name="T30" fmla="*/ 93 w 207"/>
                <a:gd name="T31" fmla="*/ 53 h 124"/>
                <a:gd name="T32" fmla="*/ 83 w 207"/>
                <a:gd name="T33" fmla="*/ 48 h 124"/>
                <a:gd name="T34" fmla="*/ 85 w 207"/>
                <a:gd name="T35" fmla="*/ 50 h 124"/>
                <a:gd name="T36" fmla="*/ 88 w 207"/>
                <a:gd name="T37" fmla="*/ 53 h 124"/>
                <a:gd name="T38" fmla="*/ 85 w 207"/>
                <a:gd name="T39" fmla="*/ 53 h 124"/>
                <a:gd name="T40" fmla="*/ 85 w 207"/>
                <a:gd name="T41" fmla="*/ 53 h 124"/>
                <a:gd name="T42" fmla="*/ 83 w 207"/>
                <a:gd name="T43" fmla="*/ 53 h 124"/>
                <a:gd name="T44" fmla="*/ 81 w 207"/>
                <a:gd name="T45" fmla="*/ 50 h 124"/>
                <a:gd name="T46" fmla="*/ 83 w 207"/>
                <a:gd name="T47" fmla="*/ 48 h 124"/>
                <a:gd name="T48" fmla="*/ 100 w 207"/>
                <a:gd name="T49" fmla="*/ 43 h 124"/>
                <a:gd name="T50" fmla="*/ 102 w 207"/>
                <a:gd name="T51" fmla="*/ 46 h 124"/>
                <a:gd name="T52" fmla="*/ 107 w 207"/>
                <a:gd name="T53" fmla="*/ 46 h 124"/>
                <a:gd name="T54" fmla="*/ 109 w 207"/>
                <a:gd name="T55" fmla="*/ 48 h 124"/>
                <a:gd name="T56" fmla="*/ 112 w 207"/>
                <a:gd name="T57" fmla="*/ 50 h 124"/>
                <a:gd name="T58" fmla="*/ 114 w 207"/>
                <a:gd name="T59" fmla="*/ 53 h 124"/>
                <a:gd name="T60" fmla="*/ 114 w 207"/>
                <a:gd name="T61" fmla="*/ 53 h 124"/>
                <a:gd name="T62" fmla="*/ 109 w 207"/>
                <a:gd name="T63" fmla="*/ 50 h 124"/>
                <a:gd name="T64" fmla="*/ 104 w 207"/>
                <a:gd name="T65" fmla="*/ 50 h 124"/>
                <a:gd name="T66" fmla="*/ 102 w 207"/>
                <a:gd name="T67" fmla="*/ 48 h 124"/>
                <a:gd name="T68" fmla="*/ 100 w 207"/>
                <a:gd name="T69" fmla="*/ 46 h 124"/>
                <a:gd name="T70" fmla="*/ 100 w 207"/>
                <a:gd name="T71" fmla="*/ 46 h 124"/>
                <a:gd name="T72" fmla="*/ 97 w 207"/>
                <a:gd name="T73" fmla="*/ 43 h 124"/>
                <a:gd name="T74" fmla="*/ 135 w 207"/>
                <a:gd name="T75" fmla="*/ 41 h 124"/>
                <a:gd name="T76" fmla="*/ 135 w 207"/>
                <a:gd name="T77" fmla="*/ 41 h 124"/>
                <a:gd name="T78" fmla="*/ 138 w 207"/>
                <a:gd name="T79" fmla="*/ 41 h 124"/>
                <a:gd name="T80" fmla="*/ 140 w 207"/>
                <a:gd name="T81" fmla="*/ 43 h 124"/>
                <a:gd name="T82" fmla="*/ 138 w 207"/>
                <a:gd name="T83" fmla="*/ 46 h 124"/>
                <a:gd name="T84" fmla="*/ 138 w 207"/>
                <a:gd name="T85" fmla="*/ 46 h 124"/>
                <a:gd name="T86" fmla="*/ 138 w 207"/>
                <a:gd name="T87" fmla="*/ 46 h 124"/>
                <a:gd name="T88" fmla="*/ 138 w 207"/>
                <a:gd name="T89" fmla="*/ 46 h 124"/>
                <a:gd name="T90" fmla="*/ 135 w 207"/>
                <a:gd name="T91" fmla="*/ 48 h 124"/>
                <a:gd name="T92" fmla="*/ 131 w 207"/>
                <a:gd name="T93" fmla="*/ 48 h 124"/>
                <a:gd name="T94" fmla="*/ 128 w 207"/>
                <a:gd name="T95" fmla="*/ 43 h 124"/>
                <a:gd name="T96" fmla="*/ 131 w 207"/>
                <a:gd name="T97" fmla="*/ 41 h 124"/>
                <a:gd name="T98" fmla="*/ 107 w 207"/>
                <a:gd name="T99" fmla="*/ 29 h 124"/>
                <a:gd name="T100" fmla="*/ 109 w 207"/>
                <a:gd name="T101" fmla="*/ 31 h 124"/>
                <a:gd name="T102" fmla="*/ 104 w 207"/>
                <a:gd name="T103" fmla="*/ 31 h 124"/>
                <a:gd name="T104" fmla="*/ 107 w 207"/>
                <a:gd name="T105" fmla="*/ 29 h 124"/>
                <a:gd name="T106" fmla="*/ 2 w 207"/>
                <a:gd name="T107" fmla="*/ 10 h 124"/>
                <a:gd name="T108" fmla="*/ 5 w 207"/>
                <a:gd name="T109" fmla="*/ 12 h 124"/>
                <a:gd name="T110" fmla="*/ 5 w 207"/>
                <a:gd name="T111" fmla="*/ 12 h 124"/>
                <a:gd name="T112" fmla="*/ 2 w 207"/>
                <a:gd name="T113" fmla="*/ 15 h 124"/>
                <a:gd name="T114" fmla="*/ 0 w 207"/>
                <a:gd name="T115" fmla="*/ 12 h 124"/>
                <a:gd name="T116" fmla="*/ 2 w 207"/>
                <a:gd name="T117" fmla="*/ 10 h 124"/>
                <a:gd name="T118" fmla="*/ 5 w 207"/>
                <a:gd name="T119" fmla="*/ 0 h 124"/>
                <a:gd name="T120" fmla="*/ 5 w 207"/>
                <a:gd name="T1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7" h="124">
                  <a:moveTo>
                    <a:pt x="204" y="122"/>
                  </a:moveTo>
                  <a:lnTo>
                    <a:pt x="207" y="122"/>
                  </a:lnTo>
                  <a:lnTo>
                    <a:pt x="204" y="122"/>
                  </a:lnTo>
                  <a:lnTo>
                    <a:pt x="207" y="124"/>
                  </a:lnTo>
                  <a:lnTo>
                    <a:pt x="204" y="124"/>
                  </a:lnTo>
                  <a:lnTo>
                    <a:pt x="202" y="124"/>
                  </a:lnTo>
                  <a:lnTo>
                    <a:pt x="199" y="124"/>
                  </a:lnTo>
                  <a:lnTo>
                    <a:pt x="199" y="122"/>
                  </a:lnTo>
                  <a:lnTo>
                    <a:pt x="202" y="122"/>
                  </a:lnTo>
                  <a:lnTo>
                    <a:pt x="204" y="122"/>
                  </a:lnTo>
                  <a:close/>
                  <a:moveTo>
                    <a:pt x="95" y="53"/>
                  </a:moveTo>
                  <a:lnTo>
                    <a:pt x="97" y="53"/>
                  </a:lnTo>
                  <a:lnTo>
                    <a:pt x="97" y="55"/>
                  </a:lnTo>
                  <a:lnTo>
                    <a:pt x="100" y="55"/>
                  </a:lnTo>
                  <a:lnTo>
                    <a:pt x="102" y="57"/>
                  </a:lnTo>
                  <a:lnTo>
                    <a:pt x="104" y="57"/>
                  </a:lnTo>
                  <a:lnTo>
                    <a:pt x="107" y="57"/>
                  </a:lnTo>
                  <a:lnTo>
                    <a:pt x="107" y="60"/>
                  </a:lnTo>
                  <a:lnTo>
                    <a:pt x="104" y="60"/>
                  </a:lnTo>
                  <a:lnTo>
                    <a:pt x="102" y="60"/>
                  </a:lnTo>
                  <a:lnTo>
                    <a:pt x="100" y="60"/>
                  </a:lnTo>
                  <a:lnTo>
                    <a:pt x="97" y="57"/>
                  </a:lnTo>
                  <a:lnTo>
                    <a:pt x="97" y="60"/>
                  </a:lnTo>
                  <a:lnTo>
                    <a:pt x="97" y="57"/>
                  </a:lnTo>
                  <a:lnTo>
                    <a:pt x="97" y="60"/>
                  </a:lnTo>
                  <a:lnTo>
                    <a:pt x="97" y="57"/>
                  </a:lnTo>
                  <a:lnTo>
                    <a:pt x="95" y="57"/>
                  </a:lnTo>
                  <a:lnTo>
                    <a:pt x="93" y="57"/>
                  </a:lnTo>
                  <a:lnTo>
                    <a:pt x="90" y="57"/>
                  </a:lnTo>
                  <a:lnTo>
                    <a:pt x="90" y="55"/>
                  </a:lnTo>
                  <a:lnTo>
                    <a:pt x="90" y="53"/>
                  </a:lnTo>
                  <a:lnTo>
                    <a:pt x="93" y="53"/>
                  </a:lnTo>
                  <a:lnTo>
                    <a:pt x="95" y="53"/>
                  </a:lnTo>
                  <a:close/>
                  <a:moveTo>
                    <a:pt x="83" y="48"/>
                  </a:moveTo>
                  <a:lnTo>
                    <a:pt x="85" y="48"/>
                  </a:lnTo>
                  <a:lnTo>
                    <a:pt x="85" y="50"/>
                  </a:lnTo>
                  <a:lnTo>
                    <a:pt x="88" y="50"/>
                  </a:lnTo>
                  <a:lnTo>
                    <a:pt x="88" y="53"/>
                  </a:lnTo>
                  <a:lnTo>
                    <a:pt x="88" y="55"/>
                  </a:lnTo>
                  <a:lnTo>
                    <a:pt x="85" y="53"/>
                  </a:lnTo>
                  <a:lnTo>
                    <a:pt x="85" y="55"/>
                  </a:lnTo>
                  <a:lnTo>
                    <a:pt x="85" y="53"/>
                  </a:lnTo>
                  <a:lnTo>
                    <a:pt x="83" y="55"/>
                  </a:lnTo>
                  <a:lnTo>
                    <a:pt x="83" y="53"/>
                  </a:lnTo>
                  <a:lnTo>
                    <a:pt x="81" y="53"/>
                  </a:lnTo>
                  <a:lnTo>
                    <a:pt x="81" y="50"/>
                  </a:lnTo>
                  <a:lnTo>
                    <a:pt x="83" y="50"/>
                  </a:lnTo>
                  <a:lnTo>
                    <a:pt x="83" y="48"/>
                  </a:lnTo>
                  <a:close/>
                  <a:moveTo>
                    <a:pt x="97" y="43"/>
                  </a:moveTo>
                  <a:lnTo>
                    <a:pt x="100" y="43"/>
                  </a:lnTo>
                  <a:lnTo>
                    <a:pt x="100" y="46"/>
                  </a:lnTo>
                  <a:lnTo>
                    <a:pt x="102" y="46"/>
                  </a:lnTo>
                  <a:lnTo>
                    <a:pt x="104" y="46"/>
                  </a:lnTo>
                  <a:lnTo>
                    <a:pt x="107" y="46"/>
                  </a:lnTo>
                  <a:lnTo>
                    <a:pt x="107" y="48"/>
                  </a:lnTo>
                  <a:lnTo>
                    <a:pt x="109" y="48"/>
                  </a:lnTo>
                  <a:lnTo>
                    <a:pt x="109" y="50"/>
                  </a:lnTo>
                  <a:lnTo>
                    <a:pt x="112" y="50"/>
                  </a:lnTo>
                  <a:lnTo>
                    <a:pt x="114" y="50"/>
                  </a:lnTo>
                  <a:lnTo>
                    <a:pt x="114" y="53"/>
                  </a:lnTo>
                  <a:lnTo>
                    <a:pt x="116" y="53"/>
                  </a:lnTo>
                  <a:lnTo>
                    <a:pt x="114" y="53"/>
                  </a:lnTo>
                  <a:lnTo>
                    <a:pt x="112" y="53"/>
                  </a:lnTo>
                  <a:lnTo>
                    <a:pt x="109" y="50"/>
                  </a:lnTo>
                  <a:lnTo>
                    <a:pt x="107" y="50"/>
                  </a:lnTo>
                  <a:lnTo>
                    <a:pt x="104" y="50"/>
                  </a:lnTo>
                  <a:lnTo>
                    <a:pt x="104" y="48"/>
                  </a:lnTo>
                  <a:lnTo>
                    <a:pt x="102" y="48"/>
                  </a:lnTo>
                  <a:lnTo>
                    <a:pt x="100" y="48"/>
                  </a:lnTo>
                  <a:lnTo>
                    <a:pt x="100" y="46"/>
                  </a:lnTo>
                  <a:lnTo>
                    <a:pt x="100" y="48"/>
                  </a:lnTo>
                  <a:lnTo>
                    <a:pt x="100" y="46"/>
                  </a:lnTo>
                  <a:lnTo>
                    <a:pt x="97" y="46"/>
                  </a:lnTo>
                  <a:lnTo>
                    <a:pt x="97" y="43"/>
                  </a:lnTo>
                  <a:close/>
                  <a:moveTo>
                    <a:pt x="133" y="41"/>
                  </a:moveTo>
                  <a:lnTo>
                    <a:pt x="135" y="41"/>
                  </a:lnTo>
                  <a:lnTo>
                    <a:pt x="135" y="43"/>
                  </a:lnTo>
                  <a:lnTo>
                    <a:pt x="135" y="41"/>
                  </a:lnTo>
                  <a:lnTo>
                    <a:pt x="135" y="43"/>
                  </a:lnTo>
                  <a:lnTo>
                    <a:pt x="138" y="41"/>
                  </a:lnTo>
                  <a:lnTo>
                    <a:pt x="138" y="43"/>
                  </a:lnTo>
                  <a:lnTo>
                    <a:pt x="140" y="43"/>
                  </a:lnTo>
                  <a:lnTo>
                    <a:pt x="138" y="43"/>
                  </a:lnTo>
                  <a:lnTo>
                    <a:pt x="138" y="46"/>
                  </a:lnTo>
                  <a:lnTo>
                    <a:pt x="138" y="43"/>
                  </a:lnTo>
                  <a:lnTo>
                    <a:pt x="138" y="46"/>
                  </a:lnTo>
                  <a:lnTo>
                    <a:pt x="138" y="43"/>
                  </a:lnTo>
                  <a:lnTo>
                    <a:pt x="138" y="46"/>
                  </a:lnTo>
                  <a:lnTo>
                    <a:pt x="140" y="46"/>
                  </a:lnTo>
                  <a:lnTo>
                    <a:pt x="138" y="46"/>
                  </a:lnTo>
                  <a:lnTo>
                    <a:pt x="138" y="48"/>
                  </a:lnTo>
                  <a:lnTo>
                    <a:pt x="135" y="48"/>
                  </a:lnTo>
                  <a:lnTo>
                    <a:pt x="133" y="48"/>
                  </a:lnTo>
                  <a:lnTo>
                    <a:pt x="131" y="48"/>
                  </a:lnTo>
                  <a:lnTo>
                    <a:pt x="128" y="46"/>
                  </a:lnTo>
                  <a:lnTo>
                    <a:pt x="128" y="43"/>
                  </a:lnTo>
                  <a:lnTo>
                    <a:pt x="128" y="41"/>
                  </a:lnTo>
                  <a:lnTo>
                    <a:pt x="131" y="41"/>
                  </a:lnTo>
                  <a:lnTo>
                    <a:pt x="133" y="41"/>
                  </a:lnTo>
                  <a:close/>
                  <a:moveTo>
                    <a:pt x="107" y="29"/>
                  </a:moveTo>
                  <a:lnTo>
                    <a:pt x="109" y="29"/>
                  </a:lnTo>
                  <a:lnTo>
                    <a:pt x="109" y="31"/>
                  </a:lnTo>
                  <a:lnTo>
                    <a:pt x="107" y="31"/>
                  </a:lnTo>
                  <a:lnTo>
                    <a:pt x="104" y="31"/>
                  </a:lnTo>
                  <a:lnTo>
                    <a:pt x="104" y="29"/>
                  </a:lnTo>
                  <a:lnTo>
                    <a:pt x="107" y="29"/>
                  </a:lnTo>
                  <a:close/>
                  <a:moveTo>
                    <a:pt x="2" y="8"/>
                  </a:moveTo>
                  <a:lnTo>
                    <a:pt x="2" y="10"/>
                  </a:lnTo>
                  <a:lnTo>
                    <a:pt x="5" y="10"/>
                  </a:lnTo>
                  <a:lnTo>
                    <a:pt x="5" y="12"/>
                  </a:lnTo>
                  <a:lnTo>
                    <a:pt x="2" y="12"/>
                  </a:lnTo>
                  <a:lnTo>
                    <a:pt x="5" y="12"/>
                  </a:lnTo>
                  <a:lnTo>
                    <a:pt x="2" y="12"/>
                  </a:lnTo>
                  <a:lnTo>
                    <a:pt x="2" y="15"/>
                  </a:lnTo>
                  <a:lnTo>
                    <a:pt x="0" y="15"/>
                  </a:lnTo>
                  <a:lnTo>
                    <a:pt x="0" y="12"/>
                  </a:lnTo>
                  <a:lnTo>
                    <a:pt x="0" y="10"/>
                  </a:lnTo>
                  <a:lnTo>
                    <a:pt x="2" y="10"/>
                  </a:lnTo>
                  <a:lnTo>
                    <a:pt x="2" y="8"/>
                  </a:lnTo>
                  <a:close/>
                  <a:moveTo>
                    <a:pt x="5" y="0"/>
                  </a:moveTo>
                  <a:lnTo>
                    <a:pt x="5" y="3"/>
                  </a:lnTo>
                  <a:lnTo>
                    <a:pt x="5" y="0"/>
                  </a:lnTo>
                  <a:close/>
                </a:path>
              </a:pathLst>
            </a:custGeom>
            <a:grpFill/>
            <a:ln w="6350">
              <a:solidFill>
                <a:schemeClr val="bg1">
                  <a:lumMod val="85000"/>
                </a:schemeClr>
              </a:solidFill>
              <a:prstDash val="solid"/>
              <a:round/>
              <a:headEnd/>
              <a:tailEnd/>
            </a:ln>
          </p:spPr>
          <p:txBody>
            <a:bodyPr/>
            <a:lstStyle/>
            <a:p>
              <a:endParaRPr lang="en-US">
                <a:solidFill>
                  <a:srgbClr val="000000"/>
                </a:solidFill>
              </a:endParaRPr>
            </a:p>
          </p:txBody>
        </p:sp>
        <p:sp>
          <p:nvSpPr>
            <p:cNvPr id="131" name="Freeform 57963"/>
            <p:cNvSpPr>
              <a:spLocks noEditPoints="1"/>
            </p:cNvSpPr>
            <p:nvPr/>
          </p:nvSpPr>
          <p:spPr bwMode="auto">
            <a:xfrm>
              <a:off x="1155699" y="5922977"/>
              <a:ext cx="30163" cy="215901"/>
            </a:xfrm>
            <a:custGeom>
              <a:avLst/>
              <a:gdLst>
                <a:gd name="T0" fmla="*/ 19 w 19"/>
                <a:gd name="T1" fmla="*/ 136 h 136"/>
                <a:gd name="T2" fmla="*/ 19 w 19"/>
                <a:gd name="T3" fmla="*/ 133 h 136"/>
                <a:gd name="T4" fmla="*/ 19 w 19"/>
                <a:gd name="T5" fmla="*/ 133 h 136"/>
                <a:gd name="T6" fmla="*/ 19 w 19"/>
                <a:gd name="T7" fmla="*/ 133 h 136"/>
                <a:gd name="T8" fmla="*/ 19 w 19"/>
                <a:gd name="T9" fmla="*/ 136 h 136"/>
                <a:gd name="T10" fmla="*/ 19 w 19"/>
                <a:gd name="T11" fmla="*/ 133 h 136"/>
                <a:gd name="T12" fmla="*/ 19 w 19"/>
                <a:gd name="T13" fmla="*/ 133 h 136"/>
                <a:gd name="T14" fmla="*/ 19 w 19"/>
                <a:gd name="T15" fmla="*/ 133 h 136"/>
                <a:gd name="T16" fmla="*/ 19 w 19"/>
                <a:gd name="T17" fmla="*/ 133 h 136"/>
                <a:gd name="T18" fmla="*/ 19 w 19"/>
                <a:gd name="T19" fmla="*/ 133 h 136"/>
                <a:gd name="T20" fmla="*/ 19 w 19"/>
                <a:gd name="T21" fmla="*/ 133 h 136"/>
                <a:gd name="T22" fmla="*/ 19 w 19"/>
                <a:gd name="T23" fmla="*/ 133 h 136"/>
                <a:gd name="T24" fmla="*/ 19 w 19"/>
                <a:gd name="T25" fmla="*/ 133 h 136"/>
                <a:gd name="T26" fmla="*/ 19 w 19"/>
                <a:gd name="T27" fmla="*/ 133 h 136"/>
                <a:gd name="T28" fmla="*/ 19 w 19"/>
                <a:gd name="T29" fmla="*/ 133 h 136"/>
                <a:gd name="T30" fmla="*/ 19 w 19"/>
                <a:gd name="T31" fmla="*/ 133 h 136"/>
                <a:gd name="T32" fmla="*/ 19 w 19"/>
                <a:gd name="T33" fmla="*/ 133 h 136"/>
                <a:gd name="T34" fmla="*/ 0 w 19"/>
                <a:gd name="T35" fmla="*/ 19 h 136"/>
                <a:gd name="T36" fmla="*/ 0 w 19"/>
                <a:gd name="T37" fmla="*/ 19 h 136"/>
                <a:gd name="T38" fmla="*/ 0 w 19"/>
                <a:gd name="T39" fmla="*/ 19 h 136"/>
                <a:gd name="T40" fmla="*/ 0 w 19"/>
                <a:gd name="T41" fmla="*/ 19 h 136"/>
                <a:gd name="T42" fmla="*/ 7 w 19"/>
                <a:gd name="T43" fmla="*/ 14 h 136"/>
                <a:gd name="T44" fmla="*/ 7 w 19"/>
                <a:gd name="T45" fmla="*/ 14 h 136"/>
                <a:gd name="T46" fmla="*/ 7 w 19"/>
                <a:gd name="T47" fmla="*/ 14 h 136"/>
                <a:gd name="T48" fmla="*/ 12 w 19"/>
                <a:gd name="T49" fmla="*/ 3 h 136"/>
                <a:gd name="T50" fmla="*/ 12 w 19"/>
                <a:gd name="T51" fmla="*/ 3 h 136"/>
                <a:gd name="T52" fmla="*/ 12 w 19"/>
                <a:gd name="T53" fmla="*/ 3 h 136"/>
                <a:gd name="T54" fmla="*/ 9 w 19"/>
                <a:gd name="T55" fmla="*/ 3 h 136"/>
                <a:gd name="T56" fmla="*/ 9 w 19"/>
                <a:gd name="T57" fmla="*/ 3 h 136"/>
                <a:gd name="T58" fmla="*/ 9 w 19"/>
                <a:gd name="T59" fmla="*/ 3 h 136"/>
                <a:gd name="T60" fmla="*/ 12 w 19"/>
                <a:gd name="T61" fmla="*/ 3 h 136"/>
                <a:gd name="T62" fmla="*/ 12 w 19"/>
                <a:gd name="T63" fmla="*/ 3 h 136"/>
                <a:gd name="T64" fmla="*/ 12 w 19"/>
                <a:gd name="T65" fmla="*/ 0 h 136"/>
                <a:gd name="T66" fmla="*/ 12 w 19"/>
                <a:gd name="T67" fmla="*/ 0 h 136"/>
                <a:gd name="T68" fmla="*/ 12 w 19"/>
                <a:gd name="T69" fmla="*/ 0 h 136"/>
                <a:gd name="T70" fmla="*/ 12 w 19"/>
                <a:gd name="T7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136">
                  <a:moveTo>
                    <a:pt x="19" y="136"/>
                  </a:moveTo>
                  <a:lnTo>
                    <a:pt x="19" y="136"/>
                  </a:lnTo>
                  <a:lnTo>
                    <a:pt x="19" y="133"/>
                  </a:lnTo>
                  <a:lnTo>
                    <a:pt x="19" y="133"/>
                  </a:lnTo>
                  <a:lnTo>
                    <a:pt x="19" y="133"/>
                  </a:lnTo>
                  <a:lnTo>
                    <a:pt x="19" y="133"/>
                  </a:lnTo>
                  <a:lnTo>
                    <a:pt x="19" y="133"/>
                  </a:lnTo>
                  <a:lnTo>
                    <a:pt x="19" y="133"/>
                  </a:lnTo>
                  <a:lnTo>
                    <a:pt x="19" y="136"/>
                  </a:lnTo>
                  <a:lnTo>
                    <a:pt x="19" y="136"/>
                  </a:lnTo>
                  <a:close/>
                  <a:moveTo>
                    <a:pt x="19" y="133"/>
                  </a:moveTo>
                  <a:lnTo>
                    <a:pt x="19" y="133"/>
                  </a:lnTo>
                  <a:lnTo>
                    <a:pt x="19" y="133"/>
                  </a:lnTo>
                  <a:lnTo>
                    <a:pt x="19" y="133"/>
                  </a:lnTo>
                  <a:lnTo>
                    <a:pt x="19" y="133"/>
                  </a:lnTo>
                  <a:lnTo>
                    <a:pt x="19" y="133"/>
                  </a:lnTo>
                  <a:close/>
                  <a:moveTo>
                    <a:pt x="19" y="133"/>
                  </a:moveTo>
                  <a:lnTo>
                    <a:pt x="19" y="133"/>
                  </a:lnTo>
                  <a:lnTo>
                    <a:pt x="19" y="133"/>
                  </a:lnTo>
                  <a:lnTo>
                    <a:pt x="19" y="133"/>
                  </a:lnTo>
                  <a:lnTo>
                    <a:pt x="19" y="133"/>
                  </a:lnTo>
                  <a:lnTo>
                    <a:pt x="19" y="133"/>
                  </a:lnTo>
                  <a:close/>
                  <a:moveTo>
                    <a:pt x="19" y="133"/>
                  </a:moveTo>
                  <a:lnTo>
                    <a:pt x="19" y="133"/>
                  </a:lnTo>
                  <a:lnTo>
                    <a:pt x="19" y="133"/>
                  </a:lnTo>
                  <a:lnTo>
                    <a:pt x="19" y="133"/>
                  </a:lnTo>
                  <a:lnTo>
                    <a:pt x="19" y="133"/>
                  </a:lnTo>
                  <a:lnTo>
                    <a:pt x="19" y="133"/>
                  </a:lnTo>
                  <a:lnTo>
                    <a:pt x="19" y="133"/>
                  </a:lnTo>
                  <a:lnTo>
                    <a:pt x="19" y="133"/>
                  </a:lnTo>
                  <a:lnTo>
                    <a:pt x="19" y="133"/>
                  </a:lnTo>
                  <a:lnTo>
                    <a:pt x="19" y="133"/>
                  </a:lnTo>
                  <a:lnTo>
                    <a:pt x="19" y="133"/>
                  </a:lnTo>
                  <a:lnTo>
                    <a:pt x="19" y="133"/>
                  </a:lnTo>
                  <a:lnTo>
                    <a:pt x="19" y="133"/>
                  </a:lnTo>
                  <a:close/>
                  <a:moveTo>
                    <a:pt x="0" y="19"/>
                  </a:moveTo>
                  <a:lnTo>
                    <a:pt x="0" y="19"/>
                  </a:lnTo>
                  <a:lnTo>
                    <a:pt x="0" y="19"/>
                  </a:lnTo>
                  <a:lnTo>
                    <a:pt x="0" y="19"/>
                  </a:lnTo>
                  <a:lnTo>
                    <a:pt x="0" y="19"/>
                  </a:lnTo>
                  <a:lnTo>
                    <a:pt x="0" y="19"/>
                  </a:lnTo>
                  <a:lnTo>
                    <a:pt x="0" y="19"/>
                  </a:lnTo>
                  <a:close/>
                  <a:moveTo>
                    <a:pt x="7" y="14"/>
                  </a:moveTo>
                  <a:lnTo>
                    <a:pt x="7" y="14"/>
                  </a:lnTo>
                  <a:lnTo>
                    <a:pt x="7" y="14"/>
                  </a:lnTo>
                  <a:lnTo>
                    <a:pt x="7" y="14"/>
                  </a:lnTo>
                  <a:lnTo>
                    <a:pt x="7" y="14"/>
                  </a:lnTo>
                  <a:lnTo>
                    <a:pt x="7" y="14"/>
                  </a:lnTo>
                  <a:close/>
                  <a:moveTo>
                    <a:pt x="12" y="3"/>
                  </a:moveTo>
                  <a:lnTo>
                    <a:pt x="12" y="3"/>
                  </a:lnTo>
                  <a:lnTo>
                    <a:pt x="12" y="3"/>
                  </a:lnTo>
                  <a:lnTo>
                    <a:pt x="12" y="3"/>
                  </a:lnTo>
                  <a:lnTo>
                    <a:pt x="12" y="3"/>
                  </a:lnTo>
                  <a:lnTo>
                    <a:pt x="12" y="3"/>
                  </a:lnTo>
                  <a:lnTo>
                    <a:pt x="12" y="3"/>
                  </a:lnTo>
                  <a:close/>
                  <a:moveTo>
                    <a:pt x="9" y="3"/>
                  </a:moveTo>
                  <a:lnTo>
                    <a:pt x="9" y="3"/>
                  </a:lnTo>
                  <a:lnTo>
                    <a:pt x="9" y="3"/>
                  </a:lnTo>
                  <a:lnTo>
                    <a:pt x="9" y="3"/>
                  </a:lnTo>
                  <a:lnTo>
                    <a:pt x="9" y="3"/>
                  </a:lnTo>
                  <a:close/>
                  <a:moveTo>
                    <a:pt x="12" y="3"/>
                  </a:moveTo>
                  <a:lnTo>
                    <a:pt x="12" y="3"/>
                  </a:lnTo>
                  <a:lnTo>
                    <a:pt x="12" y="3"/>
                  </a:lnTo>
                  <a:lnTo>
                    <a:pt x="12" y="3"/>
                  </a:lnTo>
                  <a:lnTo>
                    <a:pt x="12" y="3"/>
                  </a:lnTo>
                  <a:close/>
                  <a:moveTo>
                    <a:pt x="12" y="0"/>
                  </a:moveTo>
                  <a:lnTo>
                    <a:pt x="12" y="0"/>
                  </a:lnTo>
                  <a:lnTo>
                    <a:pt x="12" y="0"/>
                  </a:lnTo>
                  <a:lnTo>
                    <a:pt x="12" y="0"/>
                  </a:lnTo>
                  <a:lnTo>
                    <a:pt x="12" y="0"/>
                  </a:lnTo>
                  <a:lnTo>
                    <a:pt x="12"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2" name="Freeform 57964"/>
            <p:cNvSpPr>
              <a:spLocks noEditPoints="1"/>
            </p:cNvSpPr>
            <p:nvPr/>
          </p:nvSpPr>
          <p:spPr bwMode="auto">
            <a:xfrm>
              <a:off x="1155700" y="5927739"/>
              <a:ext cx="41275" cy="211138"/>
            </a:xfrm>
            <a:custGeom>
              <a:avLst/>
              <a:gdLst>
                <a:gd name="T0" fmla="*/ 21 w 26"/>
                <a:gd name="T1" fmla="*/ 130 h 133"/>
                <a:gd name="T2" fmla="*/ 21 w 26"/>
                <a:gd name="T3" fmla="*/ 133 h 133"/>
                <a:gd name="T4" fmla="*/ 21 w 26"/>
                <a:gd name="T5" fmla="*/ 130 h 133"/>
                <a:gd name="T6" fmla="*/ 26 w 26"/>
                <a:gd name="T7" fmla="*/ 128 h 133"/>
                <a:gd name="T8" fmla="*/ 26 w 26"/>
                <a:gd name="T9" fmla="*/ 128 h 133"/>
                <a:gd name="T10" fmla="*/ 26 w 26"/>
                <a:gd name="T11" fmla="*/ 128 h 133"/>
                <a:gd name="T12" fmla="*/ 26 w 26"/>
                <a:gd name="T13" fmla="*/ 126 h 133"/>
                <a:gd name="T14" fmla="*/ 26 w 26"/>
                <a:gd name="T15" fmla="*/ 126 h 133"/>
                <a:gd name="T16" fmla="*/ 7 w 26"/>
                <a:gd name="T17" fmla="*/ 30 h 133"/>
                <a:gd name="T18" fmla="*/ 4 w 26"/>
                <a:gd name="T19" fmla="*/ 28 h 133"/>
                <a:gd name="T20" fmla="*/ 4 w 26"/>
                <a:gd name="T21" fmla="*/ 28 h 133"/>
                <a:gd name="T22" fmla="*/ 4 w 26"/>
                <a:gd name="T23" fmla="*/ 28 h 133"/>
                <a:gd name="T24" fmla="*/ 4 w 26"/>
                <a:gd name="T25" fmla="*/ 28 h 133"/>
                <a:gd name="T26" fmla="*/ 7 w 26"/>
                <a:gd name="T27" fmla="*/ 30 h 133"/>
                <a:gd name="T28" fmla="*/ 4 w 26"/>
                <a:gd name="T29" fmla="*/ 23 h 133"/>
                <a:gd name="T30" fmla="*/ 4 w 26"/>
                <a:gd name="T31" fmla="*/ 23 h 133"/>
                <a:gd name="T32" fmla="*/ 4 w 26"/>
                <a:gd name="T33" fmla="*/ 23 h 133"/>
                <a:gd name="T34" fmla="*/ 4 w 26"/>
                <a:gd name="T35" fmla="*/ 26 h 133"/>
                <a:gd name="T36" fmla="*/ 4 w 26"/>
                <a:gd name="T37" fmla="*/ 26 h 133"/>
                <a:gd name="T38" fmla="*/ 4 w 26"/>
                <a:gd name="T39" fmla="*/ 26 h 133"/>
                <a:gd name="T40" fmla="*/ 4 w 26"/>
                <a:gd name="T41" fmla="*/ 26 h 133"/>
                <a:gd name="T42" fmla="*/ 4 w 26"/>
                <a:gd name="T43" fmla="*/ 23 h 133"/>
                <a:gd name="T44" fmla="*/ 4 w 26"/>
                <a:gd name="T45" fmla="*/ 23 h 133"/>
                <a:gd name="T46" fmla="*/ 4 w 26"/>
                <a:gd name="T47" fmla="*/ 23 h 133"/>
                <a:gd name="T48" fmla="*/ 2 w 26"/>
                <a:gd name="T49" fmla="*/ 23 h 133"/>
                <a:gd name="T50" fmla="*/ 4 w 26"/>
                <a:gd name="T51" fmla="*/ 23 h 133"/>
                <a:gd name="T52" fmla="*/ 2 w 26"/>
                <a:gd name="T53" fmla="*/ 23 h 133"/>
                <a:gd name="T54" fmla="*/ 4 w 26"/>
                <a:gd name="T55" fmla="*/ 23 h 133"/>
                <a:gd name="T56" fmla="*/ 2 w 26"/>
                <a:gd name="T57" fmla="*/ 21 h 133"/>
                <a:gd name="T58" fmla="*/ 2 w 26"/>
                <a:gd name="T59" fmla="*/ 21 h 133"/>
                <a:gd name="T60" fmla="*/ 0 w 26"/>
                <a:gd name="T61" fmla="*/ 16 h 133"/>
                <a:gd name="T62" fmla="*/ 0 w 26"/>
                <a:gd name="T63" fmla="*/ 14 h 133"/>
                <a:gd name="T64" fmla="*/ 0 w 26"/>
                <a:gd name="T65" fmla="*/ 16 h 133"/>
                <a:gd name="T66" fmla="*/ 9 w 26"/>
                <a:gd name="T67" fmla="*/ 4 h 133"/>
                <a:gd name="T68" fmla="*/ 9 w 26"/>
                <a:gd name="T69" fmla="*/ 4 h 133"/>
                <a:gd name="T70" fmla="*/ 9 w 26"/>
                <a:gd name="T71" fmla="*/ 2 h 133"/>
                <a:gd name="T72" fmla="*/ 9 w 26"/>
                <a:gd name="T73" fmla="*/ 2 h 133"/>
                <a:gd name="T74" fmla="*/ 7 w 26"/>
                <a:gd name="T75" fmla="*/ 2 h 133"/>
                <a:gd name="T76" fmla="*/ 7 w 26"/>
                <a:gd name="T77" fmla="*/ 2 h 133"/>
                <a:gd name="T78" fmla="*/ 12 w 26"/>
                <a:gd name="T79" fmla="*/ 2 h 133"/>
                <a:gd name="T80" fmla="*/ 12 w 26"/>
                <a:gd name="T81" fmla="*/ 0 h 133"/>
                <a:gd name="T82" fmla="*/ 12 w 26"/>
                <a:gd name="T83" fmla="*/ 0 h 133"/>
                <a:gd name="T84" fmla="*/ 12 w 26"/>
                <a:gd name="T85" fmla="*/ 0 h 133"/>
                <a:gd name="T86" fmla="*/ 12 w 26"/>
                <a:gd name="T87" fmla="*/ 0 h 133"/>
                <a:gd name="T88" fmla="*/ 12 w 26"/>
                <a:gd name="T89" fmla="*/ 2 h 133"/>
                <a:gd name="T90" fmla="*/ 12 w 26"/>
                <a:gd name="T91" fmla="*/ 2 h 133"/>
                <a:gd name="T92" fmla="*/ 12 w 26"/>
                <a:gd name="T93" fmla="*/ 2 h 133"/>
                <a:gd name="T94" fmla="*/ 9 w 26"/>
                <a:gd name="T95" fmla="*/ 2 h 133"/>
                <a:gd name="T96" fmla="*/ 9 w 26"/>
                <a:gd name="T97" fmla="*/ 2 h 133"/>
                <a:gd name="T98" fmla="*/ 9 w 26"/>
                <a:gd name="T99" fmla="*/ 2 h 133"/>
                <a:gd name="T100" fmla="*/ 7 w 26"/>
                <a:gd name="T101" fmla="*/ 2 h 133"/>
                <a:gd name="T102" fmla="*/ 9 w 26"/>
                <a:gd name="T103" fmla="*/ 2 h 133"/>
                <a:gd name="T104" fmla="*/ 9 w 26"/>
                <a:gd name="T105" fmla="*/ 0 h 133"/>
                <a:gd name="T106" fmla="*/ 9 w 26"/>
                <a:gd name="T107" fmla="*/ 0 h 133"/>
                <a:gd name="T108" fmla="*/ 9 w 26"/>
                <a:gd name="T10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 h="133">
                  <a:moveTo>
                    <a:pt x="21" y="130"/>
                  </a:moveTo>
                  <a:lnTo>
                    <a:pt x="21" y="130"/>
                  </a:lnTo>
                  <a:lnTo>
                    <a:pt x="21" y="130"/>
                  </a:lnTo>
                  <a:lnTo>
                    <a:pt x="21" y="130"/>
                  </a:lnTo>
                  <a:lnTo>
                    <a:pt x="21" y="130"/>
                  </a:lnTo>
                  <a:lnTo>
                    <a:pt x="21" y="130"/>
                  </a:lnTo>
                  <a:lnTo>
                    <a:pt x="21" y="130"/>
                  </a:lnTo>
                  <a:lnTo>
                    <a:pt x="21" y="133"/>
                  </a:lnTo>
                  <a:lnTo>
                    <a:pt x="21" y="130"/>
                  </a:lnTo>
                  <a:lnTo>
                    <a:pt x="21" y="133"/>
                  </a:lnTo>
                  <a:lnTo>
                    <a:pt x="21" y="133"/>
                  </a:lnTo>
                  <a:lnTo>
                    <a:pt x="21" y="133"/>
                  </a:lnTo>
                  <a:lnTo>
                    <a:pt x="21" y="133"/>
                  </a:lnTo>
                  <a:lnTo>
                    <a:pt x="21" y="130"/>
                  </a:lnTo>
                  <a:lnTo>
                    <a:pt x="21" y="130"/>
                  </a:lnTo>
                  <a:lnTo>
                    <a:pt x="21" y="130"/>
                  </a:lnTo>
                  <a:lnTo>
                    <a:pt x="21" y="130"/>
                  </a:lnTo>
                  <a:lnTo>
                    <a:pt x="21" y="130"/>
                  </a:lnTo>
                  <a:close/>
                  <a:moveTo>
                    <a:pt x="26" y="126"/>
                  </a:moveTo>
                  <a:lnTo>
                    <a:pt x="26" y="128"/>
                  </a:lnTo>
                  <a:lnTo>
                    <a:pt x="26" y="128"/>
                  </a:lnTo>
                  <a:lnTo>
                    <a:pt x="26" y="128"/>
                  </a:lnTo>
                  <a:lnTo>
                    <a:pt x="26" y="128"/>
                  </a:lnTo>
                  <a:lnTo>
                    <a:pt x="26" y="128"/>
                  </a:lnTo>
                  <a:lnTo>
                    <a:pt x="26" y="128"/>
                  </a:lnTo>
                  <a:lnTo>
                    <a:pt x="26" y="128"/>
                  </a:lnTo>
                  <a:lnTo>
                    <a:pt x="26" y="128"/>
                  </a:lnTo>
                  <a:lnTo>
                    <a:pt x="26" y="128"/>
                  </a:lnTo>
                  <a:lnTo>
                    <a:pt x="26" y="128"/>
                  </a:lnTo>
                  <a:lnTo>
                    <a:pt x="26" y="128"/>
                  </a:lnTo>
                  <a:lnTo>
                    <a:pt x="26" y="128"/>
                  </a:lnTo>
                  <a:lnTo>
                    <a:pt x="26" y="128"/>
                  </a:lnTo>
                  <a:lnTo>
                    <a:pt x="26" y="126"/>
                  </a:lnTo>
                  <a:lnTo>
                    <a:pt x="26" y="126"/>
                  </a:lnTo>
                  <a:lnTo>
                    <a:pt x="26" y="126"/>
                  </a:lnTo>
                  <a:lnTo>
                    <a:pt x="26" y="126"/>
                  </a:lnTo>
                  <a:lnTo>
                    <a:pt x="26" y="126"/>
                  </a:lnTo>
                  <a:lnTo>
                    <a:pt x="26" y="126"/>
                  </a:lnTo>
                  <a:lnTo>
                    <a:pt x="26" y="126"/>
                  </a:lnTo>
                  <a:lnTo>
                    <a:pt x="26" y="126"/>
                  </a:lnTo>
                  <a:lnTo>
                    <a:pt x="26" y="126"/>
                  </a:lnTo>
                  <a:lnTo>
                    <a:pt x="26" y="126"/>
                  </a:lnTo>
                  <a:close/>
                  <a:moveTo>
                    <a:pt x="7" y="30"/>
                  </a:moveTo>
                  <a:lnTo>
                    <a:pt x="7" y="30"/>
                  </a:lnTo>
                  <a:lnTo>
                    <a:pt x="7" y="30"/>
                  </a:lnTo>
                  <a:lnTo>
                    <a:pt x="7" y="30"/>
                  </a:lnTo>
                  <a:lnTo>
                    <a:pt x="4" y="30"/>
                  </a:lnTo>
                  <a:lnTo>
                    <a:pt x="4" y="30"/>
                  </a:lnTo>
                  <a:lnTo>
                    <a:pt x="4" y="30"/>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7" y="30"/>
                  </a:lnTo>
                  <a:close/>
                  <a:moveTo>
                    <a:pt x="4" y="23"/>
                  </a:move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2" y="23"/>
                  </a:lnTo>
                  <a:lnTo>
                    <a:pt x="2" y="23"/>
                  </a:lnTo>
                  <a:lnTo>
                    <a:pt x="4" y="23"/>
                  </a:lnTo>
                  <a:lnTo>
                    <a:pt x="4" y="23"/>
                  </a:lnTo>
                  <a:lnTo>
                    <a:pt x="4" y="23"/>
                  </a:lnTo>
                  <a:lnTo>
                    <a:pt x="4" y="23"/>
                  </a:lnTo>
                  <a:lnTo>
                    <a:pt x="4" y="23"/>
                  </a:lnTo>
                  <a:lnTo>
                    <a:pt x="4" y="23"/>
                  </a:lnTo>
                  <a:lnTo>
                    <a:pt x="4" y="23"/>
                  </a:lnTo>
                  <a:lnTo>
                    <a:pt x="4" y="23"/>
                  </a:lnTo>
                  <a:lnTo>
                    <a:pt x="4" y="23"/>
                  </a:lnTo>
                  <a:lnTo>
                    <a:pt x="2" y="23"/>
                  </a:lnTo>
                  <a:lnTo>
                    <a:pt x="2" y="23"/>
                  </a:lnTo>
                  <a:lnTo>
                    <a:pt x="4" y="23"/>
                  </a:lnTo>
                  <a:lnTo>
                    <a:pt x="4" y="23"/>
                  </a:lnTo>
                  <a:lnTo>
                    <a:pt x="4" y="23"/>
                  </a:lnTo>
                  <a:lnTo>
                    <a:pt x="4" y="23"/>
                  </a:lnTo>
                  <a:lnTo>
                    <a:pt x="4" y="23"/>
                  </a:lnTo>
                  <a:lnTo>
                    <a:pt x="4" y="23"/>
                  </a:lnTo>
                  <a:lnTo>
                    <a:pt x="4" y="23"/>
                  </a:lnTo>
                  <a:close/>
                  <a:moveTo>
                    <a:pt x="4" y="21"/>
                  </a:moveTo>
                  <a:lnTo>
                    <a:pt x="2" y="21"/>
                  </a:lnTo>
                  <a:lnTo>
                    <a:pt x="2" y="21"/>
                  </a:lnTo>
                  <a:lnTo>
                    <a:pt x="2" y="21"/>
                  </a:lnTo>
                  <a:lnTo>
                    <a:pt x="2" y="21"/>
                  </a:lnTo>
                  <a:lnTo>
                    <a:pt x="2" y="21"/>
                  </a:lnTo>
                  <a:lnTo>
                    <a:pt x="2" y="21"/>
                  </a:lnTo>
                  <a:lnTo>
                    <a:pt x="2" y="21"/>
                  </a:lnTo>
                  <a:lnTo>
                    <a:pt x="2" y="21"/>
                  </a:lnTo>
                  <a:lnTo>
                    <a:pt x="4" y="21"/>
                  </a:lnTo>
                  <a:lnTo>
                    <a:pt x="4" y="21"/>
                  </a:lnTo>
                  <a:close/>
                  <a:moveTo>
                    <a:pt x="0" y="16"/>
                  </a:moveTo>
                  <a:lnTo>
                    <a:pt x="0" y="16"/>
                  </a:lnTo>
                  <a:lnTo>
                    <a:pt x="0" y="16"/>
                  </a:lnTo>
                  <a:lnTo>
                    <a:pt x="0" y="16"/>
                  </a:lnTo>
                  <a:lnTo>
                    <a:pt x="0" y="16"/>
                  </a:lnTo>
                  <a:lnTo>
                    <a:pt x="0" y="14"/>
                  </a:lnTo>
                  <a:lnTo>
                    <a:pt x="0" y="16"/>
                  </a:lnTo>
                  <a:lnTo>
                    <a:pt x="0" y="16"/>
                  </a:lnTo>
                  <a:lnTo>
                    <a:pt x="0" y="16"/>
                  </a:lnTo>
                  <a:lnTo>
                    <a:pt x="0" y="16"/>
                  </a:lnTo>
                  <a:lnTo>
                    <a:pt x="0" y="16"/>
                  </a:lnTo>
                  <a:lnTo>
                    <a:pt x="0" y="16"/>
                  </a:lnTo>
                  <a:close/>
                  <a:moveTo>
                    <a:pt x="9" y="4"/>
                  </a:moveTo>
                  <a:lnTo>
                    <a:pt x="9" y="4"/>
                  </a:lnTo>
                  <a:lnTo>
                    <a:pt x="9" y="4"/>
                  </a:lnTo>
                  <a:lnTo>
                    <a:pt x="9" y="4"/>
                  </a:lnTo>
                  <a:lnTo>
                    <a:pt x="9" y="4"/>
                  </a:lnTo>
                  <a:lnTo>
                    <a:pt x="9" y="4"/>
                  </a:lnTo>
                  <a:lnTo>
                    <a:pt x="9" y="4"/>
                  </a:lnTo>
                  <a:lnTo>
                    <a:pt x="9" y="4"/>
                  </a:lnTo>
                  <a:lnTo>
                    <a:pt x="9" y="4"/>
                  </a:lnTo>
                  <a:lnTo>
                    <a:pt x="9" y="4"/>
                  </a:lnTo>
                  <a:lnTo>
                    <a:pt x="9" y="4"/>
                  </a:lnTo>
                  <a:lnTo>
                    <a:pt x="9" y="4"/>
                  </a:lnTo>
                  <a:lnTo>
                    <a:pt x="9" y="2"/>
                  </a:lnTo>
                  <a:lnTo>
                    <a:pt x="9" y="2"/>
                  </a:lnTo>
                  <a:lnTo>
                    <a:pt x="9" y="2"/>
                  </a:lnTo>
                  <a:lnTo>
                    <a:pt x="9" y="2"/>
                  </a:lnTo>
                  <a:lnTo>
                    <a:pt x="9" y="2"/>
                  </a:lnTo>
                  <a:lnTo>
                    <a:pt x="9" y="2"/>
                  </a:lnTo>
                  <a:lnTo>
                    <a:pt x="9" y="2"/>
                  </a:lnTo>
                  <a:lnTo>
                    <a:pt x="9" y="4"/>
                  </a:lnTo>
                  <a:close/>
                  <a:moveTo>
                    <a:pt x="7" y="2"/>
                  </a:moveTo>
                  <a:lnTo>
                    <a:pt x="7" y="2"/>
                  </a:lnTo>
                  <a:lnTo>
                    <a:pt x="7" y="2"/>
                  </a:lnTo>
                  <a:lnTo>
                    <a:pt x="7" y="2"/>
                  </a:lnTo>
                  <a:lnTo>
                    <a:pt x="7" y="2"/>
                  </a:lnTo>
                  <a:lnTo>
                    <a:pt x="7" y="2"/>
                  </a:lnTo>
                  <a:lnTo>
                    <a:pt x="7" y="2"/>
                  </a:lnTo>
                  <a:lnTo>
                    <a:pt x="7" y="2"/>
                  </a:lnTo>
                  <a:lnTo>
                    <a:pt x="7" y="2"/>
                  </a:lnTo>
                  <a:close/>
                  <a:moveTo>
                    <a:pt x="12" y="2"/>
                  </a:moveTo>
                  <a:lnTo>
                    <a:pt x="12" y="2"/>
                  </a:lnTo>
                  <a:lnTo>
                    <a:pt x="12" y="2"/>
                  </a:lnTo>
                  <a:lnTo>
                    <a:pt x="12" y="2"/>
                  </a:lnTo>
                  <a:lnTo>
                    <a:pt x="12" y="2"/>
                  </a:lnTo>
                  <a:lnTo>
                    <a:pt x="12" y="2"/>
                  </a:lnTo>
                  <a:lnTo>
                    <a:pt x="12" y="2"/>
                  </a:lnTo>
                  <a:lnTo>
                    <a:pt x="12" y="2"/>
                  </a:lnTo>
                  <a:close/>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7" y="2"/>
                  </a:lnTo>
                  <a:lnTo>
                    <a:pt x="7" y="2"/>
                  </a:lnTo>
                  <a:lnTo>
                    <a:pt x="9" y="2"/>
                  </a:lnTo>
                  <a:lnTo>
                    <a:pt x="9" y="2"/>
                  </a:lnTo>
                  <a:lnTo>
                    <a:pt x="9" y="2"/>
                  </a:lnTo>
                  <a:lnTo>
                    <a:pt x="9" y="2"/>
                  </a:lnTo>
                  <a:lnTo>
                    <a:pt x="9" y="2"/>
                  </a:lnTo>
                  <a:lnTo>
                    <a:pt x="9" y="2"/>
                  </a:lnTo>
                  <a:lnTo>
                    <a:pt x="9" y="2"/>
                  </a:lnTo>
                  <a:lnTo>
                    <a:pt x="9" y="2"/>
                  </a:lnTo>
                  <a:lnTo>
                    <a:pt x="9" y="0"/>
                  </a:lnTo>
                  <a:lnTo>
                    <a:pt x="9" y="0"/>
                  </a:lnTo>
                  <a:lnTo>
                    <a:pt x="9" y="0"/>
                  </a:lnTo>
                  <a:lnTo>
                    <a:pt x="9" y="0"/>
                  </a:lnTo>
                  <a:lnTo>
                    <a:pt x="9" y="0"/>
                  </a:lnTo>
                  <a:lnTo>
                    <a:pt x="9" y="0"/>
                  </a:lnTo>
                  <a:lnTo>
                    <a:pt x="9" y="0"/>
                  </a:lnTo>
                  <a:lnTo>
                    <a:pt x="9" y="0"/>
                  </a:lnTo>
                  <a:lnTo>
                    <a:pt x="9" y="0"/>
                  </a:lnTo>
                  <a:lnTo>
                    <a:pt x="9" y="0"/>
                  </a:lnTo>
                  <a:lnTo>
                    <a:pt x="9" y="0"/>
                  </a:lnTo>
                  <a:lnTo>
                    <a:pt x="12" y="0"/>
                  </a:lnTo>
                  <a:lnTo>
                    <a:pt x="12" y="0"/>
                  </a:lnTo>
                  <a:lnTo>
                    <a:pt x="12"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3" name="Freeform 57965"/>
            <p:cNvSpPr>
              <a:spLocks noEditPoints="1"/>
            </p:cNvSpPr>
            <p:nvPr/>
          </p:nvSpPr>
          <p:spPr bwMode="auto">
            <a:xfrm>
              <a:off x="1528760" y="5319720"/>
              <a:ext cx="101600" cy="339725"/>
            </a:xfrm>
            <a:custGeom>
              <a:avLst/>
              <a:gdLst>
                <a:gd name="T0" fmla="*/ 54 w 64"/>
                <a:gd name="T1" fmla="*/ 212 h 214"/>
                <a:gd name="T2" fmla="*/ 52 w 64"/>
                <a:gd name="T3" fmla="*/ 212 h 214"/>
                <a:gd name="T4" fmla="*/ 52 w 64"/>
                <a:gd name="T5" fmla="*/ 212 h 214"/>
                <a:gd name="T6" fmla="*/ 54 w 64"/>
                <a:gd name="T7" fmla="*/ 212 h 214"/>
                <a:gd name="T8" fmla="*/ 57 w 64"/>
                <a:gd name="T9" fmla="*/ 212 h 214"/>
                <a:gd name="T10" fmla="*/ 54 w 64"/>
                <a:gd name="T11" fmla="*/ 212 h 214"/>
                <a:gd name="T12" fmla="*/ 19 w 64"/>
                <a:gd name="T13" fmla="*/ 212 h 214"/>
                <a:gd name="T14" fmla="*/ 64 w 64"/>
                <a:gd name="T15" fmla="*/ 207 h 214"/>
                <a:gd name="T16" fmla="*/ 64 w 64"/>
                <a:gd name="T17" fmla="*/ 207 h 214"/>
                <a:gd name="T18" fmla="*/ 64 w 64"/>
                <a:gd name="T19" fmla="*/ 207 h 214"/>
                <a:gd name="T20" fmla="*/ 64 w 64"/>
                <a:gd name="T21" fmla="*/ 207 h 214"/>
                <a:gd name="T22" fmla="*/ 64 w 64"/>
                <a:gd name="T23" fmla="*/ 204 h 214"/>
                <a:gd name="T24" fmla="*/ 64 w 64"/>
                <a:gd name="T25" fmla="*/ 204 h 214"/>
                <a:gd name="T26" fmla="*/ 64 w 64"/>
                <a:gd name="T27" fmla="*/ 204 h 214"/>
                <a:gd name="T28" fmla="*/ 23 w 64"/>
                <a:gd name="T29" fmla="*/ 174 h 214"/>
                <a:gd name="T30" fmla="*/ 23 w 64"/>
                <a:gd name="T31" fmla="*/ 174 h 214"/>
                <a:gd name="T32" fmla="*/ 26 w 64"/>
                <a:gd name="T33" fmla="*/ 147 h 214"/>
                <a:gd name="T34" fmla="*/ 26 w 64"/>
                <a:gd name="T35" fmla="*/ 147 h 214"/>
                <a:gd name="T36" fmla="*/ 26 w 64"/>
                <a:gd name="T37" fmla="*/ 147 h 214"/>
                <a:gd name="T38" fmla="*/ 26 w 64"/>
                <a:gd name="T39" fmla="*/ 145 h 214"/>
                <a:gd name="T40" fmla="*/ 26 w 64"/>
                <a:gd name="T41" fmla="*/ 145 h 214"/>
                <a:gd name="T42" fmla="*/ 26 w 64"/>
                <a:gd name="T43" fmla="*/ 145 h 214"/>
                <a:gd name="T44" fmla="*/ 26 w 64"/>
                <a:gd name="T45" fmla="*/ 145 h 214"/>
                <a:gd name="T46" fmla="*/ 26 w 64"/>
                <a:gd name="T47" fmla="*/ 145 h 214"/>
                <a:gd name="T48" fmla="*/ 23 w 64"/>
                <a:gd name="T49" fmla="*/ 143 h 214"/>
                <a:gd name="T50" fmla="*/ 23 w 64"/>
                <a:gd name="T51" fmla="*/ 143 h 214"/>
                <a:gd name="T52" fmla="*/ 16 w 64"/>
                <a:gd name="T53" fmla="*/ 138 h 214"/>
                <a:gd name="T54" fmla="*/ 14 w 64"/>
                <a:gd name="T55" fmla="*/ 138 h 214"/>
                <a:gd name="T56" fmla="*/ 7 w 64"/>
                <a:gd name="T57" fmla="*/ 138 h 214"/>
                <a:gd name="T58" fmla="*/ 7 w 64"/>
                <a:gd name="T59" fmla="*/ 138 h 214"/>
                <a:gd name="T60" fmla="*/ 16 w 64"/>
                <a:gd name="T61" fmla="*/ 136 h 214"/>
                <a:gd name="T62" fmla="*/ 16 w 64"/>
                <a:gd name="T63" fmla="*/ 136 h 214"/>
                <a:gd name="T64" fmla="*/ 19 w 64"/>
                <a:gd name="T65" fmla="*/ 131 h 214"/>
                <a:gd name="T66" fmla="*/ 19 w 64"/>
                <a:gd name="T67" fmla="*/ 131 h 214"/>
                <a:gd name="T68" fmla="*/ 19 w 64"/>
                <a:gd name="T69" fmla="*/ 131 h 214"/>
                <a:gd name="T70" fmla="*/ 0 w 64"/>
                <a:gd name="T71" fmla="*/ 100 h 214"/>
                <a:gd name="T72" fmla="*/ 0 w 64"/>
                <a:gd name="T73" fmla="*/ 100 h 214"/>
                <a:gd name="T74" fmla="*/ 0 w 64"/>
                <a:gd name="T75" fmla="*/ 100 h 214"/>
                <a:gd name="T76" fmla="*/ 0 w 64"/>
                <a:gd name="T77" fmla="*/ 100 h 214"/>
                <a:gd name="T78" fmla="*/ 28 w 64"/>
                <a:gd name="T79" fmla="*/ 45 h 214"/>
                <a:gd name="T80" fmla="*/ 28 w 64"/>
                <a:gd name="T81" fmla="*/ 45 h 214"/>
                <a:gd name="T82" fmla="*/ 28 w 64"/>
                <a:gd name="T83" fmla="*/ 45 h 214"/>
                <a:gd name="T84" fmla="*/ 28 w 64"/>
                <a:gd name="T85" fmla="*/ 45 h 214"/>
                <a:gd name="T86" fmla="*/ 26 w 64"/>
                <a:gd name="T87" fmla="*/ 45 h 214"/>
                <a:gd name="T88" fmla="*/ 26 w 64"/>
                <a:gd name="T89" fmla="*/ 45 h 214"/>
                <a:gd name="T90" fmla="*/ 26 w 64"/>
                <a:gd name="T91" fmla="*/ 45 h 214"/>
                <a:gd name="T92" fmla="*/ 26 w 64"/>
                <a:gd name="T93" fmla="*/ 45 h 214"/>
                <a:gd name="T94" fmla="*/ 28 w 64"/>
                <a:gd name="T95" fmla="*/ 45 h 214"/>
                <a:gd name="T96" fmla="*/ 28 w 64"/>
                <a:gd name="T97" fmla="*/ 45 h 214"/>
                <a:gd name="T98" fmla="*/ 28 w 64"/>
                <a:gd name="T99" fmla="*/ 45 h 214"/>
                <a:gd name="T100" fmla="*/ 23 w 64"/>
                <a:gd name="T101" fmla="*/ 0 h 214"/>
                <a:gd name="T102" fmla="*/ 26 w 64"/>
                <a:gd name="T103"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214">
                  <a:moveTo>
                    <a:pt x="54" y="214"/>
                  </a:moveTo>
                  <a:lnTo>
                    <a:pt x="54" y="214"/>
                  </a:lnTo>
                  <a:lnTo>
                    <a:pt x="54" y="214"/>
                  </a:lnTo>
                  <a:lnTo>
                    <a:pt x="54" y="212"/>
                  </a:lnTo>
                  <a:lnTo>
                    <a:pt x="54" y="212"/>
                  </a:lnTo>
                  <a:lnTo>
                    <a:pt x="54" y="212"/>
                  </a:lnTo>
                  <a:lnTo>
                    <a:pt x="54" y="214"/>
                  </a:lnTo>
                  <a:close/>
                  <a:moveTo>
                    <a:pt x="52" y="212"/>
                  </a:moveTo>
                  <a:lnTo>
                    <a:pt x="52" y="212"/>
                  </a:lnTo>
                  <a:lnTo>
                    <a:pt x="52" y="212"/>
                  </a:lnTo>
                  <a:lnTo>
                    <a:pt x="52" y="212"/>
                  </a:lnTo>
                  <a:lnTo>
                    <a:pt x="52" y="212"/>
                  </a:lnTo>
                  <a:close/>
                  <a:moveTo>
                    <a:pt x="54" y="212"/>
                  </a:moveTo>
                  <a:lnTo>
                    <a:pt x="54" y="212"/>
                  </a:lnTo>
                  <a:lnTo>
                    <a:pt x="54" y="212"/>
                  </a:lnTo>
                  <a:lnTo>
                    <a:pt x="54" y="212"/>
                  </a:lnTo>
                  <a:lnTo>
                    <a:pt x="54" y="212"/>
                  </a:lnTo>
                  <a:close/>
                  <a:moveTo>
                    <a:pt x="57" y="212"/>
                  </a:moveTo>
                  <a:lnTo>
                    <a:pt x="57" y="212"/>
                  </a:lnTo>
                  <a:lnTo>
                    <a:pt x="57" y="212"/>
                  </a:lnTo>
                  <a:lnTo>
                    <a:pt x="57" y="212"/>
                  </a:lnTo>
                  <a:close/>
                  <a:moveTo>
                    <a:pt x="54" y="212"/>
                  </a:moveTo>
                  <a:lnTo>
                    <a:pt x="54" y="212"/>
                  </a:lnTo>
                  <a:lnTo>
                    <a:pt x="54" y="212"/>
                  </a:lnTo>
                  <a:lnTo>
                    <a:pt x="54" y="212"/>
                  </a:lnTo>
                  <a:lnTo>
                    <a:pt x="54" y="212"/>
                  </a:lnTo>
                  <a:close/>
                  <a:moveTo>
                    <a:pt x="19" y="212"/>
                  </a:moveTo>
                  <a:lnTo>
                    <a:pt x="19" y="212"/>
                  </a:lnTo>
                  <a:lnTo>
                    <a:pt x="19" y="212"/>
                  </a:lnTo>
                  <a:lnTo>
                    <a:pt x="19" y="212"/>
                  </a:lnTo>
                  <a:close/>
                  <a:moveTo>
                    <a:pt x="64" y="207"/>
                  </a:moveTo>
                  <a:lnTo>
                    <a:pt x="64" y="207"/>
                  </a:lnTo>
                  <a:lnTo>
                    <a:pt x="64" y="207"/>
                  </a:lnTo>
                  <a:lnTo>
                    <a:pt x="64" y="207"/>
                  </a:lnTo>
                  <a:close/>
                  <a:moveTo>
                    <a:pt x="64" y="207"/>
                  </a:moveTo>
                  <a:lnTo>
                    <a:pt x="64" y="207"/>
                  </a:lnTo>
                  <a:lnTo>
                    <a:pt x="64" y="207"/>
                  </a:lnTo>
                  <a:lnTo>
                    <a:pt x="64" y="207"/>
                  </a:lnTo>
                  <a:lnTo>
                    <a:pt x="64" y="207"/>
                  </a:lnTo>
                  <a:lnTo>
                    <a:pt x="64" y="207"/>
                  </a:lnTo>
                  <a:lnTo>
                    <a:pt x="64" y="207"/>
                  </a:lnTo>
                  <a:close/>
                  <a:moveTo>
                    <a:pt x="64" y="207"/>
                  </a:moveTo>
                  <a:lnTo>
                    <a:pt x="64" y="207"/>
                  </a:lnTo>
                  <a:lnTo>
                    <a:pt x="64" y="207"/>
                  </a:lnTo>
                  <a:lnTo>
                    <a:pt x="64" y="204"/>
                  </a:lnTo>
                  <a:lnTo>
                    <a:pt x="64" y="204"/>
                  </a:lnTo>
                  <a:lnTo>
                    <a:pt x="64" y="207"/>
                  </a:lnTo>
                  <a:close/>
                  <a:moveTo>
                    <a:pt x="64" y="204"/>
                  </a:moveTo>
                  <a:lnTo>
                    <a:pt x="64" y="204"/>
                  </a:lnTo>
                  <a:lnTo>
                    <a:pt x="64" y="204"/>
                  </a:lnTo>
                  <a:lnTo>
                    <a:pt x="64" y="204"/>
                  </a:lnTo>
                  <a:lnTo>
                    <a:pt x="64" y="204"/>
                  </a:lnTo>
                  <a:lnTo>
                    <a:pt x="64" y="204"/>
                  </a:lnTo>
                  <a:lnTo>
                    <a:pt x="64" y="204"/>
                  </a:lnTo>
                  <a:close/>
                  <a:moveTo>
                    <a:pt x="64" y="204"/>
                  </a:moveTo>
                  <a:lnTo>
                    <a:pt x="64" y="204"/>
                  </a:lnTo>
                  <a:lnTo>
                    <a:pt x="64" y="204"/>
                  </a:lnTo>
                  <a:lnTo>
                    <a:pt x="64" y="204"/>
                  </a:lnTo>
                  <a:lnTo>
                    <a:pt x="64" y="204"/>
                  </a:lnTo>
                  <a:close/>
                  <a:moveTo>
                    <a:pt x="23" y="174"/>
                  </a:moveTo>
                  <a:lnTo>
                    <a:pt x="23" y="174"/>
                  </a:lnTo>
                  <a:lnTo>
                    <a:pt x="23" y="174"/>
                  </a:lnTo>
                  <a:lnTo>
                    <a:pt x="23" y="174"/>
                  </a:lnTo>
                  <a:lnTo>
                    <a:pt x="23" y="174"/>
                  </a:lnTo>
                  <a:lnTo>
                    <a:pt x="23" y="174"/>
                  </a:lnTo>
                  <a:close/>
                  <a:moveTo>
                    <a:pt x="26" y="147"/>
                  </a:moveTo>
                  <a:lnTo>
                    <a:pt x="26" y="147"/>
                  </a:lnTo>
                  <a:lnTo>
                    <a:pt x="26" y="147"/>
                  </a:lnTo>
                  <a:lnTo>
                    <a:pt x="26" y="147"/>
                  </a:lnTo>
                  <a:lnTo>
                    <a:pt x="26" y="147"/>
                  </a:lnTo>
                  <a:lnTo>
                    <a:pt x="26" y="147"/>
                  </a:lnTo>
                  <a:lnTo>
                    <a:pt x="26" y="147"/>
                  </a:lnTo>
                  <a:lnTo>
                    <a:pt x="26" y="147"/>
                  </a:lnTo>
                  <a:lnTo>
                    <a:pt x="26" y="147"/>
                  </a:lnTo>
                  <a:lnTo>
                    <a:pt x="26" y="147"/>
                  </a:lnTo>
                  <a:close/>
                  <a:moveTo>
                    <a:pt x="26" y="147"/>
                  </a:moveTo>
                  <a:lnTo>
                    <a:pt x="26" y="147"/>
                  </a:lnTo>
                  <a:lnTo>
                    <a:pt x="26" y="147"/>
                  </a:lnTo>
                  <a:lnTo>
                    <a:pt x="26" y="147"/>
                  </a:lnTo>
                  <a:close/>
                  <a:moveTo>
                    <a:pt x="26" y="145"/>
                  </a:moveTo>
                  <a:lnTo>
                    <a:pt x="26" y="145"/>
                  </a:lnTo>
                  <a:lnTo>
                    <a:pt x="26" y="145"/>
                  </a:lnTo>
                  <a:lnTo>
                    <a:pt x="26" y="145"/>
                  </a:lnTo>
                  <a:lnTo>
                    <a:pt x="26" y="145"/>
                  </a:lnTo>
                  <a:lnTo>
                    <a:pt x="26" y="145"/>
                  </a:lnTo>
                  <a:close/>
                  <a:moveTo>
                    <a:pt x="26" y="145"/>
                  </a:moveTo>
                  <a:lnTo>
                    <a:pt x="26" y="145"/>
                  </a:lnTo>
                  <a:lnTo>
                    <a:pt x="26" y="145"/>
                  </a:lnTo>
                  <a:lnTo>
                    <a:pt x="26" y="145"/>
                  </a:lnTo>
                  <a:lnTo>
                    <a:pt x="26" y="145"/>
                  </a:lnTo>
                  <a:lnTo>
                    <a:pt x="26" y="145"/>
                  </a:lnTo>
                  <a:close/>
                  <a:moveTo>
                    <a:pt x="26" y="145"/>
                  </a:moveTo>
                  <a:lnTo>
                    <a:pt x="26" y="145"/>
                  </a:lnTo>
                  <a:lnTo>
                    <a:pt x="26" y="145"/>
                  </a:lnTo>
                  <a:lnTo>
                    <a:pt x="26" y="145"/>
                  </a:lnTo>
                  <a:lnTo>
                    <a:pt x="26" y="145"/>
                  </a:lnTo>
                  <a:lnTo>
                    <a:pt x="26" y="145"/>
                  </a:lnTo>
                  <a:lnTo>
                    <a:pt x="26" y="145"/>
                  </a:lnTo>
                  <a:lnTo>
                    <a:pt x="26" y="145"/>
                  </a:lnTo>
                  <a:close/>
                  <a:moveTo>
                    <a:pt x="23" y="143"/>
                  </a:moveTo>
                  <a:lnTo>
                    <a:pt x="23" y="143"/>
                  </a:lnTo>
                  <a:lnTo>
                    <a:pt x="23" y="143"/>
                  </a:lnTo>
                  <a:lnTo>
                    <a:pt x="23" y="143"/>
                  </a:lnTo>
                  <a:lnTo>
                    <a:pt x="23" y="143"/>
                  </a:lnTo>
                  <a:close/>
                  <a:moveTo>
                    <a:pt x="16" y="138"/>
                  </a:moveTo>
                  <a:lnTo>
                    <a:pt x="16" y="140"/>
                  </a:lnTo>
                  <a:lnTo>
                    <a:pt x="16" y="138"/>
                  </a:lnTo>
                  <a:lnTo>
                    <a:pt x="16" y="138"/>
                  </a:lnTo>
                  <a:lnTo>
                    <a:pt x="16" y="138"/>
                  </a:lnTo>
                  <a:lnTo>
                    <a:pt x="16" y="138"/>
                  </a:lnTo>
                  <a:close/>
                  <a:moveTo>
                    <a:pt x="14" y="138"/>
                  </a:moveTo>
                  <a:lnTo>
                    <a:pt x="14" y="138"/>
                  </a:lnTo>
                  <a:lnTo>
                    <a:pt x="14" y="138"/>
                  </a:lnTo>
                  <a:lnTo>
                    <a:pt x="14" y="138"/>
                  </a:lnTo>
                  <a:lnTo>
                    <a:pt x="14" y="138"/>
                  </a:lnTo>
                  <a:close/>
                  <a:moveTo>
                    <a:pt x="7" y="138"/>
                  </a:moveTo>
                  <a:lnTo>
                    <a:pt x="7" y="138"/>
                  </a:lnTo>
                  <a:lnTo>
                    <a:pt x="7" y="138"/>
                  </a:lnTo>
                  <a:lnTo>
                    <a:pt x="7" y="138"/>
                  </a:lnTo>
                  <a:lnTo>
                    <a:pt x="7" y="138"/>
                  </a:lnTo>
                  <a:lnTo>
                    <a:pt x="7" y="138"/>
                  </a:lnTo>
                  <a:close/>
                  <a:moveTo>
                    <a:pt x="16" y="136"/>
                  </a:moveTo>
                  <a:lnTo>
                    <a:pt x="16" y="136"/>
                  </a:lnTo>
                  <a:lnTo>
                    <a:pt x="16" y="136"/>
                  </a:lnTo>
                  <a:lnTo>
                    <a:pt x="16" y="136"/>
                  </a:lnTo>
                  <a:lnTo>
                    <a:pt x="16" y="136"/>
                  </a:lnTo>
                  <a:lnTo>
                    <a:pt x="16" y="136"/>
                  </a:lnTo>
                  <a:lnTo>
                    <a:pt x="16" y="136"/>
                  </a:lnTo>
                  <a:close/>
                  <a:moveTo>
                    <a:pt x="19" y="131"/>
                  </a:moveTo>
                  <a:lnTo>
                    <a:pt x="19" y="133"/>
                  </a:lnTo>
                  <a:lnTo>
                    <a:pt x="19" y="131"/>
                  </a:lnTo>
                  <a:lnTo>
                    <a:pt x="19" y="131"/>
                  </a:lnTo>
                  <a:lnTo>
                    <a:pt x="19" y="131"/>
                  </a:lnTo>
                  <a:close/>
                  <a:moveTo>
                    <a:pt x="19" y="131"/>
                  </a:moveTo>
                  <a:lnTo>
                    <a:pt x="19" y="131"/>
                  </a:lnTo>
                  <a:lnTo>
                    <a:pt x="19" y="131"/>
                  </a:lnTo>
                  <a:lnTo>
                    <a:pt x="19" y="131"/>
                  </a:lnTo>
                  <a:lnTo>
                    <a:pt x="19" y="131"/>
                  </a:lnTo>
                  <a:close/>
                  <a:moveTo>
                    <a:pt x="19" y="131"/>
                  </a:moveTo>
                  <a:lnTo>
                    <a:pt x="19" y="131"/>
                  </a:lnTo>
                  <a:lnTo>
                    <a:pt x="19" y="131"/>
                  </a:lnTo>
                  <a:lnTo>
                    <a:pt x="19" y="131"/>
                  </a:lnTo>
                  <a:lnTo>
                    <a:pt x="19" y="131"/>
                  </a:lnTo>
                  <a:close/>
                  <a:moveTo>
                    <a:pt x="0" y="100"/>
                  </a:moveTo>
                  <a:lnTo>
                    <a:pt x="0" y="100"/>
                  </a:lnTo>
                  <a:lnTo>
                    <a:pt x="0" y="100"/>
                  </a:lnTo>
                  <a:lnTo>
                    <a:pt x="0" y="100"/>
                  </a:lnTo>
                  <a:lnTo>
                    <a:pt x="0" y="100"/>
                  </a:lnTo>
                  <a:lnTo>
                    <a:pt x="0" y="100"/>
                  </a:lnTo>
                  <a:close/>
                  <a:moveTo>
                    <a:pt x="0" y="100"/>
                  </a:moveTo>
                  <a:lnTo>
                    <a:pt x="0" y="100"/>
                  </a:lnTo>
                  <a:lnTo>
                    <a:pt x="0" y="100"/>
                  </a:lnTo>
                  <a:lnTo>
                    <a:pt x="0" y="100"/>
                  </a:lnTo>
                  <a:lnTo>
                    <a:pt x="0" y="100"/>
                  </a:lnTo>
                  <a:lnTo>
                    <a:pt x="0" y="100"/>
                  </a:lnTo>
                  <a:lnTo>
                    <a:pt x="0" y="100"/>
                  </a:lnTo>
                  <a:lnTo>
                    <a:pt x="0" y="100"/>
                  </a:lnTo>
                  <a:close/>
                  <a:moveTo>
                    <a:pt x="28" y="45"/>
                  </a:moveTo>
                  <a:lnTo>
                    <a:pt x="28" y="45"/>
                  </a:lnTo>
                  <a:lnTo>
                    <a:pt x="28" y="45"/>
                  </a:lnTo>
                  <a:lnTo>
                    <a:pt x="28" y="45"/>
                  </a:lnTo>
                  <a:lnTo>
                    <a:pt x="28" y="45"/>
                  </a:lnTo>
                  <a:lnTo>
                    <a:pt x="28" y="45"/>
                  </a:lnTo>
                  <a:close/>
                  <a:moveTo>
                    <a:pt x="28" y="45"/>
                  </a:moveTo>
                  <a:lnTo>
                    <a:pt x="28" y="45"/>
                  </a:lnTo>
                  <a:lnTo>
                    <a:pt x="28" y="45"/>
                  </a:lnTo>
                  <a:lnTo>
                    <a:pt x="28" y="45"/>
                  </a:lnTo>
                  <a:lnTo>
                    <a:pt x="28" y="45"/>
                  </a:lnTo>
                  <a:lnTo>
                    <a:pt x="28" y="45"/>
                  </a:lnTo>
                  <a:lnTo>
                    <a:pt x="28" y="45"/>
                  </a:lnTo>
                  <a:lnTo>
                    <a:pt x="28" y="45"/>
                  </a:lnTo>
                  <a:lnTo>
                    <a:pt x="28" y="45"/>
                  </a:lnTo>
                  <a:lnTo>
                    <a:pt x="28" y="45"/>
                  </a:lnTo>
                  <a:close/>
                  <a:moveTo>
                    <a:pt x="26" y="45"/>
                  </a:moveTo>
                  <a:lnTo>
                    <a:pt x="26" y="45"/>
                  </a:lnTo>
                  <a:lnTo>
                    <a:pt x="26" y="45"/>
                  </a:lnTo>
                  <a:lnTo>
                    <a:pt x="26" y="45"/>
                  </a:lnTo>
                  <a:lnTo>
                    <a:pt x="26" y="45"/>
                  </a:lnTo>
                  <a:lnTo>
                    <a:pt x="26" y="45"/>
                  </a:lnTo>
                  <a:lnTo>
                    <a:pt x="26" y="45"/>
                  </a:lnTo>
                  <a:lnTo>
                    <a:pt x="26" y="45"/>
                  </a:lnTo>
                  <a:lnTo>
                    <a:pt x="26" y="45"/>
                  </a:lnTo>
                  <a:lnTo>
                    <a:pt x="26" y="45"/>
                  </a:lnTo>
                  <a:lnTo>
                    <a:pt x="26" y="45"/>
                  </a:lnTo>
                  <a:lnTo>
                    <a:pt x="26" y="45"/>
                  </a:lnTo>
                  <a:close/>
                  <a:moveTo>
                    <a:pt x="26" y="45"/>
                  </a:moveTo>
                  <a:lnTo>
                    <a:pt x="26" y="45"/>
                  </a:lnTo>
                  <a:lnTo>
                    <a:pt x="26" y="45"/>
                  </a:lnTo>
                  <a:lnTo>
                    <a:pt x="26" y="45"/>
                  </a:lnTo>
                  <a:lnTo>
                    <a:pt x="28" y="45"/>
                  </a:lnTo>
                  <a:lnTo>
                    <a:pt x="26" y="45"/>
                  </a:lnTo>
                  <a:close/>
                  <a:moveTo>
                    <a:pt x="28" y="45"/>
                  </a:moveTo>
                  <a:lnTo>
                    <a:pt x="28" y="45"/>
                  </a:lnTo>
                  <a:lnTo>
                    <a:pt x="28" y="45"/>
                  </a:lnTo>
                  <a:lnTo>
                    <a:pt x="28" y="45"/>
                  </a:lnTo>
                  <a:lnTo>
                    <a:pt x="28" y="45"/>
                  </a:lnTo>
                  <a:lnTo>
                    <a:pt x="28" y="45"/>
                  </a:lnTo>
                  <a:lnTo>
                    <a:pt x="28" y="45"/>
                  </a:lnTo>
                  <a:lnTo>
                    <a:pt x="28" y="45"/>
                  </a:lnTo>
                  <a:lnTo>
                    <a:pt x="28" y="45"/>
                  </a:lnTo>
                  <a:close/>
                  <a:moveTo>
                    <a:pt x="23" y="0"/>
                  </a:moveTo>
                  <a:lnTo>
                    <a:pt x="23" y="0"/>
                  </a:lnTo>
                  <a:lnTo>
                    <a:pt x="23" y="0"/>
                  </a:lnTo>
                  <a:lnTo>
                    <a:pt x="23" y="0"/>
                  </a:lnTo>
                  <a:lnTo>
                    <a:pt x="23" y="0"/>
                  </a:lnTo>
                  <a:lnTo>
                    <a:pt x="23" y="0"/>
                  </a:lnTo>
                  <a:lnTo>
                    <a:pt x="23" y="0"/>
                  </a:lnTo>
                  <a:close/>
                  <a:moveTo>
                    <a:pt x="26" y="0"/>
                  </a:moveTo>
                  <a:lnTo>
                    <a:pt x="26" y="0"/>
                  </a:lnTo>
                  <a:lnTo>
                    <a:pt x="26" y="0"/>
                  </a:lnTo>
                  <a:lnTo>
                    <a:pt x="2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4" name="Freeform 57966"/>
            <p:cNvSpPr>
              <a:spLocks noEditPoints="1"/>
            </p:cNvSpPr>
            <p:nvPr/>
          </p:nvSpPr>
          <p:spPr bwMode="auto">
            <a:xfrm>
              <a:off x="1528762" y="5305430"/>
              <a:ext cx="90488" cy="354013"/>
            </a:xfrm>
            <a:custGeom>
              <a:avLst/>
              <a:gdLst>
                <a:gd name="T0" fmla="*/ 57 w 57"/>
                <a:gd name="T1" fmla="*/ 221 h 223"/>
                <a:gd name="T2" fmla="*/ 54 w 57"/>
                <a:gd name="T3" fmla="*/ 221 h 223"/>
                <a:gd name="T4" fmla="*/ 54 w 57"/>
                <a:gd name="T5" fmla="*/ 221 h 223"/>
                <a:gd name="T6" fmla="*/ 57 w 57"/>
                <a:gd name="T7" fmla="*/ 221 h 223"/>
                <a:gd name="T8" fmla="*/ 57 w 57"/>
                <a:gd name="T9" fmla="*/ 221 h 223"/>
                <a:gd name="T10" fmla="*/ 54 w 57"/>
                <a:gd name="T11" fmla="*/ 221 h 223"/>
                <a:gd name="T12" fmla="*/ 54 w 57"/>
                <a:gd name="T13" fmla="*/ 221 h 223"/>
                <a:gd name="T14" fmla="*/ 54 w 57"/>
                <a:gd name="T15" fmla="*/ 221 h 223"/>
                <a:gd name="T16" fmla="*/ 52 w 57"/>
                <a:gd name="T17" fmla="*/ 221 h 223"/>
                <a:gd name="T18" fmla="*/ 52 w 57"/>
                <a:gd name="T19" fmla="*/ 221 h 223"/>
                <a:gd name="T20" fmla="*/ 52 w 57"/>
                <a:gd name="T21" fmla="*/ 221 h 223"/>
                <a:gd name="T22" fmla="*/ 54 w 57"/>
                <a:gd name="T23" fmla="*/ 221 h 223"/>
                <a:gd name="T24" fmla="*/ 54 w 57"/>
                <a:gd name="T25" fmla="*/ 221 h 223"/>
                <a:gd name="T26" fmla="*/ 54 w 57"/>
                <a:gd name="T27" fmla="*/ 223 h 223"/>
                <a:gd name="T28" fmla="*/ 54 w 57"/>
                <a:gd name="T29" fmla="*/ 221 h 223"/>
                <a:gd name="T30" fmla="*/ 54 w 57"/>
                <a:gd name="T31" fmla="*/ 223 h 223"/>
                <a:gd name="T32" fmla="*/ 52 w 57"/>
                <a:gd name="T33" fmla="*/ 221 h 223"/>
                <a:gd name="T34" fmla="*/ 52 w 57"/>
                <a:gd name="T35" fmla="*/ 221 h 223"/>
                <a:gd name="T36" fmla="*/ 52 w 57"/>
                <a:gd name="T37" fmla="*/ 221 h 223"/>
                <a:gd name="T38" fmla="*/ 52 w 57"/>
                <a:gd name="T39" fmla="*/ 221 h 223"/>
                <a:gd name="T40" fmla="*/ 52 w 57"/>
                <a:gd name="T41" fmla="*/ 221 h 223"/>
                <a:gd name="T42" fmla="*/ 52 w 57"/>
                <a:gd name="T43" fmla="*/ 221 h 223"/>
                <a:gd name="T44" fmla="*/ 54 w 57"/>
                <a:gd name="T45" fmla="*/ 221 h 223"/>
                <a:gd name="T46" fmla="*/ 54 w 57"/>
                <a:gd name="T47" fmla="*/ 221 h 223"/>
                <a:gd name="T48" fmla="*/ 57 w 57"/>
                <a:gd name="T49" fmla="*/ 218 h 223"/>
                <a:gd name="T50" fmla="*/ 26 w 57"/>
                <a:gd name="T51" fmla="*/ 156 h 223"/>
                <a:gd name="T52" fmla="*/ 26 w 57"/>
                <a:gd name="T53" fmla="*/ 156 h 223"/>
                <a:gd name="T54" fmla="*/ 26 w 57"/>
                <a:gd name="T55" fmla="*/ 156 h 223"/>
                <a:gd name="T56" fmla="*/ 26 w 57"/>
                <a:gd name="T57" fmla="*/ 156 h 223"/>
                <a:gd name="T58" fmla="*/ 26 w 57"/>
                <a:gd name="T59" fmla="*/ 156 h 223"/>
                <a:gd name="T60" fmla="*/ 26 w 57"/>
                <a:gd name="T61" fmla="*/ 156 h 223"/>
                <a:gd name="T62" fmla="*/ 26 w 57"/>
                <a:gd name="T63" fmla="*/ 156 h 223"/>
                <a:gd name="T64" fmla="*/ 23 w 57"/>
                <a:gd name="T65" fmla="*/ 154 h 223"/>
                <a:gd name="T66" fmla="*/ 26 w 57"/>
                <a:gd name="T67" fmla="*/ 154 h 223"/>
                <a:gd name="T68" fmla="*/ 14 w 57"/>
                <a:gd name="T69" fmla="*/ 140 h 223"/>
                <a:gd name="T70" fmla="*/ 14 w 57"/>
                <a:gd name="T71" fmla="*/ 137 h 223"/>
                <a:gd name="T72" fmla="*/ 16 w 57"/>
                <a:gd name="T73" fmla="*/ 137 h 223"/>
                <a:gd name="T74" fmla="*/ 16 w 57"/>
                <a:gd name="T75" fmla="*/ 137 h 223"/>
                <a:gd name="T76" fmla="*/ 16 w 57"/>
                <a:gd name="T77" fmla="*/ 137 h 223"/>
                <a:gd name="T78" fmla="*/ 16 w 57"/>
                <a:gd name="T79" fmla="*/ 137 h 223"/>
                <a:gd name="T80" fmla="*/ 19 w 57"/>
                <a:gd name="T81" fmla="*/ 137 h 223"/>
                <a:gd name="T82" fmla="*/ 19 w 57"/>
                <a:gd name="T83" fmla="*/ 137 h 223"/>
                <a:gd name="T84" fmla="*/ 16 w 57"/>
                <a:gd name="T85" fmla="*/ 137 h 223"/>
                <a:gd name="T86" fmla="*/ 16 w 57"/>
                <a:gd name="T87" fmla="*/ 135 h 223"/>
                <a:gd name="T88" fmla="*/ 16 w 57"/>
                <a:gd name="T89" fmla="*/ 137 h 223"/>
                <a:gd name="T90" fmla="*/ 0 w 57"/>
                <a:gd name="T91" fmla="*/ 114 h 223"/>
                <a:gd name="T92" fmla="*/ 0 w 57"/>
                <a:gd name="T93" fmla="*/ 111 h 223"/>
                <a:gd name="T94" fmla="*/ 0 w 57"/>
                <a:gd name="T95" fmla="*/ 114 h 223"/>
                <a:gd name="T96" fmla="*/ 28 w 57"/>
                <a:gd name="T97" fmla="*/ 54 h 223"/>
                <a:gd name="T98" fmla="*/ 28 w 57"/>
                <a:gd name="T99" fmla="*/ 54 h 223"/>
                <a:gd name="T100" fmla="*/ 26 w 57"/>
                <a:gd name="T101" fmla="*/ 57 h 223"/>
                <a:gd name="T102" fmla="*/ 26 w 57"/>
                <a:gd name="T103" fmla="*/ 54 h 223"/>
                <a:gd name="T104" fmla="*/ 26 w 57"/>
                <a:gd name="T105" fmla="*/ 54 h 223"/>
                <a:gd name="T106" fmla="*/ 28 w 57"/>
                <a:gd name="T107" fmla="*/ 54 h 223"/>
                <a:gd name="T108" fmla="*/ 26 w 57"/>
                <a:gd name="T109" fmla="*/ 0 h 223"/>
                <a:gd name="T110" fmla="*/ 26 w 57"/>
                <a:gd name="T11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 h="223">
                  <a:moveTo>
                    <a:pt x="57" y="221"/>
                  </a:moveTo>
                  <a:lnTo>
                    <a:pt x="57" y="221"/>
                  </a:lnTo>
                  <a:lnTo>
                    <a:pt x="57" y="221"/>
                  </a:lnTo>
                  <a:lnTo>
                    <a:pt x="57" y="221"/>
                  </a:lnTo>
                  <a:lnTo>
                    <a:pt x="57" y="221"/>
                  </a:lnTo>
                  <a:lnTo>
                    <a:pt x="57" y="221"/>
                  </a:lnTo>
                  <a:lnTo>
                    <a:pt x="57" y="221"/>
                  </a:lnTo>
                  <a:lnTo>
                    <a:pt x="57" y="221"/>
                  </a:lnTo>
                  <a:lnTo>
                    <a:pt x="54" y="221"/>
                  </a:lnTo>
                  <a:lnTo>
                    <a:pt x="54" y="221"/>
                  </a:lnTo>
                  <a:lnTo>
                    <a:pt x="54" y="223"/>
                  </a:lnTo>
                  <a:lnTo>
                    <a:pt x="54" y="223"/>
                  </a:lnTo>
                  <a:lnTo>
                    <a:pt x="54" y="223"/>
                  </a:lnTo>
                  <a:lnTo>
                    <a:pt x="54" y="221"/>
                  </a:lnTo>
                  <a:lnTo>
                    <a:pt x="54" y="221"/>
                  </a:lnTo>
                  <a:lnTo>
                    <a:pt x="54" y="221"/>
                  </a:lnTo>
                  <a:lnTo>
                    <a:pt x="54" y="221"/>
                  </a:lnTo>
                  <a:lnTo>
                    <a:pt x="54" y="221"/>
                  </a:lnTo>
                  <a:lnTo>
                    <a:pt x="54" y="221"/>
                  </a:lnTo>
                  <a:lnTo>
                    <a:pt x="57" y="221"/>
                  </a:lnTo>
                  <a:lnTo>
                    <a:pt x="57" y="221"/>
                  </a:lnTo>
                  <a:lnTo>
                    <a:pt x="57" y="221"/>
                  </a:lnTo>
                  <a:lnTo>
                    <a:pt x="57" y="221"/>
                  </a:lnTo>
                  <a:lnTo>
                    <a:pt x="57" y="221"/>
                  </a:lnTo>
                  <a:lnTo>
                    <a:pt x="57" y="221"/>
                  </a:lnTo>
                  <a:close/>
                  <a:moveTo>
                    <a:pt x="54" y="221"/>
                  </a:move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close/>
                  <a:moveTo>
                    <a:pt x="52" y="221"/>
                  </a:move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4" y="221"/>
                  </a:lnTo>
                  <a:lnTo>
                    <a:pt x="54" y="221"/>
                  </a:lnTo>
                  <a:lnTo>
                    <a:pt x="54" y="221"/>
                  </a:lnTo>
                  <a:lnTo>
                    <a:pt x="54" y="221"/>
                  </a:lnTo>
                  <a:lnTo>
                    <a:pt x="54" y="221"/>
                  </a:lnTo>
                  <a:lnTo>
                    <a:pt x="54" y="221"/>
                  </a:lnTo>
                  <a:lnTo>
                    <a:pt x="54" y="223"/>
                  </a:lnTo>
                  <a:lnTo>
                    <a:pt x="54" y="223"/>
                  </a:lnTo>
                  <a:lnTo>
                    <a:pt x="54" y="223"/>
                  </a:lnTo>
                  <a:lnTo>
                    <a:pt x="54" y="221"/>
                  </a:lnTo>
                  <a:lnTo>
                    <a:pt x="52" y="221"/>
                  </a:lnTo>
                  <a:lnTo>
                    <a:pt x="52" y="223"/>
                  </a:lnTo>
                  <a:lnTo>
                    <a:pt x="54" y="223"/>
                  </a:lnTo>
                  <a:lnTo>
                    <a:pt x="54" y="223"/>
                  </a:lnTo>
                  <a:lnTo>
                    <a:pt x="54" y="223"/>
                  </a:lnTo>
                  <a:lnTo>
                    <a:pt x="54" y="223"/>
                  </a:lnTo>
                  <a:lnTo>
                    <a:pt x="54" y="223"/>
                  </a:lnTo>
                  <a:lnTo>
                    <a:pt x="54" y="223"/>
                  </a:lnTo>
                  <a:lnTo>
                    <a:pt x="54" y="223"/>
                  </a:lnTo>
                  <a:lnTo>
                    <a:pt x="54" y="221"/>
                  </a:lnTo>
                  <a:lnTo>
                    <a:pt x="54" y="223"/>
                  </a:lnTo>
                  <a:lnTo>
                    <a:pt x="54" y="223"/>
                  </a:lnTo>
                  <a:lnTo>
                    <a:pt x="54" y="223"/>
                  </a:lnTo>
                  <a:lnTo>
                    <a:pt x="54" y="223"/>
                  </a:lnTo>
                  <a:lnTo>
                    <a:pt x="54" y="223"/>
                  </a:lnTo>
                  <a:lnTo>
                    <a:pt x="52" y="223"/>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close/>
                  <a:moveTo>
                    <a:pt x="57" y="221"/>
                  </a:moveTo>
                  <a:lnTo>
                    <a:pt x="57" y="221"/>
                  </a:lnTo>
                  <a:lnTo>
                    <a:pt x="57" y="221"/>
                  </a:lnTo>
                  <a:lnTo>
                    <a:pt x="57" y="221"/>
                  </a:lnTo>
                  <a:lnTo>
                    <a:pt x="54" y="221"/>
                  </a:lnTo>
                  <a:lnTo>
                    <a:pt x="54" y="221"/>
                  </a:lnTo>
                  <a:lnTo>
                    <a:pt x="54" y="221"/>
                  </a:lnTo>
                  <a:lnTo>
                    <a:pt x="54" y="221"/>
                  </a:lnTo>
                  <a:lnTo>
                    <a:pt x="54" y="221"/>
                  </a:lnTo>
                  <a:lnTo>
                    <a:pt x="54" y="221"/>
                  </a:lnTo>
                  <a:lnTo>
                    <a:pt x="54" y="221"/>
                  </a:lnTo>
                  <a:lnTo>
                    <a:pt x="54" y="221"/>
                  </a:lnTo>
                  <a:lnTo>
                    <a:pt x="54" y="221"/>
                  </a:lnTo>
                  <a:lnTo>
                    <a:pt x="57" y="218"/>
                  </a:lnTo>
                  <a:lnTo>
                    <a:pt x="57" y="218"/>
                  </a:lnTo>
                  <a:lnTo>
                    <a:pt x="57" y="218"/>
                  </a:lnTo>
                  <a:lnTo>
                    <a:pt x="57" y="221"/>
                  </a:lnTo>
                  <a:lnTo>
                    <a:pt x="57" y="221"/>
                  </a:lnTo>
                  <a:lnTo>
                    <a:pt x="57" y="221"/>
                  </a:lnTo>
                  <a:close/>
                  <a:moveTo>
                    <a:pt x="26" y="156"/>
                  </a:move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close/>
                  <a:moveTo>
                    <a:pt x="26" y="154"/>
                  </a:moveTo>
                  <a:lnTo>
                    <a:pt x="23" y="154"/>
                  </a:lnTo>
                  <a:lnTo>
                    <a:pt x="23" y="154"/>
                  </a:lnTo>
                  <a:lnTo>
                    <a:pt x="23" y="154"/>
                  </a:lnTo>
                  <a:lnTo>
                    <a:pt x="23" y="154"/>
                  </a:lnTo>
                  <a:lnTo>
                    <a:pt x="23" y="152"/>
                  </a:lnTo>
                  <a:lnTo>
                    <a:pt x="23" y="152"/>
                  </a:lnTo>
                  <a:lnTo>
                    <a:pt x="26" y="152"/>
                  </a:lnTo>
                  <a:lnTo>
                    <a:pt x="26" y="154"/>
                  </a:lnTo>
                  <a:lnTo>
                    <a:pt x="26" y="154"/>
                  </a:lnTo>
                  <a:lnTo>
                    <a:pt x="26" y="154"/>
                  </a:lnTo>
                  <a:close/>
                  <a:moveTo>
                    <a:pt x="14" y="140"/>
                  </a:moveTo>
                  <a:lnTo>
                    <a:pt x="14" y="140"/>
                  </a:lnTo>
                  <a:lnTo>
                    <a:pt x="14" y="140"/>
                  </a:lnTo>
                  <a:lnTo>
                    <a:pt x="14" y="140"/>
                  </a:lnTo>
                  <a:lnTo>
                    <a:pt x="14" y="140"/>
                  </a:lnTo>
                  <a:lnTo>
                    <a:pt x="14" y="137"/>
                  </a:lnTo>
                  <a:lnTo>
                    <a:pt x="14" y="137"/>
                  </a:lnTo>
                  <a:lnTo>
                    <a:pt x="14" y="137"/>
                  </a:lnTo>
                  <a:lnTo>
                    <a:pt x="14" y="137"/>
                  </a:lnTo>
                  <a:lnTo>
                    <a:pt x="16" y="137"/>
                  </a:lnTo>
                  <a:lnTo>
                    <a:pt x="16" y="137"/>
                  </a:lnTo>
                  <a:lnTo>
                    <a:pt x="16" y="137"/>
                  </a:lnTo>
                  <a:lnTo>
                    <a:pt x="16" y="137"/>
                  </a:lnTo>
                  <a:lnTo>
                    <a:pt x="16" y="137"/>
                  </a:lnTo>
                  <a:lnTo>
                    <a:pt x="16" y="137"/>
                  </a:lnTo>
                  <a:lnTo>
                    <a:pt x="16" y="137"/>
                  </a:lnTo>
                  <a:lnTo>
                    <a:pt x="16" y="137"/>
                  </a:lnTo>
                  <a:lnTo>
                    <a:pt x="16" y="137"/>
                  </a:lnTo>
                  <a:lnTo>
                    <a:pt x="16" y="137"/>
                  </a:lnTo>
                  <a:lnTo>
                    <a:pt x="14" y="140"/>
                  </a:lnTo>
                  <a:close/>
                  <a:moveTo>
                    <a:pt x="16" y="137"/>
                  </a:moveTo>
                  <a:lnTo>
                    <a:pt x="16" y="137"/>
                  </a:lnTo>
                  <a:lnTo>
                    <a:pt x="16" y="137"/>
                  </a:lnTo>
                  <a:lnTo>
                    <a:pt x="16" y="137"/>
                  </a:lnTo>
                  <a:lnTo>
                    <a:pt x="16" y="137"/>
                  </a:lnTo>
                  <a:lnTo>
                    <a:pt x="16" y="137"/>
                  </a:lnTo>
                  <a:lnTo>
                    <a:pt x="16" y="137"/>
                  </a:lnTo>
                  <a:lnTo>
                    <a:pt x="16" y="137"/>
                  </a:lnTo>
                  <a:lnTo>
                    <a:pt x="16" y="137"/>
                  </a:lnTo>
                  <a:lnTo>
                    <a:pt x="16" y="137"/>
                  </a:lnTo>
                  <a:lnTo>
                    <a:pt x="16" y="137"/>
                  </a:lnTo>
                  <a:lnTo>
                    <a:pt x="16" y="137"/>
                  </a:lnTo>
                  <a:lnTo>
                    <a:pt x="19" y="137"/>
                  </a:lnTo>
                  <a:lnTo>
                    <a:pt x="19" y="137"/>
                  </a:lnTo>
                  <a:lnTo>
                    <a:pt x="19" y="137"/>
                  </a:lnTo>
                  <a:lnTo>
                    <a:pt x="19" y="137"/>
                  </a:lnTo>
                  <a:lnTo>
                    <a:pt x="19" y="137"/>
                  </a:lnTo>
                  <a:lnTo>
                    <a:pt x="19" y="137"/>
                  </a:lnTo>
                  <a:lnTo>
                    <a:pt x="16" y="137"/>
                  </a:lnTo>
                  <a:close/>
                  <a:moveTo>
                    <a:pt x="16" y="137"/>
                  </a:moveTo>
                  <a:lnTo>
                    <a:pt x="16" y="137"/>
                  </a:lnTo>
                  <a:lnTo>
                    <a:pt x="16" y="137"/>
                  </a:lnTo>
                  <a:lnTo>
                    <a:pt x="16" y="137"/>
                  </a:lnTo>
                  <a:lnTo>
                    <a:pt x="16" y="135"/>
                  </a:lnTo>
                  <a:lnTo>
                    <a:pt x="16" y="135"/>
                  </a:lnTo>
                  <a:lnTo>
                    <a:pt x="16" y="135"/>
                  </a:lnTo>
                  <a:lnTo>
                    <a:pt x="16" y="135"/>
                  </a:lnTo>
                  <a:lnTo>
                    <a:pt x="16" y="135"/>
                  </a:lnTo>
                  <a:lnTo>
                    <a:pt x="16" y="135"/>
                  </a:lnTo>
                  <a:lnTo>
                    <a:pt x="16" y="135"/>
                  </a:lnTo>
                  <a:lnTo>
                    <a:pt x="16" y="137"/>
                  </a:lnTo>
                  <a:lnTo>
                    <a:pt x="16" y="137"/>
                  </a:lnTo>
                  <a:lnTo>
                    <a:pt x="16" y="137"/>
                  </a:lnTo>
                  <a:close/>
                  <a:moveTo>
                    <a:pt x="0" y="114"/>
                  </a:moveTo>
                  <a:lnTo>
                    <a:pt x="0" y="114"/>
                  </a:lnTo>
                  <a:lnTo>
                    <a:pt x="0" y="114"/>
                  </a:lnTo>
                  <a:lnTo>
                    <a:pt x="0" y="114"/>
                  </a:lnTo>
                  <a:lnTo>
                    <a:pt x="0" y="114"/>
                  </a:lnTo>
                  <a:lnTo>
                    <a:pt x="0" y="114"/>
                  </a:lnTo>
                  <a:lnTo>
                    <a:pt x="0" y="114"/>
                  </a:lnTo>
                  <a:lnTo>
                    <a:pt x="0" y="111"/>
                  </a:lnTo>
                  <a:lnTo>
                    <a:pt x="0" y="111"/>
                  </a:lnTo>
                  <a:lnTo>
                    <a:pt x="0" y="111"/>
                  </a:lnTo>
                  <a:lnTo>
                    <a:pt x="0" y="111"/>
                  </a:lnTo>
                  <a:lnTo>
                    <a:pt x="0" y="111"/>
                  </a:lnTo>
                  <a:lnTo>
                    <a:pt x="0" y="114"/>
                  </a:lnTo>
                  <a:lnTo>
                    <a:pt x="0" y="114"/>
                  </a:lnTo>
                  <a:lnTo>
                    <a:pt x="0" y="114"/>
                  </a:lnTo>
                  <a:lnTo>
                    <a:pt x="0" y="114"/>
                  </a:lnTo>
                  <a:close/>
                  <a:moveTo>
                    <a:pt x="28" y="54"/>
                  </a:moveTo>
                  <a:lnTo>
                    <a:pt x="28" y="54"/>
                  </a:lnTo>
                  <a:lnTo>
                    <a:pt x="28" y="54"/>
                  </a:lnTo>
                  <a:lnTo>
                    <a:pt x="28" y="54"/>
                  </a:lnTo>
                  <a:lnTo>
                    <a:pt x="28" y="54"/>
                  </a:lnTo>
                  <a:lnTo>
                    <a:pt x="28" y="54"/>
                  </a:lnTo>
                  <a:lnTo>
                    <a:pt x="28" y="54"/>
                  </a:lnTo>
                  <a:lnTo>
                    <a:pt x="28" y="54"/>
                  </a:lnTo>
                  <a:lnTo>
                    <a:pt x="28" y="54"/>
                  </a:lnTo>
                  <a:lnTo>
                    <a:pt x="28" y="54"/>
                  </a:lnTo>
                  <a:lnTo>
                    <a:pt x="28" y="54"/>
                  </a:lnTo>
                  <a:lnTo>
                    <a:pt x="28" y="54"/>
                  </a:lnTo>
                  <a:lnTo>
                    <a:pt x="26" y="57"/>
                  </a:lnTo>
                  <a:lnTo>
                    <a:pt x="26" y="57"/>
                  </a:lnTo>
                  <a:lnTo>
                    <a:pt x="26" y="54"/>
                  </a:lnTo>
                  <a:lnTo>
                    <a:pt x="26" y="54"/>
                  </a:lnTo>
                  <a:lnTo>
                    <a:pt x="26" y="54"/>
                  </a:lnTo>
                  <a:lnTo>
                    <a:pt x="28" y="54"/>
                  </a:lnTo>
                  <a:lnTo>
                    <a:pt x="26" y="54"/>
                  </a:lnTo>
                  <a:lnTo>
                    <a:pt x="26" y="54"/>
                  </a:lnTo>
                  <a:lnTo>
                    <a:pt x="26" y="54"/>
                  </a:lnTo>
                  <a:lnTo>
                    <a:pt x="26" y="54"/>
                  </a:lnTo>
                  <a:lnTo>
                    <a:pt x="26" y="54"/>
                  </a:lnTo>
                  <a:lnTo>
                    <a:pt x="26" y="54"/>
                  </a:lnTo>
                  <a:lnTo>
                    <a:pt x="28" y="54"/>
                  </a:lnTo>
                  <a:lnTo>
                    <a:pt x="28" y="54"/>
                  </a:lnTo>
                  <a:lnTo>
                    <a:pt x="28" y="54"/>
                  </a:lnTo>
                  <a:lnTo>
                    <a:pt x="28" y="54"/>
                  </a:lnTo>
                  <a:lnTo>
                    <a:pt x="28" y="54"/>
                  </a:lnTo>
                  <a:lnTo>
                    <a:pt x="28" y="54"/>
                  </a:lnTo>
                  <a:lnTo>
                    <a:pt x="28" y="54"/>
                  </a:lnTo>
                  <a:lnTo>
                    <a:pt x="28" y="54"/>
                  </a:lnTo>
                  <a:close/>
                  <a:moveTo>
                    <a:pt x="26" y="0"/>
                  </a:moveTo>
                  <a:lnTo>
                    <a:pt x="26" y="0"/>
                  </a:lnTo>
                  <a:lnTo>
                    <a:pt x="23" y="0"/>
                  </a:lnTo>
                  <a:lnTo>
                    <a:pt x="23" y="0"/>
                  </a:lnTo>
                  <a:lnTo>
                    <a:pt x="26" y="0"/>
                  </a:lnTo>
                  <a:lnTo>
                    <a:pt x="26" y="0"/>
                  </a:lnTo>
                  <a:lnTo>
                    <a:pt x="26" y="0"/>
                  </a:lnTo>
                  <a:lnTo>
                    <a:pt x="2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5" name="Freeform 57967"/>
            <p:cNvSpPr>
              <a:spLocks/>
            </p:cNvSpPr>
            <p:nvPr/>
          </p:nvSpPr>
          <p:spPr bwMode="auto">
            <a:xfrm>
              <a:off x="2473326" y="5226054"/>
              <a:ext cx="52388" cy="115888"/>
            </a:xfrm>
            <a:custGeom>
              <a:avLst/>
              <a:gdLst>
                <a:gd name="T0" fmla="*/ 31 w 33"/>
                <a:gd name="T1" fmla="*/ 2 h 73"/>
                <a:gd name="T2" fmla="*/ 31 w 33"/>
                <a:gd name="T3" fmla="*/ 9 h 73"/>
                <a:gd name="T4" fmla="*/ 31 w 33"/>
                <a:gd name="T5" fmla="*/ 16 h 73"/>
                <a:gd name="T6" fmla="*/ 33 w 33"/>
                <a:gd name="T7" fmla="*/ 21 h 73"/>
                <a:gd name="T8" fmla="*/ 33 w 33"/>
                <a:gd name="T9" fmla="*/ 28 h 73"/>
                <a:gd name="T10" fmla="*/ 33 w 33"/>
                <a:gd name="T11" fmla="*/ 35 h 73"/>
                <a:gd name="T12" fmla="*/ 33 w 33"/>
                <a:gd name="T13" fmla="*/ 42 h 73"/>
                <a:gd name="T14" fmla="*/ 29 w 33"/>
                <a:gd name="T15" fmla="*/ 47 h 73"/>
                <a:gd name="T16" fmla="*/ 29 w 33"/>
                <a:gd name="T17" fmla="*/ 54 h 73"/>
                <a:gd name="T18" fmla="*/ 29 w 33"/>
                <a:gd name="T19" fmla="*/ 61 h 73"/>
                <a:gd name="T20" fmla="*/ 26 w 33"/>
                <a:gd name="T21" fmla="*/ 61 h 73"/>
                <a:gd name="T22" fmla="*/ 26 w 33"/>
                <a:gd name="T23" fmla="*/ 64 h 73"/>
                <a:gd name="T24" fmla="*/ 26 w 33"/>
                <a:gd name="T25" fmla="*/ 61 h 73"/>
                <a:gd name="T26" fmla="*/ 26 w 33"/>
                <a:gd name="T27" fmla="*/ 64 h 73"/>
                <a:gd name="T28" fmla="*/ 24 w 33"/>
                <a:gd name="T29" fmla="*/ 64 h 73"/>
                <a:gd name="T30" fmla="*/ 26 w 33"/>
                <a:gd name="T31" fmla="*/ 64 h 73"/>
                <a:gd name="T32" fmla="*/ 24 w 33"/>
                <a:gd name="T33" fmla="*/ 69 h 73"/>
                <a:gd name="T34" fmla="*/ 26 w 33"/>
                <a:gd name="T35" fmla="*/ 69 h 73"/>
                <a:gd name="T36" fmla="*/ 24 w 33"/>
                <a:gd name="T37" fmla="*/ 69 h 73"/>
                <a:gd name="T38" fmla="*/ 24 w 33"/>
                <a:gd name="T39" fmla="*/ 71 h 73"/>
                <a:gd name="T40" fmla="*/ 24 w 33"/>
                <a:gd name="T41" fmla="*/ 73 h 73"/>
                <a:gd name="T42" fmla="*/ 19 w 33"/>
                <a:gd name="T43" fmla="*/ 71 h 73"/>
                <a:gd name="T44" fmla="*/ 17 w 33"/>
                <a:gd name="T45" fmla="*/ 71 h 73"/>
                <a:gd name="T46" fmla="*/ 17 w 33"/>
                <a:gd name="T47" fmla="*/ 71 h 73"/>
                <a:gd name="T48" fmla="*/ 17 w 33"/>
                <a:gd name="T49" fmla="*/ 69 h 73"/>
                <a:gd name="T50" fmla="*/ 12 w 33"/>
                <a:gd name="T51" fmla="*/ 66 h 73"/>
                <a:gd name="T52" fmla="*/ 10 w 33"/>
                <a:gd name="T53" fmla="*/ 66 h 73"/>
                <a:gd name="T54" fmla="*/ 10 w 33"/>
                <a:gd name="T55" fmla="*/ 64 h 73"/>
                <a:gd name="T56" fmla="*/ 12 w 33"/>
                <a:gd name="T57" fmla="*/ 59 h 73"/>
                <a:gd name="T58" fmla="*/ 10 w 33"/>
                <a:gd name="T59" fmla="*/ 59 h 73"/>
                <a:gd name="T60" fmla="*/ 10 w 33"/>
                <a:gd name="T61" fmla="*/ 57 h 73"/>
                <a:gd name="T62" fmla="*/ 5 w 33"/>
                <a:gd name="T63" fmla="*/ 59 h 73"/>
                <a:gd name="T64" fmla="*/ 7 w 33"/>
                <a:gd name="T65" fmla="*/ 54 h 73"/>
                <a:gd name="T66" fmla="*/ 10 w 33"/>
                <a:gd name="T67" fmla="*/ 52 h 73"/>
                <a:gd name="T68" fmla="*/ 7 w 33"/>
                <a:gd name="T69" fmla="*/ 52 h 73"/>
                <a:gd name="T70" fmla="*/ 7 w 33"/>
                <a:gd name="T71" fmla="*/ 50 h 73"/>
                <a:gd name="T72" fmla="*/ 7 w 33"/>
                <a:gd name="T73" fmla="*/ 47 h 73"/>
                <a:gd name="T74" fmla="*/ 3 w 33"/>
                <a:gd name="T75" fmla="*/ 50 h 73"/>
                <a:gd name="T76" fmla="*/ 5 w 33"/>
                <a:gd name="T77" fmla="*/ 45 h 73"/>
                <a:gd name="T78" fmla="*/ 5 w 33"/>
                <a:gd name="T79" fmla="*/ 42 h 73"/>
                <a:gd name="T80" fmla="*/ 3 w 33"/>
                <a:gd name="T81" fmla="*/ 38 h 73"/>
                <a:gd name="T82" fmla="*/ 0 w 33"/>
                <a:gd name="T83" fmla="*/ 38 h 73"/>
                <a:gd name="T84" fmla="*/ 0 w 33"/>
                <a:gd name="T85" fmla="*/ 35 h 73"/>
                <a:gd name="T86" fmla="*/ 3 w 33"/>
                <a:gd name="T87" fmla="*/ 35 h 73"/>
                <a:gd name="T88" fmla="*/ 3 w 33"/>
                <a:gd name="T89" fmla="*/ 33 h 73"/>
                <a:gd name="T90" fmla="*/ 3 w 33"/>
                <a:gd name="T91" fmla="*/ 31 h 73"/>
                <a:gd name="T92" fmla="*/ 3 w 33"/>
                <a:gd name="T93" fmla="*/ 28 h 73"/>
                <a:gd name="T94" fmla="*/ 0 w 33"/>
                <a:gd name="T95" fmla="*/ 28 h 73"/>
                <a:gd name="T96" fmla="*/ 5 w 33"/>
                <a:gd name="T97" fmla="*/ 26 h 73"/>
                <a:gd name="T98" fmla="*/ 7 w 33"/>
                <a:gd name="T99" fmla="*/ 21 h 73"/>
                <a:gd name="T100" fmla="*/ 7 w 33"/>
                <a:gd name="T101" fmla="*/ 19 h 73"/>
                <a:gd name="T102" fmla="*/ 5 w 33"/>
                <a:gd name="T103" fmla="*/ 19 h 73"/>
                <a:gd name="T104" fmla="*/ 10 w 33"/>
                <a:gd name="T105" fmla="*/ 16 h 73"/>
                <a:gd name="T106" fmla="*/ 12 w 33"/>
                <a:gd name="T107" fmla="*/ 16 h 73"/>
                <a:gd name="T108" fmla="*/ 17 w 33"/>
                <a:gd name="T109" fmla="*/ 14 h 73"/>
                <a:gd name="T110" fmla="*/ 22 w 33"/>
                <a:gd name="T111" fmla="*/ 12 h 73"/>
                <a:gd name="T112" fmla="*/ 26 w 33"/>
                <a:gd name="T113" fmla="*/ 14 h 73"/>
                <a:gd name="T114" fmla="*/ 26 w 33"/>
                <a:gd name="T115" fmla="*/ 7 h 73"/>
                <a:gd name="T116" fmla="*/ 29 w 33"/>
                <a:gd name="T117" fmla="*/ 2 h 73"/>
                <a:gd name="T118" fmla="*/ 26 w 33"/>
                <a:gd name="T119"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 h="73">
                  <a:moveTo>
                    <a:pt x="29" y="0"/>
                  </a:moveTo>
                  <a:lnTo>
                    <a:pt x="31" y="0"/>
                  </a:lnTo>
                  <a:lnTo>
                    <a:pt x="31" y="2"/>
                  </a:lnTo>
                  <a:lnTo>
                    <a:pt x="31" y="4"/>
                  </a:lnTo>
                  <a:lnTo>
                    <a:pt x="31" y="7"/>
                  </a:lnTo>
                  <a:lnTo>
                    <a:pt x="31" y="9"/>
                  </a:lnTo>
                  <a:lnTo>
                    <a:pt x="31" y="12"/>
                  </a:lnTo>
                  <a:lnTo>
                    <a:pt x="31" y="14"/>
                  </a:lnTo>
                  <a:lnTo>
                    <a:pt x="31" y="16"/>
                  </a:lnTo>
                  <a:lnTo>
                    <a:pt x="31" y="19"/>
                  </a:lnTo>
                  <a:lnTo>
                    <a:pt x="33" y="19"/>
                  </a:lnTo>
                  <a:lnTo>
                    <a:pt x="33" y="21"/>
                  </a:lnTo>
                  <a:lnTo>
                    <a:pt x="33" y="23"/>
                  </a:lnTo>
                  <a:lnTo>
                    <a:pt x="33" y="26"/>
                  </a:lnTo>
                  <a:lnTo>
                    <a:pt x="33" y="28"/>
                  </a:lnTo>
                  <a:lnTo>
                    <a:pt x="33" y="31"/>
                  </a:lnTo>
                  <a:lnTo>
                    <a:pt x="33" y="33"/>
                  </a:lnTo>
                  <a:lnTo>
                    <a:pt x="33" y="35"/>
                  </a:lnTo>
                  <a:lnTo>
                    <a:pt x="33" y="38"/>
                  </a:lnTo>
                  <a:lnTo>
                    <a:pt x="33" y="40"/>
                  </a:lnTo>
                  <a:lnTo>
                    <a:pt x="33" y="42"/>
                  </a:lnTo>
                  <a:lnTo>
                    <a:pt x="31" y="45"/>
                  </a:lnTo>
                  <a:lnTo>
                    <a:pt x="31" y="47"/>
                  </a:lnTo>
                  <a:lnTo>
                    <a:pt x="29" y="47"/>
                  </a:lnTo>
                  <a:lnTo>
                    <a:pt x="29" y="50"/>
                  </a:lnTo>
                  <a:lnTo>
                    <a:pt x="29" y="52"/>
                  </a:lnTo>
                  <a:lnTo>
                    <a:pt x="29" y="54"/>
                  </a:lnTo>
                  <a:lnTo>
                    <a:pt x="29" y="57"/>
                  </a:lnTo>
                  <a:lnTo>
                    <a:pt x="29" y="59"/>
                  </a:lnTo>
                  <a:lnTo>
                    <a:pt x="29" y="61"/>
                  </a:lnTo>
                  <a:lnTo>
                    <a:pt x="29" y="59"/>
                  </a:lnTo>
                  <a:lnTo>
                    <a:pt x="29" y="61"/>
                  </a:lnTo>
                  <a:lnTo>
                    <a:pt x="26" y="61"/>
                  </a:lnTo>
                  <a:lnTo>
                    <a:pt x="29" y="61"/>
                  </a:lnTo>
                  <a:lnTo>
                    <a:pt x="26" y="61"/>
                  </a:lnTo>
                  <a:lnTo>
                    <a:pt x="26" y="64"/>
                  </a:lnTo>
                  <a:lnTo>
                    <a:pt x="26" y="61"/>
                  </a:lnTo>
                  <a:lnTo>
                    <a:pt x="26" y="64"/>
                  </a:lnTo>
                  <a:lnTo>
                    <a:pt x="26" y="61"/>
                  </a:lnTo>
                  <a:lnTo>
                    <a:pt x="26" y="64"/>
                  </a:lnTo>
                  <a:lnTo>
                    <a:pt x="24" y="64"/>
                  </a:lnTo>
                  <a:lnTo>
                    <a:pt x="26" y="64"/>
                  </a:lnTo>
                  <a:lnTo>
                    <a:pt x="24" y="64"/>
                  </a:lnTo>
                  <a:lnTo>
                    <a:pt x="26" y="64"/>
                  </a:lnTo>
                  <a:lnTo>
                    <a:pt x="24" y="64"/>
                  </a:lnTo>
                  <a:lnTo>
                    <a:pt x="26" y="64"/>
                  </a:lnTo>
                  <a:lnTo>
                    <a:pt x="29" y="64"/>
                  </a:lnTo>
                  <a:lnTo>
                    <a:pt x="26" y="64"/>
                  </a:lnTo>
                  <a:lnTo>
                    <a:pt x="26" y="66"/>
                  </a:lnTo>
                  <a:lnTo>
                    <a:pt x="24" y="66"/>
                  </a:lnTo>
                  <a:lnTo>
                    <a:pt x="24" y="69"/>
                  </a:lnTo>
                  <a:lnTo>
                    <a:pt x="26" y="69"/>
                  </a:lnTo>
                  <a:lnTo>
                    <a:pt x="24" y="69"/>
                  </a:lnTo>
                  <a:lnTo>
                    <a:pt x="26" y="69"/>
                  </a:lnTo>
                  <a:lnTo>
                    <a:pt x="24" y="69"/>
                  </a:lnTo>
                  <a:lnTo>
                    <a:pt x="24" y="71"/>
                  </a:lnTo>
                  <a:lnTo>
                    <a:pt x="24" y="69"/>
                  </a:lnTo>
                  <a:lnTo>
                    <a:pt x="24" y="71"/>
                  </a:lnTo>
                  <a:lnTo>
                    <a:pt x="22" y="71"/>
                  </a:lnTo>
                  <a:lnTo>
                    <a:pt x="24" y="71"/>
                  </a:lnTo>
                  <a:lnTo>
                    <a:pt x="24" y="73"/>
                  </a:lnTo>
                  <a:lnTo>
                    <a:pt x="24" y="71"/>
                  </a:lnTo>
                  <a:lnTo>
                    <a:pt x="24" y="73"/>
                  </a:lnTo>
                  <a:lnTo>
                    <a:pt x="22" y="73"/>
                  </a:lnTo>
                  <a:lnTo>
                    <a:pt x="19" y="73"/>
                  </a:lnTo>
                  <a:lnTo>
                    <a:pt x="19" y="71"/>
                  </a:lnTo>
                  <a:lnTo>
                    <a:pt x="17" y="71"/>
                  </a:lnTo>
                  <a:lnTo>
                    <a:pt x="19" y="71"/>
                  </a:lnTo>
                  <a:lnTo>
                    <a:pt x="17" y="71"/>
                  </a:lnTo>
                  <a:lnTo>
                    <a:pt x="19" y="69"/>
                  </a:lnTo>
                  <a:lnTo>
                    <a:pt x="17" y="69"/>
                  </a:lnTo>
                  <a:lnTo>
                    <a:pt x="17" y="71"/>
                  </a:lnTo>
                  <a:lnTo>
                    <a:pt x="17" y="69"/>
                  </a:lnTo>
                  <a:lnTo>
                    <a:pt x="17" y="71"/>
                  </a:lnTo>
                  <a:lnTo>
                    <a:pt x="17" y="69"/>
                  </a:lnTo>
                  <a:lnTo>
                    <a:pt x="14" y="69"/>
                  </a:lnTo>
                  <a:lnTo>
                    <a:pt x="12" y="69"/>
                  </a:lnTo>
                  <a:lnTo>
                    <a:pt x="12" y="66"/>
                  </a:lnTo>
                  <a:lnTo>
                    <a:pt x="10" y="66"/>
                  </a:lnTo>
                  <a:lnTo>
                    <a:pt x="12" y="66"/>
                  </a:lnTo>
                  <a:lnTo>
                    <a:pt x="10" y="66"/>
                  </a:lnTo>
                  <a:lnTo>
                    <a:pt x="10" y="64"/>
                  </a:lnTo>
                  <a:lnTo>
                    <a:pt x="7" y="64"/>
                  </a:lnTo>
                  <a:lnTo>
                    <a:pt x="10" y="64"/>
                  </a:lnTo>
                  <a:lnTo>
                    <a:pt x="10" y="61"/>
                  </a:lnTo>
                  <a:lnTo>
                    <a:pt x="12" y="61"/>
                  </a:lnTo>
                  <a:lnTo>
                    <a:pt x="12" y="59"/>
                  </a:lnTo>
                  <a:lnTo>
                    <a:pt x="10" y="59"/>
                  </a:lnTo>
                  <a:lnTo>
                    <a:pt x="7" y="59"/>
                  </a:lnTo>
                  <a:lnTo>
                    <a:pt x="10" y="59"/>
                  </a:lnTo>
                  <a:lnTo>
                    <a:pt x="7" y="59"/>
                  </a:lnTo>
                  <a:lnTo>
                    <a:pt x="7" y="57"/>
                  </a:lnTo>
                  <a:lnTo>
                    <a:pt x="10" y="57"/>
                  </a:lnTo>
                  <a:lnTo>
                    <a:pt x="7" y="57"/>
                  </a:lnTo>
                  <a:lnTo>
                    <a:pt x="7" y="59"/>
                  </a:lnTo>
                  <a:lnTo>
                    <a:pt x="5" y="59"/>
                  </a:lnTo>
                  <a:lnTo>
                    <a:pt x="5" y="57"/>
                  </a:lnTo>
                  <a:lnTo>
                    <a:pt x="7" y="57"/>
                  </a:lnTo>
                  <a:lnTo>
                    <a:pt x="7" y="54"/>
                  </a:lnTo>
                  <a:lnTo>
                    <a:pt x="5" y="54"/>
                  </a:lnTo>
                  <a:lnTo>
                    <a:pt x="7" y="54"/>
                  </a:lnTo>
                  <a:lnTo>
                    <a:pt x="10" y="52"/>
                  </a:lnTo>
                  <a:lnTo>
                    <a:pt x="7" y="52"/>
                  </a:lnTo>
                  <a:lnTo>
                    <a:pt x="10" y="52"/>
                  </a:lnTo>
                  <a:lnTo>
                    <a:pt x="7" y="52"/>
                  </a:lnTo>
                  <a:lnTo>
                    <a:pt x="10" y="52"/>
                  </a:lnTo>
                  <a:lnTo>
                    <a:pt x="7" y="52"/>
                  </a:lnTo>
                  <a:lnTo>
                    <a:pt x="7" y="50"/>
                  </a:lnTo>
                  <a:lnTo>
                    <a:pt x="10" y="50"/>
                  </a:lnTo>
                  <a:lnTo>
                    <a:pt x="7" y="50"/>
                  </a:lnTo>
                  <a:lnTo>
                    <a:pt x="7" y="47"/>
                  </a:lnTo>
                  <a:lnTo>
                    <a:pt x="7" y="50"/>
                  </a:lnTo>
                  <a:lnTo>
                    <a:pt x="5" y="50"/>
                  </a:lnTo>
                  <a:lnTo>
                    <a:pt x="3" y="50"/>
                  </a:lnTo>
                  <a:lnTo>
                    <a:pt x="3" y="47"/>
                  </a:lnTo>
                  <a:lnTo>
                    <a:pt x="5" y="47"/>
                  </a:lnTo>
                  <a:lnTo>
                    <a:pt x="5" y="45"/>
                  </a:lnTo>
                  <a:lnTo>
                    <a:pt x="7" y="45"/>
                  </a:lnTo>
                  <a:lnTo>
                    <a:pt x="7" y="42"/>
                  </a:lnTo>
                  <a:lnTo>
                    <a:pt x="5" y="42"/>
                  </a:lnTo>
                  <a:lnTo>
                    <a:pt x="5" y="40"/>
                  </a:lnTo>
                  <a:lnTo>
                    <a:pt x="3" y="40"/>
                  </a:lnTo>
                  <a:lnTo>
                    <a:pt x="3" y="38"/>
                  </a:lnTo>
                  <a:lnTo>
                    <a:pt x="0" y="38"/>
                  </a:lnTo>
                  <a:lnTo>
                    <a:pt x="3" y="38"/>
                  </a:lnTo>
                  <a:lnTo>
                    <a:pt x="0" y="38"/>
                  </a:lnTo>
                  <a:lnTo>
                    <a:pt x="3" y="38"/>
                  </a:lnTo>
                  <a:lnTo>
                    <a:pt x="3" y="35"/>
                  </a:lnTo>
                  <a:lnTo>
                    <a:pt x="0" y="35"/>
                  </a:lnTo>
                  <a:lnTo>
                    <a:pt x="3" y="35"/>
                  </a:lnTo>
                  <a:lnTo>
                    <a:pt x="0" y="35"/>
                  </a:lnTo>
                  <a:lnTo>
                    <a:pt x="3" y="35"/>
                  </a:lnTo>
                  <a:lnTo>
                    <a:pt x="3" y="33"/>
                  </a:lnTo>
                  <a:lnTo>
                    <a:pt x="3" y="35"/>
                  </a:lnTo>
                  <a:lnTo>
                    <a:pt x="3" y="33"/>
                  </a:lnTo>
                  <a:lnTo>
                    <a:pt x="5" y="33"/>
                  </a:lnTo>
                  <a:lnTo>
                    <a:pt x="5" y="31"/>
                  </a:lnTo>
                  <a:lnTo>
                    <a:pt x="3" y="31"/>
                  </a:lnTo>
                  <a:lnTo>
                    <a:pt x="3" y="28"/>
                  </a:lnTo>
                  <a:lnTo>
                    <a:pt x="3" y="31"/>
                  </a:lnTo>
                  <a:lnTo>
                    <a:pt x="3" y="28"/>
                  </a:lnTo>
                  <a:lnTo>
                    <a:pt x="3" y="31"/>
                  </a:lnTo>
                  <a:lnTo>
                    <a:pt x="0" y="31"/>
                  </a:lnTo>
                  <a:lnTo>
                    <a:pt x="0" y="28"/>
                  </a:lnTo>
                  <a:lnTo>
                    <a:pt x="3" y="28"/>
                  </a:lnTo>
                  <a:lnTo>
                    <a:pt x="3" y="26"/>
                  </a:lnTo>
                  <a:lnTo>
                    <a:pt x="5" y="26"/>
                  </a:lnTo>
                  <a:lnTo>
                    <a:pt x="5" y="23"/>
                  </a:lnTo>
                  <a:lnTo>
                    <a:pt x="5" y="21"/>
                  </a:lnTo>
                  <a:lnTo>
                    <a:pt x="7" y="21"/>
                  </a:lnTo>
                  <a:lnTo>
                    <a:pt x="5" y="21"/>
                  </a:lnTo>
                  <a:lnTo>
                    <a:pt x="7" y="21"/>
                  </a:lnTo>
                  <a:lnTo>
                    <a:pt x="7" y="19"/>
                  </a:lnTo>
                  <a:lnTo>
                    <a:pt x="5" y="19"/>
                  </a:lnTo>
                  <a:lnTo>
                    <a:pt x="7" y="19"/>
                  </a:lnTo>
                  <a:lnTo>
                    <a:pt x="5" y="19"/>
                  </a:lnTo>
                  <a:lnTo>
                    <a:pt x="7" y="19"/>
                  </a:lnTo>
                  <a:lnTo>
                    <a:pt x="10" y="19"/>
                  </a:lnTo>
                  <a:lnTo>
                    <a:pt x="10" y="16"/>
                  </a:lnTo>
                  <a:lnTo>
                    <a:pt x="12" y="16"/>
                  </a:lnTo>
                  <a:lnTo>
                    <a:pt x="10" y="16"/>
                  </a:lnTo>
                  <a:lnTo>
                    <a:pt x="12" y="16"/>
                  </a:lnTo>
                  <a:lnTo>
                    <a:pt x="14" y="16"/>
                  </a:lnTo>
                  <a:lnTo>
                    <a:pt x="17" y="16"/>
                  </a:lnTo>
                  <a:lnTo>
                    <a:pt x="17" y="14"/>
                  </a:lnTo>
                  <a:lnTo>
                    <a:pt x="19" y="14"/>
                  </a:lnTo>
                  <a:lnTo>
                    <a:pt x="19" y="12"/>
                  </a:lnTo>
                  <a:lnTo>
                    <a:pt x="22" y="12"/>
                  </a:lnTo>
                  <a:lnTo>
                    <a:pt x="24" y="12"/>
                  </a:lnTo>
                  <a:lnTo>
                    <a:pt x="24" y="14"/>
                  </a:lnTo>
                  <a:lnTo>
                    <a:pt x="26" y="14"/>
                  </a:lnTo>
                  <a:lnTo>
                    <a:pt x="26" y="12"/>
                  </a:lnTo>
                  <a:lnTo>
                    <a:pt x="26" y="9"/>
                  </a:lnTo>
                  <a:lnTo>
                    <a:pt x="26" y="7"/>
                  </a:lnTo>
                  <a:lnTo>
                    <a:pt x="26" y="4"/>
                  </a:lnTo>
                  <a:lnTo>
                    <a:pt x="26" y="2"/>
                  </a:lnTo>
                  <a:lnTo>
                    <a:pt x="29" y="2"/>
                  </a:lnTo>
                  <a:lnTo>
                    <a:pt x="26" y="2"/>
                  </a:lnTo>
                  <a:lnTo>
                    <a:pt x="29" y="2"/>
                  </a:lnTo>
                  <a:lnTo>
                    <a:pt x="26" y="2"/>
                  </a:lnTo>
                  <a:lnTo>
                    <a:pt x="26" y="0"/>
                  </a:lnTo>
                  <a:lnTo>
                    <a:pt x="2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6" name="Freeform 57968"/>
            <p:cNvSpPr>
              <a:spLocks noEditPoints="1"/>
            </p:cNvSpPr>
            <p:nvPr/>
          </p:nvSpPr>
          <p:spPr bwMode="auto">
            <a:xfrm>
              <a:off x="1776414" y="4614868"/>
              <a:ext cx="682625" cy="660400"/>
            </a:xfrm>
            <a:custGeom>
              <a:avLst/>
              <a:gdLst>
                <a:gd name="T0" fmla="*/ 332 w 430"/>
                <a:gd name="T1" fmla="*/ 373 h 416"/>
                <a:gd name="T2" fmla="*/ 261 w 430"/>
                <a:gd name="T3" fmla="*/ 380 h 416"/>
                <a:gd name="T4" fmla="*/ 256 w 430"/>
                <a:gd name="T5" fmla="*/ 392 h 416"/>
                <a:gd name="T6" fmla="*/ 245 w 430"/>
                <a:gd name="T7" fmla="*/ 413 h 416"/>
                <a:gd name="T8" fmla="*/ 207 w 430"/>
                <a:gd name="T9" fmla="*/ 404 h 416"/>
                <a:gd name="T10" fmla="*/ 169 w 430"/>
                <a:gd name="T11" fmla="*/ 399 h 416"/>
                <a:gd name="T12" fmla="*/ 124 w 430"/>
                <a:gd name="T13" fmla="*/ 385 h 416"/>
                <a:gd name="T14" fmla="*/ 100 w 430"/>
                <a:gd name="T15" fmla="*/ 366 h 416"/>
                <a:gd name="T16" fmla="*/ 114 w 430"/>
                <a:gd name="T17" fmla="*/ 330 h 416"/>
                <a:gd name="T18" fmla="*/ 119 w 430"/>
                <a:gd name="T19" fmla="*/ 271 h 416"/>
                <a:gd name="T20" fmla="*/ 145 w 430"/>
                <a:gd name="T21" fmla="*/ 306 h 416"/>
                <a:gd name="T22" fmla="*/ 150 w 430"/>
                <a:gd name="T23" fmla="*/ 299 h 416"/>
                <a:gd name="T24" fmla="*/ 119 w 430"/>
                <a:gd name="T25" fmla="*/ 261 h 416"/>
                <a:gd name="T26" fmla="*/ 124 w 430"/>
                <a:gd name="T27" fmla="*/ 247 h 416"/>
                <a:gd name="T28" fmla="*/ 100 w 430"/>
                <a:gd name="T29" fmla="*/ 221 h 416"/>
                <a:gd name="T30" fmla="*/ 90 w 430"/>
                <a:gd name="T31" fmla="*/ 185 h 416"/>
                <a:gd name="T32" fmla="*/ 98 w 430"/>
                <a:gd name="T33" fmla="*/ 188 h 416"/>
                <a:gd name="T34" fmla="*/ 79 w 430"/>
                <a:gd name="T35" fmla="*/ 183 h 416"/>
                <a:gd name="T36" fmla="*/ 69 w 430"/>
                <a:gd name="T37" fmla="*/ 173 h 416"/>
                <a:gd name="T38" fmla="*/ 67 w 430"/>
                <a:gd name="T39" fmla="*/ 166 h 416"/>
                <a:gd name="T40" fmla="*/ 55 w 430"/>
                <a:gd name="T41" fmla="*/ 176 h 416"/>
                <a:gd name="T42" fmla="*/ 50 w 430"/>
                <a:gd name="T43" fmla="*/ 164 h 416"/>
                <a:gd name="T44" fmla="*/ 33 w 430"/>
                <a:gd name="T45" fmla="*/ 161 h 416"/>
                <a:gd name="T46" fmla="*/ 14 w 430"/>
                <a:gd name="T47" fmla="*/ 159 h 416"/>
                <a:gd name="T48" fmla="*/ 10 w 430"/>
                <a:gd name="T49" fmla="*/ 138 h 416"/>
                <a:gd name="T50" fmla="*/ 19 w 430"/>
                <a:gd name="T51" fmla="*/ 138 h 416"/>
                <a:gd name="T52" fmla="*/ 12 w 430"/>
                <a:gd name="T53" fmla="*/ 131 h 416"/>
                <a:gd name="T54" fmla="*/ 7 w 430"/>
                <a:gd name="T55" fmla="*/ 121 h 416"/>
                <a:gd name="T56" fmla="*/ 26 w 430"/>
                <a:gd name="T57" fmla="*/ 119 h 416"/>
                <a:gd name="T58" fmla="*/ 41 w 430"/>
                <a:gd name="T59" fmla="*/ 109 h 416"/>
                <a:gd name="T60" fmla="*/ 57 w 430"/>
                <a:gd name="T61" fmla="*/ 112 h 416"/>
                <a:gd name="T62" fmla="*/ 76 w 430"/>
                <a:gd name="T63" fmla="*/ 121 h 416"/>
                <a:gd name="T64" fmla="*/ 90 w 430"/>
                <a:gd name="T65" fmla="*/ 121 h 416"/>
                <a:gd name="T66" fmla="*/ 107 w 430"/>
                <a:gd name="T67" fmla="*/ 112 h 416"/>
                <a:gd name="T68" fmla="*/ 98 w 430"/>
                <a:gd name="T69" fmla="*/ 76 h 416"/>
                <a:gd name="T70" fmla="*/ 116 w 430"/>
                <a:gd name="T71" fmla="*/ 78 h 416"/>
                <a:gd name="T72" fmla="*/ 166 w 430"/>
                <a:gd name="T73" fmla="*/ 81 h 416"/>
                <a:gd name="T74" fmla="*/ 166 w 430"/>
                <a:gd name="T75" fmla="*/ 81 h 416"/>
                <a:gd name="T76" fmla="*/ 183 w 430"/>
                <a:gd name="T77" fmla="*/ 59 h 416"/>
                <a:gd name="T78" fmla="*/ 209 w 430"/>
                <a:gd name="T79" fmla="*/ 35 h 416"/>
                <a:gd name="T80" fmla="*/ 228 w 430"/>
                <a:gd name="T81" fmla="*/ 5 h 416"/>
                <a:gd name="T82" fmla="*/ 254 w 430"/>
                <a:gd name="T83" fmla="*/ 19 h 416"/>
                <a:gd name="T84" fmla="*/ 283 w 430"/>
                <a:gd name="T85" fmla="*/ 35 h 416"/>
                <a:gd name="T86" fmla="*/ 309 w 430"/>
                <a:gd name="T87" fmla="*/ 54 h 416"/>
                <a:gd name="T88" fmla="*/ 332 w 430"/>
                <a:gd name="T89" fmla="*/ 69 h 416"/>
                <a:gd name="T90" fmla="*/ 370 w 430"/>
                <a:gd name="T91" fmla="*/ 81 h 416"/>
                <a:gd name="T92" fmla="*/ 399 w 430"/>
                <a:gd name="T93" fmla="*/ 95 h 416"/>
                <a:gd name="T94" fmla="*/ 415 w 430"/>
                <a:gd name="T95" fmla="*/ 119 h 416"/>
                <a:gd name="T96" fmla="*/ 406 w 430"/>
                <a:gd name="T97" fmla="*/ 176 h 416"/>
                <a:gd name="T98" fmla="*/ 385 w 430"/>
                <a:gd name="T99" fmla="*/ 190 h 416"/>
                <a:gd name="T100" fmla="*/ 361 w 430"/>
                <a:gd name="T101" fmla="*/ 228 h 416"/>
                <a:gd name="T102" fmla="*/ 382 w 430"/>
                <a:gd name="T103" fmla="*/ 228 h 416"/>
                <a:gd name="T104" fmla="*/ 389 w 430"/>
                <a:gd name="T105" fmla="*/ 268 h 416"/>
                <a:gd name="T106" fmla="*/ 389 w 430"/>
                <a:gd name="T107" fmla="*/ 302 h 416"/>
                <a:gd name="T108" fmla="*/ 408 w 430"/>
                <a:gd name="T109" fmla="*/ 332 h 416"/>
                <a:gd name="T110" fmla="*/ 394 w 430"/>
                <a:gd name="T111" fmla="*/ 354 h 416"/>
                <a:gd name="T112" fmla="*/ 377 w 430"/>
                <a:gd name="T113" fmla="*/ 368 h 416"/>
                <a:gd name="T114" fmla="*/ 351 w 430"/>
                <a:gd name="T115" fmla="*/ 380 h 416"/>
                <a:gd name="T116" fmla="*/ 330 w 430"/>
                <a:gd name="T117" fmla="*/ 370 h 416"/>
                <a:gd name="T118" fmla="*/ 323 w 430"/>
                <a:gd name="T119" fmla="*/ 363 h 416"/>
                <a:gd name="T120" fmla="*/ 311 w 430"/>
                <a:gd name="T121" fmla="*/ 349 h 416"/>
                <a:gd name="T122" fmla="*/ 309 w 430"/>
                <a:gd name="T123" fmla="*/ 36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0" h="416">
                  <a:moveTo>
                    <a:pt x="370" y="385"/>
                  </a:moveTo>
                  <a:lnTo>
                    <a:pt x="368" y="385"/>
                  </a:lnTo>
                  <a:lnTo>
                    <a:pt x="370" y="385"/>
                  </a:lnTo>
                  <a:close/>
                  <a:moveTo>
                    <a:pt x="363" y="385"/>
                  </a:moveTo>
                  <a:lnTo>
                    <a:pt x="361" y="385"/>
                  </a:lnTo>
                  <a:lnTo>
                    <a:pt x="363" y="385"/>
                  </a:lnTo>
                  <a:lnTo>
                    <a:pt x="363" y="382"/>
                  </a:lnTo>
                  <a:lnTo>
                    <a:pt x="363" y="385"/>
                  </a:lnTo>
                  <a:close/>
                  <a:moveTo>
                    <a:pt x="373" y="382"/>
                  </a:moveTo>
                  <a:lnTo>
                    <a:pt x="370" y="382"/>
                  </a:lnTo>
                  <a:lnTo>
                    <a:pt x="370" y="385"/>
                  </a:lnTo>
                  <a:lnTo>
                    <a:pt x="370" y="382"/>
                  </a:lnTo>
                  <a:lnTo>
                    <a:pt x="373" y="382"/>
                  </a:lnTo>
                  <a:close/>
                  <a:moveTo>
                    <a:pt x="349" y="382"/>
                  </a:moveTo>
                  <a:lnTo>
                    <a:pt x="349" y="380"/>
                  </a:lnTo>
                  <a:lnTo>
                    <a:pt x="349" y="382"/>
                  </a:lnTo>
                  <a:close/>
                  <a:moveTo>
                    <a:pt x="349" y="380"/>
                  </a:moveTo>
                  <a:lnTo>
                    <a:pt x="349" y="382"/>
                  </a:lnTo>
                  <a:lnTo>
                    <a:pt x="349" y="380"/>
                  </a:lnTo>
                  <a:close/>
                  <a:moveTo>
                    <a:pt x="344" y="378"/>
                  </a:moveTo>
                  <a:lnTo>
                    <a:pt x="342" y="378"/>
                  </a:lnTo>
                  <a:lnTo>
                    <a:pt x="344" y="378"/>
                  </a:lnTo>
                  <a:close/>
                  <a:moveTo>
                    <a:pt x="335" y="378"/>
                  </a:moveTo>
                  <a:lnTo>
                    <a:pt x="335" y="375"/>
                  </a:lnTo>
                  <a:lnTo>
                    <a:pt x="335" y="378"/>
                  </a:lnTo>
                  <a:close/>
                  <a:moveTo>
                    <a:pt x="335" y="375"/>
                  </a:moveTo>
                  <a:lnTo>
                    <a:pt x="332" y="375"/>
                  </a:lnTo>
                  <a:lnTo>
                    <a:pt x="335" y="375"/>
                  </a:lnTo>
                  <a:close/>
                  <a:moveTo>
                    <a:pt x="332" y="370"/>
                  </a:moveTo>
                  <a:lnTo>
                    <a:pt x="332" y="373"/>
                  </a:lnTo>
                  <a:lnTo>
                    <a:pt x="332" y="370"/>
                  </a:lnTo>
                  <a:lnTo>
                    <a:pt x="332" y="373"/>
                  </a:lnTo>
                  <a:lnTo>
                    <a:pt x="332" y="370"/>
                  </a:lnTo>
                  <a:close/>
                  <a:moveTo>
                    <a:pt x="335" y="370"/>
                  </a:moveTo>
                  <a:lnTo>
                    <a:pt x="335" y="368"/>
                  </a:lnTo>
                  <a:lnTo>
                    <a:pt x="332" y="368"/>
                  </a:lnTo>
                  <a:lnTo>
                    <a:pt x="335" y="368"/>
                  </a:lnTo>
                  <a:lnTo>
                    <a:pt x="335" y="370"/>
                  </a:lnTo>
                  <a:close/>
                  <a:moveTo>
                    <a:pt x="392" y="361"/>
                  </a:moveTo>
                  <a:lnTo>
                    <a:pt x="389" y="361"/>
                  </a:lnTo>
                  <a:lnTo>
                    <a:pt x="392" y="361"/>
                  </a:lnTo>
                  <a:close/>
                  <a:moveTo>
                    <a:pt x="280" y="366"/>
                  </a:moveTo>
                  <a:lnTo>
                    <a:pt x="278" y="366"/>
                  </a:lnTo>
                  <a:lnTo>
                    <a:pt x="278" y="368"/>
                  </a:lnTo>
                  <a:lnTo>
                    <a:pt x="275" y="370"/>
                  </a:lnTo>
                  <a:lnTo>
                    <a:pt x="273" y="370"/>
                  </a:lnTo>
                  <a:lnTo>
                    <a:pt x="273" y="373"/>
                  </a:lnTo>
                  <a:lnTo>
                    <a:pt x="273" y="370"/>
                  </a:lnTo>
                  <a:lnTo>
                    <a:pt x="273" y="373"/>
                  </a:lnTo>
                  <a:lnTo>
                    <a:pt x="271" y="370"/>
                  </a:lnTo>
                  <a:lnTo>
                    <a:pt x="268" y="370"/>
                  </a:lnTo>
                  <a:lnTo>
                    <a:pt x="268" y="373"/>
                  </a:lnTo>
                  <a:lnTo>
                    <a:pt x="268" y="370"/>
                  </a:lnTo>
                  <a:lnTo>
                    <a:pt x="268" y="373"/>
                  </a:lnTo>
                  <a:lnTo>
                    <a:pt x="266" y="373"/>
                  </a:lnTo>
                  <a:lnTo>
                    <a:pt x="266" y="375"/>
                  </a:lnTo>
                  <a:lnTo>
                    <a:pt x="264" y="375"/>
                  </a:lnTo>
                  <a:lnTo>
                    <a:pt x="264" y="378"/>
                  </a:lnTo>
                  <a:lnTo>
                    <a:pt x="261" y="378"/>
                  </a:lnTo>
                  <a:lnTo>
                    <a:pt x="261" y="380"/>
                  </a:lnTo>
                  <a:lnTo>
                    <a:pt x="259" y="382"/>
                  </a:lnTo>
                  <a:lnTo>
                    <a:pt x="259" y="380"/>
                  </a:lnTo>
                  <a:lnTo>
                    <a:pt x="256" y="380"/>
                  </a:lnTo>
                  <a:lnTo>
                    <a:pt x="256" y="382"/>
                  </a:lnTo>
                  <a:lnTo>
                    <a:pt x="256" y="380"/>
                  </a:lnTo>
                  <a:lnTo>
                    <a:pt x="256" y="382"/>
                  </a:lnTo>
                  <a:lnTo>
                    <a:pt x="256" y="380"/>
                  </a:lnTo>
                  <a:lnTo>
                    <a:pt x="256" y="378"/>
                  </a:lnTo>
                  <a:lnTo>
                    <a:pt x="256" y="380"/>
                  </a:lnTo>
                  <a:lnTo>
                    <a:pt x="254" y="380"/>
                  </a:lnTo>
                  <a:lnTo>
                    <a:pt x="256" y="380"/>
                  </a:lnTo>
                  <a:lnTo>
                    <a:pt x="256" y="382"/>
                  </a:lnTo>
                  <a:lnTo>
                    <a:pt x="256" y="380"/>
                  </a:lnTo>
                  <a:lnTo>
                    <a:pt x="256" y="382"/>
                  </a:lnTo>
                  <a:lnTo>
                    <a:pt x="259" y="382"/>
                  </a:lnTo>
                  <a:lnTo>
                    <a:pt x="256" y="382"/>
                  </a:lnTo>
                  <a:lnTo>
                    <a:pt x="259" y="382"/>
                  </a:lnTo>
                  <a:lnTo>
                    <a:pt x="259" y="385"/>
                  </a:lnTo>
                  <a:lnTo>
                    <a:pt x="259" y="387"/>
                  </a:lnTo>
                  <a:lnTo>
                    <a:pt x="259" y="389"/>
                  </a:lnTo>
                  <a:lnTo>
                    <a:pt x="259" y="392"/>
                  </a:lnTo>
                  <a:lnTo>
                    <a:pt x="259" y="389"/>
                  </a:lnTo>
                  <a:lnTo>
                    <a:pt x="256" y="389"/>
                  </a:lnTo>
                  <a:lnTo>
                    <a:pt x="256" y="387"/>
                  </a:lnTo>
                  <a:lnTo>
                    <a:pt x="256" y="389"/>
                  </a:lnTo>
                  <a:lnTo>
                    <a:pt x="256" y="392"/>
                  </a:lnTo>
                  <a:lnTo>
                    <a:pt x="254" y="392"/>
                  </a:lnTo>
                  <a:lnTo>
                    <a:pt x="256" y="392"/>
                  </a:lnTo>
                  <a:lnTo>
                    <a:pt x="256" y="394"/>
                  </a:lnTo>
                  <a:lnTo>
                    <a:pt x="256" y="392"/>
                  </a:lnTo>
                  <a:lnTo>
                    <a:pt x="259" y="392"/>
                  </a:lnTo>
                  <a:lnTo>
                    <a:pt x="259" y="389"/>
                  </a:lnTo>
                  <a:lnTo>
                    <a:pt x="259" y="392"/>
                  </a:lnTo>
                  <a:lnTo>
                    <a:pt x="259" y="394"/>
                  </a:lnTo>
                  <a:lnTo>
                    <a:pt x="259" y="397"/>
                  </a:lnTo>
                  <a:lnTo>
                    <a:pt x="259" y="399"/>
                  </a:lnTo>
                  <a:lnTo>
                    <a:pt x="259" y="401"/>
                  </a:lnTo>
                  <a:lnTo>
                    <a:pt x="259" y="404"/>
                  </a:lnTo>
                  <a:lnTo>
                    <a:pt x="259" y="401"/>
                  </a:lnTo>
                  <a:lnTo>
                    <a:pt x="259" y="404"/>
                  </a:lnTo>
                  <a:lnTo>
                    <a:pt x="259" y="406"/>
                  </a:lnTo>
                  <a:lnTo>
                    <a:pt x="261" y="406"/>
                  </a:lnTo>
                  <a:lnTo>
                    <a:pt x="261" y="408"/>
                  </a:lnTo>
                  <a:lnTo>
                    <a:pt x="261" y="411"/>
                  </a:lnTo>
                  <a:lnTo>
                    <a:pt x="264" y="411"/>
                  </a:lnTo>
                  <a:lnTo>
                    <a:pt x="261" y="411"/>
                  </a:lnTo>
                  <a:lnTo>
                    <a:pt x="259" y="411"/>
                  </a:lnTo>
                  <a:lnTo>
                    <a:pt x="259" y="408"/>
                  </a:lnTo>
                  <a:lnTo>
                    <a:pt x="256" y="408"/>
                  </a:lnTo>
                  <a:lnTo>
                    <a:pt x="254" y="408"/>
                  </a:lnTo>
                  <a:lnTo>
                    <a:pt x="252" y="408"/>
                  </a:lnTo>
                  <a:lnTo>
                    <a:pt x="252" y="411"/>
                  </a:lnTo>
                  <a:lnTo>
                    <a:pt x="249" y="411"/>
                  </a:lnTo>
                  <a:lnTo>
                    <a:pt x="247" y="411"/>
                  </a:lnTo>
                  <a:lnTo>
                    <a:pt x="247" y="413"/>
                  </a:lnTo>
                  <a:lnTo>
                    <a:pt x="245" y="413"/>
                  </a:lnTo>
                  <a:lnTo>
                    <a:pt x="247" y="413"/>
                  </a:lnTo>
                  <a:lnTo>
                    <a:pt x="247" y="416"/>
                  </a:lnTo>
                  <a:lnTo>
                    <a:pt x="245" y="416"/>
                  </a:lnTo>
                  <a:lnTo>
                    <a:pt x="245" y="413"/>
                  </a:lnTo>
                  <a:lnTo>
                    <a:pt x="242" y="413"/>
                  </a:lnTo>
                  <a:lnTo>
                    <a:pt x="242" y="416"/>
                  </a:lnTo>
                  <a:lnTo>
                    <a:pt x="240" y="416"/>
                  </a:lnTo>
                  <a:lnTo>
                    <a:pt x="240" y="413"/>
                  </a:lnTo>
                  <a:lnTo>
                    <a:pt x="238" y="413"/>
                  </a:lnTo>
                  <a:lnTo>
                    <a:pt x="238" y="411"/>
                  </a:lnTo>
                  <a:lnTo>
                    <a:pt x="235" y="411"/>
                  </a:lnTo>
                  <a:lnTo>
                    <a:pt x="233" y="411"/>
                  </a:lnTo>
                  <a:lnTo>
                    <a:pt x="230" y="411"/>
                  </a:lnTo>
                  <a:lnTo>
                    <a:pt x="228" y="411"/>
                  </a:lnTo>
                  <a:lnTo>
                    <a:pt x="228" y="413"/>
                  </a:lnTo>
                  <a:lnTo>
                    <a:pt x="226" y="413"/>
                  </a:lnTo>
                  <a:lnTo>
                    <a:pt x="223" y="413"/>
                  </a:lnTo>
                  <a:lnTo>
                    <a:pt x="223" y="411"/>
                  </a:lnTo>
                  <a:lnTo>
                    <a:pt x="221" y="411"/>
                  </a:lnTo>
                  <a:lnTo>
                    <a:pt x="221" y="408"/>
                  </a:lnTo>
                  <a:lnTo>
                    <a:pt x="219" y="408"/>
                  </a:lnTo>
                  <a:lnTo>
                    <a:pt x="216" y="408"/>
                  </a:lnTo>
                  <a:lnTo>
                    <a:pt x="214" y="408"/>
                  </a:lnTo>
                  <a:lnTo>
                    <a:pt x="214" y="406"/>
                  </a:lnTo>
                  <a:lnTo>
                    <a:pt x="216" y="406"/>
                  </a:lnTo>
                  <a:lnTo>
                    <a:pt x="216" y="404"/>
                  </a:lnTo>
                  <a:lnTo>
                    <a:pt x="214" y="404"/>
                  </a:lnTo>
                  <a:lnTo>
                    <a:pt x="216" y="404"/>
                  </a:lnTo>
                  <a:lnTo>
                    <a:pt x="216" y="401"/>
                  </a:lnTo>
                  <a:lnTo>
                    <a:pt x="214" y="401"/>
                  </a:lnTo>
                  <a:lnTo>
                    <a:pt x="211" y="401"/>
                  </a:lnTo>
                  <a:lnTo>
                    <a:pt x="209" y="401"/>
                  </a:lnTo>
                  <a:lnTo>
                    <a:pt x="207" y="401"/>
                  </a:lnTo>
                  <a:lnTo>
                    <a:pt x="207" y="404"/>
                  </a:lnTo>
                  <a:lnTo>
                    <a:pt x="204" y="404"/>
                  </a:lnTo>
                  <a:lnTo>
                    <a:pt x="204" y="401"/>
                  </a:lnTo>
                  <a:lnTo>
                    <a:pt x="204" y="399"/>
                  </a:lnTo>
                  <a:lnTo>
                    <a:pt x="202" y="399"/>
                  </a:lnTo>
                  <a:lnTo>
                    <a:pt x="202" y="397"/>
                  </a:lnTo>
                  <a:lnTo>
                    <a:pt x="200" y="397"/>
                  </a:lnTo>
                  <a:lnTo>
                    <a:pt x="197" y="397"/>
                  </a:lnTo>
                  <a:lnTo>
                    <a:pt x="197" y="399"/>
                  </a:lnTo>
                  <a:lnTo>
                    <a:pt x="195" y="397"/>
                  </a:lnTo>
                  <a:lnTo>
                    <a:pt x="195" y="394"/>
                  </a:lnTo>
                  <a:lnTo>
                    <a:pt x="192" y="394"/>
                  </a:lnTo>
                  <a:lnTo>
                    <a:pt x="190" y="394"/>
                  </a:lnTo>
                  <a:lnTo>
                    <a:pt x="188" y="394"/>
                  </a:lnTo>
                  <a:lnTo>
                    <a:pt x="188" y="392"/>
                  </a:lnTo>
                  <a:lnTo>
                    <a:pt x="185" y="392"/>
                  </a:lnTo>
                  <a:lnTo>
                    <a:pt x="183" y="392"/>
                  </a:lnTo>
                  <a:lnTo>
                    <a:pt x="181" y="392"/>
                  </a:lnTo>
                  <a:lnTo>
                    <a:pt x="181" y="394"/>
                  </a:lnTo>
                  <a:lnTo>
                    <a:pt x="178" y="394"/>
                  </a:lnTo>
                  <a:lnTo>
                    <a:pt x="181" y="394"/>
                  </a:lnTo>
                  <a:lnTo>
                    <a:pt x="178" y="397"/>
                  </a:lnTo>
                  <a:lnTo>
                    <a:pt x="181" y="397"/>
                  </a:lnTo>
                  <a:lnTo>
                    <a:pt x="181" y="399"/>
                  </a:lnTo>
                  <a:lnTo>
                    <a:pt x="178" y="399"/>
                  </a:lnTo>
                  <a:lnTo>
                    <a:pt x="176" y="399"/>
                  </a:lnTo>
                  <a:lnTo>
                    <a:pt x="173" y="399"/>
                  </a:lnTo>
                  <a:lnTo>
                    <a:pt x="171" y="399"/>
                  </a:lnTo>
                  <a:lnTo>
                    <a:pt x="171" y="397"/>
                  </a:lnTo>
                  <a:lnTo>
                    <a:pt x="169" y="397"/>
                  </a:lnTo>
                  <a:lnTo>
                    <a:pt x="169" y="399"/>
                  </a:lnTo>
                  <a:lnTo>
                    <a:pt x="166" y="399"/>
                  </a:lnTo>
                  <a:lnTo>
                    <a:pt x="166" y="397"/>
                  </a:lnTo>
                  <a:lnTo>
                    <a:pt x="164" y="397"/>
                  </a:lnTo>
                  <a:lnTo>
                    <a:pt x="162" y="397"/>
                  </a:lnTo>
                  <a:lnTo>
                    <a:pt x="159" y="397"/>
                  </a:lnTo>
                  <a:lnTo>
                    <a:pt x="159" y="399"/>
                  </a:lnTo>
                  <a:lnTo>
                    <a:pt x="157" y="399"/>
                  </a:lnTo>
                  <a:lnTo>
                    <a:pt x="154" y="397"/>
                  </a:lnTo>
                  <a:lnTo>
                    <a:pt x="152" y="394"/>
                  </a:lnTo>
                  <a:lnTo>
                    <a:pt x="150" y="394"/>
                  </a:lnTo>
                  <a:lnTo>
                    <a:pt x="150" y="392"/>
                  </a:lnTo>
                  <a:lnTo>
                    <a:pt x="147" y="392"/>
                  </a:lnTo>
                  <a:lnTo>
                    <a:pt x="145" y="392"/>
                  </a:lnTo>
                  <a:lnTo>
                    <a:pt x="145" y="394"/>
                  </a:lnTo>
                  <a:lnTo>
                    <a:pt x="143" y="394"/>
                  </a:lnTo>
                  <a:lnTo>
                    <a:pt x="143" y="392"/>
                  </a:lnTo>
                  <a:lnTo>
                    <a:pt x="140" y="392"/>
                  </a:lnTo>
                  <a:lnTo>
                    <a:pt x="140" y="394"/>
                  </a:lnTo>
                  <a:lnTo>
                    <a:pt x="138" y="394"/>
                  </a:lnTo>
                  <a:lnTo>
                    <a:pt x="138" y="392"/>
                  </a:lnTo>
                  <a:lnTo>
                    <a:pt x="135" y="392"/>
                  </a:lnTo>
                  <a:lnTo>
                    <a:pt x="135" y="389"/>
                  </a:lnTo>
                  <a:lnTo>
                    <a:pt x="133" y="389"/>
                  </a:lnTo>
                  <a:lnTo>
                    <a:pt x="133" y="387"/>
                  </a:lnTo>
                  <a:lnTo>
                    <a:pt x="133" y="385"/>
                  </a:lnTo>
                  <a:lnTo>
                    <a:pt x="131" y="387"/>
                  </a:lnTo>
                  <a:lnTo>
                    <a:pt x="128" y="387"/>
                  </a:lnTo>
                  <a:lnTo>
                    <a:pt x="126" y="387"/>
                  </a:lnTo>
                  <a:lnTo>
                    <a:pt x="126" y="385"/>
                  </a:lnTo>
                  <a:lnTo>
                    <a:pt x="124" y="385"/>
                  </a:lnTo>
                  <a:lnTo>
                    <a:pt x="121" y="385"/>
                  </a:lnTo>
                  <a:lnTo>
                    <a:pt x="121" y="382"/>
                  </a:lnTo>
                  <a:lnTo>
                    <a:pt x="121" y="385"/>
                  </a:lnTo>
                  <a:lnTo>
                    <a:pt x="119" y="385"/>
                  </a:lnTo>
                  <a:lnTo>
                    <a:pt x="121" y="382"/>
                  </a:lnTo>
                  <a:lnTo>
                    <a:pt x="119" y="382"/>
                  </a:lnTo>
                  <a:lnTo>
                    <a:pt x="116" y="382"/>
                  </a:lnTo>
                  <a:lnTo>
                    <a:pt x="114" y="382"/>
                  </a:lnTo>
                  <a:lnTo>
                    <a:pt x="114" y="380"/>
                  </a:lnTo>
                  <a:lnTo>
                    <a:pt x="116" y="380"/>
                  </a:lnTo>
                  <a:lnTo>
                    <a:pt x="114" y="380"/>
                  </a:lnTo>
                  <a:lnTo>
                    <a:pt x="114" y="382"/>
                  </a:lnTo>
                  <a:lnTo>
                    <a:pt x="109" y="382"/>
                  </a:lnTo>
                  <a:lnTo>
                    <a:pt x="109" y="380"/>
                  </a:lnTo>
                  <a:lnTo>
                    <a:pt x="112" y="380"/>
                  </a:lnTo>
                  <a:lnTo>
                    <a:pt x="112" y="378"/>
                  </a:lnTo>
                  <a:lnTo>
                    <a:pt x="112" y="375"/>
                  </a:lnTo>
                  <a:lnTo>
                    <a:pt x="112" y="373"/>
                  </a:lnTo>
                  <a:lnTo>
                    <a:pt x="109" y="373"/>
                  </a:lnTo>
                  <a:lnTo>
                    <a:pt x="109" y="370"/>
                  </a:lnTo>
                  <a:lnTo>
                    <a:pt x="107" y="370"/>
                  </a:lnTo>
                  <a:lnTo>
                    <a:pt x="107" y="373"/>
                  </a:lnTo>
                  <a:lnTo>
                    <a:pt x="105" y="373"/>
                  </a:lnTo>
                  <a:lnTo>
                    <a:pt x="105" y="370"/>
                  </a:lnTo>
                  <a:lnTo>
                    <a:pt x="102" y="370"/>
                  </a:lnTo>
                  <a:lnTo>
                    <a:pt x="100" y="370"/>
                  </a:lnTo>
                  <a:lnTo>
                    <a:pt x="100" y="368"/>
                  </a:lnTo>
                  <a:lnTo>
                    <a:pt x="100" y="366"/>
                  </a:lnTo>
                  <a:lnTo>
                    <a:pt x="100" y="368"/>
                  </a:lnTo>
                  <a:lnTo>
                    <a:pt x="100" y="366"/>
                  </a:lnTo>
                  <a:lnTo>
                    <a:pt x="102" y="366"/>
                  </a:lnTo>
                  <a:lnTo>
                    <a:pt x="105" y="366"/>
                  </a:lnTo>
                  <a:lnTo>
                    <a:pt x="105" y="363"/>
                  </a:lnTo>
                  <a:lnTo>
                    <a:pt x="107" y="363"/>
                  </a:lnTo>
                  <a:lnTo>
                    <a:pt x="107" y="361"/>
                  </a:lnTo>
                  <a:lnTo>
                    <a:pt x="109" y="361"/>
                  </a:lnTo>
                  <a:lnTo>
                    <a:pt x="109" y="363"/>
                  </a:lnTo>
                  <a:lnTo>
                    <a:pt x="109" y="361"/>
                  </a:lnTo>
                  <a:lnTo>
                    <a:pt x="112" y="361"/>
                  </a:lnTo>
                  <a:lnTo>
                    <a:pt x="114" y="361"/>
                  </a:lnTo>
                  <a:lnTo>
                    <a:pt x="116" y="361"/>
                  </a:lnTo>
                  <a:lnTo>
                    <a:pt x="119" y="361"/>
                  </a:lnTo>
                  <a:lnTo>
                    <a:pt x="119" y="359"/>
                  </a:lnTo>
                  <a:lnTo>
                    <a:pt x="116" y="361"/>
                  </a:lnTo>
                  <a:lnTo>
                    <a:pt x="114" y="361"/>
                  </a:lnTo>
                  <a:lnTo>
                    <a:pt x="112" y="361"/>
                  </a:lnTo>
                  <a:lnTo>
                    <a:pt x="109" y="361"/>
                  </a:lnTo>
                  <a:lnTo>
                    <a:pt x="107" y="361"/>
                  </a:lnTo>
                  <a:lnTo>
                    <a:pt x="107" y="359"/>
                  </a:lnTo>
                  <a:lnTo>
                    <a:pt x="109" y="359"/>
                  </a:lnTo>
                  <a:lnTo>
                    <a:pt x="109" y="356"/>
                  </a:lnTo>
                  <a:lnTo>
                    <a:pt x="109" y="354"/>
                  </a:lnTo>
                  <a:lnTo>
                    <a:pt x="109" y="351"/>
                  </a:lnTo>
                  <a:lnTo>
                    <a:pt x="112" y="349"/>
                  </a:lnTo>
                  <a:lnTo>
                    <a:pt x="112" y="344"/>
                  </a:lnTo>
                  <a:lnTo>
                    <a:pt x="112" y="342"/>
                  </a:lnTo>
                  <a:lnTo>
                    <a:pt x="112" y="340"/>
                  </a:lnTo>
                  <a:lnTo>
                    <a:pt x="114" y="337"/>
                  </a:lnTo>
                  <a:lnTo>
                    <a:pt x="114" y="332"/>
                  </a:lnTo>
                  <a:lnTo>
                    <a:pt x="114" y="330"/>
                  </a:lnTo>
                  <a:lnTo>
                    <a:pt x="116" y="321"/>
                  </a:lnTo>
                  <a:lnTo>
                    <a:pt x="116" y="316"/>
                  </a:lnTo>
                  <a:lnTo>
                    <a:pt x="116" y="313"/>
                  </a:lnTo>
                  <a:lnTo>
                    <a:pt x="116" y="311"/>
                  </a:lnTo>
                  <a:lnTo>
                    <a:pt x="119" y="311"/>
                  </a:lnTo>
                  <a:lnTo>
                    <a:pt x="119" y="309"/>
                  </a:lnTo>
                  <a:lnTo>
                    <a:pt x="119" y="306"/>
                  </a:lnTo>
                  <a:lnTo>
                    <a:pt x="119" y="309"/>
                  </a:lnTo>
                  <a:lnTo>
                    <a:pt x="119" y="306"/>
                  </a:lnTo>
                  <a:lnTo>
                    <a:pt x="121" y="309"/>
                  </a:lnTo>
                  <a:lnTo>
                    <a:pt x="119" y="309"/>
                  </a:lnTo>
                  <a:lnTo>
                    <a:pt x="124" y="309"/>
                  </a:lnTo>
                  <a:lnTo>
                    <a:pt x="124" y="306"/>
                  </a:lnTo>
                  <a:lnTo>
                    <a:pt x="124" y="304"/>
                  </a:lnTo>
                  <a:lnTo>
                    <a:pt x="121" y="304"/>
                  </a:lnTo>
                  <a:lnTo>
                    <a:pt x="119" y="304"/>
                  </a:lnTo>
                  <a:lnTo>
                    <a:pt x="119" y="302"/>
                  </a:lnTo>
                  <a:lnTo>
                    <a:pt x="119" y="304"/>
                  </a:lnTo>
                  <a:lnTo>
                    <a:pt x="119" y="302"/>
                  </a:lnTo>
                  <a:lnTo>
                    <a:pt x="119" y="304"/>
                  </a:lnTo>
                  <a:lnTo>
                    <a:pt x="116" y="306"/>
                  </a:lnTo>
                  <a:lnTo>
                    <a:pt x="116" y="309"/>
                  </a:lnTo>
                  <a:lnTo>
                    <a:pt x="116" y="306"/>
                  </a:lnTo>
                  <a:lnTo>
                    <a:pt x="116" y="299"/>
                  </a:lnTo>
                  <a:lnTo>
                    <a:pt x="119" y="292"/>
                  </a:lnTo>
                  <a:lnTo>
                    <a:pt x="119" y="287"/>
                  </a:lnTo>
                  <a:lnTo>
                    <a:pt x="119" y="278"/>
                  </a:lnTo>
                  <a:lnTo>
                    <a:pt x="119" y="275"/>
                  </a:lnTo>
                  <a:lnTo>
                    <a:pt x="119" y="273"/>
                  </a:lnTo>
                  <a:lnTo>
                    <a:pt x="119" y="271"/>
                  </a:lnTo>
                  <a:lnTo>
                    <a:pt x="119" y="268"/>
                  </a:lnTo>
                  <a:lnTo>
                    <a:pt x="121" y="268"/>
                  </a:lnTo>
                  <a:lnTo>
                    <a:pt x="121" y="266"/>
                  </a:lnTo>
                  <a:lnTo>
                    <a:pt x="124" y="266"/>
                  </a:lnTo>
                  <a:lnTo>
                    <a:pt x="124" y="268"/>
                  </a:lnTo>
                  <a:lnTo>
                    <a:pt x="126" y="271"/>
                  </a:lnTo>
                  <a:lnTo>
                    <a:pt x="124" y="271"/>
                  </a:lnTo>
                  <a:lnTo>
                    <a:pt x="126" y="271"/>
                  </a:lnTo>
                  <a:lnTo>
                    <a:pt x="128" y="271"/>
                  </a:lnTo>
                  <a:lnTo>
                    <a:pt x="128" y="273"/>
                  </a:lnTo>
                  <a:lnTo>
                    <a:pt x="131" y="273"/>
                  </a:lnTo>
                  <a:lnTo>
                    <a:pt x="131" y="275"/>
                  </a:lnTo>
                  <a:lnTo>
                    <a:pt x="133" y="278"/>
                  </a:lnTo>
                  <a:lnTo>
                    <a:pt x="133" y="280"/>
                  </a:lnTo>
                  <a:lnTo>
                    <a:pt x="133" y="283"/>
                  </a:lnTo>
                  <a:lnTo>
                    <a:pt x="133" y="285"/>
                  </a:lnTo>
                  <a:lnTo>
                    <a:pt x="135" y="285"/>
                  </a:lnTo>
                  <a:lnTo>
                    <a:pt x="135" y="287"/>
                  </a:lnTo>
                  <a:lnTo>
                    <a:pt x="135" y="290"/>
                  </a:lnTo>
                  <a:lnTo>
                    <a:pt x="138" y="290"/>
                  </a:lnTo>
                  <a:lnTo>
                    <a:pt x="138" y="292"/>
                  </a:lnTo>
                  <a:lnTo>
                    <a:pt x="140" y="292"/>
                  </a:lnTo>
                  <a:lnTo>
                    <a:pt x="140" y="294"/>
                  </a:lnTo>
                  <a:lnTo>
                    <a:pt x="140" y="297"/>
                  </a:lnTo>
                  <a:lnTo>
                    <a:pt x="140" y="299"/>
                  </a:lnTo>
                  <a:lnTo>
                    <a:pt x="140" y="302"/>
                  </a:lnTo>
                  <a:lnTo>
                    <a:pt x="140" y="304"/>
                  </a:lnTo>
                  <a:lnTo>
                    <a:pt x="143" y="304"/>
                  </a:lnTo>
                  <a:lnTo>
                    <a:pt x="143" y="306"/>
                  </a:lnTo>
                  <a:lnTo>
                    <a:pt x="145" y="306"/>
                  </a:lnTo>
                  <a:lnTo>
                    <a:pt x="145" y="309"/>
                  </a:lnTo>
                  <a:lnTo>
                    <a:pt x="147" y="309"/>
                  </a:lnTo>
                  <a:lnTo>
                    <a:pt x="145" y="309"/>
                  </a:lnTo>
                  <a:lnTo>
                    <a:pt x="145" y="306"/>
                  </a:lnTo>
                  <a:lnTo>
                    <a:pt x="143" y="306"/>
                  </a:lnTo>
                  <a:lnTo>
                    <a:pt x="143" y="304"/>
                  </a:lnTo>
                  <a:lnTo>
                    <a:pt x="140" y="304"/>
                  </a:lnTo>
                  <a:lnTo>
                    <a:pt x="140" y="302"/>
                  </a:lnTo>
                  <a:lnTo>
                    <a:pt x="140" y="299"/>
                  </a:lnTo>
                  <a:lnTo>
                    <a:pt x="140" y="297"/>
                  </a:lnTo>
                  <a:lnTo>
                    <a:pt x="140" y="294"/>
                  </a:lnTo>
                  <a:lnTo>
                    <a:pt x="140" y="292"/>
                  </a:lnTo>
                  <a:lnTo>
                    <a:pt x="138" y="290"/>
                  </a:lnTo>
                  <a:lnTo>
                    <a:pt x="140" y="290"/>
                  </a:lnTo>
                  <a:lnTo>
                    <a:pt x="140" y="292"/>
                  </a:lnTo>
                  <a:lnTo>
                    <a:pt x="143" y="292"/>
                  </a:lnTo>
                  <a:lnTo>
                    <a:pt x="143" y="294"/>
                  </a:lnTo>
                  <a:lnTo>
                    <a:pt x="145" y="294"/>
                  </a:lnTo>
                  <a:lnTo>
                    <a:pt x="147" y="294"/>
                  </a:lnTo>
                  <a:lnTo>
                    <a:pt x="147" y="297"/>
                  </a:lnTo>
                  <a:lnTo>
                    <a:pt x="150" y="297"/>
                  </a:lnTo>
                  <a:lnTo>
                    <a:pt x="147" y="297"/>
                  </a:lnTo>
                  <a:lnTo>
                    <a:pt x="147" y="294"/>
                  </a:lnTo>
                  <a:lnTo>
                    <a:pt x="150" y="294"/>
                  </a:lnTo>
                  <a:lnTo>
                    <a:pt x="150" y="297"/>
                  </a:lnTo>
                  <a:lnTo>
                    <a:pt x="152" y="297"/>
                  </a:lnTo>
                  <a:lnTo>
                    <a:pt x="150" y="297"/>
                  </a:lnTo>
                  <a:lnTo>
                    <a:pt x="150" y="299"/>
                  </a:lnTo>
                  <a:lnTo>
                    <a:pt x="152" y="299"/>
                  </a:lnTo>
                  <a:lnTo>
                    <a:pt x="150" y="299"/>
                  </a:lnTo>
                  <a:lnTo>
                    <a:pt x="152" y="297"/>
                  </a:lnTo>
                  <a:lnTo>
                    <a:pt x="150" y="297"/>
                  </a:lnTo>
                  <a:lnTo>
                    <a:pt x="150" y="294"/>
                  </a:lnTo>
                  <a:lnTo>
                    <a:pt x="147" y="294"/>
                  </a:lnTo>
                  <a:lnTo>
                    <a:pt x="147" y="297"/>
                  </a:lnTo>
                  <a:lnTo>
                    <a:pt x="147" y="294"/>
                  </a:lnTo>
                  <a:lnTo>
                    <a:pt x="145" y="294"/>
                  </a:lnTo>
                  <a:lnTo>
                    <a:pt x="143" y="294"/>
                  </a:lnTo>
                  <a:lnTo>
                    <a:pt x="143" y="292"/>
                  </a:lnTo>
                  <a:lnTo>
                    <a:pt x="140" y="292"/>
                  </a:lnTo>
                  <a:lnTo>
                    <a:pt x="140" y="290"/>
                  </a:lnTo>
                  <a:lnTo>
                    <a:pt x="138" y="290"/>
                  </a:lnTo>
                  <a:lnTo>
                    <a:pt x="138" y="287"/>
                  </a:lnTo>
                  <a:lnTo>
                    <a:pt x="135" y="287"/>
                  </a:lnTo>
                  <a:lnTo>
                    <a:pt x="135" y="285"/>
                  </a:lnTo>
                  <a:lnTo>
                    <a:pt x="135" y="280"/>
                  </a:lnTo>
                  <a:lnTo>
                    <a:pt x="135" y="278"/>
                  </a:lnTo>
                  <a:lnTo>
                    <a:pt x="133" y="278"/>
                  </a:lnTo>
                  <a:lnTo>
                    <a:pt x="133" y="275"/>
                  </a:lnTo>
                  <a:lnTo>
                    <a:pt x="133" y="273"/>
                  </a:lnTo>
                  <a:lnTo>
                    <a:pt x="131" y="271"/>
                  </a:lnTo>
                  <a:lnTo>
                    <a:pt x="131" y="268"/>
                  </a:lnTo>
                  <a:lnTo>
                    <a:pt x="128" y="268"/>
                  </a:lnTo>
                  <a:lnTo>
                    <a:pt x="128" y="266"/>
                  </a:lnTo>
                  <a:lnTo>
                    <a:pt x="126" y="266"/>
                  </a:lnTo>
                  <a:lnTo>
                    <a:pt x="126" y="264"/>
                  </a:lnTo>
                  <a:lnTo>
                    <a:pt x="124" y="264"/>
                  </a:lnTo>
                  <a:lnTo>
                    <a:pt x="124" y="261"/>
                  </a:lnTo>
                  <a:lnTo>
                    <a:pt x="121" y="261"/>
                  </a:lnTo>
                  <a:lnTo>
                    <a:pt x="119" y="261"/>
                  </a:lnTo>
                  <a:lnTo>
                    <a:pt x="119" y="259"/>
                  </a:lnTo>
                  <a:lnTo>
                    <a:pt x="116" y="259"/>
                  </a:lnTo>
                  <a:lnTo>
                    <a:pt x="119" y="259"/>
                  </a:lnTo>
                  <a:lnTo>
                    <a:pt x="119" y="261"/>
                  </a:lnTo>
                  <a:lnTo>
                    <a:pt x="119" y="259"/>
                  </a:lnTo>
                  <a:lnTo>
                    <a:pt x="119" y="261"/>
                  </a:lnTo>
                  <a:lnTo>
                    <a:pt x="116" y="261"/>
                  </a:lnTo>
                  <a:lnTo>
                    <a:pt x="116" y="259"/>
                  </a:lnTo>
                  <a:lnTo>
                    <a:pt x="116" y="256"/>
                  </a:lnTo>
                  <a:lnTo>
                    <a:pt x="116" y="254"/>
                  </a:lnTo>
                  <a:lnTo>
                    <a:pt x="119" y="254"/>
                  </a:lnTo>
                  <a:lnTo>
                    <a:pt x="121" y="254"/>
                  </a:lnTo>
                  <a:lnTo>
                    <a:pt x="121" y="256"/>
                  </a:lnTo>
                  <a:lnTo>
                    <a:pt x="124" y="256"/>
                  </a:lnTo>
                  <a:lnTo>
                    <a:pt x="124" y="259"/>
                  </a:lnTo>
                  <a:lnTo>
                    <a:pt x="124" y="256"/>
                  </a:lnTo>
                  <a:lnTo>
                    <a:pt x="121" y="256"/>
                  </a:lnTo>
                  <a:lnTo>
                    <a:pt x="121" y="254"/>
                  </a:lnTo>
                  <a:lnTo>
                    <a:pt x="119" y="254"/>
                  </a:lnTo>
                  <a:lnTo>
                    <a:pt x="119" y="252"/>
                  </a:lnTo>
                  <a:lnTo>
                    <a:pt x="121" y="252"/>
                  </a:lnTo>
                  <a:lnTo>
                    <a:pt x="121" y="249"/>
                  </a:lnTo>
                  <a:lnTo>
                    <a:pt x="124" y="249"/>
                  </a:lnTo>
                  <a:lnTo>
                    <a:pt x="121" y="249"/>
                  </a:lnTo>
                  <a:lnTo>
                    <a:pt x="121" y="247"/>
                  </a:lnTo>
                  <a:lnTo>
                    <a:pt x="124" y="247"/>
                  </a:lnTo>
                  <a:lnTo>
                    <a:pt x="126" y="247"/>
                  </a:lnTo>
                  <a:lnTo>
                    <a:pt x="124" y="247"/>
                  </a:lnTo>
                  <a:lnTo>
                    <a:pt x="126" y="247"/>
                  </a:lnTo>
                  <a:lnTo>
                    <a:pt x="124" y="247"/>
                  </a:lnTo>
                  <a:lnTo>
                    <a:pt x="121" y="247"/>
                  </a:lnTo>
                  <a:lnTo>
                    <a:pt x="121" y="245"/>
                  </a:lnTo>
                  <a:lnTo>
                    <a:pt x="124" y="245"/>
                  </a:lnTo>
                  <a:lnTo>
                    <a:pt x="124" y="242"/>
                  </a:lnTo>
                  <a:lnTo>
                    <a:pt x="121" y="242"/>
                  </a:lnTo>
                  <a:lnTo>
                    <a:pt x="121" y="240"/>
                  </a:lnTo>
                  <a:lnTo>
                    <a:pt x="119" y="240"/>
                  </a:lnTo>
                  <a:lnTo>
                    <a:pt x="119" y="237"/>
                  </a:lnTo>
                  <a:lnTo>
                    <a:pt x="116" y="237"/>
                  </a:lnTo>
                  <a:lnTo>
                    <a:pt x="119" y="235"/>
                  </a:lnTo>
                  <a:lnTo>
                    <a:pt x="119" y="233"/>
                  </a:lnTo>
                  <a:lnTo>
                    <a:pt x="121" y="233"/>
                  </a:lnTo>
                  <a:lnTo>
                    <a:pt x="121" y="230"/>
                  </a:lnTo>
                  <a:lnTo>
                    <a:pt x="119" y="230"/>
                  </a:lnTo>
                  <a:lnTo>
                    <a:pt x="119" y="233"/>
                  </a:lnTo>
                  <a:lnTo>
                    <a:pt x="116" y="233"/>
                  </a:lnTo>
                  <a:lnTo>
                    <a:pt x="116" y="230"/>
                  </a:lnTo>
                  <a:lnTo>
                    <a:pt x="114" y="230"/>
                  </a:lnTo>
                  <a:lnTo>
                    <a:pt x="116" y="230"/>
                  </a:lnTo>
                  <a:lnTo>
                    <a:pt x="114" y="230"/>
                  </a:lnTo>
                  <a:lnTo>
                    <a:pt x="114" y="228"/>
                  </a:lnTo>
                  <a:lnTo>
                    <a:pt x="112" y="228"/>
                  </a:lnTo>
                  <a:lnTo>
                    <a:pt x="109" y="228"/>
                  </a:lnTo>
                  <a:lnTo>
                    <a:pt x="109" y="226"/>
                  </a:lnTo>
                  <a:lnTo>
                    <a:pt x="107" y="226"/>
                  </a:lnTo>
                  <a:lnTo>
                    <a:pt x="105" y="226"/>
                  </a:lnTo>
                  <a:lnTo>
                    <a:pt x="102" y="226"/>
                  </a:lnTo>
                  <a:lnTo>
                    <a:pt x="102" y="223"/>
                  </a:lnTo>
                  <a:lnTo>
                    <a:pt x="100" y="223"/>
                  </a:lnTo>
                  <a:lnTo>
                    <a:pt x="100" y="221"/>
                  </a:lnTo>
                  <a:lnTo>
                    <a:pt x="98" y="221"/>
                  </a:lnTo>
                  <a:lnTo>
                    <a:pt x="100" y="221"/>
                  </a:lnTo>
                  <a:lnTo>
                    <a:pt x="98" y="221"/>
                  </a:lnTo>
                  <a:lnTo>
                    <a:pt x="98" y="218"/>
                  </a:lnTo>
                  <a:lnTo>
                    <a:pt x="98" y="216"/>
                  </a:lnTo>
                  <a:lnTo>
                    <a:pt x="95" y="216"/>
                  </a:lnTo>
                  <a:lnTo>
                    <a:pt x="95" y="214"/>
                  </a:lnTo>
                  <a:lnTo>
                    <a:pt x="93" y="211"/>
                  </a:lnTo>
                  <a:lnTo>
                    <a:pt x="90" y="209"/>
                  </a:lnTo>
                  <a:lnTo>
                    <a:pt x="88" y="207"/>
                  </a:lnTo>
                  <a:lnTo>
                    <a:pt x="88" y="204"/>
                  </a:lnTo>
                  <a:lnTo>
                    <a:pt x="86" y="204"/>
                  </a:lnTo>
                  <a:lnTo>
                    <a:pt x="86" y="202"/>
                  </a:lnTo>
                  <a:lnTo>
                    <a:pt x="88" y="202"/>
                  </a:lnTo>
                  <a:lnTo>
                    <a:pt x="88" y="199"/>
                  </a:lnTo>
                  <a:lnTo>
                    <a:pt x="90" y="199"/>
                  </a:lnTo>
                  <a:lnTo>
                    <a:pt x="90" y="197"/>
                  </a:lnTo>
                  <a:lnTo>
                    <a:pt x="93" y="197"/>
                  </a:lnTo>
                  <a:lnTo>
                    <a:pt x="93" y="195"/>
                  </a:lnTo>
                  <a:lnTo>
                    <a:pt x="90" y="195"/>
                  </a:lnTo>
                  <a:lnTo>
                    <a:pt x="90" y="192"/>
                  </a:lnTo>
                  <a:lnTo>
                    <a:pt x="88" y="192"/>
                  </a:lnTo>
                  <a:lnTo>
                    <a:pt x="86" y="192"/>
                  </a:lnTo>
                  <a:lnTo>
                    <a:pt x="83" y="192"/>
                  </a:lnTo>
                  <a:lnTo>
                    <a:pt x="83" y="190"/>
                  </a:lnTo>
                  <a:lnTo>
                    <a:pt x="86" y="190"/>
                  </a:lnTo>
                  <a:lnTo>
                    <a:pt x="86" y="188"/>
                  </a:lnTo>
                  <a:lnTo>
                    <a:pt x="86" y="185"/>
                  </a:lnTo>
                  <a:lnTo>
                    <a:pt x="88" y="185"/>
                  </a:lnTo>
                  <a:lnTo>
                    <a:pt x="90" y="185"/>
                  </a:lnTo>
                  <a:lnTo>
                    <a:pt x="90" y="183"/>
                  </a:lnTo>
                  <a:lnTo>
                    <a:pt x="90" y="185"/>
                  </a:lnTo>
                  <a:lnTo>
                    <a:pt x="93" y="185"/>
                  </a:lnTo>
                  <a:lnTo>
                    <a:pt x="95" y="185"/>
                  </a:lnTo>
                  <a:lnTo>
                    <a:pt x="98" y="185"/>
                  </a:lnTo>
                  <a:lnTo>
                    <a:pt x="98" y="188"/>
                  </a:lnTo>
                  <a:lnTo>
                    <a:pt x="100" y="188"/>
                  </a:lnTo>
                  <a:lnTo>
                    <a:pt x="102" y="188"/>
                  </a:lnTo>
                  <a:lnTo>
                    <a:pt x="105" y="188"/>
                  </a:lnTo>
                  <a:lnTo>
                    <a:pt x="107" y="188"/>
                  </a:lnTo>
                  <a:lnTo>
                    <a:pt x="109" y="188"/>
                  </a:lnTo>
                  <a:lnTo>
                    <a:pt x="109" y="185"/>
                  </a:lnTo>
                  <a:lnTo>
                    <a:pt x="112" y="185"/>
                  </a:lnTo>
                  <a:lnTo>
                    <a:pt x="112" y="183"/>
                  </a:lnTo>
                  <a:lnTo>
                    <a:pt x="114" y="183"/>
                  </a:lnTo>
                  <a:lnTo>
                    <a:pt x="114" y="180"/>
                  </a:lnTo>
                  <a:lnTo>
                    <a:pt x="116" y="180"/>
                  </a:lnTo>
                  <a:lnTo>
                    <a:pt x="119" y="180"/>
                  </a:lnTo>
                  <a:lnTo>
                    <a:pt x="116" y="180"/>
                  </a:lnTo>
                  <a:lnTo>
                    <a:pt x="114" y="180"/>
                  </a:lnTo>
                  <a:lnTo>
                    <a:pt x="114" y="183"/>
                  </a:lnTo>
                  <a:lnTo>
                    <a:pt x="112" y="183"/>
                  </a:lnTo>
                  <a:lnTo>
                    <a:pt x="112" y="185"/>
                  </a:lnTo>
                  <a:lnTo>
                    <a:pt x="109" y="185"/>
                  </a:lnTo>
                  <a:lnTo>
                    <a:pt x="109" y="188"/>
                  </a:lnTo>
                  <a:lnTo>
                    <a:pt x="107" y="188"/>
                  </a:lnTo>
                  <a:lnTo>
                    <a:pt x="105" y="188"/>
                  </a:lnTo>
                  <a:lnTo>
                    <a:pt x="102" y="188"/>
                  </a:lnTo>
                  <a:lnTo>
                    <a:pt x="100" y="188"/>
                  </a:lnTo>
                  <a:lnTo>
                    <a:pt x="98" y="188"/>
                  </a:lnTo>
                  <a:lnTo>
                    <a:pt x="98" y="185"/>
                  </a:lnTo>
                  <a:lnTo>
                    <a:pt x="95" y="185"/>
                  </a:lnTo>
                  <a:lnTo>
                    <a:pt x="93" y="185"/>
                  </a:lnTo>
                  <a:lnTo>
                    <a:pt x="93" y="183"/>
                  </a:lnTo>
                  <a:lnTo>
                    <a:pt x="90" y="183"/>
                  </a:lnTo>
                  <a:lnTo>
                    <a:pt x="88" y="183"/>
                  </a:lnTo>
                  <a:lnTo>
                    <a:pt x="86" y="183"/>
                  </a:lnTo>
                  <a:lnTo>
                    <a:pt x="86" y="185"/>
                  </a:lnTo>
                  <a:lnTo>
                    <a:pt x="83" y="185"/>
                  </a:lnTo>
                  <a:lnTo>
                    <a:pt x="86" y="185"/>
                  </a:lnTo>
                  <a:lnTo>
                    <a:pt x="83" y="185"/>
                  </a:lnTo>
                  <a:lnTo>
                    <a:pt x="83" y="188"/>
                  </a:lnTo>
                  <a:lnTo>
                    <a:pt x="83" y="185"/>
                  </a:lnTo>
                  <a:lnTo>
                    <a:pt x="83" y="188"/>
                  </a:lnTo>
                  <a:lnTo>
                    <a:pt x="81" y="188"/>
                  </a:lnTo>
                  <a:lnTo>
                    <a:pt x="81" y="185"/>
                  </a:lnTo>
                  <a:lnTo>
                    <a:pt x="79" y="185"/>
                  </a:lnTo>
                  <a:lnTo>
                    <a:pt x="76" y="185"/>
                  </a:lnTo>
                  <a:lnTo>
                    <a:pt x="74" y="185"/>
                  </a:lnTo>
                  <a:lnTo>
                    <a:pt x="74" y="183"/>
                  </a:lnTo>
                  <a:lnTo>
                    <a:pt x="76" y="183"/>
                  </a:lnTo>
                  <a:lnTo>
                    <a:pt x="76" y="185"/>
                  </a:lnTo>
                  <a:lnTo>
                    <a:pt x="79" y="185"/>
                  </a:lnTo>
                  <a:lnTo>
                    <a:pt x="79" y="183"/>
                  </a:lnTo>
                  <a:lnTo>
                    <a:pt x="79" y="185"/>
                  </a:lnTo>
                  <a:lnTo>
                    <a:pt x="79" y="183"/>
                  </a:lnTo>
                  <a:lnTo>
                    <a:pt x="76" y="183"/>
                  </a:lnTo>
                  <a:lnTo>
                    <a:pt x="79" y="183"/>
                  </a:lnTo>
                  <a:lnTo>
                    <a:pt x="76" y="183"/>
                  </a:lnTo>
                  <a:lnTo>
                    <a:pt x="79" y="183"/>
                  </a:lnTo>
                  <a:lnTo>
                    <a:pt x="76" y="183"/>
                  </a:lnTo>
                  <a:lnTo>
                    <a:pt x="76" y="180"/>
                  </a:lnTo>
                  <a:lnTo>
                    <a:pt x="76" y="183"/>
                  </a:lnTo>
                  <a:lnTo>
                    <a:pt x="74" y="183"/>
                  </a:lnTo>
                  <a:lnTo>
                    <a:pt x="76" y="183"/>
                  </a:lnTo>
                  <a:lnTo>
                    <a:pt x="76" y="180"/>
                  </a:lnTo>
                  <a:lnTo>
                    <a:pt x="74" y="180"/>
                  </a:lnTo>
                  <a:lnTo>
                    <a:pt x="74" y="178"/>
                  </a:lnTo>
                  <a:lnTo>
                    <a:pt x="76" y="178"/>
                  </a:lnTo>
                  <a:lnTo>
                    <a:pt x="79" y="178"/>
                  </a:lnTo>
                  <a:lnTo>
                    <a:pt x="76" y="178"/>
                  </a:lnTo>
                  <a:lnTo>
                    <a:pt x="76" y="176"/>
                  </a:lnTo>
                  <a:lnTo>
                    <a:pt x="76" y="173"/>
                  </a:lnTo>
                  <a:lnTo>
                    <a:pt x="76" y="176"/>
                  </a:lnTo>
                  <a:lnTo>
                    <a:pt x="76" y="173"/>
                  </a:lnTo>
                  <a:lnTo>
                    <a:pt x="79" y="173"/>
                  </a:lnTo>
                  <a:lnTo>
                    <a:pt x="81" y="173"/>
                  </a:lnTo>
                  <a:lnTo>
                    <a:pt x="81" y="171"/>
                  </a:lnTo>
                  <a:lnTo>
                    <a:pt x="83" y="171"/>
                  </a:lnTo>
                  <a:lnTo>
                    <a:pt x="81" y="171"/>
                  </a:lnTo>
                  <a:lnTo>
                    <a:pt x="81" y="173"/>
                  </a:lnTo>
                  <a:lnTo>
                    <a:pt x="79" y="173"/>
                  </a:lnTo>
                  <a:lnTo>
                    <a:pt x="76" y="173"/>
                  </a:lnTo>
                  <a:lnTo>
                    <a:pt x="74" y="173"/>
                  </a:lnTo>
                  <a:lnTo>
                    <a:pt x="71" y="173"/>
                  </a:lnTo>
                  <a:lnTo>
                    <a:pt x="74" y="171"/>
                  </a:lnTo>
                  <a:lnTo>
                    <a:pt x="71" y="173"/>
                  </a:lnTo>
                  <a:lnTo>
                    <a:pt x="71" y="171"/>
                  </a:lnTo>
                  <a:lnTo>
                    <a:pt x="71" y="173"/>
                  </a:lnTo>
                  <a:lnTo>
                    <a:pt x="69" y="173"/>
                  </a:lnTo>
                  <a:lnTo>
                    <a:pt x="67" y="173"/>
                  </a:lnTo>
                  <a:lnTo>
                    <a:pt x="67" y="176"/>
                  </a:lnTo>
                  <a:lnTo>
                    <a:pt x="64" y="173"/>
                  </a:lnTo>
                  <a:lnTo>
                    <a:pt x="64" y="176"/>
                  </a:lnTo>
                  <a:lnTo>
                    <a:pt x="64" y="173"/>
                  </a:lnTo>
                  <a:lnTo>
                    <a:pt x="62" y="173"/>
                  </a:lnTo>
                  <a:lnTo>
                    <a:pt x="62" y="171"/>
                  </a:lnTo>
                  <a:lnTo>
                    <a:pt x="62" y="173"/>
                  </a:lnTo>
                  <a:lnTo>
                    <a:pt x="62" y="171"/>
                  </a:lnTo>
                  <a:lnTo>
                    <a:pt x="64" y="171"/>
                  </a:lnTo>
                  <a:lnTo>
                    <a:pt x="62" y="171"/>
                  </a:lnTo>
                  <a:lnTo>
                    <a:pt x="64" y="171"/>
                  </a:lnTo>
                  <a:lnTo>
                    <a:pt x="64" y="173"/>
                  </a:lnTo>
                  <a:lnTo>
                    <a:pt x="64" y="171"/>
                  </a:lnTo>
                  <a:lnTo>
                    <a:pt x="67" y="173"/>
                  </a:lnTo>
                  <a:lnTo>
                    <a:pt x="67" y="171"/>
                  </a:lnTo>
                  <a:lnTo>
                    <a:pt x="67" y="173"/>
                  </a:lnTo>
                  <a:lnTo>
                    <a:pt x="67" y="171"/>
                  </a:lnTo>
                  <a:lnTo>
                    <a:pt x="69" y="171"/>
                  </a:lnTo>
                  <a:lnTo>
                    <a:pt x="67" y="171"/>
                  </a:lnTo>
                  <a:lnTo>
                    <a:pt x="69" y="171"/>
                  </a:lnTo>
                  <a:lnTo>
                    <a:pt x="69" y="169"/>
                  </a:lnTo>
                  <a:lnTo>
                    <a:pt x="69" y="171"/>
                  </a:lnTo>
                  <a:lnTo>
                    <a:pt x="69" y="169"/>
                  </a:lnTo>
                  <a:lnTo>
                    <a:pt x="67" y="169"/>
                  </a:lnTo>
                  <a:lnTo>
                    <a:pt x="69" y="169"/>
                  </a:lnTo>
                  <a:lnTo>
                    <a:pt x="67" y="169"/>
                  </a:lnTo>
                  <a:lnTo>
                    <a:pt x="67" y="166"/>
                  </a:lnTo>
                  <a:lnTo>
                    <a:pt x="67" y="169"/>
                  </a:lnTo>
                  <a:lnTo>
                    <a:pt x="67" y="166"/>
                  </a:lnTo>
                  <a:lnTo>
                    <a:pt x="67" y="169"/>
                  </a:lnTo>
                  <a:lnTo>
                    <a:pt x="64" y="169"/>
                  </a:lnTo>
                  <a:lnTo>
                    <a:pt x="62" y="169"/>
                  </a:lnTo>
                  <a:lnTo>
                    <a:pt x="62" y="171"/>
                  </a:lnTo>
                  <a:lnTo>
                    <a:pt x="62" y="169"/>
                  </a:lnTo>
                  <a:lnTo>
                    <a:pt x="62" y="171"/>
                  </a:lnTo>
                  <a:lnTo>
                    <a:pt x="62" y="169"/>
                  </a:lnTo>
                  <a:lnTo>
                    <a:pt x="62" y="171"/>
                  </a:lnTo>
                  <a:lnTo>
                    <a:pt x="62" y="169"/>
                  </a:lnTo>
                  <a:lnTo>
                    <a:pt x="60" y="169"/>
                  </a:lnTo>
                  <a:lnTo>
                    <a:pt x="62" y="169"/>
                  </a:lnTo>
                  <a:lnTo>
                    <a:pt x="60" y="169"/>
                  </a:lnTo>
                  <a:lnTo>
                    <a:pt x="60" y="166"/>
                  </a:lnTo>
                  <a:lnTo>
                    <a:pt x="62" y="166"/>
                  </a:lnTo>
                  <a:lnTo>
                    <a:pt x="60" y="166"/>
                  </a:lnTo>
                  <a:lnTo>
                    <a:pt x="60" y="169"/>
                  </a:lnTo>
                  <a:lnTo>
                    <a:pt x="60" y="171"/>
                  </a:lnTo>
                  <a:lnTo>
                    <a:pt x="60" y="169"/>
                  </a:lnTo>
                  <a:lnTo>
                    <a:pt x="60" y="171"/>
                  </a:lnTo>
                  <a:lnTo>
                    <a:pt x="62" y="171"/>
                  </a:lnTo>
                  <a:lnTo>
                    <a:pt x="60" y="171"/>
                  </a:lnTo>
                  <a:lnTo>
                    <a:pt x="60" y="169"/>
                  </a:lnTo>
                  <a:lnTo>
                    <a:pt x="60" y="171"/>
                  </a:lnTo>
                  <a:lnTo>
                    <a:pt x="57" y="169"/>
                  </a:lnTo>
                  <a:lnTo>
                    <a:pt x="57" y="171"/>
                  </a:lnTo>
                  <a:lnTo>
                    <a:pt x="55" y="171"/>
                  </a:lnTo>
                  <a:lnTo>
                    <a:pt x="55" y="169"/>
                  </a:lnTo>
                  <a:lnTo>
                    <a:pt x="55" y="171"/>
                  </a:lnTo>
                  <a:lnTo>
                    <a:pt x="55" y="173"/>
                  </a:lnTo>
                  <a:lnTo>
                    <a:pt x="55" y="176"/>
                  </a:lnTo>
                  <a:lnTo>
                    <a:pt x="57" y="176"/>
                  </a:lnTo>
                  <a:lnTo>
                    <a:pt x="55" y="176"/>
                  </a:lnTo>
                  <a:lnTo>
                    <a:pt x="55" y="173"/>
                  </a:lnTo>
                  <a:lnTo>
                    <a:pt x="52" y="173"/>
                  </a:lnTo>
                  <a:lnTo>
                    <a:pt x="55" y="173"/>
                  </a:lnTo>
                  <a:lnTo>
                    <a:pt x="55" y="171"/>
                  </a:lnTo>
                  <a:lnTo>
                    <a:pt x="55" y="169"/>
                  </a:lnTo>
                  <a:lnTo>
                    <a:pt x="52" y="169"/>
                  </a:lnTo>
                  <a:lnTo>
                    <a:pt x="52" y="166"/>
                  </a:lnTo>
                  <a:lnTo>
                    <a:pt x="55" y="164"/>
                  </a:lnTo>
                  <a:lnTo>
                    <a:pt x="55" y="166"/>
                  </a:lnTo>
                  <a:lnTo>
                    <a:pt x="55" y="164"/>
                  </a:lnTo>
                  <a:lnTo>
                    <a:pt x="52" y="164"/>
                  </a:lnTo>
                  <a:lnTo>
                    <a:pt x="55" y="164"/>
                  </a:lnTo>
                  <a:lnTo>
                    <a:pt x="52" y="164"/>
                  </a:lnTo>
                  <a:lnTo>
                    <a:pt x="55" y="164"/>
                  </a:lnTo>
                  <a:lnTo>
                    <a:pt x="55" y="161"/>
                  </a:lnTo>
                  <a:lnTo>
                    <a:pt x="55" y="164"/>
                  </a:lnTo>
                  <a:lnTo>
                    <a:pt x="52" y="164"/>
                  </a:lnTo>
                  <a:lnTo>
                    <a:pt x="52" y="161"/>
                  </a:lnTo>
                  <a:lnTo>
                    <a:pt x="52" y="164"/>
                  </a:lnTo>
                  <a:lnTo>
                    <a:pt x="52" y="166"/>
                  </a:lnTo>
                  <a:lnTo>
                    <a:pt x="52" y="164"/>
                  </a:lnTo>
                  <a:lnTo>
                    <a:pt x="52" y="166"/>
                  </a:lnTo>
                  <a:lnTo>
                    <a:pt x="50" y="166"/>
                  </a:lnTo>
                  <a:lnTo>
                    <a:pt x="50" y="164"/>
                  </a:lnTo>
                  <a:lnTo>
                    <a:pt x="48" y="164"/>
                  </a:lnTo>
                  <a:lnTo>
                    <a:pt x="48" y="166"/>
                  </a:lnTo>
                  <a:lnTo>
                    <a:pt x="48" y="164"/>
                  </a:lnTo>
                  <a:lnTo>
                    <a:pt x="50" y="164"/>
                  </a:lnTo>
                  <a:lnTo>
                    <a:pt x="50" y="166"/>
                  </a:lnTo>
                  <a:lnTo>
                    <a:pt x="50" y="164"/>
                  </a:lnTo>
                  <a:lnTo>
                    <a:pt x="48" y="164"/>
                  </a:lnTo>
                  <a:lnTo>
                    <a:pt x="48" y="161"/>
                  </a:lnTo>
                  <a:lnTo>
                    <a:pt x="50" y="161"/>
                  </a:lnTo>
                  <a:lnTo>
                    <a:pt x="50" y="159"/>
                  </a:lnTo>
                  <a:lnTo>
                    <a:pt x="50" y="161"/>
                  </a:lnTo>
                  <a:lnTo>
                    <a:pt x="48" y="161"/>
                  </a:lnTo>
                  <a:lnTo>
                    <a:pt x="45" y="161"/>
                  </a:lnTo>
                  <a:lnTo>
                    <a:pt x="45" y="159"/>
                  </a:lnTo>
                  <a:lnTo>
                    <a:pt x="45" y="161"/>
                  </a:lnTo>
                  <a:lnTo>
                    <a:pt x="48" y="161"/>
                  </a:lnTo>
                  <a:lnTo>
                    <a:pt x="48" y="164"/>
                  </a:lnTo>
                  <a:lnTo>
                    <a:pt x="45" y="164"/>
                  </a:lnTo>
                  <a:lnTo>
                    <a:pt x="48" y="164"/>
                  </a:lnTo>
                  <a:lnTo>
                    <a:pt x="45" y="164"/>
                  </a:lnTo>
                  <a:lnTo>
                    <a:pt x="43" y="164"/>
                  </a:lnTo>
                  <a:lnTo>
                    <a:pt x="43" y="161"/>
                  </a:lnTo>
                  <a:lnTo>
                    <a:pt x="41" y="161"/>
                  </a:lnTo>
                  <a:lnTo>
                    <a:pt x="41" y="159"/>
                  </a:lnTo>
                  <a:lnTo>
                    <a:pt x="41" y="161"/>
                  </a:lnTo>
                  <a:lnTo>
                    <a:pt x="38" y="161"/>
                  </a:lnTo>
                  <a:lnTo>
                    <a:pt x="36" y="161"/>
                  </a:lnTo>
                  <a:lnTo>
                    <a:pt x="36" y="159"/>
                  </a:lnTo>
                  <a:lnTo>
                    <a:pt x="36" y="161"/>
                  </a:lnTo>
                  <a:lnTo>
                    <a:pt x="36" y="159"/>
                  </a:lnTo>
                  <a:lnTo>
                    <a:pt x="33" y="159"/>
                  </a:lnTo>
                  <a:lnTo>
                    <a:pt x="33" y="157"/>
                  </a:lnTo>
                  <a:lnTo>
                    <a:pt x="33" y="159"/>
                  </a:lnTo>
                  <a:lnTo>
                    <a:pt x="33" y="161"/>
                  </a:lnTo>
                  <a:lnTo>
                    <a:pt x="31" y="159"/>
                  </a:lnTo>
                  <a:lnTo>
                    <a:pt x="29" y="159"/>
                  </a:lnTo>
                  <a:lnTo>
                    <a:pt x="29" y="157"/>
                  </a:lnTo>
                  <a:lnTo>
                    <a:pt x="29" y="154"/>
                  </a:lnTo>
                  <a:lnTo>
                    <a:pt x="26" y="154"/>
                  </a:lnTo>
                  <a:lnTo>
                    <a:pt x="26" y="157"/>
                  </a:lnTo>
                  <a:lnTo>
                    <a:pt x="24" y="157"/>
                  </a:lnTo>
                  <a:lnTo>
                    <a:pt x="22" y="157"/>
                  </a:lnTo>
                  <a:lnTo>
                    <a:pt x="22" y="154"/>
                  </a:lnTo>
                  <a:lnTo>
                    <a:pt x="22" y="152"/>
                  </a:lnTo>
                  <a:lnTo>
                    <a:pt x="22" y="150"/>
                  </a:lnTo>
                  <a:lnTo>
                    <a:pt x="22" y="152"/>
                  </a:lnTo>
                  <a:lnTo>
                    <a:pt x="22" y="154"/>
                  </a:lnTo>
                  <a:lnTo>
                    <a:pt x="19" y="154"/>
                  </a:lnTo>
                  <a:lnTo>
                    <a:pt x="22" y="154"/>
                  </a:lnTo>
                  <a:lnTo>
                    <a:pt x="22" y="157"/>
                  </a:lnTo>
                  <a:lnTo>
                    <a:pt x="19" y="157"/>
                  </a:lnTo>
                  <a:lnTo>
                    <a:pt x="22" y="157"/>
                  </a:lnTo>
                  <a:lnTo>
                    <a:pt x="19" y="157"/>
                  </a:lnTo>
                  <a:lnTo>
                    <a:pt x="19" y="159"/>
                  </a:lnTo>
                  <a:lnTo>
                    <a:pt x="19" y="157"/>
                  </a:lnTo>
                  <a:lnTo>
                    <a:pt x="19" y="159"/>
                  </a:lnTo>
                  <a:lnTo>
                    <a:pt x="22" y="159"/>
                  </a:lnTo>
                  <a:lnTo>
                    <a:pt x="19" y="159"/>
                  </a:lnTo>
                  <a:lnTo>
                    <a:pt x="17" y="159"/>
                  </a:lnTo>
                  <a:lnTo>
                    <a:pt x="14" y="159"/>
                  </a:lnTo>
                  <a:lnTo>
                    <a:pt x="12" y="159"/>
                  </a:lnTo>
                  <a:lnTo>
                    <a:pt x="14" y="159"/>
                  </a:lnTo>
                  <a:lnTo>
                    <a:pt x="12" y="159"/>
                  </a:lnTo>
                  <a:lnTo>
                    <a:pt x="14" y="159"/>
                  </a:lnTo>
                  <a:lnTo>
                    <a:pt x="14" y="157"/>
                  </a:lnTo>
                  <a:lnTo>
                    <a:pt x="14" y="154"/>
                  </a:lnTo>
                  <a:lnTo>
                    <a:pt x="12" y="154"/>
                  </a:lnTo>
                  <a:lnTo>
                    <a:pt x="12" y="152"/>
                  </a:lnTo>
                  <a:lnTo>
                    <a:pt x="10" y="152"/>
                  </a:lnTo>
                  <a:lnTo>
                    <a:pt x="10" y="150"/>
                  </a:lnTo>
                  <a:lnTo>
                    <a:pt x="7" y="150"/>
                  </a:lnTo>
                  <a:lnTo>
                    <a:pt x="10" y="147"/>
                  </a:lnTo>
                  <a:lnTo>
                    <a:pt x="10" y="150"/>
                  </a:lnTo>
                  <a:lnTo>
                    <a:pt x="10" y="147"/>
                  </a:lnTo>
                  <a:lnTo>
                    <a:pt x="7" y="147"/>
                  </a:lnTo>
                  <a:lnTo>
                    <a:pt x="7" y="150"/>
                  </a:lnTo>
                  <a:lnTo>
                    <a:pt x="5" y="150"/>
                  </a:lnTo>
                  <a:lnTo>
                    <a:pt x="3" y="150"/>
                  </a:lnTo>
                  <a:lnTo>
                    <a:pt x="3" y="147"/>
                  </a:lnTo>
                  <a:lnTo>
                    <a:pt x="5" y="147"/>
                  </a:lnTo>
                  <a:lnTo>
                    <a:pt x="7" y="147"/>
                  </a:lnTo>
                  <a:lnTo>
                    <a:pt x="7" y="145"/>
                  </a:lnTo>
                  <a:lnTo>
                    <a:pt x="10" y="145"/>
                  </a:lnTo>
                  <a:lnTo>
                    <a:pt x="12" y="145"/>
                  </a:lnTo>
                  <a:lnTo>
                    <a:pt x="14" y="145"/>
                  </a:lnTo>
                  <a:lnTo>
                    <a:pt x="17" y="145"/>
                  </a:lnTo>
                  <a:lnTo>
                    <a:pt x="17" y="142"/>
                  </a:lnTo>
                  <a:lnTo>
                    <a:pt x="17" y="140"/>
                  </a:lnTo>
                  <a:lnTo>
                    <a:pt x="14" y="140"/>
                  </a:lnTo>
                  <a:lnTo>
                    <a:pt x="12" y="140"/>
                  </a:lnTo>
                  <a:lnTo>
                    <a:pt x="12" y="138"/>
                  </a:lnTo>
                  <a:lnTo>
                    <a:pt x="12" y="140"/>
                  </a:lnTo>
                  <a:lnTo>
                    <a:pt x="12" y="138"/>
                  </a:lnTo>
                  <a:lnTo>
                    <a:pt x="10" y="138"/>
                  </a:lnTo>
                  <a:lnTo>
                    <a:pt x="10" y="140"/>
                  </a:lnTo>
                  <a:lnTo>
                    <a:pt x="10" y="138"/>
                  </a:lnTo>
                  <a:lnTo>
                    <a:pt x="10" y="140"/>
                  </a:lnTo>
                  <a:lnTo>
                    <a:pt x="7" y="140"/>
                  </a:lnTo>
                  <a:lnTo>
                    <a:pt x="7" y="142"/>
                  </a:lnTo>
                  <a:lnTo>
                    <a:pt x="7" y="140"/>
                  </a:lnTo>
                  <a:lnTo>
                    <a:pt x="7" y="138"/>
                  </a:lnTo>
                  <a:lnTo>
                    <a:pt x="5" y="138"/>
                  </a:lnTo>
                  <a:lnTo>
                    <a:pt x="5" y="135"/>
                  </a:lnTo>
                  <a:lnTo>
                    <a:pt x="5" y="138"/>
                  </a:lnTo>
                  <a:lnTo>
                    <a:pt x="7" y="138"/>
                  </a:lnTo>
                  <a:lnTo>
                    <a:pt x="7" y="135"/>
                  </a:lnTo>
                  <a:lnTo>
                    <a:pt x="7" y="133"/>
                  </a:lnTo>
                  <a:lnTo>
                    <a:pt x="7" y="135"/>
                  </a:lnTo>
                  <a:lnTo>
                    <a:pt x="10" y="135"/>
                  </a:lnTo>
                  <a:lnTo>
                    <a:pt x="7" y="135"/>
                  </a:lnTo>
                  <a:lnTo>
                    <a:pt x="10" y="135"/>
                  </a:lnTo>
                  <a:lnTo>
                    <a:pt x="10" y="138"/>
                  </a:lnTo>
                  <a:lnTo>
                    <a:pt x="10" y="135"/>
                  </a:lnTo>
                  <a:lnTo>
                    <a:pt x="12" y="135"/>
                  </a:lnTo>
                  <a:lnTo>
                    <a:pt x="12" y="138"/>
                  </a:lnTo>
                  <a:lnTo>
                    <a:pt x="14" y="138"/>
                  </a:lnTo>
                  <a:lnTo>
                    <a:pt x="14" y="135"/>
                  </a:lnTo>
                  <a:lnTo>
                    <a:pt x="17" y="135"/>
                  </a:lnTo>
                  <a:lnTo>
                    <a:pt x="17" y="138"/>
                  </a:lnTo>
                  <a:lnTo>
                    <a:pt x="17" y="135"/>
                  </a:lnTo>
                  <a:lnTo>
                    <a:pt x="17" y="138"/>
                  </a:lnTo>
                  <a:lnTo>
                    <a:pt x="19" y="138"/>
                  </a:lnTo>
                  <a:lnTo>
                    <a:pt x="22" y="138"/>
                  </a:lnTo>
                  <a:lnTo>
                    <a:pt x="19" y="138"/>
                  </a:lnTo>
                  <a:lnTo>
                    <a:pt x="17" y="138"/>
                  </a:lnTo>
                  <a:lnTo>
                    <a:pt x="17" y="135"/>
                  </a:lnTo>
                  <a:lnTo>
                    <a:pt x="17" y="138"/>
                  </a:lnTo>
                  <a:lnTo>
                    <a:pt x="17" y="135"/>
                  </a:lnTo>
                  <a:lnTo>
                    <a:pt x="19" y="135"/>
                  </a:lnTo>
                  <a:lnTo>
                    <a:pt x="17" y="135"/>
                  </a:lnTo>
                  <a:lnTo>
                    <a:pt x="19" y="135"/>
                  </a:lnTo>
                  <a:lnTo>
                    <a:pt x="17" y="135"/>
                  </a:lnTo>
                  <a:lnTo>
                    <a:pt x="19" y="135"/>
                  </a:lnTo>
                  <a:lnTo>
                    <a:pt x="17" y="135"/>
                  </a:lnTo>
                  <a:lnTo>
                    <a:pt x="14" y="135"/>
                  </a:lnTo>
                  <a:lnTo>
                    <a:pt x="17" y="135"/>
                  </a:lnTo>
                  <a:lnTo>
                    <a:pt x="14" y="135"/>
                  </a:lnTo>
                  <a:lnTo>
                    <a:pt x="14" y="133"/>
                  </a:lnTo>
                  <a:lnTo>
                    <a:pt x="17" y="133"/>
                  </a:lnTo>
                  <a:lnTo>
                    <a:pt x="14" y="133"/>
                  </a:lnTo>
                  <a:lnTo>
                    <a:pt x="14" y="135"/>
                  </a:lnTo>
                  <a:lnTo>
                    <a:pt x="12" y="135"/>
                  </a:lnTo>
                  <a:lnTo>
                    <a:pt x="12" y="133"/>
                  </a:lnTo>
                  <a:lnTo>
                    <a:pt x="12" y="135"/>
                  </a:lnTo>
                  <a:lnTo>
                    <a:pt x="10" y="135"/>
                  </a:lnTo>
                  <a:lnTo>
                    <a:pt x="12" y="135"/>
                  </a:lnTo>
                  <a:lnTo>
                    <a:pt x="12" y="133"/>
                  </a:lnTo>
                  <a:lnTo>
                    <a:pt x="12" y="131"/>
                  </a:lnTo>
                  <a:lnTo>
                    <a:pt x="14" y="131"/>
                  </a:lnTo>
                  <a:lnTo>
                    <a:pt x="17" y="131"/>
                  </a:lnTo>
                  <a:lnTo>
                    <a:pt x="17" y="128"/>
                  </a:lnTo>
                  <a:lnTo>
                    <a:pt x="17" y="131"/>
                  </a:lnTo>
                  <a:lnTo>
                    <a:pt x="14" y="131"/>
                  </a:lnTo>
                  <a:lnTo>
                    <a:pt x="12" y="131"/>
                  </a:lnTo>
                  <a:lnTo>
                    <a:pt x="12" y="133"/>
                  </a:lnTo>
                  <a:lnTo>
                    <a:pt x="12" y="131"/>
                  </a:lnTo>
                  <a:lnTo>
                    <a:pt x="12" y="133"/>
                  </a:lnTo>
                  <a:lnTo>
                    <a:pt x="10" y="133"/>
                  </a:lnTo>
                  <a:lnTo>
                    <a:pt x="10" y="131"/>
                  </a:lnTo>
                  <a:lnTo>
                    <a:pt x="10" y="133"/>
                  </a:lnTo>
                  <a:lnTo>
                    <a:pt x="7" y="133"/>
                  </a:lnTo>
                  <a:lnTo>
                    <a:pt x="5" y="133"/>
                  </a:lnTo>
                  <a:lnTo>
                    <a:pt x="3" y="133"/>
                  </a:lnTo>
                  <a:lnTo>
                    <a:pt x="3" y="135"/>
                  </a:lnTo>
                  <a:lnTo>
                    <a:pt x="0" y="135"/>
                  </a:lnTo>
                  <a:lnTo>
                    <a:pt x="0" y="133"/>
                  </a:lnTo>
                  <a:lnTo>
                    <a:pt x="0" y="131"/>
                  </a:lnTo>
                  <a:lnTo>
                    <a:pt x="0" y="128"/>
                  </a:lnTo>
                  <a:lnTo>
                    <a:pt x="0" y="126"/>
                  </a:lnTo>
                  <a:lnTo>
                    <a:pt x="0" y="123"/>
                  </a:lnTo>
                  <a:lnTo>
                    <a:pt x="0" y="126"/>
                  </a:lnTo>
                  <a:lnTo>
                    <a:pt x="0" y="123"/>
                  </a:lnTo>
                  <a:lnTo>
                    <a:pt x="3" y="123"/>
                  </a:lnTo>
                  <a:lnTo>
                    <a:pt x="5" y="123"/>
                  </a:lnTo>
                  <a:lnTo>
                    <a:pt x="7" y="123"/>
                  </a:lnTo>
                  <a:lnTo>
                    <a:pt x="10" y="123"/>
                  </a:lnTo>
                  <a:lnTo>
                    <a:pt x="7" y="123"/>
                  </a:lnTo>
                  <a:lnTo>
                    <a:pt x="5" y="123"/>
                  </a:lnTo>
                  <a:lnTo>
                    <a:pt x="5" y="121"/>
                  </a:lnTo>
                  <a:lnTo>
                    <a:pt x="7" y="121"/>
                  </a:lnTo>
                  <a:lnTo>
                    <a:pt x="10" y="121"/>
                  </a:lnTo>
                  <a:lnTo>
                    <a:pt x="10" y="123"/>
                  </a:lnTo>
                  <a:lnTo>
                    <a:pt x="10" y="121"/>
                  </a:lnTo>
                  <a:lnTo>
                    <a:pt x="7" y="121"/>
                  </a:lnTo>
                  <a:lnTo>
                    <a:pt x="7" y="119"/>
                  </a:lnTo>
                  <a:lnTo>
                    <a:pt x="7" y="121"/>
                  </a:lnTo>
                  <a:lnTo>
                    <a:pt x="7" y="119"/>
                  </a:lnTo>
                  <a:lnTo>
                    <a:pt x="7" y="121"/>
                  </a:lnTo>
                  <a:lnTo>
                    <a:pt x="7" y="119"/>
                  </a:lnTo>
                  <a:lnTo>
                    <a:pt x="7" y="121"/>
                  </a:lnTo>
                  <a:lnTo>
                    <a:pt x="7" y="119"/>
                  </a:lnTo>
                  <a:lnTo>
                    <a:pt x="7" y="121"/>
                  </a:lnTo>
                  <a:lnTo>
                    <a:pt x="10" y="119"/>
                  </a:lnTo>
                  <a:lnTo>
                    <a:pt x="10" y="121"/>
                  </a:lnTo>
                  <a:lnTo>
                    <a:pt x="10" y="119"/>
                  </a:lnTo>
                  <a:lnTo>
                    <a:pt x="10" y="121"/>
                  </a:lnTo>
                  <a:lnTo>
                    <a:pt x="10" y="119"/>
                  </a:lnTo>
                  <a:lnTo>
                    <a:pt x="12" y="119"/>
                  </a:lnTo>
                  <a:lnTo>
                    <a:pt x="10" y="119"/>
                  </a:lnTo>
                  <a:lnTo>
                    <a:pt x="12" y="119"/>
                  </a:lnTo>
                  <a:lnTo>
                    <a:pt x="14" y="119"/>
                  </a:lnTo>
                  <a:lnTo>
                    <a:pt x="12" y="119"/>
                  </a:lnTo>
                  <a:lnTo>
                    <a:pt x="14" y="119"/>
                  </a:lnTo>
                  <a:lnTo>
                    <a:pt x="17" y="119"/>
                  </a:lnTo>
                  <a:lnTo>
                    <a:pt x="14" y="119"/>
                  </a:lnTo>
                  <a:lnTo>
                    <a:pt x="17" y="119"/>
                  </a:lnTo>
                  <a:lnTo>
                    <a:pt x="14" y="119"/>
                  </a:lnTo>
                  <a:lnTo>
                    <a:pt x="17" y="119"/>
                  </a:lnTo>
                  <a:lnTo>
                    <a:pt x="19" y="119"/>
                  </a:lnTo>
                  <a:lnTo>
                    <a:pt x="19" y="116"/>
                  </a:lnTo>
                  <a:lnTo>
                    <a:pt x="22" y="116"/>
                  </a:lnTo>
                  <a:lnTo>
                    <a:pt x="24" y="116"/>
                  </a:lnTo>
                  <a:lnTo>
                    <a:pt x="26" y="116"/>
                  </a:lnTo>
                  <a:lnTo>
                    <a:pt x="26" y="119"/>
                  </a:lnTo>
                  <a:lnTo>
                    <a:pt x="29" y="119"/>
                  </a:lnTo>
                  <a:lnTo>
                    <a:pt x="26" y="119"/>
                  </a:lnTo>
                  <a:lnTo>
                    <a:pt x="29" y="119"/>
                  </a:lnTo>
                  <a:lnTo>
                    <a:pt x="26" y="119"/>
                  </a:lnTo>
                  <a:lnTo>
                    <a:pt x="29" y="119"/>
                  </a:lnTo>
                  <a:lnTo>
                    <a:pt x="26" y="119"/>
                  </a:lnTo>
                  <a:lnTo>
                    <a:pt x="29" y="119"/>
                  </a:lnTo>
                  <a:lnTo>
                    <a:pt x="29" y="116"/>
                  </a:lnTo>
                  <a:lnTo>
                    <a:pt x="29" y="119"/>
                  </a:lnTo>
                  <a:lnTo>
                    <a:pt x="31" y="119"/>
                  </a:lnTo>
                  <a:lnTo>
                    <a:pt x="31" y="121"/>
                  </a:lnTo>
                  <a:lnTo>
                    <a:pt x="31" y="119"/>
                  </a:lnTo>
                  <a:lnTo>
                    <a:pt x="31" y="116"/>
                  </a:lnTo>
                  <a:lnTo>
                    <a:pt x="33" y="116"/>
                  </a:lnTo>
                  <a:lnTo>
                    <a:pt x="36" y="116"/>
                  </a:lnTo>
                  <a:lnTo>
                    <a:pt x="38" y="116"/>
                  </a:lnTo>
                  <a:lnTo>
                    <a:pt x="38" y="119"/>
                  </a:lnTo>
                  <a:lnTo>
                    <a:pt x="38" y="116"/>
                  </a:lnTo>
                  <a:lnTo>
                    <a:pt x="38" y="119"/>
                  </a:lnTo>
                  <a:lnTo>
                    <a:pt x="41" y="119"/>
                  </a:lnTo>
                  <a:lnTo>
                    <a:pt x="41" y="116"/>
                  </a:lnTo>
                  <a:lnTo>
                    <a:pt x="41" y="114"/>
                  </a:lnTo>
                  <a:lnTo>
                    <a:pt x="41" y="116"/>
                  </a:lnTo>
                  <a:lnTo>
                    <a:pt x="41" y="114"/>
                  </a:lnTo>
                  <a:lnTo>
                    <a:pt x="41" y="112"/>
                  </a:lnTo>
                  <a:lnTo>
                    <a:pt x="41" y="114"/>
                  </a:lnTo>
                  <a:lnTo>
                    <a:pt x="41" y="112"/>
                  </a:lnTo>
                  <a:lnTo>
                    <a:pt x="38" y="112"/>
                  </a:lnTo>
                  <a:lnTo>
                    <a:pt x="41" y="112"/>
                  </a:lnTo>
                  <a:lnTo>
                    <a:pt x="41" y="109"/>
                  </a:lnTo>
                  <a:lnTo>
                    <a:pt x="43" y="109"/>
                  </a:lnTo>
                  <a:lnTo>
                    <a:pt x="41" y="109"/>
                  </a:lnTo>
                  <a:lnTo>
                    <a:pt x="43" y="109"/>
                  </a:lnTo>
                  <a:lnTo>
                    <a:pt x="43" y="112"/>
                  </a:lnTo>
                  <a:lnTo>
                    <a:pt x="43" y="109"/>
                  </a:lnTo>
                  <a:lnTo>
                    <a:pt x="43" y="112"/>
                  </a:lnTo>
                  <a:lnTo>
                    <a:pt x="43" y="109"/>
                  </a:lnTo>
                  <a:lnTo>
                    <a:pt x="43" y="112"/>
                  </a:lnTo>
                  <a:lnTo>
                    <a:pt x="43" y="109"/>
                  </a:lnTo>
                  <a:lnTo>
                    <a:pt x="43" y="112"/>
                  </a:lnTo>
                  <a:lnTo>
                    <a:pt x="45" y="112"/>
                  </a:lnTo>
                  <a:lnTo>
                    <a:pt x="48" y="112"/>
                  </a:lnTo>
                  <a:lnTo>
                    <a:pt x="48" y="109"/>
                  </a:lnTo>
                  <a:lnTo>
                    <a:pt x="50" y="109"/>
                  </a:lnTo>
                  <a:lnTo>
                    <a:pt x="52" y="109"/>
                  </a:lnTo>
                  <a:lnTo>
                    <a:pt x="52" y="112"/>
                  </a:lnTo>
                  <a:lnTo>
                    <a:pt x="52" y="114"/>
                  </a:lnTo>
                  <a:lnTo>
                    <a:pt x="50" y="114"/>
                  </a:lnTo>
                  <a:lnTo>
                    <a:pt x="52" y="114"/>
                  </a:lnTo>
                  <a:lnTo>
                    <a:pt x="52" y="112"/>
                  </a:lnTo>
                  <a:lnTo>
                    <a:pt x="52" y="109"/>
                  </a:lnTo>
                  <a:lnTo>
                    <a:pt x="55" y="109"/>
                  </a:lnTo>
                  <a:lnTo>
                    <a:pt x="57" y="109"/>
                  </a:lnTo>
                  <a:lnTo>
                    <a:pt x="57" y="107"/>
                  </a:lnTo>
                  <a:lnTo>
                    <a:pt x="57" y="109"/>
                  </a:lnTo>
                  <a:lnTo>
                    <a:pt x="55" y="109"/>
                  </a:lnTo>
                  <a:lnTo>
                    <a:pt x="57" y="109"/>
                  </a:lnTo>
                  <a:lnTo>
                    <a:pt x="55" y="109"/>
                  </a:lnTo>
                  <a:lnTo>
                    <a:pt x="57" y="109"/>
                  </a:lnTo>
                  <a:lnTo>
                    <a:pt x="57" y="112"/>
                  </a:lnTo>
                  <a:lnTo>
                    <a:pt x="55" y="112"/>
                  </a:lnTo>
                  <a:lnTo>
                    <a:pt x="55" y="114"/>
                  </a:lnTo>
                  <a:lnTo>
                    <a:pt x="55" y="112"/>
                  </a:lnTo>
                  <a:lnTo>
                    <a:pt x="57" y="112"/>
                  </a:lnTo>
                  <a:lnTo>
                    <a:pt x="60" y="112"/>
                  </a:lnTo>
                  <a:lnTo>
                    <a:pt x="57" y="112"/>
                  </a:lnTo>
                  <a:lnTo>
                    <a:pt x="60" y="112"/>
                  </a:lnTo>
                  <a:lnTo>
                    <a:pt x="57" y="112"/>
                  </a:lnTo>
                  <a:lnTo>
                    <a:pt x="60" y="112"/>
                  </a:lnTo>
                  <a:lnTo>
                    <a:pt x="57" y="114"/>
                  </a:lnTo>
                  <a:lnTo>
                    <a:pt x="60" y="114"/>
                  </a:lnTo>
                  <a:lnTo>
                    <a:pt x="62" y="114"/>
                  </a:lnTo>
                  <a:lnTo>
                    <a:pt x="60" y="116"/>
                  </a:lnTo>
                  <a:lnTo>
                    <a:pt x="62" y="116"/>
                  </a:lnTo>
                  <a:lnTo>
                    <a:pt x="62" y="119"/>
                  </a:lnTo>
                  <a:lnTo>
                    <a:pt x="64" y="119"/>
                  </a:lnTo>
                  <a:lnTo>
                    <a:pt x="64" y="121"/>
                  </a:lnTo>
                  <a:lnTo>
                    <a:pt x="67" y="121"/>
                  </a:lnTo>
                  <a:lnTo>
                    <a:pt x="67" y="123"/>
                  </a:lnTo>
                  <a:lnTo>
                    <a:pt x="69" y="123"/>
                  </a:lnTo>
                  <a:lnTo>
                    <a:pt x="69" y="126"/>
                  </a:lnTo>
                  <a:lnTo>
                    <a:pt x="69" y="123"/>
                  </a:lnTo>
                  <a:lnTo>
                    <a:pt x="69" y="126"/>
                  </a:lnTo>
                  <a:lnTo>
                    <a:pt x="69" y="123"/>
                  </a:lnTo>
                  <a:lnTo>
                    <a:pt x="69" y="126"/>
                  </a:lnTo>
                  <a:lnTo>
                    <a:pt x="71" y="126"/>
                  </a:lnTo>
                  <a:lnTo>
                    <a:pt x="71" y="123"/>
                  </a:lnTo>
                  <a:lnTo>
                    <a:pt x="74" y="123"/>
                  </a:lnTo>
                  <a:lnTo>
                    <a:pt x="74" y="121"/>
                  </a:lnTo>
                  <a:lnTo>
                    <a:pt x="76" y="121"/>
                  </a:lnTo>
                  <a:lnTo>
                    <a:pt x="76" y="119"/>
                  </a:lnTo>
                  <a:lnTo>
                    <a:pt x="79" y="119"/>
                  </a:lnTo>
                  <a:lnTo>
                    <a:pt x="81" y="119"/>
                  </a:lnTo>
                  <a:lnTo>
                    <a:pt x="81" y="116"/>
                  </a:lnTo>
                  <a:lnTo>
                    <a:pt x="81" y="119"/>
                  </a:lnTo>
                  <a:lnTo>
                    <a:pt x="83" y="119"/>
                  </a:lnTo>
                  <a:lnTo>
                    <a:pt x="81" y="119"/>
                  </a:lnTo>
                  <a:lnTo>
                    <a:pt x="81" y="121"/>
                  </a:lnTo>
                  <a:lnTo>
                    <a:pt x="83" y="121"/>
                  </a:lnTo>
                  <a:lnTo>
                    <a:pt x="83" y="119"/>
                  </a:lnTo>
                  <a:lnTo>
                    <a:pt x="83" y="121"/>
                  </a:lnTo>
                  <a:lnTo>
                    <a:pt x="86" y="121"/>
                  </a:lnTo>
                  <a:lnTo>
                    <a:pt x="86" y="123"/>
                  </a:lnTo>
                  <a:lnTo>
                    <a:pt x="86" y="121"/>
                  </a:lnTo>
                  <a:lnTo>
                    <a:pt x="86" y="123"/>
                  </a:lnTo>
                  <a:lnTo>
                    <a:pt x="86" y="121"/>
                  </a:lnTo>
                  <a:lnTo>
                    <a:pt x="88" y="121"/>
                  </a:lnTo>
                  <a:lnTo>
                    <a:pt x="88" y="119"/>
                  </a:lnTo>
                  <a:lnTo>
                    <a:pt x="90" y="119"/>
                  </a:lnTo>
                  <a:lnTo>
                    <a:pt x="90" y="121"/>
                  </a:lnTo>
                  <a:lnTo>
                    <a:pt x="93" y="121"/>
                  </a:lnTo>
                  <a:lnTo>
                    <a:pt x="93" y="123"/>
                  </a:lnTo>
                  <a:lnTo>
                    <a:pt x="90" y="123"/>
                  </a:lnTo>
                  <a:lnTo>
                    <a:pt x="93" y="123"/>
                  </a:lnTo>
                  <a:lnTo>
                    <a:pt x="93" y="121"/>
                  </a:lnTo>
                  <a:lnTo>
                    <a:pt x="93" y="123"/>
                  </a:lnTo>
                  <a:lnTo>
                    <a:pt x="93" y="121"/>
                  </a:lnTo>
                  <a:lnTo>
                    <a:pt x="90" y="121"/>
                  </a:lnTo>
                  <a:lnTo>
                    <a:pt x="93" y="121"/>
                  </a:lnTo>
                  <a:lnTo>
                    <a:pt x="90" y="121"/>
                  </a:lnTo>
                  <a:lnTo>
                    <a:pt x="90" y="119"/>
                  </a:lnTo>
                  <a:lnTo>
                    <a:pt x="93" y="119"/>
                  </a:lnTo>
                  <a:lnTo>
                    <a:pt x="93" y="116"/>
                  </a:lnTo>
                  <a:lnTo>
                    <a:pt x="93" y="119"/>
                  </a:lnTo>
                  <a:lnTo>
                    <a:pt x="93" y="116"/>
                  </a:lnTo>
                  <a:lnTo>
                    <a:pt x="95" y="116"/>
                  </a:lnTo>
                  <a:lnTo>
                    <a:pt x="98" y="116"/>
                  </a:lnTo>
                  <a:lnTo>
                    <a:pt x="98" y="119"/>
                  </a:lnTo>
                  <a:lnTo>
                    <a:pt x="95" y="119"/>
                  </a:lnTo>
                  <a:lnTo>
                    <a:pt x="98" y="121"/>
                  </a:lnTo>
                  <a:lnTo>
                    <a:pt x="100" y="121"/>
                  </a:lnTo>
                  <a:lnTo>
                    <a:pt x="102" y="121"/>
                  </a:lnTo>
                  <a:lnTo>
                    <a:pt x="105" y="121"/>
                  </a:lnTo>
                  <a:lnTo>
                    <a:pt x="105" y="119"/>
                  </a:lnTo>
                  <a:lnTo>
                    <a:pt x="107" y="119"/>
                  </a:lnTo>
                  <a:lnTo>
                    <a:pt x="107" y="121"/>
                  </a:lnTo>
                  <a:lnTo>
                    <a:pt x="107" y="119"/>
                  </a:lnTo>
                  <a:lnTo>
                    <a:pt x="107" y="121"/>
                  </a:lnTo>
                  <a:lnTo>
                    <a:pt x="109" y="121"/>
                  </a:lnTo>
                  <a:lnTo>
                    <a:pt x="109" y="119"/>
                  </a:lnTo>
                  <a:lnTo>
                    <a:pt x="107" y="119"/>
                  </a:lnTo>
                  <a:lnTo>
                    <a:pt x="109" y="119"/>
                  </a:lnTo>
                  <a:lnTo>
                    <a:pt x="112" y="119"/>
                  </a:lnTo>
                  <a:lnTo>
                    <a:pt x="114" y="119"/>
                  </a:lnTo>
                  <a:lnTo>
                    <a:pt x="112" y="119"/>
                  </a:lnTo>
                  <a:lnTo>
                    <a:pt x="109" y="119"/>
                  </a:lnTo>
                  <a:lnTo>
                    <a:pt x="109" y="116"/>
                  </a:lnTo>
                  <a:lnTo>
                    <a:pt x="107" y="116"/>
                  </a:lnTo>
                  <a:lnTo>
                    <a:pt x="107" y="114"/>
                  </a:lnTo>
                  <a:lnTo>
                    <a:pt x="107" y="112"/>
                  </a:lnTo>
                  <a:lnTo>
                    <a:pt x="105" y="112"/>
                  </a:lnTo>
                  <a:lnTo>
                    <a:pt x="105" y="109"/>
                  </a:lnTo>
                  <a:lnTo>
                    <a:pt x="107" y="107"/>
                  </a:lnTo>
                  <a:lnTo>
                    <a:pt x="107" y="104"/>
                  </a:lnTo>
                  <a:lnTo>
                    <a:pt x="107" y="107"/>
                  </a:lnTo>
                  <a:lnTo>
                    <a:pt x="107" y="104"/>
                  </a:lnTo>
                  <a:lnTo>
                    <a:pt x="107" y="102"/>
                  </a:lnTo>
                  <a:lnTo>
                    <a:pt x="107" y="100"/>
                  </a:lnTo>
                  <a:lnTo>
                    <a:pt x="107" y="102"/>
                  </a:lnTo>
                  <a:lnTo>
                    <a:pt x="107" y="100"/>
                  </a:lnTo>
                  <a:lnTo>
                    <a:pt x="107" y="102"/>
                  </a:lnTo>
                  <a:lnTo>
                    <a:pt x="105" y="102"/>
                  </a:lnTo>
                  <a:lnTo>
                    <a:pt x="105" y="100"/>
                  </a:lnTo>
                  <a:lnTo>
                    <a:pt x="105" y="97"/>
                  </a:lnTo>
                  <a:lnTo>
                    <a:pt x="105" y="95"/>
                  </a:lnTo>
                  <a:lnTo>
                    <a:pt x="105" y="93"/>
                  </a:lnTo>
                  <a:lnTo>
                    <a:pt x="105" y="90"/>
                  </a:lnTo>
                  <a:lnTo>
                    <a:pt x="105" y="93"/>
                  </a:lnTo>
                  <a:lnTo>
                    <a:pt x="102" y="90"/>
                  </a:lnTo>
                  <a:lnTo>
                    <a:pt x="102" y="88"/>
                  </a:lnTo>
                  <a:lnTo>
                    <a:pt x="102" y="85"/>
                  </a:lnTo>
                  <a:lnTo>
                    <a:pt x="100" y="85"/>
                  </a:lnTo>
                  <a:lnTo>
                    <a:pt x="100" y="83"/>
                  </a:lnTo>
                  <a:lnTo>
                    <a:pt x="100" y="85"/>
                  </a:lnTo>
                  <a:lnTo>
                    <a:pt x="98" y="83"/>
                  </a:lnTo>
                  <a:lnTo>
                    <a:pt x="98" y="81"/>
                  </a:lnTo>
                  <a:lnTo>
                    <a:pt x="98" y="78"/>
                  </a:lnTo>
                  <a:lnTo>
                    <a:pt x="95" y="78"/>
                  </a:lnTo>
                  <a:lnTo>
                    <a:pt x="95" y="76"/>
                  </a:lnTo>
                  <a:lnTo>
                    <a:pt x="98" y="76"/>
                  </a:lnTo>
                  <a:lnTo>
                    <a:pt x="98" y="73"/>
                  </a:lnTo>
                  <a:lnTo>
                    <a:pt x="98" y="71"/>
                  </a:lnTo>
                  <a:lnTo>
                    <a:pt x="95" y="71"/>
                  </a:lnTo>
                  <a:lnTo>
                    <a:pt x="95" y="69"/>
                  </a:lnTo>
                  <a:lnTo>
                    <a:pt x="95" y="71"/>
                  </a:lnTo>
                  <a:lnTo>
                    <a:pt x="95" y="69"/>
                  </a:lnTo>
                  <a:lnTo>
                    <a:pt x="93" y="69"/>
                  </a:lnTo>
                  <a:lnTo>
                    <a:pt x="95" y="69"/>
                  </a:lnTo>
                  <a:lnTo>
                    <a:pt x="93" y="69"/>
                  </a:lnTo>
                  <a:lnTo>
                    <a:pt x="93" y="66"/>
                  </a:lnTo>
                  <a:lnTo>
                    <a:pt x="95" y="66"/>
                  </a:lnTo>
                  <a:lnTo>
                    <a:pt x="95" y="69"/>
                  </a:lnTo>
                  <a:lnTo>
                    <a:pt x="98" y="66"/>
                  </a:lnTo>
                  <a:lnTo>
                    <a:pt x="98" y="69"/>
                  </a:lnTo>
                  <a:lnTo>
                    <a:pt x="98" y="66"/>
                  </a:lnTo>
                  <a:lnTo>
                    <a:pt x="98" y="69"/>
                  </a:lnTo>
                  <a:lnTo>
                    <a:pt x="100" y="69"/>
                  </a:lnTo>
                  <a:lnTo>
                    <a:pt x="102" y="69"/>
                  </a:lnTo>
                  <a:lnTo>
                    <a:pt x="102" y="71"/>
                  </a:lnTo>
                  <a:lnTo>
                    <a:pt x="105" y="71"/>
                  </a:lnTo>
                  <a:lnTo>
                    <a:pt x="107" y="71"/>
                  </a:lnTo>
                  <a:lnTo>
                    <a:pt x="109" y="69"/>
                  </a:lnTo>
                  <a:lnTo>
                    <a:pt x="112" y="69"/>
                  </a:lnTo>
                  <a:lnTo>
                    <a:pt x="114" y="69"/>
                  </a:lnTo>
                  <a:lnTo>
                    <a:pt x="116" y="69"/>
                  </a:lnTo>
                  <a:lnTo>
                    <a:pt x="116" y="71"/>
                  </a:lnTo>
                  <a:lnTo>
                    <a:pt x="116" y="73"/>
                  </a:lnTo>
                  <a:lnTo>
                    <a:pt x="114" y="73"/>
                  </a:lnTo>
                  <a:lnTo>
                    <a:pt x="114" y="76"/>
                  </a:lnTo>
                  <a:lnTo>
                    <a:pt x="116" y="78"/>
                  </a:lnTo>
                  <a:lnTo>
                    <a:pt x="116" y="81"/>
                  </a:lnTo>
                  <a:lnTo>
                    <a:pt x="119" y="81"/>
                  </a:lnTo>
                  <a:lnTo>
                    <a:pt x="119" y="83"/>
                  </a:lnTo>
                  <a:lnTo>
                    <a:pt x="119" y="85"/>
                  </a:lnTo>
                  <a:lnTo>
                    <a:pt x="121" y="85"/>
                  </a:lnTo>
                  <a:lnTo>
                    <a:pt x="121" y="83"/>
                  </a:lnTo>
                  <a:lnTo>
                    <a:pt x="124" y="83"/>
                  </a:lnTo>
                  <a:lnTo>
                    <a:pt x="126" y="83"/>
                  </a:lnTo>
                  <a:lnTo>
                    <a:pt x="128" y="83"/>
                  </a:lnTo>
                  <a:lnTo>
                    <a:pt x="128" y="85"/>
                  </a:lnTo>
                  <a:lnTo>
                    <a:pt x="131" y="85"/>
                  </a:lnTo>
                  <a:lnTo>
                    <a:pt x="133" y="85"/>
                  </a:lnTo>
                  <a:lnTo>
                    <a:pt x="135" y="85"/>
                  </a:lnTo>
                  <a:lnTo>
                    <a:pt x="138" y="85"/>
                  </a:lnTo>
                  <a:lnTo>
                    <a:pt x="140" y="85"/>
                  </a:lnTo>
                  <a:lnTo>
                    <a:pt x="143" y="85"/>
                  </a:lnTo>
                  <a:lnTo>
                    <a:pt x="145" y="85"/>
                  </a:lnTo>
                  <a:lnTo>
                    <a:pt x="147" y="88"/>
                  </a:lnTo>
                  <a:lnTo>
                    <a:pt x="150" y="88"/>
                  </a:lnTo>
                  <a:lnTo>
                    <a:pt x="150" y="90"/>
                  </a:lnTo>
                  <a:lnTo>
                    <a:pt x="150" y="88"/>
                  </a:lnTo>
                  <a:lnTo>
                    <a:pt x="152" y="88"/>
                  </a:lnTo>
                  <a:lnTo>
                    <a:pt x="154" y="88"/>
                  </a:lnTo>
                  <a:lnTo>
                    <a:pt x="157" y="88"/>
                  </a:lnTo>
                  <a:lnTo>
                    <a:pt x="157" y="85"/>
                  </a:lnTo>
                  <a:lnTo>
                    <a:pt x="159" y="85"/>
                  </a:lnTo>
                  <a:lnTo>
                    <a:pt x="162" y="83"/>
                  </a:lnTo>
                  <a:lnTo>
                    <a:pt x="164" y="83"/>
                  </a:lnTo>
                  <a:lnTo>
                    <a:pt x="164" y="81"/>
                  </a:lnTo>
                  <a:lnTo>
                    <a:pt x="166" y="81"/>
                  </a:lnTo>
                  <a:lnTo>
                    <a:pt x="169" y="81"/>
                  </a:lnTo>
                  <a:lnTo>
                    <a:pt x="171" y="81"/>
                  </a:lnTo>
                  <a:lnTo>
                    <a:pt x="173" y="81"/>
                  </a:lnTo>
                  <a:lnTo>
                    <a:pt x="173" y="78"/>
                  </a:lnTo>
                  <a:lnTo>
                    <a:pt x="176" y="78"/>
                  </a:lnTo>
                  <a:lnTo>
                    <a:pt x="176" y="81"/>
                  </a:lnTo>
                  <a:lnTo>
                    <a:pt x="178" y="81"/>
                  </a:lnTo>
                  <a:lnTo>
                    <a:pt x="181" y="81"/>
                  </a:lnTo>
                  <a:lnTo>
                    <a:pt x="181" y="78"/>
                  </a:lnTo>
                  <a:lnTo>
                    <a:pt x="181" y="76"/>
                  </a:lnTo>
                  <a:lnTo>
                    <a:pt x="183" y="76"/>
                  </a:lnTo>
                  <a:lnTo>
                    <a:pt x="183" y="78"/>
                  </a:lnTo>
                  <a:lnTo>
                    <a:pt x="185" y="78"/>
                  </a:lnTo>
                  <a:lnTo>
                    <a:pt x="185" y="81"/>
                  </a:lnTo>
                  <a:lnTo>
                    <a:pt x="185" y="83"/>
                  </a:lnTo>
                  <a:lnTo>
                    <a:pt x="185" y="81"/>
                  </a:lnTo>
                  <a:lnTo>
                    <a:pt x="185" y="78"/>
                  </a:lnTo>
                  <a:lnTo>
                    <a:pt x="183" y="78"/>
                  </a:lnTo>
                  <a:lnTo>
                    <a:pt x="183" y="76"/>
                  </a:lnTo>
                  <a:lnTo>
                    <a:pt x="181" y="76"/>
                  </a:lnTo>
                  <a:lnTo>
                    <a:pt x="181" y="78"/>
                  </a:lnTo>
                  <a:lnTo>
                    <a:pt x="181" y="81"/>
                  </a:lnTo>
                  <a:lnTo>
                    <a:pt x="178" y="81"/>
                  </a:lnTo>
                  <a:lnTo>
                    <a:pt x="176" y="81"/>
                  </a:lnTo>
                  <a:lnTo>
                    <a:pt x="176" y="78"/>
                  </a:lnTo>
                  <a:lnTo>
                    <a:pt x="173" y="78"/>
                  </a:lnTo>
                  <a:lnTo>
                    <a:pt x="173" y="81"/>
                  </a:lnTo>
                  <a:lnTo>
                    <a:pt x="171" y="81"/>
                  </a:lnTo>
                  <a:lnTo>
                    <a:pt x="169" y="81"/>
                  </a:lnTo>
                  <a:lnTo>
                    <a:pt x="166" y="81"/>
                  </a:lnTo>
                  <a:lnTo>
                    <a:pt x="164" y="81"/>
                  </a:lnTo>
                  <a:lnTo>
                    <a:pt x="162" y="81"/>
                  </a:lnTo>
                  <a:lnTo>
                    <a:pt x="162" y="78"/>
                  </a:lnTo>
                  <a:lnTo>
                    <a:pt x="162" y="81"/>
                  </a:lnTo>
                  <a:lnTo>
                    <a:pt x="164" y="81"/>
                  </a:lnTo>
                  <a:lnTo>
                    <a:pt x="164" y="78"/>
                  </a:lnTo>
                  <a:lnTo>
                    <a:pt x="162" y="78"/>
                  </a:lnTo>
                  <a:lnTo>
                    <a:pt x="159" y="78"/>
                  </a:lnTo>
                  <a:lnTo>
                    <a:pt x="159" y="76"/>
                  </a:lnTo>
                  <a:lnTo>
                    <a:pt x="162" y="73"/>
                  </a:lnTo>
                  <a:lnTo>
                    <a:pt x="162" y="71"/>
                  </a:lnTo>
                  <a:lnTo>
                    <a:pt x="164" y="71"/>
                  </a:lnTo>
                  <a:lnTo>
                    <a:pt x="162" y="71"/>
                  </a:lnTo>
                  <a:lnTo>
                    <a:pt x="164" y="71"/>
                  </a:lnTo>
                  <a:lnTo>
                    <a:pt x="162" y="69"/>
                  </a:lnTo>
                  <a:lnTo>
                    <a:pt x="162" y="71"/>
                  </a:lnTo>
                  <a:lnTo>
                    <a:pt x="162" y="69"/>
                  </a:lnTo>
                  <a:lnTo>
                    <a:pt x="164" y="71"/>
                  </a:lnTo>
                  <a:lnTo>
                    <a:pt x="164" y="69"/>
                  </a:lnTo>
                  <a:lnTo>
                    <a:pt x="164" y="66"/>
                  </a:lnTo>
                  <a:lnTo>
                    <a:pt x="166" y="66"/>
                  </a:lnTo>
                  <a:lnTo>
                    <a:pt x="169" y="66"/>
                  </a:lnTo>
                  <a:lnTo>
                    <a:pt x="171" y="64"/>
                  </a:lnTo>
                  <a:lnTo>
                    <a:pt x="173" y="64"/>
                  </a:lnTo>
                  <a:lnTo>
                    <a:pt x="173" y="62"/>
                  </a:lnTo>
                  <a:lnTo>
                    <a:pt x="176" y="62"/>
                  </a:lnTo>
                  <a:lnTo>
                    <a:pt x="178" y="62"/>
                  </a:lnTo>
                  <a:lnTo>
                    <a:pt x="178" y="59"/>
                  </a:lnTo>
                  <a:lnTo>
                    <a:pt x="181" y="59"/>
                  </a:lnTo>
                  <a:lnTo>
                    <a:pt x="183" y="59"/>
                  </a:lnTo>
                  <a:lnTo>
                    <a:pt x="185" y="59"/>
                  </a:lnTo>
                  <a:lnTo>
                    <a:pt x="188" y="59"/>
                  </a:lnTo>
                  <a:lnTo>
                    <a:pt x="190" y="57"/>
                  </a:lnTo>
                  <a:lnTo>
                    <a:pt x="192" y="57"/>
                  </a:lnTo>
                  <a:lnTo>
                    <a:pt x="195" y="57"/>
                  </a:lnTo>
                  <a:lnTo>
                    <a:pt x="192" y="57"/>
                  </a:lnTo>
                  <a:lnTo>
                    <a:pt x="195" y="57"/>
                  </a:lnTo>
                  <a:lnTo>
                    <a:pt x="197" y="57"/>
                  </a:lnTo>
                  <a:lnTo>
                    <a:pt x="197" y="54"/>
                  </a:lnTo>
                  <a:lnTo>
                    <a:pt x="200" y="54"/>
                  </a:lnTo>
                  <a:lnTo>
                    <a:pt x="200" y="52"/>
                  </a:lnTo>
                  <a:lnTo>
                    <a:pt x="202" y="52"/>
                  </a:lnTo>
                  <a:lnTo>
                    <a:pt x="202" y="50"/>
                  </a:lnTo>
                  <a:lnTo>
                    <a:pt x="204" y="50"/>
                  </a:lnTo>
                  <a:lnTo>
                    <a:pt x="207" y="47"/>
                  </a:lnTo>
                  <a:lnTo>
                    <a:pt x="207" y="45"/>
                  </a:lnTo>
                  <a:lnTo>
                    <a:pt x="209" y="43"/>
                  </a:lnTo>
                  <a:lnTo>
                    <a:pt x="209" y="45"/>
                  </a:lnTo>
                  <a:lnTo>
                    <a:pt x="211" y="45"/>
                  </a:lnTo>
                  <a:lnTo>
                    <a:pt x="214" y="45"/>
                  </a:lnTo>
                  <a:lnTo>
                    <a:pt x="211" y="45"/>
                  </a:lnTo>
                  <a:lnTo>
                    <a:pt x="211" y="43"/>
                  </a:lnTo>
                  <a:lnTo>
                    <a:pt x="211" y="45"/>
                  </a:lnTo>
                  <a:lnTo>
                    <a:pt x="211" y="43"/>
                  </a:lnTo>
                  <a:lnTo>
                    <a:pt x="209" y="43"/>
                  </a:lnTo>
                  <a:lnTo>
                    <a:pt x="209" y="40"/>
                  </a:lnTo>
                  <a:lnTo>
                    <a:pt x="211" y="40"/>
                  </a:lnTo>
                  <a:lnTo>
                    <a:pt x="209" y="40"/>
                  </a:lnTo>
                  <a:lnTo>
                    <a:pt x="209" y="38"/>
                  </a:lnTo>
                  <a:lnTo>
                    <a:pt x="209" y="35"/>
                  </a:lnTo>
                  <a:lnTo>
                    <a:pt x="211" y="35"/>
                  </a:lnTo>
                  <a:lnTo>
                    <a:pt x="209" y="35"/>
                  </a:lnTo>
                  <a:lnTo>
                    <a:pt x="209" y="33"/>
                  </a:lnTo>
                  <a:lnTo>
                    <a:pt x="209" y="31"/>
                  </a:lnTo>
                  <a:lnTo>
                    <a:pt x="209" y="28"/>
                  </a:lnTo>
                  <a:lnTo>
                    <a:pt x="211" y="28"/>
                  </a:lnTo>
                  <a:lnTo>
                    <a:pt x="211" y="26"/>
                  </a:lnTo>
                  <a:lnTo>
                    <a:pt x="209" y="26"/>
                  </a:lnTo>
                  <a:lnTo>
                    <a:pt x="209" y="24"/>
                  </a:lnTo>
                  <a:lnTo>
                    <a:pt x="209" y="21"/>
                  </a:lnTo>
                  <a:lnTo>
                    <a:pt x="209" y="19"/>
                  </a:lnTo>
                  <a:lnTo>
                    <a:pt x="211" y="19"/>
                  </a:lnTo>
                  <a:lnTo>
                    <a:pt x="211" y="16"/>
                  </a:lnTo>
                  <a:lnTo>
                    <a:pt x="211" y="14"/>
                  </a:lnTo>
                  <a:lnTo>
                    <a:pt x="209" y="14"/>
                  </a:lnTo>
                  <a:lnTo>
                    <a:pt x="211" y="14"/>
                  </a:lnTo>
                  <a:lnTo>
                    <a:pt x="209" y="14"/>
                  </a:lnTo>
                  <a:lnTo>
                    <a:pt x="209" y="12"/>
                  </a:lnTo>
                  <a:lnTo>
                    <a:pt x="211" y="12"/>
                  </a:lnTo>
                  <a:lnTo>
                    <a:pt x="214" y="9"/>
                  </a:lnTo>
                  <a:lnTo>
                    <a:pt x="214" y="7"/>
                  </a:lnTo>
                  <a:lnTo>
                    <a:pt x="216" y="7"/>
                  </a:lnTo>
                  <a:lnTo>
                    <a:pt x="219" y="7"/>
                  </a:lnTo>
                  <a:lnTo>
                    <a:pt x="221" y="7"/>
                  </a:lnTo>
                  <a:lnTo>
                    <a:pt x="221" y="5"/>
                  </a:lnTo>
                  <a:lnTo>
                    <a:pt x="223" y="5"/>
                  </a:lnTo>
                  <a:lnTo>
                    <a:pt x="226" y="5"/>
                  </a:lnTo>
                  <a:lnTo>
                    <a:pt x="228" y="5"/>
                  </a:lnTo>
                  <a:lnTo>
                    <a:pt x="226" y="5"/>
                  </a:lnTo>
                  <a:lnTo>
                    <a:pt x="228" y="5"/>
                  </a:lnTo>
                  <a:lnTo>
                    <a:pt x="228" y="2"/>
                  </a:lnTo>
                  <a:lnTo>
                    <a:pt x="228" y="5"/>
                  </a:lnTo>
                  <a:lnTo>
                    <a:pt x="230" y="5"/>
                  </a:lnTo>
                  <a:lnTo>
                    <a:pt x="228" y="5"/>
                  </a:lnTo>
                  <a:lnTo>
                    <a:pt x="230" y="5"/>
                  </a:lnTo>
                  <a:lnTo>
                    <a:pt x="230" y="2"/>
                  </a:lnTo>
                  <a:lnTo>
                    <a:pt x="228" y="2"/>
                  </a:lnTo>
                  <a:lnTo>
                    <a:pt x="230" y="2"/>
                  </a:lnTo>
                  <a:lnTo>
                    <a:pt x="230" y="5"/>
                  </a:lnTo>
                  <a:lnTo>
                    <a:pt x="233" y="2"/>
                  </a:lnTo>
                  <a:lnTo>
                    <a:pt x="233" y="5"/>
                  </a:lnTo>
                  <a:lnTo>
                    <a:pt x="233" y="2"/>
                  </a:lnTo>
                  <a:lnTo>
                    <a:pt x="235" y="2"/>
                  </a:lnTo>
                  <a:lnTo>
                    <a:pt x="238" y="2"/>
                  </a:lnTo>
                  <a:lnTo>
                    <a:pt x="240" y="2"/>
                  </a:lnTo>
                  <a:lnTo>
                    <a:pt x="242" y="0"/>
                  </a:lnTo>
                  <a:lnTo>
                    <a:pt x="242" y="2"/>
                  </a:lnTo>
                  <a:lnTo>
                    <a:pt x="242" y="5"/>
                  </a:lnTo>
                  <a:lnTo>
                    <a:pt x="245" y="5"/>
                  </a:lnTo>
                  <a:lnTo>
                    <a:pt x="245" y="7"/>
                  </a:lnTo>
                  <a:lnTo>
                    <a:pt x="242" y="9"/>
                  </a:lnTo>
                  <a:lnTo>
                    <a:pt x="245" y="9"/>
                  </a:lnTo>
                  <a:lnTo>
                    <a:pt x="245" y="12"/>
                  </a:lnTo>
                  <a:lnTo>
                    <a:pt x="245" y="14"/>
                  </a:lnTo>
                  <a:lnTo>
                    <a:pt x="247" y="14"/>
                  </a:lnTo>
                  <a:lnTo>
                    <a:pt x="247" y="16"/>
                  </a:lnTo>
                  <a:lnTo>
                    <a:pt x="249" y="16"/>
                  </a:lnTo>
                  <a:lnTo>
                    <a:pt x="249" y="19"/>
                  </a:lnTo>
                  <a:lnTo>
                    <a:pt x="252" y="19"/>
                  </a:lnTo>
                  <a:lnTo>
                    <a:pt x="254" y="19"/>
                  </a:lnTo>
                  <a:lnTo>
                    <a:pt x="254" y="16"/>
                  </a:lnTo>
                  <a:lnTo>
                    <a:pt x="256" y="16"/>
                  </a:lnTo>
                  <a:lnTo>
                    <a:pt x="259" y="16"/>
                  </a:lnTo>
                  <a:lnTo>
                    <a:pt x="261" y="16"/>
                  </a:lnTo>
                  <a:lnTo>
                    <a:pt x="261" y="14"/>
                  </a:lnTo>
                  <a:lnTo>
                    <a:pt x="261" y="16"/>
                  </a:lnTo>
                  <a:lnTo>
                    <a:pt x="264" y="16"/>
                  </a:lnTo>
                  <a:lnTo>
                    <a:pt x="264" y="19"/>
                  </a:lnTo>
                  <a:lnTo>
                    <a:pt x="266" y="19"/>
                  </a:lnTo>
                  <a:lnTo>
                    <a:pt x="266" y="21"/>
                  </a:lnTo>
                  <a:lnTo>
                    <a:pt x="264" y="21"/>
                  </a:lnTo>
                  <a:lnTo>
                    <a:pt x="266" y="21"/>
                  </a:lnTo>
                  <a:lnTo>
                    <a:pt x="266" y="24"/>
                  </a:lnTo>
                  <a:lnTo>
                    <a:pt x="266" y="26"/>
                  </a:lnTo>
                  <a:lnTo>
                    <a:pt x="266" y="28"/>
                  </a:lnTo>
                  <a:lnTo>
                    <a:pt x="268" y="28"/>
                  </a:lnTo>
                  <a:lnTo>
                    <a:pt x="271" y="31"/>
                  </a:lnTo>
                  <a:lnTo>
                    <a:pt x="271" y="28"/>
                  </a:lnTo>
                  <a:lnTo>
                    <a:pt x="273" y="28"/>
                  </a:lnTo>
                  <a:lnTo>
                    <a:pt x="273" y="31"/>
                  </a:lnTo>
                  <a:lnTo>
                    <a:pt x="275" y="31"/>
                  </a:lnTo>
                  <a:lnTo>
                    <a:pt x="275" y="28"/>
                  </a:lnTo>
                  <a:lnTo>
                    <a:pt x="275" y="31"/>
                  </a:lnTo>
                  <a:lnTo>
                    <a:pt x="278" y="31"/>
                  </a:lnTo>
                  <a:lnTo>
                    <a:pt x="278" y="33"/>
                  </a:lnTo>
                  <a:lnTo>
                    <a:pt x="278" y="35"/>
                  </a:lnTo>
                  <a:lnTo>
                    <a:pt x="278" y="38"/>
                  </a:lnTo>
                  <a:lnTo>
                    <a:pt x="280" y="38"/>
                  </a:lnTo>
                  <a:lnTo>
                    <a:pt x="283" y="38"/>
                  </a:lnTo>
                  <a:lnTo>
                    <a:pt x="283" y="35"/>
                  </a:lnTo>
                  <a:lnTo>
                    <a:pt x="283" y="38"/>
                  </a:lnTo>
                  <a:lnTo>
                    <a:pt x="285" y="38"/>
                  </a:lnTo>
                  <a:lnTo>
                    <a:pt x="285" y="35"/>
                  </a:lnTo>
                  <a:lnTo>
                    <a:pt x="285" y="38"/>
                  </a:lnTo>
                  <a:lnTo>
                    <a:pt x="287" y="38"/>
                  </a:lnTo>
                  <a:lnTo>
                    <a:pt x="290" y="38"/>
                  </a:lnTo>
                  <a:lnTo>
                    <a:pt x="290" y="35"/>
                  </a:lnTo>
                  <a:lnTo>
                    <a:pt x="290" y="38"/>
                  </a:lnTo>
                  <a:lnTo>
                    <a:pt x="292" y="38"/>
                  </a:lnTo>
                  <a:lnTo>
                    <a:pt x="294" y="38"/>
                  </a:lnTo>
                  <a:lnTo>
                    <a:pt x="294" y="40"/>
                  </a:lnTo>
                  <a:lnTo>
                    <a:pt x="297" y="40"/>
                  </a:lnTo>
                  <a:lnTo>
                    <a:pt x="297" y="43"/>
                  </a:lnTo>
                  <a:lnTo>
                    <a:pt x="294" y="43"/>
                  </a:lnTo>
                  <a:lnTo>
                    <a:pt x="294" y="45"/>
                  </a:lnTo>
                  <a:lnTo>
                    <a:pt x="294" y="47"/>
                  </a:lnTo>
                  <a:lnTo>
                    <a:pt x="297" y="47"/>
                  </a:lnTo>
                  <a:lnTo>
                    <a:pt x="297" y="50"/>
                  </a:lnTo>
                  <a:lnTo>
                    <a:pt x="297" y="52"/>
                  </a:lnTo>
                  <a:lnTo>
                    <a:pt x="294" y="52"/>
                  </a:lnTo>
                  <a:lnTo>
                    <a:pt x="294" y="54"/>
                  </a:lnTo>
                  <a:lnTo>
                    <a:pt x="297" y="54"/>
                  </a:lnTo>
                  <a:lnTo>
                    <a:pt x="297" y="57"/>
                  </a:lnTo>
                  <a:lnTo>
                    <a:pt x="299" y="57"/>
                  </a:lnTo>
                  <a:lnTo>
                    <a:pt x="299" y="54"/>
                  </a:lnTo>
                  <a:lnTo>
                    <a:pt x="302" y="54"/>
                  </a:lnTo>
                  <a:lnTo>
                    <a:pt x="302" y="57"/>
                  </a:lnTo>
                  <a:lnTo>
                    <a:pt x="304" y="57"/>
                  </a:lnTo>
                  <a:lnTo>
                    <a:pt x="306" y="57"/>
                  </a:lnTo>
                  <a:lnTo>
                    <a:pt x="309" y="54"/>
                  </a:lnTo>
                  <a:lnTo>
                    <a:pt x="311" y="54"/>
                  </a:lnTo>
                  <a:lnTo>
                    <a:pt x="313" y="54"/>
                  </a:lnTo>
                  <a:lnTo>
                    <a:pt x="313" y="52"/>
                  </a:lnTo>
                  <a:lnTo>
                    <a:pt x="313" y="50"/>
                  </a:lnTo>
                  <a:lnTo>
                    <a:pt x="313" y="47"/>
                  </a:lnTo>
                  <a:lnTo>
                    <a:pt x="316" y="47"/>
                  </a:lnTo>
                  <a:lnTo>
                    <a:pt x="316" y="45"/>
                  </a:lnTo>
                  <a:lnTo>
                    <a:pt x="318" y="45"/>
                  </a:lnTo>
                  <a:lnTo>
                    <a:pt x="318" y="47"/>
                  </a:lnTo>
                  <a:lnTo>
                    <a:pt x="318" y="50"/>
                  </a:lnTo>
                  <a:lnTo>
                    <a:pt x="316" y="50"/>
                  </a:lnTo>
                  <a:lnTo>
                    <a:pt x="318" y="52"/>
                  </a:lnTo>
                  <a:lnTo>
                    <a:pt x="316" y="54"/>
                  </a:lnTo>
                  <a:lnTo>
                    <a:pt x="316" y="57"/>
                  </a:lnTo>
                  <a:lnTo>
                    <a:pt x="318" y="57"/>
                  </a:lnTo>
                  <a:lnTo>
                    <a:pt x="318" y="59"/>
                  </a:lnTo>
                  <a:lnTo>
                    <a:pt x="318" y="62"/>
                  </a:lnTo>
                  <a:lnTo>
                    <a:pt x="318" y="64"/>
                  </a:lnTo>
                  <a:lnTo>
                    <a:pt x="321" y="64"/>
                  </a:lnTo>
                  <a:lnTo>
                    <a:pt x="323" y="64"/>
                  </a:lnTo>
                  <a:lnTo>
                    <a:pt x="325" y="64"/>
                  </a:lnTo>
                  <a:lnTo>
                    <a:pt x="325" y="66"/>
                  </a:lnTo>
                  <a:lnTo>
                    <a:pt x="325" y="64"/>
                  </a:lnTo>
                  <a:lnTo>
                    <a:pt x="325" y="66"/>
                  </a:lnTo>
                  <a:lnTo>
                    <a:pt x="328" y="66"/>
                  </a:lnTo>
                  <a:lnTo>
                    <a:pt x="328" y="69"/>
                  </a:lnTo>
                  <a:lnTo>
                    <a:pt x="328" y="66"/>
                  </a:lnTo>
                  <a:lnTo>
                    <a:pt x="328" y="69"/>
                  </a:lnTo>
                  <a:lnTo>
                    <a:pt x="330" y="69"/>
                  </a:lnTo>
                  <a:lnTo>
                    <a:pt x="332" y="69"/>
                  </a:lnTo>
                  <a:lnTo>
                    <a:pt x="335" y="71"/>
                  </a:lnTo>
                  <a:lnTo>
                    <a:pt x="332" y="71"/>
                  </a:lnTo>
                  <a:lnTo>
                    <a:pt x="332" y="73"/>
                  </a:lnTo>
                  <a:lnTo>
                    <a:pt x="332" y="71"/>
                  </a:lnTo>
                  <a:lnTo>
                    <a:pt x="335" y="71"/>
                  </a:lnTo>
                  <a:lnTo>
                    <a:pt x="337" y="73"/>
                  </a:lnTo>
                  <a:lnTo>
                    <a:pt x="337" y="76"/>
                  </a:lnTo>
                  <a:lnTo>
                    <a:pt x="337" y="78"/>
                  </a:lnTo>
                  <a:lnTo>
                    <a:pt x="340" y="78"/>
                  </a:lnTo>
                  <a:lnTo>
                    <a:pt x="342" y="76"/>
                  </a:lnTo>
                  <a:lnTo>
                    <a:pt x="342" y="78"/>
                  </a:lnTo>
                  <a:lnTo>
                    <a:pt x="344" y="78"/>
                  </a:lnTo>
                  <a:lnTo>
                    <a:pt x="344" y="76"/>
                  </a:lnTo>
                  <a:lnTo>
                    <a:pt x="347" y="76"/>
                  </a:lnTo>
                  <a:lnTo>
                    <a:pt x="349" y="76"/>
                  </a:lnTo>
                  <a:lnTo>
                    <a:pt x="351" y="76"/>
                  </a:lnTo>
                  <a:lnTo>
                    <a:pt x="351" y="78"/>
                  </a:lnTo>
                  <a:lnTo>
                    <a:pt x="354" y="78"/>
                  </a:lnTo>
                  <a:lnTo>
                    <a:pt x="354" y="81"/>
                  </a:lnTo>
                  <a:lnTo>
                    <a:pt x="356" y="81"/>
                  </a:lnTo>
                  <a:lnTo>
                    <a:pt x="359" y="81"/>
                  </a:lnTo>
                  <a:lnTo>
                    <a:pt x="359" y="78"/>
                  </a:lnTo>
                  <a:lnTo>
                    <a:pt x="361" y="78"/>
                  </a:lnTo>
                  <a:lnTo>
                    <a:pt x="363" y="78"/>
                  </a:lnTo>
                  <a:lnTo>
                    <a:pt x="366" y="78"/>
                  </a:lnTo>
                  <a:lnTo>
                    <a:pt x="366" y="81"/>
                  </a:lnTo>
                  <a:lnTo>
                    <a:pt x="368" y="81"/>
                  </a:lnTo>
                  <a:lnTo>
                    <a:pt x="370" y="81"/>
                  </a:lnTo>
                  <a:lnTo>
                    <a:pt x="370" y="78"/>
                  </a:lnTo>
                  <a:lnTo>
                    <a:pt x="370" y="81"/>
                  </a:lnTo>
                  <a:lnTo>
                    <a:pt x="373" y="81"/>
                  </a:lnTo>
                  <a:lnTo>
                    <a:pt x="373" y="83"/>
                  </a:lnTo>
                  <a:lnTo>
                    <a:pt x="375" y="83"/>
                  </a:lnTo>
                  <a:lnTo>
                    <a:pt x="375" y="85"/>
                  </a:lnTo>
                  <a:lnTo>
                    <a:pt x="373" y="85"/>
                  </a:lnTo>
                  <a:lnTo>
                    <a:pt x="375" y="85"/>
                  </a:lnTo>
                  <a:lnTo>
                    <a:pt x="375" y="88"/>
                  </a:lnTo>
                  <a:lnTo>
                    <a:pt x="377" y="88"/>
                  </a:lnTo>
                  <a:lnTo>
                    <a:pt x="377" y="90"/>
                  </a:lnTo>
                  <a:lnTo>
                    <a:pt x="377" y="93"/>
                  </a:lnTo>
                  <a:lnTo>
                    <a:pt x="380" y="93"/>
                  </a:lnTo>
                  <a:lnTo>
                    <a:pt x="380" y="95"/>
                  </a:lnTo>
                  <a:lnTo>
                    <a:pt x="382" y="95"/>
                  </a:lnTo>
                  <a:lnTo>
                    <a:pt x="385" y="95"/>
                  </a:lnTo>
                  <a:lnTo>
                    <a:pt x="385" y="93"/>
                  </a:lnTo>
                  <a:lnTo>
                    <a:pt x="382" y="93"/>
                  </a:lnTo>
                  <a:lnTo>
                    <a:pt x="385" y="93"/>
                  </a:lnTo>
                  <a:lnTo>
                    <a:pt x="387" y="93"/>
                  </a:lnTo>
                  <a:lnTo>
                    <a:pt x="387" y="90"/>
                  </a:lnTo>
                  <a:lnTo>
                    <a:pt x="389" y="90"/>
                  </a:lnTo>
                  <a:lnTo>
                    <a:pt x="389" y="93"/>
                  </a:lnTo>
                  <a:lnTo>
                    <a:pt x="389" y="95"/>
                  </a:lnTo>
                  <a:lnTo>
                    <a:pt x="389" y="97"/>
                  </a:lnTo>
                  <a:lnTo>
                    <a:pt x="392" y="97"/>
                  </a:lnTo>
                  <a:lnTo>
                    <a:pt x="392" y="95"/>
                  </a:lnTo>
                  <a:lnTo>
                    <a:pt x="394" y="95"/>
                  </a:lnTo>
                  <a:lnTo>
                    <a:pt x="394" y="97"/>
                  </a:lnTo>
                  <a:lnTo>
                    <a:pt x="396" y="95"/>
                  </a:lnTo>
                  <a:lnTo>
                    <a:pt x="399" y="97"/>
                  </a:lnTo>
                  <a:lnTo>
                    <a:pt x="399" y="95"/>
                  </a:lnTo>
                  <a:lnTo>
                    <a:pt x="401" y="95"/>
                  </a:lnTo>
                  <a:lnTo>
                    <a:pt x="401" y="93"/>
                  </a:lnTo>
                  <a:lnTo>
                    <a:pt x="404" y="93"/>
                  </a:lnTo>
                  <a:lnTo>
                    <a:pt x="404" y="95"/>
                  </a:lnTo>
                  <a:lnTo>
                    <a:pt x="406" y="95"/>
                  </a:lnTo>
                  <a:lnTo>
                    <a:pt x="406" y="97"/>
                  </a:lnTo>
                  <a:lnTo>
                    <a:pt x="408" y="97"/>
                  </a:lnTo>
                  <a:lnTo>
                    <a:pt x="411" y="100"/>
                  </a:lnTo>
                  <a:lnTo>
                    <a:pt x="413" y="100"/>
                  </a:lnTo>
                  <a:lnTo>
                    <a:pt x="415" y="100"/>
                  </a:lnTo>
                  <a:lnTo>
                    <a:pt x="418" y="100"/>
                  </a:lnTo>
                  <a:lnTo>
                    <a:pt x="420" y="100"/>
                  </a:lnTo>
                  <a:lnTo>
                    <a:pt x="420" y="102"/>
                  </a:lnTo>
                  <a:lnTo>
                    <a:pt x="423" y="100"/>
                  </a:lnTo>
                  <a:lnTo>
                    <a:pt x="423" y="102"/>
                  </a:lnTo>
                  <a:lnTo>
                    <a:pt x="425" y="102"/>
                  </a:lnTo>
                  <a:lnTo>
                    <a:pt x="427" y="102"/>
                  </a:lnTo>
                  <a:lnTo>
                    <a:pt x="427" y="104"/>
                  </a:lnTo>
                  <a:lnTo>
                    <a:pt x="430" y="104"/>
                  </a:lnTo>
                  <a:lnTo>
                    <a:pt x="427" y="104"/>
                  </a:lnTo>
                  <a:lnTo>
                    <a:pt x="427" y="107"/>
                  </a:lnTo>
                  <a:lnTo>
                    <a:pt x="425" y="109"/>
                  </a:lnTo>
                  <a:lnTo>
                    <a:pt x="425" y="112"/>
                  </a:lnTo>
                  <a:lnTo>
                    <a:pt x="423" y="112"/>
                  </a:lnTo>
                  <a:lnTo>
                    <a:pt x="423" y="114"/>
                  </a:lnTo>
                  <a:lnTo>
                    <a:pt x="420" y="114"/>
                  </a:lnTo>
                  <a:lnTo>
                    <a:pt x="420" y="116"/>
                  </a:lnTo>
                  <a:lnTo>
                    <a:pt x="418" y="116"/>
                  </a:lnTo>
                  <a:lnTo>
                    <a:pt x="418" y="119"/>
                  </a:lnTo>
                  <a:lnTo>
                    <a:pt x="415" y="119"/>
                  </a:lnTo>
                  <a:lnTo>
                    <a:pt x="415" y="121"/>
                  </a:lnTo>
                  <a:lnTo>
                    <a:pt x="415" y="123"/>
                  </a:lnTo>
                  <a:lnTo>
                    <a:pt x="415" y="126"/>
                  </a:lnTo>
                  <a:lnTo>
                    <a:pt x="413" y="126"/>
                  </a:lnTo>
                  <a:lnTo>
                    <a:pt x="413" y="128"/>
                  </a:lnTo>
                  <a:lnTo>
                    <a:pt x="413" y="131"/>
                  </a:lnTo>
                  <a:lnTo>
                    <a:pt x="413" y="133"/>
                  </a:lnTo>
                  <a:lnTo>
                    <a:pt x="413" y="135"/>
                  </a:lnTo>
                  <a:lnTo>
                    <a:pt x="411" y="135"/>
                  </a:lnTo>
                  <a:lnTo>
                    <a:pt x="411" y="138"/>
                  </a:lnTo>
                  <a:lnTo>
                    <a:pt x="411" y="140"/>
                  </a:lnTo>
                  <a:lnTo>
                    <a:pt x="408" y="140"/>
                  </a:lnTo>
                  <a:lnTo>
                    <a:pt x="408" y="142"/>
                  </a:lnTo>
                  <a:lnTo>
                    <a:pt x="408" y="145"/>
                  </a:lnTo>
                  <a:lnTo>
                    <a:pt x="408" y="147"/>
                  </a:lnTo>
                  <a:lnTo>
                    <a:pt x="408" y="150"/>
                  </a:lnTo>
                  <a:lnTo>
                    <a:pt x="408" y="152"/>
                  </a:lnTo>
                  <a:lnTo>
                    <a:pt x="408" y="154"/>
                  </a:lnTo>
                  <a:lnTo>
                    <a:pt x="408" y="157"/>
                  </a:lnTo>
                  <a:lnTo>
                    <a:pt x="406" y="157"/>
                  </a:lnTo>
                  <a:lnTo>
                    <a:pt x="408" y="157"/>
                  </a:lnTo>
                  <a:lnTo>
                    <a:pt x="406" y="159"/>
                  </a:lnTo>
                  <a:lnTo>
                    <a:pt x="406" y="161"/>
                  </a:lnTo>
                  <a:lnTo>
                    <a:pt x="406" y="164"/>
                  </a:lnTo>
                  <a:lnTo>
                    <a:pt x="406" y="166"/>
                  </a:lnTo>
                  <a:lnTo>
                    <a:pt x="408" y="169"/>
                  </a:lnTo>
                  <a:lnTo>
                    <a:pt x="408" y="171"/>
                  </a:lnTo>
                  <a:lnTo>
                    <a:pt x="406" y="171"/>
                  </a:lnTo>
                  <a:lnTo>
                    <a:pt x="406" y="173"/>
                  </a:lnTo>
                  <a:lnTo>
                    <a:pt x="406" y="176"/>
                  </a:lnTo>
                  <a:lnTo>
                    <a:pt x="404" y="176"/>
                  </a:lnTo>
                  <a:lnTo>
                    <a:pt x="404" y="173"/>
                  </a:lnTo>
                  <a:lnTo>
                    <a:pt x="404" y="176"/>
                  </a:lnTo>
                  <a:lnTo>
                    <a:pt x="401" y="176"/>
                  </a:lnTo>
                  <a:lnTo>
                    <a:pt x="401" y="178"/>
                  </a:lnTo>
                  <a:lnTo>
                    <a:pt x="399" y="176"/>
                  </a:lnTo>
                  <a:lnTo>
                    <a:pt x="399" y="178"/>
                  </a:lnTo>
                  <a:lnTo>
                    <a:pt x="396" y="178"/>
                  </a:lnTo>
                  <a:lnTo>
                    <a:pt x="396" y="176"/>
                  </a:lnTo>
                  <a:lnTo>
                    <a:pt x="396" y="178"/>
                  </a:lnTo>
                  <a:lnTo>
                    <a:pt x="394" y="176"/>
                  </a:lnTo>
                  <a:lnTo>
                    <a:pt x="396" y="173"/>
                  </a:lnTo>
                  <a:lnTo>
                    <a:pt x="394" y="173"/>
                  </a:lnTo>
                  <a:lnTo>
                    <a:pt x="392" y="173"/>
                  </a:lnTo>
                  <a:lnTo>
                    <a:pt x="389" y="173"/>
                  </a:lnTo>
                  <a:lnTo>
                    <a:pt x="389" y="176"/>
                  </a:lnTo>
                  <a:lnTo>
                    <a:pt x="387" y="176"/>
                  </a:lnTo>
                  <a:lnTo>
                    <a:pt x="387" y="178"/>
                  </a:lnTo>
                  <a:lnTo>
                    <a:pt x="385" y="178"/>
                  </a:lnTo>
                  <a:lnTo>
                    <a:pt x="385" y="180"/>
                  </a:lnTo>
                  <a:lnTo>
                    <a:pt x="387" y="180"/>
                  </a:lnTo>
                  <a:lnTo>
                    <a:pt x="389" y="180"/>
                  </a:lnTo>
                  <a:lnTo>
                    <a:pt x="392" y="180"/>
                  </a:lnTo>
                  <a:lnTo>
                    <a:pt x="389" y="180"/>
                  </a:lnTo>
                  <a:lnTo>
                    <a:pt x="389" y="183"/>
                  </a:lnTo>
                  <a:lnTo>
                    <a:pt x="387" y="183"/>
                  </a:lnTo>
                  <a:lnTo>
                    <a:pt x="387" y="185"/>
                  </a:lnTo>
                  <a:lnTo>
                    <a:pt x="387" y="188"/>
                  </a:lnTo>
                  <a:lnTo>
                    <a:pt x="385" y="188"/>
                  </a:lnTo>
                  <a:lnTo>
                    <a:pt x="385" y="190"/>
                  </a:lnTo>
                  <a:lnTo>
                    <a:pt x="382" y="190"/>
                  </a:lnTo>
                  <a:lnTo>
                    <a:pt x="382" y="192"/>
                  </a:lnTo>
                  <a:lnTo>
                    <a:pt x="380" y="192"/>
                  </a:lnTo>
                  <a:lnTo>
                    <a:pt x="380" y="195"/>
                  </a:lnTo>
                  <a:lnTo>
                    <a:pt x="377" y="195"/>
                  </a:lnTo>
                  <a:lnTo>
                    <a:pt x="380" y="195"/>
                  </a:lnTo>
                  <a:lnTo>
                    <a:pt x="377" y="197"/>
                  </a:lnTo>
                  <a:lnTo>
                    <a:pt x="375" y="197"/>
                  </a:lnTo>
                  <a:lnTo>
                    <a:pt x="375" y="199"/>
                  </a:lnTo>
                  <a:lnTo>
                    <a:pt x="373" y="199"/>
                  </a:lnTo>
                  <a:lnTo>
                    <a:pt x="370" y="199"/>
                  </a:lnTo>
                  <a:lnTo>
                    <a:pt x="370" y="202"/>
                  </a:lnTo>
                  <a:lnTo>
                    <a:pt x="370" y="204"/>
                  </a:lnTo>
                  <a:lnTo>
                    <a:pt x="370" y="207"/>
                  </a:lnTo>
                  <a:lnTo>
                    <a:pt x="370" y="209"/>
                  </a:lnTo>
                  <a:lnTo>
                    <a:pt x="368" y="209"/>
                  </a:lnTo>
                  <a:lnTo>
                    <a:pt x="368" y="211"/>
                  </a:lnTo>
                  <a:lnTo>
                    <a:pt x="366" y="211"/>
                  </a:lnTo>
                  <a:lnTo>
                    <a:pt x="366" y="214"/>
                  </a:lnTo>
                  <a:lnTo>
                    <a:pt x="363" y="214"/>
                  </a:lnTo>
                  <a:lnTo>
                    <a:pt x="363" y="216"/>
                  </a:lnTo>
                  <a:lnTo>
                    <a:pt x="361" y="216"/>
                  </a:lnTo>
                  <a:lnTo>
                    <a:pt x="359" y="218"/>
                  </a:lnTo>
                  <a:lnTo>
                    <a:pt x="361" y="218"/>
                  </a:lnTo>
                  <a:lnTo>
                    <a:pt x="361" y="221"/>
                  </a:lnTo>
                  <a:lnTo>
                    <a:pt x="359" y="221"/>
                  </a:lnTo>
                  <a:lnTo>
                    <a:pt x="359" y="223"/>
                  </a:lnTo>
                  <a:lnTo>
                    <a:pt x="359" y="226"/>
                  </a:lnTo>
                  <a:lnTo>
                    <a:pt x="361" y="226"/>
                  </a:lnTo>
                  <a:lnTo>
                    <a:pt x="361" y="228"/>
                  </a:lnTo>
                  <a:lnTo>
                    <a:pt x="361" y="230"/>
                  </a:lnTo>
                  <a:lnTo>
                    <a:pt x="359" y="233"/>
                  </a:lnTo>
                  <a:lnTo>
                    <a:pt x="361" y="233"/>
                  </a:lnTo>
                  <a:lnTo>
                    <a:pt x="359" y="233"/>
                  </a:lnTo>
                  <a:lnTo>
                    <a:pt x="356" y="235"/>
                  </a:lnTo>
                  <a:lnTo>
                    <a:pt x="356" y="233"/>
                  </a:lnTo>
                  <a:lnTo>
                    <a:pt x="356" y="235"/>
                  </a:lnTo>
                  <a:lnTo>
                    <a:pt x="354" y="235"/>
                  </a:lnTo>
                  <a:lnTo>
                    <a:pt x="356" y="235"/>
                  </a:lnTo>
                  <a:lnTo>
                    <a:pt x="356" y="237"/>
                  </a:lnTo>
                  <a:lnTo>
                    <a:pt x="354" y="237"/>
                  </a:lnTo>
                  <a:lnTo>
                    <a:pt x="354" y="240"/>
                  </a:lnTo>
                  <a:lnTo>
                    <a:pt x="354" y="237"/>
                  </a:lnTo>
                  <a:lnTo>
                    <a:pt x="356" y="237"/>
                  </a:lnTo>
                  <a:lnTo>
                    <a:pt x="359" y="237"/>
                  </a:lnTo>
                  <a:lnTo>
                    <a:pt x="361" y="237"/>
                  </a:lnTo>
                  <a:lnTo>
                    <a:pt x="361" y="235"/>
                  </a:lnTo>
                  <a:lnTo>
                    <a:pt x="363" y="235"/>
                  </a:lnTo>
                  <a:lnTo>
                    <a:pt x="366" y="235"/>
                  </a:lnTo>
                  <a:lnTo>
                    <a:pt x="366" y="233"/>
                  </a:lnTo>
                  <a:lnTo>
                    <a:pt x="363" y="233"/>
                  </a:lnTo>
                  <a:lnTo>
                    <a:pt x="363" y="230"/>
                  </a:lnTo>
                  <a:lnTo>
                    <a:pt x="363" y="228"/>
                  </a:lnTo>
                  <a:lnTo>
                    <a:pt x="366" y="226"/>
                  </a:lnTo>
                  <a:lnTo>
                    <a:pt x="368" y="226"/>
                  </a:lnTo>
                  <a:lnTo>
                    <a:pt x="370" y="226"/>
                  </a:lnTo>
                  <a:lnTo>
                    <a:pt x="373" y="223"/>
                  </a:lnTo>
                  <a:lnTo>
                    <a:pt x="377" y="223"/>
                  </a:lnTo>
                  <a:lnTo>
                    <a:pt x="382" y="226"/>
                  </a:lnTo>
                  <a:lnTo>
                    <a:pt x="382" y="228"/>
                  </a:lnTo>
                  <a:lnTo>
                    <a:pt x="382" y="230"/>
                  </a:lnTo>
                  <a:lnTo>
                    <a:pt x="385" y="230"/>
                  </a:lnTo>
                  <a:lnTo>
                    <a:pt x="385" y="233"/>
                  </a:lnTo>
                  <a:lnTo>
                    <a:pt x="382" y="233"/>
                  </a:lnTo>
                  <a:lnTo>
                    <a:pt x="382" y="235"/>
                  </a:lnTo>
                  <a:lnTo>
                    <a:pt x="382" y="237"/>
                  </a:lnTo>
                  <a:lnTo>
                    <a:pt x="385" y="240"/>
                  </a:lnTo>
                  <a:lnTo>
                    <a:pt x="385" y="242"/>
                  </a:lnTo>
                  <a:lnTo>
                    <a:pt x="387" y="242"/>
                  </a:lnTo>
                  <a:lnTo>
                    <a:pt x="387" y="245"/>
                  </a:lnTo>
                  <a:lnTo>
                    <a:pt x="389" y="245"/>
                  </a:lnTo>
                  <a:lnTo>
                    <a:pt x="389" y="247"/>
                  </a:lnTo>
                  <a:lnTo>
                    <a:pt x="389" y="249"/>
                  </a:lnTo>
                  <a:lnTo>
                    <a:pt x="389" y="252"/>
                  </a:lnTo>
                  <a:lnTo>
                    <a:pt x="387" y="252"/>
                  </a:lnTo>
                  <a:lnTo>
                    <a:pt x="385" y="252"/>
                  </a:lnTo>
                  <a:lnTo>
                    <a:pt x="382" y="252"/>
                  </a:lnTo>
                  <a:lnTo>
                    <a:pt x="382" y="254"/>
                  </a:lnTo>
                  <a:lnTo>
                    <a:pt x="382" y="256"/>
                  </a:lnTo>
                  <a:lnTo>
                    <a:pt x="382" y="259"/>
                  </a:lnTo>
                  <a:lnTo>
                    <a:pt x="385" y="259"/>
                  </a:lnTo>
                  <a:lnTo>
                    <a:pt x="385" y="261"/>
                  </a:lnTo>
                  <a:lnTo>
                    <a:pt x="387" y="261"/>
                  </a:lnTo>
                  <a:lnTo>
                    <a:pt x="389" y="261"/>
                  </a:lnTo>
                  <a:lnTo>
                    <a:pt x="389" y="264"/>
                  </a:lnTo>
                  <a:lnTo>
                    <a:pt x="387" y="264"/>
                  </a:lnTo>
                  <a:lnTo>
                    <a:pt x="389" y="266"/>
                  </a:lnTo>
                  <a:lnTo>
                    <a:pt x="389" y="268"/>
                  </a:lnTo>
                  <a:lnTo>
                    <a:pt x="392" y="268"/>
                  </a:lnTo>
                  <a:lnTo>
                    <a:pt x="389" y="268"/>
                  </a:lnTo>
                  <a:lnTo>
                    <a:pt x="389" y="271"/>
                  </a:lnTo>
                  <a:lnTo>
                    <a:pt x="392" y="271"/>
                  </a:lnTo>
                  <a:lnTo>
                    <a:pt x="394" y="271"/>
                  </a:lnTo>
                  <a:lnTo>
                    <a:pt x="394" y="273"/>
                  </a:lnTo>
                  <a:lnTo>
                    <a:pt x="394" y="275"/>
                  </a:lnTo>
                  <a:lnTo>
                    <a:pt x="392" y="275"/>
                  </a:lnTo>
                  <a:lnTo>
                    <a:pt x="392" y="278"/>
                  </a:lnTo>
                  <a:lnTo>
                    <a:pt x="394" y="278"/>
                  </a:lnTo>
                  <a:lnTo>
                    <a:pt x="394" y="280"/>
                  </a:lnTo>
                  <a:lnTo>
                    <a:pt x="392" y="280"/>
                  </a:lnTo>
                  <a:lnTo>
                    <a:pt x="392" y="283"/>
                  </a:lnTo>
                  <a:lnTo>
                    <a:pt x="389" y="280"/>
                  </a:lnTo>
                  <a:lnTo>
                    <a:pt x="389" y="283"/>
                  </a:lnTo>
                  <a:lnTo>
                    <a:pt x="387" y="283"/>
                  </a:lnTo>
                  <a:lnTo>
                    <a:pt x="385" y="285"/>
                  </a:lnTo>
                  <a:lnTo>
                    <a:pt x="382" y="285"/>
                  </a:lnTo>
                  <a:lnTo>
                    <a:pt x="380" y="285"/>
                  </a:lnTo>
                  <a:lnTo>
                    <a:pt x="377" y="285"/>
                  </a:lnTo>
                  <a:lnTo>
                    <a:pt x="377" y="287"/>
                  </a:lnTo>
                  <a:lnTo>
                    <a:pt x="377" y="290"/>
                  </a:lnTo>
                  <a:lnTo>
                    <a:pt x="380" y="290"/>
                  </a:lnTo>
                  <a:lnTo>
                    <a:pt x="380" y="292"/>
                  </a:lnTo>
                  <a:lnTo>
                    <a:pt x="380" y="294"/>
                  </a:lnTo>
                  <a:lnTo>
                    <a:pt x="380" y="297"/>
                  </a:lnTo>
                  <a:lnTo>
                    <a:pt x="382" y="297"/>
                  </a:lnTo>
                  <a:lnTo>
                    <a:pt x="382" y="299"/>
                  </a:lnTo>
                  <a:lnTo>
                    <a:pt x="385" y="299"/>
                  </a:lnTo>
                  <a:lnTo>
                    <a:pt x="387" y="299"/>
                  </a:lnTo>
                  <a:lnTo>
                    <a:pt x="389" y="299"/>
                  </a:lnTo>
                  <a:lnTo>
                    <a:pt x="389" y="302"/>
                  </a:lnTo>
                  <a:lnTo>
                    <a:pt x="389" y="304"/>
                  </a:lnTo>
                  <a:lnTo>
                    <a:pt x="392" y="304"/>
                  </a:lnTo>
                  <a:lnTo>
                    <a:pt x="392" y="306"/>
                  </a:lnTo>
                  <a:lnTo>
                    <a:pt x="389" y="306"/>
                  </a:lnTo>
                  <a:lnTo>
                    <a:pt x="387" y="306"/>
                  </a:lnTo>
                  <a:lnTo>
                    <a:pt x="387" y="309"/>
                  </a:lnTo>
                  <a:lnTo>
                    <a:pt x="387" y="311"/>
                  </a:lnTo>
                  <a:lnTo>
                    <a:pt x="385" y="311"/>
                  </a:lnTo>
                  <a:lnTo>
                    <a:pt x="387" y="311"/>
                  </a:lnTo>
                  <a:lnTo>
                    <a:pt x="385" y="313"/>
                  </a:lnTo>
                  <a:lnTo>
                    <a:pt x="385" y="316"/>
                  </a:lnTo>
                  <a:lnTo>
                    <a:pt x="387" y="318"/>
                  </a:lnTo>
                  <a:lnTo>
                    <a:pt x="385" y="318"/>
                  </a:lnTo>
                  <a:lnTo>
                    <a:pt x="385" y="321"/>
                  </a:lnTo>
                  <a:lnTo>
                    <a:pt x="387" y="323"/>
                  </a:lnTo>
                  <a:lnTo>
                    <a:pt x="387" y="325"/>
                  </a:lnTo>
                  <a:lnTo>
                    <a:pt x="389" y="325"/>
                  </a:lnTo>
                  <a:lnTo>
                    <a:pt x="389" y="328"/>
                  </a:lnTo>
                  <a:lnTo>
                    <a:pt x="392" y="328"/>
                  </a:lnTo>
                  <a:lnTo>
                    <a:pt x="394" y="330"/>
                  </a:lnTo>
                  <a:lnTo>
                    <a:pt x="394" y="328"/>
                  </a:lnTo>
                  <a:lnTo>
                    <a:pt x="394" y="330"/>
                  </a:lnTo>
                  <a:lnTo>
                    <a:pt x="396" y="330"/>
                  </a:lnTo>
                  <a:lnTo>
                    <a:pt x="396" y="332"/>
                  </a:lnTo>
                  <a:lnTo>
                    <a:pt x="399" y="332"/>
                  </a:lnTo>
                  <a:lnTo>
                    <a:pt x="401" y="332"/>
                  </a:lnTo>
                  <a:lnTo>
                    <a:pt x="404" y="332"/>
                  </a:lnTo>
                  <a:lnTo>
                    <a:pt x="406" y="332"/>
                  </a:lnTo>
                  <a:lnTo>
                    <a:pt x="408" y="330"/>
                  </a:lnTo>
                  <a:lnTo>
                    <a:pt x="408" y="332"/>
                  </a:lnTo>
                  <a:lnTo>
                    <a:pt x="408" y="330"/>
                  </a:lnTo>
                  <a:lnTo>
                    <a:pt x="411" y="330"/>
                  </a:lnTo>
                  <a:lnTo>
                    <a:pt x="411" y="332"/>
                  </a:lnTo>
                  <a:lnTo>
                    <a:pt x="411" y="335"/>
                  </a:lnTo>
                  <a:lnTo>
                    <a:pt x="413" y="335"/>
                  </a:lnTo>
                  <a:lnTo>
                    <a:pt x="411" y="337"/>
                  </a:lnTo>
                  <a:lnTo>
                    <a:pt x="411" y="340"/>
                  </a:lnTo>
                  <a:lnTo>
                    <a:pt x="408" y="340"/>
                  </a:lnTo>
                  <a:lnTo>
                    <a:pt x="408" y="342"/>
                  </a:lnTo>
                  <a:lnTo>
                    <a:pt x="406" y="342"/>
                  </a:lnTo>
                  <a:lnTo>
                    <a:pt x="408" y="342"/>
                  </a:lnTo>
                  <a:lnTo>
                    <a:pt x="406" y="344"/>
                  </a:lnTo>
                  <a:lnTo>
                    <a:pt x="406" y="347"/>
                  </a:lnTo>
                  <a:lnTo>
                    <a:pt x="406" y="349"/>
                  </a:lnTo>
                  <a:lnTo>
                    <a:pt x="404" y="349"/>
                  </a:lnTo>
                  <a:lnTo>
                    <a:pt x="406" y="349"/>
                  </a:lnTo>
                  <a:lnTo>
                    <a:pt x="404" y="349"/>
                  </a:lnTo>
                  <a:lnTo>
                    <a:pt x="401" y="351"/>
                  </a:lnTo>
                  <a:lnTo>
                    <a:pt x="404" y="351"/>
                  </a:lnTo>
                  <a:lnTo>
                    <a:pt x="401" y="351"/>
                  </a:lnTo>
                  <a:lnTo>
                    <a:pt x="399" y="351"/>
                  </a:lnTo>
                  <a:lnTo>
                    <a:pt x="399" y="354"/>
                  </a:lnTo>
                  <a:lnTo>
                    <a:pt x="401" y="354"/>
                  </a:lnTo>
                  <a:lnTo>
                    <a:pt x="399" y="354"/>
                  </a:lnTo>
                  <a:lnTo>
                    <a:pt x="399" y="351"/>
                  </a:lnTo>
                  <a:lnTo>
                    <a:pt x="399" y="354"/>
                  </a:lnTo>
                  <a:lnTo>
                    <a:pt x="399" y="351"/>
                  </a:lnTo>
                  <a:lnTo>
                    <a:pt x="396" y="351"/>
                  </a:lnTo>
                  <a:lnTo>
                    <a:pt x="396" y="354"/>
                  </a:lnTo>
                  <a:lnTo>
                    <a:pt x="394" y="354"/>
                  </a:lnTo>
                  <a:lnTo>
                    <a:pt x="396" y="354"/>
                  </a:lnTo>
                  <a:lnTo>
                    <a:pt x="394" y="354"/>
                  </a:lnTo>
                  <a:lnTo>
                    <a:pt x="394" y="356"/>
                  </a:lnTo>
                  <a:lnTo>
                    <a:pt x="392" y="356"/>
                  </a:lnTo>
                  <a:lnTo>
                    <a:pt x="394" y="356"/>
                  </a:lnTo>
                  <a:lnTo>
                    <a:pt x="392" y="356"/>
                  </a:lnTo>
                  <a:lnTo>
                    <a:pt x="392" y="359"/>
                  </a:lnTo>
                  <a:lnTo>
                    <a:pt x="394" y="359"/>
                  </a:lnTo>
                  <a:lnTo>
                    <a:pt x="394" y="356"/>
                  </a:lnTo>
                  <a:lnTo>
                    <a:pt x="392" y="359"/>
                  </a:lnTo>
                  <a:lnTo>
                    <a:pt x="394" y="359"/>
                  </a:lnTo>
                  <a:lnTo>
                    <a:pt x="392" y="359"/>
                  </a:lnTo>
                  <a:lnTo>
                    <a:pt x="389" y="359"/>
                  </a:lnTo>
                  <a:lnTo>
                    <a:pt x="389" y="361"/>
                  </a:lnTo>
                  <a:lnTo>
                    <a:pt x="389" y="359"/>
                  </a:lnTo>
                  <a:lnTo>
                    <a:pt x="387" y="359"/>
                  </a:lnTo>
                  <a:lnTo>
                    <a:pt x="387" y="361"/>
                  </a:lnTo>
                  <a:lnTo>
                    <a:pt x="387" y="363"/>
                  </a:lnTo>
                  <a:lnTo>
                    <a:pt x="387" y="361"/>
                  </a:lnTo>
                  <a:lnTo>
                    <a:pt x="387" y="363"/>
                  </a:lnTo>
                  <a:lnTo>
                    <a:pt x="385" y="363"/>
                  </a:lnTo>
                  <a:lnTo>
                    <a:pt x="385" y="366"/>
                  </a:lnTo>
                  <a:lnTo>
                    <a:pt x="385" y="363"/>
                  </a:lnTo>
                  <a:lnTo>
                    <a:pt x="385" y="366"/>
                  </a:lnTo>
                  <a:lnTo>
                    <a:pt x="382" y="366"/>
                  </a:lnTo>
                  <a:lnTo>
                    <a:pt x="380" y="366"/>
                  </a:lnTo>
                  <a:lnTo>
                    <a:pt x="380" y="368"/>
                  </a:lnTo>
                  <a:lnTo>
                    <a:pt x="380" y="366"/>
                  </a:lnTo>
                  <a:lnTo>
                    <a:pt x="380" y="368"/>
                  </a:lnTo>
                  <a:lnTo>
                    <a:pt x="377" y="368"/>
                  </a:lnTo>
                  <a:lnTo>
                    <a:pt x="377" y="370"/>
                  </a:lnTo>
                  <a:lnTo>
                    <a:pt x="375" y="370"/>
                  </a:lnTo>
                  <a:lnTo>
                    <a:pt x="375" y="373"/>
                  </a:lnTo>
                  <a:lnTo>
                    <a:pt x="377" y="373"/>
                  </a:lnTo>
                  <a:lnTo>
                    <a:pt x="377" y="370"/>
                  </a:lnTo>
                  <a:lnTo>
                    <a:pt x="377" y="373"/>
                  </a:lnTo>
                  <a:lnTo>
                    <a:pt x="380" y="373"/>
                  </a:lnTo>
                  <a:lnTo>
                    <a:pt x="377" y="373"/>
                  </a:lnTo>
                  <a:lnTo>
                    <a:pt x="377" y="375"/>
                  </a:lnTo>
                  <a:lnTo>
                    <a:pt x="377" y="378"/>
                  </a:lnTo>
                  <a:lnTo>
                    <a:pt x="375" y="378"/>
                  </a:lnTo>
                  <a:lnTo>
                    <a:pt x="375" y="375"/>
                  </a:lnTo>
                  <a:lnTo>
                    <a:pt x="373" y="375"/>
                  </a:lnTo>
                  <a:lnTo>
                    <a:pt x="373" y="378"/>
                  </a:lnTo>
                  <a:lnTo>
                    <a:pt x="370" y="378"/>
                  </a:lnTo>
                  <a:lnTo>
                    <a:pt x="368" y="378"/>
                  </a:lnTo>
                  <a:lnTo>
                    <a:pt x="368" y="380"/>
                  </a:lnTo>
                  <a:lnTo>
                    <a:pt x="366" y="380"/>
                  </a:lnTo>
                  <a:lnTo>
                    <a:pt x="363" y="380"/>
                  </a:lnTo>
                  <a:lnTo>
                    <a:pt x="361" y="380"/>
                  </a:lnTo>
                  <a:lnTo>
                    <a:pt x="361" y="382"/>
                  </a:lnTo>
                  <a:lnTo>
                    <a:pt x="359" y="382"/>
                  </a:lnTo>
                  <a:lnTo>
                    <a:pt x="361" y="382"/>
                  </a:lnTo>
                  <a:lnTo>
                    <a:pt x="361" y="380"/>
                  </a:lnTo>
                  <a:lnTo>
                    <a:pt x="359" y="380"/>
                  </a:lnTo>
                  <a:lnTo>
                    <a:pt x="356" y="380"/>
                  </a:lnTo>
                  <a:lnTo>
                    <a:pt x="354" y="380"/>
                  </a:lnTo>
                  <a:lnTo>
                    <a:pt x="351" y="380"/>
                  </a:lnTo>
                  <a:lnTo>
                    <a:pt x="354" y="380"/>
                  </a:lnTo>
                  <a:lnTo>
                    <a:pt x="351" y="380"/>
                  </a:lnTo>
                  <a:lnTo>
                    <a:pt x="354" y="380"/>
                  </a:lnTo>
                  <a:lnTo>
                    <a:pt x="354" y="382"/>
                  </a:lnTo>
                  <a:lnTo>
                    <a:pt x="354" y="380"/>
                  </a:lnTo>
                  <a:lnTo>
                    <a:pt x="351" y="380"/>
                  </a:lnTo>
                  <a:lnTo>
                    <a:pt x="351" y="382"/>
                  </a:lnTo>
                  <a:lnTo>
                    <a:pt x="349" y="382"/>
                  </a:lnTo>
                  <a:lnTo>
                    <a:pt x="349" y="380"/>
                  </a:lnTo>
                  <a:lnTo>
                    <a:pt x="349" y="378"/>
                  </a:lnTo>
                  <a:lnTo>
                    <a:pt x="347" y="378"/>
                  </a:lnTo>
                  <a:lnTo>
                    <a:pt x="344" y="378"/>
                  </a:lnTo>
                  <a:lnTo>
                    <a:pt x="347" y="378"/>
                  </a:lnTo>
                  <a:lnTo>
                    <a:pt x="344" y="375"/>
                  </a:lnTo>
                  <a:lnTo>
                    <a:pt x="342" y="375"/>
                  </a:lnTo>
                  <a:lnTo>
                    <a:pt x="342" y="378"/>
                  </a:lnTo>
                  <a:lnTo>
                    <a:pt x="342" y="375"/>
                  </a:lnTo>
                  <a:lnTo>
                    <a:pt x="340" y="375"/>
                  </a:lnTo>
                  <a:lnTo>
                    <a:pt x="337" y="375"/>
                  </a:lnTo>
                  <a:lnTo>
                    <a:pt x="335" y="375"/>
                  </a:lnTo>
                  <a:lnTo>
                    <a:pt x="335" y="373"/>
                  </a:lnTo>
                  <a:lnTo>
                    <a:pt x="335" y="370"/>
                  </a:lnTo>
                  <a:lnTo>
                    <a:pt x="335" y="368"/>
                  </a:lnTo>
                  <a:lnTo>
                    <a:pt x="332" y="368"/>
                  </a:lnTo>
                  <a:lnTo>
                    <a:pt x="335" y="368"/>
                  </a:lnTo>
                  <a:lnTo>
                    <a:pt x="332" y="368"/>
                  </a:lnTo>
                  <a:lnTo>
                    <a:pt x="330" y="368"/>
                  </a:lnTo>
                  <a:lnTo>
                    <a:pt x="330" y="370"/>
                  </a:lnTo>
                  <a:lnTo>
                    <a:pt x="330" y="368"/>
                  </a:lnTo>
                  <a:lnTo>
                    <a:pt x="330" y="370"/>
                  </a:lnTo>
                  <a:lnTo>
                    <a:pt x="330" y="368"/>
                  </a:lnTo>
                  <a:lnTo>
                    <a:pt x="330" y="370"/>
                  </a:lnTo>
                  <a:lnTo>
                    <a:pt x="330" y="368"/>
                  </a:lnTo>
                  <a:lnTo>
                    <a:pt x="330" y="370"/>
                  </a:lnTo>
                  <a:lnTo>
                    <a:pt x="328" y="368"/>
                  </a:lnTo>
                  <a:lnTo>
                    <a:pt x="328" y="370"/>
                  </a:lnTo>
                  <a:lnTo>
                    <a:pt x="325" y="368"/>
                  </a:lnTo>
                  <a:lnTo>
                    <a:pt x="325" y="370"/>
                  </a:lnTo>
                  <a:lnTo>
                    <a:pt x="325" y="368"/>
                  </a:lnTo>
                  <a:lnTo>
                    <a:pt x="325" y="370"/>
                  </a:lnTo>
                  <a:lnTo>
                    <a:pt x="325" y="368"/>
                  </a:lnTo>
                  <a:lnTo>
                    <a:pt x="325" y="370"/>
                  </a:lnTo>
                  <a:lnTo>
                    <a:pt x="325" y="368"/>
                  </a:lnTo>
                  <a:lnTo>
                    <a:pt x="325" y="370"/>
                  </a:lnTo>
                  <a:lnTo>
                    <a:pt x="325" y="368"/>
                  </a:lnTo>
                  <a:lnTo>
                    <a:pt x="325" y="370"/>
                  </a:lnTo>
                  <a:lnTo>
                    <a:pt x="325" y="368"/>
                  </a:lnTo>
                  <a:lnTo>
                    <a:pt x="323" y="370"/>
                  </a:lnTo>
                  <a:lnTo>
                    <a:pt x="323" y="368"/>
                  </a:lnTo>
                  <a:lnTo>
                    <a:pt x="323" y="366"/>
                  </a:lnTo>
                  <a:lnTo>
                    <a:pt x="325" y="366"/>
                  </a:lnTo>
                  <a:lnTo>
                    <a:pt x="328" y="366"/>
                  </a:lnTo>
                  <a:lnTo>
                    <a:pt x="330" y="363"/>
                  </a:lnTo>
                  <a:lnTo>
                    <a:pt x="330" y="361"/>
                  </a:lnTo>
                  <a:lnTo>
                    <a:pt x="328" y="363"/>
                  </a:lnTo>
                  <a:lnTo>
                    <a:pt x="328" y="361"/>
                  </a:lnTo>
                  <a:lnTo>
                    <a:pt x="325" y="361"/>
                  </a:lnTo>
                  <a:lnTo>
                    <a:pt x="328" y="361"/>
                  </a:lnTo>
                  <a:lnTo>
                    <a:pt x="325" y="361"/>
                  </a:lnTo>
                  <a:lnTo>
                    <a:pt x="323" y="359"/>
                  </a:lnTo>
                  <a:lnTo>
                    <a:pt x="323" y="361"/>
                  </a:lnTo>
                  <a:lnTo>
                    <a:pt x="323" y="363"/>
                  </a:lnTo>
                  <a:lnTo>
                    <a:pt x="325" y="363"/>
                  </a:lnTo>
                  <a:lnTo>
                    <a:pt x="325" y="366"/>
                  </a:lnTo>
                  <a:lnTo>
                    <a:pt x="323" y="366"/>
                  </a:lnTo>
                  <a:lnTo>
                    <a:pt x="321" y="366"/>
                  </a:lnTo>
                  <a:lnTo>
                    <a:pt x="321" y="363"/>
                  </a:lnTo>
                  <a:lnTo>
                    <a:pt x="321" y="366"/>
                  </a:lnTo>
                  <a:lnTo>
                    <a:pt x="318" y="366"/>
                  </a:lnTo>
                  <a:lnTo>
                    <a:pt x="321" y="366"/>
                  </a:lnTo>
                  <a:lnTo>
                    <a:pt x="318" y="366"/>
                  </a:lnTo>
                  <a:lnTo>
                    <a:pt x="318" y="363"/>
                  </a:lnTo>
                  <a:lnTo>
                    <a:pt x="318" y="366"/>
                  </a:lnTo>
                  <a:lnTo>
                    <a:pt x="316" y="366"/>
                  </a:lnTo>
                  <a:lnTo>
                    <a:pt x="318" y="366"/>
                  </a:lnTo>
                  <a:lnTo>
                    <a:pt x="318" y="368"/>
                  </a:lnTo>
                  <a:lnTo>
                    <a:pt x="321" y="368"/>
                  </a:lnTo>
                  <a:lnTo>
                    <a:pt x="318" y="368"/>
                  </a:lnTo>
                  <a:lnTo>
                    <a:pt x="316" y="368"/>
                  </a:lnTo>
                  <a:lnTo>
                    <a:pt x="316" y="366"/>
                  </a:lnTo>
                  <a:lnTo>
                    <a:pt x="313" y="366"/>
                  </a:lnTo>
                  <a:lnTo>
                    <a:pt x="316" y="366"/>
                  </a:lnTo>
                  <a:lnTo>
                    <a:pt x="313" y="366"/>
                  </a:lnTo>
                  <a:lnTo>
                    <a:pt x="313" y="363"/>
                  </a:lnTo>
                  <a:lnTo>
                    <a:pt x="313" y="361"/>
                  </a:lnTo>
                  <a:lnTo>
                    <a:pt x="313" y="359"/>
                  </a:lnTo>
                  <a:lnTo>
                    <a:pt x="311" y="359"/>
                  </a:lnTo>
                  <a:lnTo>
                    <a:pt x="311" y="356"/>
                  </a:lnTo>
                  <a:lnTo>
                    <a:pt x="309" y="354"/>
                  </a:lnTo>
                  <a:lnTo>
                    <a:pt x="311" y="354"/>
                  </a:lnTo>
                  <a:lnTo>
                    <a:pt x="311" y="351"/>
                  </a:lnTo>
                  <a:lnTo>
                    <a:pt x="311" y="349"/>
                  </a:lnTo>
                  <a:lnTo>
                    <a:pt x="311" y="347"/>
                  </a:lnTo>
                  <a:lnTo>
                    <a:pt x="311" y="344"/>
                  </a:lnTo>
                  <a:lnTo>
                    <a:pt x="313" y="344"/>
                  </a:lnTo>
                  <a:lnTo>
                    <a:pt x="313" y="342"/>
                  </a:lnTo>
                  <a:lnTo>
                    <a:pt x="313" y="344"/>
                  </a:lnTo>
                  <a:lnTo>
                    <a:pt x="311" y="344"/>
                  </a:lnTo>
                  <a:lnTo>
                    <a:pt x="311" y="347"/>
                  </a:lnTo>
                  <a:lnTo>
                    <a:pt x="311" y="344"/>
                  </a:lnTo>
                  <a:lnTo>
                    <a:pt x="311" y="347"/>
                  </a:lnTo>
                  <a:lnTo>
                    <a:pt x="311" y="349"/>
                  </a:lnTo>
                  <a:lnTo>
                    <a:pt x="311" y="351"/>
                  </a:lnTo>
                  <a:lnTo>
                    <a:pt x="311" y="354"/>
                  </a:lnTo>
                  <a:lnTo>
                    <a:pt x="309" y="354"/>
                  </a:lnTo>
                  <a:lnTo>
                    <a:pt x="309" y="356"/>
                  </a:lnTo>
                  <a:lnTo>
                    <a:pt x="311" y="356"/>
                  </a:lnTo>
                  <a:lnTo>
                    <a:pt x="311" y="359"/>
                  </a:lnTo>
                  <a:lnTo>
                    <a:pt x="313" y="359"/>
                  </a:lnTo>
                  <a:lnTo>
                    <a:pt x="313" y="361"/>
                  </a:lnTo>
                  <a:lnTo>
                    <a:pt x="313" y="363"/>
                  </a:lnTo>
                  <a:lnTo>
                    <a:pt x="313" y="366"/>
                  </a:lnTo>
                  <a:lnTo>
                    <a:pt x="316" y="366"/>
                  </a:lnTo>
                  <a:lnTo>
                    <a:pt x="316" y="368"/>
                  </a:lnTo>
                  <a:lnTo>
                    <a:pt x="318" y="368"/>
                  </a:lnTo>
                  <a:lnTo>
                    <a:pt x="318" y="370"/>
                  </a:lnTo>
                  <a:lnTo>
                    <a:pt x="318" y="368"/>
                  </a:lnTo>
                  <a:lnTo>
                    <a:pt x="316" y="368"/>
                  </a:lnTo>
                  <a:lnTo>
                    <a:pt x="313" y="368"/>
                  </a:lnTo>
                  <a:lnTo>
                    <a:pt x="311" y="368"/>
                  </a:lnTo>
                  <a:lnTo>
                    <a:pt x="309" y="368"/>
                  </a:lnTo>
                  <a:lnTo>
                    <a:pt x="309" y="366"/>
                  </a:lnTo>
                  <a:lnTo>
                    <a:pt x="309" y="363"/>
                  </a:lnTo>
                  <a:lnTo>
                    <a:pt x="306" y="363"/>
                  </a:lnTo>
                  <a:lnTo>
                    <a:pt x="304" y="363"/>
                  </a:lnTo>
                  <a:lnTo>
                    <a:pt x="302" y="363"/>
                  </a:lnTo>
                  <a:lnTo>
                    <a:pt x="299" y="363"/>
                  </a:lnTo>
                  <a:lnTo>
                    <a:pt x="297" y="363"/>
                  </a:lnTo>
                  <a:lnTo>
                    <a:pt x="294" y="363"/>
                  </a:lnTo>
                  <a:lnTo>
                    <a:pt x="294" y="361"/>
                  </a:lnTo>
                  <a:lnTo>
                    <a:pt x="294" y="359"/>
                  </a:lnTo>
                  <a:lnTo>
                    <a:pt x="292" y="359"/>
                  </a:lnTo>
                  <a:lnTo>
                    <a:pt x="290" y="359"/>
                  </a:lnTo>
                  <a:lnTo>
                    <a:pt x="287" y="361"/>
                  </a:lnTo>
                  <a:lnTo>
                    <a:pt x="285" y="361"/>
                  </a:lnTo>
                  <a:lnTo>
                    <a:pt x="285" y="363"/>
                  </a:lnTo>
                  <a:lnTo>
                    <a:pt x="283" y="363"/>
                  </a:lnTo>
                  <a:lnTo>
                    <a:pt x="283" y="366"/>
                  </a:lnTo>
                  <a:lnTo>
                    <a:pt x="280" y="366"/>
                  </a:lnTo>
                  <a:close/>
                  <a:moveTo>
                    <a:pt x="223" y="408"/>
                  </a:moveTo>
                  <a:lnTo>
                    <a:pt x="223" y="411"/>
                  </a:lnTo>
                  <a:lnTo>
                    <a:pt x="223" y="40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7" name="Freeform 57983"/>
            <p:cNvSpPr>
              <a:spLocks noEditPoints="1"/>
            </p:cNvSpPr>
            <p:nvPr/>
          </p:nvSpPr>
          <p:spPr bwMode="auto">
            <a:xfrm>
              <a:off x="1757366" y="4784729"/>
              <a:ext cx="720726" cy="523877"/>
            </a:xfrm>
            <a:custGeom>
              <a:avLst/>
              <a:gdLst>
                <a:gd name="T0" fmla="*/ 454 w 454"/>
                <a:gd name="T1" fmla="*/ 330 h 330"/>
                <a:gd name="T2" fmla="*/ 323 w 454"/>
                <a:gd name="T3" fmla="*/ 240 h 330"/>
                <a:gd name="T4" fmla="*/ 147 w 454"/>
                <a:gd name="T5" fmla="*/ 183 h 330"/>
                <a:gd name="T6" fmla="*/ 150 w 454"/>
                <a:gd name="T7" fmla="*/ 185 h 330"/>
                <a:gd name="T8" fmla="*/ 147 w 454"/>
                <a:gd name="T9" fmla="*/ 176 h 330"/>
                <a:gd name="T10" fmla="*/ 147 w 454"/>
                <a:gd name="T11" fmla="*/ 178 h 330"/>
                <a:gd name="T12" fmla="*/ 147 w 454"/>
                <a:gd name="T13" fmla="*/ 176 h 330"/>
                <a:gd name="T14" fmla="*/ 126 w 454"/>
                <a:gd name="T15" fmla="*/ 138 h 330"/>
                <a:gd name="T16" fmla="*/ 128 w 454"/>
                <a:gd name="T17" fmla="*/ 142 h 330"/>
                <a:gd name="T18" fmla="*/ 131 w 454"/>
                <a:gd name="T19" fmla="*/ 147 h 330"/>
                <a:gd name="T20" fmla="*/ 128 w 454"/>
                <a:gd name="T21" fmla="*/ 142 h 330"/>
                <a:gd name="T22" fmla="*/ 124 w 454"/>
                <a:gd name="T23" fmla="*/ 138 h 330"/>
                <a:gd name="T24" fmla="*/ 121 w 454"/>
                <a:gd name="T25" fmla="*/ 126 h 330"/>
                <a:gd name="T26" fmla="*/ 121 w 454"/>
                <a:gd name="T27" fmla="*/ 128 h 330"/>
                <a:gd name="T28" fmla="*/ 124 w 454"/>
                <a:gd name="T29" fmla="*/ 128 h 330"/>
                <a:gd name="T30" fmla="*/ 126 w 454"/>
                <a:gd name="T31" fmla="*/ 128 h 330"/>
                <a:gd name="T32" fmla="*/ 124 w 454"/>
                <a:gd name="T33" fmla="*/ 130 h 330"/>
                <a:gd name="T34" fmla="*/ 119 w 454"/>
                <a:gd name="T35" fmla="*/ 128 h 330"/>
                <a:gd name="T36" fmla="*/ 93 w 454"/>
                <a:gd name="T37" fmla="*/ 104 h 330"/>
                <a:gd name="T38" fmla="*/ 93 w 454"/>
                <a:gd name="T39" fmla="*/ 107 h 330"/>
                <a:gd name="T40" fmla="*/ 95 w 454"/>
                <a:gd name="T41" fmla="*/ 90 h 330"/>
                <a:gd name="T42" fmla="*/ 95 w 454"/>
                <a:gd name="T43" fmla="*/ 92 h 330"/>
                <a:gd name="T44" fmla="*/ 100 w 454"/>
                <a:gd name="T45" fmla="*/ 95 h 330"/>
                <a:gd name="T46" fmla="*/ 98 w 454"/>
                <a:gd name="T47" fmla="*/ 95 h 330"/>
                <a:gd name="T48" fmla="*/ 93 w 454"/>
                <a:gd name="T49" fmla="*/ 90 h 330"/>
                <a:gd name="T50" fmla="*/ 95 w 454"/>
                <a:gd name="T51" fmla="*/ 90 h 330"/>
                <a:gd name="T52" fmla="*/ 121 w 454"/>
                <a:gd name="T53" fmla="*/ 81 h 330"/>
                <a:gd name="T54" fmla="*/ 121 w 454"/>
                <a:gd name="T55" fmla="*/ 78 h 330"/>
                <a:gd name="T56" fmla="*/ 124 w 454"/>
                <a:gd name="T57" fmla="*/ 78 h 330"/>
                <a:gd name="T58" fmla="*/ 74 w 454"/>
                <a:gd name="T59" fmla="*/ 76 h 330"/>
                <a:gd name="T60" fmla="*/ 128 w 454"/>
                <a:gd name="T61" fmla="*/ 73 h 330"/>
                <a:gd name="T62" fmla="*/ 62 w 454"/>
                <a:gd name="T63" fmla="*/ 71 h 330"/>
                <a:gd name="T64" fmla="*/ 62 w 454"/>
                <a:gd name="T65" fmla="*/ 73 h 330"/>
                <a:gd name="T66" fmla="*/ 67 w 454"/>
                <a:gd name="T67" fmla="*/ 76 h 330"/>
                <a:gd name="T68" fmla="*/ 67 w 454"/>
                <a:gd name="T69" fmla="*/ 78 h 330"/>
                <a:gd name="T70" fmla="*/ 62 w 454"/>
                <a:gd name="T71" fmla="*/ 76 h 330"/>
                <a:gd name="T72" fmla="*/ 72 w 454"/>
                <a:gd name="T73" fmla="*/ 71 h 330"/>
                <a:gd name="T74" fmla="*/ 72 w 454"/>
                <a:gd name="T75" fmla="*/ 71 h 330"/>
                <a:gd name="T76" fmla="*/ 81 w 454"/>
                <a:gd name="T77" fmla="*/ 64 h 330"/>
                <a:gd name="T78" fmla="*/ 79 w 454"/>
                <a:gd name="T79" fmla="*/ 62 h 330"/>
                <a:gd name="T80" fmla="*/ 79 w 454"/>
                <a:gd name="T81" fmla="*/ 62 h 330"/>
                <a:gd name="T82" fmla="*/ 76 w 454"/>
                <a:gd name="T83" fmla="*/ 62 h 330"/>
                <a:gd name="T84" fmla="*/ 55 w 454"/>
                <a:gd name="T85" fmla="*/ 59 h 330"/>
                <a:gd name="T86" fmla="*/ 55 w 454"/>
                <a:gd name="T87" fmla="*/ 62 h 330"/>
                <a:gd name="T88" fmla="*/ 41 w 454"/>
                <a:gd name="T89" fmla="*/ 57 h 330"/>
                <a:gd name="T90" fmla="*/ 10 w 454"/>
                <a:gd name="T91" fmla="*/ 43 h 330"/>
                <a:gd name="T92" fmla="*/ 5 w 454"/>
                <a:gd name="T93" fmla="*/ 24 h 330"/>
                <a:gd name="T94" fmla="*/ 3 w 454"/>
                <a:gd name="T95" fmla="*/ 21 h 330"/>
                <a:gd name="T96" fmla="*/ 0 w 454"/>
                <a:gd name="T97" fmla="*/ 21 h 330"/>
                <a:gd name="T98" fmla="*/ 3 w 454"/>
                <a:gd name="T99" fmla="*/ 21 h 330"/>
                <a:gd name="T100" fmla="*/ 0 w 454"/>
                <a:gd name="T101" fmla="*/ 21 h 330"/>
                <a:gd name="T102" fmla="*/ 98 w 454"/>
                <a:gd name="T103" fmla="*/ 14 h 330"/>
                <a:gd name="T104" fmla="*/ 38 w 454"/>
                <a:gd name="T105" fmla="*/ 7 h 330"/>
                <a:gd name="T106" fmla="*/ 50 w 454"/>
                <a:gd name="T107" fmla="*/ 5 h 330"/>
                <a:gd name="T108" fmla="*/ 72 w 454"/>
                <a:gd name="T109" fmla="*/ 2 h 330"/>
                <a:gd name="T110" fmla="*/ 60 w 454"/>
                <a:gd name="T111" fmla="*/ 2 h 330"/>
                <a:gd name="T112" fmla="*/ 64 w 454"/>
                <a:gd name="T113" fmla="*/ 2 h 330"/>
                <a:gd name="T114" fmla="*/ 110 w 454"/>
                <a:gd name="T115" fmla="*/ 2 h 330"/>
                <a:gd name="T116" fmla="*/ 110 w 454"/>
                <a:gd name="T117" fmla="*/ 0 h 330"/>
                <a:gd name="T118" fmla="*/ 55 w 454"/>
                <a:gd name="T119" fmla="*/ 0 h 330"/>
                <a:gd name="T120" fmla="*/ 110 w 454"/>
                <a:gd name="T121" fmla="*/ 0 h 330"/>
                <a:gd name="T122" fmla="*/ 110 w 454"/>
                <a:gd name="T123" fmla="*/ 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4" h="330">
                  <a:moveTo>
                    <a:pt x="454" y="330"/>
                  </a:moveTo>
                  <a:lnTo>
                    <a:pt x="454" y="328"/>
                  </a:lnTo>
                  <a:lnTo>
                    <a:pt x="454" y="330"/>
                  </a:lnTo>
                  <a:close/>
                  <a:moveTo>
                    <a:pt x="323" y="240"/>
                  </a:moveTo>
                  <a:lnTo>
                    <a:pt x="323" y="237"/>
                  </a:lnTo>
                  <a:lnTo>
                    <a:pt x="323" y="240"/>
                  </a:lnTo>
                  <a:close/>
                  <a:moveTo>
                    <a:pt x="150" y="185"/>
                  </a:moveTo>
                  <a:lnTo>
                    <a:pt x="150" y="183"/>
                  </a:lnTo>
                  <a:lnTo>
                    <a:pt x="147" y="183"/>
                  </a:lnTo>
                  <a:lnTo>
                    <a:pt x="147" y="180"/>
                  </a:lnTo>
                  <a:lnTo>
                    <a:pt x="150" y="183"/>
                  </a:lnTo>
                  <a:lnTo>
                    <a:pt x="150" y="185"/>
                  </a:lnTo>
                  <a:close/>
                  <a:moveTo>
                    <a:pt x="147" y="176"/>
                  </a:moveTo>
                  <a:lnTo>
                    <a:pt x="147" y="178"/>
                  </a:lnTo>
                  <a:lnTo>
                    <a:pt x="147" y="176"/>
                  </a:lnTo>
                  <a:close/>
                  <a:moveTo>
                    <a:pt x="147" y="178"/>
                  </a:moveTo>
                  <a:lnTo>
                    <a:pt x="147" y="176"/>
                  </a:lnTo>
                  <a:lnTo>
                    <a:pt x="147" y="178"/>
                  </a:lnTo>
                  <a:close/>
                  <a:moveTo>
                    <a:pt x="147" y="176"/>
                  </a:moveTo>
                  <a:lnTo>
                    <a:pt x="145" y="176"/>
                  </a:lnTo>
                  <a:lnTo>
                    <a:pt x="147" y="176"/>
                  </a:lnTo>
                  <a:close/>
                  <a:moveTo>
                    <a:pt x="124" y="135"/>
                  </a:moveTo>
                  <a:lnTo>
                    <a:pt x="124" y="138"/>
                  </a:lnTo>
                  <a:lnTo>
                    <a:pt x="126" y="138"/>
                  </a:lnTo>
                  <a:lnTo>
                    <a:pt x="128" y="138"/>
                  </a:lnTo>
                  <a:lnTo>
                    <a:pt x="128" y="140"/>
                  </a:lnTo>
                  <a:lnTo>
                    <a:pt x="128" y="142"/>
                  </a:lnTo>
                  <a:lnTo>
                    <a:pt x="131" y="142"/>
                  </a:lnTo>
                  <a:lnTo>
                    <a:pt x="131" y="145"/>
                  </a:lnTo>
                  <a:lnTo>
                    <a:pt x="131" y="147"/>
                  </a:lnTo>
                  <a:lnTo>
                    <a:pt x="128" y="147"/>
                  </a:lnTo>
                  <a:lnTo>
                    <a:pt x="128" y="145"/>
                  </a:lnTo>
                  <a:lnTo>
                    <a:pt x="128" y="142"/>
                  </a:lnTo>
                  <a:lnTo>
                    <a:pt x="126" y="142"/>
                  </a:lnTo>
                  <a:lnTo>
                    <a:pt x="124" y="140"/>
                  </a:lnTo>
                  <a:lnTo>
                    <a:pt x="124" y="138"/>
                  </a:lnTo>
                  <a:lnTo>
                    <a:pt x="124" y="135"/>
                  </a:lnTo>
                  <a:close/>
                  <a:moveTo>
                    <a:pt x="119" y="126"/>
                  </a:moveTo>
                  <a:lnTo>
                    <a:pt x="121" y="126"/>
                  </a:lnTo>
                  <a:lnTo>
                    <a:pt x="121" y="128"/>
                  </a:lnTo>
                  <a:lnTo>
                    <a:pt x="121" y="126"/>
                  </a:lnTo>
                  <a:lnTo>
                    <a:pt x="121" y="128"/>
                  </a:lnTo>
                  <a:lnTo>
                    <a:pt x="119" y="128"/>
                  </a:lnTo>
                  <a:lnTo>
                    <a:pt x="121" y="128"/>
                  </a:lnTo>
                  <a:lnTo>
                    <a:pt x="124" y="128"/>
                  </a:lnTo>
                  <a:lnTo>
                    <a:pt x="121" y="128"/>
                  </a:lnTo>
                  <a:lnTo>
                    <a:pt x="124" y="128"/>
                  </a:lnTo>
                  <a:lnTo>
                    <a:pt x="126" y="128"/>
                  </a:lnTo>
                  <a:lnTo>
                    <a:pt x="128" y="130"/>
                  </a:lnTo>
                  <a:lnTo>
                    <a:pt x="126" y="130"/>
                  </a:lnTo>
                  <a:lnTo>
                    <a:pt x="124" y="130"/>
                  </a:lnTo>
                  <a:lnTo>
                    <a:pt x="124" y="128"/>
                  </a:lnTo>
                  <a:lnTo>
                    <a:pt x="121" y="128"/>
                  </a:lnTo>
                  <a:lnTo>
                    <a:pt x="119" y="128"/>
                  </a:lnTo>
                  <a:lnTo>
                    <a:pt x="119" y="126"/>
                  </a:lnTo>
                  <a:close/>
                  <a:moveTo>
                    <a:pt x="91" y="104"/>
                  </a:moveTo>
                  <a:lnTo>
                    <a:pt x="93" y="104"/>
                  </a:lnTo>
                  <a:lnTo>
                    <a:pt x="95" y="104"/>
                  </a:lnTo>
                  <a:lnTo>
                    <a:pt x="93" y="104"/>
                  </a:lnTo>
                  <a:lnTo>
                    <a:pt x="93" y="107"/>
                  </a:lnTo>
                  <a:lnTo>
                    <a:pt x="93" y="104"/>
                  </a:lnTo>
                  <a:lnTo>
                    <a:pt x="91" y="104"/>
                  </a:lnTo>
                  <a:close/>
                  <a:moveTo>
                    <a:pt x="95" y="90"/>
                  </a:moveTo>
                  <a:lnTo>
                    <a:pt x="98" y="90"/>
                  </a:lnTo>
                  <a:lnTo>
                    <a:pt x="95" y="90"/>
                  </a:lnTo>
                  <a:lnTo>
                    <a:pt x="95" y="92"/>
                  </a:lnTo>
                  <a:lnTo>
                    <a:pt x="98" y="92"/>
                  </a:lnTo>
                  <a:lnTo>
                    <a:pt x="100" y="92"/>
                  </a:lnTo>
                  <a:lnTo>
                    <a:pt x="100" y="95"/>
                  </a:lnTo>
                  <a:lnTo>
                    <a:pt x="98" y="95"/>
                  </a:lnTo>
                  <a:lnTo>
                    <a:pt x="100" y="95"/>
                  </a:lnTo>
                  <a:lnTo>
                    <a:pt x="98" y="95"/>
                  </a:lnTo>
                  <a:lnTo>
                    <a:pt x="98" y="92"/>
                  </a:lnTo>
                  <a:lnTo>
                    <a:pt x="95" y="92"/>
                  </a:lnTo>
                  <a:lnTo>
                    <a:pt x="93" y="90"/>
                  </a:lnTo>
                  <a:lnTo>
                    <a:pt x="95" y="90"/>
                  </a:lnTo>
                  <a:lnTo>
                    <a:pt x="93" y="90"/>
                  </a:lnTo>
                  <a:lnTo>
                    <a:pt x="95" y="90"/>
                  </a:lnTo>
                  <a:close/>
                  <a:moveTo>
                    <a:pt x="121" y="81"/>
                  </a:moveTo>
                  <a:lnTo>
                    <a:pt x="119" y="81"/>
                  </a:lnTo>
                  <a:lnTo>
                    <a:pt x="121" y="81"/>
                  </a:lnTo>
                  <a:close/>
                  <a:moveTo>
                    <a:pt x="121" y="78"/>
                  </a:moveTo>
                  <a:lnTo>
                    <a:pt x="124" y="78"/>
                  </a:lnTo>
                  <a:lnTo>
                    <a:pt x="121" y="78"/>
                  </a:lnTo>
                  <a:close/>
                  <a:moveTo>
                    <a:pt x="124" y="78"/>
                  </a:moveTo>
                  <a:lnTo>
                    <a:pt x="124" y="76"/>
                  </a:lnTo>
                  <a:lnTo>
                    <a:pt x="124" y="78"/>
                  </a:lnTo>
                  <a:close/>
                  <a:moveTo>
                    <a:pt x="76" y="73"/>
                  </a:moveTo>
                  <a:lnTo>
                    <a:pt x="76" y="76"/>
                  </a:lnTo>
                  <a:lnTo>
                    <a:pt x="74" y="76"/>
                  </a:lnTo>
                  <a:lnTo>
                    <a:pt x="74" y="73"/>
                  </a:lnTo>
                  <a:lnTo>
                    <a:pt x="76" y="73"/>
                  </a:lnTo>
                  <a:close/>
                  <a:moveTo>
                    <a:pt x="128" y="73"/>
                  </a:moveTo>
                  <a:lnTo>
                    <a:pt x="131" y="73"/>
                  </a:lnTo>
                  <a:lnTo>
                    <a:pt x="128" y="73"/>
                  </a:lnTo>
                  <a:close/>
                  <a:moveTo>
                    <a:pt x="62" y="71"/>
                  </a:moveTo>
                  <a:lnTo>
                    <a:pt x="62" y="73"/>
                  </a:lnTo>
                  <a:lnTo>
                    <a:pt x="62" y="71"/>
                  </a:lnTo>
                  <a:lnTo>
                    <a:pt x="62" y="73"/>
                  </a:lnTo>
                  <a:lnTo>
                    <a:pt x="64" y="73"/>
                  </a:lnTo>
                  <a:lnTo>
                    <a:pt x="67" y="73"/>
                  </a:lnTo>
                  <a:lnTo>
                    <a:pt x="67" y="76"/>
                  </a:lnTo>
                  <a:lnTo>
                    <a:pt x="69" y="76"/>
                  </a:lnTo>
                  <a:lnTo>
                    <a:pt x="69" y="78"/>
                  </a:lnTo>
                  <a:lnTo>
                    <a:pt x="67" y="78"/>
                  </a:lnTo>
                  <a:lnTo>
                    <a:pt x="67" y="76"/>
                  </a:lnTo>
                  <a:lnTo>
                    <a:pt x="64" y="76"/>
                  </a:lnTo>
                  <a:lnTo>
                    <a:pt x="62" y="76"/>
                  </a:lnTo>
                  <a:lnTo>
                    <a:pt x="62" y="73"/>
                  </a:lnTo>
                  <a:lnTo>
                    <a:pt x="62" y="71"/>
                  </a:lnTo>
                  <a:close/>
                  <a:moveTo>
                    <a:pt x="72" y="71"/>
                  </a:moveTo>
                  <a:lnTo>
                    <a:pt x="74" y="71"/>
                  </a:lnTo>
                  <a:lnTo>
                    <a:pt x="72" y="73"/>
                  </a:lnTo>
                  <a:lnTo>
                    <a:pt x="72" y="71"/>
                  </a:lnTo>
                  <a:close/>
                  <a:moveTo>
                    <a:pt x="81" y="64"/>
                  </a:moveTo>
                  <a:lnTo>
                    <a:pt x="79" y="64"/>
                  </a:lnTo>
                  <a:lnTo>
                    <a:pt x="81" y="64"/>
                  </a:lnTo>
                  <a:close/>
                  <a:moveTo>
                    <a:pt x="79" y="62"/>
                  </a:moveTo>
                  <a:lnTo>
                    <a:pt x="79" y="64"/>
                  </a:lnTo>
                  <a:lnTo>
                    <a:pt x="79" y="62"/>
                  </a:lnTo>
                  <a:lnTo>
                    <a:pt x="76" y="64"/>
                  </a:lnTo>
                  <a:lnTo>
                    <a:pt x="76" y="62"/>
                  </a:lnTo>
                  <a:lnTo>
                    <a:pt x="79" y="62"/>
                  </a:lnTo>
                  <a:close/>
                  <a:moveTo>
                    <a:pt x="76" y="62"/>
                  </a:moveTo>
                  <a:lnTo>
                    <a:pt x="76" y="64"/>
                  </a:lnTo>
                  <a:lnTo>
                    <a:pt x="76" y="62"/>
                  </a:lnTo>
                  <a:lnTo>
                    <a:pt x="76" y="64"/>
                  </a:lnTo>
                  <a:lnTo>
                    <a:pt x="76" y="62"/>
                  </a:lnTo>
                  <a:close/>
                  <a:moveTo>
                    <a:pt x="55" y="59"/>
                  </a:moveTo>
                  <a:lnTo>
                    <a:pt x="57" y="59"/>
                  </a:lnTo>
                  <a:lnTo>
                    <a:pt x="57" y="62"/>
                  </a:lnTo>
                  <a:lnTo>
                    <a:pt x="55" y="62"/>
                  </a:lnTo>
                  <a:lnTo>
                    <a:pt x="55" y="59"/>
                  </a:lnTo>
                  <a:close/>
                  <a:moveTo>
                    <a:pt x="38" y="57"/>
                  </a:moveTo>
                  <a:lnTo>
                    <a:pt x="41" y="57"/>
                  </a:lnTo>
                  <a:lnTo>
                    <a:pt x="38" y="57"/>
                  </a:lnTo>
                  <a:close/>
                  <a:moveTo>
                    <a:pt x="10" y="40"/>
                  </a:moveTo>
                  <a:lnTo>
                    <a:pt x="10" y="43"/>
                  </a:lnTo>
                  <a:lnTo>
                    <a:pt x="10" y="40"/>
                  </a:lnTo>
                  <a:close/>
                  <a:moveTo>
                    <a:pt x="7" y="24"/>
                  </a:moveTo>
                  <a:lnTo>
                    <a:pt x="5" y="24"/>
                  </a:lnTo>
                  <a:lnTo>
                    <a:pt x="7" y="24"/>
                  </a:lnTo>
                  <a:close/>
                  <a:moveTo>
                    <a:pt x="0" y="19"/>
                  </a:moveTo>
                  <a:lnTo>
                    <a:pt x="3" y="21"/>
                  </a:lnTo>
                  <a:lnTo>
                    <a:pt x="3" y="19"/>
                  </a:lnTo>
                  <a:lnTo>
                    <a:pt x="3" y="21"/>
                  </a:lnTo>
                  <a:lnTo>
                    <a:pt x="0" y="21"/>
                  </a:lnTo>
                  <a:lnTo>
                    <a:pt x="0" y="19"/>
                  </a:lnTo>
                  <a:close/>
                  <a:moveTo>
                    <a:pt x="3" y="19"/>
                  </a:moveTo>
                  <a:lnTo>
                    <a:pt x="3" y="21"/>
                  </a:lnTo>
                  <a:lnTo>
                    <a:pt x="0" y="21"/>
                  </a:lnTo>
                  <a:lnTo>
                    <a:pt x="3" y="21"/>
                  </a:lnTo>
                  <a:lnTo>
                    <a:pt x="0" y="21"/>
                  </a:lnTo>
                  <a:lnTo>
                    <a:pt x="3" y="21"/>
                  </a:lnTo>
                  <a:lnTo>
                    <a:pt x="3" y="19"/>
                  </a:lnTo>
                  <a:close/>
                  <a:moveTo>
                    <a:pt x="98" y="14"/>
                  </a:moveTo>
                  <a:lnTo>
                    <a:pt x="98" y="12"/>
                  </a:lnTo>
                  <a:lnTo>
                    <a:pt x="98" y="14"/>
                  </a:lnTo>
                  <a:close/>
                  <a:moveTo>
                    <a:pt x="38" y="7"/>
                  </a:moveTo>
                  <a:lnTo>
                    <a:pt x="36" y="7"/>
                  </a:lnTo>
                  <a:lnTo>
                    <a:pt x="38" y="7"/>
                  </a:lnTo>
                  <a:close/>
                  <a:moveTo>
                    <a:pt x="50" y="5"/>
                  </a:moveTo>
                  <a:lnTo>
                    <a:pt x="53" y="5"/>
                  </a:lnTo>
                  <a:lnTo>
                    <a:pt x="50" y="5"/>
                  </a:lnTo>
                  <a:close/>
                  <a:moveTo>
                    <a:pt x="72" y="2"/>
                  </a:moveTo>
                  <a:lnTo>
                    <a:pt x="69" y="2"/>
                  </a:lnTo>
                  <a:lnTo>
                    <a:pt x="72" y="2"/>
                  </a:lnTo>
                  <a:close/>
                  <a:moveTo>
                    <a:pt x="60" y="2"/>
                  </a:moveTo>
                  <a:lnTo>
                    <a:pt x="62" y="2"/>
                  </a:lnTo>
                  <a:lnTo>
                    <a:pt x="60" y="2"/>
                  </a:lnTo>
                  <a:close/>
                  <a:moveTo>
                    <a:pt x="64" y="2"/>
                  </a:moveTo>
                  <a:lnTo>
                    <a:pt x="64" y="0"/>
                  </a:lnTo>
                  <a:lnTo>
                    <a:pt x="64" y="2"/>
                  </a:lnTo>
                  <a:close/>
                  <a:moveTo>
                    <a:pt x="110" y="2"/>
                  </a:moveTo>
                  <a:lnTo>
                    <a:pt x="110" y="0"/>
                  </a:lnTo>
                  <a:lnTo>
                    <a:pt x="110" y="2"/>
                  </a:lnTo>
                  <a:close/>
                  <a:moveTo>
                    <a:pt x="110" y="0"/>
                  </a:moveTo>
                  <a:lnTo>
                    <a:pt x="110" y="2"/>
                  </a:lnTo>
                  <a:lnTo>
                    <a:pt x="110" y="0"/>
                  </a:lnTo>
                  <a:close/>
                  <a:moveTo>
                    <a:pt x="55" y="0"/>
                  </a:moveTo>
                  <a:lnTo>
                    <a:pt x="55" y="2"/>
                  </a:lnTo>
                  <a:lnTo>
                    <a:pt x="55" y="0"/>
                  </a:lnTo>
                  <a:close/>
                  <a:moveTo>
                    <a:pt x="110" y="0"/>
                  </a:moveTo>
                  <a:lnTo>
                    <a:pt x="110" y="2"/>
                  </a:lnTo>
                  <a:lnTo>
                    <a:pt x="110" y="0"/>
                  </a:lnTo>
                  <a:lnTo>
                    <a:pt x="110" y="2"/>
                  </a:lnTo>
                  <a:lnTo>
                    <a:pt x="107" y="0"/>
                  </a:lnTo>
                  <a:lnTo>
                    <a:pt x="11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8" name="Freeform 57984"/>
            <p:cNvSpPr>
              <a:spLocks noEditPoints="1"/>
            </p:cNvSpPr>
            <p:nvPr/>
          </p:nvSpPr>
          <p:spPr bwMode="auto">
            <a:xfrm>
              <a:off x="1768476" y="4724400"/>
              <a:ext cx="501650" cy="444500"/>
            </a:xfrm>
            <a:custGeom>
              <a:avLst/>
              <a:gdLst>
                <a:gd name="T0" fmla="*/ 316 w 316"/>
                <a:gd name="T1" fmla="*/ 280 h 280"/>
                <a:gd name="T2" fmla="*/ 145 w 316"/>
                <a:gd name="T3" fmla="*/ 221 h 280"/>
                <a:gd name="T4" fmla="*/ 145 w 316"/>
                <a:gd name="T5" fmla="*/ 221 h 280"/>
                <a:gd name="T6" fmla="*/ 138 w 316"/>
                <a:gd name="T7" fmla="*/ 214 h 280"/>
                <a:gd name="T8" fmla="*/ 84 w 316"/>
                <a:gd name="T9" fmla="*/ 114 h 280"/>
                <a:gd name="T10" fmla="*/ 81 w 316"/>
                <a:gd name="T11" fmla="*/ 116 h 280"/>
                <a:gd name="T12" fmla="*/ 84 w 316"/>
                <a:gd name="T13" fmla="*/ 114 h 280"/>
                <a:gd name="T14" fmla="*/ 93 w 316"/>
                <a:gd name="T15" fmla="*/ 116 h 280"/>
                <a:gd name="T16" fmla="*/ 65 w 316"/>
                <a:gd name="T17" fmla="*/ 109 h 280"/>
                <a:gd name="T18" fmla="*/ 65 w 316"/>
                <a:gd name="T19" fmla="*/ 109 h 280"/>
                <a:gd name="T20" fmla="*/ 67 w 316"/>
                <a:gd name="T21" fmla="*/ 104 h 280"/>
                <a:gd name="T22" fmla="*/ 57 w 316"/>
                <a:gd name="T23" fmla="*/ 97 h 280"/>
                <a:gd name="T24" fmla="*/ 57 w 316"/>
                <a:gd name="T25" fmla="*/ 97 h 280"/>
                <a:gd name="T26" fmla="*/ 57 w 316"/>
                <a:gd name="T27" fmla="*/ 95 h 280"/>
                <a:gd name="T28" fmla="*/ 57 w 316"/>
                <a:gd name="T29" fmla="*/ 97 h 280"/>
                <a:gd name="T30" fmla="*/ 57 w 316"/>
                <a:gd name="T31" fmla="*/ 97 h 280"/>
                <a:gd name="T32" fmla="*/ 57 w 316"/>
                <a:gd name="T33" fmla="*/ 95 h 280"/>
                <a:gd name="T34" fmla="*/ 31 w 316"/>
                <a:gd name="T35" fmla="*/ 95 h 280"/>
                <a:gd name="T36" fmla="*/ 31 w 316"/>
                <a:gd name="T37" fmla="*/ 95 h 280"/>
                <a:gd name="T38" fmla="*/ 31 w 316"/>
                <a:gd name="T39" fmla="*/ 92 h 280"/>
                <a:gd name="T40" fmla="*/ 3 w 316"/>
                <a:gd name="T41" fmla="*/ 64 h 280"/>
                <a:gd name="T42" fmla="*/ 3 w 316"/>
                <a:gd name="T43" fmla="*/ 64 h 280"/>
                <a:gd name="T44" fmla="*/ 0 w 316"/>
                <a:gd name="T45" fmla="*/ 62 h 280"/>
                <a:gd name="T46" fmla="*/ 10 w 316"/>
                <a:gd name="T47" fmla="*/ 52 h 280"/>
                <a:gd name="T48" fmla="*/ 8 w 316"/>
                <a:gd name="T49" fmla="*/ 52 h 280"/>
                <a:gd name="T50" fmla="*/ 12 w 316"/>
                <a:gd name="T51" fmla="*/ 52 h 280"/>
                <a:gd name="T52" fmla="*/ 12 w 316"/>
                <a:gd name="T53" fmla="*/ 52 h 280"/>
                <a:gd name="T54" fmla="*/ 15 w 316"/>
                <a:gd name="T55" fmla="*/ 52 h 280"/>
                <a:gd name="T56" fmla="*/ 19 w 316"/>
                <a:gd name="T57" fmla="*/ 50 h 280"/>
                <a:gd name="T58" fmla="*/ 19 w 316"/>
                <a:gd name="T59" fmla="*/ 50 h 280"/>
                <a:gd name="T60" fmla="*/ 103 w 316"/>
                <a:gd name="T61" fmla="*/ 47 h 280"/>
                <a:gd name="T62" fmla="*/ 46 w 316"/>
                <a:gd name="T63" fmla="*/ 47 h 280"/>
                <a:gd name="T64" fmla="*/ 46 w 316"/>
                <a:gd name="T65" fmla="*/ 47 h 280"/>
                <a:gd name="T66" fmla="*/ 43 w 316"/>
                <a:gd name="T67" fmla="*/ 45 h 280"/>
                <a:gd name="T68" fmla="*/ 65 w 316"/>
                <a:gd name="T69" fmla="*/ 45 h 280"/>
                <a:gd name="T70" fmla="*/ 65 w 316"/>
                <a:gd name="T71" fmla="*/ 45 h 280"/>
                <a:gd name="T72" fmla="*/ 46 w 316"/>
                <a:gd name="T73" fmla="*/ 45 h 280"/>
                <a:gd name="T74" fmla="*/ 43 w 316"/>
                <a:gd name="T75" fmla="*/ 43 h 280"/>
                <a:gd name="T76" fmla="*/ 43 w 316"/>
                <a:gd name="T77" fmla="*/ 43 h 280"/>
                <a:gd name="T78" fmla="*/ 53 w 316"/>
                <a:gd name="T79" fmla="*/ 43 h 280"/>
                <a:gd name="T80" fmla="*/ 62 w 316"/>
                <a:gd name="T81" fmla="*/ 40 h 280"/>
                <a:gd name="T82" fmla="*/ 62 w 316"/>
                <a:gd name="T83" fmla="*/ 40 h 280"/>
                <a:gd name="T84" fmla="*/ 103 w 316"/>
                <a:gd name="T85" fmla="*/ 40 h 280"/>
                <a:gd name="T86" fmla="*/ 103 w 316"/>
                <a:gd name="T87" fmla="*/ 40 h 280"/>
                <a:gd name="T88" fmla="*/ 103 w 316"/>
                <a:gd name="T89" fmla="*/ 40 h 280"/>
                <a:gd name="T90" fmla="*/ 103 w 316"/>
                <a:gd name="T91" fmla="*/ 38 h 280"/>
                <a:gd name="T92" fmla="*/ 62 w 316"/>
                <a:gd name="T93" fmla="*/ 38 h 280"/>
                <a:gd name="T94" fmla="*/ 62 w 316"/>
                <a:gd name="T95" fmla="*/ 38 h 280"/>
                <a:gd name="T96" fmla="*/ 124 w 316"/>
                <a:gd name="T97" fmla="*/ 9 h 280"/>
                <a:gd name="T98" fmla="*/ 167 w 316"/>
                <a:gd name="T99" fmla="*/ 2 h 280"/>
                <a:gd name="T100" fmla="*/ 167 w 316"/>
                <a:gd name="T101" fmla="*/ 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280">
                  <a:moveTo>
                    <a:pt x="316" y="278"/>
                  </a:moveTo>
                  <a:lnTo>
                    <a:pt x="316" y="280"/>
                  </a:lnTo>
                  <a:lnTo>
                    <a:pt x="316" y="278"/>
                  </a:lnTo>
                  <a:close/>
                  <a:moveTo>
                    <a:pt x="145" y="221"/>
                  </a:moveTo>
                  <a:lnTo>
                    <a:pt x="143" y="221"/>
                  </a:lnTo>
                  <a:lnTo>
                    <a:pt x="145" y="221"/>
                  </a:lnTo>
                  <a:close/>
                  <a:moveTo>
                    <a:pt x="138" y="211"/>
                  </a:moveTo>
                  <a:lnTo>
                    <a:pt x="138" y="214"/>
                  </a:lnTo>
                  <a:lnTo>
                    <a:pt x="138" y="211"/>
                  </a:lnTo>
                  <a:close/>
                  <a:moveTo>
                    <a:pt x="84" y="114"/>
                  </a:moveTo>
                  <a:lnTo>
                    <a:pt x="84" y="116"/>
                  </a:lnTo>
                  <a:lnTo>
                    <a:pt x="81" y="116"/>
                  </a:lnTo>
                  <a:lnTo>
                    <a:pt x="81" y="114"/>
                  </a:lnTo>
                  <a:lnTo>
                    <a:pt x="84" y="114"/>
                  </a:lnTo>
                  <a:close/>
                  <a:moveTo>
                    <a:pt x="93" y="114"/>
                  </a:moveTo>
                  <a:lnTo>
                    <a:pt x="93" y="116"/>
                  </a:lnTo>
                  <a:lnTo>
                    <a:pt x="93" y="114"/>
                  </a:lnTo>
                  <a:close/>
                  <a:moveTo>
                    <a:pt x="65" y="109"/>
                  </a:moveTo>
                  <a:lnTo>
                    <a:pt x="62" y="109"/>
                  </a:lnTo>
                  <a:lnTo>
                    <a:pt x="65" y="109"/>
                  </a:lnTo>
                  <a:close/>
                  <a:moveTo>
                    <a:pt x="65" y="104"/>
                  </a:moveTo>
                  <a:lnTo>
                    <a:pt x="67" y="104"/>
                  </a:lnTo>
                  <a:lnTo>
                    <a:pt x="65" y="104"/>
                  </a:lnTo>
                  <a:close/>
                  <a:moveTo>
                    <a:pt x="57" y="97"/>
                  </a:moveTo>
                  <a:lnTo>
                    <a:pt x="57" y="95"/>
                  </a:lnTo>
                  <a:lnTo>
                    <a:pt x="57" y="97"/>
                  </a:lnTo>
                  <a:close/>
                  <a:moveTo>
                    <a:pt x="57" y="97"/>
                  </a:moveTo>
                  <a:lnTo>
                    <a:pt x="57" y="95"/>
                  </a:lnTo>
                  <a:lnTo>
                    <a:pt x="57" y="97"/>
                  </a:lnTo>
                  <a:close/>
                  <a:moveTo>
                    <a:pt x="57" y="97"/>
                  </a:moveTo>
                  <a:lnTo>
                    <a:pt x="57" y="95"/>
                  </a:lnTo>
                  <a:lnTo>
                    <a:pt x="57" y="97"/>
                  </a:lnTo>
                  <a:close/>
                  <a:moveTo>
                    <a:pt x="57" y="97"/>
                  </a:moveTo>
                  <a:lnTo>
                    <a:pt x="57" y="95"/>
                  </a:lnTo>
                  <a:lnTo>
                    <a:pt x="57" y="97"/>
                  </a:lnTo>
                  <a:close/>
                  <a:moveTo>
                    <a:pt x="31" y="95"/>
                  </a:moveTo>
                  <a:lnTo>
                    <a:pt x="29" y="95"/>
                  </a:lnTo>
                  <a:lnTo>
                    <a:pt x="31" y="95"/>
                  </a:lnTo>
                  <a:close/>
                  <a:moveTo>
                    <a:pt x="29" y="92"/>
                  </a:moveTo>
                  <a:lnTo>
                    <a:pt x="31" y="92"/>
                  </a:lnTo>
                  <a:lnTo>
                    <a:pt x="29" y="92"/>
                  </a:lnTo>
                  <a:close/>
                  <a:moveTo>
                    <a:pt x="3" y="64"/>
                  </a:moveTo>
                  <a:lnTo>
                    <a:pt x="0" y="64"/>
                  </a:lnTo>
                  <a:lnTo>
                    <a:pt x="3" y="64"/>
                  </a:lnTo>
                  <a:close/>
                  <a:moveTo>
                    <a:pt x="0" y="64"/>
                  </a:moveTo>
                  <a:lnTo>
                    <a:pt x="0" y="62"/>
                  </a:lnTo>
                  <a:lnTo>
                    <a:pt x="0" y="64"/>
                  </a:lnTo>
                  <a:close/>
                  <a:moveTo>
                    <a:pt x="10" y="52"/>
                  </a:moveTo>
                  <a:lnTo>
                    <a:pt x="8" y="54"/>
                  </a:lnTo>
                  <a:lnTo>
                    <a:pt x="8" y="52"/>
                  </a:lnTo>
                  <a:lnTo>
                    <a:pt x="10" y="52"/>
                  </a:lnTo>
                  <a:close/>
                  <a:moveTo>
                    <a:pt x="12" y="52"/>
                  </a:moveTo>
                  <a:lnTo>
                    <a:pt x="12" y="50"/>
                  </a:lnTo>
                  <a:lnTo>
                    <a:pt x="12" y="52"/>
                  </a:lnTo>
                  <a:close/>
                  <a:moveTo>
                    <a:pt x="15" y="50"/>
                  </a:moveTo>
                  <a:lnTo>
                    <a:pt x="15" y="52"/>
                  </a:lnTo>
                  <a:lnTo>
                    <a:pt x="15" y="50"/>
                  </a:lnTo>
                  <a:close/>
                  <a:moveTo>
                    <a:pt x="19" y="50"/>
                  </a:moveTo>
                  <a:lnTo>
                    <a:pt x="19" y="47"/>
                  </a:lnTo>
                  <a:lnTo>
                    <a:pt x="19" y="50"/>
                  </a:lnTo>
                  <a:close/>
                  <a:moveTo>
                    <a:pt x="103" y="50"/>
                  </a:moveTo>
                  <a:lnTo>
                    <a:pt x="103" y="47"/>
                  </a:lnTo>
                  <a:lnTo>
                    <a:pt x="103" y="50"/>
                  </a:lnTo>
                  <a:close/>
                  <a:moveTo>
                    <a:pt x="46" y="47"/>
                  </a:moveTo>
                  <a:lnTo>
                    <a:pt x="46" y="45"/>
                  </a:lnTo>
                  <a:lnTo>
                    <a:pt x="46" y="47"/>
                  </a:lnTo>
                  <a:close/>
                  <a:moveTo>
                    <a:pt x="46" y="45"/>
                  </a:moveTo>
                  <a:lnTo>
                    <a:pt x="43" y="45"/>
                  </a:lnTo>
                  <a:lnTo>
                    <a:pt x="46" y="45"/>
                  </a:lnTo>
                  <a:close/>
                  <a:moveTo>
                    <a:pt x="65" y="45"/>
                  </a:moveTo>
                  <a:lnTo>
                    <a:pt x="65" y="43"/>
                  </a:lnTo>
                  <a:lnTo>
                    <a:pt x="65" y="45"/>
                  </a:lnTo>
                  <a:close/>
                  <a:moveTo>
                    <a:pt x="46" y="43"/>
                  </a:moveTo>
                  <a:lnTo>
                    <a:pt x="46" y="45"/>
                  </a:lnTo>
                  <a:lnTo>
                    <a:pt x="46" y="43"/>
                  </a:lnTo>
                  <a:close/>
                  <a:moveTo>
                    <a:pt x="43" y="43"/>
                  </a:moveTo>
                  <a:lnTo>
                    <a:pt x="43" y="45"/>
                  </a:lnTo>
                  <a:lnTo>
                    <a:pt x="43" y="43"/>
                  </a:lnTo>
                  <a:close/>
                  <a:moveTo>
                    <a:pt x="50" y="43"/>
                  </a:moveTo>
                  <a:lnTo>
                    <a:pt x="53" y="43"/>
                  </a:lnTo>
                  <a:lnTo>
                    <a:pt x="50" y="43"/>
                  </a:lnTo>
                  <a:close/>
                  <a:moveTo>
                    <a:pt x="62" y="40"/>
                  </a:moveTo>
                  <a:lnTo>
                    <a:pt x="65" y="40"/>
                  </a:lnTo>
                  <a:lnTo>
                    <a:pt x="62" y="40"/>
                  </a:lnTo>
                  <a:close/>
                  <a:moveTo>
                    <a:pt x="103" y="38"/>
                  </a:moveTo>
                  <a:lnTo>
                    <a:pt x="103" y="40"/>
                  </a:lnTo>
                  <a:lnTo>
                    <a:pt x="103" y="38"/>
                  </a:lnTo>
                  <a:close/>
                  <a:moveTo>
                    <a:pt x="103" y="40"/>
                  </a:moveTo>
                  <a:lnTo>
                    <a:pt x="103" y="38"/>
                  </a:lnTo>
                  <a:lnTo>
                    <a:pt x="103" y="40"/>
                  </a:lnTo>
                  <a:close/>
                  <a:moveTo>
                    <a:pt x="105" y="38"/>
                  </a:moveTo>
                  <a:lnTo>
                    <a:pt x="103" y="38"/>
                  </a:lnTo>
                  <a:lnTo>
                    <a:pt x="105" y="38"/>
                  </a:lnTo>
                  <a:close/>
                  <a:moveTo>
                    <a:pt x="62" y="38"/>
                  </a:moveTo>
                  <a:lnTo>
                    <a:pt x="60" y="38"/>
                  </a:lnTo>
                  <a:lnTo>
                    <a:pt x="62" y="38"/>
                  </a:lnTo>
                  <a:close/>
                  <a:moveTo>
                    <a:pt x="126" y="9"/>
                  </a:moveTo>
                  <a:lnTo>
                    <a:pt x="124" y="9"/>
                  </a:lnTo>
                  <a:lnTo>
                    <a:pt x="126" y="9"/>
                  </a:lnTo>
                  <a:close/>
                  <a:moveTo>
                    <a:pt x="167" y="2"/>
                  </a:moveTo>
                  <a:lnTo>
                    <a:pt x="167" y="0"/>
                  </a:lnTo>
                  <a:lnTo>
                    <a:pt x="167" y="2"/>
                  </a:lnTo>
                  <a:close/>
                </a:path>
              </a:pathLst>
            </a:custGeom>
            <a:grpFill/>
            <a:ln w="6350">
              <a:solidFill>
                <a:schemeClr val="bg1"/>
              </a:solidFill>
              <a:prstDash val="solid"/>
              <a:round/>
              <a:headEnd/>
              <a:tailEnd/>
            </a:ln>
          </p:spPr>
          <p:txBody>
            <a:bodyPr/>
            <a:lstStyle/>
            <a:p>
              <a:endParaRPr lang="en-US">
                <a:solidFill>
                  <a:srgbClr val="000000"/>
                </a:solidFill>
              </a:endParaRPr>
            </a:p>
          </p:txBody>
        </p:sp>
      </p:grpSp>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1. </a:t>
            </a:r>
            <a:r>
              <a:rPr lang="en-GB" kern="0" dirty="0" err="1" smtClean="0">
                <a:solidFill>
                  <a:srgbClr val="0F2D69"/>
                </a:solidFill>
                <a:latin typeface="Century Gothic"/>
                <a:cs typeface="Arial"/>
              </a:rPr>
              <a:t>Scopo</a:t>
            </a:r>
            <a:r>
              <a:rPr lang="en-GB" kern="0" dirty="0" smtClean="0">
                <a:solidFill>
                  <a:srgbClr val="0F2D69"/>
                </a:solidFill>
                <a:latin typeface="Century Gothic"/>
                <a:cs typeface="Arial"/>
              </a:rPr>
              <a:t> del </a:t>
            </a:r>
            <a:r>
              <a:rPr lang="en-GB" kern="0" dirty="0" err="1" smtClean="0">
                <a:solidFill>
                  <a:srgbClr val="0F2D69"/>
                </a:solidFill>
                <a:latin typeface="Century Gothic"/>
                <a:cs typeface="Arial"/>
              </a:rPr>
              <a:t>Regolamento</a:t>
            </a:r>
            <a:r>
              <a:rPr lang="en-GB" kern="0" dirty="0" smtClean="0">
                <a:solidFill>
                  <a:srgbClr val="0F2D69"/>
                </a:solidFill>
                <a:latin typeface="Century Gothic"/>
                <a:cs typeface="Arial"/>
              </a:rPr>
              <a:t> e </a:t>
            </a:r>
            <a:r>
              <a:rPr lang="en-GB" i="1" kern="0" dirty="0" smtClean="0">
                <a:solidFill>
                  <a:srgbClr val="0F2D69"/>
                </a:solidFill>
                <a:latin typeface="Century Gothic"/>
                <a:cs typeface="Arial"/>
              </a:rPr>
              <a:t>ratio </a:t>
            </a:r>
            <a:r>
              <a:rPr lang="en-GB" i="1" kern="0" dirty="0" err="1" smtClean="0">
                <a:solidFill>
                  <a:srgbClr val="0F2D69"/>
                </a:solidFill>
                <a:latin typeface="Century Gothic"/>
                <a:cs typeface="Arial"/>
              </a:rPr>
              <a:t>legis</a:t>
            </a:r>
            <a:r>
              <a:rPr lang="en-GB" i="1" kern="0" dirty="0" smtClean="0">
                <a:solidFill>
                  <a:srgbClr val="0F2D69"/>
                </a:solidFill>
                <a:latin typeface="Century Gothic"/>
                <a:cs typeface="Arial"/>
              </a:rPr>
              <a:t> </a:t>
            </a:r>
            <a:r>
              <a:rPr lang="en-GB" kern="0" dirty="0" smtClean="0">
                <a:solidFill>
                  <a:srgbClr val="0F2D69"/>
                </a:solidFill>
                <a:latin typeface="Century Gothic"/>
                <a:cs typeface="Arial"/>
              </a:rPr>
              <a:t>del </a:t>
            </a:r>
            <a:r>
              <a:rPr lang="en-GB" kern="0" dirty="0" err="1" smtClean="0">
                <a:solidFill>
                  <a:srgbClr val="0F2D69"/>
                </a:solidFill>
                <a:latin typeface="Century Gothic"/>
                <a:cs typeface="Arial"/>
              </a:rPr>
              <a:t>legislatore</a:t>
            </a:r>
            <a:r>
              <a:rPr lang="en-GB" kern="0" dirty="0" smtClean="0">
                <a:solidFill>
                  <a:srgbClr val="0F2D69"/>
                </a:solidFill>
                <a:latin typeface="Century Gothic"/>
                <a:cs typeface="Arial"/>
              </a:rPr>
              <a:t> </a:t>
            </a:r>
            <a:r>
              <a:rPr lang="en-GB" kern="0" dirty="0" err="1" smtClean="0">
                <a:solidFill>
                  <a:srgbClr val="0F2D69"/>
                </a:solidFill>
                <a:latin typeface="Century Gothic"/>
                <a:cs typeface="Arial"/>
              </a:rPr>
              <a:t>unionale</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6" name="Rectangle 5"/>
          <p:cNvSpPr/>
          <p:nvPr/>
        </p:nvSpPr>
        <p:spPr bwMode="auto">
          <a:xfrm>
            <a:off x="293211" y="1101022"/>
            <a:ext cx="9629286" cy="1967023"/>
          </a:xfrm>
          <a:prstGeom prst="rect">
            <a:avLst/>
          </a:prstGeom>
          <a:noFill/>
          <a:ln w="19050" algn="ctr">
            <a:noFill/>
            <a:miter lim="800000"/>
            <a:headEnd/>
            <a:tailEnd/>
          </a:ln>
        </p:spPr>
        <p:txBody>
          <a:bodyPr wrap="square" lIns="88900" tIns="88900" rIns="88900" bIns="88900" rtlCol="0" anchor="t"/>
          <a:lstStyle/>
          <a:p>
            <a:pPr lvl="0" algn="just"/>
            <a:r>
              <a:rPr lang="it-IT" dirty="0">
                <a:solidFill>
                  <a:srgbClr val="012169"/>
                </a:solidFill>
                <a:latin typeface="Century Gothic" panose="020B0502020202020204" pitchFamily="34" charset="0"/>
              </a:rPr>
              <a:t>Il regolamento stabilisce </a:t>
            </a:r>
            <a:r>
              <a:rPr lang="it-IT" b="1" dirty="0">
                <a:solidFill>
                  <a:srgbClr val="012169"/>
                </a:solidFill>
                <a:latin typeface="Century Gothic" panose="020B0502020202020204" pitchFamily="34" charset="0"/>
              </a:rPr>
              <a:t>norme comuni </a:t>
            </a:r>
            <a:r>
              <a:rPr lang="it-IT" dirty="0">
                <a:solidFill>
                  <a:srgbClr val="012169"/>
                </a:solidFill>
                <a:latin typeface="Century Gothic" panose="020B0502020202020204" pitchFamily="34" charset="0"/>
              </a:rPr>
              <a:t>per i controlli ufficiali dell’UE volti a garantire che la legislazione riguardante la </a:t>
            </a:r>
            <a:r>
              <a:rPr lang="it-IT" b="1" dirty="0">
                <a:solidFill>
                  <a:srgbClr val="012169"/>
                </a:solidFill>
                <a:latin typeface="Century Gothic" panose="020B0502020202020204" pitchFamily="34" charset="0"/>
              </a:rPr>
              <a:t>filiera agroalimentare </a:t>
            </a:r>
            <a:r>
              <a:rPr lang="it-IT" dirty="0">
                <a:solidFill>
                  <a:srgbClr val="012169"/>
                </a:solidFill>
                <a:latin typeface="Century Gothic" panose="020B0502020202020204" pitchFamily="34" charset="0"/>
              </a:rPr>
              <a:t>per la protezione della </a:t>
            </a:r>
            <a:r>
              <a:rPr lang="it-IT" b="1" dirty="0">
                <a:solidFill>
                  <a:srgbClr val="012169"/>
                </a:solidFill>
                <a:latin typeface="Century Gothic" panose="020B0502020202020204" pitchFamily="34" charset="0"/>
              </a:rPr>
              <a:t>salute umana</a:t>
            </a:r>
            <a:r>
              <a:rPr lang="it-IT" dirty="0">
                <a:solidFill>
                  <a:srgbClr val="012169"/>
                </a:solidFill>
                <a:latin typeface="Century Gothic" panose="020B0502020202020204" pitchFamily="34" charset="0"/>
              </a:rPr>
              <a:t>, della </a:t>
            </a:r>
            <a:r>
              <a:rPr lang="it-IT" b="1" dirty="0">
                <a:solidFill>
                  <a:srgbClr val="012169"/>
                </a:solidFill>
                <a:latin typeface="Century Gothic" panose="020B0502020202020204" pitchFamily="34" charset="0"/>
              </a:rPr>
              <a:t>salute e del benessere degli animali</a:t>
            </a:r>
            <a:r>
              <a:rPr lang="it-IT" dirty="0">
                <a:solidFill>
                  <a:srgbClr val="012169"/>
                </a:solidFill>
                <a:latin typeface="Century Gothic" panose="020B0502020202020204" pitchFamily="34" charset="0"/>
              </a:rPr>
              <a:t>, e della </a:t>
            </a:r>
            <a:r>
              <a:rPr lang="it-IT" b="1" dirty="0">
                <a:solidFill>
                  <a:srgbClr val="012169"/>
                </a:solidFill>
                <a:latin typeface="Century Gothic" panose="020B0502020202020204" pitchFamily="34" charset="0"/>
              </a:rPr>
              <a:t>sanità delle piante </a:t>
            </a:r>
            <a:r>
              <a:rPr lang="it-IT" dirty="0">
                <a:solidFill>
                  <a:srgbClr val="012169"/>
                </a:solidFill>
                <a:latin typeface="Century Gothic" panose="020B0502020202020204" pitchFamily="34" charset="0"/>
              </a:rPr>
              <a:t>sia correttamente applicata e resa esecutiva. </a:t>
            </a:r>
          </a:p>
        </p:txBody>
      </p:sp>
      <p:sp>
        <p:nvSpPr>
          <p:cNvPr id="2" name="Rettangolo 1"/>
          <p:cNvSpPr/>
          <p:nvPr/>
        </p:nvSpPr>
        <p:spPr>
          <a:xfrm>
            <a:off x="421440" y="4694824"/>
            <a:ext cx="9364184" cy="923330"/>
          </a:xfrm>
          <a:prstGeom prst="rect">
            <a:avLst/>
          </a:prstGeom>
        </p:spPr>
        <p:txBody>
          <a:bodyPr wrap="square">
            <a:spAutoFit/>
          </a:bodyPr>
          <a:lstStyle/>
          <a:p>
            <a:pPr lvl="0" algn="just"/>
            <a:r>
              <a:rPr lang="it-IT" dirty="0">
                <a:solidFill>
                  <a:srgbClr val="012169"/>
                </a:solidFill>
                <a:latin typeface="Century Gothic" panose="020B0502020202020204" pitchFamily="34" charset="0"/>
              </a:rPr>
              <a:t>Il regolamento introduce un </a:t>
            </a:r>
            <a:r>
              <a:rPr lang="it-IT" b="1" dirty="0">
                <a:solidFill>
                  <a:srgbClr val="012169"/>
                </a:solidFill>
                <a:latin typeface="Century Gothic" panose="020B0502020202020204" pitchFamily="34" charset="0"/>
              </a:rPr>
              <a:t>approccio più armonizzato e coerente </a:t>
            </a:r>
            <a:r>
              <a:rPr lang="it-IT" dirty="0">
                <a:solidFill>
                  <a:srgbClr val="012169"/>
                </a:solidFill>
                <a:latin typeface="Century Gothic" panose="020B0502020202020204" pitchFamily="34" charset="0"/>
              </a:rPr>
              <a:t>ai controlli ufficiali e alle misure esecutive lungo la filiera agroalimentare e rafforza il principio dei </a:t>
            </a:r>
            <a:r>
              <a:rPr lang="it-IT" b="1" dirty="0">
                <a:solidFill>
                  <a:srgbClr val="012169"/>
                </a:solidFill>
                <a:latin typeface="Century Gothic" panose="020B0502020202020204" pitchFamily="34" charset="0"/>
              </a:rPr>
              <a:t>controlli basati sul rischio</a:t>
            </a:r>
          </a:p>
        </p:txBody>
      </p:sp>
      <p:pic>
        <p:nvPicPr>
          <p:cNvPr id="139" name="Immagine 1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56474"/>
            <a:ext cx="1606338" cy="864951"/>
          </a:xfrm>
          <a:prstGeom prst="rect">
            <a:avLst/>
          </a:prstGeom>
        </p:spPr>
      </p:pic>
    </p:spTree>
    <p:extLst>
      <p:ext uri="{BB962C8B-B14F-4D97-AF65-F5344CB8AC3E}">
        <p14:creationId xmlns:p14="http://schemas.microsoft.com/office/powerpoint/2010/main" val="277852474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3890" y="4248150"/>
            <a:ext cx="3113314" cy="1676400"/>
          </a:xfrm>
          <a:prstGeom prst="rect">
            <a:avLst/>
          </a:prstGeom>
        </p:spPr>
      </p:pic>
      <p:sp>
        <p:nvSpPr>
          <p:cNvPr id="10" name="Title 1"/>
          <p:cNvSpPr txBox="1">
            <a:spLocks/>
          </p:cNvSpPr>
          <p:nvPr/>
        </p:nvSpPr>
        <p:spPr bwMode="auto">
          <a:xfrm>
            <a:off x="493403" y="1347600"/>
            <a:ext cx="10994291" cy="26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algn="ctr" defTabSz="457200"/>
            <a:r>
              <a:rPr lang="it-IT" sz="8000" b="0" kern="0" dirty="0" smtClean="0">
                <a:solidFill>
                  <a:srgbClr val="0F2D69"/>
                </a:solidFill>
                <a:latin typeface="Monotype Corsiva" panose="03010101010201010101" pitchFamily="66" charset="0"/>
                <a:cs typeface="Arial"/>
              </a:rPr>
              <a:t>Grazie per l’attenzione!</a:t>
            </a:r>
          </a:p>
          <a:p>
            <a:pPr defTabSz="457200"/>
            <a:endParaRPr lang="it-IT" altLang="it-IT" kern="0" dirty="0">
              <a:solidFill>
                <a:srgbClr val="0F2D69"/>
              </a:solidFill>
              <a:latin typeface="Century Gothic"/>
              <a:cs typeface="Arial"/>
            </a:endParaRPr>
          </a:p>
          <a:p>
            <a:pPr algn="ctr" defTabSz="457200"/>
            <a:r>
              <a:rPr lang="it-IT" altLang="it-IT" sz="3000" kern="0" dirty="0" smtClean="0">
                <a:solidFill>
                  <a:srgbClr val="0F2D69"/>
                </a:solidFill>
                <a:latin typeface="Century Gothic"/>
                <a:cs typeface="Arial"/>
              </a:rPr>
              <a:t>Avv. Antonio Pivetti</a:t>
            </a:r>
          </a:p>
          <a:p>
            <a:pPr algn="ctr" defTabSz="457200"/>
            <a:r>
              <a:rPr lang="it-IT" altLang="it-IT" sz="3000" kern="0" dirty="0" smtClean="0">
                <a:solidFill>
                  <a:srgbClr val="0F2D69"/>
                </a:solidFill>
                <a:latin typeface="Century Gothic"/>
                <a:cs typeface="Arial"/>
              </a:rPr>
              <a:t>Avv. Manuela Marullo</a:t>
            </a:r>
            <a:endParaRPr lang="it-IT" altLang="it-IT" sz="3000" dirty="0">
              <a:solidFill>
                <a:srgbClr val="0F2D69"/>
              </a:solidFill>
              <a:latin typeface="Century Gothic"/>
              <a:cs typeface="Arial"/>
            </a:endParaRPr>
          </a:p>
        </p:txBody>
      </p:sp>
      <p:sp>
        <p:nvSpPr>
          <p:cNvPr id="3" name="CasellaDiTesto 2"/>
          <p:cNvSpPr txBox="1"/>
          <p:nvPr/>
        </p:nvSpPr>
        <p:spPr>
          <a:xfrm>
            <a:off x="722547" y="6224388"/>
            <a:ext cx="10765147" cy="923330"/>
          </a:xfrm>
          <a:prstGeom prst="rect">
            <a:avLst/>
          </a:prstGeom>
          <a:noFill/>
        </p:spPr>
        <p:txBody>
          <a:bodyPr wrap="square" rtlCol="0">
            <a:spAutoFit/>
          </a:bodyPr>
          <a:lstStyle/>
          <a:p>
            <a:pPr algn="ctr"/>
            <a:r>
              <a:rPr lang="it-IT" dirty="0" smtClean="0">
                <a:hlinkClick r:id="rId3"/>
              </a:rPr>
              <a:t>manuelamarullo@agriforum.eu</a:t>
            </a:r>
            <a:r>
              <a:rPr lang="it-IT" dirty="0" smtClean="0"/>
              <a:t>      </a:t>
            </a:r>
            <a:r>
              <a:rPr lang="it-IT" dirty="0" smtClean="0">
                <a:hlinkClick r:id="rId4"/>
              </a:rPr>
              <a:t>antoniopivetti@agriforum.eu</a:t>
            </a:r>
            <a:endParaRPr lang="it-IT" dirty="0" smtClean="0"/>
          </a:p>
          <a:p>
            <a:endParaRPr lang="it-IT" dirty="0" smtClean="0"/>
          </a:p>
          <a:p>
            <a:endParaRPr lang="it-IT" dirty="0"/>
          </a:p>
        </p:txBody>
      </p:sp>
    </p:spTree>
    <p:extLst>
      <p:ext uri="{BB962C8B-B14F-4D97-AF65-F5344CB8AC3E}">
        <p14:creationId xmlns:p14="http://schemas.microsoft.com/office/powerpoint/2010/main" val="16953623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06377" y="1011386"/>
            <a:ext cx="7379247" cy="5430677"/>
            <a:chOff x="586147" y="1793883"/>
            <a:chExt cx="5055825" cy="4502160"/>
          </a:xfrm>
          <a:solidFill>
            <a:schemeClr val="bg1">
              <a:lumMod val="85000"/>
              <a:alpha val="56000"/>
            </a:schemeClr>
          </a:solidFill>
        </p:grpSpPr>
        <p:sp>
          <p:nvSpPr>
            <p:cNvPr id="9" name="Freeform 50272"/>
            <p:cNvSpPr>
              <a:spLocks/>
            </p:cNvSpPr>
            <p:nvPr/>
          </p:nvSpPr>
          <p:spPr bwMode="auto">
            <a:xfrm>
              <a:off x="3035298" y="5248292"/>
              <a:ext cx="93663" cy="219075"/>
            </a:xfrm>
            <a:custGeom>
              <a:avLst/>
              <a:gdLst>
                <a:gd name="T0" fmla="*/ 16 w 59"/>
                <a:gd name="T1" fmla="*/ 9 h 138"/>
                <a:gd name="T2" fmla="*/ 23 w 59"/>
                <a:gd name="T3" fmla="*/ 7 h 138"/>
                <a:gd name="T4" fmla="*/ 31 w 59"/>
                <a:gd name="T5" fmla="*/ 7 h 138"/>
                <a:gd name="T6" fmla="*/ 31 w 59"/>
                <a:gd name="T7" fmla="*/ 12 h 138"/>
                <a:gd name="T8" fmla="*/ 35 w 59"/>
                <a:gd name="T9" fmla="*/ 17 h 138"/>
                <a:gd name="T10" fmla="*/ 40 w 59"/>
                <a:gd name="T11" fmla="*/ 21 h 138"/>
                <a:gd name="T12" fmla="*/ 42 w 59"/>
                <a:gd name="T13" fmla="*/ 28 h 138"/>
                <a:gd name="T14" fmla="*/ 45 w 59"/>
                <a:gd name="T15" fmla="*/ 36 h 138"/>
                <a:gd name="T16" fmla="*/ 42 w 59"/>
                <a:gd name="T17" fmla="*/ 38 h 138"/>
                <a:gd name="T18" fmla="*/ 42 w 59"/>
                <a:gd name="T19" fmla="*/ 47 h 138"/>
                <a:gd name="T20" fmla="*/ 40 w 59"/>
                <a:gd name="T21" fmla="*/ 55 h 138"/>
                <a:gd name="T22" fmla="*/ 42 w 59"/>
                <a:gd name="T23" fmla="*/ 57 h 138"/>
                <a:gd name="T24" fmla="*/ 42 w 59"/>
                <a:gd name="T25" fmla="*/ 64 h 138"/>
                <a:gd name="T26" fmla="*/ 45 w 59"/>
                <a:gd name="T27" fmla="*/ 71 h 138"/>
                <a:gd name="T28" fmla="*/ 50 w 59"/>
                <a:gd name="T29" fmla="*/ 81 h 138"/>
                <a:gd name="T30" fmla="*/ 57 w 59"/>
                <a:gd name="T31" fmla="*/ 83 h 138"/>
                <a:gd name="T32" fmla="*/ 59 w 59"/>
                <a:gd name="T33" fmla="*/ 90 h 138"/>
                <a:gd name="T34" fmla="*/ 57 w 59"/>
                <a:gd name="T35" fmla="*/ 97 h 138"/>
                <a:gd name="T36" fmla="*/ 54 w 59"/>
                <a:gd name="T37" fmla="*/ 100 h 138"/>
                <a:gd name="T38" fmla="*/ 50 w 59"/>
                <a:gd name="T39" fmla="*/ 104 h 138"/>
                <a:gd name="T40" fmla="*/ 47 w 59"/>
                <a:gd name="T41" fmla="*/ 112 h 138"/>
                <a:gd name="T42" fmla="*/ 45 w 59"/>
                <a:gd name="T43" fmla="*/ 119 h 138"/>
                <a:gd name="T44" fmla="*/ 38 w 59"/>
                <a:gd name="T45" fmla="*/ 121 h 138"/>
                <a:gd name="T46" fmla="*/ 35 w 59"/>
                <a:gd name="T47" fmla="*/ 124 h 138"/>
                <a:gd name="T48" fmla="*/ 38 w 59"/>
                <a:gd name="T49" fmla="*/ 133 h 138"/>
                <a:gd name="T50" fmla="*/ 33 w 59"/>
                <a:gd name="T51" fmla="*/ 133 h 138"/>
                <a:gd name="T52" fmla="*/ 33 w 59"/>
                <a:gd name="T53" fmla="*/ 138 h 138"/>
                <a:gd name="T54" fmla="*/ 33 w 59"/>
                <a:gd name="T55" fmla="*/ 138 h 138"/>
                <a:gd name="T56" fmla="*/ 26 w 59"/>
                <a:gd name="T57" fmla="*/ 135 h 138"/>
                <a:gd name="T58" fmla="*/ 23 w 59"/>
                <a:gd name="T59" fmla="*/ 131 h 138"/>
                <a:gd name="T60" fmla="*/ 26 w 59"/>
                <a:gd name="T61" fmla="*/ 128 h 138"/>
                <a:gd name="T62" fmla="*/ 23 w 59"/>
                <a:gd name="T63" fmla="*/ 126 h 138"/>
                <a:gd name="T64" fmla="*/ 19 w 59"/>
                <a:gd name="T65" fmla="*/ 119 h 138"/>
                <a:gd name="T66" fmla="*/ 16 w 59"/>
                <a:gd name="T67" fmla="*/ 116 h 138"/>
                <a:gd name="T68" fmla="*/ 9 w 59"/>
                <a:gd name="T69" fmla="*/ 114 h 138"/>
                <a:gd name="T70" fmla="*/ 4 w 59"/>
                <a:gd name="T71" fmla="*/ 109 h 138"/>
                <a:gd name="T72" fmla="*/ 2 w 59"/>
                <a:gd name="T73" fmla="*/ 102 h 138"/>
                <a:gd name="T74" fmla="*/ 7 w 59"/>
                <a:gd name="T75" fmla="*/ 107 h 138"/>
                <a:gd name="T76" fmla="*/ 4 w 59"/>
                <a:gd name="T77" fmla="*/ 100 h 138"/>
                <a:gd name="T78" fmla="*/ 4 w 59"/>
                <a:gd name="T79" fmla="*/ 95 h 138"/>
                <a:gd name="T80" fmla="*/ 2 w 59"/>
                <a:gd name="T81" fmla="*/ 93 h 138"/>
                <a:gd name="T82" fmla="*/ 4 w 59"/>
                <a:gd name="T83" fmla="*/ 90 h 138"/>
                <a:gd name="T84" fmla="*/ 4 w 59"/>
                <a:gd name="T85" fmla="*/ 81 h 138"/>
                <a:gd name="T86" fmla="*/ 7 w 59"/>
                <a:gd name="T87" fmla="*/ 78 h 138"/>
                <a:gd name="T88" fmla="*/ 7 w 59"/>
                <a:gd name="T89" fmla="*/ 74 h 138"/>
                <a:gd name="T90" fmla="*/ 9 w 59"/>
                <a:gd name="T91" fmla="*/ 66 h 138"/>
                <a:gd name="T92" fmla="*/ 7 w 59"/>
                <a:gd name="T93" fmla="*/ 62 h 138"/>
                <a:gd name="T94" fmla="*/ 4 w 59"/>
                <a:gd name="T95" fmla="*/ 59 h 138"/>
                <a:gd name="T96" fmla="*/ 7 w 59"/>
                <a:gd name="T97" fmla="*/ 57 h 138"/>
                <a:gd name="T98" fmla="*/ 7 w 59"/>
                <a:gd name="T99" fmla="*/ 52 h 138"/>
                <a:gd name="T100" fmla="*/ 12 w 59"/>
                <a:gd name="T101" fmla="*/ 47 h 138"/>
                <a:gd name="T102" fmla="*/ 12 w 59"/>
                <a:gd name="T103" fmla="*/ 47 h 138"/>
                <a:gd name="T104" fmla="*/ 12 w 59"/>
                <a:gd name="T105" fmla="*/ 45 h 138"/>
                <a:gd name="T106" fmla="*/ 12 w 59"/>
                <a:gd name="T107" fmla="*/ 40 h 138"/>
                <a:gd name="T108" fmla="*/ 9 w 59"/>
                <a:gd name="T109" fmla="*/ 38 h 138"/>
                <a:gd name="T110" fmla="*/ 4 w 59"/>
                <a:gd name="T111" fmla="*/ 38 h 138"/>
                <a:gd name="T112" fmla="*/ 2 w 59"/>
                <a:gd name="T113" fmla="*/ 33 h 138"/>
                <a:gd name="T114" fmla="*/ 7 w 59"/>
                <a:gd name="T115" fmla="*/ 33 h 138"/>
                <a:gd name="T116" fmla="*/ 4 w 59"/>
                <a:gd name="T117" fmla="*/ 31 h 138"/>
                <a:gd name="T118" fmla="*/ 0 w 59"/>
                <a:gd name="T119" fmla="*/ 24 h 138"/>
                <a:gd name="T120" fmla="*/ 4 w 59"/>
                <a:gd name="T121" fmla="*/ 14 h 138"/>
                <a:gd name="T122" fmla="*/ 9 w 59"/>
                <a:gd name="T123" fmla="*/ 9 h 138"/>
                <a:gd name="T124" fmla="*/ 14 w 59"/>
                <a:gd name="T125" fmla="*/ 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 h="138">
                  <a:moveTo>
                    <a:pt x="16" y="2"/>
                  </a:moveTo>
                  <a:lnTo>
                    <a:pt x="16" y="5"/>
                  </a:lnTo>
                  <a:lnTo>
                    <a:pt x="16" y="7"/>
                  </a:lnTo>
                  <a:lnTo>
                    <a:pt x="16" y="9"/>
                  </a:lnTo>
                  <a:lnTo>
                    <a:pt x="19" y="9"/>
                  </a:lnTo>
                  <a:lnTo>
                    <a:pt x="21" y="9"/>
                  </a:lnTo>
                  <a:lnTo>
                    <a:pt x="21" y="7"/>
                  </a:lnTo>
                  <a:lnTo>
                    <a:pt x="23" y="7"/>
                  </a:lnTo>
                  <a:lnTo>
                    <a:pt x="26" y="7"/>
                  </a:lnTo>
                  <a:lnTo>
                    <a:pt x="26" y="5"/>
                  </a:lnTo>
                  <a:lnTo>
                    <a:pt x="28" y="7"/>
                  </a:lnTo>
                  <a:lnTo>
                    <a:pt x="31" y="7"/>
                  </a:lnTo>
                  <a:lnTo>
                    <a:pt x="31" y="9"/>
                  </a:lnTo>
                  <a:lnTo>
                    <a:pt x="31" y="12"/>
                  </a:lnTo>
                  <a:lnTo>
                    <a:pt x="33" y="12"/>
                  </a:lnTo>
                  <a:lnTo>
                    <a:pt x="31" y="12"/>
                  </a:lnTo>
                  <a:lnTo>
                    <a:pt x="31" y="14"/>
                  </a:lnTo>
                  <a:lnTo>
                    <a:pt x="33" y="14"/>
                  </a:lnTo>
                  <a:lnTo>
                    <a:pt x="33" y="17"/>
                  </a:lnTo>
                  <a:lnTo>
                    <a:pt x="35" y="17"/>
                  </a:lnTo>
                  <a:lnTo>
                    <a:pt x="38" y="17"/>
                  </a:lnTo>
                  <a:lnTo>
                    <a:pt x="38" y="19"/>
                  </a:lnTo>
                  <a:lnTo>
                    <a:pt x="40" y="19"/>
                  </a:lnTo>
                  <a:lnTo>
                    <a:pt x="40" y="21"/>
                  </a:lnTo>
                  <a:lnTo>
                    <a:pt x="42" y="21"/>
                  </a:lnTo>
                  <a:lnTo>
                    <a:pt x="42" y="24"/>
                  </a:lnTo>
                  <a:lnTo>
                    <a:pt x="42" y="26"/>
                  </a:lnTo>
                  <a:lnTo>
                    <a:pt x="42" y="28"/>
                  </a:lnTo>
                  <a:lnTo>
                    <a:pt x="45" y="28"/>
                  </a:lnTo>
                  <a:lnTo>
                    <a:pt x="45" y="31"/>
                  </a:lnTo>
                  <a:lnTo>
                    <a:pt x="45" y="33"/>
                  </a:lnTo>
                  <a:lnTo>
                    <a:pt x="45" y="36"/>
                  </a:lnTo>
                  <a:lnTo>
                    <a:pt x="42" y="36"/>
                  </a:lnTo>
                  <a:lnTo>
                    <a:pt x="45" y="36"/>
                  </a:lnTo>
                  <a:lnTo>
                    <a:pt x="45" y="38"/>
                  </a:lnTo>
                  <a:lnTo>
                    <a:pt x="42" y="38"/>
                  </a:lnTo>
                  <a:lnTo>
                    <a:pt x="42" y="40"/>
                  </a:lnTo>
                  <a:lnTo>
                    <a:pt x="42" y="43"/>
                  </a:lnTo>
                  <a:lnTo>
                    <a:pt x="42" y="45"/>
                  </a:lnTo>
                  <a:lnTo>
                    <a:pt x="42" y="47"/>
                  </a:lnTo>
                  <a:lnTo>
                    <a:pt x="42" y="50"/>
                  </a:lnTo>
                  <a:lnTo>
                    <a:pt x="42" y="52"/>
                  </a:lnTo>
                  <a:lnTo>
                    <a:pt x="40" y="52"/>
                  </a:lnTo>
                  <a:lnTo>
                    <a:pt x="40" y="55"/>
                  </a:lnTo>
                  <a:lnTo>
                    <a:pt x="42" y="55"/>
                  </a:lnTo>
                  <a:lnTo>
                    <a:pt x="42" y="57"/>
                  </a:lnTo>
                  <a:lnTo>
                    <a:pt x="40" y="57"/>
                  </a:lnTo>
                  <a:lnTo>
                    <a:pt x="42" y="57"/>
                  </a:lnTo>
                  <a:lnTo>
                    <a:pt x="42" y="59"/>
                  </a:lnTo>
                  <a:lnTo>
                    <a:pt x="42" y="62"/>
                  </a:lnTo>
                  <a:lnTo>
                    <a:pt x="40" y="62"/>
                  </a:lnTo>
                  <a:lnTo>
                    <a:pt x="42" y="64"/>
                  </a:lnTo>
                  <a:lnTo>
                    <a:pt x="42" y="66"/>
                  </a:lnTo>
                  <a:lnTo>
                    <a:pt x="42" y="69"/>
                  </a:lnTo>
                  <a:lnTo>
                    <a:pt x="45" y="69"/>
                  </a:lnTo>
                  <a:lnTo>
                    <a:pt x="45" y="71"/>
                  </a:lnTo>
                  <a:lnTo>
                    <a:pt x="45" y="74"/>
                  </a:lnTo>
                  <a:lnTo>
                    <a:pt x="47" y="74"/>
                  </a:lnTo>
                  <a:lnTo>
                    <a:pt x="47" y="78"/>
                  </a:lnTo>
                  <a:lnTo>
                    <a:pt x="50" y="81"/>
                  </a:lnTo>
                  <a:lnTo>
                    <a:pt x="52" y="81"/>
                  </a:lnTo>
                  <a:lnTo>
                    <a:pt x="54" y="81"/>
                  </a:lnTo>
                  <a:lnTo>
                    <a:pt x="57" y="81"/>
                  </a:lnTo>
                  <a:lnTo>
                    <a:pt x="57" y="83"/>
                  </a:lnTo>
                  <a:lnTo>
                    <a:pt x="57" y="85"/>
                  </a:lnTo>
                  <a:lnTo>
                    <a:pt x="57" y="88"/>
                  </a:lnTo>
                  <a:lnTo>
                    <a:pt x="57" y="90"/>
                  </a:lnTo>
                  <a:lnTo>
                    <a:pt x="59" y="90"/>
                  </a:lnTo>
                  <a:lnTo>
                    <a:pt x="59" y="93"/>
                  </a:lnTo>
                  <a:lnTo>
                    <a:pt x="59" y="95"/>
                  </a:lnTo>
                  <a:lnTo>
                    <a:pt x="59" y="97"/>
                  </a:lnTo>
                  <a:lnTo>
                    <a:pt x="57" y="97"/>
                  </a:lnTo>
                  <a:lnTo>
                    <a:pt x="57" y="100"/>
                  </a:lnTo>
                  <a:lnTo>
                    <a:pt x="57" y="102"/>
                  </a:lnTo>
                  <a:lnTo>
                    <a:pt x="54" y="102"/>
                  </a:lnTo>
                  <a:lnTo>
                    <a:pt x="54" y="100"/>
                  </a:lnTo>
                  <a:lnTo>
                    <a:pt x="52" y="100"/>
                  </a:lnTo>
                  <a:lnTo>
                    <a:pt x="52" y="102"/>
                  </a:lnTo>
                  <a:lnTo>
                    <a:pt x="50" y="102"/>
                  </a:lnTo>
                  <a:lnTo>
                    <a:pt x="50" y="104"/>
                  </a:lnTo>
                  <a:lnTo>
                    <a:pt x="50" y="107"/>
                  </a:lnTo>
                  <a:lnTo>
                    <a:pt x="50" y="109"/>
                  </a:lnTo>
                  <a:lnTo>
                    <a:pt x="47" y="109"/>
                  </a:lnTo>
                  <a:lnTo>
                    <a:pt x="47" y="112"/>
                  </a:lnTo>
                  <a:lnTo>
                    <a:pt x="47" y="114"/>
                  </a:lnTo>
                  <a:lnTo>
                    <a:pt x="47" y="116"/>
                  </a:lnTo>
                  <a:lnTo>
                    <a:pt x="47" y="119"/>
                  </a:lnTo>
                  <a:lnTo>
                    <a:pt x="45" y="119"/>
                  </a:lnTo>
                  <a:lnTo>
                    <a:pt x="42" y="119"/>
                  </a:lnTo>
                  <a:lnTo>
                    <a:pt x="40" y="119"/>
                  </a:lnTo>
                  <a:lnTo>
                    <a:pt x="38" y="119"/>
                  </a:lnTo>
                  <a:lnTo>
                    <a:pt x="38" y="121"/>
                  </a:lnTo>
                  <a:lnTo>
                    <a:pt x="38" y="124"/>
                  </a:lnTo>
                  <a:lnTo>
                    <a:pt x="35" y="124"/>
                  </a:lnTo>
                  <a:lnTo>
                    <a:pt x="35" y="121"/>
                  </a:lnTo>
                  <a:lnTo>
                    <a:pt x="35" y="124"/>
                  </a:lnTo>
                  <a:lnTo>
                    <a:pt x="35" y="126"/>
                  </a:lnTo>
                  <a:lnTo>
                    <a:pt x="38" y="128"/>
                  </a:lnTo>
                  <a:lnTo>
                    <a:pt x="38" y="131"/>
                  </a:lnTo>
                  <a:lnTo>
                    <a:pt x="38" y="133"/>
                  </a:lnTo>
                  <a:lnTo>
                    <a:pt x="35" y="131"/>
                  </a:lnTo>
                  <a:lnTo>
                    <a:pt x="33" y="131"/>
                  </a:lnTo>
                  <a:lnTo>
                    <a:pt x="35" y="133"/>
                  </a:lnTo>
                  <a:lnTo>
                    <a:pt x="33" y="133"/>
                  </a:lnTo>
                  <a:lnTo>
                    <a:pt x="35" y="133"/>
                  </a:lnTo>
                  <a:lnTo>
                    <a:pt x="35" y="135"/>
                  </a:lnTo>
                  <a:lnTo>
                    <a:pt x="33" y="135"/>
                  </a:lnTo>
                  <a:lnTo>
                    <a:pt x="33" y="138"/>
                  </a:lnTo>
                  <a:lnTo>
                    <a:pt x="33" y="135"/>
                  </a:lnTo>
                  <a:lnTo>
                    <a:pt x="33" y="138"/>
                  </a:lnTo>
                  <a:lnTo>
                    <a:pt x="31" y="138"/>
                  </a:lnTo>
                  <a:lnTo>
                    <a:pt x="33" y="138"/>
                  </a:lnTo>
                  <a:lnTo>
                    <a:pt x="31" y="138"/>
                  </a:lnTo>
                  <a:lnTo>
                    <a:pt x="28" y="138"/>
                  </a:lnTo>
                  <a:lnTo>
                    <a:pt x="28" y="135"/>
                  </a:lnTo>
                  <a:lnTo>
                    <a:pt x="26" y="135"/>
                  </a:lnTo>
                  <a:lnTo>
                    <a:pt x="23" y="135"/>
                  </a:lnTo>
                  <a:lnTo>
                    <a:pt x="23" y="133"/>
                  </a:lnTo>
                  <a:lnTo>
                    <a:pt x="26" y="133"/>
                  </a:lnTo>
                  <a:lnTo>
                    <a:pt x="23" y="131"/>
                  </a:lnTo>
                  <a:lnTo>
                    <a:pt x="26" y="131"/>
                  </a:lnTo>
                  <a:lnTo>
                    <a:pt x="23" y="131"/>
                  </a:lnTo>
                  <a:lnTo>
                    <a:pt x="26" y="131"/>
                  </a:lnTo>
                  <a:lnTo>
                    <a:pt x="26" y="128"/>
                  </a:lnTo>
                  <a:lnTo>
                    <a:pt x="23" y="128"/>
                  </a:lnTo>
                  <a:lnTo>
                    <a:pt x="23" y="126"/>
                  </a:lnTo>
                  <a:lnTo>
                    <a:pt x="21" y="126"/>
                  </a:lnTo>
                  <a:lnTo>
                    <a:pt x="23" y="126"/>
                  </a:lnTo>
                  <a:lnTo>
                    <a:pt x="21" y="124"/>
                  </a:lnTo>
                  <a:lnTo>
                    <a:pt x="21" y="121"/>
                  </a:lnTo>
                  <a:lnTo>
                    <a:pt x="19" y="121"/>
                  </a:lnTo>
                  <a:lnTo>
                    <a:pt x="19" y="119"/>
                  </a:lnTo>
                  <a:lnTo>
                    <a:pt x="19" y="121"/>
                  </a:lnTo>
                  <a:lnTo>
                    <a:pt x="19" y="119"/>
                  </a:lnTo>
                  <a:lnTo>
                    <a:pt x="16" y="119"/>
                  </a:lnTo>
                  <a:lnTo>
                    <a:pt x="16" y="116"/>
                  </a:lnTo>
                  <a:lnTo>
                    <a:pt x="14" y="116"/>
                  </a:lnTo>
                  <a:lnTo>
                    <a:pt x="12" y="116"/>
                  </a:lnTo>
                  <a:lnTo>
                    <a:pt x="12" y="114"/>
                  </a:lnTo>
                  <a:lnTo>
                    <a:pt x="9" y="114"/>
                  </a:lnTo>
                  <a:lnTo>
                    <a:pt x="7" y="114"/>
                  </a:lnTo>
                  <a:lnTo>
                    <a:pt x="7" y="112"/>
                  </a:lnTo>
                  <a:lnTo>
                    <a:pt x="4" y="112"/>
                  </a:lnTo>
                  <a:lnTo>
                    <a:pt x="4" y="109"/>
                  </a:lnTo>
                  <a:lnTo>
                    <a:pt x="4" y="107"/>
                  </a:lnTo>
                  <a:lnTo>
                    <a:pt x="2" y="107"/>
                  </a:lnTo>
                  <a:lnTo>
                    <a:pt x="2" y="104"/>
                  </a:lnTo>
                  <a:lnTo>
                    <a:pt x="2" y="102"/>
                  </a:lnTo>
                  <a:lnTo>
                    <a:pt x="4" y="102"/>
                  </a:lnTo>
                  <a:lnTo>
                    <a:pt x="4" y="104"/>
                  </a:lnTo>
                  <a:lnTo>
                    <a:pt x="4" y="107"/>
                  </a:lnTo>
                  <a:lnTo>
                    <a:pt x="7" y="107"/>
                  </a:lnTo>
                  <a:lnTo>
                    <a:pt x="7" y="104"/>
                  </a:lnTo>
                  <a:lnTo>
                    <a:pt x="7" y="102"/>
                  </a:lnTo>
                  <a:lnTo>
                    <a:pt x="7" y="100"/>
                  </a:lnTo>
                  <a:lnTo>
                    <a:pt x="4" y="100"/>
                  </a:lnTo>
                  <a:lnTo>
                    <a:pt x="7" y="100"/>
                  </a:lnTo>
                  <a:lnTo>
                    <a:pt x="4" y="100"/>
                  </a:lnTo>
                  <a:lnTo>
                    <a:pt x="4" y="97"/>
                  </a:lnTo>
                  <a:lnTo>
                    <a:pt x="4" y="95"/>
                  </a:lnTo>
                  <a:lnTo>
                    <a:pt x="4" y="97"/>
                  </a:lnTo>
                  <a:lnTo>
                    <a:pt x="4" y="95"/>
                  </a:lnTo>
                  <a:lnTo>
                    <a:pt x="2" y="95"/>
                  </a:lnTo>
                  <a:lnTo>
                    <a:pt x="2" y="93"/>
                  </a:lnTo>
                  <a:lnTo>
                    <a:pt x="4" y="93"/>
                  </a:lnTo>
                  <a:lnTo>
                    <a:pt x="2" y="93"/>
                  </a:lnTo>
                  <a:lnTo>
                    <a:pt x="2" y="90"/>
                  </a:lnTo>
                  <a:lnTo>
                    <a:pt x="4" y="90"/>
                  </a:lnTo>
                  <a:lnTo>
                    <a:pt x="4" y="88"/>
                  </a:lnTo>
                  <a:lnTo>
                    <a:pt x="4" y="85"/>
                  </a:lnTo>
                  <a:lnTo>
                    <a:pt x="4" y="83"/>
                  </a:lnTo>
                  <a:lnTo>
                    <a:pt x="4" y="81"/>
                  </a:lnTo>
                  <a:lnTo>
                    <a:pt x="7" y="81"/>
                  </a:lnTo>
                  <a:lnTo>
                    <a:pt x="7" y="78"/>
                  </a:lnTo>
                  <a:lnTo>
                    <a:pt x="7" y="76"/>
                  </a:lnTo>
                  <a:lnTo>
                    <a:pt x="7" y="78"/>
                  </a:lnTo>
                  <a:lnTo>
                    <a:pt x="7" y="76"/>
                  </a:lnTo>
                  <a:lnTo>
                    <a:pt x="7" y="78"/>
                  </a:lnTo>
                  <a:lnTo>
                    <a:pt x="7" y="76"/>
                  </a:lnTo>
                  <a:lnTo>
                    <a:pt x="7" y="74"/>
                  </a:lnTo>
                  <a:lnTo>
                    <a:pt x="7" y="71"/>
                  </a:lnTo>
                  <a:lnTo>
                    <a:pt x="7" y="69"/>
                  </a:lnTo>
                  <a:lnTo>
                    <a:pt x="7" y="66"/>
                  </a:lnTo>
                  <a:lnTo>
                    <a:pt x="9" y="66"/>
                  </a:lnTo>
                  <a:lnTo>
                    <a:pt x="9" y="64"/>
                  </a:lnTo>
                  <a:lnTo>
                    <a:pt x="7" y="62"/>
                  </a:lnTo>
                  <a:lnTo>
                    <a:pt x="7" y="64"/>
                  </a:lnTo>
                  <a:lnTo>
                    <a:pt x="7" y="62"/>
                  </a:lnTo>
                  <a:lnTo>
                    <a:pt x="7" y="64"/>
                  </a:lnTo>
                  <a:lnTo>
                    <a:pt x="7" y="62"/>
                  </a:lnTo>
                  <a:lnTo>
                    <a:pt x="4" y="62"/>
                  </a:lnTo>
                  <a:lnTo>
                    <a:pt x="4" y="59"/>
                  </a:lnTo>
                  <a:lnTo>
                    <a:pt x="4" y="57"/>
                  </a:lnTo>
                  <a:lnTo>
                    <a:pt x="4" y="59"/>
                  </a:lnTo>
                  <a:lnTo>
                    <a:pt x="7" y="59"/>
                  </a:lnTo>
                  <a:lnTo>
                    <a:pt x="7" y="57"/>
                  </a:lnTo>
                  <a:lnTo>
                    <a:pt x="7" y="55"/>
                  </a:lnTo>
                  <a:lnTo>
                    <a:pt x="9" y="55"/>
                  </a:lnTo>
                  <a:lnTo>
                    <a:pt x="9" y="52"/>
                  </a:lnTo>
                  <a:lnTo>
                    <a:pt x="7" y="52"/>
                  </a:lnTo>
                  <a:lnTo>
                    <a:pt x="7" y="50"/>
                  </a:lnTo>
                  <a:lnTo>
                    <a:pt x="9" y="50"/>
                  </a:lnTo>
                  <a:lnTo>
                    <a:pt x="12" y="50"/>
                  </a:lnTo>
                  <a:lnTo>
                    <a:pt x="12" y="47"/>
                  </a:lnTo>
                  <a:lnTo>
                    <a:pt x="12" y="50"/>
                  </a:lnTo>
                  <a:lnTo>
                    <a:pt x="12" y="47"/>
                  </a:lnTo>
                  <a:lnTo>
                    <a:pt x="9" y="47"/>
                  </a:lnTo>
                  <a:lnTo>
                    <a:pt x="12" y="47"/>
                  </a:lnTo>
                  <a:lnTo>
                    <a:pt x="9" y="47"/>
                  </a:lnTo>
                  <a:lnTo>
                    <a:pt x="12" y="47"/>
                  </a:lnTo>
                  <a:lnTo>
                    <a:pt x="9" y="47"/>
                  </a:lnTo>
                  <a:lnTo>
                    <a:pt x="12" y="45"/>
                  </a:lnTo>
                  <a:lnTo>
                    <a:pt x="12" y="43"/>
                  </a:lnTo>
                  <a:lnTo>
                    <a:pt x="9" y="43"/>
                  </a:lnTo>
                  <a:lnTo>
                    <a:pt x="12" y="43"/>
                  </a:lnTo>
                  <a:lnTo>
                    <a:pt x="12" y="40"/>
                  </a:lnTo>
                  <a:lnTo>
                    <a:pt x="12" y="43"/>
                  </a:lnTo>
                  <a:lnTo>
                    <a:pt x="12" y="40"/>
                  </a:lnTo>
                  <a:lnTo>
                    <a:pt x="9" y="40"/>
                  </a:lnTo>
                  <a:lnTo>
                    <a:pt x="9" y="38"/>
                  </a:lnTo>
                  <a:lnTo>
                    <a:pt x="7" y="38"/>
                  </a:lnTo>
                  <a:lnTo>
                    <a:pt x="7" y="36"/>
                  </a:lnTo>
                  <a:lnTo>
                    <a:pt x="7" y="38"/>
                  </a:lnTo>
                  <a:lnTo>
                    <a:pt x="4" y="38"/>
                  </a:lnTo>
                  <a:lnTo>
                    <a:pt x="4" y="36"/>
                  </a:lnTo>
                  <a:lnTo>
                    <a:pt x="2" y="36"/>
                  </a:lnTo>
                  <a:lnTo>
                    <a:pt x="4" y="36"/>
                  </a:lnTo>
                  <a:lnTo>
                    <a:pt x="2" y="33"/>
                  </a:lnTo>
                  <a:lnTo>
                    <a:pt x="4" y="33"/>
                  </a:lnTo>
                  <a:lnTo>
                    <a:pt x="4" y="31"/>
                  </a:lnTo>
                  <a:lnTo>
                    <a:pt x="4" y="33"/>
                  </a:lnTo>
                  <a:lnTo>
                    <a:pt x="7" y="33"/>
                  </a:lnTo>
                  <a:lnTo>
                    <a:pt x="7" y="31"/>
                  </a:lnTo>
                  <a:lnTo>
                    <a:pt x="7" y="33"/>
                  </a:lnTo>
                  <a:lnTo>
                    <a:pt x="4" y="33"/>
                  </a:lnTo>
                  <a:lnTo>
                    <a:pt x="4" y="31"/>
                  </a:lnTo>
                  <a:lnTo>
                    <a:pt x="4" y="28"/>
                  </a:lnTo>
                  <a:lnTo>
                    <a:pt x="4" y="26"/>
                  </a:lnTo>
                  <a:lnTo>
                    <a:pt x="2" y="24"/>
                  </a:lnTo>
                  <a:lnTo>
                    <a:pt x="0" y="24"/>
                  </a:lnTo>
                  <a:lnTo>
                    <a:pt x="2" y="21"/>
                  </a:lnTo>
                  <a:lnTo>
                    <a:pt x="4" y="19"/>
                  </a:lnTo>
                  <a:lnTo>
                    <a:pt x="4" y="17"/>
                  </a:lnTo>
                  <a:lnTo>
                    <a:pt x="4" y="14"/>
                  </a:lnTo>
                  <a:lnTo>
                    <a:pt x="7" y="14"/>
                  </a:lnTo>
                  <a:lnTo>
                    <a:pt x="7" y="12"/>
                  </a:lnTo>
                  <a:lnTo>
                    <a:pt x="9" y="12"/>
                  </a:lnTo>
                  <a:lnTo>
                    <a:pt x="9" y="9"/>
                  </a:lnTo>
                  <a:lnTo>
                    <a:pt x="9" y="7"/>
                  </a:lnTo>
                  <a:lnTo>
                    <a:pt x="12" y="7"/>
                  </a:lnTo>
                  <a:lnTo>
                    <a:pt x="12" y="5"/>
                  </a:lnTo>
                  <a:lnTo>
                    <a:pt x="14" y="2"/>
                  </a:lnTo>
                  <a:lnTo>
                    <a:pt x="16" y="2"/>
                  </a:lnTo>
                  <a:lnTo>
                    <a:pt x="16" y="0"/>
                  </a:lnTo>
                  <a:lnTo>
                    <a:pt x="1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 name="Freeform 50273"/>
            <p:cNvSpPr>
              <a:spLocks noEditPoints="1"/>
            </p:cNvSpPr>
            <p:nvPr/>
          </p:nvSpPr>
          <p:spPr bwMode="auto">
            <a:xfrm>
              <a:off x="3035298" y="5316556"/>
              <a:ext cx="19050" cy="90488"/>
            </a:xfrm>
            <a:custGeom>
              <a:avLst/>
              <a:gdLst>
                <a:gd name="T0" fmla="*/ 0 w 12"/>
                <a:gd name="T1" fmla="*/ 57 h 57"/>
                <a:gd name="T2" fmla="*/ 0 w 12"/>
                <a:gd name="T3" fmla="*/ 57 h 57"/>
                <a:gd name="T4" fmla="*/ 0 w 12"/>
                <a:gd name="T5" fmla="*/ 57 h 57"/>
                <a:gd name="T6" fmla="*/ 2 w 12"/>
                <a:gd name="T7" fmla="*/ 57 h 57"/>
                <a:gd name="T8" fmla="*/ 2 w 12"/>
                <a:gd name="T9" fmla="*/ 57 h 57"/>
                <a:gd name="T10" fmla="*/ 2 w 12"/>
                <a:gd name="T11" fmla="*/ 57 h 57"/>
                <a:gd name="T12" fmla="*/ 2 w 12"/>
                <a:gd name="T13" fmla="*/ 57 h 57"/>
                <a:gd name="T14" fmla="*/ 2 w 12"/>
                <a:gd name="T15" fmla="*/ 57 h 57"/>
                <a:gd name="T16" fmla="*/ 2 w 12"/>
                <a:gd name="T17" fmla="*/ 57 h 57"/>
                <a:gd name="T18" fmla="*/ 0 w 12"/>
                <a:gd name="T19" fmla="*/ 57 h 57"/>
                <a:gd name="T20" fmla="*/ 0 w 12"/>
                <a:gd name="T21" fmla="*/ 57 h 57"/>
                <a:gd name="T22" fmla="*/ 0 w 12"/>
                <a:gd name="T23" fmla="*/ 57 h 57"/>
                <a:gd name="T24" fmla="*/ 0 w 12"/>
                <a:gd name="T25" fmla="*/ 57 h 57"/>
                <a:gd name="T26" fmla="*/ 0 w 12"/>
                <a:gd name="T27" fmla="*/ 57 h 57"/>
                <a:gd name="T28" fmla="*/ 0 w 12"/>
                <a:gd name="T29" fmla="*/ 57 h 57"/>
                <a:gd name="T30" fmla="*/ 0 w 12"/>
                <a:gd name="T31" fmla="*/ 57 h 57"/>
                <a:gd name="T32" fmla="*/ 0 w 12"/>
                <a:gd name="T33" fmla="*/ 57 h 57"/>
                <a:gd name="T34" fmla="*/ 0 w 12"/>
                <a:gd name="T35" fmla="*/ 57 h 57"/>
                <a:gd name="T36" fmla="*/ 0 w 12"/>
                <a:gd name="T37" fmla="*/ 57 h 57"/>
                <a:gd name="T38" fmla="*/ 0 w 12"/>
                <a:gd name="T39" fmla="*/ 57 h 57"/>
                <a:gd name="T40" fmla="*/ 0 w 12"/>
                <a:gd name="T41" fmla="*/ 57 h 57"/>
                <a:gd name="T42" fmla="*/ 0 w 12"/>
                <a:gd name="T43" fmla="*/ 57 h 57"/>
                <a:gd name="T44" fmla="*/ 0 w 12"/>
                <a:gd name="T45" fmla="*/ 57 h 57"/>
                <a:gd name="T46" fmla="*/ 0 w 12"/>
                <a:gd name="T47" fmla="*/ 57 h 57"/>
                <a:gd name="T48" fmla="*/ 0 w 12"/>
                <a:gd name="T49" fmla="*/ 57 h 57"/>
                <a:gd name="T50" fmla="*/ 0 w 12"/>
                <a:gd name="T51" fmla="*/ 57 h 57"/>
                <a:gd name="T52" fmla="*/ 12 w 12"/>
                <a:gd name="T53" fmla="*/ 0 h 57"/>
                <a:gd name="T54" fmla="*/ 12 w 12"/>
                <a:gd name="T55" fmla="*/ 0 h 57"/>
                <a:gd name="T56" fmla="*/ 9 w 12"/>
                <a:gd name="T57" fmla="*/ 0 h 57"/>
                <a:gd name="T58" fmla="*/ 9 w 12"/>
                <a:gd name="T59" fmla="*/ 0 h 57"/>
                <a:gd name="T60" fmla="*/ 12 w 12"/>
                <a:gd name="T61" fmla="*/ 0 h 57"/>
                <a:gd name="T62" fmla="*/ 9 w 12"/>
                <a:gd name="T63" fmla="*/ 0 h 57"/>
                <a:gd name="T64" fmla="*/ 12 w 12"/>
                <a:gd name="T65" fmla="*/ 0 h 57"/>
                <a:gd name="T66" fmla="*/ 12 w 12"/>
                <a:gd name="T67" fmla="*/ 0 h 57"/>
                <a:gd name="T68" fmla="*/ 12 w 12"/>
                <a:gd name="T69" fmla="*/ 0 h 57"/>
                <a:gd name="T70" fmla="*/ 12 w 12"/>
                <a:gd name="T71" fmla="*/ 0 h 57"/>
                <a:gd name="T72" fmla="*/ 12 w 12"/>
                <a:gd name="T73" fmla="*/ 0 h 57"/>
                <a:gd name="T74" fmla="*/ 12 w 12"/>
                <a:gd name="T75" fmla="*/ 0 h 57"/>
                <a:gd name="T76" fmla="*/ 12 w 12"/>
                <a:gd name="T7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57">
                  <a:moveTo>
                    <a:pt x="0" y="57"/>
                  </a:moveTo>
                  <a:lnTo>
                    <a:pt x="0" y="57"/>
                  </a:lnTo>
                  <a:lnTo>
                    <a:pt x="0" y="57"/>
                  </a:lnTo>
                  <a:lnTo>
                    <a:pt x="2" y="57"/>
                  </a:lnTo>
                  <a:lnTo>
                    <a:pt x="2" y="57"/>
                  </a:lnTo>
                  <a:lnTo>
                    <a:pt x="2" y="57"/>
                  </a:lnTo>
                  <a:lnTo>
                    <a:pt x="2" y="57"/>
                  </a:lnTo>
                  <a:lnTo>
                    <a:pt x="2" y="57"/>
                  </a:lnTo>
                  <a:lnTo>
                    <a:pt x="2"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close/>
                  <a:moveTo>
                    <a:pt x="12" y="0"/>
                  </a:moveTo>
                  <a:lnTo>
                    <a:pt x="12" y="0"/>
                  </a:lnTo>
                  <a:lnTo>
                    <a:pt x="9" y="0"/>
                  </a:lnTo>
                  <a:lnTo>
                    <a:pt x="9" y="0"/>
                  </a:lnTo>
                  <a:lnTo>
                    <a:pt x="12" y="0"/>
                  </a:lnTo>
                  <a:lnTo>
                    <a:pt x="9" y="0"/>
                  </a:lnTo>
                  <a:lnTo>
                    <a:pt x="12" y="0"/>
                  </a:lnTo>
                  <a:lnTo>
                    <a:pt x="12" y="0"/>
                  </a:lnTo>
                  <a:lnTo>
                    <a:pt x="12" y="0"/>
                  </a:lnTo>
                  <a:lnTo>
                    <a:pt x="12" y="0"/>
                  </a:lnTo>
                  <a:lnTo>
                    <a:pt x="12" y="0"/>
                  </a:lnTo>
                  <a:lnTo>
                    <a:pt x="12"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 name="Freeform 50274"/>
            <p:cNvSpPr>
              <a:spLocks noEditPoints="1"/>
            </p:cNvSpPr>
            <p:nvPr/>
          </p:nvSpPr>
          <p:spPr bwMode="auto">
            <a:xfrm>
              <a:off x="3041648" y="5308618"/>
              <a:ext cx="30163" cy="150814"/>
            </a:xfrm>
            <a:custGeom>
              <a:avLst/>
              <a:gdLst>
                <a:gd name="T0" fmla="*/ 19 w 19"/>
                <a:gd name="T1" fmla="*/ 95 h 95"/>
                <a:gd name="T2" fmla="*/ 19 w 19"/>
                <a:gd name="T3" fmla="*/ 95 h 95"/>
                <a:gd name="T4" fmla="*/ 19 w 19"/>
                <a:gd name="T5" fmla="*/ 95 h 95"/>
                <a:gd name="T6" fmla="*/ 19 w 19"/>
                <a:gd name="T7" fmla="*/ 95 h 95"/>
                <a:gd name="T8" fmla="*/ 19 w 19"/>
                <a:gd name="T9" fmla="*/ 95 h 95"/>
                <a:gd name="T10" fmla="*/ 19 w 19"/>
                <a:gd name="T11" fmla="*/ 95 h 95"/>
                <a:gd name="T12" fmla="*/ 19 w 19"/>
                <a:gd name="T13" fmla="*/ 95 h 95"/>
                <a:gd name="T14" fmla="*/ 8 w 19"/>
                <a:gd name="T15" fmla="*/ 2 h 95"/>
                <a:gd name="T16" fmla="*/ 8 w 19"/>
                <a:gd name="T17" fmla="*/ 5 h 95"/>
                <a:gd name="T18" fmla="*/ 8 w 19"/>
                <a:gd name="T19" fmla="*/ 2 h 95"/>
                <a:gd name="T20" fmla="*/ 8 w 19"/>
                <a:gd name="T21" fmla="*/ 2 h 95"/>
                <a:gd name="T22" fmla="*/ 8 w 19"/>
                <a:gd name="T23" fmla="*/ 2 h 95"/>
                <a:gd name="T24" fmla="*/ 0 w 19"/>
                <a:gd name="T25" fmla="*/ 0 h 95"/>
                <a:gd name="T26" fmla="*/ 0 w 19"/>
                <a:gd name="T27" fmla="*/ 0 h 95"/>
                <a:gd name="T28" fmla="*/ 0 w 19"/>
                <a:gd name="T29" fmla="*/ 0 h 95"/>
                <a:gd name="T30" fmla="*/ 0 w 19"/>
                <a:gd name="T31" fmla="*/ 0 h 95"/>
                <a:gd name="T32" fmla="*/ 3 w 19"/>
                <a:gd name="T33" fmla="*/ 0 h 95"/>
                <a:gd name="T34" fmla="*/ 3 w 19"/>
                <a:gd name="T35" fmla="*/ 0 h 95"/>
                <a:gd name="T36" fmla="*/ 3 w 19"/>
                <a:gd name="T37" fmla="*/ 0 h 95"/>
                <a:gd name="T38" fmla="*/ 3 w 19"/>
                <a:gd name="T39" fmla="*/ 0 h 95"/>
                <a:gd name="T40" fmla="*/ 3 w 19"/>
                <a:gd name="T41" fmla="*/ 0 h 95"/>
                <a:gd name="T42" fmla="*/ 3 w 19"/>
                <a:gd name="T43" fmla="*/ 0 h 95"/>
                <a:gd name="T44" fmla="*/ 3 w 1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95">
                  <a:moveTo>
                    <a:pt x="19" y="95"/>
                  </a:moveTo>
                  <a:lnTo>
                    <a:pt x="19" y="95"/>
                  </a:lnTo>
                  <a:lnTo>
                    <a:pt x="19" y="95"/>
                  </a:lnTo>
                  <a:lnTo>
                    <a:pt x="19" y="95"/>
                  </a:lnTo>
                  <a:lnTo>
                    <a:pt x="19" y="95"/>
                  </a:lnTo>
                  <a:lnTo>
                    <a:pt x="19" y="95"/>
                  </a:lnTo>
                  <a:lnTo>
                    <a:pt x="19" y="95"/>
                  </a:lnTo>
                  <a:close/>
                  <a:moveTo>
                    <a:pt x="8" y="2"/>
                  </a:moveTo>
                  <a:lnTo>
                    <a:pt x="8" y="5"/>
                  </a:lnTo>
                  <a:lnTo>
                    <a:pt x="8" y="2"/>
                  </a:lnTo>
                  <a:lnTo>
                    <a:pt x="8" y="2"/>
                  </a:lnTo>
                  <a:lnTo>
                    <a:pt x="8" y="2"/>
                  </a:lnTo>
                  <a:close/>
                  <a:moveTo>
                    <a:pt x="0" y="0"/>
                  </a:moveTo>
                  <a:lnTo>
                    <a:pt x="0" y="0"/>
                  </a:lnTo>
                  <a:lnTo>
                    <a:pt x="0" y="0"/>
                  </a:lnTo>
                  <a:lnTo>
                    <a:pt x="0" y="0"/>
                  </a:lnTo>
                  <a:close/>
                  <a:moveTo>
                    <a:pt x="3" y="0"/>
                  </a:move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 name="Freeform 50275"/>
            <p:cNvSpPr>
              <a:spLocks/>
            </p:cNvSpPr>
            <p:nvPr/>
          </p:nvSpPr>
          <p:spPr bwMode="auto">
            <a:xfrm>
              <a:off x="2100261" y="5251467"/>
              <a:ext cx="19050" cy="15875"/>
            </a:xfrm>
            <a:custGeom>
              <a:avLst/>
              <a:gdLst>
                <a:gd name="T0" fmla="*/ 12 w 12"/>
                <a:gd name="T1" fmla="*/ 3 h 10"/>
                <a:gd name="T2" fmla="*/ 12 w 12"/>
                <a:gd name="T3" fmla="*/ 3 h 10"/>
                <a:gd name="T4" fmla="*/ 12 w 12"/>
                <a:gd name="T5" fmla="*/ 3 h 10"/>
                <a:gd name="T6" fmla="*/ 12 w 12"/>
                <a:gd name="T7" fmla="*/ 5 h 10"/>
                <a:gd name="T8" fmla="*/ 10 w 12"/>
                <a:gd name="T9" fmla="*/ 5 h 10"/>
                <a:gd name="T10" fmla="*/ 10 w 12"/>
                <a:gd name="T11" fmla="*/ 7 h 10"/>
                <a:gd name="T12" fmla="*/ 10 w 12"/>
                <a:gd name="T13" fmla="*/ 7 h 10"/>
                <a:gd name="T14" fmla="*/ 10 w 12"/>
                <a:gd name="T15" fmla="*/ 5 h 10"/>
                <a:gd name="T16" fmla="*/ 10 w 12"/>
                <a:gd name="T17" fmla="*/ 7 h 10"/>
                <a:gd name="T18" fmla="*/ 10 w 12"/>
                <a:gd name="T19" fmla="*/ 7 h 10"/>
                <a:gd name="T20" fmla="*/ 7 w 12"/>
                <a:gd name="T21" fmla="*/ 7 h 10"/>
                <a:gd name="T22" fmla="*/ 7 w 12"/>
                <a:gd name="T23" fmla="*/ 7 h 10"/>
                <a:gd name="T24" fmla="*/ 5 w 12"/>
                <a:gd name="T25" fmla="*/ 10 h 10"/>
                <a:gd name="T26" fmla="*/ 5 w 12"/>
                <a:gd name="T27" fmla="*/ 7 h 10"/>
                <a:gd name="T28" fmla="*/ 5 w 12"/>
                <a:gd name="T29" fmla="*/ 10 h 10"/>
                <a:gd name="T30" fmla="*/ 5 w 12"/>
                <a:gd name="T31" fmla="*/ 10 h 10"/>
                <a:gd name="T32" fmla="*/ 3 w 12"/>
                <a:gd name="T33" fmla="*/ 10 h 10"/>
                <a:gd name="T34" fmla="*/ 3 w 12"/>
                <a:gd name="T35" fmla="*/ 10 h 10"/>
                <a:gd name="T36" fmla="*/ 0 w 12"/>
                <a:gd name="T37" fmla="*/ 7 h 10"/>
                <a:gd name="T38" fmla="*/ 0 w 12"/>
                <a:gd name="T39" fmla="*/ 7 h 10"/>
                <a:gd name="T40" fmla="*/ 0 w 12"/>
                <a:gd name="T41" fmla="*/ 7 h 10"/>
                <a:gd name="T42" fmla="*/ 0 w 12"/>
                <a:gd name="T43" fmla="*/ 7 h 10"/>
                <a:gd name="T44" fmla="*/ 0 w 12"/>
                <a:gd name="T45" fmla="*/ 7 h 10"/>
                <a:gd name="T46" fmla="*/ 3 w 12"/>
                <a:gd name="T47" fmla="*/ 5 h 10"/>
                <a:gd name="T48" fmla="*/ 3 w 12"/>
                <a:gd name="T49" fmla="*/ 5 h 10"/>
                <a:gd name="T50" fmla="*/ 3 w 12"/>
                <a:gd name="T51" fmla="*/ 5 h 10"/>
                <a:gd name="T52" fmla="*/ 3 w 12"/>
                <a:gd name="T53" fmla="*/ 5 h 10"/>
                <a:gd name="T54" fmla="*/ 0 w 12"/>
                <a:gd name="T55" fmla="*/ 5 h 10"/>
                <a:gd name="T56" fmla="*/ 0 w 12"/>
                <a:gd name="T57" fmla="*/ 3 h 10"/>
                <a:gd name="T58" fmla="*/ 3 w 12"/>
                <a:gd name="T59" fmla="*/ 3 h 10"/>
                <a:gd name="T60" fmla="*/ 0 w 12"/>
                <a:gd name="T61" fmla="*/ 3 h 10"/>
                <a:gd name="T62" fmla="*/ 0 w 12"/>
                <a:gd name="T63" fmla="*/ 3 h 10"/>
                <a:gd name="T64" fmla="*/ 0 w 12"/>
                <a:gd name="T65" fmla="*/ 3 h 10"/>
                <a:gd name="T66" fmla="*/ 0 w 12"/>
                <a:gd name="T67" fmla="*/ 3 h 10"/>
                <a:gd name="T68" fmla="*/ 3 w 12"/>
                <a:gd name="T69" fmla="*/ 3 h 10"/>
                <a:gd name="T70" fmla="*/ 3 w 12"/>
                <a:gd name="T71" fmla="*/ 0 h 10"/>
                <a:gd name="T72" fmla="*/ 3 w 12"/>
                <a:gd name="T73" fmla="*/ 0 h 10"/>
                <a:gd name="T74" fmla="*/ 3 w 12"/>
                <a:gd name="T75" fmla="*/ 0 h 10"/>
                <a:gd name="T76" fmla="*/ 5 w 12"/>
                <a:gd name="T77" fmla="*/ 0 h 10"/>
                <a:gd name="T78" fmla="*/ 5 w 12"/>
                <a:gd name="T79" fmla="*/ 0 h 10"/>
                <a:gd name="T80" fmla="*/ 5 w 12"/>
                <a:gd name="T81" fmla="*/ 0 h 10"/>
                <a:gd name="T82" fmla="*/ 5 w 12"/>
                <a:gd name="T83" fmla="*/ 0 h 10"/>
                <a:gd name="T84" fmla="*/ 7 w 12"/>
                <a:gd name="T85" fmla="*/ 0 h 10"/>
                <a:gd name="T86" fmla="*/ 7 w 12"/>
                <a:gd name="T87" fmla="*/ 0 h 10"/>
                <a:gd name="T88" fmla="*/ 7 w 12"/>
                <a:gd name="T89" fmla="*/ 0 h 10"/>
                <a:gd name="T90" fmla="*/ 10 w 12"/>
                <a:gd name="T91" fmla="*/ 0 h 10"/>
                <a:gd name="T92" fmla="*/ 10 w 12"/>
                <a:gd name="T93" fmla="*/ 0 h 10"/>
                <a:gd name="T94" fmla="*/ 10 w 12"/>
                <a:gd name="T95" fmla="*/ 0 h 10"/>
                <a:gd name="T96" fmla="*/ 10 w 12"/>
                <a:gd name="T97" fmla="*/ 0 h 10"/>
                <a:gd name="T98" fmla="*/ 12 w 12"/>
                <a:gd name="T99" fmla="*/ 0 h 10"/>
                <a:gd name="T100" fmla="*/ 12 w 12"/>
                <a:gd name="T101" fmla="*/ 3 h 10"/>
                <a:gd name="T102" fmla="*/ 10 w 12"/>
                <a:gd name="T103" fmla="*/ 3 h 10"/>
                <a:gd name="T104" fmla="*/ 10 w 12"/>
                <a:gd name="T105" fmla="*/ 3 h 10"/>
                <a:gd name="T106" fmla="*/ 12 w 12"/>
                <a:gd name="T107" fmla="*/ 3 h 10"/>
                <a:gd name="T108" fmla="*/ 12 w 12"/>
                <a:gd name="T109" fmla="*/ 3 h 10"/>
                <a:gd name="T110" fmla="*/ 12 w 12"/>
                <a:gd name="T11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 h="10">
                  <a:moveTo>
                    <a:pt x="12" y="3"/>
                  </a:moveTo>
                  <a:lnTo>
                    <a:pt x="12" y="3"/>
                  </a:lnTo>
                  <a:lnTo>
                    <a:pt x="12" y="3"/>
                  </a:lnTo>
                  <a:lnTo>
                    <a:pt x="12" y="3"/>
                  </a:lnTo>
                  <a:lnTo>
                    <a:pt x="12" y="3"/>
                  </a:lnTo>
                  <a:lnTo>
                    <a:pt x="12" y="3"/>
                  </a:lnTo>
                  <a:lnTo>
                    <a:pt x="12" y="5"/>
                  </a:lnTo>
                  <a:lnTo>
                    <a:pt x="12" y="5"/>
                  </a:lnTo>
                  <a:lnTo>
                    <a:pt x="12" y="5"/>
                  </a:lnTo>
                  <a:lnTo>
                    <a:pt x="10" y="5"/>
                  </a:lnTo>
                  <a:lnTo>
                    <a:pt x="10" y="7"/>
                  </a:lnTo>
                  <a:lnTo>
                    <a:pt x="10" y="7"/>
                  </a:lnTo>
                  <a:lnTo>
                    <a:pt x="10" y="7"/>
                  </a:lnTo>
                  <a:lnTo>
                    <a:pt x="10" y="7"/>
                  </a:lnTo>
                  <a:lnTo>
                    <a:pt x="10" y="7"/>
                  </a:lnTo>
                  <a:lnTo>
                    <a:pt x="10" y="5"/>
                  </a:lnTo>
                  <a:lnTo>
                    <a:pt x="10" y="5"/>
                  </a:lnTo>
                  <a:lnTo>
                    <a:pt x="10" y="7"/>
                  </a:lnTo>
                  <a:lnTo>
                    <a:pt x="10" y="7"/>
                  </a:lnTo>
                  <a:lnTo>
                    <a:pt x="10" y="7"/>
                  </a:lnTo>
                  <a:lnTo>
                    <a:pt x="7" y="7"/>
                  </a:lnTo>
                  <a:lnTo>
                    <a:pt x="7" y="7"/>
                  </a:lnTo>
                  <a:lnTo>
                    <a:pt x="7" y="7"/>
                  </a:lnTo>
                  <a:lnTo>
                    <a:pt x="7" y="7"/>
                  </a:lnTo>
                  <a:lnTo>
                    <a:pt x="5" y="7"/>
                  </a:lnTo>
                  <a:lnTo>
                    <a:pt x="5" y="10"/>
                  </a:lnTo>
                  <a:lnTo>
                    <a:pt x="5" y="7"/>
                  </a:lnTo>
                  <a:lnTo>
                    <a:pt x="5" y="7"/>
                  </a:lnTo>
                  <a:lnTo>
                    <a:pt x="5" y="10"/>
                  </a:lnTo>
                  <a:lnTo>
                    <a:pt x="5" y="10"/>
                  </a:lnTo>
                  <a:lnTo>
                    <a:pt x="5" y="10"/>
                  </a:lnTo>
                  <a:lnTo>
                    <a:pt x="5" y="10"/>
                  </a:lnTo>
                  <a:lnTo>
                    <a:pt x="3" y="10"/>
                  </a:lnTo>
                  <a:lnTo>
                    <a:pt x="3" y="10"/>
                  </a:lnTo>
                  <a:lnTo>
                    <a:pt x="3" y="10"/>
                  </a:lnTo>
                  <a:lnTo>
                    <a:pt x="3" y="10"/>
                  </a:lnTo>
                  <a:lnTo>
                    <a:pt x="3" y="10"/>
                  </a:lnTo>
                  <a:lnTo>
                    <a:pt x="0" y="7"/>
                  </a:lnTo>
                  <a:lnTo>
                    <a:pt x="0" y="7"/>
                  </a:lnTo>
                  <a:lnTo>
                    <a:pt x="0" y="7"/>
                  </a:lnTo>
                  <a:lnTo>
                    <a:pt x="0" y="7"/>
                  </a:lnTo>
                  <a:lnTo>
                    <a:pt x="0" y="7"/>
                  </a:lnTo>
                  <a:lnTo>
                    <a:pt x="0" y="7"/>
                  </a:lnTo>
                  <a:lnTo>
                    <a:pt x="0" y="7"/>
                  </a:lnTo>
                  <a:lnTo>
                    <a:pt x="0" y="7"/>
                  </a:lnTo>
                  <a:lnTo>
                    <a:pt x="0" y="7"/>
                  </a:lnTo>
                  <a:lnTo>
                    <a:pt x="3" y="5"/>
                  </a:lnTo>
                  <a:lnTo>
                    <a:pt x="3" y="5"/>
                  </a:lnTo>
                  <a:lnTo>
                    <a:pt x="3" y="5"/>
                  </a:lnTo>
                  <a:lnTo>
                    <a:pt x="3" y="5"/>
                  </a:lnTo>
                  <a:lnTo>
                    <a:pt x="3" y="5"/>
                  </a:lnTo>
                  <a:lnTo>
                    <a:pt x="3" y="5"/>
                  </a:lnTo>
                  <a:lnTo>
                    <a:pt x="3" y="5"/>
                  </a:lnTo>
                  <a:lnTo>
                    <a:pt x="3" y="5"/>
                  </a:lnTo>
                  <a:lnTo>
                    <a:pt x="0" y="5"/>
                  </a:lnTo>
                  <a:lnTo>
                    <a:pt x="0" y="5"/>
                  </a:lnTo>
                  <a:lnTo>
                    <a:pt x="0" y="5"/>
                  </a:lnTo>
                  <a:lnTo>
                    <a:pt x="0" y="3"/>
                  </a:lnTo>
                  <a:lnTo>
                    <a:pt x="0" y="3"/>
                  </a:lnTo>
                  <a:lnTo>
                    <a:pt x="3" y="3"/>
                  </a:lnTo>
                  <a:lnTo>
                    <a:pt x="0" y="3"/>
                  </a:lnTo>
                  <a:lnTo>
                    <a:pt x="0" y="3"/>
                  </a:lnTo>
                  <a:lnTo>
                    <a:pt x="0" y="3"/>
                  </a:lnTo>
                  <a:lnTo>
                    <a:pt x="0" y="3"/>
                  </a:lnTo>
                  <a:lnTo>
                    <a:pt x="0" y="3"/>
                  </a:lnTo>
                  <a:lnTo>
                    <a:pt x="0" y="3"/>
                  </a:lnTo>
                  <a:lnTo>
                    <a:pt x="0" y="3"/>
                  </a:lnTo>
                  <a:lnTo>
                    <a:pt x="0" y="3"/>
                  </a:lnTo>
                  <a:lnTo>
                    <a:pt x="3" y="3"/>
                  </a:lnTo>
                  <a:lnTo>
                    <a:pt x="3" y="3"/>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5" y="0"/>
                  </a:lnTo>
                  <a:lnTo>
                    <a:pt x="5" y="0"/>
                  </a:lnTo>
                  <a:lnTo>
                    <a:pt x="7" y="0"/>
                  </a:lnTo>
                  <a:lnTo>
                    <a:pt x="7" y="0"/>
                  </a:lnTo>
                  <a:lnTo>
                    <a:pt x="7" y="0"/>
                  </a:lnTo>
                  <a:lnTo>
                    <a:pt x="7" y="0"/>
                  </a:lnTo>
                  <a:lnTo>
                    <a:pt x="7" y="0"/>
                  </a:lnTo>
                  <a:lnTo>
                    <a:pt x="7" y="0"/>
                  </a:lnTo>
                  <a:lnTo>
                    <a:pt x="7" y="0"/>
                  </a:lnTo>
                  <a:lnTo>
                    <a:pt x="10" y="0"/>
                  </a:lnTo>
                  <a:lnTo>
                    <a:pt x="10" y="0"/>
                  </a:lnTo>
                  <a:lnTo>
                    <a:pt x="10" y="0"/>
                  </a:lnTo>
                  <a:lnTo>
                    <a:pt x="10" y="0"/>
                  </a:lnTo>
                  <a:lnTo>
                    <a:pt x="10" y="0"/>
                  </a:lnTo>
                  <a:lnTo>
                    <a:pt x="10" y="0"/>
                  </a:lnTo>
                  <a:lnTo>
                    <a:pt x="10" y="0"/>
                  </a:lnTo>
                  <a:lnTo>
                    <a:pt x="12" y="0"/>
                  </a:lnTo>
                  <a:lnTo>
                    <a:pt x="12" y="0"/>
                  </a:lnTo>
                  <a:lnTo>
                    <a:pt x="12" y="0"/>
                  </a:lnTo>
                  <a:lnTo>
                    <a:pt x="12" y="3"/>
                  </a:lnTo>
                  <a:lnTo>
                    <a:pt x="10" y="3"/>
                  </a:lnTo>
                  <a:lnTo>
                    <a:pt x="10" y="3"/>
                  </a:lnTo>
                  <a:lnTo>
                    <a:pt x="10" y="3"/>
                  </a:lnTo>
                  <a:lnTo>
                    <a:pt x="10" y="3"/>
                  </a:lnTo>
                  <a:lnTo>
                    <a:pt x="12" y="3"/>
                  </a:lnTo>
                  <a:lnTo>
                    <a:pt x="12" y="3"/>
                  </a:lnTo>
                  <a:lnTo>
                    <a:pt x="12" y="3"/>
                  </a:lnTo>
                  <a:lnTo>
                    <a:pt x="12" y="3"/>
                  </a:lnTo>
                  <a:lnTo>
                    <a:pt x="12" y="3"/>
                  </a:lnTo>
                  <a:lnTo>
                    <a:pt x="12"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 name="Freeform 50276"/>
            <p:cNvSpPr>
              <a:spLocks/>
            </p:cNvSpPr>
            <p:nvPr/>
          </p:nvSpPr>
          <p:spPr bwMode="auto">
            <a:xfrm>
              <a:off x="2525711" y="4776804"/>
              <a:ext cx="400050" cy="200025"/>
            </a:xfrm>
            <a:custGeom>
              <a:avLst/>
              <a:gdLst>
                <a:gd name="T0" fmla="*/ 193 w 252"/>
                <a:gd name="T1" fmla="*/ 0 h 126"/>
                <a:gd name="T2" fmla="*/ 204 w 252"/>
                <a:gd name="T3" fmla="*/ 7 h 126"/>
                <a:gd name="T4" fmla="*/ 216 w 252"/>
                <a:gd name="T5" fmla="*/ 12 h 126"/>
                <a:gd name="T6" fmla="*/ 228 w 252"/>
                <a:gd name="T7" fmla="*/ 10 h 126"/>
                <a:gd name="T8" fmla="*/ 242 w 252"/>
                <a:gd name="T9" fmla="*/ 14 h 126"/>
                <a:gd name="T10" fmla="*/ 242 w 252"/>
                <a:gd name="T11" fmla="*/ 26 h 126"/>
                <a:gd name="T12" fmla="*/ 242 w 252"/>
                <a:gd name="T13" fmla="*/ 33 h 126"/>
                <a:gd name="T14" fmla="*/ 250 w 252"/>
                <a:gd name="T15" fmla="*/ 48 h 126"/>
                <a:gd name="T16" fmla="*/ 247 w 252"/>
                <a:gd name="T17" fmla="*/ 57 h 126"/>
                <a:gd name="T18" fmla="*/ 240 w 252"/>
                <a:gd name="T19" fmla="*/ 64 h 126"/>
                <a:gd name="T20" fmla="*/ 228 w 252"/>
                <a:gd name="T21" fmla="*/ 62 h 126"/>
                <a:gd name="T22" fmla="*/ 238 w 252"/>
                <a:gd name="T23" fmla="*/ 69 h 126"/>
                <a:gd name="T24" fmla="*/ 228 w 252"/>
                <a:gd name="T25" fmla="*/ 78 h 126"/>
                <a:gd name="T26" fmla="*/ 231 w 252"/>
                <a:gd name="T27" fmla="*/ 88 h 126"/>
                <a:gd name="T28" fmla="*/ 228 w 252"/>
                <a:gd name="T29" fmla="*/ 95 h 126"/>
                <a:gd name="T30" fmla="*/ 221 w 252"/>
                <a:gd name="T31" fmla="*/ 97 h 126"/>
                <a:gd name="T32" fmla="*/ 214 w 252"/>
                <a:gd name="T33" fmla="*/ 105 h 126"/>
                <a:gd name="T34" fmla="*/ 207 w 252"/>
                <a:gd name="T35" fmla="*/ 109 h 126"/>
                <a:gd name="T36" fmla="*/ 193 w 252"/>
                <a:gd name="T37" fmla="*/ 112 h 126"/>
                <a:gd name="T38" fmla="*/ 176 w 252"/>
                <a:gd name="T39" fmla="*/ 114 h 126"/>
                <a:gd name="T40" fmla="*/ 166 w 252"/>
                <a:gd name="T41" fmla="*/ 124 h 126"/>
                <a:gd name="T42" fmla="*/ 157 w 252"/>
                <a:gd name="T43" fmla="*/ 124 h 126"/>
                <a:gd name="T44" fmla="*/ 148 w 252"/>
                <a:gd name="T45" fmla="*/ 119 h 126"/>
                <a:gd name="T46" fmla="*/ 136 w 252"/>
                <a:gd name="T47" fmla="*/ 116 h 126"/>
                <a:gd name="T48" fmla="*/ 117 w 252"/>
                <a:gd name="T49" fmla="*/ 114 h 126"/>
                <a:gd name="T50" fmla="*/ 100 w 252"/>
                <a:gd name="T51" fmla="*/ 112 h 126"/>
                <a:gd name="T52" fmla="*/ 91 w 252"/>
                <a:gd name="T53" fmla="*/ 100 h 126"/>
                <a:gd name="T54" fmla="*/ 86 w 252"/>
                <a:gd name="T55" fmla="*/ 95 h 126"/>
                <a:gd name="T56" fmla="*/ 81 w 252"/>
                <a:gd name="T57" fmla="*/ 93 h 126"/>
                <a:gd name="T58" fmla="*/ 67 w 252"/>
                <a:gd name="T59" fmla="*/ 95 h 126"/>
                <a:gd name="T60" fmla="*/ 57 w 252"/>
                <a:gd name="T61" fmla="*/ 97 h 126"/>
                <a:gd name="T62" fmla="*/ 45 w 252"/>
                <a:gd name="T63" fmla="*/ 107 h 126"/>
                <a:gd name="T64" fmla="*/ 31 w 252"/>
                <a:gd name="T65" fmla="*/ 102 h 126"/>
                <a:gd name="T66" fmla="*/ 24 w 252"/>
                <a:gd name="T67" fmla="*/ 100 h 126"/>
                <a:gd name="T68" fmla="*/ 12 w 252"/>
                <a:gd name="T69" fmla="*/ 97 h 126"/>
                <a:gd name="T70" fmla="*/ 0 w 252"/>
                <a:gd name="T71" fmla="*/ 88 h 126"/>
                <a:gd name="T72" fmla="*/ 5 w 252"/>
                <a:gd name="T73" fmla="*/ 78 h 126"/>
                <a:gd name="T74" fmla="*/ 5 w 252"/>
                <a:gd name="T75" fmla="*/ 71 h 126"/>
                <a:gd name="T76" fmla="*/ 12 w 252"/>
                <a:gd name="T77" fmla="*/ 69 h 126"/>
                <a:gd name="T78" fmla="*/ 17 w 252"/>
                <a:gd name="T79" fmla="*/ 74 h 126"/>
                <a:gd name="T80" fmla="*/ 22 w 252"/>
                <a:gd name="T81" fmla="*/ 78 h 126"/>
                <a:gd name="T82" fmla="*/ 26 w 252"/>
                <a:gd name="T83" fmla="*/ 78 h 126"/>
                <a:gd name="T84" fmla="*/ 31 w 252"/>
                <a:gd name="T85" fmla="*/ 71 h 126"/>
                <a:gd name="T86" fmla="*/ 36 w 252"/>
                <a:gd name="T87" fmla="*/ 69 h 126"/>
                <a:gd name="T88" fmla="*/ 43 w 252"/>
                <a:gd name="T89" fmla="*/ 74 h 126"/>
                <a:gd name="T90" fmla="*/ 55 w 252"/>
                <a:gd name="T91" fmla="*/ 76 h 126"/>
                <a:gd name="T92" fmla="*/ 67 w 252"/>
                <a:gd name="T93" fmla="*/ 69 h 126"/>
                <a:gd name="T94" fmla="*/ 76 w 252"/>
                <a:gd name="T95" fmla="*/ 67 h 126"/>
                <a:gd name="T96" fmla="*/ 91 w 252"/>
                <a:gd name="T97" fmla="*/ 59 h 126"/>
                <a:gd name="T98" fmla="*/ 98 w 252"/>
                <a:gd name="T99" fmla="*/ 64 h 126"/>
                <a:gd name="T100" fmla="*/ 110 w 252"/>
                <a:gd name="T101" fmla="*/ 67 h 126"/>
                <a:gd name="T102" fmla="*/ 117 w 252"/>
                <a:gd name="T103" fmla="*/ 74 h 126"/>
                <a:gd name="T104" fmla="*/ 112 w 252"/>
                <a:gd name="T105" fmla="*/ 59 h 126"/>
                <a:gd name="T106" fmla="*/ 110 w 252"/>
                <a:gd name="T107" fmla="*/ 48 h 126"/>
                <a:gd name="T108" fmla="*/ 114 w 252"/>
                <a:gd name="T109" fmla="*/ 36 h 126"/>
                <a:gd name="T110" fmla="*/ 129 w 252"/>
                <a:gd name="T111" fmla="*/ 31 h 126"/>
                <a:gd name="T112" fmla="*/ 136 w 252"/>
                <a:gd name="T113" fmla="*/ 21 h 126"/>
                <a:gd name="T114" fmla="*/ 143 w 252"/>
                <a:gd name="T115" fmla="*/ 17 h 126"/>
                <a:gd name="T116" fmla="*/ 145 w 252"/>
                <a:gd name="T117" fmla="*/ 12 h 126"/>
                <a:gd name="T118" fmla="*/ 155 w 252"/>
                <a:gd name="T119" fmla="*/ 21 h 126"/>
                <a:gd name="T120" fmla="*/ 166 w 252"/>
                <a:gd name="T121" fmla="*/ 19 h 126"/>
                <a:gd name="T122" fmla="*/ 176 w 252"/>
                <a:gd name="T123" fmla="*/ 10 h 126"/>
                <a:gd name="T124" fmla="*/ 181 w 252"/>
                <a:gd name="T125"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2" h="126">
                  <a:moveTo>
                    <a:pt x="181" y="0"/>
                  </a:moveTo>
                  <a:lnTo>
                    <a:pt x="183" y="0"/>
                  </a:lnTo>
                  <a:lnTo>
                    <a:pt x="185" y="0"/>
                  </a:lnTo>
                  <a:lnTo>
                    <a:pt x="185" y="2"/>
                  </a:lnTo>
                  <a:lnTo>
                    <a:pt x="188" y="2"/>
                  </a:lnTo>
                  <a:lnTo>
                    <a:pt x="190" y="2"/>
                  </a:lnTo>
                  <a:lnTo>
                    <a:pt x="190" y="0"/>
                  </a:lnTo>
                  <a:lnTo>
                    <a:pt x="193" y="0"/>
                  </a:lnTo>
                  <a:lnTo>
                    <a:pt x="193" y="2"/>
                  </a:lnTo>
                  <a:lnTo>
                    <a:pt x="195" y="2"/>
                  </a:lnTo>
                  <a:lnTo>
                    <a:pt x="197" y="2"/>
                  </a:lnTo>
                  <a:lnTo>
                    <a:pt x="197" y="5"/>
                  </a:lnTo>
                  <a:lnTo>
                    <a:pt x="200" y="5"/>
                  </a:lnTo>
                  <a:lnTo>
                    <a:pt x="202" y="5"/>
                  </a:lnTo>
                  <a:lnTo>
                    <a:pt x="202" y="7"/>
                  </a:lnTo>
                  <a:lnTo>
                    <a:pt x="204" y="7"/>
                  </a:lnTo>
                  <a:lnTo>
                    <a:pt x="207" y="7"/>
                  </a:lnTo>
                  <a:lnTo>
                    <a:pt x="209" y="7"/>
                  </a:lnTo>
                  <a:lnTo>
                    <a:pt x="212" y="7"/>
                  </a:lnTo>
                  <a:lnTo>
                    <a:pt x="209" y="7"/>
                  </a:lnTo>
                  <a:lnTo>
                    <a:pt x="212" y="7"/>
                  </a:lnTo>
                  <a:lnTo>
                    <a:pt x="212" y="10"/>
                  </a:lnTo>
                  <a:lnTo>
                    <a:pt x="214" y="12"/>
                  </a:lnTo>
                  <a:lnTo>
                    <a:pt x="216" y="12"/>
                  </a:lnTo>
                  <a:lnTo>
                    <a:pt x="219" y="12"/>
                  </a:lnTo>
                  <a:lnTo>
                    <a:pt x="221" y="12"/>
                  </a:lnTo>
                  <a:lnTo>
                    <a:pt x="223" y="12"/>
                  </a:lnTo>
                  <a:lnTo>
                    <a:pt x="226" y="12"/>
                  </a:lnTo>
                  <a:lnTo>
                    <a:pt x="226" y="14"/>
                  </a:lnTo>
                  <a:lnTo>
                    <a:pt x="226" y="12"/>
                  </a:lnTo>
                  <a:lnTo>
                    <a:pt x="228" y="12"/>
                  </a:lnTo>
                  <a:lnTo>
                    <a:pt x="228" y="10"/>
                  </a:lnTo>
                  <a:lnTo>
                    <a:pt x="231" y="10"/>
                  </a:lnTo>
                  <a:lnTo>
                    <a:pt x="233" y="10"/>
                  </a:lnTo>
                  <a:lnTo>
                    <a:pt x="235" y="10"/>
                  </a:lnTo>
                  <a:lnTo>
                    <a:pt x="235" y="12"/>
                  </a:lnTo>
                  <a:lnTo>
                    <a:pt x="238" y="12"/>
                  </a:lnTo>
                  <a:lnTo>
                    <a:pt x="238" y="14"/>
                  </a:lnTo>
                  <a:lnTo>
                    <a:pt x="240" y="14"/>
                  </a:lnTo>
                  <a:lnTo>
                    <a:pt x="242" y="14"/>
                  </a:lnTo>
                  <a:lnTo>
                    <a:pt x="245" y="14"/>
                  </a:lnTo>
                  <a:lnTo>
                    <a:pt x="242" y="17"/>
                  </a:lnTo>
                  <a:lnTo>
                    <a:pt x="245" y="17"/>
                  </a:lnTo>
                  <a:lnTo>
                    <a:pt x="245" y="19"/>
                  </a:lnTo>
                  <a:lnTo>
                    <a:pt x="245" y="21"/>
                  </a:lnTo>
                  <a:lnTo>
                    <a:pt x="245" y="24"/>
                  </a:lnTo>
                  <a:lnTo>
                    <a:pt x="242" y="24"/>
                  </a:lnTo>
                  <a:lnTo>
                    <a:pt x="242" y="26"/>
                  </a:lnTo>
                  <a:lnTo>
                    <a:pt x="242" y="29"/>
                  </a:lnTo>
                  <a:lnTo>
                    <a:pt x="242" y="31"/>
                  </a:lnTo>
                  <a:lnTo>
                    <a:pt x="240" y="29"/>
                  </a:lnTo>
                  <a:lnTo>
                    <a:pt x="240" y="31"/>
                  </a:lnTo>
                  <a:lnTo>
                    <a:pt x="242" y="31"/>
                  </a:lnTo>
                  <a:lnTo>
                    <a:pt x="240" y="31"/>
                  </a:lnTo>
                  <a:lnTo>
                    <a:pt x="242" y="31"/>
                  </a:lnTo>
                  <a:lnTo>
                    <a:pt x="242" y="33"/>
                  </a:lnTo>
                  <a:lnTo>
                    <a:pt x="245" y="36"/>
                  </a:lnTo>
                  <a:lnTo>
                    <a:pt x="245" y="38"/>
                  </a:lnTo>
                  <a:lnTo>
                    <a:pt x="245" y="40"/>
                  </a:lnTo>
                  <a:lnTo>
                    <a:pt x="247" y="40"/>
                  </a:lnTo>
                  <a:lnTo>
                    <a:pt x="250" y="40"/>
                  </a:lnTo>
                  <a:lnTo>
                    <a:pt x="250" y="43"/>
                  </a:lnTo>
                  <a:lnTo>
                    <a:pt x="250" y="45"/>
                  </a:lnTo>
                  <a:lnTo>
                    <a:pt x="250" y="48"/>
                  </a:lnTo>
                  <a:lnTo>
                    <a:pt x="252" y="48"/>
                  </a:lnTo>
                  <a:lnTo>
                    <a:pt x="250" y="50"/>
                  </a:lnTo>
                  <a:lnTo>
                    <a:pt x="250" y="52"/>
                  </a:lnTo>
                  <a:lnTo>
                    <a:pt x="250" y="55"/>
                  </a:lnTo>
                  <a:lnTo>
                    <a:pt x="247" y="55"/>
                  </a:lnTo>
                  <a:lnTo>
                    <a:pt x="247" y="57"/>
                  </a:lnTo>
                  <a:lnTo>
                    <a:pt x="250" y="57"/>
                  </a:lnTo>
                  <a:lnTo>
                    <a:pt x="247" y="57"/>
                  </a:lnTo>
                  <a:lnTo>
                    <a:pt x="250" y="59"/>
                  </a:lnTo>
                  <a:lnTo>
                    <a:pt x="250" y="62"/>
                  </a:lnTo>
                  <a:lnTo>
                    <a:pt x="247" y="62"/>
                  </a:lnTo>
                  <a:lnTo>
                    <a:pt x="245" y="62"/>
                  </a:lnTo>
                  <a:lnTo>
                    <a:pt x="245" y="64"/>
                  </a:lnTo>
                  <a:lnTo>
                    <a:pt x="242" y="62"/>
                  </a:lnTo>
                  <a:lnTo>
                    <a:pt x="240" y="62"/>
                  </a:lnTo>
                  <a:lnTo>
                    <a:pt x="240" y="64"/>
                  </a:lnTo>
                  <a:lnTo>
                    <a:pt x="238" y="64"/>
                  </a:lnTo>
                  <a:lnTo>
                    <a:pt x="238" y="62"/>
                  </a:lnTo>
                  <a:lnTo>
                    <a:pt x="238" y="59"/>
                  </a:lnTo>
                  <a:lnTo>
                    <a:pt x="235" y="59"/>
                  </a:lnTo>
                  <a:lnTo>
                    <a:pt x="233" y="59"/>
                  </a:lnTo>
                  <a:lnTo>
                    <a:pt x="231" y="59"/>
                  </a:lnTo>
                  <a:lnTo>
                    <a:pt x="231" y="62"/>
                  </a:lnTo>
                  <a:lnTo>
                    <a:pt x="228" y="62"/>
                  </a:lnTo>
                  <a:lnTo>
                    <a:pt x="228" y="64"/>
                  </a:lnTo>
                  <a:lnTo>
                    <a:pt x="228" y="62"/>
                  </a:lnTo>
                  <a:lnTo>
                    <a:pt x="228" y="64"/>
                  </a:lnTo>
                  <a:lnTo>
                    <a:pt x="231" y="64"/>
                  </a:lnTo>
                  <a:lnTo>
                    <a:pt x="233" y="67"/>
                  </a:lnTo>
                  <a:lnTo>
                    <a:pt x="235" y="67"/>
                  </a:lnTo>
                  <a:lnTo>
                    <a:pt x="235" y="69"/>
                  </a:lnTo>
                  <a:lnTo>
                    <a:pt x="238" y="69"/>
                  </a:lnTo>
                  <a:lnTo>
                    <a:pt x="238" y="71"/>
                  </a:lnTo>
                  <a:lnTo>
                    <a:pt x="235" y="71"/>
                  </a:lnTo>
                  <a:lnTo>
                    <a:pt x="235" y="74"/>
                  </a:lnTo>
                  <a:lnTo>
                    <a:pt x="235" y="76"/>
                  </a:lnTo>
                  <a:lnTo>
                    <a:pt x="233" y="76"/>
                  </a:lnTo>
                  <a:lnTo>
                    <a:pt x="231" y="76"/>
                  </a:lnTo>
                  <a:lnTo>
                    <a:pt x="228" y="76"/>
                  </a:lnTo>
                  <a:lnTo>
                    <a:pt x="228" y="78"/>
                  </a:lnTo>
                  <a:lnTo>
                    <a:pt x="228" y="81"/>
                  </a:lnTo>
                  <a:lnTo>
                    <a:pt x="231" y="83"/>
                  </a:lnTo>
                  <a:lnTo>
                    <a:pt x="228" y="83"/>
                  </a:lnTo>
                  <a:lnTo>
                    <a:pt x="228" y="86"/>
                  </a:lnTo>
                  <a:lnTo>
                    <a:pt x="228" y="88"/>
                  </a:lnTo>
                  <a:lnTo>
                    <a:pt x="228" y="86"/>
                  </a:lnTo>
                  <a:lnTo>
                    <a:pt x="228" y="88"/>
                  </a:lnTo>
                  <a:lnTo>
                    <a:pt x="231" y="88"/>
                  </a:lnTo>
                  <a:lnTo>
                    <a:pt x="231" y="90"/>
                  </a:lnTo>
                  <a:lnTo>
                    <a:pt x="228" y="90"/>
                  </a:lnTo>
                  <a:lnTo>
                    <a:pt x="228" y="93"/>
                  </a:lnTo>
                  <a:lnTo>
                    <a:pt x="231" y="93"/>
                  </a:lnTo>
                  <a:lnTo>
                    <a:pt x="228" y="93"/>
                  </a:lnTo>
                  <a:lnTo>
                    <a:pt x="228" y="95"/>
                  </a:lnTo>
                  <a:lnTo>
                    <a:pt x="231" y="95"/>
                  </a:lnTo>
                  <a:lnTo>
                    <a:pt x="228" y="95"/>
                  </a:lnTo>
                  <a:lnTo>
                    <a:pt x="226" y="95"/>
                  </a:lnTo>
                  <a:lnTo>
                    <a:pt x="223" y="95"/>
                  </a:lnTo>
                  <a:lnTo>
                    <a:pt x="223" y="97"/>
                  </a:lnTo>
                  <a:lnTo>
                    <a:pt x="221" y="97"/>
                  </a:lnTo>
                  <a:lnTo>
                    <a:pt x="221" y="100"/>
                  </a:lnTo>
                  <a:lnTo>
                    <a:pt x="221" y="97"/>
                  </a:lnTo>
                  <a:lnTo>
                    <a:pt x="221" y="100"/>
                  </a:lnTo>
                  <a:lnTo>
                    <a:pt x="221" y="97"/>
                  </a:lnTo>
                  <a:lnTo>
                    <a:pt x="221" y="100"/>
                  </a:lnTo>
                  <a:lnTo>
                    <a:pt x="221" y="97"/>
                  </a:lnTo>
                  <a:lnTo>
                    <a:pt x="221" y="100"/>
                  </a:lnTo>
                  <a:lnTo>
                    <a:pt x="219" y="100"/>
                  </a:lnTo>
                  <a:lnTo>
                    <a:pt x="219" y="102"/>
                  </a:lnTo>
                  <a:lnTo>
                    <a:pt x="216" y="102"/>
                  </a:lnTo>
                  <a:lnTo>
                    <a:pt x="214" y="102"/>
                  </a:lnTo>
                  <a:lnTo>
                    <a:pt x="214" y="105"/>
                  </a:lnTo>
                  <a:lnTo>
                    <a:pt x="214" y="102"/>
                  </a:lnTo>
                  <a:lnTo>
                    <a:pt x="214" y="105"/>
                  </a:lnTo>
                  <a:lnTo>
                    <a:pt x="214" y="107"/>
                  </a:lnTo>
                  <a:lnTo>
                    <a:pt x="214" y="109"/>
                  </a:lnTo>
                  <a:lnTo>
                    <a:pt x="214" y="112"/>
                  </a:lnTo>
                  <a:lnTo>
                    <a:pt x="212" y="109"/>
                  </a:lnTo>
                  <a:lnTo>
                    <a:pt x="209" y="109"/>
                  </a:lnTo>
                  <a:lnTo>
                    <a:pt x="207" y="109"/>
                  </a:lnTo>
                  <a:lnTo>
                    <a:pt x="204" y="109"/>
                  </a:lnTo>
                  <a:lnTo>
                    <a:pt x="202" y="109"/>
                  </a:lnTo>
                  <a:lnTo>
                    <a:pt x="200" y="109"/>
                  </a:lnTo>
                  <a:lnTo>
                    <a:pt x="200" y="112"/>
                  </a:lnTo>
                  <a:lnTo>
                    <a:pt x="197" y="114"/>
                  </a:lnTo>
                  <a:lnTo>
                    <a:pt x="195" y="114"/>
                  </a:lnTo>
                  <a:lnTo>
                    <a:pt x="195" y="112"/>
                  </a:lnTo>
                  <a:lnTo>
                    <a:pt x="193" y="112"/>
                  </a:lnTo>
                  <a:lnTo>
                    <a:pt x="190" y="112"/>
                  </a:lnTo>
                  <a:lnTo>
                    <a:pt x="188" y="112"/>
                  </a:lnTo>
                  <a:lnTo>
                    <a:pt x="185" y="112"/>
                  </a:lnTo>
                  <a:lnTo>
                    <a:pt x="183" y="112"/>
                  </a:lnTo>
                  <a:lnTo>
                    <a:pt x="181" y="112"/>
                  </a:lnTo>
                  <a:lnTo>
                    <a:pt x="181" y="114"/>
                  </a:lnTo>
                  <a:lnTo>
                    <a:pt x="178" y="114"/>
                  </a:lnTo>
                  <a:lnTo>
                    <a:pt x="176" y="114"/>
                  </a:lnTo>
                  <a:lnTo>
                    <a:pt x="176" y="116"/>
                  </a:lnTo>
                  <a:lnTo>
                    <a:pt x="176" y="119"/>
                  </a:lnTo>
                  <a:lnTo>
                    <a:pt x="174" y="119"/>
                  </a:lnTo>
                  <a:lnTo>
                    <a:pt x="171" y="119"/>
                  </a:lnTo>
                  <a:lnTo>
                    <a:pt x="171" y="121"/>
                  </a:lnTo>
                  <a:lnTo>
                    <a:pt x="169" y="121"/>
                  </a:lnTo>
                  <a:lnTo>
                    <a:pt x="166" y="121"/>
                  </a:lnTo>
                  <a:lnTo>
                    <a:pt x="166" y="124"/>
                  </a:lnTo>
                  <a:lnTo>
                    <a:pt x="166" y="126"/>
                  </a:lnTo>
                  <a:lnTo>
                    <a:pt x="166" y="124"/>
                  </a:lnTo>
                  <a:lnTo>
                    <a:pt x="164" y="124"/>
                  </a:lnTo>
                  <a:lnTo>
                    <a:pt x="162" y="124"/>
                  </a:lnTo>
                  <a:lnTo>
                    <a:pt x="162" y="121"/>
                  </a:lnTo>
                  <a:lnTo>
                    <a:pt x="159" y="121"/>
                  </a:lnTo>
                  <a:lnTo>
                    <a:pt x="159" y="124"/>
                  </a:lnTo>
                  <a:lnTo>
                    <a:pt x="157" y="124"/>
                  </a:lnTo>
                  <a:lnTo>
                    <a:pt x="157" y="121"/>
                  </a:lnTo>
                  <a:lnTo>
                    <a:pt x="155" y="124"/>
                  </a:lnTo>
                  <a:lnTo>
                    <a:pt x="155" y="121"/>
                  </a:lnTo>
                  <a:lnTo>
                    <a:pt x="152" y="124"/>
                  </a:lnTo>
                  <a:lnTo>
                    <a:pt x="152" y="121"/>
                  </a:lnTo>
                  <a:lnTo>
                    <a:pt x="150" y="121"/>
                  </a:lnTo>
                  <a:lnTo>
                    <a:pt x="150" y="119"/>
                  </a:lnTo>
                  <a:lnTo>
                    <a:pt x="148" y="119"/>
                  </a:lnTo>
                  <a:lnTo>
                    <a:pt x="148" y="121"/>
                  </a:lnTo>
                  <a:lnTo>
                    <a:pt x="148" y="119"/>
                  </a:lnTo>
                  <a:lnTo>
                    <a:pt x="145" y="119"/>
                  </a:lnTo>
                  <a:lnTo>
                    <a:pt x="143" y="119"/>
                  </a:lnTo>
                  <a:lnTo>
                    <a:pt x="140" y="119"/>
                  </a:lnTo>
                  <a:lnTo>
                    <a:pt x="138" y="119"/>
                  </a:lnTo>
                  <a:lnTo>
                    <a:pt x="136" y="119"/>
                  </a:lnTo>
                  <a:lnTo>
                    <a:pt x="136" y="116"/>
                  </a:lnTo>
                  <a:lnTo>
                    <a:pt x="133" y="116"/>
                  </a:lnTo>
                  <a:lnTo>
                    <a:pt x="131" y="116"/>
                  </a:lnTo>
                  <a:lnTo>
                    <a:pt x="129" y="116"/>
                  </a:lnTo>
                  <a:lnTo>
                    <a:pt x="126" y="116"/>
                  </a:lnTo>
                  <a:lnTo>
                    <a:pt x="124" y="116"/>
                  </a:lnTo>
                  <a:lnTo>
                    <a:pt x="121" y="116"/>
                  </a:lnTo>
                  <a:lnTo>
                    <a:pt x="119" y="114"/>
                  </a:lnTo>
                  <a:lnTo>
                    <a:pt x="117" y="114"/>
                  </a:lnTo>
                  <a:lnTo>
                    <a:pt x="114" y="114"/>
                  </a:lnTo>
                  <a:lnTo>
                    <a:pt x="112" y="114"/>
                  </a:lnTo>
                  <a:lnTo>
                    <a:pt x="110" y="114"/>
                  </a:lnTo>
                  <a:lnTo>
                    <a:pt x="107" y="114"/>
                  </a:lnTo>
                  <a:lnTo>
                    <a:pt x="107" y="112"/>
                  </a:lnTo>
                  <a:lnTo>
                    <a:pt x="105" y="112"/>
                  </a:lnTo>
                  <a:lnTo>
                    <a:pt x="102" y="112"/>
                  </a:lnTo>
                  <a:lnTo>
                    <a:pt x="100" y="112"/>
                  </a:lnTo>
                  <a:lnTo>
                    <a:pt x="98" y="112"/>
                  </a:lnTo>
                  <a:lnTo>
                    <a:pt x="98" y="109"/>
                  </a:lnTo>
                  <a:lnTo>
                    <a:pt x="95" y="109"/>
                  </a:lnTo>
                  <a:lnTo>
                    <a:pt x="93" y="107"/>
                  </a:lnTo>
                  <a:lnTo>
                    <a:pt x="91" y="107"/>
                  </a:lnTo>
                  <a:lnTo>
                    <a:pt x="91" y="105"/>
                  </a:lnTo>
                  <a:lnTo>
                    <a:pt x="91" y="102"/>
                  </a:lnTo>
                  <a:lnTo>
                    <a:pt x="91" y="100"/>
                  </a:lnTo>
                  <a:lnTo>
                    <a:pt x="91" y="102"/>
                  </a:lnTo>
                  <a:lnTo>
                    <a:pt x="88" y="102"/>
                  </a:lnTo>
                  <a:lnTo>
                    <a:pt x="88" y="100"/>
                  </a:lnTo>
                  <a:lnTo>
                    <a:pt x="86" y="100"/>
                  </a:lnTo>
                  <a:lnTo>
                    <a:pt x="88" y="100"/>
                  </a:lnTo>
                  <a:lnTo>
                    <a:pt x="88" y="97"/>
                  </a:lnTo>
                  <a:lnTo>
                    <a:pt x="86" y="97"/>
                  </a:lnTo>
                  <a:lnTo>
                    <a:pt x="86" y="95"/>
                  </a:lnTo>
                  <a:lnTo>
                    <a:pt x="88" y="95"/>
                  </a:lnTo>
                  <a:lnTo>
                    <a:pt x="88" y="93"/>
                  </a:lnTo>
                  <a:lnTo>
                    <a:pt x="91" y="93"/>
                  </a:lnTo>
                  <a:lnTo>
                    <a:pt x="88" y="93"/>
                  </a:lnTo>
                  <a:lnTo>
                    <a:pt x="88" y="90"/>
                  </a:lnTo>
                  <a:lnTo>
                    <a:pt x="86" y="93"/>
                  </a:lnTo>
                  <a:lnTo>
                    <a:pt x="83" y="93"/>
                  </a:lnTo>
                  <a:lnTo>
                    <a:pt x="81" y="93"/>
                  </a:lnTo>
                  <a:lnTo>
                    <a:pt x="79" y="95"/>
                  </a:lnTo>
                  <a:lnTo>
                    <a:pt x="76" y="95"/>
                  </a:lnTo>
                  <a:lnTo>
                    <a:pt x="74" y="95"/>
                  </a:lnTo>
                  <a:lnTo>
                    <a:pt x="74" y="97"/>
                  </a:lnTo>
                  <a:lnTo>
                    <a:pt x="72" y="97"/>
                  </a:lnTo>
                  <a:lnTo>
                    <a:pt x="72" y="95"/>
                  </a:lnTo>
                  <a:lnTo>
                    <a:pt x="69" y="95"/>
                  </a:lnTo>
                  <a:lnTo>
                    <a:pt x="67" y="95"/>
                  </a:lnTo>
                  <a:lnTo>
                    <a:pt x="67" y="97"/>
                  </a:lnTo>
                  <a:lnTo>
                    <a:pt x="67" y="95"/>
                  </a:lnTo>
                  <a:lnTo>
                    <a:pt x="64" y="95"/>
                  </a:lnTo>
                  <a:lnTo>
                    <a:pt x="64" y="97"/>
                  </a:lnTo>
                  <a:lnTo>
                    <a:pt x="62" y="97"/>
                  </a:lnTo>
                  <a:lnTo>
                    <a:pt x="60" y="95"/>
                  </a:lnTo>
                  <a:lnTo>
                    <a:pt x="60" y="97"/>
                  </a:lnTo>
                  <a:lnTo>
                    <a:pt x="57" y="97"/>
                  </a:lnTo>
                  <a:lnTo>
                    <a:pt x="55" y="97"/>
                  </a:lnTo>
                  <a:lnTo>
                    <a:pt x="53" y="100"/>
                  </a:lnTo>
                  <a:lnTo>
                    <a:pt x="53" y="102"/>
                  </a:lnTo>
                  <a:lnTo>
                    <a:pt x="50" y="102"/>
                  </a:lnTo>
                  <a:lnTo>
                    <a:pt x="50" y="105"/>
                  </a:lnTo>
                  <a:lnTo>
                    <a:pt x="50" y="107"/>
                  </a:lnTo>
                  <a:lnTo>
                    <a:pt x="48" y="107"/>
                  </a:lnTo>
                  <a:lnTo>
                    <a:pt x="45" y="107"/>
                  </a:lnTo>
                  <a:lnTo>
                    <a:pt x="43" y="107"/>
                  </a:lnTo>
                  <a:lnTo>
                    <a:pt x="41" y="105"/>
                  </a:lnTo>
                  <a:lnTo>
                    <a:pt x="41" y="107"/>
                  </a:lnTo>
                  <a:lnTo>
                    <a:pt x="41" y="105"/>
                  </a:lnTo>
                  <a:lnTo>
                    <a:pt x="38" y="102"/>
                  </a:lnTo>
                  <a:lnTo>
                    <a:pt x="36" y="102"/>
                  </a:lnTo>
                  <a:lnTo>
                    <a:pt x="34" y="102"/>
                  </a:lnTo>
                  <a:lnTo>
                    <a:pt x="31" y="102"/>
                  </a:lnTo>
                  <a:lnTo>
                    <a:pt x="31" y="100"/>
                  </a:lnTo>
                  <a:lnTo>
                    <a:pt x="31" y="97"/>
                  </a:lnTo>
                  <a:lnTo>
                    <a:pt x="29" y="97"/>
                  </a:lnTo>
                  <a:lnTo>
                    <a:pt x="29" y="95"/>
                  </a:lnTo>
                  <a:lnTo>
                    <a:pt x="26" y="95"/>
                  </a:lnTo>
                  <a:lnTo>
                    <a:pt x="26" y="97"/>
                  </a:lnTo>
                  <a:lnTo>
                    <a:pt x="26" y="100"/>
                  </a:lnTo>
                  <a:lnTo>
                    <a:pt x="24" y="100"/>
                  </a:lnTo>
                  <a:lnTo>
                    <a:pt x="24" y="102"/>
                  </a:lnTo>
                  <a:lnTo>
                    <a:pt x="22" y="102"/>
                  </a:lnTo>
                  <a:lnTo>
                    <a:pt x="19" y="102"/>
                  </a:lnTo>
                  <a:lnTo>
                    <a:pt x="17" y="102"/>
                  </a:lnTo>
                  <a:lnTo>
                    <a:pt x="17" y="100"/>
                  </a:lnTo>
                  <a:lnTo>
                    <a:pt x="15" y="100"/>
                  </a:lnTo>
                  <a:lnTo>
                    <a:pt x="12" y="100"/>
                  </a:lnTo>
                  <a:lnTo>
                    <a:pt x="12" y="97"/>
                  </a:lnTo>
                  <a:lnTo>
                    <a:pt x="12" y="95"/>
                  </a:lnTo>
                  <a:lnTo>
                    <a:pt x="10" y="95"/>
                  </a:lnTo>
                  <a:lnTo>
                    <a:pt x="8" y="93"/>
                  </a:lnTo>
                  <a:lnTo>
                    <a:pt x="5" y="93"/>
                  </a:lnTo>
                  <a:lnTo>
                    <a:pt x="3" y="93"/>
                  </a:lnTo>
                  <a:lnTo>
                    <a:pt x="3" y="90"/>
                  </a:lnTo>
                  <a:lnTo>
                    <a:pt x="3" y="88"/>
                  </a:lnTo>
                  <a:lnTo>
                    <a:pt x="0" y="88"/>
                  </a:lnTo>
                  <a:lnTo>
                    <a:pt x="3" y="88"/>
                  </a:lnTo>
                  <a:lnTo>
                    <a:pt x="3" y="86"/>
                  </a:lnTo>
                  <a:lnTo>
                    <a:pt x="0" y="86"/>
                  </a:lnTo>
                  <a:lnTo>
                    <a:pt x="0" y="83"/>
                  </a:lnTo>
                  <a:lnTo>
                    <a:pt x="0" y="81"/>
                  </a:lnTo>
                  <a:lnTo>
                    <a:pt x="3" y="81"/>
                  </a:lnTo>
                  <a:lnTo>
                    <a:pt x="3" y="78"/>
                  </a:lnTo>
                  <a:lnTo>
                    <a:pt x="5" y="78"/>
                  </a:lnTo>
                  <a:lnTo>
                    <a:pt x="5" y="76"/>
                  </a:lnTo>
                  <a:lnTo>
                    <a:pt x="3" y="76"/>
                  </a:lnTo>
                  <a:lnTo>
                    <a:pt x="3" y="74"/>
                  </a:lnTo>
                  <a:lnTo>
                    <a:pt x="5" y="74"/>
                  </a:lnTo>
                  <a:lnTo>
                    <a:pt x="3" y="74"/>
                  </a:lnTo>
                  <a:lnTo>
                    <a:pt x="0" y="71"/>
                  </a:lnTo>
                  <a:lnTo>
                    <a:pt x="0" y="69"/>
                  </a:lnTo>
                  <a:lnTo>
                    <a:pt x="5" y="71"/>
                  </a:lnTo>
                  <a:lnTo>
                    <a:pt x="8" y="71"/>
                  </a:lnTo>
                  <a:lnTo>
                    <a:pt x="8" y="69"/>
                  </a:lnTo>
                  <a:lnTo>
                    <a:pt x="8" y="67"/>
                  </a:lnTo>
                  <a:lnTo>
                    <a:pt x="10" y="67"/>
                  </a:lnTo>
                  <a:lnTo>
                    <a:pt x="10" y="69"/>
                  </a:lnTo>
                  <a:lnTo>
                    <a:pt x="10" y="71"/>
                  </a:lnTo>
                  <a:lnTo>
                    <a:pt x="12" y="71"/>
                  </a:lnTo>
                  <a:lnTo>
                    <a:pt x="12" y="69"/>
                  </a:lnTo>
                  <a:lnTo>
                    <a:pt x="12" y="71"/>
                  </a:lnTo>
                  <a:lnTo>
                    <a:pt x="15" y="71"/>
                  </a:lnTo>
                  <a:lnTo>
                    <a:pt x="15" y="69"/>
                  </a:lnTo>
                  <a:lnTo>
                    <a:pt x="15" y="71"/>
                  </a:lnTo>
                  <a:lnTo>
                    <a:pt x="15" y="74"/>
                  </a:lnTo>
                  <a:lnTo>
                    <a:pt x="17" y="74"/>
                  </a:lnTo>
                  <a:lnTo>
                    <a:pt x="17" y="71"/>
                  </a:lnTo>
                  <a:lnTo>
                    <a:pt x="17" y="74"/>
                  </a:lnTo>
                  <a:lnTo>
                    <a:pt x="19" y="74"/>
                  </a:lnTo>
                  <a:lnTo>
                    <a:pt x="19" y="76"/>
                  </a:lnTo>
                  <a:lnTo>
                    <a:pt x="17" y="76"/>
                  </a:lnTo>
                  <a:lnTo>
                    <a:pt x="19" y="76"/>
                  </a:lnTo>
                  <a:lnTo>
                    <a:pt x="19" y="78"/>
                  </a:lnTo>
                  <a:lnTo>
                    <a:pt x="22" y="78"/>
                  </a:lnTo>
                  <a:lnTo>
                    <a:pt x="22" y="76"/>
                  </a:lnTo>
                  <a:lnTo>
                    <a:pt x="22" y="78"/>
                  </a:lnTo>
                  <a:lnTo>
                    <a:pt x="24" y="76"/>
                  </a:lnTo>
                  <a:lnTo>
                    <a:pt x="24" y="78"/>
                  </a:lnTo>
                  <a:lnTo>
                    <a:pt x="22" y="78"/>
                  </a:lnTo>
                  <a:lnTo>
                    <a:pt x="22" y="81"/>
                  </a:lnTo>
                  <a:lnTo>
                    <a:pt x="22" y="83"/>
                  </a:lnTo>
                  <a:lnTo>
                    <a:pt x="24" y="83"/>
                  </a:lnTo>
                  <a:lnTo>
                    <a:pt x="26" y="81"/>
                  </a:lnTo>
                  <a:lnTo>
                    <a:pt x="26" y="78"/>
                  </a:lnTo>
                  <a:lnTo>
                    <a:pt x="29" y="78"/>
                  </a:lnTo>
                  <a:lnTo>
                    <a:pt x="31" y="78"/>
                  </a:lnTo>
                  <a:lnTo>
                    <a:pt x="29" y="76"/>
                  </a:lnTo>
                  <a:lnTo>
                    <a:pt x="31" y="76"/>
                  </a:lnTo>
                  <a:lnTo>
                    <a:pt x="31" y="74"/>
                  </a:lnTo>
                  <a:lnTo>
                    <a:pt x="31" y="71"/>
                  </a:lnTo>
                  <a:lnTo>
                    <a:pt x="29" y="71"/>
                  </a:lnTo>
                  <a:lnTo>
                    <a:pt x="31" y="71"/>
                  </a:lnTo>
                  <a:lnTo>
                    <a:pt x="31" y="69"/>
                  </a:lnTo>
                  <a:lnTo>
                    <a:pt x="29" y="69"/>
                  </a:lnTo>
                  <a:lnTo>
                    <a:pt x="31" y="69"/>
                  </a:lnTo>
                  <a:lnTo>
                    <a:pt x="34" y="71"/>
                  </a:lnTo>
                  <a:lnTo>
                    <a:pt x="34" y="69"/>
                  </a:lnTo>
                  <a:lnTo>
                    <a:pt x="34" y="71"/>
                  </a:lnTo>
                  <a:lnTo>
                    <a:pt x="34" y="69"/>
                  </a:lnTo>
                  <a:lnTo>
                    <a:pt x="36" y="69"/>
                  </a:lnTo>
                  <a:lnTo>
                    <a:pt x="38" y="69"/>
                  </a:lnTo>
                  <a:lnTo>
                    <a:pt x="38" y="71"/>
                  </a:lnTo>
                  <a:lnTo>
                    <a:pt x="41" y="69"/>
                  </a:lnTo>
                  <a:lnTo>
                    <a:pt x="41" y="71"/>
                  </a:lnTo>
                  <a:lnTo>
                    <a:pt x="43" y="71"/>
                  </a:lnTo>
                  <a:lnTo>
                    <a:pt x="45" y="69"/>
                  </a:lnTo>
                  <a:lnTo>
                    <a:pt x="45" y="71"/>
                  </a:lnTo>
                  <a:lnTo>
                    <a:pt x="43" y="74"/>
                  </a:lnTo>
                  <a:lnTo>
                    <a:pt x="45" y="74"/>
                  </a:lnTo>
                  <a:lnTo>
                    <a:pt x="48" y="74"/>
                  </a:lnTo>
                  <a:lnTo>
                    <a:pt x="48" y="76"/>
                  </a:lnTo>
                  <a:lnTo>
                    <a:pt x="50" y="76"/>
                  </a:lnTo>
                  <a:lnTo>
                    <a:pt x="53" y="76"/>
                  </a:lnTo>
                  <a:lnTo>
                    <a:pt x="55" y="76"/>
                  </a:lnTo>
                  <a:lnTo>
                    <a:pt x="57" y="76"/>
                  </a:lnTo>
                  <a:lnTo>
                    <a:pt x="55" y="76"/>
                  </a:lnTo>
                  <a:lnTo>
                    <a:pt x="57" y="76"/>
                  </a:lnTo>
                  <a:lnTo>
                    <a:pt x="60" y="76"/>
                  </a:lnTo>
                  <a:lnTo>
                    <a:pt x="60" y="74"/>
                  </a:lnTo>
                  <a:lnTo>
                    <a:pt x="62" y="74"/>
                  </a:lnTo>
                  <a:lnTo>
                    <a:pt x="62" y="71"/>
                  </a:lnTo>
                  <a:lnTo>
                    <a:pt x="64" y="71"/>
                  </a:lnTo>
                  <a:lnTo>
                    <a:pt x="67" y="71"/>
                  </a:lnTo>
                  <a:lnTo>
                    <a:pt x="67" y="69"/>
                  </a:lnTo>
                  <a:lnTo>
                    <a:pt x="69" y="69"/>
                  </a:lnTo>
                  <a:lnTo>
                    <a:pt x="69" y="67"/>
                  </a:lnTo>
                  <a:lnTo>
                    <a:pt x="69" y="69"/>
                  </a:lnTo>
                  <a:lnTo>
                    <a:pt x="72" y="69"/>
                  </a:lnTo>
                  <a:lnTo>
                    <a:pt x="72" y="67"/>
                  </a:lnTo>
                  <a:lnTo>
                    <a:pt x="74" y="67"/>
                  </a:lnTo>
                  <a:lnTo>
                    <a:pt x="76" y="69"/>
                  </a:lnTo>
                  <a:lnTo>
                    <a:pt x="76" y="67"/>
                  </a:lnTo>
                  <a:lnTo>
                    <a:pt x="79" y="67"/>
                  </a:lnTo>
                  <a:lnTo>
                    <a:pt x="81" y="67"/>
                  </a:lnTo>
                  <a:lnTo>
                    <a:pt x="83" y="67"/>
                  </a:lnTo>
                  <a:lnTo>
                    <a:pt x="86" y="67"/>
                  </a:lnTo>
                  <a:lnTo>
                    <a:pt x="88" y="67"/>
                  </a:lnTo>
                  <a:lnTo>
                    <a:pt x="88" y="64"/>
                  </a:lnTo>
                  <a:lnTo>
                    <a:pt x="88" y="62"/>
                  </a:lnTo>
                  <a:lnTo>
                    <a:pt x="91" y="59"/>
                  </a:lnTo>
                  <a:lnTo>
                    <a:pt x="91" y="62"/>
                  </a:lnTo>
                  <a:lnTo>
                    <a:pt x="91" y="64"/>
                  </a:lnTo>
                  <a:lnTo>
                    <a:pt x="91" y="62"/>
                  </a:lnTo>
                  <a:lnTo>
                    <a:pt x="93" y="62"/>
                  </a:lnTo>
                  <a:lnTo>
                    <a:pt x="93" y="64"/>
                  </a:lnTo>
                  <a:lnTo>
                    <a:pt x="95" y="62"/>
                  </a:lnTo>
                  <a:lnTo>
                    <a:pt x="95" y="64"/>
                  </a:lnTo>
                  <a:lnTo>
                    <a:pt x="98" y="64"/>
                  </a:lnTo>
                  <a:lnTo>
                    <a:pt x="98" y="67"/>
                  </a:lnTo>
                  <a:lnTo>
                    <a:pt x="100" y="67"/>
                  </a:lnTo>
                  <a:lnTo>
                    <a:pt x="100" y="64"/>
                  </a:lnTo>
                  <a:lnTo>
                    <a:pt x="102" y="64"/>
                  </a:lnTo>
                  <a:lnTo>
                    <a:pt x="105" y="64"/>
                  </a:lnTo>
                  <a:lnTo>
                    <a:pt x="107" y="64"/>
                  </a:lnTo>
                  <a:lnTo>
                    <a:pt x="107" y="67"/>
                  </a:lnTo>
                  <a:lnTo>
                    <a:pt x="110" y="67"/>
                  </a:lnTo>
                  <a:lnTo>
                    <a:pt x="107" y="67"/>
                  </a:lnTo>
                  <a:lnTo>
                    <a:pt x="107" y="69"/>
                  </a:lnTo>
                  <a:lnTo>
                    <a:pt x="110" y="69"/>
                  </a:lnTo>
                  <a:lnTo>
                    <a:pt x="110" y="71"/>
                  </a:lnTo>
                  <a:lnTo>
                    <a:pt x="112" y="71"/>
                  </a:lnTo>
                  <a:lnTo>
                    <a:pt x="112" y="74"/>
                  </a:lnTo>
                  <a:lnTo>
                    <a:pt x="114" y="74"/>
                  </a:lnTo>
                  <a:lnTo>
                    <a:pt x="117" y="74"/>
                  </a:lnTo>
                  <a:lnTo>
                    <a:pt x="117" y="71"/>
                  </a:lnTo>
                  <a:lnTo>
                    <a:pt x="117" y="69"/>
                  </a:lnTo>
                  <a:lnTo>
                    <a:pt x="117" y="67"/>
                  </a:lnTo>
                  <a:lnTo>
                    <a:pt x="117" y="64"/>
                  </a:lnTo>
                  <a:lnTo>
                    <a:pt x="117" y="62"/>
                  </a:lnTo>
                  <a:lnTo>
                    <a:pt x="114" y="62"/>
                  </a:lnTo>
                  <a:lnTo>
                    <a:pt x="112" y="62"/>
                  </a:lnTo>
                  <a:lnTo>
                    <a:pt x="112" y="59"/>
                  </a:lnTo>
                  <a:lnTo>
                    <a:pt x="112" y="57"/>
                  </a:lnTo>
                  <a:lnTo>
                    <a:pt x="114" y="57"/>
                  </a:lnTo>
                  <a:lnTo>
                    <a:pt x="114" y="55"/>
                  </a:lnTo>
                  <a:lnTo>
                    <a:pt x="114" y="52"/>
                  </a:lnTo>
                  <a:lnTo>
                    <a:pt x="112" y="52"/>
                  </a:lnTo>
                  <a:lnTo>
                    <a:pt x="112" y="50"/>
                  </a:lnTo>
                  <a:lnTo>
                    <a:pt x="110" y="50"/>
                  </a:lnTo>
                  <a:lnTo>
                    <a:pt x="110" y="48"/>
                  </a:lnTo>
                  <a:lnTo>
                    <a:pt x="107" y="45"/>
                  </a:lnTo>
                  <a:lnTo>
                    <a:pt x="107" y="43"/>
                  </a:lnTo>
                  <a:lnTo>
                    <a:pt x="107" y="40"/>
                  </a:lnTo>
                  <a:lnTo>
                    <a:pt x="110" y="40"/>
                  </a:lnTo>
                  <a:lnTo>
                    <a:pt x="110" y="38"/>
                  </a:lnTo>
                  <a:lnTo>
                    <a:pt x="112" y="38"/>
                  </a:lnTo>
                  <a:lnTo>
                    <a:pt x="114" y="38"/>
                  </a:lnTo>
                  <a:lnTo>
                    <a:pt x="114" y="36"/>
                  </a:lnTo>
                  <a:lnTo>
                    <a:pt x="117" y="36"/>
                  </a:lnTo>
                  <a:lnTo>
                    <a:pt x="119" y="36"/>
                  </a:lnTo>
                  <a:lnTo>
                    <a:pt x="119" y="33"/>
                  </a:lnTo>
                  <a:lnTo>
                    <a:pt x="121" y="33"/>
                  </a:lnTo>
                  <a:lnTo>
                    <a:pt x="124" y="33"/>
                  </a:lnTo>
                  <a:lnTo>
                    <a:pt x="126" y="33"/>
                  </a:lnTo>
                  <a:lnTo>
                    <a:pt x="126" y="31"/>
                  </a:lnTo>
                  <a:lnTo>
                    <a:pt x="129" y="31"/>
                  </a:lnTo>
                  <a:lnTo>
                    <a:pt x="129" y="29"/>
                  </a:lnTo>
                  <a:lnTo>
                    <a:pt x="129" y="26"/>
                  </a:lnTo>
                  <a:lnTo>
                    <a:pt x="129" y="24"/>
                  </a:lnTo>
                  <a:lnTo>
                    <a:pt x="129" y="21"/>
                  </a:lnTo>
                  <a:lnTo>
                    <a:pt x="131" y="21"/>
                  </a:lnTo>
                  <a:lnTo>
                    <a:pt x="131" y="19"/>
                  </a:lnTo>
                  <a:lnTo>
                    <a:pt x="133" y="21"/>
                  </a:lnTo>
                  <a:lnTo>
                    <a:pt x="136" y="21"/>
                  </a:lnTo>
                  <a:lnTo>
                    <a:pt x="138" y="24"/>
                  </a:lnTo>
                  <a:lnTo>
                    <a:pt x="138" y="21"/>
                  </a:lnTo>
                  <a:lnTo>
                    <a:pt x="140" y="21"/>
                  </a:lnTo>
                  <a:lnTo>
                    <a:pt x="138" y="21"/>
                  </a:lnTo>
                  <a:lnTo>
                    <a:pt x="140" y="21"/>
                  </a:lnTo>
                  <a:lnTo>
                    <a:pt x="140" y="19"/>
                  </a:lnTo>
                  <a:lnTo>
                    <a:pt x="143" y="19"/>
                  </a:lnTo>
                  <a:lnTo>
                    <a:pt x="143" y="17"/>
                  </a:lnTo>
                  <a:lnTo>
                    <a:pt x="140" y="17"/>
                  </a:lnTo>
                  <a:lnTo>
                    <a:pt x="143" y="17"/>
                  </a:lnTo>
                  <a:lnTo>
                    <a:pt x="140" y="14"/>
                  </a:lnTo>
                  <a:lnTo>
                    <a:pt x="143" y="14"/>
                  </a:lnTo>
                  <a:lnTo>
                    <a:pt x="140" y="14"/>
                  </a:lnTo>
                  <a:lnTo>
                    <a:pt x="140" y="12"/>
                  </a:lnTo>
                  <a:lnTo>
                    <a:pt x="143" y="12"/>
                  </a:lnTo>
                  <a:lnTo>
                    <a:pt x="145" y="12"/>
                  </a:lnTo>
                  <a:lnTo>
                    <a:pt x="145" y="14"/>
                  </a:lnTo>
                  <a:lnTo>
                    <a:pt x="148" y="14"/>
                  </a:lnTo>
                  <a:lnTo>
                    <a:pt x="150" y="17"/>
                  </a:lnTo>
                  <a:lnTo>
                    <a:pt x="148" y="17"/>
                  </a:lnTo>
                  <a:lnTo>
                    <a:pt x="150" y="19"/>
                  </a:lnTo>
                  <a:lnTo>
                    <a:pt x="152" y="19"/>
                  </a:lnTo>
                  <a:lnTo>
                    <a:pt x="155" y="19"/>
                  </a:lnTo>
                  <a:lnTo>
                    <a:pt x="155" y="21"/>
                  </a:lnTo>
                  <a:lnTo>
                    <a:pt x="157" y="21"/>
                  </a:lnTo>
                  <a:lnTo>
                    <a:pt x="159" y="21"/>
                  </a:lnTo>
                  <a:lnTo>
                    <a:pt x="159" y="19"/>
                  </a:lnTo>
                  <a:lnTo>
                    <a:pt x="162" y="19"/>
                  </a:lnTo>
                  <a:lnTo>
                    <a:pt x="162" y="17"/>
                  </a:lnTo>
                  <a:lnTo>
                    <a:pt x="164" y="17"/>
                  </a:lnTo>
                  <a:lnTo>
                    <a:pt x="164" y="19"/>
                  </a:lnTo>
                  <a:lnTo>
                    <a:pt x="166" y="19"/>
                  </a:lnTo>
                  <a:lnTo>
                    <a:pt x="169" y="19"/>
                  </a:lnTo>
                  <a:lnTo>
                    <a:pt x="171" y="19"/>
                  </a:lnTo>
                  <a:lnTo>
                    <a:pt x="171" y="17"/>
                  </a:lnTo>
                  <a:lnTo>
                    <a:pt x="171" y="14"/>
                  </a:lnTo>
                  <a:lnTo>
                    <a:pt x="174" y="14"/>
                  </a:lnTo>
                  <a:lnTo>
                    <a:pt x="174" y="12"/>
                  </a:lnTo>
                  <a:lnTo>
                    <a:pt x="174" y="10"/>
                  </a:lnTo>
                  <a:lnTo>
                    <a:pt x="176" y="10"/>
                  </a:lnTo>
                  <a:lnTo>
                    <a:pt x="176" y="12"/>
                  </a:lnTo>
                  <a:lnTo>
                    <a:pt x="176" y="10"/>
                  </a:lnTo>
                  <a:lnTo>
                    <a:pt x="178" y="12"/>
                  </a:lnTo>
                  <a:lnTo>
                    <a:pt x="181" y="12"/>
                  </a:lnTo>
                  <a:lnTo>
                    <a:pt x="181" y="10"/>
                  </a:lnTo>
                  <a:lnTo>
                    <a:pt x="178" y="10"/>
                  </a:lnTo>
                  <a:lnTo>
                    <a:pt x="181" y="7"/>
                  </a:lnTo>
                  <a:lnTo>
                    <a:pt x="181" y="5"/>
                  </a:lnTo>
                  <a:lnTo>
                    <a:pt x="181" y="2"/>
                  </a:lnTo>
                  <a:lnTo>
                    <a:pt x="18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4" name="Freeform 50277"/>
            <p:cNvSpPr>
              <a:spLocks/>
            </p:cNvSpPr>
            <p:nvPr/>
          </p:nvSpPr>
          <p:spPr bwMode="auto">
            <a:xfrm>
              <a:off x="3241672" y="4211652"/>
              <a:ext cx="501650" cy="392114"/>
            </a:xfrm>
            <a:custGeom>
              <a:avLst/>
              <a:gdLst>
                <a:gd name="T0" fmla="*/ 176 w 316"/>
                <a:gd name="T1" fmla="*/ 2 h 247"/>
                <a:gd name="T2" fmla="*/ 185 w 316"/>
                <a:gd name="T3" fmla="*/ 9 h 247"/>
                <a:gd name="T4" fmla="*/ 202 w 316"/>
                <a:gd name="T5" fmla="*/ 12 h 247"/>
                <a:gd name="T6" fmla="*/ 211 w 316"/>
                <a:gd name="T7" fmla="*/ 23 h 247"/>
                <a:gd name="T8" fmla="*/ 228 w 316"/>
                <a:gd name="T9" fmla="*/ 16 h 247"/>
                <a:gd name="T10" fmla="*/ 245 w 316"/>
                <a:gd name="T11" fmla="*/ 21 h 247"/>
                <a:gd name="T12" fmla="*/ 256 w 316"/>
                <a:gd name="T13" fmla="*/ 31 h 247"/>
                <a:gd name="T14" fmla="*/ 252 w 316"/>
                <a:gd name="T15" fmla="*/ 45 h 247"/>
                <a:gd name="T16" fmla="*/ 256 w 316"/>
                <a:gd name="T17" fmla="*/ 59 h 247"/>
                <a:gd name="T18" fmla="*/ 256 w 316"/>
                <a:gd name="T19" fmla="*/ 73 h 247"/>
                <a:gd name="T20" fmla="*/ 261 w 316"/>
                <a:gd name="T21" fmla="*/ 80 h 247"/>
                <a:gd name="T22" fmla="*/ 268 w 316"/>
                <a:gd name="T23" fmla="*/ 97 h 247"/>
                <a:gd name="T24" fmla="*/ 283 w 316"/>
                <a:gd name="T25" fmla="*/ 107 h 247"/>
                <a:gd name="T26" fmla="*/ 283 w 316"/>
                <a:gd name="T27" fmla="*/ 121 h 247"/>
                <a:gd name="T28" fmla="*/ 299 w 316"/>
                <a:gd name="T29" fmla="*/ 123 h 247"/>
                <a:gd name="T30" fmla="*/ 309 w 316"/>
                <a:gd name="T31" fmla="*/ 135 h 247"/>
                <a:gd name="T32" fmla="*/ 311 w 316"/>
                <a:gd name="T33" fmla="*/ 145 h 247"/>
                <a:gd name="T34" fmla="*/ 297 w 316"/>
                <a:gd name="T35" fmla="*/ 154 h 247"/>
                <a:gd name="T36" fmla="*/ 275 w 316"/>
                <a:gd name="T37" fmla="*/ 152 h 247"/>
                <a:gd name="T38" fmla="*/ 271 w 316"/>
                <a:gd name="T39" fmla="*/ 164 h 247"/>
                <a:gd name="T40" fmla="*/ 275 w 316"/>
                <a:gd name="T41" fmla="*/ 180 h 247"/>
                <a:gd name="T42" fmla="*/ 278 w 316"/>
                <a:gd name="T43" fmla="*/ 192 h 247"/>
                <a:gd name="T44" fmla="*/ 271 w 316"/>
                <a:gd name="T45" fmla="*/ 204 h 247"/>
                <a:gd name="T46" fmla="*/ 256 w 316"/>
                <a:gd name="T47" fmla="*/ 206 h 247"/>
                <a:gd name="T48" fmla="*/ 247 w 316"/>
                <a:gd name="T49" fmla="*/ 218 h 247"/>
                <a:gd name="T50" fmla="*/ 240 w 316"/>
                <a:gd name="T51" fmla="*/ 230 h 247"/>
                <a:gd name="T52" fmla="*/ 245 w 316"/>
                <a:gd name="T53" fmla="*/ 242 h 247"/>
                <a:gd name="T54" fmla="*/ 233 w 316"/>
                <a:gd name="T55" fmla="*/ 235 h 247"/>
                <a:gd name="T56" fmla="*/ 214 w 316"/>
                <a:gd name="T57" fmla="*/ 235 h 247"/>
                <a:gd name="T58" fmla="*/ 200 w 316"/>
                <a:gd name="T59" fmla="*/ 235 h 247"/>
                <a:gd name="T60" fmla="*/ 183 w 316"/>
                <a:gd name="T61" fmla="*/ 237 h 247"/>
                <a:gd name="T62" fmla="*/ 169 w 316"/>
                <a:gd name="T63" fmla="*/ 228 h 247"/>
                <a:gd name="T64" fmla="*/ 152 w 316"/>
                <a:gd name="T65" fmla="*/ 230 h 247"/>
                <a:gd name="T66" fmla="*/ 145 w 316"/>
                <a:gd name="T67" fmla="*/ 228 h 247"/>
                <a:gd name="T68" fmla="*/ 133 w 316"/>
                <a:gd name="T69" fmla="*/ 228 h 247"/>
                <a:gd name="T70" fmla="*/ 119 w 316"/>
                <a:gd name="T71" fmla="*/ 223 h 247"/>
                <a:gd name="T72" fmla="*/ 102 w 316"/>
                <a:gd name="T73" fmla="*/ 216 h 247"/>
                <a:gd name="T74" fmla="*/ 76 w 316"/>
                <a:gd name="T75" fmla="*/ 213 h 247"/>
                <a:gd name="T76" fmla="*/ 60 w 316"/>
                <a:gd name="T77" fmla="*/ 213 h 247"/>
                <a:gd name="T78" fmla="*/ 38 w 316"/>
                <a:gd name="T79" fmla="*/ 218 h 247"/>
                <a:gd name="T80" fmla="*/ 19 w 316"/>
                <a:gd name="T81" fmla="*/ 225 h 247"/>
                <a:gd name="T82" fmla="*/ 12 w 316"/>
                <a:gd name="T83" fmla="*/ 223 h 247"/>
                <a:gd name="T84" fmla="*/ 14 w 316"/>
                <a:gd name="T85" fmla="*/ 216 h 247"/>
                <a:gd name="T86" fmla="*/ 7 w 316"/>
                <a:gd name="T87" fmla="*/ 199 h 247"/>
                <a:gd name="T88" fmla="*/ 10 w 316"/>
                <a:gd name="T89" fmla="*/ 183 h 247"/>
                <a:gd name="T90" fmla="*/ 24 w 316"/>
                <a:gd name="T91" fmla="*/ 159 h 247"/>
                <a:gd name="T92" fmla="*/ 14 w 316"/>
                <a:gd name="T93" fmla="*/ 133 h 247"/>
                <a:gd name="T94" fmla="*/ 14 w 316"/>
                <a:gd name="T95" fmla="*/ 114 h 247"/>
                <a:gd name="T96" fmla="*/ 31 w 316"/>
                <a:gd name="T97" fmla="*/ 111 h 247"/>
                <a:gd name="T98" fmla="*/ 45 w 316"/>
                <a:gd name="T99" fmla="*/ 111 h 247"/>
                <a:gd name="T100" fmla="*/ 52 w 316"/>
                <a:gd name="T101" fmla="*/ 104 h 247"/>
                <a:gd name="T102" fmla="*/ 71 w 316"/>
                <a:gd name="T103" fmla="*/ 97 h 247"/>
                <a:gd name="T104" fmla="*/ 79 w 316"/>
                <a:gd name="T105" fmla="*/ 102 h 247"/>
                <a:gd name="T106" fmla="*/ 83 w 316"/>
                <a:gd name="T107" fmla="*/ 95 h 247"/>
                <a:gd name="T108" fmla="*/ 81 w 316"/>
                <a:gd name="T109" fmla="*/ 83 h 247"/>
                <a:gd name="T110" fmla="*/ 88 w 316"/>
                <a:gd name="T111" fmla="*/ 66 h 247"/>
                <a:gd name="T112" fmla="*/ 102 w 316"/>
                <a:gd name="T113" fmla="*/ 57 h 247"/>
                <a:gd name="T114" fmla="*/ 116 w 316"/>
                <a:gd name="T115" fmla="*/ 50 h 247"/>
                <a:gd name="T116" fmla="*/ 112 w 316"/>
                <a:gd name="T117" fmla="*/ 42 h 247"/>
                <a:gd name="T118" fmla="*/ 109 w 316"/>
                <a:gd name="T119" fmla="*/ 35 h 247"/>
                <a:gd name="T120" fmla="*/ 121 w 316"/>
                <a:gd name="T121" fmla="*/ 23 h 247"/>
                <a:gd name="T122" fmla="*/ 138 w 316"/>
                <a:gd name="T123" fmla="*/ 19 h 247"/>
                <a:gd name="T124" fmla="*/ 152 w 316"/>
                <a:gd name="T125" fmla="*/ 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247">
                  <a:moveTo>
                    <a:pt x="164" y="0"/>
                  </a:moveTo>
                  <a:lnTo>
                    <a:pt x="164" y="2"/>
                  </a:lnTo>
                  <a:lnTo>
                    <a:pt x="166" y="2"/>
                  </a:lnTo>
                  <a:lnTo>
                    <a:pt x="166" y="4"/>
                  </a:lnTo>
                  <a:lnTo>
                    <a:pt x="169" y="4"/>
                  </a:lnTo>
                  <a:lnTo>
                    <a:pt x="169" y="7"/>
                  </a:lnTo>
                  <a:lnTo>
                    <a:pt x="169" y="4"/>
                  </a:lnTo>
                  <a:lnTo>
                    <a:pt x="171" y="7"/>
                  </a:lnTo>
                  <a:lnTo>
                    <a:pt x="171" y="4"/>
                  </a:lnTo>
                  <a:lnTo>
                    <a:pt x="173" y="4"/>
                  </a:lnTo>
                  <a:lnTo>
                    <a:pt x="176" y="4"/>
                  </a:lnTo>
                  <a:lnTo>
                    <a:pt x="176" y="2"/>
                  </a:lnTo>
                  <a:lnTo>
                    <a:pt x="178" y="4"/>
                  </a:lnTo>
                  <a:lnTo>
                    <a:pt x="181" y="4"/>
                  </a:lnTo>
                  <a:lnTo>
                    <a:pt x="178" y="4"/>
                  </a:lnTo>
                  <a:lnTo>
                    <a:pt x="181" y="7"/>
                  </a:lnTo>
                  <a:lnTo>
                    <a:pt x="181" y="9"/>
                  </a:lnTo>
                  <a:lnTo>
                    <a:pt x="183" y="9"/>
                  </a:lnTo>
                  <a:lnTo>
                    <a:pt x="183" y="12"/>
                  </a:lnTo>
                  <a:lnTo>
                    <a:pt x="183" y="9"/>
                  </a:lnTo>
                  <a:lnTo>
                    <a:pt x="185" y="12"/>
                  </a:lnTo>
                  <a:lnTo>
                    <a:pt x="185" y="9"/>
                  </a:lnTo>
                  <a:lnTo>
                    <a:pt x="185" y="12"/>
                  </a:lnTo>
                  <a:lnTo>
                    <a:pt x="185" y="9"/>
                  </a:lnTo>
                  <a:lnTo>
                    <a:pt x="188" y="9"/>
                  </a:lnTo>
                  <a:lnTo>
                    <a:pt x="190" y="9"/>
                  </a:lnTo>
                  <a:lnTo>
                    <a:pt x="192" y="9"/>
                  </a:lnTo>
                  <a:lnTo>
                    <a:pt x="192" y="7"/>
                  </a:lnTo>
                  <a:lnTo>
                    <a:pt x="195" y="7"/>
                  </a:lnTo>
                  <a:lnTo>
                    <a:pt x="195" y="9"/>
                  </a:lnTo>
                  <a:lnTo>
                    <a:pt x="195" y="7"/>
                  </a:lnTo>
                  <a:lnTo>
                    <a:pt x="197" y="7"/>
                  </a:lnTo>
                  <a:lnTo>
                    <a:pt x="197" y="9"/>
                  </a:lnTo>
                  <a:lnTo>
                    <a:pt x="200" y="9"/>
                  </a:lnTo>
                  <a:lnTo>
                    <a:pt x="202" y="9"/>
                  </a:lnTo>
                  <a:lnTo>
                    <a:pt x="202" y="12"/>
                  </a:lnTo>
                  <a:lnTo>
                    <a:pt x="204" y="12"/>
                  </a:lnTo>
                  <a:lnTo>
                    <a:pt x="207" y="12"/>
                  </a:lnTo>
                  <a:lnTo>
                    <a:pt x="204" y="12"/>
                  </a:lnTo>
                  <a:lnTo>
                    <a:pt x="207" y="12"/>
                  </a:lnTo>
                  <a:lnTo>
                    <a:pt x="207" y="14"/>
                  </a:lnTo>
                  <a:lnTo>
                    <a:pt x="204" y="14"/>
                  </a:lnTo>
                  <a:lnTo>
                    <a:pt x="204" y="16"/>
                  </a:lnTo>
                  <a:lnTo>
                    <a:pt x="204" y="19"/>
                  </a:lnTo>
                  <a:lnTo>
                    <a:pt x="204" y="21"/>
                  </a:lnTo>
                  <a:lnTo>
                    <a:pt x="207" y="23"/>
                  </a:lnTo>
                  <a:lnTo>
                    <a:pt x="209" y="23"/>
                  </a:lnTo>
                  <a:lnTo>
                    <a:pt x="211" y="23"/>
                  </a:lnTo>
                  <a:lnTo>
                    <a:pt x="211" y="21"/>
                  </a:lnTo>
                  <a:lnTo>
                    <a:pt x="214" y="21"/>
                  </a:lnTo>
                  <a:lnTo>
                    <a:pt x="214" y="19"/>
                  </a:lnTo>
                  <a:lnTo>
                    <a:pt x="216" y="19"/>
                  </a:lnTo>
                  <a:lnTo>
                    <a:pt x="216" y="21"/>
                  </a:lnTo>
                  <a:lnTo>
                    <a:pt x="218" y="21"/>
                  </a:lnTo>
                  <a:lnTo>
                    <a:pt x="218" y="19"/>
                  </a:lnTo>
                  <a:lnTo>
                    <a:pt x="221" y="19"/>
                  </a:lnTo>
                  <a:lnTo>
                    <a:pt x="221" y="16"/>
                  </a:lnTo>
                  <a:lnTo>
                    <a:pt x="223" y="16"/>
                  </a:lnTo>
                  <a:lnTo>
                    <a:pt x="226" y="16"/>
                  </a:lnTo>
                  <a:lnTo>
                    <a:pt x="228" y="16"/>
                  </a:lnTo>
                  <a:lnTo>
                    <a:pt x="228" y="19"/>
                  </a:lnTo>
                  <a:lnTo>
                    <a:pt x="228" y="16"/>
                  </a:lnTo>
                  <a:lnTo>
                    <a:pt x="230" y="16"/>
                  </a:lnTo>
                  <a:lnTo>
                    <a:pt x="233" y="16"/>
                  </a:lnTo>
                  <a:lnTo>
                    <a:pt x="235" y="16"/>
                  </a:lnTo>
                  <a:lnTo>
                    <a:pt x="235" y="19"/>
                  </a:lnTo>
                  <a:lnTo>
                    <a:pt x="237" y="19"/>
                  </a:lnTo>
                  <a:lnTo>
                    <a:pt x="240" y="19"/>
                  </a:lnTo>
                  <a:lnTo>
                    <a:pt x="242" y="19"/>
                  </a:lnTo>
                  <a:lnTo>
                    <a:pt x="240" y="21"/>
                  </a:lnTo>
                  <a:lnTo>
                    <a:pt x="242" y="21"/>
                  </a:lnTo>
                  <a:lnTo>
                    <a:pt x="245" y="21"/>
                  </a:lnTo>
                  <a:lnTo>
                    <a:pt x="245" y="23"/>
                  </a:lnTo>
                  <a:lnTo>
                    <a:pt x="245" y="26"/>
                  </a:lnTo>
                  <a:lnTo>
                    <a:pt x="247" y="26"/>
                  </a:lnTo>
                  <a:lnTo>
                    <a:pt x="247" y="28"/>
                  </a:lnTo>
                  <a:lnTo>
                    <a:pt x="247" y="26"/>
                  </a:lnTo>
                  <a:lnTo>
                    <a:pt x="249" y="26"/>
                  </a:lnTo>
                  <a:lnTo>
                    <a:pt x="249" y="28"/>
                  </a:lnTo>
                  <a:lnTo>
                    <a:pt x="249" y="31"/>
                  </a:lnTo>
                  <a:lnTo>
                    <a:pt x="252" y="31"/>
                  </a:lnTo>
                  <a:lnTo>
                    <a:pt x="252" y="28"/>
                  </a:lnTo>
                  <a:lnTo>
                    <a:pt x="254" y="28"/>
                  </a:lnTo>
                  <a:lnTo>
                    <a:pt x="256" y="31"/>
                  </a:lnTo>
                  <a:lnTo>
                    <a:pt x="254" y="31"/>
                  </a:lnTo>
                  <a:lnTo>
                    <a:pt x="256" y="31"/>
                  </a:lnTo>
                  <a:lnTo>
                    <a:pt x="256" y="33"/>
                  </a:lnTo>
                  <a:lnTo>
                    <a:pt x="254" y="33"/>
                  </a:lnTo>
                  <a:lnTo>
                    <a:pt x="256" y="33"/>
                  </a:lnTo>
                  <a:lnTo>
                    <a:pt x="256" y="35"/>
                  </a:lnTo>
                  <a:lnTo>
                    <a:pt x="254" y="35"/>
                  </a:lnTo>
                  <a:lnTo>
                    <a:pt x="254" y="38"/>
                  </a:lnTo>
                  <a:lnTo>
                    <a:pt x="254" y="40"/>
                  </a:lnTo>
                  <a:lnTo>
                    <a:pt x="254" y="42"/>
                  </a:lnTo>
                  <a:lnTo>
                    <a:pt x="252" y="42"/>
                  </a:lnTo>
                  <a:lnTo>
                    <a:pt x="252" y="45"/>
                  </a:lnTo>
                  <a:lnTo>
                    <a:pt x="254" y="47"/>
                  </a:lnTo>
                  <a:lnTo>
                    <a:pt x="254" y="50"/>
                  </a:lnTo>
                  <a:lnTo>
                    <a:pt x="256" y="50"/>
                  </a:lnTo>
                  <a:lnTo>
                    <a:pt x="256" y="52"/>
                  </a:lnTo>
                  <a:lnTo>
                    <a:pt x="259" y="52"/>
                  </a:lnTo>
                  <a:lnTo>
                    <a:pt x="259" y="54"/>
                  </a:lnTo>
                  <a:lnTo>
                    <a:pt x="256" y="54"/>
                  </a:lnTo>
                  <a:lnTo>
                    <a:pt x="256" y="57"/>
                  </a:lnTo>
                  <a:lnTo>
                    <a:pt x="259" y="57"/>
                  </a:lnTo>
                  <a:lnTo>
                    <a:pt x="256" y="59"/>
                  </a:lnTo>
                  <a:lnTo>
                    <a:pt x="254" y="59"/>
                  </a:lnTo>
                  <a:lnTo>
                    <a:pt x="256" y="59"/>
                  </a:lnTo>
                  <a:lnTo>
                    <a:pt x="256" y="61"/>
                  </a:lnTo>
                  <a:lnTo>
                    <a:pt x="254" y="61"/>
                  </a:lnTo>
                  <a:lnTo>
                    <a:pt x="252" y="61"/>
                  </a:lnTo>
                  <a:lnTo>
                    <a:pt x="252" y="64"/>
                  </a:lnTo>
                  <a:lnTo>
                    <a:pt x="252" y="66"/>
                  </a:lnTo>
                  <a:lnTo>
                    <a:pt x="249" y="66"/>
                  </a:lnTo>
                  <a:lnTo>
                    <a:pt x="249" y="69"/>
                  </a:lnTo>
                  <a:lnTo>
                    <a:pt x="249" y="71"/>
                  </a:lnTo>
                  <a:lnTo>
                    <a:pt x="252" y="71"/>
                  </a:lnTo>
                  <a:lnTo>
                    <a:pt x="254" y="71"/>
                  </a:lnTo>
                  <a:lnTo>
                    <a:pt x="254" y="73"/>
                  </a:lnTo>
                  <a:lnTo>
                    <a:pt x="256" y="73"/>
                  </a:lnTo>
                  <a:lnTo>
                    <a:pt x="256" y="76"/>
                  </a:lnTo>
                  <a:lnTo>
                    <a:pt x="256" y="73"/>
                  </a:lnTo>
                  <a:lnTo>
                    <a:pt x="259" y="73"/>
                  </a:lnTo>
                  <a:lnTo>
                    <a:pt x="256" y="76"/>
                  </a:lnTo>
                  <a:lnTo>
                    <a:pt x="259" y="76"/>
                  </a:lnTo>
                  <a:lnTo>
                    <a:pt x="261" y="76"/>
                  </a:lnTo>
                  <a:lnTo>
                    <a:pt x="261" y="78"/>
                  </a:lnTo>
                  <a:lnTo>
                    <a:pt x="261" y="76"/>
                  </a:lnTo>
                  <a:lnTo>
                    <a:pt x="264" y="76"/>
                  </a:lnTo>
                  <a:lnTo>
                    <a:pt x="264" y="78"/>
                  </a:lnTo>
                  <a:lnTo>
                    <a:pt x="264" y="80"/>
                  </a:lnTo>
                  <a:lnTo>
                    <a:pt x="261" y="80"/>
                  </a:lnTo>
                  <a:lnTo>
                    <a:pt x="261" y="83"/>
                  </a:lnTo>
                  <a:lnTo>
                    <a:pt x="261" y="85"/>
                  </a:lnTo>
                  <a:lnTo>
                    <a:pt x="264" y="88"/>
                  </a:lnTo>
                  <a:lnTo>
                    <a:pt x="264" y="85"/>
                  </a:lnTo>
                  <a:lnTo>
                    <a:pt x="264" y="88"/>
                  </a:lnTo>
                  <a:lnTo>
                    <a:pt x="266" y="88"/>
                  </a:lnTo>
                  <a:lnTo>
                    <a:pt x="266" y="90"/>
                  </a:lnTo>
                  <a:lnTo>
                    <a:pt x="266" y="92"/>
                  </a:lnTo>
                  <a:lnTo>
                    <a:pt x="268" y="92"/>
                  </a:lnTo>
                  <a:lnTo>
                    <a:pt x="266" y="95"/>
                  </a:lnTo>
                  <a:lnTo>
                    <a:pt x="268" y="95"/>
                  </a:lnTo>
                  <a:lnTo>
                    <a:pt x="268" y="97"/>
                  </a:lnTo>
                  <a:lnTo>
                    <a:pt x="268" y="99"/>
                  </a:lnTo>
                  <a:lnTo>
                    <a:pt x="268" y="97"/>
                  </a:lnTo>
                  <a:lnTo>
                    <a:pt x="271" y="97"/>
                  </a:lnTo>
                  <a:lnTo>
                    <a:pt x="271" y="99"/>
                  </a:lnTo>
                  <a:lnTo>
                    <a:pt x="273" y="99"/>
                  </a:lnTo>
                  <a:lnTo>
                    <a:pt x="273" y="102"/>
                  </a:lnTo>
                  <a:lnTo>
                    <a:pt x="275" y="102"/>
                  </a:lnTo>
                  <a:lnTo>
                    <a:pt x="275" y="104"/>
                  </a:lnTo>
                  <a:lnTo>
                    <a:pt x="278" y="104"/>
                  </a:lnTo>
                  <a:lnTo>
                    <a:pt x="280" y="104"/>
                  </a:lnTo>
                  <a:lnTo>
                    <a:pt x="283" y="104"/>
                  </a:lnTo>
                  <a:lnTo>
                    <a:pt x="283" y="107"/>
                  </a:lnTo>
                  <a:lnTo>
                    <a:pt x="285" y="107"/>
                  </a:lnTo>
                  <a:lnTo>
                    <a:pt x="287" y="107"/>
                  </a:lnTo>
                  <a:lnTo>
                    <a:pt x="287" y="109"/>
                  </a:lnTo>
                  <a:lnTo>
                    <a:pt x="285" y="109"/>
                  </a:lnTo>
                  <a:lnTo>
                    <a:pt x="285" y="111"/>
                  </a:lnTo>
                  <a:lnTo>
                    <a:pt x="287" y="111"/>
                  </a:lnTo>
                  <a:lnTo>
                    <a:pt x="285" y="111"/>
                  </a:lnTo>
                  <a:lnTo>
                    <a:pt x="285" y="114"/>
                  </a:lnTo>
                  <a:lnTo>
                    <a:pt x="285" y="116"/>
                  </a:lnTo>
                  <a:lnTo>
                    <a:pt x="285" y="118"/>
                  </a:lnTo>
                  <a:lnTo>
                    <a:pt x="283" y="118"/>
                  </a:lnTo>
                  <a:lnTo>
                    <a:pt x="283" y="121"/>
                  </a:lnTo>
                  <a:lnTo>
                    <a:pt x="285" y="121"/>
                  </a:lnTo>
                  <a:lnTo>
                    <a:pt x="287" y="121"/>
                  </a:lnTo>
                  <a:lnTo>
                    <a:pt x="290" y="121"/>
                  </a:lnTo>
                  <a:lnTo>
                    <a:pt x="292" y="121"/>
                  </a:lnTo>
                  <a:lnTo>
                    <a:pt x="294" y="121"/>
                  </a:lnTo>
                  <a:lnTo>
                    <a:pt x="294" y="118"/>
                  </a:lnTo>
                  <a:lnTo>
                    <a:pt x="294" y="121"/>
                  </a:lnTo>
                  <a:lnTo>
                    <a:pt x="297" y="121"/>
                  </a:lnTo>
                  <a:lnTo>
                    <a:pt x="297" y="123"/>
                  </a:lnTo>
                  <a:lnTo>
                    <a:pt x="299" y="123"/>
                  </a:lnTo>
                  <a:lnTo>
                    <a:pt x="299" y="121"/>
                  </a:lnTo>
                  <a:lnTo>
                    <a:pt x="299" y="123"/>
                  </a:lnTo>
                  <a:lnTo>
                    <a:pt x="302" y="123"/>
                  </a:lnTo>
                  <a:lnTo>
                    <a:pt x="302" y="126"/>
                  </a:lnTo>
                  <a:lnTo>
                    <a:pt x="302" y="123"/>
                  </a:lnTo>
                  <a:lnTo>
                    <a:pt x="304" y="123"/>
                  </a:lnTo>
                  <a:lnTo>
                    <a:pt x="306" y="123"/>
                  </a:lnTo>
                  <a:lnTo>
                    <a:pt x="306" y="126"/>
                  </a:lnTo>
                  <a:lnTo>
                    <a:pt x="306" y="128"/>
                  </a:lnTo>
                  <a:lnTo>
                    <a:pt x="304" y="128"/>
                  </a:lnTo>
                  <a:lnTo>
                    <a:pt x="304" y="130"/>
                  </a:lnTo>
                  <a:lnTo>
                    <a:pt x="306" y="133"/>
                  </a:lnTo>
                  <a:lnTo>
                    <a:pt x="309" y="133"/>
                  </a:lnTo>
                  <a:lnTo>
                    <a:pt x="309" y="135"/>
                  </a:lnTo>
                  <a:lnTo>
                    <a:pt x="311" y="135"/>
                  </a:lnTo>
                  <a:lnTo>
                    <a:pt x="311" y="137"/>
                  </a:lnTo>
                  <a:lnTo>
                    <a:pt x="311" y="135"/>
                  </a:lnTo>
                  <a:lnTo>
                    <a:pt x="311" y="137"/>
                  </a:lnTo>
                  <a:lnTo>
                    <a:pt x="313" y="137"/>
                  </a:lnTo>
                  <a:lnTo>
                    <a:pt x="316" y="137"/>
                  </a:lnTo>
                  <a:lnTo>
                    <a:pt x="316" y="140"/>
                  </a:lnTo>
                  <a:lnTo>
                    <a:pt x="313" y="142"/>
                  </a:lnTo>
                  <a:lnTo>
                    <a:pt x="316" y="142"/>
                  </a:lnTo>
                  <a:lnTo>
                    <a:pt x="316" y="145"/>
                  </a:lnTo>
                  <a:lnTo>
                    <a:pt x="313" y="145"/>
                  </a:lnTo>
                  <a:lnTo>
                    <a:pt x="311" y="145"/>
                  </a:lnTo>
                  <a:lnTo>
                    <a:pt x="309" y="145"/>
                  </a:lnTo>
                  <a:lnTo>
                    <a:pt x="309" y="147"/>
                  </a:lnTo>
                  <a:lnTo>
                    <a:pt x="309" y="145"/>
                  </a:lnTo>
                  <a:lnTo>
                    <a:pt x="306" y="145"/>
                  </a:lnTo>
                  <a:lnTo>
                    <a:pt x="306" y="147"/>
                  </a:lnTo>
                  <a:lnTo>
                    <a:pt x="304" y="149"/>
                  </a:lnTo>
                  <a:lnTo>
                    <a:pt x="304" y="152"/>
                  </a:lnTo>
                  <a:lnTo>
                    <a:pt x="302" y="152"/>
                  </a:lnTo>
                  <a:lnTo>
                    <a:pt x="302" y="154"/>
                  </a:lnTo>
                  <a:lnTo>
                    <a:pt x="299" y="154"/>
                  </a:lnTo>
                  <a:lnTo>
                    <a:pt x="297" y="156"/>
                  </a:lnTo>
                  <a:lnTo>
                    <a:pt x="297" y="154"/>
                  </a:lnTo>
                  <a:lnTo>
                    <a:pt x="297" y="156"/>
                  </a:lnTo>
                  <a:lnTo>
                    <a:pt x="294" y="156"/>
                  </a:lnTo>
                  <a:lnTo>
                    <a:pt x="292" y="156"/>
                  </a:lnTo>
                  <a:lnTo>
                    <a:pt x="290" y="156"/>
                  </a:lnTo>
                  <a:lnTo>
                    <a:pt x="287" y="156"/>
                  </a:lnTo>
                  <a:lnTo>
                    <a:pt x="287" y="154"/>
                  </a:lnTo>
                  <a:lnTo>
                    <a:pt x="285" y="154"/>
                  </a:lnTo>
                  <a:lnTo>
                    <a:pt x="283" y="152"/>
                  </a:lnTo>
                  <a:lnTo>
                    <a:pt x="280" y="152"/>
                  </a:lnTo>
                  <a:lnTo>
                    <a:pt x="280" y="149"/>
                  </a:lnTo>
                  <a:lnTo>
                    <a:pt x="278" y="149"/>
                  </a:lnTo>
                  <a:lnTo>
                    <a:pt x="275" y="152"/>
                  </a:lnTo>
                  <a:lnTo>
                    <a:pt x="273" y="149"/>
                  </a:lnTo>
                  <a:lnTo>
                    <a:pt x="271" y="149"/>
                  </a:lnTo>
                  <a:lnTo>
                    <a:pt x="271" y="152"/>
                  </a:lnTo>
                  <a:lnTo>
                    <a:pt x="268" y="154"/>
                  </a:lnTo>
                  <a:lnTo>
                    <a:pt x="271" y="154"/>
                  </a:lnTo>
                  <a:lnTo>
                    <a:pt x="271" y="156"/>
                  </a:lnTo>
                  <a:lnTo>
                    <a:pt x="268" y="156"/>
                  </a:lnTo>
                  <a:lnTo>
                    <a:pt x="268" y="159"/>
                  </a:lnTo>
                  <a:lnTo>
                    <a:pt x="266" y="159"/>
                  </a:lnTo>
                  <a:lnTo>
                    <a:pt x="268" y="161"/>
                  </a:lnTo>
                  <a:lnTo>
                    <a:pt x="271" y="161"/>
                  </a:lnTo>
                  <a:lnTo>
                    <a:pt x="271" y="164"/>
                  </a:lnTo>
                  <a:lnTo>
                    <a:pt x="271" y="166"/>
                  </a:lnTo>
                  <a:lnTo>
                    <a:pt x="273" y="166"/>
                  </a:lnTo>
                  <a:lnTo>
                    <a:pt x="273" y="168"/>
                  </a:lnTo>
                  <a:lnTo>
                    <a:pt x="275" y="168"/>
                  </a:lnTo>
                  <a:lnTo>
                    <a:pt x="275" y="171"/>
                  </a:lnTo>
                  <a:lnTo>
                    <a:pt x="278" y="171"/>
                  </a:lnTo>
                  <a:lnTo>
                    <a:pt x="278" y="173"/>
                  </a:lnTo>
                  <a:lnTo>
                    <a:pt x="275" y="173"/>
                  </a:lnTo>
                  <a:lnTo>
                    <a:pt x="275" y="175"/>
                  </a:lnTo>
                  <a:lnTo>
                    <a:pt x="273" y="175"/>
                  </a:lnTo>
                  <a:lnTo>
                    <a:pt x="275" y="178"/>
                  </a:lnTo>
                  <a:lnTo>
                    <a:pt x="275" y="180"/>
                  </a:lnTo>
                  <a:lnTo>
                    <a:pt x="278" y="180"/>
                  </a:lnTo>
                  <a:lnTo>
                    <a:pt x="278" y="183"/>
                  </a:lnTo>
                  <a:lnTo>
                    <a:pt x="280" y="183"/>
                  </a:lnTo>
                  <a:lnTo>
                    <a:pt x="278" y="183"/>
                  </a:lnTo>
                  <a:lnTo>
                    <a:pt x="278" y="185"/>
                  </a:lnTo>
                  <a:lnTo>
                    <a:pt x="275" y="185"/>
                  </a:lnTo>
                  <a:lnTo>
                    <a:pt x="278" y="185"/>
                  </a:lnTo>
                  <a:lnTo>
                    <a:pt x="275" y="185"/>
                  </a:lnTo>
                  <a:lnTo>
                    <a:pt x="275" y="187"/>
                  </a:lnTo>
                  <a:lnTo>
                    <a:pt x="278" y="187"/>
                  </a:lnTo>
                  <a:lnTo>
                    <a:pt x="278" y="190"/>
                  </a:lnTo>
                  <a:lnTo>
                    <a:pt x="278" y="192"/>
                  </a:lnTo>
                  <a:lnTo>
                    <a:pt x="278" y="194"/>
                  </a:lnTo>
                  <a:lnTo>
                    <a:pt x="278" y="197"/>
                  </a:lnTo>
                  <a:lnTo>
                    <a:pt x="280" y="197"/>
                  </a:lnTo>
                  <a:lnTo>
                    <a:pt x="280" y="199"/>
                  </a:lnTo>
                  <a:lnTo>
                    <a:pt x="280" y="202"/>
                  </a:lnTo>
                  <a:lnTo>
                    <a:pt x="283" y="202"/>
                  </a:lnTo>
                  <a:lnTo>
                    <a:pt x="283" y="204"/>
                  </a:lnTo>
                  <a:lnTo>
                    <a:pt x="280" y="204"/>
                  </a:lnTo>
                  <a:lnTo>
                    <a:pt x="278" y="204"/>
                  </a:lnTo>
                  <a:lnTo>
                    <a:pt x="275" y="204"/>
                  </a:lnTo>
                  <a:lnTo>
                    <a:pt x="273" y="204"/>
                  </a:lnTo>
                  <a:lnTo>
                    <a:pt x="271" y="204"/>
                  </a:lnTo>
                  <a:lnTo>
                    <a:pt x="268" y="204"/>
                  </a:lnTo>
                  <a:lnTo>
                    <a:pt x="268" y="206"/>
                  </a:lnTo>
                  <a:lnTo>
                    <a:pt x="266" y="206"/>
                  </a:lnTo>
                  <a:lnTo>
                    <a:pt x="266" y="209"/>
                  </a:lnTo>
                  <a:lnTo>
                    <a:pt x="264" y="206"/>
                  </a:lnTo>
                  <a:lnTo>
                    <a:pt x="261" y="206"/>
                  </a:lnTo>
                  <a:lnTo>
                    <a:pt x="261" y="204"/>
                  </a:lnTo>
                  <a:lnTo>
                    <a:pt x="261" y="206"/>
                  </a:lnTo>
                  <a:lnTo>
                    <a:pt x="259" y="206"/>
                  </a:lnTo>
                  <a:lnTo>
                    <a:pt x="256" y="206"/>
                  </a:lnTo>
                  <a:lnTo>
                    <a:pt x="254" y="206"/>
                  </a:lnTo>
                  <a:lnTo>
                    <a:pt x="256" y="206"/>
                  </a:lnTo>
                  <a:lnTo>
                    <a:pt x="256" y="209"/>
                  </a:lnTo>
                  <a:lnTo>
                    <a:pt x="254" y="209"/>
                  </a:lnTo>
                  <a:lnTo>
                    <a:pt x="256" y="209"/>
                  </a:lnTo>
                  <a:lnTo>
                    <a:pt x="254" y="209"/>
                  </a:lnTo>
                  <a:lnTo>
                    <a:pt x="254" y="211"/>
                  </a:lnTo>
                  <a:lnTo>
                    <a:pt x="252" y="211"/>
                  </a:lnTo>
                  <a:lnTo>
                    <a:pt x="252" y="213"/>
                  </a:lnTo>
                  <a:lnTo>
                    <a:pt x="249" y="216"/>
                  </a:lnTo>
                  <a:lnTo>
                    <a:pt x="249" y="213"/>
                  </a:lnTo>
                  <a:lnTo>
                    <a:pt x="249" y="216"/>
                  </a:lnTo>
                  <a:lnTo>
                    <a:pt x="247" y="216"/>
                  </a:lnTo>
                  <a:lnTo>
                    <a:pt x="247" y="218"/>
                  </a:lnTo>
                  <a:lnTo>
                    <a:pt x="247" y="221"/>
                  </a:lnTo>
                  <a:lnTo>
                    <a:pt x="245" y="221"/>
                  </a:lnTo>
                  <a:lnTo>
                    <a:pt x="245" y="223"/>
                  </a:lnTo>
                  <a:lnTo>
                    <a:pt x="245" y="225"/>
                  </a:lnTo>
                  <a:lnTo>
                    <a:pt x="245" y="223"/>
                  </a:lnTo>
                  <a:lnTo>
                    <a:pt x="242" y="223"/>
                  </a:lnTo>
                  <a:lnTo>
                    <a:pt x="242" y="225"/>
                  </a:lnTo>
                  <a:lnTo>
                    <a:pt x="242" y="228"/>
                  </a:lnTo>
                  <a:lnTo>
                    <a:pt x="242" y="225"/>
                  </a:lnTo>
                  <a:lnTo>
                    <a:pt x="242" y="228"/>
                  </a:lnTo>
                  <a:lnTo>
                    <a:pt x="242" y="230"/>
                  </a:lnTo>
                  <a:lnTo>
                    <a:pt x="240" y="230"/>
                  </a:lnTo>
                  <a:lnTo>
                    <a:pt x="242" y="230"/>
                  </a:lnTo>
                  <a:lnTo>
                    <a:pt x="242" y="232"/>
                  </a:lnTo>
                  <a:lnTo>
                    <a:pt x="245" y="232"/>
                  </a:lnTo>
                  <a:lnTo>
                    <a:pt x="242" y="232"/>
                  </a:lnTo>
                  <a:lnTo>
                    <a:pt x="242" y="235"/>
                  </a:lnTo>
                  <a:lnTo>
                    <a:pt x="245" y="235"/>
                  </a:lnTo>
                  <a:lnTo>
                    <a:pt x="245" y="237"/>
                  </a:lnTo>
                  <a:lnTo>
                    <a:pt x="242" y="237"/>
                  </a:lnTo>
                  <a:lnTo>
                    <a:pt x="245" y="237"/>
                  </a:lnTo>
                  <a:lnTo>
                    <a:pt x="245" y="240"/>
                  </a:lnTo>
                  <a:lnTo>
                    <a:pt x="247" y="240"/>
                  </a:lnTo>
                  <a:lnTo>
                    <a:pt x="245" y="242"/>
                  </a:lnTo>
                  <a:lnTo>
                    <a:pt x="245" y="244"/>
                  </a:lnTo>
                  <a:lnTo>
                    <a:pt x="242" y="247"/>
                  </a:lnTo>
                  <a:lnTo>
                    <a:pt x="240" y="244"/>
                  </a:lnTo>
                  <a:lnTo>
                    <a:pt x="240" y="247"/>
                  </a:lnTo>
                  <a:lnTo>
                    <a:pt x="240" y="244"/>
                  </a:lnTo>
                  <a:lnTo>
                    <a:pt x="237" y="244"/>
                  </a:lnTo>
                  <a:lnTo>
                    <a:pt x="237" y="242"/>
                  </a:lnTo>
                  <a:lnTo>
                    <a:pt x="235" y="242"/>
                  </a:lnTo>
                  <a:lnTo>
                    <a:pt x="235" y="240"/>
                  </a:lnTo>
                  <a:lnTo>
                    <a:pt x="235" y="237"/>
                  </a:lnTo>
                  <a:lnTo>
                    <a:pt x="233" y="237"/>
                  </a:lnTo>
                  <a:lnTo>
                    <a:pt x="233" y="235"/>
                  </a:lnTo>
                  <a:lnTo>
                    <a:pt x="230" y="235"/>
                  </a:lnTo>
                  <a:lnTo>
                    <a:pt x="228" y="235"/>
                  </a:lnTo>
                  <a:lnTo>
                    <a:pt x="226" y="235"/>
                  </a:lnTo>
                  <a:lnTo>
                    <a:pt x="223" y="235"/>
                  </a:lnTo>
                  <a:lnTo>
                    <a:pt x="221" y="235"/>
                  </a:lnTo>
                  <a:lnTo>
                    <a:pt x="221" y="237"/>
                  </a:lnTo>
                  <a:lnTo>
                    <a:pt x="218" y="237"/>
                  </a:lnTo>
                  <a:lnTo>
                    <a:pt x="216" y="237"/>
                  </a:lnTo>
                  <a:lnTo>
                    <a:pt x="216" y="235"/>
                  </a:lnTo>
                  <a:lnTo>
                    <a:pt x="216" y="232"/>
                  </a:lnTo>
                  <a:lnTo>
                    <a:pt x="214" y="232"/>
                  </a:lnTo>
                  <a:lnTo>
                    <a:pt x="214" y="235"/>
                  </a:lnTo>
                  <a:lnTo>
                    <a:pt x="211" y="235"/>
                  </a:lnTo>
                  <a:lnTo>
                    <a:pt x="211" y="237"/>
                  </a:lnTo>
                  <a:lnTo>
                    <a:pt x="209" y="237"/>
                  </a:lnTo>
                  <a:lnTo>
                    <a:pt x="209" y="235"/>
                  </a:lnTo>
                  <a:lnTo>
                    <a:pt x="209" y="237"/>
                  </a:lnTo>
                  <a:lnTo>
                    <a:pt x="209" y="240"/>
                  </a:lnTo>
                  <a:lnTo>
                    <a:pt x="207" y="240"/>
                  </a:lnTo>
                  <a:lnTo>
                    <a:pt x="204" y="240"/>
                  </a:lnTo>
                  <a:lnTo>
                    <a:pt x="202" y="240"/>
                  </a:lnTo>
                  <a:lnTo>
                    <a:pt x="202" y="237"/>
                  </a:lnTo>
                  <a:lnTo>
                    <a:pt x="200" y="237"/>
                  </a:lnTo>
                  <a:lnTo>
                    <a:pt x="200" y="235"/>
                  </a:lnTo>
                  <a:lnTo>
                    <a:pt x="200" y="232"/>
                  </a:lnTo>
                  <a:lnTo>
                    <a:pt x="200" y="230"/>
                  </a:lnTo>
                  <a:lnTo>
                    <a:pt x="197" y="230"/>
                  </a:lnTo>
                  <a:lnTo>
                    <a:pt x="197" y="228"/>
                  </a:lnTo>
                  <a:lnTo>
                    <a:pt x="195" y="228"/>
                  </a:lnTo>
                  <a:lnTo>
                    <a:pt x="192" y="228"/>
                  </a:lnTo>
                  <a:lnTo>
                    <a:pt x="192" y="230"/>
                  </a:lnTo>
                  <a:lnTo>
                    <a:pt x="190" y="230"/>
                  </a:lnTo>
                  <a:lnTo>
                    <a:pt x="188" y="230"/>
                  </a:lnTo>
                  <a:lnTo>
                    <a:pt x="185" y="232"/>
                  </a:lnTo>
                  <a:lnTo>
                    <a:pt x="183" y="235"/>
                  </a:lnTo>
                  <a:lnTo>
                    <a:pt x="183" y="237"/>
                  </a:lnTo>
                  <a:lnTo>
                    <a:pt x="183" y="240"/>
                  </a:lnTo>
                  <a:lnTo>
                    <a:pt x="183" y="237"/>
                  </a:lnTo>
                  <a:lnTo>
                    <a:pt x="181" y="237"/>
                  </a:lnTo>
                  <a:lnTo>
                    <a:pt x="181" y="235"/>
                  </a:lnTo>
                  <a:lnTo>
                    <a:pt x="181" y="232"/>
                  </a:lnTo>
                  <a:lnTo>
                    <a:pt x="178" y="232"/>
                  </a:lnTo>
                  <a:lnTo>
                    <a:pt x="181" y="230"/>
                  </a:lnTo>
                  <a:lnTo>
                    <a:pt x="176" y="230"/>
                  </a:lnTo>
                  <a:lnTo>
                    <a:pt x="173" y="230"/>
                  </a:lnTo>
                  <a:lnTo>
                    <a:pt x="171" y="232"/>
                  </a:lnTo>
                  <a:lnTo>
                    <a:pt x="169" y="230"/>
                  </a:lnTo>
                  <a:lnTo>
                    <a:pt x="169" y="228"/>
                  </a:lnTo>
                  <a:lnTo>
                    <a:pt x="166" y="228"/>
                  </a:lnTo>
                  <a:lnTo>
                    <a:pt x="166" y="225"/>
                  </a:lnTo>
                  <a:lnTo>
                    <a:pt x="166" y="228"/>
                  </a:lnTo>
                  <a:lnTo>
                    <a:pt x="164" y="228"/>
                  </a:lnTo>
                  <a:lnTo>
                    <a:pt x="164" y="230"/>
                  </a:lnTo>
                  <a:lnTo>
                    <a:pt x="162" y="230"/>
                  </a:lnTo>
                  <a:lnTo>
                    <a:pt x="159" y="230"/>
                  </a:lnTo>
                  <a:lnTo>
                    <a:pt x="157" y="232"/>
                  </a:lnTo>
                  <a:lnTo>
                    <a:pt x="157" y="230"/>
                  </a:lnTo>
                  <a:lnTo>
                    <a:pt x="154" y="228"/>
                  </a:lnTo>
                  <a:lnTo>
                    <a:pt x="152" y="228"/>
                  </a:lnTo>
                  <a:lnTo>
                    <a:pt x="152" y="230"/>
                  </a:lnTo>
                  <a:lnTo>
                    <a:pt x="152" y="232"/>
                  </a:lnTo>
                  <a:lnTo>
                    <a:pt x="154" y="232"/>
                  </a:lnTo>
                  <a:lnTo>
                    <a:pt x="152" y="232"/>
                  </a:lnTo>
                  <a:lnTo>
                    <a:pt x="152" y="235"/>
                  </a:lnTo>
                  <a:lnTo>
                    <a:pt x="150" y="235"/>
                  </a:lnTo>
                  <a:lnTo>
                    <a:pt x="147" y="235"/>
                  </a:lnTo>
                  <a:lnTo>
                    <a:pt x="147" y="232"/>
                  </a:lnTo>
                  <a:lnTo>
                    <a:pt x="150" y="232"/>
                  </a:lnTo>
                  <a:lnTo>
                    <a:pt x="150" y="230"/>
                  </a:lnTo>
                  <a:lnTo>
                    <a:pt x="147" y="230"/>
                  </a:lnTo>
                  <a:lnTo>
                    <a:pt x="145" y="230"/>
                  </a:lnTo>
                  <a:lnTo>
                    <a:pt x="145" y="228"/>
                  </a:lnTo>
                  <a:lnTo>
                    <a:pt x="143" y="228"/>
                  </a:lnTo>
                  <a:lnTo>
                    <a:pt x="143" y="230"/>
                  </a:lnTo>
                  <a:lnTo>
                    <a:pt x="140" y="230"/>
                  </a:lnTo>
                  <a:lnTo>
                    <a:pt x="143" y="230"/>
                  </a:lnTo>
                  <a:lnTo>
                    <a:pt x="140" y="230"/>
                  </a:lnTo>
                  <a:lnTo>
                    <a:pt x="140" y="228"/>
                  </a:lnTo>
                  <a:lnTo>
                    <a:pt x="140" y="230"/>
                  </a:lnTo>
                  <a:lnTo>
                    <a:pt x="138" y="230"/>
                  </a:lnTo>
                  <a:lnTo>
                    <a:pt x="138" y="228"/>
                  </a:lnTo>
                  <a:lnTo>
                    <a:pt x="135" y="230"/>
                  </a:lnTo>
                  <a:lnTo>
                    <a:pt x="133" y="230"/>
                  </a:lnTo>
                  <a:lnTo>
                    <a:pt x="133" y="228"/>
                  </a:lnTo>
                  <a:lnTo>
                    <a:pt x="135" y="228"/>
                  </a:lnTo>
                  <a:lnTo>
                    <a:pt x="133" y="228"/>
                  </a:lnTo>
                  <a:lnTo>
                    <a:pt x="133" y="225"/>
                  </a:lnTo>
                  <a:lnTo>
                    <a:pt x="133" y="223"/>
                  </a:lnTo>
                  <a:lnTo>
                    <a:pt x="133" y="221"/>
                  </a:lnTo>
                  <a:lnTo>
                    <a:pt x="128" y="221"/>
                  </a:lnTo>
                  <a:lnTo>
                    <a:pt x="126" y="221"/>
                  </a:lnTo>
                  <a:lnTo>
                    <a:pt x="124" y="223"/>
                  </a:lnTo>
                  <a:lnTo>
                    <a:pt x="121" y="223"/>
                  </a:lnTo>
                  <a:lnTo>
                    <a:pt x="121" y="221"/>
                  </a:lnTo>
                  <a:lnTo>
                    <a:pt x="119" y="221"/>
                  </a:lnTo>
                  <a:lnTo>
                    <a:pt x="119" y="223"/>
                  </a:lnTo>
                  <a:lnTo>
                    <a:pt x="119" y="221"/>
                  </a:lnTo>
                  <a:lnTo>
                    <a:pt x="116" y="221"/>
                  </a:lnTo>
                  <a:lnTo>
                    <a:pt x="116" y="218"/>
                  </a:lnTo>
                  <a:lnTo>
                    <a:pt x="114" y="218"/>
                  </a:lnTo>
                  <a:lnTo>
                    <a:pt x="112" y="218"/>
                  </a:lnTo>
                  <a:lnTo>
                    <a:pt x="112" y="221"/>
                  </a:lnTo>
                  <a:lnTo>
                    <a:pt x="109" y="221"/>
                  </a:lnTo>
                  <a:lnTo>
                    <a:pt x="107" y="221"/>
                  </a:lnTo>
                  <a:lnTo>
                    <a:pt x="107" y="218"/>
                  </a:lnTo>
                  <a:lnTo>
                    <a:pt x="105" y="218"/>
                  </a:lnTo>
                  <a:lnTo>
                    <a:pt x="105" y="216"/>
                  </a:lnTo>
                  <a:lnTo>
                    <a:pt x="102" y="216"/>
                  </a:lnTo>
                  <a:lnTo>
                    <a:pt x="100" y="216"/>
                  </a:lnTo>
                  <a:lnTo>
                    <a:pt x="97" y="216"/>
                  </a:lnTo>
                  <a:lnTo>
                    <a:pt x="95" y="216"/>
                  </a:lnTo>
                  <a:lnTo>
                    <a:pt x="95" y="213"/>
                  </a:lnTo>
                  <a:lnTo>
                    <a:pt x="93" y="213"/>
                  </a:lnTo>
                  <a:lnTo>
                    <a:pt x="90" y="213"/>
                  </a:lnTo>
                  <a:lnTo>
                    <a:pt x="88" y="213"/>
                  </a:lnTo>
                  <a:lnTo>
                    <a:pt x="86" y="213"/>
                  </a:lnTo>
                  <a:lnTo>
                    <a:pt x="83" y="213"/>
                  </a:lnTo>
                  <a:lnTo>
                    <a:pt x="81" y="213"/>
                  </a:lnTo>
                  <a:lnTo>
                    <a:pt x="79" y="213"/>
                  </a:lnTo>
                  <a:lnTo>
                    <a:pt x="76" y="213"/>
                  </a:lnTo>
                  <a:lnTo>
                    <a:pt x="74" y="213"/>
                  </a:lnTo>
                  <a:lnTo>
                    <a:pt x="71" y="213"/>
                  </a:lnTo>
                  <a:lnTo>
                    <a:pt x="69" y="213"/>
                  </a:lnTo>
                  <a:lnTo>
                    <a:pt x="69" y="211"/>
                  </a:lnTo>
                  <a:lnTo>
                    <a:pt x="67" y="211"/>
                  </a:lnTo>
                  <a:lnTo>
                    <a:pt x="64" y="211"/>
                  </a:lnTo>
                  <a:lnTo>
                    <a:pt x="64" y="213"/>
                  </a:lnTo>
                  <a:lnTo>
                    <a:pt x="62" y="211"/>
                  </a:lnTo>
                  <a:lnTo>
                    <a:pt x="62" y="213"/>
                  </a:lnTo>
                  <a:lnTo>
                    <a:pt x="60" y="213"/>
                  </a:lnTo>
                  <a:lnTo>
                    <a:pt x="57" y="213"/>
                  </a:lnTo>
                  <a:lnTo>
                    <a:pt x="60" y="213"/>
                  </a:lnTo>
                  <a:lnTo>
                    <a:pt x="57" y="216"/>
                  </a:lnTo>
                  <a:lnTo>
                    <a:pt x="57" y="213"/>
                  </a:lnTo>
                  <a:lnTo>
                    <a:pt x="55" y="216"/>
                  </a:lnTo>
                  <a:lnTo>
                    <a:pt x="55" y="213"/>
                  </a:lnTo>
                  <a:lnTo>
                    <a:pt x="52" y="213"/>
                  </a:lnTo>
                  <a:lnTo>
                    <a:pt x="52" y="216"/>
                  </a:lnTo>
                  <a:lnTo>
                    <a:pt x="50" y="216"/>
                  </a:lnTo>
                  <a:lnTo>
                    <a:pt x="48" y="216"/>
                  </a:lnTo>
                  <a:lnTo>
                    <a:pt x="45" y="216"/>
                  </a:lnTo>
                  <a:lnTo>
                    <a:pt x="43" y="216"/>
                  </a:lnTo>
                  <a:lnTo>
                    <a:pt x="38" y="216"/>
                  </a:lnTo>
                  <a:lnTo>
                    <a:pt x="38" y="218"/>
                  </a:lnTo>
                  <a:lnTo>
                    <a:pt x="36" y="218"/>
                  </a:lnTo>
                  <a:lnTo>
                    <a:pt x="36" y="221"/>
                  </a:lnTo>
                  <a:lnTo>
                    <a:pt x="36" y="223"/>
                  </a:lnTo>
                  <a:lnTo>
                    <a:pt x="31" y="225"/>
                  </a:lnTo>
                  <a:lnTo>
                    <a:pt x="29" y="228"/>
                  </a:lnTo>
                  <a:lnTo>
                    <a:pt x="26" y="230"/>
                  </a:lnTo>
                  <a:lnTo>
                    <a:pt x="24" y="230"/>
                  </a:lnTo>
                  <a:lnTo>
                    <a:pt x="22" y="230"/>
                  </a:lnTo>
                  <a:lnTo>
                    <a:pt x="24" y="228"/>
                  </a:lnTo>
                  <a:lnTo>
                    <a:pt x="22" y="228"/>
                  </a:lnTo>
                  <a:lnTo>
                    <a:pt x="19" y="228"/>
                  </a:lnTo>
                  <a:lnTo>
                    <a:pt x="19" y="225"/>
                  </a:lnTo>
                  <a:lnTo>
                    <a:pt x="19" y="228"/>
                  </a:lnTo>
                  <a:lnTo>
                    <a:pt x="17" y="228"/>
                  </a:lnTo>
                  <a:lnTo>
                    <a:pt x="14" y="228"/>
                  </a:lnTo>
                  <a:lnTo>
                    <a:pt x="14" y="230"/>
                  </a:lnTo>
                  <a:lnTo>
                    <a:pt x="14" y="232"/>
                  </a:lnTo>
                  <a:lnTo>
                    <a:pt x="14" y="235"/>
                  </a:lnTo>
                  <a:lnTo>
                    <a:pt x="14" y="232"/>
                  </a:lnTo>
                  <a:lnTo>
                    <a:pt x="12" y="232"/>
                  </a:lnTo>
                  <a:lnTo>
                    <a:pt x="12" y="230"/>
                  </a:lnTo>
                  <a:lnTo>
                    <a:pt x="12" y="228"/>
                  </a:lnTo>
                  <a:lnTo>
                    <a:pt x="12" y="225"/>
                  </a:lnTo>
                  <a:lnTo>
                    <a:pt x="12" y="223"/>
                  </a:lnTo>
                  <a:lnTo>
                    <a:pt x="10" y="223"/>
                  </a:lnTo>
                  <a:lnTo>
                    <a:pt x="12" y="223"/>
                  </a:lnTo>
                  <a:lnTo>
                    <a:pt x="12" y="221"/>
                  </a:lnTo>
                  <a:lnTo>
                    <a:pt x="12" y="223"/>
                  </a:lnTo>
                  <a:lnTo>
                    <a:pt x="12" y="221"/>
                  </a:lnTo>
                  <a:lnTo>
                    <a:pt x="14" y="221"/>
                  </a:lnTo>
                  <a:lnTo>
                    <a:pt x="14" y="218"/>
                  </a:lnTo>
                  <a:lnTo>
                    <a:pt x="12" y="218"/>
                  </a:lnTo>
                  <a:lnTo>
                    <a:pt x="14" y="218"/>
                  </a:lnTo>
                  <a:lnTo>
                    <a:pt x="12" y="218"/>
                  </a:lnTo>
                  <a:lnTo>
                    <a:pt x="14" y="218"/>
                  </a:lnTo>
                  <a:lnTo>
                    <a:pt x="14" y="216"/>
                  </a:lnTo>
                  <a:lnTo>
                    <a:pt x="14" y="213"/>
                  </a:lnTo>
                  <a:lnTo>
                    <a:pt x="14" y="211"/>
                  </a:lnTo>
                  <a:lnTo>
                    <a:pt x="17" y="211"/>
                  </a:lnTo>
                  <a:lnTo>
                    <a:pt x="17" y="209"/>
                  </a:lnTo>
                  <a:lnTo>
                    <a:pt x="14" y="209"/>
                  </a:lnTo>
                  <a:lnTo>
                    <a:pt x="14" y="206"/>
                  </a:lnTo>
                  <a:lnTo>
                    <a:pt x="14" y="204"/>
                  </a:lnTo>
                  <a:lnTo>
                    <a:pt x="12" y="204"/>
                  </a:lnTo>
                  <a:lnTo>
                    <a:pt x="10" y="204"/>
                  </a:lnTo>
                  <a:lnTo>
                    <a:pt x="10" y="202"/>
                  </a:lnTo>
                  <a:lnTo>
                    <a:pt x="7" y="202"/>
                  </a:lnTo>
                  <a:lnTo>
                    <a:pt x="7" y="199"/>
                  </a:lnTo>
                  <a:lnTo>
                    <a:pt x="5" y="199"/>
                  </a:lnTo>
                  <a:lnTo>
                    <a:pt x="3" y="199"/>
                  </a:lnTo>
                  <a:lnTo>
                    <a:pt x="0" y="199"/>
                  </a:lnTo>
                  <a:lnTo>
                    <a:pt x="0" y="197"/>
                  </a:lnTo>
                  <a:lnTo>
                    <a:pt x="0" y="194"/>
                  </a:lnTo>
                  <a:lnTo>
                    <a:pt x="0" y="192"/>
                  </a:lnTo>
                  <a:lnTo>
                    <a:pt x="3" y="190"/>
                  </a:lnTo>
                  <a:lnTo>
                    <a:pt x="5" y="190"/>
                  </a:lnTo>
                  <a:lnTo>
                    <a:pt x="5" y="187"/>
                  </a:lnTo>
                  <a:lnTo>
                    <a:pt x="7" y="185"/>
                  </a:lnTo>
                  <a:lnTo>
                    <a:pt x="7" y="183"/>
                  </a:lnTo>
                  <a:lnTo>
                    <a:pt x="10" y="183"/>
                  </a:lnTo>
                  <a:lnTo>
                    <a:pt x="12" y="180"/>
                  </a:lnTo>
                  <a:lnTo>
                    <a:pt x="14" y="180"/>
                  </a:lnTo>
                  <a:lnTo>
                    <a:pt x="17" y="180"/>
                  </a:lnTo>
                  <a:lnTo>
                    <a:pt x="19" y="178"/>
                  </a:lnTo>
                  <a:lnTo>
                    <a:pt x="22" y="175"/>
                  </a:lnTo>
                  <a:lnTo>
                    <a:pt x="24" y="175"/>
                  </a:lnTo>
                  <a:lnTo>
                    <a:pt x="24" y="171"/>
                  </a:lnTo>
                  <a:lnTo>
                    <a:pt x="24" y="168"/>
                  </a:lnTo>
                  <a:lnTo>
                    <a:pt x="24" y="166"/>
                  </a:lnTo>
                  <a:lnTo>
                    <a:pt x="24" y="164"/>
                  </a:lnTo>
                  <a:lnTo>
                    <a:pt x="24" y="161"/>
                  </a:lnTo>
                  <a:lnTo>
                    <a:pt x="24" y="159"/>
                  </a:lnTo>
                  <a:lnTo>
                    <a:pt x="24" y="156"/>
                  </a:lnTo>
                  <a:lnTo>
                    <a:pt x="22" y="156"/>
                  </a:lnTo>
                  <a:lnTo>
                    <a:pt x="22" y="154"/>
                  </a:lnTo>
                  <a:lnTo>
                    <a:pt x="24" y="154"/>
                  </a:lnTo>
                  <a:lnTo>
                    <a:pt x="24" y="152"/>
                  </a:lnTo>
                  <a:lnTo>
                    <a:pt x="22" y="152"/>
                  </a:lnTo>
                  <a:lnTo>
                    <a:pt x="22" y="149"/>
                  </a:lnTo>
                  <a:lnTo>
                    <a:pt x="19" y="145"/>
                  </a:lnTo>
                  <a:lnTo>
                    <a:pt x="17" y="140"/>
                  </a:lnTo>
                  <a:lnTo>
                    <a:pt x="17" y="137"/>
                  </a:lnTo>
                  <a:lnTo>
                    <a:pt x="14" y="135"/>
                  </a:lnTo>
                  <a:lnTo>
                    <a:pt x="14" y="133"/>
                  </a:lnTo>
                  <a:lnTo>
                    <a:pt x="14" y="130"/>
                  </a:lnTo>
                  <a:lnTo>
                    <a:pt x="12" y="126"/>
                  </a:lnTo>
                  <a:lnTo>
                    <a:pt x="12" y="123"/>
                  </a:lnTo>
                  <a:lnTo>
                    <a:pt x="12" y="121"/>
                  </a:lnTo>
                  <a:lnTo>
                    <a:pt x="12" y="118"/>
                  </a:lnTo>
                  <a:lnTo>
                    <a:pt x="10" y="118"/>
                  </a:lnTo>
                  <a:lnTo>
                    <a:pt x="10" y="116"/>
                  </a:lnTo>
                  <a:lnTo>
                    <a:pt x="10" y="114"/>
                  </a:lnTo>
                  <a:lnTo>
                    <a:pt x="10" y="111"/>
                  </a:lnTo>
                  <a:lnTo>
                    <a:pt x="10" y="114"/>
                  </a:lnTo>
                  <a:lnTo>
                    <a:pt x="12" y="114"/>
                  </a:lnTo>
                  <a:lnTo>
                    <a:pt x="14" y="114"/>
                  </a:lnTo>
                  <a:lnTo>
                    <a:pt x="17" y="114"/>
                  </a:lnTo>
                  <a:lnTo>
                    <a:pt x="19" y="114"/>
                  </a:lnTo>
                  <a:lnTo>
                    <a:pt x="19" y="116"/>
                  </a:lnTo>
                  <a:lnTo>
                    <a:pt x="22" y="114"/>
                  </a:lnTo>
                  <a:lnTo>
                    <a:pt x="19" y="114"/>
                  </a:lnTo>
                  <a:lnTo>
                    <a:pt x="22" y="114"/>
                  </a:lnTo>
                  <a:lnTo>
                    <a:pt x="24" y="114"/>
                  </a:lnTo>
                  <a:lnTo>
                    <a:pt x="24" y="111"/>
                  </a:lnTo>
                  <a:lnTo>
                    <a:pt x="26" y="114"/>
                  </a:lnTo>
                  <a:lnTo>
                    <a:pt x="29" y="114"/>
                  </a:lnTo>
                  <a:lnTo>
                    <a:pt x="31" y="114"/>
                  </a:lnTo>
                  <a:lnTo>
                    <a:pt x="31" y="111"/>
                  </a:lnTo>
                  <a:lnTo>
                    <a:pt x="33" y="111"/>
                  </a:lnTo>
                  <a:lnTo>
                    <a:pt x="33" y="114"/>
                  </a:lnTo>
                  <a:lnTo>
                    <a:pt x="36" y="114"/>
                  </a:lnTo>
                  <a:lnTo>
                    <a:pt x="36" y="116"/>
                  </a:lnTo>
                  <a:lnTo>
                    <a:pt x="38" y="116"/>
                  </a:lnTo>
                  <a:lnTo>
                    <a:pt x="38" y="114"/>
                  </a:lnTo>
                  <a:lnTo>
                    <a:pt x="38" y="116"/>
                  </a:lnTo>
                  <a:lnTo>
                    <a:pt x="41" y="116"/>
                  </a:lnTo>
                  <a:lnTo>
                    <a:pt x="41" y="114"/>
                  </a:lnTo>
                  <a:lnTo>
                    <a:pt x="43" y="114"/>
                  </a:lnTo>
                  <a:lnTo>
                    <a:pt x="43" y="111"/>
                  </a:lnTo>
                  <a:lnTo>
                    <a:pt x="45" y="111"/>
                  </a:lnTo>
                  <a:lnTo>
                    <a:pt x="48" y="111"/>
                  </a:lnTo>
                  <a:lnTo>
                    <a:pt x="48" y="109"/>
                  </a:lnTo>
                  <a:lnTo>
                    <a:pt x="50" y="109"/>
                  </a:lnTo>
                  <a:lnTo>
                    <a:pt x="50" y="111"/>
                  </a:lnTo>
                  <a:lnTo>
                    <a:pt x="52" y="111"/>
                  </a:lnTo>
                  <a:lnTo>
                    <a:pt x="55" y="111"/>
                  </a:lnTo>
                  <a:lnTo>
                    <a:pt x="55" y="109"/>
                  </a:lnTo>
                  <a:lnTo>
                    <a:pt x="52" y="109"/>
                  </a:lnTo>
                  <a:lnTo>
                    <a:pt x="52" y="107"/>
                  </a:lnTo>
                  <a:lnTo>
                    <a:pt x="52" y="104"/>
                  </a:lnTo>
                  <a:lnTo>
                    <a:pt x="55" y="104"/>
                  </a:lnTo>
                  <a:lnTo>
                    <a:pt x="52" y="104"/>
                  </a:lnTo>
                  <a:lnTo>
                    <a:pt x="55" y="102"/>
                  </a:lnTo>
                  <a:lnTo>
                    <a:pt x="57" y="102"/>
                  </a:lnTo>
                  <a:lnTo>
                    <a:pt x="60" y="102"/>
                  </a:lnTo>
                  <a:lnTo>
                    <a:pt x="60" y="104"/>
                  </a:lnTo>
                  <a:lnTo>
                    <a:pt x="62" y="104"/>
                  </a:lnTo>
                  <a:lnTo>
                    <a:pt x="62" y="102"/>
                  </a:lnTo>
                  <a:lnTo>
                    <a:pt x="64" y="102"/>
                  </a:lnTo>
                  <a:lnTo>
                    <a:pt x="64" y="99"/>
                  </a:lnTo>
                  <a:lnTo>
                    <a:pt x="67" y="99"/>
                  </a:lnTo>
                  <a:lnTo>
                    <a:pt x="67" y="97"/>
                  </a:lnTo>
                  <a:lnTo>
                    <a:pt x="69" y="97"/>
                  </a:lnTo>
                  <a:lnTo>
                    <a:pt x="71" y="97"/>
                  </a:lnTo>
                  <a:lnTo>
                    <a:pt x="74" y="97"/>
                  </a:lnTo>
                  <a:lnTo>
                    <a:pt x="74" y="95"/>
                  </a:lnTo>
                  <a:lnTo>
                    <a:pt x="76" y="95"/>
                  </a:lnTo>
                  <a:lnTo>
                    <a:pt x="76" y="97"/>
                  </a:lnTo>
                  <a:lnTo>
                    <a:pt x="79" y="97"/>
                  </a:lnTo>
                  <a:lnTo>
                    <a:pt x="79" y="99"/>
                  </a:lnTo>
                  <a:lnTo>
                    <a:pt x="76" y="99"/>
                  </a:lnTo>
                  <a:lnTo>
                    <a:pt x="79" y="99"/>
                  </a:lnTo>
                  <a:lnTo>
                    <a:pt x="76" y="102"/>
                  </a:lnTo>
                  <a:lnTo>
                    <a:pt x="79" y="102"/>
                  </a:lnTo>
                  <a:lnTo>
                    <a:pt x="79" y="104"/>
                  </a:lnTo>
                  <a:lnTo>
                    <a:pt x="79" y="102"/>
                  </a:lnTo>
                  <a:lnTo>
                    <a:pt x="79" y="104"/>
                  </a:lnTo>
                  <a:lnTo>
                    <a:pt x="81" y="104"/>
                  </a:lnTo>
                  <a:lnTo>
                    <a:pt x="83" y="102"/>
                  </a:lnTo>
                  <a:lnTo>
                    <a:pt x="81" y="102"/>
                  </a:lnTo>
                  <a:lnTo>
                    <a:pt x="83" y="102"/>
                  </a:lnTo>
                  <a:lnTo>
                    <a:pt x="86" y="102"/>
                  </a:lnTo>
                  <a:lnTo>
                    <a:pt x="86" y="99"/>
                  </a:lnTo>
                  <a:lnTo>
                    <a:pt x="83" y="99"/>
                  </a:lnTo>
                  <a:lnTo>
                    <a:pt x="86" y="99"/>
                  </a:lnTo>
                  <a:lnTo>
                    <a:pt x="86" y="97"/>
                  </a:lnTo>
                  <a:lnTo>
                    <a:pt x="83" y="97"/>
                  </a:lnTo>
                  <a:lnTo>
                    <a:pt x="83" y="95"/>
                  </a:lnTo>
                  <a:lnTo>
                    <a:pt x="81" y="95"/>
                  </a:lnTo>
                  <a:lnTo>
                    <a:pt x="79" y="95"/>
                  </a:lnTo>
                  <a:lnTo>
                    <a:pt x="76" y="95"/>
                  </a:lnTo>
                  <a:lnTo>
                    <a:pt x="76" y="92"/>
                  </a:lnTo>
                  <a:lnTo>
                    <a:pt x="79" y="92"/>
                  </a:lnTo>
                  <a:lnTo>
                    <a:pt x="79" y="90"/>
                  </a:lnTo>
                  <a:lnTo>
                    <a:pt x="81" y="90"/>
                  </a:lnTo>
                  <a:lnTo>
                    <a:pt x="81" y="88"/>
                  </a:lnTo>
                  <a:lnTo>
                    <a:pt x="79" y="88"/>
                  </a:lnTo>
                  <a:lnTo>
                    <a:pt x="81" y="88"/>
                  </a:lnTo>
                  <a:lnTo>
                    <a:pt x="81" y="85"/>
                  </a:lnTo>
                  <a:lnTo>
                    <a:pt x="81" y="83"/>
                  </a:lnTo>
                  <a:lnTo>
                    <a:pt x="83" y="83"/>
                  </a:lnTo>
                  <a:lnTo>
                    <a:pt x="83" y="80"/>
                  </a:lnTo>
                  <a:lnTo>
                    <a:pt x="86" y="80"/>
                  </a:lnTo>
                  <a:lnTo>
                    <a:pt x="83" y="80"/>
                  </a:lnTo>
                  <a:lnTo>
                    <a:pt x="83" y="78"/>
                  </a:lnTo>
                  <a:lnTo>
                    <a:pt x="83" y="76"/>
                  </a:lnTo>
                  <a:lnTo>
                    <a:pt x="83" y="73"/>
                  </a:lnTo>
                  <a:lnTo>
                    <a:pt x="83" y="71"/>
                  </a:lnTo>
                  <a:lnTo>
                    <a:pt x="83" y="69"/>
                  </a:lnTo>
                  <a:lnTo>
                    <a:pt x="86" y="69"/>
                  </a:lnTo>
                  <a:lnTo>
                    <a:pt x="86" y="66"/>
                  </a:lnTo>
                  <a:lnTo>
                    <a:pt x="88" y="66"/>
                  </a:lnTo>
                  <a:lnTo>
                    <a:pt x="88" y="64"/>
                  </a:lnTo>
                  <a:lnTo>
                    <a:pt x="90" y="64"/>
                  </a:lnTo>
                  <a:lnTo>
                    <a:pt x="90" y="61"/>
                  </a:lnTo>
                  <a:lnTo>
                    <a:pt x="93" y="61"/>
                  </a:lnTo>
                  <a:lnTo>
                    <a:pt x="93" y="64"/>
                  </a:lnTo>
                  <a:lnTo>
                    <a:pt x="95" y="64"/>
                  </a:lnTo>
                  <a:lnTo>
                    <a:pt x="95" y="61"/>
                  </a:lnTo>
                  <a:lnTo>
                    <a:pt x="97" y="61"/>
                  </a:lnTo>
                  <a:lnTo>
                    <a:pt x="100" y="61"/>
                  </a:lnTo>
                  <a:lnTo>
                    <a:pt x="100" y="59"/>
                  </a:lnTo>
                  <a:lnTo>
                    <a:pt x="100" y="57"/>
                  </a:lnTo>
                  <a:lnTo>
                    <a:pt x="102" y="57"/>
                  </a:lnTo>
                  <a:lnTo>
                    <a:pt x="100" y="54"/>
                  </a:lnTo>
                  <a:lnTo>
                    <a:pt x="102" y="54"/>
                  </a:lnTo>
                  <a:lnTo>
                    <a:pt x="102" y="52"/>
                  </a:lnTo>
                  <a:lnTo>
                    <a:pt x="105" y="52"/>
                  </a:lnTo>
                  <a:lnTo>
                    <a:pt x="107" y="52"/>
                  </a:lnTo>
                  <a:lnTo>
                    <a:pt x="107" y="54"/>
                  </a:lnTo>
                  <a:lnTo>
                    <a:pt x="109" y="52"/>
                  </a:lnTo>
                  <a:lnTo>
                    <a:pt x="112" y="52"/>
                  </a:lnTo>
                  <a:lnTo>
                    <a:pt x="114" y="52"/>
                  </a:lnTo>
                  <a:lnTo>
                    <a:pt x="116" y="52"/>
                  </a:lnTo>
                  <a:lnTo>
                    <a:pt x="114" y="50"/>
                  </a:lnTo>
                  <a:lnTo>
                    <a:pt x="116" y="50"/>
                  </a:lnTo>
                  <a:lnTo>
                    <a:pt x="116" y="47"/>
                  </a:lnTo>
                  <a:lnTo>
                    <a:pt x="119" y="47"/>
                  </a:lnTo>
                  <a:lnTo>
                    <a:pt x="119" y="45"/>
                  </a:lnTo>
                  <a:lnTo>
                    <a:pt x="116" y="42"/>
                  </a:lnTo>
                  <a:lnTo>
                    <a:pt x="114" y="42"/>
                  </a:lnTo>
                  <a:lnTo>
                    <a:pt x="112" y="42"/>
                  </a:lnTo>
                  <a:lnTo>
                    <a:pt x="112" y="45"/>
                  </a:lnTo>
                  <a:lnTo>
                    <a:pt x="112" y="42"/>
                  </a:lnTo>
                  <a:lnTo>
                    <a:pt x="112" y="45"/>
                  </a:lnTo>
                  <a:lnTo>
                    <a:pt x="112" y="42"/>
                  </a:lnTo>
                  <a:lnTo>
                    <a:pt x="112" y="45"/>
                  </a:lnTo>
                  <a:lnTo>
                    <a:pt x="112" y="42"/>
                  </a:lnTo>
                  <a:lnTo>
                    <a:pt x="109" y="42"/>
                  </a:lnTo>
                  <a:lnTo>
                    <a:pt x="107" y="42"/>
                  </a:lnTo>
                  <a:lnTo>
                    <a:pt x="109" y="40"/>
                  </a:lnTo>
                  <a:lnTo>
                    <a:pt x="112" y="40"/>
                  </a:lnTo>
                  <a:lnTo>
                    <a:pt x="109" y="40"/>
                  </a:lnTo>
                  <a:lnTo>
                    <a:pt x="112" y="40"/>
                  </a:lnTo>
                  <a:lnTo>
                    <a:pt x="109" y="38"/>
                  </a:lnTo>
                  <a:lnTo>
                    <a:pt x="112" y="38"/>
                  </a:lnTo>
                  <a:lnTo>
                    <a:pt x="109" y="38"/>
                  </a:lnTo>
                  <a:lnTo>
                    <a:pt x="112" y="38"/>
                  </a:lnTo>
                  <a:lnTo>
                    <a:pt x="112" y="35"/>
                  </a:lnTo>
                  <a:lnTo>
                    <a:pt x="109" y="35"/>
                  </a:lnTo>
                  <a:lnTo>
                    <a:pt x="109" y="33"/>
                  </a:lnTo>
                  <a:lnTo>
                    <a:pt x="112" y="33"/>
                  </a:lnTo>
                  <a:lnTo>
                    <a:pt x="112" y="31"/>
                  </a:lnTo>
                  <a:lnTo>
                    <a:pt x="114" y="31"/>
                  </a:lnTo>
                  <a:lnTo>
                    <a:pt x="114" y="28"/>
                  </a:lnTo>
                  <a:lnTo>
                    <a:pt x="114" y="26"/>
                  </a:lnTo>
                  <a:lnTo>
                    <a:pt x="114" y="23"/>
                  </a:lnTo>
                  <a:lnTo>
                    <a:pt x="116" y="23"/>
                  </a:lnTo>
                  <a:lnTo>
                    <a:pt x="116" y="26"/>
                  </a:lnTo>
                  <a:lnTo>
                    <a:pt x="119" y="26"/>
                  </a:lnTo>
                  <a:lnTo>
                    <a:pt x="119" y="23"/>
                  </a:lnTo>
                  <a:lnTo>
                    <a:pt x="121" y="23"/>
                  </a:lnTo>
                  <a:lnTo>
                    <a:pt x="121" y="21"/>
                  </a:lnTo>
                  <a:lnTo>
                    <a:pt x="124" y="21"/>
                  </a:lnTo>
                  <a:lnTo>
                    <a:pt x="124" y="19"/>
                  </a:lnTo>
                  <a:lnTo>
                    <a:pt x="126" y="19"/>
                  </a:lnTo>
                  <a:lnTo>
                    <a:pt x="128" y="19"/>
                  </a:lnTo>
                  <a:lnTo>
                    <a:pt x="128" y="16"/>
                  </a:lnTo>
                  <a:lnTo>
                    <a:pt x="131" y="16"/>
                  </a:lnTo>
                  <a:lnTo>
                    <a:pt x="131" y="19"/>
                  </a:lnTo>
                  <a:lnTo>
                    <a:pt x="133" y="19"/>
                  </a:lnTo>
                  <a:lnTo>
                    <a:pt x="135" y="21"/>
                  </a:lnTo>
                  <a:lnTo>
                    <a:pt x="135" y="19"/>
                  </a:lnTo>
                  <a:lnTo>
                    <a:pt x="138" y="19"/>
                  </a:lnTo>
                  <a:lnTo>
                    <a:pt x="140" y="19"/>
                  </a:lnTo>
                  <a:lnTo>
                    <a:pt x="143" y="21"/>
                  </a:lnTo>
                  <a:lnTo>
                    <a:pt x="145" y="21"/>
                  </a:lnTo>
                  <a:lnTo>
                    <a:pt x="145" y="19"/>
                  </a:lnTo>
                  <a:lnTo>
                    <a:pt x="147" y="16"/>
                  </a:lnTo>
                  <a:lnTo>
                    <a:pt x="145" y="14"/>
                  </a:lnTo>
                  <a:lnTo>
                    <a:pt x="147" y="14"/>
                  </a:lnTo>
                  <a:lnTo>
                    <a:pt x="147" y="12"/>
                  </a:lnTo>
                  <a:lnTo>
                    <a:pt x="150" y="12"/>
                  </a:lnTo>
                  <a:lnTo>
                    <a:pt x="150" y="9"/>
                  </a:lnTo>
                  <a:lnTo>
                    <a:pt x="152" y="9"/>
                  </a:lnTo>
                  <a:lnTo>
                    <a:pt x="152" y="7"/>
                  </a:lnTo>
                  <a:lnTo>
                    <a:pt x="154" y="7"/>
                  </a:lnTo>
                  <a:lnTo>
                    <a:pt x="157" y="7"/>
                  </a:lnTo>
                  <a:lnTo>
                    <a:pt x="157" y="4"/>
                  </a:lnTo>
                  <a:lnTo>
                    <a:pt x="157" y="2"/>
                  </a:lnTo>
                  <a:lnTo>
                    <a:pt x="159" y="2"/>
                  </a:lnTo>
                  <a:lnTo>
                    <a:pt x="162" y="2"/>
                  </a:lnTo>
                  <a:lnTo>
                    <a:pt x="162" y="0"/>
                  </a:lnTo>
                  <a:lnTo>
                    <a:pt x="16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5" name="Freeform 50278"/>
            <p:cNvSpPr>
              <a:spLocks/>
            </p:cNvSpPr>
            <p:nvPr/>
          </p:nvSpPr>
          <p:spPr bwMode="auto">
            <a:xfrm>
              <a:off x="2160586" y="4584715"/>
              <a:ext cx="200024" cy="153989"/>
            </a:xfrm>
            <a:custGeom>
              <a:avLst/>
              <a:gdLst>
                <a:gd name="T0" fmla="*/ 76 w 126"/>
                <a:gd name="T1" fmla="*/ 5 h 97"/>
                <a:gd name="T2" fmla="*/ 83 w 126"/>
                <a:gd name="T3" fmla="*/ 5 h 97"/>
                <a:gd name="T4" fmla="*/ 93 w 126"/>
                <a:gd name="T5" fmla="*/ 12 h 97"/>
                <a:gd name="T6" fmla="*/ 100 w 126"/>
                <a:gd name="T7" fmla="*/ 14 h 97"/>
                <a:gd name="T8" fmla="*/ 107 w 126"/>
                <a:gd name="T9" fmla="*/ 19 h 97"/>
                <a:gd name="T10" fmla="*/ 107 w 126"/>
                <a:gd name="T11" fmla="*/ 24 h 97"/>
                <a:gd name="T12" fmla="*/ 102 w 126"/>
                <a:gd name="T13" fmla="*/ 33 h 97"/>
                <a:gd name="T14" fmla="*/ 109 w 126"/>
                <a:gd name="T15" fmla="*/ 35 h 97"/>
                <a:gd name="T16" fmla="*/ 119 w 126"/>
                <a:gd name="T17" fmla="*/ 40 h 97"/>
                <a:gd name="T18" fmla="*/ 119 w 126"/>
                <a:gd name="T19" fmla="*/ 45 h 97"/>
                <a:gd name="T20" fmla="*/ 124 w 126"/>
                <a:gd name="T21" fmla="*/ 50 h 97"/>
                <a:gd name="T22" fmla="*/ 126 w 126"/>
                <a:gd name="T23" fmla="*/ 57 h 97"/>
                <a:gd name="T24" fmla="*/ 119 w 126"/>
                <a:gd name="T25" fmla="*/ 64 h 97"/>
                <a:gd name="T26" fmla="*/ 112 w 126"/>
                <a:gd name="T27" fmla="*/ 66 h 97"/>
                <a:gd name="T28" fmla="*/ 109 w 126"/>
                <a:gd name="T29" fmla="*/ 73 h 97"/>
                <a:gd name="T30" fmla="*/ 105 w 126"/>
                <a:gd name="T31" fmla="*/ 78 h 97"/>
                <a:gd name="T32" fmla="*/ 107 w 126"/>
                <a:gd name="T33" fmla="*/ 85 h 97"/>
                <a:gd name="T34" fmla="*/ 112 w 126"/>
                <a:gd name="T35" fmla="*/ 90 h 97"/>
                <a:gd name="T36" fmla="*/ 102 w 126"/>
                <a:gd name="T37" fmla="*/ 95 h 97"/>
                <a:gd name="T38" fmla="*/ 95 w 126"/>
                <a:gd name="T39" fmla="*/ 95 h 97"/>
                <a:gd name="T40" fmla="*/ 93 w 126"/>
                <a:gd name="T41" fmla="*/ 90 h 97"/>
                <a:gd name="T42" fmla="*/ 86 w 126"/>
                <a:gd name="T43" fmla="*/ 85 h 97"/>
                <a:gd name="T44" fmla="*/ 79 w 126"/>
                <a:gd name="T45" fmla="*/ 83 h 97"/>
                <a:gd name="T46" fmla="*/ 74 w 126"/>
                <a:gd name="T47" fmla="*/ 73 h 97"/>
                <a:gd name="T48" fmla="*/ 74 w 126"/>
                <a:gd name="T49" fmla="*/ 64 h 97"/>
                <a:gd name="T50" fmla="*/ 69 w 126"/>
                <a:gd name="T51" fmla="*/ 73 h 97"/>
                <a:gd name="T52" fmla="*/ 57 w 126"/>
                <a:gd name="T53" fmla="*/ 73 h 97"/>
                <a:gd name="T54" fmla="*/ 55 w 126"/>
                <a:gd name="T55" fmla="*/ 71 h 97"/>
                <a:gd name="T56" fmla="*/ 55 w 126"/>
                <a:gd name="T57" fmla="*/ 62 h 97"/>
                <a:gd name="T58" fmla="*/ 48 w 126"/>
                <a:gd name="T59" fmla="*/ 54 h 97"/>
                <a:gd name="T60" fmla="*/ 41 w 126"/>
                <a:gd name="T61" fmla="*/ 57 h 97"/>
                <a:gd name="T62" fmla="*/ 36 w 126"/>
                <a:gd name="T63" fmla="*/ 52 h 97"/>
                <a:gd name="T64" fmla="*/ 31 w 126"/>
                <a:gd name="T65" fmla="*/ 47 h 97"/>
                <a:gd name="T66" fmla="*/ 24 w 126"/>
                <a:gd name="T67" fmla="*/ 43 h 97"/>
                <a:gd name="T68" fmla="*/ 22 w 126"/>
                <a:gd name="T69" fmla="*/ 35 h 97"/>
                <a:gd name="T70" fmla="*/ 12 w 126"/>
                <a:gd name="T71" fmla="*/ 35 h 97"/>
                <a:gd name="T72" fmla="*/ 5 w 126"/>
                <a:gd name="T73" fmla="*/ 33 h 97"/>
                <a:gd name="T74" fmla="*/ 3 w 126"/>
                <a:gd name="T75" fmla="*/ 24 h 97"/>
                <a:gd name="T76" fmla="*/ 7 w 126"/>
                <a:gd name="T77" fmla="*/ 16 h 97"/>
                <a:gd name="T78" fmla="*/ 17 w 126"/>
                <a:gd name="T79" fmla="*/ 9 h 97"/>
                <a:gd name="T80" fmla="*/ 24 w 126"/>
                <a:gd name="T81" fmla="*/ 7 h 97"/>
                <a:gd name="T82" fmla="*/ 33 w 126"/>
                <a:gd name="T83" fmla="*/ 9 h 97"/>
                <a:gd name="T84" fmla="*/ 43 w 126"/>
                <a:gd name="T85" fmla="*/ 14 h 97"/>
                <a:gd name="T86" fmla="*/ 50 w 126"/>
                <a:gd name="T87" fmla="*/ 12 h 97"/>
                <a:gd name="T88" fmla="*/ 60 w 126"/>
                <a:gd name="T89" fmla="*/ 12 h 97"/>
                <a:gd name="T90" fmla="*/ 55 w 126"/>
                <a:gd name="T91" fmla="*/ 19 h 97"/>
                <a:gd name="T92" fmla="*/ 55 w 126"/>
                <a:gd name="T93" fmla="*/ 19 h 97"/>
                <a:gd name="T94" fmla="*/ 60 w 126"/>
                <a:gd name="T95" fmla="*/ 19 h 97"/>
                <a:gd name="T96" fmla="*/ 60 w 126"/>
                <a:gd name="T97" fmla="*/ 12 h 97"/>
                <a:gd name="T98" fmla="*/ 55 w 126"/>
                <a:gd name="T99" fmla="*/ 5 h 97"/>
                <a:gd name="T100" fmla="*/ 60 w 126"/>
                <a:gd name="T101" fmla="*/ 5 h 97"/>
                <a:gd name="T102" fmla="*/ 64 w 126"/>
                <a:gd name="T103" fmla="*/ 2 h 97"/>
                <a:gd name="T104" fmla="*/ 76 w 126"/>
                <a:gd name="T10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97">
                  <a:moveTo>
                    <a:pt x="74" y="2"/>
                  </a:moveTo>
                  <a:lnTo>
                    <a:pt x="76" y="2"/>
                  </a:lnTo>
                  <a:lnTo>
                    <a:pt x="76" y="5"/>
                  </a:lnTo>
                  <a:lnTo>
                    <a:pt x="74" y="2"/>
                  </a:lnTo>
                  <a:lnTo>
                    <a:pt x="74" y="5"/>
                  </a:lnTo>
                  <a:lnTo>
                    <a:pt x="76" y="5"/>
                  </a:lnTo>
                  <a:lnTo>
                    <a:pt x="79" y="5"/>
                  </a:lnTo>
                  <a:lnTo>
                    <a:pt x="81" y="2"/>
                  </a:lnTo>
                  <a:lnTo>
                    <a:pt x="81" y="0"/>
                  </a:lnTo>
                  <a:lnTo>
                    <a:pt x="83" y="0"/>
                  </a:lnTo>
                  <a:lnTo>
                    <a:pt x="83" y="2"/>
                  </a:lnTo>
                  <a:lnTo>
                    <a:pt x="83" y="5"/>
                  </a:lnTo>
                  <a:lnTo>
                    <a:pt x="86" y="7"/>
                  </a:lnTo>
                  <a:lnTo>
                    <a:pt x="86" y="9"/>
                  </a:lnTo>
                  <a:lnTo>
                    <a:pt x="88" y="9"/>
                  </a:lnTo>
                  <a:lnTo>
                    <a:pt x="88" y="12"/>
                  </a:lnTo>
                  <a:lnTo>
                    <a:pt x="90" y="12"/>
                  </a:lnTo>
                  <a:lnTo>
                    <a:pt x="93" y="12"/>
                  </a:lnTo>
                  <a:lnTo>
                    <a:pt x="93" y="9"/>
                  </a:lnTo>
                  <a:lnTo>
                    <a:pt x="95" y="12"/>
                  </a:lnTo>
                  <a:lnTo>
                    <a:pt x="95" y="9"/>
                  </a:lnTo>
                  <a:lnTo>
                    <a:pt x="98" y="9"/>
                  </a:lnTo>
                  <a:lnTo>
                    <a:pt x="100" y="12"/>
                  </a:lnTo>
                  <a:lnTo>
                    <a:pt x="100" y="14"/>
                  </a:lnTo>
                  <a:lnTo>
                    <a:pt x="102" y="14"/>
                  </a:lnTo>
                  <a:lnTo>
                    <a:pt x="105" y="14"/>
                  </a:lnTo>
                  <a:lnTo>
                    <a:pt x="107" y="14"/>
                  </a:lnTo>
                  <a:lnTo>
                    <a:pt x="107" y="16"/>
                  </a:lnTo>
                  <a:lnTo>
                    <a:pt x="109" y="16"/>
                  </a:lnTo>
                  <a:lnTo>
                    <a:pt x="107" y="19"/>
                  </a:lnTo>
                  <a:lnTo>
                    <a:pt x="109" y="19"/>
                  </a:lnTo>
                  <a:lnTo>
                    <a:pt x="107" y="19"/>
                  </a:lnTo>
                  <a:lnTo>
                    <a:pt x="107" y="21"/>
                  </a:lnTo>
                  <a:lnTo>
                    <a:pt x="105" y="21"/>
                  </a:lnTo>
                  <a:lnTo>
                    <a:pt x="105" y="24"/>
                  </a:lnTo>
                  <a:lnTo>
                    <a:pt x="107" y="24"/>
                  </a:lnTo>
                  <a:lnTo>
                    <a:pt x="105" y="24"/>
                  </a:lnTo>
                  <a:lnTo>
                    <a:pt x="105" y="26"/>
                  </a:lnTo>
                  <a:lnTo>
                    <a:pt x="105" y="28"/>
                  </a:lnTo>
                  <a:lnTo>
                    <a:pt x="102" y="28"/>
                  </a:lnTo>
                  <a:lnTo>
                    <a:pt x="102" y="31"/>
                  </a:lnTo>
                  <a:lnTo>
                    <a:pt x="102" y="33"/>
                  </a:lnTo>
                  <a:lnTo>
                    <a:pt x="105" y="33"/>
                  </a:lnTo>
                  <a:lnTo>
                    <a:pt x="105" y="35"/>
                  </a:lnTo>
                  <a:lnTo>
                    <a:pt x="102" y="35"/>
                  </a:lnTo>
                  <a:lnTo>
                    <a:pt x="105" y="35"/>
                  </a:lnTo>
                  <a:lnTo>
                    <a:pt x="107" y="35"/>
                  </a:lnTo>
                  <a:lnTo>
                    <a:pt x="109" y="35"/>
                  </a:lnTo>
                  <a:lnTo>
                    <a:pt x="112" y="35"/>
                  </a:lnTo>
                  <a:lnTo>
                    <a:pt x="114" y="35"/>
                  </a:lnTo>
                  <a:lnTo>
                    <a:pt x="114" y="38"/>
                  </a:lnTo>
                  <a:lnTo>
                    <a:pt x="117" y="38"/>
                  </a:lnTo>
                  <a:lnTo>
                    <a:pt x="119" y="38"/>
                  </a:lnTo>
                  <a:lnTo>
                    <a:pt x="119" y="40"/>
                  </a:lnTo>
                  <a:lnTo>
                    <a:pt x="119" y="43"/>
                  </a:lnTo>
                  <a:lnTo>
                    <a:pt x="121" y="43"/>
                  </a:lnTo>
                  <a:lnTo>
                    <a:pt x="124" y="43"/>
                  </a:lnTo>
                  <a:lnTo>
                    <a:pt x="121" y="43"/>
                  </a:lnTo>
                  <a:lnTo>
                    <a:pt x="121" y="45"/>
                  </a:lnTo>
                  <a:lnTo>
                    <a:pt x="119" y="45"/>
                  </a:lnTo>
                  <a:lnTo>
                    <a:pt x="119" y="47"/>
                  </a:lnTo>
                  <a:lnTo>
                    <a:pt x="121" y="47"/>
                  </a:lnTo>
                  <a:lnTo>
                    <a:pt x="121" y="50"/>
                  </a:lnTo>
                  <a:lnTo>
                    <a:pt x="121" y="47"/>
                  </a:lnTo>
                  <a:lnTo>
                    <a:pt x="124" y="47"/>
                  </a:lnTo>
                  <a:lnTo>
                    <a:pt x="124" y="50"/>
                  </a:lnTo>
                  <a:lnTo>
                    <a:pt x="126" y="50"/>
                  </a:lnTo>
                  <a:lnTo>
                    <a:pt x="126" y="52"/>
                  </a:lnTo>
                  <a:lnTo>
                    <a:pt x="126" y="54"/>
                  </a:lnTo>
                  <a:lnTo>
                    <a:pt x="124" y="54"/>
                  </a:lnTo>
                  <a:lnTo>
                    <a:pt x="126" y="54"/>
                  </a:lnTo>
                  <a:lnTo>
                    <a:pt x="126" y="57"/>
                  </a:lnTo>
                  <a:lnTo>
                    <a:pt x="124" y="57"/>
                  </a:lnTo>
                  <a:lnTo>
                    <a:pt x="124" y="59"/>
                  </a:lnTo>
                  <a:lnTo>
                    <a:pt x="121" y="59"/>
                  </a:lnTo>
                  <a:lnTo>
                    <a:pt x="121" y="62"/>
                  </a:lnTo>
                  <a:lnTo>
                    <a:pt x="119" y="62"/>
                  </a:lnTo>
                  <a:lnTo>
                    <a:pt x="119" y="64"/>
                  </a:lnTo>
                  <a:lnTo>
                    <a:pt x="119" y="66"/>
                  </a:lnTo>
                  <a:lnTo>
                    <a:pt x="117" y="66"/>
                  </a:lnTo>
                  <a:lnTo>
                    <a:pt x="117" y="64"/>
                  </a:lnTo>
                  <a:lnTo>
                    <a:pt x="114" y="64"/>
                  </a:lnTo>
                  <a:lnTo>
                    <a:pt x="112" y="64"/>
                  </a:lnTo>
                  <a:lnTo>
                    <a:pt x="112" y="66"/>
                  </a:lnTo>
                  <a:lnTo>
                    <a:pt x="109" y="66"/>
                  </a:lnTo>
                  <a:lnTo>
                    <a:pt x="109" y="69"/>
                  </a:lnTo>
                  <a:lnTo>
                    <a:pt x="109" y="71"/>
                  </a:lnTo>
                  <a:lnTo>
                    <a:pt x="107" y="71"/>
                  </a:lnTo>
                  <a:lnTo>
                    <a:pt x="107" y="73"/>
                  </a:lnTo>
                  <a:lnTo>
                    <a:pt x="109" y="73"/>
                  </a:lnTo>
                  <a:lnTo>
                    <a:pt x="107" y="73"/>
                  </a:lnTo>
                  <a:lnTo>
                    <a:pt x="107" y="76"/>
                  </a:lnTo>
                  <a:lnTo>
                    <a:pt x="105" y="76"/>
                  </a:lnTo>
                  <a:lnTo>
                    <a:pt x="105" y="78"/>
                  </a:lnTo>
                  <a:lnTo>
                    <a:pt x="107" y="78"/>
                  </a:lnTo>
                  <a:lnTo>
                    <a:pt x="105" y="78"/>
                  </a:lnTo>
                  <a:lnTo>
                    <a:pt x="105" y="81"/>
                  </a:lnTo>
                  <a:lnTo>
                    <a:pt x="105" y="83"/>
                  </a:lnTo>
                  <a:lnTo>
                    <a:pt x="107" y="83"/>
                  </a:lnTo>
                  <a:lnTo>
                    <a:pt x="107" y="85"/>
                  </a:lnTo>
                  <a:lnTo>
                    <a:pt x="109" y="85"/>
                  </a:lnTo>
                  <a:lnTo>
                    <a:pt x="107" y="85"/>
                  </a:lnTo>
                  <a:lnTo>
                    <a:pt x="109" y="85"/>
                  </a:lnTo>
                  <a:lnTo>
                    <a:pt x="109" y="88"/>
                  </a:lnTo>
                  <a:lnTo>
                    <a:pt x="109" y="90"/>
                  </a:lnTo>
                  <a:lnTo>
                    <a:pt x="112" y="90"/>
                  </a:lnTo>
                  <a:lnTo>
                    <a:pt x="109" y="90"/>
                  </a:lnTo>
                  <a:lnTo>
                    <a:pt x="112" y="90"/>
                  </a:lnTo>
                  <a:lnTo>
                    <a:pt x="109" y="90"/>
                  </a:lnTo>
                  <a:lnTo>
                    <a:pt x="109" y="92"/>
                  </a:lnTo>
                  <a:lnTo>
                    <a:pt x="109" y="95"/>
                  </a:lnTo>
                  <a:lnTo>
                    <a:pt x="107" y="95"/>
                  </a:lnTo>
                  <a:lnTo>
                    <a:pt x="105" y="95"/>
                  </a:lnTo>
                  <a:lnTo>
                    <a:pt x="102" y="95"/>
                  </a:lnTo>
                  <a:lnTo>
                    <a:pt x="102" y="97"/>
                  </a:lnTo>
                  <a:lnTo>
                    <a:pt x="100" y="97"/>
                  </a:lnTo>
                  <a:lnTo>
                    <a:pt x="100" y="95"/>
                  </a:lnTo>
                  <a:lnTo>
                    <a:pt x="98" y="97"/>
                  </a:lnTo>
                  <a:lnTo>
                    <a:pt x="95" y="97"/>
                  </a:lnTo>
                  <a:lnTo>
                    <a:pt x="95" y="95"/>
                  </a:lnTo>
                  <a:lnTo>
                    <a:pt x="95" y="92"/>
                  </a:lnTo>
                  <a:lnTo>
                    <a:pt x="93" y="90"/>
                  </a:lnTo>
                  <a:lnTo>
                    <a:pt x="90" y="90"/>
                  </a:lnTo>
                  <a:lnTo>
                    <a:pt x="90" y="92"/>
                  </a:lnTo>
                  <a:lnTo>
                    <a:pt x="90" y="90"/>
                  </a:lnTo>
                  <a:lnTo>
                    <a:pt x="93" y="90"/>
                  </a:lnTo>
                  <a:lnTo>
                    <a:pt x="90" y="88"/>
                  </a:lnTo>
                  <a:lnTo>
                    <a:pt x="88" y="88"/>
                  </a:lnTo>
                  <a:lnTo>
                    <a:pt x="86" y="88"/>
                  </a:lnTo>
                  <a:lnTo>
                    <a:pt x="86" y="85"/>
                  </a:lnTo>
                  <a:lnTo>
                    <a:pt x="86" y="88"/>
                  </a:lnTo>
                  <a:lnTo>
                    <a:pt x="86" y="85"/>
                  </a:lnTo>
                  <a:lnTo>
                    <a:pt x="83" y="85"/>
                  </a:lnTo>
                  <a:lnTo>
                    <a:pt x="83" y="83"/>
                  </a:lnTo>
                  <a:lnTo>
                    <a:pt x="83" y="85"/>
                  </a:lnTo>
                  <a:lnTo>
                    <a:pt x="83" y="83"/>
                  </a:lnTo>
                  <a:lnTo>
                    <a:pt x="81" y="83"/>
                  </a:lnTo>
                  <a:lnTo>
                    <a:pt x="79" y="83"/>
                  </a:lnTo>
                  <a:lnTo>
                    <a:pt x="76" y="83"/>
                  </a:lnTo>
                  <a:lnTo>
                    <a:pt x="76" y="81"/>
                  </a:lnTo>
                  <a:lnTo>
                    <a:pt x="76" y="78"/>
                  </a:lnTo>
                  <a:lnTo>
                    <a:pt x="76" y="76"/>
                  </a:lnTo>
                  <a:lnTo>
                    <a:pt x="74" y="76"/>
                  </a:lnTo>
                  <a:lnTo>
                    <a:pt x="74" y="73"/>
                  </a:lnTo>
                  <a:lnTo>
                    <a:pt x="76" y="71"/>
                  </a:lnTo>
                  <a:lnTo>
                    <a:pt x="74" y="69"/>
                  </a:lnTo>
                  <a:lnTo>
                    <a:pt x="76" y="69"/>
                  </a:lnTo>
                  <a:lnTo>
                    <a:pt x="76" y="66"/>
                  </a:lnTo>
                  <a:lnTo>
                    <a:pt x="76" y="64"/>
                  </a:lnTo>
                  <a:lnTo>
                    <a:pt x="74" y="64"/>
                  </a:lnTo>
                  <a:lnTo>
                    <a:pt x="74" y="66"/>
                  </a:lnTo>
                  <a:lnTo>
                    <a:pt x="71" y="66"/>
                  </a:lnTo>
                  <a:lnTo>
                    <a:pt x="71" y="69"/>
                  </a:lnTo>
                  <a:lnTo>
                    <a:pt x="71" y="71"/>
                  </a:lnTo>
                  <a:lnTo>
                    <a:pt x="71" y="73"/>
                  </a:lnTo>
                  <a:lnTo>
                    <a:pt x="69" y="73"/>
                  </a:lnTo>
                  <a:lnTo>
                    <a:pt x="67" y="73"/>
                  </a:lnTo>
                  <a:lnTo>
                    <a:pt x="64" y="76"/>
                  </a:lnTo>
                  <a:lnTo>
                    <a:pt x="62" y="76"/>
                  </a:lnTo>
                  <a:lnTo>
                    <a:pt x="60" y="76"/>
                  </a:lnTo>
                  <a:lnTo>
                    <a:pt x="60" y="73"/>
                  </a:lnTo>
                  <a:lnTo>
                    <a:pt x="57" y="73"/>
                  </a:lnTo>
                  <a:lnTo>
                    <a:pt x="57" y="76"/>
                  </a:lnTo>
                  <a:lnTo>
                    <a:pt x="55" y="76"/>
                  </a:lnTo>
                  <a:lnTo>
                    <a:pt x="55" y="73"/>
                  </a:lnTo>
                  <a:lnTo>
                    <a:pt x="52" y="73"/>
                  </a:lnTo>
                  <a:lnTo>
                    <a:pt x="52" y="71"/>
                  </a:lnTo>
                  <a:lnTo>
                    <a:pt x="55" y="71"/>
                  </a:lnTo>
                  <a:lnTo>
                    <a:pt x="55" y="69"/>
                  </a:lnTo>
                  <a:lnTo>
                    <a:pt x="55" y="66"/>
                  </a:lnTo>
                  <a:lnTo>
                    <a:pt x="52" y="66"/>
                  </a:lnTo>
                  <a:lnTo>
                    <a:pt x="52" y="64"/>
                  </a:lnTo>
                  <a:lnTo>
                    <a:pt x="52" y="62"/>
                  </a:lnTo>
                  <a:lnTo>
                    <a:pt x="55" y="62"/>
                  </a:lnTo>
                  <a:lnTo>
                    <a:pt x="55" y="59"/>
                  </a:lnTo>
                  <a:lnTo>
                    <a:pt x="52" y="59"/>
                  </a:lnTo>
                  <a:lnTo>
                    <a:pt x="52" y="57"/>
                  </a:lnTo>
                  <a:lnTo>
                    <a:pt x="50" y="57"/>
                  </a:lnTo>
                  <a:lnTo>
                    <a:pt x="48" y="57"/>
                  </a:lnTo>
                  <a:lnTo>
                    <a:pt x="48" y="54"/>
                  </a:lnTo>
                  <a:lnTo>
                    <a:pt x="48" y="57"/>
                  </a:lnTo>
                  <a:lnTo>
                    <a:pt x="45" y="57"/>
                  </a:lnTo>
                  <a:lnTo>
                    <a:pt x="43" y="57"/>
                  </a:lnTo>
                  <a:lnTo>
                    <a:pt x="43" y="54"/>
                  </a:lnTo>
                  <a:lnTo>
                    <a:pt x="43" y="57"/>
                  </a:lnTo>
                  <a:lnTo>
                    <a:pt x="41" y="57"/>
                  </a:lnTo>
                  <a:lnTo>
                    <a:pt x="41" y="54"/>
                  </a:lnTo>
                  <a:lnTo>
                    <a:pt x="41" y="57"/>
                  </a:lnTo>
                  <a:lnTo>
                    <a:pt x="38" y="57"/>
                  </a:lnTo>
                  <a:lnTo>
                    <a:pt x="36" y="57"/>
                  </a:lnTo>
                  <a:lnTo>
                    <a:pt x="36" y="54"/>
                  </a:lnTo>
                  <a:lnTo>
                    <a:pt x="36" y="52"/>
                  </a:lnTo>
                  <a:lnTo>
                    <a:pt x="36" y="50"/>
                  </a:lnTo>
                  <a:lnTo>
                    <a:pt x="33" y="50"/>
                  </a:lnTo>
                  <a:lnTo>
                    <a:pt x="33" y="47"/>
                  </a:lnTo>
                  <a:lnTo>
                    <a:pt x="33" y="50"/>
                  </a:lnTo>
                  <a:lnTo>
                    <a:pt x="31" y="50"/>
                  </a:lnTo>
                  <a:lnTo>
                    <a:pt x="31" y="47"/>
                  </a:lnTo>
                  <a:lnTo>
                    <a:pt x="29" y="47"/>
                  </a:lnTo>
                  <a:lnTo>
                    <a:pt x="29" y="50"/>
                  </a:lnTo>
                  <a:lnTo>
                    <a:pt x="26" y="47"/>
                  </a:lnTo>
                  <a:lnTo>
                    <a:pt x="24" y="47"/>
                  </a:lnTo>
                  <a:lnTo>
                    <a:pt x="24" y="45"/>
                  </a:lnTo>
                  <a:lnTo>
                    <a:pt x="24" y="43"/>
                  </a:lnTo>
                  <a:lnTo>
                    <a:pt x="24" y="40"/>
                  </a:lnTo>
                  <a:lnTo>
                    <a:pt x="22" y="40"/>
                  </a:lnTo>
                  <a:lnTo>
                    <a:pt x="24" y="40"/>
                  </a:lnTo>
                  <a:lnTo>
                    <a:pt x="24" y="38"/>
                  </a:lnTo>
                  <a:lnTo>
                    <a:pt x="22" y="38"/>
                  </a:lnTo>
                  <a:lnTo>
                    <a:pt x="22" y="35"/>
                  </a:lnTo>
                  <a:lnTo>
                    <a:pt x="19" y="35"/>
                  </a:lnTo>
                  <a:lnTo>
                    <a:pt x="19" y="33"/>
                  </a:lnTo>
                  <a:lnTo>
                    <a:pt x="19" y="35"/>
                  </a:lnTo>
                  <a:lnTo>
                    <a:pt x="17" y="35"/>
                  </a:lnTo>
                  <a:lnTo>
                    <a:pt x="14" y="35"/>
                  </a:lnTo>
                  <a:lnTo>
                    <a:pt x="12" y="35"/>
                  </a:lnTo>
                  <a:lnTo>
                    <a:pt x="12" y="38"/>
                  </a:lnTo>
                  <a:lnTo>
                    <a:pt x="10" y="38"/>
                  </a:lnTo>
                  <a:lnTo>
                    <a:pt x="7" y="38"/>
                  </a:lnTo>
                  <a:lnTo>
                    <a:pt x="7" y="35"/>
                  </a:lnTo>
                  <a:lnTo>
                    <a:pt x="5" y="35"/>
                  </a:lnTo>
                  <a:lnTo>
                    <a:pt x="5" y="33"/>
                  </a:lnTo>
                  <a:lnTo>
                    <a:pt x="3" y="33"/>
                  </a:lnTo>
                  <a:lnTo>
                    <a:pt x="3" y="31"/>
                  </a:lnTo>
                  <a:lnTo>
                    <a:pt x="3" y="28"/>
                  </a:lnTo>
                  <a:lnTo>
                    <a:pt x="0" y="28"/>
                  </a:lnTo>
                  <a:lnTo>
                    <a:pt x="3" y="26"/>
                  </a:lnTo>
                  <a:lnTo>
                    <a:pt x="3" y="24"/>
                  </a:lnTo>
                  <a:lnTo>
                    <a:pt x="0" y="24"/>
                  </a:lnTo>
                  <a:lnTo>
                    <a:pt x="0" y="21"/>
                  </a:lnTo>
                  <a:lnTo>
                    <a:pt x="0" y="19"/>
                  </a:lnTo>
                  <a:lnTo>
                    <a:pt x="3" y="19"/>
                  </a:lnTo>
                  <a:lnTo>
                    <a:pt x="5" y="16"/>
                  </a:lnTo>
                  <a:lnTo>
                    <a:pt x="7" y="16"/>
                  </a:lnTo>
                  <a:lnTo>
                    <a:pt x="10" y="14"/>
                  </a:lnTo>
                  <a:lnTo>
                    <a:pt x="12" y="12"/>
                  </a:lnTo>
                  <a:lnTo>
                    <a:pt x="12" y="14"/>
                  </a:lnTo>
                  <a:lnTo>
                    <a:pt x="12" y="12"/>
                  </a:lnTo>
                  <a:lnTo>
                    <a:pt x="14" y="12"/>
                  </a:lnTo>
                  <a:lnTo>
                    <a:pt x="17" y="9"/>
                  </a:lnTo>
                  <a:lnTo>
                    <a:pt x="19" y="9"/>
                  </a:lnTo>
                  <a:lnTo>
                    <a:pt x="19" y="7"/>
                  </a:lnTo>
                  <a:lnTo>
                    <a:pt x="22" y="7"/>
                  </a:lnTo>
                  <a:lnTo>
                    <a:pt x="19" y="7"/>
                  </a:lnTo>
                  <a:lnTo>
                    <a:pt x="22" y="7"/>
                  </a:lnTo>
                  <a:lnTo>
                    <a:pt x="24" y="7"/>
                  </a:lnTo>
                  <a:lnTo>
                    <a:pt x="26" y="7"/>
                  </a:lnTo>
                  <a:lnTo>
                    <a:pt x="26" y="9"/>
                  </a:lnTo>
                  <a:lnTo>
                    <a:pt x="29" y="12"/>
                  </a:lnTo>
                  <a:lnTo>
                    <a:pt x="31" y="12"/>
                  </a:lnTo>
                  <a:lnTo>
                    <a:pt x="31" y="9"/>
                  </a:lnTo>
                  <a:lnTo>
                    <a:pt x="33" y="9"/>
                  </a:lnTo>
                  <a:lnTo>
                    <a:pt x="36" y="9"/>
                  </a:lnTo>
                  <a:lnTo>
                    <a:pt x="38" y="9"/>
                  </a:lnTo>
                  <a:lnTo>
                    <a:pt x="38" y="12"/>
                  </a:lnTo>
                  <a:lnTo>
                    <a:pt x="41" y="12"/>
                  </a:lnTo>
                  <a:lnTo>
                    <a:pt x="41" y="14"/>
                  </a:lnTo>
                  <a:lnTo>
                    <a:pt x="43" y="14"/>
                  </a:lnTo>
                  <a:lnTo>
                    <a:pt x="45" y="14"/>
                  </a:lnTo>
                  <a:lnTo>
                    <a:pt x="43" y="14"/>
                  </a:lnTo>
                  <a:lnTo>
                    <a:pt x="45" y="14"/>
                  </a:lnTo>
                  <a:lnTo>
                    <a:pt x="48" y="14"/>
                  </a:lnTo>
                  <a:lnTo>
                    <a:pt x="48" y="12"/>
                  </a:lnTo>
                  <a:lnTo>
                    <a:pt x="50" y="12"/>
                  </a:lnTo>
                  <a:lnTo>
                    <a:pt x="52" y="9"/>
                  </a:lnTo>
                  <a:lnTo>
                    <a:pt x="55" y="7"/>
                  </a:lnTo>
                  <a:lnTo>
                    <a:pt x="57" y="7"/>
                  </a:lnTo>
                  <a:lnTo>
                    <a:pt x="57" y="9"/>
                  </a:lnTo>
                  <a:lnTo>
                    <a:pt x="57" y="12"/>
                  </a:lnTo>
                  <a:lnTo>
                    <a:pt x="60" y="12"/>
                  </a:lnTo>
                  <a:lnTo>
                    <a:pt x="62" y="12"/>
                  </a:lnTo>
                  <a:lnTo>
                    <a:pt x="60" y="14"/>
                  </a:lnTo>
                  <a:lnTo>
                    <a:pt x="60" y="16"/>
                  </a:lnTo>
                  <a:lnTo>
                    <a:pt x="57" y="16"/>
                  </a:lnTo>
                  <a:lnTo>
                    <a:pt x="57" y="19"/>
                  </a:lnTo>
                  <a:lnTo>
                    <a:pt x="55" y="19"/>
                  </a:lnTo>
                  <a:lnTo>
                    <a:pt x="52" y="19"/>
                  </a:lnTo>
                  <a:lnTo>
                    <a:pt x="55" y="19"/>
                  </a:lnTo>
                  <a:lnTo>
                    <a:pt x="55" y="21"/>
                  </a:lnTo>
                  <a:lnTo>
                    <a:pt x="55" y="19"/>
                  </a:lnTo>
                  <a:lnTo>
                    <a:pt x="52" y="19"/>
                  </a:lnTo>
                  <a:lnTo>
                    <a:pt x="55" y="19"/>
                  </a:lnTo>
                  <a:lnTo>
                    <a:pt x="57" y="19"/>
                  </a:lnTo>
                  <a:lnTo>
                    <a:pt x="60" y="19"/>
                  </a:lnTo>
                  <a:lnTo>
                    <a:pt x="57" y="19"/>
                  </a:lnTo>
                  <a:lnTo>
                    <a:pt x="60" y="19"/>
                  </a:lnTo>
                  <a:lnTo>
                    <a:pt x="60" y="21"/>
                  </a:lnTo>
                  <a:lnTo>
                    <a:pt x="60" y="19"/>
                  </a:lnTo>
                  <a:lnTo>
                    <a:pt x="57" y="19"/>
                  </a:lnTo>
                  <a:lnTo>
                    <a:pt x="60" y="19"/>
                  </a:lnTo>
                  <a:lnTo>
                    <a:pt x="60" y="16"/>
                  </a:lnTo>
                  <a:lnTo>
                    <a:pt x="60" y="14"/>
                  </a:lnTo>
                  <a:lnTo>
                    <a:pt x="62" y="12"/>
                  </a:lnTo>
                  <a:lnTo>
                    <a:pt x="60" y="12"/>
                  </a:lnTo>
                  <a:lnTo>
                    <a:pt x="57" y="12"/>
                  </a:lnTo>
                  <a:lnTo>
                    <a:pt x="60" y="9"/>
                  </a:lnTo>
                  <a:lnTo>
                    <a:pt x="57" y="9"/>
                  </a:lnTo>
                  <a:lnTo>
                    <a:pt x="57" y="7"/>
                  </a:lnTo>
                  <a:lnTo>
                    <a:pt x="55" y="7"/>
                  </a:lnTo>
                  <a:lnTo>
                    <a:pt x="55" y="5"/>
                  </a:lnTo>
                  <a:lnTo>
                    <a:pt x="57" y="5"/>
                  </a:lnTo>
                  <a:lnTo>
                    <a:pt x="60" y="5"/>
                  </a:lnTo>
                  <a:lnTo>
                    <a:pt x="60" y="7"/>
                  </a:lnTo>
                  <a:lnTo>
                    <a:pt x="62" y="7"/>
                  </a:lnTo>
                  <a:lnTo>
                    <a:pt x="62" y="5"/>
                  </a:lnTo>
                  <a:lnTo>
                    <a:pt x="60" y="5"/>
                  </a:lnTo>
                  <a:lnTo>
                    <a:pt x="60" y="2"/>
                  </a:lnTo>
                  <a:lnTo>
                    <a:pt x="62" y="2"/>
                  </a:lnTo>
                  <a:lnTo>
                    <a:pt x="62" y="0"/>
                  </a:lnTo>
                  <a:lnTo>
                    <a:pt x="64" y="0"/>
                  </a:lnTo>
                  <a:lnTo>
                    <a:pt x="67" y="0"/>
                  </a:lnTo>
                  <a:lnTo>
                    <a:pt x="64" y="2"/>
                  </a:lnTo>
                  <a:lnTo>
                    <a:pt x="67" y="2"/>
                  </a:lnTo>
                  <a:lnTo>
                    <a:pt x="69" y="2"/>
                  </a:lnTo>
                  <a:lnTo>
                    <a:pt x="71" y="2"/>
                  </a:lnTo>
                  <a:lnTo>
                    <a:pt x="71" y="0"/>
                  </a:lnTo>
                  <a:lnTo>
                    <a:pt x="74" y="0"/>
                  </a:lnTo>
                  <a:lnTo>
                    <a:pt x="76" y="0"/>
                  </a:lnTo>
                  <a:lnTo>
                    <a:pt x="76" y="2"/>
                  </a:lnTo>
                  <a:lnTo>
                    <a:pt x="74"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6" name="Freeform 50279"/>
            <p:cNvSpPr>
              <a:spLocks noEditPoints="1"/>
            </p:cNvSpPr>
            <p:nvPr/>
          </p:nvSpPr>
          <p:spPr bwMode="auto">
            <a:xfrm>
              <a:off x="2849561" y="5056205"/>
              <a:ext cx="204788" cy="200025"/>
            </a:xfrm>
            <a:custGeom>
              <a:avLst/>
              <a:gdLst>
                <a:gd name="T0" fmla="*/ 43 w 129"/>
                <a:gd name="T1" fmla="*/ 2 h 126"/>
                <a:gd name="T2" fmla="*/ 43 w 129"/>
                <a:gd name="T3" fmla="*/ 5 h 126"/>
                <a:gd name="T4" fmla="*/ 53 w 129"/>
                <a:gd name="T5" fmla="*/ 5 h 126"/>
                <a:gd name="T6" fmla="*/ 57 w 129"/>
                <a:gd name="T7" fmla="*/ 9 h 126"/>
                <a:gd name="T8" fmla="*/ 62 w 129"/>
                <a:gd name="T9" fmla="*/ 7 h 126"/>
                <a:gd name="T10" fmla="*/ 69 w 129"/>
                <a:gd name="T11" fmla="*/ 12 h 126"/>
                <a:gd name="T12" fmla="*/ 79 w 129"/>
                <a:gd name="T13" fmla="*/ 7 h 126"/>
                <a:gd name="T14" fmla="*/ 86 w 129"/>
                <a:gd name="T15" fmla="*/ 9 h 126"/>
                <a:gd name="T16" fmla="*/ 93 w 129"/>
                <a:gd name="T17" fmla="*/ 9 h 126"/>
                <a:gd name="T18" fmla="*/ 98 w 129"/>
                <a:gd name="T19" fmla="*/ 12 h 126"/>
                <a:gd name="T20" fmla="*/ 102 w 129"/>
                <a:gd name="T21" fmla="*/ 14 h 126"/>
                <a:gd name="T22" fmla="*/ 102 w 129"/>
                <a:gd name="T23" fmla="*/ 21 h 126"/>
                <a:gd name="T24" fmla="*/ 114 w 129"/>
                <a:gd name="T25" fmla="*/ 19 h 126"/>
                <a:gd name="T26" fmla="*/ 121 w 129"/>
                <a:gd name="T27" fmla="*/ 19 h 126"/>
                <a:gd name="T28" fmla="*/ 119 w 129"/>
                <a:gd name="T29" fmla="*/ 28 h 126"/>
                <a:gd name="T30" fmla="*/ 114 w 129"/>
                <a:gd name="T31" fmla="*/ 35 h 126"/>
                <a:gd name="T32" fmla="*/ 112 w 129"/>
                <a:gd name="T33" fmla="*/ 40 h 126"/>
                <a:gd name="T34" fmla="*/ 119 w 129"/>
                <a:gd name="T35" fmla="*/ 47 h 126"/>
                <a:gd name="T36" fmla="*/ 121 w 129"/>
                <a:gd name="T37" fmla="*/ 54 h 126"/>
                <a:gd name="T38" fmla="*/ 129 w 129"/>
                <a:gd name="T39" fmla="*/ 59 h 126"/>
                <a:gd name="T40" fmla="*/ 119 w 129"/>
                <a:gd name="T41" fmla="*/ 62 h 126"/>
                <a:gd name="T42" fmla="*/ 117 w 129"/>
                <a:gd name="T43" fmla="*/ 64 h 126"/>
                <a:gd name="T44" fmla="*/ 124 w 129"/>
                <a:gd name="T45" fmla="*/ 71 h 126"/>
                <a:gd name="T46" fmla="*/ 124 w 129"/>
                <a:gd name="T47" fmla="*/ 78 h 126"/>
                <a:gd name="T48" fmla="*/ 124 w 129"/>
                <a:gd name="T49" fmla="*/ 78 h 126"/>
                <a:gd name="T50" fmla="*/ 119 w 129"/>
                <a:gd name="T51" fmla="*/ 78 h 126"/>
                <a:gd name="T52" fmla="*/ 112 w 129"/>
                <a:gd name="T53" fmla="*/ 83 h 126"/>
                <a:gd name="T54" fmla="*/ 107 w 129"/>
                <a:gd name="T55" fmla="*/ 85 h 126"/>
                <a:gd name="T56" fmla="*/ 112 w 129"/>
                <a:gd name="T57" fmla="*/ 92 h 126"/>
                <a:gd name="T58" fmla="*/ 107 w 129"/>
                <a:gd name="T59" fmla="*/ 90 h 126"/>
                <a:gd name="T60" fmla="*/ 98 w 129"/>
                <a:gd name="T61" fmla="*/ 95 h 126"/>
                <a:gd name="T62" fmla="*/ 95 w 129"/>
                <a:gd name="T63" fmla="*/ 104 h 126"/>
                <a:gd name="T64" fmla="*/ 91 w 129"/>
                <a:gd name="T65" fmla="*/ 116 h 126"/>
                <a:gd name="T66" fmla="*/ 95 w 129"/>
                <a:gd name="T67" fmla="*/ 123 h 126"/>
                <a:gd name="T68" fmla="*/ 86 w 129"/>
                <a:gd name="T69" fmla="*/ 123 h 126"/>
                <a:gd name="T70" fmla="*/ 76 w 129"/>
                <a:gd name="T71" fmla="*/ 116 h 126"/>
                <a:gd name="T72" fmla="*/ 69 w 129"/>
                <a:gd name="T73" fmla="*/ 111 h 126"/>
                <a:gd name="T74" fmla="*/ 62 w 129"/>
                <a:gd name="T75" fmla="*/ 109 h 126"/>
                <a:gd name="T76" fmla="*/ 65 w 129"/>
                <a:gd name="T77" fmla="*/ 109 h 126"/>
                <a:gd name="T78" fmla="*/ 65 w 129"/>
                <a:gd name="T79" fmla="*/ 104 h 126"/>
                <a:gd name="T80" fmla="*/ 60 w 129"/>
                <a:gd name="T81" fmla="*/ 100 h 126"/>
                <a:gd name="T82" fmla="*/ 53 w 129"/>
                <a:gd name="T83" fmla="*/ 92 h 126"/>
                <a:gd name="T84" fmla="*/ 48 w 129"/>
                <a:gd name="T85" fmla="*/ 85 h 126"/>
                <a:gd name="T86" fmla="*/ 34 w 129"/>
                <a:gd name="T87" fmla="*/ 66 h 126"/>
                <a:gd name="T88" fmla="*/ 27 w 129"/>
                <a:gd name="T89" fmla="*/ 62 h 126"/>
                <a:gd name="T90" fmla="*/ 22 w 129"/>
                <a:gd name="T91" fmla="*/ 54 h 126"/>
                <a:gd name="T92" fmla="*/ 15 w 129"/>
                <a:gd name="T93" fmla="*/ 50 h 126"/>
                <a:gd name="T94" fmla="*/ 15 w 129"/>
                <a:gd name="T95" fmla="*/ 43 h 126"/>
                <a:gd name="T96" fmla="*/ 10 w 129"/>
                <a:gd name="T97" fmla="*/ 31 h 126"/>
                <a:gd name="T98" fmla="*/ 3 w 129"/>
                <a:gd name="T99" fmla="*/ 21 h 126"/>
                <a:gd name="T100" fmla="*/ 0 w 129"/>
                <a:gd name="T101" fmla="*/ 12 h 126"/>
                <a:gd name="T102" fmla="*/ 5 w 129"/>
                <a:gd name="T103" fmla="*/ 2 h 126"/>
                <a:gd name="T104" fmla="*/ 10 w 129"/>
                <a:gd name="T105" fmla="*/ 5 h 126"/>
                <a:gd name="T106" fmla="*/ 17 w 129"/>
                <a:gd name="T107" fmla="*/ 12 h 126"/>
                <a:gd name="T108" fmla="*/ 22 w 129"/>
                <a:gd name="T109" fmla="*/ 9 h 126"/>
                <a:gd name="T110" fmla="*/ 29 w 129"/>
                <a:gd name="T111" fmla="*/ 5 h 126"/>
                <a:gd name="T112" fmla="*/ 38 w 129"/>
                <a:gd name="T113" fmla="*/ 5 h 126"/>
                <a:gd name="T114" fmla="*/ 41 w 129"/>
                <a:gd name="T115"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 h="126">
                  <a:moveTo>
                    <a:pt x="124" y="81"/>
                  </a:moveTo>
                  <a:lnTo>
                    <a:pt x="121" y="81"/>
                  </a:lnTo>
                  <a:lnTo>
                    <a:pt x="124" y="81"/>
                  </a:lnTo>
                  <a:close/>
                  <a:moveTo>
                    <a:pt x="41" y="2"/>
                  </a:moveTo>
                  <a:lnTo>
                    <a:pt x="43" y="2"/>
                  </a:lnTo>
                  <a:lnTo>
                    <a:pt x="41" y="2"/>
                  </a:lnTo>
                  <a:lnTo>
                    <a:pt x="43" y="2"/>
                  </a:lnTo>
                  <a:lnTo>
                    <a:pt x="43" y="5"/>
                  </a:lnTo>
                  <a:lnTo>
                    <a:pt x="43" y="2"/>
                  </a:lnTo>
                  <a:lnTo>
                    <a:pt x="43" y="5"/>
                  </a:lnTo>
                  <a:lnTo>
                    <a:pt x="46" y="5"/>
                  </a:lnTo>
                  <a:lnTo>
                    <a:pt x="48" y="7"/>
                  </a:lnTo>
                  <a:lnTo>
                    <a:pt x="50" y="7"/>
                  </a:lnTo>
                  <a:lnTo>
                    <a:pt x="50" y="5"/>
                  </a:lnTo>
                  <a:lnTo>
                    <a:pt x="53" y="5"/>
                  </a:lnTo>
                  <a:lnTo>
                    <a:pt x="53" y="7"/>
                  </a:lnTo>
                  <a:lnTo>
                    <a:pt x="55" y="7"/>
                  </a:lnTo>
                  <a:lnTo>
                    <a:pt x="57" y="7"/>
                  </a:lnTo>
                  <a:lnTo>
                    <a:pt x="60" y="7"/>
                  </a:lnTo>
                  <a:lnTo>
                    <a:pt x="57" y="9"/>
                  </a:lnTo>
                  <a:lnTo>
                    <a:pt x="60" y="9"/>
                  </a:lnTo>
                  <a:lnTo>
                    <a:pt x="60" y="7"/>
                  </a:lnTo>
                  <a:lnTo>
                    <a:pt x="60" y="9"/>
                  </a:lnTo>
                  <a:lnTo>
                    <a:pt x="62" y="9"/>
                  </a:lnTo>
                  <a:lnTo>
                    <a:pt x="62" y="7"/>
                  </a:lnTo>
                  <a:lnTo>
                    <a:pt x="65" y="7"/>
                  </a:lnTo>
                  <a:lnTo>
                    <a:pt x="65" y="9"/>
                  </a:lnTo>
                  <a:lnTo>
                    <a:pt x="67" y="9"/>
                  </a:lnTo>
                  <a:lnTo>
                    <a:pt x="69" y="9"/>
                  </a:lnTo>
                  <a:lnTo>
                    <a:pt x="69" y="12"/>
                  </a:lnTo>
                  <a:lnTo>
                    <a:pt x="72" y="12"/>
                  </a:lnTo>
                  <a:lnTo>
                    <a:pt x="74" y="9"/>
                  </a:lnTo>
                  <a:lnTo>
                    <a:pt x="74" y="7"/>
                  </a:lnTo>
                  <a:lnTo>
                    <a:pt x="76" y="7"/>
                  </a:lnTo>
                  <a:lnTo>
                    <a:pt x="79" y="7"/>
                  </a:lnTo>
                  <a:lnTo>
                    <a:pt x="79" y="9"/>
                  </a:lnTo>
                  <a:lnTo>
                    <a:pt x="81" y="9"/>
                  </a:lnTo>
                  <a:lnTo>
                    <a:pt x="83" y="9"/>
                  </a:lnTo>
                  <a:lnTo>
                    <a:pt x="83" y="7"/>
                  </a:lnTo>
                  <a:lnTo>
                    <a:pt x="86" y="9"/>
                  </a:lnTo>
                  <a:lnTo>
                    <a:pt x="88" y="9"/>
                  </a:lnTo>
                  <a:lnTo>
                    <a:pt x="91" y="9"/>
                  </a:lnTo>
                  <a:lnTo>
                    <a:pt x="91" y="12"/>
                  </a:lnTo>
                  <a:lnTo>
                    <a:pt x="93" y="12"/>
                  </a:lnTo>
                  <a:lnTo>
                    <a:pt x="93" y="9"/>
                  </a:lnTo>
                  <a:lnTo>
                    <a:pt x="95" y="9"/>
                  </a:lnTo>
                  <a:lnTo>
                    <a:pt x="95" y="12"/>
                  </a:lnTo>
                  <a:lnTo>
                    <a:pt x="95" y="9"/>
                  </a:lnTo>
                  <a:lnTo>
                    <a:pt x="95" y="12"/>
                  </a:lnTo>
                  <a:lnTo>
                    <a:pt x="98" y="12"/>
                  </a:lnTo>
                  <a:lnTo>
                    <a:pt x="98" y="9"/>
                  </a:lnTo>
                  <a:lnTo>
                    <a:pt x="98" y="12"/>
                  </a:lnTo>
                  <a:lnTo>
                    <a:pt x="100" y="12"/>
                  </a:lnTo>
                  <a:lnTo>
                    <a:pt x="100" y="14"/>
                  </a:lnTo>
                  <a:lnTo>
                    <a:pt x="102" y="14"/>
                  </a:lnTo>
                  <a:lnTo>
                    <a:pt x="102" y="16"/>
                  </a:lnTo>
                  <a:lnTo>
                    <a:pt x="100" y="16"/>
                  </a:lnTo>
                  <a:lnTo>
                    <a:pt x="100" y="19"/>
                  </a:lnTo>
                  <a:lnTo>
                    <a:pt x="102" y="19"/>
                  </a:lnTo>
                  <a:lnTo>
                    <a:pt x="102" y="21"/>
                  </a:lnTo>
                  <a:lnTo>
                    <a:pt x="105" y="21"/>
                  </a:lnTo>
                  <a:lnTo>
                    <a:pt x="107" y="21"/>
                  </a:lnTo>
                  <a:lnTo>
                    <a:pt x="110" y="21"/>
                  </a:lnTo>
                  <a:lnTo>
                    <a:pt x="112" y="19"/>
                  </a:lnTo>
                  <a:lnTo>
                    <a:pt x="114" y="19"/>
                  </a:lnTo>
                  <a:lnTo>
                    <a:pt x="114" y="16"/>
                  </a:lnTo>
                  <a:lnTo>
                    <a:pt x="114" y="19"/>
                  </a:lnTo>
                  <a:lnTo>
                    <a:pt x="117" y="19"/>
                  </a:lnTo>
                  <a:lnTo>
                    <a:pt x="119" y="19"/>
                  </a:lnTo>
                  <a:lnTo>
                    <a:pt x="121" y="19"/>
                  </a:lnTo>
                  <a:lnTo>
                    <a:pt x="121" y="21"/>
                  </a:lnTo>
                  <a:lnTo>
                    <a:pt x="119" y="21"/>
                  </a:lnTo>
                  <a:lnTo>
                    <a:pt x="119" y="24"/>
                  </a:lnTo>
                  <a:lnTo>
                    <a:pt x="119" y="26"/>
                  </a:lnTo>
                  <a:lnTo>
                    <a:pt x="119" y="28"/>
                  </a:lnTo>
                  <a:lnTo>
                    <a:pt x="117" y="28"/>
                  </a:lnTo>
                  <a:lnTo>
                    <a:pt x="117" y="31"/>
                  </a:lnTo>
                  <a:lnTo>
                    <a:pt x="117" y="33"/>
                  </a:lnTo>
                  <a:lnTo>
                    <a:pt x="114" y="33"/>
                  </a:lnTo>
                  <a:lnTo>
                    <a:pt x="114" y="35"/>
                  </a:lnTo>
                  <a:lnTo>
                    <a:pt x="112" y="35"/>
                  </a:lnTo>
                  <a:lnTo>
                    <a:pt x="112" y="38"/>
                  </a:lnTo>
                  <a:lnTo>
                    <a:pt x="114" y="38"/>
                  </a:lnTo>
                  <a:lnTo>
                    <a:pt x="114" y="40"/>
                  </a:lnTo>
                  <a:lnTo>
                    <a:pt x="112" y="40"/>
                  </a:lnTo>
                  <a:lnTo>
                    <a:pt x="112" y="43"/>
                  </a:lnTo>
                  <a:lnTo>
                    <a:pt x="112" y="45"/>
                  </a:lnTo>
                  <a:lnTo>
                    <a:pt x="114" y="47"/>
                  </a:lnTo>
                  <a:lnTo>
                    <a:pt x="117" y="47"/>
                  </a:lnTo>
                  <a:lnTo>
                    <a:pt x="119" y="47"/>
                  </a:lnTo>
                  <a:lnTo>
                    <a:pt x="119" y="50"/>
                  </a:lnTo>
                  <a:lnTo>
                    <a:pt x="121" y="50"/>
                  </a:lnTo>
                  <a:lnTo>
                    <a:pt x="119" y="50"/>
                  </a:lnTo>
                  <a:lnTo>
                    <a:pt x="121" y="52"/>
                  </a:lnTo>
                  <a:lnTo>
                    <a:pt x="121" y="54"/>
                  </a:lnTo>
                  <a:lnTo>
                    <a:pt x="124" y="54"/>
                  </a:lnTo>
                  <a:lnTo>
                    <a:pt x="126" y="57"/>
                  </a:lnTo>
                  <a:lnTo>
                    <a:pt x="129" y="59"/>
                  </a:lnTo>
                  <a:lnTo>
                    <a:pt x="129" y="57"/>
                  </a:lnTo>
                  <a:lnTo>
                    <a:pt x="129" y="59"/>
                  </a:lnTo>
                  <a:lnTo>
                    <a:pt x="126" y="59"/>
                  </a:lnTo>
                  <a:lnTo>
                    <a:pt x="126" y="62"/>
                  </a:lnTo>
                  <a:lnTo>
                    <a:pt x="124" y="62"/>
                  </a:lnTo>
                  <a:lnTo>
                    <a:pt x="121" y="62"/>
                  </a:lnTo>
                  <a:lnTo>
                    <a:pt x="119" y="62"/>
                  </a:lnTo>
                  <a:lnTo>
                    <a:pt x="119" y="59"/>
                  </a:lnTo>
                  <a:lnTo>
                    <a:pt x="119" y="62"/>
                  </a:lnTo>
                  <a:lnTo>
                    <a:pt x="117" y="59"/>
                  </a:lnTo>
                  <a:lnTo>
                    <a:pt x="117" y="62"/>
                  </a:lnTo>
                  <a:lnTo>
                    <a:pt x="117" y="64"/>
                  </a:lnTo>
                  <a:lnTo>
                    <a:pt x="119" y="64"/>
                  </a:lnTo>
                  <a:lnTo>
                    <a:pt x="119" y="66"/>
                  </a:lnTo>
                  <a:lnTo>
                    <a:pt x="121" y="69"/>
                  </a:lnTo>
                  <a:lnTo>
                    <a:pt x="121" y="71"/>
                  </a:lnTo>
                  <a:lnTo>
                    <a:pt x="124" y="71"/>
                  </a:lnTo>
                  <a:lnTo>
                    <a:pt x="124" y="73"/>
                  </a:lnTo>
                  <a:lnTo>
                    <a:pt x="126" y="73"/>
                  </a:lnTo>
                  <a:lnTo>
                    <a:pt x="126" y="76"/>
                  </a:lnTo>
                  <a:lnTo>
                    <a:pt x="126" y="78"/>
                  </a:lnTo>
                  <a:lnTo>
                    <a:pt x="124" y="78"/>
                  </a:lnTo>
                  <a:lnTo>
                    <a:pt x="124" y="76"/>
                  </a:lnTo>
                  <a:lnTo>
                    <a:pt x="124" y="78"/>
                  </a:lnTo>
                  <a:lnTo>
                    <a:pt x="126" y="78"/>
                  </a:lnTo>
                  <a:lnTo>
                    <a:pt x="124" y="81"/>
                  </a:lnTo>
                  <a:lnTo>
                    <a:pt x="124" y="78"/>
                  </a:lnTo>
                  <a:lnTo>
                    <a:pt x="121" y="81"/>
                  </a:lnTo>
                  <a:lnTo>
                    <a:pt x="121" y="78"/>
                  </a:lnTo>
                  <a:lnTo>
                    <a:pt x="121" y="81"/>
                  </a:lnTo>
                  <a:lnTo>
                    <a:pt x="121" y="78"/>
                  </a:lnTo>
                  <a:lnTo>
                    <a:pt x="119" y="78"/>
                  </a:lnTo>
                  <a:lnTo>
                    <a:pt x="117" y="78"/>
                  </a:lnTo>
                  <a:lnTo>
                    <a:pt x="117" y="81"/>
                  </a:lnTo>
                  <a:lnTo>
                    <a:pt x="117" y="83"/>
                  </a:lnTo>
                  <a:lnTo>
                    <a:pt x="114" y="83"/>
                  </a:lnTo>
                  <a:lnTo>
                    <a:pt x="112" y="83"/>
                  </a:lnTo>
                  <a:lnTo>
                    <a:pt x="110" y="83"/>
                  </a:lnTo>
                  <a:lnTo>
                    <a:pt x="110" y="81"/>
                  </a:lnTo>
                  <a:lnTo>
                    <a:pt x="107" y="81"/>
                  </a:lnTo>
                  <a:lnTo>
                    <a:pt x="107" y="83"/>
                  </a:lnTo>
                  <a:lnTo>
                    <a:pt x="107" y="85"/>
                  </a:lnTo>
                  <a:lnTo>
                    <a:pt x="110" y="85"/>
                  </a:lnTo>
                  <a:lnTo>
                    <a:pt x="110" y="88"/>
                  </a:lnTo>
                  <a:lnTo>
                    <a:pt x="110" y="90"/>
                  </a:lnTo>
                  <a:lnTo>
                    <a:pt x="112" y="90"/>
                  </a:lnTo>
                  <a:lnTo>
                    <a:pt x="112" y="92"/>
                  </a:lnTo>
                  <a:lnTo>
                    <a:pt x="110" y="92"/>
                  </a:lnTo>
                  <a:lnTo>
                    <a:pt x="110" y="95"/>
                  </a:lnTo>
                  <a:lnTo>
                    <a:pt x="107" y="95"/>
                  </a:lnTo>
                  <a:lnTo>
                    <a:pt x="107" y="92"/>
                  </a:lnTo>
                  <a:lnTo>
                    <a:pt x="107" y="90"/>
                  </a:lnTo>
                  <a:lnTo>
                    <a:pt x="105" y="90"/>
                  </a:lnTo>
                  <a:lnTo>
                    <a:pt x="102" y="90"/>
                  </a:lnTo>
                  <a:lnTo>
                    <a:pt x="102" y="92"/>
                  </a:lnTo>
                  <a:lnTo>
                    <a:pt x="100" y="92"/>
                  </a:lnTo>
                  <a:lnTo>
                    <a:pt x="98" y="95"/>
                  </a:lnTo>
                  <a:lnTo>
                    <a:pt x="98" y="97"/>
                  </a:lnTo>
                  <a:lnTo>
                    <a:pt x="98" y="100"/>
                  </a:lnTo>
                  <a:lnTo>
                    <a:pt x="98" y="102"/>
                  </a:lnTo>
                  <a:lnTo>
                    <a:pt x="98" y="104"/>
                  </a:lnTo>
                  <a:lnTo>
                    <a:pt x="95" y="104"/>
                  </a:lnTo>
                  <a:lnTo>
                    <a:pt x="93" y="107"/>
                  </a:lnTo>
                  <a:lnTo>
                    <a:pt x="93" y="109"/>
                  </a:lnTo>
                  <a:lnTo>
                    <a:pt x="93" y="111"/>
                  </a:lnTo>
                  <a:lnTo>
                    <a:pt x="91" y="114"/>
                  </a:lnTo>
                  <a:lnTo>
                    <a:pt x="91" y="116"/>
                  </a:lnTo>
                  <a:lnTo>
                    <a:pt x="91" y="119"/>
                  </a:lnTo>
                  <a:lnTo>
                    <a:pt x="93" y="119"/>
                  </a:lnTo>
                  <a:lnTo>
                    <a:pt x="93" y="121"/>
                  </a:lnTo>
                  <a:lnTo>
                    <a:pt x="95" y="121"/>
                  </a:lnTo>
                  <a:lnTo>
                    <a:pt x="95" y="123"/>
                  </a:lnTo>
                  <a:lnTo>
                    <a:pt x="93" y="123"/>
                  </a:lnTo>
                  <a:lnTo>
                    <a:pt x="91" y="126"/>
                  </a:lnTo>
                  <a:lnTo>
                    <a:pt x="88" y="126"/>
                  </a:lnTo>
                  <a:lnTo>
                    <a:pt x="88" y="123"/>
                  </a:lnTo>
                  <a:lnTo>
                    <a:pt x="86" y="123"/>
                  </a:lnTo>
                  <a:lnTo>
                    <a:pt x="83" y="123"/>
                  </a:lnTo>
                  <a:lnTo>
                    <a:pt x="81" y="121"/>
                  </a:lnTo>
                  <a:lnTo>
                    <a:pt x="79" y="121"/>
                  </a:lnTo>
                  <a:lnTo>
                    <a:pt x="76" y="119"/>
                  </a:lnTo>
                  <a:lnTo>
                    <a:pt x="76" y="116"/>
                  </a:lnTo>
                  <a:lnTo>
                    <a:pt x="74" y="116"/>
                  </a:lnTo>
                  <a:lnTo>
                    <a:pt x="72" y="116"/>
                  </a:lnTo>
                  <a:lnTo>
                    <a:pt x="72" y="114"/>
                  </a:lnTo>
                  <a:lnTo>
                    <a:pt x="72" y="111"/>
                  </a:lnTo>
                  <a:lnTo>
                    <a:pt x="69" y="111"/>
                  </a:lnTo>
                  <a:lnTo>
                    <a:pt x="67" y="109"/>
                  </a:lnTo>
                  <a:lnTo>
                    <a:pt x="67" y="111"/>
                  </a:lnTo>
                  <a:lnTo>
                    <a:pt x="65" y="111"/>
                  </a:lnTo>
                  <a:lnTo>
                    <a:pt x="62" y="111"/>
                  </a:lnTo>
                  <a:lnTo>
                    <a:pt x="62" y="109"/>
                  </a:lnTo>
                  <a:lnTo>
                    <a:pt x="60" y="109"/>
                  </a:lnTo>
                  <a:lnTo>
                    <a:pt x="62" y="109"/>
                  </a:lnTo>
                  <a:lnTo>
                    <a:pt x="62" y="111"/>
                  </a:lnTo>
                  <a:lnTo>
                    <a:pt x="62" y="109"/>
                  </a:lnTo>
                  <a:lnTo>
                    <a:pt x="65" y="109"/>
                  </a:lnTo>
                  <a:lnTo>
                    <a:pt x="67" y="107"/>
                  </a:lnTo>
                  <a:lnTo>
                    <a:pt x="65" y="104"/>
                  </a:lnTo>
                  <a:lnTo>
                    <a:pt x="67" y="104"/>
                  </a:lnTo>
                  <a:lnTo>
                    <a:pt x="65" y="102"/>
                  </a:lnTo>
                  <a:lnTo>
                    <a:pt x="65" y="104"/>
                  </a:lnTo>
                  <a:lnTo>
                    <a:pt x="67" y="104"/>
                  </a:lnTo>
                  <a:lnTo>
                    <a:pt x="65" y="104"/>
                  </a:lnTo>
                  <a:lnTo>
                    <a:pt x="65" y="102"/>
                  </a:lnTo>
                  <a:lnTo>
                    <a:pt x="62" y="100"/>
                  </a:lnTo>
                  <a:lnTo>
                    <a:pt x="60" y="100"/>
                  </a:lnTo>
                  <a:lnTo>
                    <a:pt x="57" y="100"/>
                  </a:lnTo>
                  <a:lnTo>
                    <a:pt x="57" y="97"/>
                  </a:lnTo>
                  <a:lnTo>
                    <a:pt x="57" y="95"/>
                  </a:lnTo>
                  <a:lnTo>
                    <a:pt x="55" y="95"/>
                  </a:lnTo>
                  <a:lnTo>
                    <a:pt x="53" y="92"/>
                  </a:lnTo>
                  <a:lnTo>
                    <a:pt x="53" y="90"/>
                  </a:lnTo>
                  <a:lnTo>
                    <a:pt x="53" y="88"/>
                  </a:lnTo>
                  <a:lnTo>
                    <a:pt x="53" y="85"/>
                  </a:lnTo>
                  <a:lnTo>
                    <a:pt x="50" y="85"/>
                  </a:lnTo>
                  <a:lnTo>
                    <a:pt x="48" y="85"/>
                  </a:lnTo>
                  <a:lnTo>
                    <a:pt x="48" y="83"/>
                  </a:lnTo>
                  <a:lnTo>
                    <a:pt x="38" y="73"/>
                  </a:lnTo>
                  <a:lnTo>
                    <a:pt x="34" y="71"/>
                  </a:lnTo>
                  <a:lnTo>
                    <a:pt x="34" y="69"/>
                  </a:lnTo>
                  <a:lnTo>
                    <a:pt x="34" y="66"/>
                  </a:lnTo>
                  <a:lnTo>
                    <a:pt x="31" y="66"/>
                  </a:lnTo>
                  <a:lnTo>
                    <a:pt x="31" y="64"/>
                  </a:lnTo>
                  <a:lnTo>
                    <a:pt x="29" y="64"/>
                  </a:lnTo>
                  <a:lnTo>
                    <a:pt x="29" y="62"/>
                  </a:lnTo>
                  <a:lnTo>
                    <a:pt x="27" y="62"/>
                  </a:lnTo>
                  <a:lnTo>
                    <a:pt x="27" y="59"/>
                  </a:lnTo>
                  <a:lnTo>
                    <a:pt x="24" y="59"/>
                  </a:lnTo>
                  <a:lnTo>
                    <a:pt x="24" y="57"/>
                  </a:lnTo>
                  <a:lnTo>
                    <a:pt x="22" y="57"/>
                  </a:lnTo>
                  <a:lnTo>
                    <a:pt x="22" y="54"/>
                  </a:lnTo>
                  <a:lnTo>
                    <a:pt x="19" y="54"/>
                  </a:lnTo>
                  <a:lnTo>
                    <a:pt x="19" y="52"/>
                  </a:lnTo>
                  <a:lnTo>
                    <a:pt x="17" y="52"/>
                  </a:lnTo>
                  <a:lnTo>
                    <a:pt x="17" y="50"/>
                  </a:lnTo>
                  <a:lnTo>
                    <a:pt x="15" y="50"/>
                  </a:lnTo>
                  <a:lnTo>
                    <a:pt x="15" y="47"/>
                  </a:lnTo>
                  <a:lnTo>
                    <a:pt x="15" y="45"/>
                  </a:lnTo>
                  <a:lnTo>
                    <a:pt x="17" y="45"/>
                  </a:lnTo>
                  <a:lnTo>
                    <a:pt x="17" y="43"/>
                  </a:lnTo>
                  <a:lnTo>
                    <a:pt x="15" y="43"/>
                  </a:lnTo>
                  <a:lnTo>
                    <a:pt x="15" y="40"/>
                  </a:lnTo>
                  <a:lnTo>
                    <a:pt x="15" y="38"/>
                  </a:lnTo>
                  <a:lnTo>
                    <a:pt x="15" y="35"/>
                  </a:lnTo>
                  <a:lnTo>
                    <a:pt x="12" y="35"/>
                  </a:lnTo>
                  <a:lnTo>
                    <a:pt x="10" y="31"/>
                  </a:lnTo>
                  <a:lnTo>
                    <a:pt x="8" y="28"/>
                  </a:lnTo>
                  <a:lnTo>
                    <a:pt x="8" y="26"/>
                  </a:lnTo>
                  <a:lnTo>
                    <a:pt x="5" y="26"/>
                  </a:lnTo>
                  <a:lnTo>
                    <a:pt x="5" y="24"/>
                  </a:lnTo>
                  <a:lnTo>
                    <a:pt x="3" y="21"/>
                  </a:lnTo>
                  <a:lnTo>
                    <a:pt x="3" y="19"/>
                  </a:lnTo>
                  <a:lnTo>
                    <a:pt x="0" y="19"/>
                  </a:lnTo>
                  <a:lnTo>
                    <a:pt x="0" y="16"/>
                  </a:lnTo>
                  <a:lnTo>
                    <a:pt x="0" y="14"/>
                  </a:lnTo>
                  <a:lnTo>
                    <a:pt x="0" y="12"/>
                  </a:lnTo>
                  <a:lnTo>
                    <a:pt x="3" y="12"/>
                  </a:lnTo>
                  <a:lnTo>
                    <a:pt x="3" y="9"/>
                  </a:lnTo>
                  <a:lnTo>
                    <a:pt x="3" y="7"/>
                  </a:lnTo>
                  <a:lnTo>
                    <a:pt x="3" y="5"/>
                  </a:lnTo>
                  <a:lnTo>
                    <a:pt x="5" y="2"/>
                  </a:lnTo>
                  <a:lnTo>
                    <a:pt x="5" y="5"/>
                  </a:lnTo>
                  <a:lnTo>
                    <a:pt x="5" y="2"/>
                  </a:lnTo>
                  <a:lnTo>
                    <a:pt x="8" y="2"/>
                  </a:lnTo>
                  <a:lnTo>
                    <a:pt x="8" y="5"/>
                  </a:lnTo>
                  <a:lnTo>
                    <a:pt x="10" y="5"/>
                  </a:lnTo>
                  <a:lnTo>
                    <a:pt x="12" y="7"/>
                  </a:lnTo>
                  <a:lnTo>
                    <a:pt x="12" y="9"/>
                  </a:lnTo>
                  <a:lnTo>
                    <a:pt x="15" y="9"/>
                  </a:lnTo>
                  <a:lnTo>
                    <a:pt x="15" y="12"/>
                  </a:lnTo>
                  <a:lnTo>
                    <a:pt x="17" y="12"/>
                  </a:lnTo>
                  <a:lnTo>
                    <a:pt x="17" y="14"/>
                  </a:lnTo>
                  <a:lnTo>
                    <a:pt x="19" y="14"/>
                  </a:lnTo>
                  <a:lnTo>
                    <a:pt x="22" y="14"/>
                  </a:lnTo>
                  <a:lnTo>
                    <a:pt x="22" y="12"/>
                  </a:lnTo>
                  <a:lnTo>
                    <a:pt x="22" y="9"/>
                  </a:lnTo>
                  <a:lnTo>
                    <a:pt x="24" y="7"/>
                  </a:lnTo>
                  <a:lnTo>
                    <a:pt x="24" y="5"/>
                  </a:lnTo>
                  <a:lnTo>
                    <a:pt x="27" y="5"/>
                  </a:lnTo>
                  <a:lnTo>
                    <a:pt x="27" y="2"/>
                  </a:lnTo>
                  <a:lnTo>
                    <a:pt x="29" y="5"/>
                  </a:lnTo>
                  <a:lnTo>
                    <a:pt x="29" y="2"/>
                  </a:lnTo>
                  <a:lnTo>
                    <a:pt x="31" y="5"/>
                  </a:lnTo>
                  <a:lnTo>
                    <a:pt x="34" y="5"/>
                  </a:lnTo>
                  <a:lnTo>
                    <a:pt x="36" y="5"/>
                  </a:lnTo>
                  <a:lnTo>
                    <a:pt x="38" y="5"/>
                  </a:lnTo>
                  <a:lnTo>
                    <a:pt x="36" y="5"/>
                  </a:lnTo>
                  <a:lnTo>
                    <a:pt x="38" y="2"/>
                  </a:lnTo>
                  <a:lnTo>
                    <a:pt x="36" y="2"/>
                  </a:lnTo>
                  <a:lnTo>
                    <a:pt x="38" y="2"/>
                  </a:lnTo>
                  <a:lnTo>
                    <a:pt x="41" y="2"/>
                  </a:lnTo>
                  <a:lnTo>
                    <a:pt x="41" y="0"/>
                  </a:lnTo>
                  <a:lnTo>
                    <a:pt x="41"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7" name="Freeform 50280"/>
            <p:cNvSpPr>
              <a:spLocks/>
            </p:cNvSpPr>
            <p:nvPr/>
          </p:nvSpPr>
          <p:spPr bwMode="auto">
            <a:xfrm>
              <a:off x="3197223" y="5135579"/>
              <a:ext cx="327025" cy="217488"/>
            </a:xfrm>
            <a:custGeom>
              <a:avLst/>
              <a:gdLst>
                <a:gd name="T0" fmla="*/ 23 w 206"/>
                <a:gd name="T1" fmla="*/ 7 h 137"/>
                <a:gd name="T2" fmla="*/ 19 w 206"/>
                <a:gd name="T3" fmla="*/ 19 h 137"/>
                <a:gd name="T4" fmla="*/ 35 w 206"/>
                <a:gd name="T5" fmla="*/ 16 h 137"/>
                <a:gd name="T6" fmla="*/ 47 w 206"/>
                <a:gd name="T7" fmla="*/ 21 h 137"/>
                <a:gd name="T8" fmla="*/ 61 w 206"/>
                <a:gd name="T9" fmla="*/ 23 h 137"/>
                <a:gd name="T10" fmla="*/ 76 w 206"/>
                <a:gd name="T11" fmla="*/ 23 h 137"/>
                <a:gd name="T12" fmla="*/ 90 w 206"/>
                <a:gd name="T13" fmla="*/ 26 h 137"/>
                <a:gd name="T14" fmla="*/ 104 w 206"/>
                <a:gd name="T15" fmla="*/ 26 h 137"/>
                <a:gd name="T16" fmla="*/ 118 w 206"/>
                <a:gd name="T17" fmla="*/ 19 h 137"/>
                <a:gd name="T18" fmla="*/ 128 w 206"/>
                <a:gd name="T19" fmla="*/ 9 h 137"/>
                <a:gd name="T20" fmla="*/ 147 w 206"/>
                <a:gd name="T21" fmla="*/ 7 h 137"/>
                <a:gd name="T22" fmla="*/ 163 w 206"/>
                <a:gd name="T23" fmla="*/ 4 h 137"/>
                <a:gd name="T24" fmla="*/ 178 w 206"/>
                <a:gd name="T25" fmla="*/ 12 h 137"/>
                <a:gd name="T26" fmla="*/ 197 w 206"/>
                <a:gd name="T27" fmla="*/ 21 h 137"/>
                <a:gd name="T28" fmla="*/ 206 w 206"/>
                <a:gd name="T29" fmla="*/ 33 h 137"/>
                <a:gd name="T30" fmla="*/ 197 w 206"/>
                <a:gd name="T31" fmla="*/ 38 h 137"/>
                <a:gd name="T32" fmla="*/ 187 w 206"/>
                <a:gd name="T33" fmla="*/ 47 h 137"/>
                <a:gd name="T34" fmla="*/ 182 w 206"/>
                <a:gd name="T35" fmla="*/ 47 h 137"/>
                <a:gd name="T36" fmla="*/ 182 w 206"/>
                <a:gd name="T37" fmla="*/ 59 h 137"/>
                <a:gd name="T38" fmla="*/ 178 w 206"/>
                <a:gd name="T39" fmla="*/ 73 h 137"/>
                <a:gd name="T40" fmla="*/ 173 w 206"/>
                <a:gd name="T41" fmla="*/ 76 h 137"/>
                <a:gd name="T42" fmla="*/ 168 w 206"/>
                <a:gd name="T43" fmla="*/ 80 h 137"/>
                <a:gd name="T44" fmla="*/ 175 w 206"/>
                <a:gd name="T45" fmla="*/ 80 h 137"/>
                <a:gd name="T46" fmla="*/ 178 w 206"/>
                <a:gd name="T47" fmla="*/ 83 h 137"/>
                <a:gd name="T48" fmla="*/ 178 w 206"/>
                <a:gd name="T49" fmla="*/ 92 h 137"/>
                <a:gd name="T50" fmla="*/ 185 w 206"/>
                <a:gd name="T51" fmla="*/ 97 h 137"/>
                <a:gd name="T52" fmla="*/ 185 w 206"/>
                <a:gd name="T53" fmla="*/ 102 h 137"/>
                <a:gd name="T54" fmla="*/ 178 w 206"/>
                <a:gd name="T55" fmla="*/ 104 h 137"/>
                <a:gd name="T56" fmla="*/ 168 w 206"/>
                <a:gd name="T57" fmla="*/ 104 h 137"/>
                <a:gd name="T58" fmla="*/ 159 w 206"/>
                <a:gd name="T59" fmla="*/ 99 h 137"/>
                <a:gd name="T60" fmla="*/ 154 w 206"/>
                <a:gd name="T61" fmla="*/ 102 h 137"/>
                <a:gd name="T62" fmla="*/ 142 w 206"/>
                <a:gd name="T63" fmla="*/ 104 h 137"/>
                <a:gd name="T64" fmla="*/ 130 w 206"/>
                <a:gd name="T65" fmla="*/ 114 h 137"/>
                <a:gd name="T66" fmla="*/ 123 w 206"/>
                <a:gd name="T67" fmla="*/ 118 h 137"/>
                <a:gd name="T68" fmla="*/ 125 w 206"/>
                <a:gd name="T69" fmla="*/ 133 h 137"/>
                <a:gd name="T70" fmla="*/ 116 w 206"/>
                <a:gd name="T71" fmla="*/ 133 h 137"/>
                <a:gd name="T72" fmla="*/ 107 w 206"/>
                <a:gd name="T73" fmla="*/ 133 h 137"/>
                <a:gd name="T74" fmla="*/ 95 w 206"/>
                <a:gd name="T75" fmla="*/ 135 h 137"/>
                <a:gd name="T76" fmla="*/ 80 w 206"/>
                <a:gd name="T77" fmla="*/ 130 h 137"/>
                <a:gd name="T78" fmla="*/ 73 w 206"/>
                <a:gd name="T79" fmla="*/ 123 h 137"/>
                <a:gd name="T80" fmla="*/ 59 w 206"/>
                <a:gd name="T81" fmla="*/ 126 h 137"/>
                <a:gd name="T82" fmla="*/ 52 w 206"/>
                <a:gd name="T83" fmla="*/ 128 h 137"/>
                <a:gd name="T84" fmla="*/ 40 w 206"/>
                <a:gd name="T85" fmla="*/ 130 h 137"/>
                <a:gd name="T86" fmla="*/ 23 w 206"/>
                <a:gd name="T87" fmla="*/ 133 h 137"/>
                <a:gd name="T88" fmla="*/ 21 w 206"/>
                <a:gd name="T89" fmla="*/ 121 h 137"/>
                <a:gd name="T90" fmla="*/ 21 w 206"/>
                <a:gd name="T91" fmla="*/ 111 h 137"/>
                <a:gd name="T92" fmla="*/ 12 w 206"/>
                <a:gd name="T93" fmla="*/ 99 h 137"/>
                <a:gd name="T94" fmla="*/ 2 w 206"/>
                <a:gd name="T95" fmla="*/ 88 h 137"/>
                <a:gd name="T96" fmla="*/ 4 w 206"/>
                <a:gd name="T97" fmla="*/ 78 h 137"/>
                <a:gd name="T98" fmla="*/ 2 w 206"/>
                <a:gd name="T99" fmla="*/ 64 h 137"/>
                <a:gd name="T100" fmla="*/ 14 w 206"/>
                <a:gd name="T101" fmla="*/ 61 h 137"/>
                <a:gd name="T102" fmla="*/ 21 w 206"/>
                <a:gd name="T103" fmla="*/ 50 h 137"/>
                <a:gd name="T104" fmla="*/ 14 w 206"/>
                <a:gd name="T105" fmla="*/ 38 h 137"/>
                <a:gd name="T106" fmla="*/ 4 w 206"/>
                <a:gd name="T107" fmla="*/ 33 h 137"/>
                <a:gd name="T108" fmla="*/ 0 w 206"/>
                <a:gd name="T109" fmla="*/ 16 h 137"/>
                <a:gd name="T110" fmla="*/ 9 w 206"/>
                <a:gd name="T111" fmla="*/ 7 h 137"/>
                <a:gd name="T112" fmla="*/ 12 w 206"/>
                <a:gd name="T11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6" h="137">
                  <a:moveTo>
                    <a:pt x="12" y="0"/>
                  </a:moveTo>
                  <a:lnTo>
                    <a:pt x="14" y="2"/>
                  </a:lnTo>
                  <a:lnTo>
                    <a:pt x="16" y="2"/>
                  </a:lnTo>
                  <a:lnTo>
                    <a:pt x="16" y="4"/>
                  </a:lnTo>
                  <a:lnTo>
                    <a:pt x="19" y="4"/>
                  </a:lnTo>
                  <a:lnTo>
                    <a:pt x="19" y="7"/>
                  </a:lnTo>
                  <a:lnTo>
                    <a:pt x="21" y="7"/>
                  </a:lnTo>
                  <a:lnTo>
                    <a:pt x="23" y="7"/>
                  </a:lnTo>
                  <a:lnTo>
                    <a:pt x="21" y="9"/>
                  </a:lnTo>
                  <a:lnTo>
                    <a:pt x="19" y="9"/>
                  </a:lnTo>
                  <a:lnTo>
                    <a:pt x="19" y="12"/>
                  </a:lnTo>
                  <a:lnTo>
                    <a:pt x="16" y="12"/>
                  </a:lnTo>
                  <a:lnTo>
                    <a:pt x="16" y="14"/>
                  </a:lnTo>
                  <a:lnTo>
                    <a:pt x="16" y="16"/>
                  </a:lnTo>
                  <a:lnTo>
                    <a:pt x="16" y="19"/>
                  </a:lnTo>
                  <a:lnTo>
                    <a:pt x="19" y="19"/>
                  </a:lnTo>
                  <a:lnTo>
                    <a:pt x="21" y="19"/>
                  </a:lnTo>
                  <a:lnTo>
                    <a:pt x="23" y="19"/>
                  </a:lnTo>
                  <a:lnTo>
                    <a:pt x="26" y="19"/>
                  </a:lnTo>
                  <a:lnTo>
                    <a:pt x="28" y="19"/>
                  </a:lnTo>
                  <a:lnTo>
                    <a:pt x="31" y="19"/>
                  </a:lnTo>
                  <a:lnTo>
                    <a:pt x="31" y="16"/>
                  </a:lnTo>
                  <a:lnTo>
                    <a:pt x="33" y="16"/>
                  </a:lnTo>
                  <a:lnTo>
                    <a:pt x="35" y="16"/>
                  </a:lnTo>
                  <a:lnTo>
                    <a:pt x="38" y="19"/>
                  </a:lnTo>
                  <a:lnTo>
                    <a:pt x="40" y="19"/>
                  </a:lnTo>
                  <a:lnTo>
                    <a:pt x="42" y="19"/>
                  </a:lnTo>
                  <a:lnTo>
                    <a:pt x="42" y="21"/>
                  </a:lnTo>
                  <a:lnTo>
                    <a:pt x="42" y="19"/>
                  </a:lnTo>
                  <a:lnTo>
                    <a:pt x="45" y="19"/>
                  </a:lnTo>
                  <a:lnTo>
                    <a:pt x="47" y="19"/>
                  </a:lnTo>
                  <a:lnTo>
                    <a:pt x="47" y="21"/>
                  </a:lnTo>
                  <a:lnTo>
                    <a:pt x="50" y="21"/>
                  </a:lnTo>
                  <a:lnTo>
                    <a:pt x="52" y="21"/>
                  </a:lnTo>
                  <a:lnTo>
                    <a:pt x="54" y="21"/>
                  </a:lnTo>
                  <a:lnTo>
                    <a:pt x="57" y="23"/>
                  </a:lnTo>
                  <a:lnTo>
                    <a:pt x="59" y="23"/>
                  </a:lnTo>
                  <a:lnTo>
                    <a:pt x="59" y="26"/>
                  </a:lnTo>
                  <a:lnTo>
                    <a:pt x="61" y="26"/>
                  </a:lnTo>
                  <a:lnTo>
                    <a:pt x="61" y="23"/>
                  </a:lnTo>
                  <a:lnTo>
                    <a:pt x="64" y="23"/>
                  </a:lnTo>
                  <a:lnTo>
                    <a:pt x="66" y="23"/>
                  </a:lnTo>
                  <a:lnTo>
                    <a:pt x="69" y="23"/>
                  </a:lnTo>
                  <a:lnTo>
                    <a:pt x="69" y="21"/>
                  </a:lnTo>
                  <a:lnTo>
                    <a:pt x="71" y="21"/>
                  </a:lnTo>
                  <a:lnTo>
                    <a:pt x="73" y="21"/>
                  </a:lnTo>
                  <a:lnTo>
                    <a:pt x="76" y="21"/>
                  </a:lnTo>
                  <a:lnTo>
                    <a:pt x="76" y="23"/>
                  </a:lnTo>
                  <a:lnTo>
                    <a:pt x="78" y="26"/>
                  </a:lnTo>
                  <a:lnTo>
                    <a:pt x="80" y="26"/>
                  </a:lnTo>
                  <a:lnTo>
                    <a:pt x="80" y="23"/>
                  </a:lnTo>
                  <a:lnTo>
                    <a:pt x="83" y="23"/>
                  </a:lnTo>
                  <a:lnTo>
                    <a:pt x="85" y="23"/>
                  </a:lnTo>
                  <a:lnTo>
                    <a:pt x="88" y="23"/>
                  </a:lnTo>
                  <a:lnTo>
                    <a:pt x="90" y="23"/>
                  </a:lnTo>
                  <a:lnTo>
                    <a:pt x="90" y="26"/>
                  </a:lnTo>
                  <a:lnTo>
                    <a:pt x="92" y="26"/>
                  </a:lnTo>
                  <a:lnTo>
                    <a:pt x="92" y="23"/>
                  </a:lnTo>
                  <a:lnTo>
                    <a:pt x="95" y="23"/>
                  </a:lnTo>
                  <a:lnTo>
                    <a:pt x="95" y="26"/>
                  </a:lnTo>
                  <a:lnTo>
                    <a:pt x="97" y="26"/>
                  </a:lnTo>
                  <a:lnTo>
                    <a:pt x="99" y="28"/>
                  </a:lnTo>
                  <a:lnTo>
                    <a:pt x="102" y="28"/>
                  </a:lnTo>
                  <a:lnTo>
                    <a:pt x="104" y="26"/>
                  </a:lnTo>
                  <a:lnTo>
                    <a:pt x="107" y="26"/>
                  </a:lnTo>
                  <a:lnTo>
                    <a:pt x="109" y="26"/>
                  </a:lnTo>
                  <a:lnTo>
                    <a:pt x="111" y="23"/>
                  </a:lnTo>
                  <a:lnTo>
                    <a:pt x="114" y="23"/>
                  </a:lnTo>
                  <a:lnTo>
                    <a:pt x="114" y="21"/>
                  </a:lnTo>
                  <a:lnTo>
                    <a:pt x="116" y="21"/>
                  </a:lnTo>
                  <a:lnTo>
                    <a:pt x="116" y="19"/>
                  </a:lnTo>
                  <a:lnTo>
                    <a:pt x="118" y="19"/>
                  </a:lnTo>
                  <a:lnTo>
                    <a:pt x="118" y="16"/>
                  </a:lnTo>
                  <a:lnTo>
                    <a:pt x="121" y="16"/>
                  </a:lnTo>
                  <a:lnTo>
                    <a:pt x="121" y="14"/>
                  </a:lnTo>
                  <a:lnTo>
                    <a:pt x="123" y="14"/>
                  </a:lnTo>
                  <a:lnTo>
                    <a:pt x="123" y="12"/>
                  </a:lnTo>
                  <a:lnTo>
                    <a:pt x="125" y="12"/>
                  </a:lnTo>
                  <a:lnTo>
                    <a:pt x="128" y="12"/>
                  </a:lnTo>
                  <a:lnTo>
                    <a:pt x="128" y="9"/>
                  </a:lnTo>
                  <a:lnTo>
                    <a:pt x="130" y="9"/>
                  </a:lnTo>
                  <a:lnTo>
                    <a:pt x="133" y="9"/>
                  </a:lnTo>
                  <a:lnTo>
                    <a:pt x="135" y="9"/>
                  </a:lnTo>
                  <a:lnTo>
                    <a:pt x="137" y="7"/>
                  </a:lnTo>
                  <a:lnTo>
                    <a:pt x="140" y="7"/>
                  </a:lnTo>
                  <a:lnTo>
                    <a:pt x="142" y="7"/>
                  </a:lnTo>
                  <a:lnTo>
                    <a:pt x="144" y="7"/>
                  </a:lnTo>
                  <a:lnTo>
                    <a:pt x="147" y="7"/>
                  </a:lnTo>
                  <a:lnTo>
                    <a:pt x="147" y="4"/>
                  </a:lnTo>
                  <a:lnTo>
                    <a:pt x="149" y="4"/>
                  </a:lnTo>
                  <a:lnTo>
                    <a:pt x="152" y="4"/>
                  </a:lnTo>
                  <a:lnTo>
                    <a:pt x="154" y="4"/>
                  </a:lnTo>
                  <a:lnTo>
                    <a:pt x="156" y="4"/>
                  </a:lnTo>
                  <a:lnTo>
                    <a:pt x="159" y="4"/>
                  </a:lnTo>
                  <a:lnTo>
                    <a:pt x="161" y="4"/>
                  </a:lnTo>
                  <a:lnTo>
                    <a:pt x="163" y="4"/>
                  </a:lnTo>
                  <a:lnTo>
                    <a:pt x="163" y="7"/>
                  </a:lnTo>
                  <a:lnTo>
                    <a:pt x="166" y="7"/>
                  </a:lnTo>
                  <a:lnTo>
                    <a:pt x="166" y="9"/>
                  </a:lnTo>
                  <a:lnTo>
                    <a:pt x="168" y="9"/>
                  </a:lnTo>
                  <a:lnTo>
                    <a:pt x="173" y="9"/>
                  </a:lnTo>
                  <a:lnTo>
                    <a:pt x="175" y="9"/>
                  </a:lnTo>
                  <a:lnTo>
                    <a:pt x="175" y="12"/>
                  </a:lnTo>
                  <a:lnTo>
                    <a:pt x="178" y="12"/>
                  </a:lnTo>
                  <a:lnTo>
                    <a:pt x="180" y="12"/>
                  </a:lnTo>
                  <a:lnTo>
                    <a:pt x="182" y="9"/>
                  </a:lnTo>
                  <a:lnTo>
                    <a:pt x="185" y="12"/>
                  </a:lnTo>
                  <a:lnTo>
                    <a:pt x="185" y="14"/>
                  </a:lnTo>
                  <a:lnTo>
                    <a:pt x="187" y="19"/>
                  </a:lnTo>
                  <a:lnTo>
                    <a:pt x="190" y="19"/>
                  </a:lnTo>
                  <a:lnTo>
                    <a:pt x="194" y="21"/>
                  </a:lnTo>
                  <a:lnTo>
                    <a:pt x="197" y="21"/>
                  </a:lnTo>
                  <a:lnTo>
                    <a:pt x="201" y="23"/>
                  </a:lnTo>
                  <a:lnTo>
                    <a:pt x="206" y="23"/>
                  </a:lnTo>
                  <a:lnTo>
                    <a:pt x="204" y="23"/>
                  </a:lnTo>
                  <a:lnTo>
                    <a:pt x="204" y="26"/>
                  </a:lnTo>
                  <a:lnTo>
                    <a:pt x="206" y="26"/>
                  </a:lnTo>
                  <a:lnTo>
                    <a:pt x="206" y="28"/>
                  </a:lnTo>
                  <a:lnTo>
                    <a:pt x="206" y="31"/>
                  </a:lnTo>
                  <a:lnTo>
                    <a:pt x="206" y="33"/>
                  </a:lnTo>
                  <a:lnTo>
                    <a:pt x="206" y="35"/>
                  </a:lnTo>
                  <a:lnTo>
                    <a:pt x="204" y="35"/>
                  </a:lnTo>
                  <a:lnTo>
                    <a:pt x="204" y="38"/>
                  </a:lnTo>
                  <a:lnTo>
                    <a:pt x="201" y="38"/>
                  </a:lnTo>
                  <a:lnTo>
                    <a:pt x="201" y="40"/>
                  </a:lnTo>
                  <a:lnTo>
                    <a:pt x="201" y="38"/>
                  </a:lnTo>
                  <a:lnTo>
                    <a:pt x="199" y="38"/>
                  </a:lnTo>
                  <a:lnTo>
                    <a:pt x="197" y="38"/>
                  </a:lnTo>
                  <a:lnTo>
                    <a:pt x="194" y="38"/>
                  </a:lnTo>
                  <a:lnTo>
                    <a:pt x="192" y="38"/>
                  </a:lnTo>
                  <a:lnTo>
                    <a:pt x="190" y="38"/>
                  </a:lnTo>
                  <a:lnTo>
                    <a:pt x="190" y="40"/>
                  </a:lnTo>
                  <a:lnTo>
                    <a:pt x="190" y="42"/>
                  </a:lnTo>
                  <a:lnTo>
                    <a:pt x="187" y="42"/>
                  </a:lnTo>
                  <a:lnTo>
                    <a:pt x="187" y="45"/>
                  </a:lnTo>
                  <a:lnTo>
                    <a:pt x="187" y="47"/>
                  </a:lnTo>
                  <a:lnTo>
                    <a:pt x="185" y="47"/>
                  </a:lnTo>
                  <a:lnTo>
                    <a:pt x="182" y="47"/>
                  </a:lnTo>
                  <a:lnTo>
                    <a:pt x="180" y="47"/>
                  </a:lnTo>
                  <a:lnTo>
                    <a:pt x="178" y="47"/>
                  </a:lnTo>
                  <a:lnTo>
                    <a:pt x="175" y="47"/>
                  </a:lnTo>
                  <a:lnTo>
                    <a:pt x="178" y="47"/>
                  </a:lnTo>
                  <a:lnTo>
                    <a:pt x="180" y="47"/>
                  </a:lnTo>
                  <a:lnTo>
                    <a:pt x="182" y="47"/>
                  </a:lnTo>
                  <a:lnTo>
                    <a:pt x="182" y="50"/>
                  </a:lnTo>
                  <a:lnTo>
                    <a:pt x="185" y="47"/>
                  </a:lnTo>
                  <a:lnTo>
                    <a:pt x="185" y="50"/>
                  </a:lnTo>
                  <a:lnTo>
                    <a:pt x="185" y="52"/>
                  </a:lnTo>
                  <a:lnTo>
                    <a:pt x="182" y="52"/>
                  </a:lnTo>
                  <a:lnTo>
                    <a:pt x="182" y="54"/>
                  </a:lnTo>
                  <a:lnTo>
                    <a:pt x="182" y="57"/>
                  </a:lnTo>
                  <a:lnTo>
                    <a:pt x="182" y="59"/>
                  </a:lnTo>
                  <a:lnTo>
                    <a:pt x="182" y="61"/>
                  </a:lnTo>
                  <a:lnTo>
                    <a:pt x="182" y="64"/>
                  </a:lnTo>
                  <a:lnTo>
                    <a:pt x="182" y="66"/>
                  </a:lnTo>
                  <a:lnTo>
                    <a:pt x="182" y="69"/>
                  </a:lnTo>
                  <a:lnTo>
                    <a:pt x="182" y="71"/>
                  </a:lnTo>
                  <a:lnTo>
                    <a:pt x="180" y="71"/>
                  </a:lnTo>
                  <a:lnTo>
                    <a:pt x="178" y="71"/>
                  </a:lnTo>
                  <a:lnTo>
                    <a:pt x="178" y="73"/>
                  </a:lnTo>
                  <a:lnTo>
                    <a:pt x="178" y="71"/>
                  </a:lnTo>
                  <a:lnTo>
                    <a:pt x="178" y="73"/>
                  </a:lnTo>
                  <a:lnTo>
                    <a:pt x="175" y="73"/>
                  </a:lnTo>
                  <a:lnTo>
                    <a:pt x="173" y="76"/>
                  </a:lnTo>
                  <a:lnTo>
                    <a:pt x="175" y="76"/>
                  </a:lnTo>
                  <a:lnTo>
                    <a:pt x="175" y="78"/>
                  </a:lnTo>
                  <a:lnTo>
                    <a:pt x="175" y="76"/>
                  </a:lnTo>
                  <a:lnTo>
                    <a:pt x="173" y="76"/>
                  </a:lnTo>
                  <a:lnTo>
                    <a:pt x="173" y="78"/>
                  </a:lnTo>
                  <a:lnTo>
                    <a:pt x="171" y="78"/>
                  </a:lnTo>
                  <a:lnTo>
                    <a:pt x="171" y="76"/>
                  </a:lnTo>
                  <a:lnTo>
                    <a:pt x="171" y="78"/>
                  </a:lnTo>
                  <a:lnTo>
                    <a:pt x="168" y="78"/>
                  </a:lnTo>
                  <a:lnTo>
                    <a:pt x="168" y="80"/>
                  </a:lnTo>
                  <a:lnTo>
                    <a:pt x="168" y="83"/>
                  </a:lnTo>
                  <a:lnTo>
                    <a:pt x="168" y="80"/>
                  </a:lnTo>
                  <a:lnTo>
                    <a:pt x="171" y="83"/>
                  </a:lnTo>
                  <a:lnTo>
                    <a:pt x="171" y="80"/>
                  </a:lnTo>
                  <a:lnTo>
                    <a:pt x="171" y="83"/>
                  </a:lnTo>
                  <a:lnTo>
                    <a:pt x="173" y="83"/>
                  </a:lnTo>
                  <a:lnTo>
                    <a:pt x="173" y="80"/>
                  </a:lnTo>
                  <a:lnTo>
                    <a:pt x="173" y="83"/>
                  </a:lnTo>
                  <a:lnTo>
                    <a:pt x="173" y="80"/>
                  </a:lnTo>
                  <a:lnTo>
                    <a:pt x="175" y="80"/>
                  </a:lnTo>
                  <a:lnTo>
                    <a:pt x="175" y="83"/>
                  </a:lnTo>
                  <a:lnTo>
                    <a:pt x="178" y="83"/>
                  </a:lnTo>
                  <a:lnTo>
                    <a:pt x="175" y="83"/>
                  </a:lnTo>
                  <a:lnTo>
                    <a:pt x="178" y="83"/>
                  </a:lnTo>
                  <a:lnTo>
                    <a:pt x="178" y="85"/>
                  </a:lnTo>
                  <a:lnTo>
                    <a:pt x="178" y="83"/>
                  </a:lnTo>
                  <a:lnTo>
                    <a:pt x="178" y="85"/>
                  </a:lnTo>
                  <a:lnTo>
                    <a:pt x="178" y="83"/>
                  </a:lnTo>
                  <a:lnTo>
                    <a:pt x="178" y="85"/>
                  </a:lnTo>
                  <a:lnTo>
                    <a:pt x="178" y="88"/>
                  </a:lnTo>
                  <a:lnTo>
                    <a:pt x="180" y="88"/>
                  </a:lnTo>
                  <a:lnTo>
                    <a:pt x="178" y="88"/>
                  </a:lnTo>
                  <a:lnTo>
                    <a:pt x="180" y="88"/>
                  </a:lnTo>
                  <a:lnTo>
                    <a:pt x="178" y="88"/>
                  </a:lnTo>
                  <a:lnTo>
                    <a:pt x="178" y="90"/>
                  </a:lnTo>
                  <a:lnTo>
                    <a:pt x="178" y="92"/>
                  </a:lnTo>
                  <a:lnTo>
                    <a:pt x="178" y="90"/>
                  </a:lnTo>
                  <a:lnTo>
                    <a:pt x="180" y="92"/>
                  </a:lnTo>
                  <a:lnTo>
                    <a:pt x="180" y="95"/>
                  </a:lnTo>
                  <a:lnTo>
                    <a:pt x="182" y="95"/>
                  </a:lnTo>
                  <a:lnTo>
                    <a:pt x="180" y="95"/>
                  </a:lnTo>
                  <a:lnTo>
                    <a:pt x="182" y="95"/>
                  </a:lnTo>
                  <a:lnTo>
                    <a:pt x="182" y="97"/>
                  </a:lnTo>
                  <a:lnTo>
                    <a:pt x="185" y="97"/>
                  </a:lnTo>
                  <a:lnTo>
                    <a:pt x="185" y="99"/>
                  </a:lnTo>
                  <a:lnTo>
                    <a:pt x="187" y="99"/>
                  </a:lnTo>
                  <a:lnTo>
                    <a:pt x="185" y="99"/>
                  </a:lnTo>
                  <a:lnTo>
                    <a:pt x="187" y="99"/>
                  </a:lnTo>
                  <a:lnTo>
                    <a:pt x="187" y="102"/>
                  </a:lnTo>
                  <a:lnTo>
                    <a:pt x="187" y="104"/>
                  </a:lnTo>
                  <a:lnTo>
                    <a:pt x="185" y="104"/>
                  </a:lnTo>
                  <a:lnTo>
                    <a:pt x="185" y="102"/>
                  </a:lnTo>
                  <a:lnTo>
                    <a:pt x="185" y="104"/>
                  </a:lnTo>
                  <a:lnTo>
                    <a:pt x="182" y="104"/>
                  </a:lnTo>
                  <a:lnTo>
                    <a:pt x="182" y="102"/>
                  </a:lnTo>
                  <a:lnTo>
                    <a:pt x="180" y="102"/>
                  </a:lnTo>
                  <a:lnTo>
                    <a:pt x="180" y="104"/>
                  </a:lnTo>
                  <a:lnTo>
                    <a:pt x="178" y="104"/>
                  </a:lnTo>
                  <a:lnTo>
                    <a:pt x="175" y="104"/>
                  </a:lnTo>
                  <a:lnTo>
                    <a:pt x="178" y="104"/>
                  </a:lnTo>
                  <a:lnTo>
                    <a:pt x="175" y="104"/>
                  </a:lnTo>
                  <a:lnTo>
                    <a:pt x="173" y="104"/>
                  </a:lnTo>
                  <a:lnTo>
                    <a:pt x="173" y="107"/>
                  </a:lnTo>
                  <a:lnTo>
                    <a:pt x="173" y="104"/>
                  </a:lnTo>
                  <a:lnTo>
                    <a:pt x="173" y="107"/>
                  </a:lnTo>
                  <a:lnTo>
                    <a:pt x="171" y="107"/>
                  </a:lnTo>
                  <a:lnTo>
                    <a:pt x="171" y="104"/>
                  </a:lnTo>
                  <a:lnTo>
                    <a:pt x="168" y="104"/>
                  </a:lnTo>
                  <a:lnTo>
                    <a:pt x="168" y="102"/>
                  </a:lnTo>
                  <a:lnTo>
                    <a:pt x="166" y="102"/>
                  </a:lnTo>
                  <a:lnTo>
                    <a:pt x="166" y="99"/>
                  </a:lnTo>
                  <a:lnTo>
                    <a:pt x="163" y="99"/>
                  </a:lnTo>
                  <a:lnTo>
                    <a:pt x="163" y="97"/>
                  </a:lnTo>
                  <a:lnTo>
                    <a:pt x="161" y="97"/>
                  </a:lnTo>
                  <a:lnTo>
                    <a:pt x="161" y="99"/>
                  </a:lnTo>
                  <a:lnTo>
                    <a:pt x="159" y="99"/>
                  </a:lnTo>
                  <a:lnTo>
                    <a:pt x="161" y="99"/>
                  </a:lnTo>
                  <a:lnTo>
                    <a:pt x="159" y="99"/>
                  </a:lnTo>
                  <a:lnTo>
                    <a:pt x="156" y="99"/>
                  </a:lnTo>
                  <a:lnTo>
                    <a:pt x="156" y="97"/>
                  </a:lnTo>
                  <a:lnTo>
                    <a:pt x="156" y="99"/>
                  </a:lnTo>
                  <a:lnTo>
                    <a:pt x="154" y="99"/>
                  </a:lnTo>
                  <a:lnTo>
                    <a:pt x="152" y="99"/>
                  </a:lnTo>
                  <a:lnTo>
                    <a:pt x="154" y="102"/>
                  </a:lnTo>
                  <a:lnTo>
                    <a:pt x="152" y="102"/>
                  </a:lnTo>
                  <a:lnTo>
                    <a:pt x="149" y="102"/>
                  </a:lnTo>
                  <a:lnTo>
                    <a:pt x="149" y="104"/>
                  </a:lnTo>
                  <a:lnTo>
                    <a:pt x="147" y="104"/>
                  </a:lnTo>
                  <a:lnTo>
                    <a:pt x="147" y="102"/>
                  </a:lnTo>
                  <a:lnTo>
                    <a:pt x="147" y="104"/>
                  </a:lnTo>
                  <a:lnTo>
                    <a:pt x="144" y="104"/>
                  </a:lnTo>
                  <a:lnTo>
                    <a:pt x="142" y="104"/>
                  </a:lnTo>
                  <a:lnTo>
                    <a:pt x="140" y="104"/>
                  </a:lnTo>
                  <a:lnTo>
                    <a:pt x="140" y="107"/>
                  </a:lnTo>
                  <a:lnTo>
                    <a:pt x="140" y="109"/>
                  </a:lnTo>
                  <a:lnTo>
                    <a:pt x="137" y="109"/>
                  </a:lnTo>
                  <a:lnTo>
                    <a:pt x="137" y="111"/>
                  </a:lnTo>
                  <a:lnTo>
                    <a:pt x="133" y="111"/>
                  </a:lnTo>
                  <a:lnTo>
                    <a:pt x="133" y="114"/>
                  </a:lnTo>
                  <a:lnTo>
                    <a:pt x="130" y="114"/>
                  </a:lnTo>
                  <a:lnTo>
                    <a:pt x="133" y="116"/>
                  </a:lnTo>
                  <a:lnTo>
                    <a:pt x="130" y="116"/>
                  </a:lnTo>
                  <a:lnTo>
                    <a:pt x="128" y="116"/>
                  </a:lnTo>
                  <a:lnTo>
                    <a:pt x="128" y="114"/>
                  </a:lnTo>
                  <a:lnTo>
                    <a:pt x="125" y="114"/>
                  </a:lnTo>
                  <a:lnTo>
                    <a:pt x="123" y="114"/>
                  </a:lnTo>
                  <a:lnTo>
                    <a:pt x="123" y="116"/>
                  </a:lnTo>
                  <a:lnTo>
                    <a:pt x="123" y="118"/>
                  </a:lnTo>
                  <a:lnTo>
                    <a:pt x="125" y="118"/>
                  </a:lnTo>
                  <a:lnTo>
                    <a:pt x="125" y="121"/>
                  </a:lnTo>
                  <a:lnTo>
                    <a:pt x="125" y="123"/>
                  </a:lnTo>
                  <a:lnTo>
                    <a:pt x="125" y="126"/>
                  </a:lnTo>
                  <a:lnTo>
                    <a:pt x="128" y="128"/>
                  </a:lnTo>
                  <a:lnTo>
                    <a:pt x="125" y="128"/>
                  </a:lnTo>
                  <a:lnTo>
                    <a:pt x="125" y="130"/>
                  </a:lnTo>
                  <a:lnTo>
                    <a:pt x="125" y="133"/>
                  </a:lnTo>
                  <a:lnTo>
                    <a:pt x="125" y="130"/>
                  </a:lnTo>
                  <a:lnTo>
                    <a:pt x="125" y="133"/>
                  </a:lnTo>
                  <a:lnTo>
                    <a:pt x="123" y="133"/>
                  </a:lnTo>
                  <a:lnTo>
                    <a:pt x="121" y="133"/>
                  </a:lnTo>
                  <a:lnTo>
                    <a:pt x="118" y="133"/>
                  </a:lnTo>
                  <a:lnTo>
                    <a:pt x="118" y="135"/>
                  </a:lnTo>
                  <a:lnTo>
                    <a:pt x="116" y="135"/>
                  </a:lnTo>
                  <a:lnTo>
                    <a:pt x="116" y="133"/>
                  </a:lnTo>
                  <a:lnTo>
                    <a:pt x="114" y="133"/>
                  </a:lnTo>
                  <a:lnTo>
                    <a:pt x="111" y="133"/>
                  </a:lnTo>
                  <a:lnTo>
                    <a:pt x="111" y="135"/>
                  </a:lnTo>
                  <a:lnTo>
                    <a:pt x="109" y="135"/>
                  </a:lnTo>
                  <a:lnTo>
                    <a:pt x="109" y="133"/>
                  </a:lnTo>
                  <a:lnTo>
                    <a:pt x="109" y="135"/>
                  </a:lnTo>
                  <a:lnTo>
                    <a:pt x="107" y="135"/>
                  </a:lnTo>
                  <a:lnTo>
                    <a:pt x="107" y="133"/>
                  </a:lnTo>
                  <a:lnTo>
                    <a:pt x="107" y="135"/>
                  </a:lnTo>
                  <a:lnTo>
                    <a:pt x="104" y="135"/>
                  </a:lnTo>
                  <a:lnTo>
                    <a:pt x="102" y="135"/>
                  </a:lnTo>
                  <a:lnTo>
                    <a:pt x="99" y="135"/>
                  </a:lnTo>
                  <a:lnTo>
                    <a:pt x="99" y="137"/>
                  </a:lnTo>
                  <a:lnTo>
                    <a:pt x="97" y="137"/>
                  </a:lnTo>
                  <a:lnTo>
                    <a:pt x="95" y="137"/>
                  </a:lnTo>
                  <a:lnTo>
                    <a:pt x="95" y="135"/>
                  </a:lnTo>
                  <a:lnTo>
                    <a:pt x="92" y="135"/>
                  </a:lnTo>
                  <a:lnTo>
                    <a:pt x="92" y="133"/>
                  </a:lnTo>
                  <a:lnTo>
                    <a:pt x="90" y="133"/>
                  </a:lnTo>
                  <a:lnTo>
                    <a:pt x="90" y="130"/>
                  </a:lnTo>
                  <a:lnTo>
                    <a:pt x="88" y="130"/>
                  </a:lnTo>
                  <a:lnTo>
                    <a:pt x="85" y="130"/>
                  </a:lnTo>
                  <a:lnTo>
                    <a:pt x="83" y="130"/>
                  </a:lnTo>
                  <a:lnTo>
                    <a:pt x="80" y="130"/>
                  </a:lnTo>
                  <a:lnTo>
                    <a:pt x="80" y="133"/>
                  </a:lnTo>
                  <a:lnTo>
                    <a:pt x="80" y="130"/>
                  </a:lnTo>
                  <a:lnTo>
                    <a:pt x="78" y="130"/>
                  </a:lnTo>
                  <a:lnTo>
                    <a:pt x="78" y="128"/>
                  </a:lnTo>
                  <a:lnTo>
                    <a:pt x="76" y="128"/>
                  </a:lnTo>
                  <a:lnTo>
                    <a:pt x="73" y="128"/>
                  </a:lnTo>
                  <a:lnTo>
                    <a:pt x="73" y="126"/>
                  </a:lnTo>
                  <a:lnTo>
                    <a:pt x="73" y="123"/>
                  </a:lnTo>
                  <a:lnTo>
                    <a:pt x="71" y="123"/>
                  </a:lnTo>
                  <a:lnTo>
                    <a:pt x="69" y="123"/>
                  </a:lnTo>
                  <a:lnTo>
                    <a:pt x="66" y="123"/>
                  </a:lnTo>
                  <a:lnTo>
                    <a:pt x="64" y="126"/>
                  </a:lnTo>
                  <a:lnTo>
                    <a:pt x="64" y="123"/>
                  </a:lnTo>
                  <a:lnTo>
                    <a:pt x="64" y="121"/>
                  </a:lnTo>
                  <a:lnTo>
                    <a:pt x="61" y="123"/>
                  </a:lnTo>
                  <a:lnTo>
                    <a:pt x="59" y="126"/>
                  </a:lnTo>
                  <a:lnTo>
                    <a:pt x="59" y="123"/>
                  </a:lnTo>
                  <a:lnTo>
                    <a:pt x="57" y="123"/>
                  </a:lnTo>
                  <a:lnTo>
                    <a:pt x="57" y="126"/>
                  </a:lnTo>
                  <a:lnTo>
                    <a:pt x="57" y="128"/>
                  </a:lnTo>
                  <a:lnTo>
                    <a:pt x="54" y="128"/>
                  </a:lnTo>
                  <a:lnTo>
                    <a:pt x="54" y="126"/>
                  </a:lnTo>
                  <a:lnTo>
                    <a:pt x="54" y="128"/>
                  </a:lnTo>
                  <a:lnTo>
                    <a:pt x="52" y="128"/>
                  </a:lnTo>
                  <a:lnTo>
                    <a:pt x="52" y="126"/>
                  </a:lnTo>
                  <a:lnTo>
                    <a:pt x="52" y="128"/>
                  </a:lnTo>
                  <a:lnTo>
                    <a:pt x="50" y="128"/>
                  </a:lnTo>
                  <a:lnTo>
                    <a:pt x="47" y="128"/>
                  </a:lnTo>
                  <a:lnTo>
                    <a:pt x="47" y="130"/>
                  </a:lnTo>
                  <a:lnTo>
                    <a:pt x="45" y="130"/>
                  </a:lnTo>
                  <a:lnTo>
                    <a:pt x="42" y="130"/>
                  </a:lnTo>
                  <a:lnTo>
                    <a:pt x="40" y="130"/>
                  </a:lnTo>
                  <a:lnTo>
                    <a:pt x="38" y="130"/>
                  </a:lnTo>
                  <a:lnTo>
                    <a:pt x="35" y="130"/>
                  </a:lnTo>
                  <a:lnTo>
                    <a:pt x="33" y="130"/>
                  </a:lnTo>
                  <a:lnTo>
                    <a:pt x="31" y="130"/>
                  </a:lnTo>
                  <a:lnTo>
                    <a:pt x="28" y="130"/>
                  </a:lnTo>
                  <a:lnTo>
                    <a:pt x="28" y="133"/>
                  </a:lnTo>
                  <a:lnTo>
                    <a:pt x="26" y="133"/>
                  </a:lnTo>
                  <a:lnTo>
                    <a:pt x="23" y="133"/>
                  </a:lnTo>
                  <a:lnTo>
                    <a:pt x="21" y="133"/>
                  </a:lnTo>
                  <a:lnTo>
                    <a:pt x="19" y="133"/>
                  </a:lnTo>
                  <a:lnTo>
                    <a:pt x="21" y="133"/>
                  </a:lnTo>
                  <a:lnTo>
                    <a:pt x="21" y="130"/>
                  </a:lnTo>
                  <a:lnTo>
                    <a:pt x="21" y="128"/>
                  </a:lnTo>
                  <a:lnTo>
                    <a:pt x="21" y="126"/>
                  </a:lnTo>
                  <a:lnTo>
                    <a:pt x="21" y="123"/>
                  </a:lnTo>
                  <a:lnTo>
                    <a:pt x="21" y="121"/>
                  </a:lnTo>
                  <a:lnTo>
                    <a:pt x="19" y="121"/>
                  </a:lnTo>
                  <a:lnTo>
                    <a:pt x="19" y="118"/>
                  </a:lnTo>
                  <a:lnTo>
                    <a:pt x="21" y="118"/>
                  </a:lnTo>
                  <a:lnTo>
                    <a:pt x="21" y="116"/>
                  </a:lnTo>
                  <a:lnTo>
                    <a:pt x="23" y="116"/>
                  </a:lnTo>
                  <a:lnTo>
                    <a:pt x="23" y="114"/>
                  </a:lnTo>
                  <a:lnTo>
                    <a:pt x="21" y="114"/>
                  </a:lnTo>
                  <a:lnTo>
                    <a:pt x="21" y="111"/>
                  </a:lnTo>
                  <a:lnTo>
                    <a:pt x="19" y="111"/>
                  </a:lnTo>
                  <a:lnTo>
                    <a:pt x="19" y="109"/>
                  </a:lnTo>
                  <a:lnTo>
                    <a:pt x="19" y="107"/>
                  </a:lnTo>
                  <a:lnTo>
                    <a:pt x="16" y="107"/>
                  </a:lnTo>
                  <a:lnTo>
                    <a:pt x="16" y="104"/>
                  </a:lnTo>
                  <a:lnTo>
                    <a:pt x="16" y="102"/>
                  </a:lnTo>
                  <a:lnTo>
                    <a:pt x="14" y="99"/>
                  </a:lnTo>
                  <a:lnTo>
                    <a:pt x="12" y="99"/>
                  </a:lnTo>
                  <a:lnTo>
                    <a:pt x="9" y="99"/>
                  </a:lnTo>
                  <a:lnTo>
                    <a:pt x="9" y="97"/>
                  </a:lnTo>
                  <a:lnTo>
                    <a:pt x="7" y="97"/>
                  </a:lnTo>
                  <a:lnTo>
                    <a:pt x="4" y="95"/>
                  </a:lnTo>
                  <a:lnTo>
                    <a:pt x="4" y="92"/>
                  </a:lnTo>
                  <a:lnTo>
                    <a:pt x="2" y="92"/>
                  </a:lnTo>
                  <a:lnTo>
                    <a:pt x="2" y="90"/>
                  </a:lnTo>
                  <a:lnTo>
                    <a:pt x="2" y="88"/>
                  </a:lnTo>
                  <a:lnTo>
                    <a:pt x="0" y="88"/>
                  </a:lnTo>
                  <a:lnTo>
                    <a:pt x="2" y="88"/>
                  </a:lnTo>
                  <a:lnTo>
                    <a:pt x="4" y="88"/>
                  </a:lnTo>
                  <a:lnTo>
                    <a:pt x="4" y="85"/>
                  </a:lnTo>
                  <a:lnTo>
                    <a:pt x="7" y="83"/>
                  </a:lnTo>
                  <a:lnTo>
                    <a:pt x="7" y="80"/>
                  </a:lnTo>
                  <a:lnTo>
                    <a:pt x="7" y="78"/>
                  </a:lnTo>
                  <a:lnTo>
                    <a:pt x="4" y="78"/>
                  </a:lnTo>
                  <a:lnTo>
                    <a:pt x="4" y="76"/>
                  </a:lnTo>
                  <a:lnTo>
                    <a:pt x="2" y="76"/>
                  </a:lnTo>
                  <a:lnTo>
                    <a:pt x="4" y="73"/>
                  </a:lnTo>
                  <a:lnTo>
                    <a:pt x="4" y="71"/>
                  </a:lnTo>
                  <a:lnTo>
                    <a:pt x="4" y="69"/>
                  </a:lnTo>
                  <a:lnTo>
                    <a:pt x="4" y="66"/>
                  </a:lnTo>
                  <a:lnTo>
                    <a:pt x="2" y="66"/>
                  </a:lnTo>
                  <a:lnTo>
                    <a:pt x="2" y="64"/>
                  </a:lnTo>
                  <a:lnTo>
                    <a:pt x="4" y="64"/>
                  </a:lnTo>
                  <a:lnTo>
                    <a:pt x="4" y="61"/>
                  </a:lnTo>
                  <a:lnTo>
                    <a:pt x="7" y="61"/>
                  </a:lnTo>
                  <a:lnTo>
                    <a:pt x="7" y="64"/>
                  </a:lnTo>
                  <a:lnTo>
                    <a:pt x="7" y="61"/>
                  </a:lnTo>
                  <a:lnTo>
                    <a:pt x="9" y="61"/>
                  </a:lnTo>
                  <a:lnTo>
                    <a:pt x="12" y="61"/>
                  </a:lnTo>
                  <a:lnTo>
                    <a:pt x="14" y="61"/>
                  </a:lnTo>
                  <a:lnTo>
                    <a:pt x="14" y="59"/>
                  </a:lnTo>
                  <a:lnTo>
                    <a:pt x="14" y="57"/>
                  </a:lnTo>
                  <a:lnTo>
                    <a:pt x="16" y="57"/>
                  </a:lnTo>
                  <a:lnTo>
                    <a:pt x="16" y="54"/>
                  </a:lnTo>
                  <a:lnTo>
                    <a:pt x="19" y="54"/>
                  </a:lnTo>
                  <a:lnTo>
                    <a:pt x="19" y="52"/>
                  </a:lnTo>
                  <a:lnTo>
                    <a:pt x="21" y="52"/>
                  </a:lnTo>
                  <a:lnTo>
                    <a:pt x="21" y="50"/>
                  </a:lnTo>
                  <a:lnTo>
                    <a:pt x="21" y="47"/>
                  </a:lnTo>
                  <a:lnTo>
                    <a:pt x="19" y="47"/>
                  </a:lnTo>
                  <a:lnTo>
                    <a:pt x="19" y="45"/>
                  </a:lnTo>
                  <a:lnTo>
                    <a:pt x="16" y="45"/>
                  </a:lnTo>
                  <a:lnTo>
                    <a:pt x="16" y="42"/>
                  </a:lnTo>
                  <a:lnTo>
                    <a:pt x="16" y="40"/>
                  </a:lnTo>
                  <a:lnTo>
                    <a:pt x="14" y="40"/>
                  </a:lnTo>
                  <a:lnTo>
                    <a:pt x="14" y="38"/>
                  </a:lnTo>
                  <a:lnTo>
                    <a:pt x="12" y="38"/>
                  </a:lnTo>
                  <a:lnTo>
                    <a:pt x="9" y="38"/>
                  </a:lnTo>
                  <a:lnTo>
                    <a:pt x="9" y="35"/>
                  </a:lnTo>
                  <a:lnTo>
                    <a:pt x="9" y="38"/>
                  </a:lnTo>
                  <a:lnTo>
                    <a:pt x="9" y="35"/>
                  </a:lnTo>
                  <a:lnTo>
                    <a:pt x="7" y="35"/>
                  </a:lnTo>
                  <a:lnTo>
                    <a:pt x="7" y="33"/>
                  </a:lnTo>
                  <a:lnTo>
                    <a:pt x="4" y="33"/>
                  </a:lnTo>
                  <a:lnTo>
                    <a:pt x="4" y="31"/>
                  </a:lnTo>
                  <a:lnTo>
                    <a:pt x="4" y="28"/>
                  </a:lnTo>
                  <a:lnTo>
                    <a:pt x="4" y="26"/>
                  </a:lnTo>
                  <a:lnTo>
                    <a:pt x="2" y="26"/>
                  </a:lnTo>
                  <a:lnTo>
                    <a:pt x="2" y="23"/>
                  </a:lnTo>
                  <a:lnTo>
                    <a:pt x="2" y="21"/>
                  </a:lnTo>
                  <a:lnTo>
                    <a:pt x="0" y="19"/>
                  </a:lnTo>
                  <a:lnTo>
                    <a:pt x="0" y="16"/>
                  </a:lnTo>
                  <a:lnTo>
                    <a:pt x="2" y="16"/>
                  </a:lnTo>
                  <a:lnTo>
                    <a:pt x="2" y="14"/>
                  </a:lnTo>
                  <a:lnTo>
                    <a:pt x="2" y="12"/>
                  </a:lnTo>
                  <a:lnTo>
                    <a:pt x="2" y="9"/>
                  </a:lnTo>
                  <a:lnTo>
                    <a:pt x="4" y="9"/>
                  </a:lnTo>
                  <a:lnTo>
                    <a:pt x="7" y="9"/>
                  </a:lnTo>
                  <a:lnTo>
                    <a:pt x="7" y="7"/>
                  </a:lnTo>
                  <a:lnTo>
                    <a:pt x="9" y="7"/>
                  </a:lnTo>
                  <a:lnTo>
                    <a:pt x="9" y="4"/>
                  </a:lnTo>
                  <a:lnTo>
                    <a:pt x="9" y="2"/>
                  </a:lnTo>
                  <a:lnTo>
                    <a:pt x="9" y="0"/>
                  </a:lnTo>
                  <a:lnTo>
                    <a:pt x="12" y="0"/>
                  </a:lnTo>
                  <a:lnTo>
                    <a:pt x="9" y="0"/>
                  </a:lnTo>
                  <a:lnTo>
                    <a:pt x="12" y="0"/>
                  </a:lnTo>
                  <a:lnTo>
                    <a:pt x="9"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8" name="Freeform 50281"/>
            <p:cNvSpPr>
              <a:spLocks/>
            </p:cNvSpPr>
            <p:nvPr/>
          </p:nvSpPr>
          <p:spPr bwMode="auto">
            <a:xfrm>
              <a:off x="3475035" y="526734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9" name="Freeform 50282"/>
            <p:cNvSpPr>
              <a:spLocks/>
            </p:cNvSpPr>
            <p:nvPr/>
          </p:nvSpPr>
          <p:spPr bwMode="auto">
            <a:xfrm>
              <a:off x="2774948" y="5064142"/>
              <a:ext cx="14288" cy="52388"/>
            </a:xfrm>
            <a:custGeom>
              <a:avLst/>
              <a:gdLst>
                <a:gd name="T0" fmla="*/ 2 w 9"/>
                <a:gd name="T1" fmla="*/ 2 h 33"/>
                <a:gd name="T2" fmla="*/ 2 w 9"/>
                <a:gd name="T3" fmla="*/ 7 h 33"/>
                <a:gd name="T4" fmla="*/ 7 w 9"/>
                <a:gd name="T5" fmla="*/ 9 h 33"/>
                <a:gd name="T6" fmla="*/ 5 w 9"/>
                <a:gd name="T7" fmla="*/ 11 h 33"/>
                <a:gd name="T8" fmla="*/ 5 w 9"/>
                <a:gd name="T9" fmla="*/ 16 h 33"/>
                <a:gd name="T10" fmla="*/ 5 w 9"/>
                <a:gd name="T11" fmla="*/ 19 h 33"/>
                <a:gd name="T12" fmla="*/ 7 w 9"/>
                <a:gd name="T13" fmla="*/ 21 h 33"/>
                <a:gd name="T14" fmla="*/ 7 w 9"/>
                <a:gd name="T15" fmla="*/ 21 h 33"/>
                <a:gd name="T16" fmla="*/ 7 w 9"/>
                <a:gd name="T17" fmla="*/ 26 h 33"/>
                <a:gd name="T18" fmla="*/ 7 w 9"/>
                <a:gd name="T19" fmla="*/ 26 h 33"/>
                <a:gd name="T20" fmla="*/ 7 w 9"/>
                <a:gd name="T21" fmla="*/ 26 h 33"/>
                <a:gd name="T22" fmla="*/ 7 w 9"/>
                <a:gd name="T23" fmla="*/ 26 h 33"/>
                <a:gd name="T24" fmla="*/ 5 w 9"/>
                <a:gd name="T25" fmla="*/ 23 h 33"/>
                <a:gd name="T26" fmla="*/ 5 w 9"/>
                <a:gd name="T27" fmla="*/ 23 h 33"/>
                <a:gd name="T28" fmla="*/ 2 w 9"/>
                <a:gd name="T29" fmla="*/ 26 h 33"/>
                <a:gd name="T30" fmla="*/ 5 w 9"/>
                <a:gd name="T31" fmla="*/ 28 h 33"/>
                <a:gd name="T32" fmla="*/ 7 w 9"/>
                <a:gd name="T33" fmla="*/ 30 h 33"/>
                <a:gd name="T34" fmla="*/ 9 w 9"/>
                <a:gd name="T35" fmla="*/ 33 h 33"/>
                <a:gd name="T36" fmla="*/ 7 w 9"/>
                <a:gd name="T37" fmla="*/ 30 h 33"/>
                <a:gd name="T38" fmla="*/ 7 w 9"/>
                <a:gd name="T39" fmla="*/ 30 h 33"/>
                <a:gd name="T40" fmla="*/ 5 w 9"/>
                <a:gd name="T41" fmla="*/ 28 h 33"/>
                <a:gd name="T42" fmla="*/ 5 w 9"/>
                <a:gd name="T43" fmla="*/ 28 h 33"/>
                <a:gd name="T44" fmla="*/ 2 w 9"/>
                <a:gd name="T45" fmla="*/ 30 h 33"/>
                <a:gd name="T46" fmla="*/ 2 w 9"/>
                <a:gd name="T47" fmla="*/ 26 h 33"/>
                <a:gd name="T48" fmla="*/ 2 w 9"/>
                <a:gd name="T49" fmla="*/ 21 h 33"/>
                <a:gd name="T50" fmla="*/ 5 w 9"/>
                <a:gd name="T51" fmla="*/ 23 h 33"/>
                <a:gd name="T52" fmla="*/ 5 w 9"/>
                <a:gd name="T53" fmla="*/ 23 h 33"/>
                <a:gd name="T54" fmla="*/ 2 w 9"/>
                <a:gd name="T55" fmla="*/ 21 h 33"/>
                <a:gd name="T56" fmla="*/ 2 w 9"/>
                <a:gd name="T57" fmla="*/ 21 h 33"/>
                <a:gd name="T58" fmla="*/ 2 w 9"/>
                <a:gd name="T59" fmla="*/ 16 h 33"/>
                <a:gd name="T60" fmla="*/ 2 w 9"/>
                <a:gd name="T61" fmla="*/ 16 h 33"/>
                <a:gd name="T62" fmla="*/ 0 w 9"/>
                <a:gd name="T63" fmla="*/ 14 h 33"/>
                <a:gd name="T64" fmla="*/ 2 w 9"/>
                <a:gd name="T65" fmla="*/ 11 h 33"/>
                <a:gd name="T66" fmla="*/ 5 w 9"/>
                <a:gd name="T67" fmla="*/ 14 h 33"/>
                <a:gd name="T68" fmla="*/ 2 w 9"/>
                <a:gd name="T69" fmla="*/ 11 h 33"/>
                <a:gd name="T70" fmla="*/ 2 w 9"/>
                <a:gd name="T71" fmla="*/ 11 h 33"/>
                <a:gd name="T72" fmla="*/ 2 w 9"/>
                <a:gd name="T73" fmla="*/ 7 h 33"/>
                <a:gd name="T74" fmla="*/ 0 w 9"/>
                <a:gd name="T75" fmla="*/ 4 h 33"/>
                <a:gd name="T76" fmla="*/ 0 w 9"/>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 h="33">
                  <a:moveTo>
                    <a:pt x="2" y="0"/>
                  </a:moveTo>
                  <a:lnTo>
                    <a:pt x="2" y="2"/>
                  </a:lnTo>
                  <a:lnTo>
                    <a:pt x="2" y="4"/>
                  </a:lnTo>
                  <a:lnTo>
                    <a:pt x="2" y="7"/>
                  </a:lnTo>
                  <a:lnTo>
                    <a:pt x="5" y="9"/>
                  </a:lnTo>
                  <a:lnTo>
                    <a:pt x="7" y="9"/>
                  </a:lnTo>
                  <a:lnTo>
                    <a:pt x="7" y="11"/>
                  </a:lnTo>
                  <a:lnTo>
                    <a:pt x="5" y="11"/>
                  </a:lnTo>
                  <a:lnTo>
                    <a:pt x="5" y="14"/>
                  </a:lnTo>
                  <a:lnTo>
                    <a:pt x="5" y="16"/>
                  </a:lnTo>
                  <a:lnTo>
                    <a:pt x="7" y="19"/>
                  </a:lnTo>
                  <a:lnTo>
                    <a:pt x="5" y="19"/>
                  </a:lnTo>
                  <a:lnTo>
                    <a:pt x="7" y="19"/>
                  </a:lnTo>
                  <a:lnTo>
                    <a:pt x="7" y="21"/>
                  </a:lnTo>
                  <a:lnTo>
                    <a:pt x="5" y="21"/>
                  </a:lnTo>
                  <a:lnTo>
                    <a:pt x="7" y="21"/>
                  </a:lnTo>
                  <a:lnTo>
                    <a:pt x="7" y="23"/>
                  </a:lnTo>
                  <a:lnTo>
                    <a:pt x="7" y="26"/>
                  </a:lnTo>
                  <a:lnTo>
                    <a:pt x="9" y="26"/>
                  </a:lnTo>
                  <a:lnTo>
                    <a:pt x="7" y="26"/>
                  </a:lnTo>
                  <a:lnTo>
                    <a:pt x="7" y="28"/>
                  </a:lnTo>
                  <a:lnTo>
                    <a:pt x="7" y="26"/>
                  </a:lnTo>
                  <a:lnTo>
                    <a:pt x="7" y="28"/>
                  </a:lnTo>
                  <a:lnTo>
                    <a:pt x="7" y="26"/>
                  </a:lnTo>
                  <a:lnTo>
                    <a:pt x="5" y="26"/>
                  </a:lnTo>
                  <a:lnTo>
                    <a:pt x="5" y="23"/>
                  </a:lnTo>
                  <a:lnTo>
                    <a:pt x="2" y="23"/>
                  </a:lnTo>
                  <a:lnTo>
                    <a:pt x="5" y="23"/>
                  </a:lnTo>
                  <a:lnTo>
                    <a:pt x="5" y="26"/>
                  </a:lnTo>
                  <a:lnTo>
                    <a:pt x="2" y="26"/>
                  </a:lnTo>
                  <a:lnTo>
                    <a:pt x="5" y="26"/>
                  </a:lnTo>
                  <a:lnTo>
                    <a:pt x="5" y="28"/>
                  </a:lnTo>
                  <a:lnTo>
                    <a:pt x="5" y="30"/>
                  </a:lnTo>
                  <a:lnTo>
                    <a:pt x="7" y="30"/>
                  </a:lnTo>
                  <a:lnTo>
                    <a:pt x="7" y="33"/>
                  </a:lnTo>
                  <a:lnTo>
                    <a:pt x="9" y="33"/>
                  </a:lnTo>
                  <a:lnTo>
                    <a:pt x="7" y="33"/>
                  </a:lnTo>
                  <a:lnTo>
                    <a:pt x="7" y="30"/>
                  </a:lnTo>
                  <a:lnTo>
                    <a:pt x="5" y="30"/>
                  </a:lnTo>
                  <a:lnTo>
                    <a:pt x="7" y="30"/>
                  </a:lnTo>
                  <a:lnTo>
                    <a:pt x="5" y="30"/>
                  </a:lnTo>
                  <a:lnTo>
                    <a:pt x="5" y="28"/>
                  </a:lnTo>
                  <a:lnTo>
                    <a:pt x="5" y="30"/>
                  </a:lnTo>
                  <a:lnTo>
                    <a:pt x="5" y="28"/>
                  </a:lnTo>
                  <a:lnTo>
                    <a:pt x="5" y="30"/>
                  </a:lnTo>
                  <a:lnTo>
                    <a:pt x="2" y="30"/>
                  </a:lnTo>
                  <a:lnTo>
                    <a:pt x="2" y="28"/>
                  </a:lnTo>
                  <a:lnTo>
                    <a:pt x="2" y="26"/>
                  </a:lnTo>
                  <a:lnTo>
                    <a:pt x="2" y="23"/>
                  </a:lnTo>
                  <a:lnTo>
                    <a:pt x="2" y="21"/>
                  </a:lnTo>
                  <a:lnTo>
                    <a:pt x="2" y="23"/>
                  </a:lnTo>
                  <a:lnTo>
                    <a:pt x="5" y="23"/>
                  </a:lnTo>
                  <a:lnTo>
                    <a:pt x="2" y="23"/>
                  </a:lnTo>
                  <a:lnTo>
                    <a:pt x="5" y="23"/>
                  </a:lnTo>
                  <a:lnTo>
                    <a:pt x="5" y="21"/>
                  </a:lnTo>
                  <a:lnTo>
                    <a:pt x="2" y="21"/>
                  </a:lnTo>
                  <a:lnTo>
                    <a:pt x="5" y="21"/>
                  </a:lnTo>
                  <a:lnTo>
                    <a:pt x="2" y="21"/>
                  </a:lnTo>
                  <a:lnTo>
                    <a:pt x="2" y="19"/>
                  </a:lnTo>
                  <a:lnTo>
                    <a:pt x="2" y="16"/>
                  </a:lnTo>
                  <a:lnTo>
                    <a:pt x="2" y="19"/>
                  </a:lnTo>
                  <a:lnTo>
                    <a:pt x="2" y="16"/>
                  </a:lnTo>
                  <a:lnTo>
                    <a:pt x="2" y="14"/>
                  </a:lnTo>
                  <a:lnTo>
                    <a:pt x="0" y="14"/>
                  </a:lnTo>
                  <a:lnTo>
                    <a:pt x="0" y="11"/>
                  </a:lnTo>
                  <a:lnTo>
                    <a:pt x="2" y="11"/>
                  </a:lnTo>
                  <a:lnTo>
                    <a:pt x="2" y="14"/>
                  </a:lnTo>
                  <a:lnTo>
                    <a:pt x="5" y="14"/>
                  </a:lnTo>
                  <a:lnTo>
                    <a:pt x="5" y="11"/>
                  </a:lnTo>
                  <a:lnTo>
                    <a:pt x="2" y="11"/>
                  </a:lnTo>
                  <a:lnTo>
                    <a:pt x="5" y="11"/>
                  </a:lnTo>
                  <a:lnTo>
                    <a:pt x="2" y="11"/>
                  </a:lnTo>
                  <a:lnTo>
                    <a:pt x="2" y="9"/>
                  </a:lnTo>
                  <a:lnTo>
                    <a:pt x="2" y="7"/>
                  </a:lnTo>
                  <a:lnTo>
                    <a:pt x="0" y="7"/>
                  </a:lnTo>
                  <a:lnTo>
                    <a:pt x="0" y="4"/>
                  </a:lnTo>
                  <a:lnTo>
                    <a:pt x="0" y="2"/>
                  </a:lnTo>
                  <a:lnTo>
                    <a:pt x="0"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0" name="Freeform 50283"/>
            <p:cNvSpPr>
              <a:spLocks noEditPoints="1"/>
            </p:cNvSpPr>
            <p:nvPr/>
          </p:nvSpPr>
          <p:spPr bwMode="auto">
            <a:xfrm>
              <a:off x="2733673" y="4960954"/>
              <a:ext cx="312738" cy="309565"/>
            </a:xfrm>
            <a:custGeom>
              <a:avLst/>
              <a:gdLst>
                <a:gd name="T0" fmla="*/ 130 w 197"/>
                <a:gd name="T1" fmla="*/ 169 h 195"/>
                <a:gd name="T2" fmla="*/ 138 w 197"/>
                <a:gd name="T3" fmla="*/ 174 h 195"/>
                <a:gd name="T4" fmla="*/ 149 w 197"/>
                <a:gd name="T5" fmla="*/ 179 h 195"/>
                <a:gd name="T6" fmla="*/ 166 w 197"/>
                <a:gd name="T7" fmla="*/ 193 h 195"/>
                <a:gd name="T8" fmla="*/ 154 w 197"/>
                <a:gd name="T9" fmla="*/ 183 h 195"/>
                <a:gd name="T10" fmla="*/ 145 w 197"/>
                <a:gd name="T11" fmla="*/ 176 h 195"/>
                <a:gd name="T12" fmla="*/ 138 w 197"/>
                <a:gd name="T13" fmla="*/ 174 h 195"/>
                <a:gd name="T14" fmla="*/ 121 w 197"/>
                <a:gd name="T15" fmla="*/ 167 h 195"/>
                <a:gd name="T16" fmla="*/ 130 w 197"/>
                <a:gd name="T17" fmla="*/ 167 h 195"/>
                <a:gd name="T18" fmla="*/ 104 w 197"/>
                <a:gd name="T19" fmla="*/ 8 h 195"/>
                <a:gd name="T20" fmla="*/ 111 w 197"/>
                <a:gd name="T21" fmla="*/ 15 h 195"/>
                <a:gd name="T22" fmla="*/ 126 w 197"/>
                <a:gd name="T23" fmla="*/ 29 h 195"/>
                <a:gd name="T24" fmla="*/ 145 w 197"/>
                <a:gd name="T25" fmla="*/ 36 h 195"/>
                <a:gd name="T26" fmla="*/ 156 w 197"/>
                <a:gd name="T27" fmla="*/ 38 h 195"/>
                <a:gd name="T28" fmla="*/ 175 w 197"/>
                <a:gd name="T29" fmla="*/ 34 h 195"/>
                <a:gd name="T30" fmla="*/ 180 w 197"/>
                <a:gd name="T31" fmla="*/ 43 h 195"/>
                <a:gd name="T32" fmla="*/ 180 w 197"/>
                <a:gd name="T33" fmla="*/ 55 h 195"/>
                <a:gd name="T34" fmla="*/ 194 w 197"/>
                <a:gd name="T35" fmla="*/ 67 h 195"/>
                <a:gd name="T36" fmla="*/ 183 w 197"/>
                <a:gd name="T37" fmla="*/ 79 h 195"/>
                <a:gd name="T38" fmla="*/ 175 w 197"/>
                <a:gd name="T39" fmla="*/ 74 h 195"/>
                <a:gd name="T40" fmla="*/ 164 w 197"/>
                <a:gd name="T41" fmla="*/ 72 h 195"/>
                <a:gd name="T42" fmla="*/ 145 w 197"/>
                <a:gd name="T43" fmla="*/ 72 h 195"/>
                <a:gd name="T44" fmla="*/ 133 w 197"/>
                <a:gd name="T45" fmla="*/ 67 h 195"/>
                <a:gd name="T46" fmla="*/ 116 w 197"/>
                <a:gd name="T47" fmla="*/ 62 h 195"/>
                <a:gd name="T48" fmla="*/ 107 w 197"/>
                <a:gd name="T49" fmla="*/ 65 h 195"/>
                <a:gd name="T50" fmla="*/ 90 w 197"/>
                <a:gd name="T51" fmla="*/ 74 h 195"/>
                <a:gd name="T52" fmla="*/ 76 w 197"/>
                <a:gd name="T53" fmla="*/ 65 h 195"/>
                <a:gd name="T54" fmla="*/ 81 w 197"/>
                <a:gd name="T55" fmla="*/ 86 h 195"/>
                <a:gd name="T56" fmla="*/ 88 w 197"/>
                <a:gd name="T57" fmla="*/ 110 h 195"/>
                <a:gd name="T58" fmla="*/ 102 w 197"/>
                <a:gd name="T59" fmla="*/ 124 h 195"/>
                <a:gd name="T60" fmla="*/ 126 w 197"/>
                <a:gd name="T61" fmla="*/ 150 h 195"/>
                <a:gd name="T62" fmla="*/ 135 w 197"/>
                <a:gd name="T63" fmla="*/ 164 h 195"/>
                <a:gd name="T64" fmla="*/ 116 w 197"/>
                <a:gd name="T65" fmla="*/ 155 h 195"/>
                <a:gd name="T66" fmla="*/ 97 w 197"/>
                <a:gd name="T67" fmla="*/ 143 h 195"/>
                <a:gd name="T68" fmla="*/ 92 w 197"/>
                <a:gd name="T69" fmla="*/ 143 h 195"/>
                <a:gd name="T70" fmla="*/ 85 w 197"/>
                <a:gd name="T71" fmla="*/ 145 h 195"/>
                <a:gd name="T72" fmla="*/ 81 w 197"/>
                <a:gd name="T73" fmla="*/ 136 h 195"/>
                <a:gd name="T74" fmla="*/ 78 w 197"/>
                <a:gd name="T75" fmla="*/ 131 h 195"/>
                <a:gd name="T76" fmla="*/ 69 w 197"/>
                <a:gd name="T77" fmla="*/ 131 h 195"/>
                <a:gd name="T78" fmla="*/ 64 w 197"/>
                <a:gd name="T79" fmla="*/ 124 h 195"/>
                <a:gd name="T80" fmla="*/ 52 w 197"/>
                <a:gd name="T81" fmla="*/ 107 h 195"/>
                <a:gd name="T82" fmla="*/ 62 w 197"/>
                <a:gd name="T83" fmla="*/ 107 h 195"/>
                <a:gd name="T84" fmla="*/ 69 w 197"/>
                <a:gd name="T85" fmla="*/ 112 h 195"/>
                <a:gd name="T86" fmla="*/ 57 w 197"/>
                <a:gd name="T87" fmla="*/ 100 h 195"/>
                <a:gd name="T88" fmla="*/ 45 w 197"/>
                <a:gd name="T89" fmla="*/ 88 h 195"/>
                <a:gd name="T90" fmla="*/ 45 w 197"/>
                <a:gd name="T91" fmla="*/ 74 h 195"/>
                <a:gd name="T92" fmla="*/ 35 w 197"/>
                <a:gd name="T93" fmla="*/ 60 h 195"/>
                <a:gd name="T94" fmla="*/ 24 w 197"/>
                <a:gd name="T95" fmla="*/ 69 h 195"/>
                <a:gd name="T96" fmla="*/ 17 w 197"/>
                <a:gd name="T97" fmla="*/ 76 h 195"/>
                <a:gd name="T98" fmla="*/ 12 w 197"/>
                <a:gd name="T99" fmla="*/ 81 h 195"/>
                <a:gd name="T100" fmla="*/ 7 w 197"/>
                <a:gd name="T101" fmla="*/ 74 h 195"/>
                <a:gd name="T102" fmla="*/ 5 w 197"/>
                <a:gd name="T103" fmla="*/ 67 h 195"/>
                <a:gd name="T104" fmla="*/ 2 w 197"/>
                <a:gd name="T105" fmla="*/ 55 h 195"/>
                <a:gd name="T106" fmla="*/ 12 w 197"/>
                <a:gd name="T107" fmla="*/ 53 h 195"/>
                <a:gd name="T108" fmla="*/ 33 w 197"/>
                <a:gd name="T109" fmla="*/ 48 h 195"/>
                <a:gd name="T110" fmla="*/ 45 w 197"/>
                <a:gd name="T111" fmla="*/ 53 h 195"/>
                <a:gd name="T112" fmla="*/ 62 w 197"/>
                <a:gd name="T113" fmla="*/ 53 h 195"/>
                <a:gd name="T114" fmla="*/ 64 w 197"/>
                <a:gd name="T115" fmla="*/ 36 h 195"/>
                <a:gd name="T116" fmla="*/ 71 w 197"/>
                <a:gd name="T117" fmla="*/ 24 h 195"/>
                <a:gd name="T118" fmla="*/ 83 w 197"/>
                <a:gd name="T119"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195">
                  <a:moveTo>
                    <a:pt x="116" y="164"/>
                  </a:moveTo>
                  <a:lnTo>
                    <a:pt x="119" y="164"/>
                  </a:lnTo>
                  <a:lnTo>
                    <a:pt x="119" y="167"/>
                  </a:lnTo>
                  <a:lnTo>
                    <a:pt x="119" y="164"/>
                  </a:lnTo>
                  <a:lnTo>
                    <a:pt x="119" y="167"/>
                  </a:lnTo>
                  <a:lnTo>
                    <a:pt x="119" y="164"/>
                  </a:lnTo>
                  <a:lnTo>
                    <a:pt x="121" y="164"/>
                  </a:lnTo>
                  <a:lnTo>
                    <a:pt x="123" y="167"/>
                  </a:lnTo>
                  <a:lnTo>
                    <a:pt x="126" y="167"/>
                  </a:lnTo>
                  <a:lnTo>
                    <a:pt x="128" y="167"/>
                  </a:lnTo>
                  <a:lnTo>
                    <a:pt x="128" y="169"/>
                  </a:lnTo>
                  <a:lnTo>
                    <a:pt x="130" y="169"/>
                  </a:lnTo>
                  <a:lnTo>
                    <a:pt x="130" y="171"/>
                  </a:lnTo>
                  <a:lnTo>
                    <a:pt x="130" y="169"/>
                  </a:lnTo>
                  <a:lnTo>
                    <a:pt x="133" y="171"/>
                  </a:lnTo>
                  <a:lnTo>
                    <a:pt x="133" y="169"/>
                  </a:lnTo>
                  <a:lnTo>
                    <a:pt x="133" y="171"/>
                  </a:lnTo>
                  <a:lnTo>
                    <a:pt x="135" y="171"/>
                  </a:lnTo>
                  <a:lnTo>
                    <a:pt x="138" y="171"/>
                  </a:lnTo>
                  <a:lnTo>
                    <a:pt x="138" y="174"/>
                  </a:lnTo>
                  <a:lnTo>
                    <a:pt x="140" y="174"/>
                  </a:lnTo>
                  <a:lnTo>
                    <a:pt x="138" y="174"/>
                  </a:lnTo>
                  <a:lnTo>
                    <a:pt x="140" y="174"/>
                  </a:lnTo>
                  <a:lnTo>
                    <a:pt x="138" y="174"/>
                  </a:lnTo>
                  <a:lnTo>
                    <a:pt x="138" y="171"/>
                  </a:lnTo>
                  <a:lnTo>
                    <a:pt x="140" y="171"/>
                  </a:lnTo>
                  <a:lnTo>
                    <a:pt x="138" y="171"/>
                  </a:lnTo>
                  <a:lnTo>
                    <a:pt x="140" y="171"/>
                  </a:lnTo>
                  <a:lnTo>
                    <a:pt x="140" y="169"/>
                  </a:lnTo>
                  <a:lnTo>
                    <a:pt x="142" y="171"/>
                  </a:lnTo>
                  <a:lnTo>
                    <a:pt x="145" y="171"/>
                  </a:lnTo>
                  <a:lnTo>
                    <a:pt x="145" y="174"/>
                  </a:lnTo>
                  <a:lnTo>
                    <a:pt x="145" y="176"/>
                  </a:lnTo>
                  <a:lnTo>
                    <a:pt x="147" y="176"/>
                  </a:lnTo>
                  <a:lnTo>
                    <a:pt x="149" y="176"/>
                  </a:lnTo>
                  <a:lnTo>
                    <a:pt x="149" y="179"/>
                  </a:lnTo>
                  <a:lnTo>
                    <a:pt x="152" y="181"/>
                  </a:lnTo>
                  <a:lnTo>
                    <a:pt x="154" y="181"/>
                  </a:lnTo>
                  <a:lnTo>
                    <a:pt x="156" y="183"/>
                  </a:lnTo>
                  <a:lnTo>
                    <a:pt x="159" y="183"/>
                  </a:lnTo>
                  <a:lnTo>
                    <a:pt x="161" y="183"/>
                  </a:lnTo>
                  <a:lnTo>
                    <a:pt x="161" y="186"/>
                  </a:lnTo>
                  <a:lnTo>
                    <a:pt x="164" y="186"/>
                  </a:lnTo>
                  <a:lnTo>
                    <a:pt x="164" y="190"/>
                  </a:lnTo>
                  <a:lnTo>
                    <a:pt x="164" y="193"/>
                  </a:lnTo>
                  <a:lnTo>
                    <a:pt x="166" y="193"/>
                  </a:lnTo>
                  <a:lnTo>
                    <a:pt x="166" y="195"/>
                  </a:lnTo>
                  <a:lnTo>
                    <a:pt x="166" y="193"/>
                  </a:lnTo>
                  <a:lnTo>
                    <a:pt x="164" y="193"/>
                  </a:lnTo>
                  <a:lnTo>
                    <a:pt x="164" y="190"/>
                  </a:lnTo>
                  <a:lnTo>
                    <a:pt x="164" y="193"/>
                  </a:lnTo>
                  <a:lnTo>
                    <a:pt x="161" y="190"/>
                  </a:lnTo>
                  <a:lnTo>
                    <a:pt x="164" y="190"/>
                  </a:lnTo>
                  <a:lnTo>
                    <a:pt x="161" y="190"/>
                  </a:lnTo>
                  <a:lnTo>
                    <a:pt x="159" y="190"/>
                  </a:lnTo>
                  <a:lnTo>
                    <a:pt x="159" y="188"/>
                  </a:lnTo>
                  <a:lnTo>
                    <a:pt x="156" y="188"/>
                  </a:lnTo>
                  <a:lnTo>
                    <a:pt x="156" y="186"/>
                  </a:lnTo>
                  <a:lnTo>
                    <a:pt x="156" y="183"/>
                  </a:lnTo>
                  <a:lnTo>
                    <a:pt x="154" y="183"/>
                  </a:lnTo>
                  <a:lnTo>
                    <a:pt x="152" y="183"/>
                  </a:lnTo>
                  <a:lnTo>
                    <a:pt x="149" y="183"/>
                  </a:lnTo>
                  <a:lnTo>
                    <a:pt x="152" y="183"/>
                  </a:lnTo>
                  <a:lnTo>
                    <a:pt x="149" y="181"/>
                  </a:lnTo>
                  <a:lnTo>
                    <a:pt x="152" y="181"/>
                  </a:lnTo>
                  <a:lnTo>
                    <a:pt x="152" y="183"/>
                  </a:lnTo>
                  <a:lnTo>
                    <a:pt x="152" y="181"/>
                  </a:lnTo>
                  <a:lnTo>
                    <a:pt x="149" y="181"/>
                  </a:lnTo>
                  <a:lnTo>
                    <a:pt x="147" y="181"/>
                  </a:lnTo>
                  <a:lnTo>
                    <a:pt x="147" y="179"/>
                  </a:lnTo>
                  <a:lnTo>
                    <a:pt x="145" y="179"/>
                  </a:lnTo>
                  <a:lnTo>
                    <a:pt x="145" y="176"/>
                  </a:lnTo>
                  <a:lnTo>
                    <a:pt x="142" y="176"/>
                  </a:lnTo>
                  <a:lnTo>
                    <a:pt x="145" y="176"/>
                  </a:lnTo>
                  <a:lnTo>
                    <a:pt x="142" y="176"/>
                  </a:lnTo>
                  <a:lnTo>
                    <a:pt x="140" y="176"/>
                  </a:lnTo>
                  <a:lnTo>
                    <a:pt x="140" y="174"/>
                  </a:lnTo>
                  <a:lnTo>
                    <a:pt x="138" y="174"/>
                  </a:lnTo>
                  <a:lnTo>
                    <a:pt x="140" y="174"/>
                  </a:lnTo>
                  <a:lnTo>
                    <a:pt x="140" y="176"/>
                  </a:lnTo>
                  <a:lnTo>
                    <a:pt x="140" y="179"/>
                  </a:lnTo>
                  <a:lnTo>
                    <a:pt x="140" y="176"/>
                  </a:lnTo>
                  <a:lnTo>
                    <a:pt x="138" y="176"/>
                  </a:lnTo>
                  <a:lnTo>
                    <a:pt x="138" y="174"/>
                  </a:lnTo>
                  <a:lnTo>
                    <a:pt x="138" y="176"/>
                  </a:lnTo>
                  <a:lnTo>
                    <a:pt x="138" y="174"/>
                  </a:lnTo>
                  <a:lnTo>
                    <a:pt x="135" y="174"/>
                  </a:lnTo>
                  <a:lnTo>
                    <a:pt x="133" y="174"/>
                  </a:lnTo>
                  <a:lnTo>
                    <a:pt x="130" y="174"/>
                  </a:lnTo>
                  <a:lnTo>
                    <a:pt x="130" y="171"/>
                  </a:lnTo>
                  <a:lnTo>
                    <a:pt x="128" y="171"/>
                  </a:lnTo>
                  <a:lnTo>
                    <a:pt x="128" y="169"/>
                  </a:lnTo>
                  <a:lnTo>
                    <a:pt x="126" y="169"/>
                  </a:lnTo>
                  <a:lnTo>
                    <a:pt x="123" y="169"/>
                  </a:lnTo>
                  <a:lnTo>
                    <a:pt x="123" y="167"/>
                  </a:lnTo>
                  <a:lnTo>
                    <a:pt x="121" y="167"/>
                  </a:lnTo>
                  <a:lnTo>
                    <a:pt x="119" y="167"/>
                  </a:lnTo>
                  <a:lnTo>
                    <a:pt x="116" y="167"/>
                  </a:lnTo>
                  <a:lnTo>
                    <a:pt x="116" y="164"/>
                  </a:lnTo>
                  <a:close/>
                  <a:moveTo>
                    <a:pt x="138" y="164"/>
                  </a:moveTo>
                  <a:lnTo>
                    <a:pt x="140" y="167"/>
                  </a:lnTo>
                  <a:lnTo>
                    <a:pt x="138" y="169"/>
                  </a:lnTo>
                  <a:lnTo>
                    <a:pt x="135" y="169"/>
                  </a:lnTo>
                  <a:lnTo>
                    <a:pt x="133" y="169"/>
                  </a:lnTo>
                  <a:lnTo>
                    <a:pt x="133" y="167"/>
                  </a:lnTo>
                  <a:lnTo>
                    <a:pt x="130" y="167"/>
                  </a:lnTo>
                  <a:lnTo>
                    <a:pt x="130" y="164"/>
                  </a:lnTo>
                  <a:lnTo>
                    <a:pt x="130" y="167"/>
                  </a:lnTo>
                  <a:lnTo>
                    <a:pt x="130" y="164"/>
                  </a:lnTo>
                  <a:lnTo>
                    <a:pt x="133" y="164"/>
                  </a:lnTo>
                  <a:lnTo>
                    <a:pt x="135" y="167"/>
                  </a:lnTo>
                  <a:lnTo>
                    <a:pt x="135" y="164"/>
                  </a:lnTo>
                  <a:lnTo>
                    <a:pt x="138" y="164"/>
                  </a:lnTo>
                  <a:close/>
                  <a:moveTo>
                    <a:pt x="95" y="3"/>
                  </a:moveTo>
                  <a:lnTo>
                    <a:pt x="97" y="3"/>
                  </a:lnTo>
                  <a:lnTo>
                    <a:pt x="100" y="3"/>
                  </a:lnTo>
                  <a:lnTo>
                    <a:pt x="100" y="5"/>
                  </a:lnTo>
                  <a:lnTo>
                    <a:pt x="102" y="5"/>
                  </a:lnTo>
                  <a:lnTo>
                    <a:pt x="104" y="5"/>
                  </a:lnTo>
                  <a:lnTo>
                    <a:pt x="104" y="8"/>
                  </a:lnTo>
                  <a:lnTo>
                    <a:pt x="107" y="8"/>
                  </a:lnTo>
                  <a:lnTo>
                    <a:pt x="107" y="10"/>
                  </a:lnTo>
                  <a:lnTo>
                    <a:pt x="107" y="8"/>
                  </a:lnTo>
                  <a:lnTo>
                    <a:pt x="109" y="8"/>
                  </a:lnTo>
                  <a:lnTo>
                    <a:pt x="109" y="10"/>
                  </a:lnTo>
                  <a:lnTo>
                    <a:pt x="109" y="8"/>
                  </a:lnTo>
                  <a:lnTo>
                    <a:pt x="109" y="10"/>
                  </a:lnTo>
                  <a:lnTo>
                    <a:pt x="111" y="10"/>
                  </a:lnTo>
                  <a:lnTo>
                    <a:pt x="111" y="12"/>
                  </a:lnTo>
                  <a:lnTo>
                    <a:pt x="111" y="10"/>
                  </a:lnTo>
                  <a:lnTo>
                    <a:pt x="111" y="12"/>
                  </a:lnTo>
                  <a:lnTo>
                    <a:pt x="111" y="15"/>
                  </a:lnTo>
                  <a:lnTo>
                    <a:pt x="114" y="15"/>
                  </a:lnTo>
                  <a:lnTo>
                    <a:pt x="114" y="17"/>
                  </a:lnTo>
                  <a:lnTo>
                    <a:pt x="116" y="17"/>
                  </a:lnTo>
                  <a:lnTo>
                    <a:pt x="119" y="17"/>
                  </a:lnTo>
                  <a:lnTo>
                    <a:pt x="119" y="19"/>
                  </a:lnTo>
                  <a:lnTo>
                    <a:pt x="121" y="19"/>
                  </a:lnTo>
                  <a:lnTo>
                    <a:pt x="121" y="22"/>
                  </a:lnTo>
                  <a:lnTo>
                    <a:pt x="123" y="22"/>
                  </a:lnTo>
                  <a:lnTo>
                    <a:pt x="123" y="24"/>
                  </a:lnTo>
                  <a:lnTo>
                    <a:pt x="123" y="27"/>
                  </a:lnTo>
                  <a:lnTo>
                    <a:pt x="126" y="27"/>
                  </a:lnTo>
                  <a:lnTo>
                    <a:pt x="126" y="29"/>
                  </a:lnTo>
                  <a:lnTo>
                    <a:pt x="128" y="29"/>
                  </a:lnTo>
                  <a:lnTo>
                    <a:pt x="126" y="29"/>
                  </a:lnTo>
                  <a:lnTo>
                    <a:pt x="128" y="29"/>
                  </a:lnTo>
                  <a:lnTo>
                    <a:pt x="130" y="29"/>
                  </a:lnTo>
                  <a:lnTo>
                    <a:pt x="133" y="29"/>
                  </a:lnTo>
                  <a:lnTo>
                    <a:pt x="135" y="29"/>
                  </a:lnTo>
                  <a:lnTo>
                    <a:pt x="135" y="31"/>
                  </a:lnTo>
                  <a:lnTo>
                    <a:pt x="138" y="34"/>
                  </a:lnTo>
                  <a:lnTo>
                    <a:pt x="140" y="34"/>
                  </a:lnTo>
                  <a:lnTo>
                    <a:pt x="140" y="36"/>
                  </a:lnTo>
                  <a:lnTo>
                    <a:pt x="142" y="36"/>
                  </a:lnTo>
                  <a:lnTo>
                    <a:pt x="145" y="36"/>
                  </a:lnTo>
                  <a:lnTo>
                    <a:pt x="145" y="38"/>
                  </a:lnTo>
                  <a:lnTo>
                    <a:pt x="145" y="36"/>
                  </a:lnTo>
                  <a:lnTo>
                    <a:pt x="147" y="36"/>
                  </a:lnTo>
                  <a:lnTo>
                    <a:pt x="149" y="36"/>
                  </a:lnTo>
                  <a:lnTo>
                    <a:pt x="149" y="38"/>
                  </a:lnTo>
                  <a:lnTo>
                    <a:pt x="152" y="38"/>
                  </a:lnTo>
                  <a:lnTo>
                    <a:pt x="152" y="36"/>
                  </a:lnTo>
                  <a:lnTo>
                    <a:pt x="154" y="36"/>
                  </a:lnTo>
                  <a:lnTo>
                    <a:pt x="154" y="38"/>
                  </a:lnTo>
                  <a:lnTo>
                    <a:pt x="154" y="36"/>
                  </a:lnTo>
                  <a:lnTo>
                    <a:pt x="156" y="36"/>
                  </a:lnTo>
                  <a:lnTo>
                    <a:pt x="156" y="38"/>
                  </a:lnTo>
                  <a:lnTo>
                    <a:pt x="159" y="38"/>
                  </a:lnTo>
                  <a:lnTo>
                    <a:pt x="161" y="38"/>
                  </a:lnTo>
                  <a:lnTo>
                    <a:pt x="164" y="38"/>
                  </a:lnTo>
                  <a:lnTo>
                    <a:pt x="164" y="36"/>
                  </a:lnTo>
                  <a:lnTo>
                    <a:pt x="166" y="36"/>
                  </a:lnTo>
                  <a:lnTo>
                    <a:pt x="168" y="36"/>
                  </a:lnTo>
                  <a:lnTo>
                    <a:pt x="168" y="34"/>
                  </a:lnTo>
                  <a:lnTo>
                    <a:pt x="171" y="34"/>
                  </a:lnTo>
                  <a:lnTo>
                    <a:pt x="171" y="31"/>
                  </a:lnTo>
                  <a:lnTo>
                    <a:pt x="173" y="31"/>
                  </a:lnTo>
                  <a:lnTo>
                    <a:pt x="175" y="31"/>
                  </a:lnTo>
                  <a:lnTo>
                    <a:pt x="175" y="34"/>
                  </a:lnTo>
                  <a:lnTo>
                    <a:pt x="175" y="31"/>
                  </a:lnTo>
                  <a:lnTo>
                    <a:pt x="178" y="31"/>
                  </a:lnTo>
                  <a:lnTo>
                    <a:pt x="178" y="34"/>
                  </a:lnTo>
                  <a:lnTo>
                    <a:pt x="175" y="36"/>
                  </a:lnTo>
                  <a:lnTo>
                    <a:pt x="178" y="36"/>
                  </a:lnTo>
                  <a:lnTo>
                    <a:pt x="178" y="38"/>
                  </a:lnTo>
                  <a:lnTo>
                    <a:pt x="180" y="36"/>
                  </a:lnTo>
                  <a:lnTo>
                    <a:pt x="180" y="38"/>
                  </a:lnTo>
                  <a:lnTo>
                    <a:pt x="180" y="41"/>
                  </a:lnTo>
                  <a:lnTo>
                    <a:pt x="178" y="41"/>
                  </a:lnTo>
                  <a:lnTo>
                    <a:pt x="180" y="41"/>
                  </a:lnTo>
                  <a:lnTo>
                    <a:pt x="180" y="43"/>
                  </a:lnTo>
                  <a:lnTo>
                    <a:pt x="178" y="46"/>
                  </a:lnTo>
                  <a:lnTo>
                    <a:pt x="178" y="48"/>
                  </a:lnTo>
                  <a:lnTo>
                    <a:pt x="180" y="48"/>
                  </a:lnTo>
                  <a:lnTo>
                    <a:pt x="183" y="48"/>
                  </a:lnTo>
                  <a:lnTo>
                    <a:pt x="185" y="48"/>
                  </a:lnTo>
                  <a:lnTo>
                    <a:pt x="185" y="50"/>
                  </a:lnTo>
                  <a:lnTo>
                    <a:pt x="183" y="50"/>
                  </a:lnTo>
                  <a:lnTo>
                    <a:pt x="180" y="50"/>
                  </a:lnTo>
                  <a:lnTo>
                    <a:pt x="180" y="53"/>
                  </a:lnTo>
                  <a:lnTo>
                    <a:pt x="183" y="53"/>
                  </a:lnTo>
                  <a:lnTo>
                    <a:pt x="183" y="55"/>
                  </a:lnTo>
                  <a:lnTo>
                    <a:pt x="180" y="55"/>
                  </a:lnTo>
                  <a:lnTo>
                    <a:pt x="180" y="57"/>
                  </a:lnTo>
                  <a:lnTo>
                    <a:pt x="183" y="57"/>
                  </a:lnTo>
                  <a:lnTo>
                    <a:pt x="185" y="57"/>
                  </a:lnTo>
                  <a:lnTo>
                    <a:pt x="185" y="60"/>
                  </a:lnTo>
                  <a:lnTo>
                    <a:pt x="187" y="60"/>
                  </a:lnTo>
                  <a:lnTo>
                    <a:pt x="187" y="62"/>
                  </a:lnTo>
                  <a:lnTo>
                    <a:pt x="190" y="62"/>
                  </a:lnTo>
                  <a:lnTo>
                    <a:pt x="192" y="62"/>
                  </a:lnTo>
                  <a:lnTo>
                    <a:pt x="194" y="62"/>
                  </a:lnTo>
                  <a:lnTo>
                    <a:pt x="197" y="62"/>
                  </a:lnTo>
                  <a:lnTo>
                    <a:pt x="194" y="65"/>
                  </a:lnTo>
                  <a:lnTo>
                    <a:pt x="194" y="67"/>
                  </a:lnTo>
                  <a:lnTo>
                    <a:pt x="192" y="67"/>
                  </a:lnTo>
                  <a:lnTo>
                    <a:pt x="190" y="67"/>
                  </a:lnTo>
                  <a:lnTo>
                    <a:pt x="185" y="69"/>
                  </a:lnTo>
                  <a:lnTo>
                    <a:pt x="185" y="72"/>
                  </a:lnTo>
                  <a:lnTo>
                    <a:pt x="185" y="74"/>
                  </a:lnTo>
                  <a:lnTo>
                    <a:pt x="183" y="74"/>
                  </a:lnTo>
                  <a:lnTo>
                    <a:pt x="185" y="74"/>
                  </a:lnTo>
                  <a:lnTo>
                    <a:pt x="187" y="74"/>
                  </a:lnTo>
                  <a:lnTo>
                    <a:pt x="187" y="76"/>
                  </a:lnTo>
                  <a:lnTo>
                    <a:pt x="185" y="76"/>
                  </a:lnTo>
                  <a:lnTo>
                    <a:pt x="185" y="79"/>
                  </a:lnTo>
                  <a:lnTo>
                    <a:pt x="183" y="79"/>
                  </a:lnTo>
                  <a:lnTo>
                    <a:pt x="183" y="76"/>
                  </a:lnTo>
                  <a:lnTo>
                    <a:pt x="180" y="79"/>
                  </a:lnTo>
                  <a:lnTo>
                    <a:pt x="183" y="79"/>
                  </a:lnTo>
                  <a:lnTo>
                    <a:pt x="183" y="81"/>
                  </a:lnTo>
                  <a:lnTo>
                    <a:pt x="180" y="81"/>
                  </a:lnTo>
                  <a:lnTo>
                    <a:pt x="178" y="81"/>
                  </a:lnTo>
                  <a:lnTo>
                    <a:pt x="175" y="81"/>
                  </a:lnTo>
                  <a:lnTo>
                    <a:pt x="175" y="79"/>
                  </a:lnTo>
                  <a:lnTo>
                    <a:pt x="173" y="79"/>
                  </a:lnTo>
                  <a:lnTo>
                    <a:pt x="173" y="76"/>
                  </a:lnTo>
                  <a:lnTo>
                    <a:pt x="175" y="76"/>
                  </a:lnTo>
                  <a:lnTo>
                    <a:pt x="175" y="74"/>
                  </a:lnTo>
                  <a:lnTo>
                    <a:pt x="173" y="74"/>
                  </a:lnTo>
                  <a:lnTo>
                    <a:pt x="173" y="72"/>
                  </a:lnTo>
                  <a:lnTo>
                    <a:pt x="171" y="72"/>
                  </a:lnTo>
                  <a:lnTo>
                    <a:pt x="171" y="69"/>
                  </a:lnTo>
                  <a:lnTo>
                    <a:pt x="171" y="72"/>
                  </a:lnTo>
                  <a:lnTo>
                    <a:pt x="168" y="72"/>
                  </a:lnTo>
                  <a:lnTo>
                    <a:pt x="168" y="69"/>
                  </a:lnTo>
                  <a:lnTo>
                    <a:pt x="168" y="72"/>
                  </a:lnTo>
                  <a:lnTo>
                    <a:pt x="168" y="69"/>
                  </a:lnTo>
                  <a:lnTo>
                    <a:pt x="166" y="69"/>
                  </a:lnTo>
                  <a:lnTo>
                    <a:pt x="166" y="72"/>
                  </a:lnTo>
                  <a:lnTo>
                    <a:pt x="164" y="72"/>
                  </a:lnTo>
                  <a:lnTo>
                    <a:pt x="164" y="69"/>
                  </a:lnTo>
                  <a:lnTo>
                    <a:pt x="161" y="69"/>
                  </a:lnTo>
                  <a:lnTo>
                    <a:pt x="159" y="69"/>
                  </a:lnTo>
                  <a:lnTo>
                    <a:pt x="156" y="67"/>
                  </a:lnTo>
                  <a:lnTo>
                    <a:pt x="156" y="69"/>
                  </a:lnTo>
                  <a:lnTo>
                    <a:pt x="154" y="69"/>
                  </a:lnTo>
                  <a:lnTo>
                    <a:pt x="152" y="69"/>
                  </a:lnTo>
                  <a:lnTo>
                    <a:pt x="152" y="67"/>
                  </a:lnTo>
                  <a:lnTo>
                    <a:pt x="149" y="67"/>
                  </a:lnTo>
                  <a:lnTo>
                    <a:pt x="147" y="67"/>
                  </a:lnTo>
                  <a:lnTo>
                    <a:pt x="147" y="69"/>
                  </a:lnTo>
                  <a:lnTo>
                    <a:pt x="145" y="72"/>
                  </a:lnTo>
                  <a:lnTo>
                    <a:pt x="142" y="72"/>
                  </a:lnTo>
                  <a:lnTo>
                    <a:pt x="142" y="69"/>
                  </a:lnTo>
                  <a:lnTo>
                    <a:pt x="140" y="69"/>
                  </a:lnTo>
                  <a:lnTo>
                    <a:pt x="138" y="69"/>
                  </a:lnTo>
                  <a:lnTo>
                    <a:pt x="138" y="67"/>
                  </a:lnTo>
                  <a:lnTo>
                    <a:pt x="135" y="67"/>
                  </a:lnTo>
                  <a:lnTo>
                    <a:pt x="135" y="69"/>
                  </a:lnTo>
                  <a:lnTo>
                    <a:pt x="133" y="69"/>
                  </a:lnTo>
                  <a:lnTo>
                    <a:pt x="133" y="67"/>
                  </a:lnTo>
                  <a:lnTo>
                    <a:pt x="133" y="69"/>
                  </a:lnTo>
                  <a:lnTo>
                    <a:pt x="130" y="69"/>
                  </a:lnTo>
                  <a:lnTo>
                    <a:pt x="133" y="67"/>
                  </a:lnTo>
                  <a:lnTo>
                    <a:pt x="130" y="67"/>
                  </a:lnTo>
                  <a:lnTo>
                    <a:pt x="128" y="67"/>
                  </a:lnTo>
                  <a:lnTo>
                    <a:pt x="126" y="67"/>
                  </a:lnTo>
                  <a:lnTo>
                    <a:pt x="126" y="65"/>
                  </a:lnTo>
                  <a:lnTo>
                    <a:pt x="123" y="65"/>
                  </a:lnTo>
                  <a:lnTo>
                    <a:pt x="123" y="67"/>
                  </a:lnTo>
                  <a:lnTo>
                    <a:pt x="121" y="67"/>
                  </a:lnTo>
                  <a:lnTo>
                    <a:pt x="119" y="65"/>
                  </a:lnTo>
                  <a:lnTo>
                    <a:pt x="116" y="65"/>
                  </a:lnTo>
                  <a:lnTo>
                    <a:pt x="116" y="62"/>
                  </a:lnTo>
                  <a:lnTo>
                    <a:pt x="116" y="65"/>
                  </a:lnTo>
                  <a:lnTo>
                    <a:pt x="116" y="62"/>
                  </a:lnTo>
                  <a:lnTo>
                    <a:pt x="114" y="62"/>
                  </a:lnTo>
                  <a:lnTo>
                    <a:pt x="116" y="62"/>
                  </a:lnTo>
                  <a:lnTo>
                    <a:pt x="114" y="62"/>
                  </a:lnTo>
                  <a:lnTo>
                    <a:pt x="114" y="60"/>
                  </a:lnTo>
                  <a:lnTo>
                    <a:pt x="114" y="62"/>
                  </a:lnTo>
                  <a:lnTo>
                    <a:pt x="111" y="62"/>
                  </a:lnTo>
                  <a:lnTo>
                    <a:pt x="109" y="62"/>
                  </a:lnTo>
                  <a:lnTo>
                    <a:pt x="111" y="62"/>
                  </a:lnTo>
                  <a:lnTo>
                    <a:pt x="109" y="65"/>
                  </a:lnTo>
                  <a:lnTo>
                    <a:pt x="111" y="65"/>
                  </a:lnTo>
                  <a:lnTo>
                    <a:pt x="109" y="65"/>
                  </a:lnTo>
                  <a:lnTo>
                    <a:pt x="107" y="65"/>
                  </a:lnTo>
                  <a:lnTo>
                    <a:pt x="104" y="65"/>
                  </a:lnTo>
                  <a:lnTo>
                    <a:pt x="102" y="62"/>
                  </a:lnTo>
                  <a:lnTo>
                    <a:pt x="102" y="65"/>
                  </a:lnTo>
                  <a:lnTo>
                    <a:pt x="100" y="62"/>
                  </a:lnTo>
                  <a:lnTo>
                    <a:pt x="100" y="65"/>
                  </a:lnTo>
                  <a:lnTo>
                    <a:pt x="97" y="65"/>
                  </a:lnTo>
                  <a:lnTo>
                    <a:pt x="97" y="67"/>
                  </a:lnTo>
                  <a:lnTo>
                    <a:pt x="95" y="69"/>
                  </a:lnTo>
                  <a:lnTo>
                    <a:pt x="95" y="72"/>
                  </a:lnTo>
                  <a:lnTo>
                    <a:pt x="95" y="74"/>
                  </a:lnTo>
                  <a:lnTo>
                    <a:pt x="92" y="74"/>
                  </a:lnTo>
                  <a:lnTo>
                    <a:pt x="90" y="74"/>
                  </a:lnTo>
                  <a:lnTo>
                    <a:pt x="90" y="72"/>
                  </a:lnTo>
                  <a:lnTo>
                    <a:pt x="88" y="72"/>
                  </a:lnTo>
                  <a:lnTo>
                    <a:pt x="88" y="69"/>
                  </a:lnTo>
                  <a:lnTo>
                    <a:pt x="85" y="69"/>
                  </a:lnTo>
                  <a:lnTo>
                    <a:pt x="85" y="67"/>
                  </a:lnTo>
                  <a:lnTo>
                    <a:pt x="83" y="65"/>
                  </a:lnTo>
                  <a:lnTo>
                    <a:pt x="81" y="65"/>
                  </a:lnTo>
                  <a:lnTo>
                    <a:pt x="81" y="62"/>
                  </a:lnTo>
                  <a:lnTo>
                    <a:pt x="78" y="62"/>
                  </a:lnTo>
                  <a:lnTo>
                    <a:pt x="78" y="65"/>
                  </a:lnTo>
                  <a:lnTo>
                    <a:pt x="78" y="62"/>
                  </a:lnTo>
                  <a:lnTo>
                    <a:pt x="76" y="65"/>
                  </a:lnTo>
                  <a:lnTo>
                    <a:pt x="76" y="67"/>
                  </a:lnTo>
                  <a:lnTo>
                    <a:pt x="76" y="69"/>
                  </a:lnTo>
                  <a:lnTo>
                    <a:pt x="76" y="72"/>
                  </a:lnTo>
                  <a:lnTo>
                    <a:pt x="73" y="72"/>
                  </a:lnTo>
                  <a:lnTo>
                    <a:pt x="73" y="74"/>
                  </a:lnTo>
                  <a:lnTo>
                    <a:pt x="73" y="76"/>
                  </a:lnTo>
                  <a:lnTo>
                    <a:pt x="73" y="79"/>
                  </a:lnTo>
                  <a:lnTo>
                    <a:pt x="76" y="79"/>
                  </a:lnTo>
                  <a:lnTo>
                    <a:pt x="76" y="81"/>
                  </a:lnTo>
                  <a:lnTo>
                    <a:pt x="78" y="84"/>
                  </a:lnTo>
                  <a:lnTo>
                    <a:pt x="78" y="86"/>
                  </a:lnTo>
                  <a:lnTo>
                    <a:pt x="81" y="86"/>
                  </a:lnTo>
                  <a:lnTo>
                    <a:pt x="81" y="88"/>
                  </a:lnTo>
                  <a:lnTo>
                    <a:pt x="83" y="91"/>
                  </a:lnTo>
                  <a:lnTo>
                    <a:pt x="85" y="95"/>
                  </a:lnTo>
                  <a:lnTo>
                    <a:pt x="88" y="95"/>
                  </a:lnTo>
                  <a:lnTo>
                    <a:pt x="88" y="98"/>
                  </a:lnTo>
                  <a:lnTo>
                    <a:pt x="88" y="100"/>
                  </a:lnTo>
                  <a:lnTo>
                    <a:pt x="88" y="103"/>
                  </a:lnTo>
                  <a:lnTo>
                    <a:pt x="90" y="103"/>
                  </a:lnTo>
                  <a:lnTo>
                    <a:pt x="90" y="105"/>
                  </a:lnTo>
                  <a:lnTo>
                    <a:pt x="88" y="105"/>
                  </a:lnTo>
                  <a:lnTo>
                    <a:pt x="88" y="107"/>
                  </a:lnTo>
                  <a:lnTo>
                    <a:pt x="88" y="110"/>
                  </a:lnTo>
                  <a:lnTo>
                    <a:pt x="90" y="110"/>
                  </a:lnTo>
                  <a:lnTo>
                    <a:pt x="90" y="112"/>
                  </a:lnTo>
                  <a:lnTo>
                    <a:pt x="92" y="112"/>
                  </a:lnTo>
                  <a:lnTo>
                    <a:pt x="92" y="114"/>
                  </a:lnTo>
                  <a:lnTo>
                    <a:pt x="95" y="114"/>
                  </a:lnTo>
                  <a:lnTo>
                    <a:pt x="95" y="117"/>
                  </a:lnTo>
                  <a:lnTo>
                    <a:pt x="97" y="117"/>
                  </a:lnTo>
                  <a:lnTo>
                    <a:pt x="97" y="119"/>
                  </a:lnTo>
                  <a:lnTo>
                    <a:pt x="100" y="119"/>
                  </a:lnTo>
                  <a:lnTo>
                    <a:pt x="100" y="122"/>
                  </a:lnTo>
                  <a:lnTo>
                    <a:pt x="102" y="122"/>
                  </a:lnTo>
                  <a:lnTo>
                    <a:pt x="102" y="124"/>
                  </a:lnTo>
                  <a:lnTo>
                    <a:pt x="104" y="124"/>
                  </a:lnTo>
                  <a:lnTo>
                    <a:pt x="104" y="126"/>
                  </a:lnTo>
                  <a:lnTo>
                    <a:pt x="107" y="126"/>
                  </a:lnTo>
                  <a:lnTo>
                    <a:pt x="107" y="129"/>
                  </a:lnTo>
                  <a:lnTo>
                    <a:pt x="107" y="131"/>
                  </a:lnTo>
                  <a:lnTo>
                    <a:pt x="111" y="133"/>
                  </a:lnTo>
                  <a:lnTo>
                    <a:pt x="121" y="143"/>
                  </a:lnTo>
                  <a:lnTo>
                    <a:pt x="121" y="145"/>
                  </a:lnTo>
                  <a:lnTo>
                    <a:pt x="123" y="145"/>
                  </a:lnTo>
                  <a:lnTo>
                    <a:pt x="126" y="145"/>
                  </a:lnTo>
                  <a:lnTo>
                    <a:pt x="126" y="148"/>
                  </a:lnTo>
                  <a:lnTo>
                    <a:pt x="126" y="150"/>
                  </a:lnTo>
                  <a:lnTo>
                    <a:pt x="126" y="152"/>
                  </a:lnTo>
                  <a:lnTo>
                    <a:pt x="128" y="155"/>
                  </a:lnTo>
                  <a:lnTo>
                    <a:pt x="130" y="155"/>
                  </a:lnTo>
                  <a:lnTo>
                    <a:pt x="130" y="157"/>
                  </a:lnTo>
                  <a:lnTo>
                    <a:pt x="130" y="160"/>
                  </a:lnTo>
                  <a:lnTo>
                    <a:pt x="133" y="160"/>
                  </a:lnTo>
                  <a:lnTo>
                    <a:pt x="135" y="160"/>
                  </a:lnTo>
                  <a:lnTo>
                    <a:pt x="138" y="162"/>
                  </a:lnTo>
                  <a:lnTo>
                    <a:pt x="138" y="164"/>
                  </a:lnTo>
                  <a:lnTo>
                    <a:pt x="135" y="164"/>
                  </a:lnTo>
                  <a:lnTo>
                    <a:pt x="135" y="167"/>
                  </a:lnTo>
                  <a:lnTo>
                    <a:pt x="135" y="164"/>
                  </a:lnTo>
                  <a:lnTo>
                    <a:pt x="133" y="164"/>
                  </a:lnTo>
                  <a:lnTo>
                    <a:pt x="130" y="164"/>
                  </a:lnTo>
                  <a:lnTo>
                    <a:pt x="128" y="164"/>
                  </a:lnTo>
                  <a:lnTo>
                    <a:pt x="128" y="162"/>
                  </a:lnTo>
                  <a:lnTo>
                    <a:pt x="126" y="162"/>
                  </a:lnTo>
                  <a:lnTo>
                    <a:pt x="126" y="160"/>
                  </a:lnTo>
                  <a:lnTo>
                    <a:pt x="123" y="160"/>
                  </a:lnTo>
                  <a:lnTo>
                    <a:pt x="121" y="160"/>
                  </a:lnTo>
                  <a:lnTo>
                    <a:pt x="121" y="157"/>
                  </a:lnTo>
                  <a:lnTo>
                    <a:pt x="119" y="157"/>
                  </a:lnTo>
                  <a:lnTo>
                    <a:pt x="119" y="155"/>
                  </a:lnTo>
                  <a:lnTo>
                    <a:pt x="116" y="155"/>
                  </a:lnTo>
                  <a:lnTo>
                    <a:pt x="116" y="152"/>
                  </a:lnTo>
                  <a:lnTo>
                    <a:pt x="114" y="152"/>
                  </a:lnTo>
                  <a:lnTo>
                    <a:pt x="114" y="150"/>
                  </a:lnTo>
                  <a:lnTo>
                    <a:pt x="111" y="150"/>
                  </a:lnTo>
                  <a:lnTo>
                    <a:pt x="111" y="148"/>
                  </a:lnTo>
                  <a:lnTo>
                    <a:pt x="109" y="148"/>
                  </a:lnTo>
                  <a:lnTo>
                    <a:pt x="107" y="148"/>
                  </a:lnTo>
                  <a:lnTo>
                    <a:pt x="107" y="145"/>
                  </a:lnTo>
                  <a:lnTo>
                    <a:pt x="104" y="145"/>
                  </a:lnTo>
                  <a:lnTo>
                    <a:pt x="102" y="145"/>
                  </a:lnTo>
                  <a:lnTo>
                    <a:pt x="100" y="143"/>
                  </a:lnTo>
                  <a:lnTo>
                    <a:pt x="97" y="143"/>
                  </a:lnTo>
                  <a:lnTo>
                    <a:pt x="95" y="143"/>
                  </a:lnTo>
                  <a:lnTo>
                    <a:pt x="97" y="143"/>
                  </a:lnTo>
                  <a:lnTo>
                    <a:pt x="97" y="141"/>
                  </a:lnTo>
                  <a:lnTo>
                    <a:pt x="95" y="141"/>
                  </a:lnTo>
                  <a:lnTo>
                    <a:pt x="92" y="141"/>
                  </a:lnTo>
                  <a:lnTo>
                    <a:pt x="92" y="143"/>
                  </a:lnTo>
                  <a:lnTo>
                    <a:pt x="90" y="143"/>
                  </a:lnTo>
                  <a:lnTo>
                    <a:pt x="92" y="143"/>
                  </a:lnTo>
                  <a:lnTo>
                    <a:pt x="95" y="143"/>
                  </a:lnTo>
                  <a:lnTo>
                    <a:pt x="95" y="145"/>
                  </a:lnTo>
                  <a:lnTo>
                    <a:pt x="92" y="145"/>
                  </a:lnTo>
                  <a:lnTo>
                    <a:pt x="92" y="143"/>
                  </a:lnTo>
                  <a:lnTo>
                    <a:pt x="90" y="143"/>
                  </a:lnTo>
                  <a:lnTo>
                    <a:pt x="90" y="145"/>
                  </a:lnTo>
                  <a:lnTo>
                    <a:pt x="90" y="143"/>
                  </a:lnTo>
                  <a:lnTo>
                    <a:pt x="90" y="145"/>
                  </a:lnTo>
                  <a:lnTo>
                    <a:pt x="90" y="143"/>
                  </a:lnTo>
                  <a:lnTo>
                    <a:pt x="88" y="143"/>
                  </a:lnTo>
                  <a:lnTo>
                    <a:pt x="85" y="143"/>
                  </a:lnTo>
                  <a:lnTo>
                    <a:pt x="88" y="143"/>
                  </a:lnTo>
                  <a:lnTo>
                    <a:pt x="88" y="145"/>
                  </a:lnTo>
                  <a:lnTo>
                    <a:pt x="85" y="143"/>
                  </a:lnTo>
                  <a:lnTo>
                    <a:pt x="88" y="145"/>
                  </a:lnTo>
                  <a:lnTo>
                    <a:pt x="85" y="145"/>
                  </a:lnTo>
                  <a:lnTo>
                    <a:pt x="85" y="143"/>
                  </a:lnTo>
                  <a:lnTo>
                    <a:pt x="85" y="145"/>
                  </a:lnTo>
                  <a:lnTo>
                    <a:pt x="83" y="145"/>
                  </a:lnTo>
                  <a:lnTo>
                    <a:pt x="83" y="143"/>
                  </a:lnTo>
                  <a:lnTo>
                    <a:pt x="81" y="143"/>
                  </a:lnTo>
                  <a:lnTo>
                    <a:pt x="83" y="143"/>
                  </a:lnTo>
                  <a:lnTo>
                    <a:pt x="83" y="141"/>
                  </a:lnTo>
                  <a:lnTo>
                    <a:pt x="81" y="141"/>
                  </a:lnTo>
                  <a:lnTo>
                    <a:pt x="81" y="143"/>
                  </a:lnTo>
                  <a:lnTo>
                    <a:pt x="81" y="141"/>
                  </a:lnTo>
                  <a:lnTo>
                    <a:pt x="81" y="138"/>
                  </a:lnTo>
                  <a:lnTo>
                    <a:pt x="81" y="136"/>
                  </a:lnTo>
                  <a:lnTo>
                    <a:pt x="78" y="136"/>
                  </a:lnTo>
                  <a:lnTo>
                    <a:pt x="81" y="136"/>
                  </a:lnTo>
                  <a:lnTo>
                    <a:pt x="81" y="133"/>
                  </a:lnTo>
                  <a:lnTo>
                    <a:pt x="81" y="136"/>
                  </a:lnTo>
                  <a:lnTo>
                    <a:pt x="78" y="133"/>
                  </a:lnTo>
                  <a:lnTo>
                    <a:pt x="78" y="131"/>
                  </a:lnTo>
                  <a:lnTo>
                    <a:pt x="78" y="129"/>
                  </a:lnTo>
                  <a:lnTo>
                    <a:pt x="78" y="131"/>
                  </a:lnTo>
                  <a:lnTo>
                    <a:pt x="78" y="129"/>
                  </a:lnTo>
                  <a:lnTo>
                    <a:pt x="81" y="129"/>
                  </a:lnTo>
                  <a:lnTo>
                    <a:pt x="78" y="129"/>
                  </a:lnTo>
                  <a:lnTo>
                    <a:pt x="78" y="131"/>
                  </a:lnTo>
                  <a:lnTo>
                    <a:pt x="76" y="131"/>
                  </a:lnTo>
                  <a:lnTo>
                    <a:pt x="78" y="131"/>
                  </a:lnTo>
                  <a:lnTo>
                    <a:pt x="78" y="133"/>
                  </a:lnTo>
                  <a:lnTo>
                    <a:pt x="76" y="133"/>
                  </a:lnTo>
                  <a:lnTo>
                    <a:pt x="76" y="131"/>
                  </a:lnTo>
                  <a:lnTo>
                    <a:pt x="73" y="131"/>
                  </a:lnTo>
                  <a:lnTo>
                    <a:pt x="71" y="131"/>
                  </a:lnTo>
                  <a:lnTo>
                    <a:pt x="71" y="129"/>
                  </a:lnTo>
                  <a:lnTo>
                    <a:pt x="71" y="131"/>
                  </a:lnTo>
                  <a:lnTo>
                    <a:pt x="69" y="131"/>
                  </a:lnTo>
                  <a:lnTo>
                    <a:pt x="69" y="129"/>
                  </a:lnTo>
                  <a:lnTo>
                    <a:pt x="69" y="131"/>
                  </a:lnTo>
                  <a:lnTo>
                    <a:pt x="69" y="129"/>
                  </a:lnTo>
                  <a:lnTo>
                    <a:pt x="71" y="129"/>
                  </a:lnTo>
                  <a:lnTo>
                    <a:pt x="69" y="129"/>
                  </a:lnTo>
                  <a:lnTo>
                    <a:pt x="71" y="129"/>
                  </a:lnTo>
                  <a:lnTo>
                    <a:pt x="69" y="129"/>
                  </a:lnTo>
                  <a:lnTo>
                    <a:pt x="71" y="129"/>
                  </a:lnTo>
                  <a:lnTo>
                    <a:pt x="71" y="126"/>
                  </a:lnTo>
                  <a:lnTo>
                    <a:pt x="71" y="129"/>
                  </a:lnTo>
                  <a:lnTo>
                    <a:pt x="69" y="126"/>
                  </a:lnTo>
                  <a:lnTo>
                    <a:pt x="66" y="126"/>
                  </a:lnTo>
                  <a:lnTo>
                    <a:pt x="66" y="124"/>
                  </a:lnTo>
                  <a:lnTo>
                    <a:pt x="64" y="124"/>
                  </a:lnTo>
                  <a:lnTo>
                    <a:pt x="64" y="122"/>
                  </a:lnTo>
                  <a:lnTo>
                    <a:pt x="62" y="122"/>
                  </a:lnTo>
                  <a:lnTo>
                    <a:pt x="62" y="119"/>
                  </a:lnTo>
                  <a:lnTo>
                    <a:pt x="59" y="119"/>
                  </a:lnTo>
                  <a:lnTo>
                    <a:pt x="59" y="117"/>
                  </a:lnTo>
                  <a:lnTo>
                    <a:pt x="57" y="117"/>
                  </a:lnTo>
                  <a:lnTo>
                    <a:pt x="57" y="114"/>
                  </a:lnTo>
                  <a:lnTo>
                    <a:pt x="57" y="112"/>
                  </a:lnTo>
                  <a:lnTo>
                    <a:pt x="54" y="112"/>
                  </a:lnTo>
                  <a:lnTo>
                    <a:pt x="54" y="110"/>
                  </a:lnTo>
                  <a:lnTo>
                    <a:pt x="54" y="107"/>
                  </a:lnTo>
                  <a:lnTo>
                    <a:pt x="52" y="107"/>
                  </a:lnTo>
                  <a:lnTo>
                    <a:pt x="54" y="107"/>
                  </a:lnTo>
                  <a:lnTo>
                    <a:pt x="54" y="110"/>
                  </a:lnTo>
                  <a:lnTo>
                    <a:pt x="57" y="110"/>
                  </a:lnTo>
                  <a:lnTo>
                    <a:pt x="57" y="107"/>
                  </a:lnTo>
                  <a:lnTo>
                    <a:pt x="59" y="107"/>
                  </a:lnTo>
                  <a:lnTo>
                    <a:pt x="59" y="110"/>
                  </a:lnTo>
                  <a:lnTo>
                    <a:pt x="59" y="107"/>
                  </a:lnTo>
                  <a:lnTo>
                    <a:pt x="59" y="105"/>
                  </a:lnTo>
                  <a:lnTo>
                    <a:pt x="59" y="107"/>
                  </a:lnTo>
                  <a:lnTo>
                    <a:pt x="62" y="107"/>
                  </a:lnTo>
                  <a:lnTo>
                    <a:pt x="59" y="107"/>
                  </a:lnTo>
                  <a:lnTo>
                    <a:pt x="62" y="107"/>
                  </a:lnTo>
                  <a:lnTo>
                    <a:pt x="64" y="107"/>
                  </a:lnTo>
                  <a:lnTo>
                    <a:pt x="66" y="107"/>
                  </a:lnTo>
                  <a:lnTo>
                    <a:pt x="66" y="110"/>
                  </a:lnTo>
                  <a:lnTo>
                    <a:pt x="66" y="107"/>
                  </a:lnTo>
                  <a:lnTo>
                    <a:pt x="66" y="110"/>
                  </a:lnTo>
                  <a:lnTo>
                    <a:pt x="64" y="110"/>
                  </a:lnTo>
                  <a:lnTo>
                    <a:pt x="66" y="112"/>
                  </a:lnTo>
                  <a:lnTo>
                    <a:pt x="69" y="112"/>
                  </a:lnTo>
                  <a:lnTo>
                    <a:pt x="69" y="114"/>
                  </a:lnTo>
                  <a:lnTo>
                    <a:pt x="71" y="114"/>
                  </a:lnTo>
                  <a:lnTo>
                    <a:pt x="71" y="112"/>
                  </a:lnTo>
                  <a:lnTo>
                    <a:pt x="69" y="112"/>
                  </a:lnTo>
                  <a:lnTo>
                    <a:pt x="69" y="110"/>
                  </a:lnTo>
                  <a:lnTo>
                    <a:pt x="66" y="110"/>
                  </a:lnTo>
                  <a:lnTo>
                    <a:pt x="66" y="107"/>
                  </a:lnTo>
                  <a:lnTo>
                    <a:pt x="64" y="107"/>
                  </a:lnTo>
                  <a:lnTo>
                    <a:pt x="64" y="105"/>
                  </a:lnTo>
                  <a:lnTo>
                    <a:pt x="62" y="105"/>
                  </a:lnTo>
                  <a:lnTo>
                    <a:pt x="59" y="105"/>
                  </a:lnTo>
                  <a:lnTo>
                    <a:pt x="59" y="103"/>
                  </a:lnTo>
                  <a:lnTo>
                    <a:pt x="57" y="103"/>
                  </a:lnTo>
                  <a:lnTo>
                    <a:pt x="57" y="100"/>
                  </a:lnTo>
                  <a:lnTo>
                    <a:pt x="54" y="100"/>
                  </a:lnTo>
                  <a:lnTo>
                    <a:pt x="57" y="100"/>
                  </a:lnTo>
                  <a:lnTo>
                    <a:pt x="54" y="100"/>
                  </a:lnTo>
                  <a:lnTo>
                    <a:pt x="54" y="98"/>
                  </a:lnTo>
                  <a:lnTo>
                    <a:pt x="52" y="98"/>
                  </a:lnTo>
                  <a:lnTo>
                    <a:pt x="52" y="95"/>
                  </a:lnTo>
                  <a:lnTo>
                    <a:pt x="50" y="95"/>
                  </a:lnTo>
                  <a:lnTo>
                    <a:pt x="50" y="93"/>
                  </a:lnTo>
                  <a:lnTo>
                    <a:pt x="50" y="95"/>
                  </a:lnTo>
                  <a:lnTo>
                    <a:pt x="50" y="93"/>
                  </a:lnTo>
                  <a:lnTo>
                    <a:pt x="47" y="93"/>
                  </a:lnTo>
                  <a:lnTo>
                    <a:pt x="47" y="91"/>
                  </a:lnTo>
                  <a:lnTo>
                    <a:pt x="47" y="88"/>
                  </a:lnTo>
                  <a:lnTo>
                    <a:pt x="45" y="88"/>
                  </a:lnTo>
                  <a:lnTo>
                    <a:pt x="45" y="86"/>
                  </a:lnTo>
                  <a:lnTo>
                    <a:pt x="47" y="86"/>
                  </a:lnTo>
                  <a:lnTo>
                    <a:pt x="45" y="86"/>
                  </a:lnTo>
                  <a:lnTo>
                    <a:pt x="45" y="84"/>
                  </a:lnTo>
                  <a:lnTo>
                    <a:pt x="45" y="81"/>
                  </a:lnTo>
                  <a:lnTo>
                    <a:pt x="45" y="79"/>
                  </a:lnTo>
                  <a:lnTo>
                    <a:pt x="47" y="79"/>
                  </a:lnTo>
                  <a:lnTo>
                    <a:pt x="47" y="76"/>
                  </a:lnTo>
                  <a:lnTo>
                    <a:pt x="47" y="74"/>
                  </a:lnTo>
                  <a:lnTo>
                    <a:pt x="45" y="74"/>
                  </a:lnTo>
                  <a:lnTo>
                    <a:pt x="47" y="74"/>
                  </a:lnTo>
                  <a:lnTo>
                    <a:pt x="45" y="74"/>
                  </a:lnTo>
                  <a:lnTo>
                    <a:pt x="45" y="72"/>
                  </a:lnTo>
                  <a:lnTo>
                    <a:pt x="45" y="69"/>
                  </a:lnTo>
                  <a:lnTo>
                    <a:pt x="43" y="69"/>
                  </a:lnTo>
                  <a:lnTo>
                    <a:pt x="43" y="67"/>
                  </a:lnTo>
                  <a:lnTo>
                    <a:pt x="40" y="67"/>
                  </a:lnTo>
                  <a:lnTo>
                    <a:pt x="40" y="65"/>
                  </a:lnTo>
                  <a:lnTo>
                    <a:pt x="38" y="65"/>
                  </a:lnTo>
                  <a:lnTo>
                    <a:pt x="38" y="62"/>
                  </a:lnTo>
                  <a:lnTo>
                    <a:pt x="35" y="62"/>
                  </a:lnTo>
                  <a:lnTo>
                    <a:pt x="35" y="60"/>
                  </a:lnTo>
                  <a:lnTo>
                    <a:pt x="33" y="60"/>
                  </a:lnTo>
                  <a:lnTo>
                    <a:pt x="35" y="60"/>
                  </a:lnTo>
                  <a:lnTo>
                    <a:pt x="33" y="60"/>
                  </a:lnTo>
                  <a:lnTo>
                    <a:pt x="31" y="60"/>
                  </a:lnTo>
                  <a:lnTo>
                    <a:pt x="31" y="57"/>
                  </a:lnTo>
                  <a:lnTo>
                    <a:pt x="28" y="57"/>
                  </a:lnTo>
                  <a:lnTo>
                    <a:pt x="26" y="57"/>
                  </a:lnTo>
                  <a:lnTo>
                    <a:pt x="26" y="60"/>
                  </a:lnTo>
                  <a:lnTo>
                    <a:pt x="26" y="62"/>
                  </a:lnTo>
                  <a:lnTo>
                    <a:pt x="24" y="65"/>
                  </a:lnTo>
                  <a:lnTo>
                    <a:pt x="24" y="67"/>
                  </a:lnTo>
                  <a:lnTo>
                    <a:pt x="24" y="69"/>
                  </a:lnTo>
                  <a:lnTo>
                    <a:pt x="24" y="67"/>
                  </a:lnTo>
                  <a:lnTo>
                    <a:pt x="24" y="69"/>
                  </a:lnTo>
                  <a:lnTo>
                    <a:pt x="21" y="69"/>
                  </a:lnTo>
                  <a:lnTo>
                    <a:pt x="21" y="72"/>
                  </a:lnTo>
                  <a:lnTo>
                    <a:pt x="21" y="74"/>
                  </a:lnTo>
                  <a:lnTo>
                    <a:pt x="21" y="76"/>
                  </a:lnTo>
                  <a:lnTo>
                    <a:pt x="21" y="74"/>
                  </a:lnTo>
                  <a:lnTo>
                    <a:pt x="19" y="74"/>
                  </a:lnTo>
                  <a:lnTo>
                    <a:pt x="19" y="76"/>
                  </a:lnTo>
                  <a:lnTo>
                    <a:pt x="19" y="74"/>
                  </a:lnTo>
                  <a:lnTo>
                    <a:pt x="19" y="72"/>
                  </a:lnTo>
                  <a:lnTo>
                    <a:pt x="19" y="74"/>
                  </a:lnTo>
                  <a:lnTo>
                    <a:pt x="19" y="76"/>
                  </a:lnTo>
                  <a:lnTo>
                    <a:pt x="17" y="76"/>
                  </a:lnTo>
                  <a:lnTo>
                    <a:pt x="19" y="76"/>
                  </a:lnTo>
                  <a:lnTo>
                    <a:pt x="17" y="76"/>
                  </a:lnTo>
                  <a:lnTo>
                    <a:pt x="17" y="79"/>
                  </a:lnTo>
                  <a:lnTo>
                    <a:pt x="17" y="81"/>
                  </a:lnTo>
                  <a:lnTo>
                    <a:pt x="17" y="84"/>
                  </a:lnTo>
                  <a:lnTo>
                    <a:pt x="14" y="84"/>
                  </a:lnTo>
                  <a:lnTo>
                    <a:pt x="14" y="81"/>
                  </a:lnTo>
                  <a:lnTo>
                    <a:pt x="12" y="81"/>
                  </a:lnTo>
                  <a:lnTo>
                    <a:pt x="14" y="81"/>
                  </a:lnTo>
                  <a:lnTo>
                    <a:pt x="14" y="84"/>
                  </a:lnTo>
                  <a:lnTo>
                    <a:pt x="12" y="84"/>
                  </a:lnTo>
                  <a:lnTo>
                    <a:pt x="12" y="81"/>
                  </a:lnTo>
                  <a:lnTo>
                    <a:pt x="9" y="81"/>
                  </a:lnTo>
                  <a:lnTo>
                    <a:pt x="9" y="79"/>
                  </a:lnTo>
                  <a:lnTo>
                    <a:pt x="9" y="81"/>
                  </a:lnTo>
                  <a:lnTo>
                    <a:pt x="12" y="79"/>
                  </a:lnTo>
                  <a:lnTo>
                    <a:pt x="12" y="81"/>
                  </a:lnTo>
                  <a:lnTo>
                    <a:pt x="12" y="79"/>
                  </a:lnTo>
                  <a:lnTo>
                    <a:pt x="12" y="81"/>
                  </a:lnTo>
                  <a:lnTo>
                    <a:pt x="12" y="79"/>
                  </a:lnTo>
                  <a:lnTo>
                    <a:pt x="9" y="79"/>
                  </a:lnTo>
                  <a:lnTo>
                    <a:pt x="9" y="76"/>
                  </a:lnTo>
                  <a:lnTo>
                    <a:pt x="9" y="74"/>
                  </a:lnTo>
                  <a:lnTo>
                    <a:pt x="7" y="74"/>
                  </a:lnTo>
                  <a:lnTo>
                    <a:pt x="7" y="72"/>
                  </a:lnTo>
                  <a:lnTo>
                    <a:pt x="5" y="72"/>
                  </a:lnTo>
                  <a:lnTo>
                    <a:pt x="5" y="69"/>
                  </a:lnTo>
                  <a:lnTo>
                    <a:pt x="5" y="67"/>
                  </a:lnTo>
                  <a:lnTo>
                    <a:pt x="5" y="69"/>
                  </a:lnTo>
                  <a:lnTo>
                    <a:pt x="5" y="67"/>
                  </a:lnTo>
                  <a:lnTo>
                    <a:pt x="7" y="67"/>
                  </a:lnTo>
                  <a:lnTo>
                    <a:pt x="5" y="67"/>
                  </a:lnTo>
                  <a:lnTo>
                    <a:pt x="2" y="67"/>
                  </a:lnTo>
                  <a:lnTo>
                    <a:pt x="5" y="67"/>
                  </a:lnTo>
                  <a:lnTo>
                    <a:pt x="2" y="67"/>
                  </a:lnTo>
                  <a:lnTo>
                    <a:pt x="5" y="67"/>
                  </a:lnTo>
                  <a:lnTo>
                    <a:pt x="2" y="67"/>
                  </a:lnTo>
                  <a:lnTo>
                    <a:pt x="2" y="65"/>
                  </a:lnTo>
                  <a:lnTo>
                    <a:pt x="5" y="65"/>
                  </a:lnTo>
                  <a:lnTo>
                    <a:pt x="2" y="65"/>
                  </a:lnTo>
                  <a:lnTo>
                    <a:pt x="2" y="62"/>
                  </a:lnTo>
                  <a:lnTo>
                    <a:pt x="2" y="60"/>
                  </a:lnTo>
                  <a:lnTo>
                    <a:pt x="5" y="60"/>
                  </a:lnTo>
                  <a:lnTo>
                    <a:pt x="2" y="60"/>
                  </a:lnTo>
                  <a:lnTo>
                    <a:pt x="2" y="57"/>
                  </a:lnTo>
                  <a:lnTo>
                    <a:pt x="2" y="60"/>
                  </a:lnTo>
                  <a:lnTo>
                    <a:pt x="2" y="57"/>
                  </a:lnTo>
                  <a:lnTo>
                    <a:pt x="2" y="55"/>
                  </a:lnTo>
                  <a:lnTo>
                    <a:pt x="0" y="55"/>
                  </a:lnTo>
                  <a:lnTo>
                    <a:pt x="0" y="53"/>
                  </a:lnTo>
                  <a:lnTo>
                    <a:pt x="0" y="50"/>
                  </a:lnTo>
                  <a:lnTo>
                    <a:pt x="2" y="50"/>
                  </a:lnTo>
                  <a:lnTo>
                    <a:pt x="2" y="53"/>
                  </a:lnTo>
                  <a:lnTo>
                    <a:pt x="2" y="50"/>
                  </a:lnTo>
                  <a:lnTo>
                    <a:pt x="2" y="53"/>
                  </a:lnTo>
                  <a:lnTo>
                    <a:pt x="5" y="53"/>
                  </a:lnTo>
                  <a:lnTo>
                    <a:pt x="7" y="53"/>
                  </a:lnTo>
                  <a:lnTo>
                    <a:pt x="9" y="53"/>
                  </a:lnTo>
                  <a:lnTo>
                    <a:pt x="12" y="50"/>
                  </a:lnTo>
                  <a:lnTo>
                    <a:pt x="12" y="53"/>
                  </a:lnTo>
                  <a:lnTo>
                    <a:pt x="14" y="53"/>
                  </a:lnTo>
                  <a:lnTo>
                    <a:pt x="17" y="53"/>
                  </a:lnTo>
                  <a:lnTo>
                    <a:pt x="17" y="50"/>
                  </a:lnTo>
                  <a:lnTo>
                    <a:pt x="19" y="50"/>
                  </a:lnTo>
                  <a:lnTo>
                    <a:pt x="21" y="50"/>
                  </a:lnTo>
                  <a:lnTo>
                    <a:pt x="24" y="53"/>
                  </a:lnTo>
                  <a:lnTo>
                    <a:pt x="24" y="50"/>
                  </a:lnTo>
                  <a:lnTo>
                    <a:pt x="26" y="50"/>
                  </a:lnTo>
                  <a:lnTo>
                    <a:pt x="28" y="50"/>
                  </a:lnTo>
                  <a:lnTo>
                    <a:pt x="31" y="50"/>
                  </a:lnTo>
                  <a:lnTo>
                    <a:pt x="33" y="50"/>
                  </a:lnTo>
                  <a:lnTo>
                    <a:pt x="33" y="48"/>
                  </a:lnTo>
                  <a:lnTo>
                    <a:pt x="33" y="46"/>
                  </a:lnTo>
                  <a:lnTo>
                    <a:pt x="35" y="43"/>
                  </a:lnTo>
                  <a:lnTo>
                    <a:pt x="38" y="43"/>
                  </a:lnTo>
                  <a:lnTo>
                    <a:pt x="38" y="46"/>
                  </a:lnTo>
                  <a:lnTo>
                    <a:pt x="40" y="46"/>
                  </a:lnTo>
                  <a:lnTo>
                    <a:pt x="40" y="48"/>
                  </a:lnTo>
                  <a:lnTo>
                    <a:pt x="40" y="50"/>
                  </a:lnTo>
                  <a:lnTo>
                    <a:pt x="40" y="48"/>
                  </a:lnTo>
                  <a:lnTo>
                    <a:pt x="40" y="50"/>
                  </a:lnTo>
                  <a:lnTo>
                    <a:pt x="43" y="50"/>
                  </a:lnTo>
                  <a:lnTo>
                    <a:pt x="43" y="53"/>
                  </a:lnTo>
                  <a:lnTo>
                    <a:pt x="45" y="53"/>
                  </a:lnTo>
                  <a:lnTo>
                    <a:pt x="45" y="50"/>
                  </a:lnTo>
                  <a:lnTo>
                    <a:pt x="47" y="50"/>
                  </a:lnTo>
                  <a:lnTo>
                    <a:pt x="47" y="48"/>
                  </a:lnTo>
                  <a:lnTo>
                    <a:pt x="47" y="50"/>
                  </a:lnTo>
                  <a:lnTo>
                    <a:pt x="50" y="50"/>
                  </a:lnTo>
                  <a:lnTo>
                    <a:pt x="52" y="50"/>
                  </a:lnTo>
                  <a:lnTo>
                    <a:pt x="52" y="53"/>
                  </a:lnTo>
                  <a:lnTo>
                    <a:pt x="54" y="53"/>
                  </a:lnTo>
                  <a:lnTo>
                    <a:pt x="54" y="55"/>
                  </a:lnTo>
                  <a:lnTo>
                    <a:pt x="57" y="53"/>
                  </a:lnTo>
                  <a:lnTo>
                    <a:pt x="59" y="53"/>
                  </a:lnTo>
                  <a:lnTo>
                    <a:pt x="62" y="53"/>
                  </a:lnTo>
                  <a:lnTo>
                    <a:pt x="62" y="50"/>
                  </a:lnTo>
                  <a:lnTo>
                    <a:pt x="59" y="50"/>
                  </a:lnTo>
                  <a:lnTo>
                    <a:pt x="59" y="48"/>
                  </a:lnTo>
                  <a:lnTo>
                    <a:pt x="59" y="46"/>
                  </a:lnTo>
                  <a:lnTo>
                    <a:pt x="59" y="43"/>
                  </a:lnTo>
                  <a:lnTo>
                    <a:pt x="62" y="43"/>
                  </a:lnTo>
                  <a:lnTo>
                    <a:pt x="62" y="41"/>
                  </a:lnTo>
                  <a:lnTo>
                    <a:pt x="59" y="41"/>
                  </a:lnTo>
                  <a:lnTo>
                    <a:pt x="59" y="38"/>
                  </a:lnTo>
                  <a:lnTo>
                    <a:pt x="62" y="38"/>
                  </a:lnTo>
                  <a:lnTo>
                    <a:pt x="62" y="36"/>
                  </a:lnTo>
                  <a:lnTo>
                    <a:pt x="64" y="36"/>
                  </a:lnTo>
                  <a:lnTo>
                    <a:pt x="66" y="36"/>
                  </a:lnTo>
                  <a:lnTo>
                    <a:pt x="66" y="34"/>
                  </a:lnTo>
                  <a:lnTo>
                    <a:pt x="69" y="34"/>
                  </a:lnTo>
                  <a:lnTo>
                    <a:pt x="71" y="34"/>
                  </a:lnTo>
                  <a:lnTo>
                    <a:pt x="71" y="36"/>
                  </a:lnTo>
                  <a:lnTo>
                    <a:pt x="71" y="34"/>
                  </a:lnTo>
                  <a:lnTo>
                    <a:pt x="71" y="31"/>
                  </a:lnTo>
                  <a:lnTo>
                    <a:pt x="73" y="31"/>
                  </a:lnTo>
                  <a:lnTo>
                    <a:pt x="73" y="29"/>
                  </a:lnTo>
                  <a:lnTo>
                    <a:pt x="73" y="27"/>
                  </a:lnTo>
                  <a:lnTo>
                    <a:pt x="73" y="24"/>
                  </a:lnTo>
                  <a:lnTo>
                    <a:pt x="71" y="24"/>
                  </a:lnTo>
                  <a:lnTo>
                    <a:pt x="71" y="22"/>
                  </a:lnTo>
                  <a:lnTo>
                    <a:pt x="69" y="22"/>
                  </a:lnTo>
                  <a:lnTo>
                    <a:pt x="69" y="19"/>
                  </a:lnTo>
                  <a:lnTo>
                    <a:pt x="71" y="19"/>
                  </a:lnTo>
                  <a:lnTo>
                    <a:pt x="71" y="17"/>
                  </a:lnTo>
                  <a:lnTo>
                    <a:pt x="73" y="17"/>
                  </a:lnTo>
                  <a:lnTo>
                    <a:pt x="76" y="17"/>
                  </a:lnTo>
                  <a:lnTo>
                    <a:pt x="76" y="15"/>
                  </a:lnTo>
                  <a:lnTo>
                    <a:pt x="78" y="15"/>
                  </a:lnTo>
                  <a:lnTo>
                    <a:pt x="81" y="12"/>
                  </a:lnTo>
                  <a:lnTo>
                    <a:pt x="83" y="12"/>
                  </a:lnTo>
                  <a:lnTo>
                    <a:pt x="83" y="10"/>
                  </a:lnTo>
                  <a:lnTo>
                    <a:pt x="85" y="10"/>
                  </a:lnTo>
                  <a:lnTo>
                    <a:pt x="85" y="8"/>
                  </a:lnTo>
                  <a:lnTo>
                    <a:pt x="88" y="8"/>
                  </a:lnTo>
                  <a:lnTo>
                    <a:pt x="90" y="8"/>
                  </a:lnTo>
                  <a:lnTo>
                    <a:pt x="92" y="8"/>
                  </a:lnTo>
                  <a:lnTo>
                    <a:pt x="92" y="5"/>
                  </a:lnTo>
                  <a:lnTo>
                    <a:pt x="90" y="5"/>
                  </a:lnTo>
                  <a:lnTo>
                    <a:pt x="92" y="3"/>
                  </a:lnTo>
                  <a:lnTo>
                    <a:pt x="95" y="3"/>
                  </a:lnTo>
                  <a:lnTo>
                    <a:pt x="95" y="0"/>
                  </a:lnTo>
                  <a:lnTo>
                    <a:pt x="95"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1" name="Freeform 50284"/>
            <p:cNvSpPr>
              <a:spLocks noEditPoints="1"/>
            </p:cNvSpPr>
            <p:nvPr/>
          </p:nvSpPr>
          <p:spPr bwMode="auto">
            <a:xfrm>
              <a:off x="2744786" y="5059380"/>
              <a:ext cx="225425" cy="188913"/>
            </a:xfrm>
            <a:custGeom>
              <a:avLst/>
              <a:gdLst>
                <a:gd name="T0" fmla="*/ 138 w 142"/>
                <a:gd name="T1" fmla="*/ 117 h 119"/>
                <a:gd name="T2" fmla="*/ 107 w 142"/>
                <a:gd name="T3" fmla="*/ 114 h 119"/>
                <a:gd name="T4" fmla="*/ 102 w 142"/>
                <a:gd name="T5" fmla="*/ 117 h 119"/>
                <a:gd name="T6" fmla="*/ 109 w 142"/>
                <a:gd name="T7" fmla="*/ 114 h 119"/>
                <a:gd name="T8" fmla="*/ 133 w 142"/>
                <a:gd name="T9" fmla="*/ 117 h 119"/>
                <a:gd name="T10" fmla="*/ 119 w 142"/>
                <a:gd name="T11" fmla="*/ 114 h 119"/>
                <a:gd name="T12" fmla="*/ 107 w 142"/>
                <a:gd name="T13" fmla="*/ 105 h 119"/>
                <a:gd name="T14" fmla="*/ 114 w 142"/>
                <a:gd name="T15" fmla="*/ 109 h 119"/>
                <a:gd name="T16" fmla="*/ 100 w 142"/>
                <a:gd name="T17" fmla="*/ 109 h 119"/>
                <a:gd name="T18" fmla="*/ 76 w 142"/>
                <a:gd name="T19" fmla="*/ 107 h 119"/>
                <a:gd name="T20" fmla="*/ 83 w 142"/>
                <a:gd name="T21" fmla="*/ 100 h 119"/>
                <a:gd name="T22" fmla="*/ 81 w 142"/>
                <a:gd name="T23" fmla="*/ 105 h 119"/>
                <a:gd name="T24" fmla="*/ 97 w 142"/>
                <a:gd name="T25" fmla="*/ 100 h 119"/>
                <a:gd name="T26" fmla="*/ 95 w 142"/>
                <a:gd name="T27" fmla="*/ 95 h 119"/>
                <a:gd name="T28" fmla="*/ 109 w 142"/>
                <a:gd name="T29" fmla="*/ 98 h 119"/>
                <a:gd name="T30" fmla="*/ 97 w 142"/>
                <a:gd name="T31" fmla="*/ 100 h 119"/>
                <a:gd name="T32" fmla="*/ 93 w 142"/>
                <a:gd name="T33" fmla="*/ 93 h 119"/>
                <a:gd name="T34" fmla="*/ 93 w 142"/>
                <a:gd name="T35" fmla="*/ 86 h 119"/>
                <a:gd name="T36" fmla="*/ 104 w 142"/>
                <a:gd name="T37" fmla="*/ 90 h 119"/>
                <a:gd name="T38" fmla="*/ 88 w 142"/>
                <a:gd name="T39" fmla="*/ 90 h 119"/>
                <a:gd name="T40" fmla="*/ 88 w 142"/>
                <a:gd name="T41" fmla="*/ 88 h 119"/>
                <a:gd name="T42" fmla="*/ 81 w 142"/>
                <a:gd name="T43" fmla="*/ 86 h 119"/>
                <a:gd name="T44" fmla="*/ 66 w 142"/>
                <a:gd name="T45" fmla="*/ 76 h 119"/>
                <a:gd name="T46" fmla="*/ 66 w 142"/>
                <a:gd name="T47" fmla="*/ 74 h 119"/>
                <a:gd name="T48" fmla="*/ 64 w 142"/>
                <a:gd name="T49" fmla="*/ 74 h 119"/>
                <a:gd name="T50" fmla="*/ 69 w 142"/>
                <a:gd name="T51" fmla="*/ 71 h 119"/>
                <a:gd name="T52" fmla="*/ 66 w 142"/>
                <a:gd name="T53" fmla="*/ 71 h 119"/>
                <a:gd name="T54" fmla="*/ 62 w 142"/>
                <a:gd name="T55" fmla="*/ 64 h 119"/>
                <a:gd name="T56" fmla="*/ 55 w 142"/>
                <a:gd name="T57" fmla="*/ 64 h 119"/>
                <a:gd name="T58" fmla="*/ 50 w 142"/>
                <a:gd name="T59" fmla="*/ 62 h 119"/>
                <a:gd name="T60" fmla="*/ 45 w 142"/>
                <a:gd name="T61" fmla="*/ 57 h 119"/>
                <a:gd name="T62" fmla="*/ 50 w 142"/>
                <a:gd name="T63" fmla="*/ 57 h 119"/>
                <a:gd name="T64" fmla="*/ 52 w 142"/>
                <a:gd name="T65" fmla="*/ 57 h 119"/>
                <a:gd name="T66" fmla="*/ 43 w 142"/>
                <a:gd name="T67" fmla="*/ 50 h 119"/>
                <a:gd name="T68" fmla="*/ 40 w 142"/>
                <a:gd name="T69" fmla="*/ 52 h 119"/>
                <a:gd name="T70" fmla="*/ 50 w 142"/>
                <a:gd name="T71" fmla="*/ 64 h 119"/>
                <a:gd name="T72" fmla="*/ 50 w 142"/>
                <a:gd name="T73" fmla="*/ 64 h 119"/>
                <a:gd name="T74" fmla="*/ 43 w 142"/>
                <a:gd name="T75" fmla="*/ 57 h 119"/>
                <a:gd name="T76" fmla="*/ 38 w 142"/>
                <a:gd name="T77" fmla="*/ 50 h 119"/>
                <a:gd name="T78" fmla="*/ 43 w 142"/>
                <a:gd name="T79" fmla="*/ 50 h 119"/>
                <a:gd name="T80" fmla="*/ 38 w 142"/>
                <a:gd name="T81" fmla="*/ 48 h 119"/>
                <a:gd name="T82" fmla="*/ 33 w 142"/>
                <a:gd name="T83" fmla="*/ 45 h 119"/>
                <a:gd name="T84" fmla="*/ 28 w 142"/>
                <a:gd name="T85" fmla="*/ 43 h 119"/>
                <a:gd name="T86" fmla="*/ 36 w 142"/>
                <a:gd name="T87" fmla="*/ 38 h 119"/>
                <a:gd name="T88" fmla="*/ 40 w 142"/>
                <a:gd name="T89" fmla="*/ 38 h 119"/>
                <a:gd name="T90" fmla="*/ 19 w 142"/>
                <a:gd name="T91" fmla="*/ 33 h 119"/>
                <a:gd name="T92" fmla="*/ 19 w 142"/>
                <a:gd name="T93" fmla="*/ 26 h 119"/>
                <a:gd name="T94" fmla="*/ 40 w 142"/>
                <a:gd name="T95" fmla="*/ 31 h 119"/>
                <a:gd name="T96" fmla="*/ 45 w 142"/>
                <a:gd name="T97" fmla="*/ 38 h 119"/>
                <a:gd name="T98" fmla="*/ 50 w 142"/>
                <a:gd name="T99" fmla="*/ 43 h 119"/>
                <a:gd name="T100" fmla="*/ 43 w 142"/>
                <a:gd name="T101" fmla="*/ 38 h 119"/>
                <a:gd name="T102" fmla="*/ 36 w 142"/>
                <a:gd name="T103" fmla="*/ 29 h 119"/>
                <a:gd name="T104" fmla="*/ 36 w 142"/>
                <a:gd name="T105" fmla="*/ 19 h 119"/>
                <a:gd name="T106" fmla="*/ 38 w 142"/>
                <a:gd name="T107" fmla="*/ 26 h 119"/>
                <a:gd name="T108" fmla="*/ 31 w 142"/>
                <a:gd name="T109" fmla="*/ 19 h 119"/>
                <a:gd name="T110" fmla="*/ 0 w 142"/>
                <a:gd name="T111" fmla="*/ 17 h 119"/>
                <a:gd name="T112" fmla="*/ 2 w 142"/>
                <a:gd name="T113" fmla="*/ 14 h 119"/>
                <a:gd name="T114" fmla="*/ 28 w 142"/>
                <a:gd name="T115" fmla="*/ 3 h 119"/>
                <a:gd name="T116" fmla="*/ 36 w 142"/>
                <a:gd name="T117" fmla="*/ 12 h 119"/>
                <a:gd name="T118" fmla="*/ 31 w 142"/>
                <a:gd name="T119" fmla="*/ 10 h 119"/>
                <a:gd name="T120" fmla="*/ 24 w 142"/>
                <a:gd name="T121" fmla="*/ 10 h 119"/>
                <a:gd name="T122" fmla="*/ 26 w 142"/>
                <a:gd name="T123" fmla="*/ 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19">
                  <a:moveTo>
                    <a:pt x="142" y="119"/>
                  </a:moveTo>
                  <a:lnTo>
                    <a:pt x="140" y="119"/>
                  </a:lnTo>
                  <a:lnTo>
                    <a:pt x="142" y="119"/>
                  </a:lnTo>
                  <a:close/>
                  <a:moveTo>
                    <a:pt x="135" y="117"/>
                  </a:moveTo>
                  <a:lnTo>
                    <a:pt x="138" y="117"/>
                  </a:lnTo>
                  <a:lnTo>
                    <a:pt x="140" y="117"/>
                  </a:lnTo>
                  <a:lnTo>
                    <a:pt x="138" y="117"/>
                  </a:lnTo>
                  <a:lnTo>
                    <a:pt x="138" y="119"/>
                  </a:lnTo>
                  <a:lnTo>
                    <a:pt x="138" y="117"/>
                  </a:lnTo>
                  <a:lnTo>
                    <a:pt x="135" y="117"/>
                  </a:lnTo>
                  <a:lnTo>
                    <a:pt x="138" y="117"/>
                  </a:lnTo>
                  <a:lnTo>
                    <a:pt x="135" y="117"/>
                  </a:lnTo>
                  <a:close/>
                  <a:moveTo>
                    <a:pt x="107" y="117"/>
                  </a:moveTo>
                  <a:lnTo>
                    <a:pt x="107" y="114"/>
                  </a:lnTo>
                  <a:lnTo>
                    <a:pt x="107" y="117"/>
                  </a:lnTo>
                  <a:close/>
                  <a:moveTo>
                    <a:pt x="135" y="114"/>
                  </a:moveTo>
                  <a:lnTo>
                    <a:pt x="135" y="117"/>
                  </a:lnTo>
                  <a:lnTo>
                    <a:pt x="133" y="117"/>
                  </a:lnTo>
                  <a:lnTo>
                    <a:pt x="133" y="114"/>
                  </a:lnTo>
                  <a:lnTo>
                    <a:pt x="135" y="114"/>
                  </a:lnTo>
                  <a:close/>
                  <a:moveTo>
                    <a:pt x="109" y="114"/>
                  </a:moveTo>
                  <a:lnTo>
                    <a:pt x="107" y="114"/>
                  </a:lnTo>
                  <a:lnTo>
                    <a:pt x="109" y="114"/>
                  </a:lnTo>
                  <a:close/>
                  <a:moveTo>
                    <a:pt x="93" y="114"/>
                  </a:moveTo>
                  <a:lnTo>
                    <a:pt x="93" y="117"/>
                  </a:lnTo>
                  <a:lnTo>
                    <a:pt x="93" y="114"/>
                  </a:lnTo>
                  <a:lnTo>
                    <a:pt x="93" y="117"/>
                  </a:lnTo>
                  <a:lnTo>
                    <a:pt x="93" y="114"/>
                  </a:lnTo>
                  <a:close/>
                  <a:moveTo>
                    <a:pt x="104" y="114"/>
                  </a:moveTo>
                  <a:lnTo>
                    <a:pt x="107" y="114"/>
                  </a:lnTo>
                  <a:lnTo>
                    <a:pt x="107" y="117"/>
                  </a:lnTo>
                  <a:lnTo>
                    <a:pt x="104" y="117"/>
                  </a:lnTo>
                  <a:lnTo>
                    <a:pt x="102" y="117"/>
                  </a:lnTo>
                  <a:lnTo>
                    <a:pt x="102" y="114"/>
                  </a:lnTo>
                  <a:lnTo>
                    <a:pt x="102" y="117"/>
                  </a:lnTo>
                  <a:lnTo>
                    <a:pt x="102" y="114"/>
                  </a:lnTo>
                  <a:lnTo>
                    <a:pt x="104" y="114"/>
                  </a:lnTo>
                  <a:close/>
                  <a:moveTo>
                    <a:pt x="102" y="114"/>
                  </a:moveTo>
                  <a:lnTo>
                    <a:pt x="102" y="117"/>
                  </a:lnTo>
                  <a:lnTo>
                    <a:pt x="102" y="114"/>
                  </a:lnTo>
                  <a:lnTo>
                    <a:pt x="102" y="117"/>
                  </a:lnTo>
                  <a:lnTo>
                    <a:pt x="102" y="114"/>
                  </a:lnTo>
                  <a:close/>
                  <a:moveTo>
                    <a:pt x="107" y="114"/>
                  </a:moveTo>
                  <a:lnTo>
                    <a:pt x="109" y="114"/>
                  </a:lnTo>
                  <a:lnTo>
                    <a:pt x="107" y="114"/>
                  </a:lnTo>
                  <a:close/>
                  <a:moveTo>
                    <a:pt x="121" y="114"/>
                  </a:moveTo>
                  <a:lnTo>
                    <a:pt x="123" y="114"/>
                  </a:lnTo>
                  <a:lnTo>
                    <a:pt x="121" y="114"/>
                  </a:lnTo>
                  <a:close/>
                  <a:moveTo>
                    <a:pt x="121" y="114"/>
                  </a:moveTo>
                  <a:lnTo>
                    <a:pt x="123" y="114"/>
                  </a:lnTo>
                  <a:lnTo>
                    <a:pt x="126" y="114"/>
                  </a:lnTo>
                  <a:lnTo>
                    <a:pt x="126" y="117"/>
                  </a:lnTo>
                  <a:lnTo>
                    <a:pt x="128" y="117"/>
                  </a:lnTo>
                  <a:lnTo>
                    <a:pt x="131" y="117"/>
                  </a:lnTo>
                  <a:lnTo>
                    <a:pt x="133" y="117"/>
                  </a:lnTo>
                  <a:lnTo>
                    <a:pt x="133" y="119"/>
                  </a:lnTo>
                  <a:lnTo>
                    <a:pt x="131" y="119"/>
                  </a:lnTo>
                  <a:lnTo>
                    <a:pt x="131" y="117"/>
                  </a:lnTo>
                  <a:lnTo>
                    <a:pt x="128" y="117"/>
                  </a:lnTo>
                  <a:lnTo>
                    <a:pt x="126" y="117"/>
                  </a:lnTo>
                  <a:lnTo>
                    <a:pt x="123" y="117"/>
                  </a:lnTo>
                  <a:lnTo>
                    <a:pt x="121" y="117"/>
                  </a:lnTo>
                  <a:lnTo>
                    <a:pt x="121" y="114"/>
                  </a:lnTo>
                  <a:lnTo>
                    <a:pt x="121" y="117"/>
                  </a:lnTo>
                  <a:lnTo>
                    <a:pt x="121" y="114"/>
                  </a:lnTo>
                  <a:lnTo>
                    <a:pt x="119" y="114"/>
                  </a:lnTo>
                  <a:lnTo>
                    <a:pt x="121" y="114"/>
                  </a:lnTo>
                  <a:close/>
                  <a:moveTo>
                    <a:pt x="97" y="105"/>
                  </a:moveTo>
                  <a:lnTo>
                    <a:pt x="100" y="105"/>
                  </a:lnTo>
                  <a:lnTo>
                    <a:pt x="102" y="105"/>
                  </a:lnTo>
                  <a:lnTo>
                    <a:pt x="102" y="107"/>
                  </a:lnTo>
                  <a:lnTo>
                    <a:pt x="102" y="105"/>
                  </a:lnTo>
                  <a:lnTo>
                    <a:pt x="102" y="107"/>
                  </a:lnTo>
                  <a:lnTo>
                    <a:pt x="104" y="107"/>
                  </a:lnTo>
                  <a:lnTo>
                    <a:pt x="107" y="107"/>
                  </a:lnTo>
                  <a:lnTo>
                    <a:pt x="104" y="105"/>
                  </a:lnTo>
                  <a:lnTo>
                    <a:pt x="107" y="105"/>
                  </a:lnTo>
                  <a:lnTo>
                    <a:pt x="107" y="107"/>
                  </a:lnTo>
                  <a:lnTo>
                    <a:pt x="107" y="105"/>
                  </a:lnTo>
                  <a:lnTo>
                    <a:pt x="109" y="105"/>
                  </a:lnTo>
                  <a:lnTo>
                    <a:pt x="112" y="105"/>
                  </a:lnTo>
                  <a:lnTo>
                    <a:pt x="112" y="107"/>
                  </a:lnTo>
                  <a:lnTo>
                    <a:pt x="112" y="105"/>
                  </a:lnTo>
                  <a:lnTo>
                    <a:pt x="112" y="107"/>
                  </a:lnTo>
                  <a:lnTo>
                    <a:pt x="114" y="107"/>
                  </a:lnTo>
                  <a:lnTo>
                    <a:pt x="116" y="107"/>
                  </a:lnTo>
                  <a:lnTo>
                    <a:pt x="116" y="109"/>
                  </a:lnTo>
                  <a:lnTo>
                    <a:pt x="114" y="109"/>
                  </a:lnTo>
                  <a:lnTo>
                    <a:pt x="114" y="107"/>
                  </a:lnTo>
                  <a:lnTo>
                    <a:pt x="114" y="109"/>
                  </a:lnTo>
                  <a:lnTo>
                    <a:pt x="112" y="109"/>
                  </a:lnTo>
                  <a:lnTo>
                    <a:pt x="109" y="107"/>
                  </a:lnTo>
                  <a:lnTo>
                    <a:pt x="107" y="107"/>
                  </a:lnTo>
                  <a:lnTo>
                    <a:pt x="107" y="109"/>
                  </a:lnTo>
                  <a:lnTo>
                    <a:pt x="104" y="109"/>
                  </a:lnTo>
                  <a:lnTo>
                    <a:pt x="102" y="109"/>
                  </a:lnTo>
                  <a:lnTo>
                    <a:pt x="100" y="109"/>
                  </a:lnTo>
                  <a:lnTo>
                    <a:pt x="100" y="107"/>
                  </a:lnTo>
                  <a:lnTo>
                    <a:pt x="100" y="109"/>
                  </a:lnTo>
                  <a:lnTo>
                    <a:pt x="100" y="107"/>
                  </a:lnTo>
                  <a:lnTo>
                    <a:pt x="97" y="107"/>
                  </a:lnTo>
                  <a:lnTo>
                    <a:pt x="97" y="109"/>
                  </a:lnTo>
                  <a:lnTo>
                    <a:pt x="97" y="107"/>
                  </a:lnTo>
                  <a:lnTo>
                    <a:pt x="100" y="107"/>
                  </a:lnTo>
                  <a:lnTo>
                    <a:pt x="97" y="107"/>
                  </a:lnTo>
                  <a:lnTo>
                    <a:pt x="97" y="105"/>
                  </a:lnTo>
                  <a:lnTo>
                    <a:pt x="97" y="107"/>
                  </a:lnTo>
                  <a:lnTo>
                    <a:pt x="97" y="105"/>
                  </a:lnTo>
                  <a:close/>
                  <a:moveTo>
                    <a:pt x="76" y="105"/>
                  </a:moveTo>
                  <a:lnTo>
                    <a:pt x="76" y="107"/>
                  </a:lnTo>
                  <a:lnTo>
                    <a:pt x="76" y="105"/>
                  </a:lnTo>
                  <a:close/>
                  <a:moveTo>
                    <a:pt x="69" y="102"/>
                  </a:moveTo>
                  <a:lnTo>
                    <a:pt x="66" y="105"/>
                  </a:lnTo>
                  <a:lnTo>
                    <a:pt x="66" y="102"/>
                  </a:lnTo>
                  <a:lnTo>
                    <a:pt x="69" y="102"/>
                  </a:lnTo>
                  <a:close/>
                  <a:moveTo>
                    <a:pt x="81" y="100"/>
                  </a:moveTo>
                  <a:lnTo>
                    <a:pt x="83" y="100"/>
                  </a:lnTo>
                  <a:lnTo>
                    <a:pt x="83" y="102"/>
                  </a:lnTo>
                  <a:lnTo>
                    <a:pt x="81" y="102"/>
                  </a:lnTo>
                  <a:lnTo>
                    <a:pt x="83" y="102"/>
                  </a:lnTo>
                  <a:lnTo>
                    <a:pt x="83" y="100"/>
                  </a:lnTo>
                  <a:lnTo>
                    <a:pt x="83" y="102"/>
                  </a:lnTo>
                  <a:lnTo>
                    <a:pt x="83" y="100"/>
                  </a:lnTo>
                  <a:lnTo>
                    <a:pt x="83" y="102"/>
                  </a:lnTo>
                  <a:lnTo>
                    <a:pt x="83" y="100"/>
                  </a:lnTo>
                  <a:lnTo>
                    <a:pt x="83" y="102"/>
                  </a:lnTo>
                  <a:lnTo>
                    <a:pt x="83" y="105"/>
                  </a:lnTo>
                  <a:lnTo>
                    <a:pt x="83" y="102"/>
                  </a:lnTo>
                  <a:lnTo>
                    <a:pt x="83" y="105"/>
                  </a:lnTo>
                  <a:lnTo>
                    <a:pt x="83" y="102"/>
                  </a:lnTo>
                  <a:lnTo>
                    <a:pt x="83" y="105"/>
                  </a:lnTo>
                  <a:lnTo>
                    <a:pt x="81" y="105"/>
                  </a:lnTo>
                  <a:lnTo>
                    <a:pt x="81" y="102"/>
                  </a:lnTo>
                  <a:lnTo>
                    <a:pt x="81" y="105"/>
                  </a:lnTo>
                  <a:lnTo>
                    <a:pt x="78" y="105"/>
                  </a:lnTo>
                  <a:lnTo>
                    <a:pt x="78" y="102"/>
                  </a:lnTo>
                  <a:lnTo>
                    <a:pt x="78" y="100"/>
                  </a:lnTo>
                  <a:lnTo>
                    <a:pt x="78" y="102"/>
                  </a:lnTo>
                  <a:lnTo>
                    <a:pt x="78" y="100"/>
                  </a:lnTo>
                  <a:lnTo>
                    <a:pt x="81" y="100"/>
                  </a:lnTo>
                  <a:close/>
                  <a:moveTo>
                    <a:pt x="97" y="100"/>
                  </a:moveTo>
                  <a:lnTo>
                    <a:pt x="100" y="100"/>
                  </a:lnTo>
                  <a:lnTo>
                    <a:pt x="97" y="100"/>
                  </a:lnTo>
                  <a:close/>
                  <a:moveTo>
                    <a:pt x="88" y="98"/>
                  </a:moveTo>
                  <a:lnTo>
                    <a:pt x="85" y="98"/>
                  </a:lnTo>
                  <a:lnTo>
                    <a:pt x="88" y="98"/>
                  </a:lnTo>
                  <a:lnTo>
                    <a:pt x="88" y="95"/>
                  </a:lnTo>
                  <a:lnTo>
                    <a:pt x="88" y="98"/>
                  </a:lnTo>
                  <a:lnTo>
                    <a:pt x="88" y="95"/>
                  </a:lnTo>
                  <a:lnTo>
                    <a:pt x="88" y="98"/>
                  </a:lnTo>
                  <a:lnTo>
                    <a:pt x="88" y="95"/>
                  </a:lnTo>
                  <a:lnTo>
                    <a:pt x="88" y="98"/>
                  </a:lnTo>
                  <a:close/>
                  <a:moveTo>
                    <a:pt x="95" y="93"/>
                  </a:moveTo>
                  <a:lnTo>
                    <a:pt x="95" y="95"/>
                  </a:lnTo>
                  <a:lnTo>
                    <a:pt x="97" y="95"/>
                  </a:lnTo>
                  <a:lnTo>
                    <a:pt x="100" y="95"/>
                  </a:lnTo>
                  <a:lnTo>
                    <a:pt x="97" y="95"/>
                  </a:lnTo>
                  <a:lnTo>
                    <a:pt x="97" y="98"/>
                  </a:lnTo>
                  <a:lnTo>
                    <a:pt x="100" y="98"/>
                  </a:lnTo>
                  <a:lnTo>
                    <a:pt x="97" y="98"/>
                  </a:lnTo>
                  <a:lnTo>
                    <a:pt x="100" y="98"/>
                  </a:lnTo>
                  <a:lnTo>
                    <a:pt x="102" y="98"/>
                  </a:lnTo>
                  <a:lnTo>
                    <a:pt x="104" y="98"/>
                  </a:lnTo>
                  <a:lnTo>
                    <a:pt x="107" y="98"/>
                  </a:lnTo>
                  <a:lnTo>
                    <a:pt x="109" y="98"/>
                  </a:lnTo>
                  <a:lnTo>
                    <a:pt x="112" y="98"/>
                  </a:lnTo>
                  <a:lnTo>
                    <a:pt x="114" y="98"/>
                  </a:lnTo>
                  <a:lnTo>
                    <a:pt x="114" y="100"/>
                  </a:lnTo>
                  <a:lnTo>
                    <a:pt x="112" y="100"/>
                  </a:lnTo>
                  <a:lnTo>
                    <a:pt x="109" y="100"/>
                  </a:lnTo>
                  <a:lnTo>
                    <a:pt x="107" y="100"/>
                  </a:lnTo>
                  <a:lnTo>
                    <a:pt x="104" y="100"/>
                  </a:lnTo>
                  <a:lnTo>
                    <a:pt x="102" y="100"/>
                  </a:lnTo>
                  <a:lnTo>
                    <a:pt x="102" y="98"/>
                  </a:lnTo>
                  <a:lnTo>
                    <a:pt x="100" y="98"/>
                  </a:lnTo>
                  <a:lnTo>
                    <a:pt x="97" y="100"/>
                  </a:lnTo>
                  <a:lnTo>
                    <a:pt x="97" y="98"/>
                  </a:lnTo>
                  <a:lnTo>
                    <a:pt x="95" y="98"/>
                  </a:lnTo>
                  <a:lnTo>
                    <a:pt x="93" y="98"/>
                  </a:lnTo>
                  <a:lnTo>
                    <a:pt x="90" y="98"/>
                  </a:lnTo>
                  <a:lnTo>
                    <a:pt x="90" y="95"/>
                  </a:lnTo>
                  <a:lnTo>
                    <a:pt x="88" y="95"/>
                  </a:lnTo>
                  <a:lnTo>
                    <a:pt x="90" y="95"/>
                  </a:lnTo>
                  <a:lnTo>
                    <a:pt x="93" y="95"/>
                  </a:lnTo>
                  <a:lnTo>
                    <a:pt x="95" y="95"/>
                  </a:lnTo>
                  <a:lnTo>
                    <a:pt x="93" y="95"/>
                  </a:lnTo>
                  <a:lnTo>
                    <a:pt x="93" y="93"/>
                  </a:lnTo>
                  <a:lnTo>
                    <a:pt x="93" y="95"/>
                  </a:lnTo>
                  <a:lnTo>
                    <a:pt x="93" y="93"/>
                  </a:lnTo>
                  <a:lnTo>
                    <a:pt x="93" y="95"/>
                  </a:lnTo>
                  <a:lnTo>
                    <a:pt x="93" y="93"/>
                  </a:lnTo>
                  <a:lnTo>
                    <a:pt x="93" y="95"/>
                  </a:lnTo>
                  <a:lnTo>
                    <a:pt x="93" y="93"/>
                  </a:lnTo>
                  <a:lnTo>
                    <a:pt x="93" y="95"/>
                  </a:lnTo>
                  <a:lnTo>
                    <a:pt x="93" y="93"/>
                  </a:lnTo>
                  <a:lnTo>
                    <a:pt x="95" y="93"/>
                  </a:lnTo>
                  <a:close/>
                  <a:moveTo>
                    <a:pt x="90" y="86"/>
                  </a:moveTo>
                  <a:lnTo>
                    <a:pt x="93" y="86"/>
                  </a:lnTo>
                  <a:lnTo>
                    <a:pt x="95" y="86"/>
                  </a:lnTo>
                  <a:lnTo>
                    <a:pt x="95" y="88"/>
                  </a:lnTo>
                  <a:lnTo>
                    <a:pt x="95" y="86"/>
                  </a:lnTo>
                  <a:lnTo>
                    <a:pt x="95" y="88"/>
                  </a:lnTo>
                  <a:lnTo>
                    <a:pt x="95" y="86"/>
                  </a:lnTo>
                  <a:lnTo>
                    <a:pt x="95" y="88"/>
                  </a:lnTo>
                  <a:lnTo>
                    <a:pt x="97" y="88"/>
                  </a:lnTo>
                  <a:lnTo>
                    <a:pt x="100" y="88"/>
                  </a:lnTo>
                  <a:lnTo>
                    <a:pt x="102" y="88"/>
                  </a:lnTo>
                  <a:lnTo>
                    <a:pt x="104" y="88"/>
                  </a:lnTo>
                  <a:lnTo>
                    <a:pt x="104" y="90"/>
                  </a:lnTo>
                  <a:lnTo>
                    <a:pt x="104" y="93"/>
                  </a:lnTo>
                  <a:lnTo>
                    <a:pt x="102" y="93"/>
                  </a:lnTo>
                  <a:lnTo>
                    <a:pt x="100" y="93"/>
                  </a:lnTo>
                  <a:lnTo>
                    <a:pt x="97" y="93"/>
                  </a:lnTo>
                  <a:lnTo>
                    <a:pt x="95" y="93"/>
                  </a:lnTo>
                  <a:lnTo>
                    <a:pt x="93" y="93"/>
                  </a:lnTo>
                  <a:lnTo>
                    <a:pt x="93" y="90"/>
                  </a:lnTo>
                  <a:lnTo>
                    <a:pt x="93" y="93"/>
                  </a:lnTo>
                  <a:lnTo>
                    <a:pt x="93" y="90"/>
                  </a:lnTo>
                  <a:lnTo>
                    <a:pt x="90" y="90"/>
                  </a:lnTo>
                  <a:lnTo>
                    <a:pt x="88" y="90"/>
                  </a:lnTo>
                  <a:lnTo>
                    <a:pt x="90" y="90"/>
                  </a:lnTo>
                  <a:lnTo>
                    <a:pt x="90" y="88"/>
                  </a:lnTo>
                  <a:lnTo>
                    <a:pt x="90" y="90"/>
                  </a:lnTo>
                  <a:lnTo>
                    <a:pt x="90" y="88"/>
                  </a:lnTo>
                  <a:lnTo>
                    <a:pt x="90" y="86"/>
                  </a:lnTo>
                  <a:close/>
                  <a:moveTo>
                    <a:pt x="83" y="86"/>
                  </a:moveTo>
                  <a:lnTo>
                    <a:pt x="85" y="86"/>
                  </a:lnTo>
                  <a:lnTo>
                    <a:pt x="88" y="86"/>
                  </a:lnTo>
                  <a:lnTo>
                    <a:pt x="88" y="88"/>
                  </a:lnTo>
                  <a:lnTo>
                    <a:pt x="88" y="90"/>
                  </a:lnTo>
                  <a:lnTo>
                    <a:pt x="88" y="88"/>
                  </a:lnTo>
                  <a:lnTo>
                    <a:pt x="88" y="90"/>
                  </a:lnTo>
                  <a:lnTo>
                    <a:pt x="88" y="88"/>
                  </a:lnTo>
                  <a:lnTo>
                    <a:pt x="88" y="90"/>
                  </a:lnTo>
                  <a:lnTo>
                    <a:pt x="88" y="88"/>
                  </a:lnTo>
                  <a:lnTo>
                    <a:pt x="85" y="88"/>
                  </a:lnTo>
                  <a:lnTo>
                    <a:pt x="83" y="88"/>
                  </a:lnTo>
                  <a:lnTo>
                    <a:pt x="83" y="86"/>
                  </a:lnTo>
                  <a:lnTo>
                    <a:pt x="83" y="88"/>
                  </a:lnTo>
                  <a:lnTo>
                    <a:pt x="83" y="86"/>
                  </a:lnTo>
                  <a:close/>
                  <a:moveTo>
                    <a:pt x="81" y="83"/>
                  </a:moveTo>
                  <a:lnTo>
                    <a:pt x="81" y="86"/>
                  </a:lnTo>
                  <a:lnTo>
                    <a:pt x="81" y="83"/>
                  </a:lnTo>
                  <a:lnTo>
                    <a:pt x="81" y="86"/>
                  </a:lnTo>
                  <a:lnTo>
                    <a:pt x="78" y="86"/>
                  </a:lnTo>
                  <a:lnTo>
                    <a:pt x="78" y="83"/>
                  </a:lnTo>
                  <a:lnTo>
                    <a:pt x="81" y="83"/>
                  </a:lnTo>
                  <a:close/>
                  <a:moveTo>
                    <a:pt x="62" y="74"/>
                  </a:moveTo>
                  <a:lnTo>
                    <a:pt x="64" y="74"/>
                  </a:lnTo>
                  <a:lnTo>
                    <a:pt x="66" y="74"/>
                  </a:lnTo>
                  <a:lnTo>
                    <a:pt x="66" y="76"/>
                  </a:lnTo>
                  <a:lnTo>
                    <a:pt x="64" y="76"/>
                  </a:lnTo>
                  <a:lnTo>
                    <a:pt x="66" y="76"/>
                  </a:lnTo>
                  <a:lnTo>
                    <a:pt x="64" y="76"/>
                  </a:lnTo>
                  <a:lnTo>
                    <a:pt x="64" y="74"/>
                  </a:lnTo>
                  <a:lnTo>
                    <a:pt x="62" y="74"/>
                  </a:lnTo>
                  <a:close/>
                  <a:moveTo>
                    <a:pt x="57" y="71"/>
                  </a:moveTo>
                  <a:lnTo>
                    <a:pt x="59" y="71"/>
                  </a:lnTo>
                  <a:lnTo>
                    <a:pt x="57" y="74"/>
                  </a:lnTo>
                  <a:lnTo>
                    <a:pt x="57" y="71"/>
                  </a:lnTo>
                  <a:close/>
                  <a:moveTo>
                    <a:pt x="66" y="71"/>
                  </a:moveTo>
                  <a:lnTo>
                    <a:pt x="69" y="71"/>
                  </a:lnTo>
                  <a:lnTo>
                    <a:pt x="69" y="74"/>
                  </a:lnTo>
                  <a:lnTo>
                    <a:pt x="66" y="74"/>
                  </a:lnTo>
                  <a:lnTo>
                    <a:pt x="66" y="71"/>
                  </a:lnTo>
                  <a:lnTo>
                    <a:pt x="66" y="74"/>
                  </a:lnTo>
                  <a:lnTo>
                    <a:pt x="66" y="71"/>
                  </a:lnTo>
                  <a:close/>
                  <a:moveTo>
                    <a:pt x="71" y="71"/>
                  </a:moveTo>
                  <a:lnTo>
                    <a:pt x="71" y="74"/>
                  </a:lnTo>
                  <a:lnTo>
                    <a:pt x="69" y="71"/>
                  </a:lnTo>
                  <a:lnTo>
                    <a:pt x="71" y="71"/>
                  </a:lnTo>
                  <a:close/>
                  <a:moveTo>
                    <a:pt x="64" y="71"/>
                  </a:moveTo>
                  <a:lnTo>
                    <a:pt x="64" y="74"/>
                  </a:lnTo>
                  <a:lnTo>
                    <a:pt x="66" y="74"/>
                  </a:lnTo>
                  <a:lnTo>
                    <a:pt x="64" y="74"/>
                  </a:lnTo>
                  <a:lnTo>
                    <a:pt x="64" y="71"/>
                  </a:lnTo>
                  <a:close/>
                  <a:moveTo>
                    <a:pt x="59" y="71"/>
                  </a:moveTo>
                  <a:lnTo>
                    <a:pt x="59" y="74"/>
                  </a:lnTo>
                  <a:lnTo>
                    <a:pt x="59" y="71"/>
                  </a:lnTo>
                  <a:lnTo>
                    <a:pt x="57" y="71"/>
                  </a:lnTo>
                  <a:lnTo>
                    <a:pt x="59" y="71"/>
                  </a:lnTo>
                  <a:close/>
                  <a:moveTo>
                    <a:pt x="64" y="71"/>
                  </a:moveTo>
                  <a:lnTo>
                    <a:pt x="66" y="71"/>
                  </a:lnTo>
                  <a:lnTo>
                    <a:pt x="66" y="74"/>
                  </a:lnTo>
                  <a:lnTo>
                    <a:pt x="64" y="71"/>
                  </a:lnTo>
                  <a:close/>
                  <a:moveTo>
                    <a:pt x="69" y="71"/>
                  </a:moveTo>
                  <a:lnTo>
                    <a:pt x="66" y="71"/>
                  </a:lnTo>
                  <a:lnTo>
                    <a:pt x="69" y="71"/>
                  </a:lnTo>
                  <a:close/>
                  <a:moveTo>
                    <a:pt x="59" y="71"/>
                  </a:moveTo>
                  <a:lnTo>
                    <a:pt x="57" y="71"/>
                  </a:lnTo>
                  <a:lnTo>
                    <a:pt x="59" y="71"/>
                  </a:lnTo>
                  <a:close/>
                  <a:moveTo>
                    <a:pt x="69" y="71"/>
                  </a:moveTo>
                  <a:lnTo>
                    <a:pt x="69" y="69"/>
                  </a:lnTo>
                  <a:lnTo>
                    <a:pt x="69" y="71"/>
                  </a:lnTo>
                  <a:close/>
                  <a:moveTo>
                    <a:pt x="66" y="71"/>
                  </a:moveTo>
                  <a:lnTo>
                    <a:pt x="66" y="69"/>
                  </a:lnTo>
                  <a:lnTo>
                    <a:pt x="66" y="71"/>
                  </a:lnTo>
                  <a:close/>
                  <a:moveTo>
                    <a:pt x="55" y="69"/>
                  </a:moveTo>
                  <a:lnTo>
                    <a:pt x="52" y="69"/>
                  </a:lnTo>
                  <a:lnTo>
                    <a:pt x="55" y="69"/>
                  </a:lnTo>
                  <a:close/>
                  <a:moveTo>
                    <a:pt x="52" y="67"/>
                  </a:moveTo>
                  <a:lnTo>
                    <a:pt x="50" y="67"/>
                  </a:lnTo>
                  <a:lnTo>
                    <a:pt x="52" y="67"/>
                  </a:lnTo>
                  <a:close/>
                  <a:moveTo>
                    <a:pt x="50" y="67"/>
                  </a:moveTo>
                  <a:lnTo>
                    <a:pt x="52" y="67"/>
                  </a:lnTo>
                  <a:lnTo>
                    <a:pt x="50" y="67"/>
                  </a:lnTo>
                  <a:close/>
                  <a:moveTo>
                    <a:pt x="62" y="67"/>
                  </a:moveTo>
                  <a:lnTo>
                    <a:pt x="62" y="64"/>
                  </a:lnTo>
                  <a:lnTo>
                    <a:pt x="62" y="67"/>
                  </a:lnTo>
                  <a:close/>
                  <a:moveTo>
                    <a:pt x="62" y="64"/>
                  </a:moveTo>
                  <a:lnTo>
                    <a:pt x="59" y="64"/>
                  </a:lnTo>
                  <a:lnTo>
                    <a:pt x="62" y="64"/>
                  </a:lnTo>
                  <a:close/>
                  <a:moveTo>
                    <a:pt x="57" y="64"/>
                  </a:moveTo>
                  <a:lnTo>
                    <a:pt x="55" y="64"/>
                  </a:lnTo>
                  <a:lnTo>
                    <a:pt x="57" y="64"/>
                  </a:lnTo>
                  <a:close/>
                  <a:moveTo>
                    <a:pt x="52" y="64"/>
                  </a:moveTo>
                  <a:lnTo>
                    <a:pt x="55" y="64"/>
                  </a:lnTo>
                  <a:lnTo>
                    <a:pt x="52" y="64"/>
                  </a:lnTo>
                  <a:lnTo>
                    <a:pt x="55" y="64"/>
                  </a:lnTo>
                  <a:lnTo>
                    <a:pt x="55" y="67"/>
                  </a:lnTo>
                  <a:lnTo>
                    <a:pt x="52" y="64"/>
                  </a:lnTo>
                  <a:lnTo>
                    <a:pt x="50" y="64"/>
                  </a:lnTo>
                  <a:lnTo>
                    <a:pt x="52" y="64"/>
                  </a:lnTo>
                  <a:close/>
                  <a:moveTo>
                    <a:pt x="50" y="62"/>
                  </a:moveTo>
                  <a:lnTo>
                    <a:pt x="50" y="64"/>
                  </a:lnTo>
                  <a:lnTo>
                    <a:pt x="50" y="62"/>
                  </a:lnTo>
                  <a:close/>
                  <a:moveTo>
                    <a:pt x="52" y="62"/>
                  </a:moveTo>
                  <a:lnTo>
                    <a:pt x="50" y="62"/>
                  </a:lnTo>
                  <a:lnTo>
                    <a:pt x="52" y="62"/>
                  </a:lnTo>
                  <a:close/>
                  <a:moveTo>
                    <a:pt x="50" y="62"/>
                  </a:moveTo>
                  <a:lnTo>
                    <a:pt x="50" y="60"/>
                  </a:lnTo>
                  <a:lnTo>
                    <a:pt x="50" y="62"/>
                  </a:lnTo>
                  <a:close/>
                  <a:moveTo>
                    <a:pt x="57" y="60"/>
                  </a:moveTo>
                  <a:lnTo>
                    <a:pt x="55" y="60"/>
                  </a:lnTo>
                  <a:lnTo>
                    <a:pt x="57" y="60"/>
                  </a:lnTo>
                  <a:close/>
                  <a:moveTo>
                    <a:pt x="45" y="55"/>
                  </a:moveTo>
                  <a:lnTo>
                    <a:pt x="47" y="55"/>
                  </a:lnTo>
                  <a:lnTo>
                    <a:pt x="47" y="57"/>
                  </a:lnTo>
                  <a:lnTo>
                    <a:pt x="47" y="60"/>
                  </a:lnTo>
                  <a:lnTo>
                    <a:pt x="47" y="57"/>
                  </a:lnTo>
                  <a:lnTo>
                    <a:pt x="45" y="57"/>
                  </a:lnTo>
                  <a:lnTo>
                    <a:pt x="45" y="55"/>
                  </a:lnTo>
                  <a:close/>
                  <a:moveTo>
                    <a:pt x="45" y="52"/>
                  </a:moveTo>
                  <a:lnTo>
                    <a:pt x="47" y="52"/>
                  </a:lnTo>
                  <a:lnTo>
                    <a:pt x="47" y="55"/>
                  </a:lnTo>
                  <a:lnTo>
                    <a:pt x="47" y="52"/>
                  </a:lnTo>
                  <a:lnTo>
                    <a:pt x="50" y="55"/>
                  </a:lnTo>
                  <a:lnTo>
                    <a:pt x="47" y="55"/>
                  </a:lnTo>
                  <a:lnTo>
                    <a:pt x="50" y="55"/>
                  </a:lnTo>
                  <a:lnTo>
                    <a:pt x="50" y="57"/>
                  </a:lnTo>
                  <a:lnTo>
                    <a:pt x="52" y="57"/>
                  </a:lnTo>
                  <a:lnTo>
                    <a:pt x="50" y="57"/>
                  </a:lnTo>
                  <a:lnTo>
                    <a:pt x="52" y="57"/>
                  </a:lnTo>
                  <a:lnTo>
                    <a:pt x="52" y="60"/>
                  </a:lnTo>
                  <a:lnTo>
                    <a:pt x="55" y="60"/>
                  </a:lnTo>
                  <a:lnTo>
                    <a:pt x="55" y="62"/>
                  </a:lnTo>
                  <a:lnTo>
                    <a:pt x="57" y="62"/>
                  </a:lnTo>
                  <a:lnTo>
                    <a:pt x="57" y="64"/>
                  </a:lnTo>
                  <a:lnTo>
                    <a:pt x="57" y="62"/>
                  </a:lnTo>
                  <a:lnTo>
                    <a:pt x="55" y="62"/>
                  </a:lnTo>
                  <a:lnTo>
                    <a:pt x="52" y="62"/>
                  </a:lnTo>
                  <a:lnTo>
                    <a:pt x="52" y="60"/>
                  </a:lnTo>
                  <a:lnTo>
                    <a:pt x="52" y="57"/>
                  </a:lnTo>
                  <a:lnTo>
                    <a:pt x="50" y="57"/>
                  </a:lnTo>
                  <a:lnTo>
                    <a:pt x="50" y="55"/>
                  </a:lnTo>
                  <a:lnTo>
                    <a:pt x="50" y="57"/>
                  </a:lnTo>
                  <a:lnTo>
                    <a:pt x="47" y="57"/>
                  </a:lnTo>
                  <a:lnTo>
                    <a:pt x="47" y="55"/>
                  </a:lnTo>
                  <a:lnTo>
                    <a:pt x="47" y="52"/>
                  </a:lnTo>
                  <a:lnTo>
                    <a:pt x="45" y="52"/>
                  </a:lnTo>
                  <a:lnTo>
                    <a:pt x="45" y="50"/>
                  </a:lnTo>
                  <a:lnTo>
                    <a:pt x="45" y="52"/>
                  </a:lnTo>
                  <a:close/>
                  <a:moveTo>
                    <a:pt x="45" y="52"/>
                  </a:moveTo>
                  <a:lnTo>
                    <a:pt x="43" y="50"/>
                  </a:lnTo>
                  <a:lnTo>
                    <a:pt x="45" y="50"/>
                  </a:lnTo>
                  <a:lnTo>
                    <a:pt x="45" y="52"/>
                  </a:lnTo>
                  <a:close/>
                  <a:moveTo>
                    <a:pt x="40" y="50"/>
                  </a:moveTo>
                  <a:lnTo>
                    <a:pt x="40" y="52"/>
                  </a:lnTo>
                  <a:lnTo>
                    <a:pt x="40" y="50"/>
                  </a:lnTo>
                  <a:lnTo>
                    <a:pt x="40" y="52"/>
                  </a:lnTo>
                  <a:lnTo>
                    <a:pt x="40" y="50"/>
                  </a:lnTo>
                  <a:lnTo>
                    <a:pt x="38" y="50"/>
                  </a:lnTo>
                  <a:lnTo>
                    <a:pt x="40" y="50"/>
                  </a:lnTo>
                  <a:close/>
                  <a:moveTo>
                    <a:pt x="38" y="50"/>
                  </a:moveTo>
                  <a:lnTo>
                    <a:pt x="40" y="52"/>
                  </a:lnTo>
                  <a:lnTo>
                    <a:pt x="40" y="55"/>
                  </a:lnTo>
                  <a:lnTo>
                    <a:pt x="43" y="55"/>
                  </a:lnTo>
                  <a:lnTo>
                    <a:pt x="43" y="57"/>
                  </a:lnTo>
                  <a:lnTo>
                    <a:pt x="45" y="57"/>
                  </a:lnTo>
                  <a:lnTo>
                    <a:pt x="45" y="60"/>
                  </a:lnTo>
                  <a:lnTo>
                    <a:pt x="47" y="60"/>
                  </a:lnTo>
                  <a:lnTo>
                    <a:pt x="47" y="62"/>
                  </a:lnTo>
                  <a:lnTo>
                    <a:pt x="50" y="62"/>
                  </a:lnTo>
                  <a:lnTo>
                    <a:pt x="50" y="64"/>
                  </a:lnTo>
                  <a:lnTo>
                    <a:pt x="52" y="64"/>
                  </a:lnTo>
                  <a:lnTo>
                    <a:pt x="50" y="64"/>
                  </a:lnTo>
                  <a:lnTo>
                    <a:pt x="52" y="64"/>
                  </a:lnTo>
                  <a:lnTo>
                    <a:pt x="52" y="67"/>
                  </a:lnTo>
                  <a:lnTo>
                    <a:pt x="55" y="67"/>
                  </a:lnTo>
                  <a:lnTo>
                    <a:pt x="55" y="69"/>
                  </a:lnTo>
                  <a:lnTo>
                    <a:pt x="57" y="69"/>
                  </a:lnTo>
                  <a:lnTo>
                    <a:pt x="57" y="71"/>
                  </a:lnTo>
                  <a:lnTo>
                    <a:pt x="57" y="69"/>
                  </a:lnTo>
                  <a:lnTo>
                    <a:pt x="55" y="69"/>
                  </a:lnTo>
                  <a:lnTo>
                    <a:pt x="52" y="67"/>
                  </a:lnTo>
                  <a:lnTo>
                    <a:pt x="50" y="67"/>
                  </a:lnTo>
                  <a:lnTo>
                    <a:pt x="50" y="64"/>
                  </a:lnTo>
                  <a:lnTo>
                    <a:pt x="50" y="62"/>
                  </a:lnTo>
                  <a:lnTo>
                    <a:pt x="47" y="62"/>
                  </a:lnTo>
                  <a:lnTo>
                    <a:pt x="47" y="64"/>
                  </a:lnTo>
                  <a:lnTo>
                    <a:pt x="47" y="62"/>
                  </a:lnTo>
                  <a:lnTo>
                    <a:pt x="47" y="64"/>
                  </a:lnTo>
                  <a:lnTo>
                    <a:pt x="50" y="64"/>
                  </a:lnTo>
                  <a:lnTo>
                    <a:pt x="47" y="64"/>
                  </a:lnTo>
                  <a:lnTo>
                    <a:pt x="47" y="62"/>
                  </a:lnTo>
                  <a:lnTo>
                    <a:pt x="45" y="62"/>
                  </a:lnTo>
                  <a:lnTo>
                    <a:pt x="45" y="60"/>
                  </a:lnTo>
                  <a:lnTo>
                    <a:pt x="43" y="57"/>
                  </a:lnTo>
                  <a:lnTo>
                    <a:pt x="43" y="55"/>
                  </a:lnTo>
                  <a:lnTo>
                    <a:pt x="40" y="55"/>
                  </a:lnTo>
                  <a:lnTo>
                    <a:pt x="40" y="52"/>
                  </a:lnTo>
                  <a:lnTo>
                    <a:pt x="38" y="52"/>
                  </a:lnTo>
                  <a:lnTo>
                    <a:pt x="36" y="52"/>
                  </a:lnTo>
                  <a:lnTo>
                    <a:pt x="36" y="50"/>
                  </a:lnTo>
                  <a:lnTo>
                    <a:pt x="38" y="50"/>
                  </a:lnTo>
                  <a:lnTo>
                    <a:pt x="36" y="50"/>
                  </a:lnTo>
                  <a:lnTo>
                    <a:pt x="38" y="50"/>
                  </a:lnTo>
                  <a:lnTo>
                    <a:pt x="38" y="52"/>
                  </a:lnTo>
                  <a:lnTo>
                    <a:pt x="38" y="50"/>
                  </a:lnTo>
                  <a:lnTo>
                    <a:pt x="38" y="52"/>
                  </a:lnTo>
                  <a:lnTo>
                    <a:pt x="38" y="50"/>
                  </a:lnTo>
                  <a:lnTo>
                    <a:pt x="38" y="52"/>
                  </a:lnTo>
                  <a:lnTo>
                    <a:pt x="38" y="50"/>
                  </a:lnTo>
                  <a:close/>
                  <a:moveTo>
                    <a:pt x="40" y="48"/>
                  </a:moveTo>
                  <a:lnTo>
                    <a:pt x="40" y="50"/>
                  </a:lnTo>
                  <a:lnTo>
                    <a:pt x="43" y="50"/>
                  </a:lnTo>
                  <a:lnTo>
                    <a:pt x="43" y="52"/>
                  </a:lnTo>
                  <a:lnTo>
                    <a:pt x="43" y="50"/>
                  </a:lnTo>
                  <a:lnTo>
                    <a:pt x="40" y="50"/>
                  </a:lnTo>
                  <a:lnTo>
                    <a:pt x="43" y="50"/>
                  </a:lnTo>
                  <a:lnTo>
                    <a:pt x="40" y="50"/>
                  </a:lnTo>
                  <a:lnTo>
                    <a:pt x="40" y="48"/>
                  </a:lnTo>
                  <a:close/>
                  <a:moveTo>
                    <a:pt x="36" y="45"/>
                  </a:moveTo>
                  <a:lnTo>
                    <a:pt x="36" y="48"/>
                  </a:lnTo>
                  <a:lnTo>
                    <a:pt x="38" y="48"/>
                  </a:lnTo>
                  <a:lnTo>
                    <a:pt x="40" y="48"/>
                  </a:lnTo>
                  <a:lnTo>
                    <a:pt x="38" y="48"/>
                  </a:lnTo>
                  <a:lnTo>
                    <a:pt x="40" y="48"/>
                  </a:lnTo>
                  <a:lnTo>
                    <a:pt x="38" y="48"/>
                  </a:lnTo>
                  <a:lnTo>
                    <a:pt x="38" y="50"/>
                  </a:lnTo>
                  <a:lnTo>
                    <a:pt x="38" y="48"/>
                  </a:lnTo>
                  <a:lnTo>
                    <a:pt x="38" y="50"/>
                  </a:lnTo>
                  <a:lnTo>
                    <a:pt x="38" y="48"/>
                  </a:lnTo>
                  <a:lnTo>
                    <a:pt x="36" y="48"/>
                  </a:lnTo>
                  <a:lnTo>
                    <a:pt x="38" y="48"/>
                  </a:lnTo>
                  <a:lnTo>
                    <a:pt x="38" y="50"/>
                  </a:lnTo>
                  <a:lnTo>
                    <a:pt x="36" y="48"/>
                  </a:lnTo>
                  <a:lnTo>
                    <a:pt x="36" y="45"/>
                  </a:lnTo>
                  <a:close/>
                  <a:moveTo>
                    <a:pt x="36" y="45"/>
                  </a:moveTo>
                  <a:lnTo>
                    <a:pt x="33" y="45"/>
                  </a:lnTo>
                  <a:lnTo>
                    <a:pt x="36" y="45"/>
                  </a:lnTo>
                  <a:lnTo>
                    <a:pt x="33" y="45"/>
                  </a:lnTo>
                  <a:lnTo>
                    <a:pt x="36" y="45"/>
                  </a:lnTo>
                  <a:close/>
                  <a:moveTo>
                    <a:pt x="43" y="43"/>
                  </a:moveTo>
                  <a:lnTo>
                    <a:pt x="45" y="43"/>
                  </a:lnTo>
                  <a:lnTo>
                    <a:pt x="47" y="45"/>
                  </a:lnTo>
                  <a:lnTo>
                    <a:pt x="45" y="45"/>
                  </a:lnTo>
                  <a:lnTo>
                    <a:pt x="43" y="45"/>
                  </a:lnTo>
                  <a:lnTo>
                    <a:pt x="43" y="43"/>
                  </a:lnTo>
                  <a:close/>
                  <a:moveTo>
                    <a:pt x="31" y="43"/>
                  </a:moveTo>
                  <a:lnTo>
                    <a:pt x="31" y="45"/>
                  </a:lnTo>
                  <a:lnTo>
                    <a:pt x="31" y="43"/>
                  </a:lnTo>
                  <a:lnTo>
                    <a:pt x="28" y="43"/>
                  </a:lnTo>
                  <a:lnTo>
                    <a:pt x="28" y="41"/>
                  </a:lnTo>
                  <a:lnTo>
                    <a:pt x="28" y="43"/>
                  </a:lnTo>
                  <a:lnTo>
                    <a:pt x="31" y="43"/>
                  </a:lnTo>
                  <a:close/>
                  <a:moveTo>
                    <a:pt x="33" y="41"/>
                  </a:moveTo>
                  <a:lnTo>
                    <a:pt x="33" y="43"/>
                  </a:lnTo>
                  <a:lnTo>
                    <a:pt x="33" y="41"/>
                  </a:lnTo>
                  <a:lnTo>
                    <a:pt x="31" y="41"/>
                  </a:lnTo>
                  <a:lnTo>
                    <a:pt x="31" y="38"/>
                  </a:lnTo>
                  <a:lnTo>
                    <a:pt x="33" y="38"/>
                  </a:lnTo>
                  <a:lnTo>
                    <a:pt x="33" y="41"/>
                  </a:lnTo>
                  <a:close/>
                  <a:moveTo>
                    <a:pt x="36" y="38"/>
                  </a:moveTo>
                  <a:lnTo>
                    <a:pt x="36" y="41"/>
                  </a:lnTo>
                  <a:lnTo>
                    <a:pt x="36" y="43"/>
                  </a:lnTo>
                  <a:lnTo>
                    <a:pt x="36" y="41"/>
                  </a:lnTo>
                  <a:lnTo>
                    <a:pt x="33" y="41"/>
                  </a:lnTo>
                  <a:lnTo>
                    <a:pt x="36" y="41"/>
                  </a:lnTo>
                  <a:lnTo>
                    <a:pt x="36" y="38"/>
                  </a:lnTo>
                  <a:close/>
                  <a:moveTo>
                    <a:pt x="40" y="38"/>
                  </a:moveTo>
                  <a:lnTo>
                    <a:pt x="40" y="41"/>
                  </a:lnTo>
                  <a:lnTo>
                    <a:pt x="40" y="38"/>
                  </a:lnTo>
                  <a:lnTo>
                    <a:pt x="38" y="38"/>
                  </a:lnTo>
                  <a:lnTo>
                    <a:pt x="40" y="38"/>
                  </a:lnTo>
                  <a:close/>
                  <a:moveTo>
                    <a:pt x="28" y="38"/>
                  </a:moveTo>
                  <a:lnTo>
                    <a:pt x="26" y="38"/>
                  </a:lnTo>
                  <a:lnTo>
                    <a:pt x="26" y="36"/>
                  </a:lnTo>
                  <a:lnTo>
                    <a:pt x="28" y="36"/>
                  </a:lnTo>
                  <a:lnTo>
                    <a:pt x="28" y="38"/>
                  </a:lnTo>
                  <a:close/>
                  <a:moveTo>
                    <a:pt x="28" y="36"/>
                  </a:moveTo>
                  <a:lnTo>
                    <a:pt x="28" y="33"/>
                  </a:lnTo>
                  <a:lnTo>
                    <a:pt x="28" y="36"/>
                  </a:lnTo>
                  <a:close/>
                  <a:moveTo>
                    <a:pt x="19" y="33"/>
                  </a:moveTo>
                  <a:lnTo>
                    <a:pt x="19" y="36"/>
                  </a:lnTo>
                  <a:lnTo>
                    <a:pt x="19" y="33"/>
                  </a:lnTo>
                  <a:lnTo>
                    <a:pt x="19" y="36"/>
                  </a:lnTo>
                  <a:lnTo>
                    <a:pt x="21" y="33"/>
                  </a:lnTo>
                  <a:lnTo>
                    <a:pt x="21" y="36"/>
                  </a:lnTo>
                  <a:lnTo>
                    <a:pt x="19" y="36"/>
                  </a:lnTo>
                  <a:lnTo>
                    <a:pt x="19" y="33"/>
                  </a:lnTo>
                  <a:close/>
                  <a:moveTo>
                    <a:pt x="21" y="31"/>
                  </a:moveTo>
                  <a:lnTo>
                    <a:pt x="19" y="31"/>
                  </a:lnTo>
                  <a:lnTo>
                    <a:pt x="21" y="31"/>
                  </a:lnTo>
                  <a:close/>
                  <a:moveTo>
                    <a:pt x="19" y="26"/>
                  </a:moveTo>
                  <a:lnTo>
                    <a:pt x="19" y="29"/>
                  </a:lnTo>
                  <a:lnTo>
                    <a:pt x="19" y="26"/>
                  </a:lnTo>
                  <a:lnTo>
                    <a:pt x="19" y="29"/>
                  </a:lnTo>
                  <a:lnTo>
                    <a:pt x="19" y="31"/>
                  </a:lnTo>
                  <a:lnTo>
                    <a:pt x="19" y="29"/>
                  </a:lnTo>
                  <a:lnTo>
                    <a:pt x="17" y="29"/>
                  </a:lnTo>
                  <a:lnTo>
                    <a:pt x="17" y="26"/>
                  </a:lnTo>
                  <a:lnTo>
                    <a:pt x="19" y="26"/>
                  </a:lnTo>
                  <a:close/>
                  <a:moveTo>
                    <a:pt x="36" y="29"/>
                  </a:moveTo>
                  <a:lnTo>
                    <a:pt x="38" y="29"/>
                  </a:lnTo>
                  <a:lnTo>
                    <a:pt x="38" y="31"/>
                  </a:lnTo>
                  <a:lnTo>
                    <a:pt x="38" y="29"/>
                  </a:lnTo>
                  <a:lnTo>
                    <a:pt x="40" y="31"/>
                  </a:lnTo>
                  <a:lnTo>
                    <a:pt x="40" y="29"/>
                  </a:lnTo>
                  <a:lnTo>
                    <a:pt x="40" y="31"/>
                  </a:lnTo>
                  <a:lnTo>
                    <a:pt x="40" y="33"/>
                  </a:lnTo>
                  <a:lnTo>
                    <a:pt x="43" y="33"/>
                  </a:lnTo>
                  <a:lnTo>
                    <a:pt x="45" y="33"/>
                  </a:lnTo>
                  <a:lnTo>
                    <a:pt x="45" y="36"/>
                  </a:lnTo>
                  <a:lnTo>
                    <a:pt x="43" y="36"/>
                  </a:lnTo>
                  <a:lnTo>
                    <a:pt x="43" y="33"/>
                  </a:lnTo>
                  <a:lnTo>
                    <a:pt x="40" y="33"/>
                  </a:lnTo>
                  <a:lnTo>
                    <a:pt x="43" y="36"/>
                  </a:lnTo>
                  <a:lnTo>
                    <a:pt x="45" y="38"/>
                  </a:lnTo>
                  <a:lnTo>
                    <a:pt x="45" y="36"/>
                  </a:lnTo>
                  <a:lnTo>
                    <a:pt x="45" y="38"/>
                  </a:lnTo>
                  <a:lnTo>
                    <a:pt x="47" y="38"/>
                  </a:lnTo>
                  <a:lnTo>
                    <a:pt x="47" y="41"/>
                  </a:lnTo>
                  <a:lnTo>
                    <a:pt x="50" y="41"/>
                  </a:lnTo>
                  <a:lnTo>
                    <a:pt x="50" y="43"/>
                  </a:lnTo>
                  <a:lnTo>
                    <a:pt x="52" y="43"/>
                  </a:lnTo>
                  <a:lnTo>
                    <a:pt x="50" y="43"/>
                  </a:lnTo>
                  <a:lnTo>
                    <a:pt x="50" y="41"/>
                  </a:lnTo>
                  <a:lnTo>
                    <a:pt x="47" y="41"/>
                  </a:lnTo>
                  <a:lnTo>
                    <a:pt x="50" y="43"/>
                  </a:lnTo>
                  <a:lnTo>
                    <a:pt x="50" y="45"/>
                  </a:lnTo>
                  <a:lnTo>
                    <a:pt x="50" y="43"/>
                  </a:lnTo>
                  <a:lnTo>
                    <a:pt x="47" y="43"/>
                  </a:lnTo>
                  <a:lnTo>
                    <a:pt x="47" y="45"/>
                  </a:lnTo>
                  <a:lnTo>
                    <a:pt x="47" y="43"/>
                  </a:lnTo>
                  <a:lnTo>
                    <a:pt x="45" y="43"/>
                  </a:lnTo>
                  <a:lnTo>
                    <a:pt x="45" y="41"/>
                  </a:lnTo>
                  <a:lnTo>
                    <a:pt x="47" y="41"/>
                  </a:lnTo>
                  <a:lnTo>
                    <a:pt x="45" y="41"/>
                  </a:lnTo>
                  <a:lnTo>
                    <a:pt x="43" y="41"/>
                  </a:lnTo>
                  <a:lnTo>
                    <a:pt x="43" y="38"/>
                  </a:lnTo>
                  <a:lnTo>
                    <a:pt x="43" y="36"/>
                  </a:lnTo>
                  <a:lnTo>
                    <a:pt x="40" y="36"/>
                  </a:lnTo>
                  <a:lnTo>
                    <a:pt x="40" y="33"/>
                  </a:lnTo>
                  <a:lnTo>
                    <a:pt x="38" y="33"/>
                  </a:lnTo>
                  <a:lnTo>
                    <a:pt x="38" y="31"/>
                  </a:lnTo>
                  <a:lnTo>
                    <a:pt x="36" y="31"/>
                  </a:lnTo>
                  <a:lnTo>
                    <a:pt x="36" y="29"/>
                  </a:lnTo>
                  <a:lnTo>
                    <a:pt x="36" y="26"/>
                  </a:lnTo>
                  <a:lnTo>
                    <a:pt x="33" y="26"/>
                  </a:lnTo>
                  <a:lnTo>
                    <a:pt x="36" y="26"/>
                  </a:lnTo>
                  <a:lnTo>
                    <a:pt x="36" y="29"/>
                  </a:lnTo>
                  <a:close/>
                  <a:moveTo>
                    <a:pt x="38" y="26"/>
                  </a:moveTo>
                  <a:lnTo>
                    <a:pt x="36" y="26"/>
                  </a:lnTo>
                  <a:lnTo>
                    <a:pt x="36" y="24"/>
                  </a:lnTo>
                  <a:lnTo>
                    <a:pt x="36" y="26"/>
                  </a:lnTo>
                  <a:lnTo>
                    <a:pt x="38" y="26"/>
                  </a:lnTo>
                  <a:close/>
                  <a:moveTo>
                    <a:pt x="19" y="24"/>
                  </a:moveTo>
                  <a:lnTo>
                    <a:pt x="19" y="22"/>
                  </a:lnTo>
                  <a:lnTo>
                    <a:pt x="19" y="24"/>
                  </a:lnTo>
                  <a:close/>
                  <a:moveTo>
                    <a:pt x="36" y="19"/>
                  </a:moveTo>
                  <a:lnTo>
                    <a:pt x="38" y="19"/>
                  </a:lnTo>
                  <a:lnTo>
                    <a:pt x="36" y="19"/>
                  </a:lnTo>
                  <a:lnTo>
                    <a:pt x="38" y="19"/>
                  </a:lnTo>
                  <a:lnTo>
                    <a:pt x="36" y="19"/>
                  </a:lnTo>
                  <a:close/>
                  <a:moveTo>
                    <a:pt x="33" y="19"/>
                  </a:moveTo>
                  <a:lnTo>
                    <a:pt x="36" y="19"/>
                  </a:lnTo>
                  <a:lnTo>
                    <a:pt x="33" y="19"/>
                  </a:lnTo>
                  <a:lnTo>
                    <a:pt x="36" y="19"/>
                  </a:lnTo>
                  <a:lnTo>
                    <a:pt x="33" y="19"/>
                  </a:lnTo>
                  <a:lnTo>
                    <a:pt x="36" y="22"/>
                  </a:lnTo>
                  <a:lnTo>
                    <a:pt x="36" y="24"/>
                  </a:lnTo>
                  <a:lnTo>
                    <a:pt x="38" y="24"/>
                  </a:lnTo>
                  <a:lnTo>
                    <a:pt x="38" y="26"/>
                  </a:lnTo>
                  <a:lnTo>
                    <a:pt x="36" y="24"/>
                  </a:lnTo>
                  <a:lnTo>
                    <a:pt x="33" y="24"/>
                  </a:lnTo>
                  <a:lnTo>
                    <a:pt x="33" y="22"/>
                  </a:lnTo>
                  <a:lnTo>
                    <a:pt x="33" y="24"/>
                  </a:lnTo>
                  <a:lnTo>
                    <a:pt x="36" y="24"/>
                  </a:lnTo>
                  <a:lnTo>
                    <a:pt x="33" y="24"/>
                  </a:lnTo>
                  <a:lnTo>
                    <a:pt x="33" y="22"/>
                  </a:lnTo>
                  <a:lnTo>
                    <a:pt x="31" y="22"/>
                  </a:lnTo>
                  <a:lnTo>
                    <a:pt x="33" y="22"/>
                  </a:lnTo>
                  <a:lnTo>
                    <a:pt x="33" y="19"/>
                  </a:lnTo>
                  <a:lnTo>
                    <a:pt x="31" y="19"/>
                  </a:lnTo>
                  <a:lnTo>
                    <a:pt x="33" y="19"/>
                  </a:lnTo>
                  <a:close/>
                  <a:moveTo>
                    <a:pt x="36" y="17"/>
                  </a:moveTo>
                  <a:lnTo>
                    <a:pt x="36" y="19"/>
                  </a:lnTo>
                  <a:lnTo>
                    <a:pt x="33" y="19"/>
                  </a:lnTo>
                  <a:lnTo>
                    <a:pt x="33" y="17"/>
                  </a:lnTo>
                  <a:lnTo>
                    <a:pt x="36" y="17"/>
                  </a:lnTo>
                  <a:close/>
                  <a:moveTo>
                    <a:pt x="2" y="14"/>
                  </a:moveTo>
                  <a:lnTo>
                    <a:pt x="2" y="17"/>
                  </a:lnTo>
                  <a:lnTo>
                    <a:pt x="0" y="17"/>
                  </a:lnTo>
                  <a:lnTo>
                    <a:pt x="2" y="17"/>
                  </a:lnTo>
                  <a:lnTo>
                    <a:pt x="0" y="17"/>
                  </a:lnTo>
                  <a:lnTo>
                    <a:pt x="2" y="17"/>
                  </a:lnTo>
                  <a:lnTo>
                    <a:pt x="2" y="14"/>
                  </a:lnTo>
                  <a:lnTo>
                    <a:pt x="0" y="14"/>
                  </a:lnTo>
                  <a:lnTo>
                    <a:pt x="2" y="14"/>
                  </a:lnTo>
                  <a:close/>
                  <a:moveTo>
                    <a:pt x="36" y="14"/>
                  </a:moveTo>
                  <a:lnTo>
                    <a:pt x="36" y="17"/>
                  </a:lnTo>
                  <a:lnTo>
                    <a:pt x="38" y="17"/>
                  </a:lnTo>
                  <a:lnTo>
                    <a:pt x="36" y="17"/>
                  </a:lnTo>
                  <a:lnTo>
                    <a:pt x="36" y="14"/>
                  </a:lnTo>
                  <a:close/>
                  <a:moveTo>
                    <a:pt x="0" y="14"/>
                  </a:moveTo>
                  <a:lnTo>
                    <a:pt x="2" y="14"/>
                  </a:lnTo>
                  <a:lnTo>
                    <a:pt x="0" y="14"/>
                  </a:lnTo>
                  <a:close/>
                  <a:moveTo>
                    <a:pt x="26" y="12"/>
                  </a:moveTo>
                  <a:lnTo>
                    <a:pt x="28" y="12"/>
                  </a:lnTo>
                  <a:lnTo>
                    <a:pt x="28" y="14"/>
                  </a:lnTo>
                  <a:lnTo>
                    <a:pt x="26" y="14"/>
                  </a:lnTo>
                  <a:lnTo>
                    <a:pt x="26" y="12"/>
                  </a:lnTo>
                  <a:close/>
                  <a:moveTo>
                    <a:pt x="28" y="0"/>
                  </a:moveTo>
                  <a:lnTo>
                    <a:pt x="28" y="3"/>
                  </a:lnTo>
                  <a:lnTo>
                    <a:pt x="31" y="3"/>
                  </a:lnTo>
                  <a:lnTo>
                    <a:pt x="31" y="5"/>
                  </a:lnTo>
                  <a:lnTo>
                    <a:pt x="28" y="3"/>
                  </a:lnTo>
                  <a:lnTo>
                    <a:pt x="28" y="5"/>
                  </a:lnTo>
                  <a:lnTo>
                    <a:pt x="31" y="5"/>
                  </a:lnTo>
                  <a:lnTo>
                    <a:pt x="31" y="7"/>
                  </a:lnTo>
                  <a:lnTo>
                    <a:pt x="33" y="7"/>
                  </a:lnTo>
                  <a:lnTo>
                    <a:pt x="33" y="10"/>
                  </a:lnTo>
                  <a:lnTo>
                    <a:pt x="33" y="7"/>
                  </a:lnTo>
                  <a:lnTo>
                    <a:pt x="33" y="10"/>
                  </a:lnTo>
                  <a:lnTo>
                    <a:pt x="33" y="7"/>
                  </a:lnTo>
                  <a:lnTo>
                    <a:pt x="33" y="10"/>
                  </a:lnTo>
                  <a:lnTo>
                    <a:pt x="36" y="10"/>
                  </a:lnTo>
                  <a:lnTo>
                    <a:pt x="36" y="12"/>
                  </a:lnTo>
                  <a:lnTo>
                    <a:pt x="36" y="14"/>
                  </a:lnTo>
                  <a:lnTo>
                    <a:pt x="36" y="12"/>
                  </a:lnTo>
                  <a:lnTo>
                    <a:pt x="36" y="14"/>
                  </a:lnTo>
                  <a:lnTo>
                    <a:pt x="36" y="12"/>
                  </a:lnTo>
                  <a:lnTo>
                    <a:pt x="33" y="12"/>
                  </a:lnTo>
                  <a:lnTo>
                    <a:pt x="33" y="14"/>
                  </a:lnTo>
                  <a:lnTo>
                    <a:pt x="36" y="14"/>
                  </a:lnTo>
                  <a:lnTo>
                    <a:pt x="33" y="14"/>
                  </a:lnTo>
                  <a:lnTo>
                    <a:pt x="31" y="14"/>
                  </a:lnTo>
                  <a:lnTo>
                    <a:pt x="31" y="12"/>
                  </a:lnTo>
                  <a:lnTo>
                    <a:pt x="31" y="10"/>
                  </a:lnTo>
                  <a:lnTo>
                    <a:pt x="28" y="10"/>
                  </a:lnTo>
                  <a:lnTo>
                    <a:pt x="31" y="10"/>
                  </a:lnTo>
                  <a:lnTo>
                    <a:pt x="31" y="12"/>
                  </a:lnTo>
                  <a:lnTo>
                    <a:pt x="28" y="12"/>
                  </a:lnTo>
                  <a:lnTo>
                    <a:pt x="28" y="10"/>
                  </a:lnTo>
                  <a:lnTo>
                    <a:pt x="28" y="12"/>
                  </a:lnTo>
                  <a:lnTo>
                    <a:pt x="26" y="12"/>
                  </a:lnTo>
                  <a:lnTo>
                    <a:pt x="26" y="10"/>
                  </a:lnTo>
                  <a:lnTo>
                    <a:pt x="26" y="12"/>
                  </a:lnTo>
                  <a:lnTo>
                    <a:pt x="26" y="10"/>
                  </a:lnTo>
                  <a:lnTo>
                    <a:pt x="24" y="10"/>
                  </a:lnTo>
                  <a:lnTo>
                    <a:pt x="24" y="7"/>
                  </a:lnTo>
                  <a:lnTo>
                    <a:pt x="26" y="7"/>
                  </a:lnTo>
                  <a:lnTo>
                    <a:pt x="24" y="7"/>
                  </a:lnTo>
                  <a:lnTo>
                    <a:pt x="26" y="5"/>
                  </a:lnTo>
                  <a:lnTo>
                    <a:pt x="26" y="7"/>
                  </a:lnTo>
                  <a:lnTo>
                    <a:pt x="26" y="5"/>
                  </a:lnTo>
                  <a:lnTo>
                    <a:pt x="28" y="5"/>
                  </a:lnTo>
                  <a:lnTo>
                    <a:pt x="28" y="3"/>
                  </a:lnTo>
                  <a:lnTo>
                    <a:pt x="26" y="3"/>
                  </a:lnTo>
                  <a:lnTo>
                    <a:pt x="28" y="3"/>
                  </a:lnTo>
                  <a:lnTo>
                    <a:pt x="26" y="3"/>
                  </a:lnTo>
                  <a:lnTo>
                    <a:pt x="26" y="0"/>
                  </a:lnTo>
                  <a:lnTo>
                    <a:pt x="28" y="3"/>
                  </a:lnTo>
                  <a:lnTo>
                    <a:pt x="28" y="0"/>
                  </a:lnTo>
                  <a:lnTo>
                    <a:pt x="26" y="0"/>
                  </a:lnTo>
                  <a:lnTo>
                    <a:pt x="2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2" name="Freeform 50285"/>
            <p:cNvSpPr>
              <a:spLocks noEditPoints="1"/>
            </p:cNvSpPr>
            <p:nvPr/>
          </p:nvSpPr>
          <p:spPr bwMode="auto">
            <a:xfrm>
              <a:off x="2736848" y="5051441"/>
              <a:ext cx="230188" cy="219075"/>
            </a:xfrm>
            <a:custGeom>
              <a:avLst/>
              <a:gdLst>
                <a:gd name="T0" fmla="*/ 90 w 145"/>
                <a:gd name="T1" fmla="*/ 138 h 138"/>
                <a:gd name="T2" fmla="*/ 145 w 145"/>
                <a:gd name="T3" fmla="*/ 124 h 138"/>
                <a:gd name="T4" fmla="*/ 117 w 145"/>
                <a:gd name="T5" fmla="*/ 122 h 138"/>
                <a:gd name="T6" fmla="*/ 117 w 145"/>
                <a:gd name="T7" fmla="*/ 119 h 138"/>
                <a:gd name="T8" fmla="*/ 117 w 145"/>
                <a:gd name="T9" fmla="*/ 119 h 138"/>
                <a:gd name="T10" fmla="*/ 105 w 145"/>
                <a:gd name="T11" fmla="*/ 119 h 138"/>
                <a:gd name="T12" fmla="*/ 124 w 145"/>
                <a:gd name="T13" fmla="*/ 119 h 138"/>
                <a:gd name="T14" fmla="*/ 105 w 145"/>
                <a:gd name="T15" fmla="*/ 114 h 138"/>
                <a:gd name="T16" fmla="*/ 102 w 145"/>
                <a:gd name="T17" fmla="*/ 114 h 138"/>
                <a:gd name="T18" fmla="*/ 119 w 145"/>
                <a:gd name="T19" fmla="*/ 107 h 138"/>
                <a:gd name="T20" fmla="*/ 88 w 145"/>
                <a:gd name="T21" fmla="*/ 110 h 138"/>
                <a:gd name="T22" fmla="*/ 95 w 145"/>
                <a:gd name="T23" fmla="*/ 103 h 138"/>
                <a:gd name="T24" fmla="*/ 90 w 145"/>
                <a:gd name="T25" fmla="*/ 103 h 138"/>
                <a:gd name="T26" fmla="*/ 105 w 145"/>
                <a:gd name="T27" fmla="*/ 100 h 138"/>
                <a:gd name="T28" fmla="*/ 88 w 145"/>
                <a:gd name="T29" fmla="*/ 91 h 138"/>
                <a:gd name="T30" fmla="*/ 86 w 145"/>
                <a:gd name="T31" fmla="*/ 91 h 138"/>
                <a:gd name="T32" fmla="*/ 79 w 145"/>
                <a:gd name="T33" fmla="*/ 84 h 138"/>
                <a:gd name="T34" fmla="*/ 79 w 145"/>
                <a:gd name="T35" fmla="*/ 81 h 138"/>
                <a:gd name="T36" fmla="*/ 79 w 145"/>
                <a:gd name="T37" fmla="*/ 79 h 138"/>
                <a:gd name="T38" fmla="*/ 74 w 145"/>
                <a:gd name="T39" fmla="*/ 79 h 138"/>
                <a:gd name="T40" fmla="*/ 71 w 145"/>
                <a:gd name="T41" fmla="*/ 76 h 138"/>
                <a:gd name="T42" fmla="*/ 69 w 145"/>
                <a:gd name="T43" fmla="*/ 76 h 138"/>
                <a:gd name="T44" fmla="*/ 62 w 145"/>
                <a:gd name="T45" fmla="*/ 76 h 138"/>
                <a:gd name="T46" fmla="*/ 60 w 145"/>
                <a:gd name="T47" fmla="*/ 74 h 138"/>
                <a:gd name="T48" fmla="*/ 60 w 145"/>
                <a:gd name="T49" fmla="*/ 74 h 138"/>
                <a:gd name="T50" fmla="*/ 57 w 145"/>
                <a:gd name="T51" fmla="*/ 69 h 138"/>
                <a:gd name="T52" fmla="*/ 57 w 145"/>
                <a:gd name="T53" fmla="*/ 67 h 138"/>
                <a:gd name="T54" fmla="*/ 57 w 145"/>
                <a:gd name="T55" fmla="*/ 67 h 138"/>
                <a:gd name="T56" fmla="*/ 60 w 145"/>
                <a:gd name="T57" fmla="*/ 65 h 138"/>
                <a:gd name="T58" fmla="*/ 50 w 145"/>
                <a:gd name="T59" fmla="*/ 65 h 138"/>
                <a:gd name="T60" fmla="*/ 52 w 145"/>
                <a:gd name="T61" fmla="*/ 62 h 138"/>
                <a:gd name="T62" fmla="*/ 50 w 145"/>
                <a:gd name="T63" fmla="*/ 62 h 138"/>
                <a:gd name="T64" fmla="*/ 50 w 145"/>
                <a:gd name="T65" fmla="*/ 57 h 138"/>
                <a:gd name="T66" fmla="*/ 45 w 145"/>
                <a:gd name="T67" fmla="*/ 55 h 138"/>
                <a:gd name="T68" fmla="*/ 41 w 145"/>
                <a:gd name="T69" fmla="*/ 53 h 138"/>
                <a:gd name="T70" fmla="*/ 55 w 145"/>
                <a:gd name="T71" fmla="*/ 50 h 138"/>
                <a:gd name="T72" fmla="*/ 55 w 145"/>
                <a:gd name="T73" fmla="*/ 48 h 138"/>
                <a:gd name="T74" fmla="*/ 33 w 145"/>
                <a:gd name="T75" fmla="*/ 46 h 138"/>
                <a:gd name="T76" fmla="*/ 41 w 145"/>
                <a:gd name="T77" fmla="*/ 43 h 138"/>
                <a:gd name="T78" fmla="*/ 36 w 145"/>
                <a:gd name="T79" fmla="*/ 29 h 138"/>
                <a:gd name="T80" fmla="*/ 7 w 145"/>
                <a:gd name="T81" fmla="*/ 22 h 138"/>
                <a:gd name="T82" fmla="*/ 5 w 145"/>
                <a:gd name="T83" fmla="*/ 15 h 138"/>
                <a:gd name="T84" fmla="*/ 3 w 145"/>
                <a:gd name="T85" fmla="*/ 10 h 138"/>
                <a:gd name="T86" fmla="*/ 29 w 145"/>
                <a:gd name="T8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5" h="138">
                  <a:moveTo>
                    <a:pt x="90" y="138"/>
                  </a:moveTo>
                  <a:lnTo>
                    <a:pt x="88" y="138"/>
                  </a:lnTo>
                  <a:lnTo>
                    <a:pt x="90" y="138"/>
                  </a:lnTo>
                  <a:close/>
                  <a:moveTo>
                    <a:pt x="145" y="124"/>
                  </a:moveTo>
                  <a:lnTo>
                    <a:pt x="145" y="122"/>
                  </a:lnTo>
                  <a:lnTo>
                    <a:pt x="145" y="124"/>
                  </a:lnTo>
                  <a:close/>
                  <a:moveTo>
                    <a:pt x="117" y="122"/>
                  </a:moveTo>
                  <a:lnTo>
                    <a:pt x="117" y="119"/>
                  </a:lnTo>
                  <a:lnTo>
                    <a:pt x="117" y="122"/>
                  </a:lnTo>
                  <a:close/>
                  <a:moveTo>
                    <a:pt x="117" y="119"/>
                  </a:moveTo>
                  <a:lnTo>
                    <a:pt x="117" y="122"/>
                  </a:lnTo>
                  <a:lnTo>
                    <a:pt x="117" y="119"/>
                  </a:lnTo>
                  <a:close/>
                  <a:moveTo>
                    <a:pt x="117" y="119"/>
                  </a:moveTo>
                  <a:lnTo>
                    <a:pt x="117" y="122"/>
                  </a:lnTo>
                  <a:lnTo>
                    <a:pt x="117" y="119"/>
                  </a:lnTo>
                  <a:close/>
                  <a:moveTo>
                    <a:pt x="105" y="119"/>
                  </a:moveTo>
                  <a:lnTo>
                    <a:pt x="105" y="122"/>
                  </a:lnTo>
                  <a:lnTo>
                    <a:pt x="105" y="119"/>
                  </a:lnTo>
                  <a:close/>
                  <a:moveTo>
                    <a:pt x="124" y="119"/>
                  </a:moveTo>
                  <a:lnTo>
                    <a:pt x="126" y="119"/>
                  </a:lnTo>
                  <a:lnTo>
                    <a:pt x="124" y="119"/>
                  </a:lnTo>
                  <a:close/>
                  <a:moveTo>
                    <a:pt x="105" y="114"/>
                  </a:moveTo>
                  <a:lnTo>
                    <a:pt x="102" y="114"/>
                  </a:lnTo>
                  <a:lnTo>
                    <a:pt x="105" y="114"/>
                  </a:lnTo>
                  <a:close/>
                  <a:moveTo>
                    <a:pt x="102" y="114"/>
                  </a:moveTo>
                  <a:lnTo>
                    <a:pt x="102" y="112"/>
                  </a:lnTo>
                  <a:lnTo>
                    <a:pt x="102" y="114"/>
                  </a:lnTo>
                  <a:close/>
                  <a:moveTo>
                    <a:pt x="119" y="107"/>
                  </a:moveTo>
                  <a:lnTo>
                    <a:pt x="119" y="110"/>
                  </a:lnTo>
                  <a:lnTo>
                    <a:pt x="119" y="107"/>
                  </a:lnTo>
                  <a:close/>
                  <a:moveTo>
                    <a:pt x="88" y="110"/>
                  </a:moveTo>
                  <a:lnTo>
                    <a:pt x="88" y="107"/>
                  </a:lnTo>
                  <a:lnTo>
                    <a:pt x="88" y="110"/>
                  </a:lnTo>
                  <a:close/>
                  <a:moveTo>
                    <a:pt x="95" y="103"/>
                  </a:moveTo>
                  <a:lnTo>
                    <a:pt x="93" y="103"/>
                  </a:lnTo>
                  <a:lnTo>
                    <a:pt x="95" y="103"/>
                  </a:lnTo>
                  <a:close/>
                  <a:moveTo>
                    <a:pt x="90" y="103"/>
                  </a:moveTo>
                  <a:lnTo>
                    <a:pt x="90" y="100"/>
                  </a:lnTo>
                  <a:lnTo>
                    <a:pt x="90" y="103"/>
                  </a:lnTo>
                  <a:close/>
                  <a:moveTo>
                    <a:pt x="105" y="100"/>
                  </a:moveTo>
                  <a:lnTo>
                    <a:pt x="102" y="100"/>
                  </a:lnTo>
                  <a:lnTo>
                    <a:pt x="105" y="100"/>
                  </a:lnTo>
                  <a:close/>
                  <a:moveTo>
                    <a:pt x="88" y="91"/>
                  </a:moveTo>
                  <a:lnTo>
                    <a:pt x="86" y="91"/>
                  </a:lnTo>
                  <a:lnTo>
                    <a:pt x="88" y="91"/>
                  </a:lnTo>
                  <a:close/>
                  <a:moveTo>
                    <a:pt x="86" y="91"/>
                  </a:moveTo>
                  <a:lnTo>
                    <a:pt x="83" y="91"/>
                  </a:lnTo>
                  <a:lnTo>
                    <a:pt x="86" y="91"/>
                  </a:lnTo>
                  <a:close/>
                  <a:moveTo>
                    <a:pt x="79" y="84"/>
                  </a:moveTo>
                  <a:lnTo>
                    <a:pt x="76" y="84"/>
                  </a:lnTo>
                  <a:lnTo>
                    <a:pt x="79" y="84"/>
                  </a:lnTo>
                  <a:close/>
                  <a:moveTo>
                    <a:pt x="79" y="81"/>
                  </a:moveTo>
                  <a:lnTo>
                    <a:pt x="76" y="81"/>
                  </a:lnTo>
                  <a:lnTo>
                    <a:pt x="79" y="81"/>
                  </a:lnTo>
                  <a:close/>
                  <a:moveTo>
                    <a:pt x="79" y="79"/>
                  </a:moveTo>
                  <a:lnTo>
                    <a:pt x="76" y="79"/>
                  </a:lnTo>
                  <a:lnTo>
                    <a:pt x="79" y="79"/>
                  </a:lnTo>
                  <a:close/>
                  <a:moveTo>
                    <a:pt x="74" y="79"/>
                  </a:moveTo>
                  <a:lnTo>
                    <a:pt x="71" y="79"/>
                  </a:lnTo>
                  <a:lnTo>
                    <a:pt x="74" y="79"/>
                  </a:lnTo>
                  <a:close/>
                  <a:moveTo>
                    <a:pt x="71" y="76"/>
                  </a:moveTo>
                  <a:lnTo>
                    <a:pt x="69" y="76"/>
                  </a:lnTo>
                  <a:lnTo>
                    <a:pt x="71" y="76"/>
                  </a:lnTo>
                  <a:close/>
                  <a:moveTo>
                    <a:pt x="69" y="76"/>
                  </a:moveTo>
                  <a:lnTo>
                    <a:pt x="67" y="76"/>
                  </a:lnTo>
                  <a:lnTo>
                    <a:pt x="69" y="76"/>
                  </a:lnTo>
                  <a:close/>
                  <a:moveTo>
                    <a:pt x="62" y="76"/>
                  </a:moveTo>
                  <a:lnTo>
                    <a:pt x="60" y="76"/>
                  </a:lnTo>
                  <a:lnTo>
                    <a:pt x="62" y="76"/>
                  </a:lnTo>
                  <a:close/>
                  <a:moveTo>
                    <a:pt x="60" y="74"/>
                  </a:moveTo>
                  <a:lnTo>
                    <a:pt x="60" y="76"/>
                  </a:lnTo>
                  <a:lnTo>
                    <a:pt x="60" y="74"/>
                  </a:lnTo>
                  <a:close/>
                  <a:moveTo>
                    <a:pt x="60" y="74"/>
                  </a:moveTo>
                  <a:lnTo>
                    <a:pt x="60" y="76"/>
                  </a:lnTo>
                  <a:lnTo>
                    <a:pt x="60" y="74"/>
                  </a:lnTo>
                  <a:close/>
                  <a:moveTo>
                    <a:pt x="57" y="69"/>
                  </a:moveTo>
                  <a:lnTo>
                    <a:pt x="55" y="69"/>
                  </a:lnTo>
                  <a:lnTo>
                    <a:pt x="57" y="69"/>
                  </a:lnTo>
                  <a:close/>
                  <a:moveTo>
                    <a:pt x="57" y="67"/>
                  </a:moveTo>
                  <a:lnTo>
                    <a:pt x="60" y="67"/>
                  </a:lnTo>
                  <a:lnTo>
                    <a:pt x="57" y="67"/>
                  </a:lnTo>
                  <a:close/>
                  <a:moveTo>
                    <a:pt x="57" y="67"/>
                  </a:moveTo>
                  <a:lnTo>
                    <a:pt x="55" y="67"/>
                  </a:lnTo>
                  <a:lnTo>
                    <a:pt x="57" y="67"/>
                  </a:lnTo>
                  <a:close/>
                  <a:moveTo>
                    <a:pt x="62" y="67"/>
                  </a:moveTo>
                  <a:lnTo>
                    <a:pt x="60" y="67"/>
                  </a:lnTo>
                  <a:lnTo>
                    <a:pt x="60" y="65"/>
                  </a:lnTo>
                  <a:lnTo>
                    <a:pt x="60" y="67"/>
                  </a:lnTo>
                  <a:lnTo>
                    <a:pt x="62" y="67"/>
                  </a:lnTo>
                  <a:close/>
                  <a:moveTo>
                    <a:pt x="50" y="65"/>
                  </a:moveTo>
                  <a:lnTo>
                    <a:pt x="50" y="62"/>
                  </a:lnTo>
                  <a:lnTo>
                    <a:pt x="50" y="65"/>
                  </a:lnTo>
                  <a:close/>
                  <a:moveTo>
                    <a:pt x="52" y="62"/>
                  </a:moveTo>
                  <a:lnTo>
                    <a:pt x="50" y="62"/>
                  </a:lnTo>
                  <a:lnTo>
                    <a:pt x="52" y="62"/>
                  </a:lnTo>
                  <a:close/>
                  <a:moveTo>
                    <a:pt x="50" y="62"/>
                  </a:moveTo>
                  <a:lnTo>
                    <a:pt x="48" y="62"/>
                  </a:lnTo>
                  <a:lnTo>
                    <a:pt x="50" y="62"/>
                  </a:lnTo>
                  <a:close/>
                  <a:moveTo>
                    <a:pt x="50" y="57"/>
                  </a:moveTo>
                  <a:lnTo>
                    <a:pt x="48" y="57"/>
                  </a:lnTo>
                  <a:lnTo>
                    <a:pt x="50" y="57"/>
                  </a:lnTo>
                  <a:close/>
                  <a:moveTo>
                    <a:pt x="45" y="55"/>
                  </a:moveTo>
                  <a:lnTo>
                    <a:pt x="43" y="55"/>
                  </a:lnTo>
                  <a:lnTo>
                    <a:pt x="45" y="55"/>
                  </a:lnTo>
                  <a:close/>
                  <a:moveTo>
                    <a:pt x="41" y="53"/>
                  </a:moveTo>
                  <a:lnTo>
                    <a:pt x="38" y="53"/>
                  </a:lnTo>
                  <a:lnTo>
                    <a:pt x="41" y="53"/>
                  </a:lnTo>
                  <a:close/>
                  <a:moveTo>
                    <a:pt x="55" y="50"/>
                  </a:moveTo>
                  <a:lnTo>
                    <a:pt x="52" y="50"/>
                  </a:lnTo>
                  <a:lnTo>
                    <a:pt x="55" y="50"/>
                  </a:lnTo>
                  <a:close/>
                  <a:moveTo>
                    <a:pt x="55" y="48"/>
                  </a:moveTo>
                  <a:lnTo>
                    <a:pt x="55" y="50"/>
                  </a:lnTo>
                  <a:lnTo>
                    <a:pt x="55" y="48"/>
                  </a:lnTo>
                  <a:close/>
                  <a:moveTo>
                    <a:pt x="33" y="46"/>
                  </a:moveTo>
                  <a:lnTo>
                    <a:pt x="33" y="48"/>
                  </a:lnTo>
                  <a:lnTo>
                    <a:pt x="33" y="46"/>
                  </a:lnTo>
                  <a:close/>
                  <a:moveTo>
                    <a:pt x="41" y="43"/>
                  </a:moveTo>
                  <a:lnTo>
                    <a:pt x="38" y="43"/>
                  </a:lnTo>
                  <a:lnTo>
                    <a:pt x="41" y="43"/>
                  </a:lnTo>
                  <a:close/>
                  <a:moveTo>
                    <a:pt x="36" y="29"/>
                  </a:moveTo>
                  <a:lnTo>
                    <a:pt x="36" y="31"/>
                  </a:lnTo>
                  <a:lnTo>
                    <a:pt x="36" y="29"/>
                  </a:lnTo>
                  <a:close/>
                  <a:moveTo>
                    <a:pt x="7" y="22"/>
                  </a:moveTo>
                  <a:lnTo>
                    <a:pt x="5" y="22"/>
                  </a:lnTo>
                  <a:lnTo>
                    <a:pt x="7" y="22"/>
                  </a:lnTo>
                  <a:close/>
                  <a:moveTo>
                    <a:pt x="5" y="15"/>
                  </a:moveTo>
                  <a:lnTo>
                    <a:pt x="3" y="15"/>
                  </a:lnTo>
                  <a:lnTo>
                    <a:pt x="5" y="15"/>
                  </a:lnTo>
                  <a:close/>
                  <a:moveTo>
                    <a:pt x="3" y="10"/>
                  </a:moveTo>
                  <a:lnTo>
                    <a:pt x="0" y="10"/>
                  </a:lnTo>
                  <a:lnTo>
                    <a:pt x="3" y="10"/>
                  </a:lnTo>
                  <a:close/>
                  <a:moveTo>
                    <a:pt x="29" y="0"/>
                  </a:moveTo>
                  <a:lnTo>
                    <a:pt x="29" y="3"/>
                  </a:lnTo>
                  <a:lnTo>
                    <a:pt x="2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3" name="Freeform 50286"/>
            <p:cNvSpPr>
              <a:spLocks/>
            </p:cNvSpPr>
            <p:nvPr/>
          </p:nvSpPr>
          <p:spPr bwMode="auto">
            <a:xfrm>
              <a:off x="2662236" y="4618053"/>
              <a:ext cx="354013" cy="192090"/>
            </a:xfrm>
            <a:custGeom>
              <a:avLst/>
              <a:gdLst>
                <a:gd name="T0" fmla="*/ 80 w 223"/>
                <a:gd name="T1" fmla="*/ 3 h 121"/>
                <a:gd name="T2" fmla="*/ 88 w 223"/>
                <a:gd name="T3" fmla="*/ 12 h 121"/>
                <a:gd name="T4" fmla="*/ 95 w 223"/>
                <a:gd name="T5" fmla="*/ 3 h 121"/>
                <a:gd name="T6" fmla="*/ 102 w 223"/>
                <a:gd name="T7" fmla="*/ 3 h 121"/>
                <a:gd name="T8" fmla="*/ 107 w 223"/>
                <a:gd name="T9" fmla="*/ 14 h 121"/>
                <a:gd name="T10" fmla="*/ 114 w 223"/>
                <a:gd name="T11" fmla="*/ 14 h 121"/>
                <a:gd name="T12" fmla="*/ 123 w 223"/>
                <a:gd name="T13" fmla="*/ 19 h 121"/>
                <a:gd name="T14" fmla="*/ 133 w 223"/>
                <a:gd name="T15" fmla="*/ 22 h 121"/>
                <a:gd name="T16" fmla="*/ 142 w 223"/>
                <a:gd name="T17" fmla="*/ 24 h 121"/>
                <a:gd name="T18" fmla="*/ 135 w 223"/>
                <a:gd name="T19" fmla="*/ 29 h 121"/>
                <a:gd name="T20" fmla="*/ 140 w 223"/>
                <a:gd name="T21" fmla="*/ 36 h 121"/>
                <a:gd name="T22" fmla="*/ 147 w 223"/>
                <a:gd name="T23" fmla="*/ 45 h 121"/>
                <a:gd name="T24" fmla="*/ 156 w 223"/>
                <a:gd name="T25" fmla="*/ 41 h 121"/>
                <a:gd name="T26" fmla="*/ 159 w 223"/>
                <a:gd name="T27" fmla="*/ 33 h 121"/>
                <a:gd name="T28" fmla="*/ 166 w 223"/>
                <a:gd name="T29" fmla="*/ 33 h 121"/>
                <a:gd name="T30" fmla="*/ 173 w 223"/>
                <a:gd name="T31" fmla="*/ 38 h 121"/>
                <a:gd name="T32" fmla="*/ 180 w 223"/>
                <a:gd name="T33" fmla="*/ 38 h 121"/>
                <a:gd name="T34" fmla="*/ 185 w 223"/>
                <a:gd name="T35" fmla="*/ 41 h 121"/>
                <a:gd name="T36" fmla="*/ 183 w 223"/>
                <a:gd name="T37" fmla="*/ 45 h 121"/>
                <a:gd name="T38" fmla="*/ 190 w 223"/>
                <a:gd name="T39" fmla="*/ 52 h 121"/>
                <a:gd name="T40" fmla="*/ 194 w 223"/>
                <a:gd name="T41" fmla="*/ 50 h 121"/>
                <a:gd name="T42" fmla="*/ 206 w 223"/>
                <a:gd name="T43" fmla="*/ 55 h 121"/>
                <a:gd name="T44" fmla="*/ 213 w 223"/>
                <a:gd name="T45" fmla="*/ 55 h 121"/>
                <a:gd name="T46" fmla="*/ 216 w 223"/>
                <a:gd name="T47" fmla="*/ 67 h 121"/>
                <a:gd name="T48" fmla="*/ 220 w 223"/>
                <a:gd name="T49" fmla="*/ 74 h 121"/>
                <a:gd name="T50" fmla="*/ 209 w 223"/>
                <a:gd name="T51" fmla="*/ 79 h 121"/>
                <a:gd name="T52" fmla="*/ 199 w 223"/>
                <a:gd name="T53" fmla="*/ 86 h 121"/>
                <a:gd name="T54" fmla="*/ 194 w 223"/>
                <a:gd name="T55" fmla="*/ 98 h 121"/>
                <a:gd name="T56" fmla="*/ 187 w 223"/>
                <a:gd name="T57" fmla="*/ 102 h 121"/>
                <a:gd name="T58" fmla="*/ 178 w 223"/>
                <a:gd name="T59" fmla="*/ 110 h 121"/>
                <a:gd name="T60" fmla="*/ 166 w 223"/>
                <a:gd name="T61" fmla="*/ 107 h 121"/>
                <a:gd name="T62" fmla="*/ 159 w 223"/>
                <a:gd name="T63" fmla="*/ 117 h 121"/>
                <a:gd name="T64" fmla="*/ 152 w 223"/>
                <a:gd name="T65" fmla="*/ 114 h 121"/>
                <a:gd name="T66" fmla="*/ 142 w 223"/>
                <a:gd name="T67" fmla="*/ 112 h 121"/>
                <a:gd name="T68" fmla="*/ 130 w 223"/>
                <a:gd name="T69" fmla="*/ 112 h 121"/>
                <a:gd name="T70" fmla="*/ 121 w 223"/>
                <a:gd name="T71" fmla="*/ 107 h 121"/>
                <a:gd name="T72" fmla="*/ 109 w 223"/>
                <a:gd name="T73" fmla="*/ 102 h 121"/>
                <a:gd name="T74" fmla="*/ 99 w 223"/>
                <a:gd name="T75" fmla="*/ 100 h 121"/>
                <a:gd name="T76" fmla="*/ 95 w 223"/>
                <a:gd name="T77" fmla="*/ 110 h 121"/>
                <a:gd name="T78" fmla="*/ 88 w 223"/>
                <a:gd name="T79" fmla="*/ 112 h 121"/>
                <a:gd name="T80" fmla="*/ 78 w 223"/>
                <a:gd name="T81" fmla="*/ 119 h 121"/>
                <a:gd name="T82" fmla="*/ 69 w 223"/>
                <a:gd name="T83" fmla="*/ 121 h 121"/>
                <a:gd name="T84" fmla="*/ 59 w 223"/>
                <a:gd name="T85" fmla="*/ 114 h 121"/>
                <a:gd name="T86" fmla="*/ 52 w 223"/>
                <a:gd name="T87" fmla="*/ 105 h 121"/>
                <a:gd name="T88" fmla="*/ 43 w 223"/>
                <a:gd name="T89" fmla="*/ 102 h 121"/>
                <a:gd name="T90" fmla="*/ 35 w 223"/>
                <a:gd name="T91" fmla="*/ 93 h 121"/>
                <a:gd name="T92" fmla="*/ 28 w 223"/>
                <a:gd name="T93" fmla="*/ 86 h 121"/>
                <a:gd name="T94" fmla="*/ 21 w 223"/>
                <a:gd name="T95" fmla="*/ 81 h 121"/>
                <a:gd name="T96" fmla="*/ 14 w 223"/>
                <a:gd name="T97" fmla="*/ 71 h 121"/>
                <a:gd name="T98" fmla="*/ 9 w 223"/>
                <a:gd name="T99" fmla="*/ 67 h 121"/>
                <a:gd name="T100" fmla="*/ 12 w 223"/>
                <a:gd name="T101" fmla="*/ 55 h 121"/>
                <a:gd name="T102" fmla="*/ 5 w 223"/>
                <a:gd name="T103" fmla="*/ 48 h 121"/>
                <a:gd name="T104" fmla="*/ 0 w 223"/>
                <a:gd name="T105" fmla="*/ 41 h 121"/>
                <a:gd name="T106" fmla="*/ 5 w 223"/>
                <a:gd name="T107" fmla="*/ 38 h 121"/>
                <a:gd name="T108" fmla="*/ 9 w 223"/>
                <a:gd name="T109" fmla="*/ 36 h 121"/>
                <a:gd name="T110" fmla="*/ 19 w 223"/>
                <a:gd name="T111" fmla="*/ 31 h 121"/>
                <a:gd name="T112" fmla="*/ 28 w 223"/>
                <a:gd name="T113" fmla="*/ 29 h 121"/>
                <a:gd name="T114" fmla="*/ 38 w 223"/>
                <a:gd name="T115" fmla="*/ 22 h 121"/>
                <a:gd name="T116" fmla="*/ 47 w 223"/>
                <a:gd name="T117" fmla="*/ 19 h 121"/>
                <a:gd name="T118" fmla="*/ 57 w 223"/>
                <a:gd name="T119" fmla="*/ 14 h 121"/>
                <a:gd name="T120" fmla="*/ 66 w 223"/>
                <a:gd name="T121" fmla="*/ 12 h 121"/>
                <a:gd name="T122" fmla="*/ 76 w 223"/>
                <a:gd name="T123" fmla="*/ 7 h 121"/>
                <a:gd name="T124" fmla="*/ 73 w 223"/>
                <a:gd name="T125" fmla="*/ 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121">
                  <a:moveTo>
                    <a:pt x="73" y="0"/>
                  </a:moveTo>
                  <a:lnTo>
                    <a:pt x="73" y="3"/>
                  </a:lnTo>
                  <a:lnTo>
                    <a:pt x="76" y="3"/>
                  </a:lnTo>
                  <a:lnTo>
                    <a:pt x="76" y="0"/>
                  </a:lnTo>
                  <a:lnTo>
                    <a:pt x="78" y="0"/>
                  </a:lnTo>
                  <a:lnTo>
                    <a:pt x="78" y="3"/>
                  </a:lnTo>
                  <a:lnTo>
                    <a:pt x="80" y="3"/>
                  </a:lnTo>
                  <a:lnTo>
                    <a:pt x="80" y="5"/>
                  </a:lnTo>
                  <a:lnTo>
                    <a:pt x="80" y="7"/>
                  </a:lnTo>
                  <a:lnTo>
                    <a:pt x="83" y="7"/>
                  </a:lnTo>
                  <a:lnTo>
                    <a:pt x="83" y="10"/>
                  </a:lnTo>
                  <a:lnTo>
                    <a:pt x="85" y="10"/>
                  </a:lnTo>
                  <a:lnTo>
                    <a:pt x="85" y="12"/>
                  </a:lnTo>
                  <a:lnTo>
                    <a:pt x="88" y="12"/>
                  </a:lnTo>
                  <a:lnTo>
                    <a:pt x="88" y="10"/>
                  </a:lnTo>
                  <a:lnTo>
                    <a:pt x="90" y="10"/>
                  </a:lnTo>
                  <a:lnTo>
                    <a:pt x="92" y="10"/>
                  </a:lnTo>
                  <a:lnTo>
                    <a:pt x="95" y="10"/>
                  </a:lnTo>
                  <a:lnTo>
                    <a:pt x="95" y="7"/>
                  </a:lnTo>
                  <a:lnTo>
                    <a:pt x="95" y="5"/>
                  </a:lnTo>
                  <a:lnTo>
                    <a:pt x="95" y="3"/>
                  </a:lnTo>
                  <a:lnTo>
                    <a:pt x="95" y="5"/>
                  </a:lnTo>
                  <a:lnTo>
                    <a:pt x="95" y="3"/>
                  </a:lnTo>
                  <a:lnTo>
                    <a:pt x="97" y="3"/>
                  </a:lnTo>
                  <a:lnTo>
                    <a:pt x="99" y="3"/>
                  </a:lnTo>
                  <a:lnTo>
                    <a:pt x="99" y="5"/>
                  </a:lnTo>
                  <a:lnTo>
                    <a:pt x="102" y="5"/>
                  </a:lnTo>
                  <a:lnTo>
                    <a:pt x="102" y="3"/>
                  </a:lnTo>
                  <a:lnTo>
                    <a:pt x="102" y="5"/>
                  </a:lnTo>
                  <a:lnTo>
                    <a:pt x="104" y="5"/>
                  </a:lnTo>
                  <a:lnTo>
                    <a:pt x="104" y="7"/>
                  </a:lnTo>
                  <a:lnTo>
                    <a:pt x="104" y="10"/>
                  </a:lnTo>
                  <a:lnTo>
                    <a:pt x="107" y="10"/>
                  </a:lnTo>
                  <a:lnTo>
                    <a:pt x="107" y="12"/>
                  </a:lnTo>
                  <a:lnTo>
                    <a:pt x="107" y="14"/>
                  </a:lnTo>
                  <a:lnTo>
                    <a:pt x="109" y="14"/>
                  </a:lnTo>
                  <a:lnTo>
                    <a:pt x="109" y="12"/>
                  </a:lnTo>
                  <a:lnTo>
                    <a:pt x="111" y="12"/>
                  </a:lnTo>
                  <a:lnTo>
                    <a:pt x="111" y="14"/>
                  </a:lnTo>
                  <a:lnTo>
                    <a:pt x="111" y="12"/>
                  </a:lnTo>
                  <a:lnTo>
                    <a:pt x="111" y="14"/>
                  </a:lnTo>
                  <a:lnTo>
                    <a:pt x="114" y="14"/>
                  </a:lnTo>
                  <a:lnTo>
                    <a:pt x="116" y="14"/>
                  </a:lnTo>
                  <a:lnTo>
                    <a:pt x="118" y="17"/>
                  </a:lnTo>
                  <a:lnTo>
                    <a:pt x="118" y="14"/>
                  </a:lnTo>
                  <a:lnTo>
                    <a:pt x="121" y="14"/>
                  </a:lnTo>
                  <a:lnTo>
                    <a:pt x="121" y="17"/>
                  </a:lnTo>
                  <a:lnTo>
                    <a:pt x="123" y="17"/>
                  </a:lnTo>
                  <a:lnTo>
                    <a:pt x="123" y="19"/>
                  </a:lnTo>
                  <a:lnTo>
                    <a:pt x="126" y="19"/>
                  </a:lnTo>
                  <a:lnTo>
                    <a:pt x="128" y="19"/>
                  </a:lnTo>
                  <a:lnTo>
                    <a:pt x="128" y="22"/>
                  </a:lnTo>
                  <a:lnTo>
                    <a:pt x="130" y="22"/>
                  </a:lnTo>
                  <a:lnTo>
                    <a:pt x="130" y="19"/>
                  </a:lnTo>
                  <a:lnTo>
                    <a:pt x="133" y="19"/>
                  </a:lnTo>
                  <a:lnTo>
                    <a:pt x="133" y="22"/>
                  </a:lnTo>
                  <a:lnTo>
                    <a:pt x="135" y="22"/>
                  </a:lnTo>
                  <a:lnTo>
                    <a:pt x="135" y="19"/>
                  </a:lnTo>
                  <a:lnTo>
                    <a:pt x="137" y="19"/>
                  </a:lnTo>
                  <a:lnTo>
                    <a:pt x="140" y="19"/>
                  </a:lnTo>
                  <a:lnTo>
                    <a:pt x="140" y="22"/>
                  </a:lnTo>
                  <a:lnTo>
                    <a:pt x="142" y="22"/>
                  </a:lnTo>
                  <a:lnTo>
                    <a:pt x="142" y="24"/>
                  </a:lnTo>
                  <a:lnTo>
                    <a:pt x="140" y="24"/>
                  </a:lnTo>
                  <a:lnTo>
                    <a:pt x="142" y="24"/>
                  </a:lnTo>
                  <a:lnTo>
                    <a:pt x="140" y="24"/>
                  </a:lnTo>
                  <a:lnTo>
                    <a:pt x="140" y="26"/>
                  </a:lnTo>
                  <a:lnTo>
                    <a:pt x="137" y="26"/>
                  </a:lnTo>
                  <a:lnTo>
                    <a:pt x="137" y="29"/>
                  </a:lnTo>
                  <a:lnTo>
                    <a:pt x="135" y="29"/>
                  </a:lnTo>
                  <a:lnTo>
                    <a:pt x="135" y="31"/>
                  </a:lnTo>
                  <a:lnTo>
                    <a:pt x="135" y="29"/>
                  </a:lnTo>
                  <a:lnTo>
                    <a:pt x="135" y="31"/>
                  </a:lnTo>
                  <a:lnTo>
                    <a:pt x="135" y="33"/>
                  </a:lnTo>
                  <a:lnTo>
                    <a:pt x="137" y="33"/>
                  </a:lnTo>
                  <a:lnTo>
                    <a:pt x="140" y="33"/>
                  </a:lnTo>
                  <a:lnTo>
                    <a:pt x="140" y="36"/>
                  </a:lnTo>
                  <a:lnTo>
                    <a:pt x="142" y="36"/>
                  </a:lnTo>
                  <a:lnTo>
                    <a:pt x="142" y="38"/>
                  </a:lnTo>
                  <a:lnTo>
                    <a:pt x="145" y="38"/>
                  </a:lnTo>
                  <a:lnTo>
                    <a:pt x="145" y="41"/>
                  </a:lnTo>
                  <a:lnTo>
                    <a:pt x="147" y="41"/>
                  </a:lnTo>
                  <a:lnTo>
                    <a:pt x="147" y="43"/>
                  </a:lnTo>
                  <a:lnTo>
                    <a:pt x="147" y="45"/>
                  </a:lnTo>
                  <a:lnTo>
                    <a:pt x="149" y="45"/>
                  </a:lnTo>
                  <a:lnTo>
                    <a:pt x="149" y="48"/>
                  </a:lnTo>
                  <a:lnTo>
                    <a:pt x="152" y="48"/>
                  </a:lnTo>
                  <a:lnTo>
                    <a:pt x="152" y="45"/>
                  </a:lnTo>
                  <a:lnTo>
                    <a:pt x="154" y="45"/>
                  </a:lnTo>
                  <a:lnTo>
                    <a:pt x="154" y="43"/>
                  </a:lnTo>
                  <a:lnTo>
                    <a:pt x="156" y="41"/>
                  </a:lnTo>
                  <a:lnTo>
                    <a:pt x="156" y="43"/>
                  </a:lnTo>
                  <a:lnTo>
                    <a:pt x="156" y="41"/>
                  </a:lnTo>
                  <a:lnTo>
                    <a:pt x="159" y="41"/>
                  </a:lnTo>
                  <a:lnTo>
                    <a:pt x="161" y="41"/>
                  </a:lnTo>
                  <a:lnTo>
                    <a:pt x="161" y="38"/>
                  </a:lnTo>
                  <a:lnTo>
                    <a:pt x="159" y="36"/>
                  </a:lnTo>
                  <a:lnTo>
                    <a:pt x="159" y="33"/>
                  </a:lnTo>
                  <a:lnTo>
                    <a:pt x="156" y="33"/>
                  </a:lnTo>
                  <a:lnTo>
                    <a:pt x="156" y="31"/>
                  </a:lnTo>
                  <a:lnTo>
                    <a:pt x="159" y="31"/>
                  </a:lnTo>
                  <a:lnTo>
                    <a:pt x="161" y="31"/>
                  </a:lnTo>
                  <a:lnTo>
                    <a:pt x="164" y="31"/>
                  </a:lnTo>
                  <a:lnTo>
                    <a:pt x="164" y="33"/>
                  </a:lnTo>
                  <a:lnTo>
                    <a:pt x="166" y="33"/>
                  </a:lnTo>
                  <a:lnTo>
                    <a:pt x="168" y="33"/>
                  </a:lnTo>
                  <a:lnTo>
                    <a:pt x="166" y="33"/>
                  </a:lnTo>
                  <a:lnTo>
                    <a:pt x="168" y="33"/>
                  </a:lnTo>
                  <a:lnTo>
                    <a:pt x="168" y="36"/>
                  </a:lnTo>
                  <a:lnTo>
                    <a:pt x="171" y="36"/>
                  </a:lnTo>
                  <a:lnTo>
                    <a:pt x="173" y="36"/>
                  </a:lnTo>
                  <a:lnTo>
                    <a:pt x="173" y="38"/>
                  </a:lnTo>
                  <a:lnTo>
                    <a:pt x="171" y="38"/>
                  </a:lnTo>
                  <a:lnTo>
                    <a:pt x="173" y="38"/>
                  </a:lnTo>
                  <a:lnTo>
                    <a:pt x="175" y="38"/>
                  </a:lnTo>
                  <a:lnTo>
                    <a:pt x="175" y="41"/>
                  </a:lnTo>
                  <a:lnTo>
                    <a:pt x="175" y="38"/>
                  </a:lnTo>
                  <a:lnTo>
                    <a:pt x="178" y="38"/>
                  </a:lnTo>
                  <a:lnTo>
                    <a:pt x="180" y="38"/>
                  </a:lnTo>
                  <a:lnTo>
                    <a:pt x="183" y="38"/>
                  </a:lnTo>
                  <a:lnTo>
                    <a:pt x="183" y="36"/>
                  </a:lnTo>
                  <a:lnTo>
                    <a:pt x="185" y="36"/>
                  </a:lnTo>
                  <a:lnTo>
                    <a:pt x="185" y="38"/>
                  </a:lnTo>
                  <a:lnTo>
                    <a:pt x="185" y="41"/>
                  </a:lnTo>
                  <a:lnTo>
                    <a:pt x="185" y="43"/>
                  </a:lnTo>
                  <a:lnTo>
                    <a:pt x="185" y="41"/>
                  </a:lnTo>
                  <a:lnTo>
                    <a:pt x="185" y="43"/>
                  </a:lnTo>
                  <a:lnTo>
                    <a:pt x="183" y="43"/>
                  </a:lnTo>
                  <a:lnTo>
                    <a:pt x="180" y="43"/>
                  </a:lnTo>
                  <a:lnTo>
                    <a:pt x="180" y="45"/>
                  </a:lnTo>
                  <a:lnTo>
                    <a:pt x="183" y="45"/>
                  </a:lnTo>
                  <a:lnTo>
                    <a:pt x="183" y="48"/>
                  </a:lnTo>
                  <a:lnTo>
                    <a:pt x="183" y="45"/>
                  </a:lnTo>
                  <a:lnTo>
                    <a:pt x="185" y="48"/>
                  </a:lnTo>
                  <a:lnTo>
                    <a:pt x="185" y="50"/>
                  </a:lnTo>
                  <a:lnTo>
                    <a:pt x="187" y="50"/>
                  </a:lnTo>
                  <a:lnTo>
                    <a:pt x="185" y="50"/>
                  </a:lnTo>
                  <a:lnTo>
                    <a:pt x="187" y="50"/>
                  </a:lnTo>
                  <a:lnTo>
                    <a:pt x="187" y="52"/>
                  </a:lnTo>
                  <a:lnTo>
                    <a:pt x="190" y="52"/>
                  </a:lnTo>
                  <a:lnTo>
                    <a:pt x="192" y="52"/>
                  </a:lnTo>
                  <a:lnTo>
                    <a:pt x="192" y="50"/>
                  </a:lnTo>
                  <a:lnTo>
                    <a:pt x="194" y="50"/>
                  </a:lnTo>
                  <a:lnTo>
                    <a:pt x="194" y="52"/>
                  </a:lnTo>
                  <a:lnTo>
                    <a:pt x="194" y="50"/>
                  </a:lnTo>
                  <a:lnTo>
                    <a:pt x="194" y="48"/>
                  </a:lnTo>
                  <a:lnTo>
                    <a:pt x="194" y="50"/>
                  </a:lnTo>
                  <a:lnTo>
                    <a:pt x="197" y="50"/>
                  </a:lnTo>
                  <a:lnTo>
                    <a:pt x="197" y="52"/>
                  </a:lnTo>
                  <a:lnTo>
                    <a:pt x="199" y="52"/>
                  </a:lnTo>
                  <a:lnTo>
                    <a:pt x="201" y="52"/>
                  </a:lnTo>
                  <a:lnTo>
                    <a:pt x="204" y="52"/>
                  </a:lnTo>
                  <a:lnTo>
                    <a:pt x="204" y="55"/>
                  </a:lnTo>
                  <a:lnTo>
                    <a:pt x="206" y="55"/>
                  </a:lnTo>
                  <a:lnTo>
                    <a:pt x="204" y="55"/>
                  </a:lnTo>
                  <a:lnTo>
                    <a:pt x="206" y="55"/>
                  </a:lnTo>
                  <a:lnTo>
                    <a:pt x="209" y="55"/>
                  </a:lnTo>
                  <a:lnTo>
                    <a:pt x="209" y="57"/>
                  </a:lnTo>
                  <a:lnTo>
                    <a:pt x="211" y="57"/>
                  </a:lnTo>
                  <a:lnTo>
                    <a:pt x="211" y="55"/>
                  </a:lnTo>
                  <a:lnTo>
                    <a:pt x="213" y="55"/>
                  </a:lnTo>
                  <a:lnTo>
                    <a:pt x="213" y="57"/>
                  </a:lnTo>
                  <a:lnTo>
                    <a:pt x="211" y="57"/>
                  </a:lnTo>
                  <a:lnTo>
                    <a:pt x="213" y="57"/>
                  </a:lnTo>
                  <a:lnTo>
                    <a:pt x="213" y="60"/>
                  </a:lnTo>
                  <a:lnTo>
                    <a:pt x="213" y="62"/>
                  </a:lnTo>
                  <a:lnTo>
                    <a:pt x="213" y="64"/>
                  </a:lnTo>
                  <a:lnTo>
                    <a:pt x="216" y="67"/>
                  </a:lnTo>
                  <a:lnTo>
                    <a:pt x="218" y="67"/>
                  </a:lnTo>
                  <a:lnTo>
                    <a:pt x="220" y="67"/>
                  </a:lnTo>
                  <a:lnTo>
                    <a:pt x="220" y="69"/>
                  </a:lnTo>
                  <a:lnTo>
                    <a:pt x="220" y="71"/>
                  </a:lnTo>
                  <a:lnTo>
                    <a:pt x="220" y="74"/>
                  </a:lnTo>
                  <a:lnTo>
                    <a:pt x="223" y="74"/>
                  </a:lnTo>
                  <a:lnTo>
                    <a:pt x="220" y="74"/>
                  </a:lnTo>
                  <a:lnTo>
                    <a:pt x="220" y="76"/>
                  </a:lnTo>
                  <a:lnTo>
                    <a:pt x="218" y="76"/>
                  </a:lnTo>
                  <a:lnTo>
                    <a:pt x="216" y="76"/>
                  </a:lnTo>
                  <a:lnTo>
                    <a:pt x="213" y="76"/>
                  </a:lnTo>
                  <a:lnTo>
                    <a:pt x="211" y="76"/>
                  </a:lnTo>
                  <a:lnTo>
                    <a:pt x="211" y="79"/>
                  </a:lnTo>
                  <a:lnTo>
                    <a:pt x="209" y="79"/>
                  </a:lnTo>
                  <a:lnTo>
                    <a:pt x="209" y="81"/>
                  </a:lnTo>
                  <a:lnTo>
                    <a:pt x="206" y="81"/>
                  </a:lnTo>
                  <a:lnTo>
                    <a:pt x="206" y="83"/>
                  </a:lnTo>
                  <a:lnTo>
                    <a:pt x="206" y="86"/>
                  </a:lnTo>
                  <a:lnTo>
                    <a:pt x="204" y="86"/>
                  </a:lnTo>
                  <a:lnTo>
                    <a:pt x="201" y="86"/>
                  </a:lnTo>
                  <a:lnTo>
                    <a:pt x="199" y="86"/>
                  </a:lnTo>
                  <a:lnTo>
                    <a:pt x="199" y="88"/>
                  </a:lnTo>
                  <a:lnTo>
                    <a:pt x="199" y="91"/>
                  </a:lnTo>
                  <a:lnTo>
                    <a:pt x="197" y="91"/>
                  </a:lnTo>
                  <a:lnTo>
                    <a:pt x="197" y="93"/>
                  </a:lnTo>
                  <a:lnTo>
                    <a:pt x="197" y="95"/>
                  </a:lnTo>
                  <a:lnTo>
                    <a:pt x="197" y="98"/>
                  </a:lnTo>
                  <a:lnTo>
                    <a:pt x="194" y="98"/>
                  </a:lnTo>
                  <a:lnTo>
                    <a:pt x="194" y="100"/>
                  </a:lnTo>
                  <a:lnTo>
                    <a:pt x="194" y="98"/>
                  </a:lnTo>
                  <a:lnTo>
                    <a:pt x="192" y="100"/>
                  </a:lnTo>
                  <a:lnTo>
                    <a:pt x="190" y="100"/>
                  </a:lnTo>
                  <a:lnTo>
                    <a:pt x="190" y="102"/>
                  </a:lnTo>
                  <a:lnTo>
                    <a:pt x="190" y="105"/>
                  </a:lnTo>
                  <a:lnTo>
                    <a:pt x="187" y="102"/>
                  </a:lnTo>
                  <a:lnTo>
                    <a:pt x="187" y="105"/>
                  </a:lnTo>
                  <a:lnTo>
                    <a:pt x="185" y="105"/>
                  </a:lnTo>
                  <a:lnTo>
                    <a:pt x="185" y="107"/>
                  </a:lnTo>
                  <a:lnTo>
                    <a:pt x="183" y="107"/>
                  </a:lnTo>
                  <a:lnTo>
                    <a:pt x="180" y="107"/>
                  </a:lnTo>
                  <a:lnTo>
                    <a:pt x="180" y="110"/>
                  </a:lnTo>
                  <a:lnTo>
                    <a:pt x="178" y="110"/>
                  </a:lnTo>
                  <a:lnTo>
                    <a:pt x="178" y="107"/>
                  </a:lnTo>
                  <a:lnTo>
                    <a:pt x="175" y="107"/>
                  </a:lnTo>
                  <a:lnTo>
                    <a:pt x="175" y="110"/>
                  </a:lnTo>
                  <a:lnTo>
                    <a:pt x="173" y="110"/>
                  </a:lnTo>
                  <a:lnTo>
                    <a:pt x="171" y="107"/>
                  </a:lnTo>
                  <a:lnTo>
                    <a:pt x="168" y="107"/>
                  </a:lnTo>
                  <a:lnTo>
                    <a:pt x="166" y="107"/>
                  </a:lnTo>
                  <a:lnTo>
                    <a:pt x="164" y="107"/>
                  </a:lnTo>
                  <a:lnTo>
                    <a:pt x="164" y="110"/>
                  </a:lnTo>
                  <a:lnTo>
                    <a:pt x="164" y="112"/>
                  </a:lnTo>
                  <a:lnTo>
                    <a:pt x="161" y="112"/>
                  </a:lnTo>
                  <a:lnTo>
                    <a:pt x="161" y="114"/>
                  </a:lnTo>
                  <a:lnTo>
                    <a:pt x="159" y="114"/>
                  </a:lnTo>
                  <a:lnTo>
                    <a:pt x="159" y="117"/>
                  </a:lnTo>
                  <a:lnTo>
                    <a:pt x="159" y="119"/>
                  </a:lnTo>
                  <a:lnTo>
                    <a:pt x="159" y="117"/>
                  </a:lnTo>
                  <a:lnTo>
                    <a:pt x="156" y="117"/>
                  </a:lnTo>
                  <a:lnTo>
                    <a:pt x="159" y="114"/>
                  </a:lnTo>
                  <a:lnTo>
                    <a:pt x="156" y="114"/>
                  </a:lnTo>
                  <a:lnTo>
                    <a:pt x="154" y="114"/>
                  </a:lnTo>
                  <a:lnTo>
                    <a:pt x="152" y="114"/>
                  </a:lnTo>
                  <a:lnTo>
                    <a:pt x="152" y="112"/>
                  </a:lnTo>
                  <a:lnTo>
                    <a:pt x="149" y="112"/>
                  </a:lnTo>
                  <a:lnTo>
                    <a:pt x="149" y="110"/>
                  </a:lnTo>
                  <a:lnTo>
                    <a:pt x="147" y="110"/>
                  </a:lnTo>
                  <a:lnTo>
                    <a:pt x="145" y="110"/>
                  </a:lnTo>
                  <a:lnTo>
                    <a:pt x="142" y="110"/>
                  </a:lnTo>
                  <a:lnTo>
                    <a:pt x="142" y="112"/>
                  </a:lnTo>
                  <a:lnTo>
                    <a:pt x="140" y="112"/>
                  </a:lnTo>
                  <a:lnTo>
                    <a:pt x="140" y="114"/>
                  </a:lnTo>
                  <a:lnTo>
                    <a:pt x="140" y="112"/>
                  </a:lnTo>
                  <a:lnTo>
                    <a:pt x="137" y="112"/>
                  </a:lnTo>
                  <a:lnTo>
                    <a:pt x="135" y="112"/>
                  </a:lnTo>
                  <a:lnTo>
                    <a:pt x="133" y="112"/>
                  </a:lnTo>
                  <a:lnTo>
                    <a:pt x="130" y="112"/>
                  </a:lnTo>
                  <a:lnTo>
                    <a:pt x="128" y="112"/>
                  </a:lnTo>
                  <a:lnTo>
                    <a:pt x="126" y="110"/>
                  </a:lnTo>
                  <a:lnTo>
                    <a:pt x="126" y="107"/>
                  </a:lnTo>
                  <a:lnTo>
                    <a:pt x="123" y="107"/>
                  </a:lnTo>
                  <a:lnTo>
                    <a:pt x="126" y="107"/>
                  </a:lnTo>
                  <a:lnTo>
                    <a:pt x="123" y="107"/>
                  </a:lnTo>
                  <a:lnTo>
                    <a:pt x="121" y="107"/>
                  </a:lnTo>
                  <a:lnTo>
                    <a:pt x="118" y="107"/>
                  </a:lnTo>
                  <a:lnTo>
                    <a:pt x="116" y="107"/>
                  </a:lnTo>
                  <a:lnTo>
                    <a:pt x="116" y="105"/>
                  </a:lnTo>
                  <a:lnTo>
                    <a:pt x="114" y="105"/>
                  </a:lnTo>
                  <a:lnTo>
                    <a:pt x="111" y="105"/>
                  </a:lnTo>
                  <a:lnTo>
                    <a:pt x="111" y="102"/>
                  </a:lnTo>
                  <a:lnTo>
                    <a:pt x="109" y="102"/>
                  </a:lnTo>
                  <a:lnTo>
                    <a:pt x="107" y="102"/>
                  </a:lnTo>
                  <a:lnTo>
                    <a:pt x="107" y="100"/>
                  </a:lnTo>
                  <a:lnTo>
                    <a:pt x="104" y="100"/>
                  </a:lnTo>
                  <a:lnTo>
                    <a:pt x="104" y="102"/>
                  </a:lnTo>
                  <a:lnTo>
                    <a:pt x="102" y="102"/>
                  </a:lnTo>
                  <a:lnTo>
                    <a:pt x="99" y="102"/>
                  </a:lnTo>
                  <a:lnTo>
                    <a:pt x="99" y="100"/>
                  </a:lnTo>
                  <a:lnTo>
                    <a:pt x="97" y="100"/>
                  </a:lnTo>
                  <a:lnTo>
                    <a:pt x="95" y="100"/>
                  </a:lnTo>
                  <a:lnTo>
                    <a:pt x="95" y="102"/>
                  </a:lnTo>
                  <a:lnTo>
                    <a:pt x="95" y="105"/>
                  </a:lnTo>
                  <a:lnTo>
                    <a:pt x="95" y="107"/>
                  </a:lnTo>
                  <a:lnTo>
                    <a:pt x="92" y="110"/>
                  </a:lnTo>
                  <a:lnTo>
                    <a:pt x="95" y="110"/>
                  </a:lnTo>
                  <a:lnTo>
                    <a:pt x="95" y="112"/>
                  </a:lnTo>
                  <a:lnTo>
                    <a:pt x="92" y="112"/>
                  </a:lnTo>
                  <a:lnTo>
                    <a:pt x="90" y="110"/>
                  </a:lnTo>
                  <a:lnTo>
                    <a:pt x="90" y="112"/>
                  </a:lnTo>
                  <a:lnTo>
                    <a:pt x="90" y="110"/>
                  </a:lnTo>
                  <a:lnTo>
                    <a:pt x="88" y="110"/>
                  </a:lnTo>
                  <a:lnTo>
                    <a:pt x="88" y="112"/>
                  </a:lnTo>
                  <a:lnTo>
                    <a:pt x="88" y="114"/>
                  </a:lnTo>
                  <a:lnTo>
                    <a:pt x="85" y="114"/>
                  </a:lnTo>
                  <a:lnTo>
                    <a:pt x="85" y="117"/>
                  </a:lnTo>
                  <a:lnTo>
                    <a:pt x="85" y="119"/>
                  </a:lnTo>
                  <a:lnTo>
                    <a:pt x="83" y="119"/>
                  </a:lnTo>
                  <a:lnTo>
                    <a:pt x="80" y="119"/>
                  </a:lnTo>
                  <a:lnTo>
                    <a:pt x="78" y="119"/>
                  </a:lnTo>
                  <a:lnTo>
                    <a:pt x="78" y="117"/>
                  </a:lnTo>
                  <a:lnTo>
                    <a:pt x="76" y="117"/>
                  </a:lnTo>
                  <a:lnTo>
                    <a:pt x="76" y="119"/>
                  </a:lnTo>
                  <a:lnTo>
                    <a:pt x="73" y="119"/>
                  </a:lnTo>
                  <a:lnTo>
                    <a:pt x="73" y="121"/>
                  </a:lnTo>
                  <a:lnTo>
                    <a:pt x="71" y="121"/>
                  </a:lnTo>
                  <a:lnTo>
                    <a:pt x="69" y="121"/>
                  </a:lnTo>
                  <a:lnTo>
                    <a:pt x="69" y="119"/>
                  </a:lnTo>
                  <a:lnTo>
                    <a:pt x="66" y="119"/>
                  </a:lnTo>
                  <a:lnTo>
                    <a:pt x="64" y="119"/>
                  </a:lnTo>
                  <a:lnTo>
                    <a:pt x="62" y="117"/>
                  </a:lnTo>
                  <a:lnTo>
                    <a:pt x="64" y="117"/>
                  </a:lnTo>
                  <a:lnTo>
                    <a:pt x="62" y="114"/>
                  </a:lnTo>
                  <a:lnTo>
                    <a:pt x="59" y="114"/>
                  </a:lnTo>
                  <a:lnTo>
                    <a:pt x="59" y="112"/>
                  </a:lnTo>
                  <a:lnTo>
                    <a:pt x="57" y="112"/>
                  </a:lnTo>
                  <a:lnTo>
                    <a:pt x="54" y="112"/>
                  </a:lnTo>
                  <a:lnTo>
                    <a:pt x="54" y="110"/>
                  </a:lnTo>
                  <a:lnTo>
                    <a:pt x="54" y="107"/>
                  </a:lnTo>
                  <a:lnTo>
                    <a:pt x="52" y="107"/>
                  </a:lnTo>
                  <a:lnTo>
                    <a:pt x="52" y="105"/>
                  </a:lnTo>
                  <a:lnTo>
                    <a:pt x="52" y="107"/>
                  </a:lnTo>
                  <a:lnTo>
                    <a:pt x="52" y="105"/>
                  </a:lnTo>
                  <a:lnTo>
                    <a:pt x="50" y="105"/>
                  </a:lnTo>
                  <a:lnTo>
                    <a:pt x="50" y="102"/>
                  </a:lnTo>
                  <a:lnTo>
                    <a:pt x="47" y="102"/>
                  </a:lnTo>
                  <a:lnTo>
                    <a:pt x="45" y="102"/>
                  </a:lnTo>
                  <a:lnTo>
                    <a:pt x="43" y="102"/>
                  </a:lnTo>
                  <a:lnTo>
                    <a:pt x="43" y="100"/>
                  </a:lnTo>
                  <a:lnTo>
                    <a:pt x="43" y="98"/>
                  </a:lnTo>
                  <a:lnTo>
                    <a:pt x="40" y="98"/>
                  </a:lnTo>
                  <a:lnTo>
                    <a:pt x="40" y="95"/>
                  </a:lnTo>
                  <a:lnTo>
                    <a:pt x="38" y="95"/>
                  </a:lnTo>
                  <a:lnTo>
                    <a:pt x="35" y="95"/>
                  </a:lnTo>
                  <a:lnTo>
                    <a:pt x="35" y="93"/>
                  </a:lnTo>
                  <a:lnTo>
                    <a:pt x="33" y="93"/>
                  </a:lnTo>
                  <a:lnTo>
                    <a:pt x="35" y="93"/>
                  </a:lnTo>
                  <a:lnTo>
                    <a:pt x="33" y="91"/>
                  </a:lnTo>
                  <a:lnTo>
                    <a:pt x="31" y="88"/>
                  </a:lnTo>
                  <a:lnTo>
                    <a:pt x="28" y="86"/>
                  </a:lnTo>
                  <a:lnTo>
                    <a:pt x="31" y="86"/>
                  </a:lnTo>
                  <a:lnTo>
                    <a:pt x="28" y="86"/>
                  </a:lnTo>
                  <a:lnTo>
                    <a:pt x="28" y="83"/>
                  </a:lnTo>
                  <a:lnTo>
                    <a:pt x="26" y="83"/>
                  </a:lnTo>
                  <a:lnTo>
                    <a:pt x="24" y="83"/>
                  </a:lnTo>
                  <a:lnTo>
                    <a:pt x="26" y="83"/>
                  </a:lnTo>
                  <a:lnTo>
                    <a:pt x="24" y="83"/>
                  </a:lnTo>
                  <a:lnTo>
                    <a:pt x="21" y="83"/>
                  </a:lnTo>
                  <a:lnTo>
                    <a:pt x="21" y="81"/>
                  </a:lnTo>
                  <a:lnTo>
                    <a:pt x="19" y="81"/>
                  </a:lnTo>
                  <a:lnTo>
                    <a:pt x="19" y="79"/>
                  </a:lnTo>
                  <a:lnTo>
                    <a:pt x="16" y="79"/>
                  </a:lnTo>
                  <a:lnTo>
                    <a:pt x="16" y="76"/>
                  </a:lnTo>
                  <a:lnTo>
                    <a:pt x="16" y="74"/>
                  </a:lnTo>
                  <a:lnTo>
                    <a:pt x="14" y="74"/>
                  </a:lnTo>
                  <a:lnTo>
                    <a:pt x="14" y="71"/>
                  </a:lnTo>
                  <a:lnTo>
                    <a:pt x="14" y="69"/>
                  </a:lnTo>
                  <a:lnTo>
                    <a:pt x="12" y="69"/>
                  </a:lnTo>
                  <a:lnTo>
                    <a:pt x="14" y="69"/>
                  </a:lnTo>
                  <a:lnTo>
                    <a:pt x="12" y="69"/>
                  </a:lnTo>
                  <a:lnTo>
                    <a:pt x="14" y="67"/>
                  </a:lnTo>
                  <a:lnTo>
                    <a:pt x="12" y="67"/>
                  </a:lnTo>
                  <a:lnTo>
                    <a:pt x="9" y="67"/>
                  </a:lnTo>
                  <a:lnTo>
                    <a:pt x="9" y="64"/>
                  </a:lnTo>
                  <a:lnTo>
                    <a:pt x="12" y="62"/>
                  </a:lnTo>
                  <a:lnTo>
                    <a:pt x="12" y="60"/>
                  </a:lnTo>
                  <a:lnTo>
                    <a:pt x="12" y="57"/>
                  </a:lnTo>
                  <a:lnTo>
                    <a:pt x="14" y="57"/>
                  </a:lnTo>
                  <a:lnTo>
                    <a:pt x="14" y="55"/>
                  </a:lnTo>
                  <a:lnTo>
                    <a:pt x="12" y="55"/>
                  </a:lnTo>
                  <a:lnTo>
                    <a:pt x="12" y="52"/>
                  </a:lnTo>
                  <a:lnTo>
                    <a:pt x="9" y="52"/>
                  </a:lnTo>
                  <a:lnTo>
                    <a:pt x="9" y="50"/>
                  </a:lnTo>
                  <a:lnTo>
                    <a:pt x="7" y="50"/>
                  </a:lnTo>
                  <a:lnTo>
                    <a:pt x="5" y="48"/>
                  </a:lnTo>
                  <a:lnTo>
                    <a:pt x="5" y="50"/>
                  </a:lnTo>
                  <a:lnTo>
                    <a:pt x="5" y="48"/>
                  </a:lnTo>
                  <a:lnTo>
                    <a:pt x="2" y="48"/>
                  </a:lnTo>
                  <a:lnTo>
                    <a:pt x="2" y="45"/>
                  </a:lnTo>
                  <a:lnTo>
                    <a:pt x="2" y="43"/>
                  </a:lnTo>
                  <a:lnTo>
                    <a:pt x="2" y="41"/>
                  </a:lnTo>
                  <a:lnTo>
                    <a:pt x="0" y="41"/>
                  </a:lnTo>
                  <a:lnTo>
                    <a:pt x="2" y="41"/>
                  </a:lnTo>
                  <a:lnTo>
                    <a:pt x="0" y="41"/>
                  </a:lnTo>
                  <a:lnTo>
                    <a:pt x="0" y="38"/>
                  </a:lnTo>
                  <a:lnTo>
                    <a:pt x="0" y="36"/>
                  </a:lnTo>
                  <a:lnTo>
                    <a:pt x="2" y="36"/>
                  </a:lnTo>
                  <a:lnTo>
                    <a:pt x="2" y="38"/>
                  </a:lnTo>
                  <a:lnTo>
                    <a:pt x="5" y="38"/>
                  </a:lnTo>
                  <a:lnTo>
                    <a:pt x="5" y="41"/>
                  </a:lnTo>
                  <a:lnTo>
                    <a:pt x="5" y="38"/>
                  </a:lnTo>
                  <a:lnTo>
                    <a:pt x="5" y="41"/>
                  </a:lnTo>
                  <a:lnTo>
                    <a:pt x="5" y="43"/>
                  </a:lnTo>
                  <a:lnTo>
                    <a:pt x="7" y="43"/>
                  </a:lnTo>
                  <a:lnTo>
                    <a:pt x="7" y="41"/>
                  </a:lnTo>
                  <a:lnTo>
                    <a:pt x="7" y="38"/>
                  </a:lnTo>
                  <a:lnTo>
                    <a:pt x="9" y="38"/>
                  </a:lnTo>
                  <a:lnTo>
                    <a:pt x="9" y="36"/>
                  </a:lnTo>
                  <a:lnTo>
                    <a:pt x="12" y="36"/>
                  </a:lnTo>
                  <a:lnTo>
                    <a:pt x="12" y="33"/>
                  </a:lnTo>
                  <a:lnTo>
                    <a:pt x="14" y="33"/>
                  </a:lnTo>
                  <a:lnTo>
                    <a:pt x="16" y="31"/>
                  </a:lnTo>
                  <a:lnTo>
                    <a:pt x="19" y="31"/>
                  </a:lnTo>
                  <a:lnTo>
                    <a:pt x="19" y="33"/>
                  </a:lnTo>
                  <a:lnTo>
                    <a:pt x="19" y="31"/>
                  </a:lnTo>
                  <a:lnTo>
                    <a:pt x="21" y="31"/>
                  </a:lnTo>
                  <a:lnTo>
                    <a:pt x="24" y="31"/>
                  </a:lnTo>
                  <a:lnTo>
                    <a:pt x="24" y="29"/>
                  </a:lnTo>
                  <a:lnTo>
                    <a:pt x="24" y="31"/>
                  </a:lnTo>
                  <a:lnTo>
                    <a:pt x="26" y="31"/>
                  </a:lnTo>
                  <a:lnTo>
                    <a:pt x="28" y="31"/>
                  </a:lnTo>
                  <a:lnTo>
                    <a:pt x="28" y="29"/>
                  </a:lnTo>
                  <a:lnTo>
                    <a:pt x="31" y="29"/>
                  </a:lnTo>
                  <a:lnTo>
                    <a:pt x="31" y="26"/>
                  </a:lnTo>
                  <a:lnTo>
                    <a:pt x="33" y="26"/>
                  </a:lnTo>
                  <a:lnTo>
                    <a:pt x="35" y="26"/>
                  </a:lnTo>
                  <a:lnTo>
                    <a:pt x="35" y="24"/>
                  </a:lnTo>
                  <a:lnTo>
                    <a:pt x="38" y="24"/>
                  </a:lnTo>
                  <a:lnTo>
                    <a:pt x="38" y="22"/>
                  </a:lnTo>
                  <a:lnTo>
                    <a:pt x="38" y="24"/>
                  </a:lnTo>
                  <a:lnTo>
                    <a:pt x="40" y="24"/>
                  </a:lnTo>
                  <a:lnTo>
                    <a:pt x="40" y="22"/>
                  </a:lnTo>
                  <a:lnTo>
                    <a:pt x="43" y="22"/>
                  </a:lnTo>
                  <a:lnTo>
                    <a:pt x="45" y="22"/>
                  </a:lnTo>
                  <a:lnTo>
                    <a:pt x="45" y="19"/>
                  </a:lnTo>
                  <a:lnTo>
                    <a:pt x="47" y="19"/>
                  </a:lnTo>
                  <a:lnTo>
                    <a:pt x="45" y="17"/>
                  </a:lnTo>
                  <a:lnTo>
                    <a:pt x="47" y="17"/>
                  </a:lnTo>
                  <a:lnTo>
                    <a:pt x="50" y="17"/>
                  </a:lnTo>
                  <a:lnTo>
                    <a:pt x="52" y="17"/>
                  </a:lnTo>
                  <a:lnTo>
                    <a:pt x="54" y="17"/>
                  </a:lnTo>
                  <a:lnTo>
                    <a:pt x="57" y="17"/>
                  </a:lnTo>
                  <a:lnTo>
                    <a:pt x="57" y="14"/>
                  </a:lnTo>
                  <a:lnTo>
                    <a:pt x="57" y="17"/>
                  </a:lnTo>
                  <a:lnTo>
                    <a:pt x="59" y="17"/>
                  </a:lnTo>
                  <a:lnTo>
                    <a:pt x="59" y="14"/>
                  </a:lnTo>
                  <a:lnTo>
                    <a:pt x="59" y="12"/>
                  </a:lnTo>
                  <a:lnTo>
                    <a:pt x="62" y="12"/>
                  </a:lnTo>
                  <a:lnTo>
                    <a:pt x="64" y="12"/>
                  </a:lnTo>
                  <a:lnTo>
                    <a:pt x="66" y="12"/>
                  </a:lnTo>
                  <a:lnTo>
                    <a:pt x="66" y="10"/>
                  </a:lnTo>
                  <a:lnTo>
                    <a:pt x="69" y="10"/>
                  </a:lnTo>
                  <a:lnTo>
                    <a:pt x="69" y="7"/>
                  </a:lnTo>
                  <a:lnTo>
                    <a:pt x="71" y="7"/>
                  </a:lnTo>
                  <a:lnTo>
                    <a:pt x="71" y="10"/>
                  </a:lnTo>
                  <a:lnTo>
                    <a:pt x="73" y="7"/>
                  </a:lnTo>
                  <a:lnTo>
                    <a:pt x="76" y="7"/>
                  </a:lnTo>
                  <a:lnTo>
                    <a:pt x="73" y="7"/>
                  </a:lnTo>
                  <a:lnTo>
                    <a:pt x="76" y="7"/>
                  </a:lnTo>
                  <a:lnTo>
                    <a:pt x="76" y="5"/>
                  </a:lnTo>
                  <a:lnTo>
                    <a:pt x="73" y="5"/>
                  </a:lnTo>
                  <a:lnTo>
                    <a:pt x="71" y="5"/>
                  </a:lnTo>
                  <a:lnTo>
                    <a:pt x="73" y="5"/>
                  </a:lnTo>
                  <a:lnTo>
                    <a:pt x="73" y="3"/>
                  </a:lnTo>
                  <a:lnTo>
                    <a:pt x="71" y="5"/>
                  </a:lnTo>
                  <a:lnTo>
                    <a:pt x="71" y="3"/>
                  </a:lnTo>
                  <a:lnTo>
                    <a:pt x="71" y="0"/>
                  </a:lnTo>
                  <a:lnTo>
                    <a:pt x="7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4" name="Freeform 50287"/>
            <p:cNvSpPr>
              <a:spLocks noEditPoints="1"/>
            </p:cNvSpPr>
            <p:nvPr/>
          </p:nvSpPr>
          <p:spPr bwMode="auto">
            <a:xfrm>
              <a:off x="2473323" y="4146564"/>
              <a:ext cx="346075" cy="196850"/>
            </a:xfrm>
            <a:custGeom>
              <a:avLst/>
              <a:gdLst>
                <a:gd name="T0" fmla="*/ 95 w 218"/>
                <a:gd name="T1" fmla="*/ 107 h 124"/>
                <a:gd name="T2" fmla="*/ 100 w 218"/>
                <a:gd name="T3" fmla="*/ 110 h 124"/>
                <a:gd name="T4" fmla="*/ 105 w 218"/>
                <a:gd name="T5" fmla="*/ 107 h 124"/>
                <a:gd name="T6" fmla="*/ 109 w 218"/>
                <a:gd name="T7" fmla="*/ 114 h 124"/>
                <a:gd name="T8" fmla="*/ 107 w 218"/>
                <a:gd name="T9" fmla="*/ 119 h 124"/>
                <a:gd name="T10" fmla="*/ 105 w 218"/>
                <a:gd name="T11" fmla="*/ 119 h 124"/>
                <a:gd name="T12" fmla="*/ 97 w 218"/>
                <a:gd name="T13" fmla="*/ 119 h 124"/>
                <a:gd name="T14" fmla="*/ 95 w 218"/>
                <a:gd name="T15" fmla="*/ 119 h 124"/>
                <a:gd name="T16" fmla="*/ 88 w 218"/>
                <a:gd name="T17" fmla="*/ 114 h 124"/>
                <a:gd name="T18" fmla="*/ 83 w 218"/>
                <a:gd name="T19" fmla="*/ 110 h 124"/>
                <a:gd name="T20" fmla="*/ 83 w 218"/>
                <a:gd name="T21" fmla="*/ 107 h 124"/>
                <a:gd name="T22" fmla="*/ 86 w 218"/>
                <a:gd name="T23" fmla="*/ 102 h 124"/>
                <a:gd name="T24" fmla="*/ 109 w 218"/>
                <a:gd name="T25" fmla="*/ 105 h 124"/>
                <a:gd name="T26" fmla="*/ 119 w 218"/>
                <a:gd name="T27" fmla="*/ 107 h 124"/>
                <a:gd name="T28" fmla="*/ 116 w 218"/>
                <a:gd name="T29" fmla="*/ 112 h 124"/>
                <a:gd name="T30" fmla="*/ 114 w 218"/>
                <a:gd name="T31" fmla="*/ 121 h 124"/>
                <a:gd name="T32" fmla="*/ 109 w 218"/>
                <a:gd name="T33" fmla="*/ 119 h 124"/>
                <a:gd name="T34" fmla="*/ 112 w 218"/>
                <a:gd name="T35" fmla="*/ 114 h 124"/>
                <a:gd name="T36" fmla="*/ 109 w 218"/>
                <a:gd name="T37" fmla="*/ 110 h 124"/>
                <a:gd name="T38" fmla="*/ 107 w 218"/>
                <a:gd name="T39" fmla="*/ 105 h 124"/>
                <a:gd name="T40" fmla="*/ 109 w 218"/>
                <a:gd name="T41" fmla="*/ 105 h 124"/>
                <a:gd name="T42" fmla="*/ 216 w 218"/>
                <a:gd name="T43" fmla="*/ 93 h 124"/>
                <a:gd name="T44" fmla="*/ 218 w 218"/>
                <a:gd name="T45" fmla="*/ 100 h 124"/>
                <a:gd name="T46" fmla="*/ 209 w 218"/>
                <a:gd name="T47" fmla="*/ 100 h 124"/>
                <a:gd name="T48" fmla="*/ 204 w 218"/>
                <a:gd name="T49" fmla="*/ 93 h 124"/>
                <a:gd name="T50" fmla="*/ 207 w 218"/>
                <a:gd name="T51" fmla="*/ 86 h 124"/>
                <a:gd name="T52" fmla="*/ 62 w 218"/>
                <a:gd name="T53" fmla="*/ 69 h 124"/>
                <a:gd name="T54" fmla="*/ 64 w 218"/>
                <a:gd name="T55" fmla="*/ 74 h 124"/>
                <a:gd name="T56" fmla="*/ 64 w 218"/>
                <a:gd name="T57" fmla="*/ 76 h 124"/>
                <a:gd name="T58" fmla="*/ 67 w 218"/>
                <a:gd name="T59" fmla="*/ 76 h 124"/>
                <a:gd name="T60" fmla="*/ 69 w 218"/>
                <a:gd name="T61" fmla="*/ 72 h 124"/>
                <a:gd name="T62" fmla="*/ 71 w 218"/>
                <a:gd name="T63" fmla="*/ 76 h 124"/>
                <a:gd name="T64" fmla="*/ 74 w 218"/>
                <a:gd name="T65" fmla="*/ 83 h 124"/>
                <a:gd name="T66" fmla="*/ 76 w 218"/>
                <a:gd name="T67" fmla="*/ 88 h 124"/>
                <a:gd name="T68" fmla="*/ 74 w 218"/>
                <a:gd name="T69" fmla="*/ 98 h 124"/>
                <a:gd name="T70" fmla="*/ 64 w 218"/>
                <a:gd name="T71" fmla="*/ 98 h 124"/>
                <a:gd name="T72" fmla="*/ 59 w 218"/>
                <a:gd name="T73" fmla="*/ 98 h 124"/>
                <a:gd name="T74" fmla="*/ 57 w 218"/>
                <a:gd name="T75" fmla="*/ 98 h 124"/>
                <a:gd name="T76" fmla="*/ 50 w 218"/>
                <a:gd name="T77" fmla="*/ 95 h 124"/>
                <a:gd name="T78" fmla="*/ 52 w 218"/>
                <a:gd name="T79" fmla="*/ 91 h 124"/>
                <a:gd name="T80" fmla="*/ 50 w 218"/>
                <a:gd name="T81" fmla="*/ 91 h 124"/>
                <a:gd name="T82" fmla="*/ 45 w 218"/>
                <a:gd name="T83" fmla="*/ 88 h 124"/>
                <a:gd name="T84" fmla="*/ 41 w 218"/>
                <a:gd name="T85" fmla="*/ 81 h 124"/>
                <a:gd name="T86" fmla="*/ 43 w 218"/>
                <a:gd name="T87" fmla="*/ 81 h 124"/>
                <a:gd name="T88" fmla="*/ 41 w 218"/>
                <a:gd name="T89" fmla="*/ 79 h 124"/>
                <a:gd name="T90" fmla="*/ 43 w 218"/>
                <a:gd name="T91" fmla="*/ 76 h 124"/>
                <a:gd name="T92" fmla="*/ 41 w 218"/>
                <a:gd name="T93" fmla="*/ 76 h 124"/>
                <a:gd name="T94" fmla="*/ 50 w 218"/>
                <a:gd name="T95" fmla="*/ 74 h 124"/>
                <a:gd name="T96" fmla="*/ 55 w 218"/>
                <a:gd name="T97" fmla="*/ 72 h 124"/>
                <a:gd name="T98" fmla="*/ 59 w 218"/>
                <a:gd name="T99" fmla="*/ 72 h 124"/>
                <a:gd name="T100" fmla="*/ 12 w 218"/>
                <a:gd name="T101" fmla="*/ 3 h 124"/>
                <a:gd name="T102" fmla="*/ 10 w 218"/>
                <a:gd name="T103" fmla="*/ 10 h 124"/>
                <a:gd name="T104" fmla="*/ 7 w 218"/>
                <a:gd name="T105" fmla="*/ 15 h 124"/>
                <a:gd name="T106" fmla="*/ 3 w 218"/>
                <a:gd name="T107" fmla="*/ 12 h 124"/>
                <a:gd name="T108" fmla="*/ 0 w 218"/>
                <a:gd name="T109" fmla="*/ 12 h 124"/>
                <a:gd name="T110" fmla="*/ 3 w 218"/>
                <a:gd name="T111" fmla="*/ 7 h 124"/>
                <a:gd name="T112" fmla="*/ 5 w 218"/>
                <a:gd name="T113" fmla="*/ 5 h 124"/>
                <a:gd name="T114" fmla="*/ 12 w 218"/>
                <a:gd name="T11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124">
                  <a:moveTo>
                    <a:pt x="90" y="102"/>
                  </a:moveTo>
                  <a:lnTo>
                    <a:pt x="90" y="105"/>
                  </a:lnTo>
                  <a:lnTo>
                    <a:pt x="93" y="105"/>
                  </a:lnTo>
                  <a:lnTo>
                    <a:pt x="93" y="107"/>
                  </a:lnTo>
                  <a:lnTo>
                    <a:pt x="95" y="107"/>
                  </a:lnTo>
                  <a:lnTo>
                    <a:pt x="97" y="107"/>
                  </a:lnTo>
                  <a:lnTo>
                    <a:pt x="97" y="110"/>
                  </a:lnTo>
                  <a:lnTo>
                    <a:pt x="100" y="110"/>
                  </a:lnTo>
                  <a:lnTo>
                    <a:pt x="102" y="110"/>
                  </a:lnTo>
                  <a:lnTo>
                    <a:pt x="100" y="110"/>
                  </a:lnTo>
                  <a:lnTo>
                    <a:pt x="100" y="107"/>
                  </a:lnTo>
                  <a:lnTo>
                    <a:pt x="102" y="110"/>
                  </a:lnTo>
                  <a:lnTo>
                    <a:pt x="102" y="107"/>
                  </a:lnTo>
                  <a:lnTo>
                    <a:pt x="102" y="105"/>
                  </a:lnTo>
                  <a:lnTo>
                    <a:pt x="105" y="107"/>
                  </a:lnTo>
                  <a:lnTo>
                    <a:pt x="107" y="107"/>
                  </a:lnTo>
                  <a:lnTo>
                    <a:pt x="107" y="110"/>
                  </a:lnTo>
                  <a:lnTo>
                    <a:pt x="107" y="112"/>
                  </a:lnTo>
                  <a:lnTo>
                    <a:pt x="109" y="112"/>
                  </a:lnTo>
                  <a:lnTo>
                    <a:pt x="109" y="114"/>
                  </a:lnTo>
                  <a:lnTo>
                    <a:pt x="109" y="117"/>
                  </a:lnTo>
                  <a:lnTo>
                    <a:pt x="109" y="119"/>
                  </a:lnTo>
                  <a:lnTo>
                    <a:pt x="107" y="119"/>
                  </a:lnTo>
                  <a:lnTo>
                    <a:pt x="105" y="119"/>
                  </a:lnTo>
                  <a:lnTo>
                    <a:pt x="107" y="119"/>
                  </a:lnTo>
                  <a:lnTo>
                    <a:pt x="105" y="117"/>
                  </a:lnTo>
                  <a:lnTo>
                    <a:pt x="105" y="119"/>
                  </a:lnTo>
                  <a:lnTo>
                    <a:pt x="105" y="117"/>
                  </a:lnTo>
                  <a:lnTo>
                    <a:pt x="102" y="119"/>
                  </a:lnTo>
                  <a:lnTo>
                    <a:pt x="105" y="119"/>
                  </a:lnTo>
                  <a:lnTo>
                    <a:pt x="102" y="119"/>
                  </a:lnTo>
                  <a:lnTo>
                    <a:pt x="100" y="119"/>
                  </a:lnTo>
                  <a:lnTo>
                    <a:pt x="102" y="119"/>
                  </a:lnTo>
                  <a:lnTo>
                    <a:pt x="100" y="119"/>
                  </a:lnTo>
                  <a:lnTo>
                    <a:pt x="97" y="119"/>
                  </a:lnTo>
                  <a:lnTo>
                    <a:pt x="97" y="121"/>
                  </a:lnTo>
                  <a:lnTo>
                    <a:pt x="100" y="121"/>
                  </a:lnTo>
                  <a:lnTo>
                    <a:pt x="97" y="121"/>
                  </a:lnTo>
                  <a:lnTo>
                    <a:pt x="95" y="121"/>
                  </a:lnTo>
                  <a:lnTo>
                    <a:pt x="95" y="119"/>
                  </a:lnTo>
                  <a:lnTo>
                    <a:pt x="93" y="119"/>
                  </a:lnTo>
                  <a:lnTo>
                    <a:pt x="93" y="117"/>
                  </a:lnTo>
                  <a:lnTo>
                    <a:pt x="90" y="117"/>
                  </a:lnTo>
                  <a:lnTo>
                    <a:pt x="88" y="117"/>
                  </a:lnTo>
                  <a:lnTo>
                    <a:pt x="88" y="114"/>
                  </a:lnTo>
                  <a:lnTo>
                    <a:pt x="86" y="114"/>
                  </a:lnTo>
                  <a:lnTo>
                    <a:pt x="83" y="114"/>
                  </a:lnTo>
                  <a:lnTo>
                    <a:pt x="81" y="112"/>
                  </a:lnTo>
                  <a:lnTo>
                    <a:pt x="81" y="110"/>
                  </a:lnTo>
                  <a:lnTo>
                    <a:pt x="83" y="110"/>
                  </a:lnTo>
                  <a:lnTo>
                    <a:pt x="83" y="112"/>
                  </a:lnTo>
                  <a:lnTo>
                    <a:pt x="83" y="110"/>
                  </a:lnTo>
                  <a:lnTo>
                    <a:pt x="86" y="110"/>
                  </a:lnTo>
                  <a:lnTo>
                    <a:pt x="83" y="110"/>
                  </a:lnTo>
                  <a:lnTo>
                    <a:pt x="83" y="107"/>
                  </a:lnTo>
                  <a:lnTo>
                    <a:pt x="83" y="105"/>
                  </a:lnTo>
                  <a:lnTo>
                    <a:pt x="86" y="105"/>
                  </a:lnTo>
                  <a:lnTo>
                    <a:pt x="86" y="102"/>
                  </a:lnTo>
                  <a:lnTo>
                    <a:pt x="86" y="105"/>
                  </a:lnTo>
                  <a:lnTo>
                    <a:pt x="86" y="102"/>
                  </a:lnTo>
                  <a:lnTo>
                    <a:pt x="88" y="102"/>
                  </a:lnTo>
                  <a:lnTo>
                    <a:pt x="90" y="102"/>
                  </a:lnTo>
                  <a:close/>
                  <a:moveTo>
                    <a:pt x="109" y="102"/>
                  </a:moveTo>
                  <a:lnTo>
                    <a:pt x="112" y="105"/>
                  </a:lnTo>
                  <a:lnTo>
                    <a:pt x="109" y="105"/>
                  </a:lnTo>
                  <a:lnTo>
                    <a:pt x="112" y="105"/>
                  </a:lnTo>
                  <a:lnTo>
                    <a:pt x="114" y="105"/>
                  </a:lnTo>
                  <a:lnTo>
                    <a:pt x="114" y="107"/>
                  </a:lnTo>
                  <a:lnTo>
                    <a:pt x="116" y="107"/>
                  </a:lnTo>
                  <a:lnTo>
                    <a:pt x="119" y="107"/>
                  </a:lnTo>
                  <a:lnTo>
                    <a:pt x="119" y="110"/>
                  </a:lnTo>
                  <a:lnTo>
                    <a:pt x="121" y="110"/>
                  </a:lnTo>
                  <a:lnTo>
                    <a:pt x="119" y="110"/>
                  </a:lnTo>
                  <a:lnTo>
                    <a:pt x="119" y="112"/>
                  </a:lnTo>
                  <a:lnTo>
                    <a:pt x="116" y="112"/>
                  </a:lnTo>
                  <a:lnTo>
                    <a:pt x="116" y="114"/>
                  </a:lnTo>
                  <a:lnTo>
                    <a:pt x="114" y="114"/>
                  </a:lnTo>
                  <a:lnTo>
                    <a:pt x="114" y="117"/>
                  </a:lnTo>
                  <a:lnTo>
                    <a:pt x="114" y="119"/>
                  </a:lnTo>
                  <a:lnTo>
                    <a:pt x="114" y="121"/>
                  </a:lnTo>
                  <a:lnTo>
                    <a:pt x="114" y="124"/>
                  </a:lnTo>
                  <a:lnTo>
                    <a:pt x="112" y="124"/>
                  </a:lnTo>
                  <a:lnTo>
                    <a:pt x="112" y="121"/>
                  </a:lnTo>
                  <a:lnTo>
                    <a:pt x="112" y="119"/>
                  </a:lnTo>
                  <a:lnTo>
                    <a:pt x="109" y="119"/>
                  </a:lnTo>
                  <a:lnTo>
                    <a:pt x="109" y="117"/>
                  </a:lnTo>
                  <a:lnTo>
                    <a:pt x="112" y="117"/>
                  </a:lnTo>
                  <a:lnTo>
                    <a:pt x="112" y="114"/>
                  </a:lnTo>
                  <a:lnTo>
                    <a:pt x="109" y="114"/>
                  </a:lnTo>
                  <a:lnTo>
                    <a:pt x="112" y="114"/>
                  </a:lnTo>
                  <a:lnTo>
                    <a:pt x="109" y="112"/>
                  </a:lnTo>
                  <a:lnTo>
                    <a:pt x="107" y="110"/>
                  </a:lnTo>
                  <a:lnTo>
                    <a:pt x="109" y="110"/>
                  </a:lnTo>
                  <a:lnTo>
                    <a:pt x="107" y="110"/>
                  </a:lnTo>
                  <a:lnTo>
                    <a:pt x="109" y="110"/>
                  </a:lnTo>
                  <a:lnTo>
                    <a:pt x="107" y="110"/>
                  </a:lnTo>
                  <a:lnTo>
                    <a:pt x="107" y="107"/>
                  </a:lnTo>
                  <a:lnTo>
                    <a:pt x="107" y="105"/>
                  </a:lnTo>
                  <a:lnTo>
                    <a:pt x="105" y="105"/>
                  </a:lnTo>
                  <a:lnTo>
                    <a:pt x="107" y="105"/>
                  </a:lnTo>
                  <a:lnTo>
                    <a:pt x="107" y="102"/>
                  </a:lnTo>
                  <a:lnTo>
                    <a:pt x="105" y="102"/>
                  </a:lnTo>
                  <a:lnTo>
                    <a:pt x="107" y="102"/>
                  </a:lnTo>
                  <a:lnTo>
                    <a:pt x="107" y="105"/>
                  </a:lnTo>
                  <a:lnTo>
                    <a:pt x="109" y="105"/>
                  </a:lnTo>
                  <a:lnTo>
                    <a:pt x="109" y="102"/>
                  </a:lnTo>
                  <a:close/>
                  <a:moveTo>
                    <a:pt x="211" y="91"/>
                  </a:moveTo>
                  <a:lnTo>
                    <a:pt x="214" y="91"/>
                  </a:lnTo>
                  <a:lnTo>
                    <a:pt x="214" y="93"/>
                  </a:lnTo>
                  <a:lnTo>
                    <a:pt x="216" y="93"/>
                  </a:lnTo>
                  <a:lnTo>
                    <a:pt x="218" y="93"/>
                  </a:lnTo>
                  <a:lnTo>
                    <a:pt x="218" y="95"/>
                  </a:lnTo>
                  <a:lnTo>
                    <a:pt x="218" y="98"/>
                  </a:lnTo>
                  <a:lnTo>
                    <a:pt x="216" y="100"/>
                  </a:lnTo>
                  <a:lnTo>
                    <a:pt x="218" y="100"/>
                  </a:lnTo>
                  <a:lnTo>
                    <a:pt x="216" y="100"/>
                  </a:lnTo>
                  <a:lnTo>
                    <a:pt x="216" y="102"/>
                  </a:lnTo>
                  <a:lnTo>
                    <a:pt x="214" y="100"/>
                  </a:lnTo>
                  <a:lnTo>
                    <a:pt x="211" y="100"/>
                  </a:lnTo>
                  <a:lnTo>
                    <a:pt x="209" y="100"/>
                  </a:lnTo>
                  <a:lnTo>
                    <a:pt x="209" y="98"/>
                  </a:lnTo>
                  <a:lnTo>
                    <a:pt x="207" y="98"/>
                  </a:lnTo>
                  <a:lnTo>
                    <a:pt x="204" y="98"/>
                  </a:lnTo>
                  <a:lnTo>
                    <a:pt x="204" y="95"/>
                  </a:lnTo>
                  <a:lnTo>
                    <a:pt x="204" y="93"/>
                  </a:lnTo>
                  <a:lnTo>
                    <a:pt x="204" y="91"/>
                  </a:lnTo>
                  <a:lnTo>
                    <a:pt x="204" y="88"/>
                  </a:lnTo>
                  <a:lnTo>
                    <a:pt x="207" y="86"/>
                  </a:lnTo>
                  <a:lnTo>
                    <a:pt x="204" y="86"/>
                  </a:lnTo>
                  <a:lnTo>
                    <a:pt x="207" y="86"/>
                  </a:lnTo>
                  <a:lnTo>
                    <a:pt x="207" y="88"/>
                  </a:lnTo>
                  <a:lnTo>
                    <a:pt x="209" y="88"/>
                  </a:lnTo>
                  <a:lnTo>
                    <a:pt x="211" y="91"/>
                  </a:lnTo>
                  <a:close/>
                  <a:moveTo>
                    <a:pt x="59" y="69"/>
                  </a:moveTo>
                  <a:lnTo>
                    <a:pt x="62" y="69"/>
                  </a:lnTo>
                  <a:lnTo>
                    <a:pt x="62" y="72"/>
                  </a:lnTo>
                  <a:lnTo>
                    <a:pt x="64" y="72"/>
                  </a:lnTo>
                  <a:lnTo>
                    <a:pt x="64" y="74"/>
                  </a:lnTo>
                  <a:lnTo>
                    <a:pt x="67" y="74"/>
                  </a:lnTo>
                  <a:lnTo>
                    <a:pt x="64" y="74"/>
                  </a:lnTo>
                  <a:lnTo>
                    <a:pt x="64" y="76"/>
                  </a:lnTo>
                  <a:lnTo>
                    <a:pt x="62" y="76"/>
                  </a:lnTo>
                  <a:lnTo>
                    <a:pt x="62" y="79"/>
                  </a:lnTo>
                  <a:lnTo>
                    <a:pt x="62" y="76"/>
                  </a:lnTo>
                  <a:lnTo>
                    <a:pt x="64" y="76"/>
                  </a:lnTo>
                  <a:lnTo>
                    <a:pt x="62" y="76"/>
                  </a:lnTo>
                  <a:lnTo>
                    <a:pt x="62" y="79"/>
                  </a:lnTo>
                  <a:lnTo>
                    <a:pt x="64" y="79"/>
                  </a:lnTo>
                  <a:lnTo>
                    <a:pt x="64" y="76"/>
                  </a:lnTo>
                  <a:lnTo>
                    <a:pt x="67" y="76"/>
                  </a:lnTo>
                  <a:lnTo>
                    <a:pt x="69" y="76"/>
                  </a:lnTo>
                  <a:lnTo>
                    <a:pt x="69" y="74"/>
                  </a:lnTo>
                  <a:lnTo>
                    <a:pt x="67" y="74"/>
                  </a:lnTo>
                  <a:lnTo>
                    <a:pt x="69" y="74"/>
                  </a:lnTo>
                  <a:lnTo>
                    <a:pt x="69" y="72"/>
                  </a:lnTo>
                  <a:lnTo>
                    <a:pt x="69" y="69"/>
                  </a:lnTo>
                  <a:lnTo>
                    <a:pt x="69" y="72"/>
                  </a:lnTo>
                  <a:lnTo>
                    <a:pt x="71" y="72"/>
                  </a:lnTo>
                  <a:lnTo>
                    <a:pt x="71" y="74"/>
                  </a:lnTo>
                  <a:lnTo>
                    <a:pt x="71" y="76"/>
                  </a:lnTo>
                  <a:lnTo>
                    <a:pt x="74" y="76"/>
                  </a:lnTo>
                  <a:lnTo>
                    <a:pt x="71" y="76"/>
                  </a:lnTo>
                  <a:lnTo>
                    <a:pt x="71" y="79"/>
                  </a:lnTo>
                  <a:lnTo>
                    <a:pt x="74" y="81"/>
                  </a:lnTo>
                  <a:lnTo>
                    <a:pt x="74" y="83"/>
                  </a:lnTo>
                  <a:lnTo>
                    <a:pt x="76" y="83"/>
                  </a:lnTo>
                  <a:lnTo>
                    <a:pt x="76" y="86"/>
                  </a:lnTo>
                  <a:lnTo>
                    <a:pt x="74" y="86"/>
                  </a:lnTo>
                  <a:lnTo>
                    <a:pt x="74" y="88"/>
                  </a:lnTo>
                  <a:lnTo>
                    <a:pt x="76" y="88"/>
                  </a:lnTo>
                  <a:lnTo>
                    <a:pt x="76" y="91"/>
                  </a:lnTo>
                  <a:lnTo>
                    <a:pt x="76" y="93"/>
                  </a:lnTo>
                  <a:lnTo>
                    <a:pt x="74" y="93"/>
                  </a:lnTo>
                  <a:lnTo>
                    <a:pt x="74" y="95"/>
                  </a:lnTo>
                  <a:lnTo>
                    <a:pt x="74" y="98"/>
                  </a:lnTo>
                  <a:lnTo>
                    <a:pt x="71" y="98"/>
                  </a:lnTo>
                  <a:lnTo>
                    <a:pt x="69" y="98"/>
                  </a:lnTo>
                  <a:lnTo>
                    <a:pt x="67" y="100"/>
                  </a:lnTo>
                  <a:lnTo>
                    <a:pt x="64" y="100"/>
                  </a:lnTo>
                  <a:lnTo>
                    <a:pt x="64" y="98"/>
                  </a:lnTo>
                  <a:lnTo>
                    <a:pt x="64" y="100"/>
                  </a:lnTo>
                  <a:lnTo>
                    <a:pt x="62" y="98"/>
                  </a:lnTo>
                  <a:lnTo>
                    <a:pt x="62" y="100"/>
                  </a:lnTo>
                  <a:lnTo>
                    <a:pt x="62" y="98"/>
                  </a:lnTo>
                  <a:lnTo>
                    <a:pt x="59" y="98"/>
                  </a:lnTo>
                  <a:lnTo>
                    <a:pt x="57" y="98"/>
                  </a:lnTo>
                  <a:lnTo>
                    <a:pt x="57" y="95"/>
                  </a:lnTo>
                  <a:lnTo>
                    <a:pt x="55" y="95"/>
                  </a:lnTo>
                  <a:lnTo>
                    <a:pt x="57" y="95"/>
                  </a:lnTo>
                  <a:lnTo>
                    <a:pt x="57" y="98"/>
                  </a:lnTo>
                  <a:lnTo>
                    <a:pt x="55" y="98"/>
                  </a:lnTo>
                  <a:lnTo>
                    <a:pt x="52" y="95"/>
                  </a:lnTo>
                  <a:lnTo>
                    <a:pt x="52" y="98"/>
                  </a:lnTo>
                  <a:lnTo>
                    <a:pt x="50" y="98"/>
                  </a:lnTo>
                  <a:lnTo>
                    <a:pt x="50" y="95"/>
                  </a:lnTo>
                  <a:lnTo>
                    <a:pt x="52" y="95"/>
                  </a:lnTo>
                  <a:lnTo>
                    <a:pt x="55" y="95"/>
                  </a:lnTo>
                  <a:lnTo>
                    <a:pt x="55" y="93"/>
                  </a:lnTo>
                  <a:lnTo>
                    <a:pt x="52" y="93"/>
                  </a:lnTo>
                  <a:lnTo>
                    <a:pt x="52" y="91"/>
                  </a:lnTo>
                  <a:lnTo>
                    <a:pt x="52" y="93"/>
                  </a:lnTo>
                  <a:lnTo>
                    <a:pt x="50" y="93"/>
                  </a:lnTo>
                  <a:lnTo>
                    <a:pt x="50" y="91"/>
                  </a:lnTo>
                  <a:lnTo>
                    <a:pt x="50" y="93"/>
                  </a:lnTo>
                  <a:lnTo>
                    <a:pt x="50" y="91"/>
                  </a:lnTo>
                  <a:lnTo>
                    <a:pt x="48" y="91"/>
                  </a:lnTo>
                  <a:lnTo>
                    <a:pt x="50" y="91"/>
                  </a:lnTo>
                  <a:lnTo>
                    <a:pt x="48" y="91"/>
                  </a:lnTo>
                  <a:lnTo>
                    <a:pt x="45" y="91"/>
                  </a:lnTo>
                  <a:lnTo>
                    <a:pt x="45" y="88"/>
                  </a:lnTo>
                  <a:lnTo>
                    <a:pt x="45" y="86"/>
                  </a:lnTo>
                  <a:lnTo>
                    <a:pt x="45" y="83"/>
                  </a:lnTo>
                  <a:lnTo>
                    <a:pt x="43" y="83"/>
                  </a:lnTo>
                  <a:lnTo>
                    <a:pt x="41" y="83"/>
                  </a:lnTo>
                  <a:lnTo>
                    <a:pt x="41" y="81"/>
                  </a:lnTo>
                  <a:lnTo>
                    <a:pt x="43" y="81"/>
                  </a:lnTo>
                  <a:lnTo>
                    <a:pt x="41" y="81"/>
                  </a:lnTo>
                  <a:lnTo>
                    <a:pt x="43" y="81"/>
                  </a:lnTo>
                  <a:lnTo>
                    <a:pt x="43" y="79"/>
                  </a:lnTo>
                  <a:lnTo>
                    <a:pt x="43" y="81"/>
                  </a:lnTo>
                  <a:lnTo>
                    <a:pt x="43" y="79"/>
                  </a:lnTo>
                  <a:lnTo>
                    <a:pt x="41" y="79"/>
                  </a:lnTo>
                  <a:lnTo>
                    <a:pt x="38" y="76"/>
                  </a:lnTo>
                  <a:lnTo>
                    <a:pt x="41" y="76"/>
                  </a:lnTo>
                  <a:lnTo>
                    <a:pt x="41" y="79"/>
                  </a:lnTo>
                  <a:lnTo>
                    <a:pt x="43" y="79"/>
                  </a:lnTo>
                  <a:lnTo>
                    <a:pt x="41" y="79"/>
                  </a:lnTo>
                  <a:lnTo>
                    <a:pt x="41" y="76"/>
                  </a:lnTo>
                  <a:lnTo>
                    <a:pt x="43" y="79"/>
                  </a:lnTo>
                  <a:lnTo>
                    <a:pt x="43" y="76"/>
                  </a:lnTo>
                  <a:lnTo>
                    <a:pt x="41" y="76"/>
                  </a:lnTo>
                  <a:lnTo>
                    <a:pt x="38" y="76"/>
                  </a:lnTo>
                  <a:lnTo>
                    <a:pt x="38" y="74"/>
                  </a:lnTo>
                  <a:lnTo>
                    <a:pt x="41" y="74"/>
                  </a:lnTo>
                  <a:lnTo>
                    <a:pt x="41" y="76"/>
                  </a:lnTo>
                  <a:lnTo>
                    <a:pt x="41" y="74"/>
                  </a:lnTo>
                  <a:lnTo>
                    <a:pt x="43" y="74"/>
                  </a:lnTo>
                  <a:lnTo>
                    <a:pt x="45" y="74"/>
                  </a:lnTo>
                  <a:lnTo>
                    <a:pt x="48" y="74"/>
                  </a:lnTo>
                  <a:lnTo>
                    <a:pt x="50" y="74"/>
                  </a:lnTo>
                  <a:lnTo>
                    <a:pt x="50" y="72"/>
                  </a:lnTo>
                  <a:lnTo>
                    <a:pt x="52" y="72"/>
                  </a:lnTo>
                  <a:lnTo>
                    <a:pt x="50" y="72"/>
                  </a:lnTo>
                  <a:lnTo>
                    <a:pt x="52" y="72"/>
                  </a:lnTo>
                  <a:lnTo>
                    <a:pt x="55" y="72"/>
                  </a:lnTo>
                  <a:lnTo>
                    <a:pt x="57" y="69"/>
                  </a:lnTo>
                  <a:lnTo>
                    <a:pt x="59" y="69"/>
                  </a:lnTo>
                  <a:lnTo>
                    <a:pt x="57" y="69"/>
                  </a:lnTo>
                  <a:lnTo>
                    <a:pt x="57" y="72"/>
                  </a:lnTo>
                  <a:lnTo>
                    <a:pt x="59" y="72"/>
                  </a:lnTo>
                  <a:lnTo>
                    <a:pt x="59" y="69"/>
                  </a:lnTo>
                  <a:lnTo>
                    <a:pt x="57" y="69"/>
                  </a:lnTo>
                  <a:lnTo>
                    <a:pt x="59" y="69"/>
                  </a:lnTo>
                  <a:close/>
                  <a:moveTo>
                    <a:pt x="12" y="0"/>
                  </a:moveTo>
                  <a:lnTo>
                    <a:pt x="12" y="3"/>
                  </a:lnTo>
                  <a:lnTo>
                    <a:pt x="12" y="5"/>
                  </a:lnTo>
                  <a:lnTo>
                    <a:pt x="10" y="5"/>
                  </a:lnTo>
                  <a:lnTo>
                    <a:pt x="10" y="7"/>
                  </a:lnTo>
                  <a:lnTo>
                    <a:pt x="12" y="10"/>
                  </a:lnTo>
                  <a:lnTo>
                    <a:pt x="10" y="10"/>
                  </a:lnTo>
                  <a:lnTo>
                    <a:pt x="12" y="10"/>
                  </a:lnTo>
                  <a:lnTo>
                    <a:pt x="10" y="10"/>
                  </a:lnTo>
                  <a:lnTo>
                    <a:pt x="10" y="12"/>
                  </a:lnTo>
                  <a:lnTo>
                    <a:pt x="10" y="15"/>
                  </a:lnTo>
                  <a:lnTo>
                    <a:pt x="7" y="15"/>
                  </a:lnTo>
                  <a:lnTo>
                    <a:pt x="5" y="15"/>
                  </a:lnTo>
                  <a:lnTo>
                    <a:pt x="5" y="17"/>
                  </a:lnTo>
                  <a:lnTo>
                    <a:pt x="5" y="15"/>
                  </a:lnTo>
                  <a:lnTo>
                    <a:pt x="3" y="15"/>
                  </a:lnTo>
                  <a:lnTo>
                    <a:pt x="3" y="12"/>
                  </a:lnTo>
                  <a:lnTo>
                    <a:pt x="3" y="15"/>
                  </a:lnTo>
                  <a:lnTo>
                    <a:pt x="5" y="15"/>
                  </a:lnTo>
                  <a:lnTo>
                    <a:pt x="3" y="15"/>
                  </a:lnTo>
                  <a:lnTo>
                    <a:pt x="3" y="12"/>
                  </a:lnTo>
                  <a:lnTo>
                    <a:pt x="0" y="12"/>
                  </a:lnTo>
                  <a:lnTo>
                    <a:pt x="0" y="10"/>
                  </a:lnTo>
                  <a:lnTo>
                    <a:pt x="3" y="10"/>
                  </a:lnTo>
                  <a:lnTo>
                    <a:pt x="5" y="10"/>
                  </a:lnTo>
                  <a:lnTo>
                    <a:pt x="5" y="7"/>
                  </a:lnTo>
                  <a:lnTo>
                    <a:pt x="3" y="7"/>
                  </a:lnTo>
                  <a:lnTo>
                    <a:pt x="5" y="7"/>
                  </a:lnTo>
                  <a:lnTo>
                    <a:pt x="3" y="7"/>
                  </a:lnTo>
                  <a:lnTo>
                    <a:pt x="5" y="5"/>
                  </a:lnTo>
                  <a:lnTo>
                    <a:pt x="3" y="5"/>
                  </a:lnTo>
                  <a:lnTo>
                    <a:pt x="5" y="5"/>
                  </a:lnTo>
                  <a:lnTo>
                    <a:pt x="7" y="5"/>
                  </a:lnTo>
                  <a:lnTo>
                    <a:pt x="10" y="3"/>
                  </a:lnTo>
                  <a:lnTo>
                    <a:pt x="12" y="0"/>
                  </a:lnTo>
                  <a:lnTo>
                    <a:pt x="14"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5" name="Freeform 50288"/>
            <p:cNvSpPr>
              <a:spLocks noEditPoints="1"/>
            </p:cNvSpPr>
            <p:nvPr/>
          </p:nvSpPr>
          <p:spPr bwMode="auto">
            <a:xfrm>
              <a:off x="2451098" y="4083064"/>
              <a:ext cx="236538" cy="241300"/>
            </a:xfrm>
            <a:custGeom>
              <a:avLst/>
              <a:gdLst>
                <a:gd name="T0" fmla="*/ 147 w 149"/>
                <a:gd name="T1" fmla="*/ 95 h 152"/>
                <a:gd name="T2" fmla="*/ 147 w 149"/>
                <a:gd name="T3" fmla="*/ 107 h 152"/>
                <a:gd name="T4" fmla="*/ 135 w 149"/>
                <a:gd name="T5" fmla="*/ 119 h 152"/>
                <a:gd name="T6" fmla="*/ 135 w 149"/>
                <a:gd name="T7" fmla="*/ 128 h 152"/>
                <a:gd name="T8" fmla="*/ 133 w 149"/>
                <a:gd name="T9" fmla="*/ 135 h 152"/>
                <a:gd name="T10" fmla="*/ 126 w 149"/>
                <a:gd name="T11" fmla="*/ 140 h 152"/>
                <a:gd name="T12" fmla="*/ 121 w 149"/>
                <a:gd name="T13" fmla="*/ 133 h 152"/>
                <a:gd name="T14" fmla="*/ 109 w 149"/>
                <a:gd name="T15" fmla="*/ 131 h 152"/>
                <a:gd name="T16" fmla="*/ 97 w 149"/>
                <a:gd name="T17" fmla="*/ 114 h 152"/>
                <a:gd name="T18" fmla="*/ 95 w 149"/>
                <a:gd name="T19" fmla="*/ 104 h 152"/>
                <a:gd name="T20" fmla="*/ 107 w 149"/>
                <a:gd name="T21" fmla="*/ 102 h 152"/>
                <a:gd name="T22" fmla="*/ 109 w 149"/>
                <a:gd name="T23" fmla="*/ 93 h 152"/>
                <a:gd name="T24" fmla="*/ 121 w 149"/>
                <a:gd name="T25" fmla="*/ 90 h 152"/>
                <a:gd name="T26" fmla="*/ 119 w 149"/>
                <a:gd name="T27" fmla="*/ 104 h 152"/>
                <a:gd name="T28" fmla="*/ 128 w 149"/>
                <a:gd name="T29" fmla="*/ 97 h 152"/>
                <a:gd name="T30" fmla="*/ 128 w 149"/>
                <a:gd name="T31" fmla="*/ 107 h 152"/>
                <a:gd name="T32" fmla="*/ 130 w 149"/>
                <a:gd name="T33" fmla="*/ 104 h 152"/>
                <a:gd name="T34" fmla="*/ 128 w 149"/>
                <a:gd name="T35" fmla="*/ 88 h 152"/>
                <a:gd name="T36" fmla="*/ 71 w 149"/>
                <a:gd name="T37" fmla="*/ 40 h 152"/>
                <a:gd name="T38" fmla="*/ 64 w 149"/>
                <a:gd name="T39" fmla="*/ 55 h 152"/>
                <a:gd name="T40" fmla="*/ 73 w 149"/>
                <a:gd name="T41" fmla="*/ 57 h 152"/>
                <a:gd name="T42" fmla="*/ 73 w 149"/>
                <a:gd name="T43" fmla="*/ 59 h 152"/>
                <a:gd name="T44" fmla="*/ 95 w 149"/>
                <a:gd name="T45" fmla="*/ 66 h 152"/>
                <a:gd name="T46" fmla="*/ 83 w 149"/>
                <a:gd name="T47" fmla="*/ 81 h 152"/>
                <a:gd name="T48" fmla="*/ 73 w 149"/>
                <a:gd name="T49" fmla="*/ 81 h 152"/>
                <a:gd name="T50" fmla="*/ 69 w 149"/>
                <a:gd name="T51" fmla="*/ 81 h 152"/>
                <a:gd name="T52" fmla="*/ 66 w 149"/>
                <a:gd name="T53" fmla="*/ 97 h 152"/>
                <a:gd name="T54" fmla="*/ 64 w 149"/>
                <a:gd name="T55" fmla="*/ 102 h 152"/>
                <a:gd name="T56" fmla="*/ 50 w 149"/>
                <a:gd name="T57" fmla="*/ 107 h 152"/>
                <a:gd name="T58" fmla="*/ 50 w 149"/>
                <a:gd name="T59" fmla="*/ 116 h 152"/>
                <a:gd name="T60" fmla="*/ 52 w 149"/>
                <a:gd name="T61" fmla="*/ 126 h 152"/>
                <a:gd name="T62" fmla="*/ 50 w 149"/>
                <a:gd name="T63" fmla="*/ 131 h 152"/>
                <a:gd name="T64" fmla="*/ 47 w 149"/>
                <a:gd name="T65" fmla="*/ 138 h 152"/>
                <a:gd name="T66" fmla="*/ 52 w 149"/>
                <a:gd name="T67" fmla="*/ 147 h 152"/>
                <a:gd name="T68" fmla="*/ 40 w 149"/>
                <a:gd name="T69" fmla="*/ 150 h 152"/>
                <a:gd name="T70" fmla="*/ 17 w 149"/>
                <a:gd name="T71" fmla="*/ 145 h 152"/>
                <a:gd name="T72" fmla="*/ 12 w 149"/>
                <a:gd name="T73" fmla="*/ 135 h 152"/>
                <a:gd name="T74" fmla="*/ 19 w 149"/>
                <a:gd name="T75" fmla="*/ 133 h 152"/>
                <a:gd name="T76" fmla="*/ 9 w 149"/>
                <a:gd name="T77" fmla="*/ 114 h 152"/>
                <a:gd name="T78" fmla="*/ 2 w 149"/>
                <a:gd name="T79" fmla="*/ 102 h 152"/>
                <a:gd name="T80" fmla="*/ 0 w 149"/>
                <a:gd name="T81" fmla="*/ 71 h 152"/>
                <a:gd name="T82" fmla="*/ 5 w 149"/>
                <a:gd name="T83" fmla="*/ 59 h 152"/>
                <a:gd name="T84" fmla="*/ 17 w 149"/>
                <a:gd name="T85" fmla="*/ 59 h 152"/>
                <a:gd name="T86" fmla="*/ 21 w 149"/>
                <a:gd name="T87" fmla="*/ 62 h 152"/>
                <a:gd name="T88" fmla="*/ 28 w 149"/>
                <a:gd name="T89" fmla="*/ 50 h 152"/>
                <a:gd name="T90" fmla="*/ 33 w 149"/>
                <a:gd name="T91" fmla="*/ 59 h 152"/>
                <a:gd name="T92" fmla="*/ 40 w 149"/>
                <a:gd name="T93" fmla="*/ 62 h 152"/>
                <a:gd name="T94" fmla="*/ 38 w 149"/>
                <a:gd name="T95" fmla="*/ 40 h 152"/>
                <a:gd name="T96" fmla="*/ 57 w 149"/>
                <a:gd name="T97" fmla="*/ 36 h 152"/>
                <a:gd name="T98" fmla="*/ 81 w 149"/>
                <a:gd name="T99" fmla="*/ 19 h 152"/>
                <a:gd name="T100" fmla="*/ 73 w 149"/>
                <a:gd name="T101" fmla="*/ 38 h 152"/>
                <a:gd name="T102" fmla="*/ 57 w 149"/>
                <a:gd name="T103" fmla="*/ 33 h 152"/>
                <a:gd name="T104" fmla="*/ 38 w 149"/>
                <a:gd name="T105" fmla="*/ 40 h 152"/>
                <a:gd name="T106" fmla="*/ 21 w 149"/>
                <a:gd name="T107" fmla="*/ 40 h 152"/>
                <a:gd name="T108" fmla="*/ 12 w 149"/>
                <a:gd name="T109" fmla="*/ 55 h 152"/>
                <a:gd name="T110" fmla="*/ 7 w 149"/>
                <a:gd name="T111" fmla="*/ 50 h 152"/>
                <a:gd name="T112" fmla="*/ 19 w 149"/>
                <a:gd name="T113" fmla="*/ 33 h 152"/>
                <a:gd name="T114" fmla="*/ 50 w 149"/>
                <a:gd name="T115" fmla="*/ 24 h 152"/>
                <a:gd name="T116" fmla="*/ 71 w 149"/>
                <a:gd name="T117"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152">
                  <a:moveTo>
                    <a:pt x="140" y="83"/>
                  </a:moveTo>
                  <a:lnTo>
                    <a:pt x="140" y="85"/>
                  </a:lnTo>
                  <a:lnTo>
                    <a:pt x="142" y="85"/>
                  </a:lnTo>
                  <a:lnTo>
                    <a:pt x="145" y="85"/>
                  </a:lnTo>
                  <a:lnTo>
                    <a:pt x="147" y="85"/>
                  </a:lnTo>
                  <a:lnTo>
                    <a:pt x="147" y="88"/>
                  </a:lnTo>
                  <a:lnTo>
                    <a:pt x="149" y="88"/>
                  </a:lnTo>
                  <a:lnTo>
                    <a:pt x="149" y="90"/>
                  </a:lnTo>
                  <a:lnTo>
                    <a:pt x="147" y="90"/>
                  </a:lnTo>
                  <a:lnTo>
                    <a:pt x="147" y="93"/>
                  </a:lnTo>
                  <a:lnTo>
                    <a:pt x="145" y="93"/>
                  </a:lnTo>
                  <a:lnTo>
                    <a:pt x="147" y="93"/>
                  </a:lnTo>
                  <a:lnTo>
                    <a:pt x="145" y="95"/>
                  </a:lnTo>
                  <a:lnTo>
                    <a:pt x="147" y="95"/>
                  </a:lnTo>
                  <a:lnTo>
                    <a:pt x="147" y="97"/>
                  </a:lnTo>
                  <a:lnTo>
                    <a:pt x="147" y="100"/>
                  </a:lnTo>
                  <a:lnTo>
                    <a:pt x="149" y="102"/>
                  </a:lnTo>
                  <a:lnTo>
                    <a:pt x="147" y="102"/>
                  </a:lnTo>
                  <a:lnTo>
                    <a:pt x="149" y="102"/>
                  </a:lnTo>
                  <a:lnTo>
                    <a:pt x="147" y="102"/>
                  </a:lnTo>
                  <a:lnTo>
                    <a:pt x="147" y="104"/>
                  </a:lnTo>
                  <a:lnTo>
                    <a:pt x="149" y="104"/>
                  </a:lnTo>
                  <a:lnTo>
                    <a:pt x="147" y="104"/>
                  </a:lnTo>
                  <a:lnTo>
                    <a:pt x="149" y="104"/>
                  </a:lnTo>
                  <a:lnTo>
                    <a:pt x="149" y="107"/>
                  </a:lnTo>
                  <a:lnTo>
                    <a:pt x="147" y="107"/>
                  </a:lnTo>
                  <a:lnTo>
                    <a:pt x="147" y="109"/>
                  </a:lnTo>
                  <a:lnTo>
                    <a:pt x="147" y="107"/>
                  </a:lnTo>
                  <a:lnTo>
                    <a:pt x="147" y="109"/>
                  </a:lnTo>
                  <a:lnTo>
                    <a:pt x="145" y="109"/>
                  </a:lnTo>
                  <a:lnTo>
                    <a:pt x="145" y="112"/>
                  </a:lnTo>
                  <a:lnTo>
                    <a:pt x="142" y="109"/>
                  </a:lnTo>
                  <a:lnTo>
                    <a:pt x="140" y="109"/>
                  </a:lnTo>
                  <a:lnTo>
                    <a:pt x="142" y="109"/>
                  </a:lnTo>
                  <a:lnTo>
                    <a:pt x="140" y="112"/>
                  </a:lnTo>
                  <a:lnTo>
                    <a:pt x="138" y="112"/>
                  </a:lnTo>
                  <a:lnTo>
                    <a:pt x="138" y="114"/>
                  </a:lnTo>
                  <a:lnTo>
                    <a:pt x="135" y="114"/>
                  </a:lnTo>
                  <a:lnTo>
                    <a:pt x="135" y="116"/>
                  </a:lnTo>
                  <a:lnTo>
                    <a:pt x="135" y="114"/>
                  </a:lnTo>
                  <a:lnTo>
                    <a:pt x="135" y="116"/>
                  </a:lnTo>
                  <a:lnTo>
                    <a:pt x="135" y="119"/>
                  </a:lnTo>
                  <a:lnTo>
                    <a:pt x="138" y="119"/>
                  </a:lnTo>
                  <a:lnTo>
                    <a:pt x="138" y="121"/>
                  </a:lnTo>
                  <a:lnTo>
                    <a:pt x="140" y="121"/>
                  </a:lnTo>
                  <a:lnTo>
                    <a:pt x="142" y="121"/>
                  </a:lnTo>
                  <a:lnTo>
                    <a:pt x="142" y="123"/>
                  </a:lnTo>
                  <a:lnTo>
                    <a:pt x="145" y="123"/>
                  </a:lnTo>
                  <a:lnTo>
                    <a:pt x="142" y="123"/>
                  </a:lnTo>
                  <a:lnTo>
                    <a:pt x="142" y="126"/>
                  </a:lnTo>
                  <a:lnTo>
                    <a:pt x="145" y="126"/>
                  </a:lnTo>
                  <a:lnTo>
                    <a:pt x="142" y="126"/>
                  </a:lnTo>
                  <a:lnTo>
                    <a:pt x="142" y="128"/>
                  </a:lnTo>
                  <a:lnTo>
                    <a:pt x="140" y="128"/>
                  </a:lnTo>
                  <a:lnTo>
                    <a:pt x="138" y="128"/>
                  </a:lnTo>
                  <a:lnTo>
                    <a:pt x="135" y="128"/>
                  </a:lnTo>
                  <a:lnTo>
                    <a:pt x="135" y="131"/>
                  </a:lnTo>
                  <a:lnTo>
                    <a:pt x="133" y="131"/>
                  </a:lnTo>
                  <a:lnTo>
                    <a:pt x="133" y="133"/>
                  </a:lnTo>
                  <a:lnTo>
                    <a:pt x="130" y="135"/>
                  </a:lnTo>
                  <a:lnTo>
                    <a:pt x="130" y="133"/>
                  </a:lnTo>
                  <a:lnTo>
                    <a:pt x="133" y="133"/>
                  </a:lnTo>
                  <a:lnTo>
                    <a:pt x="130" y="133"/>
                  </a:lnTo>
                  <a:lnTo>
                    <a:pt x="128" y="133"/>
                  </a:lnTo>
                  <a:lnTo>
                    <a:pt x="130" y="133"/>
                  </a:lnTo>
                  <a:lnTo>
                    <a:pt x="130" y="135"/>
                  </a:lnTo>
                  <a:lnTo>
                    <a:pt x="133" y="135"/>
                  </a:lnTo>
                  <a:lnTo>
                    <a:pt x="135" y="135"/>
                  </a:lnTo>
                  <a:lnTo>
                    <a:pt x="133" y="138"/>
                  </a:lnTo>
                  <a:lnTo>
                    <a:pt x="133" y="135"/>
                  </a:lnTo>
                  <a:lnTo>
                    <a:pt x="133" y="138"/>
                  </a:lnTo>
                  <a:lnTo>
                    <a:pt x="133" y="140"/>
                  </a:lnTo>
                  <a:lnTo>
                    <a:pt x="135" y="140"/>
                  </a:lnTo>
                  <a:lnTo>
                    <a:pt x="135" y="142"/>
                  </a:lnTo>
                  <a:lnTo>
                    <a:pt x="133" y="140"/>
                  </a:lnTo>
                  <a:lnTo>
                    <a:pt x="133" y="142"/>
                  </a:lnTo>
                  <a:lnTo>
                    <a:pt x="133" y="140"/>
                  </a:lnTo>
                  <a:lnTo>
                    <a:pt x="133" y="142"/>
                  </a:lnTo>
                  <a:lnTo>
                    <a:pt x="133" y="140"/>
                  </a:lnTo>
                  <a:lnTo>
                    <a:pt x="133" y="142"/>
                  </a:lnTo>
                  <a:lnTo>
                    <a:pt x="130" y="142"/>
                  </a:lnTo>
                  <a:lnTo>
                    <a:pt x="128" y="142"/>
                  </a:lnTo>
                  <a:lnTo>
                    <a:pt x="128" y="140"/>
                  </a:lnTo>
                  <a:lnTo>
                    <a:pt x="126" y="140"/>
                  </a:lnTo>
                  <a:lnTo>
                    <a:pt x="126" y="142"/>
                  </a:lnTo>
                  <a:lnTo>
                    <a:pt x="126" y="140"/>
                  </a:lnTo>
                  <a:lnTo>
                    <a:pt x="123" y="140"/>
                  </a:lnTo>
                  <a:lnTo>
                    <a:pt x="121" y="138"/>
                  </a:lnTo>
                  <a:lnTo>
                    <a:pt x="119" y="138"/>
                  </a:lnTo>
                  <a:lnTo>
                    <a:pt x="121" y="138"/>
                  </a:lnTo>
                  <a:lnTo>
                    <a:pt x="123" y="138"/>
                  </a:lnTo>
                  <a:lnTo>
                    <a:pt x="121" y="138"/>
                  </a:lnTo>
                  <a:lnTo>
                    <a:pt x="121" y="135"/>
                  </a:lnTo>
                  <a:lnTo>
                    <a:pt x="119" y="135"/>
                  </a:lnTo>
                  <a:lnTo>
                    <a:pt x="121" y="135"/>
                  </a:lnTo>
                  <a:lnTo>
                    <a:pt x="123" y="135"/>
                  </a:lnTo>
                  <a:lnTo>
                    <a:pt x="123" y="133"/>
                  </a:lnTo>
                  <a:lnTo>
                    <a:pt x="121" y="133"/>
                  </a:lnTo>
                  <a:lnTo>
                    <a:pt x="119" y="133"/>
                  </a:lnTo>
                  <a:lnTo>
                    <a:pt x="121" y="133"/>
                  </a:lnTo>
                  <a:lnTo>
                    <a:pt x="121" y="131"/>
                  </a:lnTo>
                  <a:lnTo>
                    <a:pt x="119" y="131"/>
                  </a:lnTo>
                  <a:lnTo>
                    <a:pt x="121" y="131"/>
                  </a:lnTo>
                  <a:lnTo>
                    <a:pt x="119" y="131"/>
                  </a:lnTo>
                  <a:lnTo>
                    <a:pt x="116" y="131"/>
                  </a:lnTo>
                  <a:lnTo>
                    <a:pt x="116" y="133"/>
                  </a:lnTo>
                  <a:lnTo>
                    <a:pt x="119" y="133"/>
                  </a:lnTo>
                  <a:lnTo>
                    <a:pt x="116" y="133"/>
                  </a:lnTo>
                  <a:lnTo>
                    <a:pt x="116" y="131"/>
                  </a:lnTo>
                  <a:lnTo>
                    <a:pt x="114" y="131"/>
                  </a:lnTo>
                  <a:lnTo>
                    <a:pt x="111" y="131"/>
                  </a:lnTo>
                  <a:lnTo>
                    <a:pt x="109" y="131"/>
                  </a:lnTo>
                  <a:lnTo>
                    <a:pt x="107" y="131"/>
                  </a:lnTo>
                  <a:lnTo>
                    <a:pt x="104" y="131"/>
                  </a:lnTo>
                  <a:lnTo>
                    <a:pt x="104" y="128"/>
                  </a:lnTo>
                  <a:lnTo>
                    <a:pt x="104" y="126"/>
                  </a:lnTo>
                  <a:lnTo>
                    <a:pt x="102" y="126"/>
                  </a:lnTo>
                  <a:lnTo>
                    <a:pt x="100" y="126"/>
                  </a:lnTo>
                  <a:lnTo>
                    <a:pt x="100" y="123"/>
                  </a:lnTo>
                  <a:lnTo>
                    <a:pt x="100" y="121"/>
                  </a:lnTo>
                  <a:lnTo>
                    <a:pt x="100" y="123"/>
                  </a:lnTo>
                  <a:lnTo>
                    <a:pt x="102" y="121"/>
                  </a:lnTo>
                  <a:lnTo>
                    <a:pt x="102" y="119"/>
                  </a:lnTo>
                  <a:lnTo>
                    <a:pt x="102" y="116"/>
                  </a:lnTo>
                  <a:lnTo>
                    <a:pt x="100" y="114"/>
                  </a:lnTo>
                  <a:lnTo>
                    <a:pt x="97" y="114"/>
                  </a:lnTo>
                  <a:lnTo>
                    <a:pt x="100" y="114"/>
                  </a:lnTo>
                  <a:lnTo>
                    <a:pt x="102" y="112"/>
                  </a:lnTo>
                  <a:lnTo>
                    <a:pt x="100" y="112"/>
                  </a:lnTo>
                  <a:lnTo>
                    <a:pt x="100" y="109"/>
                  </a:lnTo>
                  <a:lnTo>
                    <a:pt x="97" y="109"/>
                  </a:lnTo>
                  <a:lnTo>
                    <a:pt x="97" y="107"/>
                  </a:lnTo>
                  <a:lnTo>
                    <a:pt x="95" y="107"/>
                  </a:lnTo>
                  <a:lnTo>
                    <a:pt x="92" y="107"/>
                  </a:lnTo>
                  <a:lnTo>
                    <a:pt x="95" y="107"/>
                  </a:lnTo>
                  <a:lnTo>
                    <a:pt x="97" y="107"/>
                  </a:lnTo>
                  <a:lnTo>
                    <a:pt x="100" y="107"/>
                  </a:lnTo>
                  <a:lnTo>
                    <a:pt x="97" y="107"/>
                  </a:lnTo>
                  <a:lnTo>
                    <a:pt x="97" y="104"/>
                  </a:lnTo>
                  <a:lnTo>
                    <a:pt x="95" y="104"/>
                  </a:lnTo>
                  <a:lnTo>
                    <a:pt x="92" y="104"/>
                  </a:lnTo>
                  <a:lnTo>
                    <a:pt x="92" y="102"/>
                  </a:lnTo>
                  <a:lnTo>
                    <a:pt x="95" y="102"/>
                  </a:lnTo>
                  <a:lnTo>
                    <a:pt x="95" y="104"/>
                  </a:lnTo>
                  <a:lnTo>
                    <a:pt x="97" y="104"/>
                  </a:lnTo>
                  <a:lnTo>
                    <a:pt x="100" y="102"/>
                  </a:lnTo>
                  <a:lnTo>
                    <a:pt x="102" y="102"/>
                  </a:lnTo>
                  <a:lnTo>
                    <a:pt x="102" y="104"/>
                  </a:lnTo>
                  <a:lnTo>
                    <a:pt x="102" y="102"/>
                  </a:lnTo>
                  <a:lnTo>
                    <a:pt x="104" y="104"/>
                  </a:lnTo>
                  <a:lnTo>
                    <a:pt x="104" y="102"/>
                  </a:lnTo>
                  <a:lnTo>
                    <a:pt x="107" y="102"/>
                  </a:lnTo>
                  <a:lnTo>
                    <a:pt x="104" y="102"/>
                  </a:lnTo>
                  <a:lnTo>
                    <a:pt x="107" y="102"/>
                  </a:lnTo>
                  <a:lnTo>
                    <a:pt x="109" y="102"/>
                  </a:lnTo>
                  <a:lnTo>
                    <a:pt x="109" y="100"/>
                  </a:lnTo>
                  <a:lnTo>
                    <a:pt x="107" y="97"/>
                  </a:lnTo>
                  <a:lnTo>
                    <a:pt x="109" y="97"/>
                  </a:lnTo>
                  <a:lnTo>
                    <a:pt x="109" y="100"/>
                  </a:lnTo>
                  <a:lnTo>
                    <a:pt x="109" y="97"/>
                  </a:lnTo>
                  <a:lnTo>
                    <a:pt x="111" y="97"/>
                  </a:lnTo>
                  <a:lnTo>
                    <a:pt x="114" y="97"/>
                  </a:lnTo>
                  <a:lnTo>
                    <a:pt x="114" y="95"/>
                  </a:lnTo>
                  <a:lnTo>
                    <a:pt x="114" y="97"/>
                  </a:lnTo>
                  <a:lnTo>
                    <a:pt x="114" y="95"/>
                  </a:lnTo>
                  <a:lnTo>
                    <a:pt x="114" y="93"/>
                  </a:lnTo>
                  <a:lnTo>
                    <a:pt x="111" y="93"/>
                  </a:lnTo>
                  <a:lnTo>
                    <a:pt x="109" y="93"/>
                  </a:lnTo>
                  <a:lnTo>
                    <a:pt x="107" y="93"/>
                  </a:lnTo>
                  <a:lnTo>
                    <a:pt x="107" y="90"/>
                  </a:lnTo>
                  <a:lnTo>
                    <a:pt x="107" y="93"/>
                  </a:lnTo>
                  <a:lnTo>
                    <a:pt x="104" y="93"/>
                  </a:lnTo>
                  <a:lnTo>
                    <a:pt x="104" y="90"/>
                  </a:lnTo>
                  <a:lnTo>
                    <a:pt x="107" y="90"/>
                  </a:lnTo>
                  <a:lnTo>
                    <a:pt x="107" y="93"/>
                  </a:lnTo>
                  <a:lnTo>
                    <a:pt x="109" y="93"/>
                  </a:lnTo>
                  <a:lnTo>
                    <a:pt x="111" y="93"/>
                  </a:lnTo>
                  <a:lnTo>
                    <a:pt x="114" y="93"/>
                  </a:lnTo>
                  <a:lnTo>
                    <a:pt x="116" y="93"/>
                  </a:lnTo>
                  <a:lnTo>
                    <a:pt x="119" y="93"/>
                  </a:lnTo>
                  <a:lnTo>
                    <a:pt x="121" y="93"/>
                  </a:lnTo>
                  <a:lnTo>
                    <a:pt x="121" y="90"/>
                  </a:lnTo>
                  <a:lnTo>
                    <a:pt x="121" y="93"/>
                  </a:lnTo>
                  <a:lnTo>
                    <a:pt x="121" y="95"/>
                  </a:lnTo>
                  <a:lnTo>
                    <a:pt x="119" y="95"/>
                  </a:lnTo>
                  <a:lnTo>
                    <a:pt x="119" y="97"/>
                  </a:lnTo>
                  <a:lnTo>
                    <a:pt x="121" y="100"/>
                  </a:lnTo>
                  <a:lnTo>
                    <a:pt x="119" y="100"/>
                  </a:lnTo>
                  <a:lnTo>
                    <a:pt x="116" y="100"/>
                  </a:lnTo>
                  <a:lnTo>
                    <a:pt x="116" y="102"/>
                  </a:lnTo>
                  <a:lnTo>
                    <a:pt x="119" y="102"/>
                  </a:lnTo>
                  <a:lnTo>
                    <a:pt x="119" y="100"/>
                  </a:lnTo>
                  <a:lnTo>
                    <a:pt x="121" y="100"/>
                  </a:lnTo>
                  <a:lnTo>
                    <a:pt x="121" y="102"/>
                  </a:lnTo>
                  <a:lnTo>
                    <a:pt x="121" y="104"/>
                  </a:lnTo>
                  <a:lnTo>
                    <a:pt x="119" y="104"/>
                  </a:lnTo>
                  <a:lnTo>
                    <a:pt x="116" y="104"/>
                  </a:lnTo>
                  <a:lnTo>
                    <a:pt x="119" y="104"/>
                  </a:lnTo>
                  <a:lnTo>
                    <a:pt x="121" y="104"/>
                  </a:lnTo>
                  <a:lnTo>
                    <a:pt x="123" y="107"/>
                  </a:lnTo>
                  <a:lnTo>
                    <a:pt x="121" y="107"/>
                  </a:lnTo>
                  <a:lnTo>
                    <a:pt x="123" y="107"/>
                  </a:lnTo>
                  <a:lnTo>
                    <a:pt x="121" y="107"/>
                  </a:lnTo>
                  <a:lnTo>
                    <a:pt x="123" y="107"/>
                  </a:lnTo>
                  <a:lnTo>
                    <a:pt x="123" y="104"/>
                  </a:lnTo>
                  <a:lnTo>
                    <a:pt x="123" y="102"/>
                  </a:lnTo>
                  <a:lnTo>
                    <a:pt x="123" y="100"/>
                  </a:lnTo>
                  <a:lnTo>
                    <a:pt x="126" y="100"/>
                  </a:lnTo>
                  <a:lnTo>
                    <a:pt x="128" y="100"/>
                  </a:lnTo>
                  <a:lnTo>
                    <a:pt x="128" y="97"/>
                  </a:lnTo>
                  <a:lnTo>
                    <a:pt x="126" y="97"/>
                  </a:lnTo>
                  <a:lnTo>
                    <a:pt x="126" y="95"/>
                  </a:lnTo>
                  <a:lnTo>
                    <a:pt x="126" y="93"/>
                  </a:lnTo>
                  <a:lnTo>
                    <a:pt x="128" y="93"/>
                  </a:lnTo>
                  <a:lnTo>
                    <a:pt x="128" y="95"/>
                  </a:lnTo>
                  <a:lnTo>
                    <a:pt x="130" y="95"/>
                  </a:lnTo>
                  <a:lnTo>
                    <a:pt x="128" y="95"/>
                  </a:lnTo>
                  <a:lnTo>
                    <a:pt x="128" y="97"/>
                  </a:lnTo>
                  <a:lnTo>
                    <a:pt x="130" y="97"/>
                  </a:lnTo>
                  <a:lnTo>
                    <a:pt x="130" y="100"/>
                  </a:lnTo>
                  <a:lnTo>
                    <a:pt x="130" y="102"/>
                  </a:lnTo>
                  <a:lnTo>
                    <a:pt x="130" y="104"/>
                  </a:lnTo>
                  <a:lnTo>
                    <a:pt x="128" y="104"/>
                  </a:lnTo>
                  <a:lnTo>
                    <a:pt x="128" y="107"/>
                  </a:lnTo>
                  <a:lnTo>
                    <a:pt x="126" y="107"/>
                  </a:lnTo>
                  <a:lnTo>
                    <a:pt x="126" y="109"/>
                  </a:lnTo>
                  <a:lnTo>
                    <a:pt x="126" y="107"/>
                  </a:lnTo>
                  <a:lnTo>
                    <a:pt x="128" y="107"/>
                  </a:lnTo>
                  <a:lnTo>
                    <a:pt x="128" y="104"/>
                  </a:lnTo>
                  <a:lnTo>
                    <a:pt x="128" y="107"/>
                  </a:lnTo>
                  <a:lnTo>
                    <a:pt x="128" y="104"/>
                  </a:lnTo>
                  <a:lnTo>
                    <a:pt x="128" y="107"/>
                  </a:lnTo>
                  <a:lnTo>
                    <a:pt x="130" y="107"/>
                  </a:lnTo>
                  <a:lnTo>
                    <a:pt x="128" y="107"/>
                  </a:lnTo>
                  <a:lnTo>
                    <a:pt x="130" y="107"/>
                  </a:lnTo>
                  <a:lnTo>
                    <a:pt x="133" y="107"/>
                  </a:lnTo>
                  <a:lnTo>
                    <a:pt x="130" y="107"/>
                  </a:lnTo>
                  <a:lnTo>
                    <a:pt x="130" y="104"/>
                  </a:lnTo>
                  <a:lnTo>
                    <a:pt x="133" y="104"/>
                  </a:lnTo>
                  <a:lnTo>
                    <a:pt x="133" y="102"/>
                  </a:lnTo>
                  <a:lnTo>
                    <a:pt x="130" y="102"/>
                  </a:lnTo>
                  <a:lnTo>
                    <a:pt x="130" y="100"/>
                  </a:lnTo>
                  <a:lnTo>
                    <a:pt x="130" y="97"/>
                  </a:lnTo>
                  <a:lnTo>
                    <a:pt x="130" y="95"/>
                  </a:lnTo>
                  <a:lnTo>
                    <a:pt x="130" y="93"/>
                  </a:lnTo>
                  <a:lnTo>
                    <a:pt x="128" y="93"/>
                  </a:lnTo>
                  <a:lnTo>
                    <a:pt x="126" y="93"/>
                  </a:lnTo>
                  <a:lnTo>
                    <a:pt x="123" y="93"/>
                  </a:lnTo>
                  <a:lnTo>
                    <a:pt x="123" y="90"/>
                  </a:lnTo>
                  <a:lnTo>
                    <a:pt x="126" y="90"/>
                  </a:lnTo>
                  <a:lnTo>
                    <a:pt x="128" y="90"/>
                  </a:lnTo>
                  <a:lnTo>
                    <a:pt x="128" y="88"/>
                  </a:lnTo>
                  <a:lnTo>
                    <a:pt x="130" y="88"/>
                  </a:lnTo>
                  <a:lnTo>
                    <a:pt x="133" y="85"/>
                  </a:lnTo>
                  <a:lnTo>
                    <a:pt x="135" y="85"/>
                  </a:lnTo>
                  <a:lnTo>
                    <a:pt x="135" y="83"/>
                  </a:lnTo>
                  <a:lnTo>
                    <a:pt x="138" y="83"/>
                  </a:lnTo>
                  <a:lnTo>
                    <a:pt x="140" y="83"/>
                  </a:lnTo>
                  <a:close/>
                  <a:moveTo>
                    <a:pt x="64" y="36"/>
                  </a:moveTo>
                  <a:lnTo>
                    <a:pt x="66" y="36"/>
                  </a:lnTo>
                  <a:lnTo>
                    <a:pt x="66" y="38"/>
                  </a:lnTo>
                  <a:lnTo>
                    <a:pt x="69" y="38"/>
                  </a:lnTo>
                  <a:lnTo>
                    <a:pt x="69" y="40"/>
                  </a:lnTo>
                  <a:lnTo>
                    <a:pt x="71" y="40"/>
                  </a:lnTo>
                  <a:lnTo>
                    <a:pt x="73" y="40"/>
                  </a:lnTo>
                  <a:lnTo>
                    <a:pt x="71" y="40"/>
                  </a:lnTo>
                  <a:lnTo>
                    <a:pt x="71" y="43"/>
                  </a:lnTo>
                  <a:lnTo>
                    <a:pt x="71" y="45"/>
                  </a:lnTo>
                  <a:lnTo>
                    <a:pt x="71" y="47"/>
                  </a:lnTo>
                  <a:lnTo>
                    <a:pt x="71" y="50"/>
                  </a:lnTo>
                  <a:lnTo>
                    <a:pt x="73" y="52"/>
                  </a:lnTo>
                  <a:lnTo>
                    <a:pt x="73" y="55"/>
                  </a:lnTo>
                  <a:lnTo>
                    <a:pt x="71" y="55"/>
                  </a:lnTo>
                  <a:lnTo>
                    <a:pt x="71" y="52"/>
                  </a:lnTo>
                  <a:lnTo>
                    <a:pt x="69" y="52"/>
                  </a:lnTo>
                  <a:lnTo>
                    <a:pt x="69" y="55"/>
                  </a:lnTo>
                  <a:lnTo>
                    <a:pt x="69" y="52"/>
                  </a:lnTo>
                  <a:lnTo>
                    <a:pt x="66" y="52"/>
                  </a:lnTo>
                  <a:lnTo>
                    <a:pt x="66" y="55"/>
                  </a:lnTo>
                  <a:lnTo>
                    <a:pt x="64" y="55"/>
                  </a:lnTo>
                  <a:lnTo>
                    <a:pt x="62" y="55"/>
                  </a:lnTo>
                  <a:lnTo>
                    <a:pt x="62" y="57"/>
                  </a:lnTo>
                  <a:lnTo>
                    <a:pt x="59" y="57"/>
                  </a:lnTo>
                  <a:lnTo>
                    <a:pt x="57" y="57"/>
                  </a:lnTo>
                  <a:lnTo>
                    <a:pt x="59" y="57"/>
                  </a:lnTo>
                  <a:lnTo>
                    <a:pt x="62" y="57"/>
                  </a:lnTo>
                  <a:lnTo>
                    <a:pt x="64" y="55"/>
                  </a:lnTo>
                  <a:lnTo>
                    <a:pt x="66" y="55"/>
                  </a:lnTo>
                  <a:lnTo>
                    <a:pt x="69" y="55"/>
                  </a:lnTo>
                  <a:lnTo>
                    <a:pt x="66" y="55"/>
                  </a:lnTo>
                  <a:lnTo>
                    <a:pt x="69" y="55"/>
                  </a:lnTo>
                  <a:lnTo>
                    <a:pt x="71" y="55"/>
                  </a:lnTo>
                  <a:lnTo>
                    <a:pt x="73" y="55"/>
                  </a:lnTo>
                  <a:lnTo>
                    <a:pt x="73" y="57"/>
                  </a:lnTo>
                  <a:lnTo>
                    <a:pt x="73" y="59"/>
                  </a:lnTo>
                  <a:lnTo>
                    <a:pt x="71" y="59"/>
                  </a:lnTo>
                  <a:lnTo>
                    <a:pt x="71" y="62"/>
                  </a:lnTo>
                  <a:lnTo>
                    <a:pt x="69" y="62"/>
                  </a:lnTo>
                  <a:lnTo>
                    <a:pt x="69" y="64"/>
                  </a:lnTo>
                  <a:lnTo>
                    <a:pt x="71" y="64"/>
                  </a:lnTo>
                  <a:lnTo>
                    <a:pt x="69" y="66"/>
                  </a:lnTo>
                  <a:lnTo>
                    <a:pt x="71" y="66"/>
                  </a:lnTo>
                  <a:lnTo>
                    <a:pt x="69" y="66"/>
                  </a:lnTo>
                  <a:lnTo>
                    <a:pt x="71" y="66"/>
                  </a:lnTo>
                  <a:lnTo>
                    <a:pt x="71" y="64"/>
                  </a:lnTo>
                  <a:lnTo>
                    <a:pt x="71" y="62"/>
                  </a:lnTo>
                  <a:lnTo>
                    <a:pt x="71" y="59"/>
                  </a:lnTo>
                  <a:lnTo>
                    <a:pt x="73" y="59"/>
                  </a:lnTo>
                  <a:lnTo>
                    <a:pt x="73" y="62"/>
                  </a:lnTo>
                  <a:lnTo>
                    <a:pt x="76" y="62"/>
                  </a:lnTo>
                  <a:lnTo>
                    <a:pt x="76" y="64"/>
                  </a:lnTo>
                  <a:lnTo>
                    <a:pt x="78" y="64"/>
                  </a:lnTo>
                  <a:lnTo>
                    <a:pt x="81" y="64"/>
                  </a:lnTo>
                  <a:lnTo>
                    <a:pt x="83" y="64"/>
                  </a:lnTo>
                  <a:lnTo>
                    <a:pt x="85" y="64"/>
                  </a:lnTo>
                  <a:lnTo>
                    <a:pt x="85" y="62"/>
                  </a:lnTo>
                  <a:lnTo>
                    <a:pt x="88" y="62"/>
                  </a:lnTo>
                  <a:lnTo>
                    <a:pt x="90" y="62"/>
                  </a:lnTo>
                  <a:lnTo>
                    <a:pt x="90" y="64"/>
                  </a:lnTo>
                  <a:lnTo>
                    <a:pt x="92" y="64"/>
                  </a:lnTo>
                  <a:lnTo>
                    <a:pt x="92" y="66"/>
                  </a:lnTo>
                  <a:lnTo>
                    <a:pt x="95" y="66"/>
                  </a:lnTo>
                  <a:lnTo>
                    <a:pt x="95" y="69"/>
                  </a:lnTo>
                  <a:lnTo>
                    <a:pt x="92" y="69"/>
                  </a:lnTo>
                  <a:lnTo>
                    <a:pt x="92" y="71"/>
                  </a:lnTo>
                  <a:lnTo>
                    <a:pt x="92" y="74"/>
                  </a:lnTo>
                  <a:lnTo>
                    <a:pt x="90" y="74"/>
                  </a:lnTo>
                  <a:lnTo>
                    <a:pt x="90" y="76"/>
                  </a:lnTo>
                  <a:lnTo>
                    <a:pt x="90" y="78"/>
                  </a:lnTo>
                  <a:lnTo>
                    <a:pt x="88" y="78"/>
                  </a:lnTo>
                  <a:lnTo>
                    <a:pt x="88" y="81"/>
                  </a:lnTo>
                  <a:lnTo>
                    <a:pt x="85" y="83"/>
                  </a:lnTo>
                  <a:lnTo>
                    <a:pt x="85" y="81"/>
                  </a:lnTo>
                  <a:lnTo>
                    <a:pt x="85" y="83"/>
                  </a:lnTo>
                  <a:lnTo>
                    <a:pt x="85" y="81"/>
                  </a:lnTo>
                  <a:lnTo>
                    <a:pt x="83" y="81"/>
                  </a:lnTo>
                  <a:lnTo>
                    <a:pt x="85" y="81"/>
                  </a:lnTo>
                  <a:lnTo>
                    <a:pt x="85" y="78"/>
                  </a:lnTo>
                  <a:lnTo>
                    <a:pt x="83" y="78"/>
                  </a:lnTo>
                  <a:lnTo>
                    <a:pt x="81" y="78"/>
                  </a:lnTo>
                  <a:lnTo>
                    <a:pt x="81" y="81"/>
                  </a:lnTo>
                  <a:lnTo>
                    <a:pt x="81" y="83"/>
                  </a:lnTo>
                  <a:lnTo>
                    <a:pt x="81" y="85"/>
                  </a:lnTo>
                  <a:lnTo>
                    <a:pt x="78" y="85"/>
                  </a:lnTo>
                  <a:lnTo>
                    <a:pt x="78" y="83"/>
                  </a:lnTo>
                  <a:lnTo>
                    <a:pt x="81" y="83"/>
                  </a:lnTo>
                  <a:lnTo>
                    <a:pt x="81" y="81"/>
                  </a:lnTo>
                  <a:lnTo>
                    <a:pt x="78" y="81"/>
                  </a:lnTo>
                  <a:lnTo>
                    <a:pt x="76" y="81"/>
                  </a:lnTo>
                  <a:lnTo>
                    <a:pt x="73" y="81"/>
                  </a:lnTo>
                  <a:lnTo>
                    <a:pt x="76" y="81"/>
                  </a:lnTo>
                  <a:lnTo>
                    <a:pt x="76" y="78"/>
                  </a:lnTo>
                  <a:lnTo>
                    <a:pt x="78" y="78"/>
                  </a:lnTo>
                  <a:lnTo>
                    <a:pt x="76" y="78"/>
                  </a:lnTo>
                  <a:lnTo>
                    <a:pt x="76" y="81"/>
                  </a:lnTo>
                  <a:lnTo>
                    <a:pt x="78" y="81"/>
                  </a:lnTo>
                  <a:lnTo>
                    <a:pt x="78" y="78"/>
                  </a:lnTo>
                  <a:lnTo>
                    <a:pt x="78" y="76"/>
                  </a:lnTo>
                  <a:lnTo>
                    <a:pt x="76" y="76"/>
                  </a:lnTo>
                  <a:lnTo>
                    <a:pt x="73" y="76"/>
                  </a:lnTo>
                  <a:lnTo>
                    <a:pt x="73" y="78"/>
                  </a:lnTo>
                  <a:lnTo>
                    <a:pt x="71" y="78"/>
                  </a:lnTo>
                  <a:lnTo>
                    <a:pt x="71" y="81"/>
                  </a:lnTo>
                  <a:lnTo>
                    <a:pt x="69" y="81"/>
                  </a:lnTo>
                  <a:lnTo>
                    <a:pt x="69" y="83"/>
                  </a:lnTo>
                  <a:lnTo>
                    <a:pt x="71" y="83"/>
                  </a:lnTo>
                  <a:lnTo>
                    <a:pt x="69" y="83"/>
                  </a:lnTo>
                  <a:lnTo>
                    <a:pt x="71" y="83"/>
                  </a:lnTo>
                  <a:lnTo>
                    <a:pt x="69" y="83"/>
                  </a:lnTo>
                  <a:lnTo>
                    <a:pt x="71" y="83"/>
                  </a:lnTo>
                  <a:lnTo>
                    <a:pt x="71" y="85"/>
                  </a:lnTo>
                  <a:lnTo>
                    <a:pt x="71" y="88"/>
                  </a:lnTo>
                  <a:lnTo>
                    <a:pt x="71" y="90"/>
                  </a:lnTo>
                  <a:lnTo>
                    <a:pt x="71" y="93"/>
                  </a:lnTo>
                  <a:lnTo>
                    <a:pt x="71" y="95"/>
                  </a:lnTo>
                  <a:lnTo>
                    <a:pt x="69" y="95"/>
                  </a:lnTo>
                  <a:lnTo>
                    <a:pt x="69" y="97"/>
                  </a:lnTo>
                  <a:lnTo>
                    <a:pt x="66" y="97"/>
                  </a:lnTo>
                  <a:lnTo>
                    <a:pt x="66" y="95"/>
                  </a:lnTo>
                  <a:lnTo>
                    <a:pt x="64" y="95"/>
                  </a:lnTo>
                  <a:lnTo>
                    <a:pt x="64" y="97"/>
                  </a:lnTo>
                  <a:lnTo>
                    <a:pt x="62" y="97"/>
                  </a:lnTo>
                  <a:lnTo>
                    <a:pt x="59" y="97"/>
                  </a:lnTo>
                  <a:lnTo>
                    <a:pt x="57" y="97"/>
                  </a:lnTo>
                  <a:lnTo>
                    <a:pt x="59" y="97"/>
                  </a:lnTo>
                  <a:lnTo>
                    <a:pt x="62" y="100"/>
                  </a:lnTo>
                  <a:lnTo>
                    <a:pt x="64" y="100"/>
                  </a:lnTo>
                  <a:lnTo>
                    <a:pt x="64" y="97"/>
                  </a:lnTo>
                  <a:lnTo>
                    <a:pt x="64" y="100"/>
                  </a:lnTo>
                  <a:lnTo>
                    <a:pt x="64" y="102"/>
                  </a:lnTo>
                  <a:lnTo>
                    <a:pt x="66" y="102"/>
                  </a:lnTo>
                  <a:lnTo>
                    <a:pt x="64" y="102"/>
                  </a:lnTo>
                  <a:lnTo>
                    <a:pt x="64" y="104"/>
                  </a:lnTo>
                  <a:lnTo>
                    <a:pt x="62" y="104"/>
                  </a:lnTo>
                  <a:lnTo>
                    <a:pt x="64" y="104"/>
                  </a:lnTo>
                  <a:lnTo>
                    <a:pt x="62" y="104"/>
                  </a:lnTo>
                  <a:lnTo>
                    <a:pt x="62" y="107"/>
                  </a:lnTo>
                  <a:lnTo>
                    <a:pt x="59" y="107"/>
                  </a:lnTo>
                  <a:lnTo>
                    <a:pt x="57" y="107"/>
                  </a:lnTo>
                  <a:lnTo>
                    <a:pt x="55" y="107"/>
                  </a:lnTo>
                  <a:lnTo>
                    <a:pt x="55" y="104"/>
                  </a:lnTo>
                  <a:lnTo>
                    <a:pt x="52" y="104"/>
                  </a:lnTo>
                  <a:lnTo>
                    <a:pt x="50" y="104"/>
                  </a:lnTo>
                  <a:lnTo>
                    <a:pt x="47" y="104"/>
                  </a:lnTo>
                  <a:lnTo>
                    <a:pt x="47" y="107"/>
                  </a:lnTo>
                  <a:lnTo>
                    <a:pt x="50" y="107"/>
                  </a:lnTo>
                  <a:lnTo>
                    <a:pt x="52" y="107"/>
                  </a:lnTo>
                  <a:lnTo>
                    <a:pt x="55" y="107"/>
                  </a:lnTo>
                  <a:lnTo>
                    <a:pt x="55" y="109"/>
                  </a:lnTo>
                  <a:lnTo>
                    <a:pt x="57" y="109"/>
                  </a:lnTo>
                  <a:lnTo>
                    <a:pt x="57" y="112"/>
                  </a:lnTo>
                  <a:lnTo>
                    <a:pt x="55" y="112"/>
                  </a:lnTo>
                  <a:lnTo>
                    <a:pt x="55" y="114"/>
                  </a:lnTo>
                  <a:lnTo>
                    <a:pt x="52" y="114"/>
                  </a:lnTo>
                  <a:lnTo>
                    <a:pt x="50" y="114"/>
                  </a:lnTo>
                  <a:lnTo>
                    <a:pt x="47" y="114"/>
                  </a:lnTo>
                  <a:lnTo>
                    <a:pt x="50" y="114"/>
                  </a:lnTo>
                  <a:lnTo>
                    <a:pt x="47" y="114"/>
                  </a:lnTo>
                  <a:lnTo>
                    <a:pt x="50" y="114"/>
                  </a:lnTo>
                  <a:lnTo>
                    <a:pt x="50" y="116"/>
                  </a:lnTo>
                  <a:lnTo>
                    <a:pt x="47" y="116"/>
                  </a:lnTo>
                  <a:lnTo>
                    <a:pt x="45" y="116"/>
                  </a:lnTo>
                  <a:lnTo>
                    <a:pt x="47" y="116"/>
                  </a:lnTo>
                  <a:lnTo>
                    <a:pt x="50" y="116"/>
                  </a:lnTo>
                  <a:lnTo>
                    <a:pt x="52" y="116"/>
                  </a:lnTo>
                  <a:lnTo>
                    <a:pt x="52" y="119"/>
                  </a:lnTo>
                  <a:lnTo>
                    <a:pt x="50" y="119"/>
                  </a:lnTo>
                  <a:lnTo>
                    <a:pt x="50" y="121"/>
                  </a:lnTo>
                  <a:lnTo>
                    <a:pt x="50" y="123"/>
                  </a:lnTo>
                  <a:lnTo>
                    <a:pt x="52" y="123"/>
                  </a:lnTo>
                  <a:lnTo>
                    <a:pt x="50" y="123"/>
                  </a:lnTo>
                  <a:lnTo>
                    <a:pt x="52" y="123"/>
                  </a:lnTo>
                  <a:lnTo>
                    <a:pt x="50" y="126"/>
                  </a:lnTo>
                  <a:lnTo>
                    <a:pt x="52" y="126"/>
                  </a:lnTo>
                  <a:lnTo>
                    <a:pt x="50" y="126"/>
                  </a:lnTo>
                  <a:lnTo>
                    <a:pt x="50" y="128"/>
                  </a:lnTo>
                  <a:lnTo>
                    <a:pt x="47" y="128"/>
                  </a:lnTo>
                  <a:lnTo>
                    <a:pt x="50" y="128"/>
                  </a:lnTo>
                  <a:lnTo>
                    <a:pt x="50" y="126"/>
                  </a:lnTo>
                  <a:lnTo>
                    <a:pt x="52" y="126"/>
                  </a:lnTo>
                  <a:lnTo>
                    <a:pt x="52" y="128"/>
                  </a:lnTo>
                  <a:lnTo>
                    <a:pt x="55" y="128"/>
                  </a:lnTo>
                  <a:lnTo>
                    <a:pt x="52" y="128"/>
                  </a:lnTo>
                  <a:lnTo>
                    <a:pt x="52" y="131"/>
                  </a:lnTo>
                  <a:lnTo>
                    <a:pt x="50" y="133"/>
                  </a:lnTo>
                  <a:lnTo>
                    <a:pt x="50" y="131"/>
                  </a:lnTo>
                  <a:lnTo>
                    <a:pt x="50" y="133"/>
                  </a:lnTo>
                  <a:lnTo>
                    <a:pt x="50" y="131"/>
                  </a:lnTo>
                  <a:lnTo>
                    <a:pt x="47" y="133"/>
                  </a:lnTo>
                  <a:lnTo>
                    <a:pt x="45" y="133"/>
                  </a:lnTo>
                  <a:lnTo>
                    <a:pt x="47" y="133"/>
                  </a:lnTo>
                  <a:lnTo>
                    <a:pt x="47" y="135"/>
                  </a:lnTo>
                  <a:lnTo>
                    <a:pt x="45" y="135"/>
                  </a:lnTo>
                  <a:lnTo>
                    <a:pt x="47" y="135"/>
                  </a:lnTo>
                  <a:lnTo>
                    <a:pt x="47" y="138"/>
                  </a:lnTo>
                  <a:lnTo>
                    <a:pt x="45" y="138"/>
                  </a:lnTo>
                  <a:lnTo>
                    <a:pt x="43" y="138"/>
                  </a:lnTo>
                  <a:lnTo>
                    <a:pt x="43" y="140"/>
                  </a:lnTo>
                  <a:lnTo>
                    <a:pt x="45" y="140"/>
                  </a:lnTo>
                  <a:lnTo>
                    <a:pt x="47" y="140"/>
                  </a:lnTo>
                  <a:lnTo>
                    <a:pt x="50" y="140"/>
                  </a:lnTo>
                  <a:lnTo>
                    <a:pt x="47" y="138"/>
                  </a:lnTo>
                  <a:lnTo>
                    <a:pt x="50" y="138"/>
                  </a:lnTo>
                  <a:lnTo>
                    <a:pt x="50" y="140"/>
                  </a:lnTo>
                  <a:lnTo>
                    <a:pt x="52" y="140"/>
                  </a:lnTo>
                  <a:lnTo>
                    <a:pt x="52" y="142"/>
                  </a:lnTo>
                  <a:lnTo>
                    <a:pt x="55" y="142"/>
                  </a:lnTo>
                  <a:lnTo>
                    <a:pt x="55" y="145"/>
                  </a:lnTo>
                  <a:lnTo>
                    <a:pt x="55" y="147"/>
                  </a:lnTo>
                  <a:lnTo>
                    <a:pt x="55" y="145"/>
                  </a:lnTo>
                  <a:lnTo>
                    <a:pt x="52" y="145"/>
                  </a:lnTo>
                  <a:lnTo>
                    <a:pt x="52" y="147"/>
                  </a:lnTo>
                  <a:lnTo>
                    <a:pt x="55" y="147"/>
                  </a:lnTo>
                  <a:lnTo>
                    <a:pt x="55" y="150"/>
                  </a:lnTo>
                  <a:lnTo>
                    <a:pt x="52" y="150"/>
                  </a:lnTo>
                  <a:lnTo>
                    <a:pt x="52" y="147"/>
                  </a:lnTo>
                  <a:lnTo>
                    <a:pt x="50" y="147"/>
                  </a:lnTo>
                  <a:lnTo>
                    <a:pt x="52" y="147"/>
                  </a:lnTo>
                  <a:lnTo>
                    <a:pt x="50" y="147"/>
                  </a:lnTo>
                  <a:lnTo>
                    <a:pt x="50" y="145"/>
                  </a:lnTo>
                  <a:lnTo>
                    <a:pt x="52" y="145"/>
                  </a:lnTo>
                  <a:lnTo>
                    <a:pt x="50" y="145"/>
                  </a:lnTo>
                  <a:lnTo>
                    <a:pt x="50" y="147"/>
                  </a:lnTo>
                  <a:lnTo>
                    <a:pt x="47" y="147"/>
                  </a:lnTo>
                  <a:lnTo>
                    <a:pt x="45" y="147"/>
                  </a:lnTo>
                  <a:lnTo>
                    <a:pt x="45" y="150"/>
                  </a:lnTo>
                  <a:lnTo>
                    <a:pt x="43" y="150"/>
                  </a:lnTo>
                  <a:lnTo>
                    <a:pt x="40" y="150"/>
                  </a:lnTo>
                  <a:lnTo>
                    <a:pt x="40" y="152"/>
                  </a:lnTo>
                  <a:lnTo>
                    <a:pt x="40" y="150"/>
                  </a:lnTo>
                  <a:lnTo>
                    <a:pt x="40" y="152"/>
                  </a:lnTo>
                  <a:lnTo>
                    <a:pt x="38" y="150"/>
                  </a:lnTo>
                  <a:lnTo>
                    <a:pt x="36" y="147"/>
                  </a:lnTo>
                  <a:lnTo>
                    <a:pt x="33" y="147"/>
                  </a:lnTo>
                  <a:lnTo>
                    <a:pt x="31" y="147"/>
                  </a:lnTo>
                  <a:lnTo>
                    <a:pt x="28" y="147"/>
                  </a:lnTo>
                  <a:lnTo>
                    <a:pt x="28" y="145"/>
                  </a:lnTo>
                  <a:lnTo>
                    <a:pt x="26" y="145"/>
                  </a:lnTo>
                  <a:lnTo>
                    <a:pt x="26" y="147"/>
                  </a:lnTo>
                  <a:lnTo>
                    <a:pt x="24" y="147"/>
                  </a:lnTo>
                  <a:lnTo>
                    <a:pt x="24" y="145"/>
                  </a:lnTo>
                  <a:lnTo>
                    <a:pt x="21" y="147"/>
                  </a:lnTo>
                  <a:lnTo>
                    <a:pt x="19" y="145"/>
                  </a:lnTo>
                  <a:lnTo>
                    <a:pt x="17" y="145"/>
                  </a:lnTo>
                  <a:lnTo>
                    <a:pt x="19" y="142"/>
                  </a:lnTo>
                  <a:lnTo>
                    <a:pt x="19" y="140"/>
                  </a:lnTo>
                  <a:lnTo>
                    <a:pt x="17" y="140"/>
                  </a:lnTo>
                  <a:lnTo>
                    <a:pt x="17" y="138"/>
                  </a:lnTo>
                  <a:lnTo>
                    <a:pt x="19" y="138"/>
                  </a:lnTo>
                  <a:lnTo>
                    <a:pt x="19" y="135"/>
                  </a:lnTo>
                  <a:lnTo>
                    <a:pt x="19" y="133"/>
                  </a:lnTo>
                  <a:lnTo>
                    <a:pt x="17" y="133"/>
                  </a:lnTo>
                  <a:lnTo>
                    <a:pt x="14" y="133"/>
                  </a:lnTo>
                  <a:lnTo>
                    <a:pt x="14" y="135"/>
                  </a:lnTo>
                  <a:lnTo>
                    <a:pt x="17" y="138"/>
                  </a:lnTo>
                  <a:lnTo>
                    <a:pt x="14" y="138"/>
                  </a:lnTo>
                  <a:lnTo>
                    <a:pt x="12" y="138"/>
                  </a:lnTo>
                  <a:lnTo>
                    <a:pt x="12" y="135"/>
                  </a:lnTo>
                  <a:lnTo>
                    <a:pt x="14" y="138"/>
                  </a:lnTo>
                  <a:lnTo>
                    <a:pt x="12" y="135"/>
                  </a:lnTo>
                  <a:lnTo>
                    <a:pt x="12" y="133"/>
                  </a:lnTo>
                  <a:lnTo>
                    <a:pt x="12" y="131"/>
                  </a:lnTo>
                  <a:lnTo>
                    <a:pt x="14" y="131"/>
                  </a:lnTo>
                  <a:lnTo>
                    <a:pt x="12" y="131"/>
                  </a:lnTo>
                  <a:lnTo>
                    <a:pt x="14" y="131"/>
                  </a:lnTo>
                  <a:lnTo>
                    <a:pt x="12" y="131"/>
                  </a:lnTo>
                  <a:lnTo>
                    <a:pt x="14" y="131"/>
                  </a:lnTo>
                  <a:lnTo>
                    <a:pt x="17" y="131"/>
                  </a:lnTo>
                  <a:lnTo>
                    <a:pt x="17" y="133"/>
                  </a:lnTo>
                  <a:lnTo>
                    <a:pt x="14" y="133"/>
                  </a:lnTo>
                  <a:lnTo>
                    <a:pt x="17" y="133"/>
                  </a:lnTo>
                  <a:lnTo>
                    <a:pt x="19" y="133"/>
                  </a:lnTo>
                  <a:lnTo>
                    <a:pt x="19" y="131"/>
                  </a:lnTo>
                  <a:lnTo>
                    <a:pt x="19" y="128"/>
                  </a:lnTo>
                  <a:lnTo>
                    <a:pt x="19" y="126"/>
                  </a:lnTo>
                  <a:lnTo>
                    <a:pt x="19" y="123"/>
                  </a:lnTo>
                  <a:lnTo>
                    <a:pt x="19" y="121"/>
                  </a:lnTo>
                  <a:lnTo>
                    <a:pt x="17" y="121"/>
                  </a:lnTo>
                  <a:lnTo>
                    <a:pt x="19" y="121"/>
                  </a:lnTo>
                  <a:lnTo>
                    <a:pt x="17" y="121"/>
                  </a:lnTo>
                  <a:lnTo>
                    <a:pt x="17" y="119"/>
                  </a:lnTo>
                  <a:lnTo>
                    <a:pt x="14" y="119"/>
                  </a:lnTo>
                  <a:lnTo>
                    <a:pt x="12" y="119"/>
                  </a:lnTo>
                  <a:lnTo>
                    <a:pt x="12" y="116"/>
                  </a:lnTo>
                  <a:lnTo>
                    <a:pt x="9" y="116"/>
                  </a:lnTo>
                  <a:lnTo>
                    <a:pt x="9" y="114"/>
                  </a:lnTo>
                  <a:lnTo>
                    <a:pt x="7" y="114"/>
                  </a:lnTo>
                  <a:lnTo>
                    <a:pt x="7" y="112"/>
                  </a:lnTo>
                  <a:lnTo>
                    <a:pt x="5" y="112"/>
                  </a:lnTo>
                  <a:lnTo>
                    <a:pt x="5" y="114"/>
                  </a:lnTo>
                  <a:lnTo>
                    <a:pt x="7" y="116"/>
                  </a:lnTo>
                  <a:lnTo>
                    <a:pt x="5" y="116"/>
                  </a:lnTo>
                  <a:lnTo>
                    <a:pt x="5" y="114"/>
                  </a:lnTo>
                  <a:lnTo>
                    <a:pt x="2" y="114"/>
                  </a:lnTo>
                  <a:lnTo>
                    <a:pt x="0" y="114"/>
                  </a:lnTo>
                  <a:lnTo>
                    <a:pt x="0" y="112"/>
                  </a:lnTo>
                  <a:lnTo>
                    <a:pt x="0" y="109"/>
                  </a:lnTo>
                  <a:lnTo>
                    <a:pt x="2" y="107"/>
                  </a:lnTo>
                  <a:lnTo>
                    <a:pt x="2" y="104"/>
                  </a:lnTo>
                  <a:lnTo>
                    <a:pt x="2" y="102"/>
                  </a:lnTo>
                  <a:lnTo>
                    <a:pt x="2" y="100"/>
                  </a:lnTo>
                  <a:lnTo>
                    <a:pt x="2" y="97"/>
                  </a:lnTo>
                  <a:lnTo>
                    <a:pt x="2" y="95"/>
                  </a:lnTo>
                  <a:lnTo>
                    <a:pt x="2" y="93"/>
                  </a:lnTo>
                  <a:lnTo>
                    <a:pt x="0" y="93"/>
                  </a:lnTo>
                  <a:lnTo>
                    <a:pt x="0" y="90"/>
                  </a:lnTo>
                  <a:lnTo>
                    <a:pt x="0" y="88"/>
                  </a:lnTo>
                  <a:lnTo>
                    <a:pt x="0" y="85"/>
                  </a:lnTo>
                  <a:lnTo>
                    <a:pt x="0" y="83"/>
                  </a:lnTo>
                  <a:lnTo>
                    <a:pt x="0" y="81"/>
                  </a:lnTo>
                  <a:lnTo>
                    <a:pt x="0" y="78"/>
                  </a:lnTo>
                  <a:lnTo>
                    <a:pt x="0" y="76"/>
                  </a:lnTo>
                  <a:lnTo>
                    <a:pt x="0" y="74"/>
                  </a:lnTo>
                  <a:lnTo>
                    <a:pt x="0" y="71"/>
                  </a:lnTo>
                  <a:lnTo>
                    <a:pt x="0" y="69"/>
                  </a:lnTo>
                  <a:lnTo>
                    <a:pt x="0" y="66"/>
                  </a:lnTo>
                  <a:lnTo>
                    <a:pt x="0" y="64"/>
                  </a:lnTo>
                  <a:lnTo>
                    <a:pt x="0" y="62"/>
                  </a:lnTo>
                  <a:lnTo>
                    <a:pt x="0" y="59"/>
                  </a:lnTo>
                  <a:lnTo>
                    <a:pt x="2" y="59"/>
                  </a:lnTo>
                  <a:lnTo>
                    <a:pt x="2" y="57"/>
                  </a:lnTo>
                  <a:lnTo>
                    <a:pt x="2" y="55"/>
                  </a:lnTo>
                  <a:lnTo>
                    <a:pt x="5" y="55"/>
                  </a:lnTo>
                  <a:lnTo>
                    <a:pt x="2" y="57"/>
                  </a:lnTo>
                  <a:lnTo>
                    <a:pt x="5" y="57"/>
                  </a:lnTo>
                  <a:lnTo>
                    <a:pt x="2" y="57"/>
                  </a:lnTo>
                  <a:lnTo>
                    <a:pt x="5" y="57"/>
                  </a:lnTo>
                  <a:lnTo>
                    <a:pt x="5" y="59"/>
                  </a:lnTo>
                  <a:lnTo>
                    <a:pt x="7" y="59"/>
                  </a:lnTo>
                  <a:lnTo>
                    <a:pt x="7" y="62"/>
                  </a:lnTo>
                  <a:lnTo>
                    <a:pt x="7" y="59"/>
                  </a:lnTo>
                  <a:lnTo>
                    <a:pt x="9" y="62"/>
                  </a:lnTo>
                  <a:lnTo>
                    <a:pt x="9" y="59"/>
                  </a:lnTo>
                  <a:lnTo>
                    <a:pt x="9" y="62"/>
                  </a:lnTo>
                  <a:lnTo>
                    <a:pt x="12" y="62"/>
                  </a:lnTo>
                  <a:lnTo>
                    <a:pt x="14" y="62"/>
                  </a:lnTo>
                  <a:lnTo>
                    <a:pt x="14" y="59"/>
                  </a:lnTo>
                  <a:lnTo>
                    <a:pt x="14" y="62"/>
                  </a:lnTo>
                  <a:lnTo>
                    <a:pt x="17" y="62"/>
                  </a:lnTo>
                  <a:lnTo>
                    <a:pt x="17" y="64"/>
                  </a:lnTo>
                  <a:lnTo>
                    <a:pt x="17" y="62"/>
                  </a:lnTo>
                  <a:lnTo>
                    <a:pt x="17" y="59"/>
                  </a:lnTo>
                  <a:lnTo>
                    <a:pt x="19" y="59"/>
                  </a:lnTo>
                  <a:lnTo>
                    <a:pt x="17" y="62"/>
                  </a:lnTo>
                  <a:lnTo>
                    <a:pt x="19" y="62"/>
                  </a:lnTo>
                  <a:lnTo>
                    <a:pt x="17" y="62"/>
                  </a:lnTo>
                  <a:lnTo>
                    <a:pt x="17" y="64"/>
                  </a:lnTo>
                  <a:lnTo>
                    <a:pt x="14" y="64"/>
                  </a:lnTo>
                  <a:lnTo>
                    <a:pt x="14" y="66"/>
                  </a:lnTo>
                  <a:lnTo>
                    <a:pt x="14" y="64"/>
                  </a:lnTo>
                  <a:lnTo>
                    <a:pt x="17" y="64"/>
                  </a:lnTo>
                  <a:lnTo>
                    <a:pt x="17" y="66"/>
                  </a:lnTo>
                  <a:lnTo>
                    <a:pt x="19" y="66"/>
                  </a:lnTo>
                  <a:lnTo>
                    <a:pt x="21" y="66"/>
                  </a:lnTo>
                  <a:lnTo>
                    <a:pt x="21" y="64"/>
                  </a:lnTo>
                  <a:lnTo>
                    <a:pt x="21" y="62"/>
                  </a:lnTo>
                  <a:lnTo>
                    <a:pt x="19" y="59"/>
                  </a:lnTo>
                  <a:lnTo>
                    <a:pt x="19" y="57"/>
                  </a:lnTo>
                  <a:lnTo>
                    <a:pt x="19" y="59"/>
                  </a:lnTo>
                  <a:lnTo>
                    <a:pt x="21" y="59"/>
                  </a:lnTo>
                  <a:lnTo>
                    <a:pt x="21" y="57"/>
                  </a:lnTo>
                  <a:lnTo>
                    <a:pt x="24" y="55"/>
                  </a:lnTo>
                  <a:lnTo>
                    <a:pt x="26" y="55"/>
                  </a:lnTo>
                  <a:lnTo>
                    <a:pt x="26" y="52"/>
                  </a:lnTo>
                  <a:lnTo>
                    <a:pt x="26" y="55"/>
                  </a:lnTo>
                  <a:lnTo>
                    <a:pt x="24" y="55"/>
                  </a:lnTo>
                  <a:lnTo>
                    <a:pt x="24" y="52"/>
                  </a:lnTo>
                  <a:lnTo>
                    <a:pt x="26" y="52"/>
                  </a:lnTo>
                  <a:lnTo>
                    <a:pt x="26" y="50"/>
                  </a:lnTo>
                  <a:lnTo>
                    <a:pt x="28" y="50"/>
                  </a:lnTo>
                  <a:lnTo>
                    <a:pt x="31" y="50"/>
                  </a:lnTo>
                  <a:lnTo>
                    <a:pt x="33" y="50"/>
                  </a:lnTo>
                  <a:lnTo>
                    <a:pt x="33" y="52"/>
                  </a:lnTo>
                  <a:lnTo>
                    <a:pt x="36" y="52"/>
                  </a:lnTo>
                  <a:lnTo>
                    <a:pt x="36" y="55"/>
                  </a:lnTo>
                  <a:lnTo>
                    <a:pt x="33" y="55"/>
                  </a:lnTo>
                  <a:lnTo>
                    <a:pt x="33" y="57"/>
                  </a:lnTo>
                  <a:lnTo>
                    <a:pt x="31" y="57"/>
                  </a:lnTo>
                  <a:lnTo>
                    <a:pt x="31" y="59"/>
                  </a:lnTo>
                  <a:lnTo>
                    <a:pt x="31" y="62"/>
                  </a:lnTo>
                  <a:lnTo>
                    <a:pt x="33" y="62"/>
                  </a:lnTo>
                  <a:lnTo>
                    <a:pt x="33" y="59"/>
                  </a:lnTo>
                  <a:lnTo>
                    <a:pt x="36" y="59"/>
                  </a:lnTo>
                  <a:lnTo>
                    <a:pt x="33" y="59"/>
                  </a:lnTo>
                  <a:lnTo>
                    <a:pt x="33" y="57"/>
                  </a:lnTo>
                  <a:lnTo>
                    <a:pt x="36" y="57"/>
                  </a:lnTo>
                  <a:lnTo>
                    <a:pt x="36" y="59"/>
                  </a:lnTo>
                  <a:lnTo>
                    <a:pt x="36" y="57"/>
                  </a:lnTo>
                  <a:lnTo>
                    <a:pt x="38" y="57"/>
                  </a:lnTo>
                  <a:lnTo>
                    <a:pt x="38" y="59"/>
                  </a:lnTo>
                  <a:lnTo>
                    <a:pt x="40" y="59"/>
                  </a:lnTo>
                  <a:lnTo>
                    <a:pt x="38" y="59"/>
                  </a:lnTo>
                  <a:lnTo>
                    <a:pt x="38" y="62"/>
                  </a:lnTo>
                  <a:lnTo>
                    <a:pt x="40" y="62"/>
                  </a:lnTo>
                  <a:lnTo>
                    <a:pt x="40" y="64"/>
                  </a:lnTo>
                  <a:lnTo>
                    <a:pt x="40" y="62"/>
                  </a:lnTo>
                  <a:lnTo>
                    <a:pt x="43" y="62"/>
                  </a:lnTo>
                  <a:lnTo>
                    <a:pt x="40" y="62"/>
                  </a:lnTo>
                  <a:lnTo>
                    <a:pt x="40" y="59"/>
                  </a:lnTo>
                  <a:lnTo>
                    <a:pt x="40" y="57"/>
                  </a:lnTo>
                  <a:lnTo>
                    <a:pt x="40" y="55"/>
                  </a:lnTo>
                  <a:lnTo>
                    <a:pt x="38" y="55"/>
                  </a:lnTo>
                  <a:lnTo>
                    <a:pt x="36" y="55"/>
                  </a:lnTo>
                  <a:lnTo>
                    <a:pt x="36" y="57"/>
                  </a:lnTo>
                  <a:lnTo>
                    <a:pt x="36" y="55"/>
                  </a:lnTo>
                  <a:lnTo>
                    <a:pt x="38" y="52"/>
                  </a:lnTo>
                  <a:lnTo>
                    <a:pt x="36" y="50"/>
                  </a:lnTo>
                  <a:lnTo>
                    <a:pt x="36" y="47"/>
                  </a:lnTo>
                  <a:lnTo>
                    <a:pt x="36" y="45"/>
                  </a:lnTo>
                  <a:lnTo>
                    <a:pt x="36" y="43"/>
                  </a:lnTo>
                  <a:lnTo>
                    <a:pt x="38" y="43"/>
                  </a:lnTo>
                  <a:lnTo>
                    <a:pt x="38" y="40"/>
                  </a:lnTo>
                  <a:lnTo>
                    <a:pt x="40" y="40"/>
                  </a:lnTo>
                  <a:lnTo>
                    <a:pt x="40" y="38"/>
                  </a:lnTo>
                  <a:lnTo>
                    <a:pt x="43" y="38"/>
                  </a:lnTo>
                  <a:lnTo>
                    <a:pt x="45" y="38"/>
                  </a:lnTo>
                  <a:lnTo>
                    <a:pt x="47" y="38"/>
                  </a:lnTo>
                  <a:lnTo>
                    <a:pt x="50" y="40"/>
                  </a:lnTo>
                  <a:lnTo>
                    <a:pt x="47" y="40"/>
                  </a:lnTo>
                  <a:lnTo>
                    <a:pt x="47" y="43"/>
                  </a:lnTo>
                  <a:lnTo>
                    <a:pt x="50" y="43"/>
                  </a:lnTo>
                  <a:lnTo>
                    <a:pt x="50" y="40"/>
                  </a:lnTo>
                  <a:lnTo>
                    <a:pt x="52" y="38"/>
                  </a:lnTo>
                  <a:lnTo>
                    <a:pt x="52" y="36"/>
                  </a:lnTo>
                  <a:lnTo>
                    <a:pt x="55" y="36"/>
                  </a:lnTo>
                  <a:lnTo>
                    <a:pt x="57" y="36"/>
                  </a:lnTo>
                  <a:lnTo>
                    <a:pt x="59" y="36"/>
                  </a:lnTo>
                  <a:lnTo>
                    <a:pt x="62" y="36"/>
                  </a:lnTo>
                  <a:lnTo>
                    <a:pt x="64" y="36"/>
                  </a:lnTo>
                  <a:close/>
                  <a:moveTo>
                    <a:pt x="83" y="2"/>
                  </a:moveTo>
                  <a:lnTo>
                    <a:pt x="81" y="2"/>
                  </a:lnTo>
                  <a:lnTo>
                    <a:pt x="78" y="5"/>
                  </a:lnTo>
                  <a:lnTo>
                    <a:pt x="78" y="7"/>
                  </a:lnTo>
                  <a:lnTo>
                    <a:pt x="76" y="7"/>
                  </a:lnTo>
                  <a:lnTo>
                    <a:pt x="76" y="9"/>
                  </a:lnTo>
                  <a:lnTo>
                    <a:pt x="78" y="12"/>
                  </a:lnTo>
                  <a:lnTo>
                    <a:pt x="78" y="14"/>
                  </a:lnTo>
                  <a:lnTo>
                    <a:pt x="81" y="14"/>
                  </a:lnTo>
                  <a:lnTo>
                    <a:pt x="81" y="17"/>
                  </a:lnTo>
                  <a:lnTo>
                    <a:pt x="81" y="19"/>
                  </a:lnTo>
                  <a:lnTo>
                    <a:pt x="81" y="21"/>
                  </a:lnTo>
                  <a:lnTo>
                    <a:pt x="81" y="24"/>
                  </a:lnTo>
                  <a:lnTo>
                    <a:pt x="81" y="26"/>
                  </a:lnTo>
                  <a:lnTo>
                    <a:pt x="81" y="28"/>
                  </a:lnTo>
                  <a:lnTo>
                    <a:pt x="78" y="28"/>
                  </a:lnTo>
                  <a:lnTo>
                    <a:pt x="78" y="31"/>
                  </a:lnTo>
                  <a:lnTo>
                    <a:pt x="76" y="31"/>
                  </a:lnTo>
                  <a:lnTo>
                    <a:pt x="76" y="33"/>
                  </a:lnTo>
                  <a:lnTo>
                    <a:pt x="76" y="36"/>
                  </a:lnTo>
                  <a:lnTo>
                    <a:pt x="73" y="38"/>
                  </a:lnTo>
                  <a:lnTo>
                    <a:pt x="73" y="40"/>
                  </a:lnTo>
                  <a:lnTo>
                    <a:pt x="73" y="38"/>
                  </a:lnTo>
                  <a:lnTo>
                    <a:pt x="73" y="40"/>
                  </a:lnTo>
                  <a:lnTo>
                    <a:pt x="73" y="38"/>
                  </a:lnTo>
                  <a:lnTo>
                    <a:pt x="71" y="38"/>
                  </a:lnTo>
                  <a:lnTo>
                    <a:pt x="71" y="40"/>
                  </a:lnTo>
                  <a:lnTo>
                    <a:pt x="69" y="40"/>
                  </a:lnTo>
                  <a:lnTo>
                    <a:pt x="69" y="38"/>
                  </a:lnTo>
                  <a:lnTo>
                    <a:pt x="66" y="38"/>
                  </a:lnTo>
                  <a:lnTo>
                    <a:pt x="66" y="36"/>
                  </a:lnTo>
                  <a:lnTo>
                    <a:pt x="64" y="36"/>
                  </a:lnTo>
                  <a:lnTo>
                    <a:pt x="64" y="33"/>
                  </a:lnTo>
                  <a:lnTo>
                    <a:pt x="62" y="33"/>
                  </a:lnTo>
                  <a:lnTo>
                    <a:pt x="62" y="36"/>
                  </a:lnTo>
                  <a:lnTo>
                    <a:pt x="59" y="36"/>
                  </a:lnTo>
                  <a:lnTo>
                    <a:pt x="57" y="33"/>
                  </a:lnTo>
                  <a:lnTo>
                    <a:pt x="55" y="33"/>
                  </a:lnTo>
                  <a:lnTo>
                    <a:pt x="57" y="33"/>
                  </a:lnTo>
                  <a:lnTo>
                    <a:pt x="55" y="33"/>
                  </a:lnTo>
                  <a:lnTo>
                    <a:pt x="55" y="36"/>
                  </a:lnTo>
                  <a:lnTo>
                    <a:pt x="52" y="36"/>
                  </a:lnTo>
                  <a:lnTo>
                    <a:pt x="52" y="33"/>
                  </a:lnTo>
                  <a:lnTo>
                    <a:pt x="50" y="33"/>
                  </a:lnTo>
                  <a:lnTo>
                    <a:pt x="50" y="36"/>
                  </a:lnTo>
                  <a:lnTo>
                    <a:pt x="47" y="36"/>
                  </a:lnTo>
                  <a:lnTo>
                    <a:pt x="45" y="36"/>
                  </a:lnTo>
                  <a:lnTo>
                    <a:pt x="45" y="38"/>
                  </a:lnTo>
                  <a:lnTo>
                    <a:pt x="45" y="36"/>
                  </a:lnTo>
                  <a:lnTo>
                    <a:pt x="43" y="38"/>
                  </a:lnTo>
                  <a:lnTo>
                    <a:pt x="40" y="38"/>
                  </a:lnTo>
                  <a:lnTo>
                    <a:pt x="38" y="38"/>
                  </a:lnTo>
                  <a:lnTo>
                    <a:pt x="38" y="40"/>
                  </a:lnTo>
                  <a:lnTo>
                    <a:pt x="38" y="38"/>
                  </a:lnTo>
                  <a:lnTo>
                    <a:pt x="36" y="38"/>
                  </a:lnTo>
                  <a:lnTo>
                    <a:pt x="33" y="38"/>
                  </a:lnTo>
                  <a:lnTo>
                    <a:pt x="33" y="36"/>
                  </a:lnTo>
                  <a:lnTo>
                    <a:pt x="33" y="38"/>
                  </a:lnTo>
                  <a:lnTo>
                    <a:pt x="31" y="38"/>
                  </a:lnTo>
                  <a:lnTo>
                    <a:pt x="28" y="38"/>
                  </a:lnTo>
                  <a:lnTo>
                    <a:pt x="26" y="38"/>
                  </a:lnTo>
                  <a:lnTo>
                    <a:pt x="26" y="40"/>
                  </a:lnTo>
                  <a:lnTo>
                    <a:pt x="26" y="38"/>
                  </a:lnTo>
                  <a:lnTo>
                    <a:pt x="26" y="40"/>
                  </a:lnTo>
                  <a:lnTo>
                    <a:pt x="24" y="38"/>
                  </a:lnTo>
                  <a:lnTo>
                    <a:pt x="24" y="40"/>
                  </a:lnTo>
                  <a:lnTo>
                    <a:pt x="21" y="40"/>
                  </a:lnTo>
                  <a:lnTo>
                    <a:pt x="19" y="40"/>
                  </a:lnTo>
                  <a:lnTo>
                    <a:pt x="19" y="43"/>
                  </a:lnTo>
                  <a:lnTo>
                    <a:pt x="19" y="45"/>
                  </a:lnTo>
                  <a:lnTo>
                    <a:pt x="17" y="45"/>
                  </a:lnTo>
                  <a:lnTo>
                    <a:pt x="17" y="47"/>
                  </a:lnTo>
                  <a:lnTo>
                    <a:pt x="14" y="47"/>
                  </a:lnTo>
                  <a:lnTo>
                    <a:pt x="14" y="50"/>
                  </a:lnTo>
                  <a:lnTo>
                    <a:pt x="12" y="50"/>
                  </a:lnTo>
                  <a:lnTo>
                    <a:pt x="14" y="52"/>
                  </a:lnTo>
                  <a:lnTo>
                    <a:pt x="12" y="52"/>
                  </a:lnTo>
                  <a:lnTo>
                    <a:pt x="12" y="55"/>
                  </a:lnTo>
                  <a:lnTo>
                    <a:pt x="12" y="52"/>
                  </a:lnTo>
                  <a:lnTo>
                    <a:pt x="14" y="55"/>
                  </a:lnTo>
                  <a:lnTo>
                    <a:pt x="12" y="55"/>
                  </a:lnTo>
                  <a:lnTo>
                    <a:pt x="9" y="55"/>
                  </a:lnTo>
                  <a:lnTo>
                    <a:pt x="12" y="55"/>
                  </a:lnTo>
                  <a:lnTo>
                    <a:pt x="12" y="57"/>
                  </a:lnTo>
                  <a:lnTo>
                    <a:pt x="14" y="57"/>
                  </a:lnTo>
                  <a:lnTo>
                    <a:pt x="14" y="55"/>
                  </a:lnTo>
                  <a:lnTo>
                    <a:pt x="17" y="55"/>
                  </a:lnTo>
                  <a:lnTo>
                    <a:pt x="17" y="57"/>
                  </a:lnTo>
                  <a:lnTo>
                    <a:pt x="17" y="59"/>
                  </a:lnTo>
                  <a:lnTo>
                    <a:pt x="14" y="59"/>
                  </a:lnTo>
                  <a:lnTo>
                    <a:pt x="12" y="57"/>
                  </a:lnTo>
                  <a:lnTo>
                    <a:pt x="9" y="55"/>
                  </a:lnTo>
                  <a:lnTo>
                    <a:pt x="7" y="55"/>
                  </a:lnTo>
                  <a:lnTo>
                    <a:pt x="7" y="52"/>
                  </a:lnTo>
                  <a:lnTo>
                    <a:pt x="7" y="50"/>
                  </a:lnTo>
                  <a:lnTo>
                    <a:pt x="5" y="50"/>
                  </a:lnTo>
                  <a:lnTo>
                    <a:pt x="5" y="52"/>
                  </a:lnTo>
                  <a:lnTo>
                    <a:pt x="5" y="55"/>
                  </a:lnTo>
                  <a:lnTo>
                    <a:pt x="5" y="52"/>
                  </a:lnTo>
                  <a:lnTo>
                    <a:pt x="5" y="50"/>
                  </a:lnTo>
                  <a:lnTo>
                    <a:pt x="5" y="47"/>
                  </a:lnTo>
                  <a:lnTo>
                    <a:pt x="7" y="45"/>
                  </a:lnTo>
                  <a:lnTo>
                    <a:pt x="7" y="43"/>
                  </a:lnTo>
                  <a:lnTo>
                    <a:pt x="9" y="40"/>
                  </a:lnTo>
                  <a:lnTo>
                    <a:pt x="12" y="38"/>
                  </a:lnTo>
                  <a:lnTo>
                    <a:pt x="12" y="36"/>
                  </a:lnTo>
                  <a:lnTo>
                    <a:pt x="14" y="36"/>
                  </a:lnTo>
                  <a:lnTo>
                    <a:pt x="17" y="33"/>
                  </a:lnTo>
                  <a:lnTo>
                    <a:pt x="19" y="33"/>
                  </a:lnTo>
                  <a:lnTo>
                    <a:pt x="21" y="33"/>
                  </a:lnTo>
                  <a:lnTo>
                    <a:pt x="24" y="33"/>
                  </a:lnTo>
                  <a:lnTo>
                    <a:pt x="26" y="33"/>
                  </a:lnTo>
                  <a:lnTo>
                    <a:pt x="28" y="31"/>
                  </a:lnTo>
                  <a:lnTo>
                    <a:pt x="31" y="31"/>
                  </a:lnTo>
                  <a:lnTo>
                    <a:pt x="33" y="31"/>
                  </a:lnTo>
                  <a:lnTo>
                    <a:pt x="36" y="31"/>
                  </a:lnTo>
                  <a:lnTo>
                    <a:pt x="38" y="31"/>
                  </a:lnTo>
                  <a:lnTo>
                    <a:pt x="40" y="31"/>
                  </a:lnTo>
                  <a:lnTo>
                    <a:pt x="43" y="31"/>
                  </a:lnTo>
                  <a:lnTo>
                    <a:pt x="45" y="28"/>
                  </a:lnTo>
                  <a:lnTo>
                    <a:pt x="47" y="28"/>
                  </a:lnTo>
                  <a:lnTo>
                    <a:pt x="47" y="26"/>
                  </a:lnTo>
                  <a:lnTo>
                    <a:pt x="50" y="24"/>
                  </a:lnTo>
                  <a:lnTo>
                    <a:pt x="52" y="21"/>
                  </a:lnTo>
                  <a:lnTo>
                    <a:pt x="52" y="19"/>
                  </a:lnTo>
                  <a:lnTo>
                    <a:pt x="55" y="19"/>
                  </a:lnTo>
                  <a:lnTo>
                    <a:pt x="55" y="14"/>
                  </a:lnTo>
                  <a:lnTo>
                    <a:pt x="57" y="14"/>
                  </a:lnTo>
                  <a:lnTo>
                    <a:pt x="57" y="12"/>
                  </a:lnTo>
                  <a:lnTo>
                    <a:pt x="59" y="12"/>
                  </a:lnTo>
                  <a:lnTo>
                    <a:pt x="59" y="9"/>
                  </a:lnTo>
                  <a:lnTo>
                    <a:pt x="62" y="9"/>
                  </a:lnTo>
                  <a:lnTo>
                    <a:pt x="62" y="7"/>
                  </a:lnTo>
                  <a:lnTo>
                    <a:pt x="64" y="7"/>
                  </a:lnTo>
                  <a:lnTo>
                    <a:pt x="66" y="9"/>
                  </a:lnTo>
                  <a:lnTo>
                    <a:pt x="69" y="7"/>
                  </a:lnTo>
                  <a:lnTo>
                    <a:pt x="71" y="7"/>
                  </a:lnTo>
                  <a:lnTo>
                    <a:pt x="73" y="7"/>
                  </a:lnTo>
                  <a:lnTo>
                    <a:pt x="73" y="5"/>
                  </a:lnTo>
                  <a:lnTo>
                    <a:pt x="76" y="5"/>
                  </a:lnTo>
                  <a:lnTo>
                    <a:pt x="78" y="2"/>
                  </a:lnTo>
                  <a:lnTo>
                    <a:pt x="81" y="0"/>
                  </a:lnTo>
                  <a:lnTo>
                    <a:pt x="83" y="0"/>
                  </a:lnTo>
                  <a:lnTo>
                    <a:pt x="83"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6" name="Freeform 50289"/>
            <p:cNvSpPr>
              <a:spLocks noEditPoints="1"/>
            </p:cNvSpPr>
            <p:nvPr/>
          </p:nvSpPr>
          <p:spPr bwMode="auto">
            <a:xfrm>
              <a:off x="2462210" y="4102114"/>
              <a:ext cx="233363" cy="225425"/>
            </a:xfrm>
            <a:custGeom>
              <a:avLst/>
              <a:gdLst>
                <a:gd name="T0" fmla="*/ 55 w 147"/>
                <a:gd name="T1" fmla="*/ 138 h 142"/>
                <a:gd name="T2" fmla="*/ 76 w 147"/>
                <a:gd name="T3" fmla="*/ 135 h 142"/>
                <a:gd name="T4" fmla="*/ 76 w 147"/>
                <a:gd name="T5" fmla="*/ 135 h 142"/>
                <a:gd name="T6" fmla="*/ 121 w 147"/>
                <a:gd name="T7" fmla="*/ 133 h 142"/>
                <a:gd name="T8" fmla="*/ 104 w 147"/>
                <a:gd name="T9" fmla="*/ 130 h 142"/>
                <a:gd name="T10" fmla="*/ 66 w 147"/>
                <a:gd name="T11" fmla="*/ 133 h 142"/>
                <a:gd name="T12" fmla="*/ 74 w 147"/>
                <a:gd name="T13" fmla="*/ 138 h 142"/>
                <a:gd name="T14" fmla="*/ 62 w 147"/>
                <a:gd name="T15" fmla="*/ 130 h 142"/>
                <a:gd name="T16" fmla="*/ 69 w 147"/>
                <a:gd name="T17" fmla="*/ 130 h 142"/>
                <a:gd name="T18" fmla="*/ 116 w 147"/>
                <a:gd name="T19" fmla="*/ 128 h 142"/>
                <a:gd name="T20" fmla="*/ 102 w 147"/>
                <a:gd name="T21" fmla="*/ 128 h 142"/>
                <a:gd name="T22" fmla="*/ 76 w 147"/>
                <a:gd name="T23" fmla="*/ 126 h 142"/>
                <a:gd name="T24" fmla="*/ 78 w 147"/>
                <a:gd name="T25" fmla="*/ 128 h 142"/>
                <a:gd name="T26" fmla="*/ 76 w 147"/>
                <a:gd name="T27" fmla="*/ 128 h 142"/>
                <a:gd name="T28" fmla="*/ 131 w 147"/>
                <a:gd name="T29" fmla="*/ 126 h 142"/>
                <a:gd name="T30" fmla="*/ 138 w 147"/>
                <a:gd name="T31" fmla="*/ 128 h 142"/>
                <a:gd name="T32" fmla="*/ 133 w 147"/>
                <a:gd name="T33" fmla="*/ 130 h 142"/>
                <a:gd name="T34" fmla="*/ 126 w 147"/>
                <a:gd name="T35" fmla="*/ 133 h 142"/>
                <a:gd name="T36" fmla="*/ 59 w 147"/>
                <a:gd name="T37" fmla="*/ 128 h 142"/>
                <a:gd name="T38" fmla="*/ 109 w 147"/>
                <a:gd name="T39" fmla="*/ 126 h 142"/>
                <a:gd name="T40" fmla="*/ 57 w 147"/>
                <a:gd name="T41" fmla="*/ 130 h 142"/>
                <a:gd name="T42" fmla="*/ 50 w 147"/>
                <a:gd name="T43" fmla="*/ 135 h 142"/>
                <a:gd name="T44" fmla="*/ 52 w 147"/>
                <a:gd name="T45" fmla="*/ 130 h 142"/>
                <a:gd name="T46" fmla="*/ 48 w 147"/>
                <a:gd name="T47" fmla="*/ 128 h 142"/>
                <a:gd name="T48" fmla="*/ 43 w 147"/>
                <a:gd name="T49" fmla="*/ 126 h 142"/>
                <a:gd name="T50" fmla="*/ 59 w 147"/>
                <a:gd name="T51" fmla="*/ 123 h 142"/>
                <a:gd name="T52" fmla="*/ 85 w 147"/>
                <a:gd name="T53" fmla="*/ 130 h 142"/>
                <a:gd name="T54" fmla="*/ 78 w 147"/>
                <a:gd name="T55" fmla="*/ 142 h 142"/>
                <a:gd name="T56" fmla="*/ 78 w 147"/>
                <a:gd name="T57" fmla="*/ 133 h 142"/>
                <a:gd name="T58" fmla="*/ 83 w 147"/>
                <a:gd name="T59" fmla="*/ 128 h 142"/>
                <a:gd name="T60" fmla="*/ 95 w 147"/>
                <a:gd name="T61" fmla="*/ 121 h 142"/>
                <a:gd name="T62" fmla="*/ 55 w 147"/>
                <a:gd name="T63" fmla="*/ 121 h 142"/>
                <a:gd name="T64" fmla="*/ 102 w 147"/>
                <a:gd name="T65" fmla="*/ 119 h 142"/>
                <a:gd name="T66" fmla="*/ 5 w 147"/>
                <a:gd name="T67" fmla="*/ 119 h 142"/>
                <a:gd name="T68" fmla="*/ 48 w 147"/>
                <a:gd name="T69" fmla="*/ 116 h 142"/>
                <a:gd name="T70" fmla="*/ 7 w 147"/>
                <a:gd name="T71" fmla="*/ 114 h 142"/>
                <a:gd name="T72" fmla="*/ 2 w 147"/>
                <a:gd name="T73" fmla="*/ 111 h 142"/>
                <a:gd name="T74" fmla="*/ 5 w 147"/>
                <a:gd name="T75" fmla="*/ 111 h 142"/>
                <a:gd name="T76" fmla="*/ 48 w 147"/>
                <a:gd name="T77" fmla="*/ 111 h 142"/>
                <a:gd name="T78" fmla="*/ 7 w 147"/>
                <a:gd name="T79" fmla="*/ 111 h 142"/>
                <a:gd name="T80" fmla="*/ 81 w 147"/>
                <a:gd name="T81" fmla="*/ 104 h 142"/>
                <a:gd name="T82" fmla="*/ 147 w 147"/>
                <a:gd name="T83" fmla="*/ 97 h 142"/>
                <a:gd name="T84" fmla="*/ 147 w 147"/>
                <a:gd name="T85" fmla="*/ 97 h 142"/>
                <a:gd name="T86" fmla="*/ 145 w 147"/>
                <a:gd name="T87" fmla="*/ 100 h 142"/>
                <a:gd name="T88" fmla="*/ 140 w 147"/>
                <a:gd name="T89" fmla="*/ 95 h 142"/>
                <a:gd name="T90" fmla="*/ 123 w 147"/>
                <a:gd name="T91" fmla="*/ 90 h 142"/>
                <a:gd name="T92" fmla="*/ 66 w 147"/>
                <a:gd name="T93" fmla="*/ 90 h 142"/>
                <a:gd name="T94" fmla="*/ 97 w 147"/>
                <a:gd name="T95" fmla="*/ 88 h 142"/>
                <a:gd name="T96" fmla="*/ 116 w 147"/>
                <a:gd name="T97" fmla="*/ 90 h 142"/>
                <a:gd name="T98" fmla="*/ 59 w 147"/>
                <a:gd name="T99" fmla="*/ 88 h 142"/>
                <a:gd name="T100" fmla="*/ 78 w 147"/>
                <a:gd name="T101" fmla="*/ 83 h 142"/>
                <a:gd name="T102" fmla="*/ 93 w 147"/>
                <a:gd name="T103" fmla="*/ 83 h 142"/>
                <a:gd name="T104" fmla="*/ 76 w 147"/>
                <a:gd name="T105" fmla="*/ 83 h 142"/>
                <a:gd name="T106" fmla="*/ 76 w 147"/>
                <a:gd name="T107" fmla="*/ 90 h 142"/>
                <a:gd name="T108" fmla="*/ 74 w 147"/>
                <a:gd name="T109" fmla="*/ 81 h 142"/>
                <a:gd name="T110" fmla="*/ 10 w 147"/>
                <a:gd name="T111" fmla="*/ 45 h 142"/>
                <a:gd name="T112" fmla="*/ 7 w 147"/>
                <a:gd name="T113" fmla="*/ 40 h 142"/>
                <a:gd name="T114" fmla="*/ 104 w 147"/>
                <a:gd name="T115" fmla="*/ 40 h 142"/>
                <a:gd name="T116" fmla="*/ 24 w 147"/>
                <a:gd name="T117" fmla="*/ 35 h 142"/>
                <a:gd name="T118" fmla="*/ 26 w 147"/>
                <a:gd name="T119" fmla="*/ 33 h 142"/>
                <a:gd name="T120" fmla="*/ 95 w 147"/>
                <a:gd name="T121" fmla="*/ 9 h 142"/>
                <a:gd name="T122" fmla="*/ 88 w 147"/>
                <a:gd name="T123" fmla="*/ 16 h 142"/>
                <a:gd name="T124" fmla="*/ 93 w 147"/>
                <a:gd name="T1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42">
                  <a:moveTo>
                    <a:pt x="90" y="138"/>
                  </a:moveTo>
                  <a:lnTo>
                    <a:pt x="90" y="135"/>
                  </a:lnTo>
                  <a:lnTo>
                    <a:pt x="90" y="138"/>
                  </a:lnTo>
                  <a:close/>
                  <a:moveTo>
                    <a:pt x="55" y="135"/>
                  </a:moveTo>
                  <a:lnTo>
                    <a:pt x="55" y="138"/>
                  </a:lnTo>
                  <a:lnTo>
                    <a:pt x="55" y="135"/>
                  </a:lnTo>
                  <a:lnTo>
                    <a:pt x="55" y="138"/>
                  </a:lnTo>
                  <a:lnTo>
                    <a:pt x="55" y="135"/>
                  </a:lnTo>
                  <a:lnTo>
                    <a:pt x="52" y="135"/>
                  </a:lnTo>
                  <a:lnTo>
                    <a:pt x="55" y="135"/>
                  </a:lnTo>
                  <a:close/>
                  <a:moveTo>
                    <a:pt x="76" y="135"/>
                  </a:moveTo>
                  <a:lnTo>
                    <a:pt x="74" y="135"/>
                  </a:lnTo>
                  <a:lnTo>
                    <a:pt x="74" y="133"/>
                  </a:lnTo>
                  <a:lnTo>
                    <a:pt x="76" y="135"/>
                  </a:lnTo>
                  <a:close/>
                  <a:moveTo>
                    <a:pt x="104" y="135"/>
                  </a:moveTo>
                  <a:lnTo>
                    <a:pt x="107" y="135"/>
                  </a:lnTo>
                  <a:lnTo>
                    <a:pt x="104" y="135"/>
                  </a:lnTo>
                  <a:lnTo>
                    <a:pt x="104" y="133"/>
                  </a:lnTo>
                  <a:lnTo>
                    <a:pt x="104" y="135"/>
                  </a:lnTo>
                  <a:close/>
                  <a:moveTo>
                    <a:pt x="76" y="133"/>
                  </a:moveTo>
                  <a:lnTo>
                    <a:pt x="76" y="135"/>
                  </a:lnTo>
                  <a:lnTo>
                    <a:pt x="76" y="133"/>
                  </a:lnTo>
                  <a:close/>
                  <a:moveTo>
                    <a:pt x="74" y="133"/>
                  </a:moveTo>
                  <a:lnTo>
                    <a:pt x="71" y="133"/>
                  </a:lnTo>
                  <a:lnTo>
                    <a:pt x="74" y="133"/>
                  </a:lnTo>
                  <a:close/>
                  <a:moveTo>
                    <a:pt x="121" y="133"/>
                  </a:moveTo>
                  <a:lnTo>
                    <a:pt x="123" y="133"/>
                  </a:lnTo>
                  <a:lnTo>
                    <a:pt x="121" y="133"/>
                  </a:lnTo>
                  <a:lnTo>
                    <a:pt x="121" y="130"/>
                  </a:lnTo>
                  <a:lnTo>
                    <a:pt x="121" y="133"/>
                  </a:lnTo>
                  <a:close/>
                  <a:moveTo>
                    <a:pt x="126" y="130"/>
                  </a:moveTo>
                  <a:lnTo>
                    <a:pt x="123" y="130"/>
                  </a:lnTo>
                  <a:lnTo>
                    <a:pt x="126" y="130"/>
                  </a:lnTo>
                  <a:close/>
                  <a:moveTo>
                    <a:pt x="102" y="130"/>
                  </a:moveTo>
                  <a:lnTo>
                    <a:pt x="104" y="130"/>
                  </a:lnTo>
                  <a:lnTo>
                    <a:pt x="104" y="133"/>
                  </a:lnTo>
                  <a:lnTo>
                    <a:pt x="102" y="133"/>
                  </a:lnTo>
                  <a:lnTo>
                    <a:pt x="100" y="133"/>
                  </a:lnTo>
                  <a:lnTo>
                    <a:pt x="100" y="130"/>
                  </a:lnTo>
                  <a:lnTo>
                    <a:pt x="102" y="130"/>
                  </a:lnTo>
                  <a:close/>
                  <a:moveTo>
                    <a:pt x="64" y="133"/>
                  </a:moveTo>
                  <a:lnTo>
                    <a:pt x="66" y="133"/>
                  </a:lnTo>
                  <a:lnTo>
                    <a:pt x="66" y="135"/>
                  </a:lnTo>
                  <a:lnTo>
                    <a:pt x="69" y="135"/>
                  </a:lnTo>
                  <a:lnTo>
                    <a:pt x="69" y="133"/>
                  </a:lnTo>
                  <a:lnTo>
                    <a:pt x="69" y="135"/>
                  </a:lnTo>
                  <a:lnTo>
                    <a:pt x="71" y="135"/>
                  </a:lnTo>
                  <a:lnTo>
                    <a:pt x="74" y="135"/>
                  </a:lnTo>
                  <a:lnTo>
                    <a:pt x="74" y="138"/>
                  </a:lnTo>
                  <a:lnTo>
                    <a:pt x="71" y="138"/>
                  </a:lnTo>
                  <a:lnTo>
                    <a:pt x="69" y="138"/>
                  </a:lnTo>
                  <a:lnTo>
                    <a:pt x="66" y="138"/>
                  </a:lnTo>
                  <a:lnTo>
                    <a:pt x="66" y="135"/>
                  </a:lnTo>
                  <a:lnTo>
                    <a:pt x="64" y="135"/>
                  </a:lnTo>
                  <a:lnTo>
                    <a:pt x="64" y="133"/>
                  </a:lnTo>
                  <a:lnTo>
                    <a:pt x="62" y="130"/>
                  </a:lnTo>
                  <a:lnTo>
                    <a:pt x="64" y="130"/>
                  </a:lnTo>
                  <a:lnTo>
                    <a:pt x="64" y="133"/>
                  </a:lnTo>
                  <a:close/>
                  <a:moveTo>
                    <a:pt x="69" y="130"/>
                  </a:moveTo>
                  <a:lnTo>
                    <a:pt x="71" y="130"/>
                  </a:lnTo>
                  <a:lnTo>
                    <a:pt x="69" y="130"/>
                  </a:lnTo>
                  <a:lnTo>
                    <a:pt x="66" y="130"/>
                  </a:lnTo>
                  <a:lnTo>
                    <a:pt x="69" y="130"/>
                  </a:lnTo>
                  <a:close/>
                  <a:moveTo>
                    <a:pt x="107" y="130"/>
                  </a:moveTo>
                  <a:lnTo>
                    <a:pt x="107" y="133"/>
                  </a:lnTo>
                  <a:lnTo>
                    <a:pt x="107" y="130"/>
                  </a:lnTo>
                  <a:lnTo>
                    <a:pt x="104" y="130"/>
                  </a:lnTo>
                  <a:lnTo>
                    <a:pt x="107" y="130"/>
                  </a:lnTo>
                  <a:close/>
                  <a:moveTo>
                    <a:pt x="119" y="130"/>
                  </a:moveTo>
                  <a:lnTo>
                    <a:pt x="116" y="128"/>
                  </a:lnTo>
                  <a:lnTo>
                    <a:pt x="119" y="128"/>
                  </a:lnTo>
                  <a:lnTo>
                    <a:pt x="119" y="130"/>
                  </a:lnTo>
                  <a:close/>
                  <a:moveTo>
                    <a:pt x="64" y="128"/>
                  </a:moveTo>
                  <a:lnTo>
                    <a:pt x="66" y="128"/>
                  </a:lnTo>
                  <a:lnTo>
                    <a:pt x="64" y="128"/>
                  </a:lnTo>
                  <a:close/>
                  <a:moveTo>
                    <a:pt x="100" y="128"/>
                  </a:moveTo>
                  <a:lnTo>
                    <a:pt x="102" y="128"/>
                  </a:lnTo>
                  <a:lnTo>
                    <a:pt x="100" y="128"/>
                  </a:lnTo>
                  <a:close/>
                  <a:moveTo>
                    <a:pt x="78" y="126"/>
                  </a:moveTo>
                  <a:lnTo>
                    <a:pt x="78" y="128"/>
                  </a:lnTo>
                  <a:lnTo>
                    <a:pt x="78" y="126"/>
                  </a:lnTo>
                  <a:lnTo>
                    <a:pt x="78" y="128"/>
                  </a:lnTo>
                  <a:lnTo>
                    <a:pt x="76" y="128"/>
                  </a:lnTo>
                  <a:lnTo>
                    <a:pt x="76" y="126"/>
                  </a:lnTo>
                  <a:lnTo>
                    <a:pt x="78" y="126"/>
                  </a:lnTo>
                  <a:close/>
                  <a:moveTo>
                    <a:pt x="76" y="128"/>
                  </a:moveTo>
                  <a:lnTo>
                    <a:pt x="78" y="128"/>
                  </a:lnTo>
                  <a:lnTo>
                    <a:pt x="76" y="128"/>
                  </a:lnTo>
                  <a:lnTo>
                    <a:pt x="76" y="130"/>
                  </a:lnTo>
                  <a:lnTo>
                    <a:pt x="78" y="130"/>
                  </a:lnTo>
                  <a:lnTo>
                    <a:pt x="78" y="128"/>
                  </a:lnTo>
                  <a:lnTo>
                    <a:pt x="78" y="130"/>
                  </a:lnTo>
                  <a:lnTo>
                    <a:pt x="76" y="130"/>
                  </a:lnTo>
                  <a:lnTo>
                    <a:pt x="74" y="130"/>
                  </a:lnTo>
                  <a:lnTo>
                    <a:pt x="74" y="133"/>
                  </a:lnTo>
                  <a:lnTo>
                    <a:pt x="74" y="130"/>
                  </a:lnTo>
                  <a:lnTo>
                    <a:pt x="74" y="128"/>
                  </a:lnTo>
                  <a:lnTo>
                    <a:pt x="76" y="128"/>
                  </a:lnTo>
                  <a:lnTo>
                    <a:pt x="76" y="126"/>
                  </a:lnTo>
                  <a:lnTo>
                    <a:pt x="76" y="128"/>
                  </a:lnTo>
                  <a:close/>
                  <a:moveTo>
                    <a:pt x="128" y="128"/>
                  </a:moveTo>
                  <a:lnTo>
                    <a:pt x="128" y="126"/>
                  </a:lnTo>
                  <a:lnTo>
                    <a:pt x="131" y="126"/>
                  </a:lnTo>
                  <a:lnTo>
                    <a:pt x="128" y="126"/>
                  </a:lnTo>
                  <a:lnTo>
                    <a:pt x="131" y="126"/>
                  </a:lnTo>
                  <a:lnTo>
                    <a:pt x="128" y="126"/>
                  </a:lnTo>
                  <a:lnTo>
                    <a:pt x="128" y="128"/>
                  </a:lnTo>
                  <a:close/>
                  <a:moveTo>
                    <a:pt x="131" y="126"/>
                  </a:moveTo>
                  <a:lnTo>
                    <a:pt x="131" y="128"/>
                  </a:lnTo>
                  <a:lnTo>
                    <a:pt x="133" y="128"/>
                  </a:lnTo>
                  <a:lnTo>
                    <a:pt x="135" y="128"/>
                  </a:lnTo>
                  <a:lnTo>
                    <a:pt x="138" y="128"/>
                  </a:lnTo>
                  <a:lnTo>
                    <a:pt x="140" y="128"/>
                  </a:lnTo>
                  <a:lnTo>
                    <a:pt x="140" y="130"/>
                  </a:lnTo>
                  <a:lnTo>
                    <a:pt x="140" y="133"/>
                  </a:lnTo>
                  <a:lnTo>
                    <a:pt x="138" y="133"/>
                  </a:lnTo>
                  <a:lnTo>
                    <a:pt x="138" y="130"/>
                  </a:lnTo>
                  <a:lnTo>
                    <a:pt x="135" y="130"/>
                  </a:lnTo>
                  <a:lnTo>
                    <a:pt x="133" y="130"/>
                  </a:lnTo>
                  <a:lnTo>
                    <a:pt x="131" y="130"/>
                  </a:lnTo>
                  <a:lnTo>
                    <a:pt x="131" y="133"/>
                  </a:lnTo>
                  <a:lnTo>
                    <a:pt x="128" y="135"/>
                  </a:lnTo>
                  <a:lnTo>
                    <a:pt x="126" y="135"/>
                  </a:lnTo>
                  <a:lnTo>
                    <a:pt x="126" y="133"/>
                  </a:lnTo>
                  <a:lnTo>
                    <a:pt x="126" y="135"/>
                  </a:lnTo>
                  <a:lnTo>
                    <a:pt x="126" y="133"/>
                  </a:lnTo>
                  <a:lnTo>
                    <a:pt x="126" y="130"/>
                  </a:lnTo>
                  <a:lnTo>
                    <a:pt x="128" y="130"/>
                  </a:lnTo>
                  <a:lnTo>
                    <a:pt x="131" y="130"/>
                  </a:lnTo>
                  <a:lnTo>
                    <a:pt x="131" y="128"/>
                  </a:lnTo>
                  <a:lnTo>
                    <a:pt x="128" y="126"/>
                  </a:lnTo>
                  <a:lnTo>
                    <a:pt x="131" y="126"/>
                  </a:lnTo>
                  <a:close/>
                  <a:moveTo>
                    <a:pt x="59" y="128"/>
                  </a:moveTo>
                  <a:lnTo>
                    <a:pt x="59" y="126"/>
                  </a:lnTo>
                  <a:lnTo>
                    <a:pt x="62" y="126"/>
                  </a:lnTo>
                  <a:lnTo>
                    <a:pt x="62" y="128"/>
                  </a:lnTo>
                  <a:lnTo>
                    <a:pt x="59" y="128"/>
                  </a:lnTo>
                  <a:close/>
                  <a:moveTo>
                    <a:pt x="109" y="126"/>
                  </a:moveTo>
                  <a:lnTo>
                    <a:pt x="112" y="126"/>
                  </a:lnTo>
                  <a:lnTo>
                    <a:pt x="109" y="126"/>
                  </a:lnTo>
                  <a:close/>
                  <a:moveTo>
                    <a:pt x="48" y="126"/>
                  </a:moveTo>
                  <a:lnTo>
                    <a:pt x="50" y="126"/>
                  </a:lnTo>
                  <a:lnTo>
                    <a:pt x="50" y="128"/>
                  </a:lnTo>
                  <a:lnTo>
                    <a:pt x="52" y="128"/>
                  </a:lnTo>
                  <a:lnTo>
                    <a:pt x="55" y="128"/>
                  </a:lnTo>
                  <a:lnTo>
                    <a:pt x="55" y="130"/>
                  </a:lnTo>
                  <a:lnTo>
                    <a:pt x="57" y="130"/>
                  </a:lnTo>
                  <a:lnTo>
                    <a:pt x="57" y="133"/>
                  </a:lnTo>
                  <a:lnTo>
                    <a:pt x="57" y="135"/>
                  </a:lnTo>
                  <a:lnTo>
                    <a:pt x="55" y="135"/>
                  </a:lnTo>
                  <a:lnTo>
                    <a:pt x="52" y="133"/>
                  </a:lnTo>
                  <a:lnTo>
                    <a:pt x="52" y="135"/>
                  </a:lnTo>
                  <a:lnTo>
                    <a:pt x="52" y="133"/>
                  </a:lnTo>
                  <a:lnTo>
                    <a:pt x="50" y="135"/>
                  </a:lnTo>
                  <a:lnTo>
                    <a:pt x="50" y="133"/>
                  </a:lnTo>
                  <a:lnTo>
                    <a:pt x="48" y="133"/>
                  </a:lnTo>
                  <a:lnTo>
                    <a:pt x="48" y="130"/>
                  </a:lnTo>
                  <a:lnTo>
                    <a:pt x="50" y="130"/>
                  </a:lnTo>
                  <a:lnTo>
                    <a:pt x="50" y="133"/>
                  </a:lnTo>
                  <a:lnTo>
                    <a:pt x="52" y="133"/>
                  </a:lnTo>
                  <a:lnTo>
                    <a:pt x="52" y="130"/>
                  </a:lnTo>
                  <a:lnTo>
                    <a:pt x="52" y="133"/>
                  </a:lnTo>
                  <a:lnTo>
                    <a:pt x="50" y="133"/>
                  </a:lnTo>
                  <a:lnTo>
                    <a:pt x="50" y="130"/>
                  </a:lnTo>
                  <a:lnTo>
                    <a:pt x="48" y="130"/>
                  </a:lnTo>
                  <a:lnTo>
                    <a:pt x="50" y="128"/>
                  </a:lnTo>
                  <a:lnTo>
                    <a:pt x="48" y="130"/>
                  </a:lnTo>
                  <a:lnTo>
                    <a:pt x="48" y="128"/>
                  </a:lnTo>
                  <a:lnTo>
                    <a:pt x="50" y="128"/>
                  </a:lnTo>
                  <a:lnTo>
                    <a:pt x="48" y="128"/>
                  </a:lnTo>
                  <a:lnTo>
                    <a:pt x="45" y="128"/>
                  </a:lnTo>
                  <a:lnTo>
                    <a:pt x="45" y="126"/>
                  </a:lnTo>
                  <a:lnTo>
                    <a:pt x="45" y="128"/>
                  </a:lnTo>
                  <a:lnTo>
                    <a:pt x="43" y="128"/>
                  </a:lnTo>
                  <a:lnTo>
                    <a:pt x="43" y="126"/>
                  </a:lnTo>
                  <a:lnTo>
                    <a:pt x="45" y="126"/>
                  </a:lnTo>
                  <a:lnTo>
                    <a:pt x="48" y="126"/>
                  </a:lnTo>
                  <a:close/>
                  <a:moveTo>
                    <a:pt x="59" y="123"/>
                  </a:moveTo>
                  <a:lnTo>
                    <a:pt x="57" y="123"/>
                  </a:lnTo>
                  <a:lnTo>
                    <a:pt x="59" y="123"/>
                  </a:lnTo>
                  <a:lnTo>
                    <a:pt x="59" y="121"/>
                  </a:lnTo>
                  <a:lnTo>
                    <a:pt x="59" y="123"/>
                  </a:lnTo>
                  <a:close/>
                  <a:moveTo>
                    <a:pt x="112" y="123"/>
                  </a:moveTo>
                  <a:lnTo>
                    <a:pt x="112" y="121"/>
                  </a:lnTo>
                  <a:lnTo>
                    <a:pt x="112" y="123"/>
                  </a:lnTo>
                  <a:close/>
                  <a:moveTo>
                    <a:pt x="88" y="123"/>
                  </a:moveTo>
                  <a:lnTo>
                    <a:pt x="85" y="126"/>
                  </a:lnTo>
                  <a:lnTo>
                    <a:pt x="85" y="128"/>
                  </a:lnTo>
                  <a:lnTo>
                    <a:pt x="85" y="130"/>
                  </a:lnTo>
                  <a:lnTo>
                    <a:pt x="83" y="130"/>
                  </a:lnTo>
                  <a:lnTo>
                    <a:pt x="83" y="133"/>
                  </a:lnTo>
                  <a:lnTo>
                    <a:pt x="83" y="135"/>
                  </a:lnTo>
                  <a:lnTo>
                    <a:pt x="81" y="138"/>
                  </a:lnTo>
                  <a:lnTo>
                    <a:pt x="81" y="140"/>
                  </a:lnTo>
                  <a:lnTo>
                    <a:pt x="81" y="142"/>
                  </a:lnTo>
                  <a:lnTo>
                    <a:pt x="78" y="142"/>
                  </a:lnTo>
                  <a:lnTo>
                    <a:pt x="78" y="140"/>
                  </a:lnTo>
                  <a:lnTo>
                    <a:pt x="76" y="138"/>
                  </a:lnTo>
                  <a:lnTo>
                    <a:pt x="78" y="138"/>
                  </a:lnTo>
                  <a:lnTo>
                    <a:pt x="78" y="135"/>
                  </a:lnTo>
                  <a:lnTo>
                    <a:pt x="81" y="135"/>
                  </a:lnTo>
                  <a:lnTo>
                    <a:pt x="78" y="135"/>
                  </a:lnTo>
                  <a:lnTo>
                    <a:pt x="78" y="133"/>
                  </a:lnTo>
                  <a:lnTo>
                    <a:pt x="78" y="135"/>
                  </a:lnTo>
                  <a:lnTo>
                    <a:pt x="78" y="133"/>
                  </a:lnTo>
                  <a:lnTo>
                    <a:pt x="78" y="135"/>
                  </a:lnTo>
                  <a:lnTo>
                    <a:pt x="78" y="133"/>
                  </a:lnTo>
                  <a:lnTo>
                    <a:pt x="78" y="130"/>
                  </a:lnTo>
                  <a:lnTo>
                    <a:pt x="81" y="130"/>
                  </a:lnTo>
                  <a:lnTo>
                    <a:pt x="83" y="128"/>
                  </a:lnTo>
                  <a:lnTo>
                    <a:pt x="83" y="126"/>
                  </a:lnTo>
                  <a:lnTo>
                    <a:pt x="85" y="126"/>
                  </a:lnTo>
                  <a:lnTo>
                    <a:pt x="85" y="123"/>
                  </a:lnTo>
                  <a:lnTo>
                    <a:pt x="85" y="121"/>
                  </a:lnTo>
                  <a:lnTo>
                    <a:pt x="88" y="121"/>
                  </a:lnTo>
                  <a:lnTo>
                    <a:pt x="88" y="123"/>
                  </a:lnTo>
                  <a:close/>
                  <a:moveTo>
                    <a:pt x="95" y="121"/>
                  </a:moveTo>
                  <a:lnTo>
                    <a:pt x="93" y="121"/>
                  </a:lnTo>
                  <a:lnTo>
                    <a:pt x="95" y="121"/>
                  </a:lnTo>
                  <a:close/>
                  <a:moveTo>
                    <a:pt x="55" y="121"/>
                  </a:moveTo>
                  <a:lnTo>
                    <a:pt x="57" y="121"/>
                  </a:lnTo>
                  <a:lnTo>
                    <a:pt x="57" y="123"/>
                  </a:lnTo>
                  <a:lnTo>
                    <a:pt x="55" y="123"/>
                  </a:lnTo>
                  <a:lnTo>
                    <a:pt x="55" y="121"/>
                  </a:lnTo>
                  <a:close/>
                  <a:moveTo>
                    <a:pt x="100" y="119"/>
                  </a:moveTo>
                  <a:lnTo>
                    <a:pt x="102" y="119"/>
                  </a:lnTo>
                  <a:lnTo>
                    <a:pt x="100" y="119"/>
                  </a:lnTo>
                  <a:close/>
                  <a:moveTo>
                    <a:pt x="112" y="119"/>
                  </a:moveTo>
                  <a:lnTo>
                    <a:pt x="112" y="121"/>
                  </a:lnTo>
                  <a:lnTo>
                    <a:pt x="112" y="119"/>
                  </a:lnTo>
                  <a:close/>
                  <a:moveTo>
                    <a:pt x="102" y="119"/>
                  </a:moveTo>
                  <a:lnTo>
                    <a:pt x="104" y="119"/>
                  </a:lnTo>
                  <a:lnTo>
                    <a:pt x="102" y="119"/>
                  </a:lnTo>
                  <a:close/>
                  <a:moveTo>
                    <a:pt x="95" y="116"/>
                  </a:moveTo>
                  <a:lnTo>
                    <a:pt x="95" y="119"/>
                  </a:lnTo>
                  <a:lnTo>
                    <a:pt x="95" y="116"/>
                  </a:lnTo>
                  <a:close/>
                  <a:moveTo>
                    <a:pt x="7" y="116"/>
                  </a:moveTo>
                  <a:lnTo>
                    <a:pt x="5" y="119"/>
                  </a:lnTo>
                  <a:lnTo>
                    <a:pt x="7" y="119"/>
                  </a:lnTo>
                  <a:lnTo>
                    <a:pt x="5" y="119"/>
                  </a:lnTo>
                  <a:lnTo>
                    <a:pt x="5" y="116"/>
                  </a:lnTo>
                  <a:lnTo>
                    <a:pt x="7" y="116"/>
                  </a:lnTo>
                  <a:lnTo>
                    <a:pt x="7" y="114"/>
                  </a:lnTo>
                  <a:lnTo>
                    <a:pt x="7" y="116"/>
                  </a:lnTo>
                  <a:close/>
                  <a:moveTo>
                    <a:pt x="48" y="116"/>
                  </a:moveTo>
                  <a:lnTo>
                    <a:pt x="48" y="114"/>
                  </a:lnTo>
                  <a:lnTo>
                    <a:pt x="48" y="116"/>
                  </a:lnTo>
                  <a:close/>
                  <a:moveTo>
                    <a:pt x="7" y="114"/>
                  </a:moveTo>
                  <a:lnTo>
                    <a:pt x="10" y="114"/>
                  </a:lnTo>
                  <a:lnTo>
                    <a:pt x="10" y="116"/>
                  </a:lnTo>
                  <a:lnTo>
                    <a:pt x="7" y="116"/>
                  </a:lnTo>
                  <a:lnTo>
                    <a:pt x="7" y="114"/>
                  </a:lnTo>
                  <a:close/>
                  <a:moveTo>
                    <a:pt x="50" y="111"/>
                  </a:moveTo>
                  <a:lnTo>
                    <a:pt x="50" y="114"/>
                  </a:lnTo>
                  <a:lnTo>
                    <a:pt x="48" y="114"/>
                  </a:lnTo>
                  <a:lnTo>
                    <a:pt x="50" y="111"/>
                  </a:lnTo>
                  <a:lnTo>
                    <a:pt x="50" y="114"/>
                  </a:lnTo>
                  <a:lnTo>
                    <a:pt x="50" y="111"/>
                  </a:lnTo>
                  <a:close/>
                  <a:moveTo>
                    <a:pt x="2" y="111"/>
                  </a:moveTo>
                  <a:lnTo>
                    <a:pt x="2" y="114"/>
                  </a:lnTo>
                  <a:lnTo>
                    <a:pt x="5" y="114"/>
                  </a:lnTo>
                  <a:lnTo>
                    <a:pt x="5" y="111"/>
                  </a:lnTo>
                  <a:lnTo>
                    <a:pt x="5" y="114"/>
                  </a:lnTo>
                  <a:lnTo>
                    <a:pt x="2" y="114"/>
                  </a:lnTo>
                  <a:lnTo>
                    <a:pt x="2" y="111"/>
                  </a:lnTo>
                  <a:lnTo>
                    <a:pt x="5" y="111"/>
                  </a:lnTo>
                  <a:lnTo>
                    <a:pt x="2" y="111"/>
                  </a:lnTo>
                  <a:close/>
                  <a:moveTo>
                    <a:pt x="7" y="111"/>
                  </a:moveTo>
                  <a:lnTo>
                    <a:pt x="5" y="114"/>
                  </a:lnTo>
                  <a:lnTo>
                    <a:pt x="5" y="111"/>
                  </a:lnTo>
                  <a:lnTo>
                    <a:pt x="7" y="111"/>
                  </a:lnTo>
                  <a:close/>
                  <a:moveTo>
                    <a:pt x="45" y="111"/>
                  </a:moveTo>
                  <a:lnTo>
                    <a:pt x="48" y="111"/>
                  </a:lnTo>
                  <a:lnTo>
                    <a:pt x="45" y="111"/>
                  </a:lnTo>
                  <a:close/>
                  <a:moveTo>
                    <a:pt x="2" y="104"/>
                  </a:moveTo>
                  <a:lnTo>
                    <a:pt x="2" y="107"/>
                  </a:lnTo>
                  <a:lnTo>
                    <a:pt x="5" y="107"/>
                  </a:lnTo>
                  <a:lnTo>
                    <a:pt x="5" y="109"/>
                  </a:lnTo>
                  <a:lnTo>
                    <a:pt x="5" y="111"/>
                  </a:lnTo>
                  <a:lnTo>
                    <a:pt x="7" y="111"/>
                  </a:lnTo>
                  <a:lnTo>
                    <a:pt x="5" y="111"/>
                  </a:lnTo>
                  <a:lnTo>
                    <a:pt x="2" y="109"/>
                  </a:lnTo>
                  <a:lnTo>
                    <a:pt x="2" y="107"/>
                  </a:lnTo>
                  <a:lnTo>
                    <a:pt x="0" y="107"/>
                  </a:lnTo>
                  <a:lnTo>
                    <a:pt x="2" y="104"/>
                  </a:lnTo>
                  <a:close/>
                  <a:moveTo>
                    <a:pt x="83" y="102"/>
                  </a:moveTo>
                  <a:lnTo>
                    <a:pt x="81" y="104"/>
                  </a:lnTo>
                  <a:lnTo>
                    <a:pt x="81" y="102"/>
                  </a:lnTo>
                  <a:lnTo>
                    <a:pt x="83" y="102"/>
                  </a:lnTo>
                  <a:close/>
                  <a:moveTo>
                    <a:pt x="0" y="102"/>
                  </a:moveTo>
                  <a:lnTo>
                    <a:pt x="0" y="104"/>
                  </a:lnTo>
                  <a:lnTo>
                    <a:pt x="0" y="102"/>
                  </a:lnTo>
                  <a:close/>
                  <a:moveTo>
                    <a:pt x="147" y="100"/>
                  </a:moveTo>
                  <a:lnTo>
                    <a:pt x="147" y="97"/>
                  </a:lnTo>
                  <a:lnTo>
                    <a:pt x="145" y="97"/>
                  </a:lnTo>
                  <a:lnTo>
                    <a:pt x="147" y="97"/>
                  </a:lnTo>
                  <a:lnTo>
                    <a:pt x="147" y="100"/>
                  </a:lnTo>
                  <a:close/>
                  <a:moveTo>
                    <a:pt x="147" y="95"/>
                  </a:moveTo>
                  <a:lnTo>
                    <a:pt x="147" y="97"/>
                  </a:lnTo>
                  <a:lnTo>
                    <a:pt x="145" y="97"/>
                  </a:lnTo>
                  <a:lnTo>
                    <a:pt x="147" y="97"/>
                  </a:lnTo>
                  <a:lnTo>
                    <a:pt x="145" y="97"/>
                  </a:lnTo>
                  <a:lnTo>
                    <a:pt x="145" y="95"/>
                  </a:lnTo>
                  <a:lnTo>
                    <a:pt x="147" y="95"/>
                  </a:lnTo>
                  <a:close/>
                  <a:moveTo>
                    <a:pt x="142" y="95"/>
                  </a:moveTo>
                  <a:lnTo>
                    <a:pt x="142" y="97"/>
                  </a:lnTo>
                  <a:lnTo>
                    <a:pt x="145" y="97"/>
                  </a:lnTo>
                  <a:lnTo>
                    <a:pt x="145" y="100"/>
                  </a:lnTo>
                  <a:lnTo>
                    <a:pt x="142" y="100"/>
                  </a:lnTo>
                  <a:lnTo>
                    <a:pt x="140" y="102"/>
                  </a:lnTo>
                  <a:lnTo>
                    <a:pt x="140" y="100"/>
                  </a:lnTo>
                  <a:lnTo>
                    <a:pt x="138" y="100"/>
                  </a:lnTo>
                  <a:lnTo>
                    <a:pt x="138" y="97"/>
                  </a:lnTo>
                  <a:lnTo>
                    <a:pt x="140" y="97"/>
                  </a:lnTo>
                  <a:lnTo>
                    <a:pt x="140" y="95"/>
                  </a:lnTo>
                  <a:lnTo>
                    <a:pt x="142" y="95"/>
                  </a:lnTo>
                  <a:lnTo>
                    <a:pt x="142" y="92"/>
                  </a:lnTo>
                  <a:lnTo>
                    <a:pt x="142" y="95"/>
                  </a:lnTo>
                  <a:close/>
                  <a:moveTo>
                    <a:pt x="123" y="92"/>
                  </a:moveTo>
                  <a:lnTo>
                    <a:pt x="126" y="92"/>
                  </a:lnTo>
                  <a:lnTo>
                    <a:pt x="123" y="92"/>
                  </a:lnTo>
                  <a:lnTo>
                    <a:pt x="123" y="90"/>
                  </a:lnTo>
                  <a:lnTo>
                    <a:pt x="123" y="92"/>
                  </a:lnTo>
                  <a:close/>
                  <a:moveTo>
                    <a:pt x="116" y="90"/>
                  </a:moveTo>
                  <a:lnTo>
                    <a:pt x="116" y="92"/>
                  </a:lnTo>
                  <a:lnTo>
                    <a:pt x="116" y="90"/>
                  </a:lnTo>
                  <a:lnTo>
                    <a:pt x="114" y="90"/>
                  </a:lnTo>
                  <a:lnTo>
                    <a:pt x="116" y="90"/>
                  </a:lnTo>
                  <a:close/>
                  <a:moveTo>
                    <a:pt x="66" y="90"/>
                  </a:moveTo>
                  <a:lnTo>
                    <a:pt x="64" y="90"/>
                  </a:lnTo>
                  <a:lnTo>
                    <a:pt x="66" y="90"/>
                  </a:lnTo>
                  <a:lnTo>
                    <a:pt x="66" y="88"/>
                  </a:lnTo>
                  <a:lnTo>
                    <a:pt x="66" y="90"/>
                  </a:lnTo>
                  <a:close/>
                  <a:moveTo>
                    <a:pt x="100" y="90"/>
                  </a:moveTo>
                  <a:lnTo>
                    <a:pt x="97" y="90"/>
                  </a:lnTo>
                  <a:lnTo>
                    <a:pt x="97" y="88"/>
                  </a:lnTo>
                  <a:lnTo>
                    <a:pt x="97" y="90"/>
                  </a:lnTo>
                  <a:lnTo>
                    <a:pt x="100" y="90"/>
                  </a:lnTo>
                  <a:close/>
                  <a:moveTo>
                    <a:pt x="116" y="88"/>
                  </a:moveTo>
                  <a:lnTo>
                    <a:pt x="116" y="90"/>
                  </a:lnTo>
                  <a:lnTo>
                    <a:pt x="114" y="90"/>
                  </a:lnTo>
                  <a:lnTo>
                    <a:pt x="114" y="88"/>
                  </a:lnTo>
                  <a:lnTo>
                    <a:pt x="116" y="90"/>
                  </a:lnTo>
                  <a:lnTo>
                    <a:pt x="116" y="88"/>
                  </a:lnTo>
                  <a:close/>
                  <a:moveTo>
                    <a:pt x="59" y="88"/>
                  </a:moveTo>
                  <a:lnTo>
                    <a:pt x="57" y="88"/>
                  </a:lnTo>
                  <a:lnTo>
                    <a:pt x="59" y="88"/>
                  </a:lnTo>
                  <a:lnTo>
                    <a:pt x="57" y="88"/>
                  </a:lnTo>
                  <a:lnTo>
                    <a:pt x="57" y="85"/>
                  </a:lnTo>
                  <a:lnTo>
                    <a:pt x="59" y="88"/>
                  </a:lnTo>
                  <a:close/>
                  <a:moveTo>
                    <a:pt x="59" y="85"/>
                  </a:moveTo>
                  <a:lnTo>
                    <a:pt x="57" y="85"/>
                  </a:lnTo>
                  <a:lnTo>
                    <a:pt x="59" y="85"/>
                  </a:lnTo>
                  <a:close/>
                  <a:moveTo>
                    <a:pt x="55" y="85"/>
                  </a:moveTo>
                  <a:lnTo>
                    <a:pt x="57" y="85"/>
                  </a:lnTo>
                  <a:lnTo>
                    <a:pt x="55" y="85"/>
                  </a:lnTo>
                  <a:close/>
                  <a:moveTo>
                    <a:pt x="78" y="83"/>
                  </a:moveTo>
                  <a:lnTo>
                    <a:pt x="76" y="83"/>
                  </a:lnTo>
                  <a:lnTo>
                    <a:pt x="78" y="83"/>
                  </a:lnTo>
                  <a:close/>
                  <a:moveTo>
                    <a:pt x="93" y="83"/>
                  </a:moveTo>
                  <a:lnTo>
                    <a:pt x="95" y="83"/>
                  </a:lnTo>
                  <a:lnTo>
                    <a:pt x="95" y="85"/>
                  </a:lnTo>
                  <a:lnTo>
                    <a:pt x="93" y="85"/>
                  </a:lnTo>
                  <a:lnTo>
                    <a:pt x="93" y="83"/>
                  </a:lnTo>
                  <a:lnTo>
                    <a:pt x="90" y="83"/>
                  </a:lnTo>
                  <a:lnTo>
                    <a:pt x="93" y="83"/>
                  </a:lnTo>
                  <a:close/>
                  <a:moveTo>
                    <a:pt x="71" y="81"/>
                  </a:moveTo>
                  <a:lnTo>
                    <a:pt x="69" y="81"/>
                  </a:lnTo>
                  <a:lnTo>
                    <a:pt x="71" y="81"/>
                  </a:lnTo>
                  <a:close/>
                  <a:moveTo>
                    <a:pt x="76" y="81"/>
                  </a:moveTo>
                  <a:lnTo>
                    <a:pt x="76" y="83"/>
                  </a:lnTo>
                  <a:lnTo>
                    <a:pt x="76" y="85"/>
                  </a:lnTo>
                  <a:lnTo>
                    <a:pt x="78" y="85"/>
                  </a:lnTo>
                  <a:lnTo>
                    <a:pt x="78" y="83"/>
                  </a:lnTo>
                  <a:lnTo>
                    <a:pt x="78" y="85"/>
                  </a:lnTo>
                  <a:lnTo>
                    <a:pt x="76" y="85"/>
                  </a:lnTo>
                  <a:lnTo>
                    <a:pt x="76" y="88"/>
                  </a:lnTo>
                  <a:lnTo>
                    <a:pt x="76" y="90"/>
                  </a:lnTo>
                  <a:lnTo>
                    <a:pt x="74" y="90"/>
                  </a:lnTo>
                  <a:lnTo>
                    <a:pt x="74" y="88"/>
                  </a:lnTo>
                  <a:lnTo>
                    <a:pt x="74" y="85"/>
                  </a:lnTo>
                  <a:lnTo>
                    <a:pt x="76" y="85"/>
                  </a:lnTo>
                  <a:lnTo>
                    <a:pt x="76" y="83"/>
                  </a:lnTo>
                  <a:lnTo>
                    <a:pt x="76" y="81"/>
                  </a:lnTo>
                  <a:lnTo>
                    <a:pt x="74" y="81"/>
                  </a:lnTo>
                  <a:lnTo>
                    <a:pt x="74" y="78"/>
                  </a:lnTo>
                  <a:lnTo>
                    <a:pt x="74" y="81"/>
                  </a:lnTo>
                  <a:lnTo>
                    <a:pt x="76" y="81"/>
                  </a:lnTo>
                  <a:close/>
                  <a:moveTo>
                    <a:pt x="83" y="71"/>
                  </a:moveTo>
                  <a:lnTo>
                    <a:pt x="81" y="71"/>
                  </a:lnTo>
                  <a:lnTo>
                    <a:pt x="83" y="71"/>
                  </a:lnTo>
                  <a:close/>
                  <a:moveTo>
                    <a:pt x="10" y="45"/>
                  </a:moveTo>
                  <a:lnTo>
                    <a:pt x="12" y="45"/>
                  </a:lnTo>
                  <a:lnTo>
                    <a:pt x="10" y="45"/>
                  </a:lnTo>
                  <a:lnTo>
                    <a:pt x="10" y="47"/>
                  </a:lnTo>
                  <a:lnTo>
                    <a:pt x="10" y="45"/>
                  </a:lnTo>
                  <a:close/>
                  <a:moveTo>
                    <a:pt x="10" y="43"/>
                  </a:moveTo>
                  <a:lnTo>
                    <a:pt x="7" y="43"/>
                  </a:lnTo>
                  <a:lnTo>
                    <a:pt x="7" y="40"/>
                  </a:lnTo>
                  <a:lnTo>
                    <a:pt x="10" y="40"/>
                  </a:lnTo>
                  <a:lnTo>
                    <a:pt x="10" y="43"/>
                  </a:lnTo>
                  <a:close/>
                  <a:moveTo>
                    <a:pt x="109" y="40"/>
                  </a:moveTo>
                  <a:lnTo>
                    <a:pt x="109" y="43"/>
                  </a:lnTo>
                  <a:lnTo>
                    <a:pt x="107" y="43"/>
                  </a:lnTo>
                  <a:lnTo>
                    <a:pt x="104" y="43"/>
                  </a:lnTo>
                  <a:lnTo>
                    <a:pt x="104" y="40"/>
                  </a:lnTo>
                  <a:lnTo>
                    <a:pt x="107" y="40"/>
                  </a:lnTo>
                  <a:lnTo>
                    <a:pt x="109" y="40"/>
                  </a:lnTo>
                  <a:close/>
                  <a:moveTo>
                    <a:pt x="24" y="35"/>
                  </a:moveTo>
                  <a:lnTo>
                    <a:pt x="26" y="35"/>
                  </a:lnTo>
                  <a:lnTo>
                    <a:pt x="24" y="35"/>
                  </a:lnTo>
                  <a:lnTo>
                    <a:pt x="26" y="35"/>
                  </a:lnTo>
                  <a:lnTo>
                    <a:pt x="24" y="35"/>
                  </a:lnTo>
                  <a:lnTo>
                    <a:pt x="24" y="38"/>
                  </a:lnTo>
                  <a:lnTo>
                    <a:pt x="21" y="35"/>
                  </a:lnTo>
                  <a:lnTo>
                    <a:pt x="24" y="35"/>
                  </a:lnTo>
                  <a:close/>
                  <a:moveTo>
                    <a:pt x="26" y="33"/>
                  </a:moveTo>
                  <a:lnTo>
                    <a:pt x="24" y="33"/>
                  </a:lnTo>
                  <a:lnTo>
                    <a:pt x="26" y="31"/>
                  </a:lnTo>
                  <a:lnTo>
                    <a:pt x="26" y="33"/>
                  </a:lnTo>
                  <a:close/>
                  <a:moveTo>
                    <a:pt x="50" y="24"/>
                  </a:moveTo>
                  <a:lnTo>
                    <a:pt x="52" y="24"/>
                  </a:lnTo>
                  <a:lnTo>
                    <a:pt x="50" y="24"/>
                  </a:lnTo>
                  <a:close/>
                  <a:moveTo>
                    <a:pt x="90" y="16"/>
                  </a:moveTo>
                  <a:lnTo>
                    <a:pt x="88" y="16"/>
                  </a:lnTo>
                  <a:lnTo>
                    <a:pt x="90" y="16"/>
                  </a:lnTo>
                  <a:close/>
                  <a:moveTo>
                    <a:pt x="95" y="9"/>
                  </a:moveTo>
                  <a:lnTo>
                    <a:pt x="95" y="12"/>
                  </a:lnTo>
                  <a:lnTo>
                    <a:pt x="93" y="12"/>
                  </a:lnTo>
                  <a:lnTo>
                    <a:pt x="90" y="12"/>
                  </a:lnTo>
                  <a:lnTo>
                    <a:pt x="93" y="12"/>
                  </a:lnTo>
                  <a:lnTo>
                    <a:pt x="93" y="14"/>
                  </a:lnTo>
                  <a:lnTo>
                    <a:pt x="90" y="14"/>
                  </a:lnTo>
                  <a:lnTo>
                    <a:pt x="88" y="16"/>
                  </a:lnTo>
                  <a:lnTo>
                    <a:pt x="88" y="14"/>
                  </a:lnTo>
                  <a:lnTo>
                    <a:pt x="85" y="14"/>
                  </a:lnTo>
                  <a:lnTo>
                    <a:pt x="85" y="12"/>
                  </a:lnTo>
                  <a:lnTo>
                    <a:pt x="88" y="12"/>
                  </a:lnTo>
                  <a:lnTo>
                    <a:pt x="90" y="12"/>
                  </a:lnTo>
                  <a:lnTo>
                    <a:pt x="90" y="9"/>
                  </a:lnTo>
                  <a:lnTo>
                    <a:pt x="93" y="9"/>
                  </a:lnTo>
                  <a:lnTo>
                    <a:pt x="95" y="9"/>
                  </a:lnTo>
                  <a:close/>
                  <a:moveTo>
                    <a:pt x="76" y="2"/>
                  </a:moveTo>
                  <a:lnTo>
                    <a:pt x="76" y="0"/>
                  </a:lnTo>
                  <a:lnTo>
                    <a:pt x="7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7" name="Freeform 50290"/>
            <p:cNvSpPr>
              <a:spLocks noEditPoints="1"/>
            </p:cNvSpPr>
            <p:nvPr/>
          </p:nvSpPr>
          <p:spPr bwMode="auto">
            <a:xfrm>
              <a:off x="2481261" y="4105290"/>
              <a:ext cx="342900" cy="211138"/>
            </a:xfrm>
            <a:custGeom>
              <a:avLst/>
              <a:gdLst>
                <a:gd name="T0" fmla="*/ 26 w 216"/>
                <a:gd name="T1" fmla="*/ 133 h 133"/>
                <a:gd name="T2" fmla="*/ 59 w 216"/>
                <a:gd name="T3" fmla="*/ 133 h 133"/>
                <a:gd name="T4" fmla="*/ 59 w 216"/>
                <a:gd name="T5" fmla="*/ 133 h 133"/>
                <a:gd name="T6" fmla="*/ 90 w 216"/>
                <a:gd name="T7" fmla="*/ 133 h 133"/>
                <a:gd name="T8" fmla="*/ 57 w 216"/>
                <a:gd name="T9" fmla="*/ 133 h 133"/>
                <a:gd name="T10" fmla="*/ 57 w 216"/>
                <a:gd name="T11" fmla="*/ 133 h 133"/>
                <a:gd name="T12" fmla="*/ 62 w 216"/>
                <a:gd name="T13" fmla="*/ 128 h 133"/>
                <a:gd name="T14" fmla="*/ 119 w 216"/>
                <a:gd name="T15" fmla="*/ 126 h 133"/>
                <a:gd name="T16" fmla="*/ 119 w 216"/>
                <a:gd name="T17" fmla="*/ 126 h 133"/>
                <a:gd name="T18" fmla="*/ 54 w 216"/>
                <a:gd name="T19" fmla="*/ 124 h 133"/>
                <a:gd name="T20" fmla="*/ 111 w 216"/>
                <a:gd name="T21" fmla="*/ 121 h 133"/>
                <a:gd name="T22" fmla="*/ 111 w 216"/>
                <a:gd name="T23" fmla="*/ 121 h 133"/>
                <a:gd name="T24" fmla="*/ 33 w 216"/>
                <a:gd name="T25" fmla="*/ 112 h 133"/>
                <a:gd name="T26" fmla="*/ 216 w 216"/>
                <a:gd name="T27" fmla="*/ 109 h 133"/>
                <a:gd name="T28" fmla="*/ 213 w 216"/>
                <a:gd name="T29" fmla="*/ 112 h 133"/>
                <a:gd name="T30" fmla="*/ 216 w 216"/>
                <a:gd name="T31" fmla="*/ 109 h 133"/>
                <a:gd name="T32" fmla="*/ 36 w 216"/>
                <a:gd name="T33" fmla="*/ 109 h 133"/>
                <a:gd name="T34" fmla="*/ 36 w 216"/>
                <a:gd name="T35" fmla="*/ 109 h 133"/>
                <a:gd name="T36" fmla="*/ 59 w 216"/>
                <a:gd name="T37" fmla="*/ 105 h 133"/>
                <a:gd name="T38" fmla="*/ 59 w 216"/>
                <a:gd name="T39" fmla="*/ 105 h 133"/>
                <a:gd name="T40" fmla="*/ 78 w 216"/>
                <a:gd name="T41" fmla="*/ 102 h 133"/>
                <a:gd name="T42" fmla="*/ 50 w 216"/>
                <a:gd name="T43" fmla="*/ 95 h 133"/>
                <a:gd name="T44" fmla="*/ 50 w 216"/>
                <a:gd name="T45" fmla="*/ 95 h 133"/>
                <a:gd name="T46" fmla="*/ 50 w 216"/>
                <a:gd name="T47" fmla="*/ 95 h 133"/>
                <a:gd name="T48" fmla="*/ 114 w 216"/>
                <a:gd name="T49" fmla="*/ 88 h 133"/>
                <a:gd name="T50" fmla="*/ 114 w 216"/>
                <a:gd name="T51" fmla="*/ 88 h 133"/>
                <a:gd name="T52" fmla="*/ 52 w 216"/>
                <a:gd name="T53" fmla="*/ 83 h 133"/>
                <a:gd name="T54" fmla="*/ 66 w 216"/>
                <a:gd name="T55" fmla="*/ 81 h 133"/>
                <a:gd name="T56" fmla="*/ 66 w 216"/>
                <a:gd name="T57" fmla="*/ 81 h 133"/>
                <a:gd name="T58" fmla="*/ 66 w 216"/>
                <a:gd name="T59" fmla="*/ 79 h 133"/>
                <a:gd name="T60" fmla="*/ 2 w 216"/>
                <a:gd name="T61" fmla="*/ 45 h 133"/>
                <a:gd name="T62" fmla="*/ 2 w 216"/>
                <a:gd name="T63" fmla="*/ 43 h 133"/>
                <a:gd name="T64" fmla="*/ 36 w 216"/>
                <a:gd name="T65" fmla="*/ 22 h 133"/>
                <a:gd name="T66" fmla="*/ 36 w 216"/>
                <a:gd name="T67" fmla="*/ 22 h 133"/>
                <a:gd name="T68" fmla="*/ 38 w 216"/>
                <a:gd name="T69" fmla="*/ 19 h 133"/>
                <a:gd name="T70" fmla="*/ 78 w 216"/>
                <a:gd name="T71" fmla="*/ 14 h 133"/>
                <a:gd name="T72" fmla="*/ 78 w 216"/>
                <a:gd name="T73" fmla="*/ 14 h 133"/>
                <a:gd name="T74" fmla="*/ 76 w 216"/>
                <a:gd name="T75" fmla="*/ 12 h 133"/>
                <a:gd name="T76" fmla="*/ 73 w 216"/>
                <a:gd name="T77" fmla="*/ 7 h 133"/>
                <a:gd name="T78" fmla="*/ 73 w 216"/>
                <a:gd name="T79" fmla="*/ 7 h 133"/>
                <a:gd name="T80" fmla="*/ 62 w 216"/>
                <a:gd name="T8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 h="133">
                  <a:moveTo>
                    <a:pt x="28" y="133"/>
                  </a:moveTo>
                  <a:lnTo>
                    <a:pt x="26" y="133"/>
                  </a:lnTo>
                  <a:lnTo>
                    <a:pt x="28" y="133"/>
                  </a:lnTo>
                  <a:close/>
                  <a:moveTo>
                    <a:pt x="59" y="133"/>
                  </a:moveTo>
                  <a:lnTo>
                    <a:pt x="57" y="133"/>
                  </a:lnTo>
                  <a:lnTo>
                    <a:pt x="59" y="133"/>
                  </a:lnTo>
                  <a:close/>
                  <a:moveTo>
                    <a:pt x="92" y="133"/>
                  </a:moveTo>
                  <a:lnTo>
                    <a:pt x="90" y="133"/>
                  </a:lnTo>
                  <a:lnTo>
                    <a:pt x="92" y="133"/>
                  </a:lnTo>
                  <a:close/>
                  <a:moveTo>
                    <a:pt x="57" y="133"/>
                  </a:moveTo>
                  <a:lnTo>
                    <a:pt x="57" y="131"/>
                  </a:lnTo>
                  <a:lnTo>
                    <a:pt x="57" y="133"/>
                  </a:lnTo>
                  <a:close/>
                  <a:moveTo>
                    <a:pt x="64" y="128"/>
                  </a:moveTo>
                  <a:lnTo>
                    <a:pt x="62" y="128"/>
                  </a:lnTo>
                  <a:lnTo>
                    <a:pt x="64" y="128"/>
                  </a:lnTo>
                  <a:close/>
                  <a:moveTo>
                    <a:pt x="119" y="126"/>
                  </a:moveTo>
                  <a:lnTo>
                    <a:pt x="116" y="126"/>
                  </a:lnTo>
                  <a:lnTo>
                    <a:pt x="119" y="126"/>
                  </a:lnTo>
                  <a:close/>
                  <a:moveTo>
                    <a:pt x="54" y="126"/>
                  </a:moveTo>
                  <a:lnTo>
                    <a:pt x="54" y="124"/>
                  </a:lnTo>
                  <a:lnTo>
                    <a:pt x="54" y="126"/>
                  </a:lnTo>
                  <a:close/>
                  <a:moveTo>
                    <a:pt x="111" y="121"/>
                  </a:moveTo>
                  <a:lnTo>
                    <a:pt x="111" y="119"/>
                  </a:lnTo>
                  <a:lnTo>
                    <a:pt x="111" y="121"/>
                  </a:lnTo>
                  <a:close/>
                  <a:moveTo>
                    <a:pt x="36" y="112"/>
                  </a:moveTo>
                  <a:lnTo>
                    <a:pt x="33" y="112"/>
                  </a:lnTo>
                  <a:lnTo>
                    <a:pt x="36" y="112"/>
                  </a:lnTo>
                  <a:close/>
                  <a:moveTo>
                    <a:pt x="216" y="109"/>
                  </a:moveTo>
                  <a:lnTo>
                    <a:pt x="216" y="112"/>
                  </a:lnTo>
                  <a:lnTo>
                    <a:pt x="213" y="112"/>
                  </a:lnTo>
                  <a:lnTo>
                    <a:pt x="213" y="109"/>
                  </a:lnTo>
                  <a:lnTo>
                    <a:pt x="216" y="109"/>
                  </a:lnTo>
                  <a:close/>
                  <a:moveTo>
                    <a:pt x="38" y="109"/>
                  </a:moveTo>
                  <a:lnTo>
                    <a:pt x="36" y="109"/>
                  </a:lnTo>
                  <a:lnTo>
                    <a:pt x="38" y="109"/>
                  </a:lnTo>
                  <a:lnTo>
                    <a:pt x="36" y="109"/>
                  </a:lnTo>
                  <a:lnTo>
                    <a:pt x="38" y="109"/>
                  </a:lnTo>
                  <a:close/>
                  <a:moveTo>
                    <a:pt x="59" y="105"/>
                  </a:moveTo>
                  <a:lnTo>
                    <a:pt x="59" y="102"/>
                  </a:lnTo>
                  <a:lnTo>
                    <a:pt x="59" y="105"/>
                  </a:lnTo>
                  <a:close/>
                  <a:moveTo>
                    <a:pt x="81" y="102"/>
                  </a:moveTo>
                  <a:lnTo>
                    <a:pt x="78" y="102"/>
                  </a:lnTo>
                  <a:lnTo>
                    <a:pt x="81" y="102"/>
                  </a:lnTo>
                  <a:close/>
                  <a:moveTo>
                    <a:pt x="50" y="95"/>
                  </a:moveTo>
                  <a:lnTo>
                    <a:pt x="50" y="98"/>
                  </a:lnTo>
                  <a:lnTo>
                    <a:pt x="50" y="95"/>
                  </a:lnTo>
                  <a:close/>
                  <a:moveTo>
                    <a:pt x="50" y="98"/>
                  </a:moveTo>
                  <a:lnTo>
                    <a:pt x="50" y="95"/>
                  </a:lnTo>
                  <a:lnTo>
                    <a:pt x="50" y="98"/>
                  </a:lnTo>
                  <a:close/>
                  <a:moveTo>
                    <a:pt x="114" y="88"/>
                  </a:moveTo>
                  <a:lnTo>
                    <a:pt x="111" y="88"/>
                  </a:lnTo>
                  <a:lnTo>
                    <a:pt x="114" y="88"/>
                  </a:lnTo>
                  <a:close/>
                  <a:moveTo>
                    <a:pt x="52" y="81"/>
                  </a:moveTo>
                  <a:lnTo>
                    <a:pt x="52" y="83"/>
                  </a:lnTo>
                  <a:lnTo>
                    <a:pt x="52" y="81"/>
                  </a:lnTo>
                  <a:close/>
                  <a:moveTo>
                    <a:pt x="66" y="81"/>
                  </a:moveTo>
                  <a:lnTo>
                    <a:pt x="64" y="81"/>
                  </a:lnTo>
                  <a:lnTo>
                    <a:pt x="66" y="81"/>
                  </a:lnTo>
                  <a:close/>
                  <a:moveTo>
                    <a:pt x="66" y="81"/>
                  </a:moveTo>
                  <a:lnTo>
                    <a:pt x="66" y="79"/>
                  </a:lnTo>
                  <a:lnTo>
                    <a:pt x="66" y="81"/>
                  </a:lnTo>
                  <a:close/>
                  <a:moveTo>
                    <a:pt x="2" y="45"/>
                  </a:moveTo>
                  <a:lnTo>
                    <a:pt x="0" y="43"/>
                  </a:lnTo>
                  <a:lnTo>
                    <a:pt x="2" y="43"/>
                  </a:lnTo>
                  <a:lnTo>
                    <a:pt x="2" y="45"/>
                  </a:lnTo>
                  <a:close/>
                  <a:moveTo>
                    <a:pt x="36" y="22"/>
                  </a:moveTo>
                  <a:lnTo>
                    <a:pt x="38" y="22"/>
                  </a:lnTo>
                  <a:lnTo>
                    <a:pt x="36" y="22"/>
                  </a:lnTo>
                  <a:close/>
                  <a:moveTo>
                    <a:pt x="38" y="22"/>
                  </a:moveTo>
                  <a:lnTo>
                    <a:pt x="38" y="19"/>
                  </a:lnTo>
                  <a:lnTo>
                    <a:pt x="38" y="22"/>
                  </a:lnTo>
                  <a:close/>
                  <a:moveTo>
                    <a:pt x="78" y="14"/>
                  </a:moveTo>
                  <a:lnTo>
                    <a:pt x="76" y="14"/>
                  </a:lnTo>
                  <a:lnTo>
                    <a:pt x="78" y="14"/>
                  </a:lnTo>
                  <a:close/>
                  <a:moveTo>
                    <a:pt x="76" y="14"/>
                  </a:moveTo>
                  <a:lnTo>
                    <a:pt x="76" y="12"/>
                  </a:lnTo>
                  <a:lnTo>
                    <a:pt x="76" y="14"/>
                  </a:lnTo>
                  <a:close/>
                  <a:moveTo>
                    <a:pt x="73" y="7"/>
                  </a:moveTo>
                  <a:lnTo>
                    <a:pt x="73" y="5"/>
                  </a:lnTo>
                  <a:lnTo>
                    <a:pt x="73" y="7"/>
                  </a:lnTo>
                  <a:close/>
                  <a:moveTo>
                    <a:pt x="64" y="3"/>
                  </a:moveTo>
                  <a:lnTo>
                    <a:pt x="62" y="0"/>
                  </a:lnTo>
                  <a:lnTo>
                    <a:pt x="64"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8" name="Freeform 50291"/>
            <p:cNvSpPr>
              <a:spLocks noEditPoints="1"/>
            </p:cNvSpPr>
            <p:nvPr/>
          </p:nvSpPr>
          <p:spPr bwMode="auto">
            <a:xfrm>
              <a:off x="3170236" y="3970351"/>
              <a:ext cx="82550" cy="101600"/>
            </a:xfrm>
            <a:custGeom>
              <a:avLst/>
              <a:gdLst>
                <a:gd name="T0" fmla="*/ 50 w 52"/>
                <a:gd name="T1" fmla="*/ 26 h 64"/>
                <a:gd name="T2" fmla="*/ 50 w 52"/>
                <a:gd name="T3" fmla="*/ 30 h 64"/>
                <a:gd name="T4" fmla="*/ 48 w 52"/>
                <a:gd name="T5" fmla="*/ 30 h 64"/>
                <a:gd name="T6" fmla="*/ 45 w 52"/>
                <a:gd name="T7" fmla="*/ 30 h 64"/>
                <a:gd name="T8" fmla="*/ 45 w 52"/>
                <a:gd name="T9" fmla="*/ 33 h 64"/>
                <a:gd name="T10" fmla="*/ 48 w 52"/>
                <a:gd name="T11" fmla="*/ 33 h 64"/>
                <a:gd name="T12" fmla="*/ 45 w 52"/>
                <a:gd name="T13" fmla="*/ 33 h 64"/>
                <a:gd name="T14" fmla="*/ 45 w 52"/>
                <a:gd name="T15" fmla="*/ 35 h 64"/>
                <a:gd name="T16" fmla="*/ 40 w 52"/>
                <a:gd name="T17" fmla="*/ 35 h 64"/>
                <a:gd name="T18" fmla="*/ 38 w 52"/>
                <a:gd name="T19" fmla="*/ 40 h 64"/>
                <a:gd name="T20" fmla="*/ 38 w 52"/>
                <a:gd name="T21" fmla="*/ 40 h 64"/>
                <a:gd name="T22" fmla="*/ 31 w 52"/>
                <a:gd name="T23" fmla="*/ 45 h 64"/>
                <a:gd name="T24" fmla="*/ 31 w 52"/>
                <a:gd name="T25" fmla="*/ 47 h 64"/>
                <a:gd name="T26" fmla="*/ 26 w 52"/>
                <a:gd name="T27" fmla="*/ 45 h 64"/>
                <a:gd name="T28" fmla="*/ 24 w 52"/>
                <a:gd name="T29" fmla="*/ 45 h 64"/>
                <a:gd name="T30" fmla="*/ 21 w 52"/>
                <a:gd name="T31" fmla="*/ 45 h 64"/>
                <a:gd name="T32" fmla="*/ 14 w 52"/>
                <a:gd name="T33" fmla="*/ 52 h 64"/>
                <a:gd name="T34" fmla="*/ 10 w 52"/>
                <a:gd name="T35" fmla="*/ 59 h 64"/>
                <a:gd name="T36" fmla="*/ 5 w 52"/>
                <a:gd name="T37" fmla="*/ 61 h 64"/>
                <a:gd name="T38" fmla="*/ 7 w 52"/>
                <a:gd name="T39" fmla="*/ 57 h 64"/>
                <a:gd name="T40" fmla="*/ 12 w 52"/>
                <a:gd name="T41" fmla="*/ 49 h 64"/>
                <a:gd name="T42" fmla="*/ 7 w 52"/>
                <a:gd name="T43" fmla="*/ 49 h 64"/>
                <a:gd name="T44" fmla="*/ 5 w 52"/>
                <a:gd name="T45" fmla="*/ 45 h 64"/>
                <a:gd name="T46" fmla="*/ 0 w 52"/>
                <a:gd name="T47" fmla="*/ 42 h 64"/>
                <a:gd name="T48" fmla="*/ 0 w 52"/>
                <a:gd name="T49" fmla="*/ 40 h 64"/>
                <a:gd name="T50" fmla="*/ 3 w 52"/>
                <a:gd name="T51" fmla="*/ 40 h 64"/>
                <a:gd name="T52" fmla="*/ 5 w 52"/>
                <a:gd name="T53" fmla="*/ 35 h 64"/>
                <a:gd name="T54" fmla="*/ 0 w 52"/>
                <a:gd name="T55" fmla="*/ 33 h 64"/>
                <a:gd name="T56" fmla="*/ 5 w 52"/>
                <a:gd name="T57" fmla="*/ 30 h 64"/>
                <a:gd name="T58" fmla="*/ 10 w 52"/>
                <a:gd name="T59" fmla="*/ 33 h 64"/>
                <a:gd name="T60" fmla="*/ 12 w 52"/>
                <a:gd name="T61" fmla="*/ 28 h 64"/>
                <a:gd name="T62" fmla="*/ 14 w 52"/>
                <a:gd name="T63" fmla="*/ 33 h 64"/>
                <a:gd name="T64" fmla="*/ 14 w 52"/>
                <a:gd name="T65" fmla="*/ 30 h 64"/>
                <a:gd name="T66" fmla="*/ 21 w 52"/>
                <a:gd name="T67" fmla="*/ 26 h 64"/>
                <a:gd name="T68" fmla="*/ 24 w 52"/>
                <a:gd name="T69" fmla="*/ 23 h 64"/>
                <a:gd name="T70" fmla="*/ 29 w 52"/>
                <a:gd name="T71" fmla="*/ 28 h 64"/>
                <a:gd name="T72" fmla="*/ 33 w 52"/>
                <a:gd name="T73" fmla="*/ 26 h 64"/>
                <a:gd name="T74" fmla="*/ 43 w 52"/>
                <a:gd name="T75" fmla="*/ 28 h 64"/>
                <a:gd name="T76" fmla="*/ 43 w 52"/>
                <a:gd name="T77" fmla="*/ 21 h 64"/>
                <a:gd name="T78" fmla="*/ 29 w 52"/>
                <a:gd name="T79" fmla="*/ 2 h 64"/>
                <a:gd name="T80" fmla="*/ 33 w 52"/>
                <a:gd name="T81" fmla="*/ 4 h 64"/>
                <a:gd name="T82" fmla="*/ 36 w 52"/>
                <a:gd name="T83" fmla="*/ 9 h 64"/>
                <a:gd name="T84" fmla="*/ 40 w 52"/>
                <a:gd name="T85" fmla="*/ 11 h 64"/>
                <a:gd name="T86" fmla="*/ 36 w 52"/>
                <a:gd name="T87" fmla="*/ 14 h 64"/>
                <a:gd name="T88" fmla="*/ 33 w 52"/>
                <a:gd name="T89" fmla="*/ 14 h 64"/>
                <a:gd name="T90" fmla="*/ 31 w 52"/>
                <a:gd name="T91" fmla="*/ 16 h 64"/>
                <a:gd name="T92" fmla="*/ 29 w 52"/>
                <a:gd name="T93" fmla="*/ 21 h 64"/>
                <a:gd name="T94" fmla="*/ 21 w 52"/>
                <a:gd name="T95" fmla="*/ 16 h 64"/>
                <a:gd name="T96" fmla="*/ 21 w 52"/>
                <a:gd name="T97" fmla="*/ 14 h 64"/>
                <a:gd name="T98" fmla="*/ 12 w 52"/>
                <a:gd name="T99" fmla="*/ 11 h 64"/>
                <a:gd name="T100" fmla="*/ 12 w 52"/>
                <a:gd name="T101" fmla="*/ 9 h 64"/>
                <a:gd name="T102" fmla="*/ 21 w 52"/>
                <a:gd name="T103" fmla="*/ 7 h 64"/>
                <a:gd name="T104" fmla="*/ 21 w 52"/>
                <a:gd name="T105" fmla="*/ 4 h 64"/>
                <a:gd name="T106" fmla="*/ 24 w 52"/>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64">
                  <a:moveTo>
                    <a:pt x="45" y="21"/>
                  </a:moveTo>
                  <a:lnTo>
                    <a:pt x="45" y="23"/>
                  </a:lnTo>
                  <a:lnTo>
                    <a:pt x="48" y="23"/>
                  </a:lnTo>
                  <a:lnTo>
                    <a:pt x="50" y="23"/>
                  </a:lnTo>
                  <a:lnTo>
                    <a:pt x="50" y="26"/>
                  </a:lnTo>
                  <a:lnTo>
                    <a:pt x="52" y="28"/>
                  </a:lnTo>
                  <a:lnTo>
                    <a:pt x="52" y="30"/>
                  </a:lnTo>
                  <a:lnTo>
                    <a:pt x="50" y="30"/>
                  </a:lnTo>
                  <a:lnTo>
                    <a:pt x="52" y="30"/>
                  </a:lnTo>
                  <a:lnTo>
                    <a:pt x="50" y="30"/>
                  </a:lnTo>
                  <a:lnTo>
                    <a:pt x="50" y="28"/>
                  </a:lnTo>
                  <a:lnTo>
                    <a:pt x="50" y="30"/>
                  </a:lnTo>
                  <a:lnTo>
                    <a:pt x="48" y="30"/>
                  </a:lnTo>
                  <a:lnTo>
                    <a:pt x="48" y="28"/>
                  </a:lnTo>
                  <a:lnTo>
                    <a:pt x="48" y="30"/>
                  </a:lnTo>
                  <a:lnTo>
                    <a:pt x="48" y="28"/>
                  </a:lnTo>
                  <a:lnTo>
                    <a:pt x="48" y="30"/>
                  </a:lnTo>
                  <a:lnTo>
                    <a:pt x="45" y="30"/>
                  </a:lnTo>
                  <a:lnTo>
                    <a:pt x="45" y="28"/>
                  </a:lnTo>
                  <a:lnTo>
                    <a:pt x="45" y="30"/>
                  </a:lnTo>
                  <a:lnTo>
                    <a:pt x="45" y="28"/>
                  </a:lnTo>
                  <a:lnTo>
                    <a:pt x="43" y="28"/>
                  </a:lnTo>
                  <a:lnTo>
                    <a:pt x="43" y="30"/>
                  </a:lnTo>
                  <a:lnTo>
                    <a:pt x="45" y="30"/>
                  </a:lnTo>
                  <a:lnTo>
                    <a:pt x="45" y="33"/>
                  </a:lnTo>
                  <a:lnTo>
                    <a:pt x="48" y="33"/>
                  </a:lnTo>
                  <a:lnTo>
                    <a:pt x="50" y="33"/>
                  </a:lnTo>
                  <a:lnTo>
                    <a:pt x="50" y="35"/>
                  </a:lnTo>
                  <a:lnTo>
                    <a:pt x="48" y="35"/>
                  </a:lnTo>
                  <a:lnTo>
                    <a:pt x="48" y="33"/>
                  </a:lnTo>
                  <a:lnTo>
                    <a:pt x="48" y="35"/>
                  </a:lnTo>
                  <a:lnTo>
                    <a:pt x="48" y="33"/>
                  </a:lnTo>
                  <a:lnTo>
                    <a:pt x="48" y="35"/>
                  </a:lnTo>
                  <a:lnTo>
                    <a:pt x="48" y="33"/>
                  </a:lnTo>
                  <a:lnTo>
                    <a:pt x="45" y="33"/>
                  </a:lnTo>
                  <a:lnTo>
                    <a:pt x="45" y="35"/>
                  </a:lnTo>
                  <a:lnTo>
                    <a:pt x="48" y="35"/>
                  </a:lnTo>
                  <a:lnTo>
                    <a:pt x="45" y="35"/>
                  </a:lnTo>
                  <a:lnTo>
                    <a:pt x="45" y="33"/>
                  </a:lnTo>
                  <a:lnTo>
                    <a:pt x="45" y="35"/>
                  </a:lnTo>
                  <a:lnTo>
                    <a:pt x="43" y="35"/>
                  </a:lnTo>
                  <a:lnTo>
                    <a:pt x="45" y="33"/>
                  </a:lnTo>
                  <a:lnTo>
                    <a:pt x="43" y="33"/>
                  </a:lnTo>
                  <a:lnTo>
                    <a:pt x="43" y="35"/>
                  </a:lnTo>
                  <a:lnTo>
                    <a:pt x="40" y="35"/>
                  </a:lnTo>
                  <a:lnTo>
                    <a:pt x="40" y="38"/>
                  </a:lnTo>
                  <a:lnTo>
                    <a:pt x="40" y="40"/>
                  </a:lnTo>
                  <a:lnTo>
                    <a:pt x="38" y="40"/>
                  </a:lnTo>
                  <a:lnTo>
                    <a:pt x="38" y="38"/>
                  </a:lnTo>
                  <a:lnTo>
                    <a:pt x="38" y="40"/>
                  </a:lnTo>
                  <a:lnTo>
                    <a:pt x="38" y="38"/>
                  </a:lnTo>
                  <a:lnTo>
                    <a:pt x="36" y="38"/>
                  </a:lnTo>
                  <a:lnTo>
                    <a:pt x="38" y="38"/>
                  </a:lnTo>
                  <a:lnTo>
                    <a:pt x="36" y="38"/>
                  </a:lnTo>
                  <a:lnTo>
                    <a:pt x="38" y="40"/>
                  </a:lnTo>
                  <a:lnTo>
                    <a:pt x="36" y="40"/>
                  </a:lnTo>
                  <a:lnTo>
                    <a:pt x="36" y="42"/>
                  </a:lnTo>
                  <a:lnTo>
                    <a:pt x="33" y="42"/>
                  </a:lnTo>
                  <a:lnTo>
                    <a:pt x="33" y="45"/>
                  </a:lnTo>
                  <a:lnTo>
                    <a:pt x="31" y="45"/>
                  </a:lnTo>
                  <a:lnTo>
                    <a:pt x="31" y="42"/>
                  </a:lnTo>
                  <a:lnTo>
                    <a:pt x="29" y="42"/>
                  </a:lnTo>
                  <a:lnTo>
                    <a:pt x="29" y="45"/>
                  </a:lnTo>
                  <a:lnTo>
                    <a:pt x="31" y="45"/>
                  </a:lnTo>
                  <a:lnTo>
                    <a:pt x="31" y="47"/>
                  </a:lnTo>
                  <a:lnTo>
                    <a:pt x="29" y="47"/>
                  </a:lnTo>
                  <a:lnTo>
                    <a:pt x="26" y="47"/>
                  </a:lnTo>
                  <a:lnTo>
                    <a:pt x="26" y="45"/>
                  </a:lnTo>
                  <a:lnTo>
                    <a:pt x="26" y="47"/>
                  </a:lnTo>
                  <a:lnTo>
                    <a:pt x="26" y="45"/>
                  </a:lnTo>
                  <a:lnTo>
                    <a:pt x="26" y="47"/>
                  </a:lnTo>
                  <a:lnTo>
                    <a:pt x="24" y="47"/>
                  </a:lnTo>
                  <a:lnTo>
                    <a:pt x="24" y="45"/>
                  </a:lnTo>
                  <a:lnTo>
                    <a:pt x="24" y="47"/>
                  </a:lnTo>
                  <a:lnTo>
                    <a:pt x="24" y="45"/>
                  </a:lnTo>
                  <a:lnTo>
                    <a:pt x="21" y="45"/>
                  </a:lnTo>
                  <a:lnTo>
                    <a:pt x="21" y="47"/>
                  </a:lnTo>
                  <a:lnTo>
                    <a:pt x="21" y="45"/>
                  </a:lnTo>
                  <a:lnTo>
                    <a:pt x="19" y="45"/>
                  </a:lnTo>
                  <a:lnTo>
                    <a:pt x="21" y="45"/>
                  </a:lnTo>
                  <a:lnTo>
                    <a:pt x="19" y="47"/>
                  </a:lnTo>
                  <a:lnTo>
                    <a:pt x="17" y="47"/>
                  </a:lnTo>
                  <a:lnTo>
                    <a:pt x="14" y="47"/>
                  </a:lnTo>
                  <a:lnTo>
                    <a:pt x="14" y="49"/>
                  </a:lnTo>
                  <a:lnTo>
                    <a:pt x="14" y="52"/>
                  </a:lnTo>
                  <a:lnTo>
                    <a:pt x="14" y="54"/>
                  </a:lnTo>
                  <a:lnTo>
                    <a:pt x="12" y="54"/>
                  </a:lnTo>
                  <a:lnTo>
                    <a:pt x="12" y="57"/>
                  </a:lnTo>
                  <a:lnTo>
                    <a:pt x="12" y="59"/>
                  </a:lnTo>
                  <a:lnTo>
                    <a:pt x="10" y="59"/>
                  </a:lnTo>
                  <a:lnTo>
                    <a:pt x="10" y="61"/>
                  </a:lnTo>
                  <a:lnTo>
                    <a:pt x="7" y="61"/>
                  </a:lnTo>
                  <a:lnTo>
                    <a:pt x="7" y="64"/>
                  </a:lnTo>
                  <a:lnTo>
                    <a:pt x="7" y="61"/>
                  </a:lnTo>
                  <a:lnTo>
                    <a:pt x="5" y="61"/>
                  </a:lnTo>
                  <a:lnTo>
                    <a:pt x="5" y="59"/>
                  </a:lnTo>
                  <a:lnTo>
                    <a:pt x="7" y="59"/>
                  </a:lnTo>
                  <a:lnTo>
                    <a:pt x="5" y="59"/>
                  </a:lnTo>
                  <a:lnTo>
                    <a:pt x="5" y="57"/>
                  </a:lnTo>
                  <a:lnTo>
                    <a:pt x="7" y="57"/>
                  </a:lnTo>
                  <a:lnTo>
                    <a:pt x="7" y="54"/>
                  </a:lnTo>
                  <a:lnTo>
                    <a:pt x="10" y="54"/>
                  </a:lnTo>
                  <a:lnTo>
                    <a:pt x="12" y="54"/>
                  </a:lnTo>
                  <a:lnTo>
                    <a:pt x="12" y="52"/>
                  </a:lnTo>
                  <a:lnTo>
                    <a:pt x="12" y="49"/>
                  </a:lnTo>
                  <a:lnTo>
                    <a:pt x="10" y="49"/>
                  </a:lnTo>
                  <a:lnTo>
                    <a:pt x="10" y="47"/>
                  </a:lnTo>
                  <a:lnTo>
                    <a:pt x="7" y="49"/>
                  </a:lnTo>
                  <a:lnTo>
                    <a:pt x="7" y="47"/>
                  </a:lnTo>
                  <a:lnTo>
                    <a:pt x="7" y="49"/>
                  </a:lnTo>
                  <a:lnTo>
                    <a:pt x="7" y="47"/>
                  </a:lnTo>
                  <a:lnTo>
                    <a:pt x="7" y="45"/>
                  </a:lnTo>
                  <a:lnTo>
                    <a:pt x="5" y="45"/>
                  </a:lnTo>
                  <a:lnTo>
                    <a:pt x="7" y="45"/>
                  </a:lnTo>
                  <a:lnTo>
                    <a:pt x="5" y="45"/>
                  </a:lnTo>
                  <a:lnTo>
                    <a:pt x="5" y="47"/>
                  </a:lnTo>
                  <a:lnTo>
                    <a:pt x="5" y="45"/>
                  </a:lnTo>
                  <a:lnTo>
                    <a:pt x="3" y="45"/>
                  </a:lnTo>
                  <a:lnTo>
                    <a:pt x="0" y="45"/>
                  </a:lnTo>
                  <a:lnTo>
                    <a:pt x="0" y="42"/>
                  </a:lnTo>
                  <a:lnTo>
                    <a:pt x="3" y="42"/>
                  </a:lnTo>
                  <a:lnTo>
                    <a:pt x="3" y="40"/>
                  </a:lnTo>
                  <a:lnTo>
                    <a:pt x="0" y="40"/>
                  </a:lnTo>
                  <a:lnTo>
                    <a:pt x="3" y="40"/>
                  </a:lnTo>
                  <a:lnTo>
                    <a:pt x="0" y="40"/>
                  </a:lnTo>
                  <a:lnTo>
                    <a:pt x="3" y="40"/>
                  </a:lnTo>
                  <a:lnTo>
                    <a:pt x="3" y="42"/>
                  </a:lnTo>
                  <a:lnTo>
                    <a:pt x="5" y="42"/>
                  </a:lnTo>
                  <a:lnTo>
                    <a:pt x="5" y="40"/>
                  </a:lnTo>
                  <a:lnTo>
                    <a:pt x="3" y="40"/>
                  </a:lnTo>
                  <a:lnTo>
                    <a:pt x="5" y="40"/>
                  </a:lnTo>
                  <a:lnTo>
                    <a:pt x="5" y="38"/>
                  </a:lnTo>
                  <a:lnTo>
                    <a:pt x="7" y="38"/>
                  </a:lnTo>
                  <a:lnTo>
                    <a:pt x="5" y="38"/>
                  </a:lnTo>
                  <a:lnTo>
                    <a:pt x="5" y="35"/>
                  </a:lnTo>
                  <a:lnTo>
                    <a:pt x="3" y="35"/>
                  </a:lnTo>
                  <a:lnTo>
                    <a:pt x="5" y="35"/>
                  </a:lnTo>
                  <a:lnTo>
                    <a:pt x="3" y="35"/>
                  </a:lnTo>
                  <a:lnTo>
                    <a:pt x="3" y="33"/>
                  </a:lnTo>
                  <a:lnTo>
                    <a:pt x="0" y="33"/>
                  </a:lnTo>
                  <a:lnTo>
                    <a:pt x="3" y="33"/>
                  </a:lnTo>
                  <a:lnTo>
                    <a:pt x="0" y="33"/>
                  </a:lnTo>
                  <a:lnTo>
                    <a:pt x="3" y="33"/>
                  </a:lnTo>
                  <a:lnTo>
                    <a:pt x="3" y="30"/>
                  </a:lnTo>
                  <a:lnTo>
                    <a:pt x="5" y="30"/>
                  </a:lnTo>
                  <a:lnTo>
                    <a:pt x="7" y="30"/>
                  </a:lnTo>
                  <a:lnTo>
                    <a:pt x="7" y="33"/>
                  </a:lnTo>
                  <a:lnTo>
                    <a:pt x="7" y="35"/>
                  </a:lnTo>
                  <a:lnTo>
                    <a:pt x="10" y="35"/>
                  </a:lnTo>
                  <a:lnTo>
                    <a:pt x="10" y="33"/>
                  </a:lnTo>
                  <a:lnTo>
                    <a:pt x="10" y="30"/>
                  </a:lnTo>
                  <a:lnTo>
                    <a:pt x="10" y="33"/>
                  </a:lnTo>
                  <a:lnTo>
                    <a:pt x="10" y="30"/>
                  </a:lnTo>
                  <a:lnTo>
                    <a:pt x="12" y="30"/>
                  </a:lnTo>
                  <a:lnTo>
                    <a:pt x="12" y="28"/>
                  </a:lnTo>
                  <a:lnTo>
                    <a:pt x="12" y="30"/>
                  </a:lnTo>
                  <a:lnTo>
                    <a:pt x="14" y="30"/>
                  </a:lnTo>
                  <a:lnTo>
                    <a:pt x="12" y="30"/>
                  </a:lnTo>
                  <a:lnTo>
                    <a:pt x="14" y="30"/>
                  </a:lnTo>
                  <a:lnTo>
                    <a:pt x="14" y="33"/>
                  </a:lnTo>
                  <a:lnTo>
                    <a:pt x="14" y="30"/>
                  </a:lnTo>
                  <a:lnTo>
                    <a:pt x="17" y="30"/>
                  </a:lnTo>
                  <a:lnTo>
                    <a:pt x="14" y="30"/>
                  </a:lnTo>
                  <a:lnTo>
                    <a:pt x="17" y="30"/>
                  </a:lnTo>
                  <a:lnTo>
                    <a:pt x="14" y="30"/>
                  </a:lnTo>
                  <a:lnTo>
                    <a:pt x="14" y="28"/>
                  </a:lnTo>
                  <a:lnTo>
                    <a:pt x="17" y="28"/>
                  </a:lnTo>
                  <a:lnTo>
                    <a:pt x="19" y="28"/>
                  </a:lnTo>
                  <a:lnTo>
                    <a:pt x="21" y="28"/>
                  </a:lnTo>
                  <a:lnTo>
                    <a:pt x="21" y="26"/>
                  </a:lnTo>
                  <a:lnTo>
                    <a:pt x="24" y="26"/>
                  </a:lnTo>
                  <a:lnTo>
                    <a:pt x="21" y="26"/>
                  </a:lnTo>
                  <a:lnTo>
                    <a:pt x="24" y="23"/>
                  </a:lnTo>
                  <a:lnTo>
                    <a:pt x="24" y="26"/>
                  </a:lnTo>
                  <a:lnTo>
                    <a:pt x="24" y="23"/>
                  </a:lnTo>
                  <a:lnTo>
                    <a:pt x="24" y="26"/>
                  </a:lnTo>
                  <a:lnTo>
                    <a:pt x="24" y="23"/>
                  </a:lnTo>
                  <a:lnTo>
                    <a:pt x="24" y="26"/>
                  </a:lnTo>
                  <a:lnTo>
                    <a:pt x="26" y="28"/>
                  </a:lnTo>
                  <a:lnTo>
                    <a:pt x="29" y="28"/>
                  </a:lnTo>
                  <a:lnTo>
                    <a:pt x="29" y="26"/>
                  </a:lnTo>
                  <a:lnTo>
                    <a:pt x="29" y="28"/>
                  </a:lnTo>
                  <a:lnTo>
                    <a:pt x="31" y="28"/>
                  </a:lnTo>
                  <a:lnTo>
                    <a:pt x="31" y="26"/>
                  </a:lnTo>
                  <a:lnTo>
                    <a:pt x="33" y="26"/>
                  </a:lnTo>
                  <a:lnTo>
                    <a:pt x="36" y="26"/>
                  </a:lnTo>
                  <a:lnTo>
                    <a:pt x="38" y="26"/>
                  </a:lnTo>
                  <a:lnTo>
                    <a:pt x="38" y="28"/>
                  </a:lnTo>
                  <a:lnTo>
                    <a:pt x="40" y="28"/>
                  </a:lnTo>
                  <a:lnTo>
                    <a:pt x="43" y="28"/>
                  </a:lnTo>
                  <a:lnTo>
                    <a:pt x="40" y="28"/>
                  </a:lnTo>
                  <a:lnTo>
                    <a:pt x="40" y="26"/>
                  </a:lnTo>
                  <a:lnTo>
                    <a:pt x="43" y="26"/>
                  </a:lnTo>
                  <a:lnTo>
                    <a:pt x="43" y="23"/>
                  </a:lnTo>
                  <a:lnTo>
                    <a:pt x="43" y="21"/>
                  </a:lnTo>
                  <a:lnTo>
                    <a:pt x="43" y="23"/>
                  </a:lnTo>
                  <a:lnTo>
                    <a:pt x="45" y="23"/>
                  </a:lnTo>
                  <a:lnTo>
                    <a:pt x="45" y="21"/>
                  </a:lnTo>
                  <a:close/>
                  <a:moveTo>
                    <a:pt x="26" y="2"/>
                  </a:moveTo>
                  <a:lnTo>
                    <a:pt x="29" y="2"/>
                  </a:lnTo>
                  <a:lnTo>
                    <a:pt x="29" y="4"/>
                  </a:lnTo>
                  <a:lnTo>
                    <a:pt x="31" y="4"/>
                  </a:lnTo>
                  <a:lnTo>
                    <a:pt x="33" y="4"/>
                  </a:lnTo>
                  <a:lnTo>
                    <a:pt x="33" y="7"/>
                  </a:lnTo>
                  <a:lnTo>
                    <a:pt x="33" y="4"/>
                  </a:lnTo>
                  <a:lnTo>
                    <a:pt x="33" y="7"/>
                  </a:lnTo>
                  <a:lnTo>
                    <a:pt x="36" y="7"/>
                  </a:lnTo>
                  <a:lnTo>
                    <a:pt x="38" y="7"/>
                  </a:lnTo>
                  <a:lnTo>
                    <a:pt x="38" y="9"/>
                  </a:lnTo>
                  <a:lnTo>
                    <a:pt x="36" y="9"/>
                  </a:lnTo>
                  <a:lnTo>
                    <a:pt x="36" y="7"/>
                  </a:lnTo>
                  <a:lnTo>
                    <a:pt x="36" y="9"/>
                  </a:lnTo>
                  <a:lnTo>
                    <a:pt x="38" y="9"/>
                  </a:lnTo>
                  <a:lnTo>
                    <a:pt x="38" y="11"/>
                  </a:lnTo>
                  <a:lnTo>
                    <a:pt x="40" y="11"/>
                  </a:lnTo>
                  <a:lnTo>
                    <a:pt x="38" y="11"/>
                  </a:lnTo>
                  <a:lnTo>
                    <a:pt x="40" y="11"/>
                  </a:lnTo>
                  <a:lnTo>
                    <a:pt x="40" y="14"/>
                  </a:lnTo>
                  <a:lnTo>
                    <a:pt x="38" y="14"/>
                  </a:lnTo>
                  <a:lnTo>
                    <a:pt x="36" y="14"/>
                  </a:lnTo>
                  <a:lnTo>
                    <a:pt x="38" y="14"/>
                  </a:lnTo>
                  <a:lnTo>
                    <a:pt x="36" y="14"/>
                  </a:lnTo>
                  <a:lnTo>
                    <a:pt x="33" y="14"/>
                  </a:lnTo>
                  <a:lnTo>
                    <a:pt x="36" y="14"/>
                  </a:lnTo>
                  <a:lnTo>
                    <a:pt x="33" y="14"/>
                  </a:lnTo>
                  <a:lnTo>
                    <a:pt x="33" y="16"/>
                  </a:lnTo>
                  <a:lnTo>
                    <a:pt x="33" y="19"/>
                  </a:lnTo>
                  <a:lnTo>
                    <a:pt x="31" y="19"/>
                  </a:lnTo>
                  <a:lnTo>
                    <a:pt x="33" y="16"/>
                  </a:lnTo>
                  <a:lnTo>
                    <a:pt x="31" y="16"/>
                  </a:lnTo>
                  <a:lnTo>
                    <a:pt x="31" y="19"/>
                  </a:lnTo>
                  <a:lnTo>
                    <a:pt x="31" y="16"/>
                  </a:lnTo>
                  <a:lnTo>
                    <a:pt x="29" y="16"/>
                  </a:lnTo>
                  <a:lnTo>
                    <a:pt x="29" y="19"/>
                  </a:lnTo>
                  <a:lnTo>
                    <a:pt x="29" y="21"/>
                  </a:lnTo>
                  <a:lnTo>
                    <a:pt x="26" y="21"/>
                  </a:lnTo>
                  <a:lnTo>
                    <a:pt x="24" y="21"/>
                  </a:lnTo>
                  <a:lnTo>
                    <a:pt x="21" y="21"/>
                  </a:lnTo>
                  <a:lnTo>
                    <a:pt x="21" y="19"/>
                  </a:lnTo>
                  <a:lnTo>
                    <a:pt x="21" y="16"/>
                  </a:lnTo>
                  <a:lnTo>
                    <a:pt x="19" y="16"/>
                  </a:lnTo>
                  <a:lnTo>
                    <a:pt x="21" y="16"/>
                  </a:lnTo>
                  <a:lnTo>
                    <a:pt x="19" y="16"/>
                  </a:lnTo>
                  <a:lnTo>
                    <a:pt x="21" y="16"/>
                  </a:lnTo>
                  <a:lnTo>
                    <a:pt x="21" y="14"/>
                  </a:lnTo>
                  <a:lnTo>
                    <a:pt x="19" y="14"/>
                  </a:lnTo>
                  <a:lnTo>
                    <a:pt x="19" y="11"/>
                  </a:lnTo>
                  <a:lnTo>
                    <a:pt x="17" y="11"/>
                  </a:lnTo>
                  <a:lnTo>
                    <a:pt x="14" y="11"/>
                  </a:lnTo>
                  <a:lnTo>
                    <a:pt x="12" y="11"/>
                  </a:lnTo>
                  <a:lnTo>
                    <a:pt x="10" y="11"/>
                  </a:lnTo>
                  <a:lnTo>
                    <a:pt x="10" y="9"/>
                  </a:lnTo>
                  <a:lnTo>
                    <a:pt x="7" y="9"/>
                  </a:lnTo>
                  <a:lnTo>
                    <a:pt x="10" y="9"/>
                  </a:lnTo>
                  <a:lnTo>
                    <a:pt x="12" y="9"/>
                  </a:lnTo>
                  <a:lnTo>
                    <a:pt x="14" y="9"/>
                  </a:lnTo>
                  <a:lnTo>
                    <a:pt x="17" y="9"/>
                  </a:lnTo>
                  <a:lnTo>
                    <a:pt x="19" y="9"/>
                  </a:lnTo>
                  <a:lnTo>
                    <a:pt x="19" y="7"/>
                  </a:lnTo>
                  <a:lnTo>
                    <a:pt x="21" y="7"/>
                  </a:lnTo>
                  <a:lnTo>
                    <a:pt x="19" y="7"/>
                  </a:lnTo>
                  <a:lnTo>
                    <a:pt x="21" y="7"/>
                  </a:lnTo>
                  <a:lnTo>
                    <a:pt x="19" y="7"/>
                  </a:lnTo>
                  <a:lnTo>
                    <a:pt x="21" y="7"/>
                  </a:lnTo>
                  <a:lnTo>
                    <a:pt x="21" y="4"/>
                  </a:lnTo>
                  <a:lnTo>
                    <a:pt x="24" y="4"/>
                  </a:lnTo>
                  <a:lnTo>
                    <a:pt x="21" y="4"/>
                  </a:lnTo>
                  <a:lnTo>
                    <a:pt x="24" y="4"/>
                  </a:lnTo>
                  <a:lnTo>
                    <a:pt x="24" y="2"/>
                  </a:lnTo>
                  <a:lnTo>
                    <a:pt x="24" y="0"/>
                  </a:lnTo>
                  <a:lnTo>
                    <a:pt x="26" y="0"/>
                  </a:lnTo>
                  <a:lnTo>
                    <a:pt x="2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9" name="Freeform 50292"/>
            <p:cNvSpPr>
              <a:spLocks/>
            </p:cNvSpPr>
            <p:nvPr/>
          </p:nvSpPr>
          <p:spPr bwMode="auto">
            <a:xfrm>
              <a:off x="3252785" y="3921139"/>
              <a:ext cx="252413" cy="180977"/>
            </a:xfrm>
            <a:custGeom>
              <a:avLst/>
              <a:gdLst>
                <a:gd name="T0" fmla="*/ 81 w 159"/>
                <a:gd name="T1" fmla="*/ 4 h 114"/>
                <a:gd name="T2" fmla="*/ 86 w 159"/>
                <a:gd name="T3" fmla="*/ 2 h 114"/>
                <a:gd name="T4" fmla="*/ 86 w 159"/>
                <a:gd name="T5" fmla="*/ 4 h 114"/>
                <a:gd name="T6" fmla="*/ 100 w 159"/>
                <a:gd name="T7" fmla="*/ 7 h 114"/>
                <a:gd name="T8" fmla="*/ 109 w 159"/>
                <a:gd name="T9" fmla="*/ 9 h 114"/>
                <a:gd name="T10" fmla="*/ 121 w 159"/>
                <a:gd name="T11" fmla="*/ 14 h 114"/>
                <a:gd name="T12" fmla="*/ 138 w 159"/>
                <a:gd name="T13" fmla="*/ 14 h 114"/>
                <a:gd name="T14" fmla="*/ 150 w 159"/>
                <a:gd name="T15" fmla="*/ 14 h 114"/>
                <a:gd name="T16" fmla="*/ 159 w 159"/>
                <a:gd name="T17" fmla="*/ 16 h 114"/>
                <a:gd name="T18" fmla="*/ 157 w 159"/>
                <a:gd name="T19" fmla="*/ 21 h 114"/>
                <a:gd name="T20" fmla="*/ 147 w 159"/>
                <a:gd name="T21" fmla="*/ 28 h 114"/>
                <a:gd name="T22" fmla="*/ 136 w 159"/>
                <a:gd name="T23" fmla="*/ 42 h 114"/>
                <a:gd name="T24" fmla="*/ 136 w 159"/>
                <a:gd name="T25" fmla="*/ 71 h 114"/>
                <a:gd name="T26" fmla="*/ 140 w 159"/>
                <a:gd name="T27" fmla="*/ 88 h 114"/>
                <a:gd name="T28" fmla="*/ 145 w 159"/>
                <a:gd name="T29" fmla="*/ 95 h 114"/>
                <a:gd name="T30" fmla="*/ 136 w 159"/>
                <a:gd name="T31" fmla="*/ 102 h 114"/>
                <a:gd name="T32" fmla="*/ 131 w 159"/>
                <a:gd name="T33" fmla="*/ 114 h 114"/>
                <a:gd name="T34" fmla="*/ 117 w 159"/>
                <a:gd name="T35" fmla="*/ 109 h 114"/>
                <a:gd name="T36" fmla="*/ 107 w 159"/>
                <a:gd name="T37" fmla="*/ 111 h 114"/>
                <a:gd name="T38" fmla="*/ 95 w 159"/>
                <a:gd name="T39" fmla="*/ 111 h 114"/>
                <a:gd name="T40" fmla="*/ 90 w 159"/>
                <a:gd name="T41" fmla="*/ 104 h 114"/>
                <a:gd name="T42" fmla="*/ 88 w 159"/>
                <a:gd name="T43" fmla="*/ 97 h 114"/>
                <a:gd name="T44" fmla="*/ 79 w 159"/>
                <a:gd name="T45" fmla="*/ 95 h 114"/>
                <a:gd name="T46" fmla="*/ 67 w 159"/>
                <a:gd name="T47" fmla="*/ 90 h 114"/>
                <a:gd name="T48" fmla="*/ 60 w 159"/>
                <a:gd name="T49" fmla="*/ 88 h 114"/>
                <a:gd name="T50" fmla="*/ 45 w 159"/>
                <a:gd name="T51" fmla="*/ 90 h 114"/>
                <a:gd name="T52" fmla="*/ 38 w 159"/>
                <a:gd name="T53" fmla="*/ 92 h 114"/>
                <a:gd name="T54" fmla="*/ 34 w 159"/>
                <a:gd name="T55" fmla="*/ 88 h 114"/>
                <a:gd name="T56" fmla="*/ 34 w 159"/>
                <a:gd name="T57" fmla="*/ 78 h 114"/>
                <a:gd name="T58" fmla="*/ 36 w 159"/>
                <a:gd name="T59" fmla="*/ 69 h 114"/>
                <a:gd name="T60" fmla="*/ 34 w 159"/>
                <a:gd name="T61" fmla="*/ 69 h 114"/>
                <a:gd name="T62" fmla="*/ 24 w 159"/>
                <a:gd name="T63" fmla="*/ 76 h 114"/>
                <a:gd name="T64" fmla="*/ 17 w 159"/>
                <a:gd name="T65" fmla="*/ 73 h 114"/>
                <a:gd name="T66" fmla="*/ 10 w 159"/>
                <a:gd name="T67" fmla="*/ 66 h 114"/>
                <a:gd name="T68" fmla="*/ 3 w 159"/>
                <a:gd name="T69" fmla="*/ 59 h 114"/>
                <a:gd name="T70" fmla="*/ 3 w 159"/>
                <a:gd name="T71" fmla="*/ 52 h 114"/>
                <a:gd name="T72" fmla="*/ 10 w 159"/>
                <a:gd name="T73" fmla="*/ 50 h 114"/>
                <a:gd name="T74" fmla="*/ 3 w 159"/>
                <a:gd name="T75" fmla="*/ 50 h 114"/>
                <a:gd name="T76" fmla="*/ 3 w 159"/>
                <a:gd name="T77" fmla="*/ 45 h 114"/>
                <a:gd name="T78" fmla="*/ 3 w 159"/>
                <a:gd name="T79" fmla="*/ 40 h 114"/>
                <a:gd name="T80" fmla="*/ 7 w 159"/>
                <a:gd name="T81" fmla="*/ 38 h 114"/>
                <a:gd name="T82" fmla="*/ 3 w 159"/>
                <a:gd name="T83" fmla="*/ 38 h 114"/>
                <a:gd name="T84" fmla="*/ 3 w 159"/>
                <a:gd name="T85" fmla="*/ 31 h 114"/>
                <a:gd name="T86" fmla="*/ 10 w 159"/>
                <a:gd name="T87" fmla="*/ 21 h 114"/>
                <a:gd name="T88" fmla="*/ 22 w 159"/>
                <a:gd name="T89" fmla="*/ 21 h 114"/>
                <a:gd name="T90" fmla="*/ 26 w 159"/>
                <a:gd name="T91" fmla="*/ 19 h 114"/>
                <a:gd name="T92" fmla="*/ 29 w 159"/>
                <a:gd name="T93" fmla="*/ 14 h 114"/>
                <a:gd name="T94" fmla="*/ 38 w 159"/>
                <a:gd name="T95" fmla="*/ 12 h 114"/>
                <a:gd name="T96" fmla="*/ 45 w 159"/>
                <a:gd name="T97" fmla="*/ 14 h 114"/>
                <a:gd name="T98" fmla="*/ 48 w 159"/>
                <a:gd name="T99" fmla="*/ 7 h 114"/>
                <a:gd name="T100" fmla="*/ 55 w 159"/>
                <a:gd name="T101" fmla="*/ 12 h 114"/>
                <a:gd name="T102" fmla="*/ 64 w 159"/>
                <a:gd name="T103" fmla="*/ 9 h 114"/>
                <a:gd name="T104" fmla="*/ 69 w 159"/>
                <a:gd name="T105" fmla="*/ 7 h 114"/>
                <a:gd name="T106" fmla="*/ 74 w 159"/>
                <a:gd name="T107" fmla="*/ 7 h 114"/>
                <a:gd name="T108" fmla="*/ 76 w 159"/>
                <a:gd name="T109" fmla="*/ 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 h="114">
                  <a:moveTo>
                    <a:pt x="76" y="2"/>
                  </a:moveTo>
                  <a:lnTo>
                    <a:pt x="79" y="2"/>
                  </a:lnTo>
                  <a:lnTo>
                    <a:pt x="76" y="2"/>
                  </a:lnTo>
                  <a:lnTo>
                    <a:pt x="79" y="4"/>
                  </a:lnTo>
                  <a:lnTo>
                    <a:pt x="79" y="7"/>
                  </a:lnTo>
                  <a:lnTo>
                    <a:pt x="81" y="7"/>
                  </a:lnTo>
                  <a:lnTo>
                    <a:pt x="81" y="4"/>
                  </a:lnTo>
                  <a:lnTo>
                    <a:pt x="83" y="4"/>
                  </a:lnTo>
                  <a:lnTo>
                    <a:pt x="83" y="7"/>
                  </a:lnTo>
                  <a:lnTo>
                    <a:pt x="83" y="4"/>
                  </a:lnTo>
                  <a:lnTo>
                    <a:pt x="86" y="4"/>
                  </a:lnTo>
                  <a:lnTo>
                    <a:pt x="83" y="4"/>
                  </a:lnTo>
                  <a:lnTo>
                    <a:pt x="83" y="2"/>
                  </a:lnTo>
                  <a:lnTo>
                    <a:pt x="86" y="2"/>
                  </a:lnTo>
                  <a:lnTo>
                    <a:pt x="86" y="4"/>
                  </a:lnTo>
                  <a:lnTo>
                    <a:pt x="86" y="2"/>
                  </a:lnTo>
                  <a:lnTo>
                    <a:pt x="86" y="4"/>
                  </a:lnTo>
                  <a:lnTo>
                    <a:pt x="88" y="4"/>
                  </a:lnTo>
                  <a:lnTo>
                    <a:pt x="88" y="2"/>
                  </a:lnTo>
                  <a:lnTo>
                    <a:pt x="88" y="4"/>
                  </a:lnTo>
                  <a:lnTo>
                    <a:pt x="86" y="4"/>
                  </a:lnTo>
                  <a:lnTo>
                    <a:pt x="88" y="4"/>
                  </a:lnTo>
                  <a:lnTo>
                    <a:pt x="90" y="4"/>
                  </a:lnTo>
                  <a:lnTo>
                    <a:pt x="93" y="4"/>
                  </a:lnTo>
                  <a:lnTo>
                    <a:pt x="95" y="4"/>
                  </a:lnTo>
                  <a:lnTo>
                    <a:pt x="95" y="7"/>
                  </a:lnTo>
                  <a:lnTo>
                    <a:pt x="98" y="7"/>
                  </a:lnTo>
                  <a:lnTo>
                    <a:pt x="100" y="7"/>
                  </a:lnTo>
                  <a:lnTo>
                    <a:pt x="100" y="9"/>
                  </a:lnTo>
                  <a:lnTo>
                    <a:pt x="102" y="9"/>
                  </a:lnTo>
                  <a:lnTo>
                    <a:pt x="105" y="9"/>
                  </a:lnTo>
                  <a:lnTo>
                    <a:pt x="105" y="7"/>
                  </a:lnTo>
                  <a:lnTo>
                    <a:pt x="107" y="7"/>
                  </a:lnTo>
                  <a:lnTo>
                    <a:pt x="107" y="9"/>
                  </a:lnTo>
                  <a:lnTo>
                    <a:pt x="109" y="9"/>
                  </a:lnTo>
                  <a:lnTo>
                    <a:pt x="112" y="9"/>
                  </a:lnTo>
                  <a:lnTo>
                    <a:pt x="112" y="12"/>
                  </a:lnTo>
                  <a:lnTo>
                    <a:pt x="114" y="12"/>
                  </a:lnTo>
                  <a:lnTo>
                    <a:pt x="114" y="14"/>
                  </a:lnTo>
                  <a:lnTo>
                    <a:pt x="117" y="14"/>
                  </a:lnTo>
                  <a:lnTo>
                    <a:pt x="119" y="14"/>
                  </a:lnTo>
                  <a:lnTo>
                    <a:pt x="121" y="14"/>
                  </a:lnTo>
                  <a:lnTo>
                    <a:pt x="124" y="14"/>
                  </a:lnTo>
                  <a:lnTo>
                    <a:pt x="126" y="14"/>
                  </a:lnTo>
                  <a:lnTo>
                    <a:pt x="128" y="14"/>
                  </a:lnTo>
                  <a:lnTo>
                    <a:pt x="131" y="14"/>
                  </a:lnTo>
                  <a:lnTo>
                    <a:pt x="133" y="14"/>
                  </a:lnTo>
                  <a:lnTo>
                    <a:pt x="136" y="14"/>
                  </a:lnTo>
                  <a:lnTo>
                    <a:pt x="138" y="14"/>
                  </a:lnTo>
                  <a:lnTo>
                    <a:pt x="140" y="14"/>
                  </a:lnTo>
                  <a:lnTo>
                    <a:pt x="143" y="14"/>
                  </a:lnTo>
                  <a:lnTo>
                    <a:pt x="143" y="16"/>
                  </a:lnTo>
                  <a:lnTo>
                    <a:pt x="145" y="16"/>
                  </a:lnTo>
                  <a:lnTo>
                    <a:pt x="147" y="14"/>
                  </a:lnTo>
                  <a:lnTo>
                    <a:pt x="147" y="16"/>
                  </a:lnTo>
                  <a:lnTo>
                    <a:pt x="150" y="14"/>
                  </a:lnTo>
                  <a:lnTo>
                    <a:pt x="152" y="14"/>
                  </a:lnTo>
                  <a:lnTo>
                    <a:pt x="152" y="12"/>
                  </a:lnTo>
                  <a:lnTo>
                    <a:pt x="155" y="12"/>
                  </a:lnTo>
                  <a:lnTo>
                    <a:pt x="155" y="14"/>
                  </a:lnTo>
                  <a:lnTo>
                    <a:pt x="157" y="14"/>
                  </a:lnTo>
                  <a:lnTo>
                    <a:pt x="157" y="16"/>
                  </a:lnTo>
                  <a:lnTo>
                    <a:pt x="159" y="16"/>
                  </a:lnTo>
                  <a:lnTo>
                    <a:pt x="157" y="16"/>
                  </a:lnTo>
                  <a:lnTo>
                    <a:pt x="159" y="16"/>
                  </a:lnTo>
                  <a:lnTo>
                    <a:pt x="157" y="16"/>
                  </a:lnTo>
                  <a:lnTo>
                    <a:pt x="159" y="16"/>
                  </a:lnTo>
                  <a:lnTo>
                    <a:pt x="159" y="19"/>
                  </a:lnTo>
                  <a:lnTo>
                    <a:pt x="157" y="19"/>
                  </a:lnTo>
                  <a:lnTo>
                    <a:pt x="157" y="21"/>
                  </a:lnTo>
                  <a:lnTo>
                    <a:pt x="155" y="21"/>
                  </a:lnTo>
                  <a:lnTo>
                    <a:pt x="152" y="21"/>
                  </a:lnTo>
                  <a:lnTo>
                    <a:pt x="150" y="21"/>
                  </a:lnTo>
                  <a:lnTo>
                    <a:pt x="150" y="23"/>
                  </a:lnTo>
                  <a:lnTo>
                    <a:pt x="147" y="23"/>
                  </a:lnTo>
                  <a:lnTo>
                    <a:pt x="147" y="26"/>
                  </a:lnTo>
                  <a:lnTo>
                    <a:pt x="147" y="28"/>
                  </a:lnTo>
                  <a:lnTo>
                    <a:pt x="145" y="28"/>
                  </a:lnTo>
                  <a:lnTo>
                    <a:pt x="145" y="31"/>
                  </a:lnTo>
                  <a:lnTo>
                    <a:pt x="145" y="33"/>
                  </a:lnTo>
                  <a:lnTo>
                    <a:pt x="143" y="33"/>
                  </a:lnTo>
                  <a:lnTo>
                    <a:pt x="143" y="35"/>
                  </a:lnTo>
                  <a:lnTo>
                    <a:pt x="143" y="38"/>
                  </a:lnTo>
                  <a:lnTo>
                    <a:pt x="136" y="42"/>
                  </a:lnTo>
                  <a:lnTo>
                    <a:pt x="133" y="45"/>
                  </a:lnTo>
                  <a:lnTo>
                    <a:pt x="131" y="47"/>
                  </a:lnTo>
                  <a:lnTo>
                    <a:pt x="131" y="52"/>
                  </a:lnTo>
                  <a:lnTo>
                    <a:pt x="133" y="57"/>
                  </a:lnTo>
                  <a:lnTo>
                    <a:pt x="136" y="64"/>
                  </a:lnTo>
                  <a:lnTo>
                    <a:pt x="136" y="69"/>
                  </a:lnTo>
                  <a:lnTo>
                    <a:pt x="136" y="71"/>
                  </a:lnTo>
                  <a:lnTo>
                    <a:pt x="136" y="73"/>
                  </a:lnTo>
                  <a:lnTo>
                    <a:pt x="136" y="78"/>
                  </a:lnTo>
                  <a:lnTo>
                    <a:pt x="138" y="83"/>
                  </a:lnTo>
                  <a:lnTo>
                    <a:pt x="140" y="83"/>
                  </a:lnTo>
                  <a:lnTo>
                    <a:pt x="138" y="85"/>
                  </a:lnTo>
                  <a:lnTo>
                    <a:pt x="138" y="88"/>
                  </a:lnTo>
                  <a:lnTo>
                    <a:pt x="140" y="88"/>
                  </a:lnTo>
                  <a:lnTo>
                    <a:pt x="140" y="90"/>
                  </a:lnTo>
                  <a:lnTo>
                    <a:pt x="140" y="88"/>
                  </a:lnTo>
                  <a:lnTo>
                    <a:pt x="140" y="90"/>
                  </a:lnTo>
                  <a:lnTo>
                    <a:pt x="140" y="92"/>
                  </a:lnTo>
                  <a:lnTo>
                    <a:pt x="143" y="92"/>
                  </a:lnTo>
                  <a:lnTo>
                    <a:pt x="143" y="95"/>
                  </a:lnTo>
                  <a:lnTo>
                    <a:pt x="145" y="95"/>
                  </a:lnTo>
                  <a:lnTo>
                    <a:pt x="145" y="97"/>
                  </a:lnTo>
                  <a:lnTo>
                    <a:pt x="143" y="97"/>
                  </a:lnTo>
                  <a:lnTo>
                    <a:pt x="140" y="97"/>
                  </a:lnTo>
                  <a:lnTo>
                    <a:pt x="138" y="97"/>
                  </a:lnTo>
                  <a:lnTo>
                    <a:pt x="136" y="97"/>
                  </a:lnTo>
                  <a:lnTo>
                    <a:pt x="136" y="100"/>
                  </a:lnTo>
                  <a:lnTo>
                    <a:pt x="136" y="102"/>
                  </a:lnTo>
                  <a:lnTo>
                    <a:pt x="136" y="104"/>
                  </a:lnTo>
                  <a:lnTo>
                    <a:pt x="133" y="104"/>
                  </a:lnTo>
                  <a:lnTo>
                    <a:pt x="131" y="104"/>
                  </a:lnTo>
                  <a:lnTo>
                    <a:pt x="131" y="107"/>
                  </a:lnTo>
                  <a:lnTo>
                    <a:pt x="131" y="109"/>
                  </a:lnTo>
                  <a:lnTo>
                    <a:pt x="128" y="111"/>
                  </a:lnTo>
                  <a:lnTo>
                    <a:pt x="131" y="114"/>
                  </a:lnTo>
                  <a:lnTo>
                    <a:pt x="128" y="114"/>
                  </a:lnTo>
                  <a:lnTo>
                    <a:pt x="126" y="111"/>
                  </a:lnTo>
                  <a:lnTo>
                    <a:pt x="124" y="111"/>
                  </a:lnTo>
                  <a:lnTo>
                    <a:pt x="121" y="111"/>
                  </a:lnTo>
                  <a:lnTo>
                    <a:pt x="119" y="111"/>
                  </a:lnTo>
                  <a:lnTo>
                    <a:pt x="119" y="109"/>
                  </a:lnTo>
                  <a:lnTo>
                    <a:pt x="117" y="109"/>
                  </a:lnTo>
                  <a:lnTo>
                    <a:pt x="117" y="107"/>
                  </a:lnTo>
                  <a:lnTo>
                    <a:pt x="114" y="109"/>
                  </a:lnTo>
                  <a:lnTo>
                    <a:pt x="112" y="111"/>
                  </a:lnTo>
                  <a:lnTo>
                    <a:pt x="109" y="111"/>
                  </a:lnTo>
                  <a:lnTo>
                    <a:pt x="112" y="111"/>
                  </a:lnTo>
                  <a:lnTo>
                    <a:pt x="109" y="111"/>
                  </a:lnTo>
                  <a:lnTo>
                    <a:pt x="107" y="111"/>
                  </a:lnTo>
                  <a:lnTo>
                    <a:pt x="107" y="114"/>
                  </a:lnTo>
                  <a:lnTo>
                    <a:pt x="105" y="114"/>
                  </a:lnTo>
                  <a:lnTo>
                    <a:pt x="102" y="114"/>
                  </a:lnTo>
                  <a:lnTo>
                    <a:pt x="102" y="111"/>
                  </a:lnTo>
                  <a:lnTo>
                    <a:pt x="100" y="111"/>
                  </a:lnTo>
                  <a:lnTo>
                    <a:pt x="98" y="111"/>
                  </a:lnTo>
                  <a:lnTo>
                    <a:pt x="95" y="111"/>
                  </a:lnTo>
                  <a:lnTo>
                    <a:pt x="95" y="109"/>
                  </a:lnTo>
                  <a:lnTo>
                    <a:pt x="95" y="111"/>
                  </a:lnTo>
                  <a:lnTo>
                    <a:pt x="95" y="109"/>
                  </a:lnTo>
                  <a:lnTo>
                    <a:pt x="93" y="109"/>
                  </a:lnTo>
                  <a:lnTo>
                    <a:pt x="93" y="107"/>
                  </a:lnTo>
                  <a:lnTo>
                    <a:pt x="93" y="104"/>
                  </a:lnTo>
                  <a:lnTo>
                    <a:pt x="90" y="104"/>
                  </a:lnTo>
                  <a:lnTo>
                    <a:pt x="93" y="104"/>
                  </a:lnTo>
                  <a:lnTo>
                    <a:pt x="90" y="104"/>
                  </a:lnTo>
                  <a:lnTo>
                    <a:pt x="90" y="102"/>
                  </a:lnTo>
                  <a:lnTo>
                    <a:pt x="88" y="102"/>
                  </a:lnTo>
                  <a:lnTo>
                    <a:pt x="86" y="102"/>
                  </a:lnTo>
                  <a:lnTo>
                    <a:pt x="86" y="100"/>
                  </a:lnTo>
                  <a:lnTo>
                    <a:pt x="88" y="97"/>
                  </a:lnTo>
                  <a:lnTo>
                    <a:pt x="86" y="97"/>
                  </a:lnTo>
                  <a:lnTo>
                    <a:pt x="83" y="97"/>
                  </a:lnTo>
                  <a:lnTo>
                    <a:pt x="81" y="97"/>
                  </a:lnTo>
                  <a:lnTo>
                    <a:pt x="81" y="95"/>
                  </a:lnTo>
                  <a:lnTo>
                    <a:pt x="81" y="97"/>
                  </a:lnTo>
                  <a:lnTo>
                    <a:pt x="79" y="97"/>
                  </a:lnTo>
                  <a:lnTo>
                    <a:pt x="79" y="95"/>
                  </a:lnTo>
                  <a:lnTo>
                    <a:pt x="76" y="92"/>
                  </a:lnTo>
                  <a:lnTo>
                    <a:pt x="76" y="95"/>
                  </a:lnTo>
                  <a:lnTo>
                    <a:pt x="74" y="92"/>
                  </a:lnTo>
                  <a:lnTo>
                    <a:pt x="72" y="92"/>
                  </a:lnTo>
                  <a:lnTo>
                    <a:pt x="72" y="90"/>
                  </a:lnTo>
                  <a:lnTo>
                    <a:pt x="69" y="90"/>
                  </a:lnTo>
                  <a:lnTo>
                    <a:pt x="67" y="90"/>
                  </a:lnTo>
                  <a:lnTo>
                    <a:pt x="67" y="88"/>
                  </a:lnTo>
                  <a:lnTo>
                    <a:pt x="64" y="88"/>
                  </a:lnTo>
                  <a:lnTo>
                    <a:pt x="64" y="85"/>
                  </a:lnTo>
                  <a:lnTo>
                    <a:pt x="62" y="85"/>
                  </a:lnTo>
                  <a:lnTo>
                    <a:pt x="62" y="88"/>
                  </a:lnTo>
                  <a:lnTo>
                    <a:pt x="62" y="90"/>
                  </a:lnTo>
                  <a:lnTo>
                    <a:pt x="60" y="88"/>
                  </a:lnTo>
                  <a:lnTo>
                    <a:pt x="60" y="85"/>
                  </a:lnTo>
                  <a:lnTo>
                    <a:pt x="57" y="85"/>
                  </a:lnTo>
                  <a:lnTo>
                    <a:pt x="55" y="85"/>
                  </a:lnTo>
                  <a:lnTo>
                    <a:pt x="53" y="88"/>
                  </a:lnTo>
                  <a:lnTo>
                    <a:pt x="50" y="88"/>
                  </a:lnTo>
                  <a:lnTo>
                    <a:pt x="48" y="90"/>
                  </a:lnTo>
                  <a:lnTo>
                    <a:pt x="45" y="90"/>
                  </a:lnTo>
                  <a:lnTo>
                    <a:pt x="43" y="90"/>
                  </a:lnTo>
                  <a:lnTo>
                    <a:pt x="43" y="92"/>
                  </a:lnTo>
                  <a:lnTo>
                    <a:pt x="41" y="90"/>
                  </a:lnTo>
                  <a:lnTo>
                    <a:pt x="41" y="92"/>
                  </a:lnTo>
                  <a:lnTo>
                    <a:pt x="38" y="92"/>
                  </a:lnTo>
                  <a:lnTo>
                    <a:pt x="38" y="90"/>
                  </a:lnTo>
                  <a:lnTo>
                    <a:pt x="38" y="92"/>
                  </a:lnTo>
                  <a:lnTo>
                    <a:pt x="36" y="92"/>
                  </a:lnTo>
                  <a:lnTo>
                    <a:pt x="34" y="92"/>
                  </a:lnTo>
                  <a:lnTo>
                    <a:pt x="34" y="95"/>
                  </a:lnTo>
                  <a:lnTo>
                    <a:pt x="31" y="95"/>
                  </a:lnTo>
                  <a:lnTo>
                    <a:pt x="31" y="92"/>
                  </a:lnTo>
                  <a:lnTo>
                    <a:pt x="34" y="90"/>
                  </a:lnTo>
                  <a:lnTo>
                    <a:pt x="34" y="88"/>
                  </a:lnTo>
                  <a:lnTo>
                    <a:pt x="36" y="85"/>
                  </a:lnTo>
                  <a:lnTo>
                    <a:pt x="36" y="83"/>
                  </a:lnTo>
                  <a:lnTo>
                    <a:pt x="34" y="83"/>
                  </a:lnTo>
                  <a:lnTo>
                    <a:pt x="36" y="83"/>
                  </a:lnTo>
                  <a:lnTo>
                    <a:pt x="36" y="80"/>
                  </a:lnTo>
                  <a:lnTo>
                    <a:pt x="34" y="80"/>
                  </a:lnTo>
                  <a:lnTo>
                    <a:pt x="34" y="78"/>
                  </a:lnTo>
                  <a:lnTo>
                    <a:pt x="36" y="78"/>
                  </a:lnTo>
                  <a:lnTo>
                    <a:pt x="34" y="78"/>
                  </a:lnTo>
                  <a:lnTo>
                    <a:pt x="36" y="78"/>
                  </a:lnTo>
                  <a:lnTo>
                    <a:pt x="36" y="76"/>
                  </a:lnTo>
                  <a:lnTo>
                    <a:pt x="38" y="73"/>
                  </a:lnTo>
                  <a:lnTo>
                    <a:pt x="38" y="71"/>
                  </a:lnTo>
                  <a:lnTo>
                    <a:pt x="36" y="69"/>
                  </a:lnTo>
                  <a:lnTo>
                    <a:pt x="38" y="69"/>
                  </a:lnTo>
                  <a:lnTo>
                    <a:pt x="38" y="71"/>
                  </a:lnTo>
                  <a:lnTo>
                    <a:pt x="38" y="69"/>
                  </a:lnTo>
                  <a:lnTo>
                    <a:pt x="41" y="69"/>
                  </a:lnTo>
                  <a:lnTo>
                    <a:pt x="38" y="69"/>
                  </a:lnTo>
                  <a:lnTo>
                    <a:pt x="36" y="69"/>
                  </a:lnTo>
                  <a:lnTo>
                    <a:pt x="34" y="69"/>
                  </a:lnTo>
                  <a:lnTo>
                    <a:pt x="31" y="69"/>
                  </a:lnTo>
                  <a:lnTo>
                    <a:pt x="29" y="69"/>
                  </a:lnTo>
                  <a:lnTo>
                    <a:pt x="29" y="71"/>
                  </a:lnTo>
                  <a:lnTo>
                    <a:pt x="29" y="73"/>
                  </a:lnTo>
                  <a:lnTo>
                    <a:pt x="26" y="73"/>
                  </a:lnTo>
                  <a:lnTo>
                    <a:pt x="26" y="76"/>
                  </a:lnTo>
                  <a:lnTo>
                    <a:pt x="24" y="76"/>
                  </a:lnTo>
                  <a:lnTo>
                    <a:pt x="22" y="76"/>
                  </a:lnTo>
                  <a:lnTo>
                    <a:pt x="22" y="73"/>
                  </a:lnTo>
                  <a:lnTo>
                    <a:pt x="19" y="73"/>
                  </a:lnTo>
                  <a:lnTo>
                    <a:pt x="19" y="71"/>
                  </a:lnTo>
                  <a:lnTo>
                    <a:pt x="19" y="73"/>
                  </a:lnTo>
                  <a:lnTo>
                    <a:pt x="17" y="71"/>
                  </a:lnTo>
                  <a:lnTo>
                    <a:pt x="17" y="73"/>
                  </a:lnTo>
                  <a:lnTo>
                    <a:pt x="15" y="71"/>
                  </a:lnTo>
                  <a:lnTo>
                    <a:pt x="12" y="71"/>
                  </a:lnTo>
                  <a:lnTo>
                    <a:pt x="10" y="71"/>
                  </a:lnTo>
                  <a:lnTo>
                    <a:pt x="12" y="71"/>
                  </a:lnTo>
                  <a:lnTo>
                    <a:pt x="10" y="71"/>
                  </a:lnTo>
                  <a:lnTo>
                    <a:pt x="10" y="69"/>
                  </a:lnTo>
                  <a:lnTo>
                    <a:pt x="10" y="66"/>
                  </a:lnTo>
                  <a:lnTo>
                    <a:pt x="10" y="64"/>
                  </a:lnTo>
                  <a:lnTo>
                    <a:pt x="10" y="61"/>
                  </a:lnTo>
                  <a:lnTo>
                    <a:pt x="7" y="61"/>
                  </a:lnTo>
                  <a:lnTo>
                    <a:pt x="10" y="61"/>
                  </a:lnTo>
                  <a:lnTo>
                    <a:pt x="7" y="61"/>
                  </a:lnTo>
                  <a:lnTo>
                    <a:pt x="5" y="59"/>
                  </a:lnTo>
                  <a:lnTo>
                    <a:pt x="3" y="59"/>
                  </a:lnTo>
                  <a:lnTo>
                    <a:pt x="3" y="57"/>
                  </a:lnTo>
                  <a:lnTo>
                    <a:pt x="5" y="57"/>
                  </a:lnTo>
                  <a:lnTo>
                    <a:pt x="5" y="59"/>
                  </a:lnTo>
                  <a:lnTo>
                    <a:pt x="5" y="57"/>
                  </a:lnTo>
                  <a:lnTo>
                    <a:pt x="3" y="57"/>
                  </a:lnTo>
                  <a:lnTo>
                    <a:pt x="3" y="54"/>
                  </a:lnTo>
                  <a:lnTo>
                    <a:pt x="3" y="52"/>
                  </a:lnTo>
                  <a:lnTo>
                    <a:pt x="5" y="52"/>
                  </a:lnTo>
                  <a:lnTo>
                    <a:pt x="3" y="52"/>
                  </a:lnTo>
                  <a:lnTo>
                    <a:pt x="5" y="50"/>
                  </a:lnTo>
                  <a:lnTo>
                    <a:pt x="3" y="50"/>
                  </a:lnTo>
                  <a:lnTo>
                    <a:pt x="5" y="50"/>
                  </a:lnTo>
                  <a:lnTo>
                    <a:pt x="7" y="50"/>
                  </a:lnTo>
                  <a:lnTo>
                    <a:pt x="10" y="50"/>
                  </a:lnTo>
                  <a:lnTo>
                    <a:pt x="10" y="47"/>
                  </a:lnTo>
                  <a:lnTo>
                    <a:pt x="7" y="47"/>
                  </a:lnTo>
                  <a:lnTo>
                    <a:pt x="5" y="47"/>
                  </a:lnTo>
                  <a:lnTo>
                    <a:pt x="5" y="50"/>
                  </a:lnTo>
                  <a:lnTo>
                    <a:pt x="5" y="47"/>
                  </a:lnTo>
                  <a:lnTo>
                    <a:pt x="3" y="47"/>
                  </a:lnTo>
                  <a:lnTo>
                    <a:pt x="3" y="50"/>
                  </a:lnTo>
                  <a:lnTo>
                    <a:pt x="3" y="47"/>
                  </a:lnTo>
                  <a:lnTo>
                    <a:pt x="3" y="50"/>
                  </a:lnTo>
                  <a:lnTo>
                    <a:pt x="0" y="50"/>
                  </a:lnTo>
                  <a:lnTo>
                    <a:pt x="3" y="47"/>
                  </a:lnTo>
                  <a:lnTo>
                    <a:pt x="0" y="47"/>
                  </a:lnTo>
                  <a:lnTo>
                    <a:pt x="3" y="47"/>
                  </a:lnTo>
                  <a:lnTo>
                    <a:pt x="3" y="45"/>
                  </a:lnTo>
                  <a:lnTo>
                    <a:pt x="3" y="47"/>
                  </a:lnTo>
                  <a:lnTo>
                    <a:pt x="5" y="47"/>
                  </a:lnTo>
                  <a:lnTo>
                    <a:pt x="3" y="45"/>
                  </a:lnTo>
                  <a:lnTo>
                    <a:pt x="3" y="42"/>
                  </a:lnTo>
                  <a:lnTo>
                    <a:pt x="0" y="42"/>
                  </a:lnTo>
                  <a:lnTo>
                    <a:pt x="0" y="40"/>
                  </a:lnTo>
                  <a:lnTo>
                    <a:pt x="3" y="40"/>
                  </a:lnTo>
                  <a:lnTo>
                    <a:pt x="5" y="40"/>
                  </a:lnTo>
                  <a:lnTo>
                    <a:pt x="3" y="38"/>
                  </a:lnTo>
                  <a:lnTo>
                    <a:pt x="3" y="40"/>
                  </a:lnTo>
                  <a:lnTo>
                    <a:pt x="3" y="38"/>
                  </a:lnTo>
                  <a:lnTo>
                    <a:pt x="5" y="40"/>
                  </a:lnTo>
                  <a:lnTo>
                    <a:pt x="5" y="38"/>
                  </a:lnTo>
                  <a:lnTo>
                    <a:pt x="7" y="38"/>
                  </a:lnTo>
                  <a:lnTo>
                    <a:pt x="7" y="35"/>
                  </a:lnTo>
                  <a:lnTo>
                    <a:pt x="7" y="38"/>
                  </a:lnTo>
                  <a:lnTo>
                    <a:pt x="5" y="35"/>
                  </a:lnTo>
                  <a:lnTo>
                    <a:pt x="5" y="38"/>
                  </a:lnTo>
                  <a:lnTo>
                    <a:pt x="5" y="35"/>
                  </a:lnTo>
                  <a:lnTo>
                    <a:pt x="5" y="38"/>
                  </a:lnTo>
                  <a:lnTo>
                    <a:pt x="3" y="38"/>
                  </a:lnTo>
                  <a:lnTo>
                    <a:pt x="0" y="38"/>
                  </a:lnTo>
                  <a:lnTo>
                    <a:pt x="0" y="35"/>
                  </a:lnTo>
                  <a:lnTo>
                    <a:pt x="0" y="33"/>
                  </a:lnTo>
                  <a:lnTo>
                    <a:pt x="3" y="33"/>
                  </a:lnTo>
                  <a:lnTo>
                    <a:pt x="3" y="31"/>
                  </a:lnTo>
                  <a:lnTo>
                    <a:pt x="5" y="31"/>
                  </a:lnTo>
                  <a:lnTo>
                    <a:pt x="3" y="31"/>
                  </a:lnTo>
                  <a:lnTo>
                    <a:pt x="3" y="28"/>
                  </a:lnTo>
                  <a:lnTo>
                    <a:pt x="3" y="26"/>
                  </a:lnTo>
                  <a:lnTo>
                    <a:pt x="3" y="23"/>
                  </a:lnTo>
                  <a:lnTo>
                    <a:pt x="5" y="26"/>
                  </a:lnTo>
                  <a:lnTo>
                    <a:pt x="7" y="23"/>
                  </a:lnTo>
                  <a:lnTo>
                    <a:pt x="10" y="23"/>
                  </a:lnTo>
                  <a:lnTo>
                    <a:pt x="10" y="21"/>
                  </a:lnTo>
                  <a:lnTo>
                    <a:pt x="12" y="21"/>
                  </a:lnTo>
                  <a:lnTo>
                    <a:pt x="15" y="21"/>
                  </a:lnTo>
                  <a:lnTo>
                    <a:pt x="17" y="21"/>
                  </a:lnTo>
                  <a:lnTo>
                    <a:pt x="19" y="21"/>
                  </a:lnTo>
                  <a:lnTo>
                    <a:pt x="22" y="21"/>
                  </a:lnTo>
                  <a:lnTo>
                    <a:pt x="24" y="21"/>
                  </a:lnTo>
                  <a:lnTo>
                    <a:pt x="22" y="21"/>
                  </a:lnTo>
                  <a:lnTo>
                    <a:pt x="24" y="21"/>
                  </a:lnTo>
                  <a:lnTo>
                    <a:pt x="24" y="19"/>
                  </a:lnTo>
                  <a:lnTo>
                    <a:pt x="22" y="19"/>
                  </a:lnTo>
                  <a:lnTo>
                    <a:pt x="22" y="16"/>
                  </a:lnTo>
                  <a:lnTo>
                    <a:pt x="24" y="16"/>
                  </a:lnTo>
                  <a:lnTo>
                    <a:pt x="24" y="19"/>
                  </a:lnTo>
                  <a:lnTo>
                    <a:pt x="26" y="19"/>
                  </a:lnTo>
                  <a:lnTo>
                    <a:pt x="26" y="16"/>
                  </a:lnTo>
                  <a:lnTo>
                    <a:pt x="24" y="16"/>
                  </a:lnTo>
                  <a:lnTo>
                    <a:pt x="26" y="16"/>
                  </a:lnTo>
                  <a:lnTo>
                    <a:pt x="26" y="14"/>
                  </a:lnTo>
                  <a:lnTo>
                    <a:pt x="26" y="16"/>
                  </a:lnTo>
                  <a:lnTo>
                    <a:pt x="29" y="16"/>
                  </a:lnTo>
                  <a:lnTo>
                    <a:pt x="29" y="14"/>
                  </a:lnTo>
                  <a:lnTo>
                    <a:pt x="31" y="14"/>
                  </a:lnTo>
                  <a:lnTo>
                    <a:pt x="31" y="12"/>
                  </a:lnTo>
                  <a:lnTo>
                    <a:pt x="34" y="12"/>
                  </a:lnTo>
                  <a:lnTo>
                    <a:pt x="36" y="12"/>
                  </a:lnTo>
                  <a:lnTo>
                    <a:pt x="36" y="14"/>
                  </a:lnTo>
                  <a:lnTo>
                    <a:pt x="38" y="14"/>
                  </a:lnTo>
                  <a:lnTo>
                    <a:pt x="38" y="12"/>
                  </a:lnTo>
                  <a:lnTo>
                    <a:pt x="41" y="14"/>
                  </a:lnTo>
                  <a:lnTo>
                    <a:pt x="43" y="12"/>
                  </a:lnTo>
                  <a:lnTo>
                    <a:pt x="41" y="12"/>
                  </a:lnTo>
                  <a:lnTo>
                    <a:pt x="43" y="12"/>
                  </a:lnTo>
                  <a:lnTo>
                    <a:pt x="43" y="14"/>
                  </a:lnTo>
                  <a:lnTo>
                    <a:pt x="45" y="12"/>
                  </a:lnTo>
                  <a:lnTo>
                    <a:pt x="45" y="14"/>
                  </a:lnTo>
                  <a:lnTo>
                    <a:pt x="45" y="12"/>
                  </a:lnTo>
                  <a:lnTo>
                    <a:pt x="45" y="14"/>
                  </a:lnTo>
                  <a:lnTo>
                    <a:pt x="45" y="12"/>
                  </a:lnTo>
                  <a:lnTo>
                    <a:pt x="48" y="12"/>
                  </a:lnTo>
                  <a:lnTo>
                    <a:pt x="45" y="9"/>
                  </a:lnTo>
                  <a:lnTo>
                    <a:pt x="45" y="7"/>
                  </a:lnTo>
                  <a:lnTo>
                    <a:pt x="48" y="7"/>
                  </a:lnTo>
                  <a:lnTo>
                    <a:pt x="48" y="9"/>
                  </a:lnTo>
                  <a:lnTo>
                    <a:pt x="50" y="9"/>
                  </a:lnTo>
                  <a:lnTo>
                    <a:pt x="50" y="12"/>
                  </a:lnTo>
                  <a:lnTo>
                    <a:pt x="53" y="12"/>
                  </a:lnTo>
                  <a:lnTo>
                    <a:pt x="53" y="9"/>
                  </a:lnTo>
                  <a:lnTo>
                    <a:pt x="55" y="9"/>
                  </a:lnTo>
                  <a:lnTo>
                    <a:pt x="55" y="12"/>
                  </a:lnTo>
                  <a:lnTo>
                    <a:pt x="57" y="12"/>
                  </a:lnTo>
                  <a:lnTo>
                    <a:pt x="57" y="9"/>
                  </a:lnTo>
                  <a:lnTo>
                    <a:pt x="57" y="7"/>
                  </a:lnTo>
                  <a:lnTo>
                    <a:pt x="57" y="9"/>
                  </a:lnTo>
                  <a:lnTo>
                    <a:pt x="60" y="9"/>
                  </a:lnTo>
                  <a:lnTo>
                    <a:pt x="62" y="9"/>
                  </a:lnTo>
                  <a:lnTo>
                    <a:pt x="64" y="9"/>
                  </a:lnTo>
                  <a:lnTo>
                    <a:pt x="64" y="12"/>
                  </a:lnTo>
                  <a:lnTo>
                    <a:pt x="67" y="12"/>
                  </a:lnTo>
                  <a:lnTo>
                    <a:pt x="67" y="9"/>
                  </a:lnTo>
                  <a:lnTo>
                    <a:pt x="69" y="9"/>
                  </a:lnTo>
                  <a:lnTo>
                    <a:pt x="72" y="9"/>
                  </a:lnTo>
                  <a:lnTo>
                    <a:pt x="72" y="7"/>
                  </a:lnTo>
                  <a:lnTo>
                    <a:pt x="69" y="7"/>
                  </a:lnTo>
                  <a:lnTo>
                    <a:pt x="69" y="4"/>
                  </a:lnTo>
                  <a:lnTo>
                    <a:pt x="69" y="2"/>
                  </a:lnTo>
                  <a:lnTo>
                    <a:pt x="69" y="4"/>
                  </a:lnTo>
                  <a:lnTo>
                    <a:pt x="72" y="4"/>
                  </a:lnTo>
                  <a:lnTo>
                    <a:pt x="74" y="4"/>
                  </a:lnTo>
                  <a:lnTo>
                    <a:pt x="72" y="4"/>
                  </a:lnTo>
                  <a:lnTo>
                    <a:pt x="74" y="7"/>
                  </a:lnTo>
                  <a:lnTo>
                    <a:pt x="76" y="7"/>
                  </a:lnTo>
                  <a:lnTo>
                    <a:pt x="76" y="4"/>
                  </a:lnTo>
                  <a:lnTo>
                    <a:pt x="74" y="4"/>
                  </a:lnTo>
                  <a:lnTo>
                    <a:pt x="74" y="2"/>
                  </a:lnTo>
                  <a:lnTo>
                    <a:pt x="76" y="2"/>
                  </a:lnTo>
                  <a:lnTo>
                    <a:pt x="74" y="2"/>
                  </a:lnTo>
                  <a:lnTo>
                    <a:pt x="76" y="2"/>
                  </a:lnTo>
                  <a:lnTo>
                    <a:pt x="76" y="0"/>
                  </a:lnTo>
                  <a:lnTo>
                    <a:pt x="7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0" name="Freeform 50293"/>
            <p:cNvSpPr>
              <a:spLocks noEditPoints="1"/>
            </p:cNvSpPr>
            <p:nvPr/>
          </p:nvSpPr>
          <p:spPr bwMode="auto">
            <a:xfrm>
              <a:off x="3167061" y="3921139"/>
              <a:ext cx="211138" cy="158750"/>
            </a:xfrm>
            <a:custGeom>
              <a:avLst/>
              <a:gdLst>
                <a:gd name="T0" fmla="*/ 47 w 133"/>
                <a:gd name="T1" fmla="*/ 97 h 100"/>
                <a:gd name="T2" fmla="*/ 26 w 133"/>
                <a:gd name="T3" fmla="*/ 80 h 100"/>
                <a:gd name="T4" fmla="*/ 23 w 133"/>
                <a:gd name="T5" fmla="*/ 80 h 100"/>
                <a:gd name="T6" fmla="*/ 73 w 133"/>
                <a:gd name="T7" fmla="*/ 80 h 100"/>
                <a:gd name="T8" fmla="*/ 73 w 133"/>
                <a:gd name="T9" fmla="*/ 80 h 100"/>
                <a:gd name="T10" fmla="*/ 71 w 133"/>
                <a:gd name="T11" fmla="*/ 80 h 100"/>
                <a:gd name="T12" fmla="*/ 26 w 133"/>
                <a:gd name="T13" fmla="*/ 80 h 100"/>
                <a:gd name="T14" fmla="*/ 23 w 133"/>
                <a:gd name="T15" fmla="*/ 83 h 100"/>
                <a:gd name="T16" fmla="*/ 28 w 133"/>
                <a:gd name="T17" fmla="*/ 78 h 100"/>
                <a:gd name="T18" fmla="*/ 76 w 133"/>
                <a:gd name="T19" fmla="*/ 78 h 100"/>
                <a:gd name="T20" fmla="*/ 78 w 133"/>
                <a:gd name="T21" fmla="*/ 78 h 100"/>
                <a:gd name="T22" fmla="*/ 0 w 133"/>
                <a:gd name="T23" fmla="*/ 73 h 100"/>
                <a:gd name="T24" fmla="*/ 0 w 133"/>
                <a:gd name="T25" fmla="*/ 71 h 100"/>
                <a:gd name="T26" fmla="*/ 5 w 133"/>
                <a:gd name="T27" fmla="*/ 71 h 100"/>
                <a:gd name="T28" fmla="*/ 5 w 133"/>
                <a:gd name="T29" fmla="*/ 69 h 100"/>
                <a:gd name="T30" fmla="*/ 54 w 133"/>
                <a:gd name="T31" fmla="*/ 61 h 100"/>
                <a:gd name="T32" fmla="*/ 54 w 133"/>
                <a:gd name="T33" fmla="*/ 54 h 100"/>
                <a:gd name="T34" fmla="*/ 40 w 133"/>
                <a:gd name="T35" fmla="*/ 54 h 100"/>
                <a:gd name="T36" fmla="*/ 40 w 133"/>
                <a:gd name="T37" fmla="*/ 57 h 100"/>
                <a:gd name="T38" fmla="*/ 61 w 133"/>
                <a:gd name="T39" fmla="*/ 50 h 100"/>
                <a:gd name="T40" fmla="*/ 64 w 133"/>
                <a:gd name="T41" fmla="*/ 50 h 100"/>
                <a:gd name="T42" fmla="*/ 42 w 133"/>
                <a:gd name="T43" fmla="*/ 47 h 100"/>
                <a:gd name="T44" fmla="*/ 38 w 133"/>
                <a:gd name="T45" fmla="*/ 47 h 100"/>
                <a:gd name="T46" fmla="*/ 40 w 133"/>
                <a:gd name="T47" fmla="*/ 47 h 100"/>
                <a:gd name="T48" fmla="*/ 42 w 133"/>
                <a:gd name="T49" fmla="*/ 47 h 100"/>
                <a:gd name="T50" fmla="*/ 54 w 133"/>
                <a:gd name="T51" fmla="*/ 45 h 100"/>
                <a:gd name="T52" fmla="*/ 54 w 133"/>
                <a:gd name="T53" fmla="*/ 45 h 100"/>
                <a:gd name="T54" fmla="*/ 42 w 133"/>
                <a:gd name="T55" fmla="*/ 42 h 100"/>
                <a:gd name="T56" fmla="*/ 42 w 133"/>
                <a:gd name="T57" fmla="*/ 42 h 100"/>
                <a:gd name="T58" fmla="*/ 52 w 133"/>
                <a:gd name="T59" fmla="*/ 40 h 100"/>
                <a:gd name="T60" fmla="*/ 54 w 133"/>
                <a:gd name="T61" fmla="*/ 40 h 100"/>
                <a:gd name="T62" fmla="*/ 50 w 133"/>
                <a:gd name="T63" fmla="*/ 33 h 100"/>
                <a:gd name="T64" fmla="*/ 47 w 133"/>
                <a:gd name="T65" fmla="*/ 35 h 100"/>
                <a:gd name="T66" fmla="*/ 54 w 133"/>
                <a:gd name="T67" fmla="*/ 38 h 100"/>
                <a:gd name="T68" fmla="*/ 47 w 133"/>
                <a:gd name="T69" fmla="*/ 38 h 100"/>
                <a:gd name="T70" fmla="*/ 45 w 133"/>
                <a:gd name="T71" fmla="*/ 33 h 100"/>
                <a:gd name="T72" fmla="*/ 52 w 133"/>
                <a:gd name="T73" fmla="*/ 21 h 100"/>
                <a:gd name="T74" fmla="*/ 71 w 133"/>
                <a:gd name="T75" fmla="*/ 21 h 100"/>
                <a:gd name="T76" fmla="*/ 71 w 133"/>
                <a:gd name="T77" fmla="*/ 19 h 100"/>
                <a:gd name="T78" fmla="*/ 71 w 133"/>
                <a:gd name="T79" fmla="*/ 16 h 100"/>
                <a:gd name="T80" fmla="*/ 99 w 133"/>
                <a:gd name="T81" fmla="*/ 4 h 100"/>
                <a:gd name="T82" fmla="*/ 97 w 133"/>
                <a:gd name="T83" fmla="*/ 4 h 100"/>
                <a:gd name="T84" fmla="*/ 92 w 133"/>
                <a:gd name="T85" fmla="*/ 9 h 100"/>
                <a:gd name="T86" fmla="*/ 90 w 133"/>
                <a:gd name="T87" fmla="*/ 4 h 100"/>
                <a:gd name="T88" fmla="*/ 107 w 133"/>
                <a:gd name="T89" fmla="*/ 4 h 100"/>
                <a:gd name="T90" fmla="*/ 107 w 133"/>
                <a:gd name="T91" fmla="*/ 2 h 100"/>
                <a:gd name="T92" fmla="*/ 104 w 133"/>
                <a:gd name="T93" fmla="*/ 2 h 100"/>
                <a:gd name="T94" fmla="*/ 133 w 133"/>
                <a:gd name="T95"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100">
                  <a:moveTo>
                    <a:pt x="50" y="100"/>
                  </a:moveTo>
                  <a:lnTo>
                    <a:pt x="47" y="100"/>
                  </a:lnTo>
                  <a:lnTo>
                    <a:pt x="47" y="97"/>
                  </a:lnTo>
                  <a:lnTo>
                    <a:pt x="50" y="97"/>
                  </a:lnTo>
                  <a:lnTo>
                    <a:pt x="50" y="100"/>
                  </a:lnTo>
                  <a:close/>
                  <a:moveTo>
                    <a:pt x="26" y="80"/>
                  </a:moveTo>
                  <a:lnTo>
                    <a:pt x="26" y="83"/>
                  </a:lnTo>
                  <a:lnTo>
                    <a:pt x="26" y="80"/>
                  </a:lnTo>
                  <a:close/>
                  <a:moveTo>
                    <a:pt x="23" y="80"/>
                  </a:moveTo>
                  <a:lnTo>
                    <a:pt x="23" y="83"/>
                  </a:lnTo>
                  <a:lnTo>
                    <a:pt x="23" y="80"/>
                  </a:lnTo>
                  <a:close/>
                  <a:moveTo>
                    <a:pt x="73" y="80"/>
                  </a:moveTo>
                  <a:lnTo>
                    <a:pt x="73" y="83"/>
                  </a:lnTo>
                  <a:lnTo>
                    <a:pt x="71" y="83"/>
                  </a:lnTo>
                  <a:lnTo>
                    <a:pt x="73" y="80"/>
                  </a:lnTo>
                  <a:lnTo>
                    <a:pt x="71" y="80"/>
                  </a:lnTo>
                  <a:lnTo>
                    <a:pt x="73" y="80"/>
                  </a:lnTo>
                  <a:lnTo>
                    <a:pt x="71" y="80"/>
                  </a:lnTo>
                  <a:lnTo>
                    <a:pt x="73" y="80"/>
                  </a:lnTo>
                  <a:close/>
                  <a:moveTo>
                    <a:pt x="23" y="80"/>
                  </a:moveTo>
                  <a:lnTo>
                    <a:pt x="26" y="80"/>
                  </a:lnTo>
                  <a:lnTo>
                    <a:pt x="23" y="80"/>
                  </a:lnTo>
                  <a:lnTo>
                    <a:pt x="26" y="80"/>
                  </a:lnTo>
                  <a:lnTo>
                    <a:pt x="23" y="83"/>
                  </a:lnTo>
                  <a:lnTo>
                    <a:pt x="23" y="80"/>
                  </a:lnTo>
                  <a:close/>
                  <a:moveTo>
                    <a:pt x="26" y="78"/>
                  </a:moveTo>
                  <a:lnTo>
                    <a:pt x="28" y="78"/>
                  </a:lnTo>
                  <a:lnTo>
                    <a:pt x="26" y="78"/>
                  </a:lnTo>
                  <a:close/>
                  <a:moveTo>
                    <a:pt x="78" y="78"/>
                  </a:moveTo>
                  <a:lnTo>
                    <a:pt x="76" y="78"/>
                  </a:lnTo>
                  <a:lnTo>
                    <a:pt x="78" y="78"/>
                  </a:lnTo>
                  <a:lnTo>
                    <a:pt x="78" y="76"/>
                  </a:lnTo>
                  <a:lnTo>
                    <a:pt x="78" y="78"/>
                  </a:lnTo>
                  <a:close/>
                  <a:moveTo>
                    <a:pt x="0" y="73"/>
                  </a:moveTo>
                  <a:lnTo>
                    <a:pt x="0" y="71"/>
                  </a:lnTo>
                  <a:lnTo>
                    <a:pt x="0" y="73"/>
                  </a:lnTo>
                  <a:close/>
                  <a:moveTo>
                    <a:pt x="0" y="71"/>
                  </a:moveTo>
                  <a:lnTo>
                    <a:pt x="2" y="71"/>
                  </a:lnTo>
                  <a:lnTo>
                    <a:pt x="0" y="71"/>
                  </a:lnTo>
                  <a:close/>
                  <a:moveTo>
                    <a:pt x="5" y="71"/>
                  </a:moveTo>
                  <a:lnTo>
                    <a:pt x="5" y="69"/>
                  </a:lnTo>
                  <a:lnTo>
                    <a:pt x="5" y="71"/>
                  </a:lnTo>
                  <a:close/>
                  <a:moveTo>
                    <a:pt x="5" y="69"/>
                  </a:moveTo>
                  <a:lnTo>
                    <a:pt x="2" y="69"/>
                  </a:lnTo>
                  <a:lnTo>
                    <a:pt x="5" y="69"/>
                  </a:lnTo>
                  <a:lnTo>
                    <a:pt x="2" y="69"/>
                  </a:lnTo>
                  <a:lnTo>
                    <a:pt x="5" y="69"/>
                  </a:lnTo>
                  <a:close/>
                  <a:moveTo>
                    <a:pt x="54" y="61"/>
                  </a:moveTo>
                  <a:lnTo>
                    <a:pt x="54" y="59"/>
                  </a:lnTo>
                  <a:lnTo>
                    <a:pt x="54" y="61"/>
                  </a:lnTo>
                  <a:close/>
                  <a:moveTo>
                    <a:pt x="54" y="54"/>
                  </a:moveTo>
                  <a:lnTo>
                    <a:pt x="54" y="57"/>
                  </a:lnTo>
                  <a:lnTo>
                    <a:pt x="54" y="54"/>
                  </a:lnTo>
                  <a:close/>
                  <a:moveTo>
                    <a:pt x="40" y="54"/>
                  </a:moveTo>
                  <a:lnTo>
                    <a:pt x="42" y="54"/>
                  </a:lnTo>
                  <a:lnTo>
                    <a:pt x="42" y="57"/>
                  </a:lnTo>
                  <a:lnTo>
                    <a:pt x="40" y="57"/>
                  </a:lnTo>
                  <a:lnTo>
                    <a:pt x="40" y="54"/>
                  </a:lnTo>
                  <a:close/>
                  <a:moveTo>
                    <a:pt x="64" y="50"/>
                  </a:moveTo>
                  <a:lnTo>
                    <a:pt x="61" y="50"/>
                  </a:lnTo>
                  <a:lnTo>
                    <a:pt x="61" y="47"/>
                  </a:lnTo>
                  <a:lnTo>
                    <a:pt x="61" y="50"/>
                  </a:lnTo>
                  <a:lnTo>
                    <a:pt x="64" y="50"/>
                  </a:lnTo>
                  <a:close/>
                  <a:moveTo>
                    <a:pt x="42" y="47"/>
                  </a:moveTo>
                  <a:lnTo>
                    <a:pt x="42" y="50"/>
                  </a:lnTo>
                  <a:lnTo>
                    <a:pt x="42" y="47"/>
                  </a:lnTo>
                  <a:close/>
                  <a:moveTo>
                    <a:pt x="38" y="47"/>
                  </a:moveTo>
                  <a:lnTo>
                    <a:pt x="35" y="47"/>
                  </a:lnTo>
                  <a:lnTo>
                    <a:pt x="38" y="47"/>
                  </a:lnTo>
                  <a:close/>
                  <a:moveTo>
                    <a:pt x="40" y="47"/>
                  </a:moveTo>
                  <a:lnTo>
                    <a:pt x="40" y="45"/>
                  </a:lnTo>
                  <a:lnTo>
                    <a:pt x="40" y="47"/>
                  </a:lnTo>
                  <a:close/>
                  <a:moveTo>
                    <a:pt x="42" y="47"/>
                  </a:moveTo>
                  <a:lnTo>
                    <a:pt x="42" y="45"/>
                  </a:lnTo>
                  <a:lnTo>
                    <a:pt x="42" y="47"/>
                  </a:lnTo>
                  <a:close/>
                  <a:moveTo>
                    <a:pt x="57" y="47"/>
                  </a:moveTo>
                  <a:lnTo>
                    <a:pt x="54" y="47"/>
                  </a:lnTo>
                  <a:lnTo>
                    <a:pt x="54" y="45"/>
                  </a:lnTo>
                  <a:lnTo>
                    <a:pt x="57" y="45"/>
                  </a:lnTo>
                  <a:lnTo>
                    <a:pt x="57" y="47"/>
                  </a:lnTo>
                  <a:close/>
                  <a:moveTo>
                    <a:pt x="54" y="45"/>
                  </a:moveTo>
                  <a:lnTo>
                    <a:pt x="52" y="45"/>
                  </a:lnTo>
                  <a:lnTo>
                    <a:pt x="54" y="45"/>
                  </a:lnTo>
                  <a:close/>
                  <a:moveTo>
                    <a:pt x="42" y="42"/>
                  </a:moveTo>
                  <a:lnTo>
                    <a:pt x="40" y="40"/>
                  </a:lnTo>
                  <a:lnTo>
                    <a:pt x="42" y="40"/>
                  </a:lnTo>
                  <a:lnTo>
                    <a:pt x="42" y="42"/>
                  </a:lnTo>
                  <a:close/>
                  <a:moveTo>
                    <a:pt x="52" y="40"/>
                  </a:moveTo>
                  <a:lnTo>
                    <a:pt x="54" y="40"/>
                  </a:lnTo>
                  <a:lnTo>
                    <a:pt x="52" y="40"/>
                  </a:lnTo>
                  <a:lnTo>
                    <a:pt x="52" y="38"/>
                  </a:lnTo>
                  <a:lnTo>
                    <a:pt x="54" y="38"/>
                  </a:lnTo>
                  <a:lnTo>
                    <a:pt x="54" y="40"/>
                  </a:lnTo>
                  <a:lnTo>
                    <a:pt x="52" y="40"/>
                  </a:lnTo>
                  <a:close/>
                  <a:moveTo>
                    <a:pt x="50" y="35"/>
                  </a:moveTo>
                  <a:lnTo>
                    <a:pt x="50" y="33"/>
                  </a:lnTo>
                  <a:lnTo>
                    <a:pt x="50" y="35"/>
                  </a:lnTo>
                  <a:close/>
                  <a:moveTo>
                    <a:pt x="47" y="33"/>
                  </a:moveTo>
                  <a:lnTo>
                    <a:pt x="47" y="35"/>
                  </a:lnTo>
                  <a:lnTo>
                    <a:pt x="50" y="35"/>
                  </a:lnTo>
                  <a:lnTo>
                    <a:pt x="52" y="35"/>
                  </a:lnTo>
                  <a:lnTo>
                    <a:pt x="54" y="38"/>
                  </a:lnTo>
                  <a:lnTo>
                    <a:pt x="52" y="38"/>
                  </a:lnTo>
                  <a:lnTo>
                    <a:pt x="50" y="38"/>
                  </a:lnTo>
                  <a:lnTo>
                    <a:pt x="47" y="38"/>
                  </a:lnTo>
                  <a:lnTo>
                    <a:pt x="45" y="38"/>
                  </a:lnTo>
                  <a:lnTo>
                    <a:pt x="45" y="35"/>
                  </a:lnTo>
                  <a:lnTo>
                    <a:pt x="45" y="33"/>
                  </a:lnTo>
                  <a:lnTo>
                    <a:pt x="47" y="33"/>
                  </a:lnTo>
                  <a:close/>
                  <a:moveTo>
                    <a:pt x="54" y="21"/>
                  </a:moveTo>
                  <a:lnTo>
                    <a:pt x="52" y="21"/>
                  </a:lnTo>
                  <a:lnTo>
                    <a:pt x="54" y="21"/>
                  </a:lnTo>
                  <a:close/>
                  <a:moveTo>
                    <a:pt x="71" y="19"/>
                  </a:moveTo>
                  <a:lnTo>
                    <a:pt x="71" y="21"/>
                  </a:lnTo>
                  <a:lnTo>
                    <a:pt x="71" y="19"/>
                  </a:lnTo>
                  <a:lnTo>
                    <a:pt x="69" y="19"/>
                  </a:lnTo>
                  <a:lnTo>
                    <a:pt x="71" y="19"/>
                  </a:lnTo>
                  <a:close/>
                  <a:moveTo>
                    <a:pt x="73" y="19"/>
                  </a:moveTo>
                  <a:lnTo>
                    <a:pt x="71" y="19"/>
                  </a:lnTo>
                  <a:lnTo>
                    <a:pt x="71" y="16"/>
                  </a:lnTo>
                  <a:lnTo>
                    <a:pt x="73" y="16"/>
                  </a:lnTo>
                  <a:lnTo>
                    <a:pt x="73" y="19"/>
                  </a:lnTo>
                  <a:close/>
                  <a:moveTo>
                    <a:pt x="99" y="4"/>
                  </a:moveTo>
                  <a:lnTo>
                    <a:pt x="99" y="7"/>
                  </a:lnTo>
                  <a:lnTo>
                    <a:pt x="97" y="7"/>
                  </a:lnTo>
                  <a:lnTo>
                    <a:pt x="97" y="4"/>
                  </a:lnTo>
                  <a:lnTo>
                    <a:pt x="99" y="4"/>
                  </a:lnTo>
                  <a:close/>
                  <a:moveTo>
                    <a:pt x="92" y="7"/>
                  </a:moveTo>
                  <a:lnTo>
                    <a:pt x="92" y="9"/>
                  </a:lnTo>
                  <a:lnTo>
                    <a:pt x="90" y="9"/>
                  </a:lnTo>
                  <a:lnTo>
                    <a:pt x="90" y="7"/>
                  </a:lnTo>
                  <a:lnTo>
                    <a:pt x="90" y="4"/>
                  </a:lnTo>
                  <a:lnTo>
                    <a:pt x="92" y="7"/>
                  </a:lnTo>
                  <a:close/>
                  <a:moveTo>
                    <a:pt x="107" y="2"/>
                  </a:moveTo>
                  <a:lnTo>
                    <a:pt x="107" y="4"/>
                  </a:lnTo>
                  <a:lnTo>
                    <a:pt x="109" y="4"/>
                  </a:lnTo>
                  <a:lnTo>
                    <a:pt x="107" y="4"/>
                  </a:lnTo>
                  <a:lnTo>
                    <a:pt x="107" y="2"/>
                  </a:lnTo>
                  <a:lnTo>
                    <a:pt x="107" y="4"/>
                  </a:lnTo>
                  <a:lnTo>
                    <a:pt x="107" y="2"/>
                  </a:lnTo>
                  <a:lnTo>
                    <a:pt x="104" y="2"/>
                  </a:lnTo>
                  <a:lnTo>
                    <a:pt x="107" y="2"/>
                  </a:lnTo>
                  <a:close/>
                  <a:moveTo>
                    <a:pt x="133" y="0"/>
                  </a:moveTo>
                  <a:lnTo>
                    <a:pt x="133" y="2"/>
                  </a:lnTo>
                  <a:lnTo>
                    <a:pt x="13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1" name="Freeform 50294"/>
            <p:cNvSpPr>
              <a:spLocks noEditPoints="1"/>
            </p:cNvSpPr>
            <p:nvPr/>
          </p:nvSpPr>
          <p:spPr bwMode="auto">
            <a:xfrm>
              <a:off x="3167061" y="3927488"/>
              <a:ext cx="203200" cy="120650"/>
            </a:xfrm>
            <a:custGeom>
              <a:avLst/>
              <a:gdLst>
                <a:gd name="T0" fmla="*/ 33 w 128"/>
                <a:gd name="T1" fmla="*/ 76 h 76"/>
                <a:gd name="T2" fmla="*/ 2 w 128"/>
                <a:gd name="T3" fmla="*/ 69 h 76"/>
                <a:gd name="T4" fmla="*/ 2 w 128"/>
                <a:gd name="T5" fmla="*/ 69 h 76"/>
                <a:gd name="T6" fmla="*/ 2 w 128"/>
                <a:gd name="T7" fmla="*/ 67 h 76"/>
                <a:gd name="T8" fmla="*/ 40 w 128"/>
                <a:gd name="T9" fmla="*/ 65 h 76"/>
                <a:gd name="T10" fmla="*/ 40 w 128"/>
                <a:gd name="T11" fmla="*/ 65 h 76"/>
                <a:gd name="T12" fmla="*/ 0 w 128"/>
                <a:gd name="T13" fmla="*/ 65 h 76"/>
                <a:gd name="T14" fmla="*/ 42 w 128"/>
                <a:gd name="T15" fmla="*/ 65 h 76"/>
                <a:gd name="T16" fmla="*/ 42 w 128"/>
                <a:gd name="T17" fmla="*/ 65 h 76"/>
                <a:gd name="T18" fmla="*/ 42 w 128"/>
                <a:gd name="T19" fmla="*/ 62 h 76"/>
                <a:gd name="T20" fmla="*/ 45 w 128"/>
                <a:gd name="T21" fmla="*/ 62 h 76"/>
                <a:gd name="T22" fmla="*/ 45 w 128"/>
                <a:gd name="T23" fmla="*/ 62 h 76"/>
                <a:gd name="T24" fmla="*/ 61 w 128"/>
                <a:gd name="T25" fmla="*/ 62 h 76"/>
                <a:gd name="T26" fmla="*/ 64 w 128"/>
                <a:gd name="T27" fmla="*/ 62 h 76"/>
                <a:gd name="T28" fmla="*/ 45 w 128"/>
                <a:gd name="T29" fmla="*/ 60 h 76"/>
                <a:gd name="T30" fmla="*/ 54 w 128"/>
                <a:gd name="T31" fmla="*/ 50 h 76"/>
                <a:gd name="T32" fmla="*/ 54 w 128"/>
                <a:gd name="T33" fmla="*/ 50 h 76"/>
                <a:gd name="T34" fmla="*/ 45 w 128"/>
                <a:gd name="T35" fmla="*/ 46 h 76"/>
                <a:gd name="T36" fmla="*/ 42 w 128"/>
                <a:gd name="T37" fmla="*/ 46 h 76"/>
                <a:gd name="T38" fmla="*/ 42 w 128"/>
                <a:gd name="T39" fmla="*/ 46 h 76"/>
                <a:gd name="T40" fmla="*/ 45 w 128"/>
                <a:gd name="T41" fmla="*/ 46 h 76"/>
                <a:gd name="T42" fmla="*/ 38 w 128"/>
                <a:gd name="T43" fmla="*/ 43 h 76"/>
                <a:gd name="T44" fmla="*/ 38 w 128"/>
                <a:gd name="T45" fmla="*/ 43 h 76"/>
                <a:gd name="T46" fmla="*/ 40 w 128"/>
                <a:gd name="T47" fmla="*/ 34 h 76"/>
                <a:gd name="T48" fmla="*/ 21 w 128"/>
                <a:gd name="T49" fmla="*/ 34 h 76"/>
                <a:gd name="T50" fmla="*/ 21 w 128"/>
                <a:gd name="T51" fmla="*/ 34 h 76"/>
                <a:gd name="T52" fmla="*/ 35 w 128"/>
                <a:gd name="T53" fmla="*/ 34 h 76"/>
                <a:gd name="T54" fmla="*/ 21 w 128"/>
                <a:gd name="T55" fmla="*/ 34 h 76"/>
                <a:gd name="T56" fmla="*/ 21 w 128"/>
                <a:gd name="T57" fmla="*/ 34 h 76"/>
                <a:gd name="T58" fmla="*/ 52 w 128"/>
                <a:gd name="T59" fmla="*/ 31 h 76"/>
                <a:gd name="T60" fmla="*/ 128 w 128"/>
                <a:gd name="T61" fmla="*/ 0 h 76"/>
                <a:gd name="T62" fmla="*/ 128 w 128"/>
                <a:gd name="T6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76">
                  <a:moveTo>
                    <a:pt x="35" y="76"/>
                  </a:moveTo>
                  <a:lnTo>
                    <a:pt x="33" y="76"/>
                  </a:lnTo>
                  <a:lnTo>
                    <a:pt x="35" y="76"/>
                  </a:lnTo>
                  <a:close/>
                  <a:moveTo>
                    <a:pt x="2" y="69"/>
                  </a:moveTo>
                  <a:lnTo>
                    <a:pt x="2" y="67"/>
                  </a:lnTo>
                  <a:lnTo>
                    <a:pt x="2" y="69"/>
                  </a:lnTo>
                  <a:close/>
                  <a:moveTo>
                    <a:pt x="5" y="67"/>
                  </a:moveTo>
                  <a:lnTo>
                    <a:pt x="2" y="67"/>
                  </a:lnTo>
                  <a:lnTo>
                    <a:pt x="5" y="67"/>
                  </a:lnTo>
                  <a:close/>
                  <a:moveTo>
                    <a:pt x="40" y="65"/>
                  </a:moveTo>
                  <a:lnTo>
                    <a:pt x="38" y="65"/>
                  </a:lnTo>
                  <a:lnTo>
                    <a:pt x="40" y="65"/>
                  </a:lnTo>
                  <a:close/>
                  <a:moveTo>
                    <a:pt x="2" y="65"/>
                  </a:moveTo>
                  <a:lnTo>
                    <a:pt x="0" y="65"/>
                  </a:lnTo>
                  <a:lnTo>
                    <a:pt x="2" y="65"/>
                  </a:lnTo>
                  <a:close/>
                  <a:moveTo>
                    <a:pt x="42" y="65"/>
                  </a:moveTo>
                  <a:lnTo>
                    <a:pt x="42" y="62"/>
                  </a:lnTo>
                  <a:lnTo>
                    <a:pt x="42" y="65"/>
                  </a:lnTo>
                  <a:close/>
                  <a:moveTo>
                    <a:pt x="45" y="62"/>
                  </a:moveTo>
                  <a:lnTo>
                    <a:pt x="42" y="62"/>
                  </a:lnTo>
                  <a:lnTo>
                    <a:pt x="45" y="62"/>
                  </a:lnTo>
                  <a:close/>
                  <a:moveTo>
                    <a:pt x="45" y="62"/>
                  </a:moveTo>
                  <a:lnTo>
                    <a:pt x="47" y="62"/>
                  </a:lnTo>
                  <a:lnTo>
                    <a:pt x="45" y="62"/>
                  </a:lnTo>
                  <a:close/>
                  <a:moveTo>
                    <a:pt x="64" y="62"/>
                  </a:moveTo>
                  <a:lnTo>
                    <a:pt x="61" y="62"/>
                  </a:lnTo>
                  <a:lnTo>
                    <a:pt x="64" y="60"/>
                  </a:lnTo>
                  <a:lnTo>
                    <a:pt x="64" y="62"/>
                  </a:lnTo>
                  <a:close/>
                  <a:moveTo>
                    <a:pt x="45" y="62"/>
                  </a:moveTo>
                  <a:lnTo>
                    <a:pt x="45" y="60"/>
                  </a:lnTo>
                  <a:lnTo>
                    <a:pt x="45" y="62"/>
                  </a:lnTo>
                  <a:close/>
                  <a:moveTo>
                    <a:pt x="54" y="50"/>
                  </a:moveTo>
                  <a:lnTo>
                    <a:pt x="54" y="48"/>
                  </a:lnTo>
                  <a:lnTo>
                    <a:pt x="54" y="50"/>
                  </a:lnTo>
                  <a:close/>
                  <a:moveTo>
                    <a:pt x="42" y="46"/>
                  </a:moveTo>
                  <a:lnTo>
                    <a:pt x="45" y="46"/>
                  </a:lnTo>
                  <a:lnTo>
                    <a:pt x="42" y="46"/>
                  </a:lnTo>
                  <a:close/>
                  <a:moveTo>
                    <a:pt x="42" y="46"/>
                  </a:moveTo>
                  <a:lnTo>
                    <a:pt x="45" y="46"/>
                  </a:lnTo>
                  <a:lnTo>
                    <a:pt x="42" y="46"/>
                  </a:lnTo>
                  <a:close/>
                  <a:moveTo>
                    <a:pt x="47" y="46"/>
                  </a:moveTo>
                  <a:lnTo>
                    <a:pt x="45" y="46"/>
                  </a:lnTo>
                  <a:lnTo>
                    <a:pt x="47" y="46"/>
                  </a:lnTo>
                  <a:close/>
                  <a:moveTo>
                    <a:pt x="38" y="43"/>
                  </a:moveTo>
                  <a:lnTo>
                    <a:pt x="35" y="43"/>
                  </a:lnTo>
                  <a:lnTo>
                    <a:pt x="38" y="43"/>
                  </a:lnTo>
                  <a:close/>
                  <a:moveTo>
                    <a:pt x="40" y="36"/>
                  </a:moveTo>
                  <a:lnTo>
                    <a:pt x="40" y="34"/>
                  </a:lnTo>
                  <a:lnTo>
                    <a:pt x="40" y="36"/>
                  </a:lnTo>
                  <a:close/>
                  <a:moveTo>
                    <a:pt x="21" y="34"/>
                  </a:moveTo>
                  <a:lnTo>
                    <a:pt x="19" y="34"/>
                  </a:lnTo>
                  <a:lnTo>
                    <a:pt x="21" y="34"/>
                  </a:lnTo>
                  <a:close/>
                  <a:moveTo>
                    <a:pt x="38" y="34"/>
                  </a:moveTo>
                  <a:lnTo>
                    <a:pt x="35" y="34"/>
                  </a:lnTo>
                  <a:lnTo>
                    <a:pt x="38" y="34"/>
                  </a:lnTo>
                  <a:close/>
                  <a:moveTo>
                    <a:pt x="21" y="34"/>
                  </a:moveTo>
                  <a:lnTo>
                    <a:pt x="21" y="31"/>
                  </a:lnTo>
                  <a:lnTo>
                    <a:pt x="21" y="34"/>
                  </a:lnTo>
                  <a:close/>
                  <a:moveTo>
                    <a:pt x="54" y="31"/>
                  </a:moveTo>
                  <a:lnTo>
                    <a:pt x="52" y="31"/>
                  </a:lnTo>
                  <a:lnTo>
                    <a:pt x="54" y="31"/>
                  </a:lnTo>
                  <a:close/>
                  <a:moveTo>
                    <a:pt x="128" y="0"/>
                  </a:moveTo>
                  <a:lnTo>
                    <a:pt x="128" y="3"/>
                  </a:lnTo>
                  <a:lnTo>
                    <a:pt x="12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2" name="Freeform 50295"/>
            <p:cNvSpPr>
              <a:spLocks/>
            </p:cNvSpPr>
            <p:nvPr/>
          </p:nvSpPr>
          <p:spPr bwMode="auto">
            <a:xfrm>
              <a:off x="1644648" y="3698887"/>
              <a:ext cx="30163" cy="30163"/>
            </a:xfrm>
            <a:custGeom>
              <a:avLst/>
              <a:gdLst>
                <a:gd name="T0" fmla="*/ 5 w 19"/>
                <a:gd name="T1" fmla="*/ 0 h 19"/>
                <a:gd name="T2" fmla="*/ 5 w 19"/>
                <a:gd name="T3" fmla="*/ 0 h 19"/>
                <a:gd name="T4" fmla="*/ 7 w 19"/>
                <a:gd name="T5" fmla="*/ 2 h 19"/>
                <a:gd name="T6" fmla="*/ 7 w 19"/>
                <a:gd name="T7" fmla="*/ 2 h 19"/>
                <a:gd name="T8" fmla="*/ 10 w 19"/>
                <a:gd name="T9" fmla="*/ 4 h 19"/>
                <a:gd name="T10" fmla="*/ 10 w 19"/>
                <a:gd name="T11" fmla="*/ 4 h 19"/>
                <a:gd name="T12" fmla="*/ 10 w 19"/>
                <a:gd name="T13" fmla="*/ 7 h 19"/>
                <a:gd name="T14" fmla="*/ 12 w 19"/>
                <a:gd name="T15" fmla="*/ 7 h 19"/>
                <a:gd name="T16" fmla="*/ 12 w 19"/>
                <a:gd name="T17" fmla="*/ 9 h 19"/>
                <a:gd name="T18" fmla="*/ 14 w 19"/>
                <a:gd name="T19" fmla="*/ 9 h 19"/>
                <a:gd name="T20" fmla="*/ 12 w 19"/>
                <a:gd name="T21" fmla="*/ 11 h 19"/>
                <a:gd name="T22" fmla="*/ 12 w 19"/>
                <a:gd name="T23" fmla="*/ 11 h 19"/>
                <a:gd name="T24" fmla="*/ 14 w 19"/>
                <a:gd name="T25" fmla="*/ 11 h 19"/>
                <a:gd name="T26" fmla="*/ 17 w 19"/>
                <a:gd name="T27" fmla="*/ 11 h 19"/>
                <a:gd name="T28" fmla="*/ 17 w 19"/>
                <a:gd name="T29" fmla="*/ 14 h 19"/>
                <a:gd name="T30" fmla="*/ 14 w 19"/>
                <a:gd name="T31" fmla="*/ 14 h 19"/>
                <a:gd name="T32" fmla="*/ 14 w 19"/>
                <a:gd name="T33" fmla="*/ 14 h 19"/>
                <a:gd name="T34" fmla="*/ 14 w 19"/>
                <a:gd name="T35" fmla="*/ 14 h 19"/>
                <a:gd name="T36" fmla="*/ 14 w 19"/>
                <a:gd name="T37" fmla="*/ 14 h 19"/>
                <a:gd name="T38" fmla="*/ 17 w 19"/>
                <a:gd name="T39" fmla="*/ 14 h 19"/>
                <a:gd name="T40" fmla="*/ 17 w 19"/>
                <a:gd name="T41" fmla="*/ 14 h 19"/>
                <a:gd name="T42" fmla="*/ 19 w 19"/>
                <a:gd name="T43" fmla="*/ 14 h 19"/>
                <a:gd name="T44" fmla="*/ 19 w 19"/>
                <a:gd name="T45" fmla="*/ 16 h 19"/>
                <a:gd name="T46" fmla="*/ 17 w 19"/>
                <a:gd name="T47" fmla="*/ 16 h 19"/>
                <a:gd name="T48" fmla="*/ 19 w 19"/>
                <a:gd name="T49" fmla="*/ 16 h 19"/>
                <a:gd name="T50" fmla="*/ 19 w 19"/>
                <a:gd name="T51" fmla="*/ 19 h 19"/>
                <a:gd name="T52" fmla="*/ 17 w 19"/>
                <a:gd name="T53" fmla="*/ 19 h 19"/>
                <a:gd name="T54" fmla="*/ 14 w 19"/>
                <a:gd name="T55" fmla="*/ 16 h 19"/>
                <a:gd name="T56" fmla="*/ 14 w 19"/>
                <a:gd name="T57" fmla="*/ 16 h 19"/>
                <a:gd name="T58" fmla="*/ 12 w 19"/>
                <a:gd name="T59" fmla="*/ 16 h 19"/>
                <a:gd name="T60" fmla="*/ 12 w 19"/>
                <a:gd name="T61" fmla="*/ 14 h 19"/>
                <a:gd name="T62" fmla="*/ 10 w 19"/>
                <a:gd name="T63" fmla="*/ 14 h 19"/>
                <a:gd name="T64" fmla="*/ 10 w 19"/>
                <a:gd name="T65" fmla="*/ 14 h 19"/>
                <a:gd name="T66" fmla="*/ 10 w 19"/>
                <a:gd name="T67" fmla="*/ 11 h 19"/>
                <a:gd name="T68" fmla="*/ 7 w 19"/>
                <a:gd name="T69" fmla="*/ 9 h 19"/>
                <a:gd name="T70" fmla="*/ 7 w 19"/>
                <a:gd name="T71" fmla="*/ 9 h 19"/>
                <a:gd name="T72" fmla="*/ 5 w 19"/>
                <a:gd name="T73" fmla="*/ 9 h 19"/>
                <a:gd name="T74" fmla="*/ 5 w 19"/>
                <a:gd name="T75" fmla="*/ 9 h 19"/>
                <a:gd name="T76" fmla="*/ 5 w 19"/>
                <a:gd name="T77" fmla="*/ 7 h 19"/>
                <a:gd name="T78" fmla="*/ 3 w 19"/>
                <a:gd name="T79" fmla="*/ 9 h 19"/>
                <a:gd name="T80" fmla="*/ 3 w 19"/>
                <a:gd name="T81" fmla="*/ 7 h 19"/>
                <a:gd name="T82" fmla="*/ 3 w 19"/>
                <a:gd name="T83" fmla="*/ 7 h 19"/>
                <a:gd name="T84" fmla="*/ 3 w 19"/>
                <a:gd name="T85" fmla="*/ 7 h 19"/>
                <a:gd name="T86" fmla="*/ 3 w 19"/>
                <a:gd name="T87" fmla="*/ 4 h 19"/>
                <a:gd name="T88" fmla="*/ 3 w 19"/>
                <a:gd name="T89" fmla="*/ 4 h 19"/>
                <a:gd name="T90" fmla="*/ 3 w 19"/>
                <a:gd name="T91" fmla="*/ 4 h 19"/>
                <a:gd name="T92" fmla="*/ 3 w 19"/>
                <a:gd name="T93" fmla="*/ 4 h 19"/>
                <a:gd name="T94" fmla="*/ 3 w 19"/>
                <a:gd name="T95" fmla="*/ 2 h 19"/>
                <a:gd name="T96" fmla="*/ 3 w 19"/>
                <a:gd name="T97" fmla="*/ 2 h 19"/>
                <a:gd name="T98" fmla="*/ 3 w 19"/>
                <a:gd name="T99" fmla="*/ 2 h 19"/>
                <a:gd name="T100" fmla="*/ 3 w 19"/>
                <a:gd name="T101" fmla="*/ 2 h 19"/>
                <a:gd name="T102" fmla="*/ 3 w 19"/>
                <a:gd name="T103" fmla="*/ 2 h 19"/>
                <a:gd name="T104" fmla="*/ 3 w 19"/>
                <a:gd name="T105" fmla="*/ 2 h 19"/>
                <a:gd name="T106" fmla="*/ 3 w 19"/>
                <a:gd name="T107" fmla="*/ 0 h 19"/>
                <a:gd name="T108" fmla="*/ 3 w 19"/>
                <a:gd name="T109" fmla="*/ 0 h 19"/>
                <a:gd name="T110" fmla="*/ 3 w 19"/>
                <a:gd name="T111" fmla="*/ 0 h 19"/>
                <a:gd name="T112" fmla="*/ 3 w 19"/>
                <a:gd name="T113" fmla="*/ 0 h 19"/>
                <a:gd name="T114" fmla="*/ 5 w 19"/>
                <a:gd name="T11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 h="19">
                  <a:moveTo>
                    <a:pt x="5" y="0"/>
                  </a:moveTo>
                  <a:lnTo>
                    <a:pt x="5" y="0"/>
                  </a:lnTo>
                  <a:lnTo>
                    <a:pt x="5" y="0"/>
                  </a:lnTo>
                  <a:lnTo>
                    <a:pt x="5" y="0"/>
                  </a:lnTo>
                  <a:lnTo>
                    <a:pt x="5" y="0"/>
                  </a:lnTo>
                  <a:lnTo>
                    <a:pt x="5" y="0"/>
                  </a:lnTo>
                  <a:lnTo>
                    <a:pt x="5" y="0"/>
                  </a:lnTo>
                  <a:lnTo>
                    <a:pt x="5" y="0"/>
                  </a:lnTo>
                  <a:lnTo>
                    <a:pt x="7" y="0"/>
                  </a:lnTo>
                  <a:lnTo>
                    <a:pt x="7" y="0"/>
                  </a:lnTo>
                  <a:lnTo>
                    <a:pt x="7" y="0"/>
                  </a:lnTo>
                  <a:lnTo>
                    <a:pt x="7" y="2"/>
                  </a:lnTo>
                  <a:lnTo>
                    <a:pt x="7" y="2"/>
                  </a:lnTo>
                  <a:lnTo>
                    <a:pt x="7" y="2"/>
                  </a:lnTo>
                  <a:lnTo>
                    <a:pt x="7" y="2"/>
                  </a:lnTo>
                  <a:lnTo>
                    <a:pt x="7" y="2"/>
                  </a:lnTo>
                  <a:lnTo>
                    <a:pt x="7" y="4"/>
                  </a:lnTo>
                  <a:lnTo>
                    <a:pt x="10" y="4"/>
                  </a:lnTo>
                  <a:lnTo>
                    <a:pt x="10" y="4"/>
                  </a:lnTo>
                  <a:lnTo>
                    <a:pt x="10" y="4"/>
                  </a:lnTo>
                  <a:lnTo>
                    <a:pt x="10" y="4"/>
                  </a:lnTo>
                  <a:lnTo>
                    <a:pt x="10" y="4"/>
                  </a:lnTo>
                  <a:lnTo>
                    <a:pt x="10" y="4"/>
                  </a:lnTo>
                  <a:lnTo>
                    <a:pt x="10" y="4"/>
                  </a:lnTo>
                  <a:lnTo>
                    <a:pt x="10" y="4"/>
                  </a:lnTo>
                  <a:lnTo>
                    <a:pt x="10" y="7"/>
                  </a:lnTo>
                  <a:lnTo>
                    <a:pt x="10" y="7"/>
                  </a:lnTo>
                  <a:lnTo>
                    <a:pt x="10" y="7"/>
                  </a:lnTo>
                  <a:lnTo>
                    <a:pt x="10" y="7"/>
                  </a:lnTo>
                  <a:lnTo>
                    <a:pt x="12" y="7"/>
                  </a:lnTo>
                  <a:lnTo>
                    <a:pt x="12" y="7"/>
                  </a:lnTo>
                  <a:lnTo>
                    <a:pt x="12" y="7"/>
                  </a:lnTo>
                  <a:lnTo>
                    <a:pt x="12" y="9"/>
                  </a:lnTo>
                  <a:lnTo>
                    <a:pt x="12" y="9"/>
                  </a:lnTo>
                  <a:lnTo>
                    <a:pt x="12" y="9"/>
                  </a:lnTo>
                  <a:lnTo>
                    <a:pt x="12" y="9"/>
                  </a:lnTo>
                  <a:lnTo>
                    <a:pt x="12" y="9"/>
                  </a:lnTo>
                  <a:lnTo>
                    <a:pt x="14" y="9"/>
                  </a:lnTo>
                  <a:lnTo>
                    <a:pt x="14" y="9"/>
                  </a:lnTo>
                  <a:lnTo>
                    <a:pt x="14" y="9"/>
                  </a:lnTo>
                  <a:lnTo>
                    <a:pt x="14" y="9"/>
                  </a:lnTo>
                  <a:lnTo>
                    <a:pt x="14" y="9"/>
                  </a:lnTo>
                  <a:lnTo>
                    <a:pt x="12" y="9"/>
                  </a:lnTo>
                  <a:lnTo>
                    <a:pt x="12" y="11"/>
                  </a:lnTo>
                  <a:lnTo>
                    <a:pt x="12" y="11"/>
                  </a:lnTo>
                  <a:lnTo>
                    <a:pt x="12" y="11"/>
                  </a:lnTo>
                  <a:lnTo>
                    <a:pt x="12" y="11"/>
                  </a:lnTo>
                  <a:lnTo>
                    <a:pt x="12" y="11"/>
                  </a:lnTo>
                  <a:lnTo>
                    <a:pt x="12" y="11"/>
                  </a:lnTo>
                  <a:lnTo>
                    <a:pt x="14" y="11"/>
                  </a:lnTo>
                  <a:lnTo>
                    <a:pt x="14" y="11"/>
                  </a:lnTo>
                  <a:lnTo>
                    <a:pt x="14" y="11"/>
                  </a:lnTo>
                  <a:lnTo>
                    <a:pt x="14" y="11"/>
                  </a:lnTo>
                  <a:lnTo>
                    <a:pt x="14" y="11"/>
                  </a:lnTo>
                  <a:lnTo>
                    <a:pt x="17" y="11"/>
                  </a:lnTo>
                  <a:lnTo>
                    <a:pt x="17" y="11"/>
                  </a:lnTo>
                  <a:lnTo>
                    <a:pt x="17" y="11"/>
                  </a:lnTo>
                  <a:lnTo>
                    <a:pt x="17" y="11"/>
                  </a:lnTo>
                  <a:lnTo>
                    <a:pt x="17" y="11"/>
                  </a:lnTo>
                  <a:lnTo>
                    <a:pt x="17" y="14"/>
                  </a:lnTo>
                  <a:lnTo>
                    <a:pt x="14" y="14"/>
                  </a:lnTo>
                  <a:lnTo>
                    <a:pt x="14" y="14"/>
                  </a:lnTo>
                  <a:lnTo>
                    <a:pt x="14" y="14"/>
                  </a:lnTo>
                  <a:lnTo>
                    <a:pt x="14" y="14"/>
                  </a:lnTo>
                  <a:lnTo>
                    <a:pt x="14" y="14"/>
                  </a:lnTo>
                  <a:lnTo>
                    <a:pt x="14" y="14"/>
                  </a:lnTo>
                  <a:lnTo>
                    <a:pt x="14" y="14"/>
                  </a:lnTo>
                  <a:lnTo>
                    <a:pt x="14" y="14"/>
                  </a:lnTo>
                  <a:lnTo>
                    <a:pt x="12" y="11"/>
                  </a:lnTo>
                  <a:lnTo>
                    <a:pt x="12" y="14"/>
                  </a:lnTo>
                  <a:lnTo>
                    <a:pt x="12" y="14"/>
                  </a:lnTo>
                  <a:lnTo>
                    <a:pt x="14" y="14"/>
                  </a:lnTo>
                  <a:lnTo>
                    <a:pt x="14" y="14"/>
                  </a:lnTo>
                  <a:lnTo>
                    <a:pt x="14" y="14"/>
                  </a:lnTo>
                  <a:lnTo>
                    <a:pt x="14" y="14"/>
                  </a:lnTo>
                  <a:lnTo>
                    <a:pt x="14" y="14"/>
                  </a:lnTo>
                  <a:lnTo>
                    <a:pt x="17" y="14"/>
                  </a:lnTo>
                  <a:lnTo>
                    <a:pt x="17" y="14"/>
                  </a:lnTo>
                  <a:lnTo>
                    <a:pt x="17" y="14"/>
                  </a:lnTo>
                  <a:lnTo>
                    <a:pt x="17" y="14"/>
                  </a:lnTo>
                  <a:lnTo>
                    <a:pt x="17" y="14"/>
                  </a:lnTo>
                  <a:lnTo>
                    <a:pt x="17" y="14"/>
                  </a:lnTo>
                  <a:lnTo>
                    <a:pt x="17" y="14"/>
                  </a:lnTo>
                  <a:lnTo>
                    <a:pt x="17" y="14"/>
                  </a:lnTo>
                  <a:lnTo>
                    <a:pt x="17" y="14"/>
                  </a:lnTo>
                  <a:lnTo>
                    <a:pt x="19" y="14"/>
                  </a:lnTo>
                  <a:lnTo>
                    <a:pt x="19" y="14"/>
                  </a:lnTo>
                  <a:lnTo>
                    <a:pt x="19" y="14"/>
                  </a:lnTo>
                  <a:lnTo>
                    <a:pt x="17" y="14"/>
                  </a:lnTo>
                  <a:lnTo>
                    <a:pt x="17" y="14"/>
                  </a:lnTo>
                  <a:lnTo>
                    <a:pt x="19" y="14"/>
                  </a:lnTo>
                  <a:lnTo>
                    <a:pt x="19" y="16"/>
                  </a:lnTo>
                  <a:lnTo>
                    <a:pt x="17" y="16"/>
                  </a:lnTo>
                  <a:lnTo>
                    <a:pt x="17" y="16"/>
                  </a:lnTo>
                  <a:lnTo>
                    <a:pt x="17" y="16"/>
                  </a:lnTo>
                  <a:lnTo>
                    <a:pt x="17" y="16"/>
                  </a:lnTo>
                  <a:lnTo>
                    <a:pt x="17" y="16"/>
                  </a:lnTo>
                  <a:lnTo>
                    <a:pt x="17" y="16"/>
                  </a:lnTo>
                  <a:lnTo>
                    <a:pt x="17" y="16"/>
                  </a:lnTo>
                  <a:lnTo>
                    <a:pt x="19" y="16"/>
                  </a:lnTo>
                  <a:lnTo>
                    <a:pt x="19" y="19"/>
                  </a:lnTo>
                  <a:lnTo>
                    <a:pt x="19" y="19"/>
                  </a:lnTo>
                  <a:lnTo>
                    <a:pt x="19" y="19"/>
                  </a:lnTo>
                  <a:lnTo>
                    <a:pt x="19" y="19"/>
                  </a:lnTo>
                  <a:lnTo>
                    <a:pt x="19" y="19"/>
                  </a:lnTo>
                  <a:lnTo>
                    <a:pt x="17" y="19"/>
                  </a:lnTo>
                  <a:lnTo>
                    <a:pt x="17" y="19"/>
                  </a:lnTo>
                  <a:lnTo>
                    <a:pt x="17" y="19"/>
                  </a:lnTo>
                  <a:lnTo>
                    <a:pt x="17" y="19"/>
                  </a:lnTo>
                  <a:lnTo>
                    <a:pt x="17" y="19"/>
                  </a:lnTo>
                  <a:lnTo>
                    <a:pt x="14" y="16"/>
                  </a:lnTo>
                  <a:lnTo>
                    <a:pt x="14" y="16"/>
                  </a:lnTo>
                  <a:lnTo>
                    <a:pt x="14" y="16"/>
                  </a:lnTo>
                  <a:lnTo>
                    <a:pt x="14" y="16"/>
                  </a:lnTo>
                  <a:lnTo>
                    <a:pt x="14" y="16"/>
                  </a:lnTo>
                  <a:lnTo>
                    <a:pt x="14" y="16"/>
                  </a:lnTo>
                  <a:lnTo>
                    <a:pt x="12" y="16"/>
                  </a:lnTo>
                  <a:lnTo>
                    <a:pt x="12" y="16"/>
                  </a:lnTo>
                  <a:lnTo>
                    <a:pt x="12" y="16"/>
                  </a:lnTo>
                  <a:lnTo>
                    <a:pt x="12" y="16"/>
                  </a:lnTo>
                  <a:lnTo>
                    <a:pt x="12" y="14"/>
                  </a:lnTo>
                  <a:lnTo>
                    <a:pt x="12" y="14"/>
                  </a:lnTo>
                  <a:lnTo>
                    <a:pt x="12" y="14"/>
                  </a:lnTo>
                  <a:lnTo>
                    <a:pt x="12" y="14"/>
                  </a:lnTo>
                  <a:lnTo>
                    <a:pt x="10" y="14"/>
                  </a:lnTo>
                  <a:lnTo>
                    <a:pt x="10" y="14"/>
                  </a:lnTo>
                  <a:lnTo>
                    <a:pt x="10" y="14"/>
                  </a:lnTo>
                  <a:lnTo>
                    <a:pt x="10" y="14"/>
                  </a:lnTo>
                  <a:lnTo>
                    <a:pt x="10" y="14"/>
                  </a:lnTo>
                  <a:lnTo>
                    <a:pt x="10" y="14"/>
                  </a:lnTo>
                  <a:lnTo>
                    <a:pt x="10" y="14"/>
                  </a:lnTo>
                  <a:lnTo>
                    <a:pt x="10" y="14"/>
                  </a:lnTo>
                  <a:lnTo>
                    <a:pt x="10" y="11"/>
                  </a:lnTo>
                  <a:lnTo>
                    <a:pt x="10" y="11"/>
                  </a:lnTo>
                  <a:lnTo>
                    <a:pt x="10" y="11"/>
                  </a:lnTo>
                  <a:lnTo>
                    <a:pt x="10" y="11"/>
                  </a:lnTo>
                  <a:lnTo>
                    <a:pt x="10" y="11"/>
                  </a:lnTo>
                  <a:lnTo>
                    <a:pt x="10" y="11"/>
                  </a:lnTo>
                  <a:lnTo>
                    <a:pt x="10" y="9"/>
                  </a:lnTo>
                  <a:lnTo>
                    <a:pt x="7" y="9"/>
                  </a:lnTo>
                  <a:lnTo>
                    <a:pt x="7" y="9"/>
                  </a:lnTo>
                  <a:lnTo>
                    <a:pt x="7" y="9"/>
                  </a:lnTo>
                  <a:lnTo>
                    <a:pt x="7" y="9"/>
                  </a:lnTo>
                  <a:lnTo>
                    <a:pt x="7" y="9"/>
                  </a:lnTo>
                  <a:lnTo>
                    <a:pt x="5" y="9"/>
                  </a:lnTo>
                  <a:lnTo>
                    <a:pt x="5" y="9"/>
                  </a:lnTo>
                  <a:lnTo>
                    <a:pt x="5" y="9"/>
                  </a:lnTo>
                  <a:lnTo>
                    <a:pt x="5" y="9"/>
                  </a:lnTo>
                  <a:lnTo>
                    <a:pt x="5" y="9"/>
                  </a:lnTo>
                  <a:lnTo>
                    <a:pt x="5" y="9"/>
                  </a:lnTo>
                  <a:lnTo>
                    <a:pt x="5" y="9"/>
                  </a:lnTo>
                  <a:lnTo>
                    <a:pt x="5" y="9"/>
                  </a:lnTo>
                  <a:lnTo>
                    <a:pt x="5" y="9"/>
                  </a:lnTo>
                  <a:lnTo>
                    <a:pt x="5" y="9"/>
                  </a:lnTo>
                  <a:lnTo>
                    <a:pt x="5" y="7"/>
                  </a:lnTo>
                  <a:lnTo>
                    <a:pt x="5" y="7"/>
                  </a:lnTo>
                  <a:lnTo>
                    <a:pt x="5" y="7"/>
                  </a:lnTo>
                  <a:lnTo>
                    <a:pt x="5" y="9"/>
                  </a:lnTo>
                  <a:lnTo>
                    <a:pt x="5" y="9"/>
                  </a:lnTo>
                  <a:lnTo>
                    <a:pt x="3" y="9"/>
                  </a:lnTo>
                  <a:lnTo>
                    <a:pt x="3" y="9"/>
                  </a:lnTo>
                  <a:lnTo>
                    <a:pt x="3" y="7"/>
                  </a:lnTo>
                  <a:lnTo>
                    <a:pt x="3" y="7"/>
                  </a:lnTo>
                  <a:lnTo>
                    <a:pt x="3" y="7"/>
                  </a:lnTo>
                  <a:lnTo>
                    <a:pt x="3" y="7"/>
                  </a:lnTo>
                  <a:lnTo>
                    <a:pt x="3" y="7"/>
                  </a:lnTo>
                  <a:lnTo>
                    <a:pt x="3" y="7"/>
                  </a:lnTo>
                  <a:lnTo>
                    <a:pt x="3" y="7"/>
                  </a:lnTo>
                  <a:lnTo>
                    <a:pt x="0" y="7"/>
                  </a:lnTo>
                  <a:lnTo>
                    <a:pt x="3" y="7"/>
                  </a:lnTo>
                  <a:lnTo>
                    <a:pt x="3" y="7"/>
                  </a:lnTo>
                  <a:lnTo>
                    <a:pt x="3" y="7"/>
                  </a:lnTo>
                  <a:lnTo>
                    <a:pt x="3" y="7"/>
                  </a:lnTo>
                  <a:lnTo>
                    <a:pt x="3" y="7"/>
                  </a:lnTo>
                  <a:lnTo>
                    <a:pt x="3" y="7"/>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2"/>
                  </a:lnTo>
                  <a:lnTo>
                    <a:pt x="3" y="2"/>
                  </a:lnTo>
                  <a:lnTo>
                    <a:pt x="3" y="2"/>
                  </a:lnTo>
                  <a:lnTo>
                    <a:pt x="3" y="2"/>
                  </a:lnTo>
                  <a:lnTo>
                    <a:pt x="3" y="2"/>
                  </a:lnTo>
                  <a:lnTo>
                    <a:pt x="3" y="2"/>
                  </a:lnTo>
                  <a:lnTo>
                    <a:pt x="5" y="2"/>
                  </a:lnTo>
                  <a:lnTo>
                    <a:pt x="5"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5" y="0"/>
                  </a:lnTo>
                  <a:lnTo>
                    <a:pt x="5" y="0"/>
                  </a:lnTo>
                  <a:lnTo>
                    <a:pt x="5" y="0"/>
                  </a:lnTo>
                  <a:lnTo>
                    <a:pt x="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3" name="Freeform 50296"/>
            <p:cNvSpPr>
              <a:spLocks noEditPoints="1"/>
            </p:cNvSpPr>
            <p:nvPr/>
          </p:nvSpPr>
          <p:spPr bwMode="auto">
            <a:xfrm>
              <a:off x="1625598" y="3690950"/>
              <a:ext cx="71438" cy="85725"/>
            </a:xfrm>
            <a:custGeom>
              <a:avLst/>
              <a:gdLst>
                <a:gd name="T0" fmla="*/ 24 w 45"/>
                <a:gd name="T1" fmla="*/ 40 h 54"/>
                <a:gd name="T2" fmla="*/ 26 w 45"/>
                <a:gd name="T3" fmla="*/ 43 h 54"/>
                <a:gd name="T4" fmla="*/ 29 w 45"/>
                <a:gd name="T5" fmla="*/ 45 h 54"/>
                <a:gd name="T6" fmla="*/ 29 w 45"/>
                <a:gd name="T7" fmla="*/ 45 h 54"/>
                <a:gd name="T8" fmla="*/ 31 w 45"/>
                <a:gd name="T9" fmla="*/ 47 h 54"/>
                <a:gd name="T10" fmla="*/ 29 w 45"/>
                <a:gd name="T11" fmla="*/ 50 h 54"/>
                <a:gd name="T12" fmla="*/ 31 w 45"/>
                <a:gd name="T13" fmla="*/ 52 h 54"/>
                <a:gd name="T14" fmla="*/ 31 w 45"/>
                <a:gd name="T15" fmla="*/ 52 h 54"/>
                <a:gd name="T16" fmla="*/ 24 w 45"/>
                <a:gd name="T17" fmla="*/ 47 h 54"/>
                <a:gd name="T18" fmla="*/ 22 w 45"/>
                <a:gd name="T19" fmla="*/ 45 h 54"/>
                <a:gd name="T20" fmla="*/ 22 w 45"/>
                <a:gd name="T21" fmla="*/ 43 h 54"/>
                <a:gd name="T22" fmla="*/ 24 w 45"/>
                <a:gd name="T23" fmla="*/ 40 h 54"/>
                <a:gd name="T24" fmla="*/ 29 w 45"/>
                <a:gd name="T25" fmla="*/ 35 h 54"/>
                <a:gd name="T26" fmla="*/ 26 w 45"/>
                <a:gd name="T27" fmla="*/ 26 h 54"/>
                <a:gd name="T28" fmla="*/ 34 w 45"/>
                <a:gd name="T29" fmla="*/ 28 h 54"/>
                <a:gd name="T30" fmla="*/ 31 w 45"/>
                <a:gd name="T31" fmla="*/ 35 h 54"/>
                <a:gd name="T32" fmla="*/ 24 w 45"/>
                <a:gd name="T33" fmla="*/ 31 h 54"/>
                <a:gd name="T34" fmla="*/ 26 w 45"/>
                <a:gd name="T35" fmla="*/ 26 h 54"/>
                <a:gd name="T36" fmla="*/ 26 w 45"/>
                <a:gd name="T37" fmla="*/ 24 h 54"/>
                <a:gd name="T38" fmla="*/ 22 w 45"/>
                <a:gd name="T39" fmla="*/ 21 h 54"/>
                <a:gd name="T40" fmla="*/ 36 w 45"/>
                <a:gd name="T41" fmla="*/ 24 h 54"/>
                <a:gd name="T42" fmla="*/ 34 w 45"/>
                <a:gd name="T43" fmla="*/ 21 h 54"/>
                <a:gd name="T44" fmla="*/ 3 w 45"/>
                <a:gd name="T45" fmla="*/ 16 h 54"/>
                <a:gd name="T46" fmla="*/ 3 w 45"/>
                <a:gd name="T47" fmla="*/ 16 h 54"/>
                <a:gd name="T48" fmla="*/ 15 w 45"/>
                <a:gd name="T49" fmla="*/ 14 h 54"/>
                <a:gd name="T50" fmla="*/ 19 w 45"/>
                <a:gd name="T51" fmla="*/ 19 h 54"/>
                <a:gd name="T52" fmla="*/ 15 w 45"/>
                <a:gd name="T53" fmla="*/ 19 h 54"/>
                <a:gd name="T54" fmla="*/ 10 w 45"/>
                <a:gd name="T55" fmla="*/ 16 h 54"/>
                <a:gd name="T56" fmla="*/ 7 w 45"/>
                <a:gd name="T57" fmla="*/ 14 h 54"/>
                <a:gd name="T58" fmla="*/ 15 w 45"/>
                <a:gd name="T59" fmla="*/ 12 h 54"/>
                <a:gd name="T60" fmla="*/ 45 w 45"/>
                <a:gd name="T61" fmla="*/ 7 h 54"/>
                <a:gd name="T62" fmla="*/ 41 w 45"/>
                <a:gd name="T63" fmla="*/ 7 h 54"/>
                <a:gd name="T64" fmla="*/ 45 w 45"/>
                <a:gd name="T65" fmla="*/ 7 h 54"/>
                <a:gd name="T66" fmla="*/ 24 w 45"/>
                <a:gd name="T67" fmla="*/ 7 h 54"/>
                <a:gd name="T68" fmla="*/ 26 w 45"/>
                <a:gd name="T69" fmla="*/ 5 h 54"/>
                <a:gd name="T70" fmla="*/ 29 w 45"/>
                <a:gd name="T71" fmla="*/ 7 h 54"/>
                <a:gd name="T72" fmla="*/ 34 w 45"/>
                <a:gd name="T73" fmla="*/ 12 h 54"/>
                <a:gd name="T74" fmla="*/ 34 w 45"/>
                <a:gd name="T75" fmla="*/ 12 h 54"/>
                <a:gd name="T76" fmla="*/ 31 w 45"/>
                <a:gd name="T77" fmla="*/ 14 h 54"/>
                <a:gd name="T78" fmla="*/ 31 w 45"/>
                <a:gd name="T79" fmla="*/ 19 h 54"/>
                <a:gd name="T80" fmla="*/ 31 w 45"/>
                <a:gd name="T81" fmla="*/ 14 h 54"/>
                <a:gd name="T82" fmla="*/ 29 w 45"/>
                <a:gd name="T83" fmla="*/ 12 h 54"/>
                <a:gd name="T84" fmla="*/ 29 w 45"/>
                <a:gd name="T85" fmla="*/ 14 h 54"/>
                <a:gd name="T86" fmla="*/ 22 w 45"/>
                <a:gd name="T87" fmla="*/ 12 h 54"/>
                <a:gd name="T88" fmla="*/ 22 w 45"/>
                <a:gd name="T89" fmla="*/ 5 h 54"/>
                <a:gd name="T90" fmla="*/ 45 w 45"/>
                <a:gd name="T91" fmla="*/ 2 h 54"/>
                <a:gd name="T92" fmla="*/ 45 w 45"/>
                <a:gd name="T93" fmla="*/ 2 h 54"/>
                <a:gd name="T94" fmla="*/ 38 w 45"/>
                <a:gd name="T95" fmla="*/ 7 h 54"/>
                <a:gd name="T96" fmla="*/ 38 w 45"/>
                <a:gd name="T97" fmla="*/ 12 h 54"/>
                <a:gd name="T98" fmla="*/ 38 w 45"/>
                <a:gd name="T99" fmla="*/ 12 h 54"/>
                <a:gd name="T100" fmla="*/ 36 w 45"/>
                <a:gd name="T101" fmla="*/ 7 h 54"/>
                <a:gd name="T102" fmla="*/ 34 w 45"/>
                <a:gd name="T103" fmla="*/ 2 h 54"/>
                <a:gd name="T104" fmla="*/ 38 w 45"/>
                <a:gd name="T105" fmla="*/ 7 h 54"/>
                <a:gd name="T106" fmla="*/ 36 w 45"/>
                <a:gd name="T107" fmla="*/ 5 h 54"/>
                <a:gd name="T108" fmla="*/ 31 w 45"/>
                <a:gd name="T109" fmla="*/ 5 h 54"/>
                <a:gd name="T110" fmla="*/ 31 w 45"/>
                <a:gd name="T111" fmla="*/ 9 h 54"/>
                <a:gd name="T112" fmla="*/ 29 w 45"/>
                <a:gd name="T113" fmla="*/ 2 h 54"/>
                <a:gd name="T114" fmla="*/ 31 w 45"/>
                <a:gd name="T115" fmla="*/ 7 h 54"/>
                <a:gd name="T116" fmla="*/ 38 w 45"/>
                <a:gd name="T117" fmla="*/ 0 h 54"/>
                <a:gd name="T118" fmla="*/ 41 w 45"/>
                <a:gd name="T119" fmla="*/ 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 h="54">
                  <a:moveTo>
                    <a:pt x="31" y="40"/>
                  </a:moveTo>
                  <a:lnTo>
                    <a:pt x="31" y="43"/>
                  </a:lnTo>
                  <a:lnTo>
                    <a:pt x="31" y="40"/>
                  </a:lnTo>
                  <a:close/>
                  <a:moveTo>
                    <a:pt x="24" y="40"/>
                  </a:moveTo>
                  <a:lnTo>
                    <a:pt x="26" y="40"/>
                  </a:lnTo>
                  <a:lnTo>
                    <a:pt x="24" y="40"/>
                  </a:lnTo>
                  <a:lnTo>
                    <a:pt x="24" y="43"/>
                  </a:lnTo>
                  <a:lnTo>
                    <a:pt x="26" y="43"/>
                  </a:lnTo>
                  <a:lnTo>
                    <a:pt x="24" y="43"/>
                  </a:lnTo>
                  <a:lnTo>
                    <a:pt x="26" y="43"/>
                  </a:lnTo>
                  <a:lnTo>
                    <a:pt x="26" y="45"/>
                  </a:lnTo>
                  <a:lnTo>
                    <a:pt x="29" y="45"/>
                  </a:lnTo>
                  <a:lnTo>
                    <a:pt x="31" y="45"/>
                  </a:lnTo>
                  <a:lnTo>
                    <a:pt x="29" y="45"/>
                  </a:lnTo>
                  <a:lnTo>
                    <a:pt x="31" y="45"/>
                  </a:lnTo>
                  <a:lnTo>
                    <a:pt x="29" y="45"/>
                  </a:lnTo>
                  <a:lnTo>
                    <a:pt x="26" y="45"/>
                  </a:lnTo>
                  <a:lnTo>
                    <a:pt x="29" y="45"/>
                  </a:lnTo>
                  <a:lnTo>
                    <a:pt x="29" y="47"/>
                  </a:lnTo>
                  <a:lnTo>
                    <a:pt x="31" y="47"/>
                  </a:lnTo>
                  <a:lnTo>
                    <a:pt x="29" y="47"/>
                  </a:lnTo>
                  <a:lnTo>
                    <a:pt x="29" y="50"/>
                  </a:lnTo>
                  <a:lnTo>
                    <a:pt x="31" y="50"/>
                  </a:lnTo>
                  <a:lnTo>
                    <a:pt x="29" y="50"/>
                  </a:lnTo>
                  <a:lnTo>
                    <a:pt x="29" y="52"/>
                  </a:lnTo>
                  <a:lnTo>
                    <a:pt x="29" y="50"/>
                  </a:lnTo>
                  <a:lnTo>
                    <a:pt x="31" y="50"/>
                  </a:lnTo>
                  <a:lnTo>
                    <a:pt x="31" y="52"/>
                  </a:lnTo>
                  <a:lnTo>
                    <a:pt x="34" y="52"/>
                  </a:lnTo>
                  <a:lnTo>
                    <a:pt x="34" y="54"/>
                  </a:lnTo>
                  <a:lnTo>
                    <a:pt x="31" y="54"/>
                  </a:lnTo>
                  <a:lnTo>
                    <a:pt x="31" y="52"/>
                  </a:lnTo>
                  <a:lnTo>
                    <a:pt x="29" y="52"/>
                  </a:lnTo>
                  <a:lnTo>
                    <a:pt x="26" y="50"/>
                  </a:lnTo>
                  <a:lnTo>
                    <a:pt x="26" y="47"/>
                  </a:lnTo>
                  <a:lnTo>
                    <a:pt x="24" y="47"/>
                  </a:lnTo>
                  <a:lnTo>
                    <a:pt x="26" y="47"/>
                  </a:lnTo>
                  <a:lnTo>
                    <a:pt x="24" y="47"/>
                  </a:lnTo>
                  <a:lnTo>
                    <a:pt x="24" y="45"/>
                  </a:lnTo>
                  <a:lnTo>
                    <a:pt x="22" y="45"/>
                  </a:lnTo>
                  <a:lnTo>
                    <a:pt x="24" y="43"/>
                  </a:lnTo>
                  <a:lnTo>
                    <a:pt x="22" y="43"/>
                  </a:lnTo>
                  <a:lnTo>
                    <a:pt x="24" y="43"/>
                  </a:lnTo>
                  <a:lnTo>
                    <a:pt x="22" y="43"/>
                  </a:lnTo>
                  <a:lnTo>
                    <a:pt x="22" y="40"/>
                  </a:lnTo>
                  <a:lnTo>
                    <a:pt x="22" y="43"/>
                  </a:lnTo>
                  <a:lnTo>
                    <a:pt x="22" y="40"/>
                  </a:lnTo>
                  <a:lnTo>
                    <a:pt x="24" y="40"/>
                  </a:lnTo>
                  <a:close/>
                  <a:moveTo>
                    <a:pt x="31" y="38"/>
                  </a:moveTo>
                  <a:lnTo>
                    <a:pt x="29" y="38"/>
                  </a:lnTo>
                  <a:lnTo>
                    <a:pt x="31" y="38"/>
                  </a:lnTo>
                  <a:close/>
                  <a:moveTo>
                    <a:pt x="29" y="35"/>
                  </a:moveTo>
                  <a:lnTo>
                    <a:pt x="26" y="33"/>
                  </a:lnTo>
                  <a:lnTo>
                    <a:pt x="29" y="33"/>
                  </a:lnTo>
                  <a:lnTo>
                    <a:pt x="29" y="35"/>
                  </a:lnTo>
                  <a:close/>
                  <a:moveTo>
                    <a:pt x="26" y="26"/>
                  </a:moveTo>
                  <a:lnTo>
                    <a:pt x="29" y="26"/>
                  </a:lnTo>
                  <a:lnTo>
                    <a:pt x="29" y="28"/>
                  </a:lnTo>
                  <a:lnTo>
                    <a:pt x="31" y="28"/>
                  </a:lnTo>
                  <a:lnTo>
                    <a:pt x="34" y="28"/>
                  </a:lnTo>
                  <a:lnTo>
                    <a:pt x="34" y="31"/>
                  </a:lnTo>
                  <a:lnTo>
                    <a:pt x="34" y="33"/>
                  </a:lnTo>
                  <a:lnTo>
                    <a:pt x="34" y="35"/>
                  </a:lnTo>
                  <a:lnTo>
                    <a:pt x="31" y="35"/>
                  </a:lnTo>
                  <a:lnTo>
                    <a:pt x="31" y="33"/>
                  </a:lnTo>
                  <a:lnTo>
                    <a:pt x="29" y="31"/>
                  </a:lnTo>
                  <a:lnTo>
                    <a:pt x="26" y="31"/>
                  </a:lnTo>
                  <a:lnTo>
                    <a:pt x="24" y="31"/>
                  </a:lnTo>
                  <a:lnTo>
                    <a:pt x="26" y="31"/>
                  </a:lnTo>
                  <a:lnTo>
                    <a:pt x="24" y="28"/>
                  </a:lnTo>
                  <a:lnTo>
                    <a:pt x="24" y="26"/>
                  </a:lnTo>
                  <a:lnTo>
                    <a:pt x="26" y="26"/>
                  </a:lnTo>
                  <a:close/>
                  <a:moveTo>
                    <a:pt x="26" y="26"/>
                  </a:moveTo>
                  <a:lnTo>
                    <a:pt x="26" y="24"/>
                  </a:lnTo>
                  <a:lnTo>
                    <a:pt x="24" y="24"/>
                  </a:lnTo>
                  <a:lnTo>
                    <a:pt x="26" y="24"/>
                  </a:lnTo>
                  <a:lnTo>
                    <a:pt x="26" y="26"/>
                  </a:lnTo>
                  <a:close/>
                  <a:moveTo>
                    <a:pt x="24" y="21"/>
                  </a:moveTo>
                  <a:lnTo>
                    <a:pt x="24" y="24"/>
                  </a:lnTo>
                  <a:lnTo>
                    <a:pt x="22" y="21"/>
                  </a:lnTo>
                  <a:lnTo>
                    <a:pt x="24" y="21"/>
                  </a:lnTo>
                  <a:close/>
                  <a:moveTo>
                    <a:pt x="34" y="21"/>
                  </a:moveTo>
                  <a:lnTo>
                    <a:pt x="34" y="24"/>
                  </a:lnTo>
                  <a:lnTo>
                    <a:pt x="36" y="24"/>
                  </a:lnTo>
                  <a:lnTo>
                    <a:pt x="34" y="24"/>
                  </a:lnTo>
                  <a:lnTo>
                    <a:pt x="36" y="24"/>
                  </a:lnTo>
                  <a:lnTo>
                    <a:pt x="34" y="24"/>
                  </a:lnTo>
                  <a:lnTo>
                    <a:pt x="34" y="21"/>
                  </a:lnTo>
                  <a:lnTo>
                    <a:pt x="31" y="19"/>
                  </a:lnTo>
                  <a:lnTo>
                    <a:pt x="34" y="21"/>
                  </a:lnTo>
                  <a:close/>
                  <a:moveTo>
                    <a:pt x="3" y="14"/>
                  </a:moveTo>
                  <a:lnTo>
                    <a:pt x="3" y="16"/>
                  </a:lnTo>
                  <a:lnTo>
                    <a:pt x="5" y="16"/>
                  </a:lnTo>
                  <a:lnTo>
                    <a:pt x="3" y="16"/>
                  </a:lnTo>
                  <a:lnTo>
                    <a:pt x="5" y="16"/>
                  </a:lnTo>
                  <a:lnTo>
                    <a:pt x="3" y="16"/>
                  </a:lnTo>
                  <a:lnTo>
                    <a:pt x="0" y="16"/>
                  </a:lnTo>
                  <a:lnTo>
                    <a:pt x="0" y="14"/>
                  </a:lnTo>
                  <a:lnTo>
                    <a:pt x="3" y="14"/>
                  </a:lnTo>
                  <a:close/>
                  <a:moveTo>
                    <a:pt x="15" y="14"/>
                  </a:moveTo>
                  <a:lnTo>
                    <a:pt x="17" y="14"/>
                  </a:lnTo>
                  <a:lnTo>
                    <a:pt x="17" y="16"/>
                  </a:lnTo>
                  <a:lnTo>
                    <a:pt x="19" y="16"/>
                  </a:lnTo>
                  <a:lnTo>
                    <a:pt x="19" y="19"/>
                  </a:lnTo>
                  <a:lnTo>
                    <a:pt x="17" y="19"/>
                  </a:lnTo>
                  <a:lnTo>
                    <a:pt x="15" y="19"/>
                  </a:lnTo>
                  <a:lnTo>
                    <a:pt x="17" y="19"/>
                  </a:lnTo>
                  <a:lnTo>
                    <a:pt x="15" y="19"/>
                  </a:lnTo>
                  <a:lnTo>
                    <a:pt x="12" y="19"/>
                  </a:lnTo>
                  <a:lnTo>
                    <a:pt x="10" y="19"/>
                  </a:lnTo>
                  <a:lnTo>
                    <a:pt x="7" y="16"/>
                  </a:lnTo>
                  <a:lnTo>
                    <a:pt x="10" y="16"/>
                  </a:lnTo>
                  <a:lnTo>
                    <a:pt x="12" y="16"/>
                  </a:lnTo>
                  <a:lnTo>
                    <a:pt x="10" y="16"/>
                  </a:lnTo>
                  <a:lnTo>
                    <a:pt x="7" y="16"/>
                  </a:lnTo>
                  <a:lnTo>
                    <a:pt x="7" y="14"/>
                  </a:lnTo>
                  <a:lnTo>
                    <a:pt x="10" y="14"/>
                  </a:lnTo>
                  <a:lnTo>
                    <a:pt x="12" y="14"/>
                  </a:lnTo>
                  <a:lnTo>
                    <a:pt x="12" y="12"/>
                  </a:lnTo>
                  <a:lnTo>
                    <a:pt x="15" y="12"/>
                  </a:lnTo>
                  <a:lnTo>
                    <a:pt x="15" y="14"/>
                  </a:lnTo>
                  <a:close/>
                  <a:moveTo>
                    <a:pt x="45" y="7"/>
                  </a:moveTo>
                  <a:lnTo>
                    <a:pt x="43" y="7"/>
                  </a:lnTo>
                  <a:lnTo>
                    <a:pt x="45" y="7"/>
                  </a:lnTo>
                  <a:lnTo>
                    <a:pt x="43" y="7"/>
                  </a:lnTo>
                  <a:lnTo>
                    <a:pt x="43" y="9"/>
                  </a:lnTo>
                  <a:lnTo>
                    <a:pt x="43" y="7"/>
                  </a:lnTo>
                  <a:lnTo>
                    <a:pt x="41" y="7"/>
                  </a:lnTo>
                  <a:lnTo>
                    <a:pt x="43" y="7"/>
                  </a:lnTo>
                  <a:lnTo>
                    <a:pt x="43" y="5"/>
                  </a:lnTo>
                  <a:lnTo>
                    <a:pt x="45" y="5"/>
                  </a:lnTo>
                  <a:lnTo>
                    <a:pt x="45" y="7"/>
                  </a:lnTo>
                  <a:close/>
                  <a:moveTo>
                    <a:pt x="22" y="2"/>
                  </a:moveTo>
                  <a:lnTo>
                    <a:pt x="24" y="2"/>
                  </a:lnTo>
                  <a:lnTo>
                    <a:pt x="24" y="5"/>
                  </a:lnTo>
                  <a:lnTo>
                    <a:pt x="24" y="7"/>
                  </a:lnTo>
                  <a:lnTo>
                    <a:pt x="24" y="9"/>
                  </a:lnTo>
                  <a:lnTo>
                    <a:pt x="24" y="7"/>
                  </a:lnTo>
                  <a:lnTo>
                    <a:pt x="24" y="5"/>
                  </a:lnTo>
                  <a:lnTo>
                    <a:pt x="26" y="5"/>
                  </a:lnTo>
                  <a:lnTo>
                    <a:pt x="26" y="7"/>
                  </a:lnTo>
                  <a:lnTo>
                    <a:pt x="29" y="7"/>
                  </a:lnTo>
                  <a:lnTo>
                    <a:pt x="29" y="9"/>
                  </a:lnTo>
                  <a:lnTo>
                    <a:pt x="29" y="7"/>
                  </a:lnTo>
                  <a:lnTo>
                    <a:pt x="29" y="9"/>
                  </a:lnTo>
                  <a:lnTo>
                    <a:pt x="31" y="9"/>
                  </a:lnTo>
                  <a:lnTo>
                    <a:pt x="34" y="9"/>
                  </a:lnTo>
                  <a:lnTo>
                    <a:pt x="34" y="12"/>
                  </a:lnTo>
                  <a:lnTo>
                    <a:pt x="31" y="12"/>
                  </a:lnTo>
                  <a:lnTo>
                    <a:pt x="31" y="9"/>
                  </a:lnTo>
                  <a:lnTo>
                    <a:pt x="31" y="12"/>
                  </a:lnTo>
                  <a:lnTo>
                    <a:pt x="34" y="12"/>
                  </a:lnTo>
                  <a:lnTo>
                    <a:pt x="34" y="14"/>
                  </a:lnTo>
                  <a:lnTo>
                    <a:pt x="36" y="14"/>
                  </a:lnTo>
                  <a:lnTo>
                    <a:pt x="34" y="14"/>
                  </a:lnTo>
                  <a:lnTo>
                    <a:pt x="31" y="14"/>
                  </a:lnTo>
                  <a:lnTo>
                    <a:pt x="34" y="14"/>
                  </a:lnTo>
                  <a:lnTo>
                    <a:pt x="34" y="16"/>
                  </a:lnTo>
                  <a:lnTo>
                    <a:pt x="31" y="16"/>
                  </a:lnTo>
                  <a:lnTo>
                    <a:pt x="31" y="19"/>
                  </a:lnTo>
                  <a:lnTo>
                    <a:pt x="31" y="16"/>
                  </a:lnTo>
                  <a:lnTo>
                    <a:pt x="31" y="14"/>
                  </a:lnTo>
                  <a:lnTo>
                    <a:pt x="31" y="16"/>
                  </a:lnTo>
                  <a:lnTo>
                    <a:pt x="31" y="14"/>
                  </a:lnTo>
                  <a:lnTo>
                    <a:pt x="29" y="12"/>
                  </a:lnTo>
                  <a:lnTo>
                    <a:pt x="26" y="9"/>
                  </a:lnTo>
                  <a:lnTo>
                    <a:pt x="26" y="12"/>
                  </a:lnTo>
                  <a:lnTo>
                    <a:pt x="29" y="12"/>
                  </a:lnTo>
                  <a:lnTo>
                    <a:pt x="29" y="14"/>
                  </a:lnTo>
                  <a:lnTo>
                    <a:pt x="31" y="14"/>
                  </a:lnTo>
                  <a:lnTo>
                    <a:pt x="29" y="16"/>
                  </a:lnTo>
                  <a:lnTo>
                    <a:pt x="29" y="14"/>
                  </a:lnTo>
                  <a:lnTo>
                    <a:pt x="26" y="14"/>
                  </a:lnTo>
                  <a:lnTo>
                    <a:pt x="26" y="12"/>
                  </a:lnTo>
                  <a:lnTo>
                    <a:pt x="24" y="12"/>
                  </a:lnTo>
                  <a:lnTo>
                    <a:pt x="22" y="12"/>
                  </a:lnTo>
                  <a:lnTo>
                    <a:pt x="22" y="9"/>
                  </a:lnTo>
                  <a:lnTo>
                    <a:pt x="19" y="7"/>
                  </a:lnTo>
                  <a:lnTo>
                    <a:pt x="19" y="5"/>
                  </a:lnTo>
                  <a:lnTo>
                    <a:pt x="22" y="5"/>
                  </a:lnTo>
                  <a:lnTo>
                    <a:pt x="22" y="2"/>
                  </a:lnTo>
                  <a:close/>
                  <a:moveTo>
                    <a:pt x="45" y="2"/>
                  </a:moveTo>
                  <a:lnTo>
                    <a:pt x="45" y="5"/>
                  </a:lnTo>
                  <a:lnTo>
                    <a:pt x="45" y="2"/>
                  </a:lnTo>
                  <a:lnTo>
                    <a:pt x="45" y="5"/>
                  </a:lnTo>
                  <a:lnTo>
                    <a:pt x="43" y="5"/>
                  </a:lnTo>
                  <a:lnTo>
                    <a:pt x="43" y="2"/>
                  </a:lnTo>
                  <a:lnTo>
                    <a:pt x="45" y="2"/>
                  </a:lnTo>
                  <a:close/>
                  <a:moveTo>
                    <a:pt x="41" y="7"/>
                  </a:moveTo>
                  <a:lnTo>
                    <a:pt x="41" y="9"/>
                  </a:lnTo>
                  <a:lnTo>
                    <a:pt x="38" y="9"/>
                  </a:lnTo>
                  <a:lnTo>
                    <a:pt x="38" y="7"/>
                  </a:lnTo>
                  <a:lnTo>
                    <a:pt x="38" y="9"/>
                  </a:lnTo>
                  <a:lnTo>
                    <a:pt x="41" y="9"/>
                  </a:lnTo>
                  <a:lnTo>
                    <a:pt x="41" y="12"/>
                  </a:lnTo>
                  <a:lnTo>
                    <a:pt x="38" y="12"/>
                  </a:lnTo>
                  <a:lnTo>
                    <a:pt x="38" y="9"/>
                  </a:lnTo>
                  <a:lnTo>
                    <a:pt x="36" y="9"/>
                  </a:lnTo>
                  <a:lnTo>
                    <a:pt x="36" y="12"/>
                  </a:lnTo>
                  <a:lnTo>
                    <a:pt x="38" y="12"/>
                  </a:lnTo>
                  <a:lnTo>
                    <a:pt x="36" y="12"/>
                  </a:lnTo>
                  <a:lnTo>
                    <a:pt x="34" y="9"/>
                  </a:lnTo>
                  <a:lnTo>
                    <a:pt x="34" y="7"/>
                  </a:lnTo>
                  <a:lnTo>
                    <a:pt x="36" y="7"/>
                  </a:lnTo>
                  <a:lnTo>
                    <a:pt x="36" y="9"/>
                  </a:lnTo>
                  <a:lnTo>
                    <a:pt x="36" y="7"/>
                  </a:lnTo>
                  <a:lnTo>
                    <a:pt x="36" y="5"/>
                  </a:lnTo>
                  <a:lnTo>
                    <a:pt x="34" y="2"/>
                  </a:lnTo>
                  <a:lnTo>
                    <a:pt x="36" y="2"/>
                  </a:lnTo>
                  <a:lnTo>
                    <a:pt x="36" y="5"/>
                  </a:lnTo>
                  <a:lnTo>
                    <a:pt x="38" y="5"/>
                  </a:lnTo>
                  <a:lnTo>
                    <a:pt x="38" y="7"/>
                  </a:lnTo>
                  <a:lnTo>
                    <a:pt x="41" y="7"/>
                  </a:lnTo>
                  <a:close/>
                  <a:moveTo>
                    <a:pt x="34" y="2"/>
                  </a:moveTo>
                  <a:lnTo>
                    <a:pt x="34" y="5"/>
                  </a:lnTo>
                  <a:lnTo>
                    <a:pt x="36" y="5"/>
                  </a:lnTo>
                  <a:lnTo>
                    <a:pt x="36" y="7"/>
                  </a:lnTo>
                  <a:lnTo>
                    <a:pt x="34" y="7"/>
                  </a:lnTo>
                  <a:lnTo>
                    <a:pt x="34" y="5"/>
                  </a:lnTo>
                  <a:lnTo>
                    <a:pt x="31" y="5"/>
                  </a:lnTo>
                  <a:lnTo>
                    <a:pt x="31" y="2"/>
                  </a:lnTo>
                  <a:lnTo>
                    <a:pt x="34" y="2"/>
                  </a:lnTo>
                  <a:close/>
                  <a:moveTo>
                    <a:pt x="34" y="9"/>
                  </a:moveTo>
                  <a:lnTo>
                    <a:pt x="31" y="9"/>
                  </a:lnTo>
                  <a:lnTo>
                    <a:pt x="31" y="7"/>
                  </a:lnTo>
                  <a:lnTo>
                    <a:pt x="31" y="5"/>
                  </a:lnTo>
                  <a:lnTo>
                    <a:pt x="29" y="5"/>
                  </a:lnTo>
                  <a:lnTo>
                    <a:pt x="29" y="2"/>
                  </a:lnTo>
                  <a:lnTo>
                    <a:pt x="29" y="0"/>
                  </a:lnTo>
                  <a:lnTo>
                    <a:pt x="29" y="2"/>
                  </a:lnTo>
                  <a:lnTo>
                    <a:pt x="31" y="5"/>
                  </a:lnTo>
                  <a:lnTo>
                    <a:pt x="31" y="7"/>
                  </a:lnTo>
                  <a:lnTo>
                    <a:pt x="34" y="7"/>
                  </a:lnTo>
                  <a:lnTo>
                    <a:pt x="34" y="9"/>
                  </a:lnTo>
                  <a:close/>
                  <a:moveTo>
                    <a:pt x="36" y="0"/>
                  </a:moveTo>
                  <a:lnTo>
                    <a:pt x="38" y="0"/>
                  </a:lnTo>
                  <a:lnTo>
                    <a:pt x="38" y="2"/>
                  </a:lnTo>
                  <a:lnTo>
                    <a:pt x="38" y="5"/>
                  </a:lnTo>
                  <a:lnTo>
                    <a:pt x="41" y="5"/>
                  </a:lnTo>
                  <a:lnTo>
                    <a:pt x="41" y="7"/>
                  </a:lnTo>
                  <a:lnTo>
                    <a:pt x="38" y="5"/>
                  </a:lnTo>
                  <a:lnTo>
                    <a:pt x="36" y="2"/>
                  </a:lnTo>
                  <a:lnTo>
                    <a:pt x="3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4" name="Freeform 50297"/>
            <p:cNvSpPr>
              <a:spLocks noEditPoints="1"/>
            </p:cNvSpPr>
            <p:nvPr/>
          </p:nvSpPr>
          <p:spPr bwMode="auto">
            <a:xfrm>
              <a:off x="1636712" y="3716350"/>
              <a:ext cx="38100" cy="60325"/>
            </a:xfrm>
            <a:custGeom>
              <a:avLst/>
              <a:gdLst>
                <a:gd name="T0" fmla="*/ 24 w 24"/>
                <a:gd name="T1" fmla="*/ 38 h 38"/>
                <a:gd name="T2" fmla="*/ 24 w 24"/>
                <a:gd name="T3" fmla="*/ 38 h 38"/>
                <a:gd name="T4" fmla="*/ 24 w 24"/>
                <a:gd name="T5" fmla="*/ 38 h 38"/>
                <a:gd name="T6" fmla="*/ 24 w 24"/>
                <a:gd name="T7" fmla="*/ 38 h 38"/>
                <a:gd name="T8" fmla="*/ 24 w 24"/>
                <a:gd name="T9" fmla="*/ 38 h 38"/>
                <a:gd name="T10" fmla="*/ 24 w 24"/>
                <a:gd name="T11" fmla="*/ 38 h 38"/>
                <a:gd name="T12" fmla="*/ 22 w 24"/>
                <a:gd name="T13" fmla="*/ 31 h 38"/>
                <a:gd name="T14" fmla="*/ 22 w 24"/>
                <a:gd name="T15" fmla="*/ 31 h 38"/>
                <a:gd name="T16" fmla="*/ 22 w 24"/>
                <a:gd name="T17" fmla="*/ 31 h 38"/>
                <a:gd name="T18" fmla="*/ 22 w 24"/>
                <a:gd name="T19" fmla="*/ 31 h 38"/>
                <a:gd name="T20" fmla="*/ 22 w 24"/>
                <a:gd name="T21" fmla="*/ 31 h 38"/>
                <a:gd name="T22" fmla="*/ 0 w 24"/>
                <a:gd name="T23" fmla="*/ 0 h 38"/>
                <a:gd name="T24" fmla="*/ 0 w 24"/>
                <a:gd name="T25" fmla="*/ 0 h 38"/>
                <a:gd name="T26" fmla="*/ 0 w 24"/>
                <a:gd name="T27" fmla="*/ 0 h 38"/>
                <a:gd name="T28" fmla="*/ 0 w 24"/>
                <a:gd name="T29" fmla="*/ 0 h 38"/>
                <a:gd name="T30" fmla="*/ 0 w 24"/>
                <a:gd name="T31" fmla="*/ 0 h 38"/>
                <a:gd name="T32" fmla="*/ 0 w 24"/>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8">
                  <a:moveTo>
                    <a:pt x="24" y="38"/>
                  </a:moveTo>
                  <a:lnTo>
                    <a:pt x="24" y="38"/>
                  </a:lnTo>
                  <a:lnTo>
                    <a:pt x="24" y="38"/>
                  </a:lnTo>
                  <a:lnTo>
                    <a:pt x="24" y="38"/>
                  </a:lnTo>
                  <a:lnTo>
                    <a:pt x="24" y="38"/>
                  </a:lnTo>
                  <a:lnTo>
                    <a:pt x="24" y="38"/>
                  </a:lnTo>
                  <a:close/>
                  <a:moveTo>
                    <a:pt x="22" y="31"/>
                  </a:moveTo>
                  <a:lnTo>
                    <a:pt x="22" y="31"/>
                  </a:lnTo>
                  <a:lnTo>
                    <a:pt x="22" y="31"/>
                  </a:lnTo>
                  <a:lnTo>
                    <a:pt x="22" y="31"/>
                  </a:lnTo>
                  <a:lnTo>
                    <a:pt x="22" y="31"/>
                  </a:lnTo>
                  <a:close/>
                  <a:moveTo>
                    <a:pt x="0" y="0"/>
                  </a:move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5" name="Freeform 50298"/>
            <p:cNvSpPr>
              <a:spLocks/>
            </p:cNvSpPr>
            <p:nvPr/>
          </p:nvSpPr>
          <p:spPr bwMode="auto">
            <a:xfrm>
              <a:off x="3197223" y="3867164"/>
              <a:ext cx="33338" cy="26988"/>
            </a:xfrm>
            <a:custGeom>
              <a:avLst/>
              <a:gdLst>
                <a:gd name="T0" fmla="*/ 2 w 21"/>
                <a:gd name="T1" fmla="*/ 17 h 17"/>
                <a:gd name="T2" fmla="*/ 2 w 21"/>
                <a:gd name="T3" fmla="*/ 17 h 17"/>
                <a:gd name="T4" fmla="*/ 2 w 21"/>
                <a:gd name="T5" fmla="*/ 17 h 17"/>
                <a:gd name="T6" fmla="*/ 2 w 21"/>
                <a:gd name="T7" fmla="*/ 17 h 17"/>
                <a:gd name="T8" fmla="*/ 2 w 21"/>
                <a:gd name="T9" fmla="*/ 17 h 17"/>
                <a:gd name="T10" fmla="*/ 2 w 21"/>
                <a:gd name="T11" fmla="*/ 17 h 17"/>
                <a:gd name="T12" fmla="*/ 0 w 21"/>
                <a:gd name="T13" fmla="*/ 15 h 17"/>
                <a:gd name="T14" fmla="*/ 2 w 21"/>
                <a:gd name="T15" fmla="*/ 12 h 17"/>
                <a:gd name="T16" fmla="*/ 4 w 21"/>
                <a:gd name="T17" fmla="*/ 15 h 17"/>
                <a:gd name="T18" fmla="*/ 2 w 21"/>
                <a:gd name="T19" fmla="*/ 10 h 17"/>
                <a:gd name="T20" fmla="*/ 2 w 21"/>
                <a:gd name="T21" fmla="*/ 10 h 17"/>
                <a:gd name="T22" fmla="*/ 2 w 21"/>
                <a:gd name="T23" fmla="*/ 10 h 17"/>
                <a:gd name="T24" fmla="*/ 7 w 21"/>
                <a:gd name="T25" fmla="*/ 10 h 17"/>
                <a:gd name="T26" fmla="*/ 7 w 21"/>
                <a:gd name="T27" fmla="*/ 10 h 17"/>
                <a:gd name="T28" fmla="*/ 4 w 21"/>
                <a:gd name="T29" fmla="*/ 8 h 17"/>
                <a:gd name="T30" fmla="*/ 2 w 21"/>
                <a:gd name="T31" fmla="*/ 10 h 17"/>
                <a:gd name="T32" fmla="*/ 2 w 21"/>
                <a:gd name="T33" fmla="*/ 8 h 17"/>
                <a:gd name="T34" fmla="*/ 2 w 21"/>
                <a:gd name="T35" fmla="*/ 8 h 17"/>
                <a:gd name="T36" fmla="*/ 4 w 21"/>
                <a:gd name="T37" fmla="*/ 5 h 17"/>
                <a:gd name="T38" fmla="*/ 4 w 21"/>
                <a:gd name="T39" fmla="*/ 5 h 17"/>
                <a:gd name="T40" fmla="*/ 7 w 21"/>
                <a:gd name="T41" fmla="*/ 8 h 17"/>
                <a:gd name="T42" fmla="*/ 7 w 21"/>
                <a:gd name="T43" fmla="*/ 8 h 17"/>
                <a:gd name="T44" fmla="*/ 9 w 21"/>
                <a:gd name="T45" fmla="*/ 5 h 17"/>
                <a:gd name="T46" fmla="*/ 14 w 21"/>
                <a:gd name="T47" fmla="*/ 5 h 17"/>
                <a:gd name="T48" fmla="*/ 16 w 21"/>
                <a:gd name="T49" fmla="*/ 3 h 17"/>
                <a:gd name="T50" fmla="*/ 19 w 21"/>
                <a:gd name="T51" fmla="*/ 0 h 17"/>
                <a:gd name="T52" fmla="*/ 21 w 21"/>
                <a:gd name="T53" fmla="*/ 3 h 17"/>
                <a:gd name="T54" fmla="*/ 19 w 21"/>
                <a:gd name="T55" fmla="*/ 5 h 17"/>
                <a:gd name="T56" fmla="*/ 16 w 21"/>
                <a:gd name="T57" fmla="*/ 8 h 17"/>
                <a:gd name="T58" fmla="*/ 19 w 21"/>
                <a:gd name="T59" fmla="*/ 10 h 17"/>
                <a:gd name="T60" fmla="*/ 16 w 21"/>
                <a:gd name="T61" fmla="*/ 12 h 17"/>
                <a:gd name="T62" fmla="*/ 14 w 21"/>
                <a:gd name="T63" fmla="*/ 15 h 17"/>
                <a:gd name="T64" fmla="*/ 14 w 21"/>
                <a:gd name="T65" fmla="*/ 15 h 17"/>
                <a:gd name="T66" fmla="*/ 14 w 21"/>
                <a:gd name="T67" fmla="*/ 15 h 17"/>
                <a:gd name="T68" fmla="*/ 12 w 21"/>
                <a:gd name="T69" fmla="*/ 17 h 17"/>
                <a:gd name="T70" fmla="*/ 9 w 21"/>
                <a:gd name="T71" fmla="*/ 15 h 17"/>
                <a:gd name="T72" fmla="*/ 7 w 21"/>
                <a:gd name="T73" fmla="*/ 17 h 17"/>
                <a:gd name="T74" fmla="*/ 9 w 21"/>
                <a:gd name="T75" fmla="*/ 15 h 17"/>
                <a:gd name="T76" fmla="*/ 7 w 21"/>
                <a:gd name="T7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 h="17">
                  <a:moveTo>
                    <a:pt x="4" y="17"/>
                  </a:moveTo>
                  <a:lnTo>
                    <a:pt x="2" y="17"/>
                  </a:lnTo>
                  <a:lnTo>
                    <a:pt x="2" y="15"/>
                  </a:lnTo>
                  <a:lnTo>
                    <a:pt x="2" y="17"/>
                  </a:lnTo>
                  <a:lnTo>
                    <a:pt x="2" y="15"/>
                  </a:lnTo>
                  <a:lnTo>
                    <a:pt x="2" y="17"/>
                  </a:lnTo>
                  <a:lnTo>
                    <a:pt x="2" y="15"/>
                  </a:lnTo>
                  <a:lnTo>
                    <a:pt x="2" y="17"/>
                  </a:lnTo>
                  <a:lnTo>
                    <a:pt x="0" y="17"/>
                  </a:lnTo>
                  <a:lnTo>
                    <a:pt x="2" y="17"/>
                  </a:lnTo>
                  <a:lnTo>
                    <a:pt x="2" y="15"/>
                  </a:lnTo>
                  <a:lnTo>
                    <a:pt x="2" y="17"/>
                  </a:lnTo>
                  <a:lnTo>
                    <a:pt x="2" y="15"/>
                  </a:lnTo>
                  <a:lnTo>
                    <a:pt x="0" y="15"/>
                  </a:lnTo>
                  <a:lnTo>
                    <a:pt x="0" y="12"/>
                  </a:lnTo>
                  <a:lnTo>
                    <a:pt x="2" y="12"/>
                  </a:lnTo>
                  <a:lnTo>
                    <a:pt x="4" y="12"/>
                  </a:lnTo>
                  <a:lnTo>
                    <a:pt x="4" y="15"/>
                  </a:lnTo>
                  <a:lnTo>
                    <a:pt x="4" y="12"/>
                  </a:lnTo>
                  <a:lnTo>
                    <a:pt x="2" y="10"/>
                  </a:lnTo>
                  <a:lnTo>
                    <a:pt x="2" y="12"/>
                  </a:lnTo>
                  <a:lnTo>
                    <a:pt x="2" y="10"/>
                  </a:lnTo>
                  <a:lnTo>
                    <a:pt x="2" y="12"/>
                  </a:lnTo>
                  <a:lnTo>
                    <a:pt x="2" y="10"/>
                  </a:lnTo>
                  <a:lnTo>
                    <a:pt x="4" y="10"/>
                  </a:lnTo>
                  <a:lnTo>
                    <a:pt x="7" y="10"/>
                  </a:lnTo>
                  <a:lnTo>
                    <a:pt x="9" y="10"/>
                  </a:lnTo>
                  <a:lnTo>
                    <a:pt x="7" y="10"/>
                  </a:lnTo>
                  <a:lnTo>
                    <a:pt x="4" y="10"/>
                  </a:lnTo>
                  <a:lnTo>
                    <a:pt x="4" y="8"/>
                  </a:lnTo>
                  <a:lnTo>
                    <a:pt x="4" y="10"/>
                  </a:lnTo>
                  <a:lnTo>
                    <a:pt x="2" y="10"/>
                  </a:lnTo>
                  <a:lnTo>
                    <a:pt x="4" y="8"/>
                  </a:lnTo>
                  <a:lnTo>
                    <a:pt x="2" y="8"/>
                  </a:lnTo>
                  <a:lnTo>
                    <a:pt x="2" y="10"/>
                  </a:lnTo>
                  <a:lnTo>
                    <a:pt x="2" y="8"/>
                  </a:lnTo>
                  <a:lnTo>
                    <a:pt x="4" y="8"/>
                  </a:lnTo>
                  <a:lnTo>
                    <a:pt x="4" y="5"/>
                  </a:lnTo>
                  <a:lnTo>
                    <a:pt x="4" y="8"/>
                  </a:lnTo>
                  <a:lnTo>
                    <a:pt x="4" y="5"/>
                  </a:lnTo>
                  <a:lnTo>
                    <a:pt x="7" y="5"/>
                  </a:lnTo>
                  <a:lnTo>
                    <a:pt x="7" y="8"/>
                  </a:lnTo>
                  <a:lnTo>
                    <a:pt x="7" y="5"/>
                  </a:lnTo>
                  <a:lnTo>
                    <a:pt x="7" y="8"/>
                  </a:lnTo>
                  <a:lnTo>
                    <a:pt x="7" y="5"/>
                  </a:lnTo>
                  <a:lnTo>
                    <a:pt x="9" y="5"/>
                  </a:lnTo>
                  <a:lnTo>
                    <a:pt x="12" y="5"/>
                  </a:lnTo>
                  <a:lnTo>
                    <a:pt x="14" y="5"/>
                  </a:lnTo>
                  <a:lnTo>
                    <a:pt x="16" y="5"/>
                  </a:lnTo>
                  <a:lnTo>
                    <a:pt x="16" y="3"/>
                  </a:lnTo>
                  <a:lnTo>
                    <a:pt x="19" y="3"/>
                  </a:lnTo>
                  <a:lnTo>
                    <a:pt x="19" y="0"/>
                  </a:lnTo>
                  <a:lnTo>
                    <a:pt x="21" y="0"/>
                  </a:lnTo>
                  <a:lnTo>
                    <a:pt x="21" y="3"/>
                  </a:lnTo>
                  <a:lnTo>
                    <a:pt x="19" y="3"/>
                  </a:lnTo>
                  <a:lnTo>
                    <a:pt x="19" y="5"/>
                  </a:lnTo>
                  <a:lnTo>
                    <a:pt x="16" y="5"/>
                  </a:lnTo>
                  <a:lnTo>
                    <a:pt x="16" y="8"/>
                  </a:lnTo>
                  <a:lnTo>
                    <a:pt x="16" y="10"/>
                  </a:lnTo>
                  <a:lnTo>
                    <a:pt x="19" y="10"/>
                  </a:lnTo>
                  <a:lnTo>
                    <a:pt x="16" y="10"/>
                  </a:lnTo>
                  <a:lnTo>
                    <a:pt x="16" y="12"/>
                  </a:lnTo>
                  <a:lnTo>
                    <a:pt x="14" y="12"/>
                  </a:lnTo>
                  <a:lnTo>
                    <a:pt x="14" y="15"/>
                  </a:lnTo>
                  <a:lnTo>
                    <a:pt x="14" y="17"/>
                  </a:lnTo>
                  <a:lnTo>
                    <a:pt x="14" y="15"/>
                  </a:lnTo>
                  <a:lnTo>
                    <a:pt x="14" y="17"/>
                  </a:lnTo>
                  <a:lnTo>
                    <a:pt x="14" y="15"/>
                  </a:lnTo>
                  <a:lnTo>
                    <a:pt x="14" y="17"/>
                  </a:lnTo>
                  <a:lnTo>
                    <a:pt x="12" y="17"/>
                  </a:lnTo>
                  <a:lnTo>
                    <a:pt x="12" y="15"/>
                  </a:lnTo>
                  <a:lnTo>
                    <a:pt x="9" y="15"/>
                  </a:lnTo>
                  <a:lnTo>
                    <a:pt x="9" y="17"/>
                  </a:lnTo>
                  <a:lnTo>
                    <a:pt x="7" y="17"/>
                  </a:lnTo>
                  <a:lnTo>
                    <a:pt x="7" y="15"/>
                  </a:lnTo>
                  <a:lnTo>
                    <a:pt x="9" y="15"/>
                  </a:lnTo>
                  <a:lnTo>
                    <a:pt x="7" y="15"/>
                  </a:lnTo>
                  <a:lnTo>
                    <a:pt x="7" y="17"/>
                  </a:lnTo>
                  <a:lnTo>
                    <a:pt x="4" y="17"/>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6" name="Freeform 50299"/>
            <p:cNvSpPr>
              <a:spLocks noEditPoints="1"/>
            </p:cNvSpPr>
            <p:nvPr/>
          </p:nvSpPr>
          <p:spPr bwMode="auto">
            <a:xfrm>
              <a:off x="3054348" y="2997212"/>
              <a:ext cx="623888" cy="912816"/>
            </a:xfrm>
            <a:custGeom>
              <a:avLst/>
              <a:gdLst>
                <a:gd name="T0" fmla="*/ 16 w 393"/>
                <a:gd name="T1" fmla="*/ 548 h 575"/>
                <a:gd name="T2" fmla="*/ 14 w 393"/>
                <a:gd name="T3" fmla="*/ 563 h 575"/>
                <a:gd name="T4" fmla="*/ 16 w 393"/>
                <a:gd name="T5" fmla="*/ 565 h 575"/>
                <a:gd name="T6" fmla="*/ 4 w 393"/>
                <a:gd name="T7" fmla="*/ 553 h 575"/>
                <a:gd name="T8" fmla="*/ 52 w 393"/>
                <a:gd name="T9" fmla="*/ 434 h 575"/>
                <a:gd name="T10" fmla="*/ 85 w 393"/>
                <a:gd name="T11" fmla="*/ 387 h 575"/>
                <a:gd name="T12" fmla="*/ 54 w 393"/>
                <a:gd name="T13" fmla="*/ 389 h 575"/>
                <a:gd name="T14" fmla="*/ 132 w 393"/>
                <a:gd name="T15" fmla="*/ 339 h 575"/>
                <a:gd name="T16" fmla="*/ 189 w 393"/>
                <a:gd name="T17" fmla="*/ 553 h 575"/>
                <a:gd name="T18" fmla="*/ 178 w 393"/>
                <a:gd name="T19" fmla="*/ 558 h 575"/>
                <a:gd name="T20" fmla="*/ 166 w 393"/>
                <a:gd name="T21" fmla="*/ 558 h 575"/>
                <a:gd name="T22" fmla="*/ 154 w 393"/>
                <a:gd name="T23" fmla="*/ 565 h 575"/>
                <a:gd name="T24" fmla="*/ 144 w 393"/>
                <a:gd name="T25" fmla="*/ 565 h 575"/>
                <a:gd name="T26" fmla="*/ 125 w 393"/>
                <a:gd name="T27" fmla="*/ 567 h 575"/>
                <a:gd name="T28" fmla="*/ 121 w 393"/>
                <a:gd name="T29" fmla="*/ 572 h 575"/>
                <a:gd name="T30" fmla="*/ 113 w 393"/>
                <a:gd name="T31" fmla="*/ 567 h 575"/>
                <a:gd name="T32" fmla="*/ 113 w 393"/>
                <a:gd name="T33" fmla="*/ 563 h 575"/>
                <a:gd name="T34" fmla="*/ 97 w 393"/>
                <a:gd name="T35" fmla="*/ 553 h 575"/>
                <a:gd name="T36" fmla="*/ 76 w 393"/>
                <a:gd name="T37" fmla="*/ 539 h 575"/>
                <a:gd name="T38" fmla="*/ 57 w 393"/>
                <a:gd name="T39" fmla="*/ 529 h 575"/>
                <a:gd name="T40" fmla="*/ 57 w 393"/>
                <a:gd name="T41" fmla="*/ 518 h 575"/>
                <a:gd name="T42" fmla="*/ 59 w 393"/>
                <a:gd name="T43" fmla="*/ 508 h 575"/>
                <a:gd name="T44" fmla="*/ 64 w 393"/>
                <a:gd name="T45" fmla="*/ 496 h 575"/>
                <a:gd name="T46" fmla="*/ 68 w 393"/>
                <a:gd name="T47" fmla="*/ 484 h 575"/>
                <a:gd name="T48" fmla="*/ 64 w 393"/>
                <a:gd name="T49" fmla="*/ 470 h 575"/>
                <a:gd name="T50" fmla="*/ 54 w 393"/>
                <a:gd name="T51" fmla="*/ 456 h 575"/>
                <a:gd name="T52" fmla="*/ 54 w 393"/>
                <a:gd name="T53" fmla="*/ 434 h 575"/>
                <a:gd name="T54" fmla="*/ 52 w 393"/>
                <a:gd name="T55" fmla="*/ 415 h 575"/>
                <a:gd name="T56" fmla="*/ 61 w 393"/>
                <a:gd name="T57" fmla="*/ 401 h 575"/>
                <a:gd name="T58" fmla="*/ 64 w 393"/>
                <a:gd name="T59" fmla="*/ 389 h 575"/>
                <a:gd name="T60" fmla="*/ 80 w 393"/>
                <a:gd name="T61" fmla="*/ 392 h 575"/>
                <a:gd name="T62" fmla="*/ 94 w 393"/>
                <a:gd name="T63" fmla="*/ 377 h 575"/>
                <a:gd name="T64" fmla="*/ 106 w 393"/>
                <a:gd name="T65" fmla="*/ 361 h 575"/>
                <a:gd name="T66" fmla="*/ 104 w 393"/>
                <a:gd name="T67" fmla="*/ 356 h 575"/>
                <a:gd name="T68" fmla="*/ 116 w 393"/>
                <a:gd name="T69" fmla="*/ 356 h 575"/>
                <a:gd name="T70" fmla="*/ 132 w 393"/>
                <a:gd name="T71" fmla="*/ 339 h 575"/>
                <a:gd name="T72" fmla="*/ 151 w 393"/>
                <a:gd name="T73" fmla="*/ 318 h 575"/>
                <a:gd name="T74" fmla="*/ 187 w 393"/>
                <a:gd name="T75" fmla="*/ 299 h 575"/>
                <a:gd name="T76" fmla="*/ 218 w 393"/>
                <a:gd name="T77" fmla="*/ 304 h 575"/>
                <a:gd name="T78" fmla="*/ 187 w 393"/>
                <a:gd name="T79" fmla="*/ 278 h 575"/>
                <a:gd name="T80" fmla="*/ 185 w 393"/>
                <a:gd name="T81" fmla="*/ 259 h 575"/>
                <a:gd name="T82" fmla="*/ 168 w 393"/>
                <a:gd name="T83" fmla="*/ 242 h 575"/>
                <a:gd name="T84" fmla="*/ 154 w 393"/>
                <a:gd name="T85" fmla="*/ 249 h 575"/>
                <a:gd name="T86" fmla="*/ 135 w 393"/>
                <a:gd name="T87" fmla="*/ 209 h 575"/>
                <a:gd name="T88" fmla="*/ 135 w 393"/>
                <a:gd name="T89" fmla="*/ 154 h 575"/>
                <a:gd name="T90" fmla="*/ 116 w 393"/>
                <a:gd name="T91" fmla="*/ 109 h 575"/>
                <a:gd name="T92" fmla="*/ 54 w 393"/>
                <a:gd name="T93" fmla="*/ 73 h 575"/>
                <a:gd name="T94" fmla="*/ 113 w 393"/>
                <a:gd name="T95" fmla="*/ 80 h 575"/>
                <a:gd name="T96" fmla="*/ 194 w 393"/>
                <a:gd name="T97" fmla="*/ 69 h 575"/>
                <a:gd name="T98" fmla="*/ 223 w 393"/>
                <a:gd name="T99" fmla="*/ 14 h 575"/>
                <a:gd name="T100" fmla="*/ 289 w 393"/>
                <a:gd name="T101" fmla="*/ 14 h 575"/>
                <a:gd name="T102" fmla="*/ 332 w 393"/>
                <a:gd name="T103" fmla="*/ 159 h 575"/>
                <a:gd name="T104" fmla="*/ 332 w 393"/>
                <a:gd name="T105" fmla="*/ 256 h 575"/>
                <a:gd name="T106" fmla="*/ 344 w 393"/>
                <a:gd name="T107" fmla="*/ 323 h 575"/>
                <a:gd name="T108" fmla="*/ 382 w 393"/>
                <a:gd name="T109" fmla="*/ 389 h 575"/>
                <a:gd name="T110" fmla="*/ 346 w 393"/>
                <a:gd name="T111" fmla="*/ 465 h 575"/>
                <a:gd name="T112" fmla="*/ 272 w 393"/>
                <a:gd name="T113" fmla="*/ 532 h 575"/>
                <a:gd name="T114" fmla="*/ 251 w 393"/>
                <a:gd name="T115" fmla="*/ 539 h 575"/>
                <a:gd name="T116" fmla="*/ 239 w 393"/>
                <a:gd name="T117" fmla="*/ 541 h 575"/>
                <a:gd name="T118" fmla="*/ 227 w 393"/>
                <a:gd name="T119" fmla="*/ 548 h 575"/>
                <a:gd name="T120" fmla="*/ 215 w 393"/>
                <a:gd name="T121" fmla="*/ 544 h 575"/>
                <a:gd name="T122" fmla="*/ 204 w 393"/>
                <a:gd name="T123" fmla="*/ 548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3" h="575">
                  <a:moveTo>
                    <a:pt x="42" y="570"/>
                  </a:moveTo>
                  <a:lnTo>
                    <a:pt x="42" y="572"/>
                  </a:lnTo>
                  <a:lnTo>
                    <a:pt x="42" y="570"/>
                  </a:lnTo>
                  <a:lnTo>
                    <a:pt x="42" y="572"/>
                  </a:lnTo>
                  <a:lnTo>
                    <a:pt x="45" y="572"/>
                  </a:lnTo>
                  <a:lnTo>
                    <a:pt x="42" y="570"/>
                  </a:lnTo>
                  <a:lnTo>
                    <a:pt x="45" y="570"/>
                  </a:lnTo>
                  <a:lnTo>
                    <a:pt x="45" y="572"/>
                  </a:lnTo>
                  <a:lnTo>
                    <a:pt x="45" y="570"/>
                  </a:lnTo>
                  <a:lnTo>
                    <a:pt x="45" y="572"/>
                  </a:lnTo>
                  <a:lnTo>
                    <a:pt x="42" y="572"/>
                  </a:lnTo>
                  <a:lnTo>
                    <a:pt x="45" y="572"/>
                  </a:lnTo>
                  <a:lnTo>
                    <a:pt x="42" y="572"/>
                  </a:lnTo>
                  <a:lnTo>
                    <a:pt x="42" y="570"/>
                  </a:lnTo>
                  <a:lnTo>
                    <a:pt x="42" y="572"/>
                  </a:lnTo>
                  <a:lnTo>
                    <a:pt x="42" y="570"/>
                  </a:lnTo>
                  <a:close/>
                  <a:moveTo>
                    <a:pt x="57" y="567"/>
                  </a:moveTo>
                  <a:lnTo>
                    <a:pt x="54" y="567"/>
                  </a:lnTo>
                  <a:lnTo>
                    <a:pt x="57" y="567"/>
                  </a:lnTo>
                  <a:close/>
                  <a:moveTo>
                    <a:pt x="7" y="544"/>
                  </a:moveTo>
                  <a:lnTo>
                    <a:pt x="9" y="544"/>
                  </a:lnTo>
                  <a:lnTo>
                    <a:pt x="11" y="544"/>
                  </a:lnTo>
                  <a:lnTo>
                    <a:pt x="9" y="544"/>
                  </a:lnTo>
                  <a:lnTo>
                    <a:pt x="11" y="544"/>
                  </a:lnTo>
                  <a:lnTo>
                    <a:pt x="11" y="546"/>
                  </a:lnTo>
                  <a:lnTo>
                    <a:pt x="11" y="544"/>
                  </a:lnTo>
                  <a:lnTo>
                    <a:pt x="11" y="546"/>
                  </a:lnTo>
                  <a:lnTo>
                    <a:pt x="9" y="546"/>
                  </a:lnTo>
                  <a:lnTo>
                    <a:pt x="11" y="546"/>
                  </a:lnTo>
                  <a:lnTo>
                    <a:pt x="9" y="546"/>
                  </a:lnTo>
                  <a:lnTo>
                    <a:pt x="11" y="546"/>
                  </a:lnTo>
                  <a:lnTo>
                    <a:pt x="9" y="546"/>
                  </a:lnTo>
                  <a:lnTo>
                    <a:pt x="11" y="546"/>
                  </a:lnTo>
                  <a:lnTo>
                    <a:pt x="14" y="546"/>
                  </a:lnTo>
                  <a:lnTo>
                    <a:pt x="16" y="546"/>
                  </a:lnTo>
                  <a:lnTo>
                    <a:pt x="14" y="546"/>
                  </a:lnTo>
                  <a:lnTo>
                    <a:pt x="16" y="546"/>
                  </a:lnTo>
                  <a:lnTo>
                    <a:pt x="16" y="548"/>
                  </a:lnTo>
                  <a:lnTo>
                    <a:pt x="16" y="546"/>
                  </a:lnTo>
                  <a:lnTo>
                    <a:pt x="16" y="548"/>
                  </a:lnTo>
                  <a:lnTo>
                    <a:pt x="19" y="548"/>
                  </a:lnTo>
                  <a:lnTo>
                    <a:pt x="19" y="546"/>
                  </a:lnTo>
                  <a:lnTo>
                    <a:pt x="16" y="546"/>
                  </a:lnTo>
                  <a:lnTo>
                    <a:pt x="19" y="546"/>
                  </a:lnTo>
                  <a:lnTo>
                    <a:pt x="19" y="548"/>
                  </a:lnTo>
                  <a:lnTo>
                    <a:pt x="19" y="551"/>
                  </a:lnTo>
                  <a:lnTo>
                    <a:pt x="19" y="548"/>
                  </a:lnTo>
                  <a:lnTo>
                    <a:pt x="19" y="551"/>
                  </a:lnTo>
                  <a:lnTo>
                    <a:pt x="21" y="551"/>
                  </a:lnTo>
                  <a:lnTo>
                    <a:pt x="21" y="553"/>
                  </a:lnTo>
                  <a:lnTo>
                    <a:pt x="19" y="553"/>
                  </a:lnTo>
                  <a:lnTo>
                    <a:pt x="21" y="553"/>
                  </a:lnTo>
                  <a:lnTo>
                    <a:pt x="21" y="556"/>
                  </a:lnTo>
                  <a:lnTo>
                    <a:pt x="21" y="553"/>
                  </a:lnTo>
                  <a:lnTo>
                    <a:pt x="21" y="556"/>
                  </a:lnTo>
                  <a:lnTo>
                    <a:pt x="19" y="556"/>
                  </a:lnTo>
                  <a:lnTo>
                    <a:pt x="16" y="556"/>
                  </a:lnTo>
                  <a:lnTo>
                    <a:pt x="14" y="556"/>
                  </a:lnTo>
                  <a:lnTo>
                    <a:pt x="16" y="556"/>
                  </a:lnTo>
                  <a:lnTo>
                    <a:pt x="16" y="553"/>
                  </a:lnTo>
                  <a:lnTo>
                    <a:pt x="14" y="553"/>
                  </a:lnTo>
                  <a:lnTo>
                    <a:pt x="16" y="553"/>
                  </a:lnTo>
                  <a:lnTo>
                    <a:pt x="14" y="553"/>
                  </a:lnTo>
                  <a:lnTo>
                    <a:pt x="14" y="556"/>
                  </a:lnTo>
                  <a:lnTo>
                    <a:pt x="14" y="553"/>
                  </a:lnTo>
                  <a:lnTo>
                    <a:pt x="14" y="551"/>
                  </a:lnTo>
                  <a:lnTo>
                    <a:pt x="14" y="548"/>
                  </a:lnTo>
                  <a:lnTo>
                    <a:pt x="14" y="551"/>
                  </a:lnTo>
                  <a:lnTo>
                    <a:pt x="11" y="551"/>
                  </a:lnTo>
                  <a:lnTo>
                    <a:pt x="11" y="553"/>
                  </a:lnTo>
                  <a:lnTo>
                    <a:pt x="14" y="553"/>
                  </a:lnTo>
                  <a:lnTo>
                    <a:pt x="11" y="556"/>
                  </a:lnTo>
                  <a:lnTo>
                    <a:pt x="14" y="556"/>
                  </a:lnTo>
                  <a:lnTo>
                    <a:pt x="11" y="556"/>
                  </a:lnTo>
                  <a:lnTo>
                    <a:pt x="14" y="556"/>
                  </a:lnTo>
                  <a:lnTo>
                    <a:pt x="11" y="556"/>
                  </a:lnTo>
                  <a:lnTo>
                    <a:pt x="14" y="556"/>
                  </a:lnTo>
                  <a:lnTo>
                    <a:pt x="14" y="558"/>
                  </a:lnTo>
                  <a:lnTo>
                    <a:pt x="14" y="560"/>
                  </a:lnTo>
                  <a:lnTo>
                    <a:pt x="14" y="563"/>
                  </a:lnTo>
                  <a:lnTo>
                    <a:pt x="14" y="560"/>
                  </a:lnTo>
                  <a:lnTo>
                    <a:pt x="16" y="560"/>
                  </a:lnTo>
                  <a:lnTo>
                    <a:pt x="19" y="560"/>
                  </a:lnTo>
                  <a:lnTo>
                    <a:pt x="21" y="560"/>
                  </a:lnTo>
                  <a:lnTo>
                    <a:pt x="19" y="558"/>
                  </a:lnTo>
                  <a:lnTo>
                    <a:pt x="21" y="558"/>
                  </a:lnTo>
                  <a:lnTo>
                    <a:pt x="19" y="558"/>
                  </a:lnTo>
                  <a:lnTo>
                    <a:pt x="21" y="558"/>
                  </a:lnTo>
                  <a:lnTo>
                    <a:pt x="21" y="556"/>
                  </a:lnTo>
                  <a:lnTo>
                    <a:pt x="21" y="558"/>
                  </a:lnTo>
                  <a:lnTo>
                    <a:pt x="21" y="556"/>
                  </a:lnTo>
                  <a:lnTo>
                    <a:pt x="21" y="558"/>
                  </a:lnTo>
                  <a:lnTo>
                    <a:pt x="23" y="558"/>
                  </a:lnTo>
                  <a:lnTo>
                    <a:pt x="21" y="558"/>
                  </a:lnTo>
                  <a:lnTo>
                    <a:pt x="23" y="560"/>
                  </a:lnTo>
                  <a:lnTo>
                    <a:pt x="21" y="560"/>
                  </a:lnTo>
                  <a:lnTo>
                    <a:pt x="21" y="563"/>
                  </a:lnTo>
                  <a:lnTo>
                    <a:pt x="21" y="560"/>
                  </a:lnTo>
                  <a:lnTo>
                    <a:pt x="21" y="563"/>
                  </a:lnTo>
                  <a:lnTo>
                    <a:pt x="21" y="560"/>
                  </a:lnTo>
                  <a:lnTo>
                    <a:pt x="21" y="563"/>
                  </a:lnTo>
                  <a:lnTo>
                    <a:pt x="21" y="560"/>
                  </a:lnTo>
                  <a:lnTo>
                    <a:pt x="19" y="563"/>
                  </a:lnTo>
                  <a:lnTo>
                    <a:pt x="21" y="563"/>
                  </a:lnTo>
                  <a:lnTo>
                    <a:pt x="19" y="563"/>
                  </a:lnTo>
                  <a:lnTo>
                    <a:pt x="21" y="563"/>
                  </a:lnTo>
                  <a:lnTo>
                    <a:pt x="19" y="563"/>
                  </a:lnTo>
                  <a:lnTo>
                    <a:pt x="19" y="565"/>
                  </a:lnTo>
                  <a:lnTo>
                    <a:pt x="21" y="565"/>
                  </a:lnTo>
                  <a:lnTo>
                    <a:pt x="19" y="565"/>
                  </a:lnTo>
                  <a:lnTo>
                    <a:pt x="21" y="565"/>
                  </a:lnTo>
                  <a:lnTo>
                    <a:pt x="19" y="567"/>
                  </a:lnTo>
                  <a:lnTo>
                    <a:pt x="19" y="565"/>
                  </a:lnTo>
                  <a:lnTo>
                    <a:pt x="19" y="567"/>
                  </a:lnTo>
                  <a:lnTo>
                    <a:pt x="19" y="565"/>
                  </a:lnTo>
                  <a:lnTo>
                    <a:pt x="19" y="567"/>
                  </a:lnTo>
                  <a:lnTo>
                    <a:pt x="19" y="565"/>
                  </a:lnTo>
                  <a:lnTo>
                    <a:pt x="19" y="567"/>
                  </a:lnTo>
                  <a:lnTo>
                    <a:pt x="19" y="565"/>
                  </a:lnTo>
                  <a:lnTo>
                    <a:pt x="16" y="565"/>
                  </a:lnTo>
                  <a:lnTo>
                    <a:pt x="16" y="563"/>
                  </a:lnTo>
                  <a:lnTo>
                    <a:pt x="14" y="563"/>
                  </a:lnTo>
                  <a:lnTo>
                    <a:pt x="16" y="563"/>
                  </a:lnTo>
                  <a:lnTo>
                    <a:pt x="14" y="563"/>
                  </a:lnTo>
                  <a:lnTo>
                    <a:pt x="11" y="563"/>
                  </a:lnTo>
                  <a:lnTo>
                    <a:pt x="11" y="560"/>
                  </a:lnTo>
                  <a:lnTo>
                    <a:pt x="14" y="560"/>
                  </a:lnTo>
                  <a:lnTo>
                    <a:pt x="11" y="560"/>
                  </a:lnTo>
                  <a:lnTo>
                    <a:pt x="11" y="563"/>
                  </a:lnTo>
                  <a:lnTo>
                    <a:pt x="9" y="563"/>
                  </a:lnTo>
                  <a:lnTo>
                    <a:pt x="11" y="563"/>
                  </a:lnTo>
                  <a:lnTo>
                    <a:pt x="9" y="563"/>
                  </a:lnTo>
                  <a:lnTo>
                    <a:pt x="11" y="563"/>
                  </a:lnTo>
                  <a:lnTo>
                    <a:pt x="11" y="560"/>
                  </a:lnTo>
                  <a:lnTo>
                    <a:pt x="9" y="560"/>
                  </a:lnTo>
                  <a:lnTo>
                    <a:pt x="7" y="560"/>
                  </a:lnTo>
                  <a:lnTo>
                    <a:pt x="9" y="560"/>
                  </a:lnTo>
                  <a:lnTo>
                    <a:pt x="7" y="560"/>
                  </a:lnTo>
                  <a:lnTo>
                    <a:pt x="4" y="560"/>
                  </a:lnTo>
                  <a:lnTo>
                    <a:pt x="4" y="558"/>
                  </a:lnTo>
                  <a:lnTo>
                    <a:pt x="2" y="558"/>
                  </a:lnTo>
                  <a:lnTo>
                    <a:pt x="4" y="558"/>
                  </a:lnTo>
                  <a:lnTo>
                    <a:pt x="2" y="558"/>
                  </a:lnTo>
                  <a:lnTo>
                    <a:pt x="2" y="556"/>
                  </a:lnTo>
                  <a:lnTo>
                    <a:pt x="2" y="553"/>
                  </a:lnTo>
                  <a:lnTo>
                    <a:pt x="2" y="551"/>
                  </a:lnTo>
                  <a:lnTo>
                    <a:pt x="0" y="551"/>
                  </a:lnTo>
                  <a:lnTo>
                    <a:pt x="0" y="548"/>
                  </a:lnTo>
                  <a:lnTo>
                    <a:pt x="2" y="548"/>
                  </a:lnTo>
                  <a:lnTo>
                    <a:pt x="2" y="551"/>
                  </a:lnTo>
                  <a:lnTo>
                    <a:pt x="2" y="548"/>
                  </a:lnTo>
                  <a:lnTo>
                    <a:pt x="2" y="551"/>
                  </a:lnTo>
                  <a:lnTo>
                    <a:pt x="2" y="548"/>
                  </a:lnTo>
                  <a:lnTo>
                    <a:pt x="4" y="548"/>
                  </a:lnTo>
                  <a:lnTo>
                    <a:pt x="4" y="551"/>
                  </a:lnTo>
                  <a:lnTo>
                    <a:pt x="4" y="548"/>
                  </a:lnTo>
                  <a:lnTo>
                    <a:pt x="7" y="548"/>
                  </a:lnTo>
                  <a:lnTo>
                    <a:pt x="7" y="551"/>
                  </a:lnTo>
                  <a:lnTo>
                    <a:pt x="4" y="551"/>
                  </a:lnTo>
                  <a:lnTo>
                    <a:pt x="4" y="553"/>
                  </a:lnTo>
                  <a:lnTo>
                    <a:pt x="7" y="553"/>
                  </a:lnTo>
                  <a:lnTo>
                    <a:pt x="7" y="556"/>
                  </a:lnTo>
                  <a:lnTo>
                    <a:pt x="7" y="553"/>
                  </a:lnTo>
                  <a:lnTo>
                    <a:pt x="7" y="551"/>
                  </a:lnTo>
                  <a:lnTo>
                    <a:pt x="7" y="548"/>
                  </a:lnTo>
                  <a:lnTo>
                    <a:pt x="7" y="551"/>
                  </a:lnTo>
                  <a:lnTo>
                    <a:pt x="7" y="553"/>
                  </a:lnTo>
                  <a:lnTo>
                    <a:pt x="9" y="551"/>
                  </a:lnTo>
                  <a:lnTo>
                    <a:pt x="7" y="551"/>
                  </a:lnTo>
                  <a:lnTo>
                    <a:pt x="9" y="551"/>
                  </a:lnTo>
                  <a:lnTo>
                    <a:pt x="7" y="551"/>
                  </a:lnTo>
                  <a:lnTo>
                    <a:pt x="9" y="551"/>
                  </a:lnTo>
                  <a:lnTo>
                    <a:pt x="9" y="548"/>
                  </a:lnTo>
                  <a:lnTo>
                    <a:pt x="9" y="551"/>
                  </a:lnTo>
                  <a:lnTo>
                    <a:pt x="9" y="548"/>
                  </a:lnTo>
                  <a:lnTo>
                    <a:pt x="7" y="548"/>
                  </a:lnTo>
                  <a:lnTo>
                    <a:pt x="9" y="548"/>
                  </a:lnTo>
                  <a:lnTo>
                    <a:pt x="7" y="551"/>
                  </a:lnTo>
                  <a:lnTo>
                    <a:pt x="7" y="548"/>
                  </a:lnTo>
                  <a:lnTo>
                    <a:pt x="9" y="548"/>
                  </a:lnTo>
                  <a:lnTo>
                    <a:pt x="9" y="546"/>
                  </a:lnTo>
                  <a:lnTo>
                    <a:pt x="9" y="548"/>
                  </a:lnTo>
                  <a:lnTo>
                    <a:pt x="7" y="548"/>
                  </a:lnTo>
                  <a:lnTo>
                    <a:pt x="7" y="546"/>
                  </a:lnTo>
                  <a:lnTo>
                    <a:pt x="7" y="548"/>
                  </a:lnTo>
                  <a:lnTo>
                    <a:pt x="4" y="548"/>
                  </a:lnTo>
                  <a:lnTo>
                    <a:pt x="4" y="546"/>
                  </a:lnTo>
                  <a:lnTo>
                    <a:pt x="7" y="546"/>
                  </a:lnTo>
                  <a:lnTo>
                    <a:pt x="4" y="546"/>
                  </a:lnTo>
                  <a:lnTo>
                    <a:pt x="7" y="546"/>
                  </a:lnTo>
                  <a:lnTo>
                    <a:pt x="4" y="546"/>
                  </a:lnTo>
                  <a:lnTo>
                    <a:pt x="7" y="546"/>
                  </a:lnTo>
                  <a:lnTo>
                    <a:pt x="7" y="544"/>
                  </a:lnTo>
                  <a:close/>
                  <a:moveTo>
                    <a:pt x="268" y="541"/>
                  </a:moveTo>
                  <a:lnTo>
                    <a:pt x="268" y="539"/>
                  </a:lnTo>
                  <a:lnTo>
                    <a:pt x="268" y="541"/>
                  </a:lnTo>
                  <a:close/>
                  <a:moveTo>
                    <a:pt x="52" y="522"/>
                  </a:moveTo>
                  <a:lnTo>
                    <a:pt x="49" y="522"/>
                  </a:lnTo>
                  <a:lnTo>
                    <a:pt x="52" y="522"/>
                  </a:lnTo>
                  <a:close/>
                  <a:moveTo>
                    <a:pt x="52" y="434"/>
                  </a:moveTo>
                  <a:lnTo>
                    <a:pt x="52" y="432"/>
                  </a:lnTo>
                  <a:lnTo>
                    <a:pt x="52" y="434"/>
                  </a:lnTo>
                  <a:close/>
                  <a:moveTo>
                    <a:pt x="87" y="387"/>
                  </a:moveTo>
                  <a:lnTo>
                    <a:pt x="85" y="387"/>
                  </a:lnTo>
                  <a:lnTo>
                    <a:pt x="85" y="389"/>
                  </a:lnTo>
                  <a:lnTo>
                    <a:pt x="87" y="389"/>
                  </a:lnTo>
                  <a:lnTo>
                    <a:pt x="85" y="389"/>
                  </a:lnTo>
                  <a:lnTo>
                    <a:pt x="87" y="389"/>
                  </a:lnTo>
                  <a:lnTo>
                    <a:pt x="85" y="389"/>
                  </a:lnTo>
                  <a:lnTo>
                    <a:pt x="85" y="387"/>
                  </a:lnTo>
                  <a:lnTo>
                    <a:pt x="83" y="387"/>
                  </a:lnTo>
                  <a:lnTo>
                    <a:pt x="83" y="389"/>
                  </a:lnTo>
                  <a:lnTo>
                    <a:pt x="85" y="389"/>
                  </a:lnTo>
                  <a:lnTo>
                    <a:pt x="83" y="389"/>
                  </a:lnTo>
                  <a:lnTo>
                    <a:pt x="85" y="389"/>
                  </a:lnTo>
                  <a:lnTo>
                    <a:pt x="83" y="389"/>
                  </a:lnTo>
                  <a:lnTo>
                    <a:pt x="80" y="389"/>
                  </a:lnTo>
                  <a:lnTo>
                    <a:pt x="80" y="387"/>
                  </a:lnTo>
                  <a:lnTo>
                    <a:pt x="80" y="389"/>
                  </a:lnTo>
                  <a:lnTo>
                    <a:pt x="80" y="387"/>
                  </a:lnTo>
                  <a:lnTo>
                    <a:pt x="80" y="389"/>
                  </a:lnTo>
                  <a:lnTo>
                    <a:pt x="78" y="387"/>
                  </a:lnTo>
                  <a:lnTo>
                    <a:pt x="78" y="389"/>
                  </a:lnTo>
                  <a:lnTo>
                    <a:pt x="78" y="387"/>
                  </a:lnTo>
                  <a:lnTo>
                    <a:pt x="80" y="387"/>
                  </a:lnTo>
                  <a:lnTo>
                    <a:pt x="78" y="387"/>
                  </a:lnTo>
                  <a:lnTo>
                    <a:pt x="78" y="385"/>
                  </a:lnTo>
                  <a:lnTo>
                    <a:pt x="80" y="385"/>
                  </a:lnTo>
                  <a:lnTo>
                    <a:pt x="80" y="387"/>
                  </a:lnTo>
                  <a:lnTo>
                    <a:pt x="83" y="387"/>
                  </a:lnTo>
                  <a:lnTo>
                    <a:pt x="80" y="387"/>
                  </a:lnTo>
                  <a:lnTo>
                    <a:pt x="80" y="385"/>
                  </a:lnTo>
                  <a:lnTo>
                    <a:pt x="80" y="387"/>
                  </a:lnTo>
                  <a:lnTo>
                    <a:pt x="80" y="385"/>
                  </a:lnTo>
                  <a:lnTo>
                    <a:pt x="83" y="385"/>
                  </a:lnTo>
                  <a:lnTo>
                    <a:pt x="83" y="387"/>
                  </a:lnTo>
                  <a:lnTo>
                    <a:pt x="83" y="385"/>
                  </a:lnTo>
                  <a:lnTo>
                    <a:pt x="83" y="387"/>
                  </a:lnTo>
                  <a:lnTo>
                    <a:pt x="85" y="385"/>
                  </a:lnTo>
                  <a:lnTo>
                    <a:pt x="85" y="387"/>
                  </a:lnTo>
                  <a:lnTo>
                    <a:pt x="85" y="385"/>
                  </a:lnTo>
                  <a:lnTo>
                    <a:pt x="87" y="385"/>
                  </a:lnTo>
                  <a:lnTo>
                    <a:pt x="87" y="387"/>
                  </a:lnTo>
                  <a:close/>
                  <a:moveTo>
                    <a:pt x="52" y="392"/>
                  </a:moveTo>
                  <a:lnTo>
                    <a:pt x="52" y="394"/>
                  </a:lnTo>
                  <a:lnTo>
                    <a:pt x="52" y="392"/>
                  </a:lnTo>
                  <a:lnTo>
                    <a:pt x="52" y="394"/>
                  </a:lnTo>
                  <a:lnTo>
                    <a:pt x="52" y="392"/>
                  </a:lnTo>
                  <a:lnTo>
                    <a:pt x="52" y="394"/>
                  </a:lnTo>
                  <a:lnTo>
                    <a:pt x="49" y="392"/>
                  </a:lnTo>
                  <a:lnTo>
                    <a:pt x="52" y="392"/>
                  </a:lnTo>
                  <a:lnTo>
                    <a:pt x="49" y="392"/>
                  </a:lnTo>
                  <a:lnTo>
                    <a:pt x="49" y="389"/>
                  </a:lnTo>
                  <a:lnTo>
                    <a:pt x="49" y="387"/>
                  </a:lnTo>
                  <a:lnTo>
                    <a:pt x="49" y="385"/>
                  </a:lnTo>
                  <a:lnTo>
                    <a:pt x="52" y="387"/>
                  </a:lnTo>
                  <a:lnTo>
                    <a:pt x="52" y="385"/>
                  </a:lnTo>
                  <a:lnTo>
                    <a:pt x="49" y="385"/>
                  </a:lnTo>
                  <a:lnTo>
                    <a:pt x="52" y="385"/>
                  </a:lnTo>
                  <a:lnTo>
                    <a:pt x="49" y="385"/>
                  </a:lnTo>
                  <a:lnTo>
                    <a:pt x="52" y="385"/>
                  </a:lnTo>
                  <a:lnTo>
                    <a:pt x="54" y="385"/>
                  </a:lnTo>
                  <a:lnTo>
                    <a:pt x="52" y="385"/>
                  </a:lnTo>
                  <a:lnTo>
                    <a:pt x="54" y="385"/>
                  </a:lnTo>
                  <a:lnTo>
                    <a:pt x="52" y="385"/>
                  </a:lnTo>
                  <a:lnTo>
                    <a:pt x="54" y="385"/>
                  </a:lnTo>
                  <a:lnTo>
                    <a:pt x="52" y="385"/>
                  </a:lnTo>
                  <a:lnTo>
                    <a:pt x="52" y="387"/>
                  </a:lnTo>
                  <a:lnTo>
                    <a:pt x="52" y="385"/>
                  </a:lnTo>
                  <a:lnTo>
                    <a:pt x="52" y="387"/>
                  </a:lnTo>
                  <a:lnTo>
                    <a:pt x="49" y="387"/>
                  </a:lnTo>
                  <a:lnTo>
                    <a:pt x="49" y="389"/>
                  </a:lnTo>
                  <a:lnTo>
                    <a:pt x="49" y="387"/>
                  </a:lnTo>
                  <a:lnTo>
                    <a:pt x="52" y="387"/>
                  </a:lnTo>
                  <a:lnTo>
                    <a:pt x="52" y="389"/>
                  </a:lnTo>
                  <a:lnTo>
                    <a:pt x="52" y="387"/>
                  </a:lnTo>
                  <a:lnTo>
                    <a:pt x="54" y="387"/>
                  </a:lnTo>
                  <a:lnTo>
                    <a:pt x="54" y="389"/>
                  </a:lnTo>
                  <a:lnTo>
                    <a:pt x="54" y="387"/>
                  </a:lnTo>
                  <a:lnTo>
                    <a:pt x="54" y="389"/>
                  </a:lnTo>
                  <a:lnTo>
                    <a:pt x="52" y="389"/>
                  </a:lnTo>
                  <a:lnTo>
                    <a:pt x="54" y="389"/>
                  </a:lnTo>
                  <a:lnTo>
                    <a:pt x="52" y="389"/>
                  </a:lnTo>
                  <a:lnTo>
                    <a:pt x="54" y="389"/>
                  </a:lnTo>
                  <a:lnTo>
                    <a:pt x="54" y="392"/>
                  </a:lnTo>
                  <a:lnTo>
                    <a:pt x="54" y="389"/>
                  </a:lnTo>
                  <a:lnTo>
                    <a:pt x="57" y="389"/>
                  </a:lnTo>
                  <a:lnTo>
                    <a:pt x="59" y="389"/>
                  </a:lnTo>
                  <a:lnTo>
                    <a:pt x="57" y="389"/>
                  </a:lnTo>
                  <a:lnTo>
                    <a:pt x="59" y="389"/>
                  </a:lnTo>
                  <a:lnTo>
                    <a:pt x="59" y="387"/>
                  </a:lnTo>
                  <a:lnTo>
                    <a:pt x="59" y="389"/>
                  </a:lnTo>
                  <a:lnTo>
                    <a:pt x="61" y="389"/>
                  </a:lnTo>
                  <a:lnTo>
                    <a:pt x="59" y="389"/>
                  </a:lnTo>
                  <a:lnTo>
                    <a:pt x="61" y="389"/>
                  </a:lnTo>
                  <a:lnTo>
                    <a:pt x="59" y="389"/>
                  </a:lnTo>
                  <a:lnTo>
                    <a:pt x="61" y="389"/>
                  </a:lnTo>
                  <a:lnTo>
                    <a:pt x="61" y="392"/>
                  </a:lnTo>
                  <a:lnTo>
                    <a:pt x="59" y="392"/>
                  </a:lnTo>
                  <a:lnTo>
                    <a:pt x="59" y="394"/>
                  </a:lnTo>
                  <a:lnTo>
                    <a:pt x="59" y="392"/>
                  </a:lnTo>
                  <a:lnTo>
                    <a:pt x="59" y="394"/>
                  </a:lnTo>
                  <a:lnTo>
                    <a:pt x="57" y="394"/>
                  </a:lnTo>
                  <a:lnTo>
                    <a:pt x="57" y="392"/>
                  </a:lnTo>
                  <a:lnTo>
                    <a:pt x="59" y="392"/>
                  </a:lnTo>
                  <a:lnTo>
                    <a:pt x="57" y="392"/>
                  </a:lnTo>
                  <a:lnTo>
                    <a:pt x="57" y="394"/>
                  </a:lnTo>
                  <a:lnTo>
                    <a:pt x="54" y="394"/>
                  </a:lnTo>
                  <a:lnTo>
                    <a:pt x="52" y="394"/>
                  </a:lnTo>
                  <a:lnTo>
                    <a:pt x="52" y="392"/>
                  </a:lnTo>
                  <a:close/>
                  <a:moveTo>
                    <a:pt x="132" y="337"/>
                  </a:moveTo>
                  <a:lnTo>
                    <a:pt x="132" y="339"/>
                  </a:lnTo>
                  <a:lnTo>
                    <a:pt x="135" y="339"/>
                  </a:lnTo>
                  <a:lnTo>
                    <a:pt x="132" y="339"/>
                  </a:lnTo>
                  <a:lnTo>
                    <a:pt x="135" y="339"/>
                  </a:lnTo>
                  <a:lnTo>
                    <a:pt x="132" y="339"/>
                  </a:lnTo>
                  <a:lnTo>
                    <a:pt x="132" y="337"/>
                  </a:lnTo>
                  <a:lnTo>
                    <a:pt x="132" y="339"/>
                  </a:lnTo>
                  <a:lnTo>
                    <a:pt x="132" y="337"/>
                  </a:lnTo>
                  <a:lnTo>
                    <a:pt x="132" y="339"/>
                  </a:lnTo>
                  <a:lnTo>
                    <a:pt x="132" y="337"/>
                  </a:lnTo>
                  <a:lnTo>
                    <a:pt x="132" y="339"/>
                  </a:lnTo>
                  <a:lnTo>
                    <a:pt x="130" y="337"/>
                  </a:lnTo>
                  <a:lnTo>
                    <a:pt x="132" y="337"/>
                  </a:lnTo>
                  <a:close/>
                  <a:moveTo>
                    <a:pt x="151" y="247"/>
                  </a:moveTo>
                  <a:lnTo>
                    <a:pt x="154" y="247"/>
                  </a:lnTo>
                  <a:lnTo>
                    <a:pt x="151" y="247"/>
                  </a:lnTo>
                  <a:lnTo>
                    <a:pt x="154" y="247"/>
                  </a:lnTo>
                  <a:lnTo>
                    <a:pt x="154" y="249"/>
                  </a:lnTo>
                  <a:lnTo>
                    <a:pt x="151" y="249"/>
                  </a:lnTo>
                  <a:lnTo>
                    <a:pt x="151" y="247"/>
                  </a:lnTo>
                  <a:lnTo>
                    <a:pt x="151" y="249"/>
                  </a:lnTo>
                  <a:lnTo>
                    <a:pt x="149" y="249"/>
                  </a:lnTo>
                  <a:lnTo>
                    <a:pt x="149" y="252"/>
                  </a:lnTo>
                  <a:lnTo>
                    <a:pt x="149" y="249"/>
                  </a:lnTo>
                  <a:lnTo>
                    <a:pt x="149" y="247"/>
                  </a:lnTo>
                  <a:lnTo>
                    <a:pt x="151" y="247"/>
                  </a:lnTo>
                  <a:close/>
                  <a:moveTo>
                    <a:pt x="135" y="223"/>
                  </a:moveTo>
                  <a:lnTo>
                    <a:pt x="137" y="223"/>
                  </a:lnTo>
                  <a:lnTo>
                    <a:pt x="137" y="225"/>
                  </a:lnTo>
                  <a:lnTo>
                    <a:pt x="135" y="225"/>
                  </a:lnTo>
                  <a:lnTo>
                    <a:pt x="135" y="223"/>
                  </a:lnTo>
                  <a:close/>
                  <a:moveTo>
                    <a:pt x="137" y="225"/>
                  </a:moveTo>
                  <a:lnTo>
                    <a:pt x="135" y="225"/>
                  </a:lnTo>
                  <a:lnTo>
                    <a:pt x="137" y="225"/>
                  </a:lnTo>
                  <a:close/>
                  <a:moveTo>
                    <a:pt x="135" y="216"/>
                  </a:moveTo>
                  <a:lnTo>
                    <a:pt x="132" y="216"/>
                  </a:lnTo>
                  <a:lnTo>
                    <a:pt x="135" y="213"/>
                  </a:lnTo>
                  <a:lnTo>
                    <a:pt x="135" y="216"/>
                  </a:lnTo>
                  <a:close/>
                  <a:moveTo>
                    <a:pt x="194" y="548"/>
                  </a:moveTo>
                  <a:lnTo>
                    <a:pt x="194" y="546"/>
                  </a:lnTo>
                  <a:lnTo>
                    <a:pt x="194" y="548"/>
                  </a:lnTo>
                  <a:lnTo>
                    <a:pt x="197" y="548"/>
                  </a:lnTo>
                  <a:lnTo>
                    <a:pt x="194" y="548"/>
                  </a:lnTo>
                  <a:lnTo>
                    <a:pt x="197" y="548"/>
                  </a:lnTo>
                  <a:lnTo>
                    <a:pt x="197" y="551"/>
                  </a:lnTo>
                  <a:lnTo>
                    <a:pt x="194" y="551"/>
                  </a:lnTo>
                  <a:lnTo>
                    <a:pt x="194" y="553"/>
                  </a:lnTo>
                  <a:lnTo>
                    <a:pt x="192" y="553"/>
                  </a:lnTo>
                  <a:lnTo>
                    <a:pt x="189" y="553"/>
                  </a:lnTo>
                  <a:lnTo>
                    <a:pt x="192" y="553"/>
                  </a:lnTo>
                  <a:lnTo>
                    <a:pt x="194" y="553"/>
                  </a:lnTo>
                  <a:lnTo>
                    <a:pt x="194" y="551"/>
                  </a:lnTo>
                  <a:lnTo>
                    <a:pt x="192" y="551"/>
                  </a:lnTo>
                  <a:lnTo>
                    <a:pt x="194" y="551"/>
                  </a:lnTo>
                  <a:lnTo>
                    <a:pt x="192" y="553"/>
                  </a:lnTo>
                  <a:lnTo>
                    <a:pt x="192" y="551"/>
                  </a:lnTo>
                  <a:lnTo>
                    <a:pt x="192" y="553"/>
                  </a:lnTo>
                  <a:lnTo>
                    <a:pt x="192" y="551"/>
                  </a:lnTo>
                  <a:lnTo>
                    <a:pt x="189" y="551"/>
                  </a:lnTo>
                  <a:lnTo>
                    <a:pt x="189" y="553"/>
                  </a:lnTo>
                  <a:lnTo>
                    <a:pt x="189" y="551"/>
                  </a:lnTo>
                  <a:lnTo>
                    <a:pt x="187" y="551"/>
                  </a:lnTo>
                  <a:lnTo>
                    <a:pt x="189" y="551"/>
                  </a:lnTo>
                  <a:lnTo>
                    <a:pt x="187" y="551"/>
                  </a:lnTo>
                  <a:lnTo>
                    <a:pt x="187" y="553"/>
                  </a:lnTo>
                  <a:lnTo>
                    <a:pt x="185" y="553"/>
                  </a:lnTo>
                  <a:lnTo>
                    <a:pt x="185" y="551"/>
                  </a:lnTo>
                  <a:lnTo>
                    <a:pt x="185" y="553"/>
                  </a:lnTo>
                  <a:lnTo>
                    <a:pt x="182" y="553"/>
                  </a:lnTo>
                  <a:lnTo>
                    <a:pt x="185" y="553"/>
                  </a:lnTo>
                  <a:lnTo>
                    <a:pt x="182" y="553"/>
                  </a:lnTo>
                  <a:lnTo>
                    <a:pt x="185" y="553"/>
                  </a:lnTo>
                  <a:lnTo>
                    <a:pt x="182" y="553"/>
                  </a:lnTo>
                  <a:lnTo>
                    <a:pt x="185" y="553"/>
                  </a:lnTo>
                  <a:lnTo>
                    <a:pt x="182" y="556"/>
                  </a:lnTo>
                  <a:lnTo>
                    <a:pt x="185" y="556"/>
                  </a:lnTo>
                  <a:lnTo>
                    <a:pt x="182" y="556"/>
                  </a:lnTo>
                  <a:lnTo>
                    <a:pt x="180" y="556"/>
                  </a:lnTo>
                  <a:lnTo>
                    <a:pt x="182" y="556"/>
                  </a:lnTo>
                  <a:lnTo>
                    <a:pt x="182" y="553"/>
                  </a:lnTo>
                  <a:lnTo>
                    <a:pt x="180" y="556"/>
                  </a:lnTo>
                  <a:lnTo>
                    <a:pt x="180" y="558"/>
                  </a:lnTo>
                  <a:lnTo>
                    <a:pt x="180" y="556"/>
                  </a:lnTo>
                  <a:lnTo>
                    <a:pt x="180" y="558"/>
                  </a:lnTo>
                  <a:lnTo>
                    <a:pt x="178" y="558"/>
                  </a:lnTo>
                  <a:lnTo>
                    <a:pt x="180" y="558"/>
                  </a:lnTo>
                  <a:lnTo>
                    <a:pt x="178" y="558"/>
                  </a:lnTo>
                  <a:lnTo>
                    <a:pt x="178" y="556"/>
                  </a:lnTo>
                  <a:lnTo>
                    <a:pt x="178" y="558"/>
                  </a:lnTo>
                  <a:lnTo>
                    <a:pt x="178" y="556"/>
                  </a:lnTo>
                  <a:lnTo>
                    <a:pt x="180" y="556"/>
                  </a:lnTo>
                  <a:lnTo>
                    <a:pt x="178" y="556"/>
                  </a:lnTo>
                  <a:lnTo>
                    <a:pt x="178" y="553"/>
                  </a:lnTo>
                  <a:lnTo>
                    <a:pt x="178" y="556"/>
                  </a:lnTo>
                  <a:lnTo>
                    <a:pt x="178" y="553"/>
                  </a:lnTo>
                  <a:lnTo>
                    <a:pt x="178" y="556"/>
                  </a:lnTo>
                  <a:lnTo>
                    <a:pt x="178" y="553"/>
                  </a:lnTo>
                  <a:lnTo>
                    <a:pt x="178" y="556"/>
                  </a:lnTo>
                  <a:lnTo>
                    <a:pt x="175" y="556"/>
                  </a:lnTo>
                  <a:lnTo>
                    <a:pt x="178" y="556"/>
                  </a:lnTo>
                  <a:lnTo>
                    <a:pt x="175" y="558"/>
                  </a:lnTo>
                  <a:lnTo>
                    <a:pt x="175" y="556"/>
                  </a:lnTo>
                  <a:lnTo>
                    <a:pt x="175" y="558"/>
                  </a:lnTo>
                  <a:lnTo>
                    <a:pt x="175" y="556"/>
                  </a:lnTo>
                  <a:lnTo>
                    <a:pt x="173" y="556"/>
                  </a:lnTo>
                  <a:lnTo>
                    <a:pt x="170" y="556"/>
                  </a:lnTo>
                  <a:lnTo>
                    <a:pt x="173" y="556"/>
                  </a:lnTo>
                  <a:lnTo>
                    <a:pt x="170" y="556"/>
                  </a:lnTo>
                  <a:lnTo>
                    <a:pt x="170" y="558"/>
                  </a:lnTo>
                  <a:lnTo>
                    <a:pt x="168" y="558"/>
                  </a:lnTo>
                  <a:lnTo>
                    <a:pt x="168" y="560"/>
                  </a:lnTo>
                  <a:lnTo>
                    <a:pt x="166" y="560"/>
                  </a:lnTo>
                  <a:lnTo>
                    <a:pt x="168" y="560"/>
                  </a:lnTo>
                  <a:lnTo>
                    <a:pt x="168" y="558"/>
                  </a:lnTo>
                  <a:lnTo>
                    <a:pt x="168" y="560"/>
                  </a:lnTo>
                  <a:lnTo>
                    <a:pt x="168" y="558"/>
                  </a:lnTo>
                  <a:lnTo>
                    <a:pt x="168" y="560"/>
                  </a:lnTo>
                  <a:lnTo>
                    <a:pt x="168" y="558"/>
                  </a:lnTo>
                  <a:lnTo>
                    <a:pt x="166" y="558"/>
                  </a:lnTo>
                  <a:lnTo>
                    <a:pt x="168" y="558"/>
                  </a:lnTo>
                  <a:lnTo>
                    <a:pt x="166" y="558"/>
                  </a:lnTo>
                  <a:lnTo>
                    <a:pt x="168" y="558"/>
                  </a:lnTo>
                  <a:lnTo>
                    <a:pt x="168" y="560"/>
                  </a:lnTo>
                  <a:lnTo>
                    <a:pt x="166" y="560"/>
                  </a:lnTo>
                  <a:lnTo>
                    <a:pt x="166" y="558"/>
                  </a:lnTo>
                  <a:lnTo>
                    <a:pt x="163" y="558"/>
                  </a:lnTo>
                  <a:lnTo>
                    <a:pt x="163" y="556"/>
                  </a:lnTo>
                  <a:lnTo>
                    <a:pt x="163" y="558"/>
                  </a:lnTo>
                  <a:lnTo>
                    <a:pt x="166" y="558"/>
                  </a:lnTo>
                  <a:lnTo>
                    <a:pt x="166" y="560"/>
                  </a:lnTo>
                  <a:lnTo>
                    <a:pt x="163" y="560"/>
                  </a:lnTo>
                  <a:lnTo>
                    <a:pt x="166" y="558"/>
                  </a:lnTo>
                  <a:lnTo>
                    <a:pt x="166" y="560"/>
                  </a:lnTo>
                  <a:lnTo>
                    <a:pt x="166" y="558"/>
                  </a:lnTo>
                  <a:lnTo>
                    <a:pt x="166" y="560"/>
                  </a:lnTo>
                  <a:lnTo>
                    <a:pt x="163" y="560"/>
                  </a:lnTo>
                  <a:lnTo>
                    <a:pt x="166" y="560"/>
                  </a:lnTo>
                  <a:lnTo>
                    <a:pt x="163" y="563"/>
                  </a:lnTo>
                  <a:lnTo>
                    <a:pt x="166" y="563"/>
                  </a:lnTo>
                  <a:lnTo>
                    <a:pt x="163" y="563"/>
                  </a:lnTo>
                  <a:lnTo>
                    <a:pt x="163" y="565"/>
                  </a:lnTo>
                  <a:lnTo>
                    <a:pt x="163" y="563"/>
                  </a:lnTo>
                  <a:lnTo>
                    <a:pt x="163" y="565"/>
                  </a:lnTo>
                  <a:lnTo>
                    <a:pt x="161" y="565"/>
                  </a:lnTo>
                  <a:lnTo>
                    <a:pt x="159" y="565"/>
                  </a:lnTo>
                  <a:lnTo>
                    <a:pt x="161" y="565"/>
                  </a:lnTo>
                  <a:lnTo>
                    <a:pt x="159" y="565"/>
                  </a:lnTo>
                  <a:lnTo>
                    <a:pt x="159" y="567"/>
                  </a:lnTo>
                  <a:lnTo>
                    <a:pt x="159" y="565"/>
                  </a:lnTo>
                  <a:lnTo>
                    <a:pt x="159" y="567"/>
                  </a:lnTo>
                  <a:lnTo>
                    <a:pt x="159" y="565"/>
                  </a:lnTo>
                  <a:lnTo>
                    <a:pt x="159" y="567"/>
                  </a:lnTo>
                  <a:lnTo>
                    <a:pt x="156" y="567"/>
                  </a:lnTo>
                  <a:lnTo>
                    <a:pt x="159" y="567"/>
                  </a:lnTo>
                  <a:lnTo>
                    <a:pt x="159" y="565"/>
                  </a:lnTo>
                  <a:lnTo>
                    <a:pt x="161" y="563"/>
                  </a:lnTo>
                  <a:lnTo>
                    <a:pt x="159" y="565"/>
                  </a:lnTo>
                  <a:lnTo>
                    <a:pt x="159" y="563"/>
                  </a:lnTo>
                  <a:lnTo>
                    <a:pt x="161" y="563"/>
                  </a:lnTo>
                  <a:lnTo>
                    <a:pt x="159" y="563"/>
                  </a:lnTo>
                  <a:lnTo>
                    <a:pt x="159" y="565"/>
                  </a:lnTo>
                  <a:lnTo>
                    <a:pt x="159" y="563"/>
                  </a:lnTo>
                  <a:lnTo>
                    <a:pt x="159" y="565"/>
                  </a:lnTo>
                  <a:lnTo>
                    <a:pt x="156" y="565"/>
                  </a:lnTo>
                  <a:lnTo>
                    <a:pt x="156" y="563"/>
                  </a:lnTo>
                  <a:lnTo>
                    <a:pt x="156" y="565"/>
                  </a:lnTo>
                  <a:lnTo>
                    <a:pt x="154" y="565"/>
                  </a:lnTo>
                  <a:lnTo>
                    <a:pt x="156" y="565"/>
                  </a:lnTo>
                  <a:lnTo>
                    <a:pt x="154" y="565"/>
                  </a:lnTo>
                  <a:lnTo>
                    <a:pt x="156" y="565"/>
                  </a:lnTo>
                  <a:lnTo>
                    <a:pt x="156" y="563"/>
                  </a:lnTo>
                  <a:lnTo>
                    <a:pt x="156" y="560"/>
                  </a:lnTo>
                  <a:lnTo>
                    <a:pt x="154" y="560"/>
                  </a:lnTo>
                  <a:lnTo>
                    <a:pt x="156" y="560"/>
                  </a:lnTo>
                  <a:lnTo>
                    <a:pt x="154" y="560"/>
                  </a:lnTo>
                  <a:lnTo>
                    <a:pt x="154" y="563"/>
                  </a:lnTo>
                  <a:lnTo>
                    <a:pt x="151" y="563"/>
                  </a:lnTo>
                  <a:lnTo>
                    <a:pt x="149" y="563"/>
                  </a:lnTo>
                  <a:lnTo>
                    <a:pt x="151" y="563"/>
                  </a:lnTo>
                  <a:lnTo>
                    <a:pt x="151" y="565"/>
                  </a:lnTo>
                  <a:lnTo>
                    <a:pt x="149" y="565"/>
                  </a:lnTo>
                  <a:lnTo>
                    <a:pt x="149" y="563"/>
                  </a:lnTo>
                  <a:lnTo>
                    <a:pt x="149" y="565"/>
                  </a:lnTo>
                  <a:lnTo>
                    <a:pt x="147" y="565"/>
                  </a:lnTo>
                  <a:lnTo>
                    <a:pt x="147" y="563"/>
                  </a:lnTo>
                  <a:lnTo>
                    <a:pt x="147" y="565"/>
                  </a:lnTo>
                  <a:lnTo>
                    <a:pt x="147" y="563"/>
                  </a:lnTo>
                  <a:lnTo>
                    <a:pt x="147" y="565"/>
                  </a:lnTo>
                  <a:lnTo>
                    <a:pt x="144" y="565"/>
                  </a:lnTo>
                  <a:lnTo>
                    <a:pt x="144" y="563"/>
                  </a:lnTo>
                  <a:lnTo>
                    <a:pt x="144" y="565"/>
                  </a:lnTo>
                  <a:lnTo>
                    <a:pt x="142" y="565"/>
                  </a:lnTo>
                  <a:lnTo>
                    <a:pt x="144" y="565"/>
                  </a:lnTo>
                  <a:lnTo>
                    <a:pt x="142" y="565"/>
                  </a:lnTo>
                  <a:lnTo>
                    <a:pt x="140" y="565"/>
                  </a:lnTo>
                  <a:lnTo>
                    <a:pt x="142" y="565"/>
                  </a:lnTo>
                  <a:lnTo>
                    <a:pt x="140" y="565"/>
                  </a:lnTo>
                  <a:lnTo>
                    <a:pt x="142" y="565"/>
                  </a:lnTo>
                  <a:lnTo>
                    <a:pt x="140" y="565"/>
                  </a:lnTo>
                  <a:lnTo>
                    <a:pt x="142" y="565"/>
                  </a:lnTo>
                  <a:lnTo>
                    <a:pt x="140" y="565"/>
                  </a:lnTo>
                  <a:lnTo>
                    <a:pt x="140" y="567"/>
                  </a:lnTo>
                  <a:lnTo>
                    <a:pt x="142" y="567"/>
                  </a:lnTo>
                  <a:lnTo>
                    <a:pt x="142" y="565"/>
                  </a:lnTo>
                  <a:lnTo>
                    <a:pt x="142" y="567"/>
                  </a:lnTo>
                  <a:lnTo>
                    <a:pt x="142" y="565"/>
                  </a:lnTo>
                  <a:lnTo>
                    <a:pt x="142" y="567"/>
                  </a:lnTo>
                  <a:lnTo>
                    <a:pt x="142" y="565"/>
                  </a:lnTo>
                  <a:lnTo>
                    <a:pt x="144" y="565"/>
                  </a:lnTo>
                  <a:lnTo>
                    <a:pt x="144" y="567"/>
                  </a:lnTo>
                  <a:lnTo>
                    <a:pt x="142" y="567"/>
                  </a:lnTo>
                  <a:lnTo>
                    <a:pt x="144" y="567"/>
                  </a:lnTo>
                  <a:lnTo>
                    <a:pt x="142" y="567"/>
                  </a:lnTo>
                  <a:lnTo>
                    <a:pt x="144" y="567"/>
                  </a:lnTo>
                  <a:lnTo>
                    <a:pt x="142" y="567"/>
                  </a:lnTo>
                  <a:lnTo>
                    <a:pt x="142" y="570"/>
                  </a:lnTo>
                  <a:lnTo>
                    <a:pt x="142" y="567"/>
                  </a:lnTo>
                  <a:lnTo>
                    <a:pt x="142" y="570"/>
                  </a:lnTo>
                  <a:lnTo>
                    <a:pt x="142" y="567"/>
                  </a:lnTo>
                  <a:lnTo>
                    <a:pt x="140" y="567"/>
                  </a:lnTo>
                  <a:lnTo>
                    <a:pt x="140" y="570"/>
                  </a:lnTo>
                  <a:lnTo>
                    <a:pt x="137" y="570"/>
                  </a:lnTo>
                  <a:lnTo>
                    <a:pt x="140" y="570"/>
                  </a:lnTo>
                  <a:lnTo>
                    <a:pt x="137" y="567"/>
                  </a:lnTo>
                  <a:lnTo>
                    <a:pt x="140" y="567"/>
                  </a:lnTo>
                  <a:lnTo>
                    <a:pt x="140" y="565"/>
                  </a:lnTo>
                  <a:lnTo>
                    <a:pt x="140" y="567"/>
                  </a:lnTo>
                  <a:lnTo>
                    <a:pt x="137" y="567"/>
                  </a:lnTo>
                  <a:lnTo>
                    <a:pt x="140" y="567"/>
                  </a:lnTo>
                  <a:lnTo>
                    <a:pt x="137" y="567"/>
                  </a:lnTo>
                  <a:lnTo>
                    <a:pt x="135" y="567"/>
                  </a:lnTo>
                  <a:lnTo>
                    <a:pt x="137" y="567"/>
                  </a:lnTo>
                  <a:lnTo>
                    <a:pt x="135" y="567"/>
                  </a:lnTo>
                  <a:lnTo>
                    <a:pt x="137" y="567"/>
                  </a:lnTo>
                  <a:lnTo>
                    <a:pt x="135" y="567"/>
                  </a:lnTo>
                  <a:lnTo>
                    <a:pt x="137" y="567"/>
                  </a:lnTo>
                  <a:lnTo>
                    <a:pt x="135" y="567"/>
                  </a:lnTo>
                  <a:lnTo>
                    <a:pt x="135" y="570"/>
                  </a:lnTo>
                  <a:lnTo>
                    <a:pt x="135" y="567"/>
                  </a:lnTo>
                  <a:lnTo>
                    <a:pt x="135" y="570"/>
                  </a:lnTo>
                  <a:lnTo>
                    <a:pt x="135" y="567"/>
                  </a:lnTo>
                  <a:lnTo>
                    <a:pt x="135" y="570"/>
                  </a:lnTo>
                  <a:lnTo>
                    <a:pt x="132" y="570"/>
                  </a:lnTo>
                  <a:lnTo>
                    <a:pt x="130" y="570"/>
                  </a:lnTo>
                  <a:lnTo>
                    <a:pt x="128" y="570"/>
                  </a:lnTo>
                  <a:lnTo>
                    <a:pt x="125" y="570"/>
                  </a:lnTo>
                  <a:lnTo>
                    <a:pt x="123" y="570"/>
                  </a:lnTo>
                  <a:lnTo>
                    <a:pt x="123" y="567"/>
                  </a:lnTo>
                  <a:lnTo>
                    <a:pt x="125" y="567"/>
                  </a:lnTo>
                  <a:lnTo>
                    <a:pt x="125" y="570"/>
                  </a:lnTo>
                  <a:lnTo>
                    <a:pt x="125" y="567"/>
                  </a:lnTo>
                  <a:lnTo>
                    <a:pt x="128" y="567"/>
                  </a:lnTo>
                  <a:lnTo>
                    <a:pt x="128" y="570"/>
                  </a:lnTo>
                  <a:lnTo>
                    <a:pt x="128" y="567"/>
                  </a:lnTo>
                  <a:lnTo>
                    <a:pt x="125" y="567"/>
                  </a:lnTo>
                  <a:lnTo>
                    <a:pt x="128" y="567"/>
                  </a:lnTo>
                  <a:lnTo>
                    <a:pt x="130" y="567"/>
                  </a:lnTo>
                  <a:lnTo>
                    <a:pt x="130" y="565"/>
                  </a:lnTo>
                  <a:lnTo>
                    <a:pt x="130" y="567"/>
                  </a:lnTo>
                  <a:lnTo>
                    <a:pt x="130" y="565"/>
                  </a:lnTo>
                  <a:lnTo>
                    <a:pt x="130" y="567"/>
                  </a:lnTo>
                  <a:lnTo>
                    <a:pt x="128" y="567"/>
                  </a:lnTo>
                  <a:lnTo>
                    <a:pt x="125" y="567"/>
                  </a:lnTo>
                  <a:lnTo>
                    <a:pt x="128" y="567"/>
                  </a:lnTo>
                  <a:lnTo>
                    <a:pt x="125" y="567"/>
                  </a:lnTo>
                  <a:lnTo>
                    <a:pt x="125" y="565"/>
                  </a:lnTo>
                  <a:lnTo>
                    <a:pt x="125" y="567"/>
                  </a:lnTo>
                  <a:lnTo>
                    <a:pt x="125" y="565"/>
                  </a:lnTo>
                  <a:lnTo>
                    <a:pt x="128" y="565"/>
                  </a:lnTo>
                  <a:lnTo>
                    <a:pt x="128" y="563"/>
                  </a:lnTo>
                  <a:lnTo>
                    <a:pt x="130" y="563"/>
                  </a:lnTo>
                  <a:lnTo>
                    <a:pt x="130" y="560"/>
                  </a:lnTo>
                  <a:lnTo>
                    <a:pt x="128" y="560"/>
                  </a:lnTo>
                  <a:lnTo>
                    <a:pt x="128" y="563"/>
                  </a:lnTo>
                  <a:lnTo>
                    <a:pt x="128" y="565"/>
                  </a:lnTo>
                  <a:lnTo>
                    <a:pt x="125" y="565"/>
                  </a:lnTo>
                  <a:lnTo>
                    <a:pt x="128" y="565"/>
                  </a:lnTo>
                  <a:lnTo>
                    <a:pt x="125" y="565"/>
                  </a:lnTo>
                  <a:lnTo>
                    <a:pt x="125" y="567"/>
                  </a:lnTo>
                  <a:lnTo>
                    <a:pt x="123" y="567"/>
                  </a:lnTo>
                  <a:lnTo>
                    <a:pt x="125" y="567"/>
                  </a:lnTo>
                  <a:lnTo>
                    <a:pt x="123" y="567"/>
                  </a:lnTo>
                  <a:lnTo>
                    <a:pt x="123" y="570"/>
                  </a:lnTo>
                  <a:lnTo>
                    <a:pt x="121" y="570"/>
                  </a:lnTo>
                  <a:lnTo>
                    <a:pt x="118" y="570"/>
                  </a:lnTo>
                  <a:lnTo>
                    <a:pt x="118" y="572"/>
                  </a:lnTo>
                  <a:lnTo>
                    <a:pt x="121" y="572"/>
                  </a:lnTo>
                  <a:lnTo>
                    <a:pt x="118" y="572"/>
                  </a:lnTo>
                  <a:lnTo>
                    <a:pt x="121" y="572"/>
                  </a:lnTo>
                  <a:lnTo>
                    <a:pt x="118" y="572"/>
                  </a:lnTo>
                  <a:lnTo>
                    <a:pt x="118" y="575"/>
                  </a:lnTo>
                  <a:lnTo>
                    <a:pt x="121" y="575"/>
                  </a:lnTo>
                  <a:lnTo>
                    <a:pt x="118" y="575"/>
                  </a:lnTo>
                  <a:lnTo>
                    <a:pt x="116" y="575"/>
                  </a:lnTo>
                  <a:lnTo>
                    <a:pt x="113" y="575"/>
                  </a:lnTo>
                  <a:lnTo>
                    <a:pt x="116" y="575"/>
                  </a:lnTo>
                  <a:lnTo>
                    <a:pt x="113" y="575"/>
                  </a:lnTo>
                  <a:lnTo>
                    <a:pt x="111" y="575"/>
                  </a:lnTo>
                  <a:lnTo>
                    <a:pt x="109" y="575"/>
                  </a:lnTo>
                  <a:lnTo>
                    <a:pt x="111" y="575"/>
                  </a:lnTo>
                  <a:lnTo>
                    <a:pt x="111" y="572"/>
                  </a:lnTo>
                  <a:lnTo>
                    <a:pt x="113" y="572"/>
                  </a:lnTo>
                  <a:lnTo>
                    <a:pt x="116" y="572"/>
                  </a:lnTo>
                  <a:lnTo>
                    <a:pt x="116" y="570"/>
                  </a:lnTo>
                  <a:lnTo>
                    <a:pt x="118" y="570"/>
                  </a:lnTo>
                  <a:lnTo>
                    <a:pt x="116" y="570"/>
                  </a:lnTo>
                  <a:lnTo>
                    <a:pt x="118" y="570"/>
                  </a:lnTo>
                  <a:lnTo>
                    <a:pt x="116" y="570"/>
                  </a:lnTo>
                  <a:lnTo>
                    <a:pt x="116" y="567"/>
                  </a:lnTo>
                  <a:lnTo>
                    <a:pt x="118" y="570"/>
                  </a:lnTo>
                  <a:lnTo>
                    <a:pt x="118" y="567"/>
                  </a:lnTo>
                  <a:lnTo>
                    <a:pt x="116" y="567"/>
                  </a:lnTo>
                  <a:lnTo>
                    <a:pt x="116" y="570"/>
                  </a:lnTo>
                  <a:lnTo>
                    <a:pt x="116" y="567"/>
                  </a:lnTo>
                  <a:lnTo>
                    <a:pt x="116" y="570"/>
                  </a:lnTo>
                  <a:lnTo>
                    <a:pt x="113" y="570"/>
                  </a:lnTo>
                  <a:lnTo>
                    <a:pt x="113" y="567"/>
                  </a:lnTo>
                  <a:lnTo>
                    <a:pt x="116" y="567"/>
                  </a:lnTo>
                  <a:lnTo>
                    <a:pt x="113" y="567"/>
                  </a:lnTo>
                  <a:lnTo>
                    <a:pt x="116" y="567"/>
                  </a:lnTo>
                  <a:lnTo>
                    <a:pt x="116" y="565"/>
                  </a:lnTo>
                  <a:lnTo>
                    <a:pt x="118" y="565"/>
                  </a:lnTo>
                  <a:lnTo>
                    <a:pt x="118" y="563"/>
                  </a:lnTo>
                  <a:lnTo>
                    <a:pt x="118" y="565"/>
                  </a:lnTo>
                  <a:lnTo>
                    <a:pt x="118" y="563"/>
                  </a:lnTo>
                  <a:lnTo>
                    <a:pt x="118" y="565"/>
                  </a:lnTo>
                  <a:lnTo>
                    <a:pt x="116" y="565"/>
                  </a:lnTo>
                  <a:lnTo>
                    <a:pt x="113" y="565"/>
                  </a:lnTo>
                  <a:lnTo>
                    <a:pt x="113" y="567"/>
                  </a:lnTo>
                  <a:lnTo>
                    <a:pt x="113" y="565"/>
                  </a:lnTo>
                  <a:lnTo>
                    <a:pt x="113" y="567"/>
                  </a:lnTo>
                  <a:lnTo>
                    <a:pt x="113" y="570"/>
                  </a:lnTo>
                  <a:lnTo>
                    <a:pt x="111" y="570"/>
                  </a:lnTo>
                  <a:lnTo>
                    <a:pt x="111" y="567"/>
                  </a:lnTo>
                  <a:lnTo>
                    <a:pt x="111" y="570"/>
                  </a:lnTo>
                  <a:lnTo>
                    <a:pt x="111" y="567"/>
                  </a:lnTo>
                  <a:lnTo>
                    <a:pt x="111" y="570"/>
                  </a:lnTo>
                  <a:lnTo>
                    <a:pt x="109" y="570"/>
                  </a:lnTo>
                  <a:lnTo>
                    <a:pt x="111" y="570"/>
                  </a:lnTo>
                  <a:lnTo>
                    <a:pt x="109" y="570"/>
                  </a:lnTo>
                  <a:lnTo>
                    <a:pt x="106" y="570"/>
                  </a:lnTo>
                  <a:lnTo>
                    <a:pt x="106" y="567"/>
                  </a:lnTo>
                  <a:lnTo>
                    <a:pt x="106" y="565"/>
                  </a:lnTo>
                  <a:lnTo>
                    <a:pt x="104" y="565"/>
                  </a:lnTo>
                  <a:lnTo>
                    <a:pt x="106" y="565"/>
                  </a:lnTo>
                  <a:lnTo>
                    <a:pt x="106" y="567"/>
                  </a:lnTo>
                  <a:lnTo>
                    <a:pt x="109" y="567"/>
                  </a:lnTo>
                  <a:lnTo>
                    <a:pt x="109" y="565"/>
                  </a:lnTo>
                  <a:lnTo>
                    <a:pt x="111" y="565"/>
                  </a:lnTo>
                  <a:lnTo>
                    <a:pt x="109" y="567"/>
                  </a:lnTo>
                  <a:lnTo>
                    <a:pt x="111" y="567"/>
                  </a:lnTo>
                  <a:lnTo>
                    <a:pt x="109" y="567"/>
                  </a:lnTo>
                  <a:lnTo>
                    <a:pt x="111" y="567"/>
                  </a:lnTo>
                  <a:lnTo>
                    <a:pt x="111" y="565"/>
                  </a:lnTo>
                  <a:lnTo>
                    <a:pt x="111" y="567"/>
                  </a:lnTo>
                  <a:lnTo>
                    <a:pt x="113" y="565"/>
                  </a:lnTo>
                  <a:lnTo>
                    <a:pt x="111" y="565"/>
                  </a:lnTo>
                  <a:lnTo>
                    <a:pt x="111" y="563"/>
                  </a:lnTo>
                  <a:lnTo>
                    <a:pt x="113" y="563"/>
                  </a:lnTo>
                  <a:lnTo>
                    <a:pt x="116" y="563"/>
                  </a:lnTo>
                  <a:lnTo>
                    <a:pt x="116" y="565"/>
                  </a:lnTo>
                  <a:lnTo>
                    <a:pt x="113" y="565"/>
                  </a:lnTo>
                  <a:lnTo>
                    <a:pt x="116" y="565"/>
                  </a:lnTo>
                  <a:lnTo>
                    <a:pt x="116" y="563"/>
                  </a:lnTo>
                  <a:lnTo>
                    <a:pt x="118" y="563"/>
                  </a:lnTo>
                  <a:lnTo>
                    <a:pt x="121" y="563"/>
                  </a:lnTo>
                  <a:lnTo>
                    <a:pt x="118" y="563"/>
                  </a:lnTo>
                  <a:lnTo>
                    <a:pt x="116" y="563"/>
                  </a:lnTo>
                  <a:lnTo>
                    <a:pt x="113" y="563"/>
                  </a:lnTo>
                  <a:lnTo>
                    <a:pt x="111" y="563"/>
                  </a:lnTo>
                  <a:lnTo>
                    <a:pt x="113" y="563"/>
                  </a:lnTo>
                  <a:lnTo>
                    <a:pt x="111" y="563"/>
                  </a:lnTo>
                  <a:lnTo>
                    <a:pt x="111" y="560"/>
                  </a:lnTo>
                  <a:lnTo>
                    <a:pt x="113" y="560"/>
                  </a:lnTo>
                  <a:lnTo>
                    <a:pt x="111" y="560"/>
                  </a:lnTo>
                  <a:lnTo>
                    <a:pt x="113" y="560"/>
                  </a:lnTo>
                  <a:lnTo>
                    <a:pt x="113" y="558"/>
                  </a:lnTo>
                  <a:lnTo>
                    <a:pt x="111" y="558"/>
                  </a:lnTo>
                  <a:lnTo>
                    <a:pt x="111" y="560"/>
                  </a:lnTo>
                  <a:lnTo>
                    <a:pt x="111" y="558"/>
                  </a:lnTo>
                  <a:lnTo>
                    <a:pt x="109" y="558"/>
                  </a:lnTo>
                  <a:lnTo>
                    <a:pt x="106" y="558"/>
                  </a:lnTo>
                  <a:lnTo>
                    <a:pt x="106" y="556"/>
                  </a:lnTo>
                  <a:lnTo>
                    <a:pt x="109" y="556"/>
                  </a:lnTo>
                  <a:lnTo>
                    <a:pt x="106" y="556"/>
                  </a:lnTo>
                  <a:lnTo>
                    <a:pt x="109" y="553"/>
                  </a:lnTo>
                  <a:lnTo>
                    <a:pt x="109" y="551"/>
                  </a:lnTo>
                  <a:lnTo>
                    <a:pt x="111" y="551"/>
                  </a:lnTo>
                  <a:lnTo>
                    <a:pt x="111" y="548"/>
                  </a:lnTo>
                  <a:lnTo>
                    <a:pt x="113" y="548"/>
                  </a:lnTo>
                  <a:lnTo>
                    <a:pt x="113" y="546"/>
                  </a:lnTo>
                  <a:lnTo>
                    <a:pt x="113" y="548"/>
                  </a:lnTo>
                  <a:lnTo>
                    <a:pt x="111" y="548"/>
                  </a:lnTo>
                  <a:lnTo>
                    <a:pt x="109" y="548"/>
                  </a:lnTo>
                  <a:lnTo>
                    <a:pt x="106" y="548"/>
                  </a:lnTo>
                  <a:lnTo>
                    <a:pt x="106" y="551"/>
                  </a:lnTo>
                  <a:lnTo>
                    <a:pt x="104" y="551"/>
                  </a:lnTo>
                  <a:lnTo>
                    <a:pt x="104" y="553"/>
                  </a:lnTo>
                  <a:lnTo>
                    <a:pt x="104" y="551"/>
                  </a:lnTo>
                  <a:lnTo>
                    <a:pt x="104" y="553"/>
                  </a:lnTo>
                  <a:lnTo>
                    <a:pt x="102" y="553"/>
                  </a:lnTo>
                  <a:lnTo>
                    <a:pt x="99" y="553"/>
                  </a:lnTo>
                  <a:lnTo>
                    <a:pt x="97" y="553"/>
                  </a:lnTo>
                  <a:lnTo>
                    <a:pt x="94" y="553"/>
                  </a:lnTo>
                  <a:lnTo>
                    <a:pt x="97" y="553"/>
                  </a:lnTo>
                  <a:lnTo>
                    <a:pt x="99" y="553"/>
                  </a:lnTo>
                  <a:lnTo>
                    <a:pt x="97" y="553"/>
                  </a:lnTo>
                  <a:lnTo>
                    <a:pt x="97" y="551"/>
                  </a:lnTo>
                  <a:lnTo>
                    <a:pt x="97" y="553"/>
                  </a:lnTo>
                  <a:lnTo>
                    <a:pt x="97" y="551"/>
                  </a:lnTo>
                  <a:lnTo>
                    <a:pt x="99" y="551"/>
                  </a:lnTo>
                  <a:lnTo>
                    <a:pt x="97" y="551"/>
                  </a:lnTo>
                  <a:lnTo>
                    <a:pt x="94" y="551"/>
                  </a:lnTo>
                  <a:lnTo>
                    <a:pt x="94" y="553"/>
                  </a:lnTo>
                  <a:lnTo>
                    <a:pt x="94" y="551"/>
                  </a:lnTo>
                  <a:lnTo>
                    <a:pt x="94" y="548"/>
                  </a:lnTo>
                  <a:lnTo>
                    <a:pt x="97" y="548"/>
                  </a:lnTo>
                  <a:lnTo>
                    <a:pt x="94" y="548"/>
                  </a:lnTo>
                  <a:lnTo>
                    <a:pt x="97" y="548"/>
                  </a:lnTo>
                  <a:lnTo>
                    <a:pt x="97" y="546"/>
                  </a:lnTo>
                  <a:lnTo>
                    <a:pt x="99" y="546"/>
                  </a:lnTo>
                  <a:lnTo>
                    <a:pt x="99" y="544"/>
                  </a:lnTo>
                  <a:lnTo>
                    <a:pt x="99" y="546"/>
                  </a:lnTo>
                  <a:lnTo>
                    <a:pt x="97" y="546"/>
                  </a:lnTo>
                  <a:lnTo>
                    <a:pt x="94" y="546"/>
                  </a:lnTo>
                  <a:lnTo>
                    <a:pt x="94" y="544"/>
                  </a:lnTo>
                  <a:lnTo>
                    <a:pt x="92" y="544"/>
                  </a:lnTo>
                  <a:lnTo>
                    <a:pt x="90" y="544"/>
                  </a:lnTo>
                  <a:lnTo>
                    <a:pt x="87" y="546"/>
                  </a:lnTo>
                  <a:lnTo>
                    <a:pt x="87" y="544"/>
                  </a:lnTo>
                  <a:lnTo>
                    <a:pt x="85" y="541"/>
                  </a:lnTo>
                  <a:lnTo>
                    <a:pt x="87" y="541"/>
                  </a:lnTo>
                  <a:lnTo>
                    <a:pt x="85" y="541"/>
                  </a:lnTo>
                  <a:lnTo>
                    <a:pt x="83" y="541"/>
                  </a:lnTo>
                  <a:lnTo>
                    <a:pt x="80" y="541"/>
                  </a:lnTo>
                  <a:lnTo>
                    <a:pt x="78" y="541"/>
                  </a:lnTo>
                  <a:lnTo>
                    <a:pt x="80" y="541"/>
                  </a:lnTo>
                  <a:lnTo>
                    <a:pt x="80" y="539"/>
                  </a:lnTo>
                  <a:lnTo>
                    <a:pt x="78" y="539"/>
                  </a:lnTo>
                  <a:lnTo>
                    <a:pt x="80" y="539"/>
                  </a:lnTo>
                  <a:lnTo>
                    <a:pt x="78" y="539"/>
                  </a:lnTo>
                  <a:lnTo>
                    <a:pt x="78" y="537"/>
                  </a:lnTo>
                  <a:lnTo>
                    <a:pt x="76" y="537"/>
                  </a:lnTo>
                  <a:lnTo>
                    <a:pt x="78" y="537"/>
                  </a:lnTo>
                  <a:lnTo>
                    <a:pt x="76" y="537"/>
                  </a:lnTo>
                  <a:lnTo>
                    <a:pt x="73" y="537"/>
                  </a:lnTo>
                  <a:lnTo>
                    <a:pt x="76" y="537"/>
                  </a:lnTo>
                  <a:lnTo>
                    <a:pt x="73" y="539"/>
                  </a:lnTo>
                  <a:lnTo>
                    <a:pt x="76" y="539"/>
                  </a:lnTo>
                  <a:lnTo>
                    <a:pt x="73" y="539"/>
                  </a:lnTo>
                  <a:lnTo>
                    <a:pt x="71" y="539"/>
                  </a:lnTo>
                  <a:lnTo>
                    <a:pt x="71" y="541"/>
                  </a:lnTo>
                  <a:lnTo>
                    <a:pt x="71" y="539"/>
                  </a:lnTo>
                  <a:lnTo>
                    <a:pt x="71" y="537"/>
                  </a:lnTo>
                  <a:lnTo>
                    <a:pt x="73" y="537"/>
                  </a:lnTo>
                  <a:lnTo>
                    <a:pt x="73" y="534"/>
                  </a:lnTo>
                  <a:lnTo>
                    <a:pt x="73" y="532"/>
                  </a:lnTo>
                  <a:lnTo>
                    <a:pt x="71" y="532"/>
                  </a:lnTo>
                  <a:lnTo>
                    <a:pt x="71" y="534"/>
                  </a:lnTo>
                  <a:lnTo>
                    <a:pt x="68" y="534"/>
                  </a:lnTo>
                  <a:lnTo>
                    <a:pt x="68" y="532"/>
                  </a:lnTo>
                  <a:lnTo>
                    <a:pt x="68" y="534"/>
                  </a:lnTo>
                  <a:lnTo>
                    <a:pt x="68" y="537"/>
                  </a:lnTo>
                  <a:lnTo>
                    <a:pt x="66" y="539"/>
                  </a:lnTo>
                  <a:lnTo>
                    <a:pt x="64" y="539"/>
                  </a:lnTo>
                  <a:lnTo>
                    <a:pt x="64" y="537"/>
                  </a:lnTo>
                  <a:lnTo>
                    <a:pt x="66" y="537"/>
                  </a:lnTo>
                  <a:lnTo>
                    <a:pt x="64" y="537"/>
                  </a:lnTo>
                  <a:lnTo>
                    <a:pt x="66" y="539"/>
                  </a:lnTo>
                  <a:lnTo>
                    <a:pt x="66" y="537"/>
                  </a:lnTo>
                  <a:lnTo>
                    <a:pt x="64" y="537"/>
                  </a:lnTo>
                  <a:lnTo>
                    <a:pt x="64" y="534"/>
                  </a:lnTo>
                  <a:lnTo>
                    <a:pt x="61" y="534"/>
                  </a:lnTo>
                  <a:lnTo>
                    <a:pt x="64" y="534"/>
                  </a:lnTo>
                  <a:lnTo>
                    <a:pt x="61" y="534"/>
                  </a:lnTo>
                  <a:lnTo>
                    <a:pt x="64" y="534"/>
                  </a:lnTo>
                  <a:lnTo>
                    <a:pt x="61" y="534"/>
                  </a:lnTo>
                  <a:lnTo>
                    <a:pt x="59" y="534"/>
                  </a:lnTo>
                  <a:lnTo>
                    <a:pt x="59" y="532"/>
                  </a:lnTo>
                  <a:lnTo>
                    <a:pt x="59" y="534"/>
                  </a:lnTo>
                  <a:lnTo>
                    <a:pt x="59" y="532"/>
                  </a:lnTo>
                  <a:lnTo>
                    <a:pt x="61" y="532"/>
                  </a:lnTo>
                  <a:lnTo>
                    <a:pt x="59" y="532"/>
                  </a:lnTo>
                  <a:lnTo>
                    <a:pt x="61" y="532"/>
                  </a:lnTo>
                  <a:lnTo>
                    <a:pt x="59" y="532"/>
                  </a:lnTo>
                  <a:lnTo>
                    <a:pt x="59" y="529"/>
                  </a:lnTo>
                  <a:lnTo>
                    <a:pt x="57" y="529"/>
                  </a:lnTo>
                  <a:lnTo>
                    <a:pt x="59" y="529"/>
                  </a:lnTo>
                  <a:lnTo>
                    <a:pt x="57" y="529"/>
                  </a:lnTo>
                  <a:lnTo>
                    <a:pt x="57" y="527"/>
                  </a:lnTo>
                  <a:lnTo>
                    <a:pt x="57" y="529"/>
                  </a:lnTo>
                  <a:lnTo>
                    <a:pt x="57" y="527"/>
                  </a:lnTo>
                  <a:lnTo>
                    <a:pt x="57" y="529"/>
                  </a:lnTo>
                  <a:lnTo>
                    <a:pt x="57" y="527"/>
                  </a:lnTo>
                  <a:lnTo>
                    <a:pt x="59" y="527"/>
                  </a:lnTo>
                  <a:lnTo>
                    <a:pt x="57" y="527"/>
                  </a:lnTo>
                  <a:lnTo>
                    <a:pt x="59" y="527"/>
                  </a:lnTo>
                  <a:lnTo>
                    <a:pt x="57" y="527"/>
                  </a:lnTo>
                  <a:lnTo>
                    <a:pt x="59" y="527"/>
                  </a:lnTo>
                  <a:lnTo>
                    <a:pt x="59" y="525"/>
                  </a:lnTo>
                  <a:lnTo>
                    <a:pt x="59" y="527"/>
                  </a:lnTo>
                  <a:lnTo>
                    <a:pt x="59" y="525"/>
                  </a:lnTo>
                  <a:lnTo>
                    <a:pt x="59" y="527"/>
                  </a:lnTo>
                  <a:lnTo>
                    <a:pt x="57" y="527"/>
                  </a:lnTo>
                  <a:lnTo>
                    <a:pt x="59" y="527"/>
                  </a:lnTo>
                  <a:lnTo>
                    <a:pt x="61" y="527"/>
                  </a:lnTo>
                  <a:lnTo>
                    <a:pt x="59" y="527"/>
                  </a:lnTo>
                  <a:lnTo>
                    <a:pt x="59" y="525"/>
                  </a:lnTo>
                  <a:lnTo>
                    <a:pt x="59" y="527"/>
                  </a:lnTo>
                  <a:lnTo>
                    <a:pt x="61" y="525"/>
                  </a:lnTo>
                  <a:lnTo>
                    <a:pt x="59" y="525"/>
                  </a:lnTo>
                  <a:lnTo>
                    <a:pt x="59" y="522"/>
                  </a:lnTo>
                  <a:lnTo>
                    <a:pt x="59" y="520"/>
                  </a:lnTo>
                  <a:lnTo>
                    <a:pt x="59" y="522"/>
                  </a:lnTo>
                  <a:lnTo>
                    <a:pt x="57" y="522"/>
                  </a:lnTo>
                  <a:lnTo>
                    <a:pt x="57" y="520"/>
                  </a:lnTo>
                  <a:lnTo>
                    <a:pt x="54" y="520"/>
                  </a:lnTo>
                  <a:lnTo>
                    <a:pt x="57" y="520"/>
                  </a:lnTo>
                  <a:lnTo>
                    <a:pt x="57" y="518"/>
                  </a:lnTo>
                  <a:lnTo>
                    <a:pt x="59" y="518"/>
                  </a:lnTo>
                  <a:lnTo>
                    <a:pt x="57" y="518"/>
                  </a:lnTo>
                  <a:lnTo>
                    <a:pt x="59" y="518"/>
                  </a:lnTo>
                  <a:lnTo>
                    <a:pt x="57" y="518"/>
                  </a:lnTo>
                  <a:lnTo>
                    <a:pt x="59" y="518"/>
                  </a:lnTo>
                  <a:lnTo>
                    <a:pt x="57" y="518"/>
                  </a:lnTo>
                  <a:lnTo>
                    <a:pt x="54" y="518"/>
                  </a:lnTo>
                  <a:lnTo>
                    <a:pt x="57" y="518"/>
                  </a:lnTo>
                  <a:lnTo>
                    <a:pt x="54" y="518"/>
                  </a:lnTo>
                  <a:lnTo>
                    <a:pt x="57" y="518"/>
                  </a:lnTo>
                  <a:lnTo>
                    <a:pt x="54" y="518"/>
                  </a:lnTo>
                  <a:lnTo>
                    <a:pt x="52" y="518"/>
                  </a:lnTo>
                  <a:lnTo>
                    <a:pt x="54" y="518"/>
                  </a:lnTo>
                  <a:lnTo>
                    <a:pt x="52" y="518"/>
                  </a:lnTo>
                  <a:lnTo>
                    <a:pt x="54" y="518"/>
                  </a:lnTo>
                  <a:lnTo>
                    <a:pt x="54" y="515"/>
                  </a:lnTo>
                  <a:lnTo>
                    <a:pt x="54" y="518"/>
                  </a:lnTo>
                  <a:lnTo>
                    <a:pt x="54" y="515"/>
                  </a:lnTo>
                  <a:lnTo>
                    <a:pt x="57" y="515"/>
                  </a:lnTo>
                  <a:lnTo>
                    <a:pt x="54" y="515"/>
                  </a:lnTo>
                  <a:lnTo>
                    <a:pt x="57" y="515"/>
                  </a:lnTo>
                  <a:lnTo>
                    <a:pt x="54" y="515"/>
                  </a:lnTo>
                  <a:lnTo>
                    <a:pt x="57" y="515"/>
                  </a:lnTo>
                  <a:lnTo>
                    <a:pt x="54" y="513"/>
                  </a:lnTo>
                  <a:lnTo>
                    <a:pt x="54" y="510"/>
                  </a:lnTo>
                  <a:lnTo>
                    <a:pt x="54" y="513"/>
                  </a:lnTo>
                  <a:lnTo>
                    <a:pt x="57" y="513"/>
                  </a:lnTo>
                  <a:lnTo>
                    <a:pt x="57" y="515"/>
                  </a:lnTo>
                  <a:lnTo>
                    <a:pt x="59" y="515"/>
                  </a:lnTo>
                  <a:lnTo>
                    <a:pt x="57" y="515"/>
                  </a:lnTo>
                  <a:lnTo>
                    <a:pt x="59" y="515"/>
                  </a:lnTo>
                  <a:lnTo>
                    <a:pt x="59" y="518"/>
                  </a:lnTo>
                  <a:lnTo>
                    <a:pt x="61" y="518"/>
                  </a:lnTo>
                  <a:lnTo>
                    <a:pt x="61" y="515"/>
                  </a:lnTo>
                  <a:lnTo>
                    <a:pt x="59" y="515"/>
                  </a:lnTo>
                  <a:lnTo>
                    <a:pt x="59" y="513"/>
                  </a:lnTo>
                  <a:lnTo>
                    <a:pt x="57" y="513"/>
                  </a:lnTo>
                  <a:lnTo>
                    <a:pt x="57" y="510"/>
                  </a:lnTo>
                  <a:lnTo>
                    <a:pt x="59" y="510"/>
                  </a:lnTo>
                  <a:lnTo>
                    <a:pt x="57" y="510"/>
                  </a:lnTo>
                  <a:lnTo>
                    <a:pt x="57" y="508"/>
                  </a:lnTo>
                  <a:lnTo>
                    <a:pt x="57" y="510"/>
                  </a:lnTo>
                  <a:lnTo>
                    <a:pt x="57" y="508"/>
                  </a:lnTo>
                  <a:lnTo>
                    <a:pt x="54" y="508"/>
                  </a:lnTo>
                  <a:lnTo>
                    <a:pt x="57" y="508"/>
                  </a:lnTo>
                  <a:lnTo>
                    <a:pt x="59" y="508"/>
                  </a:lnTo>
                  <a:lnTo>
                    <a:pt x="59" y="510"/>
                  </a:lnTo>
                  <a:lnTo>
                    <a:pt x="59" y="508"/>
                  </a:lnTo>
                  <a:lnTo>
                    <a:pt x="57" y="508"/>
                  </a:lnTo>
                  <a:lnTo>
                    <a:pt x="59" y="508"/>
                  </a:lnTo>
                  <a:lnTo>
                    <a:pt x="57" y="508"/>
                  </a:lnTo>
                  <a:lnTo>
                    <a:pt x="59" y="508"/>
                  </a:lnTo>
                  <a:lnTo>
                    <a:pt x="61" y="508"/>
                  </a:lnTo>
                  <a:lnTo>
                    <a:pt x="61" y="506"/>
                  </a:lnTo>
                  <a:lnTo>
                    <a:pt x="59" y="506"/>
                  </a:lnTo>
                  <a:lnTo>
                    <a:pt x="61" y="506"/>
                  </a:lnTo>
                  <a:lnTo>
                    <a:pt x="59" y="506"/>
                  </a:lnTo>
                  <a:lnTo>
                    <a:pt x="61" y="506"/>
                  </a:lnTo>
                  <a:lnTo>
                    <a:pt x="59" y="506"/>
                  </a:lnTo>
                  <a:lnTo>
                    <a:pt x="61" y="506"/>
                  </a:lnTo>
                  <a:lnTo>
                    <a:pt x="61" y="503"/>
                  </a:lnTo>
                  <a:lnTo>
                    <a:pt x="59" y="503"/>
                  </a:lnTo>
                  <a:lnTo>
                    <a:pt x="61" y="503"/>
                  </a:lnTo>
                  <a:lnTo>
                    <a:pt x="59" y="501"/>
                  </a:lnTo>
                  <a:lnTo>
                    <a:pt x="61" y="501"/>
                  </a:lnTo>
                  <a:lnTo>
                    <a:pt x="59" y="501"/>
                  </a:lnTo>
                  <a:lnTo>
                    <a:pt x="61" y="501"/>
                  </a:lnTo>
                  <a:lnTo>
                    <a:pt x="64" y="501"/>
                  </a:lnTo>
                  <a:lnTo>
                    <a:pt x="61" y="501"/>
                  </a:lnTo>
                  <a:lnTo>
                    <a:pt x="64" y="501"/>
                  </a:lnTo>
                  <a:lnTo>
                    <a:pt x="61" y="501"/>
                  </a:lnTo>
                  <a:lnTo>
                    <a:pt x="61" y="499"/>
                  </a:lnTo>
                  <a:lnTo>
                    <a:pt x="59" y="499"/>
                  </a:lnTo>
                  <a:lnTo>
                    <a:pt x="61" y="499"/>
                  </a:lnTo>
                  <a:lnTo>
                    <a:pt x="64" y="499"/>
                  </a:lnTo>
                  <a:lnTo>
                    <a:pt x="64" y="501"/>
                  </a:lnTo>
                  <a:lnTo>
                    <a:pt x="64" y="499"/>
                  </a:lnTo>
                  <a:lnTo>
                    <a:pt x="64" y="501"/>
                  </a:lnTo>
                  <a:lnTo>
                    <a:pt x="66" y="501"/>
                  </a:lnTo>
                  <a:lnTo>
                    <a:pt x="64" y="501"/>
                  </a:lnTo>
                  <a:lnTo>
                    <a:pt x="66" y="501"/>
                  </a:lnTo>
                  <a:lnTo>
                    <a:pt x="66" y="499"/>
                  </a:lnTo>
                  <a:lnTo>
                    <a:pt x="64" y="499"/>
                  </a:lnTo>
                  <a:lnTo>
                    <a:pt x="61" y="499"/>
                  </a:lnTo>
                  <a:lnTo>
                    <a:pt x="61" y="496"/>
                  </a:lnTo>
                  <a:lnTo>
                    <a:pt x="64" y="496"/>
                  </a:lnTo>
                  <a:lnTo>
                    <a:pt x="61" y="496"/>
                  </a:lnTo>
                  <a:lnTo>
                    <a:pt x="64" y="496"/>
                  </a:lnTo>
                  <a:lnTo>
                    <a:pt x="61" y="496"/>
                  </a:lnTo>
                  <a:lnTo>
                    <a:pt x="64" y="496"/>
                  </a:lnTo>
                  <a:lnTo>
                    <a:pt x="61" y="496"/>
                  </a:lnTo>
                  <a:lnTo>
                    <a:pt x="64" y="496"/>
                  </a:lnTo>
                  <a:lnTo>
                    <a:pt x="61" y="496"/>
                  </a:lnTo>
                  <a:lnTo>
                    <a:pt x="64" y="496"/>
                  </a:lnTo>
                  <a:lnTo>
                    <a:pt x="64" y="494"/>
                  </a:lnTo>
                  <a:lnTo>
                    <a:pt x="64" y="491"/>
                  </a:lnTo>
                  <a:lnTo>
                    <a:pt x="61" y="491"/>
                  </a:lnTo>
                  <a:lnTo>
                    <a:pt x="64" y="491"/>
                  </a:lnTo>
                  <a:lnTo>
                    <a:pt x="61" y="491"/>
                  </a:lnTo>
                  <a:lnTo>
                    <a:pt x="64" y="491"/>
                  </a:lnTo>
                  <a:lnTo>
                    <a:pt x="64" y="489"/>
                  </a:lnTo>
                  <a:lnTo>
                    <a:pt x="61" y="489"/>
                  </a:lnTo>
                  <a:lnTo>
                    <a:pt x="64" y="489"/>
                  </a:lnTo>
                  <a:lnTo>
                    <a:pt x="66" y="489"/>
                  </a:lnTo>
                  <a:lnTo>
                    <a:pt x="64" y="489"/>
                  </a:lnTo>
                  <a:lnTo>
                    <a:pt x="66" y="489"/>
                  </a:lnTo>
                  <a:lnTo>
                    <a:pt x="64" y="487"/>
                  </a:lnTo>
                  <a:lnTo>
                    <a:pt x="61" y="487"/>
                  </a:lnTo>
                  <a:lnTo>
                    <a:pt x="64" y="487"/>
                  </a:lnTo>
                  <a:lnTo>
                    <a:pt x="61" y="487"/>
                  </a:lnTo>
                  <a:lnTo>
                    <a:pt x="61" y="484"/>
                  </a:lnTo>
                  <a:lnTo>
                    <a:pt x="64" y="484"/>
                  </a:lnTo>
                  <a:lnTo>
                    <a:pt x="66" y="484"/>
                  </a:lnTo>
                  <a:lnTo>
                    <a:pt x="64" y="484"/>
                  </a:lnTo>
                  <a:lnTo>
                    <a:pt x="66" y="484"/>
                  </a:lnTo>
                  <a:lnTo>
                    <a:pt x="64" y="484"/>
                  </a:lnTo>
                  <a:lnTo>
                    <a:pt x="64" y="482"/>
                  </a:lnTo>
                  <a:lnTo>
                    <a:pt x="61" y="482"/>
                  </a:lnTo>
                  <a:lnTo>
                    <a:pt x="61" y="480"/>
                  </a:lnTo>
                  <a:lnTo>
                    <a:pt x="64" y="480"/>
                  </a:lnTo>
                  <a:lnTo>
                    <a:pt x="64" y="482"/>
                  </a:lnTo>
                  <a:lnTo>
                    <a:pt x="66" y="482"/>
                  </a:lnTo>
                  <a:lnTo>
                    <a:pt x="68" y="482"/>
                  </a:lnTo>
                  <a:lnTo>
                    <a:pt x="66" y="482"/>
                  </a:lnTo>
                  <a:lnTo>
                    <a:pt x="68" y="482"/>
                  </a:lnTo>
                  <a:lnTo>
                    <a:pt x="66" y="482"/>
                  </a:lnTo>
                  <a:lnTo>
                    <a:pt x="68" y="482"/>
                  </a:lnTo>
                  <a:lnTo>
                    <a:pt x="68" y="484"/>
                  </a:lnTo>
                  <a:lnTo>
                    <a:pt x="68" y="482"/>
                  </a:lnTo>
                  <a:lnTo>
                    <a:pt x="68" y="484"/>
                  </a:lnTo>
                  <a:lnTo>
                    <a:pt x="71" y="484"/>
                  </a:lnTo>
                  <a:lnTo>
                    <a:pt x="71" y="487"/>
                  </a:lnTo>
                  <a:lnTo>
                    <a:pt x="73" y="487"/>
                  </a:lnTo>
                  <a:lnTo>
                    <a:pt x="76" y="487"/>
                  </a:lnTo>
                  <a:lnTo>
                    <a:pt x="73" y="487"/>
                  </a:lnTo>
                  <a:lnTo>
                    <a:pt x="73" y="489"/>
                  </a:lnTo>
                  <a:lnTo>
                    <a:pt x="76" y="489"/>
                  </a:lnTo>
                  <a:lnTo>
                    <a:pt x="78" y="491"/>
                  </a:lnTo>
                  <a:lnTo>
                    <a:pt x="80" y="491"/>
                  </a:lnTo>
                  <a:lnTo>
                    <a:pt x="80" y="494"/>
                  </a:lnTo>
                  <a:lnTo>
                    <a:pt x="83" y="494"/>
                  </a:lnTo>
                  <a:lnTo>
                    <a:pt x="80" y="494"/>
                  </a:lnTo>
                  <a:lnTo>
                    <a:pt x="80" y="491"/>
                  </a:lnTo>
                  <a:lnTo>
                    <a:pt x="78" y="491"/>
                  </a:lnTo>
                  <a:lnTo>
                    <a:pt x="76" y="489"/>
                  </a:lnTo>
                  <a:lnTo>
                    <a:pt x="73" y="489"/>
                  </a:lnTo>
                  <a:lnTo>
                    <a:pt x="73" y="487"/>
                  </a:lnTo>
                  <a:lnTo>
                    <a:pt x="76" y="487"/>
                  </a:lnTo>
                  <a:lnTo>
                    <a:pt x="73" y="487"/>
                  </a:lnTo>
                  <a:lnTo>
                    <a:pt x="73" y="484"/>
                  </a:lnTo>
                  <a:lnTo>
                    <a:pt x="73" y="487"/>
                  </a:lnTo>
                  <a:lnTo>
                    <a:pt x="71" y="487"/>
                  </a:lnTo>
                  <a:lnTo>
                    <a:pt x="71" y="484"/>
                  </a:lnTo>
                  <a:lnTo>
                    <a:pt x="68" y="482"/>
                  </a:lnTo>
                  <a:lnTo>
                    <a:pt x="66" y="482"/>
                  </a:lnTo>
                  <a:lnTo>
                    <a:pt x="68" y="482"/>
                  </a:lnTo>
                  <a:lnTo>
                    <a:pt x="66" y="480"/>
                  </a:lnTo>
                  <a:lnTo>
                    <a:pt x="66" y="477"/>
                  </a:lnTo>
                  <a:lnTo>
                    <a:pt x="64" y="477"/>
                  </a:lnTo>
                  <a:lnTo>
                    <a:pt x="64" y="475"/>
                  </a:lnTo>
                  <a:lnTo>
                    <a:pt x="64" y="472"/>
                  </a:lnTo>
                  <a:lnTo>
                    <a:pt x="61" y="472"/>
                  </a:lnTo>
                  <a:lnTo>
                    <a:pt x="64" y="472"/>
                  </a:lnTo>
                  <a:lnTo>
                    <a:pt x="64" y="475"/>
                  </a:lnTo>
                  <a:lnTo>
                    <a:pt x="64" y="472"/>
                  </a:lnTo>
                  <a:lnTo>
                    <a:pt x="66" y="472"/>
                  </a:lnTo>
                  <a:lnTo>
                    <a:pt x="66" y="475"/>
                  </a:lnTo>
                  <a:lnTo>
                    <a:pt x="66" y="472"/>
                  </a:lnTo>
                  <a:lnTo>
                    <a:pt x="64" y="472"/>
                  </a:lnTo>
                  <a:lnTo>
                    <a:pt x="64" y="470"/>
                  </a:lnTo>
                  <a:lnTo>
                    <a:pt x="61" y="470"/>
                  </a:lnTo>
                  <a:lnTo>
                    <a:pt x="64" y="472"/>
                  </a:lnTo>
                  <a:lnTo>
                    <a:pt x="64" y="470"/>
                  </a:lnTo>
                  <a:lnTo>
                    <a:pt x="64" y="472"/>
                  </a:lnTo>
                  <a:lnTo>
                    <a:pt x="61" y="472"/>
                  </a:lnTo>
                  <a:lnTo>
                    <a:pt x="64" y="470"/>
                  </a:lnTo>
                  <a:lnTo>
                    <a:pt x="61" y="470"/>
                  </a:lnTo>
                  <a:lnTo>
                    <a:pt x="59" y="468"/>
                  </a:lnTo>
                  <a:lnTo>
                    <a:pt x="59" y="470"/>
                  </a:lnTo>
                  <a:lnTo>
                    <a:pt x="59" y="468"/>
                  </a:lnTo>
                  <a:lnTo>
                    <a:pt x="61" y="468"/>
                  </a:lnTo>
                  <a:lnTo>
                    <a:pt x="61" y="470"/>
                  </a:lnTo>
                  <a:lnTo>
                    <a:pt x="64" y="470"/>
                  </a:lnTo>
                  <a:lnTo>
                    <a:pt x="61" y="468"/>
                  </a:lnTo>
                  <a:lnTo>
                    <a:pt x="64" y="468"/>
                  </a:lnTo>
                  <a:lnTo>
                    <a:pt x="61" y="468"/>
                  </a:lnTo>
                  <a:lnTo>
                    <a:pt x="64" y="468"/>
                  </a:lnTo>
                  <a:lnTo>
                    <a:pt x="61" y="468"/>
                  </a:lnTo>
                  <a:lnTo>
                    <a:pt x="64" y="468"/>
                  </a:lnTo>
                  <a:lnTo>
                    <a:pt x="61" y="468"/>
                  </a:lnTo>
                  <a:lnTo>
                    <a:pt x="61" y="465"/>
                  </a:lnTo>
                  <a:lnTo>
                    <a:pt x="61" y="468"/>
                  </a:lnTo>
                  <a:lnTo>
                    <a:pt x="61" y="465"/>
                  </a:lnTo>
                  <a:lnTo>
                    <a:pt x="61" y="463"/>
                  </a:lnTo>
                  <a:lnTo>
                    <a:pt x="61" y="465"/>
                  </a:lnTo>
                  <a:lnTo>
                    <a:pt x="61" y="463"/>
                  </a:lnTo>
                  <a:lnTo>
                    <a:pt x="59" y="463"/>
                  </a:lnTo>
                  <a:lnTo>
                    <a:pt x="59" y="461"/>
                  </a:lnTo>
                  <a:lnTo>
                    <a:pt x="57" y="461"/>
                  </a:lnTo>
                  <a:lnTo>
                    <a:pt x="59" y="461"/>
                  </a:lnTo>
                  <a:lnTo>
                    <a:pt x="57" y="461"/>
                  </a:lnTo>
                  <a:lnTo>
                    <a:pt x="59" y="461"/>
                  </a:lnTo>
                  <a:lnTo>
                    <a:pt x="57" y="461"/>
                  </a:lnTo>
                  <a:lnTo>
                    <a:pt x="57" y="463"/>
                  </a:lnTo>
                  <a:lnTo>
                    <a:pt x="59" y="463"/>
                  </a:lnTo>
                  <a:lnTo>
                    <a:pt x="57" y="463"/>
                  </a:lnTo>
                  <a:lnTo>
                    <a:pt x="57" y="461"/>
                  </a:lnTo>
                  <a:lnTo>
                    <a:pt x="57" y="458"/>
                  </a:lnTo>
                  <a:lnTo>
                    <a:pt x="54" y="458"/>
                  </a:lnTo>
                  <a:lnTo>
                    <a:pt x="54" y="456"/>
                  </a:lnTo>
                  <a:lnTo>
                    <a:pt x="57" y="456"/>
                  </a:lnTo>
                  <a:lnTo>
                    <a:pt x="57" y="453"/>
                  </a:lnTo>
                  <a:lnTo>
                    <a:pt x="57" y="451"/>
                  </a:lnTo>
                  <a:lnTo>
                    <a:pt x="57" y="449"/>
                  </a:lnTo>
                  <a:lnTo>
                    <a:pt x="57" y="451"/>
                  </a:lnTo>
                  <a:lnTo>
                    <a:pt x="57" y="449"/>
                  </a:lnTo>
                  <a:lnTo>
                    <a:pt x="57" y="451"/>
                  </a:lnTo>
                  <a:lnTo>
                    <a:pt x="57" y="449"/>
                  </a:lnTo>
                  <a:lnTo>
                    <a:pt x="57" y="451"/>
                  </a:lnTo>
                  <a:lnTo>
                    <a:pt x="57" y="449"/>
                  </a:lnTo>
                  <a:lnTo>
                    <a:pt x="59" y="449"/>
                  </a:lnTo>
                  <a:lnTo>
                    <a:pt x="59" y="446"/>
                  </a:lnTo>
                  <a:lnTo>
                    <a:pt x="59" y="444"/>
                  </a:lnTo>
                  <a:lnTo>
                    <a:pt x="59" y="442"/>
                  </a:lnTo>
                  <a:lnTo>
                    <a:pt x="59" y="444"/>
                  </a:lnTo>
                  <a:lnTo>
                    <a:pt x="57" y="444"/>
                  </a:lnTo>
                  <a:lnTo>
                    <a:pt x="57" y="442"/>
                  </a:lnTo>
                  <a:lnTo>
                    <a:pt x="54" y="442"/>
                  </a:lnTo>
                  <a:lnTo>
                    <a:pt x="57" y="442"/>
                  </a:lnTo>
                  <a:lnTo>
                    <a:pt x="57" y="439"/>
                  </a:lnTo>
                  <a:lnTo>
                    <a:pt x="57" y="442"/>
                  </a:lnTo>
                  <a:lnTo>
                    <a:pt x="57" y="439"/>
                  </a:lnTo>
                  <a:lnTo>
                    <a:pt x="57" y="442"/>
                  </a:lnTo>
                  <a:lnTo>
                    <a:pt x="57" y="439"/>
                  </a:lnTo>
                  <a:lnTo>
                    <a:pt x="57" y="437"/>
                  </a:lnTo>
                  <a:lnTo>
                    <a:pt x="57" y="439"/>
                  </a:lnTo>
                  <a:lnTo>
                    <a:pt x="57" y="437"/>
                  </a:lnTo>
                  <a:lnTo>
                    <a:pt x="57" y="439"/>
                  </a:lnTo>
                  <a:lnTo>
                    <a:pt x="57" y="437"/>
                  </a:lnTo>
                  <a:lnTo>
                    <a:pt x="54" y="437"/>
                  </a:lnTo>
                  <a:lnTo>
                    <a:pt x="57" y="437"/>
                  </a:lnTo>
                  <a:lnTo>
                    <a:pt x="54" y="437"/>
                  </a:lnTo>
                  <a:lnTo>
                    <a:pt x="54" y="439"/>
                  </a:lnTo>
                  <a:lnTo>
                    <a:pt x="52" y="439"/>
                  </a:lnTo>
                  <a:lnTo>
                    <a:pt x="52" y="437"/>
                  </a:lnTo>
                  <a:lnTo>
                    <a:pt x="54" y="437"/>
                  </a:lnTo>
                  <a:lnTo>
                    <a:pt x="52" y="437"/>
                  </a:lnTo>
                  <a:lnTo>
                    <a:pt x="54" y="437"/>
                  </a:lnTo>
                  <a:lnTo>
                    <a:pt x="52" y="437"/>
                  </a:lnTo>
                  <a:lnTo>
                    <a:pt x="54" y="434"/>
                  </a:lnTo>
                  <a:lnTo>
                    <a:pt x="52" y="434"/>
                  </a:lnTo>
                  <a:lnTo>
                    <a:pt x="52" y="432"/>
                  </a:lnTo>
                  <a:lnTo>
                    <a:pt x="49" y="432"/>
                  </a:lnTo>
                  <a:lnTo>
                    <a:pt x="49" y="430"/>
                  </a:lnTo>
                  <a:lnTo>
                    <a:pt x="52" y="430"/>
                  </a:lnTo>
                  <a:lnTo>
                    <a:pt x="49" y="430"/>
                  </a:lnTo>
                  <a:lnTo>
                    <a:pt x="49" y="427"/>
                  </a:lnTo>
                  <a:lnTo>
                    <a:pt x="49" y="430"/>
                  </a:lnTo>
                  <a:lnTo>
                    <a:pt x="52" y="430"/>
                  </a:lnTo>
                  <a:lnTo>
                    <a:pt x="52" y="427"/>
                  </a:lnTo>
                  <a:lnTo>
                    <a:pt x="52" y="430"/>
                  </a:lnTo>
                  <a:lnTo>
                    <a:pt x="52" y="427"/>
                  </a:lnTo>
                  <a:lnTo>
                    <a:pt x="52" y="430"/>
                  </a:lnTo>
                  <a:lnTo>
                    <a:pt x="52" y="427"/>
                  </a:lnTo>
                  <a:lnTo>
                    <a:pt x="49" y="427"/>
                  </a:lnTo>
                  <a:lnTo>
                    <a:pt x="52" y="427"/>
                  </a:lnTo>
                  <a:lnTo>
                    <a:pt x="49" y="427"/>
                  </a:lnTo>
                  <a:lnTo>
                    <a:pt x="52" y="427"/>
                  </a:lnTo>
                  <a:lnTo>
                    <a:pt x="52" y="425"/>
                  </a:lnTo>
                  <a:lnTo>
                    <a:pt x="54" y="425"/>
                  </a:lnTo>
                  <a:lnTo>
                    <a:pt x="52" y="425"/>
                  </a:lnTo>
                  <a:lnTo>
                    <a:pt x="49" y="425"/>
                  </a:lnTo>
                  <a:lnTo>
                    <a:pt x="49" y="423"/>
                  </a:lnTo>
                  <a:lnTo>
                    <a:pt x="49" y="425"/>
                  </a:lnTo>
                  <a:lnTo>
                    <a:pt x="47" y="425"/>
                  </a:lnTo>
                  <a:lnTo>
                    <a:pt x="49" y="425"/>
                  </a:lnTo>
                  <a:lnTo>
                    <a:pt x="47" y="425"/>
                  </a:lnTo>
                  <a:lnTo>
                    <a:pt x="49" y="423"/>
                  </a:lnTo>
                  <a:lnTo>
                    <a:pt x="49" y="420"/>
                  </a:lnTo>
                  <a:lnTo>
                    <a:pt x="49" y="423"/>
                  </a:lnTo>
                  <a:lnTo>
                    <a:pt x="49" y="420"/>
                  </a:lnTo>
                  <a:lnTo>
                    <a:pt x="47" y="420"/>
                  </a:lnTo>
                  <a:lnTo>
                    <a:pt x="49" y="420"/>
                  </a:lnTo>
                  <a:lnTo>
                    <a:pt x="49" y="418"/>
                  </a:lnTo>
                  <a:lnTo>
                    <a:pt x="52" y="418"/>
                  </a:lnTo>
                  <a:lnTo>
                    <a:pt x="49" y="418"/>
                  </a:lnTo>
                  <a:lnTo>
                    <a:pt x="49" y="415"/>
                  </a:lnTo>
                  <a:lnTo>
                    <a:pt x="49" y="413"/>
                  </a:lnTo>
                  <a:lnTo>
                    <a:pt x="52" y="413"/>
                  </a:lnTo>
                  <a:lnTo>
                    <a:pt x="52" y="415"/>
                  </a:lnTo>
                  <a:lnTo>
                    <a:pt x="52" y="413"/>
                  </a:lnTo>
                  <a:lnTo>
                    <a:pt x="54" y="413"/>
                  </a:lnTo>
                  <a:lnTo>
                    <a:pt x="54" y="411"/>
                  </a:lnTo>
                  <a:lnTo>
                    <a:pt x="54" y="408"/>
                  </a:lnTo>
                  <a:lnTo>
                    <a:pt x="54" y="411"/>
                  </a:lnTo>
                  <a:lnTo>
                    <a:pt x="54" y="408"/>
                  </a:lnTo>
                  <a:lnTo>
                    <a:pt x="54" y="411"/>
                  </a:lnTo>
                  <a:lnTo>
                    <a:pt x="57" y="411"/>
                  </a:lnTo>
                  <a:lnTo>
                    <a:pt x="59" y="411"/>
                  </a:lnTo>
                  <a:lnTo>
                    <a:pt x="57" y="411"/>
                  </a:lnTo>
                  <a:lnTo>
                    <a:pt x="59" y="411"/>
                  </a:lnTo>
                  <a:lnTo>
                    <a:pt x="57" y="411"/>
                  </a:lnTo>
                  <a:lnTo>
                    <a:pt x="57" y="408"/>
                  </a:lnTo>
                  <a:lnTo>
                    <a:pt x="59" y="408"/>
                  </a:lnTo>
                  <a:lnTo>
                    <a:pt x="57" y="408"/>
                  </a:lnTo>
                  <a:lnTo>
                    <a:pt x="59" y="408"/>
                  </a:lnTo>
                  <a:lnTo>
                    <a:pt x="59" y="411"/>
                  </a:lnTo>
                  <a:lnTo>
                    <a:pt x="59" y="408"/>
                  </a:lnTo>
                  <a:lnTo>
                    <a:pt x="59" y="406"/>
                  </a:lnTo>
                  <a:lnTo>
                    <a:pt x="61" y="406"/>
                  </a:lnTo>
                  <a:lnTo>
                    <a:pt x="61" y="404"/>
                  </a:lnTo>
                  <a:lnTo>
                    <a:pt x="59" y="404"/>
                  </a:lnTo>
                  <a:lnTo>
                    <a:pt x="61" y="404"/>
                  </a:lnTo>
                  <a:lnTo>
                    <a:pt x="59" y="404"/>
                  </a:lnTo>
                  <a:lnTo>
                    <a:pt x="59" y="401"/>
                  </a:lnTo>
                  <a:lnTo>
                    <a:pt x="57" y="401"/>
                  </a:lnTo>
                  <a:lnTo>
                    <a:pt x="59" y="401"/>
                  </a:lnTo>
                  <a:lnTo>
                    <a:pt x="59" y="399"/>
                  </a:lnTo>
                  <a:lnTo>
                    <a:pt x="61" y="399"/>
                  </a:lnTo>
                  <a:lnTo>
                    <a:pt x="61" y="401"/>
                  </a:lnTo>
                  <a:lnTo>
                    <a:pt x="59" y="401"/>
                  </a:lnTo>
                  <a:lnTo>
                    <a:pt x="61" y="401"/>
                  </a:lnTo>
                  <a:lnTo>
                    <a:pt x="59" y="401"/>
                  </a:lnTo>
                  <a:lnTo>
                    <a:pt x="61" y="401"/>
                  </a:lnTo>
                  <a:lnTo>
                    <a:pt x="59" y="401"/>
                  </a:lnTo>
                  <a:lnTo>
                    <a:pt x="61" y="401"/>
                  </a:lnTo>
                  <a:lnTo>
                    <a:pt x="59" y="401"/>
                  </a:lnTo>
                  <a:lnTo>
                    <a:pt x="61" y="401"/>
                  </a:lnTo>
                  <a:lnTo>
                    <a:pt x="61" y="404"/>
                  </a:lnTo>
                  <a:lnTo>
                    <a:pt x="61" y="401"/>
                  </a:lnTo>
                  <a:lnTo>
                    <a:pt x="61" y="399"/>
                  </a:lnTo>
                  <a:lnTo>
                    <a:pt x="61" y="401"/>
                  </a:lnTo>
                  <a:lnTo>
                    <a:pt x="61" y="399"/>
                  </a:lnTo>
                  <a:lnTo>
                    <a:pt x="61" y="401"/>
                  </a:lnTo>
                  <a:lnTo>
                    <a:pt x="61" y="399"/>
                  </a:lnTo>
                  <a:lnTo>
                    <a:pt x="61" y="401"/>
                  </a:lnTo>
                  <a:lnTo>
                    <a:pt x="64" y="401"/>
                  </a:lnTo>
                  <a:lnTo>
                    <a:pt x="64" y="399"/>
                  </a:lnTo>
                  <a:lnTo>
                    <a:pt x="64" y="401"/>
                  </a:lnTo>
                  <a:lnTo>
                    <a:pt x="66" y="401"/>
                  </a:lnTo>
                  <a:lnTo>
                    <a:pt x="68" y="401"/>
                  </a:lnTo>
                  <a:lnTo>
                    <a:pt x="68" y="399"/>
                  </a:lnTo>
                  <a:lnTo>
                    <a:pt x="68" y="401"/>
                  </a:lnTo>
                  <a:lnTo>
                    <a:pt x="66" y="401"/>
                  </a:lnTo>
                  <a:lnTo>
                    <a:pt x="68" y="401"/>
                  </a:lnTo>
                  <a:lnTo>
                    <a:pt x="66" y="401"/>
                  </a:lnTo>
                  <a:lnTo>
                    <a:pt x="66" y="399"/>
                  </a:lnTo>
                  <a:lnTo>
                    <a:pt x="64" y="399"/>
                  </a:lnTo>
                  <a:lnTo>
                    <a:pt x="64" y="396"/>
                  </a:lnTo>
                  <a:lnTo>
                    <a:pt x="66" y="396"/>
                  </a:lnTo>
                  <a:lnTo>
                    <a:pt x="64" y="396"/>
                  </a:lnTo>
                  <a:lnTo>
                    <a:pt x="64" y="394"/>
                  </a:lnTo>
                  <a:lnTo>
                    <a:pt x="61" y="394"/>
                  </a:lnTo>
                  <a:lnTo>
                    <a:pt x="64" y="394"/>
                  </a:lnTo>
                  <a:lnTo>
                    <a:pt x="61" y="394"/>
                  </a:lnTo>
                  <a:lnTo>
                    <a:pt x="64" y="394"/>
                  </a:lnTo>
                  <a:lnTo>
                    <a:pt x="64" y="392"/>
                  </a:lnTo>
                  <a:lnTo>
                    <a:pt x="64" y="389"/>
                  </a:lnTo>
                  <a:lnTo>
                    <a:pt x="64" y="392"/>
                  </a:lnTo>
                  <a:lnTo>
                    <a:pt x="64" y="389"/>
                  </a:lnTo>
                  <a:lnTo>
                    <a:pt x="64" y="387"/>
                  </a:lnTo>
                  <a:lnTo>
                    <a:pt x="66" y="387"/>
                  </a:lnTo>
                  <a:lnTo>
                    <a:pt x="64" y="387"/>
                  </a:lnTo>
                  <a:lnTo>
                    <a:pt x="64" y="389"/>
                  </a:lnTo>
                  <a:lnTo>
                    <a:pt x="64" y="387"/>
                  </a:lnTo>
                  <a:lnTo>
                    <a:pt x="64" y="389"/>
                  </a:lnTo>
                  <a:lnTo>
                    <a:pt x="66" y="389"/>
                  </a:lnTo>
                  <a:lnTo>
                    <a:pt x="64" y="389"/>
                  </a:lnTo>
                  <a:lnTo>
                    <a:pt x="66" y="389"/>
                  </a:lnTo>
                  <a:lnTo>
                    <a:pt x="64" y="389"/>
                  </a:lnTo>
                  <a:lnTo>
                    <a:pt x="66" y="389"/>
                  </a:lnTo>
                  <a:lnTo>
                    <a:pt x="66" y="392"/>
                  </a:lnTo>
                  <a:lnTo>
                    <a:pt x="68" y="392"/>
                  </a:lnTo>
                  <a:lnTo>
                    <a:pt x="71" y="392"/>
                  </a:lnTo>
                  <a:lnTo>
                    <a:pt x="71" y="389"/>
                  </a:lnTo>
                  <a:lnTo>
                    <a:pt x="73" y="389"/>
                  </a:lnTo>
                  <a:lnTo>
                    <a:pt x="71" y="389"/>
                  </a:lnTo>
                  <a:lnTo>
                    <a:pt x="73" y="389"/>
                  </a:lnTo>
                  <a:lnTo>
                    <a:pt x="76" y="389"/>
                  </a:lnTo>
                  <a:lnTo>
                    <a:pt x="76" y="392"/>
                  </a:lnTo>
                  <a:lnTo>
                    <a:pt x="76" y="389"/>
                  </a:lnTo>
                  <a:lnTo>
                    <a:pt x="78" y="389"/>
                  </a:lnTo>
                  <a:lnTo>
                    <a:pt x="76" y="389"/>
                  </a:lnTo>
                  <a:lnTo>
                    <a:pt x="78" y="389"/>
                  </a:lnTo>
                  <a:lnTo>
                    <a:pt x="80" y="389"/>
                  </a:lnTo>
                  <a:lnTo>
                    <a:pt x="78" y="389"/>
                  </a:lnTo>
                  <a:lnTo>
                    <a:pt x="78" y="392"/>
                  </a:lnTo>
                  <a:lnTo>
                    <a:pt x="78" y="389"/>
                  </a:lnTo>
                  <a:lnTo>
                    <a:pt x="78" y="392"/>
                  </a:lnTo>
                  <a:lnTo>
                    <a:pt x="80" y="392"/>
                  </a:lnTo>
                  <a:lnTo>
                    <a:pt x="78" y="392"/>
                  </a:lnTo>
                  <a:lnTo>
                    <a:pt x="78" y="394"/>
                  </a:lnTo>
                  <a:lnTo>
                    <a:pt x="76" y="394"/>
                  </a:lnTo>
                  <a:lnTo>
                    <a:pt x="73" y="394"/>
                  </a:lnTo>
                  <a:lnTo>
                    <a:pt x="76" y="394"/>
                  </a:lnTo>
                  <a:lnTo>
                    <a:pt x="78" y="394"/>
                  </a:lnTo>
                  <a:lnTo>
                    <a:pt x="78" y="392"/>
                  </a:lnTo>
                  <a:lnTo>
                    <a:pt x="80" y="392"/>
                  </a:lnTo>
                  <a:lnTo>
                    <a:pt x="80" y="389"/>
                  </a:lnTo>
                  <a:lnTo>
                    <a:pt x="80" y="392"/>
                  </a:lnTo>
                  <a:lnTo>
                    <a:pt x="80" y="389"/>
                  </a:lnTo>
                  <a:lnTo>
                    <a:pt x="80" y="392"/>
                  </a:lnTo>
                  <a:lnTo>
                    <a:pt x="80" y="389"/>
                  </a:lnTo>
                  <a:lnTo>
                    <a:pt x="83" y="389"/>
                  </a:lnTo>
                  <a:lnTo>
                    <a:pt x="80" y="389"/>
                  </a:lnTo>
                  <a:lnTo>
                    <a:pt x="83" y="389"/>
                  </a:lnTo>
                  <a:lnTo>
                    <a:pt x="83" y="392"/>
                  </a:lnTo>
                  <a:lnTo>
                    <a:pt x="80" y="392"/>
                  </a:lnTo>
                  <a:lnTo>
                    <a:pt x="83" y="392"/>
                  </a:lnTo>
                  <a:lnTo>
                    <a:pt x="80" y="392"/>
                  </a:lnTo>
                  <a:lnTo>
                    <a:pt x="83" y="392"/>
                  </a:lnTo>
                  <a:lnTo>
                    <a:pt x="83" y="389"/>
                  </a:lnTo>
                  <a:lnTo>
                    <a:pt x="85" y="389"/>
                  </a:lnTo>
                  <a:lnTo>
                    <a:pt x="85" y="392"/>
                  </a:lnTo>
                  <a:lnTo>
                    <a:pt x="85" y="389"/>
                  </a:lnTo>
                  <a:lnTo>
                    <a:pt x="87" y="389"/>
                  </a:lnTo>
                  <a:lnTo>
                    <a:pt x="87" y="387"/>
                  </a:lnTo>
                  <a:lnTo>
                    <a:pt x="90" y="387"/>
                  </a:lnTo>
                  <a:lnTo>
                    <a:pt x="90" y="385"/>
                  </a:lnTo>
                  <a:lnTo>
                    <a:pt x="90" y="387"/>
                  </a:lnTo>
                  <a:lnTo>
                    <a:pt x="90" y="385"/>
                  </a:lnTo>
                  <a:lnTo>
                    <a:pt x="92" y="385"/>
                  </a:lnTo>
                  <a:lnTo>
                    <a:pt x="90" y="385"/>
                  </a:lnTo>
                  <a:lnTo>
                    <a:pt x="90" y="382"/>
                  </a:lnTo>
                  <a:lnTo>
                    <a:pt x="87" y="382"/>
                  </a:lnTo>
                  <a:lnTo>
                    <a:pt x="87" y="380"/>
                  </a:lnTo>
                  <a:lnTo>
                    <a:pt x="87" y="382"/>
                  </a:lnTo>
                  <a:lnTo>
                    <a:pt x="87" y="380"/>
                  </a:lnTo>
                  <a:lnTo>
                    <a:pt x="85" y="380"/>
                  </a:lnTo>
                  <a:lnTo>
                    <a:pt x="85" y="377"/>
                  </a:lnTo>
                  <a:lnTo>
                    <a:pt x="87" y="377"/>
                  </a:lnTo>
                  <a:lnTo>
                    <a:pt x="90" y="377"/>
                  </a:lnTo>
                  <a:lnTo>
                    <a:pt x="90" y="380"/>
                  </a:lnTo>
                  <a:lnTo>
                    <a:pt x="90" y="377"/>
                  </a:lnTo>
                  <a:lnTo>
                    <a:pt x="90" y="380"/>
                  </a:lnTo>
                  <a:lnTo>
                    <a:pt x="92" y="380"/>
                  </a:lnTo>
                  <a:lnTo>
                    <a:pt x="90" y="377"/>
                  </a:lnTo>
                  <a:lnTo>
                    <a:pt x="87" y="375"/>
                  </a:lnTo>
                  <a:lnTo>
                    <a:pt x="90" y="375"/>
                  </a:lnTo>
                  <a:lnTo>
                    <a:pt x="90" y="373"/>
                  </a:lnTo>
                  <a:lnTo>
                    <a:pt x="90" y="370"/>
                  </a:lnTo>
                  <a:lnTo>
                    <a:pt x="90" y="373"/>
                  </a:lnTo>
                  <a:lnTo>
                    <a:pt x="92" y="373"/>
                  </a:lnTo>
                  <a:lnTo>
                    <a:pt x="90" y="373"/>
                  </a:lnTo>
                  <a:lnTo>
                    <a:pt x="90" y="375"/>
                  </a:lnTo>
                  <a:lnTo>
                    <a:pt x="92" y="375"/>
                  </a:lnTo>
                  <a:lnTo>
                    <a:pt x="90" y="375"/>
                  </a:lnTo>
                  <a:lnTo>
                    <a:pt x="92" y="375"/>
                  </a:lnTo>
                  <a:lnTo>
                    <a:pt x="92" y="377"/>
                  </a:lnTo>
                  <a:lnTo>
                    <a:pt x="94" y="377"/>
                  </a:lnTo>
                  <a:lnTo>
                    <a:pt x="92" y="377"/>
                  </a:lnTo>
                  <a:lnTo>
                    <a:pt x="94" y="377"/>
                  </a:lnTo>
                  <a:lnTo>
                    <a:pt x="92" y="375"/>
                  </a:lnTo>
                  <a:lnTo>
                    <a:pt x="94" y="375"/>
                  </a:lnTo>
                  <a:lnTo>
                    <a:pt x="94" y="373"/>
                  </a:lnTo>
                  <a:lnTo>
                    <a:pt x="97" y="373"/>
                  </a:lnTo>
                  <a:lnTo>
                    <a:pt x="97" y="375"/>
                  </a:lnTo>
                  <a:lnTo>
                    <a:pt x="97" y="373"/>
                  </a:lnTo>
                  <a:lnTo>
                    <a:pt x="94" y="373"/>
                  </a:lnTo>
                  <a:lnTo>
                    <a:pt x="94" y="370"/>
                  </a:lnTo>
                  <a:lnTo>
                    <a:pt x="94" y="373"/>
                  </a:lnTo>
                  <a:lnTo>
                    <a:pt x="94" y="370"/>
                  </a:lnTo>
                  <a:lnTo>
                    <a:pt x="92" y="370"/>
                  </a:lnTo>
                  <a:lnTo>
                    <a:pt x="94" y="370"/>
                  </a:lnTo>
                  <a:lnTo>
                    <a:pt x="94" y="368"/>
                  </a:lnTo>
                  <a:lnTo>
                    <a:pt x="97" y="368"/>
                  </a:lnTo>
                  <a:lnTo>
                    <a:pt x="97" y="366"/>
                  </a:lnTo>
                  <a:lnTo>
                    <a:pt x="97" y="368"/>
                  </a:lnTo>
                  <a:lnTo>
                    <a:pt x="99" y="366"/>
                  </a:lnTo>
                  <a:lnTo>
                    <a:pt x="99" y="363"/>
                  </a:lnTo>
                  <a:lnTo>
                    <a:pt x="99" y="366"/>
                  </a:lnTo>
                  <a:lnTo>
                    <a:pt x="102" y="366"/>
                  </a:lnTo>
                  <a:lnTo>
                    <a:pt x="99" y="366"/>
                  </a:lnTo>
                  <a:lnTo>
                    <a:pt x="102" y="366"/>
                  </a:lnTo>
                  <a:lnTo>
                    <a:pt x="102" y="363"/>
                  </a:lnTo>
                  <a:lnTo>
                    <a:pt x="102" y="366"/>
                  </a:lnTo>
                  <a:lnTo>
                    <a:pt x="104" y="366"/>
                  </a:lnTo>
                  <a:lnTo>
                    <a:pt x="104" y="368"/>
                  </a:lnTo>
                  <a:lnTo>
                    <a:pt x="104" y="366"/>
                  </a:lnTo>
                  <a:lnTo>
                    <a:pt x="106" y="366"/>
                  </a:lnTo>
                  <a:lnTo>
                    <a:pt x="106" y="368"/>
                  </a:lnTo>
                  <a:lnTo>
                    <a:pt x="106" y="366"/>
                  </a:lnTo>
                  <a:lnTo>
                    <a:pt x="109" y="366"/>
                  </a:lnTo>
                  <a:lnTo>
                    <a:pt x="106" y="366"/>
                  </a:lnTo>
                  <a:lnTo>
                    <a:pt x="109" y="366"/>
                  </a:lnTo>
                  <a:lnTo>
                    <a:pt x="109" y="363"/>
                  </a:lnTo>
                  <a:lnTo>
                    <a:pt x="106" y="363"/>
                  </a:lnTo>
                  <a:lnTo>
                    <a:pt x="106" y="361"/>
                  </a:lnTo>
                  <a:lnTo>
                    <a:pt x="106" y="363"/>
                  </a:lnTo>
                  <a:lnTo>
                    <a:pt x="106" y="361"/>
                  </a:lnTo>
                  <a:lnTo>
                    <a:pt x="109" y="363"/>
                  </a:lnTo>
                  <a:lnTo>
                    <a:pt x="109" y="361"/>
                  </a:lnTo>
                  <a:lnTo>
                    <a:pt x="109" y="363"/>
                  </a:lnTo>
                  <a:lnTo>
                    <a:pt x="109" y="361"/>
                  </a:lnTo>
                  <a:lnTo>
                    <a:pt x="109" y="363"/>
                  </a:lnTo>
                  <a:lnTo>
                    <a:pt x="109" y="361"/>
                  </a:lnTo>
                  <a:lnTo>
                    <a:pt x="106" y="358"/>
                  </a:lnTo>
                  <a:lnTo>
                    <a:pt x="106" y="361"/>
                  </a:lnTo>
                  <a:lnTo>
                    <a:pt x="104" y="361"/>
                  </a:lnTo>
                  <a:lnTo>
                    <a:pt x="104" y="358"/>
                  </a:lnTo>
                  <a:lnTo>
                    <a:pt x="104" y="361"/>
                  </a:lnTo>
                  <a:lnTo>
                    <a:pt x="106" y="361"/>
                  </a:lnTo>
                  <a:lnTo>
                    <a:pt x="104" y="361"/>
                  </a:lnTo>
                  <a:lnTo>
                    <a:pt x="106" y="361"/>
                  </a:lnTo>
                  <a:lnTo>
                    <a:pt x="106" y="363"/>
                  </a:lnTo>
                  <a:lnTo>
                    <a:pt x="104" y="363"/>
                  </a:lnTo>
                  <a:lnTo>
                    <a:pt x="104" y="366"/>
                  </a:lnTo>
                  <a:lnTo>
                    <a:pt x="104" y="363"/>
                  </a:lnTo>
                  <a:lnTo>
                    <a:pt x="102" y="363"/>
                  </a:lnTo>
                  <a:lnTo>
                    <a:pt x="102" y="361"/>
                  </a:lnTo>
                  <a:lnTo>
                    <a:pt x="104" y="361"/>
                  </a:lnTo>
                  <a:lnTo>
                    <a:pt x="104" y="358"/>
                  </a:lnTo>
                  <a:lnTo>
                    <a:pt x="102" y="358"/>
                  </a:lnTo>
                  <a:lnTo>
                    <a:pt x="104" y="361"/>
                  </a:lnTo>
                  <a:lnTo>
                    <a:pt x="102" y="361"/>
                  </a:lnTo>
                  <a:lnTo>
                    <a:pt x="102" y="358"/>
                  </a:lnTo>
                  <a:lnTo>
                    <a:pt x="102" y="356"/>
                  </a:lnTo>
                  <a:lnTo>
                    <a:pt x="102" y="358"/>
                  </a:lnTo>
                  <a:lnTo>
                    <a:pt x="102" y="356"/>
                  </a:lnTo>
                  <a:lnTo>
                    <a:pt x="102" y="358"/>
                  </a:lnTo>
                  <a:lnTo>
                    <a:pt x="102" y="356"/>
                  </a:lnTo>
                  <a:lnTo>
                    <a:pt x="102" y="358"/>
                  </a:lnTo>
                  <a:lnTo>
                    <a:pt x="102" y="356"/>
                  </a:lnTo>
                  <a:lnTo>
                    <a:pt x="104" y="356"/>
                  </a:lnTo>
                  <a:lnTo>
                    <a:pt x="104" y="358"/>
                  </a:lnTo>
                  <a:lnTo>
                    <a:pt x="104" y="356"/>
                  </a:lnTo>
                  <a:lnTo>
                    <a:pt x="104" y="358"/>
                  </a:lnTo>
                  <a:lnTo>
                    <a:pt x="104" y="356"/>
                  </a:lnTo>
                  <a:lnTo>
                    <a:pt x="104" y="358"/>
                  </a:lnTo>
                  <a:lnTo>
                    <a:pt x="104" y="356"/>
                  </a:lnTo>
                  <a:lnTo>
                    <a:pt x="106" y="356"/>
                  </a:lnTo>
                  <a:lnTo>
                    <a:pt x="104" y="356"/>
                  </a:lnTo>
                  <a:lnTo>
                    <a:pt x="106" y="356"/>
                  </a:lnTo>
                  <a:lnTo>
                    <a:pt x="106" y="358"/>
                  </a:lnTo>
                  <a:lnTo>
                    <a:pt x="106" y="356"/>
                  </a:lnTo>
                  <a:lnTo>
                    <a:pt x="106" y="358"/>
                  </a:lnTo>
                  <a:lnTo>
                    <a:pt x="109" y="358"/>
                  </a:lnTo>
                  <a:lnTo>
                    <a:pt x="106" y="358"/>
                  </a:lnTo>
                  <a:lnTo>
                    <a:pt x="109" y="358"/>
                  </a:lnTo>
                  <a:lnTo>
                    <a:pt x="109" y="356"/>
                  </a:lnTo>
                  <a:lnTo>
                    <a:pt x="106" y="356"/>
                  </a:lnTo>
                  <a:lnTo>
                    <a:pt x="106" y="354"/>
                  </a:lnTo>
                  <a:lnTo>
                    <a:pt x="109" y="354"/>
                  </a:lnTo>
                  <a:lnTo>
                    <a:pt x="106" y="354"/>
                  </a:lnTo>
                  <a:lnTo>
                    <a:pt x="109" y="354"/>
                  </a:lnTo>
                  <a:lnTo>
                    <a:pt x="109" y="356"/>
                  </a:lnTo>
                  <a:lnTo>
                    <a:pt x="111" y="356"/>
                  </a:lnTo>
                  <a:lnTo>
                    <a:pt x="109" y="356"/>
                  </a:lnTo>
                  <a:lnTo>
                    <a:pt x="111" y="356"/>
                  </a:lnTo>
                  <a:lnTo>
                    <a:pt x="111" y="358"/>
                  </a:lnTo>
                  <a:lnTo>
                    <a:pt x="111" y="356"/>
                  </a:lnTo>
                  <a:lnTo>
                    <a:pt x="109" y="356"/>
                  </a:lnTo>
                  <a:lnTo>
                    <a:pt x="111" y="356"/>
                  </a:lnTo>
                  <a:lnTo>
                    <a:pt x="111" y="358"/>
                  </a:lnTo>
                  <a:lnTo>
                    <a:pt x="109" y="358"/>
                  </a:lnTo>
                  <a:lnTo>
                    <a:pt x="111" y="358"/>
                  </a:lnTo>
                  <a:lnTo>
                    <a:pt x="111" y="361"/>
                  </a:lnTo>
                  <a:lnTo>
                    <a:pt x="111" y="358"/>
                  </a:lnTo>
                  <a:lnTo>
                    <a:pt x="113" y="358"/>
                  </a:lnTo>
                  <a:lnTo>
                    <a:pt x="111" y="356"/>
                  </a:lnTo>
                  <a:lnTo>
                    <a:pt x="113" y="356"/>
                  </a:lnTo>
                  <a:lnTo>
                    <a:pt x="111" y="356"/>
                  </a:lnTo>
                  <a:lnTo>
                    <a:pt x="113" y="356"/>
                  </a:lnTo>
                  <a:lnTo>
                    <a:pt x="116" y="356"/>
                  </a:lnTo>
                  <a:lnTo>
                    <a:pt x="116" y="354"/>
                  </a:lnTo>
                  <a:lnTo>
                    <a:pt x="113" y="354"/>
                  </a:lnTo>
                  <a:lnTo>
                    <a:pt x="116" y="354"/>
                  </a:lnTo>
                  <a:lnTo>
                    <a:pt x="116" y="356"/>
                  </a:lnTo>
                  <a:lnTo>
                    <a:pt x="118" y="356"/>
                  </a:lnTo>
                  <a:lnTo>
                    <a:pt x="116" y="356"/>
                  </a:lnTo>
                  <a:lnTo>
                    <a:pt x="116" y="354"/>
                  </a:lnTo>
                  <a:lnTo>
                    <a:pt x="118" y="354"/>
                  </a:lnTo>
                  <a:lnTo>
                    <a:pt x="121" y="354"/>
                  </a:lnTo>
                  <a:lnTo>
                    <a:pt x="123" y="354"/>
                  </a:lnTo>
                  <a:lnTo>
                    <a:pt x="121" y="354"/>
                  </a:lnTo>
                  <a:lnTo>
                    <a:pt x="121" y="351"/>
                  </a:lnTo>
                  <a:lnTo>
                    <a:pt x="123" y="351"/>
                  </a:lnTo>
                  <a:lnTo>
                    <a:pt x="123" y="354"/>
                  </a:lnTo>
                  <a:lnTo>
                    <a:pt x="123" y="351"/>
                  </a:lnTo>
                  <a:lnTo>
                    <a:pt x="125" y="351"/>
                  </a:lnTo>
                  <a:lnTo>
                    <a:pt x="123" y="351"/>
                  </a:lnTo>
                  <a:lnTo>
                    <a:pt x="123" y="349"/>
                  </a:lnTo>
                  <a:lnTo>
                    <a:pt x="123" y="351"/>
                  </a:lnTo>
                  <a:lnTo>
                    <a:pt x="123" y="349"/>
                  </a:lnTo>
                  <a:lnTo>
                    <a:pt x="125" y="349"/>
                  </a:lnTo>
                  <a:lnTo>
                    <a:pt x="123" y="349"/>
                  </a:lnTo>
                  <a:lnTo>
                    <a:pt x="125" y="349"/>
                  </a:lnTo>
                  <a:lnTo>
                    <a:pt x="123" y="349"/>
                  </a:lnTo>
                  <a:lnTo>
                    <a:pt x="125" y="349"/>
                  </a:lnTo>
                  <a:lnTo>
                    <a:pt x="125" y="347"/>
                  </a:lnTo>
                  <a:lnTo>
                    <a:pt x="123" y="347"/>
                  </a:lnTo>
                  <a:lnTo>
                    <a:pt x="123" y="344"/>
                  </a:lnTo>
                  <a:lnTo>
                    <a:pt x="125" y="344"/>
                  </a:lnTo>
                  <a:lnTo>
                    <a:pt x="128" y="344"/>
                  </a:lnTo>
                  <a:lnTo>
                    <a:pt x="128" y="347"/>
                  </a:lnTo>
                  <a:lnTo>
                    <a:pt x="128" y="344"/>
                  </a:lnTo>
                  <a:lnTo>
                    <a:pt x="128" y="347"/>
                  </a:lnTo>
                  <a:lnTo>
                    <a:pt x="130" y="347"/>
                  </a:lnTo>
                  <a:lnTo>
                    <a:pt x="130" y="344"/>
                  </a:lnTo>
                  <a:lnTo>
                    <a:pt x="130" y="347"/>
                  </a:lnTo>
                  <a:lnTo>
                    <a:pt x="132" y="347"/>
                  </a:lnTo>
                  <a:lnTo>
                    <a:pt x="132" y="344"/>
                  </a:lnTo>
                  <a:lnTo>
                    <a:pt x="130" y="344"/>
                  </a:lnTo>
                  <a:lnTo>
                    <a:pt x="132" y="344"/>
                  </a:lnTo>
                  <a:lnTo>
                    <a:pt x="130" y="344"/>
                  </a:lnTo>
                  <a:lnTo>
                    <a:pt x="130" y="342"/>
                  </a:lnTo>
                  <a:lnTo>
                    <a:pt x="132" y="342"/>
                  </a:lnTo>
                  <a:lnTo>
                    <a:pt x="132" y="339"/>
                  </a:lnTo>
                  <a:lnTo>
                    <a:pt x="132" y="342"/>
                  </a:lnTo>
                  <a:lnTo>
                    <a:pt x="132" y="339"/>
                  </a:lnTo>
                  <a:lnTo>
                    <a:pt x="135" y="339"/>
                  </a:lnTo>
                  <a:lnTo>
                    <a:pt x="132" y="339"/>
                  </a:lnTo>
                  <a:lnTo>
                    <a:pt x="135" y="339"/>
                  </a:lnTo>
                  <a:lnTo>
                    <a:pt x="135" y="337"/>
                  </a:lnTo>
                  <a:lnTo>
                    <a:pt x="137" y="337"/>
                  </a:lnTo>
                  <a:lnTo>
                    <a:pt x="137" y="335"/>
                  </a:lnTo>
                  <a:lnTo>
                    <a:pt x="140" y="335"/>
                  </a:lnTo>
                  <a:lnTo>
                    <a:pt x="137" y="335"/>
                  </a:lnTo>
                  <a:lnTo>
                    <a:pt x="140" y="335"/>
                  </a:lnTo>
                  <a:lnTo>
                    <a:pt x="137" y="335"/>
                  </a:lnTo>
                  <a:lnTo>
                    <a:pt x="140" y="335"/>
                  </a:lnTo>
                  <a:lnTo>
                    <a:pt x="140" y="332"/>
                  </a:lnTo>
                  <a:lnTo>
                    <a:pt x="142" y="332"/>
                  </a:lnTo>
                  <a:lnTo>
                    <a:pt x="142" y="335"/>
                  </a:lnTo>
                  <a:lnTo>
                    <a:pt x="142" y="332"/>
                  </a:lnTo>
                  <a:lnTo>
                    <a:pt x="142" y="335"/>
                  </a:lnTo>
                  <a:lnTo>
                    <a:pt x="142" y="332"/>
                  </a:lnTo>
                  <a:lnTo>
                    <a:pt x="142" y="330"/>
                  </a:lnTo>
                  <a:lnTo>
                    <a:pt x="144" y="330"/>
                  </a:lnTo>
                  <a:lnTo>
                    <a:pt x="144" y="328"/>
                  </a:lnTo>
                  <a:lnTo>
                    <a:pt x="144" y="325"/>
                  </a:lnTo>
                  <a:lnTo>
                    <a:pt x="147" y="325"/>
                  </a:lnTo>
                  <a:lnTo>
                    <a:pt x="147" y="323"/>
                  </a:lnTo>
                  <a:lnTo>
                    <a:pt x="147" y="325"/>
                  </a:lnTo>
                  <a:lnTo>
                    <a:pt x="149" y="323"/>
                  </a:lnTo>
                  <a:lnTo>
                    <a:pt x="149" y="325"/>
                  </a:lnTo>
                  <a:lnTo>
                    <a:pt x="149" y="323"/>
                  </a:lnTo>
                  <a:lnTo>
                    <a:pt x="151" y="323"/>
                  </a:lnTo>
                  <a:lnTo>
                    <a:pt x="149" y="323"/>
                  </a:lnTo>
                  <a:lnTo>
                    <a:pt x="151" y="323"/>
                  </a:lnTo>
                  <a:lnTo>
                    <a:pt x="151" y="320"/>
                  </a:lnTo>
                  <a:lnTo>
                    <a:pt x="151" y="323"/>
                  </a:lnTo>
                  <a:lnTo>
                    <a:pt x="154" y="323"/>
                  </a:lnTo>
                  <a:lnTo>
                    <a:pt x="151" y="323"/>
                  </a:lnTo>
                  <a:lnTo>
                    <a:pt x="151" y="320"/>
                  </a:lnTo>
                  <a:lnTo>
                    <a:pt x="154" y="320"/>
                  </a:lnTo>
                  <a:lnTo>
                    <a:pt x="151" y="320"/>
                  </a:lnTo>
                  <a:lnTo>
                    <a:pt x="154" y="320"/>
                  </a:lnTo>
                  <a:lnTo>
                    <a:pt x="154" y="318"/>
                  </a:lnTo>
                  <a:lnTo>
                    <a:pt x="151" y="318"/>
                  </a:lnTo>
                  <a:lnTo>
                    <a:pt x="154" y="318"/>
                  </a:lnTo>
                  <a:lnTo>
                    <a:pt x="154" y="320"/>
                  </a:lnTo>
                  <a:lnTo>
                    <a:pt x="154" y="318"/>
                  </a:lnTo>
                  <a:lnTo>
                    <a:pt x="156" y="318"/>
                  </a:lnTo>
                  <a:lnTo>
                    <a:pt x="156" y="316"/>
                  </a:lnTo>
                  <a:lnTo>
                    <a:pt x="156" y="313"/>
                  </a:lnTo>
                  <a:lnTo>
                    <a:pt x="159" y="313"/>
                  </a:lnTo>
                  <a:lnTo>
                    <a:pt x="156" y="313"/>
                  </a:lnTo>
                  <a:lnTo>
                    <a:pt x="159" y="313"/>
                  </a:lnTo>
                  <a:lnTo>
                    <a:pt x="159" y="311"/>
                  </a:lnTo>
                  <a:lnTo>
                    <a:pt x="159" y="313"/>
                  </a:lnTo>
                  <a:lnTo>
                    <a:pt x="159" y="311"/>
                  </a:lnTo>
                  <a:lnTo>
                    <a:pt x="161" y="311"/>
                  </a:lnTo>
                  <a:lnTo>
                    <a:pt x="159" y="311"/>
                  </a:lnTo>
                  <a:lnTo>
                    <a:pt x="161" y="311"/>
                  </a:lnTo>
                  <a:lnTo>
                    <a:pt x="159" y="311"/>
                  </a:lnTo>
                  <a:lnTo>
                    <a:pt x="161" y="309"/>
                  </a:lnTo>
                  <a:lnTo>
                    <a:pt x="163" y="309"/>
                  </a:lnTo>
                  <a:lnTo>
                    <a:pt x="161" y="309"/>
                  </a:lnTo>
                  <a:lnTo>
                    <a:pt x="163" y="309"/>
                  </a:lnTo>
                  <a:lnTo>
                    <a:pt x="163" y="306"/>
                  </a:lnTo>
                  <a:lnTo>
                    <a:pt x="163" y="304"/>
                  </a:lnTo>
                  <a:lnTo>
                    <a:pt x="166" y="301"/>
                  </a:lnTo>
                  <a:lnTo>
                    <a:pt x="166" y="304"/>
                  </a:lnTo>
                  <a:lnTo>
                    <a:pt x="166" y="301"/>
                  </a:lnTo>
                  <a:lnTo>
                    <a:pt x="168" y="301"/>
                  </a:lnTo>
                  <a:lnTo>
                    <a:pt x="168" y="299"/>
                  </a:lnTo>
                  <a:lnTo>
                    <a:pt x="170" y="299"/>
                  </a:lnTo>
                  <a:lnTo>
                    <a:pt x="173" y="299"/>
                  </a:lnTo>
                  <a:lnTo>
                    <a:pt x="175" y="299"/>
                  </a:lnTo>
                  <a:lnTo>
                    <a:pt x="178" y="299"/>
                  </a:lnTo>
                  <a:lnTo>
                    <a:pt x="178" y="297"/>
                  </a:lnTo>
                  <a:lnTo>
                    <a:pt x="178" y="299"/>
                  </a:lnTo>
                  <a:lnTo>
                    <a:pt x="180" y="297"/>
                  </a:lnTo>
                  <a:lnTo>
                    <a:pt x="182" y="297"/>
                  </a:lnTo>
                  <a:lnTo>
                    <a:pt x="182" y="299"/>
                  </a:lnTo>
                  <a:lnTo>
                    <a:pt x="185" y="299"/>
                  </a:lnTo>
                  <a:lnTo>
                    <a:pt x="182" y="299"/>
                  </a:lnTo>
                  <a:lnTo>
                    <a:pt x="185" y="299"/>
                  </a:lnTo>
                  <a:lnTo>
                    <a:pt x="187" y="299"/>
                  </a:lnTo>
                  <a:lnTo>
                    <a:pt x="187" y="301"/>
                  </a:lnTo>
                  <a:lnTo>
                    <a:pt x="189" y="301"/>
                  </a:lnTo>
                  <a:lnTo>
                    <a:pt x="189" y="299"/>
                  </a:lnTo>
                  <a:lnTo>
                    <a:pt x="189" y="297"/>
                  </a:lnTo>
                  <a:lnTo>
                    <a:pt x="189" y="299"/>
                  </a:lnTo>
                  <a:lnTo>
                    <a:pt x="187" y="299"/>
                  </a:lnTo>
                  <a:lnTo>
                    <a:pt x="187" y="297"/>
                  </a:lnTo>
                  <a:lnTo>
                    <a:pt x="185" y="297"/>
                  </a:lnTo>
                  <a:lnTo>
                    <a:pt x="185" y="294"/>
                  </a:lnTo>
                  <a:lnTo>
                    <a:pt x="185" y="292"/>
                  </a:lnTo>
                  <a:lnTo>
                    <a:pt x="187" y="292"/>
                  </a:lnTo>
                  <a:lnTo>
                    <a:pt x="187" y="294"/>
                  </a:lnTo>
                  <a:lnTo>
                    <a:pt x="189" y="294"/>
                  </a:lnTo>
                  <a:lnTo>
                    <a:pt x="192" y="294"/>
                  </a:lnTo>
                  <a:lnTo>
                    <a:pt x="192" y="297"/>
                  </a:lnTo>
                  <a:lnTo>
                    <a:pt x="194" y="294"/>
                  </a:lnTo>
                  <a:lnTo>
                    <a:pt x="192" y="294"/>
                  </a:lnTo>
                  <a:lnTo>
                    <a:pt x="192" y="292"/>
                  </a:lnTo>
                  <a:lnTo>
                    <a:pt x="194" y="292"/>
                  </a:lnTo>
                  <a:lnTo>
                    <a:pt x="197" y="292"/>
                  </a:lnTo>
                  <a:lnTo>
                    <a:pt x="197" y="294"/>
                  </a:lnTo>
                  <a:lnTo>
                    <a:pt x="199" y="294"/>
                  </a:lnTo>
                  <a:lnTo>
                    <a:pt x="201" y="294"/>
                  </a:lnTo>
                  <a:lnTo>
                    <a:pt x="201" y="297"/>
                  </a:lnTo>
                  <a:lnTo>
                    <a:pt x="204" y="297"/>
                  </a:lnTo>
                  <a:lnTo>
                    <a:pt x="204" y="299"/>
                  </a:lnTo>
                  <a:lnTo>
                    <a:pt x="206" y="299"/>
                  </a:lnTo>
                  <a:lnTo>
                    <a:pt x="206" y="301"/>
                  </a:lnTo>
                  <a:lnTo>
                    <a:pt x="208" y="301"/>
                  </a:lnTo>
                  <a:lnTo>
                    <a:pt x="208" y="304"/>
                  </a:lnTo>
                  <a:lnTo>
                    <a:pt x="211" y="304"/>
                  </a:lnTo>
                  <a:lnTo>
                    <a:pt x="211" y="301"/>
                  </a:lnTo>
                  <a:lnTo>
                    <a:pt x="213" y="301"/>
                  </a:lnTo>
                  <a:lnTo>
                    <a:pt x="215" y="301"/>
                  </a:lnTo>
                  <a:lnTo>
                    <a:pt x="218" y="301"/>
                  </a:lnTo>
                  <a:lnTo>
                    <a:pt x="218" y="304"/>
                  </a:lnTo>
                  <a:lnTo>
                    <a:pt x="220" y="304"/>
                  </a:lnTo>
                  <a:lnTo>
                    <a:pt x="218" y="304"/>
                  </a:lnTo>
                  <a:lnTo>
                    <a:pt x="220" y="304"/>
                  </a:lnTo>
                  <a:lnTo>
                    <a:pt x="218" y="304"/>
                  </a:lnTo>
                  <a:lnTo>
                    <a:pt x="218" y="301"/>
                  </a:lnTo>
                  <a:lnTo>
                    <a:pt x="215" y="301"/>
                  </a:lnTo>
                  <a:lnTo>
                    <a:pt x="213" y="301"/>
                  </a:lnTo>
                  <a:lnTo>
                    <a:pt x="211" y="301"/>
                  </a:lnTo>
                  <a:lnTo>
                    <a:pt x="211" y="304"/>
                  </a:lnTo>
                  <a:lnTo>
                    <a:pt x="208" y="304"/>
                  </a:lnTo>
                  <a:lnTo>
                    <a:pt x="208" y="301"/>
                  </a:lnTo>
                  <a:lnTo>
                    <a:pt x="206" y="301"/>
                  </a:lnTo>
                  <a:lnTo>
                    <a:pt x="206" y="299"/>
                  </a:lnTo>
                  <a:lnTo>
                    <a:pt x="204" y="299"/>
                  </a:lnTo>
                  <a:lnTo>
                    <a:pt x="204" y="297"/>
                  </a:lnTo>
                  <a:lnTo>
                    <a:pt x="201" y="297"/>
                  </a:lnTo>
                  <a:lnTo>
                    <a:pt x="201" y="294"/>
                  </a:lnTo>
                  <a:lnTo>
                    <a:pt x="199" y="294"/>
                  </a:lnTo>
                  <a:lnTo>
                    <a:pt x="197" y="294"/>
                  </a:lnTo>
                  <a:lnTo>
                    <a:pt x="197" y="292"/>
                  </a:lnTo>
                  <a:lnTo>
                    <a:pt x="194" y="292"/>
                  </a:lnTo>
                  <a:lnTo>
                    <a:pt x="192" y="292"/>
                  </a:lnTo>
                  <a:lnTo>
                    <a:pt x="192" y="290"/>
                  </a:lnTo>
                  <a:lnTo>
                    <a:pt x="189" y="290"/>
                  </a:lnTo>
                  <a:lnTo>
                    <a:pt x="192" y="290"/>
                  </a:lnTo>
                  <a:lnTo>
                    <a:pt x="189" y="290"/>
                  </a:lnTo>
                  <a:lnTo>
                    <a:pt x="189" y="287"/>
                  </a:lnTo>
                  <a:lnTo>
                    <a:pt x="187" y="287"/>
                  </a:lnTo>
                  <a:lnTo>
                    <a:pt x="187" y="285"/>
                  </a:lnTo>
                  <a:lnTo>
                    <a:pt x="185" y="285"/>
                  </a:lnTo>
                  <a:lnTo>
                    <a:pt x="185" y="282"/>
                  </a:lnTo>
                  <a:lnTo>
                    <a:pt x="187" y="282"/>
                  </a:lnTo>
                  <a:lnTo>
                    <a:pt x="189" y="282"/>
                  </a:lnTo>
                  <a:lnTo>
                    <a:pt x="192" y="282"/>
                  </a:lnTo>
                  <a:lnTo>
                    <a:pt x="189" y="282"/>
                  </a:lnTo>
                  <a:lnTo>
                    <a:pt x="187" y="282"/>
                  </a:lnTo>
                  <a:lnTo>
                    <a:pt x="187" y="280"/>
                  </a:lnTo>
                  <a:lnTo>
                    <a:pt x="185" y="280"/>
                  </a:lnTo>
                  <a:lnTo>
                    <a:pt x="187" y="280"/>
                  </a:lnTo>
                  <a:lnTo>
                    <a:pt x="189" y="280"/>
                  </a:lnTo>
                  <a:lnTo>
                    <a:pt x="187" y="280"/>
                  </a:lnTo>
                  <a:lnTo>
                    <a:pt x="187" y="278"/>
                  </a:lnTo>
                  <a:lnTo>
                    <a:pt x="187" y="280"/>
                  </a:lnTo>
                  <a:lnTo>
                    <a:pt x="187" y="278"/>
                  </a:lnTo>
                  <a:lnTo>
                    <a:pt x="189" y="278"/>
                  </a:lnTo>
                  <a:lnTo>
                    <a:pt x="187" y="278"/>
                  </a:lnTo>
                  <a:lnTo>
                    <a:pt x="187" y="275"/>
                  </a:lnTo>
                  <a:lnTo>
                    <a:pt x="185" y="275"/>
                  </a:lnTo>
                  <a:lnTo>
                    <a:pt x="185" y="273"/>
                  </a:lnTo>
                  <a:lnTo>
                    <a:pt x="185" y="275"/>
                  </a:lnTo>
                  <a:lnTo>
                    <a:pt x="185" y="273"/>
                  </a:lnTo>
                  <a:lnTo>
                    <a:pt x="187" y="273"/>
                  </a:lnTo>
                  <a:lnTo>
                    <a:pt x="185" y="273"/>
                  </a:lnTo>
                  <a:lnTo>
                    <a:pt x="187" y="273"/>
                  </a:lnTo>
                  <a:lnTo>
                    <a:pt x="187" y="275"/>
                  </a:lnTo>
                  <a:lnTo>
                    <a:pt x="189" y="275"/>
                  </a:lnTo>
                  <a:lnTo>
                    <a:pt x="187" y="275"/>
                  </a:lnTo>
                  <a:lnTo>
                    <a:pt x="187" y="273"/>
                  </a:lnTo>
                  <a:lnTo>
                    <a:pt x="189" y="273"/>
                  </a:lnTo>
                  <a:lnTo>
                    <a:pt x="187" y="273"/>
                  </a:lnTo>
                  <a:lnTo>
                    <a:pt x="187" y="271"/>
                  </a:lnTo>
                  <a:lnTo>
                    <a:pt x="185" y="271"/>
                  </a:lnTo>
                  <a:lnTo>
                    <a:pt x="187" y="271"/>
                  </a:lnTo>
                  <a:lnTo>
                    <a:pt x="189" y="271"/>
                  </a:lnTo>
                  <a:lnTo>
                    <a:pt x="187" y="271"/>
                  </a:lnTo>
                  <a:lnTo>
                    <a:pt x="189" y="268"/>
                  </a:lnTo>
                  <a:lnTo>
                    <a:pt x="187" y="268"/>
                  </a:lnTo>
                  <a:lnTo>
                    <a:pt x="189" y="268"/>
                  </a:lnTo>
                  <a:lnTo>
                    <a:pt x="187" y="268"/>
                  </a:lnTo>
                  <a:lnTo>
                    <a:pt x="189" y="268"/>
                  </a:lnTo>
                  <a:lnTo>
                    <a:pt x="187" y="268"/>
                  </a:lnTo>
                  <a:lnTo>
                    <a:pt x="189" y="268"/>
                  </a:lnTo>
                  <a:lnTo>
                    <a:pt x="189" y="266"/>
                  </a:lnTo>
                  <a:lnTo>
                    <a:pt x="187" y="266"/>
                  </a:lnTo>
                  <a:lnTo>
                    <a:pt x="189" y="266"/>
                  </a:lnTo>
                  <a:lnTo>
                    <a:pt x="187" y="266"/>
                  </a:lnTo>
                  <a:lnTo>
                    <a:pt x="187" y="263"/>
                  </a:lnTo>
                  <a:lnTo>
                    <a:pt x="185" y="263"/>
                  </a:lnTo>
                  <a:lnTo>
                    <a:pt x="187" y="263"/>
                  </a:lnTo>
                  <a:lnTo>
                    <a:pt x="185" y="263"/>
                  </a:lnTo>
                  <a:lnTo>
                    <a:pt x="185" y="261"/>
                  </a:lnTo>
                  <a:lnTo>
                    <a:pt x="182" y="261"/>
                  </a:lnTo>
                  <a:lnTo>
                    <a:pt x="182" y="259"/>
                  </a:lnTo>
                  <a:lnTo>
                    <a:pt x="185" y="259"/>
                  </a:lnTo>
                  <a:lnTo>
                    <a:pt x="182" y="259"/>
                  </a:lnTo>
                  <a:lnTo>
                    <a:pt x="182" y="261"/>
                  </a:lnTo>
                  <a:lnTo>
                    <a:pt x="180" y="261"/>
                  </a:lnTo>
                  <a:lnTo>
                    <a:pt x="182" y="261"/>
                  </a:lnTo>
                  <a:lnTo>
                    <a:pt x="180" y="261"/>
                  </a:lnTo>
                  <a:lnTo>
                    <a:pt x="180" y="259"/>
                  </a:lnTo>
                  <a:lnTo>
                    <a:pt x="180" y="256"/>
                  </a:lnTo>
                  <a:lnTo>
                    <a:pt x="180" y="259"/>
                  </a:lnTo>
                  <a:lnTo>
                    <a:pt x="178" y="259"/>
                  </a:lnTo>
                  <a:lnTo>
                    <a:pt x="178" y="256"/>
                  </a:lnTo>
                  <a:lnTo>
                    <a:pt x="175" y="256"/>
                  </a:lnTo>
                  <a:lnTo>
                    <a:pt x="173" y="256"/>
                  </a:lnTo>
                  <a:lnTo>
                    <a:pt x="170" y="256"/>
                  </a:lnTo>
                  <a:lnTo>
                    <a:pt x="170" y="254"/>
                  </a:lnTo>
                  <a:lnTo>
                    <a:pt x="170" y="256"/>
                  </a:lnTo>
                  <a:lnTo>
                    <a:pt x="168" y="256"/>
                  </a:lnTo>
                  <a:lnTo>
                    <a:pt x="170" y="256"/>
                  </a:lnTo>
                  <a:lnTo>
                    <a:pt x="168" y="256"/>
                  </a:lnTo>
                  <a:lnTo>
                    <a:pt x="166" y="256"/>
                  </a:lnTo>
                  <a:lnTo>
                    <a:pt x="166" y="254"/>
                  </a:lnTo>
                  <a:lnTo>
                    <a:pt x="163" y="254"/>
                  </a:lnTo>
                  <a:lnTo>
                    <a:pt x="166" y="254"/>
                  </a:lnTo>
                  <a:lnTo>
                    <a:pt x="166" y="252"/>
                  </a:lnTo>
                  <a:lnTo>
                    <a:pt x="163" y="252"/>
                  </a:lnTo>
                  <a:lnTo>
                    <a:pt x="163" y="254"/>
                  </a:lnTo>
                  <a:lnTo>
                    <a:pt x="163" y="252"/>
                  </a:lnTo>
                  <a:lnTo>
                    <a:pt x="161" y="252"/>
                  </a:lnTo>
                  <a:lnTo>
                    <a:pt x="161" y="249"/>
                  </a:lnTo>
                  <a:lnTo>
                    <a:pt x="161" y="252"/>
                  </a:lnTo>
                  <a:lnTo>
                    <a:pt x="161" y="249"/>
                  </a:lnTo>
                  <a:lnTo>
                    <a:pt x="161" y="252"/>
                  </a:lnTo>
                  <a:lnTo>
                    <a:pt x="159" y="252"/>
                  </a:lnTo>
                  <a:lnTo>
                    <a:pt x="159" y="249"/>
                  </a:lnTo>
                  <a:lnTo>
                    <a:pt x="161" y="249"/>
                  </a:lnTo>
                  <a:lnTo>
                    <a:pt x="163" y="249"/>
                  </a:lnTo>
                  <a:lnTo>
                    <a:pt x="163" y="247"/>
                  </a:lnTo>
                  <a:lnTo>
                    <a:pt x="163" y="244"/>
                  </a:lnTo>
                  <a:lnTo>
                    <a:pt x="166" y="244"/>
                  </a:lnTo>
                  <a:lnTo>
                    <a:pt x="166" y="242"/>
                  </a:lnTo>
                  <a:lnTo>
                    <a:pt x="168" y="242"/>
                  </a:lnTo>
                  <a:lnTo>
                    <a:pt x="168" y="240"/>
                  </a:lnTo>
                  <a:lnTo>
                    <a:pt x="168" y="237"/>
                  </a:lnTo>
                  <a:lnTo>
                    <a:pt x="168" y="235"/>
                  </a:lnTo>
                  <a:lnTo>
                    <a:pt x="170" y="235"/>
                  </a:lnTo>
                  <a:lnTo>
                    <a:pt x="170" y="232"/>
                  </a:lnTo>
                  <a:lnTo>
                    <a:pt x="170" y="230"/>
                  </a:lnTo>
                  <a:lnTo>
                    <a:pt x="173" y="230"/>
                  </a:lnTo>
                  <a:lnTo>
                    <a:pt x="175" y="230"/>
                  </a:lnTo>
                  <a:lnTo>
                    <a:pt x="178" y="230"/>
                  </a:lnTo>
                  <a:lnTo>
                    <a:pt x="178" y="228"/>
                  </a:lnTo>
                  <a:lnTo>
                    <a:pt x="180" y="228"/>
                  </a:lnTo>
                  <a:lnTo>
                    <a:pt x="182" y="228"/>
                  </a:lnTo>
                  <a:lnTo>
                    <a:pt x="180" y="228"/>
                  </a:lnTo>
                  <a:lnTo>
                    <a:pt x="182" y="228"/>
                  </a:lnTo>
                  <a:lnTo>
                    <a:pt x="180" y="228"/>
                  </a:lnTo>
                  <a:lnTo>
                    <a:pt x="178" y="228"/>
                  </a:lnTo>
                  <a:lnTo>
                    <a:pt x="180" y="228"/>
                  </a:lnTo>
                  <a:lnTo>
                    <a:pt x="178" y="228"/>
                  </a:lnTo>
                  <a:lnTo>
                    <a:pt x="175" y="230"/>
                  </a:lnTo>
                  <a:lnTo>
                    <a:pt x="173" y="230"/>
                  </a:lnTo>
                  <a:lnTo>
                    <a:pt x="170" y="230"/>
                  </a:lnTo>
                  <a:lnTo>
                    <a:pt x="170" y="232"/>
                  </a:lnTo>
                  <a:lnTo>
                    <a:pt x="170" y="235"/>
                  </a:lnTo>
                  <a:lnTo>
                    <a:pt x="168" y="235"/>
                  </a:lnTo>
                  <a:lnTo>
                    <a:pt x="168" y="237"/>
                  </a:lnTo>
                  <a:lnTo>
                    <a:pt x="168" y="240"/>
                  </a:lnTo>
                  <a:lnTo>
                    <a:pt x="168" y="242"/>
                  </a:lnTo>
                  <a:lnTo>
                    <a:pt x="166" y="242"/>
                  </a:lnTo>
                  <a:lnTo>
                    <a:pt x="163" y="242"/>
                  </a:lnTo>
                  <a:lnTo>
                    <a:pt x="163" y="244"/>
                  </a:lnTo>
                  <a:lnTo>
                    <a:pt x="163" y="247"/>
                  </a:lnTo>
                  <a:lnTo>
                    <a:pt x="163" y="249"/>
                  </a:lnTo>
                  <a:lnTo>
                    <a:pt x="161" y="249"/>
                  </a:lnTo>
                  <a:lnTo>
                    <a:pt x="159" y="249"/>
                  </a:lnTo>
                  <a:lnTo>
                    <a:pt x="156" y="249"/>
                  </a:lnTo>
                  <a:lnTo>
                    <a:pt x="156" y="247"/>
                  </a:lnTo>
                  <a:lnTo>
                    <a:pt x="154" y="247"/>
                  </a:lnTo>
                  <a:lnTo>
                    <a:pt x="154" y="249"/>
                  </a:lnTo>
                  <a:lnTo>
                    <a:pt x="154" y="247"/>
                  </a:lnTo>
                  <a:lnTo>
                    <a:pt x="154" y="249"/>
                  </a:lnTo>
                  <a:lnTo>
                    <a:pt x="154" y="247"/>
                  </a:lnTo>
                  <a:lnTo>
                    <a:pt x="154" y="249"/>
                  </a:lnTo>
                  <a:lnTo>
                    <a:pt x="154" y="247"/>
                  </a:lnTo>
                  <a:lnTo>
                    <a:pt x="151" y="247"/>
                  </a:lnTo>
                  <a:lnTo>
                    <a:pt x="154" y="247"/>
                  </a:lnTo>
                  <a:lnTo>
                    <a:pt x="151" y="247"/>
                  </a:lnTo>
                  <a:lnTo>
                    <a:pt x="149" y="247"/>
                  </a:lnTo>
                  <a:lnTo>
                    <a:pt x="149" y="244"/>
                  </a:lnTo>
                  <a:lnTo>
                    <a:pt x="149" y="242"/>
                  </a:lnTo>
                  <a:lnTo>
                    <a:pt x="149" y="244"/>
                  </a:lnTo>
                  <a:lnTo>
                    <a:pt x="149" y="242"/>
                  </a:lnTo>
                  <a:lnTo>
                    <a:pt x="149" y="240"/>
                  </a:lnTo>
                  <a:lnTo>
                    <a:pt x="147" y="240"/>
                  </a:lnTo>
                  <a:lnTo>
                    <a:pt x="147" y="237"/>
                  </a:lnTo>
                  <a:lnTo>
                    <a:pt x="147" y="235"/>
                  </a:lnTo>
                  <a:lnTo>
                    <a:pt x="144" y="235"/>
                  </a:lnTo>
                  <a:lnTo>
                    <a:pt x="144" y="232"/>
                  </a:lnTo>
                  <a:lnTo>
                    <a:pt x="142" y="232"/>
                  </a:lnTo>
                  <a:lnTo>
                    <a:pt x="144" y="232"/>
                  </a:lnTo>
                  <a:lnTo>
                    <a:pt x="142" y="232"/>
                  </a:lnTo>
                  <a:lnTo>
                    <a:pt x="142" y="230"/>
                  </a:lnTo>
                  <a:lnTo>
                    <a:pt x="142" y="228"/>
                  </a:lnTo>
                  <a:lnTo>
                    <a:pt x="140" y="228"/>
                  </a:lnTo>
                  <a:lnTo>
                    <a:pt x="140" y="225"/>
                  </a:lnTo>
                  <a:lnTo>
                    <a:pt x="137" y="225"/>
                  </a:lnTo>
                  <a:lnTo>
                    <a:pt x="137" y="223"/>
                  </a:lnTo>
                  <a:lnTo>
                    <a:pt x="135" y="223"/>
                  </a:lnTo>
                  <a:lnTo>
                    <a:pt x="135" y="221"/>
                  </a:lnTo>
                  <a:lnTo>
                    <a:pt x="132" y="221"/>
                  </a:lnTo>
                  <a:lnTo>
                    <a:pt x="132" y="218"/>
                  </a:lnTo>
                  <a:lnTo>
                    <a:pt x="135" y="218"/>
                  </a:lnTo>
                  <a:lnTo>
                    <a:pt x="135" y="216"/>
                  </a:lnTo>
                  <a:lnTo>
                    <a:pt x="135" y="213"/>
                  </a:lnTo>
                  <a:lnTo>
                    <a:pt x="135" y="216"/>
                  </a:lnTo>
                  <a:lnTo>
                    <a:pt x="135" y="213"/>
                  </a:lnTo>
                  <a:lnTo>
                    <a:pt x="132" y="213"/>
                  </a:lnTo>
                  <a:lnTo>
                    <a:pt x="132" y="211"/>
                  </a:lnTo>
                  <a:lnTo>
                    <a:pt x="135" y="211"/>
                  </a:lnTo>
                  <a:lnTo>
                    <a:pt x="132" y="211"/>
                  </a:lnTo>
                  <a:lnTo>
                    <a:pt x="135" y="209"/>
                  </a:lnTo>
                  <a:lnTo>
                    <a:pt x="137" y="209"/>
                  </a:lnTo>
                  <a:lnTo>
                    <a:pt x="137" y="206"/>
                  </a:lnTo>
                  <a:lnTo>
                    <a:pt x="140" y="206"/>
                  </a:lnTo>
                  <a:lnTo>
                    <a:pt x="140" y="204"/>
                  </a:lnTo>
                  <a:lnTo>
                    <a:pt x="140" y="202"/>
                  </a:lnTo>
                  <a:lnTo>
                    <a:pt x="140" y="199"/>
                  </a:lnTo>
                  <a:lnTo>
                    <a:pt x="142" y="199"/>
                  </a:lnTo>
                  <a:lnTo>
                    <a:pt x="142" y="197"/>
                  </a:lnTo>
                  <a:lnTo>
                    <a:pt x="142" y="194"/>
                  </a:lnTo>
                  <a:lnTo>
                    <a:pt x="140" y="194"/>
                  </a:lnTo>
                  <a:lnTo>
                    <a:pt x="140" y="192"/>
                  </a:lnTo>
                  <a:lnTo>
                    <a:pt x="142" y="192"/>
                  </a:lnTo>
                  <a:lnTo>
                    <a:pt x="144" y="192"/>
                  </a:lnTo>
                  <a:lnTo>
                    <a:pt x="144" y="190"/>
                  </a:lnTo>
                  <a:lnTo>
                    <a:pt x="144" y="187"/>
                  </a:lnTo>
                  <a:lnTo>
                    <a:pt x="142" y="187"/>
                  </a:lnTo>
                  <a:lnTo>
                    <a:pt x="142" y="185"/>
                  </a:lnTo>
                  <a:lnTo>
                    <a:pt x="140" y="185"/>
                  </a:lnTo>
                  <a:lnTo>
                    <a:pt x="140" y="183"/>
                  </a:lnTo>
                  <a:lnTo>
                    <a:pt x="140" y="180"/>
                  </a:lnTo>
                  <a:lnTo>
                    <a:pt x="137" y="180"/>
                  </a:lnTo>
                  <a:lnTo>
                    <a:pt x="137" y="178"/>
                  </a:lnTo>
                  <a:lnTo>
                    <a:pt x="135" y="178"/>
                  </a:lnTo>
                  <a:lnTo>
                    <a:pt x="135" y="175"/>
                  </a:lnTo>
                  <a:lnTo>
                    <a:pt x="132" y="175"/>
                  </a:lnTo>
                  <a:lnTo>
                    <a:pt x="132" y="173"/>
                  </a:lnTo>
                  <a:lnTo>
                    <a:pt x="130" y="171"/>
                  </a:lnTo>
                  <a:lnTo>
                    <a:pt x="130" y="168"/>
                  </a:lnTo>
                  <a:lnTo>
                    <a:pt x="130" y="166"/>
                  </a:lnTo>
                  <a:lnTo>
                    <a:pt x="130" y="164"/>
                  </a:lnTo>
                  <a:lnTo>
                    <a:pt x="132" y="164"/>
                  </a:lnTo>
                  <a:lnTo>
                    <a:pt x="135" y="164"/>
                  </a:lnTo>
                  <a:lnTo>
                    <a:pt x="135" y="161"/>
                  </a:lnTo>
                  <a:lnTo>
                    <a:pt x="137" y="161"/>
                  </a:lnTo>
                  <a:lnTo>
                    <a:pt x="137" y="159"/>
                  </a:lnTo>
                  <a:lnTo>
                    <a:pt x="135" y="159"/>
                  </a:lnTo>
                  <a:lnTo>
                    <a:pt x="135" y="156"/>
                  </a:lnTo>
                  <a:lnTo>
                    <a:pt x="137" y="156"/>
                  </a:lnTo>
                  <a:lnTo>
                    <a:pt x="137" y="154"/>
                  </a:lnTo>
                  <a:lnTo>
                    <a:pt x="135" y="154"/>
                  </a:lnTo>
                  <a:lnTo>
                    <a:pt x="132" y="154"/>
                  </a:lnTo>
                  <a:lnTo>
                    <a:pt x="130" y="154"/>
                  </a:lnTo>
                  <a:lnTo>
                    <a:pt x="130" y="152"/>
                  </a:lnTo>
                  <a:lnTo>
                    <a:pt x="130" y="154"/>
                  </a:lnTo>
                  <a:lnTo>
                    <a:pt x="128" y="154"/>
                  </a:lnTo>
                  <a:lnTo>
                    <a:pt x="125" y="154"/>
                  </a:lnTo>
                  <a:lnTo>
                    <a:pt x="125" y="152"/>
                  </a:lnTo>
                  <a:lnTo>
                    <a:pt x="125" y="149"/>
                  </a:lnTo>
                  <a:lnTo>
                    <a:pt x="128" y="149"/>
                  </a:lnTo>
                  <a:lnTo>
                    <a:pt x="128" y="147"/>
                  </a:lnTo>
                  <a:lnTo>
                    <a:pt x="125" y="147"/>
                  </a:lnTo>
                  <a:lnTo>
                    <a:pt x="128" y="147"/>
                  </a:lnTo>
                  <a:lnTo>
                    <a:pt x="130" y="147"/>
                  </a:lnTo>
                  <a:lnTo>
                    <a:pt x="130" y="145"/>
                  </a:lnTo>
                  <a:lnTo>
                    <a:pt x="130" y="142"/>
                  </a:lnTo>
                  <a:lnTo>
                    <a:pt x="128" y="142"/>
                  </a:lnTo>
                  <a:lnTo>
                    <a:pt x="128" y="140"/>
                  </a:lnTo>
                  <a:lnTo>
                    <a:pt x="128" y="137"/>
                  </a:lnTo>
                  <a:lnTo>
                    <a:pt x="128" y="135"/>
                  </a:lnTo>
                  <a:lnTo>
                    <a:pt x="128" y="133"/>
                  </a:lnTo>
                  <a:lnTo>
                    <a:pt x="128" y="130"/>
                  </a:lnTo>
                  <a:lnTo>
                    <a:pt x="128" y="128"/>
                  </a:lnTo>
                  <a:lnTo>
                    <a:pt x="130" y="128"/>
                  </a:lnTo>
                  <a:lnTo>
                    <a:pt x="132" y="128"/>
                  </a:lnTo>
                  <a:lnTo>
                    <a:pt x="132" y="126"/>
                  </a:lnTo>
                  <a:lnTo>
                    <a:pt x="132" y="123"/>
                  </a:lnTo>
                  <a:lnTo>
                    <a:pt x="130" y="123"/>
                  </a:lnTo>
                  <a:lnTo>
                    <a:pt x="130" y="121"/>
                  </a:lnTo>
                  <a:lnTo>
                    <a:pt x="128" y="121"/>
                  </a:lnTo>
                  <a:lnTo>
                    <a:pt x="125" y="118"/>
                  </a:lnTo>
                  <a:lnTo>
                    <a:pt x="123" y="118"/>
                  </a:lnTo>
                  <a:lnTo>
                    <a:pt x="125" y="118"/>
                  </a:lnTo>
                  <a:lnTo>
                    <a:pt x="123" y="118"/>
                  </a:lnTo>
                  <a:lnTo>
                    <a:pt x="123" y="116"/>
                  </a:lnTo>
                  <a:lnTo>
                    <a:pt x="123" y="114"/>
                  </a:lnTo>
                  <a:lnTo>
                    <a:pt x="121" y="114"/>
                  </a:lnTo>
                  <a:lnTo>
                    <a:pt x="118" y="114"/>
                  </a:lnTo>
                  <a:lnTo>
                    <a:pt x="116" y="114"/>
                  </a:lnTo>
                  <a:lnTo>
                    <a:pt x="116" y="111"/>
                  </a:lnTo>
                  <a:lnTo>
                    <a:pt x="116" y="109"/>
                  </a:lnTo>
                  <a:lnTo>
                    <a:pt x="116" y="107"/>
                  </a:lnTo>
                  <a:lnTo>
                    <a:pt x="113" y="107"/>
                  </a:lnTo>
                  <a:lnTo>
                    <a:pt x="113" y="104"/>
                  </a:lnTo>
                  <a:lnTo>
                    <a:pt x="111" y="104"/>
                  </a:lnTo>
                  <a:lnTo>
                    <a:pt x="111" y="102"/>
                  </a:lnTo>
                  <a:lnTo>
                    <a:pt x="109" y="102"/>
                  </a:lnTo>
                  <a:lnTo>
                    <a:pt x="106" y="102"/>
                  </a:lnTo>
                  <a:lnTo>
                    <a:pt x="106" y="99"/>
                  </a:lnTo>
                  <a:lnTo>
                    <a:pt x="104" y="99"/>
                  </a:lnTo>
                  <a:lnTo>
                    <a:pt x="102" y="99"/>
                  </a:lnTo>
                  <a:lnTo>
                    <a:pt x="102" y="97"/>
                  </a:lnTo>
                  <a:lnTo>
                    <a:pt x="99" y="97"/>
                  </a:lnTo>
                  <a:lnTo>
                    <a:pt x="97" y="97"/>
                  </a:lnTo>
                  <a:lnTo>
                    <a:pt x="94" y="97"/>
                  </a:lnTo>
                  <a:lnTo>
                    <a:pt x="94" y="95"/>
                  </a:lnTo>
                  <a:lnTo>
                    <a:pt x="92" y="95"/>
                  </a:lnTo>
                  <a:lnTo>
                    <a:pt x="90" y="95"/>
                  </a:lnTo>
                  <a:lnTo>
                    <a:pt x="87" y="95"/>
                  </a:lnTo>
                  <a:lnTo>
                    <a:pt x="85" y="95"/>
                  </a:lnTo>
                  <a:lnTo>
                    <a:pt x="83" y="95"/>
                  </a:lnTo>
                  <a:lnTo>
                    <a:pt x="80" y="95"/>
                  </a:lnTo>
                  <a:lnTo>
                    <a:pt x="80" y="92"/>
                  </a:lnTo>
                  <a:lnTo>
                    <a:pt x="78" y="92"/>
                  </a:lnTo>
                  <a:lnTo>
                    <a:pt x="78" y="90"/>
                  </a:lnTo>
                  <a:lnTo>
                    <a:pt x="76" y="90"/>
                  </a:lnTo>
                  <a:lnTo>
                    <a:pt x="76" y="88"/>
                  </a:lnTo>
                  <a:lnTo>
                    <a:pt x="73" y="88"/>
                  </a:lnTo>
                  <a:lnTo>
                    <a:pt x="71" y="88"/>
                  </a:lnTo>
                  <a:lnTo>
                    <a:pt x="68" y="88"/>
                  </a:lnTo>
                  <a:lnTo>
                    <a:pt x="68" y="85"/>
                  </a:lnTo>
                  <a:lnTo>
                    <a:pt x="66" y="85"/>
                  </a:lnTo>
                  <a:lnTo>
                    <a:pt x="66" y="83"/>
                  </a:lnTo>
                  <a:lnTo>
                    <a:pt x="64" y="83"/>
                  </a:lnTo>
                  <a:lnTo>
                    <a:pt x="61" y="83"/>
                  </a:lnTo>
                  <a:lnTo>
                    <a:pt x="59" y="80"/>
                  </a:lnTo>
                  <a:lnTo>
                    <a:pt x="59" y="78"/>
                  </a:lnTo>
                  <a:lnTo>
                    <a:pt x="57" y="78"/>
                  </a:lnTo>
                  <a:lnTo>
                    <a:pt x="54" y="78"/>
                  </a:lnTo>
                  <a:lnTo>
                    <a:pt x="54" y="76"/>
                  </a:lnTo>
                  <a:lnTo>
                    <a:pt x="54" y="73"/>
                  </a:lnTo>
                  <a:lnTo>
                    <a:pt x="52" y="73"/>
                  </a:lnTo>
                  <a:lnTo>
                    <a:pt x="49" y="73"/>
                  </a:lnTo>
                  <a:lnTo>
                    <a:pt x="49" y="71"/>
                  </a:lnTo>
                  <a:lnTo>
                    <a:pt x="47" y="71"/>
                  </a:lnTo>
                  <a:lnTo>
                    <a:pt x="45" y="71"/>
                  </a:lnTo>
                  <a:lnTo>
                    <a:pt x="45" y="69"/>
                  </a:lnTo>
                  <a:lnTo>
                    <a:pt x="42" y="69"/>
                  </a:lnTo>
                  <a:lnTo>
                    <a:pt x="40" y="69"/>
                  </a:lnTo>
                  <a:lnTo>
                    <a:pt x="40" y="66"/>
                  </a:lnTo>
                  <a:lnTo>
                    <a:pt x="42" y="66"/>
                  </a:lnTo>
                  <a:lnTo>
                    <a:pt x="42" y="64"/>
                  </a:lnTo>
                  <a:lnTo>
                    <a:pt x="40" y="64"/>
                  </a:lnTo>
                  <a:lnTo>
                    <a:pt x="40" y="61"/>
                  </a:lnTo>
                  <a:lnTo>
                    <a:pt x="38" y="61"/>
                  </a:lnTo>
                  <a:lnTo>
                    <a:pt x="35" y="61"/>
                  </a:lnTo>
                  <a:lnTo>
                    <a:pt x="33" y="61"/>
                  </a:lnTo>
                  <a:lnTo>
                    <a:pt x="33" y="59"/>
                  </a:lnTo>
                  <a:lnTo>
                    <a:pt x="30" y="61"/>
                  </a:lnTo>
                  <a:lnTo>
                    <a:pt x="30" y="59"/>
                  </a:lnTo>
                  <a:lnTo>
                    <a:pt x="35" y="57"/>
                  </a:lnTo>
                  <a:lnTo>
                    <a:pt x="38" y="57"/>
                  </a:lnTo>
                  <a:lnTo>
                    <a:pt x="47" y="61"/>
                  </a:lnTo>
                  <a:lnTo>
                    <a:pt x="49" y="57"/>
                  </a:lnTo>
                  <a:lnTo>
                    <a:pt x="47" y="57"/>
                  </a:lnTo>
                  <a:lnTo>
                    <a:pt x="47" y="54"/>
                  </a:lnTo>
                  <a:lnTo>
                    <a:pt x="45" y="52"/>
                  </a:lnTo>
                  <a:lnTo>
                    <a:pt x="45" y="50"/>
                  </a:lnTo>
                  <a:lnTo>
                    <a:pt x="49" y="47"/>
                  </a:lnTo>
                  <a:lnTo>
                    <a:pt x="54" y="45"/>
                  </a:lnTo>
                  <a:lnTo>
                    <a:pt x="66" y="47"/>
                  </a:lnTo>
                  <a:lnTo>
                    <a:pt x="71" y="52"/>
                  </a:lnTo>
                  <a:lnTo>
                    <a:pt x="78" y="59"/>
                  </a:lnTo>
                  <a:lnTo>
                    <a:pt x="80" y="61"/>
                  </a:lnTo>
                  <a:lnTo>
                    <a:pt x="85" y="66"/>
                  </a:lnTo>
                  <a:lnTo>
                    <a:pt x="85" y="69"/>
                  </a:lnTo>
                  <a:lnTo>
                    <a:pt x="90" y="73"/>
                  </a:lnTo>
                  <a:lnTo>
                    <a:pt x="92" y="80"/>
                  </a:lnTo>
                  <a:lnTo>
                    <a:pt x="97" y="78"/>
                  </a:lnTo>
                  <a:lnTo>
                    <a:pt x="104" y="83"/>
                  </a:lnTo>
                  <a:lnTo>
                    <a:pt x="113" y="80"/>
                  </a:lnTo>
                  <a:lnTo>
                    <a:pt x="116" y="85"/>
                  </a:lnTo>
                  <a:lnTo>
                    <a:pt x="118" y="85"/>
                  </a:lnTo>
                  <a:lnTo>
                    <a:pt x="121" y="83"/>
                  </a:lnTo>
                  <a:lnTo>
                    <a:pt x="125" y="80"/>
                  </a:lnTo>
                  <a:lnTo>
                    <a:pt x="135" y="80"/>
                  </a:lnTo>
                  <a:lnTo>
                    <a:pt x="135" y="78"/>
                  </a:lnTo>
                  <a:lnTo>
                    <a:pt x="137" y="73"/>
                  </a:lnTo>
                  <a:lnTo>
                    <a:pt x="140" y="73"/>
                  </a:lnTo>
                  <a:lnTo>
                    <a:pt x="144" y="73"/>
                  </a:lnTo>
                  <a:lnTo>
                    <a:pt x="147" y="76"/>
                  </a:lnTo>
                  <a:lnTo>
                    <a:pt x="149" y="76"/>
                  </a:lnTo>
                  <a:lnTo>
                    <a:pt x="149" y="78"/>
                  </a:lnTo>
                  <a:lnTo>
                    <a:pt x="151" y="78"/>
                  </a:lnTo>
                  <a:lnTo>
                    <a:pt x="154" y="80"/>
                  </a:lnTo>
                  <a:lnTo>
                    <a:pt x="166" y="83"/>
                  </a:lnTo>
                  <a:lnTo>
                    <a:pt x="168" y="83"/>
                  </a:lnTo>
                  <a:lnTo>
                    <a:pt x="170" y="85"/>
                  </a:lnTo>
                  <a:lnTo>
                    <a:pt x="173" y="88"/>
                  </a:lnTo>
                  <a:lnTo>
                    <a:pt x="173" y="90"/>
                  </a:lnTo>
                  <a:lnTo>
                    <a:pt x="175" y="90"/>
                  </a:lnTo>
                  <a:lnTo>
                    <a:pt x="175" y="88"/>
                  </a:lnTo>
                  <a:lnTo>
                    <a:pt x="175" y="85"/>
                  </a:lnTo>
                  <a:lnTo>
                    <a:pt x="178" y="85"/>
                  </a:lnTo>
                  <a:lnTo>
                    <a:pt x="180" y="85"/>
                  </a:lnTo>
                  <a:lnTo>
                    <a:pt x="182" y="85"/>
                  </a:lnTo>
                  <a:lnTo>
                    <a:pt x="182" y="83"/>
                  </a:lnTo>
                  <a:lnTo>
                    <a:pt x="180" y="83"/>
                  </a:lnTo>
                  <a:lnTo>
                    <a:pt x="182" y="80"/>
                  </a:lnTo>
                  <a:lnTo>
                    <a:pt x="180" y="80"/>
                  </a:lnTo>
                  <a:lnTo>
                    <a:pt x="182" y="80"/>
                  </a:lnTo>
                  <a:lnTo>
                    <a:pt x="182" y="78"/>
                  </a:lnTo>
                  <a:lnTo>
                    <a:pt x="182" y="76"/>
                  </a:lnTo>
                  <a:lnTo>
                    <a:pt x="185" y="76"/>
                  </a:lnTo>
                  <a:lnTo>
                    <a:pt x="185" y="73"/>
                  </a:lnTo>
                  <a:lnTo>
                    <a:pt x="187" y="71"/>
                  </a:lnTo>
                  <a:lnTo>
                    <a:pt x="189" y="71"/>
                  </a:lnTo>
                  <a:lnTo>
                    <a:pt x="192" y="71"/>
                  </a:lnTo>
                  <a:lnTo>
                    <a:pt x="189" y="69"/>
                  </a:lnTo>
                  <a:lnTo>
                    <a:pt x="192" y="69"/>
                  </a:lnTo>
                  <a:lnTo>
                    <a:pt x="194" y="69"/>
                  </a:lnTo>
                  <a:lnTo>
                    <a:pt x="194" y="71"/>
                  </a:lnTo>
                  <a:lnTo>
                    <a:pt x="197" y="71"/>
                  </a:lnTo>
                  <a:lnTo>
                    <a:pt x="199" y="69"/>
                  </a:lnTo>
                  <a:lnTo>
                    <a:pt x="199" y="66"/>
                  </a:lnTo>
                  <a:lnTo>
                    <a:pt x="201" y="66"/>
                  </a:lnTo>
                  <a:lnTo>
                    <a:pt x="201" y="64"/>
                  </a:lnTo>
                  <a:lnTo>
                    <a:pt x="204" y="64"/>
                  </a:lnTo>
                  <a:lnTo>
                    <a:pt x="204" y="61"/>
                  </a:lnTo>
                  <a:lnTo>
                    <a:pt x="201" y="61"/>
                  </a:lnTo>
                  <a:lnTo>
                    <a:pt x="201" y="59"/>
                  </a:lnTo>
                  <a:lnTo>
                    <a:pt x="201" y="57"/>
                  </a:lnTo>
                  <a:lnTo>
                    <a:pt x="201" y="54"/>
                  </a:lnTo>
                  <a:lnTo>
                    <a:pt x="201" y="52"/>
                  </a:lnTo>
                  <a:lnTo>
                    <a:pt x="201" y="50"/>
                  </a:lnTo>
                  <a:lnTo>
                    <a:pt x="201" y="47"/>
                  </a:lnTo>
                  <a:lnTo>
                    <a:pt x="201" y="45"/>
                  </a:lnTo>
                  <a:lnTo>
                    <a:pt x="204" y="45"/>
                  </a:lnTo>
                  <a:lnTo>
                    <a:pt x="204" y="42"/>
                  </a:lnTo>
                  <a:lnTo>
                    <a:pt x="204" y="40"/>
                  </a:lnTo>
                  <a:lnTo>
                    <a:pt x="206" y="40"/>
                  </a:lnTo>
                  <a:lnTo>
                    <a:pt x="204" y="40"/>
                  </a:lnTo>
                  <a:lnTo>
                    <a:pt x="204" y="38"/>
                  </a:lnTo>
                  <a:lnTo>
                    <a:pt x="204" y="35"/>
                  </a:lnTo>
                  <a:lnTo>
                    <a:pt x="206" y="35"/>
                  </a:lnTo>
                  <a:lnTo>
                    <a:pt x="206" y="33"/>
                  </a:lnTo>
                  <a:lnTo>
                    <a:pt x="206" y="31"/>
                  </a:lnTo>
                  <a:lnTo>
                    <a:pt x="208" y="31"/>
                  </a:lnTo>
                  <a:lnTo>
                    <a:pt x="208" y="28"/>
                  </a:lnTo>
                  <a:lnTo>
                    <a:pt x="208" y="26"/>
                  </a:lnTo>
                  <a:lnTo>
                    <a:pt x="206" y="23"/>
                  </a:lnTo>
                  <a:lnTo>
                    <a:pt x="208" y="23"/>
                  </a:lnTo>
                  <a:lnTo>
                    <a:pt x="208" y="21"/>
                  </a:lnTo>
                  <a:lnTo>
                    <a:pt x="211" y="21"/>
                  </a:lnTo>
                  <a:lnTo>
                    <a:pt x="213" y="21"/>
                  </a:lnTo>
                  <a:lnTo>
                    <a:pt x="215" y="21"/>
                  </a:lnTo>
                  <a:lnTo>
                    <a:pt x="215" y="19"/>
                  </a:lnTo>
                  <a:lnTo>
                    <a:pt x="218" y="19"/>
                  </a:lnTo>
                  <a:lnTo>
                    <a:pt x="218" y="16"/>
                  </a:lnTo>
                  <a:lnTo>
                    <a:pt x="220" y="14"/>
                  </a:lnTo>
                  <a:lnTo>
                    <a:pt x="223" y="14"/>
                  </a:lnTo>
                  <a:lnTo>
                    <a:pt x="223" y="12"/>
                  </a:lnTo>
                  <a:lnTo>
                    <a:pt x="225" y="12"/>
                  </a:lnTo>
                  <a:lnTo>
                    <a:pt x="225" y="9"/>
                  </a:lnTo>
                  <a:lnTo>
                    <a:pt x="225" y="7"/>
                  </a:lnTo>
                  <a:lnTo>
                    <a:pt x="227" y="7"/>
                  </a:lnTo>
                  <a:lnTo>
                    <a:pt x="230" y="7"/>
                  </a:lnTo>
                  <a:lnTo>
                    <a:pt x="232" y="7"/>
                  </a:lnTo>
                  <a:lnTo>
                    <a:pt x="234" y="7"/>
                  </a:lnTo>
                  <a:lnTo>
                    <a:pt x="237" y="7"/>
                  </a:lnTo>
                  <a:lnTo>
                    <a:pt x="239" y="7"/>
                  </a:lnTo>
                  <a:lnTo>
                    <a:pt x="239" y="9"/>
                  </a:lnTo>
                  <a:lnTo>
                    <a:pt x="242" y="9"/>
                  </a:lnTo>
                  <a:lnTo>
                    <a:pt x="242" y="7"/>
                  </a:lnTo>
                  <a:lnTo>
                    <a:pt x="242" y="9"/>
                  </a:lnTo>
                  <a:lnTo>
                    <a:pt x="244" y="9"/>
                  </a:lnTo>
                  <a:lnTo>
                    <a:pt x="246" y="9"/>
                  </a:lnTo>
                  <a:lnTo>
                    <a:pt x="249" y="9"/>
                  </a:lnTo>
                  <a:lnTo>
                    <a:pt x="249" y="7"/>
                  </a:lnTo>
                  <a:lnTo>
                    <a:pt x="251" y="7"/>
                  </a:lnTo>
                  <a:lnTo>
                    <a:pt x="253" y="7"/>
                  </a:lnTo>
                  <a:lnTo>
                    <a:pt x="253" y="4"/>
                  </a:lnTo>
                  <a:lnTo>
                    <a:pt x="256" y="4"/>
                  </a:lnTo>
                  <a:lnTo>
                    <a:pt x="258" y="2"/>
                  </a:lnTo>
                  <a:lnTo>
                    <a:pt x="261" y="2"/>
                  </a:lnTo>
                  <a:lnTo>
                    <a:pt x="261" y="0"/>
                  </a:lnTo>
                  <a:lnTo>
                    <a:pt x="263" y="0"/>
                  </a:lnTo>
                  <a:lnTo>
                    <a:pt x="265" y="0"/>
                  </a:lnTo>
                  <a:lnTo>
                    <a:pt x="268" y="0"/>
                  </a:lnTo>
                  <a:lnTo>
                    <a:pt x="270" y="0"/>
                  </a:lnTo>
                  <a:lnTo>
                    <a:pt x="272" y="0"/>
                  </a:lnTo>
                  <a:lnTo>
                    <a:pt x="275" y="0"/>
                  </a:lnTo>
                  <a:lnTo>
                    <a:pt x="275" y="2"/>
                  </a:lnTo>
                  <a:lnTo>
                    <a:pt x="275" y="4"/>
                  </a:lnTo>
                  <a:lnTo>
                    <a:pt x="277" y="4"/>
                  </a:lnTo>
                  <a:lnTo>
                    <a:pt x="280" y="7"/>
                  </a:lnTo>
                  <a:lnTo>
                    <a:pt x="282" y="9"/>
                  </a:lnTo>
                  <a:lnTo>
                    <a:pt x="287" y="12"/>
                  </a:lnTo>
                  <a:lnTo>
                    <a:pt x="289" y="12"/>
                  </a:lnTo>
                  <a:lnTo>
                    <a:pt x="287" y="14"/>
                  </a:lnTo>
                  <a:lnTo>
                    <a:pt x="289" y="14"/>
                  </a:lnTo>
                  <a:lnTo>
                    <a:pt x="291" y="16"/>
                  </a:lnTo>
                  <a:lnTo>
                    <a:pt x="296" y="16"/>
                  </a:lnTo>
                  <a:lnTo>
                    <a:pt x="308" y="21"/>
                  </a:lnTo>
                  <a:lnTo>
                    <a:pt x="313" y="23"/>
                  </a:lnTo>
                  <a:lnTo>
                    <a:pt x="318" y="28"/>
                  </a:lnTo>
                  <a:lnTo>
                    <a:pt x="320" y="35"/>
                  </a:lnTo>
                  <a:lnTo>
                    <a:pt x="318" y="40"/>
                  </a:lnTo>
                  <a:lnTo>
                    <a:pt x="315" y="40"/>
                  </a:lnTo>
                  <a:lnTo>
                    <a:pt x="310" y="45"/>
                  </a:lnTo>
                  <a:lnTo>
                    <a:pt x="303" y="50"/>
                  </a:lnTo>
                  <a:lnTo>
                    <a:pt x="303" y="52"/>
                  </a:lnTo>
                  <a:lnTo>
                    <a:pt x="303" y="54"/>
                  </a:lnTo>
                  <a:lnTo>
                    <a:pt x="303" y="57"/>
                  </a:lnTo>
                  <a:lnTo>
                    <a:pt x="303" y="59"/>
                  </a:lnTo>
                  <a:lnTo>
                    <a:pt x="306" y="59"/>
                  </a:lnTo>
                  <a:lnTo>
                    <a:pt x="308" y="61"/>
                  </a:lnTo>
                  <a:lnTo>
                    <a:pt x="303" y="61"/>
                  </a:lnTo>
                  <a:lnTo>
                    <a:pt x="294" y="69"/>
                  </a:lnTo>
                  <a:lnTo>
                    <a:pt x="289" y="69"/>
                  </a:lnTo>
                  <a:lnTo>
                    <a:pt x="291" y="71"/>
                  </a:lnTo>
                  <a:lnTo>
                    <a:pt x="299" y="71"/>
                  </a:lnTo>
                  <a:lnTo>
                    <a:pt x="303" y="71"/>
                  </a:lnTo>
                  <a:lnTo>
                    <a:pt x="301" y="78"/>
                  </a:lnTo>
                  <a:lnTo>
                    <a:pt x="296" y="83"/>
                  </a:lnTo>
                  <a:lnTo>
                    <a:pt x="294" y="85"/>
                  </a:lnTo>
                  <a:lnTo>
                    <a:pt x="291" y="90"/>
                  </a:lnTo>
                  <a:lnTo>
                    <a:pt x="296" y="107"/>
                  </a:lnTo>
                  <a:lnTo>
                    <a:pt x="299" y="111"/>
                  </a:lnTo>
                  <a:lnTo>
                    <a:pt x="320" y="118"/>
                  </a:lnTo>
                  <a:lnTo>
                    <a:pt x="332" y="133"/>
                  </a:lnTo>
                  <a:lnTo>
                    <a:pt x="344" y="140"/>
                  </a:lnTo>
                  <a:lnTo>
                    <a:pt x="341" y="142"/>
                  </a:lnTo>
                  <a:lnTo>
                    <a:pt x="339" y="149"/>
                  </a:lnTo>
                  <a:lnTo>
                    <a:pt x="336" y="152"/>
                  </a:lnTo>
                  <a:lnTo>
                    <a:pt x="334" y="154"/>
                  </a:lnTo>
                  <a:lnTo>
                    <a:pt x="334" y="156"/>
                  </a:lnTo>
                  <a:lnTo>
                    <a:pt x="332" y="156"/>
                  </a:lnTo>
                  <a:lnTo>
                    <a:pt x="332" y="159"/>
                  </a:lnTo>
                  <a:lnTo>
                    <a:pt x="329" y="159"/>
                  </a:lnTo>
                  <a:lnTo>
                    <a:pt x="332" y="159"/>
                  </a:lnTo>
                  <a:lnTo>
                    <a:pt x="329" y="159"/>
                  </a:lnTo>
                  <a:lnTo>
                    <a:pt x="329" y="161"/>
                  </a:lnTo>
                  <a:lnTo>
                    <a:pt x="327" y="161"/>
                  </a:lnTo>
                  <a:lnTo>
                    <a:pt x="329" y="161"/>
                  </a:lnTo>
                  <a:lnTo>
                    <a:pt x="327" y="161"/>
                  </a:lnTo>
                  <a:lnTo>
                    <a:pt x="327" y="164"/>
                  </a:lnTo>
                  <a:lnTo>
                    <a:pt x="325" y="164"/>
                  </a:lnTo>
                  <a:lnTo>
                    <a:pt x="322" y="168"/>
                  </a:lnTo>
                  <a:lnTo>
                    <a:pt x="313" y="178"/>
                  </a:lnTo>
                  <a:lnTo>
                    <a:pt x="310" y="180"/>
                  </a:lnTo>
                  <a:lnTo>
                    <a:pt x="310" y="183"/>
                  </a:lnTo>
                  <a:lnTo>
                    <a:pt x="310" y="185"/>
                  </a:lnTo>
                  <a:lnTo>
                    <a:pt x="310" y="187"/>
                  </a:lnTo>
                  <a:lnTo>
                    <a:pt x="313" y="190"/>
                  </a:lnTo>
                  <a:lnTo>
                    <a:pt x="313" y="192"/>
                  </a:lnTo>
                  <a:lnTo>
                    <a:pt x="315" y="192"/>
                  </a:lnTo>
                  <a:lnTo>
                    <a:pt x="318" y="194"/>
                  </a:lnTo>
                  <a:lnTo>
                    <a:pt x="320" y="199"/>
                  </a:lnTo>
                  <a:lnTo>
                    <a:pt x="322" y="202"/>
                  </a:lnTo>
                  <a:lnTo>
                    <a:pt x="322" y="204"/>
                  </a:lnTo>
                  <a:lnTo>
                    <a:pt x="325" y="204"/>
                  </a:lnTo>
                  <a:lnTo>
                    <a:pt x="327" y="206"/>
                  </a:lnTo>
                  <a:lnTo>
                    <a:pt x="329" y="216"/>
                  </a:lnTo>
                  <a:lnTo>
                    <a:pt x="332" y="218"/>
                  </a:lnTo>
                  <a:lnTo>
                    <a:pt x="332" y="221"/>
                  </a:lnTo>
                  <a:lnTo>
                    <a:pt x="334" y="221"/>
                  </a:lnTo>
                  <a:lnTo>
                    <a:pt x="339" y="228"/>
                  </a:lnTo>
                  <a:lnTo>
                    <a:pt x="339" y="230"/>
                  </a:lnTo>
                  <a:lnTo>
                    <a:pt x="341" y="235"/>
                  </a:lnTo>
                  <a:lnTo>
                    <a:pt x="341" y="237"/>
                  </a:lnTo>
                  <a:lnTo>
                    <a:pt x="344" y="237"/>
                  </a:lnTo>
                  <a:lnTo>
                    <a:pt x="344" y="242"/>
                  </a:lnTo>
                  <a:lnTo>
                    <a:pt x="346" y="247"/>
                  </a:lnTo>
                  <a:lnTo>
                    <a:pt x="346" y="252"/>
                  </a:lnTo>
                  <a:lnTo>
                    <a:pt x="346" y="254"/>
                  </a:lnTo>
                  <a:lnTo>
                    <a:pt x="346" y="256"/>
                  </a:lnTo>
                  <a:lnTo>
                    <a:pt x="344" y="254"/>
                  </a:lnTo>
                  <a:lnTo>
                    <a:pt x="339" y="254"/>
                  </a:lnTo>
                  <a:lnTo>
                    <a:pt x="339" y="256"/>
                  </a:lnTo>
                  <a:lnTo>
                    <a:pt x="332" y="256"/>
                  </a:lnTo>
                  <a:lnTo>
                    <a:pt x="334" y="259"/>
                  </a:lnTo>
                  <a:lnTo>
                    <a:pt x="339" y="261"/>
                  </a:lnTo>
                  <a:lnTo>
                    <a:pt x="334" y="263"/>
                  </a:lnTo>
                  <a:lnTo>
                    <a:pt x="334" y="266"/>
                  </a:lnTo>
                  <a:lnTo>
                    <a:pt x="334" y="271"/>
                  </a:lnTo>
                  <a:lnTo>
                    <a:pt x="334" y="273"/>
                  </a:lnTo>
                  <a:lnTo>
                    <a:pt x="332" y="275"/>
                  </a:lnTo>
                  <a:lnTo>
                    <a:pt x="329" y="278"/>
                  </a:lnTo>
                  <a:lnTo>
                    <a:pt x="329" y="280"/>
                  </a:lnTo>
                  <a:lnTo>
                    <a:pt x="332" y="280"/>
                  </a:lnTo>
                  <a:lnTo>
                    <a:pt x="334" y="280"/>
                  </a:lnTo>
                  <a:lnTo>
                    <a:pt x="336" y="280"/>
                  </a:lnTo>
                  <a:lnTo>
                    <a:pt x="339" y="280"/>
                  </a:lnTo>
                  <a:lnTo>
                    <a:pt x="339" y="282"/>
                  </a:lnTo>
                  <a:lnTo>
                    <a:pt x="336" y="285"/>
                  </a:lnTo>
                  <a:lnTo>
                    <a:pt x="339" y="285"/>
                  </a:lnTo>
                  <a:lnTo>
                    <a:pt x="339" y="287"/>
                  </a:lnTo>
                  <a:lnTo>
                    <a:pt x="336" y="287"/>
                  </a:lnTo>
                  <a:lnTo>
                    <a:pt x="334" y="287"/>
                  </a:lnTo>
                  <a:lnTo>
                    <a:pt x="329" y="290"/>
                  </a:lnTo>
                  <a:lnTo>
                    <a:pt x="329" y="292"/>
                  </a:lnTo>
                  <a:lnTo>
                    <a:pt x="329" y="294"/>
                  </a:lnTo>
                  <a:lnTo>
                    <a:pt x="329" y="297"/>
                  </a:lnTo>
                  <a:lnTo>
                    <a:pt x="329" y="299"/>
                  </a:lnTo>
                  <a:lnTo>
                    <a:pt x="332" y="301"/>
                  </a:lnTo>
                  <a:lnTo>
                    <a:pt x="332" y="304"/>
                  </a:lnTo>
                  <a:lnTo>
                    <a:pt x="334" y="304"/>
                  </a:lnTo>
                  <a:lnTo>
                    <a:pt x="336" y="304"/>
                  </a:lnTo>
                  <a:lnTo>
                    <a:pt x="339" y="304"/>
                  </a:lnTo>
                  <a:lnTo>
                    <a:pt x="341" y="304"/>
                  </a:lnTo>
                  <a:lnTo>
                    <a:pt x="344" y="304"/>
                  </a:lnTo>
                  <a:lnTo>
                    <a:pt x="346" y="306"/>
                  </a:lnTo>
                  <a:lnTo>
                    <a:pt x="344" y="306"/>
                  </a:lnTo>
                  <a:lnTo>
                    <a:pt x="344" y="309"/>
                  </a:lnTo>
                  <a:lnTo>
                    <a:pt x="346" y="313"/>
                  </a:lnTo>
                  <a:lnTo>
                    <a:pt x="344" y="313"/>
                  </a:lnTo>
                  <a:lnTo>
                    <a:pt x="341" y="316"/>
                  </a:lnTo>
                  <a:lnTo>
                    <a:pt x="341" y="318"/>
                  </a:lnTo>
                  <a:lnTo>
                    <a:pt x="344" y="320"/>
                  </a:lnTo>
                  <a:lnTo>
                    <a:pt x="344" y="323"/>
                  </a:lnTo>
                  <a:lnTo>
                    <a:pt x="344" y="325"/>
                  </a:lnTo>
                  <a:lnTo>
                    <a:pt x="346" y="328"/>
                  </a:lnTo>
                  <a:lnTo>
                    <a:pt x="348" y="330"/>
                  </a:lnTo>
                  <a:lnTo>
                    <a:pt x="351" y="330"/>
                  </a:lnTo>
                  <a:lnTo>
                    <a:pt x="355" y="332"/>
                  </a:lnTo>
                  <a:lnTo>
                    <a:pt x="353" y="332"/>
                  </a:lnTo>
                  <a:lnTo>
                    <a:pt x="355" y="332"/>
                  </a:lnTo>
                  <a:lnTo>
                    <a:pt x="358" y="335"/>
                  </a:lnTo>
                  <a:lnTo>
                    <a:pt x="360" y="337"/>
                  </a:lnTo>
                  <a:lnTo>
                    <a:pt x="358" y="337"/>
                  </a:lnTo>
                  <a:lnTo>
                    <a:pt x="360" y="339"/>
                  </a:lnTo>
                  <a:lnTo>
                    <a:pt x="360" y="342"/>
                  </a:lnTo>
                  <a:lnTo>
                    <a:pt x="360" y="344"/>
                  </a:lnTo>
                  <a:lnTo>
                    <a:pt x="360" y="347"/>
                  </a:lnTo>
                  <a:lnTo>
                    <a:pt x="358" y="347"/>
                  </a:lnTo>
                  <a:lnTo>
                    <a:pt x="358" y="349"/>
                  </a:lnTo>
                  <a:lnTo>
                    <a:pt x="355" y="351"/>
                  </a:lnTo>
                  <a:lnTo>
                    <a:pt x="353" y="351"/>
                  </a:lnTo>
                  <a:lnTo>
                    <a:pt x="353" y="354"/>
                  </a:lnTo>
                  <a:lnTo>
                    <a:pt x="351" y="358"/>
                  </a:lnTo>
                  <a:lnTo>
                    <a:pt x="348" y="358"/>
                  </a:lnTo>
                  <a:lnTo>
                    <a:pt x="341" y="361"/>
                  </a:lnTo>
                  <a:lnTo>
                    <a:pt x="344" y="366"/>
                  </a:lnTo>
                  <a:lnTo>
                    <a:pt x="346" y="366"/>
                  </a:lnTo>
                  <a:lnTo>
                    <a:pt x="346" y="368"/>
                  </a:lnTo>
                  <a:lnTo>
                    <a:pt x="351" y="370"/>
                  </a:lnTo>
                  <a:lnTo>
                    <a:pt x="353" y="373"/>
                  </a:lnTo>
                  <a:lnTo>
                    <a:pt x="355" y="373"/>
                  </a:lnTo>
                  <a:lnTo>
                    <a:pt x="358" y="377"/>
                  </a:lnTo>
                  <a:lnTo>
                    <a:pt x="363" y="380"/>
                  </a:lnTo>
                  <a:lnTo>
                    <a:pt x="365" y="380"/>
                  </a:lnTo>
                  <a:lnTo>
                    <a:pt x="367" y="382"/>
                  </a:lnTo>
                  <a:lnTo>
                    <a:pt x="370" y="382"/>
                  </a:lnTo>
                  <a:lnTo>
                    <a:pt x="370" y="385"/>
                  </a:lnTo>
                  <a:lnTo>
                    <a:pt x="372" y="385"/>
                  </a:lnTo>
                  <a:lnTo>
                    <a:pt x="374" y="385"/>
                  </a:lnTo>
                  <a:lnTo>
                    <a:pt x="374" y="387"/>
                  </a:lnTo>
                  <a:lnTo>
                    <a:pt x="377" y="387"/>
                  </a:lnTo>
                  <a:lnTo>
                    <a:pt x="379" y="389"/>
                  </a:lnTo>
                  <a:lnTo>
                    <a:pt x="382" y="389"/>
                  </a:lnTo>
                  <a:lnTo>
                    <a:pt x="382" y="392"/>
                  </a:lnTo>
                  <a:lnTo>
                    <a:pt x="384" y="392"/>
                  </a:lnTo>
                  <a:lnTo>
                    <a:pt x="384" y="394"/>
                  </a:lnTo>
                  <a:lnTo>
                    <a:pt x="384" y="396"/>
                  </a:lnTo>
                  <a:lnTo>
                    <a:pt x="384" y="399"/>
                  </a:lnTo>
                  <a:lnTo>
                    <a:pt x="386" y="399"/>
                  </a:lnTo>
                  <a:lnTo>
                    <a:pt x="389" y="401"/>
                  </a:lnTo>
                  <a:lnTo>
                    <a:pt x="391" y="401"/>
                  </a:lnTo>
                  <a:lnTo>
                    <a:pt x="391" y="404"/>
                  </a:lnTo>
                  <a:lnTo>
                    <a:pt x="393" y="408"/>
                  </a:lnTo>
                  <a:lnTo>
                    <a:pt x="391" y="413"/>
                  </a:lnTo>
                  <a:lnTo>
                    <a:pt x="391" y="415"/>
                  </a:lnTo>
                  <a:lnTo>
                    <a:pt x="389" y="415"/>
                  </a:lnTo>
                  <a:lnTo>
                    <a:pt x="389" y="420"/>
                  </a:lnTo>
                  <a:lnTo>
                    <a:pt x="389" y="423"/>
                  </a:lnTo>
                  <a:lnTo>
                    <a:pt x="386" y="423"/>
                  </a:lnTo>
                  <a:lnTo>
                    <a:pt x="384" y="430"/>
                  </a:lnTo>
                  <a:lnTo>
                    <a:pt x="382" y="432"/>
                  </a:lnTo>
                  <a:lnTo>
                    <a:pt x="382" y="434"/>
                  </a:lnTo>
                  <a:lnTo>
                    <a:pt x="379" y="434"/>
                  </a:lnTo>
                  <a:lnTo>
                    <a:pt x="374" y="439"/>
                  </a:lnTo>
                  <a:lnTo>
                    <a:pt x="374" y="442"/>
                  </a:lnTo>
                  <a:lnTo>
                    <a:pt x="372" y="442"/>
                  </a:lnTo>
                  <a:lnTo>
                    <a:pt x="370" y="444"/>
                  </a:lnTo>
                  <a:lnTo>
                    <a:pt x="367" y="444"/>
                  </a:lnTo>
                  <a:lnTo>
                    <a:pt x="367" y="446"/>
                  </a:lnTo>
                  <a:lnTo>
                    <a:pt x="365" y="446"/>
                  </a:lnTo>
                  <a:lnTo>
                    <a:pt x="363" y="446"/>
                  </a:lnTo>
                  <a:lnTo>
                    <a:pt x="363" y="449"/>
                  </a:lnTo>
                  <a:lnTo>
                    <a:pt x="363" y="451"/>
                  </a:lnTo>
                  <a:lnTo>
                    <a:pt x="360" y="451"/>
                  </a:lnTo>
                  <a:lnTo>
                    <a:pt x="355" y="456"/>
                  </a:lnTo>
                  <a:lnTo>
                    <a:pt x="355" y="458"/>
                  </a:lnTo>
                  <a:lnTo>
                    <a:pt x="353" y="458"/>
                  </a:lnTo>
                  <a:lnTo>
                    <a:pt x="353" y="461"/>
                  </a:lnTo>
                  <a:lnTo>
                    <a:pt x="351" y="461"/>
                  </a:lnTo>
                  <a:lnTo>
                    <a:pt x="351" y="463"/>
                  </a:lnTo>
                  <a:lnTo>
                    <a:pt x="348" y="463"/>
                  </a:lnTo>
                  <a:lnTo>
                    <a:pt x="348" y="465"/>
                  </a:lnTo>
                  <a:lnTo>
                    <a:pt x="346" y="465"/>
                  </a:lnTo>
                  <a:lnTo>
                    <a:pt x="344" y="468"/>
                  </a:lnTo>
                  <a:lnTo>
                    <a:pt x="344" y="470"/>
                  </a:lnTo>
                  <a:lnTo>
                    <a:pt x="339" y="475"/>
                  </a:lnTo>
                  <a:lnTo>
                    <a:pt x="336" y="477"/>
                  </a:lnTo>
                  <a:lnTo>
                    <a:pt x="334" y="480"/>
                  </a:lnTo>
                  <a:lnTo>
                    <a:pt x="334" y="482"/>
                  </a:lnTo>
                  <a:lnTo>
                    <a:pt x="332" y="482"/>
                  </a:lnTo>
                  <a:lnTo>
                    <a:pt x="329" y="484"/>
                  </a:lnTo>
                  <a:lnTo>
                    <a:pt x="327" y="487"/>
                  </a:lnTo>
                  <a:lnTo>
                    <a:pt x="325" y="487"/>
                  </a:lnTo>
                  <a:lnTo>
                    <a:pt x="327" y="487"/>
                  </a:lnTo>
                  <a:lnTo>
                    <a:pt x="322" y="491"/>
                  </a:lnTo>
                  <a:lnTo>
                    <a:pt x="320" y="494"/>
                  </a:lnTo>
                  <a:lnTo>
                    <a:pt x="318" y="496"/>
                  </a:lnTo>
                  <a:lnTo>
                    <a:pt x="318" y="499"/>
                  </a:lnTo>
                  <a:lnTo>
                    <a:pt x="315" y="499"/>
                  </a:lnTo>
                  <a:lnTo>
                    <a:pt x="313" y="501"/>
                  </a:lnTo>
                  <a:lnTo>
                    <a:pt x="310" y="501"/>
                  </a:lnTo>
                  <a:lnTo>
                    <a:pt x="308" y="503"/>
                  </a:lnTo>
                  <a:lnTo>
                    <a:pt x="306" y="503"/>
                  </a:lnTo>
                  <a:lnTo>
                    <a:pt x="306" y="506"/>
                  </a:lnTo>
                  <a:lnTo>
                    <a:pt x="303" y="506"/>
                  </a:lnTo>
                  <a:lnTo>
                    <a:pt x="303" y="508"/>
                  </a:lnTo>
                  <a:lnTo>
                    <a:pt x="301" y="508"/>
                  </a:lnTo>
                  <a:lnTo>
                    <a:pt x="301" y="510"/>
                  </a:lnTo>
                  <a:lnTo>
                    <a:pt x="299" y="510"/>
                  </a:lnTo>
                  <a:lnTo>
                    <a:pt x="299" y="513"/>
                  </a:lnTo>
                  <a:lnTo>
                    <a:pt x="299" y="515"/>
                  </a:lnTo>
                  <a:lnTo>
                    <a:pt x="296" y="515"/>
                  </a:lnTo>
                  <a:lnTo>
                    <a:pt x="294" y="515"/>
                  </a:lnTo>
                  <a:lnTo>
                    <a:pt x="291" y="515"/>
                  </a:lnTo>
                  <a:lnTo>
                    <a:pt x="291" y="518"/>
                  </a:lnTo>
                  <a:lnTo>
                    <a:pt x="287" y="520"/>
                  </a:lnTo>
                  <a:lnTo>
                    <a:pt x="284" y="522"/>
                  </a:lnTo>
                  <a:lnTo>
                    <a:pt x="284" y="525"/>
                  </a:lnTo>
                  <a:lnTo>
                    <a:pt x="282" y="525"/>
                  </a:lnTo>
                  <a:lnTo>
                    <a:pt x="282" y="527"/>
                  </a:lnTo>
                  <a:lnTo>
                    <a:pt x="280" y="527"/>
                  </a:lnTo>
                  <a:lnTo>
                    <a:pt x="277" y="527"/>
                  </a:lnTo>
                  <a:lnTo>
                    <a:pt x="272" y="532"/>
                  </a:lnTo>
                  <a:lnTo>
                    <a:pt x="272" y="534"/>
                  </a:lnTo>
                  <a:lnTo>
                    <a:pt x="270" y="534"/>
                  </a:lnTo>
                  <a:lnTo>
                    <a:pt x="270" y="537"/>
                  </a:lnTo>
                  <a:lnTo>
                    <a:pt x="268" y="537"/>
                  </a:lnTo>
                  <a:lnTo>
                    <a:pt x="270" y="537"/>
                  </a:lnTo>
                  <a:lnTo>
                    <a:pt x="268" y="537"/>
                  </a:lnTo>
                  <a:lnTo>
                    <a:pt x="268" y="534"/>
                  </a:lnTo>
                  <a:lnTo>
                    <a:pt x="268" y="537"/>
                  </a:lnTo>
                  <a:lnTo>
                    <a:pt x="268" y="539"/>
                  </a:lnTo>
                  <a:lnTo>
                    <a:pt x="268" y="537"/>
                  </a:lnTo>
                  <a:lnTo>
                    <a:pt x="268" y="539"/>
                  </a:lnTo>
                  <a:lnTo>
                    <a:pt x="268" y="537"/>
                  </a:lnTo>
                  <a:lnTo>
                    <a:pt x="268" y="539"/>
                  </a:lnTo>
                  <a:lnTo>
                    <a:pt x="265" y="539"/>
                  </a:lnTo>
                  <a:lnTo>
                    <a:pt x="263" y="539"/>
                  </a:lnTo>
                  <a:lnTo>
                    <a:pt x="265" y="539"/>
                  </a:lnTo>
                  <a:lnTo>
                    <a:pt x="263" y="539"/>
                  </a:lnTo>
                  <a:lnTo>
                    <a:pt x="263" y="537"/>
                  </a:lnTo>
                  <a:lnTo>
                    <a:pt x="263" y="539"/>
                  </a:lnTo>
                  <a:lnTo>
                    <a:pt x="265" y="539"/>
                  </a:lnTo>
                  <a:lnTo>
                    <a:pt x="265" y="537"/>
                  </a:lnTo>
                  <a:lnTo>
                    <a:pt x="263" y="537"/>
                  </a:lnTo>
                  <a:lnTo>
                    <a:pt x="263" y="539"/>
                  </a:lnTo>
                  <a:lnTo>
                    <a:pt x="263" y="541"/>
                  </a:lnTo>
                  <a:lnTo>
                    <a:pt x="263" y="539"/>
                  </a:lnTo>
                  <a:lnTo>
                    <a:pt x="261" y="539"/>
                  </a:lnTo>
                  <a:lnTo>
                    <a:pt x="258" y="539"/>
                  </a:lnTo>
                  <a:lnTo>
                    <a:pt x="258" y="541"/>
                  </a:lnTo>
                  <a:lnTo>
                    <a:pt x="261" y="541"/>
                  </a:lnTo>
                  <a:lnTo>
                    <a:pt x="258" y="541"/>
                  </a:lnTo>
                  <a:lnTo>
                    <a:pt x="256" y="541"/>
                  </a:lnTo>
                  <a:lnTo>
                    <a:pt x="256" y="539"/>
                  </a:lnTo>
                  <a:lnTo>
                    <a:pt x="253" y="539"/>
                  </a:lnTo>
                  <a:lnTo>
                    <a:pt x="256" y="539"/>
                  </a:lnTo>
                  <a:lnTo>
                    <a:pt x="253" y="539"/>
                  </a:lnTo>
                  <a:lnTo>
                    <a:pt x="253" y="537"/>
                  </a:lnTo>
                  <a:lnTo>
                    <a:pt x="253" y="539"/>
                  </a:lnTo>
                  <a:lnTo>
                    <a:pt x="251" y="539"/>
                  </a:lnTo>
                  <a:lnTo>
                    <a:pt x="253" y="539"/>
                  </a:lnTo>
                  <a:lnTo>
                    <a:pt x="251" y="539"/>
                  </a:lnTo>
                  <a:lnTo>
                    <a:pt x="251" y="537"/>
                  </a:lnTo>
                  <a:lnTo>
                    <a:pt x="251" y="539"/>
                  </a:lnTo>
                  <a:lnTo>
                    <a:pt x="249" y="539"/>
                  </a:lnTo>
                  <a:lnTo>
                    <a:pt x="249" y="537"/>
                  </a:lnTo>
                  <a:lnTo>
                    <a:pt x="251" y="537"/>
                  </a:lnTo>
                  <a:lnTo>
                    <a:pt x="249" y="537"/>
                  </a:lnTo>
                  <a:lnTo>
                    <a:pt x="251" y="537"/>
                  </a:lnTo>
                  <a:lnTo>
                    <a:pt x="249" y="537"/>
                  </a:lnTo>
                  <a:lnTo>
                    <a:pt x="251" y="537"/>
                  </a:lnTo>
                  <a:lnTo>
                    <a:pt x="249" y="537"/>
                  </a:lnTo>
                  <a:lnTo>
                    <a:pt x="249" y="534"/>
                  </a:lnTo>
                  <a:lnTo>
                    <a:pt x="249" y="537"/>
                  </a:lnTo>
                  <a:lnTo>
                    <a:pt x="249" y="534"/>
                  </a:lnTo>
                  <a:lnTo>
                    <a:pt x="249" y="537"/>
                  </a:lnTo>
                  <a:lnTo>
                    <a:pt x="249" y="539"/>
                  </a:lnTo>
                  <a:lnTo>
                    <a:pt x="249" y="537"/>
                  </a:lnTo>
                  <a:lnTo>
                    <a:pt x="249" y="539"/>
                  </a:lnTo>
                  <a:lnTo>
                    <a:pt x="249" y="537"/>
                  </a:lnTo>
                  <a:lnTo>
                    <a:pt x="246" y="537"/>
                  </a:lnTo>
                  <a:lnTo>
                    <a:pt x="244" y="537"/>
                  </a:lnTo>
                  <a:lnTo>
                    <a:pt x="246" y="537"/>
                  </a:lnTo>
                  <a:lnTo>
                    <a:pt x="244" y="537"/>
                  </a:lnTo>
                  <a:lnTo>
                    <a:pt x="244" y="539"/>
                  </a:lnTo>
                  <a:lnTo>
                    <a:pt x="244" y="537"/>
                  </a:lnTo>
                  <a:lnTo>
                    <a:pt x="244" y="539"/>
                  </a:lnTo>
                  <a:lnTo>
                    <a:pt x="242" y="539"/>
                  </a:lnTo>
                  <a:lnTo>
                    <a:pt x="244" y="539"/>
                  </a:lnTo>
                  <a:lnTo>
                    <a:pt x="242" y="539"/>
                  </a:lnTo>
                  <a:lnTo>
                    <a:pt x="242" y="541"/>
                  </a:lnTo>
                  <a:lnTo>
                    <a:pt x="244" y="541"/>
                  </a:lnTo>
                  <a:lnTo>
                    <a:pt x="242" y="541"/>
                  </a:lnTo>
                  <a:lnTo>
                    <a:pt x="242" y="539"/>
                  </a:lnTo>
                  <a:lnTo>
                    <a:pt x="239" y="539"/>
                  </a:lnTo>
                  <a:lnTo>
                    <a:pt x="242" y="539"/>
                  </a:lnTo>
                  <a:lnTo>
                    <a:pt x="242" y="541"/>
                  </a:lnTo>
                  <a:lnTo>
                    <a:pt x="239" y="541"/>
                  </a:lnTo>
                  <a:lnTo>
                    <a:pt x="239" y="539"/>
                  </a:lnTo>
                  <a:lnTo>
                    <a:pt x="239" y="541"/>
                  </a:lnTo>
                  <a:lnTo>
                    <a:pt x="242" y="541"/>
                  </a:lnTo>
                  <a:lnTo>
                    <a:pt x="239" y="541"/>
                  </a:lnTo>
                  <a:lnTo>
                    <a:pt x="242" y="541"/>
                  </a:lnTo>
                  <a:lnTo>
                    <a:pt x="239" y="541"/>
                  </a:lnTo>
                  <a:lnTo>
                    <a:pt x="239" y="544"/>
                  </a:lnTo>
                  <a:lnTo>
                    <a:pt x="242" y="541"/>
                  </a:lnTo>
                  <a:lnTo>
                    <a:pt x="242" y="544"/>
                  </a:lnTo>
                  <a:lnTo>
                    <a:pt x="239" y="544"/>
                  </a:lnTo>
                  <a:lnTo>
                    <a:pt x="239" y="541"/>
                  </a:lnTo>
                  <a:lnTo>
                    <a:pt x="239" y="544"/>
                  </a:lnTo>
                  <a:lnTo>
                    <a:pt x="239" y="541"/>
                  </a:lnTo>
                  <a:lnTo>
                    <a:pt x="239" y="539"/>
                  </a:lnTo>
                  <a:lnTo>
                    <a:pt x="239" y="541"/>
                  </a:lnTo>
                  <a:lnTo>
                    <a:pt x="237" y="541"/>
                  </a:lnTo>
                  <a:lnTo>
                    <a:pt x="234" y="541"/>
                  </a:lnTo>
                  <a:lnTo>
                    <a:pt x="237" y="539"/>
                  </a:lnTo>
                  <a:lnTo>
                    <a:pt x="234" y="539"/>
                  </a:lnTo>
                  <a:lnTo>
                    <a:pt x="234" y="541"/>
                  </a:lnTo>
                  <a:lnTo>
                    <a:pt x="234" y="539"/>
                  </a:lnTo>
                  <a:lnTo>
                    <a:pt x="234" y="541"/>
                  </a:lnTo>
                  <a:lnTo>
                    <a:pt x="232" y="541"/>
                  </a:lnTo>
                  <a:lnTo>
                    <a:pt x="232" y="544"/>
                  </a:lnTo>
                  <a:lnTo>
                    <a:pt x="232" y="541"/>
                  </a:lnTo>
                  <a:lnTo>
                    <a:pt x="232" y="544"/>
                  </a:lnTo>
                  <a:lnTo>
                    <a:pt x="232" y="541"/>
                  </a:lnTo>
                  <a:lnTo>
                    <a:pt x="230" y="541"/>
                  </a:lnTo>
                  <a:lnTo>
                    <a:pt x="230" y="544"/>
                  </a:lnTo>
                  <a:lnTo>
                    <a:pt x="230" y="541"/>
                  </a:lnTo>
                  <a:lnTo>
                    <a:pt x="227" y="541"/>
                  </a:lnTo>
                  <a:lnTo>
                    <a:pt x="225" y="541"/>
                  </a:lnTo>
                  <a:lnTo>
                    <a:pt x="225" y="539"/>
                  </a:lnTo>
                  <a:lnTo>
                    <a:pt x="225" y="541"/>
                  </a:lnTo>
                  <a:lnTo>
                    <a:pt x="225" y="544"/>
                  </a:lnTo>
                  <a:lnTo>
                    <a:pt x="223" y="544"/>
                  </a:lnTo>
                  <a:lnTo>
                    <a:pt x="225" y="544"/>
                  </a:lnTo>
                  <a:lnTo>
                    <a:pt x="223" y="544"/>
                  </a:lnTo>
                  <a:lnTo>
                    <a:pt x="225" y="544"/>
                  </a:lnTo>
                  <a:lnTo>
                    <a:pt x="225" y="546"/>
                  </a:lnTo>
                  <a:lnTo>
                    <a:pt x="227" y="546"/>
                  </a:lnTo>
                  <a:lnTo>
                    <a:pt x="227" y="548"/>
                  </a:lnTo>
                  <a:lnTo>
                    <a:pt x="227" y="546"/>
                  </a:lnTo>
                  <a:lnTo>
                    <a:pt x="227" y="548"/>
                  </a:lnTo>
                  <a:lnTo>
                    <a:pt x="227" y="546"/>
                  </a:lnTo>
                  <a:lnTo>
                    <a:pt x="225" y="546"/>
                  </a:lnTo>
                  <a:lnTo>
                    <a:pt x="223" y="546"/>
                  </a:lnTo>
                  <a:lnTo>
                    <a:pt x="225" y="546"/>
                  </a:lnTo>
                  <a:lnTo>
                    <a:pt x="223" y="546"/>
                  </a:lnTo>
                  <a:lnTo>
                    <a:pt x="223" y="544"/>
                  </a:lnTo>
                  <a:lnTo>
                    <a:pt x="223" y="546"/>
                  </a:lnTo>
                  <a:lnTo>
                    <a:pt x="225" y="546"/>
                  </a:lnTo>
                  <a:lnTo>
                    <a:pt x="225" y="544"/>
                  </a:lnTo>
                  <a:lnTo>
                    <a:pt x="225" y="546"/>
                  </a:lnTo>
                  <a:lnTo>
                    <a:pt x="225" y="544"/>
                  </a:lnTo>
                  <a:lnTo>
                    <a:pt x="223" y="544"/>
                  </a:lnTo>
                  <a:lnTo>
                    <a:pt x="225" y="544"/>
                  </a:lnTo>
                  <a:lnTo>
                    <a:pt x="223" y="544"/>
                  </a:lnTo>
                  <a:lnTo>
                    <a:pt x="220" y="544"/>
                  </a:lnTo>
                  <a:lnTo>
                    <a:pt x="223" y="544"/>
                  </a:lnTo>
                  <a:lnTo>
                    <a:pt x="223" y="546"/>
                  </a:lnTo>
                  <a:lnTo>
                    <a:pt x="220" y="546"/>
                  </a:lnTo>
                  <a:lnTo>
                    <a:pt x="223" y="546"/>
                  </a:lnTo>
                  <a:lnTo>
                    <a:pt x="220" y="546"/>
                  </a:lnTo>
                  <a:lnTo>
                    <a:pt x="220" y="544"/>
                  </a:lnTo>
                  <a:lnTo>
                    <a:pt x="220" y="541"/>
                  </a:lnTo>
                  <a:lnTo>
                    <a:pt x="220" y="544"/>
                  </a:lnTo>
                  <a:lnTo>
                    <a:pt x="220" y="541"/>
                  </a:lnTo>
                  <a:lnTo>
                    <a:pt x="218" y="541"/>
                  </a:lnTo>
                  <a:lnTo>
                    <a:pt x="218" y="544"/>
                  </a:lnTo>
                  <a:lnTo>
                    <a:pt x="220" y="544"/>
                  </a:lnTo>
                  <a:lnTo>
                    <a:pt x="218" y="544"/>
                  </a:lnTo>
                  <a:lnTo>
                    <a:pt x="220" y="544"/>
                  </a:lnTo>
                  <a:lnTo>
                    <a:pt x="220" y="546"/>
                  </a:lnTo>
                  <a:lnTo>
                    <a:pt x="218" y="544"/>
                  </a:lnTo>
                  <a:lnTo>
                    <a:pt x="215" y="544"/>
                  </a:lnTo>
                  <a:lnTo>
                    <a:pt x="218" y="544"/>
                  </a:lnTo>
                  <a:lnTo>
                    <a:pt x="218" y="546"/>
                  </a:lnTo>
                  <a:lnTo>
                    <a:pt x="218" y="544"/>
                  </a:lnTo>
                  <a:lnTo>
                    <a:pt x="218" y="546"/>
                  </a:lnTo>
                  <a:lnTo>
                    <a:pt x="215" y="546"/>
                  </a:lnTo>
                  <a:lnTo>
                    <a:pt x="218" y="546"/>
                  </a:lnTo>
                  <a:lnTo>
                    <a:pt x="215" y="546"/>
                  </a:lnTo>
                  <a:lnTo>
                    <a:pt x="215" y="544"/>
                  </a:lnTo>
                  <a:lnTo>
                    <a:pt x="213" y="544"/>
                  </a:lnTo>
                  <a:lnTo>
                    <a:pt x="215" y="544"/>
                  </a:lnTo>
                  <a:lnTo>
                    <a:pt x="213" y="544"/>
                  </a:lnTo>
                  <a:lnTo>
                    <a:pt x="213" y="541"/>
                  </a:lnTo>
                  <a:lnTo>
                    <a:pt x="213" y="544"/>
                  </a:lnTo>
                  <a:lnTo>
                    <a:pt x="211" y="544"/>
                  </a:lnTo>
                  <a:lnTo>
                    <a:pt x="211" y="541"/>
                  </a:lnTo>
                  <a:lnTo>
                    <a:pt x="208" y="539"/>
                  </a:lnTo>
                  <a:lnTo>
                    <a:pt x="208" y="541"/>
                  </a:lnTo>
                  <a:lnTo>
                    <a:pt x="208" y="539"/>
                  </a:lnTo>
                  <a:lnTo>
                    <a:pt x="208" y="541"/>
                  </a:lnTo>
                  <a:lnTo>
                    <a:pt x="211" y="541"/>
                  </a:lnTo>
                  <a:lnTo>
                    <a:pt x="208" y="541"/>
                  </a:lnTo>
                  <a:lnTo>
                    <a:pt x="211" y="541"/>
                  </a:lnTo>
                  <a:lnTo>
                    <a:pt x="211" y="544"/>
                  </a:lnTo>
                  <a:lnTo>
                    <a:pt x="211" y="546"/>
                  </a:lnTo>
                  <a:lnTo>
                    <a:pt x="213" y="546"/>
                  </a:lnTo>
                  <a:lnTo>
                    <a:pt x="213" y="548"/>
                  </a:lnTo>
                  <a:lnTo>
                    <a:pt x="213" y="546"/>
                  </a:lnTo>
                  <a:lnTo>
                    <a:pt x="213" y="548"/>
                  </a:lnTo>
                  <a:lnTo>
                    <a:pt x="211" y="548"/>
                  </a:lnTo>
                  <a:lnTo>
                    <a:pt x="211" y="546"/>
                  </a:lnTo>
                  <a:lnTo>
                    <a:pt x="211" y="548"/>
                  </a:lnTo>
                  <a:lnTo>
                    <a:pt x="211" y="546"/>
                  </a:lnTo>
                  <a:lnTo>
                    <a:pt x="208" y="546"/>
                  </a:lnTo>
                  <a:lnTo>
                    <a:pt x="206" y="546"/>
                  </a:lnTo>
                  <a:lnTo>
                    <a:pt x="206" y="544"/>
                  </a:lnTo>
                  <a:lnTo>
                    <a:pt x="206" y="546"/>
                  </a:lnTo>
                  <a:lnTo>
                    <a:pt x="208" y="546"/>
                  </a:lnTo>
                  <a:lnTo>
                    <a:pt x="208" y="548"/>
                  </a:lnTo>
                  <a:lnTo>
                    <a:pt x="206" y="548"/>
                  </a:lnTo>
                  <a:lnTo>
                    <a:pt x="206" y="551"/>
                  </a:lnTo>
                  <a:lnTo>
                    <a:pt x="208" y="551"/>
                  </a:lnTo>
                  <a:lnTo>
                    <a:pt x="206" y="551"/>
                  </a:lnTo>
                  <a:lnTo>
                    <a:pt x="208" y="551"/>
                  </a:lnTo>
                  <a:lnTo>
                    <a:pt x="208" y="553"/>
                  </a:lnTo>
                  <a:lnTo>
                    <a:pt x="206" y="553"/>
                  </a:lnTo>
                  <a:lnTo>
                    <a:pt x="206" y="551"/>
                  </a:lnTo>
                  <a:lnTo>
                    <a:pt x="204" y="551"/>
                  </a:lnTo>
                  <a:lnTo>
                    <a:pt x="204" y="548"/>
                  </a:lnTo>
                  <a:lnTo>
                    <a:pt x="201" y="548"/>
                  </a:lnTo>
                  <a:lnTo>
                    <a:pt x="204" y="548"/>
                  </a:lnTo>
                  <a:lnTo>
                    <a:pt x="204" y="551"/>
                  </a:lnTo>
                  <a:lnTo>
                    <a:pt x="206" y="551"/>
                  </a:lnTo>
                  <a:lnTo>
                    <a:pt x="204" y="551"/>
                  </a:lnTo>
                  <a:lnTo>
                    <a:pt x="204" y="553"/>
                  </a:lnTo>
                  <a:lnTo>
                    <a:pt x="201" y="551"/>
                  </a:lnTo>
                  <a:lnTo>
                    <a:pt x="201" y="553"/>
                  </a:lnTo>
                  <a:lnTo>
                    <a:pt x="204" y="553"/>
                  </a:lnTo>
                  <a:lnTo>
                    <a:pt x="201" y="553"/>
                  </a:lnTo>
                  <a:lnTo>
                    <a:pt x="201" y="551"/>
                  </a:lnTo>
                  <a:lnTo>
                    <a:pt x="199" y="551"/>
                  </a:lnTo>
                  <a:lnTo>
                    <a:pt x="199" y="548"/>
                  </a:lnTo>
                  <a:lnTo>
                    <a:pt x="201" y="548"/>
                  </a:lnTo>
                  <a:lnTo>
                    <a:pt x="199" y="548"/>
                  </a:lnTo>
                  <a:lnTo>
                    <a:pt x="199" y="546"/>
                  </a:lnTo>
                  <a:lnTo>
                    <a:pt x="201" y="546"/>
                  </a:lnTo>
                  <a:lnTo>
                    <a:pt x="201" y="548"/>
                  </a:lnTo>
                  <a:lnTo>
                    <a:pt x="201" y="546"/>
                  </a:lnTo>
                  <a:lnTo>
                    <a:pt x="199" y="546"/>
                  </a:lnTo>
                  <a:lnTo>
                    <a:pt x="201" y="546"/>
                  </a:lnTo>
                  <a:lnTo>
                    <a:pt x="199" y="546"/>
                  </a:lnTo>
                  <a:lnTo>
                    <a:pt x="199" y="544"/>
                  </a:lnTo>
                  <a:lnTo>
                    <a:pt x="199" y="546"/>
                  </a:lnTo>
                  <a:lnTo>
                    <a:pt x="199" y="548"/>
                  </a:lnTo>
                  <a:lnTo>
                    <a:pt x="197" y="548"/>
                  </a:lnTo>
                  <a:lnTo>
                    <a:pt x="197" y="546"/>
                  </a:lnTo>
                  <a:lnTo>
                    <a:pt x="197" y="548"/>
                  </a:lnTo>
                  <a:lnTo>
                    <a:pt x="197" y="546"/>
                  </a:lnTo>
                  <a:lnTo>
                    <a:pt x="197" y="548"/>
                  </a:lnTo>
                  <a:lnTo>
                    <a:pt x="197" y="546"/>
                  </a:lnTo>
                  <a:lnTo>
                    <a:pt x="197" y="548"/>
                  </a:lnTo>
                  <a:lnTo>
                    <a:pt x="194" y="54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7" name="Freeform 50316"/>
            <p:cNvSpPr>
              <a:spLocks noEditPoints="1"/>
            </p:cNvSpPr>
            <p:nvPr/>
          </p:nvSpPr>
          <p:spPr bwMode="auto">
            <a:xfrm>
              <a:off x="3038473" y="3321062"/>
              <a:ext cx="430213" cy="592140"/>
            </a:xfrm>
            <a:custGeom>
              <a:avLst/>
              <a:gdLst>
                <a:gd name="T0" fmla="*/ 52 w 271"/>
                <a:gd name="T1" fmla="*/ 371 h 373"/>
                <a:gd name="T2" fmla="*/ 138 w 271"/>
                <a:gd name="T3" fmla="*/ 368 h 373"/>
                <a:gd name="T4" fmla="*/ 107 w 271"/>
                <a:gd name="T5" fmla="*/ 366 h 373"/>
                <a:gd name="T6" fmla="*/ 78 w 271"/>
                <a:gd name="T7" fmla="*/ 366 h 373"/>
                <a:gd name="T8" fmla="*/ 135 w 271"/>
                <a:gd name="T9" fmla="*/ 366 h 373"/>
                <a:gd name="T10" fmla="*/ 100 w 271"/>
                <a:gd name="T11" fmla="*/ 363 h 373"/>
                <a:gd name="T12" fmla="*/ 55 w 271"/>
                <a:gd name="T13" fmla="*/ 366 h 373"/>
                <a:gd name="T14" fmla="*/ 36 w 271"/>
                <a:gd name="T15" fmla="*/ 363 h 373"/>
                <a:gd name="T16" fmla="*/ 40 w 271"/>
                <a:gd name="T17" fmla="*/ 361 h 373"/>
                <a:gd name="T18" fmla="*/ 26 w 271"/>
                <a:gd name="T19" fmla="*/ 361 h 373"/>
                <a:gd name="T20" fmla="*/ 100 w 271"/>
                <a:gd name="T21" fmla="*/ 361 h 373"/>
                <a:gd name="T22" fmla="*/ 21 w 271"/>
                <a:gd name="T23" fmla="*/ 359 h 373"/>
                <a:gd name="T24" fmla="*/ 45 w 271"/>
                <a:gd name="T25" fmla="*/ 356 h 373"/>
                <a:gd name="T26" fmla="*/ 64 w 271"/>
                <a:gd name="T27" fmla="*/ 359 h 373"/>
                <a:gd name="T28" fmla="*/ 40 w 271"/>
                <a:gd name="T29" fmla="*/ 356 h 373"/>
                <a:gd name="T30" fmla="*/ 90 w 271"/>
                <a:gd name="T31" fmla="*/ 354 h 373"/>
                <a:gd name="T32" fmla="*/ 86 w 271"/>
                <a:gd name="T33" fmla="*/ 354 h 373"/>
                <a:gd name="T34" fmla="*/ 199 w 271"/>
                <a:gd name="T35" fmla="*/ 352 h 373"/>
                <a:gd name="T36" fmla="*/ 76 w 271"/>
                <a:gd name="T37" fmla="*/ 354 h 373"/>
                <a:gd name="T38" fmla="*/ 102 w 271"/>
                <a:gd name="T39" fmla="*/ 349 h 373"/>
                <a:gd name="T40" fmla="*/ 78 w 271"/>
                <a:gd name="T41" fmla="*/ 354 h 373"/>
                <a:gd name="T42" fmla="*/ 197 w 271"/>
                <a:gd name="T43" fmla="*/ 349 h 373"/>
                <a:gd name="T44" fmla="*/ 214 w 271"/>
                <a:gd name="T45" fmla="*/ 349 h 373"/>
                <a:gd name="T46" fmla="*/ 48 w 271"/>
                <a:gd name="T47" fmla="*/ 349 h 373"/>
                <a:gd name="T48" fmla="*/ 71 w 271"/>
                <a:gd name="T49" fmla="*/ 347 h 373"/>
                <a:gd name="T50" fmla="*/ 36 w 271"/>
                <a:gd name="T51" fmla="*/ 349 h 373"/>
                <a:gd name="T52" fmla="*/ 78 w 271"/>
                <a:gd name="T53" fmla="*/ 344 h 373"/>
                <a:gd name="T54" fmla="*/ 12 w 271"/>
                <a:gd name="T55" fmla="*/ 347 h 373"/>
                <a:gd name="T56" fmla="*/ 209 w 271"/>
                <a:gd name="T57" fmla="*/ 349 h 373"/>
                <a:gd name="T58" fmla="*/ 88 w 271"/>
                <a:gd name="T59" fmla="*/ 344 h 373"/>
                <a:gd name="T60" fmla="*/ 14 w 271"/>
                <a:gd name="T61" fmla="*/ 344 h 373"/>
                <a:gd name="T62" fmla="*/ 218 w 271"/>
                <a:gd name="T63" fmla="*/ 344 h 373"/>
                <a:gd name="T64" fmla="*/ 59 w 271"/>
                <a:gd name="T65" fmla="*/ 344 h 373"/>
                <a:gd name="T66" fmla="*/ 100 w 271"/>
                <a:gd name="T67" fmla="*/ 347 h 373"/>
                <a:gd name="T68" fmla="*/ 59 w 271"/>
                <a:gd name="T69" fmla="*/ 340 h 373"/>
                <a:gd name="T70" fmla="*/ 12 w 271"/>
                <a:gd name="T71" fmla="*/ 342 h 373"/>
                <a:gd name="T72" fmla="*/ 74 w 271"/>
                <a:gd name="T73" fmla="*/ 340 h 373"/>
                <a:gd name="T74" fmla="*/ 263 w 271"/>
                <a:gd name="T75" fmla="*/ 340 h 373"/>
                <a:gd name="T76" fmla="*/ 62 w 271"/>
                <a:gd name="T77" fmla="*/ 340 h 373"/>
                <a:gd name="T78" fmla="*/ 78 w 271"/>
                <a:gd name="T79" fmla="*/ 337 h 373"/>
                <a:gd name="T80" fmla="*/ 244 w 271"/>
                <a:gd name="T81" fmla="*/ 337 h 373"/>
                <a:gd name="T82" fmla="*/ 55 w 271"/>
                <a:gd name="T83" fmla="*/ 337 h 373"/>
                <a:gd name="T84" fmla="*/ 71 w 271"/>
                <a:gd name="T85" fmla="*/ 335 h 373"/>
                <a:gd name="T86" fmla="*/ 55 w 271"/>
                <a:gd name="T87" fmla="*/ 333 h 373"/>
                <a:gd name="T88" fmla="*/ 81 w 271"/>
                <a:gd name="T89" fmla="*/ 330 h 373"/>
                <a:gd name="T90" fmla="*/ 69 w 271"/>
                <a:gd name="T91" fmla="*/ 333 h 373"/>
                <a:gd name="T92" fmla="*/ 64 w 271"/>
                <a:gd name="T93" fmla="*/ 318 h 373"/>
                <a:gd name="T94" fmla="*/ 67 w 271"/>
                <a:gd name="T95" fmla="*/ 318 h 373"/>
                <a:gd name="T96" fmla="*/ 71 w 271"/>
                <a:gd name="T97" fmla="*/ 287 h 373"/>
                <a:gd name="T98" fmla="*/ 71 w 271"/>
                <a:gd name="T99" fmla="*/ 276 h 373"/>
                <a:gd name="T100" fmla="*/ 62 w 271"/>
                <a:gd name="T101" fmla="*/ 230 h 373"/>
                <a:gd name="T102" fmla="*/ 64 w 271"/>
                <a:gd name="T103" fmla="*/ 204 h 373"/>
                <a:gd name="T104" fmla="*/ 59 w 271"/>
                <a:gd name="T105" fmla="*/ 202 h 373"/>
                <a:gd name="T106" fmla="*/ 48 w 271"/>
                <a:gd name="T107" fmla="*/ 195 h 373"/>
                <a:gd name="T108" fmla="*/ 83 w 271"/>
                <a:gd name="T109" fmla="*/ 183 h 373"/>
                <a:gd name="T110" fmla="*/ 59 w 271"/>
                <a:gd name="T111" fmla="*/ 181 h 373"/>
                <a:gd name="T112" fmla="*/ 83 w 271"/>
                <a:gd name="T113" fmla="*/ 176 h 373"/>
                <a:gd name="T114" fmla="*/ 100 w 271"/>
                <a:gd name="T115" fmla="*/ 164 h 373"/>
                <a:gd name="T116" fmla="*/ 109 w 271"/>
                <a:gd name="T117" fmla="*/ 154 h 373"/>
                <a:gd name="T118" fmla="*/ 138 w 271"/>
                <a:gd name="T119" fmla="*/ 140 h 373"/>
                <a:gd name="T120" fmla="*/ 183 w 271"/>
                <a:gd name="T121" fmla="*/ 83 h 373"/>
                <a:gd name="T122" fmla="*/ 173 w 271"/>
                <a:gd name="T123" fmla="*/ 50 h 373"/>
                <a:gd name="T124" fmla="*/ 142 w 271"/>
                <a:gd name="T125" fmla="*/ 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 h="373">
                  <a:moveTo>
                    <a:pt x="62" y="373"/>
                  </a:moveTo>
                  <a:lnTo>
                    <a:pt x="59" y="373"/>
                  </a:lnTo>
                  <a:lnTo>
                    <a:pt x="62" y="373"/>
                  </a:lnTo>
                  <a:close/>
                  <a:moveTo>
                    <a:pt x="102" y="373"/>
                  </a:moveTo>
                  <a:lnTo>
                    <a:pt x="100" y="373"/>
                  </a:lnTo>
                  <a:lnTo>
                    <a:pt x="102" y="373"/>
                  </a:lnTo>
                  <a:close/>
                  <a:moveTo>
                    <a:pt x="67" y="373"/>
                  </a:moveTo>
                  <a:lnTo>
                    <a:pt x="69" y="373"/>
                  </a:lnTo>
                  <a:lnTo>
                    <a:pt x="67" y="373"/>
                  </a:lnTo>
                  <a:close/>
                  <a:moveTo>
                    <a:pt x="69" y="373"/>
                  </a:moveTo>
                  <a:lnTo>
                    <a:pt x="67" y="373"/>
                  </a:lnTo>
                  <a:lnTo>
                    <a:pt x="69" y="373"/>
                  </a:lnTo>
                  <a:close/>
                  <a:moveTo>
                    <a:pt x="102" y="373"/>
                  </a:moveTo>
                  <a:lnTo>
                    <a:pt x="100" y="373"/>
                  </a:lnTo>
                  <a:lnTo>
                    <a:pt x="102" y="373"/>
                  </a:lnTo>
                  <a:lnTo>
                    <a:pt x="100" y="373"/>
                  </a:lnTo>
                  <a:lnTo>
                    <a:pt x="102" y="373"/>
                  </a:lnTo>
                  <a:close/>
                  <a:moveTo>
                    <a:pt x="128" y="371"/>
                  </a:moveTo>
                  <a:lnTo>
                    <a:pt x="131" y="371"/>
                  </a:lnTo>
                  <a:lnTo>
                    <a:pt x="128" y="371"/>
                  </a:lnTo>
                  <a:close/>
                  <a:moveTo>
                    <a:pt x="100" y="371"/>
                  </a:moveTo>
                  <a:lnTo>
                    <a:pt x="100" y="373"/>
                  </a:lnTo>
                  <a:lnTo>
                    <a:pt x="100" y="371"/>
                  </a:lnTo>
                  <a:lnTo>
                    <a:pt x="100" y="373"/>
                  </a:lnTo>
                  <a:lnTo>
                    <a:pt x="100" y="371"/>
                  </a:lnTo>
                  <a:close/>
                  <a:moveTo>
                    <a:pt x="102" y="371"/>
                  </a:moveTo>
                  <a:lnTo>
                    <a:pt x="100" y="371"/>
                  </a:lnTo>
                  <a:lnTo>
                    <a:pt x="102" y="371"/>
                  </a:lnTo>
                  <a:lnTo>
                    <a:pt x="102" y="373"/>
                  </a:lnTo>
                  <a:lnTo>
                    <a:pt x="102" y="371"/>
                  </a:lnTo>
                  <a:lnTo>
                    <a:pt x="102" y="373"/>
                  </a:lnTo>
                  <a:lnTo>
                    <a:pt x="102" y="371"/>
                  </a:lnTo>
                  <a:lnTo>
                    <a:pt x="100" y="373"/>
                  </a:lnTo>
                  <a:lnTo>
                    <a:pt x="100" y="371"/>
                  </a:lnTo>
                  <a:lnTo>
                    <a:pt x="102" y="371"/>
                  </a:lnTo>
                  <a:close/>
                  <a:moveTo>
                    <a:pt x="76" y="371"/>
                  </a:moveTo>
                  <a:lnTo>
                    <a:pt x="74" y="371"/>
                  </a:lnTo>
                  <a:lnTo>
                    <a:pt x="76" y="371"/>
                  </a:lnTo>
                  <a:close/>
                  <a:moveTo>
                    <a:pt x="19" y="371"/>
                  </a:moveTo>
                  <a:lnTo>
                    <a:pt x="21" y="371"/>
                  </a:lnTo>
                  <a:lnTo>
                    <a:pt x="19" y="371"/>
                  </a:lnTo>
                  <a:close/>
                  <a:moveTo>
                    <a:pt x="95" y="371"/>
                  </a:moveTo>
                  <a:lnTo>
                    <a:pt x="93" y="371"/>
                  </a:lnTo>
                  <a:lnTo>
                    <a:pt x="95" y="371"/>
                  </a:lnTo>
                  <a:close/>
                  <a:moveTo>
                    <a:pt x="135" y="371"/>
                  </a:moveTo>
                  <a:lnTo>
                    <a:pt x="138" y="371"/>
                  </a:lnTo>
                  <a:lnTo>
                    <a:pt x="135" y="371"/>
                  </a:lnTo>
                  <a:close/>
                  <a:moveTo>
                    <a:pt x="133" y="371"/>
                  </a:moveTo>
                  <a:lnTo>
                    <a:pt x="133" y="368"/>
                  </a:lnTo>
                  <a:lnTo>
                    <a:pt x="133" y="371"/>
                  </a:lnTo>
                  <a:close/>
                  <a:moveTo>
                    <a:pt x="52" y="371"/>
                  </a:moveTo>
                  <a:lnTo>
                    <a:pt x="52" y="368"/>
                  </a:lnTo>
                  <a:lnTo>
                    <a:pt x="52" y="371"/>
                  </a:lnTo>
                  <a:close/>
                  <a:moveTo>
                    <a:pt x="88" y="371"/>
                  </a:moveTo>
                  <a:lnTo>
                    <a:pt x="88" y="368"/>
                  </a:lnTo>
                  <a:lnTo>
                    <a:pt x="88" y="371"/>
                  </a:lnTo>
                  <a:close/>
                  <a:moveTo>
                    <a:pt x="116" y="371"/>
                  </a:moveTo>
                  <a:lnTo>
                    <a:pt x="116" y="368"/>
                  </a:lnTo>
                  <a:lnTo>
                    <a:pt x="116" y="371"/>
                  </a:lnTo>
                  <a:close/>
                  <a:moveTo>
                    <a:pt x="90" y="368"/>
                  </a:moveTo>
                  <a:lnTo>
                    <a:pt x="90" y="371"/>
                  </a:lnTo>
                  <a:lnTo>
                    <a:pt x="90" y="368"/>
                  </a:lnTo>
                  <a:close/>
                  <a:moveTo>
                    <a:pt x="93" y="368"/>
                  </a:moveTo>
                  <a:lnTo>
                    <a:pt x="93" y="371"/>
                  </a:lnTo>
                  <a:lnTo>
                    <a:pt x="93" y="368"/>
                  </a:lnTo>
                  <a:close/>
                  <a:moveTo>
                    <a:pt x="138" y="368"/>
                  </a:moveTo>
                  <a:lnTo>
                    <a:pt x="138" y="371"/>
                  </a:lnTo>
                  <a:lnTo>
                    <a:pt x="138" y="368"/>
                  </a:lnTo>
                  <a:close/>
                  <a:moveTo>
                    <a:pt x="88" y="368"/>
                  </a:moveTo>
                  <a:lnTo>
                    <a:pt x="88" y="371"/>
                  </a:lnTo>
                  <a:lnTo>
                    <a:pt x="88" y="368"/>
                  </a:lnTo>
                  <a:lnTo>
                    <a:pt x="88" y="371"/>
                  </a:lnTo>
                  <a:lnTo>
                    <a:pt x="88" y="368"/>
                  </a:lnTo>
                  <a:close/>
                  <a:moveTo>
                    <a:pt x="140" y="368"/>
                  </a:moveTo>
                  <a:lnTo>
                    <a:pt x="138" y="368"/>
                  </a:lnTo>
                  <a:lnTo>
                    <a:pt x="140" y="368"/>
                  </a:lnTo>
                  <a:close/>
                  <a:moveTo>
                    <a:pt x="135" y="368"/>
                  </a:moveTo>
                  <a:lnTo>
                    <a:pt x="133" y="368"/>
                  </a:lnTo>
                  <a:lnTo>
                    <a:pt x="135" y="368"/>
                  </a:lnTo>
                  <a:close/>
                  <a:moveTo>
                    <a:pt x="95" y="368"/>
                  </a:moveTo>
                  <a:lnTo>
                    <a:pt x="95" y="371"/>
                  </a:lnTo>
                  <a:lnTo>
                    <a:pt x="95" y="368"/>
                  </a:lnTo>
                  <a:close/>
                  <a:moveTo>
                    <a:pt x="100" y="368"/>
                  </a:moveTo>
                  <a:lnTo>
                    <a:pt x="100" y="371"/>
                  </a:lnTo>
                  <a:lnTo>
                    <a:pt x="100" y="368"/>
                  </a:lnTo>
                  <a:lnTo>
                    <a:pt x="100" y="371"/>
                  </a:lnTo>
                  <a:lnTo>
                    <a:pt x="100" y="368"/>
                  </a:lnTo>
                  <a:lnTo>
                    <a:pt x="97" y="368"/>
                  </a:lnTo>
                  <a:lnTo>
                    <a:pt x="100" y="368"/>
                  </a:lnTo>
                  <a:close/>
                  <a:moveTo>
                    <a:pt x="93" y="368"/>
                  </a:moveTo>
                  <a:lnTo>
                    <a:pt x="90" y="368"/>
                  </a:lnTo>
                  <a:lnTo>
                    <a:pt x="93" y="368"/>
                  </a:lnTo>
                  <a:close/>
                  <a:moveTo>
                    <a:pt x="142" y="368"/>
                  </a:moveTo>
                  <a:lnTo>
                    <a:pt x="140" y="368"/>
                  </a:lnTo>
                  <a:lnTo>
                    <a:pt x="142" y="368"/>
                  </a:lnTo>
                  <a:close/>
                  <a:moveTo>
                    <a:pt x="138" y="368"/>
                  </a:moveTo>
                  <a:lnTo>
                    <a:pt x="135" y="368"/>
                  </a:lnTo>
                  <a:lnTo>
                    <a:pt x="138" y="368"/>
                  </a:lnTo>
                  <a:close/>
                  <a:moveTo>
                    <a:pt x="102" y="368"/>
                  </a:moveTo>
                  <a:lnTo>
                    <a:pt x="100" y="368"/>
                  </a:lnTo>
                  <a:lnTo>
                    <a:pt x="102" y="368"/>
                  </a:lnTo>
                  <a:close/>
                  <a:moveTo>
                    <a:pt x="135" y="368"/>
                  </a:moveTo>
                  <a:lnTo>
                    <a:pt x="133" y="368"/>
                  </a:lnTo>
                  <a:lnTo>
                    <a:pt x="135" y="368"/>
                  </a:lnTo>
                  <a:close/>
                  <a:moveTo>
                    <a:pt x="140" y="368"/>
                  </a:moveTo>
                  <a:lnTo>
                    <a:pt x="138" y="368"/>
                  </a:lnTo>
                  <a:lnTo>
                    <a:pt x="140" y="368"/>
                  </a:lnTo>
                  <a:lnTo>
                    <a:pt x="138" y="368"/>
                  </a:lnTo>
                  <a:lnTo>
                    <a:pt x="140" y="368"/>
                  </a:lnTo>
                  <a:close/>
                  <a:moveTo>
                    <a:pt x="133" y="368"/>
                  </a:moveTo>
                  <a:lnTo>
                    <a:pt x="131" y="368"/>
                  </a:lnTo>
                  <a:lnTo>
                    <a:pt x="133" y="368"/>
                  </a:lnTo>
                  <a:close/>
                  <a:moveTo>
                    <a:pt x="78" y="368"/>
                  </a:moveTo>
                  <a:lnTo>
                    <a:pt x="76" y="368"/>
                  </a:lnTo>
                  <a:lnTo>
                    <a:pt x="78" y="368"/>
                  </a:lnTo>
                  <a:close/>
                  <a:moveTo>
                    <a:pt x="102" y="366"/>
                  </a:moveTo>
                  <a:lnTo>
                    <a:pt x="102" y="368"/>
                  </a:lnTo>
                  <a:lnTo>
                    <a:pt x="102" y="366"/>
                  </a:lnTo>
                  <a:lnTo>
                    <a:pt x="102" y="368"/>
                  </a:lnTo>
                  <a:lnTo>
                    <a:pt x="102" y="366"/>
                  </a:lnTo>
                  <a:close/>
                  <a:moveTo>
                    <a:pt x="119" y="368"/>
                  </a:moveTo>
                  <a:lnTo>
                    <a:pt x="116" y="368"/>
                  </a:lnTo>
                  <a:lnTo>
                    <a:pt x="116" y="366"/>
                  </a:lnTo>
                  <a:lnTo>
                    <a:pt x="119" y="368"/>
                  </a:lnTo>
                  <a:close/>
                  <a:moveTo>
                    <a:pt x="107" y="366"/>
                  </a:moveTo>
                  <a:lnTo>
                    <a:pt x="107" y="368"/>
                  </a:lnTo>
                  <a:lnTo>
                    <a:pt x="107" y="366"/>
                  </a:lnTo>
                  <a:close/>
                  <a:moveTo>
                    <a:pt x="109" y="368"/>
                  </a:moveTo>
                  <a:lnTo>
                    <a:pt x="109" y="366"/>
                  </a:lnTo>
                  <a:lnTo>
                    <a:pt x="109" y="368"/>
                  </a:lnTo>
                  <a:close/>
                  <a:moveTo>
                    <a:pt x="131" y="366"/>
                  </a:moveTo>
                  <a:lnTo>
                    <a:pt x="131" y="368"/>
                  </a:lnTo>
                  <a:lnTo>
                    <a:pt x="131" y="366"/>
                  </a:lnTo>
                  <a:close/>
                  <a:moveTo>
                    <a:pt x="107" y="366"/>
                  </a:moveTo>
                  <a:lnTo>
                    <a:pt x="107" y="368"/>
                  </a:lnTo>
                  <a:lnTo>
                    <a:pt x="104" y="368"/>
                  </a:lnTo>
                  <a:lnTo>
                    <a:pt x="107" y="368"/>
                  </a:lnTo>
                  <a:lnTo>
                    <a:pt x="104" y="368"/>
                  </a:lnTo>
                  <a:lnTo>
                    <a:pt x="104" y="371"/>
                  </a:lnTo>
                  <a:lnTo>
                    <a:pt x="104" y="368"/>
                  </a:lnTo>
                  <a:lnTo>
                    <a:pt x="104" y="371"/>
                  </a:lnTo>
                  <a:lnTo>
                    <a:pt x="102" y="371"/>
                  </a:lnTo>
                  <a:lnTo>
                    <a:pt x="104" y="371"/>
                  </a:lnTo>
                  <a:lnTo>
                    <a:pt x="104" y="368"/>
                  </a:lnTo>
                  <a:lnTo>
                    <a:pt x="102" y="371"/>
                  </a:lnTo>
                  <a:lnTo>
                    <a:pt x="102" y="368"/>
                  </a:lnTo>
                  <a:lnTo>
                    <a:pt x="102" y="371"/>
                  </a:lnTo>
                  <a:lnTo>
                    <a:pt x="100" y="371"/>
                  </a:lnTo>
                  <a:lnTo>
                    <a:pt x="100" y="368"/>
                  </a:lnTo>
                  <a:lnTo>
                    <a:pt x="102" y="368"/>
                  </a:lnTo>
                  <a:lnTo>
                    <a:pt x="100" y="368"/>
                  </a:lnTo>
                  <a:lnTo>
                    <a:pt x="102" y="368"/>
                  </a:lnTo>
                  <a:lnTo>
                    <a:pt x="100" y="368"/>
                  </a:lnTo>
                  <a:lnTo>
                    <a:pt x="102" y="368"/>
                  </a:lnTo>
                  <a:lnTo>
                    <a:pt x="100" y="368"/>
                  </a:lnTo>
                  <a:lnTo>
                    <a:pt x="102" y="368"/>
                  </a:lnTo>
                  <a:lnTo>
                    <a:pt x="104" y="368"/>
                  </a:lnTo>
                  <a:lnTo>
                    <a:pt x="104" y="366"/>
                  </a:lnTo>
                  <a:lnTo>
                    <a:pt x="107" y="366"/>
                  </a:lnTo>
                  <a:close/>
                  <a:moveTo>
                    <a:pt x="121" y="366"/>
                  </a:moveTo>
                  <a:lnTo>
                    <a:pt x="121" y="368"/>
                  </a:lnTo>
                  <a:lnTo>
                    <a:pt x="119" y="368"/>
                  </a:lnTo>
                  <a:lnTo>
                    <a:pt x="119" y="366"/>
                  </a:lnTo>
                  <a:lnTo>
                    <a:pt x="121" y="368"/>
                  </a:lnTo>
                  <a:lnTo>
                    <a:pt x="121" y="366"/>
                  </a:lnTo>
                  <a:close/>
                  <a:moveTo>
                    <a:pt x="119" y="368"/>
                  </a:moveTo>
                  <a:lnTo>
                    <a:pt x="119" y="366"/>
                  </a:lnTo>
                  <a:lnTo>
                    <a:pt x="119" y="368"/>
                  </a:lnTo>
                  <a:close/>
                  <a:moveTo>
                    <a:pt x="121" y="366"/>
                  </a:moveTo>
                  <a:lnTo>
                    <a:pt x="121" y="368"/>
                  </a:lnTo>
                  <a:lnTo>
                    <a:pt x="121" y="366"/>
                  </a:lnTo>
                  <a:close/>
                  <a:moveTo>
                    <a:pt x="100" y="366"/>
                  </a:moveTo>
                  <a:lnTo>
                    <a:pt x="102" y="366"/>
                  </a:lnTo>
                  <a:lnTo>
                    <a:pt x="102" y="368"/>
                  </a:lnTo>
                  <a:lnTo>
                    <a:pt x="102" y="366"/>
                  </a:lnTo>
                  <a:lnTo>
                    <a:pt x="102" y="368"/>
                  </a:lnTo>
                  <a:lnTo>
                    <a:pt x="100" y="368"/>
                  </a:lnTo>
                  <a:lnTo>
                    <a:pt x="100" y="366"/>
                  </a:lnTo>
                  <a:close/>
                  <a:moveTo>
                    <a:pt x="83" y="366"/>
                  </a:moveTo>
                  <a:lnTo>
                    <a:pt x="81" y="366"/>
                  </a:lnTo>
                  <a:lnTo>
                    <a:pt x="83" y="366"/>
                  </a:lnTo>
                  <a:close/>
                  <a:moveTo>
                    <a:pt x="123" y="366"/>
                  </a:moveTo>
                  <a:lnTo>
                    <a:pt x="123" y="368"/>
                  </a:lnTo>
                  <a:lnTo>
                    <a:pt x="123" y="366"/>
                  </a:lnTo>
                  <a:lnTo>
                    <a:pt x="123" y="368"/>
                  </a:lnTo>
                  <a:lnTo>
                    <a:pt x="123" y="366"/>
                  </a:lnTo>
                  <a:close/>
                  <a:moveTo>
                    <a:pt x="145" y="366"/>
                  </a:moveTo>
                  <a:lnTo>
                    <a:pt x="142" y="366"/>
                  </a:lnTo>
                  <a:lnTo>
                    <a:pt x="142" y="368"/>
                  </a:lnTo>
                  <a:lnTo>
                    <a:pt x="142" y="366"/>
                  </a:lnTo>
                  <a:lnTo>
                    <a:pt x="145" y="366"/>
                  </a:lnTo>
                  <a:close/>
                  <a:moveTo>
                    <a:pt x="107" y="366"/>
                  </a:moveTo>
                  <a:lnTo>
                    <a:pt x="109" y="366"/>
                  </a:lnTo>
                  <a:lnTo>
                    <a:pt x="107" y="366"/>
                  </a:lnTo>
                  <a:lnTo>
                    <a:pt x="109" y="366"/>
                  </a:lnTo>
                  <a:lnTo>
                    <a:pt x="109" y="368"/>
                  </a:lnTo>
                  <a:lnTo>
                    <a:pt x="107" y="368"/>
                  </a:lnTo>
                  <a:lnTo>
                    <a:pt x="107" y="366"/>
                  </a:lnTo>
                  <a:close/>
                  <a:moveTo>
                    <a:pt x="133" y="366"/>
                  </a:moveTo>
                  <a:lnTo>
                    <a:pt x="135" y="368"/>
                  </a:lnTo>
                  <a:lnTo>
                    <a:pt x="135" y="366"/>
                  </a:lnTo>
                  <a:lnTo>
                    <a:pt x="135" y="368"/>
                  </a:lnTo>
                  <a:lnTo>
                    <a:pt x="133" y="368"/>
                  </a:lnTo>
                  <a:lnTo>
                    <a:pt x="133" y="366"/>
                  </a:lnTo>
                  <a:close/>
                  <a:moveTo>
                    <a:pt x="107" y="366"/>
                  </a:moveTo>
                  <a:lnTo>
                    <a:pt x="107" y="368"/>
                  </a:lnTo>
                  <a:lnTo>
                    <a:pt x="107" y="366"/>
                  </a:lnTo>
                  <a:close/>
                  <a:moveTo>
                    <a:pt x="133" y="366"/>
                  </a:moveTo>
                  <a:lnTo>
                    <a:pt x="131" y="366"/>
                  </a:lnTo>
                  <a:lnTo>
                    <a:pt x="133" y="366"/>
                  </a:lnTo>
                  <a:close/>
                  <a:moveTo>
                    <a:pt x="81" y="366"/>
                  </a:moveTo>
                  <a:lnTo>
                    <a:pt x="78" y="366"/>
                  </a:lnTo>
                  <a:lnTo>
                    <a:pt x="81" y="366"/>
                  </a:lnTo>
                  <a:close/>
                  <a:moveTo>
                    <a:pt x="86" y="366"/>
                  </a:moveTo>
                  <a:lnTo>
                    <a:pt x="83" y="366"/>
                  </a:lnTo>
                  <a:lnTo>
                    <a:pt x="86" y="366"/>
                  </a:lnTo>
                  <a:close/>
                  <a:moveTo>
                    <a:pt x="81" y="366"/>
                  </a:moveTo>
                  <a:lnTo>
                    <a:pt x="78" y="366"/>
                  </a:lnTo>
                  <a:lnTo>
                    <a:pt x="81" y="366"/>
                  </a:lnTo>
                  <a:lnTo>
                    <a:pt x="78" y="366"/>
                  </a:lnTo>
                  <a:lnTo>
                    <a:pt x="81" y="366"/>
                  </a:lnTo>
                  <a:close/>
                  <a:moveTo>
                    <a:pt x="102" y="366"/>
                  </a:moveTo>
                  <a:lnTo>
                    <a:pt x="100" y="366"/>
                  </a:lnTo>
                  <a:lnTo>
                    <a:pt x="102" y="366"/>
                  </a:lnTo>
                  <a:close/>
                  <a:moveTo>
                    <a:pt x="150" y="366"/>
                  </a:moveTo>
                  <a:lnTo>
                    <a:pt x="147" y="366"/>
                  </a:lnTo>
                  <a:lnTo>
                    <a:pt x="150" y="366"/>
                  </a:lnTo>
                  <a:close/>
                  <a:moveTo>
                    <a:pt x="126" y="366"/>
                  </a:moveTo>
                  <a:lnTo>
                    <a:pt x="126" y="368"/>
                  </a:lnTo>
                  <a:lnTo>
                    <a:pt x="126" y="366"/>
                  </a:lnTo>
                  <a:lnTo>
                    <a:pt x="126" y="368"/>
                  </a:lnTo>
                  <a:lnTo>
                    <a:pt x="126" y="366"/>
                  </a:lnTo>
                  <a:lnTo>
                    <a:pt x="123" y="366"/>
                  </a:lnTo>
                  <a:lnTo>
                    <a:pt x="126" y="366"/>
                  </a:lnTo>
                  <a:lnTo>
                    <a:pt x="123" y="366"/>
                  </a:lnTo>
                  <a:lnTo>
                    <a:pt x="126" y="366"/>
                  </a:lnTo>
                  <a:close/>
                  <a:moveTo>
                    <a:pt x="150" y="366"/>
                  </a:moveTo>
                  <a:lnTo>
                    <a:pt x="152" y="366"/>
                  </a:lnTo>
                  <a:lnTo>
                    <a:pt x="150" y="366"/>
                  </a:lnTo>
                  <a:lnTo>
                    <a:pt x="152" y="366"/>
                  </a:lnTo>
                  <a:lnTo>
                    <a:pt x="150" y="366"/>
                  </a:lnTo>
                  <a:lnTo>
                    <a:pt x="152" y="366"/>
                  </a:lnTo>
                  <a:lnTo>
                    <a:pt x="150" y="366"/>
                  </a:lnTo>
                  <a:close/>
                  <a:moveTo>
                    <a:pt x="154" y="366"/>
                  </a:moveTo>
                  <a:lnTo>
                    <a:pt x="152" y="366"/>
                  </a:lnTo>
                  <a:lnTo>
                    <a:pt x="154" y="366"/>
                  </a:lnTo>
                  <a:close/>
                  <a:moveTo>
                    <a:pt x="142" y="366"/>
                  </a:moveTo>
                  <a:lnTo>
                    <a:pt x="145" y="366"/>
                  </a:lnTo>
                  <a:lnTo>
                    <a:pt x="142" y="366"/>
                  </a:lnTo>
                  <a:lnTo>
                    <a:pt x="140" y="366"/>
                  </a:lnTo>
                  <a:lnTo>
                    <a:pt x="142" y="366"/>
                  </a:lnTo>
                  <a:lnTo>
                    <a:pt x="140" y="366"/>
                  </a:lnTo>
                  <a:lnTo>
                    <a:pt x="138" y="366"/>
                  </a:lnTo>
                  <a:lnTo>
                    <a:pt x="140" y="366"/>
                  </a:lnTo>
                  <a:lnTo>
                    <a:pt x="138" y="366"/>
                  </a:lnTo>
                  <a:lnTo>
                    <a:pt x="140" y="366"/>
                  </a:lnTo>
                  <a:lnTo>
                    <a:pt x="140" y="368"/>
                  </a:lnTo>
                  <a:lnTo>
                    <a:pt x="138" y="368"/>
                  </a:lnTo>
                  <a:lnTo>
                    <a:pt x="138" y="366"/>
                  </a:lnTo>
                  <a:lnTo>
                    <a:pt x="138" y="368"/>
                  </a:lnTo>
                  <a:lnTo>
                    <a:pt x="135" y="368"/>
                  </a:lnTo>
                  <a:lnTo>
                    <a:pt x="135" y="366"/>
                  </a:lnTo>
                  <a:lnTo>
                    <a:pt x="138" y="368"/>
                  </a:lnTo>
                  <a:lnTo>
                    <a:pt x="138" y="366"/>
                  </a:lnTo>
                  <a:lnTo>
                    <a:pt x="135" y="366"/>
                  </a:lnTo>
                  <a:lnTo>
                    <a:pt x="135" y="368"/>
                  </a:lnTo>
                  <a:lnTo>
                    <a:pt x="135" y="366"/>
                  </a:lnTo>
                  <a:lnTo>
                    <a:pt x="135" y="368"/>
                  </a:lnTo>
                  <a:lnTo>
                    <a:pt x="135" y="366"/>
                  </a:lnTo>
                  <a:lnTo>
                    <a:pt x="133" y="366"/>
                  </a:lnTo>
                  <a:lnTo>
                    <a:pt x="135" y="366"/>
                  </a:lnTo>
                  <a:lnTo>
                    <a:pt x="138" y="366"/>
                  </a:lnTo>
                  <a:lnTo>
                    <a:pt x="140" y="366"/>
                  </a:lnTo>
                  <a:lnTo>
                    <a:pt x="142" y="366"/>
                  </a:lnTo>
                  <a:close/>
                  <a:moveTo>
                    <a:pt x="166" y="366"/>
                  </a:moveTo>
                  <a:lnTo>
                    <a:pt x="169" y="366"/>
                  </a:lnTo>
                  <a:lnTo>
                    <a:pt x="166" y="366"/>
                  </a:lnTo>
                  <a:close/>
                  <a:moveTo>
                    <a:pt x="31" y="366"/>
                  </a:moveTo>
                  <a:lnTo>
                    <a:pt x="29" y="366"/>
                  </a:lnTo>
                  <a:lnTo>
                    <a:pt x="29" y="363"/>
                  </a:lnTo>
                  <a:lnTo>
                    <a:pt x="31" y="363"/>
                  </a:lnTo>
                  <a:lnTo>
                    <a:pt x="31" y="366"/>
                  </a:lnTo>
                  <a:close/>
                  <a:moveTo>
                    <a:pt x="152" y="366"/>
                  </a:moveTo>
                  <a:lnTo>
                    <a:pt x="152" y="363"/>
                  </a:lnTo>
                  <a:lnTo>
                    <a:pt x="152" y="366"/>
                  </a:lnTo>
                  <a:close/>
                  <a:moveTo>
                    <a:pt x="40" y="366"/>
                  </a:moveTo>
                  <a:lnTo>
                    <a:pt x="40" y="363"/>
                  </a:lnTo>
                  <a:lnTo>
                    <a:pt x="40" y="366"/>
                  </a:lnTo>
                  <a:close/>
                  <a:moveTo>
                    <a:pt x="81" y="363"/>
                  </a:moveTo>
                  <a:lnTo>
                    <a:pt x="78" y="366"/>
                  </a:lnTo>
                  <a:lnTo>
                    <a:pt x="78" y="363"/>
                  </a:lnTo>
                  <a:lnTo>
                    <a:pt x="81" y="363"/>
                  </a:lnTo>
                  <a:close/>
                  <a:moveTo>
                    <a:pt x="76" y="363"/>
                  </a:moveTo>
                  <a:lnTo>
                    <a:pt x="76" y="366"/>
                  </a:lnTo>
                  <a:lnTo>
                    <a:pt x="76" y="363"/>
                  </a:lnTo>
                  <a:close/>
                  <a:moveTo>
                    <a:pt x="86" y="363"/>
                  </a:moveTo>
                  <a:lnTo>
                    <a:pt x="86" y="366"/>
                  </a:lnTo>
                  <a:lnTo>
                    <a:pt x="86" y="363"/>
                  </a:lnTo>
                  <a:close/>
                  <a:moveTo>
                    <a:pt x="29" y="363"/>
                  </a:moveTo>
                  <a:lnTo>
                    <a:pt x="29" y="366"/>
                  </a:lnTo>
                  <a:lnTo>
                    <a:pt x="29" y="363"/>
                  </a:lnTo>
                  <a:close/>
                  <a:moveTo>
                    <a:pt x="154" y="363"/>
                  </a:moveTo>
                  <a:lnTo>
                    <a:pt x="154" y="366"/>
                  </a:lnTo>
                  <a:lnTo>
                    <a:pt x="152" y="366"/>
                  </a:lnTo>
                  <a:lnTo>
                    <a:pt x="152" y="363"/>
                  </a:lnTo>
                  <a:lnTo>
                    <a:pt x="154" y="363"/>
                  </a:lnTo>
                  <a:close/>
                  <a:moveTo>
                    <a:pt x="83" y="366"/>
                  </a:moveTo>
                  <a:lnTo>
                    <a:pt x="81" y="366"/>
                  </a:lnTo>
                  <a:lnTo>
                    <a:pt x="83" y="366"/>
                  </a:lnTo>
                  <a:lnTo>
                    <a:pt x="81" y="363"/>
                  </a:lnTo>
                  <a:lnTo>
                    <a:pt x="83" y="363"/>
                  </a:lnTo>
                  <a:lnTo>
                    <a:pt x="83" y="366"/>
                  </a:lnTo>
                  <a:close/>
                  <a:moveTo>
                    <a:pt x="102" y="363"/>
                  </a:moveTo>
                  <a:lnTo>
                    <a:pt x="100" y="363"/>
                  </a:lnTo>
                  <a:lnTo>
                    <a:pt x="102" y="363"/>
                  </a:lnTo>
                  <a:lnTo>
                    <a:pt x="102" y="366"/>
                  </a:lnTo>
                  <a:lnTo>
                    <a:pt x="100" y="366"/>
                  </a:lnTo>
                  <a:lnTo>
                    <a:pt x="100" y="363"/>
                  </a:lnTo>
                  <a:lnTo>
                    <a:pt x="102" y="363"/>
                  </a:lnTo>
                  <a:close/>
                  <a:moveTo>
                    <a:pt x="57" y="363"/>
                  </a:moveTo>
                  <a:lnTo>
                    <a:pt x="57" y="366"/>
                  </a:lnTo>
                  <a:lnTo>
                    <a:pt x="57" y="363"/>
                  </a:lnTo>
                  <a:close/>
                  <a:moveTo>
                    <a:pt x="112" y="366"/>
                  </a:moveTo>
                  <a:lnTo>
                    <a:pt x="112" y="363"/>
                  </a:lnTo>
                  <a:lnTo>
                    <a:pt x="112" y="366"/>
                  </a:lnTo>
                  <a:close/>
                  <a:moveTo>
                    <a:pt x="57" y="363"/>
                  </a:moveTo>
                  <a:lnTo>
                    <a:pt x="55" y="363"/>
                  </a:lnTo>
                  <a:lnTo>
                    <a:pt x="57" y="363"/>
                  </a:lnTo>
                  <a:close/>
                  <a:moveTo>
                    <a:pt x="147" y="363"/>
                  </a:moveTo>
                  <a:lnTo>
                    <a:pt x="147" y="366"/>
                  </a:lnTo>
                  <a:lnTo>
                    <a:pt x="145" y="366"/>
                  </a:lnTo>
                  <a:lnTo>
                    <a:pt x="147" y="366"/>
                  </a:lnTo>
                  <a:lnTo>
                    <a:pt x="145" y="366"/>
                  </a:lnTo>
                  <a:lnTo>
                    <a:pt x="147" y="366"/>
                  </a:lnTo>
                  <a:lnTo>
                    <a:pt x="145" y="366"/>
                  </a:lnTo>
                  <a:lnTo>
                    <a:pt x="147" y="366"/>
                  </a:lnTo>
                  <a:lnTo>
                    <a:pt x="147" y="363"/>
                  </a:lnTo>
                  <a:lnTo>
                    <a:pt x="147" y="366"/>
                  </a:lnTo>
                  <a:lnTo>
                    <a:pt x="147" y="363"/>
                  </a:lnTo>
                  <a:close/>
                  <a:moveTo>
                    <a:pt x="57" y="363"/>
                  </a:moveTo>
                  <a:lnTo>
                    <a:pt x="59" y="363"/>
                  </a:lnTo>
                  <a:lnTo>
                    <a:pt x="57" y="363"/>
                  </a:lnTo>
                  <a:close/>
                  <a:moveTo>
                    <a:pt x="57" y="363"/>
                  </a:moveTo>
                  <a:lnTo>
                    <a:pt x="57" y="366"/>
                  </a:lnTo>
                  <a:lnTo>
                    <a:pt x="57" y="363"/>
                  </a:lnTo>
                  <a:lnTo>
                    <a:pt x="57" y="366"/>
                  </a:lnTo>
                  <a:lnTo>
                    <a:pt x="57" y="363"/>
                  </a:lnTo>
                  <a:close/>
                  <a:moveTo>
                    <a:pt x="104" y="363"/>
                  </a:moveTo>
                  <a:lnTo>
                    <a:pt x="104" y="366"/>
                  </a:lnTo>
                  <a:lnTo>
                    <a:pt x="104" y="363"/>
                  </a:lnTo>
                  <a:close/>
                  <a:moveTo>
                    <a:pt x="57" y="363"/>
                  </a:moveTo>
                  <a:lnTo>
                    <a:pt x="55" y="363"/>
                  </a:lnTo>
                  <a:lnTo>
                    <a:pt x="57" y="363"/>
                  </a:lnTo>
                  <a:close/>
                  <a:moveTo>
                    <a:pt x="104" y="363"/>
                  </a:moveTo>
                  <a:lnTo>
                    <a:pt x="104" y="366"/>
                  </a:lnTo>
                  <a:lnTo>
                    <a:pt x="104" y="363"/>
                  </a:lnTo>
                  <a:lnTo>
                    <a:pt x="104" y="366"/>
                  </a:lnTo>
                  <a:lnTo>
                    <a:pt x="104" y="363"/>
                  </a:lnTo>
                  <a:lnTo>
                    <a:pt x="104" y="366"/>
                  </a:lnTo>
                  <a:lnTo>
                    <a:pt x="102" y="366"/>
                  </a:lnTo>
                  <a:lnTo>
                    <a:pt x="104" y="366"/>
                  </a:lnTo>
                  <a:lnTo>
                    <a:pt x="104" y="363"/>
                  </a:lnTo>
                  <a:lnTo>
                    <a:pt x="102" y="363"/>
                  </a:lnTo>
                  <a:lnTo>
                    <a:pt x="104" y="363"/>
                  </a:lnTo>
                  <a:lnTo>
                    <a:pt x="102" y="363"/>
                  </a:lnTo>
                  <a:lnTo>
                    <a:pt x="104" y="363"/>
                  </a:lnTo>
                  <a:close/>
                  <a:moveTo>
                    <a:pt x="152" y="363"/>
                  </a:moveTo>
                  <a:lnTo>
                    <a:pt x="154" y="363"/>
                  </a:lnTo>
                  <a:lnTo>
                    <a:pt x="152" y="363"/>
                  </a:lnTo>
                  <a:close/>
                  <a:moveTo>
                    <a:pt x="55" y="363"/>
                  </a:moveTo>
                  <a:lnTo>
                    <a:pt x="55" y="366"/>
                  </a:lnTo>
                  <a:lnTo>
                    <a:pt x="55" y="363"/>
                  </a:lnTo>
                  <a:lnTo>
                    <a:pt x="55" y="366"/>
                  </a:lnTo>
                  <a:lnTo>
                    <a:pt x="55" y="363"/>
                  </a:lnTo>
                  <a:lnTo>
                    <a:pt x="55" y="366"/>
                  </a:lnTo>
                  <a:lnTo>
                    <a:pt x="52" y="366"/>
                  </a:lnTo>
                  <a:lnTo>
                    <a:pt x="55" y="366"/>
                  </a:lnTo>
                  <a:lnTo>
                    <a:pt x="52" y="366"/>
                  </a:lnTo>
                  <a:lnTo>
                    <a:pt x="50" y="366"/>
                  </a:lnTo>
                  <a:lnTo>
                    <a:pt x="52" y="366"/>
                  </a:lnTo>
                  <a:lnTo>
                    <a:pt x="52" y="363"/>
                  </a:lnTo>
                  <a:lnTo>
                    <a:pt x="50" y="363"/>
                  </a:lnTo>
                  <a:lnTo>
                    <a:pt x="52" y="363"/>
                  </a:lnTo>
                  <a:lnTo>
                    <a:pt x="52" y="366"/>
                  </a:lnTo>
                  <a:lnTo>
                    <a:pt x="52" y="363"/>
                  </a:lnTo>
                  <a:lnTo>
                    <a:pt x="52" y="366"/>
                  </a:lnTo>
                  <a:lnTo>
                    <a:pt x="52" y="363"/>
                  </a:lnTo>
                  <a:lnTo>
                    <a:pt x="55" y="363"/>
                  </a:lnTo>
                  <a:close/>
                  <a:moveTo>
                    <a:pt x="67" y="363"/>
                  </a:moveTo>
                  <a:lnTo>
                    <a:pt x="64" y="363"/>
                  </a:lnTo>
                  <a:lnTo>
                    <a:pt x="67" y="363"/>
                  </a:lnTo>
                  <a:close/>
                  <a:moveTo>
                    <a:pt x="81" y="363"/>
                  </a:moveTo>
                  <a:lnTo>
                    <a:pt x="81" y="366"/>
                  </a:lnTo>
                  <a:lnTo>
                    <a:pt x="81" y="363"/>
                  </a:lnTo>
                  <a:close/>
                  <a:moveTo>
                    <a:pt x="112" y="363"/>
                  </a:moveTo>
                  <a:lnTo>
                    <a:pt x="114" y="363"/>
                  </a:lnTo>
                  <a:lnTo>
                    <a:pt x="112" y="363"/>
                  </a:lnTo>
                  <a:close/>
                  <a:moveTo>
                    <a:pt x="104" y="363"/>
                  </a:moveTo>
                  <a:lnTo>
                    <a:pt x="102" y="363"/>
                  </a:lnTo>
                  <a:lnTo>
                    <a:pt x="104" y="363"/>
                  </a:lnTo>
                  <a:lnTo>
                    <a:pt x="102" y="363"/>
                  </a:lnTo>
                  <a:lnTo>
                    <a:pt x="102" y="366"/>
                  </a:lnTo>
                  <a:lnTo>
                    <a:pt x="102" y="363"/>
                  </a:lnTo>
                  <a:lnTo>
                    <a:pt x="102" y="361"/>
                  </a:lnTo>
                  <a:lnTo>
                    <a:pt x="104" y="363"/>
                  </a:lnTo>
                  <a:close/>
                  <a:moveTo>
                    <a:pt x="40" y="361"/>
                  </a:moveTo>
                  <a:lnTo>
                    <a:pt x="40" y="363"/>
                  </a:lnTo>
                  <a:lnTo>
                    <a:pt x="40" y="361"/>
                  </a:lnTo>
                  <a:lnTo>
                    <a:pt x="40" y="363"/>
                  </a:lnTo>
                  <a:lnTo>
                    <a:pt x="38" y="363"/>
                  </a:lnTo>
                  <a:lnTo>
                    <a:pt x="40" y="361"/>
                  </a:lnTo>
                  <a:close/>
                  <a:moveTo>
                    <a:pt x="159" y="363"/>
                  </a:moveTo>
                  <a:lnTo>
                    <a:pt x="159" y="361"/>
                  </a:lnTo>
                  <a:lnTo>
                    <a:pt x="159" y="363"/>
                  </a:lnTo>
                  <a:lnTo>
                    <a:pt x="159" y="361"/>
                  </a:lnTo>
                  <a:lnTo>
                    <a:pt x="161" y="361"/>
                  </a:lnTo>
                  <a:lnTo>
                    <a:pt x="159" y="363"/>
                  </a:lnTo>
                  <a:close/>
                  <a:moveTo>
                    <a:pt x="36" y="361"/>
                  </a:moveTo>
                  <a:lnTo>
                    <a:pt x="38" y="363"/>
                  </a:lnTo>
                  <a:lnTo>
                    <a:pt x="36" y="363"/>
                  </a:lnTo>
                  <a:lnTo>
                    <a:pt x="36" y="361"/>
                  </a:lnTo>
                  <a:lnTo>
                    <a:pt x="36" y="363"/>
                  </a:lnTo>
                  <a:lnTo>
                    <a:pt x="36" y="361"/>
                  </a:lnTo>
                  <a:lnTo>
                    <a:pt x="36" y="363"/>
                  </a:lnTo>
                  <a:lnTo>
                    <a:pt x="36" y="361"/>
                  </a:lnTo>
                  <a:lnTo>
                    <a:pt x="36" y="363"/>
                  </a:lnTo>
                  <a:lnTo>
                    <a:pt x="36" y="361"/>
                  </a:lnTo>
                  <a:close/>
                  <a:moveTo>
                    <a:pt x="161" y="361"/>
                  </a:moveTo>
                  <a:lnTo>
                    <a:pt x="161" y="363"/>
                  </a:lnTo>
                  <a:lnTo>
                    <a:pt x="161" y="361"/>
                  </a:lnTo>
                  <a:close/>
                  <a:moveTo>
                    <a:pt x="76" y="363"/>
                  </a:moveTo>
                  <a:lnTo>
                    <a:pt x="78" y="363"/>
                  </a:lnTo>
                  <a:lnTo>
                    <a:pt x="76" y="363"/>
                  </a:lnTo>
                  <a:lnTo>
                    <a:pt x="76" y="361"/>
                  </a:lnTo>
                  <a:lnTo>
                    <a:pt x="76" y="363"/>
                  </a:lnTo>
                  <a:close/>
                  <a:moveTo>
                    <a:pt x="21" y="361"/>
                  </a:moveTo>
                  <a:lnTo>
                    <a:pt x="21" y="363"/>
                  </a:lnTo>
                  <a:lnTo>
                    <a:pt x="21" y="361"/>
                  </a:lnTo>
                  <a:close/>
                  <a:moveTo>
                    <a:pt x="38" y="363"/>
                  </a:moveTo>
                  <a:lnTo>
                    <a:pt x="38" y="361"/>
                  </a:lnTo>
                  <a:lnTo>
                    <a:pt x="38" y="363"/>
                  </a:lnTo>
                  <a:close/>
                  <a:moveTo>
                    <a:pt x="26" y="361"/>
                  </a:moveTo>
                  <a:lnTo>
                    <a:pt x="26" y="363"/>
                  </a:lnTo>
                  <a:lnTo>
                    <a:pt x="26" y="361"/>
                  </a:lnTo>
                  <a:lnTo>
                    <a:pt x="26" y="363"/>
                  </a:lnTo>
                  <a:lnTo>
                    <a:pt x="26" y="361"/>
                  </a:lnTo>
                  <a:close/>
                  <a:moveTo>
                    <a:pt x="64" y="361"/>
                  </a:moveTo>
                  <a:lnTo>
                    <a:pt x="64" y="363"/>
                  </a:lnTo>
                  <a:lnTo>
                    <a:pt x="64" y="361"/>
                  </a:lnTo>
                  <a:close/>
                  <a:moveTo>
                    <a:pt x="76" y="361"/>
                  </a:moveTo>
                  <a:lnTo>
                    <a:pt x="76" y="363"/>
                  </a:lnTo>
                  <a:lnTo>
                    <a:pt x="76" y="361"/>
                  </a:lnTo>
                  <a:close/>
                  <a:moveTo>
                    <a:pt x="107" y="361"/>
                  </a:moveTo>
                  <a:lnTo>
                    <a:pt x="107" y="363"/>
                  </a:lnTo>
                  <a:lnTo>
                    <a:pt x="107" y="361"/>
                  </a:lnTo>
                  <a:lnTo>
                    <a:pt x="107" y="363"/>
                  </a:lnTo>
                  <a:lnTo>
                    <a:pt x="104" y="363"/>
                  </a:lnTo>
                  <a:lnTo>
                    <a:pt x="107" y="363"/>
                  </a:lnTo>
                  <a:lnTo>
                    <a:pt x="104" y="363"/>
                  </a:lnTo>
                  <a:lnTo>
                    <a:pt x="104" y="361"/>
                  </a:lnTo>
                  <a:lnTo>
                    <a:pt x="107" y="361"/>
                  </a:lnTo>
                  <a:close/>
                  <a:moveTo>
                    <a:pt x="21" y="361"/>
                  </a:moveTo>
                  <a:lnTo>
                    <a:pt x="21" y="363"/>
                  </a:lnTo>
                  <a:lnTo>
                    <a:pt x="21" y="361"/>
                  </a:lnTo>
                  <a:lnTo>
                    <a:pt x="21" y="363"/>
                  </a:lnTo>
                  <a:lnTo>
                    <a:pt x="21" y="361"/>
                  </a:lnTo>
                  <a:close/>
                  <a:moveTo>
                    <a:pt x="157" y="361"/>
                  </a:moveTo>
                  <a:lnTo>
                    <a:pt x="159" y="361"/>
                  </a:lnTo>
                  <a:lnTo>
                    <a:pt x="159" y="363"/>
                  </a:lnTo>
                  <a:lnTo>
                    <a:pt x="159" y="361"/>
                  </a:lnTo>
                  <a:lnTo>
                    <a:pt x="157" y="361"/>
                  </a:lnTo>
                  <a:close/>
                  <a:moveTo>
                    <a:pt x="64" y="361"/>
                  </a:moveTo>
                  <a:lnTo>
                    <a:pt x="64" y="363"/>
                  </a:lnTo>
                  <a:lnTo>
                    <a:pt x="64" y="361"/>
                  </a:lnTo>
                  <a:close/>
                  <a:moveTo>
                    <a:pt x="40" y="361"/>
                  </a:moveTo>
                  <a:lnTo>
                    <a:pt x="40" y="363"/>
                  </a:lnTo>
                  <a:lnTo>
                    <a:pt x="40" y="361"/>
                  </a:lnTo>
                  <a:close/>
                  <a:moveTo>
                    <a:pt x="109" y="361"/>
                  </a:moveTo>
                  <a:lnTo>
                    <a:pt x="109" y="363"/>
                  </a:lnTo>
                  <a:lnTo>
                    <a:pt x="112" y="363"/>
                  </a:lnTo>
                  <a:lnTo>
                    <a:pt x="112" y="366"/>
                  </a:lnTo>
                  <a:lnTo>
                    <a:pt x="109" y="366"/>
                  </a:lnTo>
                  <a:lnTo>
                    <a:pt x="109" y="363"/>
                  </a:lnTo>
                  <a:lnTo>
                    <a:pt x="109" y="366"/>
                  </a:lnTo>
                  <a:lnTo>
                    <a:pt x="109" y="363"/>
                  </a:lnTo>
                  <a:lnTo>
                    <a:pt x="107" y="363"/>
                  </a:lnTo>
                  <a:lnTo>
                    <a:pt x="109" y="363"/>
                  </a:lnTo>
                  <a:lnTo>
                    <a:pt x="107" y="363"/>
                  </a:lnTo>
                  <a:lnTo>
                    <a:pt x="109" y="363"/>
                  </a:lnTo>
                  <a:lnTo>
                    <a:pt x="109" y="361"/>
                  </a:lnTo>
                  <a:close/>
                  <a:moveTo>
                    <a:pt x="104" y="361"/>
                  </a:moveTo>
                  <a:lnTo>
                    <a:pt x="104" y="363"/>
                  </a:lnTo>
                  <a:lnTo>
                    <a:pt x="102" y="361"/>
                  </a:lnTo>
                  <a:lnTo>
                    <a:pt x="104" y="361"/>
                  </a:lnTo>
                  <a:close/>
                  <a:moveTo>
                    <a:pt x="26" y="361"/>
                  </a:moveTo>
                  <a:lnTo>
                    <a:pt x="26" y="363"/>
                  </a:lnTo>
                  <a:lnTo>
                    <a:pt x="26" y="361"/>
                  </a:lnTo>
                  <a:lnTo>
                    <a:pt x="26" y="363"/>
                  </a:lnTo>
                  <a:lnTo>
                    <a:pt x="26" y="361"/>
                  </a:lnTo>
                  <a:lnTo>
                    <a:pt x="26" y="363"/>
                  </a:lnTo>
                  <a:lnTo>
                    <a:pt x="26" y="361"/>
                  </a:lnTo>
                  <a:close/>
                  <a:moveTo>
                    <a:pt x="38" y="361"/>
                  </a:moveTo>
                  <a:lnTo>
                    <a:pt x="38" y="363"/>
                  </a:lnTo>
                  <a:lnTo>
                    <a:pt x="38" y="361"/>
                  </a:lnTo>
                  <a:close/>
                  <a:moveTo>
                    <a:pt x="157" y="363"/>
                  </a:moveTo>
                  <a:lnTo>
                    <a:pt x="157" y="361"/>
                  </a:lnTo>
                  <a:lnTo>
                    <a:pt x="157" y="363"/>
                  </a:lnTo>
                  <a:close/>
                  <a:moveTo>
                    <a:pt x="78" y="361"/>
                  </a:moveTo>
                  <a:lnTo>
                    <a:pt x="76" y="361"/>
                  </a:lnTo>
                  <a:lnTo>
                    <a:pt x="78" y="361"/>
                  </a:lnTo>
                  <a:close/>
                  <a:moveTo>
                    <a:pt x="100" y="361"/>
                  </a:moveTo>
                  <a:lnTo>
                    <a:pt x="100" y="363"/>
                  </a:lnTo>
                  <a:lnTo>
                    <a:pt x="100" y="366"/>
                  </a:lnTo>
                  <a:lnTo>
                    <a:pt x="100" y="363"/>
                  </a:lnTo>
                  <a:lnTo>
                    <a:pt x="100" y="361"/>
                  </a:lnTo>
                  <a:close/>
                  <a:moveTo>
                    <a:pt x="107" y="361"/>
                  </a:moveTo>
                  <a:lnTo>
                    <a:pt x="104" y="361"/>
                  </a:lnTo>
                  <a:lnTo>
                    <a:pt x="107" y="361"/>
                  </a:lnTo>
                  <a:close/>
                  <a:moveTo>
                    <a:pt x="171" y="363"/>
                  </a:moveTo>
                  <a:lnTo>
                    <a:pt x="171" y="361"/>
                  </a:lnTo>
                  <a:lnTo>
                    <a:pt x="171" y="363"/>
                  </a:lnTo>
                  <a:close/>
                  <a:moveTo>
                    <a:pt x="38" y="361"/>
                  </a:moveTo>
                  <a:lnTo>
                    <a:pt x="40" y="361"/>
                  </a:lnTo>
                  <a:lnTo>
                    <a:pt x="38" y="361"/>
                  </a:lnTo>
                  <a:lnTo>
                    <a:pt x="40" y="361"/>
                  </a:lnTo>
                  <a:lnTo>
                    <a:pt x="38" y="361"/>
                  </a:lnTo>
                  <a:close/>
                  <a:moveTo>
                    <a:pt x="102" y="361"/>
                  </a:moveTo>
                  <a:lnTo>
                    <a:pt x="102" y="363"/>
                  </a:lnTo>
                  <a:lnTo>
                    <a:pt x="102" y="361"/>
                  </a:lnTo>
                  <a:close/>
                  <a:moveTo>
                    <a:pt x="26" y="361"/>
                  </a:moveTo>
                  <a:lnTo>
                    <a:pt x="24" y="361"/>
                  </a:lnTo>
                  <a:lnTo>
                    <a:pt x="26" y="361"/>
                  </a:lnTo>
                  <a:close/>
                  <a:moveTo>
                    <a:pt x="154" y="361"/>
                  </a:moveTo>
                  <a:lnTo>
                    <a:pt x="152" y="361"/>
                  </a:lnTo>
                  <a:lnTo>
                    <a:pt x="154" y="361"/>
                  </a:lnTo>
                  <a:lnTo>
                    <a:pt x="152" y="361"/>
                  </a:lnTo>
                  <a:lnTo>
                    <a:pt x="154" y="361"/>
                  </a:lnTo>
                  <a:close/>
                  <a:moveTo>
                    <a:pt x="112" y="361"/>
                  </a:moveTo>
                  <a:lnTo>
                    <a:pt x="114" y="361"/>
                  </a:lnTo>
                  <a:lnTo>
                    <a:pt x="112" y="361"/>
                  </a:lnTo>
                  <a:close/>
                  <a:moveTo>
                    <a:pt x="86" y="361"/>
                  </a:moveTo>
                  <a:lnTo>
                    <a:pt x="83" y="361"/>
                  </a:lnTo>
                  <a:lnTo>
                    <a:pt x="86" y="361"/>
                  </a:lnTo>
                  <a:close/>
                  <a:moveTo>
                    <a:pt x="169" y="361"/>
                  </a:moveTo>
                  <a:lnTo>
                    <a:pt x="166" y="361"/>
                  </a:lnTo>
                  <a:lnTo>
                    <a:pt x="169" y="361"/>
                  </a:lnTo>
                  <a:lnTo>
                    <a:pt x="166" y="361"/>
                  </a:lnTo>
                  <a:lnTo>
                    <a:pt x="169" y="361"/>
                  </a:lnTo>
                  <a:close/>
                  <a:moveTo>
                    <a:pt x="36" y="361"/>
                  </a:moveTo>
                  <a:lnTo>
                    <a:pt x="38" y="361"/>
                  </a:lnTo>
                  <a:lnTo>
                    <a:pt x="36" y="361"/>
                  </a:lnTo>
                  <a:lnTo>
                    <a:pt x="36" y="363"/>
                  </a:lnTo>
                  <a:lnTo>
                    <a:pt x="33" y="363"/>
                  </a:lnTo>
                  <a:lnTo>
                    <a:pt x="33" y="361"/>
                  </a:lnTo>
                  <a:lnTo>
                    <a:pt x="33" y="363"/>
                  </a:lnTo>
                  <a:lnTo>
                    <a:pt x="33" y="361"/>
                  </a:lnTo>
                  <a:lnTo>
                    <a:pt x="33" y="363"/>
                  </a:lnTo>
                  <a:lnTo>
                    <a:pt x="33" y="361"/>
                  </a:lnTo>
                  <a:lnTo>
                    <a:pt x="33" y="363"/>
                  </a:lnTo>
                  <a:lnTo>
                    <a:pt x="31" y="363"/>
                  </a:lnTo>
                  <a:lnTo>
                    <a:pt x="33" y="363"/>
                  </a:lnTo>
                  <a:lnTo>
                    <a:pt x="31" y="363"/>
                  </a:lnTo>
                  <a:lnTo>
                    <a:pt x="33" y="363"/>
                  </a:lnTo>
                  <a:lnTo>
                    <a:pt x="31" y="363"/>
                  </a:lnTo>
                  <a:lnTo>
                    <a:pt x="33" y="363"/>
                  </a:lnTo>
                  <a:lnTo>
                    <a:pt x="31" y="361"/>
                  </a:lnTo>
                  <a:lnTo>
                    <a:pt x="33" y="361"/>
                  </a:lnTo>
                  <a:lnTo>
                    <a:pt x="36" y="361"/>
                  </a:lnTo>
                  <a:close/>
                  <a:moveTo>
                    <a:pt x="171" y="361"/>
                  </a:moveTo>
                  <a:lnTo>
                    <a:pt x="173" y="361"/>
                  </a:lnTo>
                  <a:lnTo>
                    <a:pt x="171" y="361"/>
                  </a:lnTo>
                  <a:close/>
                  <a:moveTo>
                    <a:pt x="154" y="361"/>
                  </a:moveTo>
                  <a:lnTo>
                    <a:pt x="157" y="361"/>
                  </a:lnTo>
                  <a:lnTo>
                    <a:pt x="154" y="361"/>
                  </a:lnTo>
                  <a:close/>
                  <a:moveTo>
                    <a:pt x="157" y="361"/>
                  </a:moveTo>
                  <a:lnTo>
                    <a:pt x="159" y="361"/>
                  </a:lnTo>
                  <a:lnTo>
                    <a:pt x="157" y="361"/>
                  </a:lnTo>
                  <a:close/>
                  <a:moveTo>
                    <a:pt x="169" y="361"/>
                  </a:moveTo>
                  <a:lnTo>
                    <a:pt x="169" y="359"/>
                  </a:lnTo>
                  <a:lnTo>
                    <a:pt x="169" y="361"/>
                  </a:lnTo>
                  <a:close/>
                  <a:moveTo>
                    <a:pt x="100" y="361"/>
                  </a:moveTo>
                  <a:lnTo>
                    <a:pt x="100" y="359"/>
                  </a:lnTo>
                  <a:lnTo>
                    <a:pt x="100" y="361"/>
                  </a:lnTo>
                  <a:close/>
                  <a:moveTo>
                    <a:pt x="71" y="361"/>
                  </a:moveTo>
                  <a:lnTo>
                    <a:pt x="71" y="359"/>
                  </a:lnTo>
                  <a:lnTo>
                    <a:pt x="71" y="361"/>
                  </a:lnTo>
                  <a:close/>
                  <a:moveTo>
                    <a:pt x="52" y="361"/>
                  </a:moveTo>
                  <a:lnTo>
                    <a:pt x="52" y="359"/>
                  </a:lnTo>
                  <a:lnTo>
                    <a:pt x="52" y="361"/>
                  </a:lnTo>
                  <a:lnTo>
                    <a:pt x="52" y="359"/>
                  </a:lnTo>
                  <a:lnTo>
                    <a:pt x="52" y="361"/>
                  </a:lnTo>
                  <a:lnTo>
                    <a:pt x="52" y="359"/>
                  </a:lnTo>
                  <a:lnTo>
                    <a:pt x="52" y="361"/>
                  </a:lnTo>
                  <a:close/>
                  <a:moveTo>
                    <a:pt x="112" y="359"/>
                  </a:moveTo>
                  <a:lnTo>
                    <a:pt x="112" y="361"/>
                  </a:lnTo>
                  <a:lnTo>
                    <a:pt x="109" y="361"/>
                  </a:lnTo>
                  <a:lnTo>
                    <a:pt x="112" y="361"/>
                  </a:lnTo>
                  <a:lnTo>
                    <a:pt x="109" y="361"/>
                  </a:lnTo>
                  <a:lnTo>
                    <a:pt x="109" y="359"/>
                  </a:lnTo>
                  <a:lnTo>
                    <a:pt x="109" y="361"/>
                  </a:lnTo>
                  <a:lnTo>
                    <a:pt x="109" y="359"/>
                  </a:lnTo>
                  <a:lnTo>
                    <a:pt x="112" y="359"/>
                  </a:lnTo>
                  <a:close/>
                  <a:moveTo>
                    <a:pt x="19" y="359"/>
                  </a:moveTo>
                  <a:lnTo>
                    <a:pt x="19" y="361"/>
                  </a:lnTo>
                  <a:lnTo>
                    <a:pt x="19" y="359"/>
                  </a:lnTo>
                  <a:lnTo>
                    <a:pt x="21" y="359"/>
                  </a:lnTo>
                  <a:lnTo>
                    <a:pt x="21" y="361"/>
                  </a:lnTo>
                  <a:lnTo>
                    <a:pt x="19" y="359"/>
                  </a:lnTo>
                  <a:lnTo>
                    <a:pt x="19" y="361"/>
                  </a:lnTo>
                  <a:lnTo>
                    <a:pt x="21" y="361"/>
                  </a:lnTo>
                  <a:lnTo>
                    <a:pt x="19" y="361"/>
                  </a:lnTo>
                  <a:lnTo>
                    <a:pt x="19" y="359"/>
                  </a:lnTo>
                  <a:close/>
                  <a:moveTo>
                    <a:pt x="100" y="359"/>
                  </a:moveTo>
                  <a:lnTo>
                    <a:pt x="100" y="361"/>
                  </a:lnTo>
                  <a:lnTo>
                    <a:pt x="100" y="359"/>
                  </a:lnTo>
                  <a:close/>
                  <a:moveTo>
                    <a:pt x="43" y="361"/>
                  </a:moveTo>
                  <a:lnTo>
                    <a:pt x="43" y="359"/>
                  </a:lnTo>
                  <a:lnTo>
                    <a:pt x="43" y="361"/>
                  </a:lnTo>
                  <a:close/>
                  <a:moveTo>
                    <a:pt x="81" y="359"/>
                  </a:moveTo>
                  <a:lnTo>
                    <a:pt x="81" y="361"/>
                  </a:lnTo>
                  <a:lnTo>
                    <a:pt x="81" y="359"/>
                  </a:lnTo>
                  <a:lnTo>
                    <a:pt x="81" y="361"/>
                  </a:lnTo>
                  <a:lnTo>
                    <a:pt x="81" y="359"/>
                  </a:lnTo>
                  <a:close/>
                  <a:moveTo>
                    <a:pt x="121" y="359"/>
                  </a:moveTo>
                  <a:lnTo>
                    <a:pt x="121" y="361"/>
                  </a:lnTo>
                  <a:lnTo>
                    <a:pt x="119" y="361"/>
                  </a:lnTo>
                  <a:lnTo>
                    <a:pt x="119" y="359"/>
                  </a:lnTo>
                  <a:lnTo>
                    <a:pt x="121" y="359"/>
                  </a:lnTo>
                  <a:close/>
                  <a:moveTo>
                    <a:pt x="116" y="359"/>
                  </a:moveTo>
                  <a:lnTo>
                    <a:pt x="114" y="359"/>
                  </a:lnTo>
                  <a:lnTo>
                    <a:pt x="116" y="359"/>
                  </a:lnTo>
                  <a:close/>
                  <a:moveTo>
                    <a:pt x="21" y="359"/>
                  </a:moveTo>
                  <a:lnTo>
                    <a:pt x="21" y="361"/>
                  </a:lnTo>
                  <a:lnTo>
                    <a:pt x="24" y="361"/>
                  </a:lnTo>
                  <a:lnTo>
                    <a:pt x="21" y="361"/>
                  </a:lnTo>
                  <a:lnTo>
                    <a:pt x="21" y="359"/>
                  </a:lnTo>
                  <a:close/>
                  <a:moveTo>
                    <a:pt x="164" y="359"/>
                  </a:moveTo>
                  <a:lnTo>
                    <a:pt x="166" y="359"/>
                  </a:lnTo>
                  <a:lnTo>
                    <a:pt x="164" y="359"/>
                  </a:lnTo>
                  <a:close/>
                  <a:moveTo>
                    <a:pt x="36" y="359"/>
                  </a:moveTo>
                  <a:lnTo>
                    <a:pt x="33" y="359"/>
                  </a:lnTo>
                  <a:lnTo>
                    <a:pt x="36" y="359"/>
                  </a:lnTo>
                  <a:close/>
                  <a:moveTo>
                    <a:pt x="83" y="359"/>
                  </a:moveTo>
                  <a:lnTo>
                    <a:pt x="81" y="359"/>
                  </a:lnTo>
                  <a:lnTo>
                    <a:pt x="83" y="359"/>
                  </a:lnTo>
                  <a:close/>
                  <a:moveTo>
                    <a:pt x="40" y="359"/>
                  </a:moveTo>
                  <a:lnTo>
                    <a:pt x="43" y="359"/>
                  </a:lnTo>
                  <a:lnTo>
                    <a:pt x="43" y="361"/>
                  </a:lnTo>
                  <a:lnTo>
                    <a:pt x="40" y="361"/>
                  </a:lnTo>
                  <a:lnTo>
                    <a:pt x="43" y="361"/>
                  </a:lnTo>
                  <a:lnTo>
                    <a:pt x="40" y="361"/>
                  </a:lnTo>
                  <a:lnTo>
                    <a:pt x="38" y="361"/>
                  </a:lnTo>
                  <a:lnTo>
                    <a:pt x="40" y="361"/>
                  </a:lnTo>
                  <a:lnTo>
                    <a:pt x="38" y="361"/>
                  </a:lnTo>
                  <a:lnTo>
                    <a:pt x="40" y="359"/>
                  </a:lnTo>
                  <a:lnTo>
                    <a:pt x="43" y="359"/>
                  </a:lnTo>
                  <a:lnTo>
                    <a:pt x="40" y="359"/>
                  </a:lnTo>
                  <a:close/>
                  <a:moveTo>
                    <a:pt x="40" y="359"/>
                  </a:moveTo>
                  <a:lnTo>
                    <a:pt x="38" y="359"/>
                  </a:lnTo>
                  <a:lnTo>
                    <a:pt x="38" y="361"/>
                  </a:lnTo>
                  <a:lnTo>
                    <a:pt x="38" y="359"/>
                  </a:lnTo>
                  <a:lnTo>
                    <a:pt x="38" y="361"/>
                  </a:lnTo>
                  <a:lnTo>
                    <a:pt x="38" y="359"/>
                  </a:lnTo>
                  <a:lnTo>
                    <a:pt x="40" y="359"/>
                  </a:lnTo>
                  <a:close/>
                  <a:moveTo>
                    <a:pt x="166" y="359"/>
                  </a:moveTo>
                  <a:lnTo>
                    <a:pt x="164" y="359"/>
                  </a:lnTo>
                  <a:lnTo>
                    <a:pt x="166" y="359"/>
                  </a:lnTo>
                  <a:close/>
                  <a:moveTo>
                    <a:pt x="38" y="359"/>
                  </a:moveTo>
                  <a:lnTo>
                    <a:pt x="38" y="361"/>
                  </a:lnTo>
                  <a:lnTo>
                    <a:pt x="36" y="361"/>
                  </a:lnTo>
                  <a:lnTo>
                    <a:pt x="36" y="359"/>
                  </a:lnTo>
                  <a:lnTo>
                    <a:pt x="38" y="359"/>
                  </a:lnTo>
                  <a:close/>
                  <a:moveTo>
                    <a:pt x="119" y="359"/>
                  </a:moveTo>
                  <a:lnTo>
                    <a:pt x="116" y="359"/>
                  </a:lnTo>
                  <a:lnTo>
                    <a:pt x="119" y="361"/>
                  </a:lnTo>
                  <a:lnTo>
                    <a:pt x="116" y="361"/>
                  </a:lnTo>
                  <a:lnTo>
                    <a:pt x="119" y="361"/>
                  </a:lnTo>
                  <a:lnTo>
                    <a:pt x="116" y="361"/>
                  </a:lnTo>
                  <a:lnTo>
                    <a:pt x="116" y="359"/>
                  </a:lnTo>
                  <a:lnTo>
                    <a:pt x="119" y="359"/>
                  </a:lnTo>
                  <a:lnTo>
                    <a:pt x="116" y="359"/>
                  </a:lnTo>
                  <a:lnTo>
                    <a:pt x="119" y="359"/>
                  </a:lnTo>
                  <a:lnTo>
                    <a:pt x="116" y="359"/>
                  </a:lnTo>
                  <a:lnTo>
                    <a:pt x="119" y="359"/>
                  </a:lnTo>
                  <a:close/>
                  <a:moveTo>
                    <a:pt x="116" y="359"/>
                  </a:moveTo>
                  <a:lnTo>
                    <a:pt x="114" y="359"/>
                  </a:lnTo>
                  <a:lnTo>
                    <a:pt x="116" y="359"/>
                  </a:lnTo>
                  <a:close/>
                  <a:moveTo>
                    <a:pt x="45" y="359"/>
                  </a:moveTo>
                  <a:lnTo>
                    <a:pt x="45" y="356"/>
                  </a:lnTo>
                  <a:lnTo>
                    <a:pt x="45" y="359"/>
                  </a:lnTo>
                  <a:close/>
                  <a:moveTo>
                    <a:pt x="67" y="359"/>
                  </a:moveTo>
                  <a:lnTo>
                    <a:pt x="67" y="356"/>
                  </a:lnTo>
                  <a:lnTo>
                    <a:pt x="67" y="359"/>
                  </a:lnTo>
                  <a:close/>
                  <a:moveTo>
                    <a:pt x="40" y="356"/>
                  </a:moveTo>
                  <a:lnTo>
                    <a:pt x="40" y="359"/>
                  </a:lnTo>
                  <a:lnTo>
                    <a:pt x="38" y="359"/>
                  </a:lnTo>
                  <a:lnTo>
                    <a:pt x="40" y="359"/>
                  </a:lnTo>
                  <a:lnTo>
                    <a:pt x="38" y="359"/>
                  </a:lnTo>
                  <a:lnTo>
                    <a:pt x="38" y="356"/>
                  </a:lnTo>
                  <a:lnTo>
                    <a:pt x="38" y="359"/>
                  </a:lnTo>
                  <a:lnTo>
                    <a:pt x="40" y="359"/>
                  </a:lnTo>
                  <a:lnTo>
                    <a:pt x="40" y="356"/>
                  </a:lnTo>
                  <a:lnTo>
                    <a:pt x="40" y="359"/>
                  </a:lnTo>
                  <a:lnTo>
                    <a:pt x="40" y="356"/>
                  </a:lnTo>
                  <a:close/>
                  <a:moveTo>
                    <a:pt x="48" y="359"/>
                  </a:moveTo>
                  <a:lnTo>
                    <a:pt x="48" y="356"/>
                  </a:lnTo>
                  <a:lnTo>
                    <a:pt x="48" y="359"/>
                  </a:lnTo>
                  <a:close/>
                  <a:moveTo>
                    <a:pt x="45" y="356"/>
                  </a:moveTo>
                  <a:lnTo>
                    <a:pt x="48" y="356"/>
                  </a:lnTo>
                  <a:lnTo>
                    <a:pt x="48" y="359"/>
                  </a:lnTo>
                  <a:lnTo>
                    <a:pt x="45" y="359"/>
                  </a:lnTo>
                  <a:lnTo>
                    <a:pt x="45" y="356"/>
                  </a:lnTo>
                  <a:close/>
                  <a:moveTo>
                    <a:pt x="50" y="359"/>
                  </a:moveTo>
                  <a:lnTo>
                    <a:pt x="48" y="359"/>
                  </a:lnTo>
                  <a:lnTo>
                    <a:pt x="50" y="359"/>
                  </a:lnTo>
                  <a:lnTo>
                    <a:pt x="50" y="356"/>
                  </a:lnTo>
                  <a:lnTo>
                    <a:pt x="50" y="359"/>
                  </a:lnTo>
                  <a:close/>
                  <a:moveTo>
                    <a:pt x="36" y="359"/>
                  </a:moveTo>
                  <a:lnTo>
                    <a:pt x="36" y="356"/>
                  </a:lnTo>
                  <a:lnTo>
                    <a:pt x="36" y="359"/>
                  </a:lnTo>
                  <a:close/>
                  <a:moveTo>
                    <a:pt x="116" y="356"/>
                  </a:moveTo>
                  <a:lnTo>
                    <a:pt x="116" y="359"/>
                  </a:lnTo>
                  <a:lnTo>
                    <a:pt x="116" y="356"/>
                  </a:lnTo>
                  <a:close/>
                  <a:moveTo>
                    <a:pt x="38" y="359"/>
                  </a:moveTo>
                  <a:lnTo>
                    <a:pt x="36" y="359"/>
                  </a:lnTo>
                  <a:lnTo>
                    <a:pt x="36" y="356"/>
                  </a:lnTo>
                  <a:lnTo>
                    <a:pt x="38" y="356"/>
                  </a:lnTo>
                  <a:lnTo>
                    <a:pt x="38" y="359"/>
                  </a:lnTo>
                  <a:close/>
                  <a:moveTo>
                    <a:pt x="67" y="359"/>
                  </a:moveTo>
                  <a:lnTo>
                    <a:pt x="67" y="356"/>
                  </a:lnTo>
                  <a:lnTo>
                    <a:pt x="67" y="359"/>
                  </a:lnTo>
                  <a:lnTo>
                    <a:pt x="67" y="356"/>
                  </a:lnTo>
                  <a:lnTo>
                    <a:pt x="67" y="359"/>
                  </a:lnTo>
                  <a:close/>
                  <a:moveTo>
                    <a:pt x="67" y="356"/>
                  </a:moveTo>
                  <a:lnTo>
                    <a:pt x="69" y="356"/>
                  </a:lnTo>
                  <a:lnTo>
                    <a:pt x="67" y="356"/>
                  </a:lnTo>
                  <a:lnTo>
                    <a:pt x="69" y="356"/>
                  </a:lnTo>
                  <a:lnTo>
                    <a:pt x="69" y="359"/>
                  </a:lnTo>
                  <a:lnTo>
                    <a:pt x="67" y="359"/>
                  </a:lnTo>
                  <a:lnTo>
                    <a:pt x="67" y="356"/>
                  </a:lnTo>
                  <a:close/>
                  <a:moveTo>
                    <a:pt x="64" y="356"/>
                  </a:moveTo>
                  <a:lnTo>
                    <a:pt x="64" y="359"/>
                  </a:lnTo>
                  <a:lnTo>
                    <a:pt x="64" y="356"/>
                  </a:lnTo>
                  <a:close/>
                  <a:moveTo>
                    <a:pt x="33" y="356"/>
                  </a:moveTo>
                  <a:lnTo>
                    <a:pt x="33" y="359"/>
                  </a:lnTo>
                  <a:lnTo>
                    <a:pt x="33" y="356"/>
                  </a:lnTo>
                  <a:close/>
                  <a:moveTo>
                    <a:pt x="19" y="356"/>
                  </a:moveTo>
                  <a:lnTo>
                    <a:pt x="19" y="359"/>
                  </a:lnTo>
                  <a:lnTo>
                    <a:pt x="19" y="356"/>
                  </a:lnTo>
                  <a:close/>
                  <a:moveTo>
                    <a:pt x="90" y="356"/>
                  </a:moveTo>
                  <a:lnTo>
                    <a:pt x="93" y="356"/>
                  </a:lnTo>
                  <a:lnTo>
                    <a:pt x="90" y="356"/>
                  </a:lnTo>
                  <a:close/>
                  <a:moveTo>
                    <a:pt x="78" y="356"/>
                  </a:moveTo>
                  <a:lnTo>
                    <a:pt x="76" y="356"/>
                  </a:lnTo>
                  <a:lnTo>
                    <a:pt x="78" y="356"/>
                  </a:lnTo>
                  <a:close/>
                  <a:moveTo>
                    <a:pt x="48" y="356"/>
                  </a:moveTo>
                  <a:lnTo>
                    <a:pt x="45" y="356"/>
                  </a:lnTo>
                  <a:lnTo>
                    <a:pt x="48" y="356"/>
                  </a:lnTo>
                  <a:lnTo>
                    <a:pt x="45" y="356"/>
                  </a:lnTo>
                  <a:lnTo>
                    <a:pt x="48" y="356"/>
                  </a:lnTo>
                  <a:lnTo>
                    <a:pt x="45" y="356"/>
                  </a:lnTo>
                  <a:lnTo>
                    <a:pt x="48" y="356"/>
                  </a:lnTo>
                  <a:close/>
                  <a:moveTo>
                    <a:pt x="33" y="356"/>
                  </a:moveTo>
                  <a:lnTo>
                    <a:pt x="31" y="356"/>
                  </a:lnTo>
                  <a:lnTo>
                    <a:pt x="33" y="356"/>
                  </a:lnTo>
                  <a:close/>
                  <a:moveTo>
                    <a:pt x="38" y="356"/>
                  </a:moveTo>
                  <a:lnTo>
                    <a:pt x="40" y="356"/>
                  </a:lnTo>
                  <a:lnTo>
                    <a:pt x="38" y="356"/>
                  </a:lnTo>
                  <a:close/>
                  <a:moveTo>
                    <a:pt x="86" y="356"/>
                  </a:moveTo>
                  <a:lnTo>
                    <a:pt x="83" y="356"/>
                  </a:lnTo>
                  <a:lnTo>
                    <a:pt x="86" y="356"/>
                  </a:lnTo>
                  <a:close/>
                  <a:moveTo>
                    <a:pt x="81" y="356"/>
                  </a:moveTo>
                  <a:lnTo>
                    <a:pt x="83" y="356"/>
                  </a:lnTo>
                  <a:lnTo>
                    <a:pt x="81" y="356"/>
                  </a:lnTo>
                  <a:close/>
                  <a:moveTo>
                    <a:pt x="43" y="356"/>
                  </a:moveTo>
                  <a:lnTo>
                    <a:pt x="40" y="356"/>
                  </a:lnTo>
                  <a:lnTo>
                    <a:pt x="43" y="356"/>
                  </a:lnTo>
                  <a:close/>
                  <a:moveTo>
                    <a:pt x="81" y="356"/>
                  </a:moveTo>
                  <a:lnTo>
                    <a:pt x="78" y="356"/>
                  </a:lnTo>
                  <a:lnTo>
                    <a:pt x="81" y="356"/>
                  </a:lnTo>
                  <a:close/>
                  <a:moveTo>
                    <a:pt x="180" y="356"/>
                  </a:moveTo>
                  <a:lnTo>
                    <a:pt x="178" y="356"/>
                  </a:lnTo>
                  <a:lnTo>
                    <a:pt x="180" y="356"/>
                  </a:lnTo>
                  <a:close/>
                  <a:moveTo>
                    <a:pt x="76" y="356"/>
                  </a:moveTo>
                  <a:lnTo>
                    <a:pt x="78" y="356"/>
                  </a:lnTo>
                  <a:lnTo>
                    <a:pt x="76" y="356"/>
                  </a:lnTo>
                  <a:close/>
                  <a:moveTo>
                    <a:pt x="83" y="356"/>
                  </a:moveTo>
                  <a:lnTo>
                    <a:pt x="81" y="356"/>
                  </a:lnTo>
                  <a:lnTo>
                    <a:pt x="83" y="356"/>
                  </a:lnTo>
                  <a:close/>
                  <a:moveTo>
                    <a:pt x="33" y="356"/>
                  </a:moveTo>
                  <a:lnTo>
                    <a:pt x="36" y="356"/>
                  </a:lnTo>
                  <a:lnTo>
                    <a:pt x="33" y="356"/>
                  </a:lnTo>
                  <a:close/>
                  <a:moveTo>
                    <a:pt x="40" y="356"/>
                  </a:moveTo>
                  <a:lnTo>
                    <a:pt x="43" y="356"/>
                  </a:lnTo>
                  <a:lnTo>
                    <a:pt x="40" y="356"/>
                  </a:lnTo>
                  <a:lnTo>
                    <a:pt x="38" y="356"/>
                  </a:lnTo>
                  <a:lnTo>
                    <a:pt x="40" y="356"/>
                  </a:lnTo>
                  <a:lnTo>
                    <a:pt x="38" y="356"/>
                  </a:lnTo>
                  <a:lnTo>
                    <a:pt x="40" y="356"/>
                  </a:lnTo>
                  <a:close/>
                  <a:moveTo>
                    <a:pt x="71" y="356"/>
                  </a:moveTo>
                  <a:lnTo>
                    <a:pt x="74" y="356"/>
                  </a:lnTo>
                  <a:lnTo>
                    <a:pt x="71" y="356"/>
                  </a:lnTo>
                  <a:lnTo>
                    <a:pt x="71" y="354"/>
                  </a:lnTo>
                  <a:lnTo>
                    <a:pt x="71" y="356"/>
                  </a:lnTo>
                  <a:close/>
                  <a:moveTo>
                    <a:pt x="81" y="354"/>
                  </a:moveTo>
                  <a:lnTo>
                    <a:pt x="81" y="356"/>
                  </a:lnTo>
                  <a:lnTo>
                    <a:pt x="81" y="354"/>
                  </a:lnTo>
                  <a:lnTo>
                    <a:pt x="81" y="356"/>
                  </a:lnTo>
                  <a:lnTo>
                    <a:pt x="78" y="356"/>
                  </a:lnTo>
                  <a:lnTo>
                    <a:pt x="81" y="356"/>
                  </a:lnTo>
                  <a:lnTo>
                    <a:pt x="81" y="354"/>
                  </a:lnTo>
                  <a:close/>
                  <a:moveTo>
                    <a:pt x="119" y="354"/>
                  </a:moveTo>
                  <a:lnTo>
                    <a:pt x="121" y="354"/>
                  </a:lnTo>
                  <a:lnTo>
                    <a:pt x="121" y="356"/>
                  </a:lnTo>
                  <a:lnTo>
                    <a:pt x="119" y="356"/>
                  </a:lnTo>
                  <a:lnTo>
                    <a:pt x="116" y="356"/>
                  </a:lnTo>
                  <a:lnTo>
                    <a:pt x="119" y="356"/>
                  </a:lnTo>
                  <a:lnTo>
                    <a:pt x="119" y="354"/>
                  </a:lnTo>
                  <a:close/>
                  <a:moveTo>
                    <a:pt x="83" y="354"/>
                  </a:moveTo>
                  <a:lnTo>
                    <a:pt x="81" y="354"/>
                  </a:lnTo>
                  <a:lnTo>
                    <a:pt x="83" y="354"/>
                  </a:lnTo>
                  <a:close/>
                  <a:moveTo>
                    <a:pt x="102" y="354"/>
                  </a:moveTo>
                  <a:lnTo>
                    <a:pt x="102" y="356"/>
                  </a:lnTo>
                  <a:lnTo>
                    <a:pt x="100" y="354"/>
                  </a:lnTo>
                  <a:lnTo>
                    <a:pt x="102" y="354"/>
                  </a:lnTo>
                  <a:close/>
                  <a:moveTo>
                    <a:pt x="78" y="354"/>
                  </a:moveTo>
                  <a:lnTo>
                    <a:pt x="78" y="356"/>
                  </a:lnTo>
                  <a:lnTo>
                    <a:pt x="78" y="354"/>
                  </a:lnTo>
                  <a:close/>
                  <a:moveTo>
                    <a:pt x="83" y="354"/>
                  </a:moveTo>
                  <a:lnTo>
                    <a:pt x="86" y="354"/>
                  </a:lnTo>
                  <a:lnTo>
                    <a:pt x="83" y="354"/>
                  </a:lnTo>
                  <a:lnTo>
                    <a:pt x="86" y="354"/>
                  </a:lnTo>
                  <a:lnTo>
                    <a:pt x="86" y="356"/>
                  </a:lnTo>
                  <a:lnTo>
                    <a:pt x="86" y="354"/>
                  </a:lnTo>
                  <a:lnTo>
                    <a:pt x="86" y="356"/>
                  </a:lnTo>
                  <a:lnTo>
                    <a:pt x="86" y="354"/>
                  </a:lnTo>
                  <a:lnTo>
                    <a:pt x="83" y="354"/>
                  </a:lnTo>
                  <a:lnTo>
                    <a:pt x="83" y="356"/>
                  </a:lnTo>
                  <a:lnTo>
                    <a:pt x="83" y="354"/>
                  </a:lnTo>
                  <a:lnTo>
                    <a:pt x="83" y="356"/>
                  </a:lnTo>
                  <a:lnTo>
                    <a:pt x="83" y="354"/>
                  </a:lnTo>
                  <a:close/>
                  <a:moveTo>
                    <a:pt x="93" y="354"/>
                  </a:moveTo>
                  <a:lnTo>
                    <a:pt x="90" y="354"/>
                  </a:lnTo>
                  <a:lnTo>
                    <a:pt x="93" y="354"/>
                  </a:lnTo>
                  <a:lnTo>
                    <a:pt x="90" y="354"/>
                  </a:lnTo>
                  <a:lnTo>
                    <a:pt x="93" y="354"/>
                  </a:lnTo>
                  <a:close/>
                  <a:moveTo>
                    <a:pt x="88" y="354"/>
                  </a:moveTo>
                  <a:lnTo>
                    <a:pt x="90" y="354"/>
                  </a:lnTo>
                  <a:lnTo>
                    <a:pt x="88" y="356"/>
                  </a:lnTo>
                  <a:lnTo>
                    <a:pt x="86" y="356"/>
                  </a:lnTo>
                  <a:lnTo>
                    <a:pt x="86" y="354"/>
                  </a:lnTo>
                  <a:lnTo>
                    <a:pt x="86" y="356"/>
                  </a:lnTo>
                  <a:lnTo>
                    <a:pt x="86" y="354"/>
                  </a:lnTo>
                  <a:lnTo>
                    <a:pt x="88" y="354"/>
                  </a:lnTo>
                  <a:close/>
                  <a:moveTo>
                    <a:pt x="180" y="354"/>
                  </a:moveTo>
                  <a:lnTo>
                    <a:pt x="178" y="354"/>
                  </a:lnTo>
                  <a:lnTo>
                    <a:pt x="180" y="354"/>
                  </a:lnTo>
                  <a:close/>
                  <a:moveTo>
                    <a:pt x="97" y="354"/>
                  </a:moveTo>
                  <a:lnTo>
                    <a:pt x="95" y="354"/>
                  </a:lnTo>
                  <a:lnTo>
                    <a:pt x="97" y="354"/>
                  </a:lnTo>
                  <a:lnTo>
                    <a:pt x="95" y="354"/>
                  </a:lnTo>
                  <a:lnTo>
                    <a:pt x="97" y="354"/>
                  </a:lnTo>
                  <a:close/>
                  <a:moveTo>
                    <a:pt x="100" y="354"/>
                  </a:moveTo>
                  <a:lnTo>
                    <a:pt x="97" y="354"/>
                  </a:lnTo>
                  <a:lnTo>
                    <a:pt x="100" y="354"/>
                  </a:lnTo>
                  <a:close/>
                  <a:moveTo>
                    <a:pt x="90" y="354"/>
                  </a:moveTo>
                  <a:lnTo>
                    <a:pt x="93" y="354"/>
                  </a:lnTo>
                  <a:lnTo>
                    <a:pt x="90" y="354"/>
                  </a:lnTo>
                  <a:close/>
                  <a:moveTo>
                    <a:pt x="90" y="354"/>
                  </a:moveTo>
                  <a:lnTo>
                    <a:pt x="88" y="354"/>
                  </a:lnTo>
                  <a:lnTo>
                    <a:pt x="90" y="354"/>
                  </a:lnTo>
                  <a:lnTo>
                    <a:pt x="88" y="354"/>
                  </a:lnTo>
                  <a:lnTo>
                    <a:pt x="90" y="354"/>
                  </a:lnTo>
                  <a:close/>
                  <a:moveTo>
                    <a:pt x="57" y="354"/>
                  </a:moveTo>
                  <a:lnTo>
                    <a:pt x="59" y="354"/>
                  </a:lnTo>
                  <a:lnTo>
                    <a:pt x="57" y="354"/>
                  </a:lnTo>
                  <a:lnTo>
                    <a:pt x="59" y="354"/>
                  </a:lnTo>
                  <a:lnTo>
                    <a:pt x="57" y="354"/>
                  </a:lnTo>
                  <a:close/>
                  <a:moveTo>
                    <a:pt x="88" y="354"/>
                  </a:moveTo>
                  <a:lnTo>
                    <a:pt x="86" y="354"/>
                  </a:lnTo>
                  <a:lnTo>
                    <a:pt x="88" y="354"/>
                  </a:lnTo>
                  <a:close/>
                  <a:moveTo>
                    <a:pt x="45" y="354"/>
                  </a:moveTo>
                  <a:lnTo>
                    <a:pt x="45" y="356"/>
                  </a:lnTo>
                  <a:lnTo>
                    <a:pt x="45" y="354"/>
                  </a:lnTo>
                  <a:lnTo>
                    <a:pt x="43" y="354"/>
                  </a:lnTo>
                  <a:lnTo>
                    <a:pt x="45" y="354"/>
                  </a:lnTo>
                  <a:close/>
                  <a:moveTo>
                    <a:pt x="95" y="354"/>
                  </a:moveTo>
                  <a:lnTo>
                    <a:pt x="93" y="354"/>
                  </a:lnTo>
                  <a:lnTo>
                    <a:pt x="95" y="354"/>
                  </a:lnTo>
                  <a:close/>
                  <a:moveTo>
                    <a:pt x="40" y="354"/>
                  </a:moveTo>
                  <a:lnTo>
                    <a:pt x="38" y="354"/>
                  </a:lnTo>
                  <a:lnTo>
                    <a:pt x="40" y="354"/>
                  </a:lnTo>
                  <a:lnTo>
                    <a:pt x="38" y="354"/>
                  </a:lnTo>
                  <a:lnTo>
                    <a:pt x="40" y="354"/>
                  </a:lnTo>
                  <a:close/>
                  <a:moveTo>
                    <a:pt x="93" y="354"/>
                  </a:moveTo>
                  <a:lnTo>
                    <a:pt x="90" y="354"/>
                  </a:lnTo>
                  <a:lnTo>
                    <a:pt x="93" y="354"/>
                  </a:lnTo>
                  <a:close/>
                  <a:moveTo>
                    <a:pt x="83" y="354"/>
                  </a:moveTo>
                  <a:lnTo>
                    <a:pt x="86" y="354"/>
                  </a:lnTo>
                  <a:lnTo>
                    <a:pt x="83" y="354"/>
                  </a:lnTo>
                  <a:lnTo>
                    <a:pt x="86" y="354"/>
                  </a:lnTo>
                  <a:lnTo>
                    <a:pt x="83" y="354"/>
                  </a:lnTo>
                  <a:close/>
                  <a:moveTo>
                    <a:pt x="192" y="354"/>
                  </a:moveTo>
                  <a:lnTo>
                    <a:pt x="190" y="354"/>
                  </a:lnTo>
                  <a:lnTo>
                    <a:pt x="192" y="354"/>
                  </a:lnTo>
                  <a:close/>
                  <a:moveTo>
                    <a:pt x="38" y="354"/>
                  </a:moveTo>
                  <a:lnTo>
                    <a:pt x="38" y="352"/>
                  </a:lnTo>
                  <a:lnTo>
                    <a:pt x="38" y="354"/>
                  </a:lnTo>
                  <a:close/>
                  <a:moveTo>
                    <a:pt x="33" y="352"/>
                  </a:moveTo>
                  <a:lnTo>
                    <a:pt x="33" y="354"/>
                  </a:lnTo>
                  <a:lnTo>
                    <a:pt x="31" y="354"/>
                  </a:lnTo>
                  <a:lnTo>
                    <a:pt x="31" y="352"/>
                  </a:lnTo>
                  <a:lnTo>
                    <a:pt x="31" y="354"/>
                  </a:lnTo>
                  <a:lnTo>
                    <a:pt x="31" y="352"/>
                  </a:lnTo>
                  <a:lnTo>
                    <a:pt x="33" y="352"/>
                  </a:lnTo>
                  <a:close/>
                  <a:moveTo>
                    <a:pt x="86" y="352"/>
                  </a:moveTo>
                  <a:lnTo>
                    <a:pt x="86" y="354"/>
                  </a:lnTo>
                  <a:lnTo>
                    <a:pt x="86" y="352"/>
                  </a:lnTo>
                  <a:close/>
                  <a:moveTo>
                    <a:pt x="67" y="352"/>
                  </a:moveTo>
                  <a:lnTo>
                    <a:pt x="67" y="354"/>
                  </a:lnTo>
                  <a:lnTo>
                    <a:pt x="64" y="354"/>
                  </a:lnTo>
                  <a:lnTo>
                    <a:pt x="67" y="354"/>
                  </a:lnTo>
                  <a:lnTo>
                    <a:pt x="64" y="352"/>
                  </a:lnTo>
                  <a:lnTo>
                    <a:pt x="67" y="352"/>
                  </a:lnTo>
                  <a:close/>
                  <a:moveTo>
                    <a:pt x="64" y="352"/>
                  </a:moveTo>
                  <a:lnTo>
                    <a:pt x="64" y="354"/>
                  </a:lnTo>
                  <a:lnTo>
                    <a:pt x="64" y="352"/>
                  </a:lnTo>
                  <a:lnTo>
                    <a:pt x="62" y="352"/>
                  </a:lnTo>
                  <a:lnTo>
                    <a:pt x="64" y="352"/>
                  </a:lnTo>
                  <a:close/>
                  <a:moveTo>
                    <a:pt x="97" y="354"/>
                  </a:moveTo>
                  <a:lnTo>
                    <a:pt x="97" y="352"/>
                  </a:lnTo>
                  <a:lnTo>
                    <a:pt x="97" y="354"/>
                  </a:lnTo>
                  <a:close/>
                  <a:moveTo>
                    <a:pt x="183" y="352"/>
                  </a:moveTo>
                  <a:lnTo>
                    <a:pt x="183" y="354"/>
                  </a:lnTo>
                  <a:lnTo>
                    <a:pt x="183" y="352"/>
                  </a:lnTo>
                  <a:lnTo>
                    <a:pt x="183" y="354"/>
                  </a:lnTo>
                  <a:lnTo>
                    <a:pt x="183" y="352"/>
                  </a:lnTo>
                  <a:lnTo>
                    <a:pt x="183" y="354"/>
                  </a:lnTo>
                  <a:lnTo>
                    <a:pt x="183" y="352"/>
                  </a:lnTo>
                  <a:close/>
                  <a:moveTo>
                    <a:pt x="10" y="354"/>
                  </a:moveTo>
                  <a:lnTo>
                    <a:pt x="10" y="352"/>
                  </a:lnTo>
                  <a:lnTo>
                    <a:pt x="10" y="354"/>
                  </a:lnTo>
                  <a:close/>
                  <a:moveTo>
                    <a:pt x="43" y="352"/>
                  </a:moveTo>
                  <a:lnTo>
                    <a:pt x="43" y="354"/>
                  </a:lnTo>
                  <a:lnTo>
                    <a:pt x="40" y="354"/>
                  </a:lnTo>
                  <a:lnTo>
                    <a:pt x="40" y="352"/>
                  </a:lnTo>
                  <a:lnTo>
                    <a:pt x="43" y="352"/>
                  </a:lnTo>
                  <a:close/>
                  <a:moveTo>
                    <a:pt x="202" y="352"/>
                  </a:moveTo>
                  <a:lnTo>
                    <a:pt x="202" y="354"/>
                  </a:lnTo>
                  <a:lnTo>
                    <a:pt x="202" y="352"/>
                  </a:lnTo>
                  <a:lnTo>
                    <a:pt x="202" y="354"/>
                  </a:lnTo>
                  <a:lnTo>
                    <a:pt x="202" y="352"/>
                  </a:lnTo>
                  <a:close/>
                  <a:moveTo>
                    <a:pt x="197" y="352"/>
                  </a:moveTo>
                  <a:lnTo>
                    <a:pt x="199" y="352"/>
                  </a:lnTo>
                  <a:lnTo>
                    <a:pt x="197" y="352"/>
                  </a:lnTo>
                  <a:close/>
                  <a:moveTo>
                    <a:pt x="48" y="352"/>
                  </a:moveTo>
                  <a:lnTo>
                    <a:pt x="48" y="354"/>
                  </a:lnTo>
                  <a:lnTo>
                    <a:pt x="48" y="352"/>
                  </a:lnTo>
                  <a:lnTo>
                    <a:pt x="45" y="352"/>
                  </a:lnTo>
                  <a:lnTo>
                    <a:pt x="48" y="352"/>
                  </a:lnTo>
                  <a:close/>
                  <a:moveTo>
                    <a:pt x="33" y="352"/>
                  </a:moveTo>
                  <a:lnTo>
                    <a:pt x="33" y="354"/>
                  </a:lnTo>
                  <a:lnTo>
                    <a:pt x="33" y="352"/>
                  </a:lnTo>
                  <a:lnTo>
                    <a:pt x="33" y="354"/>
                  </a:lnTo>
                  <a:lnTo>
                    <a:pt x="33" y="352"/>
                  </a:lnTo>
                  <a:close/>
                  <a:moveTo>
                    <a:pt x="38" y="352"/>
                  </a:moveTo>
                  <a:lnTo>
                    <a:pt x="38" y="354"/>
                  </a:lnTo>
                  <a:lnTo>
                    <a:pt x="38" y="352"/>
                  </a:lnTo>
                  <a:close/>
                  <a:moveTo>
                    <a:pt x="97" y="352"/>
                  </a:moveTo>
                  <a:lnTo>
                    <a:pt x="95" y="354"/>
                  </a:lnTo>
                  <a:lnTo>
                    <a:pt x="95" y="352"/>
                  </a:lnTo>
                  <a:lnTo>
                    <a:pt x="95" y="354"/>
                  </a:lnTo>
                  <a:lnTo>
                    <a:pt x="95" y="352"/>
                  </a:lnTo>
                  <a:lnTo>
                    <a:pt x="95" y="354"/>
                  </a:lnTo>
                  <a:lnTo>
                    <a:pt x="95" y="352"/>
                  </a:lnTo>
                  <a:lnTo>
                    <a:pt x="97" y="352"/>
                  </a:lnTo>
                  <a:close/>
                  <a:moveTo>
                    <a:pt x="86" y="352"/>
                  </a:moveTo>
                  <a:lnTo>
                    <a:pt x="86" y="354"/>
                  </a:lnTo>
                  <a:lnTo>
                    <a:pt x="86" y="352"/>
                  </a:lnTo>
                  <a:close/>
                  <a:moveTo>
                    <a:pt x="36" y="352"/>
                  </a:moveTo>
                  <a:lnTo>
                    <a:pt x="38" y="352"/>
                  </a:lnTo>
                  <a:lnTo>
                    <a:pt x="36" y="354"/>
                  </a:lnTo>
                  <a:lnTo>
                    <a:pt x="36" y="352"/>
                  </a:lnTo>
                  <a:close/>
                  <a:moveTo>
                    <a:pt x="12" y="352"/>
                  </a:moveTo>
                  <a:lnTo>
                    <a:pt x="12" y="354"/>
                  </a:lnTo>
                  <a:lnTo>
                    <a:pt x="12" y="352"/>
                  </a:lnTo>
                  <a:close/>
                  <a:moveTo>
                    <a:pt x="202" y="352"/>
                  </a:moveTo>
                  <a:lnTo>
                    <a:pt x="204" y="352"/>
                  </a:lnTo>
                  <a:lnTo>
                    <a:pt x="202" y="352"/>
                  </a:lnTo>
                  <a:close/>
                  <a:moveTo>
                    <a:pt x="90" y="352"/>
                  </a:moveTo>
                  <a:lnTo>
                    <a:pt x="93" y="352"/>
                  </a:lnTo>
                  <a:lnTo>
                    <a:pt x="90" y="352"/>
                  </a:lnTo>
                  <a:close/>
                  <a:moveTo>
                    <a:pt x="71" y="352"/>
                  </a:moveTo>
                  <a:lnTo>
                    <a:pt x="71" y="354"/>
                  </a:lnTo>
                  <a:lnTo>
                    <a:pt x="71" y="352"/>
                  </a:lnTo>
                  <a:lnTo>
                    <a:pt x="71" y="354"/>
                  </a:lnTo>
                  <a:lnTo>
                    <a:pt x="71" y="352"/>
                  </a:lnTo>
                  <a:lnTo>
                    <a:pt x="71" y="354"/>
                  </a:lnTo>
                  <a:lnTo>
                    <a:pt x="71" y="352"/>
                  </a:lnTo>
                  <a:close/>
                  <a:moveTo>
                    <a:pt x="33" y="352"/>
                  </a:moveTo>
                  <a:lnTo>
                    <a:pt x="31" y="352"/>
                  </a:lnTo>
                  <a:lnTo>
                    <a:pt x="33" y="352"/>
                  </a:lnTo>
                  <a:close/>
                  <a:moveTo>
                    <a:pt x="74" y="352"/>
                  </a:moveTo>
                  <a:lnTo>
                    <a:pt x="76" y="352"/>
                  </a:lnTo>
                  <a:lnTo>
                    <a:pt x="78" y="352"/>
                  </a:lnTo>
                  <a:lnTo>
                    <a:pt x="78" y="354"/>
                  </a:lnTo>
                  <a:lnTo>
                    <a:pt x="76" y="354"/>
                  </a:lnTo>
                  <a:lnTo>
                    <a:pt x="78" y="354"/>
                  </a:lnTo>
                  <a:lnTo>
                    <a:pt x="78" y="356"/>
                  </a:lnTo>
                  <a:lnTo>
                    <a:pt x="76" y="356"/>
                  </a:lnTo>
                  <a:lnTo>
                    <a:pt x="74" y="356"/>
                  </a:lnTo>
                  <a:lnTo>
                    <a:pt x="71" y="356"/>
                  </a:lnTo>
                  <a:lnTo>
                    <a:pt x="74" y="356"/>
                  </a:lnTo>
                  <a:lnTo>
                    <a:pt x="74" y="354"/>
                  </a:lnTo>
                  <a:lnTo>
                    <a:pt x="71" y="356"/>
                  </a:lnTo>
                  <a:lnTo>
                    <a:pt x="74" y="354"/>
                  </a:lnTo>
                  <a:lnTo>
                    <a:pt x="71" y="354"/>
                  </a:lnTo>
                  <a:lnTo>
                    <a:pt x="74" y="354"/>
                  </a:lnTo>
                  <a:lnTo>
                    <a:pt x="71" y="354"/>
                  </a:lnTo>
                  <a:lnTo>
                    <a:pt x="74" y="354"/>
                  </a:lnTo>
                  <a:lnTo>
                    <a:pt x="76" y="354"/>
                  </a:lnTo>
                  <a:lnTo>
                    <a:pt x="74" y="354"/>
                  </a:lnTo>
                  <a:lnTo>
                    <a:pt x="71" y="354"/>
                  </a:lnTo>
                  <a:lnTo>
                    <a:pt x="74" y="354"/>
                  </a:lnTo>
                  <a:lnTo>
                    <a:pt x="74" y="352"/>
                  </a:lnTo>
                  <a:close/>
                  <a:moveTo>
                    <a:pt x="33" y="352"/>
                  </a:moveTo>
                  <a:lnTo>
                    <a:pt x="36" y="352"/>
                  </a:lnTo>
                  <a:lnTo>
                    <a:pt x="33" y="352"/>
                  </a:lnTo>
                  <a:close/>
                  <a:moveTo>
                    <a:pt x="45" y="352"/>
                  </a:moveTo>
                  <a:lnTo>
                    <a:pt x="48" y="352"/>
                  </a:lnTo>
                  <a:lnTo>
                    <a:pt x="45" y="352"/>
                  </a:lnTo>
                  <a:close/>
                  <a:moveTo>
                    <a:pt x="64" y="352"/>
                  </a:moveTo>
                  <a:lnTo>
                    <a:pt x="67" y="352"/>
                  </a:lnTo>
                  <a:lnTo>
                    <a:pt x="64" y="352"/>
                  </a:lnTo>
                  <a:close/>
                  <a:moveTo>
                    <a:pt x="64" y="352"/>
                  </a:moveTo>
                  <a:lnTo>
                    <a:pt x="62" y="352"/>
                  </a:lnTo>
                  <a:lnTo>
                    <a:pt x="64" y="352"/>
                  </a:lnTo>
                  <a:close/>
                  <a:moveTo>
                    <a:pt x="76" y="352"/>
                  </a:moveTo>
                  <a:lnTo>
                    <a:pt x="78" y="352"/>
                  </a:lnTo>
                  <a:lnTo>
                    <a:pt x="76" y="352"/>
                  </a:lnTo>
                  <a:lnTo>
                    <a:pt x="78" y="352"/>
                  </a:lnTo>
                  <a:lnTo>
                    <a:pt x="76" y="352"/>
                  </a:lnTo>
                  <a:close/>
                  <a:moveTo>
                    <a:pt x="218" y="352"/>
                  </a:moveTo>
                  <a:lnTo>
                    <a:pt x="216" y="352"/>
                  </a:lnTo>
                  <a:lnTo>
                    <a:pt x="218" y="352"/>
                  </a:lnTo>
                  <a:close/>
                  <a:moveTo>
                    <a:pt x="102" y="352"/>
                  </a:moveTo>
                  <a:lnTo>
                    <a:pt x="100" y="352"/>
                  </a:lnTo>
                  <a:lnTo>
                    <a:pt x="102" y="352"/>
                  </a:lnTo>
                  <a:lnTo>
                    <a:pt x="100" y="352"/>
                  </a:lnTo>
                  <a:lnTo>
                    <a:pt x="97" y="354"/>
                  </a:lnTo>
                  <a:lnTo>
                    <a:pt x="100" y="354"/>
                  </a:lnTo>
                  <a:lnTo>
                    <a:pt x="100" y="352"/>
                  </a:lnTo>
                  <a:lnTo>
                    <a:pt x="100" y="354"/>
                  </a:lnTo>
                  <a:lnTo>
                    <a:pt x="97" y="354"/>
                  </a:lnTo>
                  <a:lnTo>
                    <a:pt x="97" y="352"/>
                  </a:lnTo>
                  <a:lnTo>
                    <a:pt x="100" y="352"/>
                  </a:lnTo>
                  <a:lnTo>
                    <a:pt x="97" y="352"/>
                  </a:lnTo>
                  <a:lnTo>
                    <a:pt x="100" y="352"/>
                  </a:lnTo>
                  <a:lnTo>
                    <a:pt x="100" y="349"/>
                  </a:lnTo>
                  <a:lnTo>
                    <a:pt x="102" y="349"/>
                  </a:lnTo>
                  <a:lnTo>
                    <a:pt x="102" y="352"/>
                  </a:lnTo>
                  <a:close/>
                  <a:moveTo>
                    <a:pt x="204" y="349"/>
                  </a:moveTo>
                  <a:lnTo>
                    <a:pt x="204" y="352"/>
                  </a:lnTo>
                  <a:lnTo>
                    <a:pt x="204" y="349"/>
                  </a:lnTo>
                  <a:lnTo>
                    <a:pt x="204" y="352"/>
                  </a:lnTo>
                  <a:lnTo>
                    <a:pt x="204" y="349"/>
                  </a:lnTo>
                  <a:close/>
                  <a:moveTo>
                    <a:pt x="88" y="349"/>
                  </a:moveTo>
                  <a:lnTo>
                    <a:pt x="88" y="352"/>
                  </a:lnTo>
                  <a:lnTo>
                    <a:pt x="86" y="352"/>
                  </a:lnTo>
                  <a:lnTo>
                    <a:pt x="86" y="349"/>
                  </a:lnTo>
                  <a:lnTo>
                    <a:pt x="88" y="349"/>
                  </a:lnTo>
                  <a:close/>
                  <a:moveTo>
                    <a:pt x="207" y="349"/>
                  </a:moveTo>
                  <a:lnTo>
                    <a:pt x="207" y="352"/>
                  </a:lnTo>
                  <a:lnTo>
                    <a:pt x="204" y="352"/>
                  </a:lnTo>
                  <a:lnTo>
                    <a:pt x="207" y="352"/>
                  </a:lnTo>
                  <a:lnTo>
                    <a:pt x="204" y="352"/>
                  </a:lnTo>
                  <a:lnTo>
                    <a:pt x="204" y="349"/>
                  </a:lnTo>
                  <a:lnTo>
                    <a:pt x="207" y="349"/>
                  </a:lnTo>
                  <a:close/>
                  <a:moveTo>
                    <a:pt x="88" y="349"/>
                  </a:moveTo>
                  <a:lnTo>
                    <a:pt x="88" y="352"/>
                  </a:lnTo>
                  <a:lnTo>
                    <a:pt x="88" y="349"/>
                  </a:lnTo>
                  <a:lnTo>
                    <a:pt x="88" y="352"/>
                  </a:lnTo>
                  <a:lnTo>
                    <a:pt x="88" y="349"/>
                  </a:lnTo>
                  <a:close/>
                  <a:moveTo>
                    <a:pt x="78" y="349"/>
                  </a:moveTo>
                  <a:lnTo>
                    <a:pt x="81" y="349"/>
                  </a:lnTo>
                  <a:lnTo>
                    <a:pt x="81" y="352"/>
                  </a:lnTo>
                  <a:lnTo>
                    <a:pt x="78" y="352"/>
                  </a:lnTo>
                  <a:lnTo>
                    <a:pt x="78" y="349"/>
                  </a:lnTo>
                  <a:close/>
                  <a:moveTo>
                    <a:pt x="100" y="349"/>
                  </a:moveTo>
                  <a:lnTo>
                    <a:pt x="102" y="349"/>
                  </a:lnTo>
                  <a:lnTo>
                    <a:pt x="100" y="349"/>
                  </a:lnTo>
                  <a:close/>
                  <a:moveTo>
                    <a:pt x="0" y="349"/>
                  </a:moveTo>
                  <a:lnTo>
                    <a:pt x="0" y="352"/>
                  </a:lnTo>
                  <a:lnTo>
                    <a:pt x="0" y="349"/>
                  </a:lnTo>
                  <a:lnTo>
                    <a:pt x="0" y="352"/>
                  </a:lnTo>
                  <a:lnTo>
                    <a:pt x="0" y="349"/>
                  </a:lnTo>
                  <a:close/>
                  <a:moveTo>
                    <a:pt x="83" y="349"/>
                  </a:moveTo>
                  <a:lnTo>
                    <a:pt x="86" y="349"/>
                  </a:lnTo>
                  <a:lnTo>
                    <a:pt x="86" y="352"/>
                  </a:lnTo>
                  <a:lnTo>
                    <a:pt x="88" y="352"/>
                  </a:lnTo>
                  <a:lnTo>
                    <a:pt x="86" y="352"/>
                  </a:lnTo>
                  <a:lnTo>
                    <a:pt x="83" y="352"/>
                  </a:lnTo>
                  <a:lnTo>
                    <a:pt x="86" y="352"/>
                  </a:lnTo>
                  <a:lnTo>
                    <a:pt x="83" y="352"/>
                  </a:lnTo>
                  <a:lnTo>
                    <a:pt x="83" y="354"/>
                  </a:lnTo>
                  <a:lnTo>
                    <a:pt x="81" y="354"/>
                  </a:lnTo>
                  <a:lnTo>
                    <a:pt x="83" y="354"/>
                  </a:lnTo>
                  <a:lnTo>
                    <a:pt x="81" y="354"/>
                  </a:lnTo>
                  <a:lnTo>
                    <a:pt x="83" y="354"/>
                  </a:lnTo>
                  <a:lnTo>
                    <a:pt x="81" y="354"/>
                  </a:lnTo>
                  <a:lnTo>
                    <a:pt x="78" y="354"/>
                  </a:lnTo>
                  <a:lnTo>
                    <a:pt x="78" y="352"/>
                  </a:lnTo>
                  <a:lnTo>
                    <a:pt x="78" y="354"/>
                  </a:lnTo>
                  <a:lnTo>
                    <a:pt x="78" y="352"/>
                  </a:lnTo>
                  <a:lnTo>
                    <a:pt x="81" y="352"/>
                  </a:lnTo>
                  <a:lnTo>
                    <a:pt x="78" y="352"/>
                  </a:lnTo>
                  <a:lnTo>
                    <a:pt x="81" y="352"/>
                  </a:lnTo>
                  <a:lnTo>
                    <a:pt x="81" y="349"/>
                  </a:lnTo>
                  <a:lnTo>
                    <a:pt x="81" y="352"/>
                  </a:lnTo>
                  <a:lnTo>
                    <a:pt x="81" y="349"/>
                  </a:lnTo>
                  <a:lnTo>
                    <a:pt x="83" y="349"/>
                  </a:lnTo>
                  <a:close/>
                  <a:moveTo>
                    <a:pt x="93" y="349"/>
                  </a:moveTo>
                  <a:lnTo>
                    <a:pt x="90" y="349"/>
                  </a:lnTo>
                  <a:lnTo>
                    <a:pt x="90" y="352"/>
                  </a:lnTo>
                  <a:lnTo>
                    <a:pt x="93" y="349"/>
                  </a:lnTo>
                  <a:lnTo>
                    <a:pt x="93" y="352"/>
                  </a:lnTo>
                  <a:lnTo>
                    <a:pt x="90" y="352"/>
                  </a:lnTo>
                  <a:lnTo>
                    <a:pt x="90" y="354"/>
                  </a:lnTo>
                  <a:lnTo>
                    <a:pt x="90" y="352"/>
                  </a:lnTo>
                  <a:lnTo>
                    <a:pt x="90" y="354"/>
                  </a:lnTo>
                  <a:lnTo>
                    <a:pt x="90" y="352"/>
                  </a:lnTo>
                  <a:lnTo>
                    <a:pt x="90" y="354"/>
                  </a:lnTo>
                  <a:lnTo>
                    <a:pt x="88" y="354"/>
                  </a:lnTo>
                  <a:lnTo>
                    <a:pt x="88" y="352"/>
                  </a:lnTo>
                  <a:lnTo>
                    <a:pt x="88" y="354"/>
                  </a:lnTo>
                  <a:lnTo>
                    <a:pt x="86" y="352"/>
                  </a:lnTo>
                  <a:lnTo>
                    <a:pt x="88" y="352"/>
                  </a:lnTo>
                  <a:lnTo>
                    <a:pt x="90" y="352"/>
                  </a:lnTo>
                  <a:lnTo>
                    <a:pt x="90" y="349"/>
                  </a:lnTo>
                  <a:lnTo>
                    <a:pt x="90" y="352"/>
                  </a:lnTo>
                  <a:lnTo>
                    <a:pt x="90" y="349"/>
                  </a:lnTo>
                  <a:lnTo>
                    <a:pt x="93" y="349"/>
                  </a:lnTo>
                  <a:close/>
                  <a:moveTo>
                    <a:pt x="195" y="349"/>
                  </a:moveTo>
                  <a:lnTo>
                    <a:pt x="197" y="349"/>
                  </a:lnTo>
                  <a:lnTo>
                    <a:pt x="195" y="349"/>
                  </a:lnTo>
                  <a:lnTo>
                    <a:pt x="195" y="352"/>
                  </a:lnTo>
                  <a:lnTo>
                    <a:pt x="195" y="349"/>
                  </a:lnTo>
                  <a:close/>
                  <a:moveTo>
                    <a:pt x="88" y="349"/>
                  </a:moveTo>
                  <a:lnTo>
                    <a:pt x="86" y="349"/>
                  </a:lnTo>
                  <a:lnTo>
                    <a:pt x="88" y="349"/>
                  </a:lnTo>
                  <a:close/>
                  <a:moveTo>
                    <a:pt x="31" y="349"/>
                  </a:moveTo>
                  <a:lnTo>
                    <a:pt x="31" y="352"/>
                  </a:lnTo>
                  <a:lnTo>
                    <a:pt x="31" y="349"/>
                  </a:lnTo>
                  <a:close/>
                  <a:moveTo>
                    <a:pt x="74" y="349"/>
                  </a:moveTo>
                  <a:lnTo>
                    <a:pt x="71" y="349"/>
                  </a:lnTo>
                  <a:lnTo>
                    <a:pt x="74" y="349"/>
                  </a:lnTo>
                  <a:lnTo>
                    <a:pt x="71" y="349"/>
                  </a:lnTo>
                  <a:lnTo>
                    <a:pt x="74" y="349"/>
                  </a:lnTo>
                  <a:close/>
                  <a:moveTo>
                    <a:pt x="33" y="349"/>
                  </a:moveTo>
                  <a:lnTo>
                    <a:pt x="33" y="352"/>
                  </a:lnTo>
                  <a:lnTo>
                    <a:pt x="31" y="352"/>
                  </a:lnTo>
                  <a:lnTo>
                    <a:pt x="31" y="349"/>
                  </a:lnTo>
                  <a:lnTo>
                    <a:pt x="33" y="349"/>
                  </a:lnTo>
                  <a:close/>
                  <a:moveTo>
                    <a:pt x="197" y="349"/>
                  </a:moveTo>
                  <a:lnTo>
                    <a:pt x="199" y="349"/>
                  </a:lnTo>
                  <a:lnTo>
                    <a:pt x="197" y="349"/>
                  </a:lnTo>
                  <a:close/>
                  <a:moveTo>
                    <a:pt x="218" y="349"/>
                  </a:moveTo>
                  <a:lnTo>
                    <a:pt x="221" y="349"/>
                  </a:lnTo>
                  <a:lnTo>
                    <a:pt x="218" y="349"/>
                  </a:lnTo>
                  <a:lnTo>
                    <a:pt x="221" y="349"/>
                  </a:lnTo>
                  <a:lnTo>
                    <a:pt x="218" y="349"/>
                  </a:lnTo>
                  <a:close/>
                  <a:moveTo>
                    <a:pt x="102" y="349"/>
                  </a:moveTo>
                  <a:lnTo>
                    <a:pt x="100" y="349"/>
                  </a:lnTo>
                  <a:lnTo>
                    <a:pt x="102" y="349"/>
                  </a:lnTo>
                  <a:close/>
                  <a:moveTo>
                    <a:pt x="100" y="349"/>
                  </a:moveTo>
                  <a:lnTo>
                    <a:pt x="100" y="352"/>
                  </a:lnTo>
                  <a:lnTo>
                    <a:pt x="97" y="352"/>
                  </a:lnTo>
                  <a:lnTo>
                    <a:pt x="97" y="349"/>
                  </a:lnTo>
                  <a:lnTo>
                    <a:pt x="100" y="349"/>
                  </a:lnTo>
                  <a:close/>
                  <a:moveTo>
                    <a:pt x="209" y="349"/>
                  </a:moveTo>
                  <a:lnTo>
                    <a:pt x="211" y="349"/>
                  </a:lnTo>
                  <a:lnTo>
                    <a:pt x="209" y="352"/>
                  </a:lnTo>
                  <a:lnTo>
                    <a:pt x="209" y="349"/>
                  </a:lnTo>
                  <a:close/>
                  <a:moveTo>
                    <a:pt x="55" y="349"/>
                  </a:moveTo>
                  <a:lnTo>
                    <a:pt x="57" y="349"/>
                  </a:lnTo>
                  <a:lnTo>
                    <a:pt x="55" y="349"/>
                  </a:lnTo>
                  <a:lnTo>
                    <a:pt x="57" y="349"/>
                  </a:lnTo>
                  <a:lnTo>
                    <a:pt x="55" y="349"/>
                  </a:lnTo>
                  <a:close/>
                  <a:moveTo>
                    <a:pt x="69" y="349"/>
                  </a:moveTo>
                  <a:lnTo>
                    <a:pt x="67" y="349"/>
                  </a:lnTo>
                  <a:lnTo>
                    <a:pt x="69" y="349"/>
                  </a:lnTo>
                  <a:lnTo>
                    <a:pt x="67" y="349"/>
                  </a:lnTo>
                  <a:lnTo>
                    <a:pt x="69" y="349"/>
                  </a:lnTo>
                  <a:lnTo>
                    <a:pt x="67" y="349"/>
                  </a:lnTo>
                  <a:lnTo>
                    <a:pt x="69" y="352"/>
                  </a:lnTo>
                  <a:lnTo>
                    <a:pt x="67" y="352"/>
                  </a:lnTo>
                  <a:lnTo>
                    <a:pt x="69" y="352"/>
                  </a:lnTo>
                  <a:lnTo>
                    <a:pt x="71" y="349"/>
                  </a:lnTo>
                  <a:lnTo>
                    <a:pt x="71" y="352"/>
                  </a:lnTo>
                  <a:lnTo>
                    <a:pt x="69" y="352"/>
                  </a:lnTo>
                  <a:lnTo>
                    <a:pt x="67" y="352"/>
                  </a:lnTo>
                  <a:lnTo>
                    <a:pt x="64" y="352"/>
                  </a:lnTo>
                  <a:lnTo>
                    <a:pt x="64" y="349"/>
                  </a:lnTo>
                  <a:lnTo>
                    <a:pt x="64" y="352"/>
                  </a:lnTo>
                  <a:lnTo>
                    <a:pt x="64" y="349"/>
                  </a:lnTo>
                  <a:lnTo>
                    <a:pt x="67" y="349"/>
                  </a:lnTo>
                  <a:lnTo>
                    <a:pt x="64" y="349"/>
                  </a:lnTo>
                  <a:lnTo>
                    <a:pt x="67" y="349"/>
                  </a:lnTo>
                  <a:lnTo>
                    <a:pt x="69" y="349"/>
                  </a:lnTo>
                  <a:close/>
                  <a:moveTo>
                    <a:pt x="216" y="349"/>
                  </a:moveTo>
                  <a:lnTo>
                    <a:pt x="218" y="349"/>
                  </a:lnTo>
                  <a:lnTo>
                    <a:pt x="218" y="352"/>
                  </a:lnTo>
                  <a:lnTo>
                    <a:pt x="216" y="352"/>
                  </a:lnTo>
                  <a:lnTo>
                    <a:pt x="216" y="349"/>
                  </a:lnTo>
                  <a:lnTo>
                    <a:pt x="216" y="352"/>
                  </a:lnTo>
                  <a:lnTo>
                    <a:pt x="214" y="352"/>
                  </a:lnTo>
                  <a:lnTo>
                    <a:pt x="216" y="352"/>
                  </a:lnTo>
                  <a:lnTo>
                    <a:pt x="214" y="352"/>
                  </a:lnTo>
                  <a:lnTo>
                    <a:pt x="214" y="349"/>
                  </a:lnTo>
                  <a:lnTo>
                    <a:pt x="216" y="349"/>
                  </a:lnTo>
                  <a:close/>
                  <a:moveTo>
                    <a:pt x="218" y="349"/>
                  </a:moveTo>
                  <a:lnTo>
                    <a:pt x="216" y="349"/>
                  </a:lnTo>
                  <a:lnTo>
                    <a:pt x="218" y="349"/>
                  </a:lnTo>
                  <a:close/>
                  <a:moveTo>
                    <a:pt x="45" y="349"/>
                  </a:moveTo>
                  <a:lnTo>
                    <a:pt x="45" y="352"/>
                  </a:lnTo>
                  <a:lnTo>
                    <a:pt x="45" y="349"/>
                  </a:lnTo>
                  <a:lnTo>
                    <a:pt x="45" y="352"/>
                  </a:lnTo>
                  <a:lnTo>
                    <a:pt x="45" y="349"/>
                  </a:lnTo>
                  <a:lnTo>
                    <a:pt x="45" y="352"/>
                  </a:lnTo>
                  <a:lnTo>
                    <a:pt x="45" y="349"/>
                  </a:lnTo>
                  <a:close/>
                  <a:moveTo>
                    <a:pt x="102" y="349"/>
                  </a:moveTo>
                  <a:lnTo>
                    <a:pt x="100" y="349"/>
                  </a:lnTo>
                  <a:lnTo>
                    <a:pt x="102" y="349"/>
                  </a:lnTo>
                  <a:close/>
                  <a:moveTo>
                    <a:pt x="71" y="349"/>
                  </a:moveTo>
                  <a:lnTo>
                    <a:pt x="69" y="349"/>
                  </a:lnTo>
                  <a:lnTo>
                    <a:pt x="71" y="349"/>
                  </a:lnTo>
                  <a:lnTo>
                    <a:pt x="69" y="349"/>
                  </a:lnTo>
                  <a:lnTo>
                    <a:pt x="69" y="352"/>
                  </a:lnTo>
                  <a:lnTo>
                    <a:pt x="69" y="349"/>
                  </a:lnTo>
                  <a:lnTo>
                    <a:pt x="71" y="349"/>
                  </a:lnTo>
                  <a:close/>
                  <a:moveTo>
                    <a:pt x="33" y="349"/>
                  </a:moveTo>
                  <a:lnTo>
                    <a:pt x="31" y="349"/>
                  </a:lnTo>
                  <a:lnTo>
                    <a:pt x="33" y="349"/>
                  </a:lnTo>
                  <a:close/>
                  <a:moveTo>
                    <a:pt x="218" y="349"/>
                  </a:moveTo>
                  <a:lnTo>
                    <a:pt x="216" y="349"/>
                  </a:lnTo>
                  <a:lnTo>
                    <a:pt x="218" y="349"/>
                  </a:lnTo>
                  <a:close/>
                  <a:moveTo>
                    <a:pt x="90" y="349"/>
                  </a:moveTo>
                  <a:lnTo>
                    <a:pt x="88" y="349"/>
                  </a:lnTo>
                  <a:lnTo>
                    <a:pt x="90" y="349"/>
                  </a:lnTo>
                  <a:close/>
                  <a:moveTo>
                    <a:pt x="197" y="349"/>
                  </a:moveTo>
                  <a:lnTo>
                    <a:pt x="199" y="349"/>
                  </a:lnTo>
                  <a:lnTo>
                    <a:pt x="197" y="349"/>
                  </a:lnTo>
                  <a:close/>
                  <a:moveTo>
                    <a:pt x="64" y="349"/>
                  </a:moveTo>
                  <a:lnTo>
                    <a:pt x="62" y="349"/>
                  </a:lnTo>
                  <a:lnTo>
                    <a:pt x="64" y="349"/>
                  </a:lnTo>
                  <a:close/>
                  <a:moveTo>
                    <a:pt x="107" y="349"/>
                  </a:moveTo>
                  <a:lnTo>
                    <a:pt x="104" y="349"/>
                  </a:lnTo>
                  <a:lnTo>
                    <a:pt x="107" y="349"/>
                  </a:lnTo>
                  <a:close/>
                  <a:moveTo>
                    <a:pt x="81" y="349"/>
                  </a:moveTo>
                  <a:lnTo>
                    <a:pt x="78" y="349"/>
                  </a:lnTo>
                  <a:lnTo>
                    <a:pt x="81" y="349"/>
                  </a:lnTo>
                  <a:close/>
                  <a:moveTo>
                    <a:pt x="90" y="349"/>
                  </a:moveTo>
                  <a:lnTo>
                    <a:pt x="93" y="349"/>
                  </a:lnTo>
                  <a:lnTo>
                    <a:pt x="90" y="349"/>
                  </a:lnTo>
                  <a:close/>
                  <a:moveTo>
                    <a:pt x="2" y="349"/>
                  </a:moveTo>
                  <a:lnTo>
                    <a:pt x="2" y="347"/>
                  </a:lnTo>
                  <a:lnTo>
                    <a:pt x="2" y="349"/>
                  </a:lnTo>
                  <a:close/>
                  <a:moveTo>
                    <a:pt x="48" y="349"/>
                  </a:moveTo>
                  <a:lnTo>
                    <a:pt x="45" y="349"/>
                  </a:lnTo>
                  <a:lnTo>
                    <a:pt x="48" y="349"/>
                  </a:lnTo>
                  <a:lnTo>
                    <a:pt x="48" y="347"/>
                  </a:lnTo>
                  <a:lnTo>
                    <a:pt x="48" y="349"/>
                  </a:lnTo>
                  <a:close/>
                  <a:moveTo>
                    <a:pt x="104" y="347"/>
                  </a:moveTo>
                  <a:lnTo>
                    <a:pt x="104" y="349"/>
                  </a:lnTo>
                  <a:lnTo>
                    <a:pt x="104" y="347"/>
                  </a:lnTo>
                  <a:lnTo>
                    <a:pt x="104" y="349"/>
                  </a:lnTo>
                  <a:lnTo>
                    <a:pt x="104" y="347"/>
                  </a:lnTo>
                  <a:close/>
                  <a:moveTo>
                    <a:pt x="74" y="349"/>
                  </a:moveTo>
                  <a:lnTo>
                    <a:pt x="74" y="347"/>
                  </a:lnTo>
                  <a:lnTo>
                    <a:pt x="74" y="349"/>
                  </a:lnTo>
                  <a:close/>
                  <a:moveTo>
                    <a:pt x="74" y="349"/>
                  </a:moveTo>
                  <a:lnTo>
                    <a:pt x="71" y="349"/>
                  </a:lnTo>
                  <a:lnTo>
                    <a:pt x="74" y="349"/>
                  </a:lnTo>
                  <a:lnTo>
                    <a:pt x="71" y="349"/>
                  </a:lnTo>
                  <a:lnTo>
                    <a:pt x="74" y="347"/>
                  </a:lnTo>
                  <a:lnTo>
                    <a:pt x="74" y="349"/>
                  </a:lnTo>
                  <a:close/>
                  <a:moveTo>
                    <a:pt x="204" y="347"/>
                  </a:moveTo>
                  <a:lnTo>
                    <a:pt x="204" y="349"/>
                  </a:lnTo>
                  <a:lnTo>
                    <a:pt x="204" y="347"/>
                  </a:lnTo>
                  <a:close/>
                  <a:moveTo>
                    <a:pt x="102" y="347"/>
                  </a:moveTo>
                  <a:lnTo>
                    <a:pt x="104" y="347"/>
                  </a:lnTo>
                  <a:lnTo>
                    <a:pt x="104" y="349"/>
                  </a:lnTo>
                  <a:lnTo>
                    <a:pt x="102" y="349"/>
                  </a:lnTo>
                  <a:lnTo>
                    <a:pt x="102" y="347"/>
                  </a:lnTo>
                  <a:close/>
                  <a:moveTo>
                    <a:pt x="55" y="349"/>
                  </a:moveTo>
                  <a:lnTo>
                    <a:pt x="55" y="347"/>
                  </a:lnTo>
                  <a:lnTo>
                    <a:pt x="55" y="349"/>
                  </a:lnTo>
                  <a:close/>
                  <a:moveTo>
                    <a:pt x="45" y="349"/>
                  </a:moveTo>
                  <a:lnTo>
                    <a:pt x="45" y="347"/>
                  </a:lnTo>
                  <a:lnTo>
                    <a:pt x="45" y="349"/>
                  </a:lnTo>
                  <a:close/>
                  <a:moveTo>
                    <a:pt x="116" y="347"/>
                  </a:moveTo>
                  <a:lnTo>
                    <a:pt x="116" y="349"/>
                  </a:lnTo>
                  <a:lnTo>
                    <a:pt x="116" y="347"/>
                  </a:lnTo>
                  <a:close/>
                  <a:moveTo>
                    <a:pt x="78" y="349"/>
                  </a:moveTo>
                  <a:lnTo>
                    <a:pt x="76" y="349"/>
                  </a:lnTo>
                  <a:lnTo>
                    <a:pt x="76" y="347"/>
                  </a:lnTo>
                  <a:lnTo>
                    <a:pt x="78" y="347"/>
                  </a:lnTo>
                  <a:lnTo>
                    <a:pt x="78" y="349"/>
                  </a:lnTo>
                  <a:close/>
                  <a:moveTo>
                    <a:pt x="71" y="347"/>
                  </a:moveTo>
                  <a:lnTo>
                    <a:pt x="71" y="349"/>
                  </a:lnTo>
                  <a:lnTo>
                    <a:pt x="71" y="347"/>
                  </a:lnTo>
                  <a:close/>
                  <a:moveTo>
                    <a:pt x="218" y="349"/>
                  </a:moveTo>
                  <a:lnTo>
                    <a:pt x="218" y="347"/>
                  </a:lnTo>
                  <a:lnTo>
                    <a:pt x="218" y="349"/>
                  </a:lnTo>
                  <a:close/>
                  <a:moveTo>
                    <a:pt x="81" y="347"/>
                  </a:moveTo>
                  <a:lnTo>
                    <a:pt x="81" y="349"/>
                  </a:lnTo>
                  <a:lnTo>
                    <a:pt x="81" y="347"/>
                  </a:lnTo>
                  <a:close/>
                  <a:moveTo>
                    <a:pt x="71" y="347"/>
                  </a:moveTo>
                  <a:lnTo>
                    <a:pt x="71" y="349"/>
                  </a:lnTo>
                  <a:lnTo>
                    <a:pt x="71" y="347"/>
                  </a:lnTo>
                  <a:lnTo>
                    <a:pt x="71" y="349"/>
                  </a:lnTo>
                  <a:lnTo>
                    <a:pt x="69" y="347"/>
                  </a:lnTo>
                  <a:lnTo>
                    <a:pt x="69" y="349"/>
                  </a:lnTo>
                  <a:lnTo>
                    <a:pt x="69" y="347"/>
                  </a:lnTo>
                  <a:lnTo>
                    <a:pt x="71" y="347"/>
                  </a:lnTo>
                  <a:close/>
                  <a:moveTo>
                    <a:pt x="116" y="347"/>
                  </a:moveTo>
                  <a:lnTo>
                    <a:pt x="116" y="349"/>
                  </a:lnTo>
                  <a:lnTo>
                    <a:pt x="116" y="347"/>
                  </a:lnTo>
                  <a:close/>
                  <a:moveTo>
                    <a:pt x="55" y="347"/>
                  </a:moveTo>
                  <a:lnTo>
                    <a:pt x="55" y="349"/>
                  </a:lnTo>
                  <a:lnTo>
                    <a:pt x="55" y="347"/>
                  </a:lnTo>
                  <a:close/>
                  <a:moveTo>
                    <a:pt x="216" y="349"/>
                  </a:moveTo>
                  <a:lnTo>
                    <a:pt x="216" y="347"/>
                  </a:lnTo>
                  <a:lnTo>
                    <a:pt x="216" y="349"/>
                  </a:lnTo>
                  <a:close/>
                  <a:moveTo>
                    <a:pt x="33" y="347"/>
                  </a:moveTo>
                  <a:lnTo>
                    <a:pt x="33" y="349"/>
                  </a:lnTo>
                  <a:lnTo>
                    <a:pt x="31" y="349"/>
                  </a:lnTo>
                  <a:lnTo>
                    <a:pt x="31" y="347"/>
                  </a:lnTo>
                  <a:lnTo>
                    <a:pt x="33" y="347"/>
                  </a:lnTo>
                  <a:close/>
                  <a:moveTo>
                    <a:pt x="50" y="347"/>
                  </a:moveTo>
                  <a:lnTo>
                    <a:pt x="50" y="349"/>
                  </a:lnTo>
                  <a:lnTo>
                    <a:pt x="50" y="347"/>
                  </a:lnTo>
                  <a:close/>
                  <a:moveTo>
                    <a:pt x="69" y="347"/>
                  </a:moveTo>
                  <a:lnTo>
                    <a:pt x="69" y="349"/>
                  </a:lnTo>
                  <a:lnTo>
                    <a:pt x="67" y="349"/>
                  </a:lnTo>
                  <a:lnTo>
                    <a:pt x="69" y="349"/>
                  </a:lnTo>
                  <a:lnTo>
                    <a:pt x="67" y="349"/>
                  </a:lnTo>
                  <a:lnTo>
                    <a:pt x="67" y="347"/>
                  </a:lnTo>
                  <a:lnTo>
                    <a:pt x="69" y="347"/>
                  </a:lnTo>
                  <a:lnTo>
                    <a:pt x="67" y="347"/>
                  </a:lnTo>
                  <a:lnTo>
                    <a:pt x="69" y="347"/>
                  </a:lnTo>
                  <a:close/>
                  <a:moveTo>
                    <a:pt x="221" y="347"/>
                  </a:moveTo>
                  <a:lnTo>
                    <a:pt x="218" y="347"/>
                  </a:lnTo>
                  <a:lnTo>
                    <a:pt x="221" y="347"/>
                  </a:lnTo>
                  <a:close/>
                  <a:moveTo>
                    <a:pt x="76" y="347"/>
                  </a:moveTo>
                  <a:lnTo>
                    <a:pt x="74" y="349"/>
                  </a:lnTo>
                  <a:lnTo>
                    <a:pt x="76" y="349"/>
                  </a:lnTo>
                  <a:lnTo>
                    <a:pt x="76" y="347"/>
                  </a:lnTo>
                  <a:lnTo>
                    <a:pt x="76" y="349"/>
                  </a:lnTo>
                  <a:lnTo>
                    <a:pt x="74" y="349"/>
                  </a:lnTo>
                  <a:lnTo>
                    <a:pt x="74" y="347"/>
                  </a:lnTo>
                  <a:lnTo>
                    <a:pt x="76" y="347"/>
                  </a:lnTo>
                  <a:close/>
                  <a:moveTo>
                    <a:pt x="40" y="347"/>
                  </a:moveTo>
                  <a:lnTo>
                    <a:pt x="38" y="347"/>
                  </a:lnTo>
                  <a:lnTo>
                    <a:pt x="40" y="347"/>
                  </a:lnTo>
                  <a:lnTo>
                    <a:pt x="38" y="347"/>
                  </a:lnTo>
                  <a:lnTo>
                    <a:pt x="40" y="347"/>
                  </a:lnTo>
                  <a:close/>
                  <a:moveTo>
                    <a:pt x="261" y="347"/>
                  </a:moveTo>
                  <a:lnTo>
                    <a:pt x="259" y="347"/>
                  </a:lnTo>
                  <a:lnTo>
                    <a:pt x="261" y="347"/>
                  </a:lnTo>
                  <a:close/>
                  <a:moveTo>
                    <a:pt x="69" y="347"/>
                  </a:moveTo>
                  <a:lnTo>
                    <a:pt x="71" y="347"/>
                  </a:lnTo>
                  <a:lnTo>
                    <a:pt x="69" y="347"/>
                  </a:lnTo>
                  <a:lnTo>
                    <a:pt x="71" y="347"/>
                  </a:lnTo>
                  <a:lnTo>
                    <a:pt x="69" y="347"/>
                  </a:lnTo>
                  <a:close/>
                  <a:moveTo>
                    <a:pt x="33" y="347"/>
                  </a:moveTo>
                  <a:lnTo>
                    <a:pt x="36" y="347"/>
                  </a:lnTo>
                  <a:lnTo>
                    <a:pt x="36" y="349"/>
                  </a:lnTo>
                  <a:lnTo>
                    <a:pt x="36" y="347"/>
                  </a:lnTo>
                  <a:lnTo>
                    <a:pt x="36" y="349"/>
                  </a:lnTo>
                  <a:lnTo>
                    <a:pt x="36" y="352"/>
                  </a:lnTo>
                  <a:lnTo>
                    <a:pt x="36" y="349"/>
                  </a:lnTo>
                  <a:lnTo>
                    <a:pt x="33" y="349"/>
                  </a:lnTo>
                  <a:lnTo>
                    <a:pt x="36" y="349"/>
                  </a:lnTo>
                  <a:lnTo>
                    <a:pt x="33" y="349"/>
                  </a:lnTo>
                  <a:lnTo>
                    <a:pt x="33" y="347"/>
                  </a:lnTo>
                  <a:close/>
                  <a:moveTo>
                    <a:pt x="48" y="347"/>
                  </a:moveTo>
                  <a:lnTo>
                    <a:pt x="50" y="347"/>
                  </a:lnTo>
                  <a:lnTo>
                    <a:pt x="50" y="349"/>
                  </a:lnTo>
                  <a:lnTo>
                    <a:pt x="48" y="349"/>
                  </a:lnTo>
                  <a:lnTo>
                    <a:pt x="50" y="349"/>
                  </a:lnTo>
                  <a:lnTo>
                    <a:pt x="48" y="349"/>
                  </a:lnTo>
                  <a:lnTo>
                    <a:pt x="48" y="347"/>
                  </a:lnTo>
                  <a:close/>
                  <a:moveTo>
                    <a:pt x="67" y="347"/>
                  </a:moveTo>
                  <a:lnTo>
                    <a:pt x="64" y="347"/>
                  </a:lnTo>
                  <a:lnTo>
                    <a:pt x="67" y="347"/>
                  </a:lnTo>
                  <a:lnTo>
                    <a:pt x="64" y="347"/>
                  </a:lnTo>
                  <a:lnTo>
                    <a:pt x="67" y="347"/>
                  </a:lnTo>
                  <a:close/>
                  <a:moveTo>
                    <a:pt x="71" y="344"/>
                  </a:moveTo>
                  <a:lnTo>
                    <a:pt x="71" y="347"/>
                  </a:lnTo>
                  <a:lnTo>
                    <a:pt x="71" y="344"/>
                  </a:lnTo>
                  <a:lnTo>
                    <a:pt x="71" y="347"/>
                  </a:lnTo>
                  <a:lnTo>
                    <a:pt x="71" y="344"/>
                  </a:lnTo>
                  <a:close/>
                  <a:moveTo>
                    <a:pt x="76" y="344"/>
                  </a:moveTo>
                  <a:lnTo>
                    <a:pt x="76" y="347"/>
                  </a:lnTo>
                  <a:lnTo>
                    <a:pt x="78" y="347"/>
                  </a:lnTo>
                  <a:lnTo>
                    <a:pt x="76" y="347"/>
                  </a:lnTo>
                  <a:lnTo>
                    <a:pt x="76" y="344"/>
                  </a:lnTo>
                  <a:close/>
                  <a:moveTo>
                    <a:pt x="83" y="344"/>
                  </a:moveTo>
                  <a:lnTo>
                    <a:pt x="83" y="347"/>
                  </a:lnTo>
                  <a:lnTo>
                    <a:pt x="83" y="344"/>
                  </a:lnTo>
                  <a:lnTo>
                    <a:pt x="83" y="347"/>
                  </a:lnTo>
                  <a:lnTo>
                    <a:pt x="83" y="344"/>
                  </a:lnTo>
                  <a:close/>
                  <a:moveTo>
                    <a:pt x="88" y="347"/>
                  </a:moveTo>
                  <a:lnTo>
                    <a:pt x="88" y="344"/>
                  </a:lnTo>
                  <a:lnTo>
                    <a:pt x="88" y="347"/>
                  </a:lnTo>
                  <a:close/>
                  <a:moveTo>
                    <a:pt x="33" y="347"/>
                  </a:moveTo>
                  <a:lnTo>
                    <a:pt x="33" y="344"/>
                  </a:lnTo>
                  <a:lnTo>
                    <a:pt x="33" y="347"/>
                  </a:lnTo>
                  <a:close/>
                  <a:moveTo>
                    <a:pt x="81" y="344"/>
                  </a:moveTo>
                  <a:lnTo>
                    <a:pt x="81" y="347"/>
                  </a:lnTo>
                  <a:lnTo>
                    <a:pt x="81" y="344"/>
                  </a:lnTo>
                  <a:close/>
                  <a:moveTo>
                    <a:pt x="40" y="347"/>
                  </a:moveTo>
                  <a:lnTo>
                    <a:pt x="38" y="347"/>
                  </a:lnTo>
                  <a:lnTo>
                    <a:pt x="38" y="344"/>
                  </a:lnTo>
                  <a:lnTo>
                    <a:pt x="40" y="347"/>
                  </a:lnTo>
                  <a:close/>
                  <a:moveTo>
                    <a:pt x="78" y="344"/>
                  </a:moveTo>
                  <a:lnTo>
                    <a:pt x="78" y="347"/>
                  </a:lnTo>
                  <a:lnTo>
                    <a:pt x="81" y="347"/>
                  </a:lnTo>
                  <a:lnTo>
                    <a:pt x="78" y="347"/>
                  </a:lnTo>
                  <a:lnTo>
                    <a:pt x="78" y="344"/>
                  </a:lnTo>
                  <a:close/>
                  <a:moveTo>
                    <a:pt x="242" y="347"/>
                  </a:moveTo>
                  <a:lnTo>
                    <a:pt x="242" y="344"/>
                  </a:lnTo>
                  <a:lnTo>
                    <a:pt x="242" y="347"/>
                  </a:lnTo>
                  <a:close/>
                  <a:moveTo>
                    <a:pt x="12" y="344"/>
                  </a:moveTo>
                  <a:lnTo>
                    <a:pt x="12" y="347"/>
                  </a:lnTo>
                  <a:lnTo>
                    <a:pt x="12" y="344"/>
                  </a:lnTo>
                  <a:close/>
                  <a:moveTo>
                    <a:pt x="74" y="347"/>
                  </a:moveTo>
                  <a:lnTo>
                    <a:pt x="74" y="344"/>
                  </a:lnTo>
                  <a:lnTo>
                    <a:pt x="74" y="347"/>
                  </a:lnTo>
                  <a:lnTo>
                    <a:pt x="74" y="344"/>
                  </a:lnTo>
                  <a:lnTo>
                    <a:pt x="74" y="347"/>
                  </a:lnTo>
                  <a:close/>
                  <a:moveTo>
                    <a:pt x="48" y="344"/>
                  </a:moveTo>
                  <a:lnTo>
                    <a:pt x="48" y="347"/>
                  </a:lnTo>
                  <a:lnTo>
                    <a:pt x="48" y="344"/>
                  </a:lnTo>
                  <a:close/>
                  <a:moveTo>
                    <a:pt x="59" y="344"/>
                  </a:moveTo>
                  <a:lnTo>
                    <a:pt x="59" y="347"/>
                  </a:lnTo>
                  <a:lnTo>
                    <a:pt x="59" y="344"/>
                  </a:lnTo>
                  <a:close/>
                  <a:moveTo>
                    <a:pt x="57" y="347"/>
                  </a:moveTo>
                  <a:lnTo>
                    <a:pt x="55" y="347"/>
                  </a:lnTo>
                  <a:lnTo>
                    <a:pt x="55" y="344"/>
                  </a:lnTo>
                  <a:lnTo>
                    <a:pt x="57" y="344"/>
                  </a:lnTo>
                  <a:lnTo>
                    <a:pt x="57" y="347"/>
                  </a:lnTo>
                  <a:close/>
                  <a:moveTo>
                    <a:pt x="12" y="344"/>
                  </a:moveTo>
                  <a:lnTo>
                    <a:pt x="12" y="347"/>
                  </a:lnTo>
                  <a:lnTo>
                    <a:pt x="12" y="344"/>
                  </a:lnTo>
                  <a:close/>
                  <a:moveTo>
                    <a:pt x="57" y="344"/>
                  </a:moveTo>
                  <a:lnTo>
                    <a:pt x="57" y="347"/>
                  </a:lnTo>
                  <a:lnTo>
                    <a:pt x="57" y="344"/>
                  </a:lnTo>
                  <a:close/>
                  <a:moveTo>
                    <a:pt x="67" y="344"/>
                  </a:moveTo>
                  <a:lnTo>
                    <a:pt x="64" y="344"/>
                  </a:lnTo>
                  <a:lnTo>
                    <a:pt x="67" y="344"/>
                  </a:lnTo>
                  <a:close/>
                  <a:moveTo>
                    <a:pt x="36" y="344"/>
                  </a:moveTo>
                  <a:lnTo>
                    <a:pt x="36" y="347"/>
                  </a:lnTo>
                  <a:lnTo>
                    <a:pt x="36" y="344"/>
                  </a:lnTo>
                  <a:close/>
                  <a:moveTo>
                    <a:pt x="223" y="344"/>
                  </a:moveTo>
                  <a:lnTo>
                    <a:pt x="225" y="344"/>
                  </a:lnTo>
                  <a:lnTo>
                    <a:pt x="225" y="347"/>
                  </a:lnTo>
                  <a:lnTo>
                    <a:pt x="223" y="347"/>
                  </a:lnTo>
                  <a:lnTo>
                    <a:pt x="225" y="347"/>
                  </a:lnTo>
                  <a:lnTo>
                    <a:pt x="223" y="347"/>
                  </a:lnTo>
                  <a:lnTo>
                    <a:pt x="225" y="347"/>
                  </a:lnTo>
                  <a:lnTo>
                    <a:pt x="223" y="347"/>
                  </a:lnTo>
                  <a:lnTo>
                    <a:pt x="221" y="347"/>
                  </a:lnTo>
                  <a:lnTo>
                    <a:pt x="221" y="344"/>
                  </a:lnTo>
                  <a:lnTo>
                    <a:pt x="223" y="347"/>
                  </a:lnTo>
                  <a:lnTo>
                    <a:pt x="223" y="344"/>
                  </a:lnTo>
                  <a:lnTo>
                    <a:pt x="223" y="347"/>
                  </a:lnTo>
                  <a:lnTo>
                    <a:pt x="223" y="344"/>
                  </a:lnTo>
                  <a:close/>
                  <a:moveTo>
                    <a:pt x="10" y="344"/>
                  </a:moveTo>
                  <a:lnTo>
                    <a:pt x="10" y="347"/>
                  </a:lnTo>
                  <a:lnTo>
                    <a:pt x="12" y="347"/>
                  </a:lnTo>
                  <a:lnTo>
                    <a:pt x="12" y="349"/>
                  </a:lnTo>
                  <a:lnTo>
                    <a:pt x="12" y="347"/>
                  </a:lnTo>
                  <a:lnTo>
                    <a:pt x="10" y="349"/>
                  </a:lnTo>
                  <a:lnTo>
                    <a:pt x="12" y="349"/>
                  </a:lnTo>
                  <a:lnTo>
                    <a:pt x="10" y="349"/>
                  </a:lnTo>
                  <a:lnTo>
                    <a:pt x="12" y="349"/>
                  </a:lnTo>
                  <a:lnTo>
                    <a:pt x="12" y="352"/>
                  </a:lnTo>
                  <a:lnTo>
                    <a:pt x="10" y="352"/>
                  </a:lnTo>
                  <a:lnTo>
                    <a:pt x="10" y="349"/>
                  </a:lnTo>
                  <a:lnTo>
                    <a:pt x="10" y="352"/>
                  </a:lnTo>
                  <a:lnTo>
                    <a:pt x="10" y="354"/>
                  </a:lnTo>
                  <a:lnTo>
                    <a:pt x="7" y="354"/>
                  </a:lnTo>
                  <a:lnTo>
                    <a:pt x="7" y="352"/>
                  </a:lnTo>
                  <a:lnTo>
                    <a:pt x="7" y="349"/>
                  </a:lnTo>
                  <a:lnTo>
                    <a:pt x="5" y="349"/>
                  </a:lnTo>
                  <a:lnTo>
                    <a:pt x="5" y="347"/>
                  </a:lnTo>
                  <a:lnTo>
                    <a:pt x="5" y="349"/>
                  </a:lnTo>
                  <a:lnTo>
                    <a:pt x="5" y="347"/>
                  </a:lnTo>
                  <a:lnTo>
                    <a:pt x="7" y="347"/>
                  </a:lnTo>
                  <a:lnTo>
                    <a:pt x="7" y="349"/>
                  </a:lnTo>
                  <a:lnTo>
                    <a:pt x="7" y="347"/>
                  </a:lnTo>
                  <a:lnTo>
                    <a:pt x="10" y="347"/>
                  </a:lnTo>
                  <a:lnTo>
                    <a:pt x="10" y="344"/>
                  </a:lnTo>
                  <a:close/>
                  <a:moveTo>
                    <a:pt x="12" y="344"/>
                  </a:moveTo>
                  <a:lnTo>
                    <a:pt x="10" y="344"/>
                  </a:lnTo>
                  <a:lnTo>
                    <a:pt x="12" y="344"/>
                  </a:lnTo>
                  <a:lnTo>
                    <a:pt x="10" y="344"/>
                  </a:lnTo>
                  <a:lnTo>
                    <a:pt x="12" y="344"/>
                  </a:lnTo>
                  <a:close/>
                  <a:moveTo>
                    <a:pt x="86" y="344"/>
                  </a:moveTo>
                  <a:lnTo>
                    <a:pt x="88" y="344"/>
                  </a:lnTo>
                  <a:lnTo>
                    <a:pt x="88" y="347"/>
                  </a:lnTo>
                  <a:lnTo>
                    <a:pt x="86" y="347"/>
                  </a:lnTo>
                  <a:lnTo>
                    <a:pt x="88" y="347"/>
                  </a:lnTo>
                  <a:lnTo>
                    <a:pt x="86" y="347"/>
                  </a:lnTo>
                  <a:lnTo>
                    <a:pt x="86" y="344"/>
                  </a:lnTo>
                  <a:lnTo>
                    <a:pt x="83" y="344"/>
                  </a:lnTo>
                  <a:lnTo>
                    <a:pt x="86" y="344"/>
                  </a:lnTo>
                  <a:close/>
                  <a:moveTo>
                    <a:pt x="81" y="344"/>
                  </a:moveTo>
                  <a:lnTo>
                    <a:pt x="78" y="344"/>
                  </a:lnTo>
                  <a:lnTo>
                    <a:pt x="81" y="344"/>
                  </a:lnTo>
                  <a:close/>
                  <a:moveTo>
                    <a:pt x="62" y="344"/>
                  </a:moveTo>
                  <a:lnTo>
                    <a:pt x="64" y="344"/>
                  </a:lnTo>
                  <a:lnTo>
                    <a:pt x="62" y="344"/>
                  </a:lnTo>
                  <a:close/>
                  <a:moveTo>
                    <a:pt x="207" y="344"/>
                  </a:moveTo>
                  <a:lnTo>
                    <a:pt x="209" y="344"/>
                  </a:lnTo>
                  <a:lnTo>
                    <a:pt x="207" y="344"/>
                  </a:lnTo>
                  <a:lnTo>
                    <a:pt x="207" y="347"/>
                  </a:lnTo>
                  <a:lnTo>
                    <a:pt x="209" y="347"/>
                  </a:lnTo>
                  <a:lnTo>
                    <a:pt x="209" y="349"/>
                  </a:lnTo>
                  <a:lnTo>
                    <a:pt x="209" y="352"/>
                  </a:lnTo>
                  <a:lnTo>
                    <a:pt x="209" y="349"/>
                  </a:lnTo>
                  <a:lnTo>
                    <a:pt x="207" y="349"/>
                  </a:lnTo>
                  <a:lnTo>
                    <a:pt x="209" y="349"/>
                  </a:lnTo>
                  <a:lnTo>
                    <a:pt x="207" y="349"/>
                  </a:lnTo>
                  <a:lnTo>
                    <a:pt x="209" y="349"/>
                  </a:lnTo>
                  <a:lnTo>
                    <a:pt x="207" y="349"/>
                  </a:lnTo>
                  <a:lnTo>
                    <a:pt x="207" y="347"/>
                  </a:lnTo>
                  <a:lnTo>
                    <a:pt x="207" y="344"/>
                  </a:lnTo>
                  <a:close/>
                  <a:moveTo>
                    <a:pt x="50" y="344"/>
                  </a:moveTo>
                  <a:lnTo>
                    <a:pt x="48" y="344"/>
                  </a:lnTo>
                  <a:lnTo>
                    <a:pt x="50" y="344"/>
                  </a:lnTo>
                  <a:close/>
                  <a:moveTo>
                    <a:pt x="38" y="344"/>
                  </a:moveTo>
                  <a:lnTo>
                    <a:pt x="36" y="344"/>
                  </a:lnTo>
                  <a:lnTo>
                    <a:pt x="38" y="344"/>
                  </a:lnTo>
                  <a:close/>
                  <a:moveTo>
                    <a:pt x="83" y="344"/>
                  </a:moveTo>
                  <a:lnTo>
                    <a:pt x="86" y="344"/>
                  </a:lnTo>
                  <a:lnTo>
                    <a:pt x="83" y="344"/>
                  </a:lnTo>
                  <a:close/>
                  <a:moveTo>
                    <a:pt x="230" y="344"/>
                  </a:moveTo>
                  <a:lnTo>
                    <a:pt x="228" y="344"/>
                  </a:lnTo>
                  <a:lnTo>
                    <a:pt x="230" y="344"/>
                  </a:lnTo>
                  <a:close/>
                  <a:moveTo>
                    <a:pt x="86" y="344"/>
                  </a:moveTo>
                  <a:lnTo>
                    <a:pt x="83" y="344"/>
                  </a:lnTo>
                  <a:lnTo>
                    <a:pt x="86" y="344"/>
                  </a:lnTo>
                  <a:lnTo>
                    <a:pt x="83" y="344"/>
                  </a:lnTo>
                  <a:lnTo>
                    <a:pt x="86" y="344"/>
                  </a:lnTo>
                  <a:close/>
                  <a:moveTo>
                    <a:pt x="81" y="344"/>
                  </a:moveTo>
                  <a:lnTo>
                    <a:pt x="83" y="344"/>
                  </a:lnTo>
                  <a:lnTo>
                    <a:pt x="81" y="344"/>
                  </a:lnTo>
                  <a:close/>
                  <a:moveTo>
                    <a:pt x="123" y="344"/>
                  </a:moveTo>
                  <a:lnTo>
                    <a:pt x="121" y="344"/>
                  </a:lnTo>
                  <a:lnTo>
                    <a:pt x="121" y="347"/>
                  </a:lnTo>
                  <a:lnTo>
                    <a:pt x="121" y="344"/>
                  </a:lnTo>
                  <a:lnTo>
                    <a:pt x="123" y="344"/>
                  </a:lnTo>
                  <a:close/>
                  <a:moveTo>
                    <a:pt x="10" y="344"/>
                  </a:moveTo>
                  <a:lnTo>
                    <a:pt x="7" y="344"/>
                  </a:lnTo>
                  <a:lnTo>
                    <a:pt x="10" y="344"/>
                  </a:lnTo>
                  <a:close/>
                  <a:moveTo>
                    <a:pt x="14" y="344"/>
                  </a:moveTo>
                  <a:lnTo>
                    <a:pt x="12" y="344"/>
                  </a:lnTo>
                  <a:lnTo>
                    <a:pt x="14" y="344"/>
                  </a:lnTo>
                  <a:close/>
                  <a:moveTo>
                    <a:pt x="62" y="344"/>
                  </a:moveTo>
                  <a:lnTo>
                    <a:pt x="59" y="344"/>
                  </a:lnTo>
                  <a:lnTo>
                    <a:pt x="62" y="344"/>
                  </a:lnTo>
                  <a:lnTo>
                    <a:pt x="59" y="344"/>
                  </a:lnTo>
                  <a:lnTo>
                    <a:pt x="62" y="344"/>
                  </a:lnTo>
                  <a:lnTo>
                    <a:pt x="59" y="344"/>
                  </a:lnTo>
                  <a:lnTo>
                    <a:pt x="62" y="344"/>
                  </a:lnTo>
                  <a:close/>
                  <a:moveTo>
                    <a:pt x="64" y="344"/>
                  </a:moveTo>
                  <a:lnTo>
                    <a:pt x="67" y="344"/>
                  </a:lnTo>
                  <a:lnTo>
                    <a:pt x="64" y="344"/>
                  </a:lnTo>
                  <a:close/>
                  <a:moveTo>
                    <a:pt x="86" y="344"/>
                  </a:moveTo>
                  <a:lnTo>
                    <a:pt x="83" y="344"/>
                  </a:lnTo>
                  <a:lnTo>
                    <a:pt x="86" y="344"/>
                  </a:lnTo>
                  <a:close/>
                  <a:moveTo>
                    <a:pt x="78" y="344"/>
                  </a:moveTo>
                  <a:lnTo>
                    <a:pt x="81" y="344"/>
                  </a:lnTo>
                  <a:lnTo>
                    <a:pt x="78" y="344"/>
                  </a:lnTo>
                  <a:close/>
                  <a:moveTo>
                    <a:pt x="88" y="344"/>
                  </a:moveTo>
                  <a:lnTo>
                    <a:pt x="90" y="344"/>
                  </a:lnTo>
                  <a:lnTo>
                    <a:pt x="88" y="344"/>
                  </a:lnTo>
                  <a:lnTo>
                    <a:pt x="86" y="344"/>
                  </a:lnTo>
                  <a:lnTo>
                    <a:pt x="88" y="344"/>
                  </a:lnTo>
                  <a:close/>
                  <a:moveTo>
                    <a:pt x="97" y="344"/>
                  </a:moveTo>
                  <a:lnTo>
                    <a:pt x="100" y="344"/>
                  </a:lnTo>
                  <a:lnTo>
                    <a:pt x="100" y="347"/>
                  </a:lnTo>
                  <a:lnTo>
                    <a:pt x="97" y="347"/>
                  </a:lnTo>
                  <a:lnTo>
                    <a:pt x="95" y="347"/>
                  </a:lnTo>
                  <a:lnTo>
                    <a:pt x="97" y="347"/>
                  </a:lnTo>
                  <a:lnTo>
                    <a:pt x="95" y="347"/>
                  </a:lnTo>
                  <a:lnTo>
                    <a:pt x="97" y="347"/>
                  </a:lnTo>
                  <a:lnTo>
                    <a:pt x="97" y="349"/>
                  </a:lnTo>
                  <a:lnTo>
                    <a:pt x="95" y="349"/>
                  </a:lnTo>
                  <a:lnTo>
                    <a:pt x="95" y="347"/>
                  </a:lnTo>
                  <a:lnTo>
                    <a:pt x="95" y="349"/>
                  </a:lnTo>
                  <a:lnTo>
                    <a:pt x="93" y="349"/>
                  </a:lnTo>
                  <a:lnTo>
                    <a:pt x="93" y="347"/>
                  </a:lnTo>
                  <a:lnTo>
                    <a:pt x="95" y="347"/>
                  </a:lnTo>
                  <a:lnTo>
                    <a:pt x="95" y="344"/>
                  </a:lnTo>
                  <a:lnTo>
                    <a:pt x="93" y="344"/>
                  </a:lnTo>
                  <a:lnTo>
                    <a:pt x="95" y="347"/>
                  </a:lnTo>
                  <a:lnTo>
                    <a:pt x="93" y="347"/>
                  </a:lnTo>
                  <a:lnTo>
                    <a:pt x="90" y="347"/>
                  </a:lnTo>
                  <a:lnTo>
                    <a:pt x="93" y="347"/>
                  </a:lnTo>
                  <a:lnTo>
                    <a:pt x="90" y="347"/>
                  </a:lnTo>
                  <a:lnTo>
                    <a:pt x="90" y="344"/>
                  </a:lnTo>
                  <a:lnTo>
                    <a:pt x="93" y="344"/>
                  </a:lnTo>
                  <a:lnTo>
                    <a:pt x="95" y="344"/>
                  </a:lnTo>
                  <a:lnTo>
                    <a:pt x="97" y="344"/>
                  </a:lnTo>
                  <a:close/>
                  <a:moveTo>
                    <a:pt x="76" y="344"/>
                  </a:moveTo>
                  <a:lnTo>
                    <a:pt x="74" y="344"/>
                  </a:lnTo>
                  <a:lnTo>
                    <a:pt x="76" y="344"/>
                  </a:lnTo>
                  <a:close/>
                  <a:moveTo>
                    <a:pt x="64" y="344"/>
                  </a:moveTo>
                  <a:lnTo>
                    <a:pt x="67" y="344"/>
                  </a:lnTo>
                  <a:lnTo>
                    <a:pt x="64" y="344"/>
                  </a:lnTo>
                  <a:close/>
                  <a:moveTo>
                    <a:pt x="78" y="344"/>
                  </a:moveTo>
                  <a:lnTo>
                    <a:pt x="76" y="344"/>
                  </a:lnTo>
                  <a:lnTo>
                    <a:pt x="78" y="344"/>
                  </a:lnTo>
                  <a:lnTo>
                    <a:pt x="76" y="344"/>
                  </a:lnTo>
                  <a:lnTo>
                    <a:pt x="78" y="344"/>
                  </a:lnTo>
                  <a:close/>
                  <a:moveTo>
                    <a:pt x="86" y="342"/>
                  </a:moveTo>
                  <a:lnTo>
                    <a:pt x="86" y="344"/>
                  </a:lnTo>
                  <a:lnTo>
                    <a:pt x="88" y="344"/>
                  </a:lnTo>
                  <a:lnTo>
                    <a:pt x="86" y="344"/>
                  </a:lnTo>
                  <a:lnTo>
                    <a:pt x="86" y="342"/>
                  </a:lnTo>
                  <a:close/>
                  <a:moveTo>
                    <a:pt x="69" y="344"/>
                  </a:moveTo>
                  <a:lnTo>
                    <a:pt x="69" y="342"/>
                  </a:lnTo>
                  <a:lnTo>
                    <a:pt x="69" y="344"/>
                  </a:lnTo>
                  <a:close/>
                  <a:moveTo>
                    <a:pt x="67" y="342"/>
                  </a:moveTo>
                  <a:lnTo>
                    <a:pt x="67" y="344"/>
                  </a:lnTo>
                  <a:lnTo>
                    <a:pt x="64" y="344"/>
                  </a:lnTo>
                  <a:lnTo>
                    <a:pt x="64" y="342"/>
                  </a:lnTo>
                  <a:lnTo>
                    <a:pt x="67" y="342"/>
                  </a:lnTo>
                  <a:close/>
                  <a:moveTo>
                    <a:pt x="14" y="344"/>
                  </a:moveTo>
                  <a:lnTo>
                    <a:pt x="14" y="342"/>
                  </a:lnTo>
                  <a:lnTo>
                    <a:pt x="14" y="344"/>
                  </a:lnTo>
                  <a:close/>
                  <a:moveTo>
                    <a:pt x="81" y="342"/>
                  </a:moveTo>
                  <a:lnTo>
                    <a:pt x="83" y="344"/>
                  </a:lnTo>
                  <a:lnTo>
                    <a:pt x="81" y="344"/>
                  </a:lnTo>
                  <a:lnTo>
                    <a:pt x="81" y="342"/>
                  </a:lnTo>
                  <a:close/>
                  <a:moveTo>
                    <a:pt x="83" y="342"/>
                  </a:moveTo>
                  <a:lnTo>
                    <a:pt x="86" y="342"/>
                  </a:lnTo>
                  <a:lnTo>
                    <a:pt x="83" y="342"/>
                  </a:lnTo>
                  <a:close/>
                  <a:moveTo>
                    <a:pt x="90" y="342"/>
                  </a:moveTo>
                  <a:lnTo>
                    <a:pt x="90" y="344"/>
                  </a:lnTo>
                  <a:lnTo>
                    <a:pt x="90" y="342"/>
                  </a:lnTo>
                  <a:lnTo>
                    <a:pt x="93" y="342"/>
                  </a:lnTo>
                  <a:lnTo>
                    <a:pt x="90" y="342"/>
                  </a:lnTo>
                  <a:close/>
                  <a:moveTo>
                    <a:pt x="36" y="342"/>
                  </a:moveTo>
                  <a:lnTo>
                    <a:pt x="36" y="344"/>
                  </a:lnTo>
                  <a:lnTo>
                    <a:pt x="36" y="342"/>
                  </a:lnTo>
                  <a:lnTo>
                    <a:pt x="36" y="344"/>
                  </a:lnTo>
                  <a:lnTo>
                    <a:pt x="36" y="342"/>
                  </a:lnTo>
                  <a:close/>
                  <a:moveTo>
                    <a:pt x="225" y="342"/>
                  </a:moveTo>
                  <a:lnTo>
                    <a:pt x="228" y="342"/>
                  </a:lnTo>
                  <a:lnTo>
                    <a:pt x="228" y="344"/>
                  </a:lnTo>
                  <a:lnTo>
                    <a:pt x="225" y="344"/>
                  </a:lnTo>
                  <a:lnTo>
                    <a:pt x="225" y="342"/>
                  </a:lnTo>
                  <a:close/>
                  <a:moveTo>
                    <a:pt x="268" y="342"/>
                  </a:moveTo>
                  <a:lnTo>
                    <a:pt x="268" y="344"/>
                  </a:lnTo>
                  <a:lnTo>
                    <a:pt x="268" y="342"/>
                  </a:lnTo>
                  <a:close/>
                  <a:moveTo>
                    <a:pt x="12" y="344"/>
                  </a:moveTo>
                  <a:lnTo>
                    <a:pt x="12" y="342"/>
                  </a:lnTo>
                  <a:lnTo>
                    <a:pt x="12" y="344"/>
                  </a:lnTo>
                  <a:lnTo>
                    <a:pt x="12" y="342"/>
                  </a:lnTo>
                  <a:lnTo>
                    <a:pt x="12" y="344"/>
                  </a:lnTo>
                  <a:lnTo>
                    <a:pt x="12" y="342"/>
                  </a:lnTo>
                  <a:lnTo>
                    <a:pt x="12" y="344"/>
                  </a:lnTo>
                  <a:close/>
                  <a:moveTo>
                    <a:pt x="52" y="342"/>
                  </a:moveTo>
                  <a:lnTo>
                    <a:pt x="52" y="344"/>
                  </a:lnTo>
                  <a:lnTo>
                    <a:pt x="52" y="342"/>
                  </a:lnTo>
                  <a:lnTo>
                    <a:pt x="52" y="344"/>
                  </a:lnTo>
                  <a:lnTo>
                    <a:pt x="55" y="344"/>
                  </a:lnTo>
                  <a:lnTo>
                    <a:pt x="52" y="344"/>
                  </a:lnTo>
                  <a:lnTo>
                    <a:pt x="55" y="344"/>
                  </a:lnTo>
                  <a:lnTo>
                    <a:pt x="52" y="344"/>
                  </a:lnTo>
                  <a:lnTo>
                    <a:pt x="55" y="344"/>
                  </a:lnTo>
                  <a:lnTo>
                    <a:pt x="52" y="344"/>
                  </a:lnTo>
                  <a:lnTo>
                    <a:pt x="52" y="342"/>
                  </a:lnTo>
                  <a:close/>
                  <a:moveTo>
                    <a:pt x="218" y="342"/>
                  </a:moveTo>
                  <a:lnTo>
                    <a:pt x="218" y="344"/>
                  </a:lnTo>
                  <a:lnTo>
                    <a:pt x="218" y="342"/>
                  </a:lnTo>
                  <a:lnTo>
                    <a:pt x="221" y="342"/>
                  </a:lnTo>
                  <a:lnTo>
                    <a:pt x="221" y="344"/>
                  </a:lnTo>
                  <a:lnTo>
                    <a:pt x="221" y="347"/>
                  </a:lnTo>
                  <a:lnTo>
                    <a:pt x="218" y="347"/>
                  </a:lnTo>
                  <a:lnTo>
                    <a:pt x="218" y="344"/>
                  </a:lnTo>
                  <a:lnTo>
                    <a:pt x="218" y="342"/>
                  </a:lnTo>
                  <a:lnTo>
                    <a:pt x="218" y="344"/>
                  </a:lnTo>
                  <a:lnTo>
                    <a:pt x="218" y="342"/>
                  </a:lnTo>
                  <a:close/>
                  <a:moveTo>
                    <a:pt x="230" y="342"/>
                  </a:moveTo>
                  <a:lnTo>
                    <a:pt x="230" y="344"/>
                  </a:lnTo>
                  <a:lnTo>
                    <a:pt x="230" y="342"/>
                  </a:lnTo>
                  <a:lnTo>
                    <a:pt x="228" y="342"/>
                  </a:lnTo>
                  <a:lnTo>
                    <a:pt x="230" y="342"/>
                  </a:lnTo>
                  <a:close/>
                  <a:moveTo>
                    <a:pt x="62" y="342"/>
                  </a:moveTo>
                  <a:lnTo>
                    <a:pt x="62" y="344"/>
                  </a:lnTo>
                  <a:lnTo>
                    <a:pt x="59" y="344"/>
                  </a:lnTo>
                  <a:lnTo>
                    <a:pt x="59" y="342"/>
                  </a:lnTo>
                  <a:lnTo>
                    <a:pt x="62" y="342"/>
                  </a:lnTo>
                  <a:close/>
                  <a:moveTo>
                    <a:pt x="225" y="342"/>
                  </a:moveTo>
                  <a:lnTo>
                    <a:pt x="223" y="342"/>
                  </a:lnTo>
                  <a:lnTo>
                    <a:pt x="225" y="342"/>
                  </a:lnTo>
                  <a:lnTo>
                    <a:pt x="223" y="342"/>
                  </a:lnTo>
                  <a:lnTo>
                    <a:pt x="225" y="344"/>
                  </a:lnTo>
                  <a:lnTo>
                    <a:pt x="223" y="344"/>
                  </a:lnTo>
                  <a:lnTo>
                    <a:pt x="223" y="342"/>
                  </a:lnTo>
                  <a:lnTo>
                    <a:pt x="225" y="342"/>
                  </a:lnTo>
                  <a:close/>
                  <a:moveTo>
                    <a:pt x="52" y="342"/>
                  </a:moveTo>
                  <a:lnTo>
                    <a:pt x="55" y="342"/>
                  </a:lnTo>
                  <a:lnTo>
                    <a:pt x="52" y="342"/>
                  </a:lnTo>
                  <a:lnTo>
                    <a:pt x="55" y="342"/>
                  </a:lnTo>
                  <a:lnTo>
                    <a:pt x="52" y="342"/>
                  </a:lnTo>
                  <a:lnTo>
                    <a:pt x="55" y="342"/>
                  </a:lnTo>
                  <a:lnTo>
                    <a:pt x="55" y="344"/>
                  </a:lnTo>
                  <a:lnTo>
                    <a:pt x="52" y="342"/>
                  </a:lnTo>
                  <a:close/>
                  <a:moveTo>
                    <a:pt x="235" y="342"/>
                  </a:moveTo>
                  <a:lnTo>
                    <a:pt x="235" y="344"/>
                  </a:lnTo>
                  <a:lnTo>
                    <a:pt x="235" y="342"/>
                  </a:lnTo>
                  <a:close/>
                  <a:moveTo>
                    <a:pt x="78" y="342"/>
                  </a:moveTo>
                  <a:lnTo>
                    <a:pt x="78" y="344"/>
                  </a:lnTo>
                  <a:lnTo>
                    <a:pt x="78" y="342"/>
                  </a:lnTo>
                  <a:lnTo>
                    <a:pt x="78" y="344"/>
                  </a:lnTo>
                  <a:lnTo>
                    <a:pt x="76" y="342"/>
                  </a:lnTo>
                  <a:lnTo>
                    <a:pt x="78" y="342"/>
                  </a:lnTo>
                  <a:close/>
                  <a:moveTo>
                    <a:pt x="33" y="342"/>
                  </a:moveTo>
                  <a:lnTo>
                    <a:pt x="36" y="342"/>
                  </a:lnTo>
                  <a:lnTo>
                    <a:pt x="36" y="344"/>
                  </a:lnTo>
                  <a:lnTo>
                    <a:pt x="33" y="344"/>
                  </a:lnTo>
                  <a:lnTo>
                    <a:pt x="33" y="342"/>
                  </a:lnTo>
                  <a:lnTo>
                    <a:pt x="33" y="344"/>
                  </a:lnTo>
                  <a:lnTo>
                    <a:pt x="31" y="344"/>
                  </a:lnTo>
                  <a:lnTo>
                    <a:pt x="33" y="342"/>
                  </a:lnTo>
                  <a:lnTo>
                    <a:pt x="31" y="342"/>
                  </a:lnTo>
                  <a:lnTo>
                    <a:pt x="33" y="342"/>
                  </a:lnTo>
                  <a:close/>
                  <a:moveTo>
                    <a:pt x="57" y="342"/>
                  </a:moveTo>
                  <a:lnTo>
                    <a:pt x="59" y="342"/>
                  </a:lnTo>
                  <a:lnTo>
                    <a:pt x="57" y="342"/>
                  </a:lnTo>
                  <a:lnTo>
                    <a:pt x="59" y="342"/>
                  </a:lnTo>
                  <a:lnTo>
                    <a:pt x="59" y="344"/>
                  </a:lnTo>
                  <a:lnTo>
                    <a:pt x="59" y="342"/>
                  </a:lnTo>
                  <a:lnTo>
                    <a:pt x="59" y="344"/>
                  </a:lnTo>
                  <a:lnTo>
                    <a:pt x="57" y="344"/>
                  </a:lnTo>
                  <a:lnTo>
                    <a:pt x="57" y="342"/>
                  </a:lnTo>
                  <a:close/>
                  <a:moveTo>
                    <a:pt x="48" y="342"/>
                  </a:moveTo>
                  <a:lnTo>
                    <a:pt x="48" y="344"/>
                  </a:lnTo>
                  <a:lnTo>
                    <a:pt x="48" y="342"/>
                  </a:lnTo>
                  <a:lnTo>
                    <a:pt x="48" y="344"/>
                  </a:lnTo>
                  <a:lnTo>
                    <a:pt x="48" y="342"/>
                  </a:lnTo>
                  <a:close/>
                  <a:moveTo>
                    <a:pt x="78" y="342"/>
                  </a:moveTo>
                  <a:lnTo>
                    <a:pt x="76" y="342"/>
                  </a:lnTo>
                  <a:lnTo>
                    <a:pt x="78" y="342"/>
                  </a:lnTo>
                  <a:close/>
                  <a:moveTo>
                    <a:pt x="10" y="342"/>
                  </a:moveTo>
                  <a:lnTo>
                    <a:pt x="10" y="344"/>
                  </a:lnTo>
                  <a:lnTo>
                    <a:pt x="7" y="344"/>
                  </a:lnTo>
                  <a:lnTo>
                    <a:pt x="7" y="342"/>
                  </a:lnTo>
                  <a:lnTo>
                    <a:pt x="7" y="344"/>
                  </a:lnTo>
                  <a:lnTo>
                    <a:pt x="7" y="342"/>
                  </a:lnTo>
                  <a:lnTo>
                    <a:pt x="10" y="342"/>
                  </a:lnTo>
                  <a:close/>
                  <a:moveTo>
                    <a:pt x="247" y="342"/>
                  </a:moveTo>
                  <a:lnTo>
                    <a:pt x="244" y="342"/>
                  </a:lnTo>
                  <a:lnTo>
                    <a:pt x="247" y="342"/>
                  </a:lnTo>
                  <a:close/>
                  <a:moveTo>
                    <a:pt x="64" y="342"/>
                  </a:moveTo>
                  <a:lnTo>
                    <a:pt x="62" y="342"/>
                  </a:lnTo>
                  <a:lnTo>
                    <a:pt x="64" y="342"/>
                  </a:lnTo>
                  <a:close/>
                  <a:moveTo>
                    <a:pt x="102" y="342"/>
                  </a:moveTo>
                  <a:lnTo>
                    <a:pt x="104" y="342"/>
                  </a:lnTo>
                  <a:lnTo>
                    <a:pt x="104" y="344"/>
                  </a:lnTo>
                  <a:lnTo>
                    <a:pt x="102" y="344"/>
                  </a:lnTo>
                  <a:lnTo>
                    <a:pt x="104" y="344"/>
                  </a:lnTo>
                  <a:lnTo>
                    <a:pt x="104" y="347"/>
                  </a:lnTo>
                  <a:lnTo>
                    <a:pt x="102" y="347"/>
                  </a:lnTo>
                  <a:lnTo>
                    <a:pt x="102" y="349"/>
                  </a:lnTo>
                  <a:lnTo>
                    <a:pt x="100" y="349"/>
                  </a:lnTo>
                  <a:lnTo>
                    <a:pt x="97" y="349"/>
                  </a:lnTo>
                  <a:lnTo>
                    <a:pt x="97" y="352"/>
                  </a:lnTo>
                  <a:lnTo>
                    <a:pt x="95" y="352"/>
                  </a:lnTo>
                  <a:lnTo>
                    <a:pt x="95" y="349"/>
                  </a:lnTo>
                  <a:lnTo>
                    <a:pt x="93" y="349"/>
                  </a:lnTo>
                  <a:lnTo>
                    <a:pt x="95" y="349"/>
                  </a:lnTo>
                  <a:lnTo>
                    <a:pt x="97" y="349"/>
                  </a:lnTo>
                  <a:lnTo>
                    <a:pt x="95" y="349"/>
                  </a:lnTo>
                  <a:lnTo>
                    <a:pt x="97" y="349"/>
                  </a:lnTo>
                  <a:lnTo>
                    <a:pt x="97" y="347"/>
                  </a:lnTo>
                  <a:lnTo>
                    <a:pt x="100" y="347"/>
                  </a:lnTo>
                  <a:lnTo>
                    <a:pt x="97" y="347"/>
                  </a:lnTo>
                  <a:lnTo>
                    <a:pt x="100" y="347"/>
                  </a:lnTo>
                  <a:lnTo>
                    <a:pt x="100" y="349"/>
                  </a:lnTo>
                  <a:lnTo>
                    <a:pt x="100" y="347"/>
                  </a:lnTo>
                  <a:lnTo>
                    <a:pt x="102" y="344"/>
                  </a:lnTo>
                  <a:lnTo>
                    <a:pt x="100" y="347"/>
                  </a:lnTo>
                  <a:lnTo>
                    <a:pt x="100" y="344"/>
                  </a:lnTo>
                  <a:lnTo>
                    <a:pt x="100" y="347"/>
                  </a:lnTo>
                  <a:lnTo>
                    <a:pt x="100" y="344"/>
                  </a:lnTo>
                  <a:lnTo>
                    <a:pt x="102" y="344"/>
                  </a:lnTo>
                  <a:lnTo>
                    <a:pt x="100" y="344"/>
                  </a:lnTo>
                  <a:lnTo>
                    <a:pt x="97" y="344"/>
                  </a:lnTo>
                  <a:lnTo>
                    <a:pt x="100" y="344"/>
                  </a:lnTo>
                  <a:lnTo>
                    <a:pt x="100" y="342"/>
                  </a:lnTo>
                  <a:lnTo>
                    <a:pt x="102" y="342"/>
                  </a:lnTo>
                  <a:close/>
                  <a:moveTo>
                    <a:pt x="14" y="342"/>
                  </a:moveTo>
                  <a:lnTo>
                    <a:pt x="14" y="344"/>
                  </a:lnTo>
                  <a:lnTo>
                    <a:pt x="14" y="342"/>
                  </a:lnTo>
                  <a:close/>
                  <a:moveTo>
                    <a:pt x="242" y="342"/>
                  </a:moveTo>
                  <a:lnTo>
                    <a:pt x="240" y="342"/>
                  </a:lnTo>
                  <a:lnTo>
                    <a:pt x="242" y="342"/>
                  </a:lnTo>
                  <a:close/>
                  <a:moveTo>
                    <a:pt x="52" y="342"/>
                  </a:moveTo>
                  <a:lnTo>
                    <a:pt x="50" y="342"/>
                  </a:lnTo>
                  <a:lnTo>
                    <a:pt x="52" y="342"/>
                  </a:lnTo>
                  <a:close/>
                  <a:moveTo>
                    <a:pt x="107" y="342"/>
                  </a:moveTo>
                  <a:lnTo>
                    <a:pt x="104" y="342"/>
                  </a:lnTo>
                  <a:lnTo>
                    <a:pt x="102" y="342"/>
                  </a:lnTo>
                  <a:lnTo>
                    <a:pt x="104" y="342"/>
                  </a:lnTo>
                  <a:lnTo>
                    <a:pt x="102" y="342"/>
                  </a:lnTo>
                  <a:lnTo>
                    <a:pt x="104" y="342"/>
                  </a:lnTo>
                  <a:lnTo>
                    <a:pt x="107" y="342"/>
                  </a:lnTo>
                  <a:close/>
                  <a:moveTo>
                    <a:pt x="81" y="342"/>
                  </a:moveTo>
                  <a:lnTo>
                    <a:pt x="78" y="342"/>
                  </a:lnTo>
                  <a:lnTo>
                    <a:pt x="81" y="342"/>
                  </a:lnTo>
                  <a:close/>
                  <a:moveTo>
                    <a:pt x="78" y="342"/>
                  </a:moveTo>
                  <a:lnTo>
                    <a:pt x="76" y="342"/>
                  </a:lnTo>
                  <a:lnTo>
                    <a:pt x="78" y="342"/>
                  </a:lnTo>
                  <a:close/>
                  <a:moveTo>
                    <a:pt x="97" y="342"/>
                  </a:moveTo>
                  <a:lnTo>
                    <a:pt x="95" y="342"/>
                  </a:lnTo>
                  <a:lnTo>
                    <a:pt x="95" y="344"/>
                  </a:lnTo>
                  <a:lnTo>
                    <a:pt x="95" y="342"/>
                  </a:lnTo>
                  <a:lnTo>
                    <a:pt x="93" y="342"/>
                  </a:lnTo>
                  <a:lnTo>
                    <a:pt x="95" y="342"/>
                  </a:lnTo>
                  <a:lnTo>
                    <a:pt x="93" y="342"/>
                  </a:lnTo>
                  <a:lnTo>
                    <a:pt x="95" y="342"/>
                  </a:lnTo>
                  <a:lnTo>
                    <a:pt x="93" y="342"/>
                  </a:lnTo>
                  <a:lnTo>
                    <a:pt x="95" y="342"/>
                  </a:lnTo>
                  <a:lnTo>
                    <a:pt x="97" y="342"/>
                  </a:lnTo>
                  <a:lnTo>
                    <a:pt x="97" y="340"/>
                  </a:lnTo>
                  <a:lnTo>
                    <a:pt x="97" y="342"/>
                  </a:lnTo>
                  <a:close/>
                  <a:moveTo>
                    <a:pt x="62" y="340"/>
                  </a:moveTo>
                  <a:lnTo>
                    <a:pt x="62" y="342"/>
                  </a:lnTo>
                  <a:lnTo>
                    <a:pt x="62" y="340"/>
                  </a:lnTo>
                  <a:lnTo>
                    <a:pt x="62" y="342"/>
                  </a:lnTo>
                  <a:lnTo>
                    <a:pt x="62" y="340"/>
                  </a:lnTo>
                  <a:close/>
                  <a:moveTo>
                    <a:pt x="71" y="342"/>
                  </a:moveTo>
                  <a:lnTo>
                    <a:pt x="71" y="340"/>
                  </a:lnTo>
                  <a:lnTo>
                    <a:pt x="71" y="342"/>
                  </a:lnTo>
                  <a:close/>
                  <a:moveTo>
                    <a:pt x="62" y="342"/>
                  </a:moveTo>
                  <a:lnTo>
                    <a:pt x="59" y="342"/>
                  </a:lnTo>
                  <a:lnTo>
                    <a:pt x="59" y="340"/>
                  </a:lnTo>
                  <a:lnTo>
                    <a:pt x="59" y="342"/>
                  </a:lnTo>
                  <a:lnTo>
                    <a:pt x="62" y="342"/>
                  </a:lnTo>
                  <a:close/>
                  <a:moveTo>
                    <a:pt x="93" y="340"/>
                  </a:moveTo>
                  <a:lnTo>
                    <a:pt x="93" y="342"/>
                  </a:lnTo>
                  <a:lnTo>
                    <a:pt x="93" y="340"/>
                  </a:lnTo>
                  <a:lnTo>
                    <a:pt x="93" y="342"/>
                  </a:lnTo>
                  <a:lnTo>
                    <a:pt x="93" y="340"/>
                  </a:lnTo>
                  <a:close/>
                  <a:moveTo>
                    <a:pt x="57" y="340"/>
                  </a:moveTo>
                  <a:lnTo>
                    <a:pt x="57" y="342"/>
                  </a:lnTo>
                  <a:lnTo>
                    <a:pt x="59" y="342"/>
                  </a:lnTo>
                  <a:lnTo>
                    <a:pt x="57" y="342"/>
                  </a:lnTo>
                  <a:lnTo>
                    <a:pt x="57" y="340"/>
                  </a:lnTo>
                  <a:lnTo>
                    <a:pt x="57" y="342"/>
                  </a:lnTo>
                  <a:lnTo>
                    <a:pt x="57" y="340"/>
                  </a:lnTo>
                  <a:close/>
                  <a:moveTo>
                    <a:pt x="26" y="340"/>
                  </a:moveTo>
                  <a:lnTo>
                    <a:pt x="26" y="342"/>
                  </a:lnTo>
                  <a:lnTo>
                    <a:pt x="26" y="340"/>
                  </a:lnTo>
                  <a:close/>
                  <a:moveTo>
                    <a:pt x="24" y="340"/>
                  </a:moveTo>
                  <a:lnTo>
                    <a:pt x="24" y="342"/>
                  </a:lnTo>
                  <a:lnTo>
                    <a:pt x="24" y="340"/>
                  </a:lnTo>
                  <a:lnTo>
                    <a:pt x="24" y="342"/>
                  </a:lnTo>
                  <a:lnTo>
                    <a:pt x="24" y="340"/>
                  </a:lnTo>
                  <a:close/>
                  <a:moveTo>
                    <a:pt x="268" y="342"/>
                  </a:moveTo>
                  <a:lnTo>
                    <a:pt x="268" y="340"/>
                  </a:lnTo>
                  <a:lnTo>
                    <a:pt x="268" y="342"/>
                  </a:lnTo>
                  <a:lnTo>
                    <a:pt x="268" y="340"/>
                  </a:lnTo>
                  <a:lnTo>
                    <a:pt x="268" y="342"/>
                  </a:lnTo>
                  <a:close/>
                  <a:moveTo>
                    <a:pt x="67" y="340"/>
                  </a:moveTo>
                  <a:lnTo>
                    <a:pt x="67" y="342"/>
                  </a:lnTo>
                  <a:lnTo>
                    <a:pt x="64" y="342"/>
                  </a:lnTo>
                  <a:lnTo>
                    <a:pt x="67" y="342"/>
                  </a:lnTo>
                  <a:lnTo>
                    <a:pt x="67" y="340"/>
                  </a:lnTo>
                  <a:lnTo>
                    <a:pt x="67" y="342"/>
                  </a:lnTo>
                  <a:lnTo>
                    <a:pt x="64" y="340"/>
                  </a:lnTo>
                  <a:lnTo>
                    <a:pt x="67" y="340"/>
                  </a:lnTo>
                  <a:lnTo>
                    <a:pt x="64" y="340"/>
                  </a:lnTo>
                  <a:lnTo>
                    <a:pt x="67" y="340"/>
                  </a:lnTo>
                  <a:close/>
                  <a:moveTo>
                    <a:pt x="57" y="340"/>
                  </a:moveTo>
                  <a:lnTo>
                    <a:pt x="57" y="342"/>
                  </a:lnTo>
                  <a:lnTo>
                    <a:pt x="57" y="340"/>
                  </a:lnTo>
                  <a:close/>
                  <a:moveTo>
                    <a:pt x="223" y="340"/>
                  </a:moveTo>
                  <a:lnTo>
                    <a:pt x="223" y="342"/>
                  </a:lnTo>
                  <a:lnTo>
                    <a:pt x="225" y="340"/>
                  </a:lnTo>
                  <a:lnTo>
                    <a:pt x="223" y="342"/>
                  </a:lnTo>
                  <a:lnTo>
                    <a:pt x="225" y="342"/>
                  </a:lnTo>
                  <a:lnTo>
                    <a:pt x="223" y="342"/>
                  </a:lnTo>
                  <a:lnTo>
                    <a:pt x="223" y="340"/>
                  </a:lnTo>
                  <a:lnTo>
                    <a:pt x="223" y="342"/>
                  </a:lnTo>
                  <a:lnTo>
                    <a:pt x="223" y="340"/>
                  </a:lnTo>
                  <a:close/>
                  <a:moveTo>
                    <a:pt x="12" y="340"/>
                  </a:moveTo>
                  <a:lnTo>
                    <a:pt x="14" y="340"/>
                  </a:lnTo>
                  <a:lnTo>
                    <a:pt x="14" y="342"/>
                  </a:lnTo>
                  <a:lnTo>
                    <a:pt x="12" y="342"/>
                  </a:lnTo>
                  <a:lnTo>
                    <a:pt x="12" y="340"/>
                  </a:lnTo>
                  <a:close/>
                  <a:moveTo>
                    <a:pt x="242" y="340"/>
                  </a:moveTo>
                  <a:lnTo>
                    <a:pt x="244" y="340"/>
                  </a:lnTo>
                  <a:lnTo>
                    <a:pt x="242" y="340"/>
                  </a:lnTo>
                  <a:close/>
                  <a:moveTo>
                    <a:pt x="21" y="340"/>
                  </a:moveTo>
                  <a:lnTo>
                    <a:pt x="21" y="342"/>
                  </a:lnTo>
                  <a:lnTo>
                    <a:pt x="21" y="340"/>
                  </a:lnTo>
                  <a:close/>
                  <a:moveTo>
                    <a:pt x="26" y="340"/>
                  </a:moveTo>
                  <a:lnTo>
                    <a:pt x="26" y="342"/>
                  </a:lnTo>
                  <a:lnTo>
                    <a:pt x="24" y="340"/>
                  </a:lnTo>
                  <a:lnTo>
                    <a:pt x="26" y="340"/>
                  </a:lnTo>
                  <a:close/>
                  <a:moveTo>
                    <a:pt x="69" y="340"/>
                  </a:moveTo>
                  <a:lnTo>
                    <a:pt x="69" y="342"/>
                  </a:lnTo>
                  <a:lnTo>
                    <a:pt x="67" y="342"/>
                  </a:lnTo>
                  <a:lnTo>
                    <a:pt x="67" y="340"/>
                  </a:lnTo>
                  <a:lnTo>
                    <a:pt x="69" y="340"/>
                  </a:lnTo>
                  <a:close/>
                  <a:moveTo>
                    <a:pt x="104" y="340"/>
                  </a:moveTo>
                  <a:lnTo>
                    <a:pt x="104" y="342"/>
                  </a:lnTo>
                  <a:lnTo>
                    <a:pt x="102" y="342"/>
                  </a:lnTo>
                  <a:lnTo>
                    <a:pt x="100" y="342"/>
                  </a:lnTo>
                  <a:lnTo>
                    <a:pt x="100" y="340"/>
                  </a:lnTo>
                  <a:lnTo>
                    <a:pt x="102" y="340"/>
                  </a:lnTo>
                  <a:lnTo>
                    <a:pt x="104" y="340"/>
                  </a:lnTo>
                  <a:close/>
                  <a:moveTo>
                    <a:pt x="57" y="340"/>
                  </a:moveTo>
                  <a:lnTo>
                    <a:pt x="57" y="342"/>
                  </a:lnTo>
                  <a:lnTo>
                    <a:pt x="55" y="342"/>
                  </a:lnTo>
                  <a:lnTo>
                    <a:pt x="55" y="340"/>
                  </a:lnTo>
                  <a:lnTo>
                    <a:pt x="57" y="340"/>
                  </a:lnTo>
                  <a:lnTo>
                    <a:pt x="55" y="340"/>
                  </a:lnTo>
                  <a:lnTo>
                    <a:pt x="57" y="340"/>
                  </a:lnTo>
                  <a:close/>
                  <a:moveTo>
                    <a:pt x="254" y="340"/>
                  </a:moveTo>
                  <a:lnTo>
                    <a:pt x="256" y="340"/>
                  </a:lnTo>
                  <a:lnTo>
                    <a:pt x="256" y="342"/>
                  </a:lnTo>
                  <a:lnTo>
                    <a:pt x="254" y="342"/>
                  </a:lnTo>
                  <a:lnTo>
                    <a:pt x="254" y="340"/>
                  </a:lnTo>
                  <a:close/>
                  <a:moveTo>
                    <a:pt x="48" y="340"/>
                  </a:moveTo>
                  <a:lnTo>
                    <a:pt x="48" y="342"/>
                  </a:lnTo>
                  <a:lnTo>
                    <a:pt x="48" y="340"/>
                  </a:lnTo>
                  <a:close/>
                  <a:moveTo>
                    <a:pt x="78" y="340"/>
                  </a:moveTo>
                  <a:lnTo>
                    <a:pt x="78" y="342"/>
                  </a:lnTo>
                  <a:lnTo>
                    <a:pt x="78" y="340"/>
                  </a:lnTo>
                  <a:close/>
                  <a:moveTo>
                    <a:pt x="59" y="340"/>
                  </a:moveTo>
                  <a:lnTo>
                    <a:pt x="57" y="340"/>
                  </a:lnTo>
                  <a:lnTo>
                    <a:pt x="59" y="340"/>
                  </a:lnTo>
                  <a:close/>
                  <a:moveTo>
                    <a:pt x="268" y="340"/>
                  </a:moveTo>
                  <a:lnTo>
                    <a:pt x="266" y="340"/>
                  </a:lnTo>
                  <a:lnTo>
                    <a:pt x="268" y="340"/>
                  </a:lnTo>
                  <a:close/>
                  <a:moveTo>
                    <a:pt x="31" y="340"/>
                  </a:moveTo>
                  <a:lnTo>
                    <a:pt x="33" y="340"/>
                  </a:lnTo>
                  <a:lnTo>
                    <a:pt x="31" y="340"/>
                  </a:lnTo>
                  <a:lnTo>
                    <a:pt x="33" y="340"/>
                  </a:lnTo>
                  <a:lnTo>
                    <a:pt x="31" y="340"/>
                  </a:lnTo>
                  <a:close/>
                  <a:moveTo>
                    <a:pt x="74" y="340"/>
                  </a:moveTo>
                  <a:lnTo>
                    <a:pt x="76" y="340"/>
                  </a:lnTo>
                  <a:lnTo>
                    <a:pt x="74" y="340"/>
                  </a:lnTo>
                  <a:lnTo>
                    <a:pt x="76" y="340"/>
                  </a:lnTo>
                  <a:lnTo>
                    <a:pt x="74" y="340"/>
                  </a:lnTo>
                  <a:close/>
                  <a:moveTo>
                    <a:pt x="254" y="340"/>
                  </a:moveTo>
                  <a:lnTo>
                    <a:pt x="252" y="340"/>
                  </a:lnTo>
                  <a:lnTo>
                    <a:pt x="254" y="340"/>
                  </a:lnTo>
                  <a:close/>
                  <a:moveTo>
                    <a:pt x="14" y="340"/>
                  </a:moveTo>
                  <a:lnTo>
                    <a:pt x="17" y="340"/>
                  </a:lnTo>
                  <a:lnTo>
                    <a:pt x="14" y="340"/>
                  </a:lnTo>
                  <a:lnTo>
                    <a:pt x="14" y="342"/>
                  </a:lnTo>
                  <a:lnTo>
                    <a:pt x="14" y="340"/>
                  </a:lnTo>
                  <a:close/>
                  <a:moveTo>
                    <a:pt x="64" y="340"/>
                  </a:moveTo>
                  <a:lnTo>
                    <a:pt x="64" y="337"/>
                  </a:lnTo>
                  <a:lnTo>
                    <a:pt x="64" y="340"/>
                  </a:lnTo>
                  <a:close/>
                  <a:moveTo>
                    <a:pt x="55" y="340"/>
                  </a:moveTo>
                  <a:lnTo>
                    <a:pt x="55" y="337"/>
                  </a:lnTo>
                  <a:lnTo>
                    <a:pt x="55" y="340"/>
                  </a:lnTo>
                  <a:close/>
                  <a:moveTo>
                    <a:pt x="57" y="340"/>
                  </a:moveTo>
                  <a:lnTo>
                    <a:pt x="55" y="340"/>
                  </a:lnTo>
                  <a:lnTo>
                    <a:pt x="55" y="337"/>
                  </a:lnTo>
                  <a:lnTo>
                    <a:pt x="55" y="340"/>
                  </a:lnTo>
                  <a:lnTo>
                    <a:pt x="57" y="340"/>
                  </a:lnTo>
                  <a:close/>
                  <a:moveTo>
                    <a:pt x="24" y="337"/>
                  </a:moveTo>
                  <a:lnTo>
                    <a:pt x="24" y="340"/>
                  </a:lnTo>
                  <a:lnTo>
                    <a:pt x="26" y="340"/>
                  </a:lnTo>
                  <a:lnTo>
                    <a:pt x="24" y="340"/>
                  </a:lnTo>
                  <a:lnTo>
                    <a:pt x="24" y="337"/>
                  </a:lnTo>
                  <a:close/>
                  <a:moveTo>
                    <a:pt x="95" y="340"/>
                  </a:moveTo>
                  <a:lnTo>
                    <a:pt x="97" y="340"/>
                  </a:lnTo>
                  <a:lnTo>
                    <a:pt x="95" y="340"/>
                  </a:lnTo>
                  <a:lnTo>
                    <a:pt x="95" y="342"/>
                  </a:lnTo>
                  <a:lnTo>
                    <a:pt x="95" y="340"/>
                  </a:lnTo>
                  <a:lnTo>
                    <a:pt x="95" y="342"/>
                  </a:lnTo>
                  <a:lnTo>
                    <a:pt x="95" y="340"/>
                  </a:lnTo>
                  <a:lnTo>
                    <a:pt x="93" y="340"/>
                  </a:lnTo>
                  <a:lnTo>
                    <a:pt x="95" y="340"/>
                  </a:lnTo>
                  <a:lnTo>
                    <a:pt x="93" y="340"/>
                  </a:lnTo>
                  <a:lnTo>
                    <a:pt x="95" y="340"/>
                  </a:lnTo>
                  <a:lnTo>
                    <a:pt x="95" y="337"/>
                  </a:lnTo>
                  <a:lnTo>
                    <a:pt x="95" y="340"/>
                  </a:lnTo>
                  <a:close/>
                  <a:moveTo>
                    <a:pt x="31" y="340"/>
                  </a:moveTo>
                  <a:lnTo>
                    <a:pt x="31" y="337"/>
                  </a:lnTo>
                  <a:lnTo>
                    <a:pt x="31" y="340"/>
                  </a:lnTo>
                  <a:close/>
                  <a:moveTo>
                    <a:pt x="67" y="340"/>
                  </a:moveTo>
                  <a:lnTo>
                    <a:pt x="67" y="337"/>
                  </a:lnTo>
                  <a:lnTo>
                    <a:pt x="67" y="340"/>
                  </a:lnTo>
                  <a:close/>
                  <a:moveTo>
                    <a:pt x="52" y="340"/>
                  </a:moveTo>
                  <a:lnTo>
                    <a:pt x="52" y="337"/>
                  </a:lnTo>
                  <a:lnTo>
                    <a:pt x="52" y="340"/>
                  </a:lnTo>
                  <a:close/>
                  <a:moveTo>
                    <a:pt x="263" y="340"/>
                  </a:moveTo>
                  <a:lnTo>
                    <a:pt x="263" y="337"/>
                  </a:lnTo>
                  <a:lnTo>
                    <a:pt x="263" y="340"/>
                  </a:lnTo>
                  <a:close/>
                  <a:moveTo>
                    <a:pt x="268" y="340"/>
                  </a:moveTo>
                  <a:lnTo>
                    <a:pt x="268" y="337"/>
                  </a:lnTo>
                  <a:lnTo>
                    <a:pt x="268" y="340"/>
                  </a:lnTo>
                  <a:lnTo>
                    <a:pt x="268" y="337"/>
                  </a:lnTo>
                  <a:lnTo>
                    <a:pt x="268" y="340"/>
                  </a:lnTo>
                  <a:close/>
                  <a:moveTo>
                    <a:pt x="256" y="340"/>
                  </a:moveTo>
                  <a:lnTo>
                    <a:pt x="256" y="337"/>
                  </a:lnTo>
                  <a:lnTo>
                    <a:pt x="256" y="340"/>
                  </a:lnTo>
                  <a:close/>
                  <a:moveTo>
                    <a:pt x="244" y="340"/>
                  </a:moveTo>
                  <a:lnTo>
                    <a:pt x="244" y="337"/>
                  </a:lnTo>
                  <a:lnTo>
                    <a:pt x="244" y="340"/>
                  </a:lnTo>
                  <a:close/>
                  <a:moveTo>
                    <a:pt x="14" y="337"/>
                  </a:moveTo>
                  <a:lnTo>
                    <a:pt x="14" y="340"/>
                  </a:lnTo>
                  <a:lnTo>
                    <a:pt x="14" y="337"/>
                  </a:lnTo>
                  <a:close/>
                  <a:moveTo>
                    <a:pt x="221" y="340"/>
                  </a:moveTo>
                  <a:lnTo>
                    <a:pt x="221" y="337"/>
                  </a:lnTo>
                  <a:lnTo>
                    <a:pt x="221" y="340"/>
                  </a:lnTo>
                  <a:close/>
                  <a:moveTo>
                    <a:pt x="55" y="337"/>
                  </a:moveTo>
                  <a:lnTo>
                    <a:pt x="55" y="340"/>
                  </a:lnTo>
                  <a:lnTo>
                    <a:pt x="55" y="337"/>
                  </a:lnTo>
                  <a:lnTo>
                    <a:pt x="55" y="340"/>
                  </a:lnTo>
                  <a:lnTo>
                    <a:pt x="55" y="337"/>
                  </a:lnTo>
                  <a:close/>
                  <a:moveTo>
                    <a:pt x="81" y="337"/>
                  </a:moveTo>
                  <a:lnTo>
                    <a:pt x="81" y="340"/>
                  </a:lnTo>
                  <a:lnTo>
                    <a:pt x="81" y="337"/>
                  </a:lnTo>
                  <a:lnTo>
                    <a:pt x="81" y="340"/>
                  </a:lnTo>
                  <a:lnTo>
                    <a:pt x="81" y="337"/>
                  </a:lnTo>
                  <a:close/>
                  <a:moveTo>
                    <a:pt x="14" y="337"/>
                  </a:moveTo>
                  <a:lnTo>
                    <a:pt x="14" y="340"/>
                  </a:lnTo>
                  <a:lnTo>
                    <a:pt x="12" y="340"/>
                  </a:lnTo>
                  <a:lnTo>
                    <a:pt x="14" y="340"/>
                  </a:lnTo>
                  <a:lnTo>
                    <a:pt x="12" y="340"/>
                  </a:lnTo>
                  <a:lnTo>
                    <a:pt x="14" y="340"/>
                  </a:lnTo>
                  <a:lnTo>
                    <a:pt x="12" y="340"/>
                  </a:lnTo>
                  <a:lnTo>
                    <a:pt x="14" y="340"/>
                  </a:lnTo>
                  <a:lnTo>
                    <a:pt x="14" y="337"/>
                  </a:lnTo>
                  <a:close/>
                  <a:moveTo>
                    <a:pt x="69" y="337"/>
                  </a:moveTo>
                  <a:lnTo>
                    <a:pt x="69" y="340"/>
                  </a:lnTo>
                  <a:lnTo>
                    <a:pt x="67" y="340"/>
                  </a:lnTo>
                  <a:lnTo>
                    <a:pt x="69" y="340"/>
                  </a:lnTo>
                  <a:lnTo>
                    <a:pt x="69" y="337"/>
                  </a:lnTo>
                  <a:lnTo>
                    <a:pt x="69" y="340"/>
                  </a:lnTo>
                  <a:lnTo>
                    <a:pt x="69" y="337"/>
                  </a:lnTo>
                  <a:close/>
                  <a:moveTo>
                    <a:pt x="52" y="337"/>
                  </a:moveTo>
                  <a:lnTo>
                    <a:pt x="55" y="337"/>
                  </a:lnTo>
                  <a:lnTo>
                    <a:pt x="52" y="337"/>
                  </a:lnTo>
                  <a:close/>
                  <a:moveTo>
                    <a:pt x="271" y="337"/>
                  </a:moveTo>
                  <a:lnTo>
                    <a:pt x="271" y="340"/>
                  </a:lnTo>
                  <a:lnTo>
                    <a:pt x="271" y="337"/>
                  </a:lnTo>
                  <a:close/>
                  <a:moveTo>
                    <a:pt x="62" y="337"/>
                  </a:moveTo>
                  <a:lnTo>
                    <a:pt x="62" y="340"/>
                  </a:lnTo>
                  <a:lnTo>
                    <a:pt x="64" y="340"/>
                  </a:lnTo>
                  <a:lnTo>
                    <a:pt x="62" y="340"/>
                  </a:lnTo>
                  <a:lnTo>
                    <a:pt x="62" y="337"/>
                  </a:lnTo>
                  <a:close/>
                  <a:moveTo>
                    <a:pt x="24" y="337"/>
                  </a:moveTo>
                  <a:lnTo>
                    <a:pt x="24" y="340"/>
                  </a:lnTo>
                  <a:lnTo>
                    <a:pt x="24" y="337"/>
                  </a:lnTo>
                  <a:lnTo>
                    <a:pt x="24" y="340"/>
                  </a:lnTo>
                  <a:lnTo>
                    <a:pt x="24" y="337"/>
                  </a:lnTo>
                  <a:close/>
                  <a:moveTo>
                    <a:pt x="24" y="337"/>
                  </a:moveTo>
                  <a:lnTo>
                    <a:pt x="24" y="340"/>
                  </a:lnTo>
                  <a:lnTo>
                    <a:pt x="24" y="337"/>
                  </a:lnTo>
                  <a:lnTo>
                    <a:pt x="21" y="337"/>
                  </a:lnTo>
                  <a:lnTo>
                    <a:pt x="24" y="337"/>
                  </a:lnTo>
                  <a:close/>
                  <a:moveTo>
                    <a:pt x="36" y="337"/>
                  </a:moveTo>
                  <a:lnTo>
                    <a:pt x="36" y="340"/>
                  </a:lnTo>
                  <a:lnTo>
                    <a:pt x="36" y="337"/>
                  </a:lnTo>
                  <a:close/>
                  <a:moveTo>
                    <a:pt x="57" y="337"/>
                  </a:moveTo>
                  <a:lnTo>
                    <a:pt x="57" y="340"/>
                  </a:lnTo>
                  <a:lnTo>
                    <a:pt x="55" y="340"/>
                  </a:lnTo>
                  <a:lnTo>
                    <a:pt x="55" y="337"/>
                  </a:lnTo>
                  <a:lnTo>
                    <a:pt x="57" y="337"/>
                  </a:lnTo>
                  <a:lnTo>
                    <a:pt x="55" y="337"/>
                  </a:lnTo>
                  <a:lnTo>
                    <a:pt x="57" y="337"/>
                  </a:lnTo>
                  <a:lnTo>
                    <a:pt x="55" y="337"/>
                  </a:lnTo>
                  <a:lnTo>
                    <a:pt x="57" y="337"/>
                  </a:lnTo>
                  <a:close/>
                  <a:moveTo>
                    <a:pt x="74" y="337"/>
                  </a:moveTo>
                  <a:lnTo>
                    <a:pt x="74" y="340"/>
                  </a:lnTo>
                  <a:lnTo>
                    <a:pt x="74" y="337"/>
                  </a:lnTo>
                  <a:close/>
                  <a:moveTo>
                    <a:pt x="95" y="337"/>
                  </a:moveTo>
                  <a:lnTo>
                    <a:pt x="95" y="340"/>
                  </a:lnTo>
                  <a:lnTo>
                    <a:pt x="93" y="340"/>
                  </a:lnTo>
                  <a:lnTo>
                    <a:pt x="90" y="340"/>
                  </a:lnTo>
                  <a:lnTo>
                    <a:pt x="93" y="340"/>
                  </a:lnTo>
                  <a:lnTo>
                    <a:pt x="93" y="337"/>
                  </a:lnTo>
                  <a:lnTo>
                    <a:pt x="93" y="340"/>
                  </a:lnTo>
                  <a:lnTo>
                    <a:pt x="93" y="337"/>
                  </a:lnTo>
                  <a:lnTo>
                    <a:pt x="95" y="337"/>
                  </a:lnTo>
                  <a:close/>
                  <a:moveTo>
                    <a:pt x="256" y="337"/>
                  </a:moveTo>
                  <a:lnTo>
                    <a:pt x="254" y="337"/>
                  </a:lnTo>
                  <a:lnTo>
                    <a:pt x="256" y="340"/>
                  </a:lnTo>
                  <a:lnTo>
                    <a:pt x="256" y="337"/>
                  </a:lnTo>
                  <a:lnTo>
                    <a:pt x="256" y="340"/>
                  </a:lnTo>
                  <a:lnTo>
                    <a:pt x="256" y="337"/>
                  </a:lnTo>
                  <a:lnTo>
                    <a:pt x="256" y="340"/>
                  </a:lnTo>
                  <a:lnTo>
                    <a:pt x="254" y="340"/>
                  </a:lnTo>
                  <a:lnTo>
                    <a:pt x="254" y="337"/>
                  </a:lnTo>
                  <a:lnTo>
                    <a:pt x="256" y="337"/>
                  </a:lnTo>
                  <a:lnTo>
                    <a:pt x="254" y="337"/>
                  </a:lnTo>
                  <a:lnTo>
                    <a:pt x="256" y="337"/>
                  </a:lnTo>
                  <a:close/>
                  <a:moveTo>
                    <a:pt x="69" y="337"/>
                  </a:moveTo>
                  <a:lnTo>
                    <a:pt x="67" y="337"/>
                  </a:lnTo>
                  <a:lnTo>
                    <a:pt x="69" y="337"/>
                  </a:lnTo>
                  <a:close/>
                  <a:moveTo>
                    <a:pt x="78" y="337"/>
                  </a:moveTo>
                  <a:lnTo>
                    <a:pt x="78" y="340"/>
                  </a:lnTo>
                  <a:lnTo>
                    <a:pt x="78" y="337"/>
                  </a:lnTo>
                  <a:close/>
                  <a:moveTo>
                    <a:pt x="240" y="337"/>
                  </a:moveTo>
                  <a:lnTo>
                    <a:pt x="242" y="337"/>
                  </a:lnTo>
                  <a:lnTo>
                    <a:pt x="242" y="340"/>
                  </a:lnTo>
                  <a:lnTo>
                    <a:pt x="240" y="340"/>
                  </a:lnTo>
                  <a:lnTo>
                    <a:pt x="242" y="340"/>
                  </a:lnTo>
                  <a:lnTo>
                    <a:pt x="240" y="340"/>
                  </a:lnTo>
                  <a:lnTo>
                    <a:pt x="242" y="340"/>
                  </a:lnTo>
                  <a:lnTo>
                    <a:pt x="240" y="340"/>
                  </a:lnTo>
                  <a:lnTo>
                    <a:pt x="237" y="340"/>
                  </a:lnTo>
                  <a:lnTo>
                    <a:pt x="240" y="340"/>
                  </a:lnTo>
                  <a:lnTo>
                    <a:pt x="237" y="342"/>
                  </a:lnTo>
                  <a:lnTo>
                    <a:pt x="237" y="340"/>
                  </a:lnTo>
                  <a:lnTo>
                    <a:pt x="240" y="342"/>
                  </a:lnTo>
                  <a:lnTo>
                    <a:pt x="237" y="342"/>
                  </a:lnTo>
                  <a:lnTo>
                    <a:pt x="240" y="342"/>
                  </a:lnTo>
                  <a:lnTo>
                    <a:pt x="237" y="342"/>
                  </a:lnTo>
                  <a:lnTo>
                    <a:pt x="237" y="340"/>
                  </a:lnTo>
                  <a:lnTo>
                    <a:pt x="237" y="342"/>
                  </a:lnTo>
                  <a:lnTo>
                    <a:pt x="237" y="340"/>
                  </a:lnTo>
                  <a:lnTo>
                    <a:pt x="240" y="340"/>
                  </a:lnTo>
                  <a:lnTo>
                    <a:pt x="237" y="340"/>
                  </a:lnTo>
                  <a:lnTo>
                    <a:pt x="240" y="340"/>
                  </a:lnTo>
                  <a:lnTo>
                    <a:pt x="240" y="337"/>
                  </a:lnTo>
                  <a:close/>
                  <a:moveTo>
                    <a:pt x="266" y="337"/>
                  </a:moveTo>
                  <a:lnTo>
                    <a:pt x="263" y="337"/>
                  </a:lnTo>
                  <a:lnTo>
                    <a:pt x="266" y="337"/>
                  </a:lnTo>
                  <a:close/>
                  <a:moveTo>
                    <a:pt x="249" y="337"/>
                  </a:moveTo>
                  <a:lnTo>
                    <a:pt x="247" y="337"/>
                  </a:lnTo>
                  <a:lnTo>
                    <a:pt x="249" y="337"/>
                  </a:lnTo>
                  <a:close/>
                  <a:moveTo>
                    <a:pt x="78" y="337"/>
                  </a:moveTo>
                  <a:lnTo>
                    <a:pt x="76" y="337"/>
                  </a:lnTo>
                  <a:lnTo>
                    <a:pt x="78" y="337"/>
                  </a:lnTo>
                  <a:close/>
                  <a:moveTo>
                    <a:pt x="69" y="337"/>
                  </a:moveTo>
                  <a:lnTo>
                    <a:pt x="67" y="337"/>
                  </a:lnTo>
                  <a:lnTo>
                    <a:pt x="69" y="337"/>
                  </a:lnTo>
                  <a:close/>
                  <a:moveTo>
                    <a:pt x="76" y="337"/>
                  </a:moveTo>
                  <a:lnTo>
                    <a:pt x="76" y="340"/>
                  </a:lnTo>
                  <a:lnTo>
                    <a:pt x="76" y="337"/>
                  </a:lnTo>
                  <a:close/>
                  <a:moveTo>
                    <a:pt x="254" y="337"/>
                  </a:moveTo>
                  <a:lnTo>
                    <a:pt x="254" y="340"/>
                  </a:lnTo>
                  <a:lnTo>
                    <a:pt x="254" y="337"/>
                  </a:lnTo>
                  <a:close/>
                  <a:moveTo>
                    <a:pt x="31" y="337"/>
                  </a:moveTo>
                  <a:lnTo>
                    <a:pt x="29" y="337"/>
                  </a:lnTo>
                  <a:lnTo>
                    <a:pt x="31" y="337"/>
                  </a:lnTo>
                  <a:close/>
                  <a:moveTo>
                    <a:pt x="266" y="337"/>
                  </a:moveTo>
                  <a:lnTo>
                    <a:pt x="263" y="337"/>
                  </a:lnTo>
                  <a:lnTo>
                    <a:pt x="266" y="337"/>
                  </a:lnTo>
                  <a:close/>
                  <a:moveTo>
                    <a:pt x="266" y="337"/>
                  </a:moveTo>
                  <a:lnTo>
                    <a:pt x="268" y="337"/>
                  </a:lnTo>
                  <a:lnTo>
                    <a:pt x="266" y="337"/>
                  </a:lnTo>
                  <a:close/>
                  <a:moveTo>
                    <a:pt x="244" y="337"/>
                  </a:moveTo>
                  <a:lnTo>
                    <a:pt x="247" y="337"/>
                  </a:lnTo>
                  <a:lnTo>
                    <a:pt x="244" y="337"/>
                  </a:lnTo>
                  <a:lnTo>
                    <a:pt x="247" y="337"/>
                  </a:lnTo>
                  <a:lnTo>
                    <a:pt x="244" y="337"/>
                  </a:lnTo>
                  <a:close/>
                  <a:moveTo>
                    <a:pt x="221" y="337"/>
                  </a:moveTo>
                  <a:lnTo>
                    <a:pt x="218" y="337"/>
                  </a:lnTo>
                  <a:lnTo>
                    <a:pt x="221" y="337"/>
                  </a:lnTo>
                  <a:close/>
                  <a:moveTo>
                    <a:pt x="83" y="335"/>
                  </a:moveTo>
                  <a:lnTo>
                    <a:pt x="83" y="337"/>
                  </a:lnTo>
                  <a:lnTo>
                    <a:pt x="83" y="335"/>
                  </a:lnTo>
                  <a:lnTo>
                    <a:pt x="83" y="337"/>
                  </a:lnTo>
                  <a:lnTo>
                    <a:pt x="81" y="337"/>
                  </a:lnTo>
                  <a:lnTo>
                    <a:pt x="83" y="337"/>
                  </a:lnTo>
                  <a:lnTo>
                    <a:pt x="83" y="335"/>
                  </a:lnTo>
                  <a:close/>
                  <a:moveTo>
                    <a:pt x="52" y="337"/>
                  </a:moveTo>
                  <a:lnTo>
                    <a:pt x="52" y="335"/>
                  </a:lnTo>
                  <a:lnTo>
                    <a:pt x="52" y="337"/>
                  </a:lnTo>
                  <a:close/>
                  <a:moveTo>
                    <a:pt x="76" y="335"/>
                  </a:moveTo>
                  <a:lnTo>
                    <a:pt x="78" y="335"/>
                  </a:lnTo>
                  <a:lnTo>
                    <a:pt x="78" y="337"/>
                  </a:lnTo>
                  <a:lnTo>
                    <a:pt x="76" y="337"/>
                  </a:lnTo>
                  <a:lnTo>
                    <a:pt x="76" y="335"/>
                  </a:lnTo>
                  <a:close/>
                  <a:moveTo>
                    <a:pt x="67" y="335"/>
                  </a:moveTo>
                  <a:lnTo>
                    <a:pt x="67" y="337"/>
                  </a:lnTo>
                  <a:lnTo>
                    <a:pt x="67" y="335"/>
                  </a:lnTo>
                  <a:close/>
                  <a:moveTo>
                    <a:pt x="86" y="337"/>
                  </a:moveTo>
                  <a:lnTo>
                    <a:pt x="86" y="335"/>
                  </a:lnTo>
                  <a:lnTo>
                    <a:pt x="86" y="337"/>
                  </a:lnTo>
                  <a:close/>
                  <a:moveTo>
                    <a:pt x="88" y="335"/>
                  </a:moveTo>
                  <a:lnTo>
                    <a:pt x="88" y="337"/>
                  </a:lnTo>
                  <a:lnTo>
                    <a:pt x="90" y="337"/>
                  </a:lnTo>
                  <a:lnTo>
                    <a:pt x="90" y="340"/>
                  </a:lnTo>
                  <a:lnTo>
                    <a:pt x="88" y="340"/>
                  </a:lnTo>
                  <a:lnTo>
                    <a:pt x="88" y="337"/>
                  </a:lnTo>
                  <a:lnTo>
                    <a:pt x="86" y="337"/>
                  </a:lnTo>
                  <a:lnTo>
                    <a:pt x="86" y="335"/>
                  </a:lnTo>
                  <a:lnTo>
                    <a:pt x="88" y="335"/>
                  </a:lnTo>
                  <a:close/>
                  <a:moveTo>
                    <a:pt x="271" y="337"/>
                  </a:moveTo>
                  <a:lnTo>
                    <a:pt x="271" y="335"/>
                  </a:lnTo>
                  <a:lnTo>
                    <a:pt x="271" y="337"/>
                  </a:lnTo>
                  <a:close/>
                  <a:moveTo>
                    <a:pt x="78" y="335"/>
                  </a:moveTo>
                  <a:lnTo>
                    <a:pt x="76" y="335"/>
                  </a:lnTo>
                  <a:lnTo>
                    <a:pt x="78" y="335"/>
                  </a:lnTo>
                  <a:lnTo>
                    <a:pt x="76" y="335"/>
                  </a:lnTo>
                  <a:lnTo>
                    <a:pt x="78" y="335"/>
                  </a:lnTo>
                  <a:close/>
                  <a:moveTo>
                    <a:pt x="55" y="335"/>
                  </a:moveTo>
                  <a:lnTo>
                    <a:pt x="55" y="337"/>
                  </a:lnTo>
                  <a:lnTo>
                    <a:pt x="52" y="337"/>
                  </a:lnTo>
                  <a:lnTo>
                    <a:pt x="55" y="337"/>
                  </a:lnTo>
                  <a:lnTo>
                    <a:pt x="52" y="337"/>
                  </a:lnTo>
                  <a:lnTo>
                    <a:pt x="55" y="337"/>
                  </a:lnTo>
                  <a:lnTo>
                    <a:pt x="52" y="337"/>
                  </a:lnTo>
                  <a:lnTo>
                    <a:pt x="52" y="335"/>
                  </a:lnTo>
                  <a:lnTo>
                    <a:pt x="52" y="337"/>
                  </a:lnTo>
                  <a:lnTo>
                    <a:pt x="55" y="337"/>
                  </a:lnTo>
                  <a:lnTo>
                    <a:pt x="52" y="337"/>
                  </a:lnTo>
                  <a:lnTo>
                    <a:pt x="55" y="337"/>
                  </a:lnTo>
                  <a:lnTo>
                    <a:pt x="52" y="337"/>
                  </a:lnTo>
                  <a:lnTo>
                    <a:pt x="55" y="337"/>
                  </a:lnTo>
                  <a:lnTo>
                    <a:pt x="55" y="335"/>
                  </a:lnTo>
                  <a:lnTo>
                    <a:pt x="52" y="335"/>
                  </a:lnTo>
                  <a:lnTo>
                    <a:pt x="55" y="335"/>
                  </a:lnTo>
                  <a:close/>
                  <a:moveTo>
                    <a:pt x="83" y="335"/>
                  </a:moveTo>
                  <a:lnTo>
                    <a:pt x="86" y="335"/>
                  </a:lnTo>
                  <a:lnTo>
                    <a:pt x="86" y="337"/>
                  </a:lnTo>
                  <a:lnTo>
                    <a:pt x="86" y="335"/>
                  </a:lnTo>
                  <a:lnTo>
                    <a:pt x="86" y="337"/>
                  </a:lnTo>
                  <a:lnTo>
                    <a:pt x="88" y="340"/>
                  </a:lnTo>
                  <a:lnTo>
                    <a:pt x="86" y="340"/>
                  </a:lnTo>
                  <a:lnTo>
                    <a:pt x="88" y="340"/>
                  </a:lnTo>
                  <a:lnTo>
                    <a:pt x="88" y="342"/>
                  </a:lnTo>
                  <a:lnTo>
                    <a:pt x="88" y="340"/>
                  </a:lnTo>
                  <a:lnTo>
                    <a:pt x="88" y="342"/>
                  </a:lnTo>
                  <a:lnTo>
                    <a:pt x="86" y="342"/>
                  </a:lnTo>
                  <a:lnTo>
                    <a:pt x="88" y="342"/>
                  </a:lnTo>
                  <a:lnTo>
                    <a:pt x="90" y="342"/>
                  </a:lnTo>
                  <a:lnTo>
                    <a:pt x="88" y="342"/>
                  </a:lnTo>
                  <a:lnTo>
                    <a:pt x="90" y="342"/>
                  </a:lnTo>
                  <a:lnTo>
                    <a:pt x="88" y="344"/>
                  </a:lnTo>
                  <a:lnTo>
                    <a:pt x="88" y="342"/>
                  </a:lnTo>
                  <a:lnTo>
                    <a:pt x="90" y="342"/>
                  </a:lnTo>
                  <a:lnTo>
                    <a:pt x="88" y="342"/>
                  </a:lnTo>
                  <a:lnTo>
                    <a:pt x="88" y="344"/>
                  </a:lnTo>
                  <a:lnTo>
                    <a:pt x="88" y="342"/>
                  </a:lnTo>
                  <a:lnTo>
                    <a:pt x="86" y="342"/>
                  </a:lnTo>
                  <a:lnTo>
                    <a:pt x="83" y="342"/>
                  </a:lnTo>
                  <a:lnTo>
                    <a:pt x="86" y="342"/>
                  </a:lnTo>
                  <a:lnTo>
                    <a:pt x="83" y="342"/>
                  </a:lnTo>
                  <a:lnTo>
                    <a:pt x="83" y="340"/>
                  </a:lnTo>
                  <a:lnTo>
                    <a:pt x="83" y="342"/>
                  </a:lnTo>
                  <a:lnTo>
                    <a:pt x="83" y="340"/>
                  </a:lnTo>
                  <a:lnTo>
                    <a:pt x="81" y="340"/>
                  </a:lnTo>
                  <a:lnTo>
                    <a:pt x="83" y="340"/>
                  </a:lnTo>
                  <a:lnTo>
                    <a:pt x="81" y="340"/>
                  </a:lnTo>
                  <a:lnTo>
                    <a:pt x="83" y="340"/>
                  </a:lnTo>
                  <a:lnTo>
                    <a:pt x="81" y="340"/>
                  </a:lnTo>
                  <a:lnTo>
                    <a:pt x="83" y="340"/>
                  </a:lnTo>
                  <a:lnTo>
                    <a:pt x="83" y="337"/>
                  </a:lnTo>
                  <a:lnTo>
                    <a:pt x="83" y="340"/>
                  </a:lnTo>
                  <a:lnTo>
                    <a:pt x="81" y="340"/>
                  </a:lnTo>
                  <a:lnTo>
                    <a:pt x="81" y="337"/>
                  </a:lnTo>
                  <a:lnTo>
                    <a:pt x="83" y="340"/>
                  </a:lnTo>
                  <a:lnTo>
                    <a:pt x="83" y="337"/>
                  </a:lnTo>
                  <a:lnTo>
                    <a:pt x="81" y="337"/>
                  </a:lnTo>
                  <a:lnTo>
                    <a:pt x="83" y="337"/>
                  </a:lnTo>
                  <a:lnTo>
                    <a:pt x="83" y="335"/>
                  </a:lnTo>
                  <a:close/>
                  <a:moveTo>
                    <a:pt x="74" y="335"/>
                  </a:moveTo>
                  <a:lnTo>
                    <a:pt x="71" y="335"/>
                  </a:lnTo>
                  <a:lnTo>
                    <a:pt x="74" y="335"/>
                  </a:lnTo>
                  <a:close/>
                  <a:moveTo>
                    <a:pt x="57" y="335"/>
                  </a:moveTo>
                  <a:lnTo>
                    <a:pt x="59" y="335"/>
                  </a:lnTo>
                  <a:lnTo>
                    <a:pt x="57" y="335"/>
                  </a:lnTo>
                  <a:lnTo>
                    <a:pt x="59" y="335"/>
                  </a:lnTo>
                  <a:lnTo>
                    <a:pt x="59" y="337"/>
                  </a:lnTo>
                  <a:lnTo>
                    <a:pt x="57" y="337"/>
                  </a:lnTo>
                  <a:lnTo>
                    <a:pt x="57" y="335"/>
                  </a:lnTo>
                  <a:lnTo>
                    <a:pt x="57" y="337"/>
                  </a:lnTo>
                  <a:lnTo>
                    <a:pt x="57" y="335"/>
                  </a:lnTo>
                  <a:close/>
                  <a:moveTo>
                    <a:pt x="57" y="335"/>
                  </a:moveTo>
                  <a:lnTo>
                    <a:pt x="59" y="335"/>
                  </a:lnTo>
                  <a:lnTo>
                    <a:pt x="57" y="335"/>
                  </a:lnTo>
                  <a:close/>
                  <a:moveTo>
                    <a:pt x="62" y="335"/>
                  </a:moveTo>
                  <a:lnTo>
                    <a:pt x="64" y="335"/>
                  </a:lnTo>
                  <a:lnTo>
                    <a:pt x="62" y="335"/>
                  </a:lnTo>
                  <a:close/>
                  <a:moveTo>
                    <a:pt x="78" y="335"/>
                  </a:moveTo>
                  <a:lnTo>
                    <a:pt x="76" y="335"/>
                  </a:lnTo>
                  <a:lnTo>
                    <a:pt x="78" y="335"/>
                  </a:lnTo>
                  <a:lnTo>
                    <a:pt x="76" y="335"/>
                  </a:lnTo>
                  <a:lnTo>
                    <a:pt x="78" y="335"/>
                  </a:lnTo>
                  <a:close/>
                  <a:moveTo>
                    <a:pt x="69" y="335"/>
                  </a:moveTo>
                  <a:lnTo>
                    <a:pt x="67" y="335"/>
                  </a:lnTo>
                  <a:lnTo>
                    <a:pt x="67" y="333"/>
                  </a:lnTo>
                  <a:lnTo>
                    <a:pt x="69" y="335"/>
                  </a:lnTo>
                  <a:close/>
                  <a:moveTo>
                    <a:pt x="86" y="333"/>
                  </a:moveTo>
                  <a:lnTo>
                    <a:pt x="86" y="335"/>
                  </a:lnTo>
                  <a:lnTo>
                    <a:pt x="86" y="333"/>
                  </a:lnTo>
                  <a:close/>
                  <a:moveTo>
                    <a:pt x="86" y="335"/>
                  </a:moveTo>
                  <a:lnTo>
                    <a:pt x="86" y="333"/>
                  </a:lnTo>
                  <a:lnTo>
                    <a:pt x="86" y="335"/>
                  </a:lnTo>
                  <a:close/>
                  <a:moveTo>
                    <a:pt x="62" y="333"/>
                  </a:moveTo>
                  <a:lnTo>
                    <a:pt x="62" y="335"/>
                  </a:lnTo>
                  <a:lnTo>
                    <a:pt x="62" y="333"/>
                  </a:lnTo>
                  <a:close/>
                  <a:moveTo>
                    <a:pt x="74" y="335"/>
                  </a:moveTo>
                  <a:lnTo>
                    <a:pt x="71" y="335"/>
                  </a:lnTo>
                  <a:lnTo>
                    <a:pt x="74" y="335"/>
                  </a:lnTo>
                  <a:lnTo>
                    <a:pt x="74" y="333"/>
                  </a:lnTo>
                  <a:lnTo>
                    <a:pt x="74" y="335"/>
                  </a:lnTo>
                  <a:close/>
                  <a:moveTo>
                    <a:pt x="52" y="333"/>
                  </a:moveTo>
                  <a:lnTo>
                    <a:pt x="52" y="335"/>
                  </a:lnTo>
                  <a:lnTo>
                    <a:pt x="52" y="333"/>
                  </a:lnTo>
                  <a:lnTo>
                    <a:pt x="52" y="335"/>
                  </a:lnTo>
                  <a:lnTo>
                    <a:pt x="52" y="333"/>
                  </a:lnTo>
                  <a:lnTo>
                    <a:pt x="50" y="333"/>
                  </a:lnTo>
                  <a:lnTo>
                    <a:pt x="52" y="333"/>
                  </a:lnTo>
                  <a:close/>
                  <a:moveTo>
                    <a:pt x="57" y="333"/>
                  </a:moveTo>
                  <a:lnTo>
                    <a:pt x="59" y="333"/>
                  </a:lnTo>
                  <a:lnTo>
                    <a:pt x="59" y="335"/>
                  </a:lnTo>
                  <a:lnTo>
                    <a:pt x="57" y="335"/>
                  </a:lnTo>
                  <a:lnTo>
                    <a:pt x="57" y="333"/>
                  </a:lnTo>
                  <a:close/>
                  <a:moveTo>
                    <a:pt x="57" y="333"/>
                  </a:moveTo>
                  <a:lnTo>
                    <a:pt x="55" y="333"/>
                  </a:lnTo>
                  <a:lnTo>
                    <a:pt x="57" y="333"/>
                  </a:lnTo>
                  <a:close/>
                  <a:moveTo>
                    <a:pt x="81" y="333"/>
                  </a:moveTo>
                  <a:lnTo>
                    <a:pt x="81" y="335"/>
                  </a:lnTo>
                  <a:lnTo>
                    <a:pt x="78" y="335"/>
                  </a:lnTo>
                  <a:lnTo>
                    <a:pt x="81" y="335"/>
                  </a:lnTo>
                  <a:lnTo>
                    <a:pt x="78" y="335"/>
                  </a:lnTo>
                  <a:lnTo>
                    <a:pt x="81" y="335"/>
                  </a:lnTo>
                  <a:lnTo>
                    <a:pt x="81" y="337"/>
                  </a:lnTo>
                  <a:lnTo>
                    <a:pt x="78" y="337"/>
                  </a:lnTo>
                  <a:lnTo>
                    <a:pt x="78" y="335"/>
                  </a:lnTo>
                  <a:lnTo>
                    <a:pt x="78" y="333"/>
                  </a:lnTo>
                  <a:lnTo>
                    <a:pt x="81" y="333"/>
                  </a:lnTo>
                  <a:close/>
                  <a:moveTo>
                    <a:pt x="74" y="333"/>
                  </a:moveTo>
                  <a:lnTo>
                    <a:pt x="71" y="333"/>
                  </a:lnTo>
                  <a:lnTo>
                    <a:pt x="74" y="333"/>
                  </a:lnTo>
                  <a:lnTo>
                    <a:pt x="74" y="330"/>
                  </a:lnTo>
                  <a:lnTo>
                    <a:pt x="74" y="333"/>
                  </a:lnTo>
                  <a:close/>
                  <a:moveTo>
                    <a:pt x="74" y="330"/>
                  </a:moveTo>
                  <a:lnTo>
                    <a:pt x="74" y="333"/>
                  </a:lnTo>
                  <a:lnTo>
                    <a:pt x="74" y="330"/>
                  </a:lnTo>
                  <a:lnTo>
                    <a:pt x="74" y="333"/>
                  </a:lnTo>
                  <a:lnTo>
                    <a:pt x="74" y="330"/>
                  </a:lnTo>
                  <a:close/>
                  <a:moveTo>
                    <a:pt x="71" y="330"/>
                  </a:moveTo>
                  <a:lnTo>
                    <a:pt x="71" y="333"/>
                  </a:lnTo>
                  <a:lnTo>
                    <a:pt x="71" y="330"/>
                  </a:lnTo>
                  <a:close/>
                  <a:moveTo>
                    <a:pt x="74" y="330"/>
                  </a:moveTo>
                  <a:lnTo>
                    <a:pt x="71" y="330"/>
                  </a:lnTo>
                  <a:lnTo>
                    <a:pt x="74" y="330"/>
                  </a:lnTo>
                  <a:close/>
                  <a:moveTo>
                    <a:pt x="78" y="330"/>
                  </a:moveTo>
                  <a:lnTo>
                    <a:pt x="78" y="333"/>
                  </a:lnTo>
                  <a:lnTo>
                    <a:pt x="78" y="330"/>
                  </a:lnTo>
                  <a:close/>
                  <a:moveTo>
                    <a:pt x="81" y="330"/>
                  </a:moveTo>
                  <a:lnTo>
                    <a:pt x="81" y="333"/>
                  </a:lnTo>
                  <a:lnTo>
                    <a:pt x="78" y="333"/>
                  </a:lnTo>
                  <a:lnTo>
                    <a:pt x="78" y="330"/>
                  </a:lnTo>
                  <a:lnTo>
                    <a:pt x="81" y="330"/>
                  </a:lnTo>
                  <a:close/>
                  <a:moveTo>
                    <a:pt x="62" y="330"/>
                  </a:moveTo>
                  <a:lnTo>
                    <a:pt x="62" y="333"/>
                  </a:lnTo>
                  <a:lnTo>
                    <a:pt x="62" y="330"/>
                  </a:lnTo>
                  <a:lnTo>
                    <a:pt x="62" y="333"/>
                  </a:lnTo>
                  <a:lnTo>
                    <a:pt x="62" y="330"/>
                  </a:lnTo>
                  <a:lnTo>
                    <a:pt x="62" y="333"/>
                  </a:lnTo>
                  <a:lnTo>
                    <a:pt x="62" y="330"/>
                  </a:lnTo>
                  <a:close/>
                  <a:moveTo>
                    <a:pt x="64" y="330"/>
                  </a:moveTo>
                  <a:lnTo>
                    <a:pt x="64" y="333"/>
                  </a:lnTo>
                  <a:lnTo>
                    <a:pt x="67" y="333"/>
                  </a:lnTo>
                  <a:lnTo>
                    <a:pt x="67" y="335"/>
                  </a:lnTo>
                  <a:lnTo>
                    <a:pt x="64" y="335"/>
                  </a:lnTo>
                  <a:lnTo>
                    <a:pt x="64" y="333"/>
                  </a:lnTo>
                  <a:lnTo>
                    <a:pt x="64" y="330"/>
                  </a:lnTo>
                  <a:close/>
                  <a:moveTo>
                    <a:pt x="81" y="330"/>
                  </a:moveTo>
                  <a:lnTo>
                    <a:pt x="78" y="330"/>
                  </a:lnTo>
                  <a:lnTo>
                    <a:pt x="81" y="330"/>
                  </a:lnTo>
                  <a:close/>
                  <a:moveTo>
                    <a:pt x="62" y="328"/>
                  </a:moveTo>
                  <a:lnTo>
                    <a:pt x="62" y="330"/>
                  </a:lnTo>
                  <a:lnTo>
                    <a:pt x="64" y="330"/>
                  </a:lnTo>
                  <a:lnTo>
                    <a:pt x="62" y="330"/>
                  </a:lnTo>
                  <a:lnTo>
                    <a:pt x="64" y="330"/>
                  </a:lnTo>
                  <a:lnTo>
                    <a:pt x="62" y="330"/>
                  </a:lnTo>
                  <a:lnTo>
                    <a:pt x="62" y="328"/>
                  </a:lnTo>
                  <a:lnTo>
                    <a:pt x="62" y="330"/>
                  </a:lnTo>
                  <a:lnTo>
                    <a:pt x="62" y="328"/>
                  </a:lnTo>
                  <a:lnTo>
                    <a:pt x="62" y="330"/>
                  </a:lnTo>
                  <a:lnTo>
                    <a:pt x="62" y="328"/>
                  </a:lnTo>
                  <a:close/>
                  <a:moveTo>
                    <a:pt x="62" y="328"/>
                  </a:moveTo>
                  <a:lnTo>
                    <a:pt x="64" y="328"/>
                  </a:lnTo>
                  <a:lnTo>
                    <a:pt x="64" y="330"/>
                  </a:lnTo>
                  <a:lnTo>
                    <a:pt x="62" y="328"/>
                  </a:lnTo>
                  <a:close/>
                  <a:moveTo>
                    <a:pt x="69" y="328"/>
                  </a:moveTo>
                  <a:lnTo>
                    <a:pt x="67" y="328"/>
                  </a:lnTo>
                  <a:lnTo>
                    <a:pt x="69" y="328"/>
                  </a:lnTo>
                  <a:close/>
                  <a:moveTo>
                    <a:pt x="55" y="328"/>
                  </a:moveTo>
                  <a:lnTo>
                    <a:pt x="55" y="325"/>
                  </a:lnTo>
                  <a:lnTo>
                    <a:pt x="55" y="328"/>
                  </a:lnTo>
                  <a:close/>
                  <a:moveTo>
                    <a:pt x="67" y="325"/>
                  </a:moveTo>
                  <a:lnTo>
                    <a:pt x="67" y="328"/>
                  </a:lnTo>
                  <a:lnTo>
                    <a:pt x="69" y="328"/>
                  </a:lnTo>
                  <a:lnTo>
                    <a:pt x="67" y="328"/>
                  </a:lnTo>
                  <a:lnTo>
                    <a:pt x="67" y="325"/>
                  </a:lnTo>
                  <a:close/>
                  <a:moveTo>
                    <a:pt x="64" y="325"/>
                  </a:moveTo>
                  <a:lnTo>
                    <a:pt x="67" y="325"/>
                  </a:lnTo>
                  <a:lnTo>
                    <a:pt x="67" y="328"/>
                  </a:lnTo>
                  <a:lnTo>
                    <a:pt x="67" y="325"/>
                  </a:lnTo>
                  <a:lnTo>
                    <a:pt x="67" y="328"/>
                  </a:lnTo>
                  <a:lnTo>
                    <a:pt x="67" y="330"/>
                  </a:lnTo>
                  <a:lnTo>
                    <a:pt x="69" y="330"/>
                  </a:lnTo>
                  <a:lnTo>
                    <a:pt x="67" y="330"/>
                  </a:lnTo>
                  <a:lnTo>
                    <a:pt x="69" y="330"/>
                  </a:lnTo>
                  <a:lnTo>
                    <a:pt x="71" y="330"/>
                  </a:lnTo>
                  <a:lnTo>
                    <a:pt x="69" y="330"/>
                  </a:lnTo>
                  <a:lnTo>
                    <a:pt x="71" y="330"/>
                  </a:lnTo>
                  <a:lnTo>
                    <a:pt x="69" y="333"/>
                  </a:lnTo>
                  <a:lnTo>
                    <a:pt x="69" y="330"/>
                  </a:lnTo>
                  <a:lnTo>
                    <a:pt x="69" y="333"/>
                  </a:lnTo>
                  <a:lnTo>
                    <a:pt x="69" y="330"/>
                  </a:lnTo>
                  <a:lnTo>
                    <a:pt x="69" y="333"/>
                  </a:lnTo>
                  <a:lnTo>
                    <a:pt x="71" y="333"/>
                  </a:lnTo>
                  <a:lnTo>
                    <a:pt x="74" y="333"/>
                  </a:lnTo>
                  <a:lnTo>
                    <a:pt x="71" y="333"/>
                  </a:lnTo>
                  <a:lnTo>
                    <a:pt x="71" y="335"/>
                  </a:lnTo>
                  <a:lnTo>
                    <a:pt x="71" y="333"/>
                  </a:lnTo>
                  <a:lnTo>
                    <a:pt x="71" y="335"/>
                  </a:lnTo>
                  <a:lnTo>
                    <a:pt x="69" y="335"/>
                  </a:lnTo>
                  <a:lnTo>
                    <a:pt x="69" y="333"/>
                  </a:lnTo>
                  <a:lnTo>
                    <a:pt x="67" y="333"/>
                  </a:lnTo>
                  <a:lnTo>
                    <a:pt x="69" y="333"/>
                  </a:lnTo>
                  <a:lnTo>
                    <a:pt x="67" y="333"/>
                  </a:lnTo>
                  <a:lnTo>
                    <a:pt x="64" y="330"/>
                  </a:lnTo>
                  <a:lnTo>
                    <a:pt x="67" y="330"/>
                  </a:lnTo>
                  <a:lnTo>
                    <a:pt x="67" y="333"/>
                  </a:lnTo>
                  <a:lnTo>
                    <a:pt x="67" y="330"/>
                  </a:lnTo>
                  <a:lnTo>
                    <a:pt x="67" y="333"/>
                  </a:lnTo>
                  <a:lnTo>
                    <a:pt x="67" y="330"/>
                  </a:lnTo>
                  <a:lnTo>
                    <a:pt x="69" y="330"/>
                  </a:lnTo>
                  <a:lnTo>
                    <a:pt x="67" y="330"/>
                  </a:lnTo>
                  <a:lnTo>
                    <a:pt x="67" y="328"/>
                  </a:lnTo>
                  <a:lnTo>
                    <a:pt x="67" y="330"/>
                  </a:lnTo>
                  <a:lnTo>
                    <a:pt x="67" y="328"/>
                  </a:lnTo>
                  <a:lnTo>
                    <a:pt x="67" y="330"/>
                  </a:lnTo>
                  <a:lnTo>
                    <a:pt x="64" y="330"/>
                  </a:lnTo>
                  <a:lnTo>
                    <a:pt x="64" y="328"/>
                  </a:lnTo>
                  <a:lnTo>
                    <a:pt x="64" y="330"/>
                  </a:lnTo>
                  <a:lnTo>
                    <a:pt x="64" y="328"/>
                  </a:lnTo>
                  <a:lnTo>
                    <a:pt x="64" y="330"/>
                  </a:lnTo>
                  <a:lnTo>
                    <a:pt x="64" y="328"/>
                  </a:lnTo>
                  <a:lnTo>
                    <a:pt x="64" y="330"/>
                  </a:lnTo>
                  <a:lnTo>
                    <a:pt x="64" y="328"/>
                  </a:lnTo>
                  <a:lnTo>
                    <a:pt x="62" y="328"/>
                  </a:lnTo>
                  <a:lnTo>
                    <a:pt x="64" y="328"/>
                  </a:lnTo>
                  <a:lnTo>
                    <a:pt x="62" y="328"/>
                  </a:lnTo>
                  <a:lnTo>
                    <a:pt x="64" y="328"/>
                  </a:lnTo>
                  <a:lnTo>
                    <a:pt x="64" y="325"/>
                  </a:lnTo>
                  <a:lnTo>
                    <a:pt x="64" y="328"/>
                  </a:lnTo>
                  <a:lnTo>
                    <a:pt x="64" y="325"/>
                  </a:lnTo>
                  <a:close/>
                  <a:moveTo>
                    <a:pt x="67" y="323"/>
                  </a:moveTo>
                  <a:lnTo>
                    <a:pt x="64" y="323"/>
                  </a:lnTo>
                  <a:lnTo>
                    <a:pt x="67" y="323"/>
                  </a:lnTo>
                  <a:close/>
                  <a:moveTo>
                    <a:pt x="67" y="323"/>
                  </a:moveTo>
                  <a:lnTo>
                    <a:pt x="64" y="323"/>
                  </a:lnTo>
                  <a:lnTo>
                    <a:pt x="67" y="323"/>
                  </a:lnTo>
                  <a:close/>
                  <a:moveTo>
                    <a:pt x="57" y="323"/>
                  </a:moveTo>
                  <a:lnTo>
                    <a:pt x="55" y="323"/>
                  </a:lnTo>
                  <a:lnTo>
                    <a:pt x="57" y="323"/>
                  </a:lnTo>
                  <a:close/>
                  <a:moveTo>
                    <a:pt x="67" y="321"/>
                  </a:moveTo>
                  <a:lnTo>
                    <a:pt x="69" y="321"/>
                  </a:lnTo>
                  <a:lnTo>
                    <a:pt x="67" y="321"/>
                  </a:lnTo>
                  <a:lnTo>
                    <a:pt x="67" y="323"/>
                  </a:lnTo>
                  <a:lnTo>
                    <a:pt x="67" y="321"/>
                  </a:lnTo>
                  <a:close/>
                  <a:moveTo>
                    <a:pt x="69" y="321"/>
                  </a:moveTo>
                  <a:lnTo>
                    <a:pt x="67" y="321"/>
                  </a:lnTo>
                  <a:lnTo>
                    <a:pt x="69" y="321"/>
                  </a:lnTo>
                  <a:close/>
                  <a:moveTo>
                    <a:pt x="64" y="321"/>
                  </a:moveTo>
                  <a:lnTo>
                    <a:pt x="67" y="321"/>
                  </a:lnTo>
                  <a:lnTo>
                    <a:pt x="64" y="321"/>
                  </a:lnTo>
                  <a:close/>
                  <a:moveTo>
                    <a:pt x="64" y="321"/>
                  </a:moveTo>
                  <a:lnTo>
                    <a:pt x="64" y="318"/>
                  </a:lnTo>
                  <a:lnTo>
                    <a:pt x="64" y="321"/>
                  </a:lnTo>
                  <a:close/>
                  <a:moveTo>
                    <a:pt x="67" y="318"/>
                  </a:moveTo>
                  <a:lnTo>
                    <a:pt x="64" y="318"/>
                  </a:lnTo>
                  <a:lnTo>
                    <a:pt x="67" y="318"/>
                  </a:lnTo>
                  <a:lnTo>
                    <a:pt x="64" y="318"/>
                  </a:lnTo>
                  <a:lnTo>
                    <a:pt x="67" y="318"/>
                  </a:lnTo>
                  <a:lnTo>
                    <a:pt x="64" y="318"/>
                  </a:lnTo>
                  <a:lnTo>
                    <a:pt x="67" y="318"/>
                  </a:lnTo>
                  <a:close/>
                  <a:moveTo>
                    <a:pt x="59" y="318"/>
                  </a:moveTo>
                  <a:lnTo>
                    <a:pt x="62" y="318"/>
                  </a:lnTo>
                  <a:lnTo>
                    <a:pt x="62" y="321"/>
                  </a:lnTo>
                  <a:lnTo>
                    <a:pt x="59" y="321"/>
                  </a:lnTo>
                  <a:lnTo>
                    <a:pt x="59" y="318"/>
                  </a:lnTo>
                  <a:lnTo>
                    <a:pt x="59" y="321"/>
                  </a:lnTo>
                  <a:lnTo>
                    <a:pt x="59" y="318"/>
                  </a:lnTo>
                  <a:close/>
                  <a:moveTo>
                    <a:pt x="64" y="318"/>
                  </a:moveTo>
                  <a:lnTo>
                    <a:pt x="67" y="318"/>
                  </a:lnTo>
                  <a:lnTo>
                    <a:pt x="64" y="318"/>
                  </a:lnTo>
                  <a:close/>
                  <a:moveTo>
                    <a:pt x="67" y="318"/>
                  </a:moveTo>
                  <a:lnTo>
                    <a:pt x="64" y="318"/>
                  </a:lnTo>
                  <a:lnTo>
                    <a:pt x="67" y="318"/>
                  </a:lnTo>
                  <a:close/>
                  <a:moveTo>
                    <a:pt x="62" y="316"/>
                  </a:moveTo>
                  <a:lnTo>
                    <a:pt x="62" y="318"/>
                  </a:lnTo>
                  <a:lnTo>
                    <a:pt x="62" y="316"/>
                  </a:lnTo>
                  <a:close/>
                  <a:moveTo>
                    <a:pt x="55" y="316"/>
                  </a:moveTo>
                  <a:lnTo>
                    <a:pt x="57" y="316"/>
                  </a:lnTo>
                  <a:lnTo>
                    <a:pt x="55" y="316"/>
                  </a:lnTo>
                  <a:close/>
                  <a:moveTo>
                    <a:pt x="62" y="316"/>
                  </a:moveTo>
                  <a:lnTo>
                    <a:pt x="59" y="316"/>
                  </a:lnTo>
                  <a:lnTo>
                    <a:pt x="62" y="316"/>
                  </a:lnTo>
                  <a:lnTo>
                    <a:pt x="59" y="316"/>
                  </a:lnTo>
                  <a:lnTo>
                    <a:pt x="62" y="316"/>
                  </a:lnTo>
                  <a:close/>
                  <a:moveTo>
                    <a:pt x="62" y="316"/>
                  </a:moveTo>
                  <a:lnTo>
                    <a:pt x="59" y="316"/>
                  </a:lnTo>
                  <a:lnTo>
                    <a:pt x="62" y="316"/>
                  </a:lnTo>
                  <a:close/>
                  <a:moveTo>
                    <a:pt x="62" y="314"/>
                  </a:moveTo>
                  <a:lnTo>
                    <a:pt x="64" y="314"/>
                  </a:lnTo>
                  <a:lnTo>
                    <a:pt x="62" y="314"/>
                  </a:lnTo>
                  <a:lnTo>
                    <a:pt x="64" y="314"/>
                  </a:lnTo>
                  <a:lnTo>
                    <a:pt x="64" y="316"/>
                  </a:lnTo>
                  <a:lnTo>
                    <a:pt x="64" y="314"/>
                  </a:lnTo>
                  <a:lnTo>
                    <a:pt x="64" y="316"/>
                  </a:lnTo>
                  <a:lnTo>
                    <a:pt x="64" y="314"/>
                  </a:lnTo>
                  <a:lnTo>
                    <a:pt x="64" y="316"/>
                  </a:lnTo>
                  <a:lnTo>
                    <a:pt x="62" y="316"/>
                  </a:lnTo>
                  <a:lnTo>
                    <a:pt x="64" y="316"/>
                  </a:lnTo>
                  <a:lnTo>
                    <a:pt x="62" y="316"/>
                  </a:lnTo>
                  <a:lnTo>
                    <a:pt x="64" y="316"/>
                  </a:lnTo>
                  <a:lnTo>
                    <a:pt x="62" y="316"/>
                  </a:lnTo>
                  <a:lnTo>
                    <a:pt x="64" y="316"/>
                  </a:lnTo>
                  <a:lnTo>
                    <a:pt x="64" y="318"/>
                  </a:lnTo>
                  <a:lnTo>
                    <a:pt x="67" y="318"/>
                  </a:lnTo>
                  <a:lnTo>
                    <a:pt x="64" y="318"/>
                  </a:lnTo>
                  <a:lnTo>
                    <a:pt x="64" y="316"/>
                  </a:lnTo>
                  <a:lnTo>
                    <a:pt x="67" y="316"/>
                  </a:lnTo>
                  <a:lnTo>
                    <a:pt x="67" y="318"/>
                  </a:lnTo>
                  <a:lnTo>
                    <a:pt x="64" y="318"/>
                  </a:lnTo>
                  <a:lnTo>
                    <a:pt x="64" y="316"/>
                  </a:lnTo>
                  <a:lnTo>
                    <a:pt x="64" y="318"/>
                  </a:lnTo>
                  <a:lnTo>
                    <a:pt x="64" y="316"/>
                  </a:lnTo>
                  <a:lnTo>
                    <a:pt x="62" y="316"/>
                  </a:lnTo>
                  <a:lnTo>
                    <a:pt x="64" y="316"/>
                  </a:lnTo>
                  <a:lnTo>
                    <a:pt x="62" y="316"/>
                  </a:lnTo>
                  <a:lnTo>
                    <a:pt x="62" y="314"/>
                  </a:lnTo>
                  <a:lnTo>
                    <a:pt x="62" y="316"/>
                  </a:lnTo>
                  <a:lnTo>
                    <a:pt x="62" y="314"/>
                  </a:lnTo>
                  <a:close/>
                  <a:moveTo>
                    <a:pt x="62" y="311"/>
                  </a:moveTo>
                  <a:lnTo>
                    <a:pt x="59" y="311"/>
                  </a:lnTo>
                  <a:lnTo>
                    <a:pt x="62" y="311"/>
                  </a:lnTo>
                  <a:close/>
                  <a:moveTo>
                    <a:pt x="67" y="306"/>
                  </a:moveTo>
                  <a:lnTo>
                    <a:pt x="67" y="309"/>
                  </a:lnTo>
                  <a:lnTo>
                    <a:pt x="67" y="306"/>
                  </a:lnTo>
                  <a:close/>
                  <a:moveTo>
                    <a:pt x="71" y="297"/>
                  </a:moveTo>
                  <a:lnTo>
                    <a:pt x="69" y="297"/>
                  </a:lnTo>
                  <a:lnTo>
                    <a:pt x="71" y="297"/>
                  </a:lnTo>
                  <a:close/>
                  <a:moveTo>
                    <a:pt x="69" y="297"/>
                  </a:moveTo>
                  <a:lnTo>
                    <a:pt x="67" y="297"/>
                  </a:lnTo>
                  <a:lnTo>
                    <a:pt x="69" y="297"/>
                  </a:lnTo>
                  <a:lnTo>
                    <a:pt x="67" y="297"/>
                  </a:lnTo>
                  <a:lnTo>
                    <a:pt x="69" y="297"/>
                  </a:lnTo>
                  <a:lnTo>
                    <a:pt x="69" y="299"/>
                  </a:lnTo>
                  <a:lnTo>
                    <a:pt x="69" y="297"/>
                  </a:lnTo>
                  <a:lnTo>
                    <a:pt x="69" y="299"/>
                  </a:lnTo>
                  <a:lnTo>
                    <a:pt x="71" y="299"/>
                  </a:lnTo>
                  <a:lnTo>
                    <a:pt x="69" y="299"/>
                  </a:lnTo>
                  <a:lnTo>
                    <a:pt x="67" y="299"/>
                  </a:lnTo>
                  <a:lnTo>
                    <a:pt x="67" y="297"/>
                  </a:lnTo>
                  <a:lnTo>
                    <a:pt x="69" y="297"/>
                  </a:lnTo>
                  <a:close/>
                  <a:moveTo>
                    <a:pt x="71" y="297"/>
                  </a:moveTo>
                  <a:lnTo>
                    <a:pt x="69" y="297"/>
                  </a:lnTo>
                  <a:lnTo>
                    <a:pt x="71" y="297"/>
                  </a:lnTo>
                  <a:lnTo>
                    <a:pt x="69" y="297"/>
                  </a:lnTo>
                  <a:lnTo>
                    <a:pt x="71" y="297"/>
                  </a:lnTo>
                  <a:lnTo>
                    <a:pt x="69" y="297"/>
                  </a:lnTo>
                  <a:lnTo>
                    <a:pt x="71" y="297"/>
                  </a:lnTo>
                  <a:close/>
                  <a:moveTo>
                    <a:pt x="71" y="290"/>
                  </a:moveTo>
                  <a:lnTo>
                    <a:pt x="74" y="290"/>
                  </a:lnTo>
                  <a:lnTo>
                    <a:pt x="71" y="290"/>
                  </a:lnTo>
                  <a:close/>
                  <a:moveTo>
                    <a:pt x="69" y="287"/>
                  </a:moveTo>
                  <a:lnTo>
                    <a:pt x="69" y="290"/>
                  </a:lnTo>
                  <a:lnTo>
                    <a:pt x="69" y="287"/>
                  </a:lnTo>
                  <a:close/>
                  <a:moveTo>
                    <a:pt x="71" y="287"/>
                  </a:moveTo>
                  <a:lnTo>
                    <a:pt x="74" y="287"/>
                  </a:lnTo>
                  <a:lnTo>
                    <a:pt x="71" y="287"/>
                  </a:lnTo>
                  <a:close/>
                  <a:moveTo>
                    <a:pt x="71" y="287"/>
                  </a:moveTo>
                  <a:lnTo>
                    <a:pt x="71" y="285"/>
                  </a:lnTo>
                  <a:lnTo>
                    <a:pt x="71" y="287"/>
                  </a:lnTo>
                  <a:lnTo>
                    <a:pt x="71" y="285"/>
                  </a:lnTo>
                  <a:lnTo>
                    <a:pt x="71" y="287"/>
                  </a:lnTo>
                  <a:close/>
                  <a:moveTo>
                    <a:pt x="71" y="287"/>
                  </a:moveTo>
                  <a:lnTo>
                    <a:pt x="69" y="285"/>
                  </a:lnTo>
                  <a:lnTo>
                    <a:pt x="71" y="285"/>
                  </a:lnTo>
                  <a:lnTo>
                    <a:pt x="71" y="287"/>
                  </a:lnTo>
                  <a:close/>
                  <a:moveTo>
                    <a:pt x="67" y="285"/>
                  </a:moveTo>
                  <a:lnTo>
                    <a:pt x="69" y="285"/>
                  </a:lnTo>
                  <a:lnTo>
                    <a:pt x="69" y="287"/>
                  </a:lnTo>
                  <a:lnTo>
                    <a:pt x="67" y="287"/>
                  </a:lnTo>
                  <a:lnTo>
                    <a:pt x="67" y="285"/>
                  </a:lnTo>
                  <a:close/>
                  <a:moveTo>
                    <a:pt x="71" y="278"/>
                  </a:moveTo>
                  <a:lnTo>
                    <a:pt x="71" y="280"/>
                  </a:lnTo>
                  <a:lnTo>
                    <a:pt x="69" y="280"/>
                  </a:lnTo>
                  <a:lnTo>
                    <a:pt x="69" y="278"/>
                  </a:lnTo>
                  <a:lnTo>
                    <a:pt x="69" y="280"/>
                  </a:lnTo>
                  <a:lnTo>
                    <a:pt x="69" y="278"/>
                  </a:lnTo>
                  <a:lnTo>
                    <a:pt x="71" y="278"/>
                  </a:lnTo>
                  <a:close/>
                  <a:moveTo>
                    <a:pt x="74" y="273"/>
                  </a:moveTo>
                  <a:lnTo>
                    <a:pt x="74" y="276"/>
                  </a:lnTo>
                  <a:lnTo>
                    <a:pt x="76" y="276"/>
                  </a:lnTo>
                  <a:lnTo>
                    <a:pt x="74" y="276"/>
                  </a:lnTo>
                  <a:lnTo>
                    <a:pt x="76" y="276"/>
                  </a:lnTo>
                  <a:lnTo>
                    <a:pt x="74" y="276"/>
                  </a:lnTo>
                  <a:lnTo>
                    <a:pt x="74" y="273"/>
                  </a:lnTo>
                  <a:lnTo>
                    <a:pt x="74" y="276"/>
                  </a:lnTo>
                  <a:lnTo>
                    <a:pt x="74" y="273"/>
                  </a:lnTo>
                  <a:close/>
                  <a:moveTo>
                    <a:pt x="69" y="273"/>
                  </a:moveTo>
                  <a:lnTo>
                    <a:pt x="71" y="273"/>
                  </a:lnTo>
                  <a:lnTo>
                    <a:pt x="69" y="273"/>
                  </a:lnTo>
                  <a:lnTo>
                    <a:pt x="69" y="276"/>
                  </a:lnTo>
                  <a:lnTo>
                    <a:pt x="71" y="276"/>
                  </a:lnTo>
                  <a:lnTo>
                    <a:pt x="69" y="276"/>
                  </a:lnTo>
                  <a:lnTo>
                    <a:pt x="69" y="273"/>
                  </a:lnTo>
                  <a:close/>
                  <a:moveTo>
                    <a:pt x="71" y="273"/>
                  </a:moveTo>
                  <a:lnTo>
                    <a:pt x="69" y="273"/>
                  </a:lnTo>
                  <a:lnTo>
                    <a:pt x="71" y="273"/>
                  </a:lnTo>
                  <a:close/>
                  <a:moveTo>
                    <a:pt x="74" y="273"/>
                  </a:moveTo>
                  <a:lnTo>
                    <a:pt x="71" y="273"/>
                  </a:lnTo>
                  <a:lnTo>
                    <a:pt x="74" y="273"/>
                  </a:lnTo>
                  <a:close/>
                  <a:moveTo>
                    <a:pt x="71" y="273"/>
                  </a:moveTo>
                  <a:lnTo>
                    <a:pt x="71" y="271"/>
                  </a:lnTo>
                  <a:lnTo>
                    <a:pt x="71" y="273"/>
                  </a:lnTo>
                  <a:lnTo>
                    <a:pt x="71" y="271"/>
                  </a:lnTo>
                  <a:lnTo>
                    <a:pt x="71" y="273"/>
                  </a:lnTo>
                  <a:close/>
                  <a:moveTo>
                    <a:pt x="69" y="271"/>
                  </a:moveTo>
                  <a:lnTo>
                    <a:pt x="71" y="271"/>
                  </a:lnTo>
                  <a:lnTo>
                    <a:pt x="71" y="273"/>
                  </a:lnTo>
                  <a:lnTo>
                    <a:pt x="74" y="273"/>
                  </a:lnTo>
                  <a:lnTo>
                    <a:pt x="74" y="276"/>
                  </a:lnTo>
                  <a:lnTo>
                    <a:pt x="74" y="273"/>
                  </a:lnTo>
                  <a:lnTo>
                    <a:pt x="71" y="273"/>
                  </a:lnTo>
                  <a:lnTo>
                    <a:pt x="71" y="276"/>
                  </a:lnTo>
                  <a:lnTo>
                    <a:pt x="74" y="276"/>
                  </a:lnTo>
                  <a:lnTo>
                    <a:pt x="71" y="276"/>
                  </a:lnTo>
                  <a:lnTo>
                    <a:pt x="71" y="273"/>
                  </a:lnTo>
                  <a:lnTo>
                    <a:pt x="71" y="276"/>
                  </a:lnTo>
                  <a:lnTo>
                    <a:pt x="71" y="273"/>
                  </a:lnTo>
                  <a:lnTo>
                    <a:pt x="71" y="276"/>
                  </a:lnTo>
                  <a:lnTo>
                    <a:pt x="71" y="273"/>
                  </a:lnTo>
                  <a:lnTo>
                    <a:pt x="69" y="273"/>
                  </a:lnTo>
                  <a:lnTo>
                    <a:pt x="69" y="271"/>
                  </a:lnTo>
                  <a:close/>
                  <a:moveTo>
                    <a:pt x="67" y="271"/>
                  </a:moveTo>
                  <a:lnTo>
                    <a:pt x="69" y="271"/>
                  </a:lnTo>
                  <a:lnTo>
                    <a:pt x="67" y="271"/>
                  </a:lnTo>
                  <a:close/>
                  <a:moveTo>
                    <a:pt x="71" y="264"/>
                  </a:moveTo>
                  <a:lnTo>
                    <a:pt x="71" y="261"/>
                  </a:lnTo>
                  <a:lnTo>
                    <a:pt x="71" y="264"/>
                  </a:lnTo>
                  <a:lnTo>
                    <a:pt x="69" y="264"/>
                  </a:lnTo>
                  <a:lnTo>
                    <a:pt x="69" y="261"/>
                  </a:lnTo>
                  <a:lnTo>
                    <a:pt x="71" y="261"/>
                  </a:lnTo>
                  <a:lnTo>
                    <a:pt x="71" y="264"/>
                  </a:lnTo>
                  <a:close/>
                  <a:moveTo>
                    <a:pt x="67" y="261"/>
                  </a:moveTo>
                  <a:lnTo>
                    <a:pt x="67" y="264"/>
                  </a:lnTo>
                  <a:lnTo>
                    <a:pt x="67" y="261"/>
                  </a:lnTo>
                  <a:lnTo>
                    <a:pt x="67" y="264"/>
                  </a:lnTo>
                  <a:lnTo>
                    <a:pt x="67" y="261"/>
                  </a:lnTo>
                  <a:close/>
                  <a:moveTo>
                    <a:pt x="64" y="254"/>
                  </a:moveTo>
                  <a:lnTo>
                    <a:pt x="67" y="257"/>
                  </a:lnTo>
                  <a:lnTo>
                    <a:pt x="64" y="254"/>
                  </a:lnTo>
                  <a:lnTo>
                    <a:pt x="64" y="257"/>
                  </a:lnTo>
                  <a:lnTo>
                    <a:pt x="67" y="257"/>
                  </a:lnTo>
                  <a:lnTo>
                    <a:pt x="64" y="257"/>
                  </a:lnTo>
                  <a:lnTo>
                    <a:pt x="64" y="254"/>
                  </a:lnTo>
                  <a:lnTo>
                    <a:pt x="67" y="254"/>
                  </a:lnTo>
                  <a:lnTo>
                    <a:pt x="64" y="254"/>
                  </a:lnTo>
                  <a:close/>
                  <a:moveTo>
                    <a:pt x="64" y="247"/>
                  </a:moveTo>
                  <a:lnTo>
                    <a:pt x="67" y="247"/>
                  </a:lnTo>
                  <a:lnTo>
                    <a:pt x="67" y="249"/>
                  </a:lnTo>
                  <a:lnTo>
                    <a:pt x="67" y="247"/>
                  </a:lnTo>
                  <a:lnTo>
                    <a:pt x="64" y="247"/>
                  </a:lnTo>
                  <a:lnTo>
                    <a:pt x="64" y="245"/>
                  </a:lnTo>
                  <a:lnTo>
                    <a:pt x="64" y="247"/>
                  </a:lnTo>
                  <a:close/>
                  <a:moveTo>
                    <a:pt x="67" y="245"/>
                  </a:moveTo>
                  <a:lnTo>
                    <a:pt x="64" y="245"/>
                  </a:lnTo>
                  <a:lnTo>
                    <a:pt x="67" y="245"/>
                  </a:lnTo>
                  <a:close/>
                  <a:moveTo>
                    <a:pt x="69" y="242"/>
                  </a:moveTo>
                  <a:lnTo>
                    <a:pt x="67" y="242"/>
                  </a:lnTo>
                  <a:lnTo>
                    <a:pt x="69" y="242"/>
                  </a:lnTo>
                  <a:close/>
                  <a:moveTo>
                    <a:pt x="62" y="230"/>
                  </a:moveTo>
                  <a:lnTo>
                    <a:pt x="62" y="233"/>
                  </a:lnTo>
                  <a:lnTo>
                    <a:pt x="62" y="235"/>
                  </a:lnTo>
                  <a:lnTo>
                    <a:pt x="62" y="233"/>
                  </a:lnTo>
                  <a:lnTo>
                    <a:pt x="62" y="235"/>
                  </a:lnTo>
                  <a:lnTo>
                    <a:pt x="62" y="233"/>
                  </a:lnTo>
                  <a:lnTo>
                    <a:pt x="62" y="235"/>
                  </a:lnTo>
                  <a:lnTo>
                    <a:pt x="62" y="233"/>
                  </a:lnTo>
                  <a:lnTo>
                    <a:pt x="62" y="230"/>
                  </a:lnTo>
                  <a:lnTo>
                    <a:pt x="62" y="233"/>
                  </a:lnTo>
                  <a:lnTo>
                    <a:pt x="62" y="230"/>
                  </a:lnTo>
                  <a:lnTo>
                    <a:pt x="62" y="233"/>
                  </a:lnTo>
                  <a:lnTo>
                    <a:pt x="62" y="230"/>
                  </a:lnTo>
                  <a:close/>
                  <a:moveTo>
                    <a:pt x="59" y="226"/>
                  </a:moveTo>
                  <a:lnTo>
                    <a:pt x="59" y="223"/>
                  </a:lnTo>
                  <a:lnTo>
                    <a:pt x="59" y="226"/>
                  </a:lnTo>
                  <a:close/>
                  <a:moveTo>
                    <a:pt x="62" y="226"/>
                  </a:moveTo>
                  <a:lnTo>
                    <a:pt x="59" y="223"/>
                  </a:lnTo>
                  <a:lnTo>
                    <a:pt x="62" y="223"/>
                  </a:lnTo>
                  <a:lnTo>
                    <a:pt x="62" y="226"/>
                  </a:lnTo>
                  <a:close/>
                  <a:moveTo>
                    <a:pt x="57" y="223"/>
                  </a:moveTo>
                  <a:lnTo>
                    <a:pt x="59" y="223"/>
                  </a:lnTo>
                  <a:lnTo>
                    <a:pt x="57" y="226"/>
                  </a:lnTo>
                  <a:lnTo>
                    <a:pt x="59" y="226"/>
                  </a:lnTo>
                  <a:lnTo>
                    <a:pt x="57" y="226"/>
                  </a:lnTo>
                  <a:lnTo>
                    <a:pt x="57" y="223"/>
                  </a:lnTo>
                  <a:close/>
                  <a:moveTo>
                    <a:pt x="59" y="221"/>
                  </a:moveTo>
                  <a:lnTo>
                    <a:pt x="62" y="221"/>
                  </a:lnTo>
                  <a:lnTo>
                    <a:pt x="59" y="221"/>
                  </a:lnTo>
                  <a:close/>
                  <a:moveTo>
                    <a:pt x="57" y="219"/>
                  </a:moveTo>
                  <a:lnTo>
                    <a:pt x="59" y="219"/>
                  </a:lnTo>
                  <a:lnTo>
                    <a:pt x="57" y="219"/>
                  </a:lnTo>
                  <a:close/>
                  <a:moveTo>
                    <a:pt x="57" y="214"/>
                  </a:moveTo>
                  <a:lnTo>
                    <a:pt x="59" y="214"/>
                  </a:lnTo>
                  <a:lnTo>
                    <a:pt x="59" y="216"/>
                  </a:lnTo>
                  <a:lnTo>
                    <a:pt x="57" y="216"/>
                  </a:lnTo>
                  <a:lnTo>
                    <a:pt x="57" y="214"/>
                  </a:lnTo>
                  <a:close/>
                  <a:moveTo>
                    <a:pt x="62" y="207"/>
                  </a:moveTo>
                  <a:lnTo>
                    <a:pt x="64" y="207"/>
                  </a:lnTo>
                  <a:lnTo>
                    <a:pt x="64" y="209"/>
                  </a:lnTo>
                  <a:lnTo>
                    <a:pt x="64" y="207"/>
                  </a:lnTo>
                  <a:lnTo>
                    <a:pt x="64" y="209"/>
                  </a:lnTo>
                  <a:lnTo>
                    <a:pt x="62" y="209"/>
                  </a:lnTo>
                  <a:lnTo>
                    <a:pt x="59" y="209"/>
                  </a:lnTo>
                  <a:lnTo>
                    <a:pt x="59" y="207"/>
                  </a:lnTo>
                  <a:lnTo>
                    <a:pt x="59" y="209"/>
                  </a:lnTo>
                  <a:lnTo>
                    <a:pt x="59" y="207"/>
                  </a:lnTo>
                  <a:lnTo>
                    <a:pt x="59" y="209"/>
                  </a:lnTo>
                  <a:lnTo>
                    <a:pt x="59" y="207"/>
                  </a:lnTo>
                  <a:lnTo>
                    <a:pt x="62" y="207"/>
                  </a:lnTo>
                  <a:close/>
                  <a:moveTo>
                    <a:pt x="62" y="204"/>
                  </a:moveTo>
                  <a:lnTo>
                    <a:pt x="59" y="204"/>
                  </a:lnTo>
                  <a:lnTo>
                    <a:pt x="62" y="204"/>
                  </a:lnTo>
                  <a:close/>
                  <a:moveTo>
                    <a:pt x="59" y="207"/>
                  </a:moveTo>
                  <a:lnTo>
                    <a:pt x="57" y="204"/>
                  </a:lnTo>
                  <a:lnTo>
                    <a:pt x="59" y="204"/>
                  </a:lnTo>
                  <a:lnTo>
                    <a:pt x="59" y="207"/>
                  </a:lnTo>
                  <a:close/>
                  <a:moveTo>
                    <a:pt x="59" y="204"/>
                  </a:moveTo>
                  <a:lnTo>
                    <a:pt x="57" y="204"/>
                  </a:lnTo>
                  <a:lnTo>
                    <a:pt x="59" y="204"/>
                  </a:lnTo>
                  <a:close/>
                  <a:moveTo>
                    <a:pt x="62" y="204"/>
                  </a:moveTo>
                  <a:lnTo>
                    <a:pt x="64" y="204"/>
                  </a:lnTo>
                  <a:lnTo>
                    <a:pt x="62" y="204"/>
                  </a:lnTo>
                  <a:lnTo>
                    <a:pt x="64" y="204"/>
                  </a:lnTo>
                  <a:lnTo>
                    <a:pt x="64" y="207"/>
                  </a:lnTo>
                  <a:lnTo>
                    <a:pt x="62" y="207"/>
                  </a:lnTo>
                  <a:lnTo>
                    <a:pt x="62" y="204"/>
                  </a:lnTo>
                  <a:close/>
                  <a:moveTo>
                    <a:pt x="69" y="202"/>
                  </a:moveTo>
                  <a:lnTo>
                    <a:pt x="67" y="202"/>
                  </a:lnTo>
                  <a:lnTo>
                    <a:pt x="69" y="202"/>
                  </a:lnTo>
                  <a:close/>
                  <a:moveTo>
                    <a:pt x="69" y="202"/>
                  </a:moveTo>
                  <a:lnTo>
                    <a:pt x="69" y="204"/>
                  </a:lnTo>
                  <a:lnTo>
                    <a:pt x="67" y="204"/>
                  </a:lnTo>
                  <a:lnTo>
                    <a:pt x="69" y="204"/>
                  </a:lnTo>
                  <a:lnTo>
                    <a:pt x="67" y="204"/>
                  </a:lnTo>
                  <a:lnTo>
                    <a:pt x="67" y="202"/>
                  </a:lnTo>
                  <a:lnTo>
                    <a:pt x="69" y="202"/>
                  </a:lnTo>
                  <a:close/>
                  <a:moveTo>
                    <a:pt x="67" y="202"/>
                  </a:moveTo>
                  <a:lnTo>
                    <a:pt x="69" y="202"/>
                  </a:lnTo>
                  <a:lnTo>
                    <a:pt x="67" y="202"/>
                  </a:lnTo>
                  <a:lnTo>
                    <a:pt x="69" y="202"/>
                  </a:lnTo>
                  <a:lnTo>
                    <a:pt x="67" y="202"/>
                  </a:lnTo>
                  <a:close/>
                  <a:moveTo>
                    <a:pt x="57" y="202"/>
                  </a:moveTo>
                  <a:lnTo>
                    <a:pt x="57" y="200"/>
                  </a:lnTo>
                  <a:lnTo>
                    <a:pt x="57" y="202"/>
                  </a:lnTo>
                  <a:close/>
                  <a:moveTo>
                    <a:pt x="59" y="202"/>
                  </a:moveTo>
                  <a:lnTo>
                    <a:pt x="59" y="200"/>
                  </a:lnTo>
                  <a:lnTo>
                    <a:pt x="59" y="202"/>
                  </a:lnTo>
                  <a:close/>
                  <a:moveTo>
                    <a:pt x="69" y="200"/>
                  </a:moveTo>
                  <a:lnTo>
                    <a:pt x="69" y="202"/>
                  </a:lnTo>
                  <a:lnTo>
                    <a:pt x="69" y="200"/>
                  </a:lnTo>
                  <a:close/>
                  <a:moveTo>
                    <a:pt x="69" y="200"/>
                  </a:moveTo>
                  <a:lnTo>
                    <a:pt x="67" y="200"/>
                  </a:lnTo>
                  <a:lnTo>
                    <a:pt x="69" y="200"/>
                  </a:lnTo>
                  <a:close/>
                  <a:moveTo>
                    <a:pt x="50" y="200"/>
                  </a:moveTo>
                  <a:lnTo>
                    <a:pt x="50" y="202"/>
                  </a:lnTo>
                  <a:lnTo>
                    <a:pt x="50" y="200"/>
                  </a:lnTo>
                  <a:lnTo>
                    <a:pt x="50" y="202"/>
                  </a:lnTo>
                  <a:lnTo>
                    <a:pt x="50" y="200"/>
                  </a:lnTo>
                  <a:lnTo>
                    <a:pt x="52" y="202"/>
                  </a:lnTo>
                  <a:lnTo>
                    <a:pt x="50" y="202"/>
                  </a:lnTo>
                  <a:lnTo>
                    <a:pt x="50" y="200"/>
                  </a:lnTo>
                  <a:close/>
                  <a:moveTo>
                    <a:pt x="69" y="200"/>
                  </a:moveTo>
                  <a:lnTo>
                    <a:pt x="71" y="200"/>
                  </a:lnTo>
                  <a:lnTo>
                    <a:pt x="69" y="200"/>
                  </a:lnTo>
                  <a:lnTo>
                    <a:pt x="71" y="200"/>
                  </a:lnTo>
                  <a:lnTo>
                    <a:pt x="69" y="200"/>
                  </a:lnTo>
                  <a:close/>
                  <a:moveTo>
                    <a:pt x="67" y="200"/>
                  </a:moveTo>
                  <a:lnTo>
                    <a:pt x="64" y="200"/>
                  </a:lnTo>
                  <a:lnTo>
                    <a:pt x="67" y="200"/>
                  </a:lnTo>
                  <a:close/>
                  <a:moveTo>
                    <a:pt x="59" y="202"/>
                  </a:moveTo>
                  <a:lnTo>
                    <a:pt x="62" y="202"/>
                  </a:lnTo>
                  <a:lnTo>
                    <a:pt x="59" y="202"/>
                  </a:lnTo>
                  <a:lnTo>
                    <a:pt x="62" y="202"/>
                  </a:lnTo>
                  <a:lnTo>
                    <a:pt x="59" y="202"/>
                  </a:lnTo>
                  <a:lnTo>
                    <a:pt x="59" y="200"/>
                  </a:lnTo>
                  <a:lnTo>
                    <a:pt x="62" y="200"/>
                  </a:lnTo>
                  <a:lnTo>
                    <a:pt x="62" y="202"/>
                  </a:lnTo>
                  <a:lnTo>
                    <a:pt x="59" y="202"/>
                  </a:lnTo>
                  <a:close/>
                  <a:moveTo>
                    <a:pt x="69" y="200"/>
                  </a:moveTo>
                  <a:lnTo>
                    <a:pt x="67" y="200"/>
                  </a:lnTo>
                  <a:lnTo>
                    <a:pt x="69" y="200"/>
                  </a:lnTo>
                  <a:lnTo>
                    <a:pt x="67" y="200"/>
                  </a:lnTo>
                  <a:lnTo>
                    <a:pt x="69" y="200"/>
                  </a:lnTo>
                  <a:lnTo>
                    <a:pt x="67" y="200"/>
                  </a:lnTo>
                  <a:lnTo>
                    <a:pt x="69" y="200"/>
                  </a:lnTo>
                  <a:close/>
                  <a:moveTo>
                    <a:pt x="62" y="197"/>
                  </a:moveTo>
                  <a:lnTo>
                    <a:pt x="62" y="200"/>
                  </a:lnTo>
                  <a:lnTo>
                    <a:pt x="64" y="200"/>
                  </a:lnTo>
                  <a:lnTo>
                    <a:pt x="62" y="200"/>
                  </a:lnTo>
                  <a:lnTo>
                    <a:pt x="64" y="200"/>
                  </a:lnTo>
                  <a:lnTo>
                    <a:pt x="62" y="200"/>
                  </a:lnTo>
                  <a:lnTo>
                    <a:pt x="64" y="200"/>
                  </a:lnTo>
                  <a:lnTo>
                    <a:pt x="62" y="200"/>
                  </a:lnTo>
                  <a:lnTo>
                    <a:pt x="62" y="197"/>
                  </a:lnTo>
                  <a:lnTo>
                    <a:pt x="62" y="200"/>
                  </a:lnTo>
                  <a:lnTo>
                    <a:pt x="62" y="197"/>
                  </a:lnTo>
                  <a:close/>
                  <a:moveTo>
                    <a:pt x="59" y="197"/>
                  </a:moveTo>
                  <a:lnTo>
                    <a:pt x="59" y="200"/>
                  </a:lnTo>
                  <a:lnTo>
                    <a:pt x="59" y="197"/>
                  </a:lnTo>
                  <a:close/>
                  <a:moveTo>
                    <a:pt x="69" y="197"/>
                  </a:moveTo>
                  <a:lnTo>
                    <a:pt x="67" y="197"/>
                  </a:lnTo>
                  <a:lnTo>
                    <a:pt x="69" y="197"/>
                  </a:lnTo>
                  <a:lnTo>
                    <a:pt x="67" y="197"/>
                  </a:lnTo>
                  <a:lnTo>
                    <a:pt x="69" y="195"/>
                  </a:lnTo>
                  <a:lnTo>
                    <a:pt x="69" y="197"/>
                  </a:lnTo>
                  <a:close/>
                  <a:moveTo>
                    <a:pt x="50" y="197"/>
                  </a:moveTo>
                  <a:lnTo>
                    <a:pt x="50" y="195"/>
                  </a:lnTo>
                  <a:lnTo>
                    <a:pt x="50" y="197"/>
                  </a:lnTo>
                  <a:close/>
                  <a:moveTo>
                    <a:pt x="67" y="195"/>
                  </a:moveTo>
                  <a:lnTo>
                    <a:pt x="67" y="197"/>
                  </a:lnTo>
                  <a:lnTo>
                    <a:pt x="67" y="195"/>
                  </a:lnTo>
                  <a:close/>
                  <a:moveTo>
                    <a:pt x="71" y="195"/>
                  </a:moveTo>
                  <a:lnTo>
                    <a:pt x="74" y="195"/>
                  </a:lnTo>
                  <a:lnTo>
                    <a:pt x="71" y="195"/>
                  </a:lnTo>
                  <a:close/>
                  <a:moveTo>
                    <a:pt x="69" y="195"/>
                  </a:moveTo>
                  <a:lnTo>
                    <a:pt x="67" y="195"/>
                  </a:lnTo>
                  <a:lnTo>
                    <a:pt x="69" y="195"/>
                  </a:lnTo>
                  <a:close/>
                  <a:moveTo>
                    <a:pt x="76" y="195"/>
                  </a:moveTo>
                  <a:lnTo>
                    <a:pt x="74" y="195"/>
                  </a:lnTo>
                  <a:lnTo>
                    <a:pt x="76" y="195"/>
                  </a:lnTo>
                  <a:close/>
                  <a:moveTo>
                    <a:pt x="71" y="192"/>
                  </a:moveTo>
                  <a:lnTo>
                    <a:pt x="71" y="195"/>
                  </a:lnTo>
                  <a:lnTo>
                    <a:pt x="71" y="192"/>
                  </a:lnTo>
                  <a:close/>
                  <a:moveTo>
                    <a:pt x="50" y="192"/>
                  </a:moveTo>
                  <a:lnTo>
                    <a:pt x="50" y="195"/>
                  </a:lnTo>
                  <a:lnTo>
                    <a:pt x="50" y="192"/>
                  </a:lnTo>
                  <a:lnTo>
                    <a:pt x="48" y="195"/>
                  </a:lnTo>
                  <a:lnTo>
                    <a:pt x="50" y="192"/>
                  </a:lnTo>
                  <a:close/>
                  <a:moveTo>
                    <a:pt x="74" y="192"/>
                  </a:moveTo>
                  <a:lnTo>
                    <a:pt x="71" y="192"/>
                  </a:lnTo>
                  <a:lnTo>
                    <a:pt x="74" y="192"/>
                  </a:lnTo>
                  <a:close/>
                  <a:moveTo>
                    <a:pt x="71" y="190"/>
                  </a:moveTo>
                  <a:lnTo>
                    <a:pt x="71" y="192"/>
                  </a:lnTo>
                  <a:lnTo>
                    <a:pt x="71" y="190"/>
                  </a:lnTo>
                  <a:lnTo>
                    <a:pt x="74" y="192"/>
                  </a:lnTo>
                  <a:lnTo>
                    <a:pt x="74" y="190"/>
                  </a:lnTo>
                  <a:lnTo>
                    <a:pt x="74" y="192"/>
                  </a:lnTo>
                  <a:lnTo>
                    <a:pt x="71" y="192"/>
                  </a:lnTo>
                  <a:lnTo>
                    <a:pt x="71" y="190"/>
                  </a:lnTo>
                  <a:close/>
                  <a:moveTo>
                    <a:pt x="69" y="190"/>
                  </a:moveTo>
                  <a:lnTo>
                    <a:pt x="67" y="190"/>
                  </a:lnTo>
                  <a:lnTo>
                    <a:pt x="69" y="190"/>
                  </a:lnTo>
                  <a:close/>
                  <a:moveTo>
                    <a:pt x="59" y="190"/>
                  </a:moveTo>
                  <a:lnTo>
                    <a:pt x="59" y="188"/>
                  </a:lnTo>
                  <a:lnTo>
                    <a:pt x="59" y="190"/>
                  </a:lnTo>
                  <a:close/>
                  <a:moveTo>
                    <a:pt x="71" y="188"/>
                  </a:moveTo>
                  <a:lnTo>
                    <a:pt x="69" y="188"/>
                  </a:lnTo>
                  <a:lnTo>
                    <a:pt x="71" y="188"/>
                  </a:lnTo>
                  <a:lnTo>
                    <a:pt x="71" y="190"/>
                  </a:lnTo>
                  <a:lnTo>
                    <a:pt x="69" y="188"/>
                  </a:lnTo>
                  <a:lnTo>
                    <a:pt x="71" y="188"/>
                  </a:lnTo>
                  <a:close/>
                  <a:moveTo>
                    <a:pt x="43" y="188"/>
                  </a:moveTo>
                  <a:lnTo>
                    <a:pt x="43" y="185"/>
                  </a:lnTo>
                  <a:lnTo>
                    <a:pt x="43" y="188"/>
                  </a:lnTo>
                  <a:close/>
                  <a:moveTo>
                    <a:pt x="78" y="185"/>
                  </a:moveTo>
                  <a:lnTo>
                    <a:pt x="81" y="185"/>
                  </a:lnTo>
                  <a:lnTo>
                    <a:pt x="78" y="185"/>
                  </a:lnTo>
                  <a:lnTo>
                    <a:pt x="78" y="188"/>
                  </a:lnTo>
                  <a:lnTo>
                    <a:pt x="78" y="185"/>
                  </a:lnTo>
                  <a:close/>
                  <a:moveTo>
                    <a:pt x="78" y="185"/>
                  </a:moveTo>
                  <a:lnTo>
                    <a:pt x="76" y="185"/>
                  </a:lnTo>
                  <a:lnTo>
                    <a:pt x="78" y="185"/>
                  </a:lnTo>
                  <a:close/>
                  <a:moveTo>
                    <a:pt x="90" y="185"/>
                  </a:moveTo>
                  <a:lnTo>
                    <a:pt x="88" y="185"/>
                  </a:lnTo>
                  <a:lnTo>
                    <a:pt x="90" y="185"/>
                  </a:lnTo>
                  <a:close/>
                  <a:moveTo>
                    <a:pt x="59" y="185"/>
                  </a:moveTo>
                  <a:lnTo>
                    <a:pt x="57" y="185"/>
                  </a:lnTo>
                  <a:lnTo>
                    <a:pt x="59" y="185"/>
                  </a:lnTo>
                  <a:close/>
                  <a:moveTo>
                    <a:pt x="88" y="185"/>
                  </a:moveTo>
                  <a:lnTo>
                    <a:pt x="90" y="185"/>
                  </a:lnTo>
                  <a:lnTo>
                    <a:pt x="88" y="185"/>
                  </a:lnTo>
                  <a:lnTo>
                    <a:pt x="90" y="185"/>
                  </a:lnTo>
                  <a:lnTo>
                    <a:pt x="88" y="185"/>
                  </a:lnTo>
                  <a:close/>
                  <a:moveTo>
                    <a:pt x="69" y="183"/>
                  </a:moveTo>
                  <a:lnTo>
                    <a:pt x="69" y="185"/>
                  </a:lnTo>
                  <a:lnTo>
                    <a:pt x="69" y="183"/>
                  </a:lnTo>
                  <a:lnTo>
                    <a:pt x="69" y="185"/>
                  </a:lnTo>
                  <a:lnTo>
                    <a:pt x="69" y="183"/>
                  </a:lnTo>
                  <a:close/>
                  <a:moveTo>
                    <a:pt x="86" y="183"/>
                  </a:moveTo>
                  <a:lnTo>
                    <a:pt x="83" y="183"/>
                  </a:lnTo>
                  <a:lnTo>
                    <a:pt x="86" y="183"/>
                  </a:lnTo>
                  <a:close/>
                  <a:moveTo>
                    <a:pt x="88" y="183"/>
                  </a:moveTo>
                  <a:lnTo>
                    <a:pt x="88" y="185"/>
                  </a:lnTo>
                  <a:lnTo>
                    <a:pt x="86" y="185"/>
                  </a:lnTo>
                  <a:lnTo>
                    <a:pt x="86" y="183"/>
                  </a:lnTo>
                  <a:lnTo>
                    <a:pt x="88" y="183"/>
                  </a:lnTo>
                  <a:close/>
                  <a:moveTo>
                    <a:pt x="83" y="183"/>
                  </a:moveTo>
                  <a:lnTo>
                    <a:pt x="81" y="183"/>
                  </a:lnTo>
                  <a:lnTo>
                    <a:pt x="83" y="183"/>
                  </a:lnTo>
                  <a:close/>
                  <a:moveTo>
                    <a:pt x="97" y="181"/>
                  </a:moveTo>
                  <a:lnTo>
                    <a:pt x="97" y="183"/>
                  </a:lnTo>
                  <a:lnTo>
                    <a:pt x="97" y="181"/>
                  </a:lnTo>
                  <a:close/>
                  <a:moveTo>
                    <a:pt x="78" y="181"/>
                  </a:moveTo>
                  <a:lnTo>
                    <a:pt x="78" y="183"/>
                  </a:lnTo>
                  <a:lnTo>
                    <a:pt x="81" y="183"/>
                  </a:lnTo>
                  <a:lnTo>
                    <a:pt x="81" y="185"/>
                  </a:lnTo>
                  <a:lnTo>
                    <a:pt x="78" y="183"/>
                  </a:lnTo>
                  <a:lnTo>
                    <a:pt x="78" y="185"/>
                  </a:lnTo>
                  <a:lnTo>
                    <a:pt x="78" y="183"/>
                  </a:lnTo>
                  <a:lnTo>
                    <a:pt x="78" y="185"/>
                  </a:lnTo>
                  <a:lnTo>
                    <a:pt x="76" y="185"/>
                  </a:lnTo>
                  <a:lnTo>
                    <a:pt x="76" y="183"/>
                  </a:lnTo>
                  <a:lnTo>
                    <a:pt x="78" y="183"/>
                  </a:lnTo>
                  <a:lnTo>
                    <a:pt x="76" y="183"/>
                  </a:lnTo>
                  <a:lnTo>
                    <a:pt x="78" y="183"/>
                  </a:lnTo>
                  <a:lnTo>
                    <a:pt x="78" y="181"/>
                  </a:lnTo>
                  <a:lnTo>
                    <a:pt x="78" y="183"/>
                  </a:lnTo>
                  <a:lnTo>
                    <a:pt x="78" y="181"/>
                  </a:lnTo>
                  <a:close/>
                  <a:moveTo>
                    <a:pt x="59" y="181"/>
                  </a:moveTo>
                  <a:lnTo>
                    <a:pt x="57" y="181"/>
                  </a:lnTo>
                  <a:lnTo>
                    <a:pt x="59" y="181"/>
                  </a:lnTo>
                  <a:lnTo>
                    <a:pt x="57" y="181"/>
                  </a:lnTo>
                  <a:lnTo>
                    <a:pt x="59" y="181"/>
                  </a:lnTo>
                  <a:lnTo>
                    <a:pt x="57" y="181"/>
                  </a:lnTo>
                  <a:lnTo>
                    <a:pt x="59" y="181"/>
                  </a:lnTo>
                  <a:close/>
                  <a:moveTo>
                    <a:pt x="81" y="181"/>
                  </a:moveTo>
                  <a:lnTo>
                    <a:pt x="81" y="178"/>
                  </a:lnTo>
                  <a:lnTo>
                    <a:pt x="81" y="181"/>
                  </a:lnTo>
                  <a:close/>
                  <a:moveTo>
                    <a:pt x="67" y="178"/>
                  </a:moveTo>
                  <a:lnTo>
                    <a:pt x="69" y="178"/>
                  </a:lnTo>
                  <a:lnTo>
                    <a:pt x="67" y="178"/>
                  </a:lnTo>
                  <a:lnTo>
                    <a:pt x="69" y="178"/>
                  </a:lnTo>
                  <a:lnTo>
                    <a:pt x="69" y="181"/>
                  </a:lnTo>
                  <a:lnTo>
                    <a:pt x="69" y="178"/>
                  </a:lnTo>
                  <a:lnTo>
                    <a:pt x="69" y="181"/>
                  </a:lnTo>
                  <a:lnTo>
                    <a:pt x="69" y="183"/>
                  </a:lnTo>
                  <a:lnTo>
                    <a:pt x="67" y="183"/>
                  </a:lnTo>
                  <a:lnTo>
                    <a:pt x="64" y="183"/>
                  </a:lnTo>
                  <a:lnTo>
                    <a:pt x="64" y="181"/>
                  </a:lnTo>
                  <a:lnTo>
                    <a:pt x="67" y="181"/>
                  </a:lnTo>
                  <a:lnTo>
                    <a:pt x="67" y="178"/>
                  </a:lnTo>
                  <a:close/>
                  <a:moveTo>
                    <a:pt x="59" y="178"/>
                  </a:moveTo>
                  <a:lnTo>
                    <a:pt x="59" y="181"/>
                  </a:lnTo>
                  <a:lnTo>
                    <a:pt x="59" y="178"/>
                  </a:lnTo>
                  <a:close/>
                  <a:moveTo>
                    <a:pt x="95" y="178"/>
                  </a:moveTo>
                  <a:lnTo>
                    <a:pt x="93" y="178"/>
                  </a:lnTo>
                  <a:lnTo>
                    <a:pt x="95" y="178"/>
                  </a:lnTo>
                  <a:close/>
                  <a:moveTo>
                    <a:pt x="81" y="178"/>
                  </a:moveTo>
                  <a:lnTo>
                    <a:pt x="78" y="178"/>
                  </a:lnTo>
                  <a:lnTo>
                    <a:pt x="81" y="178"/>
                  </a:lnTo>
                  <a:close/>
                  <a:moveTo>
                    <a:pt x="88" y="178"/>
                  </a:moveTo>
                  <a:lnTo>
                    <a:pt x="90" y="178"/>
                  </a:lnTo>
                  <a:lnTo>
                    <a:pt x="93" y="178"/>
                  </a:lnTo>
                  <a:lnTo>
                    <a:pt x="90" y="178"/>
                  </a:lnTo>
                  <a:lnTo>
                    <a:pt x="93" y="178"/>
                  </a:lnTo>
                  <a:lnTo>
                    <a:pt x="90" y="178"/>
                  </a:lnTo>
                  <a:lnTo>
                    <a:pt x="93" y="178"/>
                  </a:lnTo>
                  <a:lnTo>
                    <a:pt x="90" y="178"/>
                  </a:lnTo>
                  <a:lnTo>
                    <a:pt x="93" y="178"/>
                  </a:lnTo>
                  <a:lnTo>
                    <a:pt x="93" y="181"/>
                  </a:lnTo>
                  <a:lnTo>
                    <a:pt x="90" y="181"/>
                  </a:lnTo>
                  <a:lnTo>
                    <a:pt x="88" y="181"/>
                  </a:lnTo>
                  <a:lnTo>
                    <a:pt x="86" y="181"/>
                  </a:lnTo>
                  <a:lnTo>
                    <a:pt x="88" y="181"/>
                  </a:lnTo>
                  <a:lnTo>
                    <a:pt x="86" y="181"/>
                  </a:lnTo>
                  <a:lnTo>
                    <a:pt x="88" y="181"/>
                  </a:lnTo>
                  <a:lnTo>
                    <a:pt x="86" y="181"/>
                  </a:lnTo>
                  <a:lnTo>
                    <a:pt x="88" y="181"/>
                  </a:lnTo>
                  <a:lnTo>
                    <a:pt x="88" y="178"/>
                  </a:lnTo>
                  <a:close/>
                  <a:moveTo>
                    <a:pt x="64" y="178"/>
                  </a:moveTo>
                  <a:lnTo>
                    <a:pt x="64" y="181"/>
                  </a:lnTo>
                  <a:lnTo>
                    <a:pt x="62" y="181"/>
                  </a:lnTo>
                  <a:lnTo>
                    <a:pt x="62" y="178"/>
                  </a:lnTo>
                  <a:lnTo>
                    <a:pt x="64" y="178"/>
                  </a:lnTo>
                  <a:close/>
                  <a:moveTo>
                    <a:pt x="78" y="178"/>
                  </a:moveTo>
                  <a:lnTo>
                    <a:pt x="76" y="178"/>
                  </a:lnTo>
                  <a:lnTo>
                    <a:pt x="78" y="178"/>
                  </a:lnTo>
                  <a:lnTo>
                    <a:pt x="76" y="178"/>
                  </a:lnTo>
                  <a:lnTo>
                    <a:pt x="78" y="178"/>
                  </a:lnTo>
                  <a:close/>
                  <a:moveTo>
                    <a:pt x="81" y="176"/>
                  </a:moveTo>
                  <a:lnTo>
                    <a:pt x="81" y="178"/>
                  </a:lnTo>
                  <a:lnTo>
                    <a:pt x="78" y="176"/>
                  </a:lnTo>
                  <a:lnTo>
                    <a:pt x="78" y="178"/>
                  </a:lnTo>
                  <a:lnTo>
                    <a:pt x="78" y="176"/>
                  </a:lnTo>
                  <a:lnTo>
                    <a:pt x="81" y="176"/>
                  </a:lnTo>
                  <a:close/>
                  <a:moveTo>
                    <a:pt x="78" y="176"/>
                  </a:moveTo>
                  <a:lnTo>
                    <a:pt x="78" y="178"/>
                  </a:lnTo>
                  <a:lnTo>
                    <a:pt x="78" y="176"/>
                  </a:lnTo>
                  <a:close/>
                  <a:moveTo>
                    <a:pt x="97" y="178"/>
                  </a:moveTo>
                  <a:lnTo>
                    <a:pt x="97" y="176"/>
                  </a:lnTo>
                  <a:lnTo>
                    <a:pt x="97" y="178"/>
                  </a:lnTo>
                  <a:close/>
                  <a:moveTo>
                    <a:pt x="83" y="176"/>
                  </a:moveTo>
                  <a:lnTo>
                    <a:pt x="81" y="176"/>
                  </a:lnTo>
                  <a:lnTo>
                    <a:pt x="81" y="178"/>
                  </a:lnTo>
                  <a:lnTo>
                    <a:pt x="81" y="176"/>
                  </a:lnTo>
                  <a:lnTo>
                    <a:pt x="83" y="176"/>
                  </a:lnTo>
                  <a:close/>
                  <a:moveTo>
                    <a:pt x="57" y="176"/>
                  </a:moveTo>
                  <a:lnTo>
                    <a:pt x="59" y="176"/>
                  </a:lnTo>
                  <a:lnTo>
                    <a:pt x="57" y="176"/>
                  </a:lnTo>
                  <a:lnTo>
                    <a:pt x="59" y="176"/>
                  </a:lnTo>
                  <a:lnTo>
                    <a:pt x="57" y="176"/>
                  </a:lnTo>
                  <a:close/>
                  <a:moveTo>
                    <a:pt x="93" y="176"/>
                  </a:moveTo>
                  <a:lnTo>
                    <a:pt x="90" y="176"/>
                  </a:lnTo>
                  <a:lnTo>
                    <a:pt x="93" y="176"/>
                  </a:lnTo>
                  <a:close/>
                  <a:moveTo>
                    <a:pt x="78" y="173"/>
                  </a:moveTo>
                  <a:lnTo>
                    <a:pt x="78" y="176"/>
                  </a:lnTo>
                  <a:lnTo>
                    <a:pt x="81" y="176"/>
                  </a:lnTo>
                  <a:lnTo>
                    <a:pt x="81" y="173"/>
                  </a:lnTo>
                  <a:lnTo>
                    <a:pt x="81" y="176"/>
                  </a:lnTo>
                  <a:lnTo>
                    <a:pt x="78" y="176"/>
                  </a:lnTo>
                  <a:lnTo>
                    <a:pt x="81" y="176"/>
                  </a:lnTo>
                  <a:lnTo>
                    <a:pt x="78" y="176"/>
                  </a:lnTo>
                  <a:lnTo>
                    <a:pt x="78" y="173"/>
                  </a:lnTo>
                  <a:close/>
                  <a:moveTo>
                    <a:pt x="81" y="173"/>
                  </a:moveTo>
                  <a:lnTo>
                    <a:pt x="83" y="173"/>
                  </a:lnTo>
                  <a:lnTo>
                    <a:pt x="81" y="176"/>
                  </a:lnTo>
                  <a:lnTo>
                    <a:pt x="83" y="176"/>
                  </a:lnTo>
                  <a:lnTo>
                    <a:pt x="81" y="176"/>
                  </a:lnTo>
                  <a:lnTo>
                    <a:pt x="81" y="173"/>
                  </a:lnTo>
                  <a:close/>
                  <a:moveTo>
                    <a:pt x="93" y="173"/>
                  </a:moveTo>
                  <a:lnTo>
                    <a:pt x="93" y="176"/>
                  </a:lnTo>
                  <a:lnTo>
                    <a:pt x="93" y="173"/>
                  </a:lnTo>
                  <a:close/>
                  <a:moveTo>
                    <a:pt x="100" y="169"/>
                  </a:moveTo>
                  <a:lnTo>
                    <a:pt x="102" y="169"/>
                  </a:lnTo>
                  <a:lnTo>
                    <a:pt x="102" y="171"/>
                  </a:lnTo>
                  <a:lnTo>
                    <a:pt x="100" y="171"/>
                  </a:lnTo>
                  <a:lnTo>
                    <a:pt x="100" y="169"/>
                  </a:lnTo>
                  <a:close/>
                  <a:moveTo>
                    <a:pt x="102" y="171"/>
                  </a:moveTo>
                  <a:lnTo>
                    <a:pt x="102" y="169"/>
                  </a:lnTo>
                  <a:lnTo>
                    <a:pt x="102" y="171"/>
                  </a:lnTo>
                  <a:close/>
                  <a:moveTo>
                    <a:pt x="102" y="166"/>
                  </a:moveTo>
                  <a:lnTo>
                    <a:pt x="102" y="169"/>
                  </a:lnTo>
                  <a:lnTo>
                    <a:pt x="104" y="169"/>
                  </a:lnTo>
                  <a:lnTo>
                    <a:pt x="102" y="169"/>
                  </a:lnTo>
                  <a:lnTo>
                    <a:pt x="104" y="169"/>
                  </a:lnTo>
                  <a:lnTo>
                    <a:pt x="102" y="169"/>
                  </a:lnTo>
                  <a:lnTo>
                    <a:pt x="104" y="169"/>
                  </a:lnTo>
                  <a:lnTo>
                    <a:pt x="104" y="171"/>
                  </a:lnTo>
                  <a:lnTo>
                    <a:pt x="104" y="169"/>
                  </a:lnTo>
                  <a:lnTo>
                    <a:pt x="104" y="171"/>
                  </a:lnTo>
                  <a:lnTo>
                    <a:pt x="102" y="169"/>
                  </a:lnTo>
                  <a:lnTo>
                    <a:pt x="102" y="166"/>
                  </a:lnTo>
                  <a:close/>
                  <a:moveTo>
                    <a:pt x="100" y="169"/>
                  </a:moveTo>
                  <a:lnTo>
                    <a:pt x="100" y="166"/>
                  </a:lnTo>
                  <a:lnTo>
                    <a:pt x="100" y="169"/>
                  </a:lnTo>
                  <a:close/>
                  <a:moveTo>
                    <a:pt x="100" y="166"/>
                  </a:moveTo>
                  <a:lnTo>
                    <a:pt x="102" y="166"/>
                  </a:lnTo>
                  <a:lnTo>
                    <a:pt x="100" y="166"/>
                  </a:lnTo>
                  <a:close/>
                  <a:moveTo>
                    <a:pt x="100" y="164"/>
                  </a:moveTo>
                  <a:lnTo>
                    <a:pt x="102" y="164"/>
                  </a:lnTo>
                  <a:lnTo>
                    <a:pt x="102" y="166"/>
                  </a:lnTo>
                  <a:lnTo>
                    <a:pt x="100" y="166"/>
                  </a:lnTo>
                  <a:lnTo>
                    <a:pt x="100" y="164"/>
                  </a:lnTo>
                  <a:close/>
                  <a:moveTo>
                    <a:pt x="116" y="162"/>
                  </a:moveTo>
                  <a:lnTo>
                    <a:pt x="116" y="164"/>
                  </a:lnTo>
                  <a:lnTo>
                    <a:pt x="116" y="162"/>
                  </a:lnTo>
                  <a:lnTo>
                    <a:pt x="116" y="164"/>
                  </a:lnTo>
                  <a:lnTo>
                    <a:pt x="116" y="162"/>
                  </a:lnTo>
                  <a:close/>
                  <a:moveTo>
                    <a:pt x="114" y="162"/>
                  </a:moveTo>
                  <a:lnTo>
                    <a:pt x="116" y="162"/>
                  </a:lnTo>
                  <a:lnTo>
                    <a:pt x="114" y="162"/>
                  </a:lnTo>
                  <a:close/>
                  <a:moveTo>
                    <a:pt x="116" y="162"/>
                  </a:moveTo>
                  <a:lnTo>
                    <a:pt x="114" y="162"/>
                  </a:lnTo>
                  <a:lnTo>
                    <a:pt x="116" y="162"/>
                  </a:lnTo>
                  <a:close/>
                  <a:moveTo>
                    <a:pt x="116" y="159"/>
                  </a:moveTo>
                  <a:lnTo>
                    <a:pt x="114" y="159"/>
                  </a:lnTo>
                  <a:lnTo>
                    <a:pt x="116" y="159"/>
                  </a:lnTo>
                  <a:close/>
                  <a:moveTo>
                    <a:pt x="112" y="159"/>
                  </a:moveTo>
                  <a:lnTo>
                    <a:pt x="109" y="159"/>
                  </a:lnTo>
                  <a:lnTo>
                    <a:pt x="112" y="159"/>
                  </a:lnTo>
                  <a:close/>
                  <a:moveTo>
                    <a:pt x="109" y="159"/>
                  </a:moveTo>
                  <a:lnTo>
                    <a:pt x="107" y="159"/>
                  </a:lnTo>
                  <a:lnTo>
                    <a:pt x="109" y="159"/>
                  </a:lnTo>
                  <a:close/>
                  <a:moveTo>
                    <a:pt x="109" y="157"/>
                  </a:moveTo>
                  <a:lnTo>
                    <a:pt x="109" y="159"/>
                  </a:lnTo>
                  <a:lnTo>
                    <a:pt x="109" y="157"/>
                  </a:lnTo>
                  <a:lnTo>
                    <a:pt x="109" y="159"/>
                  </a:lnTo>
                  <a:lnTo>
                    <a:pt x="109" y="157"/>
                  </a:lnTo>
                  <a:close/>
                  <a:moveTo>
                    <a:pt x="109" y="159"/>
                  </a:moveTo>
                  <a:lnTo>
                    <a:pt x="109" y="157"/>
                  </a:lnTo>
                  <a:lnTo>
                    <a:pt x="109" y="159"/>
                  </a:lnTo>
                  <a:close/>
                  <a:moveTo>
                    <a:pt x="109" y="157"/>
                  </a:moveTo>
                  <a:lnTo>
                    <a:pt x="109" y="159"/>
                  </a:lnTo>
                  <a:lnTo>
                    <a:pt x="109" y="157"/>
                  </a:lnTo>
                  <a:lnTo>
                    <a:pt x="107" y="157"/>
                  </a:lnTo>
                  <a:lnTo>
                    <a:pt x="109" y="157"/>
                  </a:lnTo>
                  <a:close/>
                  <a:moveTo>
                    <a:pt x="107" y="157"/>
                  </a:moveTo>
                  <a:lnTo>
                    <a:pt x="107" y="159"/>
                  </a:lnTo>
                  <a:lnTo>
                    <a:pt x="107" y="157"/>
                  </a:lnTo>
                  <a:close/>
                  <a:moveTo>
                    <a:pt x="109" y="157"/>
                  </a:moveTo>
                  <a:lnTo>
                    <a:pt x="107" y="157"/>
                  </a:lnTo>
                  <a:lnTo>
                    <a:pt x="109" y="157"/>
                  </a:lnTo>
                  <a:close/>
                  <a:moveTo>
                    <a:pt x="116" y="157"/>
                  </a:moveTo>
                  <a:lnTo>
                    <a:pt x="119" y="157"/>
                  </a:lnTo>
                  <a:lnTo>
                    <a:pt x="116" y="157"/>
                  </a:lnTo>
                  <a:lnTo>
                    <a:pt x="119" y="157"/>
                  </a:lnTo>
                  <a:lnTo>
                    <a:pt x="116" y="157"/>
                  </a:lnTo>
                  <a:close/>
                  <a:moveTo>
                    <a:pt x="109" y="154"/>
                  </a:moveTo>
                  <a:lnTo>
                    <a:pt x="109" y="157"/>
                  </a:lnTo>
                  <a:lnTo>
                    <a:pt x="112" y="157"/>
                  </a:lnTo>
                  <a:lnTo>
                    <a:pt x="109" y="157"/>
                  </a:lnTo>
                  <a:lnTo>
                    <a:pt x="109" y="154"/>
                  </a:lnTo>
                  <a:lnTo>
                    <a:pt x="112" y="154"/>
                  </a:lnTo>
                  <a:lnTo>
                    <a:pt x="112" y="157"/>
                  </a:lnTo>
                  <a:lnTo>
                    <a:pt x="109" y="157"/>
                  </a:lnTo>
                  <a:lnTo>
                    <a:pt x="112" y="157"/>
                  </a:lnTo>
                  <a:lnTo>
                    <a:pt x="109" y="157"/>
                  </a:lnTo>
                  <a:lnTo>
                    <a:pt x="109" y="154"/>
                  </a:lnTo>
                  <a:lnTo>
                    <a:pt x="109" y="157"/>
                  </a:lnTo>
                  <a:lnTo>
                    <a:pt x="109" y="154"/>
                  </a:lnTo>
                  <a:lnTo>
                    <a:pt x="109" y="157"/>
                  </a:lnTo>
                  <a:lnTo>
                    <a:pt x="107" y="154"/>
                  </a:lnTo>
                  <a:lnTo>
                    <a:pt x="109" y="154"/>
                  </a:lnTo>
                  <a:lnTo>
                    <a:pt x="107" y="154"/>
                  </a:lnTo>
                  <a:lnTo>
                    <a:pt x="109" y="154"/>
                  </a:lnTo>
                  <a:close/>
                  <a:moveTo>
                    <a:pt x="112" y="152"/>
                  </a:moveTo>
                  <a:lnTo>
                    <a:pt x="112" y="154"/>
                  </a:lnTo>
                  <a:lnTo>
                    <a:pt x="112" y="152"/>
                  </a:lnTo>
                  <a:close/>
                  <a:moveTo>
                    <a:pt x="109" y="152"/>
                  </a:moveTo>
                  <a:lnTo>
                    <a:pt x="109" y="154"/>
                  </a:lnTo>
                  <a:lnTo>
                    <a:pt x="109" y="152"/>
                  </a:lnTo>
                  <a:close/>
                  <a:moveTo>
                    <a:pt x="112" y="152"/>
                  </a:moveTo>
                  <a:lnTo>
                    <a:pt x="114" y="152"/>
                  </a:lnTo>
                  <a:lnTo>
                    <a:pt x="112" y="152"/>
                  </a:lnTo>
                  <a:close/>
                  <a:moveTo>
                    <a:pt x="114" y="152"/>
                  </a:moveTo>
                  <a:lnTo>
                    <a:pt x="112" y="152"/>
                  </a:lnTo>
                  <a:lnTo>
                    <a:pt x="114" y="152"/>
                  </a:lnTo>
                  <a:close/>
                  <a:moveTo>
                    <a:pt x="116" y="152"/>
                  </a:moveTo>
                  <a:lnTo>
                    <a:pt x="114" y="152"/>
                  </a:lnTo>
                  <a:lnTo>
                    <a:pt x="116" y="152"/>
                  </a:lnTo>
                  <a:lnTo>
                    <a:pt x="114" y="152"/>
                  </a:lnTo>
                  <a:lnTo>
                    <a:pt x="116" y="152"/>
                  </a:lnTo>
                  <a:close/>
                  <a:moveTo>
                    <a:pt x="114" y="150"/>
                  </a:moveTo>
                  <a:lnTo>
                    <a:pt x="112" y="150"/>
                  </a:lnTo>
                  <a:lnTo>
                    <a:pt x="114" y="150"/>
                  </a:lnTo>
                  <a:close/>
                  <a:moveTo>
                    <a:pt x="114" y="150"/>
                  </a:moveTo>
                  <a:lnTo>
                    <a:pt x="114" y="152"/>
                  </a:lnTo>
                  <a:lnTo>
                    <a:pt x="114" y="150"/>
                  </a:lnTo>
                  <a:lnTo>
                    <a:pt x="114" y="152"/>
                  </a:lnTo>
                  <a:lnTo>
                    <a:pt x="114" y="150"/>
                  </a:lnTo>
                  <a:close/>
                  <a:moveTo>
                    <a:pt x="116" y="150"/>
                  </a:moveTo>
                  <a:lnTo>
                    <a:pt x="114" y="150"/>
                  </a:lnTo>
                  <a:lnTo>
                    <a:pt x="116" y="150"/>
                  </a:lnTo>
                  <a:close/>
                  <a:moveTo>
                    <a:pt x="128" y="150"/>
                  </a:moveTo>
                  <a:lnTo>
                    <a:pt x="126" y="150"/>
                  </a:lnTo>
                  <a:lnTo>
                    <a:pt x="128" y="150"/>
                  </a:lnTo>
                  <a:close/>
                  <a:moveTo>
                    <a:pt x="116" y="150"/>
                  </a:moveTo>
                  <a:lnTo>
                    <a:pt x="114" y="150"/>
                  </a:lnTo>
                  <a:lnTo>
                    <a:pt x="116" y="147"/>
                  </a:lnTo>
                  <a:lnTo>
                    <a:pt x="116" y="150"/>
                  </a:lnTo>
                  <a:close/>
                  <a:moveTo>
                    <a:pt x="114" y="147"/>
                  </a:moveTo>
                  <a:lnTo>
                    <a:pt x="114" y="150"/>
                  </a:lnTo>
                  <a:lnTo>
                    <a:pt x="114" y="147"/>
                  </a:lnTo>
                  <a:close/>
                  <a:moveTo>
                    <a:pt x="140" y="140"/>
                  </a:moveTo>
                  <a:lnTo>
                    <a:pt x="138" y="140"/>
                  </a:lnTo>
                  <a:lnTo>
                    <a:pt x="140" y="140"/>
                  </a:lnTo>
                  <a:close/>
                  <a:moveTo>
                    <a:pt x="140" y="140"/>
                  </a:moveTo>
                  <a:lnTo>
                    <a:pt x="138" y="140"/>
                  </a:lnTo>
                  <a:lnTo>
                    <a:pt x="140" y="140"/>
                  </a:lnTo>
                  <a:lnTo>
                    <a:pt x="138" y="140"/>
                  </a:lnTo>
                  <a:lnTo>
                    <a:pt x="140" y="140"/>
                  </a:lnTo>
                  <a:close/>
                  <a:moveTo>
                    <a:pt x="145" y="135"/>
                  </a:moveTo>
                  <a:lnTo>
                    <a:pt x="142" y="133"/>
                  </a:lnTo>
                  <a:lnTo>
                    <a:pt x="145" y="133"/>
                  </a:lnTo>
                  <a:lnTo>
                    <a:pt x="145" y="135"/>
                  </a:lnTo>
                  <a:close/>
                  <a:moveTo>
                    <a:pt x="169" y="105"/>
                  </a:moveTo>
                  <a:lnTo>
                    <a:pt x="169" y="107"/>
                  </a:lnTo>
                  <a:lnTo>
                    <a:pt x="169" y="105"/>
                  </a:lnTo>
                  <a:close/>
                  <a:moveTo>
                    <a:pt x="197" y="88"/>
                  </a:moveTo>
                  <a:lnTo>
                    <a:pt x="197" y="90"/>
                  </a:lnTo>
                  <a:lnTo>
                    <a:pt x="197" y="88"/>
                  </a:lnTo>
                  <a:close/>
                  <a:moveTo>
                    <a:pt x="202" y="88"/>
                  </a:moveTo>
                  <a:lnTo>
                    <a:pt x="199" y="88"/>
                  </a:lnTo>
                  <a:lnTo>
                    <a:pt x="202" y="88"/>
                  </a:lnTo>
                  <a:lnTo>
                    <a:pt x="199" y="88"/>
                  </a:lnTo>
                  <a:lnTo>
                    <a:pt x="202" y="88"/>
                  </a:lnTo>
                  <a:lnTo>
                    <a:pt x="202" y="86"/>
                  </a:lnTo>
                  <a:lnTo>
                    <a:pt x="202" y="88"/>
                  </a:lnTo>
                  <a:close/>
                  <a:moveTo>
                    <a:pt x="183" y="83"/>
                  </a:moveTo>
                  <a:lnTo>
                    <a:pt x="183" y="86"/>
                  </a:lnTo>
                  <a:lnTo>
                    <a:pt x="185" y="86"/>
                  </a:lnTo>
                  <a:lnTo>
                    <a:pt x="183" y="86"/>
                  </a:lnTo>
                  <a:lnTo>
                    <a:pt x="185" y="86"/>
                  </a:lnTo>
                  <a:lnTo>
                    <a:pt x="188" y="86"/>
                  </a:lnTo>
                  <a:lnTo>
                    <a:pt x="190" y="86"/>
                  </a:lnTo>
                  <a:lnTo>
                    <a:pt x="188" y="88"/>
                  </a:lnTo>
                  <a:lnTo>
                    <a:pt x="185" y="88"/>
                  </a:lnTo>
                  <a:lnTo>
                    <a:pt x="185" y="86"/>
                  </a:lnTo>
                  <a:lnTo>
                    <a:pt x="183" y="86"/>
                  </a:lnTo>
                  <a:lnTo>
                    <a:pt x="180" y="86"/>
                  </a:lnTo>
                  <a:lnTo>
                    <a:pt x="183" y="86"/>
                  </a:lnTo>
                  <a:lnTo>
                    <a:pt x="180" y="86"/>
                  </a:lnTo>
                  <a:lnTo>
                    <a:pt x="180" y="88"/>
                  </a:lnTo>
                  <a:lnTo>
                    <a:pt x="183" y="88"/>
                  </a:lnTo>
                  <a:lnTo>
                    <a:pt x="183" y="90"/>
                  </a:lnTo>
                  <a:lnTo>
                    <a:pt x="180" y="93"/>
                  </a:lnTo>
                  <a:lnTo>
                    <a:pt x="178" y="93"/>
                  </a:lnTo>
                  <a:lnTo>
                    <a:pt x="180" y="93"/>
                  </a:lnTo>
                  <a:lnTo>
                    <a:pt x="180" y="90"/>
                  </a:lnTo>
                  <a:lnTo>
                    <a:pt x="178" y="90"/>
                  </a:lnTo>
                  <a:lnTo>
                    <a:pt x="176" y="90"/>
                  </a:lnTo>
                  <a:lnTo>
                    <a:pt x="173" y="88"/>
                  </a:lnTo>
                  <a:lnTo>
                    <a:pt x="173" y="86"/>
                  </a:lnTo>
                  <a:lnTo>
                    <a:pt x="176" y="86"/>
                  </a:lnTo>
                  <a:lnTo>
                    <a:pt x="176" y="83"/>
                  </a:lnTo>
                  <a:lnTo>
                    <a:pt x="178" y="83"/>
                  </a:lnTo>
                  <a:lnTo>
                    <a:pt x="180" y="83"/>
                  </a:lnTo>
                  <a:lnTo>
                    <a:pt x="183" y="83"/>
                  </a:lnTo>
                  <a:close/>
                  <a:moveTo>
                    <a:pt x="199" y="83"/>
                  </a:moveTo>
                  <a:lnTo>
                    <a:pt x="199" y="86"/>
                  </a:lnTo>
                  <a:lnTo>
                    <a:pt x="197" y="86"/>
                  </a:lnTo>
                  <a:lnTo>
                    <a:pt x="197" y="83"/>
                  </a:lnTo>
                  <a:lnTo>
                    <a:pt x="199" y="83"/>
                  </a:lnTo>
                  <a:close/>
                  <a:moveTo>
                    <a:pt x="192" y="83"/>
                  </a:moveTo>
                  <a:lnTo>
                    <a:pt x="195" y="83"/>
                  </a:lnTo>
                  <a:lnTo>
                    <a:pt x="192" y="83"/>
                  </a:lnTo>
                  <a:close/>
                  <a:moveTo>
                    <a:pt x="192" y="81"/>
                  </a:moveTo>
                  <a:lnTo>
                    <a:pt x="190" y="81"/>
                  </a:lnTo>
                  <a:lnTo>
                    <a:pt x="192" y="81"/>
                  </a:lnTo>
                  <a:close/>
                  <a:moveTo>
                    <a:pt x="197" y="69"/>
                  </a:moveTo>
                  <a:lnTo>
                    <a:pt x="195" y="69"/>
                  </a:lnTo>
                  <a:lnTo>
                    <a:pt x="197" y="69"/>
                  </a:lnTo>
                  <a:close/>
                  <a:moveTo>
                    <a:pt x="183" y="67"/>
                  </a:moveTo>
                  <a:lnTo>
                    <a:pt x="183" y="69"/>
                  </a:lnTo>
                  <a:lnTo>
                    <a:pt x="183" y="67"/>
                  </a:lnTo>
                  <a:lnTo>
                    <a:pt x="180" y="69"/>
                  </a:lnTo>
                  <a:lnTo>
                    <a:pt x="183" y="69"/>
                  </a:lnTo>
                  <a:lnTo>
                    <a:pt x="180" y="67"/>
                  </a:lnTo>
                  <a:lnTo>
                    <a:pt x="183" y="67"/>
                  </a:lnTo>
                  <a:close/>
                  <a:moveTo>
                    <a:pt x="188" y="64"/>
                  </a:moveTo>
                  <a:lnTo>
                    <a:pt x="188" y="67"/>
                  </a:lnTo>
                  <a:lnTo>
                    <a:pt x="188" y="64"/>
                  </a:lnTo>
                  <a:close/>
                  <a:moveTo>
                    <a:pt x="199" y="62"/>
                  </a:moveTo>
                  <a:lnTo>
                    <a:pt x="197" y="62"/>
                  </a:lnTo>
                  <a:lnTo>
                    <a:pt x="199" y="62"/>
                  </a:lnTo>
                  <a:close/>
                  <a:moveTo>
                    <a:pt x="188" y="57"/>
                  </a:moveTo>
                  <a:lnTo>
                    <a:pt x="188" y="55"/>
                  </a:lnTo>
                  <a:lnTo>
                    <a:pt x="188" y="57"/>
                  </a:lnTo>
                  <a:close/>
                  <a:moveTo>
                    <a:pt x="188" y="55"/>
                  </a:moveTo>
                  <a:lnTo>
                    <a:pt x="185" y="55"/>
                  </a:lnTo>
                  <a:lnTo>
                    <a:pt x="188" y="55"/>
                  </a:lnTo>
                  <a:lnTo>
                    <a:pt x="185" y="55"/>
                  </a:lnTo>
                  <a:lnTo>
                    <a:pt x="188" y="55"/>
                  </a:lnTo>
                  <a:close/>
                  <a:moveTo>
                    <a:pt x="188" y="55"/>
                  </a:moveTo>
                  <a:lnTo>
                    <a:pt x="190" y="55"/>
                  </a:lnTo>
                  <a:lnTo>
                    <a:pt x="188" y="55"/>
                  </a:lnTo>
                  <a:close/>
                  <a:moveTo>
                    <a:pt x="178" y="55"/>
                  </a:moveTo>
                  <a:lnTo>
                    <a:pt x="178" y="52"/>
                  </a:lnTo>
                  <a:lnTo>
                    <a:pt x="178" y="55"/>
                  </a:lnTo>
                  <a:close/>
                  <a:moveTo>
                    <a:pt x="173" y="52"/>
                  </a:moveTo>
                  <a:lnTo>
                    <a:pt x="173" y="55"/>
                  </a:lnTo>
                  <a:lnTo>
                    <a:pt x="173" y="52"/>
                  </a:lnTo>
                  <a:close/>
                  <a:moveTo>
                    <a:pt x="183" y="55"/>
                  </a:moveTo>
                  <a:lnTo>
                    <a:pt x="183" y="52"/>
                  </a:lnTo>
                  <a:lnTo>
                    <a:pt x="185" y="52"/>
                  </a:lnTo>
                  <a:lnTo>
                    <a:pt x="185" y="55"/>
                  </a:lnTo>
                  <a:lnTo>
                    <a:pt x="183" y="55"/>
                  </a:lnTo>
                  <a:close/>
                  <a:moveTo>
                    <a:pt x="183" y="52"/>
                  </a:moveTo>
                  <a:lnTo>
                    <a:pt x="180" y="52"/>
                  </a:lnTo>
                  <a:lnTo>
                    <a:pt x="183" y="52"/>
                  </a:lnTo>
                  <a:close/>
                  <a:moveTo>
                    <a:pt x="173" y="50"/>
                  </a:moveTo>
                  <a:lnTo>
                    <a:pt x="176" y="50"/>
                  </a:lnTo>
                  <a:lnTo>
                    <a:pt x="173" y="50"/>
                  </a:lnTo>
                  <a:lnTo>
                    <a:pt x="173" y="52"/>
                  </a:lnTo>
                  <a:lnTo>
                    <a:pt x="173" y="50"/>
                  </a:lnTo>
                  <a:lnTo>
                    <a:pt x="173" y="52"/>
                  </a:lnTo>
                  <a:lnTo>
                    <a:pt x="171" y="52"/>
                  </a:lnTo>
                  <a:lnTo>
                    <a:pt x="173" y="52"/>
                  </a:lnTo>
                  <a:lnTo>
                    <a:pt x="171" y="52"/>
                  </a:lnTo>
                  <a:lnTo>
                    <a:pt x="171" y="50"/>
                  </a:lnTo>
                  <a:lnTo>
                    <a:pt x="173" y="50"/>
                  </a:lnTo>
                  <a:close/>
                  <a:moveTo>
                    <a:pt x="171" y="50"/>
                  </a:moveTo>
                  <a:lnTo>
                    <a:pt x="171" y="48"/>
                  </a:lnTo>
                  <a:lnTo>
                    <a:pt x="173" y="48"/>
                  </a:lnTo>
                  <a:lnTo>
                    <a:pt x="171" y="50"/>
                  </a:lnTo>
                  <a:close/>
                  <a:moveTo>
                    <a:pt x="161" y="48"/>
                  </a:moveTo>
                  <a:lnTo>
                    <a:pt x="164" y="48"/>
                  </a:lnTo>
                  <a:lnTo>
                    <a:pt x="161" y="48"/>
                  </a:lnTo>
                  <a:close/>
                  <a:moveTo>
                    <a:pt x="169" y="48"/>
                  </a:moveTo>
                  <a:lnTo>
                    <a:pt x="169" y="45"/>
                  </a:lnTo>
                  <a:lnTo>
                    <a:pt x="169" y="48"/>
                  </a:lnTo>
                  <a:close/>
                  <a:moveTo>
                    <a:pt x="169" y="45"/>
                  </a:moveTo>
                  <a:lnTo>
                    <a:pt x="169" y="48"/>
                  </a:lnTo>
                  <a:lnTo>
                    <a:pt x="169" y="45"/>
                  </a:lnTo>
                  <a:close/>
                  <a:moveTo>
                    <a:pt x="169" y="45"/>
                  </a:moveTo>
                  <a:lnTo>
                    <a:pt x="171" y="45"/>
                  </a:lnTo>
                  <a:lnTo>
                    <a:pt x="169" y="45"/>
                  </a:lnTo>
                  <a:close/>
                  <a:moveTo>
                    <a:pt x="171" y="45"/>
                  </a:moveTo>
                  <a:lnTo>
                    <a:pt x="169" y="45"/>
                  </a:lnTo>
                  <a:lnTo>
                    <a:pt x="171" y="45"/>
                  </a:lnTo>
                  <a:close/>
                  <a:moveTo>
                    <a:pt x="169" y="45"/>
                  </a:moveTo>
                  <a:lnTo>
                    <a:pt x="166" y="45"/>
                  </a:lnTo>
                  <a:lnTo>
                    <a:pt x="169" y="45"/>
                  </a:lnTo>
                  <a:close/>
                  <a:moveTo>
                    <a:pt x="159" y="43"/>
                  </a:moveTo>
                  <a:lnTo>
                    <a:pt x="159" y="45"/>
                  </a:lnTo>
                  <a:lnTo>
                    <a:pt x="159" y="43"/>
                  </a:lnTo>
                  <a:lnTo>
                    <a:pt x="159" y="45"/>
                  </a:lnTo>
                  <a:lnTo>
                    <a:pt x="159" y="43"/>
                  </a:lnTo>
                  <a:close/>
                  <a:moveTo>
                    <a:pt x="164" y="45"/>
                  </a:moveTo>
                  <a:lnTo>
                    <a:pt x="164" y="43"/>
                  </a:lnTo>
                  <a:lnTo>
                    <a:pt x="164" y="45"/>
                  </a:lnTo>
                  <a:close/>
                  <a:moveTo>
                    <a:pt x="154" y="28"/>
                  </a:moveTo>
                  <a:lnTo>
                    <a:pt x="154" y="31"/>
                  </a:lnTo>
                  <a:lnTo>
                    <a:pt x="154" y="28"/>
                  </a:lnTo>
                  <a:close/>
                  <a:moveTo>
                    <a:pt x="152" y="28"/>
                  </a:moveTo>
                  <a:lnTo>
                    <a:pt x="154" y="28"/>
                  </a:lnTo>
                  <a:lnTo>
                    <a:pt x="152" y="28"/>
                  </a:lnTo>
                  <a:close/>
                  <a:moveTo>
                    <a:pt x="145" y="17"/>
                  </a:moveTo>
                  <a:lnTo>
                    <a:pt x="145" y="19"/>
                  </a:lnTo>
                  <a:lnTo>
                    <a:pt x="142" y="17"/>
                  </a:lnTo>
                  <a:lnTo>
                    <a:pt x="145" y="17"/>
                  </a:lnTo>
                  <a:lnTo>
                    <a:pt x="142" y="17"/>
                  </a:lnTo>
                  <a:lnTo>
                    <a:pt x="145" y="17"/>
                  </a:lnTo>
                  <a:close/>
                  <a:moveTo>
                    <a:pt x="142" y="14"/>
                  </a:moveTo>
                  <a:lnTo>
                    <a:pt x="142" y="12"/>
                  </a:lnTo>
                  <a:lnTo>
                    <a:pt x="145" y="12"/>
                  </a:lnTo>
                  <a:lnTo>
                    <a:pt x="142" y="12"/>
                  </a:lnTo>
                  <a:lnTo>
                    <a:pt x="142" y="14"/>
                  </a:lnTo>
                  <a:close/>
                  <a:moveTo>
                    <a:pt x="150" y="0"/>
                  </a:moveTo>
                  <a:lnTo>
                    <a:pt x="150" y="2"/>
                  </a:lnTo>
                  <a:lnTo>
                    <a:pt x="15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8" name="Freeform 50964"/>
            <p:cNvSpPr>
              <a:spLocks noEditPoints="1"/>
            </p:cNvSpPr>
            <p:nvPr/>
          </p:nvSpPr>
          <p:spPr bwMode="auto">
            <a:xfrm>
              <a:off x="3038473" y="3324237"/>
              <a:ext cx="441325" cy="592140"/>
            </a:xfrm>
            <a:custGeom>
              <a:avLst/>
              <a:gdLst>
                <a:gd name="T0" fmla="*/ 123 w 278"/>
                <a:gd name="T1" fmla="*/ 371 h 373"/>
                <a:gd name="T2" fmla="*/ 114 w 278"/>
                <a:gd name="T3" fmla="*/ 369 h 373"/>
                <a:gd name="T4" fmla="*/ 57 w 278"/>
                <a:gd name="T5" fmla="*/ 369 h 373"/>
                <a:gd name="T6" fmla="*/ 95 w 278"/>
                <a:gd name="T7" fmla="*/ 369 h 373"/>
                <a:gd name="T8" fmla="*/ 142 w 278"/>
                <a:gd name="T9" fmla="*/ 366 h 373"/>
                <a:gd name="T10" fmla="*/ 90 w 278"/>
                <a:gd name="T11" fmla="*/ 366 h 373"/>
                <a:gd name="T12" fmla="*/ 55 w 278"/>
                <a:gd name="T13" fmla="*/ 366 h 373"/>
                <a:gd name="T14" fmla="*/ 133 w 278"/>
                <a:gd name="T15" fmla="*/ 366 h 373"/>
                <a:gd name="T16" fmla="*/ 83 w 278"/>
                <a:gd name="T17" fmla="*/ 364 h 373"/>
                <a:gd name="T18" fmla="*/ 57 w 278"/>
                <a:gd name="T19" fmla="*/ 364 h 373"/>
                <a:gd name="T20" fmla="*/ 154 w 278"/>
                <a:gd name="T21" fmla="*/ 361 h 373"/>
                <a:gd name="T22" fmla="*/ 55 w 278"/>
                <a:gd name="T23" fmla="*/ 361 h 373"/>
                <a:gd name="T24" fmla="*/ 159 w 278"/>
                <a:gd name="T25" fmla="*/ 361 h 373"/>
                <a:gd name="T26" fmla="*/ 64 w 278"/>
                <a:gd name="T27" fmla="*/ 359 h 373"/>
                <a:gd name="T28" fmla="*/ 78 w 278"/>
                <a:gd name="T29" fmla="*/ 359 h 373"/>
                <a:gd name="T30" fmla="*/ 21 w 278"/>
                <a:gd name="T31" fmla="*/ 359 h 373"/>
                <a:gd name="T32" fmla="*/ 29 w 278"/>
                <a:gd name="T33" fmla="*/ 359 h 373"/>
                <a:gd name="T34" fmla="*/ 33 w 278"/>
                <a:gd name="T35" fmla="*/ 357 h 373"/>
                <a:gd name="T36" fmla="*/ 90 w 278"/>
                <a:gd name="T37" fmla="*/ 354 h 373"/>
                <a:gd name="T38" fmla="*/ 17 w 278"/>
                <a:gd name="T39" fmla="*/ 354 h 373"/>
                <a:gd name="T40" fmla="*/ 62 w 278"/>
                <a:gd name="T41" fmla="*/ 354 h 373"/>
                <a:gd name="T42" fmla="*/ 62 w 278"/>
                <a:gd name="T43" fmla="*/ 352 h 373"/>
                <a:gd name="T44" fmla="*/ 31 w 278"/>
                <a:gd name="T45" fmla="*/ 352 h 373"/>
                <a:gd name="T46" fmla="*/ 36 w 278"/>
                <a:gd name="T47" fmla="*/ 352 h 373"/>
                <a:gd name="T48" fmla="*/ 48 w 278"/>
                <a:gd name="T49" fmla="*/ 350 h 373"/>
                <a:gd name="T50" fmla="*/ 221 w 278"/>
                <a:gd name="T51" fmla="*/ 350 h 373"/>
                <a:gd name="T52" fmla="*/ 216 w 278"/>
                <a:gd name="T53" fmla="*/ 347 h 373"/>
                <a:gd name="T54" fmla="*/ 62 w 278"/>
                <a:gd name="T55" fmla="*/ 347 h 373"/>
                <a:gd name="T56" fmla="*/ 48 w 278"/>
                <a:gd name="T57" fmla="*/ 347 h 373"/>
                <a:gd name="T58" fmla="*/ 55 w 278"/>
                <a:gd name="T59" fmla="*/ 345 h 373"/>
                <a:gd name="T60" fmla="*/ 71 w 278"/>
                <a:gd name="T61" fmla="*/ 345 h 373"/>
                <a:gd name="T62" fmla="*/ 36 w 278"/>
                <a:gd name="T63" fmla="*/ 342 h 373"/>
                <a:gd name="T64" fmla="*/ 64 w 278"/>
                <a:gd name="T65" fmla="*/ 342 h 373"/>
                <a:gd name="T66" fmla="*/ 235 w 278"/>
                <a:gd name="T67" fmla="*/ 340 h 373"/>
                <a:gd name="T68" fmla="*/ 52 w 278"/>
                <a:gd name="T69" fmla="*/ 342 h 373"/>
                <a:gd name="T70" fmla="*/ 59 w 278"/>
                <a:gd name="T71" fmla="*/ 340 h 373"/>
                <a:gd name="T72" fmla="*/ 50 w 278"/>
                <a:gd name="T73" fmla="*/ 338 h 373"/>
                <a:gd name="T74" fmla="*/ 21 w 278"/>
                <a:gd name="T75" fmla="*/ 340 h 373"/>
                <a:gd name="T76" fmla="*/ 59 w 278"/>
                <a:gd name="T77" fmla="*/ 338 h 373"/>
                <a:gd name="T78" fmla="*/ 52 w 278"/>
                <a:gd name="T79" fmla="*/ 338 h 373"/>
                <a:gd name="T80" fmla="*/ 88 w 278"/>
                <a:gd name="T81" fmla="*/ 338 h 373"/>
                <a:gd name="T82" fmla="*/ 50 w 278"/>
                <a:gd name="T83" fmla="*/ 335 h 373"/>
                <a:gd name="T84" fmla="*/ 275 w 278"/>
                <a:gd name="T85" fmla="*/ 333 h 373"/>
                <a:gd name="T86" fmla="*/ 31 w 278"/>
                <a:gd name="T87" fmla="*/ 333 h 373"/>
                <a:gd name="T88" fmla="*/ 86 w 278"/>
                <a:gd name="T89" fmla="*/ 331 h 373"/>
                <a:gd name="T90" fmla="*/ 64 w 278"/>
                <a:gd name="T91" fmla="*/ 328 h 373"/>
                <a:gd name="T92" fmla="*/ 64 w 278"/>
                <a:gd name="T93" fmla="*/ 321 h 373"/>
                <a:gd name="T94" fmla="*/ 59 w 278"/>
                <a:gd name="T95" fmla="*/ 314 h 373"/>
                <a:gd name="T96" fmla="*/ 69 w 278"/>
                <a:gd name="T97" fmla="*/ 297 h 373"/>
                <a:gd name="T98" fmla="*/ 67 w 278"/>
                <a:gd name="T99" fmla="*/ 285 h 373"/>
                <a:gd name="T100" fmla="*/ 69 w 278"/>
                <a:gd name="T101" fmla="*/ 262 h 373"/>
                <a:gd name="T102" fmla="*/ 67 w 278"/>
                <a:gd name="T103" fmla="*/ 238 h 373"/>
                <a:gd name="T104" fmla="*/ 67 w 278"/>
                <a:gd name="T105" fmla="*/ 202 h 373"/>
                <a:gd name="T106" fmla="*/ 62 w 278"/>
                <a:gd name="T107" fmla="*/ 193 h 373"/>
                <a:gd name="T108" fmla="*/ 71 w 278"/>
                <a:gd name="T109" fmla="*/ 186 h 373"/>
                <a:gd name="T110" fmla="*/ 86 w 278"/>
                <a:gd name="T111" fmla="*/ 181 h 373"/>
                <a:gd name="T112" fmla="*/ 59 w 278"/>
                <a:gd name="T113" fmla="*/ 179 h 373"/>
                <a:gd name="T114" fmla="*/ 83 w 278"/>
                <a:gd name="T115" fmla="*/ 176 h 373"/>
                <a:gd name="T116" fmla="*/ 107 w 278"/>
                <a:gd name="T117" fmla="*/ 157 h 373"/>
                <a:gd name="T118" fmla="*/ 114 w 278"/>
                <a:gd name="T119" fmla="*/ 148 h 373"/>
                <a:gd name="T120" fmla="*/ 199 w 278"/>
                <a:gd name="T121" fmla="*/ 84 h 373"/>
                <a:gd name="T122" fmla="*/ 159 w 278"/>
                <a:gd name="T123" fmla="*/ 53 h 373"/>
                <a:gd name="T124" fmla="*/ 154 w 278"/>
                <a:gd name="T125" fmla="*/ 2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8" h="373">
                  <a:moveTo>
                    <a:pt x="76" y="373"/>
                  </a:moveTo>
                  <a:lnTo>
                    <a:pt x="74" y="373"/>
                  </a:lnTo>
                  <a:lnTo>
                    <a:pt x="76" y="373"/>
                  </a:lnTo>
                  <a:close/>
                  <a:moveTo>
                    <a:pt x="121" y="373"/>
                  </a:moveTo>
                  <a:lnTo>
                    <a:pt x="119" y="371"/>
                  </a:lnTo>
                  <a:lnTo>
                    <a:pt x="121" y="371"/>
                  </a:lnTo>
                  <a:lnTo>
                    <a:pt x="121" y="373"/>
                  </a:lnTo>
                  <a:close/>
                  <a:moveTo>
                    <a:pt x="62" y="373"/>
                  </a:moveTo>
                  <a:lnTo>
                    <a:pt x="62" y="371"/>
                  </a:lnTo>
                  <a:lnTo>
                    <a:pt x="62" y="373"/>
                  </a:lnTo>
                  <a:close/>
                  <a:moveTo>
                    <a:pt x="74" y="373"/>
                  </a:moveTo>
                  <a:lnTo>
                    <a:pt x="74" y="371"/>
                  </a:lnTo>
                  <a:lnTo>
                    <a:pt x="74" y="373"/>
                  </a:lnTo>
                  <a:close/>
                  <a:moveTo>
                    <a:pt x="112" y="373"/>
                  </a:moveTo>
                  <a:lnTo>
                    <a:pt x="112" y="371"/>
                  </a:lnTo>
                  <a:lnTo>
                    <a:pt x="112" y="373"/>
                  </a:lnTo>
                  <a:close/>
                  <a:moveTo>
                    <a:pt x="74" y="371"/>
                  </a:moveTo>
                  <a:lnTo>
                    <a:pt x="74" y="373"/>
                  </a:lnTo>
                  <a:lnTo>
                    <a:pt x="74" y="371"/>
                  </a:lnTo>
                  <a:close/>
                  <a:moveTo>
                    <a:pt x="76" y="371"/>
                  </a:moveTo>
                  <a:lnTo>
                    <a:pt x="74" y="371"/>
                  </a:lnTo>
                  <a:lnTo>
                    <a:pt x="76" y="371"/>
                  </a:lnTo>
                  <a:close/>
                  <a:moveTo>
                    <a:pt x="116" y="371"/>
                  </a:moveTo>
                  <a:lnTo>
                    <a:pt x="114" y="371"/>
                  </a:lnTo>
                  <a:lnTo>
                    <a:pt x="116" y="371"/>
                  </a:lnTo>
                  <a:close/>
                  <a:moveTo>
                    <a:pt x="71" y="371"/>
                  </a:moveTo>
                  <a:lnTo>
                    <a:pt x="69" y="371"/>
                  </a:lnTo>
                  <a:lnTo>
                    <a:pt x="71" y="371"/>
                  </a:lnTo>
                  <a:close/>
                  <a:moveTo>
                    <a:pt x="59" y="371"/>
                  </a:moveTo>
                  <a:lnTo>
                    <a:pt x="57" y="371"/>
                  </a:lnTo>
                  <a:lnTo>
                    <a:pt x="59" y="371"/>
                  </a:lnTo>
                  <a:close/>
                  <a:moveTo>
                    <a:pt x="90" y="371"/>
                  </a:moveTo>
                  <a:lnTo>
                    <a:pt x="93" y="371"/>
                  </a:lnTo>
                  <a:lnTo>
                    <a:pt x="90" y="371"/>
                  </a:lnTo>
                  <a:lnTo>
                    <a:pt x="93" y="371"/>
                  </a:lnTo>
                  <a:lnTo>
                    <a:pt x="90" y="371"/>
                  </a:lnTo>
                  <a:close/>
                  <a:moveTo>
                    <a:pt x="102" y="371"/>
                  </a:moveTo>
                  <a:lnTo>
                    <a:pt x="100" y="371"/>
                  </a:lnTo>
                  <a:lnTo>
                    <a:pt x="102" y="371"/>
                  </a:lnTo>
                  <a:close/>
                  <a:moveTo>
                    <a:pt x="62" y="371"/>
                  </a:moveTo>
                  <a:lnTo>
                    <a:pt x="59" y="371"/>
                  </a:lnTo>
                  <a:lnTo>
                    <a:pt x="62" y="371"/>
                  </a:lnTo>
                  <a:close/>
                  <a:moveTo>
                    <a:pt x="119" y="371"/>
                  </a:moveTo>
                  <a:lnTo>
                    <a:pt x="116" y="371"/>
                  </a:lnTo>
                  <a:lnTo>
                    <a:pt x="119" y="371"/>
                  </a:lnTo>
                  <a:close/>
                  <a:moveTo>
                    <a:pt x="59" y="371"/>
                  </a:moveTo>
                  <a:lnTo>
                    <a:pt x="57" y="371"/>
                  </a:lnTo>
                  <a:lnTo>
                    <a:pt x="59" y="371"/>
                  </a:lnTo>
                  <a:close/>
                  <a:moveTo>
                    <a:pt x="104" y="371"/>
                  </a:moveTo>
                  <a:lnTo>
                    <a:pt x="102" y="371"/>
                  </a:lnTo>
                  <a:lnTo>
                    <a:pt x="104" y="371"/>
                  </a:lnTo>
                  <a:close/>
                  <a:moveTo>
                    <a:pt x="119" y="371"/>
                  </a:moveTo>
                  <a:lnTo>
                    <a:pt x="116" y="371"/>
                  </a:lnTo>
                  <a:lnTo>
                    <a:pt x="119" y="371"/>
                  </a:lnTo>
                  <a:close/>
                  <a:moveTo>
                    <a:pt x="57" y="371"/>
                  </a:moveTo>
                  <a:lnTo>
                    <a:pt x="55" y="371"/>
                  </a:lnTo>
                  <a:lnTo>
                    <a:pt x="57" y="371"/>
                  </a:lnTo>
                  <a:close/>
                  <a:moveTo>
                    <a:pt x="74" y="371"/>
                  </a:moveTo>
                  <a:lnTo>
                    <a:pt x="71" y="371"/>
                  </a:lnTo>
                  <a:lnTo>
                    <a:pt x="74" y="371"/>
                  </a:lnTo>
                  <a:close/>
                  <a:moveTo>
                    <a:pt x="123" y="371"/>
                  </a:moveTo>
                  <a:lnTo>
                    <a:pt x="123" y="369"/>
                  </a:lnTo>
                  <a:lnTo>
                    <a:pt x="123" y="371"/>
                  </a:lnTo>
                  <a:close/>
                  <a:moveTo>
                    <a:pt x="116" y="371"/>
                  </a:moveTo>
                  <a:lnTo>
                    <a:pt x="116" y="369"/>
                  </a:lnTo>
                  <a:lnTo>
                    <a:pt x="116" y="371"/>
                  </a:lnTo>
                  <a:close/>
                  <a:moveTo>
                    <a:pt x="114" y="371"/>
                  </a:moveTo>
                  <a:lnTo>
                    <a:pt x="114" y="369"/>
                  </a:lnTo>
                  <a:lnTo>
                    <a:pt x="114" y="371"/>
                  </a:lnTo>
                  <a:close/>
                  <a:moveTo>
                    <a:pt x="119" y="371"/>
                  </a:moveTo>
                  <a:lnTo>
                    <a:pt x="119" y="369"/>
                  </a:lnTo>
                  <a:lnTo>
                    <a:pt x="119" y="371"/>
                  </a:lnTo>
                  <a:close/>
                  <a:moveTo>
                    <a:pt x="93" y="371"/>
                  </a:moveTo>
                  <a:lnTo>
                    <a:pt x="93" y="369"/>
                  </a:lnTo>
                  <a:lnTo>
                    <a:pt x="93" y="371"/>
                  </a:lnTo>
                  <a:close/>
                  <a:moveTo>
                    <a:pt x="83" y="371"/>
                  </a:moveTo>
                  <a:lnTo>
                    <a:pt x="83" y="369"/>
                  </a:lnTo>
                  <a:lnTo>
                    <a:pt x="83" y="371"/>
                  </a:lnTo>
                  <a:close/>
                  <a:moveTo>
                    <a:pt x="104" y="371"/>
                  </a:moveTo>
                  <a:lnTo>
                    <a:pt x="104" y="369"/>
                  </a:lnTo>
                  <a:lnTo>
                    <a:pt x="104" y="371"/>
                  </a:lnTo>
                  <a:close/>
                  <a:moveTo>
                    <a:pt x="59" y="371"/>
                  </a:moveTo>
                  <a:lnTo>
                    <a:pt x="59" y="369"/>
                  </a:lnTo>
                  <a:lnTo>
                    <a:pt x="59" y="371"/>
                  </a:lnTo>
                  <a:close/>
                  <a:moveTo>
                    <a:pt x="97" y="369"/>
                  </a:moveTo>
                  <a:lnTo>
                    <a:pt x="97" y="371"/>
                  </a:lnTo>
                  <a:lnTo>
                    <a:pt x="97" y="369"/>
                  </a:lnTo>
                  <a:close/>
                  <a:moveTo>
                    <a:pt x="90" y="369"/>
                  </a:moveTo>
                  <a:lnTo>
                    <a:pt x="90" y="371"/>
                  </a:lnTo>
                  <a:lnTo>
                    <a:pt x="90" y="369"/>
                  </a:lnTo>
                  <a:close/>
                  <a:moveTo>
                    <a:pt x="102" y="371"/>
                  </a:moveTo>
                  <a:lnTo>
                    <a:pt x="102" y="369"/>
                  </a:lnTo>
                  <a:lnTo>
                    <a:pt x="102" y="371"/>
                  </a:lnTo>
                  <a:close/>
                  <a:moveTo>
                    <a:pt x="62" y="369"/>
                  </a:moveTo>
                  <a:lnTo>
                    <a:pt x="62" y="371"/>
                  </a:lnTo>
                  <a:lnTo>
                    <a:pt x="62" y="369"/>
                  </a:lnTo>
                  <a:close/>
                  <a:moveTo>
                    <a:pt x="55" y="369"/>
                  </a:moveTo>
                  <a:lnTo>
                    <a:pt x="55" y="371"/>
                  </a:lnTo>
                  <a:lnTo>
                    <a:pt x="52" y="369"/>
                  </a:lnTo>
                  <a:lnTo>
                    <a:pt x="55" y="369"/>
                  </a:lnTo>
                  <a:close/>
                  <a:moveTo>
                    <a:pt x="67" y="369"/>
                  </a:moveTo>
                  <a:lnTo>
                    <a:pt x="67" y="371"/>
                  </a:lnTo>
                  <a:lnTo>
                    <a:pt x="67" y="369"/>
                  </a:lnTo>
                  <a:close/>
                  <a:moveTo>
                    <a:pt x="83" y="369"/>
                  </a:moveTo>
                  <a:lnTo>
                    <a:pt x="83" y="371"/>
                  </a:lnTo>
                  <a:lnTo>
                    <a:pt x="83" y="369"/>
                  </a:lnTo>
                  <a:close/>
                  <a:moveTo>
                    <a:pt x="93" y="371"/>
                  </a:moveTo>
                  <a:lnTo>
                    <a:pt x="90" y="371"/>
                  </a:lnTo>
                  <a:lnTo>
                    <a:pt x="93" y="371"/>
                  </a:lnTo>
                  <a:lnTo>
                    <a:pt x="93" y="369"/>
                  </a:lnTo>
                  <a:lnTo>
                    <a:pt x="93" y="371"/>
                  </a:lnTo>
                  <a:close/>
                  <a:moveTo>
                    <a:pt x="104" y="369"/>
                  </a:moveTo>
                  <a:lnTo>
                    <a:pt x="102" y="369"/>
                  </a:lnTo>
                  <a:lnTo>
                    <a:pt x="104" y="369"/>
                  </a:lnTo>
                  <a:close/>
                  <a:moveTo>
                    <a:pt x="55" y="369"/>
                  </a:moveTo>
                  <a:lnTo>
                    <a:pt x="52" y="369"/>
                  </a:lnTo>
                  <a:lnTo>
                    <a:pt x="55" y="369"/>
                  </a:lnTo>
                  <a:close/>
                  <a:moveTo>
                    <a:pt x="59" y="369"/>
                  </a:moveTo>
                  <a:lnTo>
                    <a:pt x="57" y="369"/>
                  </a:lnTo>
                  <a:lnTo>
                    <a:pt x="59" y="369"/>
                  </a:lnTo>
                  <a:close/>
                  <a:moveTo>
                    <a:pt x="123" y="369"/>
                  </a:moveTo>
                  <a:lnTo>
                    <a:pt x="121" y="369"/>
                  </a:lnTo>
                  <a:lnTo>
                    <a:pt x="123" y="369"/>
                  </a:lnTo>
                  <a:close/>
                  <a:moveTo>
                    <a:pt x="114" y="369"/>
                  </a:moveTo>
                  <a:lnTo>
                    <a:pt x="112" y="369"/>
                  </a:lnTo>
                  <a:lnTo>
                    <a:pt x="114" y="369"/>
                  </a:lnTo>
                  <a:close/>
                  <a:moveTo>
                    <a:pt x="52" y="369"/>
                  </a:moveTo>
                  <a:lnTo>
                    <a:pt x="55" y="369"/>
                  </a:lnTo>
                  <a:lnTo>
                    <a:pt x="52" y="369"/>
                  </a:lnTo>
                  <a:close/>
                  <a:moveTo>
                    <a:pt x="93" y="369"/>
                  </a:moveTo>
                  <a:lnTo>
                    <a:pt x="90" y="369"/>
                  </a:lnTo>
                  <a:lnTo>
                    <a:pt x="93" y="369"/>
                  </a:lnTo>
                  <a:close/>
                  <a:moveTo>
                    <a:pt x="83" y="369"/>
                  </a:moveTo>
                  <a:lnTo>
                    <a:pt x="81" y="369"/>
                  </a:lnTo>
                  <a:lnTo>
                    <a:pt x="83" y="369"/>
                  </a:lnTo>
                  <a:lnTo>
                    <a:pt x="81" y="369"/>
                  </a:lnTo>
                  <a:lnTo>
                    <a:pt x="83" y="369"/>
                  </a:lnTo>
                  <a:close/>
                  <a:moveTo>
                    <a:pt x="135" y="369"/>
                  </a:moveTo>
                  <a:lnTo>
                    <a:pt x="138" y="369"/>
                  </a:lnTo>
                  <a:lnTo>
                    <a:pt x="135" y="369"/>
                  </a:lnTo>
                  <a:close/>
                  <a:moveTo>
                    <a:pt x="83" y="369"/>
                  </a:moveTo>
                  <a:lnTo>
                    <a:pt x="81" y="369"/>
                  </a:lnTo>
                  <a:lnTo>
                    <a:pt x="83" y="369"/>
                  </a:lnTo>
                  <a:close/>
                  <a:moveTo>
                    <a:pt x="107" y="369"/>
                  </a:moveTo>
                  <a:lnTo>
                    <a:pt x="104" y="369"/>
                  </a:lnTo>
                  <a:lnTo>
                    <a:pt x="107" y="369"/>
                  </a:lnTo>
                  <a:close/>
                  <a:moveTo>
                    <a:pt x="64" y="369"/>
                  </a:moveTo>
                  <a:lnTo>
                    <a:pt x="62" y="369"/>
                  </a:lnTo>
                  <a:lnTo>
                    <a:pt x="64" y="369"/>
                  </a:lnTo>
                  <a:close/>
                  <a:moveTo>
                    <a:pt x="81" y="369"/>
                  </a:moveTo>
                  <a:lnTo>
                    <a:pt x="83" y="369"/>
                  </a:lnTo>
                  <a:lnTo>
                    <a:pt x="81" y="369"/>
                  </a:lnTo>
                  <a:close/>
                  <a:moveTo>
                    <a:pt x="138" y="369"/>
                  </a:moveTo>
                  <a:lnTo>
                    <a:pt x="135" y="369"/>
                  </a:lnTo>
                  <a:lnTo>
                    <a:pt x="138" y="369"/>
                  </a:lnTo>
                  <a:close/>
                  <a:moveTo>
                    <a:pt x="95" y="369"/>
                  </a:moveTo>
                  <a:lnTo>
                    <a:pt x="93" y="369"/>
                  </a:lnTo>
                  <a:lnTo>
                    <a:pt x="95" y="369"/>
                  </a:lnTo>
                  <a:lnTo>
                    <a:pt x="93" y="369"/>
                  </a:lnTo>
                  <a:lnTo>
                    <a:pt x="95" y="369"/>
                  </a:lnTo>
                  <a:close/>
                  <a:moveTo>
                    <a:pt x="43" y="369"/>
                  </a:moveTo>
                  <a:lnTo>
                    <a:pt x="40" y="369"/>
                  </a:lnTo>
                  <a:lnTo>
                    <a:pt x="43" y="369"/>
                  </a:lnTo>
                  <a:close/>
                  <a:moveTo>
                    <a:pt x="116" y="369"/>
                  </a:moveTo>
                  <a:lnTo>
                    <a:pt x="114" y="369"/>
                  </a:lnTo>
                  <a:lnTo>
                    <a:pt x="116" y="369"/>
                  </a:lnTo>
                  <a:close/>
                  <a:moveTo>
                    <a:pt x="104" y="369"/>
                  </a:moveTo>
                  <a:lnTo>
                    <a:pt x="102" y="369"/>
                  </a:lnTo>
                  <a:lnTo>
                    <a:pt x="104" y="369"/>
                  </a:lnTo>
                  <a:close/>
                  <a:moveTo>
                    <a:pt x="119" y="369"/>
                  </a:moveTo>
                  <a:lnTo>
                    <a:pt x="116" y="369"/>
                  </a:lnTo>
                  <a:lnTo>
                    <a:pt x="119" y="369"/>
                  </a:lnTo>
                  <a:close/>
                  <a:moveTo>
                    <a:pt x="131" y="369"/>
                  </a:moveTo>
                  <a:lnTo>
                    <a:pt x="128" y="369"/>
                  </a:lnTo>
                  <a:lnTo>
                    <a:pt x="131" y="369"/>
                  </a:lnTo>
                  <a:close/>
                  <a:moveTo>
                    <a:pt x="71" y="369"/>
                  </a:moveTo>
                  <a:lnTo>
                    <a:pt x="69" y="369"/>
                  </a:lnTo>
                  <a:lnTo>
                    <a:pt x="71" y="369"/>
                  </a:lnTo>
                  <a:close/>
                  <a:moveTo>
                    <a:pt x="90" y="369"/>
                  </a:moveTo>
                  <a:lnTo>
                    <a:pt x="88" y="369"/>
                  </a:lnTo>
                  <a:lnTo>
                    <a:pt x="90" y="369"/>
                  </a:lnTo>
                  <a:close/>
                  <a:moveTo>
                    <a:pt x="40" y="369"/>
                  </a:moveTo>
                  <a:lnTo>
                    <a:pt x="38" y="369"/>
                  </a:lnTo>
                  <a:lnTo>
                    <a:pt x="40" y="369"/>
                  </a:lnTo>
                  <a:close/>
                  <a:moveTo>
                    <a:pt x="138" y="369"/>
                  </a:moveTo>
                  <a:lnTo>
                    <a:pt x="135" y="369"/>
                  </a:lnTo>
                  <a:lnTo>
                    <a:pt x="138" y="369"/>
                  </a:lnTo>
                  <a:close/>
                  <a:moveTo>
                    <a:pt x="59" y="369"/>
                  </a:moveTo>
                  <a:lnTo>
                    <a:pt x="57" y="369"/>
                  </a:lnTo>
                  <a:lnTo>
                    <a:pt x="59" y="369"/>
                  </a:lnTo>
                  <a:close/>
                  <a:moveTo>
                    <a:pt x="104" y="369"/>
                  </a:moveTo>
                  <a:lnTo>
                    <a:pt x="102" y="369"/>
                  </a:lnTo>
                  <a:lnTo>
                    <a:pt x="104" y="369"/>
                  </a:lnTo>
                  <a:close/>
                  <a:moveTo>
                    <a:pt x="116" y="369"/>
                  </a:moveTo>
                  <a:lnTo>
                    <a:pt x="114" y="369"/>
                  </a:lnTo>
                  <a:lnTo>
                    <a:pt x="116" y="369"/>
                  </a:lnTo>
                  <a:close/>
                  <a:moveTo>
                    <a:pt x="76" y="369"/>
                  </a:moveTo>
                  <a:lnTo>
                    <a:pt x="78" y="369"/>
                  </a:lnTo>
                  <a:lnTo>
                    <a:pt x="76" y="369"/>
                  </a:lnTo>
                  <a:close/>
                  <a:moveTo>
                    <a:pt x="69" y="369"/>
                  </a:moveTo>
                  <a:lnTo>
                    <a:pt x="67" y="369"/>
                  </a:lnTo>
                  <a:lnTo>
                    <a:pt x="69" y="369"/>
                  </a:lnTo>
                  <a:close/>
                  <a:moveTo>
                    <a:pt x="38" y="369"/>
                  </a:moveTo>
                  <a:lnTo>
                    <a:pt x="40" y="369"/>
                  </a:lnTo>
                  <a:lnTo>
                    <a:pt x="38" y="369"/>
                  </a:lnTo>
                  <a:close/>
                  <a:moveTo>
                    <a:pt x="109" y="369"/>
                  </a:moveTo>
                  <a:lnTo>
                    <a:pt x="107" y="369"/>
                  </a:lnTo>
                  <a:lnTo>
                    <a:pt x="109" y="369"/>
                  </a:lnTo>
                  <a:close/>
                  <a:moveTo>
                    <a:pt x="138" y="369"/>
                  </a:moveTo>
                  <a:lnTo>
                    <a:pt x="140" y="369"/>
                  </a:lnTo>
                  <a:lnTo>
                    <a:pt x="138" y="369"/>
                  </a:lnTo>
                  <a:close/>
                  <a:moveTo>
                    <a:pt x="40" y="369"/>
                  </a:moveTo>
                  <a:lnTo>
                    <a:pt x="43" y="369"/>
                  </a:lnTo>
                  <a:lnTo>
                    <a:pt x="40" y="369"/>
                  </a:lnTo>
                  <a:close/>
                  <a:moveTo>
                    <a:pt x="93" y="369"/>
                  </a:moveTo>
                  <a:lnTo>
                    <a:pt x="95" y="369"/>
                  </a:lnTo>
                  <a:lnTo>
                    <a:pt x="93" y="369"/>
                  </a:lnTo>
                  <a:close/>
                  <a:moveTo>
                    <a:pt x="55" y="369"/>
                  </a:moveTo>
                  <a:lnTo>
                    <a:pt x="52" y="369"/>
                  </a:lnTo>
                  <a:lnTo>
                    <a:pt x="55" y="369"/>
                  </a:lnTo>
                  <a:close/>
                  <a:moveTo>
                    <a:pt x="90" y="369"/>
                  </a:moveTo>
                  <a:lnTo>
                    <a:pt x="90" y="366"/>
                  </a:lnTo>
                  <a:lnTo>
                    <a:pt x="90" y="369"/>
                  </a:lnTo>
                  <a:close/>
                  <a:moveTo>
                    <a:pt x="43" y="369"/>
                  </a:moveTo>
                  <a:lnTo>
                    <a:pt x="40" y="369"/>
                  </a:lnTo>
                  <a:lnTo>
                    <a:pt x="40" y="366"/>
                  </a:lnTo>
                  <a:lnTo>
                    <a:pt x="43" y="369"/>
                  </a:lnTo>
                  <a:close/>
                  <a:moveTo>
                    <a:pt x="55" y="369"/>
                  </a:moveTo>
                  <a:lnTo>
                    <a:pt x="55" y="366"/>
                  </a:lnTo>
                  <a:lnTo>
                    <a:pt x="55" y="369"/>
                  </a:lnTo>
                  <a:close/>
                  <a:moveTo>
                    <a:pt x="135" y="369"/>
                  </a:moveTo>
                  <a:lnTo>
                    <a:pt x="133" y="369"/>
                  </a:lnTo>
                  <a:lnTo>
                    <a:pt x="135" y="366"/>
                  </a:lnTo>
                  <a:lnTo>
                    <a:pt x="135" y="369"/>
                  </a:lnTo>
                  <a:close/>
                  <a:moveTo>
                    <a:pt x="138" y="369"/>
                  </a:moveTo>
                  <a:lnTo>
                    <a:pt x="135" y="369"/>
                  </a:lnTo>
                  <a:lnTo>
                    <a:pt x="138" y="366"/>
                  </a:lnTo>
                  <a:lnTo>
                    <a:pt x="138" y="369"/>
                  </a:lnTo>
                  <a:close/>
                  <a:moveTo>
                    <a:pt x="88" y="369"/>
                  </a:moveTo>
                  <a:lnTo>
                    <a:pt x="88" y="366"/>
                  </a:lnTo>
                  <a:lnTo>
                    <a:pt x="88" y="369"/>
                  </a:lnTo>
                  <a:close/>
                  <a:moveTo>
                    <a:pt x="138" y="369"/>
                  </a:moveTo>
                  <a:lnTo>
                    <a:pt x="138" y="366"/>
                  </a:lnTo>
                  <a:lnTo>
                    <a:pt x="138" y="369"/>
                  </a:lnTo>
                  <a:close/>
                  <a:moveTo>
                    <a:pt x="140" y="369"/>
                  </a:moveTo>
                  <a:lnTo>
                    <a:pt x="138" y="369"/>
                  </a:lnTo>
                  <a:lnTo>
                    <a:pt x="140" y="366"/>
                  </a:lnTo>
                  <a:lnTo>
                    <a:pt x="140" y="369"/>
                  </a:lnTo>
                  <a:close/>
                  <a:moveTo>
                    <a:pt x="36" y="369"/>
                  </a:moveTo>
                  <a:lnTo>
                    <a:pt x="36" y="366"/>
                  </a:lnTo>
                  <a:lnTo>
                    <a:pt x="36" y="369"/>
                  </a:lnTo>
                  <a:close/>
                  <a:moveTo>
                    <a:pt x="95" y="369"/>
                  </a:moveTo>
                  <a:lnTo>
                    <a:pt x="95" y="366"/>
                  </a:lnTo>
                  <a:lnTo>
                    <a:pt x="95" y="369"/>
                  </a:lnTo>
                  <a:close/>
                  <a:moveTo>
                    <a:pt x="95" y="366"/>
                  </a:moveTo>
                  <a:lnTo>
                    <a:pt x="95" y="369"/>
                  </a:lnTo>
                  <a:lnTo>
                    <a:pt x="95" y="366"/>
                  </a:lnTo>
                  <a:close/>
                  <a:moveTo>
                    <a:pt x="97" y="366"/>
                  </a:moveTo>
                  <a:lnTo>
                    <a:pt x="97" y="369"/>
                  </a:lnTo>
                  <a:lnTo>
                    <a:pt x="97" y="366"/>
                  </a:lnTo>
                  <a:close/>
                  <a:moveTo>
                    <a:pt x="52" y="369"/>
                  </a:moveTo>
                  <a:lnTo>
                    <a:pt x="52" y="366"/>
                  </a:lnTo>
                  <a:lnTo>
                    <a:pt x="52" y="369"/>
                  </a:lnTo>
                  <a:close/>
                  <a:moveTo>
                    <a:pt x="133" y="369"/>
                  </a:moveTo>
                  <a:lnTo>
                    <a:pt x="133" y="366"/>
                  </a:lnTo>
                  <a:lnTo>
                    <a:pt x="133" y="369"/>
                  </a:lnTo>
                  <a:close/>
                  <a:moveTo>
                    <a:pt x="88" y="366"/>
                  </a:moveTo>
                  <a:lnTo>
                    <a:pt x="88" y="369"/>
                  </a:lnTo>
                  <a:lnTo>
                    <a:pt x="88" y="366"/>
                  </a:lnTo>
                  <a:close/>
                  <a:moveTo>
                    <a:pt x="55" y="366"/>
                  </a:moveTo>
                  <a:lnTo>
                    <a:pt x="52" y="366"/>
                  </a:lnTo>
                  <a:lnTo>
                    <a:pt x="55" y="366"/>
                  </a:lnTo>
                  <a:close/>
                  <a:moveTo>
                    <a:pt x="93" y="366"/>
                  </a:moveTo>
                  <a:lnTo>
                    <a:pt x="93" y="369"/>
                  </a:lnTo>
                  <a:lnTo>
                    <a:pt x="93" y="366"/>
                  </a:lnTo>
                  <a:lnTo>
                    <a:pt x="93" y="369"/>
                  </a:lnTo>
                  <a:lnTo>
                    <a:pt x="93" y="366"/>
                  </a:lnTo>
                  <a:close/>
                  <a:moveTo>
                    <a:pt x="90" y="369"/>
                  </a:moveTo>
                  <a:lnTo>
                    <a:pt x="90" y="366"/>
                  </a:lnTo>
                  <a:lnTo>
                    <a:pt x="90" y="369"/>
                  </a:lnTo>
                  <a:close/>
                  <a:moveTo>
                    <a:pt x="135" y="366"/>
                  </a:moveTo>
                  <a:lnTo>
                    <a:pt x="135" y="369"/>
                  </a:lnTo>
                  <a:lnTo>
                    <a:pt x="135" y="366"/>
                  </a:lnTo>
                  <a:close/>
                  <a:moveTo>
                    <a:pt x="57" y="366"/>
                  </a:moveTo>
                  <a:lnTo>
                    <a:pt x="57" y="369"/>
                  </a:lnTo>
                  <a:lnTo>
                    <a:pt x="57" y="366"/>
                  </a:lnTo>
                  <a:close/>
                  <a:moveTo>
                    <a:pt x="100" y="369"/>
                  </a:moveTo>
                  <a:lnTo>
                    <a:pt x="100" y="366"/>
                  </a:lnTo>
                  <a:lnTo>
                    <a:pt x="100" y="369"/>
                  </a:lnTo>
                  <a:close/>
                  <a:moveTo>
                    <a:pt x="135" y="366"/>
                  </a:moveTo>
                  <a:lnTo>
                    <a:pt x="133" y="366"/>
                  </a:lnTo>
                  <a:lnTo>
                    <a:pt x="135" y="366"/>
                  </a:lnTo>
                  <a:close/>
                  <a:moveTo>
                    <a:pt x="140" y="369"/>
                  </a:moveTo>
                  <a:lnTo>
                    <a:pt x="140" y="366"/>
                  </a:lnTo>
                  <a:lnTo>
                    <a:pt x="140" y="369"/>
                  </a:lnTo>
                  <a:close/>
                  <a:moveTo>
                    <a:pt x="90" y="366"/>
                  </a:moveTo>
                  <a:lnTo>
                    <a:pt x="90" y="369"/>
                  </a:lnTo>
                  <a:lnTo>
                    <a:pt x="90" y="366"/>
                  </a:lnTo>
                  <a:close/>
                  <a:moveTo>
                    <a:pt x="107" y="366"/>
                  </a:moveTo>
                  <a:lnTo>
                    <a:pt x="104" y="366"/>
                  </a:lnTo>
                  <a:lnTo>
                    <a:pt x="107" y="366"/>
                  </a:lnTo>
                  <a:close/>
                  <a:moveTo>
                    <a:pt x="40" y="366"/>
                  </a:moveTo>
                  <a:lnTo>
                    <a:pt x="43" y="366"/>
                  </a:lnTo>
                  <a:lnTo>
                    <a:pt x="40" y="366"/>
                  </a:lnTo>
                  <a:close/>
                  <a:moveTo>
                    <a:pt x="57" y="366"/>
                  </a:moveTo>
                  <a:lnTo>
                    <a:pt x="55" y="366"/>
                  </a:lnTo>
                  <a:lnTo>
                    <a:pt x="57" y="366"/>
                  </a:lnTo>
                  <a:close/>
                  <a:moveTo>
                    <a:pt x="97" y="366"/>
                  </a:moveTo>
                  <a:lnTo>
                    <a:pt x="95" y="366"/>
                  </a:lnTo>
                  <a:lnTo>
                    <a:pt x="97" y="366"/>
                  </a:lnTo>
                  <a:close/>
                  <a:moveTo>
                    <a:pt x="86" y="366"/>
                  </a:moveTo>
                  <a:lnTo>
                    <a:pt x="83" y="366"/>
                  </a:lnTo>
                  <a:lnTo>
                    <a:pt x="86" y="366"/>
                  </a:lnTo>
                  <a:close/>
                  <a:moveTo>
                    <a:pt x="145" y="366"/>
                  </a:moveTo>
                  <a:lnTo>
                    <a:pt x="142" y="366"/>
                  </a:lnTo>
                  <a:lnTo>
                    <a:pt x="145" y="366"/>
                  </a:lnTo>
                  <a:close/>
                  <a:moveTo>
                    <a:pt x="59" y="366"/>
                  </a:moveTo>
                  <a:lnTo>
                    <a:pt x="57" y="366"/>
                  </a:lnTo>
                  <a:lnTo>
                    <a:pt x="59" y="366"/>
                  </a:lnTo>
                  <a:close/>
                  <a:moveTo>
                    <a:pt x="107" y="366"/>
                  </a:moveTo>
                  <a:lnTo>
                    <a:pt x="104" y="366"/>
                  </a:lnTo>
                  <a:lnTo>
                    <a:pt x="107" y="366"/>
                  </a:lnTo>
                  <a:close/>
                  <a:moveTo>
                    <a:pt x="57" y="366"/>
                  </a:moveTo>
                  <a:lnTo>
                    <a:pt x="55" y="366"/>
                  </a:lnTo>
                  <a:lnTo>
                    <a:pt x="57" y="366"/>
                  </a:lnTo>
                  <a:close/>
                  <a:moveTo>
                    <a:pt x="140" y="366"/>
                  </a:moveTo>
                  <a:lnTo>
                    <a:pt x="138" y="366"/>
                  </a:lnTo>
                  <a:lnTo>
                    <a:pt x="140" y="366"/>
                  </a:lnTo>
                  <a:close/>
                  <a:moveTo>
                    <a:pt x="102" y="366"/>
                  </a:moveTo>
                  <a:lnTo>
                    <a:pt x="100" y="366"/>
                  </a:lnTo>
                  <a:lnTo>
                    <a:pt x="102" y="366"/>
                  </a:lnTo>
                  <a:close/>
                  <a:moveTo>
                    <a:pt x="138" y="366"/>
                  </a:moveTo>
                  <a:lnTo>
                    <a:pt x="135" y="366"/>
                  </a:lnTo>
                  <a:lnTo>
                    <a:pt x="138" y="366"/>
                  </a:lnTo>
                  <a:close/>
                  <a:moveTo>
                    <a:pt x="133" y="366"/>
                  </a:moveTo>
                  <a:lnTo>
                    <a:pt x="131" y="366"/>
                  </a:lnTo>
                  <a:lnTo>
                    <a:pt x="133" y="366"/>
                  </a:lnTo>
                  <a:close/>
                  <a:moveTo>
                    <a:pt x="83" y="366"/>
                  </a:moveTo>
                  <a:lnTo>
                    <a:pt x="81" y="366"/>
                  </a:lnTo>
                  <a:lnTo>
                    <a:pt x="83" y="366"/>
                  </a:lnTo>
                  <a:close/>
                  <a:moveTo>
                    <a:pt x="145" y="366"/>
                  </a:moveTo>
                  <a:lnTo>
                    <a:pt x="142" y="366"/>
                  </a:lnTo>
                  <a:lnTo>
                    <a:pt x="145" y="366"/>
                  </a:lnTo>
                  <a:close/>
                  <a:moveTo>
                    <a:pt x="57" y="366"/>
                  </a:moveTo>
                  <a:lnTo>
                    <a:pt x="59" y="366"/>
                  </a:lnTo>
                  <a:lnTo>
                    <a:pt x="57" y="366"/>
                  </a:lnTo>
                  <a:close/>
                  <a:moveTo>
                    <a:pt x="131" y="366"/>
                  </a:moveTo>
                  <a:lnTo>
                    <a:pt x="128" y="366"/>
                  </a:lnTo>
                  <a:lnTo>
                    <a:pt x="131" y="366"/>
                  </a:lnTo>
                  <a:close/>
                  <a:moveTo>
                    <a:pt x="90" y="366"/>
                  </a:moveTo>
                  <a:lnTo>
                    <a:pt x="88" y="366"/>
                  </a:lnTo>
                  <a:lnTo>
                    <a:pt x="90" y="366"/>
                  </a:lnTo>
                  <a:close/>
                  <a:moveTo>
                    <a:pt x="138" y="366"/>
                  </a:moveTo>
                  <a:lnTo>
                    <a:pt x="135" y="366"/>
                  </a:lnTo>
                  <a:lnTo>
                    <a:pt x="138" y="366"/>
                  </a:lnTo>
                  <a:close/>
                  <a:moveTo>
                    <a:pt x="97" y="366"/>
                  </a:moveTo>
                  <a:lnTo>
                    <a:pt x="95" y="366"/>
                  </a:lnTo>
                  <a:lnTo>
                    <a:pt x="97" y="366"/>
                  </a:lnTo>
                  <a:close/>
                  <a:moveTo>
                    <a:pt x="142" y="366"/>
                  </a:moveTo>
                  <a:lnTo>
                    <a:pt x="145" y="366"/>
                  </a:lnTo>
                  <a:lnTo>
                    <a:pt x="142" y="366"/>
                  </a:lnTo>
                  <a:close/>
                  <a:moveTo>
                    <a:pt x="59" y="366"/>
                  </a:moveTo>
                  <a:lnTo>
                    <a:pt x="57" y="366"/>
                  </a:lnTo>
                  <a:lnTo>
                    <a:pt x="59" y="366"/>
                  </a:lnTo>
                  <a:close/>
                  <a:moveTo>
                    <a:pt x="121" y="366"/>
                  </a:moveTo>
                  <a:lnTo>
                    <a:pt x="119" y="366"/>
                  </a:lnTo>
                  <a:lnTo>
                    <a:pt x="121" y="366"/>
                  </a:lnTo>
                  <a:close/>
                  <a:moveTo>
                    <a:pt x="95" y="366"/>
                  </a:moveTo>
                  <a:lnTo>
                    <a:pt x="93" y="366"/>
                  </a:lnTo>
                  <a:lnTo>
                    <a:pt x="95" y="366"/>
                  </a:lnTo>
                  <a:close/>
                  <a:moveTo>
                    <a:pt x="107" y="366"/>
                  </a:moveTo>
                  <a:lnTo>
                    <a:pt x="104" y="366"/>
                  </a:lnTo>
                  <a:lnTo>
                    <a:pt x="107" y="366"/>
                  </a:lnTo>
                  <a:close/>
                  <a:moveTo>
                    <a:pt x="133" y="366"/>
                  </a:moveTo>
                  <a:lnTo>
                    <a:pt x="131" y="366"/>
                  </a:lnTo>
                  <a:lnTo>
                    <a:pt x="133" y="366"/>
                  </a:lnTo>
                  <a:close/>
                  <a:moveTo>
                    <a:pt x="93" y="366"/>
                  </a:moveTo>
                  <a:lnTo>
                    <a:pt x="90" y="366"/>
                  </a:lnTo>
                  <a:lnTo>
                    <a:pt x="93" y="366"/>
                  </a:lnTo>
                  <a:close/>
                  <a:moveTo>
                    <a:pt x="43" y="366"/>
                  </a:moveTo>
                  <a:lnTo>
                    <a:pt x="40" y="366"/>
                  </a:lnTo>
                  <a:lnTo>
                    <a:pt x="43" y="366"/>
                  </a:lnTo>
                  <a:close/>
                  <a:moveTo>
                    <a:pt x="57" y="366"/>
                  </a:moveTo>
                  <a:lnTo>
                    <a:pt x="55" y="366"/>
                  </a:lnTo>
                  <a:lnTo>
                    <a:pt x="57" y="366"/>
                  </a:lnTo>
                  <a:lnTo>
                    <a:pt x="55" y="366"/>
                  </a:lnTo>
                  <a:lnTo>
                    <a:pt x="57" y="366"/>
                  </a:lnTo>
                  <a:close/>
                  <a:moveTo>
                    <a:pt x="147" y="366"/>
                  </a:moveTo>
                  <a:lnTo>
                    <a:pt x="145" y="366"/>
                  </a:lnTo>
                  <a:lnTo>
                    <a:pt x="147" y="366"/>
                  </a:lnTo>
                  <a:close/>
                  <a:moveTo>
                    <a:pt x="86" y="366"/>
                  </a:moveTo>
                  <a:lnTo>
                    <a:pt x="88" y="366"/>
                  </a:lnTo>
                  <a:lnTo>
                    <a:pt x="86" y="366"/>
                  </a:lnTo>
                  <a:close/>
                  <a:moveTo>
                    <a:pt x="78" y="366"/>
                  </a:moveTo>
                  <a:lnTo>
                    <a:pt x="76" y="366"/>
                  </a:lnTo>
                  <a:lnTo>
                    <a:pt x="78" y="366"/>
                  </a:lnTo>
                  <a:close/>
                  <a:moveTo>
                    <a:pt x="83" y="366"/>
                  </a:moveTo>
                  <a:lnTo>
                    <a:pt x="81" y="366"/>
                  </a:lnTo>
                  <a:lnTo>
                    <a:pt x="83" y="366"/>
                  </a:lnTo>
                  <a:close/>
                  <a:moveTo>
                    <a:pt x="62" y="366"/>
                  </a:moveTo>
                  <a:lnTo>
                    <a:pt x="59" y="366"/>
                  </a:lnTo>
                  <a:lnTo>
                    <a:pt x="62" y="366"/>
                  </a:lnTo>
                  <a:close/>
                  <a:moveTo>
                    <a:pt x="142" y="366"/>
                  </a:moveTo>
                  <a:lnTo>
                    <a:pt x="140" y="366"/>
                  </a:lnTo>
                  <a:lnTo>
                    <a:pt x="142" y="366"/>
                  </a:lnTo>
                  <a:close/>
                  <a:moveTo>
                    <a:pt x="64" y="366"/>
                  </a:moveTo>
                  <a:lnTo>
                    <a:pt x="62" y="366"/>
                  </a:lnTo>
                  <a:lnTo>
                    <a:pt x="64" y="366"/>
                  </a:lnTo>
                  <a:close/>
                  <a:moveTo>
                    <a:pt x="123" y="366"/>
                  </a:moveTo>
                  <a:lnTo>
                    <a:pt x="121" y="366"/>
                  </a:lnTo>
                  <a:lnTo>
                    <a:pt x="123" y="366"/>
                  </a:lnTo>
                  <a:close/>
                  <a:moveTo>
                    <a:pt x="147" y="366"/>
                  </a:moveTo>
                  <a:lnTo>
                    <a:pt x="145" y="366"/>
                  </a:lnTo>
                  <a:lnTo>
                    <a:pt x="147" y="366"/>
                  </a:lnTo>
                  <a:close/>
                  <a:moveTo>
                    <a:pt x="88" y="366"/>
                  </a:moveTo>
                  <a:lnTo>
                    <a:pt x="86" y="366"/>
                  </a:lnTo>
                  <a:lnTo>
                    <a:pt x="88" y="366"/>
                  </a:lnTo>
                  <a:lnTo>
                    <a:pt x="86" y="366"/>
                  </a:lnTo>
                  <a:lnTo>
                    <a:pt x="88" y="366"/>
                  </a:lnTo>
                  <a:close/>
                  <a:moveTo>
                    <a:pt x="138" y="366"/>
                  </a:moveTo>
                  <a:lnTo>
                    <a:pt x="135" y="366"/>
                  </a:lnTo>
                  <a:lnTo>
                    <a:pt x="138" y="366"/>
                  </a:lnTo>
                  <a:close/>
                  <a:moveTo>
                    <a:pt x="76" y="366"/>
                  </a:moveTo>
                  <a:lnTo>
                    <a:pt x="74" y="366"/>
                  </a:lnTo>
                  <a:lnTo>
                    <a:pt x="76" y="366"/>
                  </a:lnTo>
                  <a:close/>
                  <a:moveTo>
                    <a:pt x="76" y="366"/>
                  </a:moveTo>
                  <a:lnTo>
                    <a:pt x="76" y="364"/>
                  </a:lnTo>
                  <a:lnTo>
                    <a:pt x="76" y="366"/>
                  </a:lnTo>
                  <a:close/>
                  <a:moveTo>
                    <a:pt x="43" y="366"/>
                  </a:moveTo>
                  <a:lnTo>
                    <a:pt x="43" y="364"/>
                  </a:lnTo>
                  <a:lnTo>
                    <a:pt x="43" y="366"/>
                  </a:lnTo>
                  <a:close/>
                  <a:moveTo>
                    <a:pt x="81" y="366"/>
                  </a:moveTo>
                  <a:lnTo>
                    <a:pt x="81" y="364"/>
                  </a:lnTo>
                  <a:lnTo>
                    <a:pt x="81" y="366"/>
                  </a:lnTo>
                  <a:close/>
                  <a:moveTo>
                    <a:pt x="59" y="364"/>
                  </a:moveTo>
                  <a:lnTo>
                    <a:pt x="59" y="366"/>
                  </a:lnTo>
                  <a:lnTo>
                    <a:pt x="59" y="364"/>
                  </a:lnTo>
                  <a:close/>
                  <a:moveTo>
                    <a:pt x="121" y="366"/>
                  </a:moveTo>
                  <a:lnTo>
                    <a:pt x="121" y="364"/>
                  </a:lnTo>
                  <a:lnTo>
                    <a:pt x="121" y="366"/>
                  </a:lnTo>
                  <a:close/>
                  <a:moveTo>
                    <a:pt x="55" y="366"/>
                  </a:moveTo>
                  <a:lnTo>
                    <a:pt x="55" y="364"/>
                  </a:lnTo>
                  <a:lnTo>
                    <a:pt x="55" y="366"/>
                  </a:lnTo>
                  <a:close/>
                  <a:moveTo>
                    <a:pt x="31" y="364"/>
                  </a:moveTo>
                  <a:lnTo>
                    <a:pt x="31" y="366"/>
                  </a:lnTo>
                  <a:lnTo>
                    <a:pt x="31" y="364"/>
                  </a:lnTo>
                  <a:close/>
                  <a:moveTo>
                    <a:pt x="126" y="364"/>
                  </a:moveTo>
                  <a:lnTo>
                    <a:pt x="126" y="366"/>
                  </a:lnTo>
                  <a:lnTo>
                    <a:pt x="126" y="364"/>
                  </a:lnTo>
                  <a:close/>
                  <a:moveTo>
                    <a:pt x="133" y="366"/>
                  </a:moveTo>
                  <a:lnTo>
                    <a:pt x="133" y="364"/>
                  </a:lnTo>
                  <a:lnTo>
                    <a:pt x="133" y="366"/>
                  </a:lnTo>
                  <a:close/>
                  <a:moveTo>
                    <a:pt x="57" y="366"/>
                  </a:moveTo>
                  <a:lnTo>
                    <a:pt x="55" y="366"/>
                  </a:lnTo>
                  <a:lnTo>
                    <a:pt x="55" y="364"/>
                  </a:lnTo>
                  <a:lnTo>
                    <a:pt x="57" y="366"/>
                  </a:lnTo>
                  <a:close/>
                  <a:moveTo>
                    <a:pt x="133" y="364"/>
                  </a:moveTo>
                  <a:lnTo>
                    <a:pt x="133" y="366"/>
                  </a:lnTo>
                  <a:lnTo>
                    <a:pt x="133" y="364"/>
                  </a:lnTo>
                  <a:close/>
                  <a:moveTo>
                    <a:pt x="145" y="364"/>
                  </a:moveTo>
                  <a:lnTo>
                    <a:pt x="145" y="366"/>
                  </a:lnTo>
                  <a:lnTo>
                    <a:pt x="145" y="364"/>
                  </a:lnTo>
                  <a:close/>
                  <a:moveTo>
                    <a:pt x="43" y="366"/>
                  </a:moveTo>
                  <a:lnTo>
                    <a:pt x="43" y="364"/>
                  </a:lnTo>
                  <a:lnTo>
                    <a:pt x="43" y="366"/>
                  </a:lnTo>
                  <a:close/>
                  <a:moveTo>
                    <a:pt x="62" y="366"/>
                  </a:moveTo>
                  <a:lnTo>
                    <a:pt x="62" y="364"/>
                  </a:lnTo>
                  <a:lnTo>
                    <a:pt x="62" y="366"/>
                  </a:lnTo>
                  <a:close/>
                  <a:moveTo>
                    <a:pt x="55" y="366"/>
                  </a:moveTo>
                  <a:lnTo>
                    <a:pt x="55" y="364"/>
                  </a:lnTo>
                  <a:lnTo>
                    <a:pt x="55" y="366"/>
                  </a:lnTo>
                  <a:close/>
                  <a:moveTo>
                    <a:pt x="95" y="364"/>
                  </a:moveTo>
                  <a:lnTo>
                    <a:pt x="95" y="366"/>
                  </a:lnTo>
                  <a:lnTo>
                    <a:pt x="93" y="366"/>
                  </a:lnTo>
                  <a:lnTo>
                    <a:pt x="95" y="364"/>
                  </a:lnTo>
                  <a:close/>
                  <a:moveTo>
                    <a:pt x="76" y="366"/>
                  </a:moveTo>
                  <a:lnTo>
                    <a:pt x="74" y="366"/>
                  </a:lnTo>
                  <a:lnTo>
                    <a:pt x="76" y="364"/>
                  </a:lnTo>
                  <a:lnTo>
                    <a:pt x="76" y="366"/>
                  </a:lnTo>
                  <a:close/>
                  <a:moveTo>
                    <a:pt x="95" y="364"/>
                  </a:moveTo>
                  <a:lnTo>
                    <a:pt x="95" y="366"/>
                  </a:lnTo>
                  <a:lnTo>
                    <a:pt x="95" y="364"/>
                  </a:lnTo>
                  <a:close/>
                  <a:moveTo>
                    <a:pt x="145" y="366"/>
                  </a:moveTo>
                  <a:lnTo>
                    <a:pt x="145" y="364"/>
                  </a:lnTo>
                  <a:lnTo>
                    <a:pt x="145" y="366"/>
                  </a:lnTo>
                  <a:close/>
                  <a:moveTo>
                    <a:pt x="150" y="366"/>
                  </a:moveTo>
                  <a:lnTo>
                    <a:pt x="150" y="364"/>
                  </a:lnTo>
                  <a:lnTo>
                    <a:pt x="150" y="366"/>
                  </a:lnTo>
                  <a:close/>
                  <a:moveTo>
                    <a:pt x="52" y="364"/>
                  </a:moveTo>
                  <a:lnTo>
                    <a:pt x="52" y="366"/>
                  </a:lnTo>
                  <a:lnTo>
                    <a:pt x="52" y="364"/>
                  </a:lnTo>
                  <a:lnTo>
                    <a:pt x="52" y="366"/>
                  </a:lnTo>
                  <a:lnTo>
                    <a:pt x="52" y="364"/>
                  </a:lnTo>
                  <a:close/>
                  <a:moveTo>
                    <a:pt x="100" y="364"/>
                  </a:moveTo>
                  <a:lnTo>
                    <a:pt x="100" y="366"/>
                  </a:lnTo>
                  <a:lnTo>
                    <a:pt x="100" y="364"/>
                  </a:lnTo>
                  <a:close/>
                  <a:moveTo>
                    <a:pt x="150" y="366"/>
                  </a:moveTo>
                  <a:lnTo>
                    <a:pt x="150" y="364"/>
                  </a:lnTo>
                  <a:lnTo>
                    <a:pt x="150" y="366"/>
                  </a:lnTo>
                  <a:close/>
                  <a:moveTo>
                    <a:pt x="109" y="366"/>
                  </a:moveTo>
                  <a:lnTo>
                    <a:pt x="109" y="364"/>
                  </a:lnTo>
                  <a:lnTo>
                    <a:pt x="109" y="366"/>
                  </a:lnTo>
                  <a:close/>
                  <a:moveTo>
                    <a:pt x="133" y="364"/>
                  </a:moveTo>
                  <a:lnTo>
                    <a:pt x="133" y="366"/>
                  </a:lnTo>
                  <a:lnTo>
                    <a:pt x="133" y="364"/>
                  </a:lnTo>
                  <a:close/>
                  <a:moveTo>
                    <a:pt x="107" y="364"/>
                  </a:moveTo>
                  <a:lnTo>
                    <a:pt x="107" y="366"/>
                  </a:lnTo>
                  <a:lnTo>
                    <a:pt x="107" y="364"/>
                  </a:lnTo>
                  <a:close/>
                  <a:moveTo>
                    <a:pt x="97" y="364"/>
                  </a:moveTo>
                  <a:lnTo>
                    <a:pt x="95" y="364"/>
                  </a:lnTo>
                  <a:lnTo>
                    <a:pt x="97" y="364"/>
                  </a:lnTo>
                  <a:close/>
                  <a:moveTo>
                    <a:pt x="62" y="366"/>
                  </a:moveTo>
                  <a:lnTo>
                    <a:pt x="62" y="364"/>
                  </a:lnTo>
                  <a:lnTo>
                    <a:pt x="62" y="366"/>
                  </a:lnTo>
                  <a:close/>
                  <a:moveTo>
                    <a:pt x="95" y="364"/>
                  </a:moveTo>
                  <a:lnTo>
                    <a:pt x="93" y="364"/>
                  </a:lnTo>
                  <a:lnTo>
                    <a:pt x="95" y="364"/>
                  </a:lnTo>
                  <a:close/>
                  <a:moveTo>
                    <a:pt x="147" y="364"/>
                  </a:moveTo>
                  <a:lnTo>
                    <a:pt x="145" y="364"/>
                  </a:lnTo>
                  <a:lnTo>
                    <a:pt x="147" y="364"/>
                  </a:lnTo>
                  <a:close/>
                  <a:moveTo>
                    <a:pt x="97" y="364"/>
                  </a:moveTo>
                  <a:lnTo>
                    <a:pt x="95" y="364"/>
                  </a:lnTo>
                  <a:lnTo>
                    <a:pt x="97" y="364"/>
                  </a:lnTo>
                  <a:close/>
                  <a:moveTo>
                    <a:pt x="107" y="364"/>
                  </a:moveTo>
                  <a:lnTo>
                    <a:pt x="104" y="364"/>
                  </a:lnTo>
                  <a:lnTo>
                    <a:pt x="107" y="364"/>
                  </a:lnTo>
                  <a:close/>
                  <a:moveTo>
                    <a:pt x="102" y="364"/>
                  </a:moveTo>
                  <a:lnTo>
                    <a:pt x="100" y="364"/>
                  </a:lnTo>
                  <a:lnTo>
                    <a:pt x="102" y="364"/>
                  </a:lnTo>
                  <a:close/>
                  <a:moveTo>
                    <a:pt x="88" y="364"/>
                  </a:moveTo>
                  <a:lnTo>
                    <a:pt x="86" y="364"/>
                  </a:lnTo>
                  <a:lnTo>
                    <a:pt x="88" y="364"/>
                  </a:lnTo>
                  <a:lnTo>
                    <a:pt x="86" y="364"/>
                  </a:lnTo>
                  <a:lnTo>
                    <a:pt x="88" y="364"/>
                  </a:lnTo>
                  <a:close/>
                  <a:moveTo>
                    <a:pt x="26" y="364"/>
                  </a:moveTo>
                  <a:lnTo>
                    <a:pt x="24" y="364"/>
                  </a:lnTo>
                  <a:lnTo>
                    <a:pt x="26" y="364"/>
                  </a:lnTo>
                  <a:close/>
                  <a:moveTo>
                    <a:pt x="150" y="364"/>
                  </a:moveTo>
                  <a:lnTo>
                    <a:pt x="147" y="364"/>
                  </a:lnTo>
                  <a:lnTo>
                    <a:pt x="150" y="364"/>
                  </a:lnTo>
                  <a:close/>
                  <a:moveTo>
                    <a:pt x="29" y="364"/>
                  </a:moveTo>
                  <a:lnTo>
                    <a:pt x="26" y="364"/>
                  </a:lnTo>
                  <a:lnTo>
                    <a:pt x="29" y="364"/>
                  </a:lnTo>
                  <a:close/>
                  <a:moveTo>
                    <a:pt x="67" y="364"/>
                  </a:moveTo>
                  <a:lnTo>
                    <a:pt x="64" y="364"/>
                  </a:lnTo>
                  <a:lnTo>
                    <a:pt x="67" y="364"/>
                  </a:lnTo>
                  <a:close/>
                  <a:moveTo>
                    <a:pt x="102" y="364"/>
                  </a:moveTo>
                  <a:lnTo>
                    <a:pt x="100" y="364"/>
                  </a:lnTo>
                  <a:lnTo>
                    <a:pt x="102" y="364"/>
                  </a:lnTo>
                  <a:close/>
                  <a:moveTo>
                    <a:pt x="83" y="364"/>
                  </a:moveTo>
                  <a:lnTo>
                    <a:pt x="81" y="364"/>
                  </a:lnTo>
                  <a:lnTo>
                    <a:pt x="83" y="364"/>
                  </a:lnTo>
                  <a:close/>
                  <a:moveTo>
                    <a:pt x="55" y="364"/>
                  </a:moveTo>
                  <a:lnTo>
                    <a:pt x="52" y="364"/>
                  </a:lnTo>
                  <a:lnTo>
                    <a:pt x="55" y="364"/>
                  </a:lnTo>
                  <a:close/>
                  <a:moveTo>
                    <a:pt x="64" y="364"/>
                  </a:moveTo>
                  <a:lnTo>
                    <a:pt x="62" y="364"/>
                  </a:lnTo>
                  <a:lnTo>
                    <a:pt x="64" y="364"/>
                  </a:lnTo>
                  <a:close/>
                  <a:moveTo>
                    <a:pt x="104" y="364"/>
                  </a:moveTo>
                  <a:lnTo>
                    <a:pt x="102" y="364"/>
                  </a:lnTo>
                  <a:lnTo>
                    <a:pt x="104" y="364"/>
                  </a:lnTo>
                  <a:close/>
                  <a:moveTo>
                    <a:pt x="78" y="364"/>
                  </a:moveTo>
                  <a:lnTo>
                    <a:pt x="76" y="364"/>
                  </a:lnTo>
                  <a:lnTo>
                    <a:pt x="78" y="364"/>
                  </a:lnTo>
                  <a:close/>
                  <a:moveTo>
                    <a:pt x="83" y="364"/>
                  </a:moveTo>
                  <a:lnTo>
                    <a:pt x="81" y="364"/>
                  </a:lnTo>
                  <a:lnTo>
                    <a:pt x="83" y="364"/>
                  </a:lnTo>
                  <a:close/>
                  <a:moveTo>
                    <a:pt x="76" y="364"/>
                  </a:moveTo>
                  <a:lnTo>
                    <a:pt x="78" y="364"/>
                  </a:lnTo>
                  <a:lnTo>
                    <a:pt x="76" y="364"/>
                  </a:lnTo>
                  <a:close/>
                  <a:moveTo>
                    <a:pt x="133" y="364"/>
                  </a:moveTo>
                  <a:lnTo>
                    <a:pt x="131" y="364"/>
                  </a:lnTo>
                  <a:lnTo>
                    <a:pt x="133" y="364"/>
                  </a:lnTo>
                  <a:close/>
                  <a:moveTo>
                    <a:pt x="145" y="364"/>
                  </a:moveTo>
                  <a:lnTo>
                    <a:pt x="142" y="364"/>
                  </a:lnTo>
                  <a:lnTo>
                    <a:pt x="145" y="364"/>
                  </a:lnTo>
                  <a:close/>
                  <a:moveTo>
                    <a:pt x="150" y="364"/>
                  </a:moveTo>
                  <a:lnTo>
                    <a:pt x="147" y="364"/>
                  </a:lnTo>
                  <a:lnTo>
                    <a:pt x="150" y="364"/>
                  </a:lnTo>
                  <a:close/>
                  <a:moveTo>
                    <a:pt x="78" y="364"/>
                  </a:moveTo>
                  <a:lnTo>
                    <a:pt x="76" y="364"/>
                  </a:lnTo>
                  <a:lnTo>
                    <a:pt x="78" y="364"/>
                  </a:lnTo>
                  <a:close/>
                  <a:moveTo>
                    <a:pt x="57" y="364"/>
                  </a:moveTo>
                  <a:lnTo>
                    <a:pt x="55" y="364"/>
                  </a:lnTo>
                  <a:lnTo>
                    <a:pt x="57" y="364"/>
                  </a:lnTo>
                  <a:close/>
                  <a:moveTo>
                    <a:pt x="107" y="364"/>
                  </a:moveTo>
                  <a:lnTo>
                    <a:pt x="104" y="364"/>
                  </a:lnTo>
                  <a:lnTo>
                    <a:pt x="107" y="364"/>
                  </a:lnTo>
                  <a:close/>
                  <a:moveTo>
                    <a:pt x="29" y="364"/>
                  </a:moveTo>
                  <a:lnTo>
                    <a:pt x="26" y="364"/>
                  </a:lnTo>
                  <a:lnTo>
                    <a:pt x="29" y="364"/>
                  </a:lnTo>
                  <a:close/>
                  <a:moveTo>
                    <a:pt x="126" y="364"/>
                  </a:moveTo>
                  <a:lnTo>
                    <a:pt x="123" y="364"/>
                  </a:lnTo>
                  <a:lnTo>
                    <a:pt x="126" y="364"/>
                  </a:lnTo>
                  <a:close/>
                  <a:moveTo>
                    <a:pt x="78" y="364"/>
                  </a:moveTo>
                  <a:lnTo>
                    <a:pt x="76" y="364"/>
                  </a:lnTo>
                  <a:lnTo>
                    <a:pt x="78" y="364"/>
                  </a:lnTo>
                  <a:close/>
                  <a:moveTo>
                    <a:pt x="59" y="364"/>
                  </a:moveTo>
                  <a:lnTo>
                    <a:pt x="57" y="364"/>
                  </a:lnTo>
                  <a:lnTo>
                    <a:pt x="59" y="364"/>
                  </a:lnTo>
                  <a:close/>
                  <a:moveTo>
                    <a:pt x="154" y="364"/>
                  </a:moveTo>
                  <a:lnTo>
                    <a:pt x="152" y="364"/>
                  </a:lnTo>
                  <a:lnTo>
                    <a:pt x="154" y="364"/>
                  </a:lnTo>
                  <a:close/>
                  <a:moveTo>
                    <a:pt x="43" y="364"/>
                  </a:moveTo>
                  <a:lnTo>
                    <a:pt x="40" y="364"/>
                  </a:lnTo>
                  <a:lnTo>
                    <a:pt x="43" y="364"/>
                  </a:lnTo>
                  <a:close/>
                  <a:moveTo>
                    <a:pt x="38" y="364"/>
                  </a:moveTo>
                  <a:lnTo>
                    <a:pt x="36" y="364"/>
                  </a:lnTo>
                  <a:lnTo>
                    <a:pt x="38" y="364"/>
                  </a:lnTo>
                  <a:close/>
                  <a:moveTo>
                    <a:pt x="154" y="364"/>
                  </a:moveTo>
                  <a:lnTo>
                    <a:pt x="152" y="364"/>
                  </a:lnTo>
                  <a:lnTo>
                    <a:pt x="154" y="364"/>
                  </a:lnTo>
                  <a:close/>
                  <a:moveTo>
                    <a:pt x="57" y="364"/>
                  </a:moveTo>
                  <a:lnTo>
                    <a:pt x="55" y="364"/>
                  </a:lnTo>
                  <a:lnTo>
                    <a:pt x="57" y="364"/>
                  </a:lnTo>
                  <a:close/>
                  <a:moveTo>
                    <a:pt x="114" y="364"/>
                  </a:moveTo>
                  <a:lnTo>
                    <a:pt x="112" y="364"/>
                  </a:lnTo>
                  <a:lnTo>
                    <a:pt x="114" y="364"/>
                  </a:lnTo>
                  <a:close/>
                  <a:moveTo>
                    <a:pt x="154" y="364"/>
                  </a:moveTo>
                  <a:lnTo>
                    <a:pt x="152" y="364"/>
                  </a:lnTo>
                  <a:lnTo>
                    <a:pt x="154" y="364"/>
                  </a:lnTo>
                  <a:close/>
                  <a:moveTo>
                    <a:pt x="59" y="364"/>
                  </a:moveTo>
                  <a:lnTo>
                    <a:pt x="57" y="364"/>
                  </a:lnTo>
                  <a:lnTo>
                    <a:pt x="59" y="364"/>
                  </a:lnTo>
                  <a:close/>
                  <a:moveTo>
                    <a:pt x="43" y="364"/>
                  </a:moveTo>
                  <a:lnTo>
                    <a:pt x="40" y="364"/>
                  </a:lnTo>
                  <a:lnTo>
                    <a:pt x="43" y="364"/>
                  </a:lnTo>
                  <a:close/>
                  <a:moveTo>
                    <a:pt x="57" y="364"/>
                  </a:moveTo>
                  <a:lnTo>
                    <a:pt x="55" y="364"/>
                  </a:lnTo>
                  <a:lnTo>
                    <a:pt x="57" y="364"/>
                  </a:lnTo>
                  <a:close/>
                  <a:moveTo>
                    <a:pt x="33" y="364"/>
                  </a:moveTo>
                  <a:lnTo>
                    <a:pt x="36" y="364"/>
                  </a:lnTo>
                  <a:lnTo>
                    <a:pt x="33" y="364"/>
                  </a:lnTo>
                  <a:close/>
                  <a:moveTo>
                    <a:pt x="62" y="364"/>
                  </a:moveTo>
                  <a:lnTo>
                    <a:pt x="59" y="364"/>
                  </a:lnTo>
                  <a:lnTo>
                    <a:pt x="62" y="364"/>
                  </a:lnTo>
                  <a:close/>
                  <a:moveTo>
                    <a:pt x="95" y="364"/>
                  </a:moveTo>
                  <a:lnTo>
                    <a:pt x="95" y="361"/>
                  </a:lnTo>
                  <a:lnTo>
                    <a:pt x="95" y="364"/>
                  </a:lnTo>
                  <a:close/>
                  <a:moveTo>
                    <a:pt x="81" y="364"/>
                  </a:moveTo>
                  <a:lnTo>
                    <a:pt x="81" y="361"/>
                  </a:lnTo>
                  <a:lnTo>
                    <a:pt x="81" y="364"/>
                  </a:lnTo>
                  <a:close/>
                  <a:moveTo>
                    <a:pt x="112" y="364"/>
                  </a:moveTo>
                  <a:lnTo>
                    <a:pt x="112" y="361"/>
                  </a:lnTo>
                  <a:lnTo>
                    <a:pt x="112" y="364"/>
                  </a:lnTo>
                  <a:close/>
                  <a:moveTo>
                    <a:pt x="64" y="364"/>
                  </a:moveTo>
                  <a:lnTo>
                    <a:pt x="64" y="361"/>
                  </a:lnTo>
                  <a:lnTo>
                    <a:pt x="64" y="364"/>
                  </a:lnTo>
                  <a:close/>
                  <a:moveTo>
                    <a:pt x="95" y="364"/>
                  </a:moveTo>
                  <a:lnTo>
                    <a:pt x="95" y="361"/>
                  </a:lnTo>
                  <a:lnTo>
                    <a:pt x="95" y="364"/>
                  </a:lnTo>
                  <a:close/>
                  <a:moveTo>
                    <a:pt x="114" y="361"/>
                  </a:moveTo>
                  <a:lnTo>
                    <a:pt x="114" y="364"/>
                  </a:lnTo>
                  <a:lnTo>
                    <a:pt x="112" y="364"/>
                  </a:lnTo>
                  <a:lnTo>
                    <a:pt x="114" y="361"/>
                  </a:lnTo>
                  <a:close/>
                  <a:moveTo>
                    <a:pt x="150" y="364"/>
                  </a:moveTo>
                  <a:lnTo>
                    <a:pt x="150" y="361"/>
                  </a:lnTo>
                  <a:lnTo>
                    <a:pt x="150" y="364"/>
                  </a:lnTo>
                  <a:close/>
                  <a:moveTo>
                    <a:pt x="152" y="364"/>
                  </a:moveTo>
                  <a:lnTo>
                    <a:pt x="152" y="361"/>
                  </a:lnTo>
                  <a:lnTo>
                    <a:pt x="152" y="364"/>
                  </a:lnTo>
                  <a:close/>
                  <a:moveTo>
                    <a:pt x="152" y="361"/>
                  </a:moveTo>
                  <a:lnTo>
                    <a:pt x="152" y="364"/>
                  </a:lnTo>
                  <a:lnTo>
                    <a:pt x="152" y="361"/>
                  </a:lnTo>
                  <a:close/>
                  <a:moveTo>
                    <a:pt x="57" y="364"/>
                  </a:moveTo>
                  <a:lnTo>
                    <a:pt x="57" y="361"/>
                  </a:lnTo>
                  <a:lnTo>
                    <a:pt x="57" y="364"/>
                  </a:lnTo>
                  <a:close/>
                  <a:moveTo>
                    <a:pt x="59" y="361"/>
                  </a:moveTo>
                  <a:lnTo>
                    <a:pt x="59" y="364"/>
                  </a:lnTo>
                  <a:lnTo>
                    <a:pt x="59" y="361"/>
                  </a:lnTo>
                  <a:close/>
                  <a:moveTo>
                    <a:pt x="169" y="361"/>
                  </a:moveTo>
                  <a:lnTo>
                    <a:pt x="169" y="364"/>
                  </a:lnTo>
                  <a:lnTo>
                    <a:pt x="169" y="361"/>
                  </a:lnTo>
                  <a:close/>
                  <a:moveTo>
                    <a:pt x="59" y="361"/>
                  </a:moveTo>
                  <a:lnTo>
                    <a:pt x="59" y="364"/>
                  </a:lnTo>
                  <a:lnTo>
                    <a:pt x="59" y="361"/>
                  </a:lnTo>
                  <a:close/>
                  <a:moveTo>
                    <a:pt x="102" y="361"/>
                  </a:moveTo>
                  <a:lnTo>
                    <a:pt x="102" y="364"/>
                  </a:lnTo>
                  <a:lnTo>
                    <a:pt x="102" y="361"/>
                  </a:lnTo>
                  <a:close/>
                  <a:moveTo>
                    <a:pt x="55" y="364"/>
                  </a:moveTo>
                  <a:lnTo>
                    <a:pt x="55" y="361"/>
                  </a:lnTo>
                  <a:lnTo>
                    <a:pt x="57" y="361"/>
                  </a:lnTo>
                  <a:lnTo>
                    <a:pt x="55" y="364"/>
                  </a:lnTo>
                  <a:close/>
                  <a:moveTo>
                    <a:pt x="57" y="361"/>
                  </a:moveTo>
                  <a:lnTo>
                    <a:pt x="57" y="364"/>
                  </a:lnTo>
                  <a:lnTo>
                    <a:pt x="57" y="361"/>
                  </a:lnTo>
                  <a:close/>
                  <a:moveTo>
                    <a:pt x="169" y="361"/>
                  </a:moveTo>
                  <a:lnTo>
                    <a:pt x="169" y="364"/>
                  </a:lnTo>
                  <a:lnTo>
                    <a:pt x="169" y="361"/>
                  </a:lnTo>
                  <a:close/>
                  <a:moveTo>
                    <a:pt x="76" y="361"/>
                  </a:moveTo>
                  <a:lnTo>
                    <a:pt x="76" y="364"/>
                  </a:lnTo>
                  <a:lnTo>
                    <a:pt x="76" y="361"/>
                  </a:lnTo>
                  <a:close/>
                  <a:moveTo>
                    <a:pt x="154" y="361"/>
                  </a:moveTo>
                  <a:lnTo>
                    <a:pt x="154" y="364"/>
                  </a:lnTo>
                  <a:lnTo>
                    <a:pt x="154" y="361"/>
                  </a:lnTo>
                  <a:close/>
                  <a:moveTo>
                    <a:pt x="67" y="361"/>
                  </a:moveTo>
                  <a:lnTo>
                    <a:pt x="67" y="364"/>
                  </a:lnTo>
                  <a:lnTo>
                    <a:pt x="67" y="361"/>
                  </a:lnTo>
                  <a:close/>
                  <a:moveTo>
                    <a:pt x="83" y="361"/>
                  </a:moveTo>
                  <a:lnTo>
                    <a:pt x="83" y="364"/>
                  </a:lnTo>
                  <a:lnTo>
                    <a:pt x="83" y="361"/>
                  </a:lnTo>
                  <a:close/>
                  <a:moveTo>
                    <a:pt x="43" y="361"/>
                  </a:moveTo>
                  <a:lnTo>
                    <a:pt x="40" y="361"/>
                  </a:lnTo>
                  <a:lnTo>
                    <a:pt x="43" y="361"/>
                  </a:lnTo>
                  <a:close/>
                  <a:moveTo>
                    <a:pt x="114" y="361"/>
                  </a:moveTo>
                  <a:lnTo>
                    <a:pt x="114" y="364"/>
                  </a:lnTo>
                  <a:lnTo>
                    <a:pt x="114" y="361"/>
                  </a:lnTo>
                  <a:close/>
                  <a:moveTo>
                    <a:pt x="43" y="361"/>
                  </a:moveTo>
                  <a:lnTo>
                    <a:pt x="45" y="361"/>
                  </a:lnTo>
                  <a:lnTo>
                    <a:pt x="43" y="361"/>
                  </a:lnTo>
                  <a:close/>
                  <a:moveTo>
                    <a:pt x="76" y="361"/>
                  </a:moveTo>
                  <a:lnTo>
                    <a:pt x="76" y="364"/>
                  </a:lnTo>
                  <a:lnTo>
                    <a:pt x="76" y="361"/>
                  </a:lnTo>
                  <a:close/>
                  <a:moveTo>
                    <a:pt x="154" y="361"/>
                  </a:moveTo>
                  <a:lnTo>
                    <a:pt x="152" y="361"/>
                  </a:lnTo>
                  <a:lnTo>
                    <a:pt x="154" y="361"/>
                  </a:lnTo>
                  <a:close/>
                  <a:moveTo>
                    <a:pt x="57" y="361"/>
                  </a:moveTo>
                  <a:lnTo>
                    <a:pt x="55" y="361"/>
                  </a:lnTo>
                  <a:lnTo>
                    <a:pt x="57" y="361"/>
                  </a:lnTo>
                  <a:close/>
                  <a:moveTo>
                    <a:pt x="59" y="361"/>
                  </a:moveTo>
                  <a:lnTo>
                    <a:pt x="57" y="361"/>
                  </a:lnTo>
                  <a:lnTo>
                    <a:pt x="59" y="361"/>
                  </a:lnTo>
                  <a:close/>
                  <a:moveTo>
                    <a:pt x="83" y="361"/>
                  </a:moveTo>
                  <a:lnTo>
                    <a:pt x="81" y="361"/>
                  </a:lnTo>
                  <a:lnTo>
                    <a:pt x="83" y="361"/>
                  </a:lnTo>
                  <a:close/>
                  <a:moveTo>
                    <a:pt x="33" y="361"/>
                  </a:moveTo>
                  <a:lnTo>
                    <a:pt x="31" y="361"/>
                  </a:lnTo>
                  <a:lnTo>
                    <a:pt x="33" y="361"/>
                  </a:lnTo>
                  <a:close/>
                  <a:moveTo>
                    <a:pt x="67" y="361"/>
                  </a:moveTo>
                  <a:lnTo>
                    <a:pt x="64" y="361"/>
                  </a:lnTo>
                  <a:lnTo>
                    <a:pt x="67" y="361"/>
                  </a:lnTo>
                  <a:close/>
                  <a:moveTo>
                    <a:pt x="43" y="361"/>
                  </a:moveTo>
                  <a:lnTo>
                    <a:pt x="40" y="361"/>
                  </a:lnTo>
                  <a:lnTo>
                    <a:pt x="43" y="361"/>
                  </a:lnTo>
                  <a:close/>
                  <a:moveTo>
                    <a:pt x="171" y="361"/>
                  </a:moveTo>
                  <a:lnTo>
                    <a:pt x="169" y="361"/>
                  </a:lnTo>
                  <a:lnTo>
                    <a:pt x="171" y="361"/>
                  </a:lnTo>
                  <a:close/>
                  <a:moveTo>
                    <a:pt x="57" y="361"/>
                  </a:moveTo>
                  <a:lnTo>
                    <a:pt x="55" y="361"/>
                  </a:lnTo>
                  <a:lnTo>
                    <a:pt x="57" y="361"/>
                  </a:lnTo>
                  <a:close/>
                  <a:moveTo>
                    <a:pt x="74" y="361"/>
                  </a:moveTo>
                  <a:lnTo>
                    <a:pt x="71" y="361"/>
                  </a:lnTo>
                  <a:lnTo>
                    <a:pt x="74" y="361"/>
                  </a:lnTo>
                  <a:close/>
                  <a:moveTo>
                    <a:pt x="83" y="361"/>
                  </a:moveTo>
                  <a:lnTo>
                    <a:pt x="81" y="361"/>
                  </a:lnTo>
                  <a:lnTo>
                    <a:pt x="83" y="361"/>
                  </a:lnTo>
                  <a:close/>
                  <a:moveTo>
                    <a:pt x="86" y="361"/>
                  </a:moveTo>
                  <a:lnTo>
                    <a:pt x="83" y="361"/>
                  </a:lnTo>
                  <a:lnTo>
                    <a:pt x="86" y="361"/>
                  </a:lnTo>
                  <a:close/>
                  <a:moveTo>
                    <a:pt x="86" y="361"/>
                  </a:moveTo>
                  <a:lnTo>
                    <a:pt x="83" y="361"/>
                  </a:lnTo>
                  <a:lnTo>
                    <a:pt x="86" y="361"/>
                  </a:lnTo>
                  <a:close/>
                  <a:moveTo>
                    <a:pt x="114" y="361"/>
                  </a:moveTo>
                  <a:lnTo>
                    <a:pt x="112" y="361"/>
                  </a:lnTo>
                  <a:lnTo>
                    <a:pt x="114" y="361"/>
                  </a:lnTo>
                  <a:close/>
                  <a:moveTo>
                    <a:pt x="55" y="361"/>
                  </a:moveTo>
                  <a:lnTo>
                    <a:pt x="57" y="361"/>
                  </a:lnTo>
                  <a:lnTo>
                    <a:pt x="55" y="361"/>
                  </a:lnTo>
                  <a:close/>
                  <a:moveTo>
                    <a:pt x="67" y="361"/>
                  </a:moveTo>
                  <a:lnTo>
                    <a:pt x="64" y="361"/>
                  </a:lnTo>
                  <a:lnTo>
                    <a:pt x="67" y="361"/>
                  </a:lnTo>
                  <a:close/>
                  <a:moveTo>
                    <a:pt x="97" y="361"/>
                  </a:moveTo>
                  <a:lnTo>
                    <a:pt x="100" y="361"/>
                  </a:lnTo>
                  <a:lnTo>
                    <a:pt x="97" y="361"/>
                  </a:lnTo>
                  <a:close/>
                  <a:moveTo>
                    <a:pt x="102" y="361"/>
                  </a:moveTo>
                  <a:lnTo>
                    <a:pt x="100" y="361"/>
                  </a:lnTo>
                  <a:lnTo>
                    <a:pt x="102" y="361"/>
                  </a:lnTo>
                  <a:close/>
                  <a:moveTo>
                    <a:pt x="64" y="361"/>
                  </a:moveTo>
                  <a:lnTo>
                    <a:pt x="62" y="361"/>
                  </a:lnTo>
                  <a:lnTo>
                    <a:pt x="64" y="361"/>
                  </a:lnTo>
                  <a:close/>
                  <a:moveTo>
                    <a:pt x="114" y="361"/>
                  </a:moveTo>
                  <a:lnTo>
                    <a:pt x="112" y="361"/>
                  </a:lnTo>
                  <a:lnTo>
                    <a:pt x="114" y="361"/>
                  </a:lnTo>
                  <a:close/>
                  <a:moveTo>
                    <a:pt x="64" y="361"/>
                  </a:moveTo>
                  <a:lnTo>
                    <a:pt x="62" y="361"/>
                  </a:lnTo>
                  <a:lnTo>
                    <a:pt x="64" y="361"/>
                  </a:lnTo>
                  <a:close/>
                  <a:moveTo>
                    <a:pt x="78" y="361"/>
                  </a:moveTo>
                  <a:lnTo>
                    <a:pt x="76" y="361"/>
                  </a:lnTo>
                  <a:lnTo>
                    <a:pt x="78" y="361"/>
                  </a:lnTo>
                  <a:close/>
                  <a:moveTo>
                    <a:pt x="93" y="361"/>
                  </a:moveTo>
                  <a:lnTo>
                    <a:pt x="90" y="361"/>
                  </a:lnTo>
                  <a:lnTo>
                    <a:pt x="93" y="361"/>
                  </a:lnTo>
                  <a:close/>
                  <a:moveTo>
                    <a:pt x="40" y="361"/>
                  </a:moveTo>
                  <a:lnTo>
                    <a:pt x="38" y="361"/>
                  </a:lnTo>
                  <a:lnTo>
                    <a:pt x="40" y="361"/>
                  </a:lnTo>
                  <a:close/>
                  <a:moveTo>
                    <a:pt x="64" y="361"/>
                  </a:moveTo>
                  <a:lnTo>
                    <a:pt x="62" y="361"/>
                  </a:lnTo>
                  <a:lnTo>
                    <a:pt x="64" y="361"/>
                  </a:lnTo>
                  <a:close/>
                  <a:moveTo>
                    <a:pt x="67" y="361"/>
                  </a:moveTo>
                  <a:lnTo>
                    <a:pt x="64" y="361"/>
                  </a:lnTo>
                  <a:lnTo>
                    <a:pt x="67" y="361"/>
                  </a:lnTo>
                  <a:close/>
                  <a:moveTo>
                    <a:pt x="169" y="361"/>
                  </a:moveTo>
                  <a:lnTo>
                    <a:pt x="171" y="361"/>
                  </a:lnTo>
                  <a:lnTo>
                    <a:pt x="169" y="361"/>
                  </a:lnTo>
                  <a:close/>
                  <a:moveTo>
                    <a:pt x="26" y="361"/>
                  </a:moveTo>
                  <a:lnTo>
                    <a:pt x="24" y="361"/>
                  </a:lnTo>
                  <a:lnTo>
                    <a:pt x="26" y="361"/>
                  </a:lnTo>
                  <a:close/>
                  <a:moveTo>
                    <a:pt x="100" y="361"/>
                  </a:moveTo>
                  <a:lnTo>
                    <a:pt x="97" y="361"/>
                  </a:lnTo>
                  <a:lnTo>
                    <a:pt x="100" y="361"/>
                  </a:lnTo>
                  <a:close/>
                  <a:moveTo>
                    <a:pt x="171" y="361"/>
                  </a:moveTo>
                  <a:lnTo>
                    <a:pt x="173" y="361"/>
                  </a:lnTo>
                  <a:lnTo>
                    <a:pt x="171" y="361"/>
                  </a:lnTo>
                  <a:close/>
                  <a:moveTo>
                    <a:pt x="123" y="361"/>
                  </a:moveTo>
                  <a:lnTo>
                    <a:pt x="123" y="359"/>
                  </a:lnTo>
                  <a:lnTo>
                    <a:pt x="123" y="361"/>
                  </a:lnTo>
                  <a:close/>
                  <a:moveTo>
                    <a:pt x="62" y="361"/>
                  </a:moveTo>
                  <a:lnTo>
                    <a:pt x="62" y="359"/>
                  </a:lnTo>
                  <a:lnTo>
                    <a:pt x="62" y="361"/>
                  </a:lnTo>
                  <a:close/>
                  <a:moveTo>
                    <a:pt x="71" y="361"/>
                  </a:moveTo>
                  <a:lnTo>
                    <a:pt x="71" y="359"/>
                  </a:lnTo>
                  <a:lnTo>
                    <a:pt x="71" y="361"/>
                  </a:lnTo>
                  <a:close/>
                  <a:moveTo>
                    <a:pt x="78" y="361"/>
                  </a:moveTo>
                  <a:lnTo>
                    <a:pt x="78" y="359"/>
                  </a:lnTo>
                  <a:lnTo>
                    <a:pt x="78" y="361"/>
                  </a:lnTo>
                  <a:close/>
                  <a:moveTo>
                    <a:pt x="24" y="361"/>
                  </a:moveTo>
                  <a:lnTo>
                    <a:pt x="24" y="359"/>
                  </a:lnTo>
                  <a:lnTo>
                    <a:pt x="24" y="361"/>
                  </a:lnTo>
                  <a:close/>
                  <a:moveTo>
                    <a:pt x="159" y="361"/>
                  </a:moveTo>
                  <a:lnTo>
                    <a:pt x="159" y="359"/>
                  </a:lnTo>
                  <a:lnTo>
                    <a:pt x="159" y="361"/>
                  </a:lnTo>
                  <a:close/>
                  <a:moveTo>
                    <a:pt x="50" y="361"/>
                  </a:moveTo>
                  <a:lnTo>
                    <a:pt x="50" y="359"/>
                  </a:lnTo>
                  <a:lnTo>
                    <a:pt x="50" y="361"/>
                  </a:lnTo>
                  <a:close/>
                  <a:moveTo>
                    <a:pt x="48" y="361"/>
                  </a:moveTo>
                  <a:lnTo>
                    <a:pt x="48" y="359"/>
                  </a:lnTo>
                  <a:lnTo>
                    <a:pt x="48" y="361"/>
                  </a:lnTo>
                  <a:close/>
                  <a:moveTo>
                    <a:pt x="52" y="361"/>
                  </a:moveTo>
                  <a:lnTo>
                    <a:pt x="52" y="359"/>
                  </a:lnTo>
                  <a:lnTo>
                    <a:pt x="52" y="361"/>
                  </a:lnTo>
                  <a:close/>
                  <a:moveTo>
                    <a:pt x="93" y="361"/>
                  </a:moveTo>
                  <a:lnTo>
                    <a:pt x="93" y="359"/>
                  </a:lnTo>
                  <a:lnTo>
                    <a:pt x="93" y="361"/>
                  </a:lnTo>
                  <a:close/>
                  <a:moveTo>
                    <a:pt x="50" y="361"/>
                  </a:moveTo>
                  <a:lnTo>
                    <a:pt x="50" y="359"/>
                  </a:lnTo>
                  <a:lnTo>
                    <a:pt x="50" y="361"/>
                  </a:lnTo>
                  <a:close/>
                  <a:moveTo>
                    <a:pt x="86" y="359"/>
                  </a:moveTo>
                  <a:lnTo>
                    <a:pt x="86" y="361"/>
                  </a:lnTo>
                  <a:lnTo>
                    <a:pt x="86" y="359"/>
                  </a:lnTo>
                  <a:close/>
                  <a:moveTo>
                    <a:pt x="81" y="359"/>
                  </a:moveTo>
                  <a:lnTo>
                    <a:pt x="81" y="361"/>
                  </a:lnTo>
                  <a:lnTo>
                    <a:pt x="81" y="359"/>
                  </a:lnTo>
                  <a:close/>
                  <a:moveTo>
                    <a:pt x="102" y="359"/>
                  </a:moveTo>
                  <a:lnTo>
                    <a:pt x="102" y="361"/>
                  </a:lnTo>
                  <a:lnTo>
                    <a:pt x="102" y="359"/>
                  </a:lnTo>
                  <a:close/>
                  <a:moveTo>
                    <a:pt x="57" y="359"/>
                  </a:moveTo>
                  <a:lnTo>
                    <a:pt x="55" y="361"/>
                  </a:lnTo>
                  <a:lnTo>
                    <a:pt x="55" y="359"/>
                  </a:lnTo>
                  <a:lnTo>
                    <a:pt x="57" y="359"/>
                  </a:lnTo>
                  <a:close/>
                  <a:moveTo>
                    <a:pt x="55" y="361"/>
                  </a:moveTo>
                  <a:lnTo>
                    <a:pt x="55" y="359"/>
                  </a:lnTo>
                  <a:lnTo>
                    <a:pt x="55" y="361"/>
                  </a:lnTo>
                  <a:close/>
                  <a:moveTo>
                    <a:pt x="57" y="359"/>
                  </a:moveTo>
                  <a:lnTo>
                    <a:pt x="57" y="361"/>
                  </a:lnTo>
                  <a:lnTo>
                    <a:pt x="57" y="359"/>
                  </a:lnTo>
                  <a:close/>
                  <a:moveTo>
                    <a:pt x="121" y="361"/>
                  </a:moveTo>
                  <a:lnTo>
                    <a:pt x="121" y="359"/>
                  </a:lnTo>
                  <a:lnTo>
                    <a:pt x="121" y="361"/>
                  </a:lnTo>
                  <a:close/>
                  <a:moveTo>
                    <a:pt x="171" y="359"/>
                  </a:moveTo>
                  <a:lnTo>
                    <a:pt x="171" y="361"/>
                  </a:lnTo>
                  <a:lnTo>
                    <a:pt x="171" y="359"/>
                  </a:lnTo>
                  <a:close/>
                  <a:moveTo>
                    <a:pt x="40" y="359"/>
                  </a:moveTo>
                  <a:lnTo>
                    <a:pt x="40" y="361"/>
                  </a:lnTo>
                  <a:lnTo>
                    <a:pt x="40" y="359"/>
                  </a:lnTo>
                  <a:close/>
                  <a:moveTo>
                    <a:pt x="64" y="361"/>
                  </a:moveTo>
                  <a:lnTo>
                    <a:pt x="64" y="359"/>
                  </a:lnTo>
                  <a:lnTo>
                    <a:pt x="64" y="361"/>
                  </a:lnTo>
                  <a:close/>
                  <a:moveTo>
                    <a:pt x="78" y="361"/>
                  </a:moveTo>
                  <a:lnTo>
                    <a:pt x="78" y="359"/>
                  </a:lnTo>
                  <a:lnTo>
                    <a:pt x="78" y="361"/>
                  </a:lnTo>
                  <a:close/>
                  <a:moveTo>
                    <a:pt x="76" y="359"/>
                  </a:moveTo>
                  <a:lnTo>
                    <a:pt x="76" y="361"/>
                  </a:lnTo>
                  <a:lnTo>
                    <a:pt x="76" y="359"/>
                  </a:lnTo>
                  <a:close/>
                  <a:moveTo>
                    <a:pt x="38" y="359"/>
                  </a:moveTo>
                  <a:lnTo>
                    <a:pt x="38" y="361"/>
                  </a:lnTo>
                  <a:lnTo>
                    <a:pt x="38" y="359"/>
                  </a:lnTo>
                  <a:close/>
                  <a:moveTo>
                    <a:pt x="43" y="359"/>
                  </a:moveTo>
                  <a:lnTo>
                    <a:pt x="43" y="361"/>
                  </a:lnTo>
                  <a:lnTo>
                    <a:pt x="43" y="359"/>
                  </a:lnTo>
                  <a:close/>
                  <a:moveTo>
                    <a:pt x="67" y="359"/>
                  </a:moveTo>
                  <a:lnTo>
                    <a:pt x="64" y="361"/>
                  </a:lnTo>
                  <a:lnTo>
                    <a:pt x="64" y="359"/>
                  </a:lnTo>
                  <a:lnTo>
                    <a:pt x="67" y="359"/>
                  </a:lnTo>
                  <a:close/>
                  <a:moveTo>
                    <a:pt x="104" y="361"/>
                  </a:moveTo>
                  <a:lnTo>
                    <a:pt x="104" y="359"/>
                  </a:lnTo>
                  <a:lnTo>
                    <a:pt x="104" y="361"/>
                  </a:lnTo>
                  <a:close/>
                  <a:moveTo>
                    <a:pt x="102" y="359"/>
                  </a:moveTo>
                  <a:lnTo>
                    <a:pt x="102" y="361"/>
                  </a:lnTo>
                  <a:lnTo>
                    <a:pt x="102" y="359"/>
                  </a:lnTo>
                  <a:close/>
                  <a:moveTo>
                    <a:pt x="78" y="359"/>
                  </a:moveTo>
                  <a:lnTo>
                    <a:pt x="78" y="361"/>
                  </a:lnTo>
                  <a:lnTo>
                    <a:pt x="78" y="359"/>
                  </a:lnTo>
                  <a:lnTo>
                    <a:pt x="76" y="361"/>
                  </a:lnTo>
                  <a:lnTo>
                    <a:pt x="76" y="359"/>
                  </a:lnTo>
                  <a:lnTo>
                    <a:pt x="78" y="359"/>
                  </a:lnTo>
                  <a:close/>
                  <a:moveTo>
                    <a:pt x="114" y="359"/>
                  </a:moveTo>
                  <a:lnTo>
                    <a:pt x="112" y="359"/>
                  </a:lnTo>
                  <a:lnTo>
                    <a:pt x="114" y="359"/>
                  </a:lnTo>
                  <a:close/>
                  <a:moveTo>
                    <a:pt x="157" y="359"/>
                  </a:moveTo>
                  <a:lnTo>
                    <a:pt x="154" y="359"/>
                  </a:lnTo>
                  <a:lnTo>
                    <a:pt x="157" y="359"/>
                  </a:lnTo>
                  <a:close/>
                  <a:moveTo>
                    <a:pt x="62" y="359"/>
                  </a:moveTo>
                  <a:lnTo>
                    <a:pt x="59" y="359"/>
                  </a:lnTo>
                  <a:lnTo>
                    <a:pt x="62" y="359"/>
                  </a:lnTo>
                  <a:close/>
                  <a:moveTo>
                    <a:pt x="50" y="359"/>
                  </a:moveTo>
                  <a:lnTo>
                    <a:pt x="52" y="359"/>
                  </a:lnTo>
                  <a:lnTo>
                    <a:pt x="50" y="359"/>
                  </a:lnTo>
                  <a:close/>
                  <a:moveTo>
                    <a:pt x="55" y="359"/>
                  </a:moveTo>
                  <a:lnTo>
                    <a:pt x="57" y="359"/>
                  </a:lnTo>
                  <a:lnTo>
                    <a:pt x="55" y="359"/>
                  </a:lnTo>
                  <a:close/>
                  <a:moveTo>
                    <a:pt x="55" y="359"/>
                  </a:moveTo>
                  <a:lnTo>
                    <a:pt x="52" y="359"/>
                  </a:lnTo>
                  <a:lnTo>
                    <a:pt x="55" y="359"/>
                  </a:lnTo>
                  <a:close/>
                  <a:moveTo>
                    <a:pt x="159" y="359"/>
                  </a:moveTo>
                  <a:lnTo>
                    <a:pt x="157" y="359"/>
                  </a:lnTo>
                  <a:lnTo>
                    <a:pt x="159" y="359"/>
                  </a:lnTo>
                  <a:close/>
                  <a:moveTo>
                    <a:pt x="55" y="359"/>
                  </a:moveTo>
                  <a:lnTo>
                    <a:pt x="52" y="359"/>
                  </a:lnTo>
                  <a:lnTo>
                    <a:pt x="55" y="359"/>
                  </a:lnTo>
                  <a:close/>
                  <a:moveTo>
                    <a:pt x="81" y="359"/>
                  </a:moveTo>
                  <a:lnTo>
                    <a:pt x="78" y="359"/>
                  </a:lnTo>
                  <a:lnTo>
                    <a:pt x="81" y="359"/>
                  </a:lnTo>
                  <a:close/>
                  <a:moveTo>
                    <a:pt x="43" y="359"/>
                  </a:moveTo>
                  <a:lnTo>
                    <a:pt x="40" y="359"/>
                  </a:lnTo>
                  <a:lnTo>
                    <a:pt x="43" y="359"/>
                  </a:lnTo>
                  <a:close/>
                  <a:moveTo>
                    <a:pt x="173" y="359"/>
                  </a:moveTo>
                  <a:lnTo>
                    <a:pt x="171" y="359"/>
                  </a:lnTo>
                  <a:lnTo>
                    <a:pt x="173" y="359"/>
                  </a:lnTo>
                  <a:close/>
                  <a:moveTo>
                    <a:pt x="161" y="359"/>
                  </a:moveTo>
                  <a:lnTo>
                    <a:pt x="159" y="359"/>
                  </a:lnTo>
                  <a:lnTo>
                    <a:pt x="161" y="359"/>
                  </a:lnTo>
                  <a:close/>
                  <a:moveTo>
                    <a:pt x="112" y="359"/>
                  </a:moveTo>
                  <a:lnTo>
                    <a:pt x="114" y="359"/>
                  </a:lnTo>
                  <a:lnTo>
                    <a:pt x="112" y="359"/>
                  </a:lnTo>
                  <a:close/>
                  <a:moveTo>
                    <a:pt x="157" y="359"/>
                  </a:moveTo>
                  <a:lnTo>
                    <a:pt x="154" y="359"/>
                  </a:lnTo>
                  <a:lnTo>
                    <a:pt x="157" y="359"/>
                  </a:lnTo>
                  <a:close/>
                  <a:moveTo>
                    <a:pt x="173" y="359"/>
                  </a:moveTo>
                  <a:lnTo>
                    <a:pt x="171" y="359"/>
                  </a:lnTo>
                  <a:lnTo>
                    <a:pt x="173" y="359"/>
                  </a:lnTo>
                  <a:close/>
                  <a:moveTo>
                    <a:pt x="38" y="359"/>
                  </a:moveTo>
                  <a:lnTo>
                    <a:pt x="36" y="359"/>
                  </a:lnTo>
                  <a:lnTo>
                    <a:pt x="38" y="359"/>
                  </a:lnTo>
                  <a:close/>
                  <a:moveTo>
                    <a:pt x="81" y="359"/>
                  </a:moveTo>
                  <a:lnTo>
                    <a:pt x="78" y="359"/>
                  </a:lnTo>
                  <a:lnTo>
                    <a:pt x="81" y="359"/>
                  </a:lnTo>
                  <a:close/>
                  <a:moveTo>
                    <a:pt x="109" y="359"/>
                  </a:moveTo>
                  <a:lnTo>
                    <a:pt x="107" y="359"/>
                  </a:lnTo>
                  <a:lnTo>
                    <a:pt x="109" y="359"/>
                  </a:lnTo>
                  <a:close/>
                  <a:moveTo>
                    <a:pt x="161" y="359"/>
                  </a:moveTo>
                  <a:lnTo>
                    <a:pt x="159" y="359"/>
                  </a:lnTo>
                  <a:lnTo>
                    <a:pt x="161" y="359"/>
                  </a:lnTo>
                  <a:close/>
                  <a:moveTo>
                    <a:pt x="78" y="359"/>
                  </a:moveTo>
                  <a:lnTo>
                    <a:pt x="76" y="359"/>
                  </a:lnTo>
                  <a:lnTo>
                    <a:pt x="78" y="359"/>
                  </a:lnTo>
                  <a:close/>
                  <a:moveTo>
                    <a:pt x="55" y="359"/>
                  </a:moveTo>
                  <a:lnTo>
                    <a:pt x="52" y="359"/>
                  </a:lnTo>
                  <a:lnTo>
                    <a:pt x="55" y="359"/>
                  </a:lnTo>
                  <a:close/>
                  <a:moveTo>
                    <a:pt x="88" y="359"/>
                  </a:moveTo>
                  <a:lnTo>
                    <a:pt x="86" y="359"/>
                  </a:lnTo>
                  <a:lnTo>
                    <a:pt x="88" y="359"/>
                  </a:lnTo>
                  <a:close/>
                  <a:moveTo>
                    <a:pt x="36" y="359"/>
                  </a:moveTo>
                  <a:lnTo>
                    <a:pt x="33" y="359"/>
                  </a:lnTo>
                  <a:lnTo>
                    <a:pt x="36" y="359"/>
                  </a:lnTo>
                  <a:close/>
                  <a:moveTo>
                    <a:pt x="38" y="359"/>
                  </a:moveTo>
                  <a:lnTo>
                    <a:pt x="38" y="357"/>
                  </a:lnTo>
                  <a:lnTo>
                    <a:pt x="38" y="359"/>
                  </a:lnTo>
                  <a:close/>
                  <a:moveTo>
                    <a:pt x="52" y="359"/>
                  </a:moveTo>
                  <a:lnTo>
                    <a:pt x="52" y="357"/>
                  </a:lnTo>
                  <a:lnTo>
                    <a:pt x="52" y="359"/>
                  </a:lnTo>
                  <a:close/>
                  <a:moveTo>
                    <a:pt x="107" y="357"/>
                  </a:moveTo>
                  <a:lnTo>
                    <a:pt x="107" y="359"/>
                  </a:lnTo>
                  <a:lnTo>
                    <a:pt x="107" y="357"/>
                  </a:lnTo>
                  <a:close/>
                  <a:moveTo>
                    <a:pt x="159" y="359"/>
                  </a:moveTo>
                  <a:lnTo>
                    <a:pt x="159" y="357"/>
                  </a:lnTo>
                  <a:lnTo>
                    <a:pt x="159" y="359"/>
                  </a:lnTo>
                  <a:close/>
                  <a:moveTo>
                    <a:pt x="19" y="357"/>
                  </a:moveTo>
                  <a:lnTo>
                    <a:pt x="19" y="359"/>
                  </a:lnTo>
                  <a:lnTo>
                    <a:pt x="19" y="357"/>
                  </a:lnTo>
                  <a:close/>
                  <a:moveTo>
                    <a:pt x="71" y="359"/>
                  </a:moveTo>
                  <a:lnTo>
                    <a:pt x="71" y="357"/>
                  </a:lnTo>
                  <a:lnTo>
                    <a:pt x="71" y="359"/>
                  </a:lnTo>
                  <a:close/>
                  <a:moveTo>
                    <a:pt x="48" y="359"/>
                  </a:moveTo>
                  <a:lnTo>
                    <a:pt x="48" y="357"/>
                  </a:lnTo>
                  <a:lnTo>
                    <a:pt x="48" y="359"/>
                  </a:lnTo>
                  <a:close/>
                  <a:moveTo>
                    <a:pt x="157" y="357"/>
                  </a:moveTo>
                  <a:lnTo>
                    <a:pt x="157" y="359"/>
                  </a:lnTo>
                  <a:lnTo>
                    <a:pt x="157" y="357"/>
                  </a:lnTo>
                  <a:close/>
                  <a:moveTo>
                    <a:pt x="93" y="359"/>
                  </a:moveTo>
                  <a:lnTo>
                    <a:pt x="93" y="357"/>
                  </a:lnTo>
                  <a:lnTo>
                    <a:pt x="93" y="359"/>
                  </a:lnTo>
                  <a:close/>
                  <a:moveTo>
                    <a:pt x="50" y="359"/>
                  </a:moveTo>
                  <a:lnTo>
                    <a:pt x="50" y="357"/>
                  </a:lnTo>
                  <a:lnTo>
                    <a:pt x="50" y="359"/>
                  </a:lnTo>
                  <a:close/>
                  <a:moveTo>
                    <a:pt x="24" y="359"/>
                  </a:moveTo>
                  <a:lnTo>
                    <a:pt x="21" y="359"/>
                  </a:lnTo>
                  <a:lnTo>
                    <a:pt x="21" y="357"/>
                  </a:lnTo>
                  <a:lnTo>
                    <a:pt x="24" y="359"/>
                  </a:lnTo>
                  <a:close/>
                  <a:moveTo>
                    <a:pt x="50" y="357"/>
                  </a:moveTo>
                  <a:lnTo>
                    <a:pt x="50" y="359"/>
                  </a:lnTo>
                  <a:lnTo>
                    <a:pt x="50" y="357"/>
                  </a:lnTo>
                  <a:close/>
                  <a:moveTo>
                    <a:pt x="81" y="359"/>
                  </a:moveTo>
                  <a:lnTo>
                    <a:pt x="81" y="357"/>
                  </a:lnTo>
                  <a:lnTo>
                    <a:pt x="81" y="359"/>
                  </a:lnTo>
                  <a:close/>
                  <a:moveTo>
                    <a:pt x="88" y="359"/>
                  </a:moveTo>
                  <a:lnTo>
                    <a:pt x="88" y="357"/>
                  </a:lnTo>
                  <a:lnTo>
                    <a:pt x="88" y="359"/>
                  </a:lnTo>
                  <a:close/>
                  <a:moveTo>
                    <a:pt x="21" y="359"/>
                  </a:moveTo>
                  <a:lnTo>
                    <a:pt x="21" y="357"/>
                  </a:lnTo>
                  <a:lnTo>
                    <a:pt x="21" y="359"/>
                  </a:lnTo>
                  <a:close/>
                  <a:moveTo>
                    <a:pt x="38" y="357"/>
                  </a:moveTo>
                  <a:lnTo>
                    <a:pt x="38" y="359"/>
                  </a:lnTo>
                  <a:lnTo>
                    <a:pt x="38" y="357"/>
                  </a:lnTo>
                  <a:close/>
                  <a:moveTo>
                    <a:pt x="93" y="357"/>
                  </a:moveTo>
                  <a:lnTo>
                    <a:pt x="93" y="359"/>
                  </a:lnTo>
                  <a:lnTo>
                    <a:pt x="93" y="357"/>
                  </a:lnTo>
                  <a:close/>
                  <a:moveTo>
                    <a:pt x="43" y="357"/>
                  </a:moveTo>
                  <a:lnTo>
                    <a:pt x="43" y="359"/>
                  </a:lnTo>
                  <a:lnTo>
                    <a:pt x="43" y="357"/>
                  </a:lnTo>
                  <a:close/>
                  <a:moveTo>
                    <a:pt x="97" y="357"/>
                  </a:moveTo>
                  <a:lnTo>
                    <a:pt x="97" y="359"/>
                  </a:lnTo>
                  <a:lnTo>
                    <a:pt x="97" y="357"/>
                  </a:lnTo>
                  <a:close/>
                  <a:moveTo>
                    <a:pt x="33" y="359"/>
                  </a:moveTo>
                  <a:lnTo>
                    <a:pt x="33" y="357"/>
                  </a:lnTo>
                  <a:lnTo>
                    <a:pt x="33" y="359"/>
                  </a:lnTo>
                  <a:close/>
                  <a:moveTo>
                    <a:pt x="88" y="359"/>
                  </a:moveTo>
                  <a:lnTo>
                    <a:pt x="88" y="357"/>
                  </a:lnTo>
                  <a:lnTo>
                    <a:pt x="88" y="359"/>
                  </a:lnTo>
                  <a:close/>
                  <a:moveTo>
                    <a:pt x="50" y="357"/>
                  </a:moveTo>
                  <a:lnTo>
                    <a:pt x="50" y="359"/>
                  </a:lnTo>
                  <a:lnTo>
                    <a:pt x="50" y="357"/>
                  </a:lnTo>
                  <a:close/>
                  <a:moveTo>
                    <a:pt x="36" y="357"/>
                  </a:moveTo>
                  <a:lnTo>
                    <a:pt x="33" y="357"/>
                  </a:lnTo>
                  <a:lnTo>
                    <a:pt x="36" y="357"/>
                  </a:lnTo>
                  <a:close/>
                  <a:moveTo>
                    <a:pt x="24" y="359"/>
                  </a:moveTo>
                  <a:lnTo>
                    <a:pt x="24" y="357"/>
                  </a:lnTo>
                  <a:lnTo>
                    <a:pt x="24" y="359"/>
                  </a:lnTo>
                  <a:close/>
                  <a:moveTo>
                    <a:pt x="19" y="359"/>
                  </a:moveTo>
                  <a:lnTo>
                    <a:pt x="19" y="357"/>
                  </a:lnTo>
                  <a:lnTo>
                    <a:pt x="19" y="359"/>
                  </a:lnTo>
                  <a:close/>
                  <a:moveTo>
                    <a:pt x="90" y="359"/>
                  </a:moveTo>
                  <a:lnTo>
                    <a:pt x="90" y="357"/>
                  </a:lnTo>
                  <a:lnTo>
                    <a:pt x="90" y="359"/>
                  </a:lnTo>
                  <a:close/>
                  <a:moveTo>
                    <a:pt x="97" y="357"/>
                  </a:moveTo>
                  <a:lnTo>
                    <a:pt x="97" y="359"/>
                  </a:lnTo>
                  <a:lnTo>
                    <a:pt x="97" y="357"/>
                  </a:lnTo>
                  <a:close/>
                  <a:moveTo>
                    <a:pt x="57" y="359"/>
                  </a:moveTo>
                  <a:lnTo>
                    <a:pt x="57" y="357"/>
                  </a:lnTo>
                  <a:lnTo>
                    <a:pt x="57" y="359"/>
                  </a:lnTo>
                  <a:close/>
                  <a:moveTo>
                    <a:pt x="52" y="357"/>
                  </a:moveTo>
                  <a:lnTo>
                    <a:pt x="52" y="359"/>
                  </a:lnTo>
                  <a:lnTo>
                    <a:pt x="52" y="357"/>
                  </a:lnTo>
                  <a:close/>
                  <a:moveTo>
                    <a:pt x="159" y="357"/>
                  </a:moveTo>
                  <a:lnTo>
                    <a:pt x="159" y="359"/>
                  </a:lnTo>
                  <a:lnTo>
                    <a:pt x="159" y="357"/>
                  </a:lnTo>
                  <a:close/>
                  <a:moveTo>
                    <a:pt x="19" y="359"/>
                  </a:moveTo>
                  <a:lnTo>
                    <a:pt x="19" y="357"/>
                  </a:lnTo>
                  <a:lnTo>
                    <a:pt x="19" y="359"/>
                  </a:lnTo>
                  <a:close/>
                  <a:moveTo>
                    <a:pt x="71" y="357"/>
                  </a:moveTo>
                  <a:lnTo>
                    <a:pt x="71" y="359"/>
                  </a:lnTo>
                  <a:lnTo>
                    <a:pt x="71" y="357"/>
                  </a:lnTo>
                  <a:close/>
                  <a:moveTo>
                    <a:pt x="52" y="357"/>
                  </a:moveTo>
                  <a:lnTo>
                    <a:pt x="52" y="359"/>
                  </a:lnTo>
                  <a:lnTo>
                    <a:pt x="52" y="357"/>
                  </a:lnTo>
                  <a:close/>
                  <a:moveTo>
                    <a:pt x="45" y="359"/>
                  </a:moveTo>
                  <a:lnTo>
                    <a:pt x="45" y="357"/>
                  </a:lnTo>
                  <a:lnTo>
                    <a:pt x="45" y="359"/>
                  </a:lnTo>
                  <a:close/>
                  <a:moveTo>
                    <a:pt x="19" y="357"/>
                  </a:moveTo>
                  <a:lnTo>
                    <a:pt x="19" y="359"/>
                  </a:lnTo>
                  <a:lnTo>
                    <a:pt x="19" y="357"/>
                  </a:lnTo>
                  <a:close/>
                  <a:moveTo>
                    <a:pt x="29" y="359"/>
                  </a:moveTo>
                  <a:lnTo>
                    <a:pt x="29" y="357"/>
                  </a:lnTo>
                  <a:lnTo>
                    <a:pt x="29" y="359"/>
                  </a:lnTo>
                  <a:close/>
                  <a:moveTo>
                    <a:pt x="24" y="357"/>
                  </a:moveTo>
                  <a:lnTo>
                    <a:pt x="24" y="359"/>
                  </a:lnTo>
                  <a:lnTo>
                    <a:pt x="24" y="357"/>
                  </a:lnTo>
                  <a:close/>
                  <a:moveTo>
                    <a:pt x="178" y="357"/>
                  </a:moveTo>
                  <a:lnTo>
                    <a:pt x="176" y="357"/>
                  </a:lnTo>
                  <a:lnTo>
                    <a:pt x="178" y="357"/>
                  </a:lnTo>
                  <a:close/>
                  <a:moveTo>
                    <a:pt x="78" y="357"/>
                  </a:moveTo>
                  <a:lnTo>
                    <a:pt x="78" y="359"/>
                  </a:lnTo>
                  <a:lnTo>
                    <a:pt x="78" y="357"/>
                  </a:lnTo>
                  <a:close/>
                  <a:moveTo>
                    <a:pt x="164" y="357"/>
                  </a:moveTo>
                  <a:lnTo>
                    <a:pt x="164" y="359"/>
                  </a:lnTo>
                  <a:lnTo>
                    <a:pt x="164" y="357"/>
                  </a:lnTo>
                  <a:close/>
                  <a:moveTo>
                    <a:pt x="48" y="357"/>
                  </a:moveTo>
                  <a:lnTo>
                    <a:pt x="48" y="359"/>
                  </a:lnTo>
                  <a:lnTo>
                    <a:pt x="48" y="357"/>
                  </a:lnTo>
                  <a:close/>
                  <a:moveTo>
                    <a:pt x="62" y="357"/>
                  </a:moveTo>
                  <a:lnTo>
                    <a:pt x="59" y="357"/>
                  </a:lnTo>
                  <a:lnTo>
                    <a:pt x="62" y="357"/>
                  </a:lnTo>
                  <a:close/>
                  <a:moveTo>
                    <a:pt x="71" y="357"/>
                  </a:moveTo>
                  <a:lnTo>
                    <a:pt x="74" y="357"/>
                  </a:lnTo>
                  <a:lnTo>
                    <a:pt x="74" y="359"/>
                  </a:lnTo>
                  <a:lnTo>
                    <a:pt x="74" y="357"/>
                  </a:lnTo>
                  <a:lnTo>
                    <a:pt x="71" y="357"/>
                  </a:lnTo>
                  <a:close/>
                  <a:moveTo>
                    <a:pt x="48" y="357"/>
                  </a:moveTo>
                  <a:lnTo>
                    <a:pt x="48" y="359"/>
                  </a:lnTo>
                  <a:lnTo>
                    <a:pt x="48" y="357"/>
                  </a:lnTo>
                  <a:lnTo>
                    <a:pt x="48" y="359"/>
                  </a:lnTo>
                  <a:lnTo>
                    <a:pt x="48" y="357"/>
                  </a:lnTo>
                  <a:close/>
                  <a:moveTo>
                    <a:pt x="90" y="357"/>
                  </a:moveTo>
                  <a:lnTo>
                    <a:pt x="90" y="359"/>
                  </a:lnTo>
                  <a:lnTo>
                    <a:pt x="90" y="357"/>
                  </a:lnTo>
                  <a:close/>
                  <a:moveTo>
                    <a:pt x="71" y="357"/>
                  </a:moveTo>
                  <a:lnTo>
                    <a:pt x="74" y="357"/>
                  </a:lnTo>
                  <a:lnTo>
                    <a:pt x="71" y="357"/>
                  </a:lnTo>
                  <a:close/>
                  <a:moveTo>
                    <a:pt x="21" y="357"/>
                  </a:moveTo>
                  <a:lnTo>
                    <a:pt x="19" y="357"/>
                  </a:lnTo>
                  <a:lnTo>
                    <a:pt x="21" y="357"/>
                  </a:lnTo>
                  <a:close/>
                  <a:moveTo>
                    <a:pt x="71" y="357"/>
                  </a:moveTo>
                  <a:lnTo>
                    <a:pt x="74" y="357"/>
                  </a:lnTo>
                  <a:lnTo>
                    <a:pt x="71" y="357"/>
                  </a:lnTo>
                  <a:close/>
                  <a:moveTo>
                    <a:pt x="52" y="357"/>
                  </a:moveTo>
                  <a:lnTo>
                    <a:pt x="50" y="357"/>
                  </a:lnTo>
                  <a:lnTo>
                    <a:pt x="52" y="357"/>
                  </a:lnTo>
                  <a:close/>
                  <a:moveTo>
                    <a:pt x="78" y="357"/>
                  </a:moveTo>
                  <a:lnTo>
                    <a:pt x="76" y="357"/>
                  </a:lnTo>
                  <a:lnTo>
                    <a:pt x="78" y="357"/>
                  </a:lnTo>
                  <a:close/>
                  <a:moveTo>
                    <a:pt x="55" y="357"/>
                  </a:moveTo>
                  <a:lnTo>
                    <a:pt x="52" y="357"/>
                  </a:lnTo>
                  <a:lnTo>
                    <a:pt x="55" y="357"/>
                  </a:lnTo>
                  <a:close/>
                  <a:moveTo>
                    <a:pt x="81" y="357"/>
                  </a:moveTo>
                  <a:lnTo>
                    <a:pt x="78" y="357"/>
                  </a:lnTo>
                  <a:lnTo>
                    <a:pt x="81" y="357"/>
                  </a:lnTo>
                  <a:close/>
                  <a:moveTo>
                    <a:pt x="176" y="357"/>
                  </a:moveTo>
                  <a:lnTo>
                    <a:pt x="173" y="357"/>
                  </a:lnTo>
                  <a:lnTo>
                    <a:pt x="176" y="357"/>
                  </a:lnTo>
                  <a:close/>
                  <a:moveTo>
                    <a:pt x="83" y="357"/>
                  </a:moveTo>
                  <a:lnTo>
                    <a:pt x="81" y="357"/>
                  </a:lnTo>
                  <a:lnTo>
                    <a:pt x="83" y="357"/>
                  </a:lnTo>
                  <a:close/>
                  <a:moveTo>
                    <a:pt x="33" y="357"/>
                  </a:moveTo>
                  <a:lnTo>
                    <a:pt x="31" y="357"/>
                  </a:lnTo>
                  <a:lnTo>
                    <a:pt x="33" y="357"/>
                  </a:lnTo>
                  <a:close/>
                  <a:moveTo>
                    <a:pt x="176" y="357"/>
                  </a:moveTo>
                  <a:lnTo>
                    <a:pt x="173" y="357"/>
                  </a:lnTo>
                  <a:lnTo>
                    <a:pt x="176" y="357"/>
                  </a:lnTo>
                  <a:close/>
                  <a:moveTo>
                    <a:pt x="116" y="357"/>
                  </a:moveTo>
                  <a:lnTo>
                    <a:pt x="114" y="357"/>
                  </a:lnTo>
                  <a:lnTo>
                    <a:pt x="116" y="357"/>
                  </a:lnTo>
                  <a:close/>
                  <a:moveTo>
                    <a:pt x="93" y="357"/>
                  </a:moveTo>
                  <a:lnTo>
                    <a:pt x="90" y="357"/>
                  </a:lnTo>
                  <a:lnTo>
                    <a:pt x="93" y="357"/>
                  </a:lnTo>
                  <a:close/>
                  <a:moveTo>
                    <a:pt x="76" y="357"/>
                  </a:moveTo>
                  <a:lnTo>
                    <a:pt x="74" y="357"/>
                  </a:lnTo>
                  <a:lnTo>
                    <a:pt x="76" y="357"/>
                  </a:lnTo>
                  <a:close/>
                  <a:moveTo>
                    <a:pt x="93" y="357"/>
                  </a:moveTo>
                  <a:lnTo>
                    <a:pt x="90" y="357"/>
                  </a:lnTo>
                  <a:lnTo>
                    <a:pt x="93" y="357"/>
                  </a:lnTo>
                  <a:close/>
                  <a:moveTo>
                    <a:pt x="43" y="357"/>
                  </a:moveTo>
                  <a:lnTo>
                    <a:pt x="40" y="357"/>
                  </a:lnTo>
                  <a:lnTo>
                    <a:pt x="43" y="357"/>
                  </a:lnTo>
                  <a:close/>
                  <a:moveTo>
                    <a:pt x="45" y="357"/>
                  </a:moveTo>
                  <a:lnTo>
                    <a:pt x="48" y="357"/>
                  </a:lnTo>
                  <a:lnTo>
                    <a:pt x="45" y="357"/>
                  </a:lnTo>
                  <a:close/>
                  <a:moveTo>
                    <a:pt x="76" y="357"/>
                  </a:moveTo>
                  <a:lnTo>
                    <a:pt x="74" y="357"/>
                  </a:lnTo>
                  <a:lnTo>
                    <a:pt x="76" y="357"/>
                  </a:lnTo>
                  <a:close/>
                  <a:moveTo>
                    <a:pt x="93" y="357"/>
                  </a:moveTo>
                  <a:lnTo>
                    <a:pt x="95" y="357"/>
                  </a:lnTo>
                  <a:lnTo>
                    <a:pt x="93" y="357"/>
                  </a:lnTo>
                  <a:close/>
                  <a:moveTo>
                    <a:pt x="43" y="357"/>
                  </a:moveTo>
                  <a:lnTo>
                    <a:pt x="40" y="357"/>
                  </a:lnTo>
                  <a:lnTo>
                    <a:pt x="43" y="357"/>
                  </a:lnTo>
                  <a:close/>
                  <a:moveTo>
                    <a:pt x="43" y="357"/>
                  </a:moveTo>
                  <a:lnTo>
                    <a:pt x="40" y="357"/>
                  </a:lnTo>
                  <a:lnTo>
                    <a:pt x="43" y="357"/>
                  </a:lnTo>
                  <a:close/>
                  <a:moveTo>
                    <a:pt x="176" y="357"/>
                  </a:moveTo>
                  <a:lnTo>
                    <a:pt x="173" y="357"/>
                  </a:lnTo>
                  <a:lnTo>
                    <a:pt x="176" y="357"/>
                  </a:lnTo>
                  <a:close/>
                  <a:moveTo>
                    <a:pt x="40" y="357"/>
                  </a:moveTo>
                  <a:lnTo>
                    <a:pt x="38" y="357"/>
                  </a:lnTo>
                  <a:lnTo>
                    <a:pt x="40" y="357"/>
                  </a:lnTo>
                  <a:close/>
                  <a:moveTo>
                    <a:pt x="176" y="354"/>
                  </a:moveTo>
                  <a:lnTo>
                    <a:pt x="176" y="357"/>
                  </a:lnTo>
                  <a:lnTo>
                    <a:pt x="176" y="354"/>
                  </a:lnTo>
                  <a:close/>
                  <a:moveTo>
                    <a:pt x="81" y="354"/>
                  </a:moveTo>
                  <a:lnTo>
                    <a:pt x="81" y="357"/>
                  </a:lnTo>
                  <a:lnTo>
                    <a:pt x="81" y="354"/>
                  </a:lnTo>
                  <a:close/>
                  <a:moveTo>
                    <a:pt x="176" y="357"/>
                  </a:moveTo>
                  <a:lnTo>
                    <a:pt x="176" y="354"/>
                  </a:lnTo>
                  <a:lnTo>
                    <a:pt x="176" y="357"/>
                  </a:lnTo>
                  <a:close/>
                  <a:moveTo>
                    <a:pt x="86" y="357"/>
                  </a:moveTo>
                  <a:lnTo>
                    <a:pt x="83" y="357"/>
                  </a:lnTo>
                  <a:lnTo>
                    <a:pt x="83" y="354"/>
                  </a:lnTo>
                  <a:lnTo>
                    <a:pt x="86" y="357"/>
                  </a:lnTo>
                  <a:close/>
                  <a:moveTo>
                    <a:pt x="43" y="354"/>
                  </a:moveTo>
                  <a:lnTo>
                    <a:pt x="43" y="357"/>
                  </a:lnTo>
                  <a:lnTo>
                    <a:pt x="43" y="354"/>
                  </a:lnTo>
                  <a:close/>
                  <a:moveTo>
                    <a:pt x="31" y="354"/>
                  </a:moveTo>
                  <a:lnTo>
                    <a:pt x="31" y="357"/>
                  </a:lnTo>
                  <a:lnTo>
                    <a:pt x="31" y="354"/>
                  </a:lnTo>
                  <a:close/>
                  <a:moveTo>
                    <a:pt x="48" y="357"/>
                  </a:moveTo>
                  <a:lnTo>
                    <a:pt x="48" y="354"/>
                  </a:lnTo>
                  <a:lnTo>
                    <a:pt x="48" y="357"/>
                  </a:lnTo>
                  <a:close/>
                  <a:moveTo>
                    <a:pt x="90" y="357"/>
                  </a:moveTo>
                  <a:lnTo>
                    <a:pt x="90" y="354"/>
                  </a:lnTo>
                  <a:lnTo>
                    <a:pt x="90" y="357"/>
                  </a:lnTo>
                  <a:close/>
                  <a:moveTo>
                    <a:pt x="166" y="354"/>
                  </a:moveTo>
                  <a:lnTo>
                    <a:pt x="166" y="357"/>
                  </a:lnTo>
                  <a:lnTo>
                    <a:pt x="166" y="354"/>
                  </a:lnTo>
                  <a:close/>
                  <a:moveTo>
                    <a:pt x="176" y="357"/>
                  </a:moveTo>
                  <a:lnTo>
                    <a:pt x="176" y="354"/>
                  </a:lnTo>
                  <a:lnTo>
                    <a:pt x="176" y="357"/>
                  </a:lnTo>
                  <a:close/>
                  <a:moveTo>
                    <a:pt x="40" y="354"/>
                  </a:moveTo>
                  <a:lnTo>
                    <a:pt x="40" y="357"/>
                  </a:lnTo>
                  <a:lnTo>
                    <a:pt x="40" y="354"/>
                  </a:lnTo>
                  <a:close/>
                  <a:moveTo>
                    <a:pt x="48" y="357"/>
                  </a:moveTo>
                  <a:lnTo>
                    <a:pt x="48" y="354"/>
                  </a:lnTo>
                  <a:lnTo>
                    <a:pt x="48" y="357"/>
                  </a:lnTo>
                  <a:close/>
                  <a:moveTo>
                    <a:pt x="40" y="354"/>
                  </a:moveTo>
                  <a:lnTo>
                    <a:pt x="40" y="357"/>
                  </a:lnTo>
                  <a:lnTo>
                    <a:pt x="40" y="354"/>
                  </a:lnTo>
                  <a:close/>
                  <a:moveTo>
                    <a:pt x="52" y="354"/>
                  </a:moveTo>
                  <a:lnTo>
                    <a:pt x="52" y="357"/>
                  </a:lnTo>
                  <a:lnTo>
                    <a:pt x="52" y="354"/>
                  </a:lnTo>
                  <a:close/>
                  <a:moveTo>
                    <a:pt x="45" y="357"/>
                  </a:moveTo>
                  <a:lnTo>
                    <a:pt x="45" y="354"/>
                  </a:lnTo>
                  <a:lnTo>
                    <a:pt x="45" y="357"/>
                  </a:lnTo>
                  <a:close/>
                  <a:moveTo>
                    <a:pt x="116" y="357"/>
                  </a:moveTo>
                  <a:lnTo>
                    <a:pt x="116" y="354"/>
                  </a:lnTo>
                  <a:lnTo>
                    <a:pt x="116" y="357"/>
                  </a:lnTo>
                  <a:close/>
                  <a:moveTo>
                    <a:pt x="45" y="357"/>
                  </a:moveTo>
                  <a:lnTo>
                    <a:pt x="45" y="354"/>
                  </a:lnTo>
                  <a:lnTo>
                    <a:pt x="45" y="357"/>
                  </a:lnTo>
                  <a:close/>
                  <a:moveTo>
                    <a:pt x="90" y="354"/>
                  </a:moveTo>
                  <a:lnTo>
                    <a:pt x="90" y="357"/>
                  </a:lnTo>
                  <a:lnTo>
                    <a:pt x="90" y="354"/>
                  </a:lnTo>
                  <a:close/>
                  <a:moveTo>
                    <a:pt x="45" y="357"/>
                  </a:moveTo>
                  <a:lnTo>
                    <a:pt x="45" y="354"/>
                  </a:lnTo>
                  <a:lnTo>
                    <a:pt x="45" y="357"/>
                  </a:lnTo>
                  <a:close/>
                  <a:moveTo>
                    <a:pt x="90" y="354"/>
                  </a:moveTo>
                  <a:lnTo>
                    <a:pt x="88" y="354"/>
                  </a:lnTo>
                  <a:lnTo>
                    <a:pt x="90" y="354"/>
                  </a:lnTo>
                  <a:close/>
                  <a:moveTo>
                    <a:pt x="88" y="354"/>
                  </a:moveTo>
                  <a:lnTo>
                    <a:pt x="86" y="354"/>
                  </a:lnTo>
                  <a:lnTo>
                    <a:pt x="88" y="354"/>
                  </a:lnTo>
                  <a:close/>
                  <a:moveTo>
                    <a:pt x="95" y="354"/>
                  </a:moveTo>
                  <a:lnTo>
                    <a:pt x="93" y="354"/>
                  </a:lnTo>
                  <a:lnTo>
                    <a:pt x="95" y="354"/>
                  </a:lnTo>
                  <a:close/>
                  <a:moveTo>
                    <a:pt x="178" y="354"/>
                  </a:moveTo>
                  <a:lnTo>
                    <a:pt x="176" y="354"/>
                  </a:lnTo>
                  <a:lnTo>
                    <a:pt x="178" y="354"/>
                  </a:lnTo>
                  <a:close/>
                  <a:moveTo>
                    <a:pt x="14" y="354"/>
                  </a:moveTo>
                  <a:lnTo>
                    <a:pt x="17" y="354"/>
                  </a:lnTo>
                  <a:lnTo>
                    <a:pt x="14" y="354"/>
                  </a:lnTo>
                  <a:close/>
                  <a:moveTo>
                    <a:pt x="33" y="354"/>
                  </a:moveTo>
                  <a:lnTo>
                    <a:pt x="31" y="354"/>
                  </a:lnTo>
                  <a:lnTo>
                    <a:pt x="33" y="354"/>
                  </a:lnTo>
                  <a:close/>
                  <a:moveTo>
                    <a:pt x="67" y="354"/>
                  </a:moveTo>
                  <a:lnTo>
                    <a:pt x="64" y="354"/>
                  </a:lnTo>
                  <a:lnTo>
                    <a:pt x="67" y="354"/>
                  </a:lnTo>
                  <a:close/>
                  <a:moveTo>
                    <a:pt x="83" y="354"/>
                  </a:moveTo>
                  <a:lnTo>
                    <a:pt x="81" y="354"/>
                  </a:lnTo>
                  <a:lnTo>
                    <a:pt x="83" y="354"/>
                  </a:lnTo>
                  <a:close/>
                  <a:moveTo>
                    <a:pt x="17" y="354"/>
                  </a:moveTo>
                  <a:lnTo>
                    <a:pt x="14" y="354"/>
                  </a:lnTo>
                  <a:lnTo>
                    <a:pt x="17" y="354"/>
                  </a:lnTo>
                  <a:lnTo>
                    <a:pt x="14" y="354"/>
                  </a:lnTo>
                  <a:lnTo>
                    <a:pt x="17" y="354"/>
                  </a:lnTo>
                  <a:close/>
                  <a:moveTo>
                    <a:pt x="67" y="354"/>
                  </a:moveTo>
                  <a:lnTo>
                    <a:pt x="69" y="354"/>
                  </a:lnTo>
                  <a:lnTo>
                    <a:pt x="67" y="354"/>
                  </a:lnTo>
                  <a:close/>
                  <a:moveTo>
                    <a:pt x="90" y="354"/>
                  </a:moveTo>
                  <a:lnTo>
                    <a:pt x="88" y="354"/>
                  </a:lnTo>
                  <a:lnTo>
                    <a:pt x="90" y="354"/>
                  </a:lnTo>
                  <a:close/>
                  <a:moveTo>
                    <a:pt x="86" y="354"/>
                  </a:moveTo>
                  <a:lnTo>
                    <a:pt x="83" y="354"/>
                  </a:lnTo>
                  <a:lnTo>
                    <a:pt x="86" y="354"/>
                  </a:lnTo>
                  <a:close/>
                  <a:moveTo>
                    <a:pt x="180" y="354"/>
                  </a:moveTo>
                  <a:lnTo>
                    <a:pt x="178" y="354"/>
                  </a:lnTo>
                  <a:lnTo>
                    <a:pt x="180" y="354"/>
                  </a:lnTo>
                  <a:close/>
                  <a:moveTo>
                    <a:pt x="29" y="354"/>
                  </a:moveTo>
                  <a:lnTo>
                    <a:pt x="26" y="354"/>
                  </a:lnTo>
                  <a:lnTo>
                    <a:pt x="29" y="354"/>
                  </a:lnTo>
                  <a:close/>
                  <a:moveTo>
                    <a:pt x="74" y="354"/>
                  </a:moveTo>
                  <a:lnTo>
                    <a:pt x="71" y="354"/>
                  </a:lnTo>
                  <a:lnTo>
                    <a:pt x="74" y="354"/>
                  </a:lnTo>
                  <a:close/>
                  <a:moveTo>
                    <a:pt x="24" y="354"/>
                  </a:moveTo>
                  <a:lnTo>
                    <a:pt x="21" y="354"/>
                  </a:lnTo>
                  <a:lnTo>
                    <a:pt x="24" y="354"/>
                  </a:lnTo>
                  <a:close/>
                  <a:moveTo>
                    <a:pt x="17" y="354"/>
                  </a:moveTo>
                  <a:lnTo>
                    <a:pt x="14" y="354"/>
                  </a:lnTo>
                  <a:lnTo>
                    <a:pt x="17" y="354"/>
                  </a:lnTo>
                  <a:close/>
                  <a:moveTo>
                    <a:pt x="95" y="354"/>
                  </a:moveTo>
                  <a:lnTo>
                    <a:pt x="93" y="354"/>
                  </a:lnTo>
                  <a:lnTo>
                    <a:pt x="95" y="354"/>
                  </a:lnTo>
                  <a:close/>
                  <a:moveTo>
                    <a:pt x="104" y="354"/>
                  </a:moveTo>
                  <a:lnTo>
                    <a:pt x="102" y="354"/>
                  </a:lnTo>
                  <a:lnTo>
                    <a:pt x="104" y="354"/>
                  </a:lnTo>
                  <a:close/>
                  <a:moveTo>
                    <a:pt x="43" y="354"/>
                  </a:moveTo>
                  <a:lnTo>
                    <a:pt x="40" y="354"/>
                  </a:lnTo>
                  <a:lnTo>
                    <a:pt x="43" y="354"/>
                  </a:lnTo>
                  <a:close/>
                  <a:moveTo>
                    <a:pt x="83" y="354"/>
                  </a:moveTo>
                  <a:lnTo>
                    <a:pt x="81" y="354"/>
                  </a:lnTo>
                  <a:lnTo>
                    <a:pt x="83" y="354"/>
                  </a:lnTo>
                  <a:close/>
                  <a:moveTo>
                    <a:pt x="43" y="354"/>
                  </a:moveTo>
                  <a:lnTo>
                    <a:pt x="40" y="354"/>
                  </a:lnTo>
                  <a:lnTo>
                    <a:pt x="43" y="354"/>
                  </a:lnTo>
                  <a:close/>
                  <a:moveTo>
                    <a:pt x="86" y="354"/>
                  </a:moveTo>
                  <a:lnTo>
                    <a:pt x="83" y="354"/>
                  </a:lnTo>
                  <a:lnTo>
                    <a:pt x="86" y="354"/>
                  </a:lnTo>
                  <a:close/>
                  <a:moveTo>
                    <a:pt x="81" y="354"/>
                  </a:moveTo>
                  <a:lnTo>
                    <a:pt x="78" y="354"/>
                  </a:lnTo>
                  <a:lnTo>
                    <a:pt x="81" y="354"/>
                  </a:lnTo>
                  <a:close/>
                  <a:moveTo>
                    <a:pt x="102" y="354"/>
                  </a:moveTo>
                  <a:lnTo>
                    <a:pt x="100" y="354"/>
                  </a:lnTo>
                  <a:lnTo>
                    <a:pt x="102" y="354"/>
                  </a:lnTo>
                  <a:lnTo>
                    <a:pt x="100" y="354"/>
                  </a:lnTo>
                  <a:lnTo>
                    <a:pt x="102" y="354"/>
                  </a:lnTo>
                  <a:close/>
                  <a:moveTo>
                    <a:pt x="48" y="354"/>
                  </a:moveTo>
                  <a:lnTo>
                    <a:pt x="45" y="354"/>
                  </a:lnTo>
                  <a:lnTo>
                    <a:pt x="48" y="354"/>
                  </a:lnTo>
                  <a:close/>
                  <a:moveTo>
                    <a:pt x="185" y="352"/>
                  </a:moveTo>
                  <a:lnTo>
                    <a:pt x="185" y="354"/>
                  </a:lnTo>
                  <a:lnTo>
                    <a:pt x="185" y="352"/>
                  </a:lnTo>
                  <a:close/>
                  <a:moveTo>
                    <a:pt x="78" y="352"/>
                  </a:moveTo>
                  <a:lnTo>
                    <a:pt x="78" y="354"/>
                  </a:lnTo>
                  <a:lnTo>
                    <a:pt x="78" y="352"/>
                  </a:lnTo>
                  <a:close/>
                  <a:moveTo>
                    <a:pt x="62" y="354"/>
                  </a:moveTo>
                  <a:lnTo>
                    <a:pt x="59" y="354"/>
                  </a:lnTo>
                  <a:lnTo>
                    <a:pt x="59" y="352"/>
                  </a:lnTo>
                  <a:lnTo>
                    <a:pt x="62" y="354"/>
                  </a:lnTo>
                  <a:close/>
                  <a:moveTo>
                    <a:pt x="195" y="354"/>
                  </a:moveTo>
                  <a:lnTo>
                    <a:pt x="195" y="352"/>
                  </a:lnTo>
                  <a:lnTo>
                    <a:pt x="195" y="354"/>
                  </a:lnTo>
                  <a:close/>
                  <a:moveTo>
                    <a:pt x="90" y="354"/>
                  </a:moveTo>
                  <a:lnTo>
                    <a:pt x="90" y="352"/>
                  </a:lnTo>
                  <a:lnTo>
                    <a:pt x="90" y="354"/>
                  </a:lnTo>
                  <a:close/>
                  <a:moveTo>
                    <a:pt x="12" y="354"/>
                  </a:moveTo>
                  <a:lnTo>
                    <a:pt x="12" y="352"/>
                  </a:lnTo>
                  <a:lnTo>
                    <a:pt x="12" y="354"/>
                  </a:lnTo>
                  <a:close/>
                  <a:moveTo>
                    <a:pt x="71" y="354"/>
                  </a:moveTo>
                  <a:lnTo>
                    <a:pt x="71" y="352"/>
                  </a:lnTo>
                  <a:lnTo>
                    <a:pt x="71" y="354"/>
                  </a:lnTo>
                  <a:close/>
                  <a:moveTo>
                    <a:pt x="180" y="354"/>
                  </a:moveTo>
                  <a:lnTo>
                    <a:pt x="180" y="352"/>
                  </a:lnTo>
                  <a:lnTo>
                    <a:pt x="180" y="354"/>
                  </a:lnTo>
                  <a:close/>
                  <a:moveTo>
                    <a:pt x="59" y="354"/>
                  </a:moveTo>
                  <a:lnTo>
                    <a:pt x="59" y="352"/>
                  </a:lnTo>
                  <a:lnTo>
                    <a:pt x="59" y="354"/>
                  </a:lnTo>
                  <a:close/>
                  <a:moveTo>
                    <a:pt x="83" y="354"/>
                  </a:moveTo>
                  <a:lnTo>
                    <a:pt x="83" y="352"/>
                  </a:lnTo>
                  <a:lnTo>
                    <a:pt x="83" y="354"/>
                  </a:lnTo>
                  <a:close/>
                  <a:moveTo>
                    <a:pt x="69" y="354"/>
                  </a:moveTo>
                  <a:lnTo>
                    <a:pt x="69" y="352"/>
                  </a:lnTo>
                  <a:lnTo>
                    <a:pt x="69" y="354"/>
                  </a:lnTo>
                  <a:close/>
                  <a:moveTo>
                    <a:pt x="202" y="354"/>
                  </a:moveTo>
                  <a:lnTo>
                    <a:pt x="202" y="352"/>
                  </a:lnTo>
                  <a:lnTo>
                    <a:pt x="202" y="354"/>
                  </a:lnTo>
                  <a:close/>
                  <a:moveTo>
                    <a:pt x="78" y="354"/>
                  </a:moveTo>
                  <a:lnTo>
                    <a:pt x="78" y="352"/>
                  </a:lnTo>
                  <a:lnTo>
                    <a:pt x="81" y="352"/>
                  </a:lnTo>
                  <a:lnTo>
                    <a:pt x="78" y="354"/>
                  </a:lnTo>
                  <a:close/>
                  <a:moveTo>
                    <a:pt x="43" y="354"/>
                  </a:moveTo>
                  <a:lnTo>
                    <a:pt x="40" y="354"/>
                  </a:lnTo>
                  <a:lnTo>
                    <a:pt x="43" y="352"/>
                  </a:lnTo>
                  <a:lnTo>
                    <a:pt x="43" y="354"/>
                  </a:lnTo>
                  <a:close/>
                  <a:moveTo>
                    <a:pt x="38" y="352"/>
                  </a:moveTo>
                  <a:lnTo>
                    <a:pt x="38" y="354"/>
                  </a:lnTo>
                  <a:lnTo>
                    <a:pt x="38" y="352"/>
                  </a:lnTo>
                  <a:close/>
                  <a:moveTo>
                    <a:pt x="81" y="352"/>
                  </a:moveTo>
                  <a:lnTo>
                    <a:pt x="81" y="354"/>
                  </a:lnTo>
                  <a:lnTo>
                    <a:pt x="81" y="352"/>
                  </a:lnTo>
                  <a:close/>
                  <a:moveTo>
                    <a:pt x="33" y="354"/>
                  </a:moveTo>
                  <a:lnTo>
                    <a:pt x="33" y="352"/>
                  </a:lnTo>
                  <a:lnTo>
                    <a:pt x="33" y="354"/>
                  </a:lnTo>
                  <a:close/>
                  <a:moveTo>
                    <a:pt x="29" y="352"/>
                  </a:moveTo>
                  <a:lnTo>
                    <a:pt x="29" y="354"/>
                  </a:lnTo>
                  <a:lnTo>
                    <a:pt x="29" y="352"/>
                  </a:lnTo>
                  <a:close/>
                  <a:moveTo>
                    <a:pt x="64" y="352"/>
                  </a:moveTo>
                  <a:lnTo>
                    <a:pt x="62" y="352"/>
                  </a:lnTo>
                  <a:lnTo>
                    <a:pt x="64" y="352"/>
                  </a:lnTo>
                  <a:close/>
                  <a:moveTo>
                    <a:pt x="59" y="352"/>
                  </a:moveTo>
                  <a:lnTo>
                    <a:pt x="59" y="354"/>
                  </a:lnTo>
                  <a:lnTo>
                    <a:pt x="59" y="352"/>
                  </a:lnTo>
                  <a:close/>
                  <a:moveTo>
                    <a:pt x="43" y="352"/>
                  </a:moveTo>
                  <a:lnTo>
                    <a:pt x="40" y="352"/>
                  </a:lnTo>
                  <a:lnTo>
                    <a:pt x="43" y="352"/>
                  </a:lnTo>
                  <a:close/>
                  <a:moveTo>
                    <a:pt x="102" y="352"/>
                  </a:moveTo>
                  <a:lnTo>
                    <a:pt x="102" y="354"/>
                  </a:lnTo>
                  <a:lnTo>
                    <a:pt x="102" y="352"/>
                  </a:lnTo>
                  <a:close/>
                  <a:moveTo>
                    <a:pt x="12" y="352"/>
                  </a:moveTo>
                  <a:lnTo>
                    <a:pt x="10" y="352"/>
                  </a:lnTo>
                  <a:lnTo>
                    <a:pt x="12" y="352"/>
                  </a:lnTo>
                  <a:close/>
                  <a:moveTo>
                    <a:pt x="62" y="352"/>
                  </a:moveTo>
                  <a:lnTo>
                    <a:pt x="59" y="352"/>
                  </a:lnTo>
                  <a:lnTo>
                    <a:pt x="62" y="352"/>
                  </a:lnTo>
                  <a:close/>
                  <a:moveTo>
                    <a:pt x="38" y="352"/>
                  </a:moveTo>
                  <a:lnTo>
                    <a:pt x="36" y="352"/>
                  </a:lnTo>
                  <a:lnTo>
                    <a:pt x="38" y="352"/>
                  </a:lnTo>
                  <a:close/>
                  <a:moveTo>
                    <a:pt x="95" y="352"/>
                  </a:moveTo>
                  <a:lnTo>
                    <a:pt x="93" y="352"/>
                  </a:lnTo>
                  <a:lnTo>
                    <a:pt x="95" y="352"/>
                  </a:lnTo>
                  <a:close/>
                  <a:moveTo>
                    <a:pt x="50" y="352"/>
                  </a:moveTo>
                  <a:lnTo>
                    <a:pt x="48" y="352"/>
                  </a:lnTo>
                  <a:lnTo>
                    <a:pt x="50" y="352"/>
                  </a:lnTo>
                  <a:close/>
                  <a:moveTo>
                    <a:pt x="52" y="352"/>
                  </a:moveTo>
                  <a:lnTo>
                    <a:pt x="50" y="352"/>
                  </a:lnTo>
                  <a:lnTo>
                    <a:pt x="52" y="352"/>
                  </a:lnTo>
                  <a:close/>
                  <a:moveTo>
                    <a:pt x="102" y="352"/>
                  </a:moveTo>
                  <a:lnTo>
                    <a:pt x="100" y="352"/>
                  </a:lnTo>
                  <a:lnTo>
                    <a:pt x="102" y="352"/>
                  </a:lnTo>
                  <a:close/>
                  <a:moveTo>
                    <a:pt x="104" y="352"/>
                  </a:moveTo>
                  <a:lnTo>
                    <a:pt x="102" y="352"/>
                  </a:lnTo>
                  <a:lnTo>
                    <a:pt x="104" y="352"/>
                  </a:lnTo>
                  <a:close/>
                  <a:moveTo>
                    <a:pt x="192" y="352"/>
                  </a:moveTo>
                  <a:lnTo>
                    <a:pt x="190" y="352"/>
                  </a:lnTo>
                  <a:lnTo>
                    <a:pt x="192" y="352"/>
                  </a:lnTo>
                  <a:close/>
                  <a:moveTo>
                    <a:pt x="183" y="352"/>
                  </a:moveTo>
                  <a:lnTo>
                    <a:pt x="180" y="352"/>
                  </a:lnTo>
                  <a:lnTo>
                    <a:pt x="183" y="352"/>
                  </a:lnTo>
                  <a:close/>
                  <a:moveTo>
                    <a:pt x="104" y="352"/>
                  </a:moveTo>
                  <a:lnTo>
                    <a:pt x="102" y="352"/>
                  </a:lnTo>
                  <a:lnTo>
                    <a:pt x="104" y="352"/>
                  </a:lnTo>
                  <a:close/>
                  <a:moveTo>
                    <a:pt x="48" y="352"/>
                  </a:moveTo>
                  <a:lnTo>
                    <a:pt x="50" y="352"/>
                  </a:lnTo>
                  <a:lnTo>
                    <a:pt x="48" y="352"/>
                  </a:lnTo>
                  <a:close/>
                  <a:moveTo>
                    <a:pt x="71" y="352"/>
                  </a:moveTo>
                  <a:lnTo>
                    <a:pt x="69" y="352"/>
                  </a:lnTo>
                  <a:lnTo>
                    <a:pt x="71" y="352"/>
                  </a:lnTo>
                  <a:close/>
                  <a:moveTo>
                    <a:pt x="43" y="352"/>
                  </a:moveTo>
                  <a:lnTo>
                    <a:pt x="40" y="352"/>
                  </a:lnTo>
                  <a:lnTo>
                    <a:pt x="43" y="352"/>
                  </a:lnTo>
                  <a:close/>
                  <a:moveTo>
                    <a:pt x="95" y="352"/>
                  </a:moveTo>
                  <a:lnTo>
                    <a:pt x="97" y="352"/>
                  </a:lnTo>
                  <a:lnTo>
                    <a:pt x="95" y="352"/>
                  </a:lnTo>
                  <a:close/>
                  <a:moveTo>
                    <a:pt x="183" y="352"/>
                  </a:moveTo>
                  <a:lnTo>
                    <a:pt x="180" y="352"/>
                  </a:lnTo>
                  <a:lnTo>
                    <a:pt x="183" y="352"/>
                  </a:lnTo>
                  <a:close/>
                  <a:moveTo>
                    <a:pt x="107" y="352"/>
                  </a:moveTo>
                  <a:lnTo>
                    <a:pt x="104" y="352"/>
                  </a:lnTo>
                  <a:lnTo>
                    <a:pt x="107" y="352"/>
                  </a:lnTo>
                  <a:close/>
                  <a:moveTo>
                    <a:pt x="88" y="352"/>
                  </a:moveTo>
                  <a:lnTo>
                    <a:pt x="86" y="352"/>
                  </a:lnTo>
                  <a:lnTo>
                    <a:pt x="88" y="352"/>
                  </a:lnTo>
                  <a:close/>
                  <a:moveTo>
                    <a:pt x="59" y="352"/>
                  </a:moveTo>
                  <a:lnTo>
                    <a:pt x="57" y="352"/>
                  </a:lnTo>
                  <a:lnTo>
                    <a:pt x="59" y="352"/>
                  </a:lnTo>
                  <a:close/>
                  <a:moveTo>
                    <a:pt x="48" y="352"/>
                  </a:moveTo>
                  <a:lnTo>
                    <a:pt x="45" y="352"/>
                  </a:lnTo>
                  <a:lnTo>
                    <a:pt x="48" y="352"/>
                  </a:lnTo>
                  <a:close/>
                  <a:moveTo>
                    <a:pt x="102" y="352"/>
                  </a:moveTo>
                  <a:lnTo>
                    <a:pt x="100" y="352"/>
                  </a:lnTo>
                  <a:lnTo>
                    <a:pt x="102" y="352"/>
                  </a:lnTo>
                  <a:close/>
                  <a:moveTo>
                    <a:pt x="48" y="352"/>
                  </a:moveTo>
                  <a:lnTo>
                    <a:pt x="45" y="352"/>
                  </a:lnTo>
                  <a:lnTo>
                    <a:pt x="48" y="352"/>
                  </a:lnTo>
                  <a:close/>
                  <a:moveTo>
                    <a:pt x="31" y="352"/>
                  </a:moveTo>
                  <a:lnTo>
                    <a:pt x="29" y="352"/>
                  </a:lnTo>
                  <a:lnTo>
                    <a:pt x="31" y="352"/>
                  </a:lnTo>
                  <a:close/>
                  <a:moveTo>
                    <a:pt x="43" y="352"/>
                  </a:moveTo>
                  <a:lnTo>
                    <a:pt x="43" y="350"/>
                  </a:lnTo>
                  <a:lnTo>
                    <a:pt x="43" y="352"/>
                  </a:lnTo>
                  <a:close/>
                  <a:moveTo>
                    <a:pt x="197" y="352"/>
                  </a:moveTo>
                  <a:lnTo>
                    <a:pt x="197" y="350"/>
                  </a:lnTo>
                  <a:lnTo>
                    <a:pt x="197" y="352"/>
                  </a:lnTo>
                  <a:close/>
                  <a:moveTo>
                    <a:pt x="86" y="352"/>
                  </a:moveTo>
                  <a:lnTo>
                    <a:pt x="86" y="350"/>
                  </a:lnTo>
                  <a:lnTo>
                    <a:pt x="86" y="352"/>
                  </a:lnTo>
                  <a:close/>
                  <a:moveTo>
                    <a:pt x="100" y="352"/>
                  </a:moveTo>
                  <a:lnTo>
                    <a:pt x="100" y="350"/>
                  </a:lnTo>
                  <a:lnTo>
                    <a:pt x="100" y="352"/>
                  </a:lnTo>
                  <a:close/>
                  <a:moveTo>
                    <a:pt x="102" y="352"/>
                  </a:moveTo>
                  <a:lnTo>
                    <a:pt x="102" y="350"/>
                  </a:lnTo>
                  <a:lnTo>
                    <a:pt x="102" y="352"/>
                  </a:lnTo>
                  <a:close/>
                  <a:moveTo>
                    <a:pt x="100" y="352"/>
                  </a:moveTo>
                  <a:lnTo>
                    <a:pt x="100" y="350"/>
                  </a:lnTo>
                  <a:lnTo>
                    <a:pt x="100" y="352"/>
                  </a:lnTo>
                  <a:close/>
                  <a:moveTo>
                    <a:pt x="97" y="352"/>
                  </a:moveTo>
                  <a:lnTo>
                    <a:pt x="97" y="350"/>
                  </a:lnTo>
                  <a:lnTo>
                    <a:pt x="97" y="352"/>
                  </a:lnTo>
                  <a:close/>
                  <a:moveTo>
                    <a:pt x="95" y="352"/>
                  </a:moveTo>
                  <a:lnTo>
                    <a:pt x="95" y="350"/>
                  </a:lnTo>
                  <a:lnTo>
                    <a:pt x="95" y="352"/>
                  </a:lnTo>
                  <a:close/>
                  <a:moveTo>
                    <a:pt x="64" y="352"/>
                  </a:moveTo>
                  <a:lnTo>
                    <a:pt x="64" y="350"/>
                  </a:lnTo>
                  <a:lnTo>
                    <a:pt x="64" y="352"/>
                  </a:lnTo>
                  <a:close/>
                  <a:moveTo>
                    <a:pt x="192" y="352"/>
                  </a:moveTo>
                  <a:lnTo>
                    <a:pt x="192" y="350"/>
                  </a:lnTo>
                  <a:lnTo>
                    <a:pt x="192" y="352"/>
                  </a:lnTo>
                  <a:close/>
                  <a:moveTo>
                    <a:pt x="59" y="350"/>
                  </a:moveTo>
                  <a:lnTo>
                    <a:pt x="59" y="352"/>
                  </a:lnTo>
                  <a:lnTo>
                    <a:pt x="59" y="350"/>
                  </a:lnTo>
                  <a:close/>
                  <a:moveTo>
                    <a:pt x="197" y="350"/>
                  </a:moveTo>
                  <a:lnTo>
                    <a:pt x="197" y="352"/>
                  </a:lnTo>
                  <a:lnTo>
                    <a:pt x="197" y="350"/>
                  </a:lnTo>
                  <a:close/>
                  <a:moveTo>
                    <a:pt x="52" y="350"/>
                  </a:moveTo>
                  <a:lnTo>
                    <a:pt x="52" y="352"/>
                  </a:lnTo>
                  <a:lnTo>
                    <a:pt x="52" y="350"/>
                  </a:lnTo>
                  <a:close/>
                  <a:moveTo>
                    <a:pt x="59" y="350"/>
                  </a:moveTo>
                  <a:lnTo>
                    <a:pt x="59" y="352"/>
                  </a:lnTo>
                  <a:lnTo>
                    <a:pt x="59" y="350"/>
                  </a:lnTo>
                  <a:close/>
                  <a:moveTo>
                    <a:pt x="50" y="352"/>
                  </a:moveTo>
                  <a:lnTo>
                    <a:pt x="50" y="350"/>
                  </a:lnTo>
                  <a:lnTo>
                    <a:pt x="50" y="352"/>
                  </a:lnTo>
                  <a:close/>
                  <a:moveTo>
                    <a:pt x="59" y="350"/>
                  </a:moveTo>
                  <a:lnTo>
                    <a:pt x="59" y="352"/>
                  </a:lnTo>
                  <a:lnTo>
                    <a:pt x="59" y="350"/>
                  </a:lnTo>
                  <a:close/>
                  <a:moveTo>
                    <a:pt x="38" y="352"/>
                  </a:moveTo>
                  <a:lnTo>
                    <a:pt x="38" y="350"/>
                  </a:lnTo>
                  <a:lnTo>
                    <a:pt x="38" y="352"/>
                  </a:lnTo>
                  <a:close/>
                  <a:moveTo>
                    <a:pt x="48" y="352"/>
                  </a:moveTo>
                  <a:lnTo>
                    <a:pt x="48" y="350"/>
                  </a:lnTo>
                  <a:lnTo>
                    <a:pt x="48" y="352"/>
                  </a:lnTo>
                  <a:close/>
                  <a:moveTo>
                    <a:pt x="90" y="350"/>
                  </a:moveTo>
                  <a:lnTo>
                    <a:pt x="90" y="352"/>
                  </a:lnTo>
                  <a:lnTo>
                    <a:pt x="93" y="350"/>
                  </a:lnTo>
                  <a:lnTo>
                    <a:pt x="93" y="352"/>
                  </a:lnTo>
                  <a:lnTo>
                    <a:pt x="90" y="352"/>
                  </a:lnTo>
                  <a:lnTo>
                    <a:pt x="90" y="350"/>
                  </a:lnTo>
                  <a:close/>
                  <a:moveTo>
                    <a:pt x="36" y="352"/>
                  </a:moveTo>
                  <a:lnTo>
                    <a:pt x="36" y="350"/>
                  </a:lnTo>
                  <a:lnTo>
                    <a:pt x="36" y="352"/>
                  </a:lnTo>
                  <a:close/>
                  <a:moveTo>
                    <a:pt x="93" y="350"/>
                  </a:moveTo>
                  <a:lnTo>
                    <a:pt x="93" y="352"/>
                  </a:lnTo>
                  <a:lnTo>
                    <a:pt x="93" y="350"/>
                  </a:lnTo>
                  <a:close/>
                  <a:moveTo>
                    <a:pt x="86" y="352"/>
                  </a:moveTo>
                  <a:lnTo>
                    <a:pt x="86" y="350"/>
                  </a:lnTo>
                  <a:lnTo>
                    <a:pt x="86" y="352"/>
                  </a:lnTo>
                  <a:close/>
                  <a:moveTo>
                    <a:pt x="93" y="352"/>
                  </a:moveTo>
                  <a:lnTo>
                    <a:pt x="93" y="350"/>
                  </a:lnTo>
                  <a:lnTo>
                    <a:pt x="93" y="352"/>
                  </a:lnTo>
                  <a:close/>
                  <a:moveTo>
                    <a:pt x="197" y="352"/>
                  </a:moveTo>
                  <a:lnTo>
                    <a:pt x="195" y="352"/>
                  </a:lnTo>
                  <a:lnTo>
                    <a:pt x="195" y="350"/>
                  </a:lnTo>
                  <a:lnTo>
                    <a:pt x="197" y="350"/>
                  </a:lnTo>
                  <a:lnTo>
                    <a:pt x="197" y="352"/>
                  </a:lnTo>
                  <a:close/>
                  <a:moveTo>
                    <a:pt x="209" y="350"/>
                  </a:moveTo>
                  <a:lnTo>
                    <a:pt x="207" y="350"/>
                  </a:lnTo>
                  <a:lnTo>
                    <a:pt x="209" y="350"/>
                  </a:lnTo>
                  <a:close/>
                  <a:moveTo>
                    <a:pt x="45" y="350"/>
                  </a:moveTo>
                  <a:lnTo>
                    <a:pt x="45" y="352"/>
                  </a:lnTo>
                  <a:lnTo>
                    <a:pt x="45" y="350"/>
                  </a:lnTo>
                  <a:close/>
                  <a:moveTo>
                    <a:pt x="86" y="350"/>
                  </a:moveTo>
                  <a:lnTo>
                    <a:pt x="83" y="350"/>
                  </a:lnTo>
                  <a:lnTo>
                    <a:pt x="86" y="350"/>
                  </a:lnTo>
                  <a:close/>
                  <a:moveTo>
                    <a:pt x="71" y="350"/>
                  </a:moveTo>
                  <a:lnTo>
                    <a:pt x="69" y="350"/>
                  </a:lnTo>
                  <a:lnTo>
                    <a:pt x="71" y="350"/>
                  </a:lnTo>
                  <a:close/>
                  <a:moveTo>
                    <a:pt x="40" y="350"/>
                  </a:moveTo>
                  <a:lnTo>
                    <a:pt x="40" y="352"/>
                  </a:lnTo>
                  <a:lnTo>
                    <a:pt x="40" y="350"/>
                  </a:lnTo>
                  <a:close/>
                  <a:moveTo>
                    <a:pt x="50" y="350"/>
                  </a:moveTo>
                  <a:lnTo>
                    <a:pt x="50" y="352"/>
                  </a:lnTo>
                  <a:lnTo>
                    <a:pt x="50" y="350"/>
                  </a:lnTo>
                  <a:close/>
                  <a:moveTo>
                    <a:pt x="204" y="350"/>
                  </a:moveTo>
                  <a:lnTo>
                    <a:pt x="202" y="350"/>
                  </a:lnTo>
                  <a:lnTo>
                    <a:pt x="204" y="350"/>
                  </a:lnTo>
                  <a:close/>
                  <a:moveTo>
                    <a:pt x="74" y="350"/>
                  </a:moveTo>
                  <a:lnTo>
                    <a:pt x="71" y="350"/>
                  </a:lnTo>
                  <a:lnTo>
                    <a:pt x="74" y="350"/>
                  </a:lnTo>
                  <a:close/>
                  <a:moveTo>
                    <a:pt x="64" y="350"/>
                  </a:moveTo>
                  <a:lnTo>
                    <a:pt x="62" y="350"/>
                  </a:lnTo>
                  <a:lnTo>
                    <a:pt x="64" y="350"/>
                  </a:lnTo>
                  <a:close/>
                  <a:moveTo>
                    <a:pt x="188" y="350"/>
                  </a:moveTo>
                  <a:lnTo>
                    <a:pt x="185" y="350"/>
                  </a:lnTo>
                  <a:lnTo>
                    <a:pt x="188" y="350"/>
                  </a:lnTo>
                  <a:close/>
                  <a:moveTo>
                    <a:pt x="64" y="350"/>
                  </a:moveTo>
                  <a:lnTo>
                    <a:pt x="62" y="350"/>
                  </a:lnTo>
                  <a:lnTo>
                    <a:pt x="64" y="350"/>
                  </a:lnTo>
                  <a:close/>
                  <a:moveTo>
                    <a:pt x="69" y="350"/>
                  </a:moveTo>
                  <a:lnTo>
                    <a:pt x="67" y="350"/>
                  </a:lnTo>
                  <a:lnTo>
                    <a:pt x="69" y="350"/>
                  </a:lnTo>
                  <a:close/>
                  <a:moveTo>
                    <a:pt x="74" y="350"/>
                  </a:moveTo>
                  <a:lnTo>
                    <a:pt x="71" y="350"/>
                  </a:lnTo>
                  <a:lnTo>
                    <a:pt x="74" y="350"/>
                  </a:lnTo>
                  <a:close/>
                  <a:moveTo>
                    <a:pt x="48" y="350"/>
                  </a:moveTo>
                  <a:lnTo>
                    <a:pt x="45" y="350"/>
                  </a:lnTo>
                  <a:lnTo>
                    <a:pt x="48" y="350"/>
                  </a:lnTo>
                  <a:close/>
                  <a:moveTo>
                    <a:pt x="74" y="350"/>
                  </a:moveTo>
                  <a:lnTo>
                    <a:pt x="71" y="350"/>
                  </a:lnTo>
                  <a:lnTo>
                    <a:pt x="74" y="350"/>
                  </a:lnTo>
                  <a:close/>
                  <a:moveTo>
                    <a:pt x="50" y="350"/>
                  </a:moveTo>
                  <a:lnTo>
                    <a:pt x="48" y="350"/>
                  </a:lnTo>
                  <a:lnTo>
                    <a:pt x="50" y="350"/>
                  </a:lnTo>
                  <a:close/>
                  <a:moveTo>
                    <a:pt x="43" y="350"/>
                  </a:moveTo>
                  <a:lnTo>
                    <a:pt x="40" y="350"/>
                  </a:lnTo>
                  <a:lnTo>
                    <a:pt x="43" y="350"/>
                  </a:lnTo>
                  <a:close/>
                  <a:moveTo>
                    <a:pt x="64" y="350"/>
                  </a:moveTo>
                  <a:lnTo>
                    <a:pt x="62" y="350"/>
                  </a:lnTo>
                  <a:lnTo>
                    <a:pt x="64" y="350"/>
                  </a:lnTo>
                  <a:close/>
                  <a:moveTo>
                    <a:pt x="5" y="350"/>
                  </a:moveTo>
                  <a:lnTo>
                    <a:pt x="2" y="350"/>
                  </a:lnTo>
                  <a:lnTo>
                    <a:pt x="5" y="350"/>
                  </a:lnTo>
                  <a:close/>
                  <a:moveTo>
                    <a:pt x="38" y="350"/>
                  </a:moveTo>
                  <a:lnTo>
                    <a:pt x="36" y="350"/>
                  </a:lnTo>
                  <a:lnTo>
                    <a:pt x="38" y="350"/>
                  </a:lnTo>
                  <a:close/>
                  <a:moveTo>
                    <a:pt x="93" y="350"/>
                  </a:moveTo>
                  <a:lnTo>
                    <a:pt x="90" y="350"/>
                  </a:lnTo>
                  <a:lnTo>
                    <a:pt x="93" y="350"/>
                  </a:lnTo>
                  <a:close/>
                  <a:moveTo>
                    <a:pt x="216" y="350"/>
                  </a:moveTo>
                  <a:lnTo>
                    <a:pt x="214" y="350"/>
                  </a:lnTo>
                  <a:lnTo>
                    <a:pt x="216" y="350"/>
                  </a:lnTo>
                  <a:close/>
                  <a:moveTo>
                    <a:pt x="76" y="350"/>
                  </a:moveTo>
                  <a:lnTo>
                    <a:pt x="74" y="350"/>
                  </a:lnTo>
                  <a:lnTo>
                    <a:pt x="76" y="350"/>
                  </a:lnTo>
                  <a:close/>
                  <a:moveTo>
                    <a:pt x="50" y="350"/>
                  </a:moveTo>
                  <a:lnTo>
                    <a:pt x="48" y="350"/>
                  </a:lnTo>
                  <a:lnTo>
                    <a:pt x="50" y="350"/>
                  </a:lnTo>
                  <a:close/>
                  <a:moveTo>
                    <a:pt x="202" y="350"/>
                  </a:moveTo>
                  <a:lnTo>
                    <a:pt x="199" y="350"/>
                  </a:lnTo>
                  <a:lnTo>
                    <a:pt x="202" y="350"/>
                  </a:lnTo>
                  <a:close/>
                  <a:moveTo>
                    <a:pt x="88" y="350"/>
                  </a:moveTo>
                  <a:lnTo>
                    <a:pt x="86" y="350"/>
                  </a:lnTo>
                  <a:lnTo>
                    <a:pt x="88" y="350"/>
                  </a:lnTo>
                  <a:close/>
                  <a:moveTo>
                    <a:pt x="52" y="350"/>
                  </a:moveTo>
                  <a:lnTo>
                    <a:pt x="50" y="350"/>
                  </a:lnTo>
                  <a:lnTo>
                    <a:pt x="52" y="350"/>
                  </a:lnTo>
                  <a:close/>
                  <a:moveTo>
                    <a:pt x="100" y="350"/>
                  </a:moveTo>
                  <a:lnTo>
                    <a:pt x="97" y="350"/>
                  </a:lnTo>
                  <a:lnTo>
                    <a:pt x="100" y="350"/>
                  </a:lnTo>
                  <a:close/>
                  <a:moveTo>
                    <a:pt x="223" y="350"/>
                  </a:moveTo>
                  <a:lnTo>
                    <a:pt x="223" y="347"/>
                  </a:lnTo>
                  <a:lnTo>
                    <a:pt x="223" y="350"/>
                  </a:lnTo>
                  <a:close/>
                  <a:moveTo>
                    <a:pt x="76" y="350"/>
                  </a:moveTo>
                  <a:lnTo>
                    <a:pt x="76" y="347"/>
                  </a:lnTo>
                  <a:lnTo>
                    <a:pt x="76" y="350"/>
                  </a:lnTo>
                  <a:close/>
                  <a:moveTo>
                    <a:pt x="93" y="350"/>
                  </a:moveTo>
                  <a:lnTo>
                    <a:pt x="93" y="347"/>
                  </a:lnTo>
                  <a:lnTo>
                    <a:pt x="93" y="350"/>
                  </a:lnTo>
                  <a:close/>
                  <a:moveTo>
                    <a:pt x="57" y="350"/>
                  </a:moveTo>
                  <a:lnTo>
                    <a:pt x="57" y="347"/>
                  </a:lnTo>
                  <a:lnTo>
                    <a:pt x="57" y="350"/>
                  </a:lnTo>
                  <a:close/>
                  <a:moveTo>
                    <a:pt x="199" y="350"/>
                  </a:moveTo>
                  <a:lnTo>
                    <a:pt x="199" y="347"/>
                  </a:lnTo>
                  <a:lnTo>
                    <a:pt x="199" y="350"/>
                  </a:lnTo>
                  <a:close/>
                  <a:moveTo>
                    <a:pt x="43" y="350"/>
                  </a:moveTo>
                  <a:lnTo>
                    <a:pt x="43" y="347"/>
                  </a:lnTo>
                  <a:lnTo>
                    <a:pt x="43" y="350"/>
                  </a:lnTo>
                  <a:close/>
                  <a:moveTo>
                    <a:pt x="36" y="347"/>
                  </a:moveTo>
                  <a:lnTo>
                    <a:pt x="36" y="350"/>
                  </a:lnTo>
                  <a:lnTo>
                    <a:pt x="36" y="347"/>
                  </a:lnTo>
                  <a:close/>
                  <a:moveTo>
                    <a:pt x="62" y="350"/>
                  </a:moveTo>
                  <a:lnTo>
                    <a:pt x="62" y="347"/>
                  </a:lnTo>
                  <a:lnTo>
                    <a:pt x="62" y="350"/>
                  </a:lnTo>
                  <a:close/>
                  <a:moveTo>
                    <a:pt x="221" y="347"/>
                  </a:moveTo>
                  <a:lnTo>
                    <a:pt x="221" y="350"/>
                  </a:lnTo>
                  <a:lnTo>
                    <a:pt x="221" y="347"/>
                  </a:lnTo>
                  <a:close/>
                  <a:moveTo>
                    <a:pt x="50" y="347"/>
                  </a:moveTo>
                  <a:lnTo>
                    <a:pt x="50" y="350"/>
                  </a:lnTo>
                  <a:lnTo>
                    <a:pt x="50" y="347"/>
                  </a:lnTo>
                  <a:close/>
                  <a:moveTo>
                    <a:pt x="90" y="347"/>
                  </a:moveTo>
                  <a:lnTo>
                    <a:pt x="90" y="350"/>
                  </a:lnTo>
                  <a:lnTo>
                    <a:pt x="90" y="347"/>
                  </a:lnTo>
                  <a:close/>
                  <a:moveTo>
                    <a:pt x="0" y="347"/>
                  </a:moveTo>
                  <a:lnTo>
                    <a:pt x="0" y="350"/>
                  </a:lnTo>
                  <a:lnTo>
                    <a:pt x="0" y="347"/>
                  </a:lnTo>
                  <a:close/>
                  <a:moveTo>
                    <a:pt x="38" y="347"/>
                  </a:moveTo>
                  <a:lnTo>
                    <a:pt x="38" y="350"/>
                  </a:lnTo>
                  <a:lnTo>
                    <a:pt x="38" y="347"/>
                  </a:lnTo>
                  <a:close/>
                  <a:moveTo>
                    <a:pt x="199" y="347"/>
                  </a:moveTo>
                  <a:lnTo>
                    <a:pt x="199" y="350"/>
                  </a:lnTo>
                  <a:lnTo>
                    <a:pt x="199" y="347"/>
                  </a:lnTo>
                  <a:close/>
                  <a:moveTo>
                    <a:pt x="48" y="347"/>
                  </a:moveTo>
                  <a:lnTo>
                    <a:pt x="48" y="350"/>
                  </a:lnTo>
                  <a:lnTo>
                    <a:pt x="48" y="347"/>
                  </a:lnTo>
                  <a:close/>
                  <a:moveTo>
                    <a:pt x="211" y="350"/>
                  </a:moveTo>
                  <a:lnTo>
                    <a:pt x="211" y="347"/>
                  </a:lnTo>
                  <a:lnTo>
                    <a:pt x="211" y="350"/>
                  </a:lnTo>
                  <a:close/>
                  <a:moveTo>
                    <a:pt x="204" y="347"/>
                  </a:moveTo>
                  <a:lnTo>
                    <a:pt x="204" y="350"/>
                  </a:lnTo>
                  <a:lnTo>
                    <a:pt x="204" y="347"/>
                  </a:lnTo>
                  <a:close/>
                  <a:moveTo>
                    <a:pt x="69" y="350"/>
                  </a:moveTo>
                  <a:lnTo>
                    <a:pt x="69" y="347"/>
                  </a:lnTo>
                  <a:lnTo>
                    <a:pt x="69" y="350"/>
                  </a:lnTo>
                  <a:close/>
                  <a:moveTo>
                    <a:pt x="211" y="347"/>
                  </a:moveTo>
                  <a:lnTo>
                    <a:pt x="211" y="350"/>
                  </a:lnTo>
                  <a:lnTo>
                    <a:pt x="211" y="347"/>
                  </a:lnTo>
                  <a:close/>
                  <a:moveTo>
                    <a:pt x="50" y="347"/>
                  </a:moveTo>
                  <a:lnTo>
                    <a:pt x="52" y="347"/>
                  </a:lnTo>
                  <a:lnTo>
                    <a:pt x="50" y="347"/>
                  </a:lnTo>
                  <a:close/>
                  <a:moveTo>
                    <a:pt x="50" y="347"/>
                  </a:moveTo>
                  <a:lnTo>
                    <a:pt x="48" y="347"/>
                  </a:lnTo>
                  <a:lnTo>
                    <a:pt x="50" y="347"/>
                  </a:lnTo>
                  <a:close/>
                  <a:moveTo>
                    <a:pt x="64" y="347"/>
                  </a:moveTo>
                  <a:lnTo>
                    <a:pt x="64" y="350"/>
                  </a:lnTo>
                  <a:lnTo>
                    <a:pt x="64" y="347"/>
                  </a:lnTo>
                  <a:close/>
                  <a:moveTo>
                    <a:pt x="218" y="347"/>
                  </a:moveTo>
                  <a:lnTo>
                    <a:pt x="218" y="350"/>
                  </a:lnTo>
                  <a:lnTo>
                    <a:pt x="218" y="347"/>
                  </a:lnTo>
                  <a:close/>
                  <a:moveTo>
                    <a:pt x="214" y="347"/>
                  </a:moveTo>
                  <a:lnTo>
                    <a:pt x="214" y="350"/>
                  </a:lnTo>
                  <a:lnTo>
                    <a:pt x="214" y="347"/>
                  </a:lnTo>
                  <a:close/>
                  <a:moveTo>
                    <a:pt x="199" y="347"/>
                  </a:moveTo>
                  <a:lnTo>
                    <a:pt x="197" y="347"/>
                  </a:lnTo>
                  <a:lnTo>
                    <a:pt x="199" y="347"/>
                  </a:lnTo>
                  <a:close/>
                  <a:moveTo>
                    <a:pt x="207" y="347"/>
                  </a:moveTo>
                  <a:lnTo>
                    <a:pt x="204" y="347"/>
                  </a:lnTo>
                  <a:lnTo>
                    <a:pt x="207" y="347"/>
                  </a:lnTo>
                  <a:close/>
                  <a:moveTo>
                    <a:pt x="90" y="347"/>
                  </a:moveTo>
                  <a:lnTo>
                    <a:pt x="88" y="347"/>
                  </a:lnTo>
                  <a:lnTo>
                    <a:pt x="90" y="347"/>
                  </a:lnTo>
                  <a:close/>
                  <a:moveTo>
                    <a:pt x="221" y="347"/>
                  </a:moveTo>
                  <a:lnTo>
                    <a:pt x="218" y="347"/>
                  </a:lnTo>
                  <a:lnTo>
                    <a:pt x="221" y="347"/>
                  </a:lnTo>
                  <a:close/>
                  <a:moveTo>
                    <a:pt x="221" y="347"/>
                  </a:moveTo>
                  <a:lnTo>
                    <a:pt x="221" y="350"/>
                  </a:lnTo>
                  <a:lnTo>
                    <a:pt x="221" y="347"/>
                  </a:lnTo>
                  <a:close/>
                  <a:moveTo>
                    <a:pt x="218" y="347"/>
                  </a:moveTo>
                  <a:lnTo>
                    <a:pt x="216" y="347"/>
                  </a:lnTo>
                  <a:lnTo>
                    <a:pt x="218" y="347"/>
                  </a:lnTo>
                  <a:close/>
                  <a:moveTo>
                    <a:pt x="55" y="347"/>
                  </a:moveTo>
                  <a:lnTo>
                    <a:pt x="52" y="347"/>
                  </a:lnTo>
                  <a:lnTo>
                    <a:pt x="55" y="347"/>
                  </a:lnTo>
                  <a:close/>
                  <a:moveTo>
                    <a:pt x="204" y="347"/>
                  </a:moveTo>
                  <a:lnTo>
                    <a:pt x="207" y="347"/>
                  </a:lnTo>
                  <a:lnTo>
                    <a:pt x="204" y="347"/>
                  </a:lnTo>
                  <a:close/>
                  <a:moveTo>
                    <a:pt x="197" y="347"/>
                  </a:moveTo>
                  <a:lnTo>
                    <a:pt x="195" y="347"/>
                  </a:lnTo>
                  <a:lnTo>
                    <a:pt x="197" y="347"/>
                  </a:lnTo>
                  <a:close/>
                  <a:moveTo>
                    <a:pt x="199" y="347"/>
                  </a:moveTo>
                  <a:lnTo>
                    <a:pt x="197" y="347"/>
                  </a:lnTo>
                  <a:lnTo>
                    <a:pt x="199" y="347"/>
                  </a:lnTo>
                  <a:close/>
                  <a:moveTo>
                    <a:pt x="93" y="347"/>
                  </a:moveTo>
                  <a:lnTo>
                    <a:pt x="90" y="347"/>
                  </a:lnTo>
                  <a:lnTo>
                    <a:pt x="93" y="347"/>
                  </a:lnTo>
                  <a:close/>
                  <a:moveTo>
                    <a:pt x="90" y="347"/>
                  </a:moveTo>
                  <a:lnTo>
                    <a:pt x="88" y="347"/>
                  </a:lnTo>
                  <a:lnTo>
                    <a:pt x="90" y="347"/>
                  </a:lnTo>
                  <a:close/>
                  <a:moveTo>
                    <a:pt x="88" y="347"/>
                  </a:moveTo>
                  <a:lnTo>
                    <a:pt x="86" y="347"/>
                  </a:lnTo>
                  <a:lnTo>
                    <a:pt x="88" y="347"/>
                  </a:lnTo>
                  <a:close/>
                  <a:moveTo>
                    <a:pt x="223" y="347"/>
                  </a:moveTo>
                  <a:lnTo>
                    <a:pt x="221" y="347"/>
                  </a:lnTo>
                  <a:lnTo>
                    <a:pt x="223" y="347"/>
                  </a:lnTo>
                  <a:close/>
                  <a:moveTo>
                    <a:pt x="86" y="347"/>
                  </a:moveTo>
                  <a:lnTo>
                    <a:pt x="83" y="347"/>
                  </a:lnTo>
                  <a:lnTo>
                    <a:pt x="86" y="347"/>
                  </a:lnTo>
                  <a:close/>
                  <a:moveTo>
                    <a:pt x="38" y="347"/>
                  </a:moveTo>
                  <a:lnTo>
                    <a:pt x="36" y="347"/>
                  </a:lnTo>
                  <a:lnTo>
                    <a:pt x="38" y="347"/>
                  </a:lnTo>
                  <a:close/>
                  <a:moveTo>
                    <a:pt x="81" y="347"/>
                  </a:moveTo>
                  <a:lnTo>
                    <a:pt x="83" y="347"/>
                  </a:lnTo>
                  <a:lnTo>
                    <a:pt x="81" y="347"/>
                  </a:lnTo>
                  <a:close/>
                  <a:moveTo>
                    <a:pt x="197" y="347"/>
                  </a:moveTo>
                  <a:lnTo>
                    <a:pt x="195" y="347"/>
                  </a:lnTo>
                  <a:lnTo>
                    <a:pt x="197" y="347"/>
                  </a:lnTo>
                  <a:close/>
                  <a:moveTo>
                    <a:pt x="31" y="347"/>
                  </a:moveTo>
                  <a:lnTo>
                    <a:pt x="29" y="347"/>
                  </a:lnTo>
                  <a:lnTo>
                    <a:pt x="31" y="347"/>
                  </a:lnTo>
                  <a:close/>
                  <a:moveTo>
                    <a:pt x="197" y="347"/>
                  </a:moveTo>
                  <a:lnTo>
                    <a:pt x="195" y="347"/>
                  </a:lnTo>
                  <a:lnTo>
                    <a:pt x="197" y="347"/>
                  </a:lnTo>
                  <a:close/>
                  <a:moveTo>
                    <a:pt x="254" y="347"/>
                  </a:moveTo>
                  <a:lnTo>
                    <a:pt x="256" y="347"/>
                  </a:lnTo>
                  <a:lnTo>
                    <a:pt x="254" y="347"/>
                  </a:lnTo>
                  <a:close/>
                  <a:moveTo>
                    <a:pt x="223" y="347"/>
                  </a:moveTo>
                  <a:lnTo>
                    <a:pt x="221" y="347"/>
                  </a:lnTo>
                  <a:lnTo>
                    <a:pt x="223" y="347"/>
                  </a:lnTo>
                  <a:close/>
                  <a:moveTo>
                    <a:pt x="199" y="347"/>
                  </a:moveTo>
                  <a:lnTo>
                    <a:pt x="197" y="347"/>
                  </a:lnTo>
                  <a:lnTo>
                    <a:pt x="199" y="347"/>
                  </a:lnTo>
                  <a:close/>
                  <a:moveTo>
                    <a:pt x="116" y="347"/>
                  </a:moveTo>
                  <a:lnTo>
                    <a:pt x="114" y="347"/>
                  </a:lnTo>
                  <a:lnTo>
                    <a:pt x="116" y="347"/>
                  </a:lnTo>
                  <a:close/>
                  <a:moveTo>
                    <a:pt x="86" y="347"/>
                  </a:moveTo>
                  <a:lnTo>
                    <a:pt x="83" y="347"/>
                  </a:lnTo>
                  <a:lnTo>
                    <a:pt x="86" y="347"/>
                  </a:lnTo>
                  <a:close/>
                  <a:moveTo>
                    <a:pt x="64" y="347"/>
                  </a:moveTo>
                  <a:lnTo>
                    <a:pt x="64" y="345"/>
                  </a:lnTo>
                  <a:lnTo>
                    <a:pt x="64" y="347"/>
                  </a:lnTo>
                  <a:close/>
                  <a:moveTo>
                    <a:pt x="64" y="347"/>
                  </a:moveTo>
                  <a:lnTo>
                    <a:pt x="62" y="347"/>
                  </a:lnTo>
                  <a:lnTo>
                    <a:pt x="62" y="345"/>
                  </a:lnTo>
                  <a:lnTo>
                    <a:pt x="64" y="347"/>
                  </a:lnTo>
                  <a:close/>
                  <a:moveTo>
                    <a:pt x="86" y="347"/>
                  </a:moveTo>
                  <a:lnTo>
                    <a:pt x="86" y="345"/>
                  </a:lnTo>
                  <a:lnTo>
                    <a:pt x="86" y="347"/>
                  </a:lnTo>
                  <a:close/>
                  <a:moveTo>
                    <a:pt x="223" y="347"/>
                  </a:moveTo>
                  <a:lnTo>
                    <a:pt x="223" y="345"/>
                  </a:lnTo>
                  <a:lnTo>
                    <a:pt x="223" y="347"/>
                  </a:lnTo>
                  <a:close/>
                  <a:moveTo>
                    <a:pt x="40" y="347"/>
                  </a:moveTo>
                  <a:lnTo>
                    <a:pt x="40" y="345"/>
                  </a:lnTo>
                  <a:lnTo>
                    <a:pt x="40" y="347"/>
                  </a:lnTo>
                  <a:close/>
                  <a:moveTo>
                    <a:pt x="17" y="347"/>
                  </a:moveTo>
                  <a:lnTo>
                    <a:pt x="17" y="345"/>
                  </a:lnTo>
                  <a:lnTo>
                    <a:pt x="17" y="347"/>
                  </a:lnTo>
                  <a:close/>
                  <a:moveTo>
                    <a:pt x="107" y="347"/>
                  </a:moveTo>
                  <a:lnTo>
                    <a:pt x="107" y="345"/>
                  </a:lnTo>
                  <a:lnTo>
                    <a:pt x="107" y="347"/>
                  </a:lnTo>
                  <a:close/>
                  <a:moveTo>
                    <a:pt x="221" y="347"/>
                  </a:moveTo>
                  <a:lnTo>
                    <a:pt x="221" y="345"/>
                  </a:lnTo>
                  <a:lnTo>
                    <a:pt x="221" y="347"/>
                  </a:lnTo>
                  <a:close/>
                  <a:moveTo>
                    <a:pt x="256" y="347"/>
                  </a:moveTo>
                  <a:lnTo>
                    <a:pt x="256" y="345"/>
                  </a:lnTo>
                  <a:lnTo>
                    <a:pt x="256" y="347"/>
                  </a:lnTo>
                  <a:close/>
                  <a:moveTo>
                    <a:pt x="33" y="345"/>
                  </a:moveTo>
                  <a:lnTo>
                    <a:pt x="33" y="347"/>
                  </a:lnTo>
                  <a:lnTo>
                    <a:pt x="33" y="345"/>
                  </a:lnTo>
                  <a:close/>
                  <a:moveTo>
                    <a:pt x="114" y="347"/>
                  </a:moveTo>
                  <a:lnTo>
                    <a:pt x="114" y="345"/>
                  </a:lnTo>
                  <a:lnTo>
                    <a:pt x="114" y="347"/>
                  </a:lnTo>
                  <a:close/>
                  <a:moveTo>
                    <a:pt x="67" y="347"/>
                  </a:moveTo>
                  <a:lnTo>
                    <a:pt x="67" y="345"/>
                  </a:lnTo>
                  <a:lnTo>
                    <a:pt x="67" y="347"/>
                  </a:lnTo>
                  <a:close/>
                  <a:moveTo>
                    <a:pt x="5" y="345"/>
                  </a:moveTo>
                  <a:lnTo>
                    <a:pt x="5" y="347"/>
                  </a:lnTo>
                  <a:lnTo>
                    <a:pt x="5" y="345"/>
                  </a:lnTo>
                  <a:close/>
                  <a:moveTo>
                    <a:pt x="218" y="347"/>
                  </a:moveTo>
                  <a:lnTo>
                    <a:pt x="218" y="345"/>
                  </a:lnTo>
                  <a:lnTo>
                    <a:pt x="218" y="347"/>
                  </a:lnTo>
                  <a:close/>
                  <a:moveTo>
                    <a:pt x="223" y="345"/>
                  </a:moveTo>
                  <a:lnTo>
                    <a:pt x="223" y="347"/>
                  </a:lnTo>
                  <a:lnTo>
                    <a:pt x="223" y="345"/>
                  </a:lnTo>
                  <a:close/>
                  <a:moveTo>
                    <a:pt x="221" y="345"/>
                  </a:moveTo>
                  <a:lnTo>
                    <a:pt x="221" y="347"/>
                  </a:lnTo>
                  <a:lnTo>
                    <a:pt x="218" y="347"/>
                  </a:lnTo>
                  <a:lnTo>
                    <a:pt x="221" y="345"/>
                  </a:lnTo>
                  <a:close/>
                  <a:moveTo>
                    <a:pt x="81" y="345"/>
                  </a:moveTo>
                  <a:lnTo>
                    <a:pt x="81" y="347"/>
                  </a:lnTo>
                  <a:lnTo>
                    <a:pt x="81" y="345"/>
                  </a:lnTo>
                  <a:close/>
                  <a:moveTo>
                    <a:pt x="207" y="347"/>
                  </a:moveTo>
                  <a:lnTo>
                    <a:pt x="207" y="345"/>
                  </a:lnTo>
                  <a:lnTo>
                    <a:pt x="207" y="347"/>
                  </a:lnTo>
                  <a:close/>
                  <a:moveTo>
                    <a:pt x="88" y="345"/>
                  </a:moveTo>
                  <a:lnTo>
                    <a:pt x="88" y="347"/>
                  </a:lnTo>
                  <a:lnTo>
                    <a:pt x="88" y="345"/>
                  </a:lnTo>
                  <a:close/>
                  <a:moveTo>
                    <a:pt x="67" y="345"/>
                  </a:moveTo>
                  <a:lnTo>
                    <a:pt x="67" y="347"/>
                  </a:lnTo>
                  <a:lnTo>
                    <a:pt x="67" y="345"/>
                  </a:lnTo>
                  <a:close/>
                  <a:moveTo>
                    <a:pt x="2" y="345"/>
                  </a:moveTo>
                  <a:lnTo>
                    <a:pt x="2" y="347"/>
                  </a:lnTo>
                  <a:lnTo>
                    <a:pt x="2" y="345"/>
                  </a:lnTo>
                  <a:close/>
                  <a:moveTo>
                    <a:pt x="48" y="347"/>
                  </a:moveTo>
                  <a:lnTo>
                    <a:pt x="48" y="345"/>
                  </a:lnTo>
                  <a:lnTo>
                    <a:pt x="48" y="347"/>
                  </a:lnTo>
                  <a:close/>
                  <a:moveTo>
                    <a:pt x="17" y="347"/>
                  </a:moveTo>
                  <a:lnTo>
                    <a:pt x="17" y="345"/>
                  </a:lnTo>
                  <a:lnTo>
                    <a:pt x="17" y="347"/>
                  </a:lnTo>
                  <a:close/>
                  <a:moveTo>
                    <a:pt x="81" y="345"/>
                  </a:moveTo>
                  <a:lnTo>
                    <a:pt x="78" y="345"/>
                  </a:lnTo>
                  <a:lnTo>
                    <a:pt x="81" y="345"/>
                  </a:lnTo>
                  <a:close/>
                  <a:moveTo>
                    <a:pt x="64" y="345"/>
                  </a:moveTo>
                  <a:lnTo>
                    <a:pt x="64" y="347"/>
                  </a:lnTo>
                  <a:lnTo>
                    <a:pt x="64" y="345"/>
                  </a:lnTo>
                  <a:close/>
                  <a:moveTo>
                    <a:pt x="78" y="347"/>
                  </a:moveTo>
                  <a:lnTo>
                    <a:pt x="78" y="345"/>
                  </a:lnTo>
                  <a:lnTo>
                    <a:pt x="78" y="347"/>
                  </a:lnTo>
                  <a:close/>
                  <a:moveTo>
                    <a:pt x="204" y="347"/>
                  </a:moveTo>
                  <a:lnTo>
                    <a:pt x="204" y="345"/>
                  </a:lnTo>
                  <a:lnTo>
                    <a:pt x="204" y="347"/>
                  </a:lnTo>
                  <a:close/>
                  <a:moveTo>
                    <a:pt x="5" y="347"/>
                  </a:moveTo>
                  <a:lnTo>
                    <a:pt x="5" y="345"/>
                  </a:lnTo>
                  <a:lnTo>
                    <a:pt x="5" y="347"/>
                  </a:lnTo>
                  <a:close/>
                  <a:moveTo>
                    <a:pt x="38" y="345"/>
                  </a:moveTo>
                  <a:lnTo>
                    <a:pt x="36" y="345"/>
                  </a:lnTo>
                  <a:lnTo>
                    <a:pt x="38" y="345"/>
                  </a:lnTo>
                  <a:close/>
                  <a:moveTo>
                    <a:pt x="199" y="347"/>
                  </a:moveTo>
                  <a:lnTo>
                    <a:pt x="199" y="345"/>
                  </a:lnTo>
                  <a:lnTo>
                    <a:pt x="199" y="347"/>
                  </a:lnTo>
                  <a:close/>
                  <a:moveTo>
                    <a:pt x="64" y="345"/>
                  </a:moveTo>
                  <a:lnTo>
                    <a:pt x="64" y="347"/>
                  </a:lnTo>
                  <a:lnTo>
                    <a:pt x="64" y="345"/>
                  </a:lnTo>
                  <a:close/>
                  <a:moveTo>
                    <a:pt x="52" y="345"/>
                  </a:moveTo>
                  <a:lnTo>
                    <a:pt x="50" y="345"/>
                  </a:lnTo>
                  <a:lnTo>
                    <a:pt x="52" y="345"/>
                  </a:lnTo>
                  <a:close/>
                  <a:moveTo>
                    <a:pt x="240" y="345"/>
                  </a:moveTo>
                  <a:lnTo>
                    <a:pt x="237" y="345"/>
                  </a:lnTo>
                  <a:lnTo>
                    <a:pt x="240" y="345"/>
                  </a:lnTo>
                  <a:close/>
                  <a:moveTo>
                    <a:pt x="235" y="345"/>
                  </a:moveTo>
                  <a:lnTo>
                    <a:pt x="233" y="345"/>
                  </a:lnTo>
                  <a:lnTo>
                    <a:pt x="235" y="345"/>
                  </a:lnTo>
                  <a:close/>
                  <a:moveTo>
                    <a:pt x="43" y="345"/>
                  </a:moveTo>
                  <a:lnTo>
                    <a:pt x="40" y="345"/>
                  </a:lnTo>
                  <a:lnTo>
                    <a:pt x="43" y="345"/>
                  </a:lnTo>
                  <a:close/>
                  <a:moveTo>
                    <a:pt x="64" y="345"/>
                  </a:moveTo>
                  <a:lnTo>
                    <a:pt x="62" y="345"/>
                  </a:lnTo>
                  <a:lnTo>
                    <a:pt x="64" y="345"/>
                  </a:lnTo>
                  <a:close/>
                  <a:moveTo>
                    <a:pt x="52" y="345"/>
                  </a:moveTo>
                  <a:lnTo>
                    <a:pt x="50" y="345"/>
                  </a:lnTo>
                  <a:lnTo>
                    <a:pt x="52" y="345"/>
                  </a:lnTo>
                  <a:close/>
                  <a:moveTo>
                    <a:pt x="78" y="345"/>
                  </a:moveTo>
                  <a:lnTo>
                    <a:pt x="76" y="345"/>
                  </a:lnTo>
                  <a:lnTo>
                    <a:pt x="78" y="345"/>
                  </a:lnTo>
                  <a:close/>
                  <a:moveTo>
                    <a:pt x="263" y="345"/>
                  </a:moveTo>
                  <a:lnTo>
                    <a:pt x="261" y="345"/>
                  </a:lnTo>
                  <a:lnTo>
                    <a:pt x="263" y="345"/>
                  </a:lnTo>
                  <a:close/>
                  <a:moveTo>
                    <a:pt x="83" y="345"/>
                  </a:moveTo>
                  <a:lnTo>
                    <a:pt x="81" y="345"/>
                  </a:lnTo>
                  <a:lnTo>
                    <a:pt x="83" y="345"/>
                  </a:lnTo>
                  <a:close/>
                  <a:moveTo>
                    <a:pt x="223" y="345"/>
                  </a:moveTo>
                  <a:lnTo>
                    <a:pt x="221" y="345"/>
                  </a:lnTo>
                  <a:lnTo>
                    <a:pt x="223" y="345"/>
                  </a:lnTo>
                  <a:close/>
                  <a:moveTo>
                    <a:pt x="64" y="345"/>
                  </a:moveTo>
                  <a:lnTo>
                    <a:pt x="62" y="345"/>
                  </a:lnTo>
                  <a:lnTo>
                    <a:pt x="64" y="345"/>
                  </a:lnTo>
                  <a:close/>
                  <a:moveTo>
                    <a:pt x="55" y="345"/>
                  </a:moveTo>
                  <a:lnTo>
                    <a:pt x="57" y="345"/>
                  </a:lnTo>
                  <a:lnTo>
                    <a:pt x="55" y="345"/>
                  </a:lnTo>
                  <a:close/>
                  <a:moveTo>
                    <a:pt x="261" y="345"/>
                  </a:moveTo>
                  <a:lnTo>
                    <a:pt x="259" y="345"/>
                  </a:lnTo>
                  <a:lnTo>
                    <a:pt x="261" y="345"/>
                  </a:lnTo>
                  <a:close/>
                  <a:moveTo>
                    <a:pt x="38" y="345"/>
                  </a:moveTo>
                  <a:lnTo>
                    <a:pt x="36" y="345"/>
                  </a:lnTo>
                  <a:lnTo>
                    <a:pt x="38" y="345"/>
                  </a:lnTo>
                  <a:close/>
                  <a:moveTo>
                    <a:pt x="40" y="345"/>
                  </a:moveTo>
                  <a:lnTo>
                    <a:pt x="38" y="345"/>
                  </a:lnTo>
                  <a:lnTo>
                    <a:pt x="40" y="345"/>
                  </a:lnTo>
                  <a:close/>
                  <a:moveTo>
                    <a:pt x="93" y="345"/>
                  </a:moveTo>
                  <a:lnTo>
                    <a:pt x="90" y="345"/>
                  </a:lnTo>
                  <a:lnTo>
                    <a:pt x="93" y="345"/>
                  </a:lnTo>
                  <a:close/>
                  <a:moveTo>
                    <a:pt x="67" y="345"/>
                  </a:moveTo>
                  <a:lnTo>
                    <a:pt x="64" y="345"/>
                  </a:lnTo>
                  <a:lnTo>
                    <a:pt x="67" y="345"/>
                  </a:lnTo>
                  <a:close/>
                  <a:moveTo>
                    <a:pt x="261" y="345"/>
                  </a:moveTo>
                  <a:lnTo>
                    <a:pt x="259" y="345"/>
                  </a:lnTo>
                  <a:lnTo>
                    <a:pt x="261" y="345"/>
                  </a:lnTo>
                  <a:close/>
                  <a:moveTo>
                    <a:pt x="52" y="345"/>
                  </a:moveTo>
                  <a:lnTo>
                    <a:pt x="50" y="345"/>
                  </a:lnTo>
                  <a:lnTo>
                    <a:pt x="52" y="345"/>
                  </a:lnTo>
                  <a:close/>
                  <a:moveTo>
                    <a:pt x="266" y="345"/>
                  </a:moveTo>
                  <a:lnTo>
                    <a:pt x="263" y="345"/>
                  </a:lnTo>
                  <a:lnTo>
                    <a:pt x="266" y="345"/>
                  </a:lnTo>
                  <a:close/>
                  <a:moveTo>
                    <a:pt x="7" y="345"/>
                  </a:moveTo>
                  <a:lnTo>
                    <a:pt x="5" y="345"/>
                  </a:lnTo>
                  <a:lnTo>
                    <a:pt x="7" y="345"/>
                  </a:lnTo>
                  <a:close/>
                  <a:moveTo>
                    <a:pt x="83" y="345"/>
                  </a:moveTo>
                  <a:lnTo>
                    <a:pt x="81" y="345"/>
                  </a:lnTo>
                  <a:lnTo>
                    <a:pt x="83" y="345"/>
                  </a:lnTo>
                  <a:close/>
                  <a:moveTo>
                    <a:pt x="62" y="345"/>
                  </a:moveTo>
                  <a:lnTo>
                    <a:pt x="59" y="345"/>
                  </a:lnTo>
                  <a:lnTo>
                    <a:pt x="62" y="345"/>
                  </a:lnTo>
                  <a:close/>
                  <a:moveTo>
                    <a:pt x="266" y="345"/>
                  </a:moveTo>
                  <a:lnTo>
                    <a:pt x="263" y="345"/>
                  </a:lnTo>
                  <a:lnTo>
                    <a:pt x="266" y="345"/>
                  </a:lnTo>
                  <a:close/>
                  <a:moveTo>
                    <a:pt x="52" y="345"/>
                  </a:moveTo>
                  <a:lnTo>
                    <a:pt x="50" y="345"/>
                  </a:lnTo>
                  <a:lnTo>
                    <a:pt x="52" y="345"/>
                  </a:lnTo>
                  <a:close/>
                  <a:moveTo>
                    <a:pt x="74" y="345"/>
                  </a:moveTo>
                  <a:lnTo>
                    <a:pt x="71" y="345"/>
                  </a:lnTo>
                  <a:lnTo>
                    <a:pt x="74" y="345"/>
                  </a:lnTo>
                  <a:close/>
                  <a:moveTo>
                    <a:pt x="116" y="345"/>
                  </a:moveTo>
                  <a:lnTo>
                    <a:pt x="119" y="345"/>
                  </a:lnTo>
                  <a:lnTo>
                    <a:pt x="116" y="345"/>
                  </a:lnTo>
                  <a:close/>
                  <a:moveTo>
                    <a:pt x="55" y="345"/>
                  </a:moveTo>
                  <a:lnTo>
                    <a:pt x="52" y="345"/>
                  </a:lnTo>
                  <a:lnTo>
                    <a:pt x="55" y="345"/>
                  </a:lnTo>
                  <a:close/>
                  <a:moveTo>
                    <a:pt x="266" y="345"/>
                  </a:moveTo>
                  <a:lnTo>
                    <a:pt x="263" y="345"/>
                  </a:lnTo>
                  <a:lnTo>
                    <a:pt x="266" y="345"/>
                  </a:lnTo>
                  <a:close/>
                  <a:moveTo>
                    <a:pt x="225" y="345"/>
                  </a:moveTo>
                  <a:lnTo>
                    <a:pt x="223" y="345"/>
                  </a:lnTo>
                  <a:lnTo>
                    <a:pt x="225" y="345"/>
                  </a:lnTo>
                  <a:close/>
                  <a:moveTo>
                    <a:pt x="64" y="345"/>
                  </a:moveTo>
                  <a:lnTo>
                    <a:pt x="62" y="345"/>
                  </a:lnTo>
                  <a:lnTo>
                    <a:pt x="64" y="345"/>
                  </a:lnTo>
                  <a:close/>
                  <a:moveTo>
                    <a:pt x="230" y="345"/>
                  </a:moveTo>
                  <a:lnTo>
                    <a:pt x="228" y="345"/>
                  </a:lnTo>
                  <a:lnTo>
                    <a:pt x="230" y="345"/>
                  </a:lnTo>
                  <a:close/>
                  <a:moveTo>
                    <a:pt x="71" y="345"/>
                  </a:moveTo>
                  <a:lnTo>
                    <a:pt x="69" y="345"/>
                  </a:lnTo>
                  <a:lnTo>
                    <a:pt x="71" y="345"/>
                  </a:lnTo>
                  <a:close/>
                  <a:moveTo>
                    <a:pt x="31" y="342"/>
                  </a:moveTo>
                  <a:lnTo>
                    <a:pt x="31" y="345"/>
                  </a:lnTo>
                  <a:lnTo>
                    <a:pt x="31" y="342"/>
                  </a:lnTo>
                  <a:close/>
                  <a:moveTo>
                    <a:pt x="67" y="342"/>
                  </a:moveTo>
                  <a:lnTo>
                    <a:pt x="67" y="345"/>
                  </a:lnTo>
                  <a:lnTo>
                    <a:pt x="67" y="342"/>
                  </a:lnTo>
                  <a:close/>
                  <a:moveTo>
                    <a:pt x="48" y="342"/>
                  </a:moveTo>
                  <a:lnTo>
                    <a:pt x="48" y="345"/>
                  </a:lnTo>
                  <a:lnTo>
                    <a:pt x="48" y="342"/>
                  </a:lnTo>
                  <a:close/>
                  <a:moveTo>
                    <a:pt x="48" y="345"/>
                  </a:moveTo>
                  <a:lnTo>
                    <a:pt x="48" y="342"/>
                  </a:lnTo>
                  <a:lnTo>
                    <a:pt x="48" y="345"/>
                  </a:lnTo>
                  <a:close/>
                  <a:moveTo>
                    <a:pt x="88" y="345"/>
                  </a:moveTo>
                  <a:lnTo>
                    <a:pt x="88" y="342"/>
                  </a:lnTo>
                  <a:lnTo>
                    <a:pt x="88" y="345"/>
                  </a:lnTo>
                  <a:close/>
                  <a:moveTo>
                    <a:pt x="78" y="345"/>
                  </a:moveTo>
                  <a:lnTo>
                    <a:pt x="78" y="342"/>
                  </a:lnTo>
                  <a:lnTo>
                    <a:pt x="78" y="345"/>
                  </a:lnTo>
                  <a:close/>
                  <a:moveTo>
                    <a:pt x="17" y="342"/>
                  </a:moveTo>
                  <a:lnTo>
                    <a:pt x="17" y="345"/>
                  </a:lnTo>
                  <a:lnTo>
                    <a:pt x="17" y="342"/>
                  </a:lnTo>
                  <a:close/>
                  <a:moveTo>
                    <a:pt x="50" y="342"/>
                  </a:moveTo>
                  <a:lnTo>
                    <a:pt x="50" y="345"/>
                  </a:lnTo>
                  <a:lnTo>
                    <a:pt x="50" y="342"/>
                  </a:lnTo>
                  <a:close/>
                  <a:moveTo>
                    <a:pt x="50" y="345"/>
                  </a:moveTo>
                  <a:lnTo>
                    <a:pt x="50" y="342"/>
                  </a:lnTo>
                  <a:lnTo>
                    <a:pt x="50" y="345"/>
                  </a:lnTo>
                  <a:close/>
                  <a:moveTo>
                    <a:pt x="62" y="345"/>
                  </a:moveTo>
                  <a:lnTo>
                    <a:pt x="62" y="342"/>
                  </a:lnTo>
                  <a:lnTo>
                    <a:pt x="62" y="345"/>
                  </a:lnTo>
                  <a:close/>
                  <a:moveTo>
                    <a:pt x="256" y="342"/>
                  </a:moveTo>
                  <a:lnTo>
                    <a:pt x="256" y="345"/>
                  </a:lnTo>
                  <a:lnTo>
                    <a:pt x="256" y="342"/>
                  </a:lnTo>
                  <a:close/>
                  <a:moveTo>
                    <a:pt x="221" y="345"/>
                  </a:moveTo>
                  <a:lnTo>
                    <a:pt x="221" y="342"/>
                  </a:lnTo>
                  <a:lnTo>
                    <a:pt x="221" y="345"/>
                  </a:lnTo>
                  <a:close/>
                  <a:moveTo>
                    <a:pt x="71" y="342"/>
                  </a:moveTo>
                  <a:lnTo>
                    <a:pt x="71" y="345"/>
                  </a:lnTo>
                  <a:lnTo>
                    <a:pt x="71" y="342"/>
                  </a:lnTo>
                  <a:close/>
                  <a:moveTo>
                    <a:pt x="256" y="345"/>
                  </a:moveTo>
                  <a:lnTo>
                    <a:pt x="256" y="342"/>
                  </a:lnTo>
                  <a:lnTo>
                    <a:pt x="256" y="345"/>
                  </a:lnTo>
                  <a:close/>
                  <a:moveTo>
                    <a:pt x="7" y="345"/>
                  </a:moveTo>
                  <a:lnTo>
                    <a:pt x="7" y="342"/>
                  </a:lnTo>
                  <a:lnTo>
                    <a:pt x="7" y="345"/>
                  </a:lnTo>
                  <a:close/>
                  <a:moveTo>
                    <a:pt x="55" y="342"/>
                  </a:moveTo>
                  <a:lnTo>
                    <a:pt x="55" y="345"/>
                  </a:lnTo>
                  <a:lnTo>
                    <a:pt x="55" y="342"/>
                  </a:lnTo>
                  <a:close/>
                  <a:moveTo>
                    <a:pt x="38" y="345"/>
                  </a:moveTo>
                  <a:lnTo>
                    <a:pt x="36" y="345"/>
                  </a:lnTo>
                  <a:lnTo>
                    <a:pt x="36" y="342"/>
                  </a:lnTo>
                  <a:lnTo>
                    <a:pt x="38" y="342"/>
                  </a:lnTo>
                  <a:lnTo>
                    <a:pt x="38" y="345"/>
                  </a:lnTo>
                  <a:close/>
                  <a:moveTo>
                    <a:pt x="86" y="345"/>
                  </a:moveTo>
                  <a:lnTo>
                    <a:pt x="83" y="342"/>
                  </a:lnTo>
                  <a:lnTo>
                    <a:pt x="86" y="342"/>
                  </a:lnTo>
                  <a:lnTo>
                    <a:pt x="86" y="345"/>
                  </a:lnTo>
                  <a:close/>
                  <a:moveTo>
                    <a:pt x="50" y="342"/>
                  </a:moveTo>
                  <a:lnTo>
                    <a:pt x="50" y="345"/>
                  </a:lnTo>
                  <a:lnTo>
                    <a:pt x="50" y="342"/>
                  </a:lnTo>
                  <a:close/>
                  <a:moveTo>
                    <a:pt x="36" y="345"/>
                  </a:moveTo>
                  <a:lnTo>
                    <a:pt x="33" y="342"/>
                  </a:lnTo>
                  <a:lnTo>
                    <a:pt x="36" y="342"/>
                  </a:lnTo>
                  <a:lnTo>
                    <a:pt x="36" y="345"/>
                  </a:lnTo>
                  <a:close/>
                  <a:moveTo>
                    <a:pt x="230" y="345"/>
                  </a:moveTo>
                  <a:lnTo>
                    <a:pt x="228" y="345"/>
                  </a:lnTo>
                  <a:lnTo>
                    <a:pt x="228" y="342"/>
                  </a:lnTo>
                  <a:lnTo>
                    <a:pt x="230" y="342"/>
                  </a:lnTo>
                  <a:lnTo>
                    <a:pt x="230" y="345"/>
                  </a:lnTo>
                  <a:close/>
                  <a:moveTo>
                    <a:pt x="57" y="342"/>
                  </a:moveTo>
                  <a:lnTo>
                    <a:pt x="57" y="345"/>
                  </a:lnTo>
                  <a:lnTo>
                    <a:pt x="57" y="342"/>
                  </a:lnTo>
                  <a:close/>
                  <a:moveTo>
                    <a:pt x="62" y="342"/>
                  </a:moveTo>
                  <a:lnTo>
                    <a:pt x="62" y="345"/>
                  </a:lnTo>
                  <a:lnTo>
                    <a:pt x="62" y="342"/>
                  </a:lnTo>
                  <a:close/>
                  <a:moveTo>
                    <a:pt x="230" y="342"/>
                  </a:moveTo>
                  <a:lnTo>
                    <a:pt x="228" y="342"/>
                  </a:lnTo>
                  <a:lnTo>
                    <a:pt x="230" y="342"/>
                  </a:lnTo>
                  <a:close/>
                  <a:moveTo>
                    <a:pt x="31" y="342"/>
                  </a:moveTo>
                  <a:lnTo>
                    <a:pt x="33" y="342"/>
                  </a:lnTo>
                  <a:lnTo>
                    <a:pt x="31" y="342"/>
                  </a:lnTo>
                  <a:close/>
                  <a:moveTo>
                    <a:pt x="10" y="342"/>
                  </a:moveTo>
                  <a:lnTo>
                    <a:pt x="7" y="342"/>
                  </a:lnTo>
                  <a:lnTo>
                    <a:pt x="10" y="342"/>
                  </a:lnTo>
                  <a:close/>
                  <a:moveTo>
                    <a:pt x="45" y="342"/>
                  </a:moveTo>
                  <a:lnTo>
                    <a:pt x="43" y="342"/>
                  </a:lnTo>
                  <a:lnTo>
                    <a:pt x="45" y="342"/>
                  </a:lnTo>
                  <a:close/>
                  <a:moveTo>
                    <a:pt x="76" y="342"/>
                  </a:moveTo>
                  <a:lnTo>
                    <a:pt x="74" y="342"/>
                  </a:lnTo>
                  <a:lnTo>
                    <a:pt x="76" y="342"/>
                  </a:lnTo>
                  <a:close/>
                  <a:moveTo>
                    <a:pt x="209" y="342"/>
                  </a:moveTo>
                  <a:lnTo>
                    <a:pt x="207" y="342"/>
                  </a:lnTo>
                  <a:lnTo>
                    <a:pt x="209" y="342"/>
                  </a:lnTo>
                  <a:close/>
                  <a:moveTo>
                    <a:pt x="74" y="342"/>
                  </a:moveTo>
                  <a:lnTo>
                    <a:pt x="71" y="342"/>
                  </a:lnTo>
                  <a:lnTo>
                    <a:pt x="74" y="342"/>
                  </a:lnTo>
                  <a:close/>
                  <a:moveTo>
                    <a:pt x="76" y="342"/>
                  </a:moveTo>
                  <a:lnTo>
                    <a:pt x="74" y="342"/>
                  </a:lnTo>
                  <a:lnTo>
                    <a:pt x="76" y="342"/>
                  </a:lnTo>
                  <a:close/>
                  <a:moveTo>
                    <a:pt x="36" y="342"/>
                  </a:moveTo>
                  <a:lnTo>
                    <a:pt x="33" y="342"/>
                  </a:lnTo>
                  <a:lnTo>
                    <a:pt x="36" y="342"/>
                  </a:lnTo>
                  <a:close/>
                  <a:moveTo>
                    <a:pt x="216" y="342"/>
                  </a:moveTo>
                  <a:lnTo>
                    <a:pt x="218" y="342"/>
                  </a:lnTo>
                  <a:lnTo>
                    <a:pt x="216" y="342"/>
                  </a:lnTo>
                  <a:close/>
                  <a:moveTo>
                    <a:pt x="223" y="342"/>
                  </a:moveTo>
                  <a:lnTo>
                    <a:pt x="225" y="342"/>
                  </a:lnTo>
                  <a:lnTo>
                    <a:pt x="223" y="342"/>
                  </a:lnTo>
                  <a:close/>
                  <a:moveTo>
                    <a:pt x="207" y="342"/>
                  </a:moveTo>
                  <a:lnTo>
                    <a:pt x="209" y="342"/>
                  </a:lnTo>
                  <a:lnTo>
                    <a:pt x="207" y="342"/>
                  </a:lnTo>
                  <a:close/>
                  <a:moveTo>
                    <a:pt x="74" y="342"/>
                  </a:moveTo>
                  <a:lnTo>
                    <a:pt x="76" y="342"/>
                  </a:lnTo>
                  <a:lnTo>
                    <a:pt x="74" y="342"/>
                  </a:lnTo>
                  <a:close/>
                  <a:moveTo>
                    <a:pt x="33" y="342"/>
                  </a:moveTo>
                  <a:lnTo>
                    <a:pt x="31" y="342"/>
                  </a:lnTo>
                  <a:lnTo>
                    <a:pt x="33" y="342"/>
                  </a:lnTo>
                  <a:close/>
                  <a:moveTo>
                    <a:pt x="78" y="342"/>
                  </a:moveTo>
                  <a:lnTo>
                    <a:pt x="81" y="342"/>
                  </a:lnTo>
                  <a:lnTo>
                    <a:pt x="78" y="342"/>
                  </a:lnTo>
                  <a:close/>
                  <a:moveTo>
                    <a:pt x="100" y="342"/>
                  </a:moveTo>
                  <a:lnTo>
                    <a:pt x="97" y="342"/>
                  </a:lnTo>
                  <a:lnTo>
                    <a:pt x="100" y="342"/>
                  </a:lnTo>
                  <a:close/>
                  <a:moveTo>
                    <a:pt x="64" y="342"/>
                  </a:moveTo>
                  <a:lnTo>
                    <a:pt x="62" y="342"/>
                  </a:lnTo>
                  <a:lnTo>
                    <a:pt x="64" y="342"/>
                  </a:lnTo>
                  <a:close/>
                  <a:moveTo>
                    <a:pt x="216" y="342"/>
                  </a:moveTo>
                  <a:lnTo>
                    <a:pt x="218" y="342"/>
                  </a:lnTo>
                  <a:lnTo>
                    <a:pt x="216" y="342"/>
                  </a:lnTo>
                  <a:close/>
                  <a:moveTo>
                    <a:pt x="266" y="342"/>
                  </a:moveTo>
                  <a:lnTo>
                    <a:pt x="263" y="342"/>
                  </a:lnTo>
                  <a:lnTo>
                    <a:pt x="266" y="342"/>
                  </a:lnTo>
                  <a:close/>
                  <a:moveTo>
                    <a:pt x="12" y="342"/>
                  </a:moveTo>
                  <a:lnTo>
                    <a:pt x="10" y="342"/>
                  </a:lnTo>
                  <a:lnTo>
                    <a:pt x="12" y="342"/>
                  </a:lnTo>
                  <a:close/>
                  <a:moveTo>
                    <a:pt x="52" y="342"/>
                  </a:moveTo>
                  <a:lnTo>
                    <a:pt x="50" y="342"/>
                  </a:lnTo>
                  <a:lnTo>
                    <a:pt x="52" y="342"/>
                  </a:lnTo>
                  <a:close/>
                  <a:moveTo>
                    <a:pt x="69" y="342"/>
                  </a:moveTo>
                  <a:lnTo>
                    <a:pt x="67" y="342"/>
                  </a:lnTo>
                  <a:lnTo>
                    <a:pt x="69" y="342"/>
                  </a:lnTo>
                  <a:close/>
                  <a:moveTo>
                    <a:pt x="33" y="342"/>
                  </a:moveTo>
                  <a:lnTo>
                    <a:pt x="31" y="342"/>
                  </a:lnTo>
                  <a:lnTo>
                    <a:pt x="33" y="342"/>
                  </a:lnTo>
                  <a:close/>
                  <a:moveTo>
                    <a:pt x="88" y="342"/>
                  </a:moveTo>
                  <a:lnTo>
                    <a:pt x="86" y="342"/>
                  </a:lnTo>
                  <a:lnTo>
                    <a:pt x="88" y="342"/>
                  </a:lnTo>
                  <a:close/>
                  <a:moveTo>
                    <a:pt x="52" y="342"/>
                  </a:moveTo>
                  <a:lnTo>
                    <a:pt x="50" y="342"/>
                  </a:lnTo>
                  <a:lnTo>
                    <a:pt x="52" y="342"/>
                  </a:lnTo>
                  <a:close/>
                  <a:moveTo>
                    <a:pt x="50" y="342"/>
                  </a:moveTo>
                  <a:lnTo>
                    <a:pt x="48" y="342"/>
                  </a:lnTo>
                  <a:lnTo>
                    <a:pt x="50" y="342"/>
                  </a:lnTo>
                  <a:close/>
                  <a:moveTo>
                    <a:pt x="36" y="342"/>
                  </a:moveTo>
                  <a:lnTo>
                    <a:pt x="33" y="342"/>
                  </a:lnTo>
                  <a:lnTo>
                    <a:pt x="36" y="342"/>
                  </a:lnTo>
                  <a:close/>
                  <a:moveTo>
                    <a:pt x="43" y="342"/>
                  </a:moveTo>
                  <a:lnTo>
                    <a:pt x="40" y="342"/>
                  </a:lnTo>
                  <a:lnTo>
                    <a:pt x="43" y="342"/>
                  </a:lnTo>
                  <a:close/>
                  <a:moveTo>
                    <a:pt x="62" y="342"/>
                  </a:moveTo>
                  <a:lnTo>
                    <a:pt x="64" y="342"/>
                  </a:lnTo>
                  <a:lnTo>
                    <a:pt x="62" y="342"/>
                  </a:lnTo>
                  <a:close/>
                  <a:moveTo>
                    <a:pt x="95" y="342"/>
                  </a:moveTo>
                  <a:lnTo>
                    <a:pt x="93" y="342"/>
                  </a:lnTo>
                  <a:lnTo>
                    <a:pt x="95" y="342"/>
                  </a:lnTo>
                  <a:close/>
                  <a:moveTo>
                    <a:pt x="90" y="342"/>
                  </a:moveTo>
                  <a:lnTo>
                    <a:pt x="88" y="342"/>
                  </a:lnTo>
                  <a:lnTo>
                    <a:pt x="90" y="342"/>
                  </a:lnTo>
                  <a:close/>
                  <a:moveTo>
                    <a:pt x="71" y="342"/>
                  </a:moveTo>
                  <a:lnTo>
                    <a:pt x="69" y="342"/>
                  </a:lnTo>
                  <a:lnTo>
                    <a:pt x="71" y="342"/>
                  </a:lnTo>
                  <a:close/>
                  <a:moveTo>
                    <a:pt x="55" y="342"/>
                  </a:moveTo>
                  <a:lnTo>
                    <a:pt x="52" y="342"/>
                  </a:lnTo>
                  <a:lnTo>
                    <a:pt x="55" y="342"/>
                  </a:lnTo>
                  <a:close/>
                  <a:moveTo>
                    <a:pt x="43" y="342"/>
                  </a:moveTo>
                  <a:lnTo>
                    <a:pt x="43" y="340"/>
                  </a:lnTo>
                  <a:lnTo>
                    <a:pt x="43" y="342"/>
                  </a:lnTo>
                  <a:close/>
                  <a:moveTo>
                    <a:pt x="233" y="340"/>
                  </a:moveTo>
                  <a:lnTo>
                    <a:pt x="233" y="342"/>
                  </a:lnTo>
                  <a:lnTo>
                    <a:pt x="233" y="340"/>
                  </a:lnTo>
                  <a:close/>
                  <a:moveTo>
                    <a:pt x="31" y="342"/>
                  </a:moveTo>
                  <a:lnTo>
                    <a:pt x="31" y="340"/>
                  </a:lnTo>
                  <a:lnTo>
                    <a:pt x="31" y="342"/>
                  </a:lnTo>
                  <a:close/>
                  <a:moveTo>
                    <a:pt x="235" y="342"/>
                  </a:moveTo>
                  <a:lnTo>
                    <a:pt x="233" y="342"/>
                  </a:lnTo>
                  <a:lnTo>
                    <a:pt x="235" y="340"/>
                  </a:lnTo>
                  <a:lnTo>
                    <a:pt x="235" y="342"/>
                  </a:lnTo>
                  <a:close/>
                  <a:moveTo>
                    <a:pt x="235" y="342"/>
                  </a:moveTo>
                  <a:lnTo>
                    <a:pt x="235" y="340"/>
                  </a:lnTo>
                  <a:lnTo>
                    <a:pt x="235" y="342"/>
                  </a:lnTo>
                  <a:close/>
                  <a:moveTo>
                    <a:pt x="57" y="340"/>
                  </a:moveTo>
                  <a:lnTo>
                    <a:pt x="57" y="342"/>
                  </a:lnTo>
                  <a:lnTo>
                    <a:pt x="57" y="340"/>
                  </a:lnTo>
                  <a:close/>
                  <a:moveTo>
                    <a:pt x="83" y="342"/>
                  </a:moveTo>
                  <a:lnTo>
                    <a:pt x="83" y="340"/>
                  </a:lnTo>
                  <a:lnTo>
                    <a:pt x="83" y="342"/>
                  </a:lnTo>
                  <a:close/>
                  <a:moveTo>
                    <a:pt x="64" y="340"/>
                  </a:moveTo>
                  <a:lnTo>
                    <a:pt x="64" y="342"/>
                  </a:lnTo>
                  <a:lnTo>
                    <a:pt x="64" y="340"/>
                  </a:lnTo>
                  <a:close/>
                  <a:moveTo>
                    <a:pt x="40" y="342"/>
                  </a:moveTo>
                  <a:lnTo>
                    <a:pt x="40" y="340"/>
                  </a:lnTo>
                  <a:lnTo>
                    <a:pt x="40" y="342"/>
                  </a:lnTo>
                  <a:close/>
                  <a:moveTo>
                    <a:pt x="62" y="342"/>
                  </a:moveTo>
                  <a:lnTo>
                    <a:pt x="62" y="340"/>
                  </a:lnTo>
                  <a:lnTo>
                    <a:pt x="62" y="342"/>
                  </a:lnTo>
                  <a:close/>
                  <a:moveTo>
                    <a:pt x="52" y="342"/>
                  </a:moveTo>
                  <a:lnTo>
                    <a:pt x="52" y="340"/>
                  </a:lnTo>
                  <a:lnTo>
                    <a:pt x="52" y="342"/>
                  </a:lnTo>
                  <a:close/>
                  <a:moveTo>
                    <a:pt x="10" y="340"/>
                  </a:moveTo>
                  <a:lnTo>
                    <a:pt x="10" y="342"/>
                  </a:lnTo>
                  <a:lnTo>
                    <a:pt x="10" y="340"/>
                  </a:lnTo>
                  <a:close/>
                  <a:moveTo>
                    <a:pt x="83" y="342"/>
                  </a:moveTo>
                  <a:lnTo>
                    <a:pt x="83" y="340"/>
                  </a:lnTo>
                  <a:lnTo>
                    <a:pt x="83" y="342"/>
                  </a:lnTo>
                  <a:close/>
                  <a:moveTo>
                    <a:pt x="45" y="340"/>
                  </a:moveTo>
                  <a:lnTo>
                    <a:pt x="45" y="342"/>
                  </a:lnTo>
                  <a:lnTo>
                    <a:pt x="45" y="340"/>
                  </a:lnTo>
                  <a:close/>
                  <a:moveTo>
                    <a:pt x="43" y="340"/>
                  </a:moveTo>
                  <a:lnTo>
                    <a:pt x="43" y="342"/>
                  </a:lnTo>
                  <a:lnTo>
                    <a:pt x="43" y="340"/>
                  </a:lnTo>
                  <a:lnTo>
                    <a:pt x="43" y="342"/>
                  </a:lnTo>
                  <a:lnTo>
                    <a:pt x="43" y="340"/>
                  </a:lnTo>
                  <a:close/>
                  <a:moveTo>
                    <a:pt x="64" y="340"/>
                  </a:moveTo>
                  <a:lnTo>
                    <a:pt x="64" y="342"/>
                  </a:lnTo>
                  <a:lnTo>
                    <a:pt x="64" y="340"/>
                  </a:lnTo>
                  <a:close/>
                  <a:moveTo>
                    <a:pt x="64" y="342"/>
                  </a:moveTo>
                  <a:lnTo>
                    <a:pt x="64" y="340"/>
                  </a:lnTo>
                  <a:lnTo>
                    <a:pt x="64" y="342"/>
                  </a:lnTo>
                  <a:close/>
                  <a:moveTo>
                    <a:pt x="43" y="340"/>
                  </a:moveTo>
                  <a:lnTo>
                    <a:pt x="43" y="342"/>
                  </a:lnTo>
                  <a:lnTo>
                    <a:pt x="43" y="340"/>
                  </a:lnTo>
                  <a:close/>
                  <a:moveTo>
                    <a:pt x="93" y="340"/>
                  </a:moveTo>
                  <a:lnTo>
                    <a:pt x="93" y="342"/>
                  </a:lnTo>
                  <a:lnTo>
                    <a:pt x="93" y="340"/>
                  </a:lnTo>
                  <a:close/>
                  <a:moveTo>
                    <a:pt x="237" y="340"/>
                  </a:moveTo>
                  <a:lnTo>
                    <a:pt x="237" y="342"/>
                  </a:lnTo>
                  <a:lnTo>
                    <a:pt x="237" y="340"/>
                  </a:lnTo>
                  <a:close/>
                  <a:moveTo>
                    <a:pt x="235" y="340"/>
                  </a:moveTo>
                  <a:lnTo>
                    <a:pt x="235" y="342"/>
                  </a:lnTo>
                  <a:lnTo>
                    <a:pt x="235" y="340"/>
                  </a:lnTo>
                  <a:close/>
                  <a:moveTo>
                    <a:pt x="31" y="342"/>
                  </a:moveTo>
                  <a:lnTo>
                    <a:pt x="31" y="340"/>
                  </a:lnTo>
                  <a:lnTo>
                    <a:pt x="31" y="342"/>
                  </a:lnTo>
                  <a:close/>
                  <a:moveTo>
                    <a:pt x="55" y="342"/>
                  </a:moveTo>
                  <a:lnTo>
                    <a:pt x="55" y="340"/>
                  </a:lnTo>
                  <a:lnTo>
                    <a:pt x="55" y="342"/>
                  </a:lnTo>
                  <a:close/>
                  <a:moveTo>
                    <a:pt x="225" y="342"/>
                  </a:moveTo>
                  <a:lnTo>
                    <a:pt x="225" y="340"/>
                  </a:lnTo>
                  <a:lnTo>
                    <a:pt x="225" y="342"/>
                  </a:lnTo>
                  <a:close/>
                  <a:moveTo>
                    <a:pt x="52" y="342"/>
                  </a:moveTo>
                  <a:lnTo>
                    <a:pt x="52" y="340"/>
                  </a:lnTo>
                  <a:lnTo>
                    <a:pt x="52" y="342"/>
                  </a:lnTo>
                  <a:close/>
                  <a:moveTo>
                    <a:pt x="62" y="342"/>
                  </a:moveTo>
                  <a:lnTo>
                    <a:pt x="62" y="340"/>
                  </a:lnTo>
                  <a:lnTo>
                    <a:pt x="62" y="342"/>
                  </a:lnTo>
                  <a:close/>
                  <a:moveTo>
                    <a:pt x="12" y="340"/>
                  </a:moveTo>
                  <a:lnTo>
                    <a:pt x="12" y="342"/>
                  </a:lnTo>
                  <a:lnTo>
                    <a:pt x="12" y="340"/>
                  </a:lnTo>
                  <a:close/>
                  <a:moveTo>
                    <a:pt x="263" y="340"/>
                  </a:moveTo>
                  <a:lnTo>
                    <a:pt x="261" y="340"/>
                  </a:lnTo>
                  <a:lnTo>
                    <a:pt x="263" y="340"/>
                  </a:lnTo>
                  <a:close/>
                  <a:moveTo>
                    <a:pt x="235" y="340"/>
                  </a:moveTo>
                  <a:lnTo>
                    <a:pt x="233" y="340"/>
                  </a:lnTo>
                  <a:lnTo>
                    <a:pt x="235" y="340"/>
                  </a:lnTo>
                  <a:close/>
                  <a:moveTo>
                    <a:pt x="57" y="340"/>
                  </a:moveTo>
                  <a:lnTo>
                    <a:pt x="55" y="340"/>
                  </a:lnTo>
                  <a:lnTo>
                    <a:pt x="57" y="340"/>
                  </a:lnTo>
                  <a:close/>
                  <a:moveTo>
                    <a:pt x="59" y="340"/>
                  </a:moveTo>
                  <a:lnTo>
                    <a:pt x="57" y="340"/>
                  </a:lnTo>
                  <a:lnTo>
                    <a:pt x="59" y="340"/>
                  </a:lnTo>
                  <a:close/>
                  <a:moveTo>
                    <a:pt x="230" y="340"/>
                  </a:moveTo>
                  <a:lnTo>
                    <a:pt x="228" y="340"/>
                  </a:lnTo>
                  <a:lnTo>
                    <a:pt x="230" y="340"/>
                  </a:lnTo>
                  <a:lnTo>
                    <a:pt x="228" y="340"/>
                  </a:lnTo>
                  <a:lnTo>
                    <a:pt x="230" y="340"/>
                  </a:lnTo>
                  <a:close/>
                  <a:moveTo>
                    <a:pt x="71" y="340"/>
                  </a:moveTo>
                  <a:lnTo>
                    <a:pt x="74" y="340"/>
                  </a:lnTo>
                  <a:lnTo>
                    <a:pt x="71" y="340"/>
                  </a:lnTo>
                  <a:close/>
                  <a:moveTo>
                    <a:pt x="67" y="340"/>
                  </a:moveTo>
                  <a:lnTo>
                    <a:pt x="64" y="340"/>
                  </a:lnTo>
                  <a:lnTo>
                    <a:pt x="67" y="340"/>
                  </a:lnTo>
                  <a:close/>
                  <a:moveTo>
                    <a:pt x="74" y="340"/>
                  </a:moveTo>
                  <a:lnTo>
                    <a:pt x="71" y="340"/>
                  </a:lnTo>
                  <a:lnTo>
                    <a:pt x="74" y="340"/>
                  </a:lnTo>
                  <a:close/>
                  <a:moveTo>
                    <a:pt x="43" y="340"/>
                  </a:moveTo>
                  <a:lnTo>
                    <a:pt x="40" y="340"/>
                  </a:lnTo>
                  <a:lnTo>
                    <a:pt x="43" y="340"/>
                  </a:lnTo>
                  <a:close/>
                  <a:moveTo>
                    <a:pt x="69" y="340"/>
                  </a:moveTo>
                  <a:lnTo>
                    <a:pt x="67" y="340"/>
                  </a:lnTo>
                  <a:lnTo>
                    <a:pt x="69" y="340"/>
                  </a:lnTo>
                  <a:close/>
                  <a:moveTo>
                    <a:pt x="64" y="340"/>
                  </a:moveTo>
                  <a:lnTo>
                    <a:pt x="62" y="340"/>
                  </a:lnTo>
                  <a:lnTo>
                    <a:pt x="64" y="340"/>
                  </a:lnTo>
                  <a:close/>
                  <a:moveTo>
                    <a:pt x="74" y="340"/>
                  </a:moveTo>
                  <a:lnTo>
                    <a:pt x="71" y="340"/>
                  </a:lnTo>
                  <a:lnTo>
                    <a:pt x="74" y="340"/>
                  </a:lnTo>
                  <a:close/>
                  <a:moveTo>
                    <a:pt x="109" y="340"/>
                  </a:moveTo>
                  <a:lnTo>
                    <a:pt x="107" y="340"/>
                  </a:lnTo>
                  <a:lnTo>
                    <a:pt x="109" y="340"/>
                  </a:lnTo>
                  <a:close/>
                  <a:moveTo>
                    <a:pt x="55" y="340"/>
                  </a:moveTo>
                  <a:lnTo>
                    <a:pt x="52" y="340"/>
                  </a:lnTo>
                  <a:lnTo>
                    <a:pt x="55" y="340"/>
                  </a:lnTo>
                  <a:close/>
                  <a:moveTo>
                    <a:pt x="29" y="340"/>
                  </a:moveTo>
                  <a:lnTo>
                    <a:pt x="31" y="340"/>
                  </a:lnTo>
                  <a:lnTo>
                    <a:pt x="29" y="340"/>
                  </a:lnTo>
                  <a:close/>
                  <a:moveTo>
                    <a:pt x="31" y="340"/>
                  </a:moveTo>
                  <a:lnTo>
                    <a:pt x="33" y="340"/>
                  </a:lnTo>
                  <a:lnTo>
                    <a:pt x="31" y="340"/>
                  </a:lnTo>
                  <a:close/>
                  <a:moveTo>
                    <a:pt x="14" y="340"/>
                  </a:moveTo>
                  <a:lnTo>
                    <a:pt x="12" y="340"/>
                  </a:lnTo>
                  <a:lnTo>
                    <a:pt x="14" y="340"/>
                  </a:lnTo>
                  <a:close/>
                  <a:moveTo>
                    <a:pt x="50" y="340"/>
                  </a:moveTo>
                  <a:lnTo>
                    <a:pt x="48" y="340"/>
                  </a:lnTo>
                  <a:lnTo>
                    <a:pt x="50" y="340"/>
                  </a:lnTo>
                  <a:close/>
                  <a:moveTo>
                    <a:pt x="59" y="340"/>
                  </a:moveTo>
                  <a:lnTo>
                    <a:pt x="62" y="340"/>
                  </a:lnTo>
                  <a:lnTo>
                    <a:pt x="59" y="340"/>
                  </a:lnTo>
                  <a:close/>
                  <a:moveTo>
                    <a:pt x="33" y="340"/>
                  </a:moveTo>
                  <a:lnTo>
                    <a:pt x="31" y="340"/>
                  </a:lnTo>
                  <a:lnTo>
                    <a:pt x="33" y="340"/>
                  </a:lnTo>
                  <a:close/>
                  <a:moveTo>
                    <a:pt x="55" y="340"/>
                  </a:moveTo>
                  <a:lnTo>
                    <a:pt x="52" y="340"/>
                  </a:lnTo>
                  <a:lnTo>
                    <a:pt x="55" y="340"/>
                  </a:lnTo>
                  <a:close/>
                  <a:moveTo>
                    <a:pt x="230" y="340"/>
                  </a:moveTo>
                  <a:lnTo>
                    <a:pt x="228" y="340"/>
                  </a:lnTo>
                  <a:lnTo>
                    <a:pt x="230" y="340"/>
                  </a:lnTo>
                  <a:close/>
                  <a:moveTo>
                    <a:pt x="97" y="340"/>
                  </a:moveTo>
                  <a:lnTo>
                    <a:pt x="95" y="340"/>
                  </a:lnTo>
                  <a:lnTo>
                    <a:pt x="97" y="340"/>
                  </a:lnTo>
                  <a:close/>
                  <a:moveTo>
                    <a:pt x="48" y="340"/>
                  </a:moveTo>
                  <a:lnTo>
                    <a:pt x="45" y="340"/>
                  </a:lnTo>
                  <a:lnTo>
                    <a:pt x="48" y="340"/>
                  </a:lnTo>
                  <a:close/>
                  <a:moveTo>
                    <a:pt x="40" y="340"/>
                  </a:moveTo>
                  <a:lnTo>
                    <a:pt x="38" y="340"/>
                  </a:lnTo>
                  <a:lnTo>
                    <a:pt x="40" y="340"/>
                  </a:lnTo>
                  <a:close/>
                  <a:moveTo>
                    <a:pt x="55" y="340"/>
                  </a:moveTo>
                  <a:lnTo>
                    <a:pt x="52" y="340"/>
                  </a:lnTo>
                  <a:lnTo>
                    <a:pt x="55" y="340"/>
                  </a:lnTo>
                  <a:close/>
                  <a:moveTo>
                    <a:pt x="57" y="340"/>
                  </a:moveTo>
                  <a:lnTo>
                    <a:pt x="55" y="340"/>
                  </a:lnTo>
                  <a:lnTo>
                    <a:pt x="57" y="340"/>
                  </a:lnTo>
                  <a:close/>
                  <a:moveTo>
                    <a:pt x="228" y="340"/>
                  </a:moveTo>
                  <a:lnTo>
                    <a:pt x="230" y="340"/>
                  </a:lnTo>
                  <a:lnTo>
                    <a:pt x="228" y="340"/>
                  </a:lnTo>
                  <a:close/>
                  <a:moveTo>
                    <a:pt x="52" y="340"/>
                  </a:moveTo>
                  <a:lnTo>
                    <a:pt x="50" y="340"/>
                  </a:lnTo>
                  <a:lnTo>
                    <a:pt x="52" y="340"/>
                  </a:lnTo>
                  <a:close/>
                  <a:moveTo>
                    <a:pt x="50" y="340"/>
                  </a:moveTo>
                  <a:lnTo>
                    <a:pt x="48" y="340"/>
                  </a:lnTo>
                  <a:lnTo>
                    <a:pt x="50" y="340"/>
                  </a:lnTo>
                  <a:close/>
                  <a:moveTo>
                    <a:pt x="78" y="340"/>
                  </a:moveTo>
                  <a:lnTo>
                    <a:pt x="76" y="340"/>
                  </a:lnTo>
                  <a:lnTo>
                    <a:pt x="78" y="340"/>
                  </a:lnTo>
                  <a:close/>
                  <a:moveTo>
                    <a:pt x="59" y="338"/>
                  </a:moveTo>
                  <a:lnTo>
                    <a:pt x="59" y="340"/>
                  </a:lnTo>
                  <a:lnTo>
                    <a:pt x="59" y="338"/>
                  </a:lnTo>
                  <a:close/>
                  <a:moveTo>
                    <a:pt x="88" y="338"/>
                  </a:moveTo>
                  <a:lnTo>
                    <a:pt x="88" y="340"/>
                  </a:lnTo>
                  <a:lnTo>
                    <a:pt x="88" y="338"/>
                  </a:lnTo>
                  <a:close/>
                  <a:moveTo>
                    <a:pt x="271" y="340"/>
                  </a:moveTo>
                  <a:lnTo>
                    <a:pt x="271" y="338"/>
                  </a:lnTo>
                  <a:lnTo>
                    <a:pt x="271" y="340"/>
                  </a:lnTo>
                  <a:close/>
                  <a:moveTo>
                    <a:pt x="59" y="340"/>
                  </a:moveTo>
                  <a:lnTo>
                    <a:pt x="59" y="338"/>
                  </a:lnTo>
                  <a:lnTo>
                    <a:pt x="59" y="340"/>
                  </a:lnTo>
                  <a:close/>
                  <a:moveTo>
                    <a:pt x="225" y="340"/>
                  </a:moveTo>
                  <a:lnTo>
                    <a:pt x="225" y="338"/>
                  </a:lnTo>
                  <a:lnTo>
                    <a:pt x="225" y="340"/>
                  </a:lnTo>
                  <a:close/>
                  <a:moveTo>
                    <a:pt x="36" y="340"/>
                  </a:moveTo>
                  <a:lnTo>
                    <a:pt x="33" y="340"/>
                  </a:lnTo>
                  <a:lnTo>
                    <a:pt x="33" y="338"/>
                  </a:lnTo>
                  <a:lnTo>
                    <a:pt x="36" y="340"/>
                  </a:lnTo>
                  <a:close/>
                  <a:moveTo>
                    <a:pt x="95" y="340"/>
                  </a:moveTo>
                  <a:lnTo>
                    <a:pt x="93" y="340"/>
                  </a:lnTo>
                  <a:lnTo>
                    <a:pt x="93" y="338"/>
                  </a:lnTo>
                  <a:lnTo>
                    <a:pt x="95" y="340"/>
                  </a:lnTo>
                  <a:close/>
                  <a:moveTo>
                    <a:pt x="50" y="340"/>
                  </a:moveTo>
                  <a:lnTo>
                    <a:pt x="50" y="338"/>
                  </a:lnTo>
                  <a:lnTo>
                    <a:pt x="50" y="340"/>
                  </a:lnTo>
                  <a:close/>
                  <a:moveTo>
                    <a:pt x="225" y="340"/>
                  </a:moveTo>
                  <a:lnTo>
                    <a:pt x="225" y="338"/>
                  </a:lnTo>
                  <a:lnTo>
                    <a:pt x="225" y="340"/>
                  </a:lnTo>
                  <a:close/>
                  <a:moveTo>
                    <a:pt x="221" y="340"/>
                  </a:moveTo>
                  <a:lnTo>
                    <a:pt x="221" y="338"/>
                  </a:lnTo>
                  <a:lnTo>
                    <a:pt x="221" y="340"/>
                  </a:lnTo>
                  <a:close/>
                  <a:moveTo>
                    <a:pt x="45" y="340"/>
                  </a:moveTo>
                  <a:lnTo>
                    <a:pt x="45" y="338"/>
                  </a:lnTo>
                  <a:lnTo>
                    <a:pt x="45" y="340"/>
                  </a:lnTo>
                  <a:close/>
                  <a:moveTo>
                    <a:pt x="38" y="340"/>
                  </a:moveTo>
                  <a:lnTo>
                    <a:pt x="38" y="338"/>
                  </a:lnTo>
                  <a:lnTo>
                    <a:pt x="38" y="340"/>
                  </a:lnTo>
                  <a:close/>
                  <a:moveTo>
                    <a:pt x="55" y="338"/>
                  </a:moveTo>
                  <a:lnTo>
                    <a:pt x="55" y="340"/>
                  </a:lnTo>
                  <a:lnTo>
                    <a:pt x="55" y="338"/>
                  </a:lnTo>
                  <a:close/>
                  <a:moveTo>
                    <a:pt x="228" y="340"/>
                  </a:moveTo>
                  <a:lnTo>
                    <a:pt x="228" y="338"/>
                  </a:lnTo>
                  <a:lnTo>
                    <a:pt x="228" y="340"/>
                  </a:lnTo>
                  <a:close/>
                  <a:moveTo>
                    <a:pt x="55" y="338"/>
                  </a:moveTo>
                  <a:lnTo>
                    <a:pt x="55" y="340"/>
                  </a:lnTo>
                  <a:lnTo>
                    <a:pt x="55" y="338"/>
                  </a:lnTo>
                  <a:close/>
                  <a:moveTo>
                    <a:pt x="76" y="340"/>
                  </a:moveTo>
                  <a:lnTo>
                    <a:pt x="76" y="338"/>
                  </a:lnTo>
                  <a:lnTo>
                    <a:pt x="76" y="340"/>
                  </a:lnTo>
                  <a:close/>
                  <a:moveTo>
                    <a:pt x="240" y="338"/>
                  </a:moveTo>
                  <a:lnTo>
                    <a:pt x="240" y="340"/>
                  </a:lnTo>
                  <a:lnTo>
                    <a:pt x="240" y="338"/>
                  </a:lnTo>
                  <a:close/>
                  <a:moveTo>
                    <a:pt x="12" y="340"/>
                  </a:moveTo>
                  <a:lnTo>
                    <a:pt x="12" y="338"/>
                  </a:lnTo>
                  <a:lnTo>
                    <a:pt x="12" y="340"/>
                  </a:lnTo>
                  <a:close/>
                  <a:moveTo>
                    <a:pt x="52" y="340"/>
                  </a:moveTo>
                  <a:lnTo>
                    <a:pt x="52" y="338"/>
                  </a:lnTo>
                  <a:lnTo>
                    <a:pt x="52" y="340"/>
                  </a:lnTo>
                  <a:close/>
                  <a:moveTo>
                    <a:pt x="240" y="338"/>
                  </a:moveTo>
                  <a:lnTo>
                    <a:pt x="240" y="340"/>
                  </a:lnTo>
                  <a:lnTo>
                    <a:pt x="240" y="338"/>
                  </a:lnTo>
                  <a:close/>
                  <a:moveTo>
                    <a:pt x="221" y="338"/>
                  </a:moveTo>
                  <a:lnTo>
                    <a:pt x="221" y="340"/>
                  </a:lnTo>
                  <a:lnTo>
                    <a:pt x="221" y="338"/>
                  </a:lnTo>
                  <a:close/>
                  <a:moveTo>
                    <a:pt x="29" y="338"/>
                  </a:moveTo>
                  <a:lnTo>
                    <a:pt x="29" y="340"/>
                  </a:lnTo>
                  <a:lnTo>
                    <a:pt x="29" y="338"/>
                  </a:lnTo>
                  <a:close/>
                  <a:moveTo>
                    <a:pt x="38" y="340"/>
                  </a:moveTo>
                  <a:lnTo>
                    <a:pt x="38" y="338"/>
                  </a:lnTo>
                  <a:lnTo>
                    <a:pt x="38" y="340"/>
                  </a:lnTo>
                  <a:close/>
                  <a:moveTo>
                    <a:pt x="242" y="338"/>
                  </a:moveTo>
                  <a:lnTo>
                    <a:pt x="242" y="340"/>
                  </a:lnTo>
                  <a:lnTo>
                    <a:pt x="242" y="338"/>
                  </a:lnTo>
                  <a:close/>
                  <a:moveTo>
                    <a:pt x="55" y="340"/>
                  </a:moveTo>
                  <a:lnTo>
                    <a:pt x="55" y="338"/>
                  </a:lnTo>
                  <a:lnTo>
                    <a:pt x="55" y="340"/>
                  </a:lnTo>
                  <a:close/>
                  <a:moveTo>
                    <a:pt x="81" y="340"/>
                  </a:moveTo>
                  <a:lnTo>
                    <a:pt x="81" y="338"/>
                  </a:lnTo>
                  <a:lnTo>
                    <a:pt x="81" y="340"/>
                  </a:lnTo>
                  <a:close/>
                  <a:moveTo>
                    <a:pt x="64" y="338"/>
                  </a:moveTo>
                  <a:lnTo>
                    <a:pt x="64" y="340"/>
                  </a:lnTo>
                  <a:lnTo>
                    <a:pt x="64" y="338"/>
                  </a:lnTo>
                  <a:close/>
                  <a:moveTo>
                    <a:pt x="64" y="340"/>
                  </a:moveTo>
                  <a:lnTo>
                    <a:pt x="64" y="338"/>
                  </a:lnTo>
                  <a:lnTo>
                    <a:pt x="64" y="340"/>
                  </a:lnTo>
                  <a:close/>
                  <a:moveTo>
                    <a:pt x="21" y="338"/>
                  </a:moveTo>
                  <a:lnTo>
                    <a:pt x="21" y="340"/>
                  </a:lnTo>
                  <a:lnTo>
                    <a:pt x="21" y="338"/>
                  </a:lnTo>
                  <a:close/>
                  <a:moveTo>
                    <a:pt x="40" y="338"/>
                  </a:moveTo>
                  <a:lnTo>
                    <a:pt x="40" y="340"/>
                  </a:lnTo>
                  <a:lnTo>
                    <a:pt x="40" y="338"/>
                  </a:lnTo>
                  <a:close/>
                  <a:moveTo>
                    <a:pt x="55" y="338"/>
                  </a:moveTo>
                  <a:lnTo>
                    <a:pt x="55" y="340"/>
                  </a:lnTo>
                  <a:lnTo>
                    <a:pt x="55" y="338"/>
                  </a:lnTo>
                  <a:close/>
                  <a:moveTo>
                    <a:pt x="225" y="338"/>
                  </a:moveTo>
                  <a:lnTo>
                    <a:pt x="225" y="340"/>
                  </a:lnTo>
                  <a:lnTo>
                    <a:pt x="225" y="338"/>
                  </a:lnTo>
                  <a:close/>
                  <a:moveTo>
                    <a:pt x="59" y="338"/>
                  </a:moveTo>
                  <a:lnTo>
                    <a:pt x="59" y="340"/>
                  </a:lnTo>
                  <a:lnTo>
                    <a:pt x="59" y="338"/>
                  </a:lnTo>
                  <a:close/>
                  <a:moveTo>
                    <a:pt x="55" y="338"/>
                  </a:moveTo>
                  <a:lnTo>
                    <a:pt x="55" y="340"/>
                  </a:lnTo>
                  <a:lnTo>
                    <a:pt x="55" y="338"/>
                  </a:lnTo>
                  <a:close/>
                  <a:moveTo>
                    <a:pt x="71" y="338"/>
                  </a:moveTo>
                  <a:lnTo>
                    <a:pt x="71" y="340"/>
                  </a:lnTo>
                  <a:lnTo>
                    <a:pt x="71" y="338"/>
                  </a:lnTo>
                  <a:close/>
                  <a:moveTo>
                    <a:pt x="59" y="340"/>
                  </a:moveTo>
                  <a:lnTo>
                    <a:pt x="57" y="338"/>
                  </a:lnTo>
                  <a:lnTo>
                    <a:pt x="59" y="338"/>
                  </a:lnTo>
                  <a:lnTo>
                    <a:pt x="59" y="340"/>
                  </a:lnTo>
                  <a:close/>
                  <a:moveTo>
                    <a:pt x="50" y="338"/>
                  </a:moveTo>
                  <a:lnTo>
                    <a:pt x="48" y="338"/>
                  </a:lnTo>
                  <a:lnTo>
                    <a:pt x="50" y="338"/>
                  </a:lnTo>
                  <a:close/>
                  <a:moveTo>
                    <a:pt x="55" y="338"/>
                  </a:moveTo>
                  <a:lnTo>
                    <a:pt x="52" y="338"/>
                  </a:lnTo>
                  <a:lnTo>
                    <a:pt x="55" y="338"/>
                  </a:lnTo>
                  <a:close/>
                  <a:moveTo>
                    <a:pt x="55" y="338"/>
                  </a:moveTo>
                  <a:lnTo>
                    <a:pt x="55" y="340"/>
                  </a:lnTo>
                  <a:lnTo>
                    <a:pt x="55" y="338"/>
                  </a:lnTo>
                  <a:close/>
                  <a:moveTo>
                    <a:pt x="33" y="338"/>
                  </a:moveTo>
                  <a:lnTo>
                    <a:pt x="36" y="338"/>
                  </a:lnTo>
                  <a:lnTo>
                    <a:pt x="33" y="338"/>
                  </a:lnTo>
                  <a:close/>
                  <a:moveTo>
                    <a:pt x="52" y="338"/>
                  </a:moveTo>
                  <a:lnTo>
                    <a:pt x="52" y="340"/>
                  </a:lnTo>
                  <a:lnTo>
                    <a:pt x="52" y="338"/>
                  </a:lnTo>
                  <a:close/>
                  <a:moveTo>
                    <a:pt x="278" y="338"/>
                  </a:moveTo>
                  <a:lnTo>
                    <a:pt x="275" y="338"/>
                  </a:lnTo>
                  <a:lnTo>
                    <a:pt x="278" y="338"/>
                  </a:lnTo>
                  <a:close/>
                  <a:moveTo>
                    <a:pt x="59" y="338"/>
                  </a:moveTo>
                  <a:lnTo>
                    <a:pt x="57" y="338"/>
                  </a:lnTo>
                  <a:lnTo>
                    <a:pt x="59" y="338"/>
                  </a:lnTo>
                  <a:close/>
                  <a:moveTo>
                    <a:pt x="33" y="338"/>
                  </a:moveTo>
                  <a:lnTo>
                    <a:pt x="31" y="338"/>
                  </a:lnTo>
                  <a:lnTo>
                    <a:pt x="33" y="338"/>
                  </a:lnTo>
                  <a:close/>
                  <a:moveTo>
                    <a:pt x="38" y="338"/>
                  </a:moveTo>
                  <a:lnTo>
                    <a:pt x="36" y="338"/>
                  </a:lnTo>
                  <a:lnTo>
                    <a:pt x="38" y="338"/>
                  </a:lnTo>
                  <a:close/>
                  <a:moveTo>
                    <a:pt x="278" y="338"/>
                  </a:moveTo>
                  <a:lnTo>
                    <a:pt x="275" y="338"/>
                  </a:lnTo>
                  <a:lnTo>
                    <a:pt x="278" y="338"/>
                  </a:lnTo>
                  <a:close/>
                  <a:moveTo>
                    <a:pt x="81" y="338"/>
                  </a:moveTo>
                  <a:lnTo>
                    <a:pt x="78" y="338"/>
                  </a:lnTo>
                  <a:lnTo>
                    <a:pt x="81" y="338"/>
                  </a:lnTo>
                  <a:close/>
                  <a:moveTo>
                    <a:pt x="74" y="338"/>
                  </a:moveTo>
                  <a:lnTo>
                    <a:pt x="71" y="338"/>
                  </a:lnTo>
                  <a:lnTo>
                    <a:pt x="74" y="338"/>
                  </a:lnTo>
                  <a:close/>
                  <a:moveTo>
                    <a:pt x="26" y="338"/>
                  </a:moveTo>
                  <a:lnTo>
                    <a:pt x="24" y="338"/>
                  </a:lnTo>
                  <a:lnTo>
                    <a:pt x="26" y="338"/>
                  </a:lnTo>
                  <a:close/>
                  <a:moveTo>
                    <a:pt x="59" y="338"/>
                  </a:moveTo>
                  <a:lnTo>
                    <a:pt x="57" y="338"/>
                  </a:lnTo>
                  <a:lnTo>
                    <a:pt x="59" y="338"/>
                  </a:lnTo>
                  <a:close/>
                  <a:moveTo>
                    <a:pt x="76" y="338"/>
                  </a:moveTo>
                  <a:lnTo>
                    <a:pt x="74" y="338"/>
                  </a:lnTo>
                  <a:lnTo>
                    <a:pt x="76" y="338"/>
                  </a:lnTo>
                  <a:close/>
                  <a:moveTo>
                    <a:pt x="33" y="338"/>
                  </a:moveTo>
                  <a:lnTo>
                    <a:pt x="31" y="338"/>
                  </a:lnTo>
                  <a:lnTo>
                    <a:pt x="33" y="338"/>
                  </a:lnTo>
                  <a:close/>
                  <a:moveTo>
                    <a:pt x="55" y="338"/>
                  </a:moveTo>
                  <a:lnTo>
                    <a:pt x="52" y="338"/>
                  </a:lnTo>
                  <a:lnTo>
                    <a:pt x="55" y="338"/>
                  </a:lnTo>
                  <a:close/>
                  <a:moveTo>
                    <a:pt x="36" y="338"/>
                  </a:moveTo>
                  <a:lnTo>
                    <a:pt x="33" y="338"/>
                  </a:lnTo>
                  <a:lnTo>
                    <a:pt x="36" y="338"/>
                  </a:lnTo>
                  <a:close/>
                  <a:moveTo>
                    <a:pt x="57" y="338"/>
                  </a:moveTo>
                  <a:lnTo>
                    <a:pt x="55" y="338"/>
                  </a:lnTo>
                  <a:lnTo>
                    <a:pt x="57" y="338"/>
                  </a:lnTo>
                  <a:close/>
                  <a:moveTo>
                    <a:pt x="55" y="338"/>
                  </a:moveTo>
                  <a:lnTo>
                    <a:pt x="52" y="338"/>
                  </a:lnTo>
                  <a:lnTo>
                    <a:pt x="55" y="338"/>
                  </a:lnTo>
                  <a:close/>
                  <a:moveTo>
                    <a:pt x="271" y="338"/>
                  </a:moveTo>
                  <a:lnTo>
                    <a:pt x="268" y="338"/>
                  </a:lnTo>
                  <a:lnTo>
                    <a:pt x="271" y="338"/>
                  </a:lnTo>
                  <a:close/>
                  <a:moveTo>
                    <a:pt x="55" y="338"/>
                  </a:moveTo>
                  <a:lnTo>
                    <a:pt x="57" y="338"/>
                  </a:lnTo>
                  <a:lnTo>
                    <a:pt x="55" y="338"/>
                  </a:lnTo>
                  <a:close/>
                  <a:moveTo>
                    <a:pt x="62" y="338"/>
                  </a:moveTo>
                  <a:lnTo>
                    <a:pt x="59" y="338"/>
                  </a:lnTo>
                  <a:lnTo>
                    <a:pt x="62" y="338"/>
                  </a:lnTo>
                  <a:close/>
                  <a:moveTo>
                    <a:pt x="90" y="338"/>
                  </a:moveTo>
                  <a:lnTo>
                    <a:pt x="88" y="338"/>
                  </a:lnTo>
                  <a:lnTo>
                    <a:pt x="90" y="338"/>
                  </a:lnTo>
                  <a:close/>
                  <a:moveTo>
                    <a:pt x="67" y="338"/>
                  </a:moveTo>
                  <a:lnTo>
                    <a:pt x="64" y="338"/>
                  </a:lnTo>
                  <a:lnTo>
                    <a:pt x="67" y="338"/>
                  </a:lnTo>
                  <a:close/>
                  <a:moveTo>
                    <a:pt x="247" y="338"/>
                  </a:moveTo>
                  <a:lnTo>
                    <a:pt x="244" y="338"/>
                  </a:lnTo>
                  <a:lnTo>
                    <a:pt x="247" y="338"/>
                  </a:lnTo>
                  <a:close/>
                  <a:moveTo>
                    <a:pt x="254" y="338"/>
                  </a:moveTo>
                  <a:lnTo>
                    <a:pt x="256" y="338"/>
                  </a:lnTo>
                  <a:lnTo>
                    <a:pt x="254" y="338"/>
                  </a:lnTo>
                  <a:close/>
                  <a:moveTo>
                    <a:pt x="95" y="338"/>
                  </a:moveTo>
                  <a:lnTo>
                    <a:pt x="93" y="338"/>
                  </a:lnTo>
                  <a:lnTo>
                    <a:pt x="95" y="338"/>
                  </a:lnTo>
                  <a:close/>
                  <a:moveTo>
                    <a:pt x="223" y="338"/>
                  </a:moveTo>
                  <a:lnTo>
                    <a:pt x="221" y="338"/>
                  </a:lnTo>
                  <a:lnTo>
                    <a:pt x="223" y="338"/>
                  </a:lnTo>
                  <a:close/>
                  <a:moveTo>
                    <a:pt x="55" y="338"/>
                  </a:moveTo>
                  <a:lnTo>
                    <a:pt x="52" y="338"/>
                  </a:lnTo>
                  <a:lnTo>
                    <a:pt x="55" y="338"/>
                  </a:lnTo>
                  <a:close/>
                  <a:moveTo>
                    <a:pt x="57" y="338"/>
                  </a:moveTo>
                  <a:lnTo>
                    <a:pt x="55" y="338"/>
                  </a:lnTo>
                  <a:lnTo>
                    <a:pt x="57" y="338"/>
                  </a:lnTo>
                  <a:close/>
                  <a:moveTo>
                    <a:pt x="62" y="338"/>
                  </a:moveTo>
                  <a:lnTo>
                    <a:pt x="59" y="338"/>
                  </a:lnTo>
                  <a:lnTo>
                    <a:pt x="62" y="338"/>
                  </a:lnTo>
                  <a:close/>
                  <a:moveTo>
                    <a:pt x="256" y="338"/>
                  </a:moveTo>
                  <a:lnTo>
                    <a:pt x="254" y="338"/>
                  </a:lnTo>
                  <a:lnTo>
                    <a:pt x="256" y="338"/>
                  </a:lnTo>
                  <a:close/>
                  <a:moveTo>
                    <a:pt x="240" y="338"/>
                  </a:moveTo>
                  <a:lnTo>
                    <a:pt x="237" y="338"/>
                  </a:lnTo>
                  <a:lnTo>
                    <a:pt x="240" y="338"/>
                  </a:lnTo>
                  <a:close/>
                  <a:moveTo>
                    <a:pt x="52" y="338"/>
                  </a:moveTo>
                  <a:lnTo>
                    <a:pt x="50" y="338"/>
                  </a:lnTo>
                  <a:lnTo>
                    <a:pt x="52" y="338"/>
                  </a:lnTo>
                  <a:close/>
                  <a:moveTo>
                    <a:pt x="263" y="338"/>
                  </a:moveTo>
                  <a:lnTo>
                    <a:pt x="266" y="338"/>
                  </a:lnTo>
                  <a:lnTo>
                    <a:pt x="263" y="338"/>
                  </a:lnTo>
                  <a:close/>
                  <a:moveTo>
                    <a:pt x="69" y="338"/>
                  </a:moveTo>
                  <a:lnTo>
                    <a:pt x="67" y="338"/>
                  </a:lnTo>
                  <a:lnTo>
                    <a:pt x="69" y="338"/>
                  </a:lnTo>
                  <a:close/>
                  <a:moveTo>
                    <a:pt x="17" y="338"/>
                  </a:moveTo>
                  <a:lnTo>
                    <a:pt x="14" y="338"/>
                  </a:lnTo>
                  <a:lnTo>
                    <a:pt x="17" y="338"/>
                  </a:lnTo>
                  <a:close/>
                  <a:moveTo>
                    <a:pt x="244" y="338"/>
                  </a:moveTo>
                  <a:lnTo>
                    <a:pt x="242" y="338"/>
                  </a:lnTo>
                  <a:lnTo>
                    <a:pt x="244" y="338"/>
                  </a:lnTo>
                  <a:close/>
                  <a:moveTo>
                    <a:pt x="26" y="338"/>
                  </a:moveTo>
                  <a:lnTo>
                    <a:pt x="26" y="335"/>
                  </a:lnTo>
                  <a:lnTo>
                    <a:pt x="26" y="338"/>
                  </a:lnTo>
                  <a:close/>
                  <a:moveTo>
                    <a:pt x="36" y="338"/>
                  </a:moveTo>
                  <a:lnTo>
                    <a:pt x="36" y="335"/>
                  </a:lnTo>
                  <a:lnTo>
                    <a:pt x="36" y="338"/>
                  </a:lnTo>
                  <a:close/>
                  <a:moveTo>
                    <a:pt x="228" y="338"/>
                  </a:moveTo>
                  <a:lnTo>
                    <a:pt x="228" y="335"/>
                  </a:lnTo>
                  <a:lnTo>
                    <a:pt x="228" y="338"/>
                  </a:lnTo>
                  <a:close/>
                  <a:moveTo>
                    <a:pt x="52" y="335"/>
                  </a:moveTo>
                  <a:lnTo>
                    <a:pt x="52" y="338"/>
                  </a:lnTo>
                  <a:lnTo>
                    <a:pt x="52" y="335"/>
                  </a:lnTo>
                  <a:close/>
                  <a:moveTo>
                    <a:pt x="81" y="338"/>
                  </a:moveTo>
                  <a:lnTo>
                    <a:pt x="81" y="335"/>
                  </a:lnTo>
                  <a:lnTo>
                    <a:pt x="81" y="338"/>
                  </a:lnTo>
                  <a:close/>
                  <a:moveTo>
                    <a:pt x="275" y="335"/>
                  </a:moveTo>
                  <a:lnTo>
                    <a:pt x="275" y="338"/>
                  </a:lnTo>
                  <a:lnTo>
                    <a:pt x="275" y="335"/>
                  </a:lnTo>
                  <a:close/>
                  <a:moveTo>
                    <a:pt x="261" y="335"/>
                  </a:moveTo>
                  <a:lnTo>
                    <a:pt x="261" y="338"/>
                  </a:lnTo>
                  <a:lnTo>
                    <a:pt x="261" y="335"/>
                  </a:lnTo>
                  <a:close/>
                  <a:moveTo>
                    <a:pt x="67" y="335"/>
                  </a:moveTo>
                  <a:lnTo>
                    <a:pt x="67" y="338"/>
                  </a:lnTo>
                  <a:lnTo>
                    <a:pt x="67" y="335"/>
                  </a:lnTo>
                  <a:close/>
                  <a:moveTo>
                    <a:pt x="256" y="335"/>
                  </a:moveTo>
                  <a:lnTo>
                    <a:pt x="256" y="338"/>
                  </a:lnTo>
                  <a:lnTo>
                    <a:pt x="256" y="335"/>
                  </a:lnTo>
                  <a:close/>
                  <a:moveTo>
                    <a:pt x="69" y="335"/>
                  </a:moveTo>
                  <a:lnTo>
                    <a:pt x="69" y="338"/>
                  </a:lnTo>
                  <a:lnTo>
                    <a:pt x="69" y="335"/>
                  </a:lnTo>
                  <a:close/>
                  <a:moveTo>
                    <a:pt x="78" y="335"/>
                  </a:moveTo>
                  <a:lnTo>
                    <a:pt x="78" y="338"/>
                  </a:lnTo>
                  <a:lnTo>
                    <a:pt x="78" y="335"/>
                  </a:lnTo>
                  <a:close/>
                  <a:moveTo>
                    <a:pt x="74" y="335"/>
                  </a:moveTo>
                  <a:lnTo>
                    <a:pt x="74" y="338"/>
                  </a:lnTo>
                  <a:lnTo>
                    <a:pt x="74" y="335"/>
                  </a:lnTo>
                  <a:close/>
                  <a:moveTo>
                    <a:pt x="71" y="335"/>
                  </a:moveTo>
                  <a:lnTo>
                    <a:pt x="71" y="338"/>
                  </a:lnTo>
                  <a:lnTo>
                    <a:pt x="71" y="335"/>
                  </a:lnTo>
                  <a:close/>
                  <a:moveTo>
                    <a:pt x="36" y="338"/>
                  </a:moveTo>
                  <a:lnTo>
                    <a:pt x="36" y="335"/>
                  </a:lnTo>
                  <a:lnTo>
                    <a:pt x="36" y="338"/>
                  </a:lnTo>
                  <a:close/>
                  <a:moveTo>
                    <a:pt x="78" y="338"/>
                  </a:moveTo>
                  <a:lnTo>
                    <a:pt x="78" y="335"/>
                  </a:lnTo>
                  <a:lnTo>
                    <a:pt x="78" y="338"/>
                  </a:lnTo>
                  <a:close/>
                  <a:moveTo>
                    <a:pt x="57" y="335"/>
                  </a:moveTo>
                  <a:lnTo>
                    <a:pt x="57" y="338"/>
                  </a:lnTo>
                  <a:lnTo>
                    <a:pt x="57" y="335"/>
                  </a:lnTo>
                  <a:close/>
                  <a:moveTo>
                    <a:pt x="88" y="338"/>
                  </a:moveTo>
                  <a:lnTo>
                    <a:pt x="88" y="335"/>
                  </a:lnTo>
                  <a:lnTo>
                    <a:pt x="88" y="338"/>
                  </a:lnTo>
                  <a:close/>
                  <a:moveTo>
                    <a:pt x="67" y="335"/>
                  </a:moveTo>
                  <a:lnTo>
                    <a:pt x="67" y="338"/>
                  </a:lnTo>
                  <a:lnTo>
                    <a:pt x="67" y="335"/>
                  </a:lnTo>
                  <a:close/>
                  <a:moveTo>
                    <a:pt x="62" y="338"/>
                  </a:moveTo>
                  <a:lnTo>
                    <a:pt x="62" y="335"/>
                  </a:lnTo>
                  <a:lnTo>
                    <a:pt x="62" y="338"/>
                  </a:lnTo>
                  <a:close/>
                  <a:moveTo>
                    <a:pt x="71" y="338"/>
                  </a:moveTo>
                  <a:lnTo>
                    <a:pt x="71" y="335"/>
                  </a:lnTo>
                  <a:lnTo>
                    <a:pt x="71" y="338"/>
                  </a:lnTo>
                  <a:close/>
                  <a:moveTo>
                    <a:pt x="14" y="338"/>
                  </a:moveTo>
                  <a:lnTo>
                    <a:pt x="14" y="335"/>
                  </a:lnTo>
                  <a:lnTo>
                    <a:pt x="14" y="338"/>
                  </a:lnTo>
                  <a:close/>
                  <a:moveTo>
                    <a:pt x="45" y="335"/>
                  </a:moveTo>
                  <a:lnTo>
                    <a:pt x="45" y="338"/>
                  </a:lnTo>
                  <a:lnTo>
                    <a:pt x="45" y="335"/>
                  </a:lnTo>
                  <a:close/>
                  <a:moveTo>
                    <a:pt x="52" y="335"/>
                  </a:moveTo>
                  <a:lnTo>
                    <a:pt x="52" y="338"/>
                  </a:lnTo>
                  <a:lnTo>
                    <a:pt x="52" y="335"/>
                  </a:lnTo>
                  <a:close/>
                  <a:moveTo>
                    <a:pt x="64" y="335"/>
                  </a:moveTo>
                  <a:lnTo>
                    <a:pt x="64" y="338"/>
                  </a:lnTo>
                  <a:lnTo>
                    <a:pt x="64" y="335"/>
                  </a:lnTo>
                  <a:lnTo>
                    <a:pt x="64" y="338"/>
                  </a:lnTo>
                  <a:lnTo>
                    <a:pt x="64" y="335"/>
                  </a:lnTo>
                  <a:close/>
                  <a:moveTo>
                    <a:pt x="36" y="335"/>
                  </a:moveTo>
                  <a:lnTo>
                    <a:pt x="33" y="335"/>
                  </a:lnTo>
                  <a:lnTo>
                    <a:pt x="36" y="335"/>
                  </a:lnTo>
                  <a:close/>
                  <a:moveTo>
                    <a:pt x="31" y="338"/>
                  </a:moveTo>
                  <a:lnTo>
                    <a:pt x="31" y="335"/>
                  </a:lnTo>
                  <a:lnTo>
                    <a:pt x="31" y="338"/>
                  </a:lnTo>
                  <a:close/>
                  <a:moveTo>
                    <a:pt x="67" y="338"/>
                  </a:moveTo>
                  <a:lnTo>
                    <a:pt x="67" y="335"/>
                  </a:lnTo>
                  <a:lnTo>
                    <a:pt x="67" y="338"/>
                  </a:lnTo>
                  <a:close/>
                  <a:moveTo>
                    <a:pt x="78" y="335"/>
                  </a:moveTo>
                  <a:lnTo>
                    <a:pt x="78" y="338"/>
                  </a:lnTo>
                  <a:lnTo>
                    <a:pt x="78" y="335"/>
                  </a:lnTo>
                  <a:close/>
                  <a:moveTo>
                    <a:pt x="52" y="335"/>
                  </a:moveTo>
                  <a:lnTo>
                    <a:pt x="52" y="338"/>
                  </a:lnTo>
                  <a:lnTo>
                    <a:pt x="52" y="335"/>
                  </a:lnTo>
                  <a:close/>
                  <a:moveTo>
                    <a:pt x="69" y="335"/>
                  </a:moveTo>
                  <a:lnTo>
                    <a:pt x="67" y="335"/>
                  </a:lnTo>
                  <a:lnTo>
                    <a:pt x="69" y="335"/>
                  </a:lnTo>
                  <a:close/>
                  <a:moveTo>
                    <a:pt x="26" y="335"/>
                  </a:moveTo>
                  <a:lnTo>
                    <a:pt x="24" y="335"/>
                  </a:lnTo>
                  <a:lnTo>
                    <a:pt x="26" y="335"/>
                  </a:lnTo>
                  <a:close/>
                  <a:moveTo>
                    <a:pt x="31" y="335"/>
                  </a:moveTo>
                  <a:lnTo>
                    <a:pt x="29" y="335"/>
                  </a:lnTo>
                  <a:lnTo>
                    <a:pt x="31" y="335"/>
                  </a:lnTo>
                  <a:close/>
                  <a:moveTo>
                    <a:pt x="21" y="335"/>
                  </a:moveTo>
                  <a:lnTo>
                    <a:pt x="24" y="335"/>
                  </a:lnTo>
                  <a:lnTo>
                    <a:pt x="21" y="335"/>
                  </a:lnTo>
                  <a:close/>
                  <a:moveTo>
                    <a:pt x="275" y="335"/>
                  </a:moveTo>
                  <a:lnTo>
                    <a:pt x="273" y="335"/>
                  </a:lnTo>
                  <a:lnTo>
                    <a:pt x="275" y="335"/>
                  </a:lnTo>
                  <a:close/>
                  <a:moveTo>
                    <a:pt x="57" y="335"/>
                  </a:moveTo>
                  <a:lnTo>
                    <a:pt x="55" y="335"/>
                  </a:lnTo>
                  <a:lnTo>
                    <a:pt x="57" y="335"/>
                  </a:lnTo>
                  <a:close/>
                  <a:moveTo>
                    <a:pt x="74" y="335"/>
                  </a:moveTo>
                  <a:lnTo>
                    <a:pt x="71" y="335"/>
                  </a:lnTo>
                  <a:lnTo>
                    <a:pt x="74" y="335"/>
                  </a:lnTo>
                  <a:close/>
                  <a:moveTo>
                    <a:pt x="52" y="335"/>
                  </a:moveTo>
                  <a:lnTo>
                    <a:pt x="50" y="335"/>
                  </a:lnTo>
                  <a:lnTo>
                    <a:pt x="52" y="335"/>
                  </a:lnTo>
                  <a:close/>
                  <a:moveTo>
                    <a:pt x="266" y="335"/>
                  </a:moveTo>
                  <a:lnTo>
                    <a:pt x="263" y="335"/>
                  </a:lnTo>
                  <a:lnTo>
                    <a:pt x="266" y="335"/>
                  </a:lnTo>
                  <a:close/>
                  <a:moveTo>
                    <a:pt x="59" y="335"/>
                  </a:moveTo>
                  <a:lnTo>
                    <a:pt x="62" y="335"/>
                  </a:lnTo>
                  <a:lnTo>
                    <a:pt x="59" y="335"/>
                  </a:lnTo>
                  <a:close/>
                  <a:moveTo>
                    <a:pt x="81" y="335"/>
                  </a:moveTo>
                  <a:lnTo>
                    <a:pt x="78" y="335"/>
                  </a:lnTo>
                  <a:lnTo>
                    <a:pt x="81" y="335"/>
                  </a:lnTo>
                  <a:close/>
                  <a:moveTo>
                    <a:pt x="62" y="335"/>
                  </a:moveTo>
                  <a:lnTo>
                    <a:pt x="59" y="335"/>
                  </a:lnTo>
                  <a:lnTo>
                    <a:pt x="62" y="335"/>
                  </a:lnTo>
                  <a:close/>
                  <a:moveTo>
                    <a:pt x="52" y="335"/>
                  </a:moveTo>
                  <a:lnTo>
                    <a:pt x="50" y="335"/>
                  </a:lnTo>
                  <a:lnTo>
                    <a:pt x="52" y="335"/>
                  </a:lnTo>
                  <a:close/>
                  <a:moveTo>
                    <a:pt x="90" y="335"/>
                  </a:moveTo>
                  <a:lnTo>
                    <a:pt x="88" y="335"/>
                  </a:lnTo>
                  <a:lnTo>
                    <a:pt x="90" y="335"/>
                  </a:lnTo>
                  <a:close/>
                  <a:moveTo>
                    <a:pt x="278" y="335"/>
                  </a:moveTo>
                  <a:lnTo>
                    <a:pt x="275" y="335"/>
                  </a:lnTo>
                  <a:lnTo>
                    <a:pt x="278" y="335"/>
                  </a:lnTo>
                  <a:close/>
                  <a:moveTo>
                    <a:pt x="52" y="335"/>
                  </a:moveTo>
                  <a:lnTo>
                    <a:pt x="50" y="335"/>
                  </a:lnTo>
                  <a:lnTo>
                    <a:pt x="52" y="335"/>
                  </a:lnTo>
                  <a:close/>
                  <a:moveTo>
                    <a:pt x="67" y="335"/>
                  </a:moveTo>
                  <a:lnTo>
                    <a:pt x="64" y="335"/>
                  </a:lnTo>
                  <a:lnTo>
                    <a:pt x="67" y="335"/>
                  </a:lnTo>
                  <a:close/>
                  <a:moveTo>
                    <a:pt x="52" y="335"/>
                  </a:moveTo>
                  <a:lnTo>
                    <a:pt x="50" y="335"/>
                  </a:lnTo>
                  <a:lnTo>
                    <a:pt x="52" y="335"/>
                  </a:lnTo>
                  <a:close/>
                  <a:moveTo>
                    <a:pt x="261" y="335"/>
                  </a:moveTo>
                  <a:lnTo>
                    <a:pt x="259" y="335"/>
                  </a:lnTo>
                  <a:lnTo>
                    <a:pt x="261" y="335"/>
                  </a:lnTo>
                  <a:close/>
                  <a:moveTo>
                    <a:pt x="40" y="335"/>
                  </a:moveTo>
                  <a:lnTo>
                    <a:pt x="38" y="335"/>
                  </a:lnTo>
                  <a:lnTo>
                    <a:pt x="40" y="335"/>
                  </a:lnTo>
                  <a:close/>
                  <a:moveTo>
                    <a:pt x="31" y="333"/>
                  </a:moveTo>
                  <a:lnTo>
                    <a:pt x="31" y="335"/>
                  </a:lnTo>
                  <a:lnTo>
                    <a:pt x="31" y="333"/>
                  </a:lnTo>
                  <a:close/>
                  <a:moveTo>
                    <a:pt x="244" y="335"/>
                  </a:moveTo>
                  <a:lnTo>
                    <a:pt x="244" y="333"/>
                  </a:lnTo>
                  <a:lnTo>
                    <a:pt x="244" y="335"/>
                  </a:lnTo>
                  <a:close/>
                  <a:moveTo>
                    <a:pt x="33" y="335"/>
                  </a:moveTo>
                  <a:lnTo>
                    <a:pt x="33" y="333"/>
                  </a:lnTo>
                  <a:lnTo>
                    <a:pt x="33" y="335"/>
                  </a:lnTo>
                  <a:close/>
                  <a:moveTo>
                    <a:pt x="81" y="335"/>
                  </a:moveTo>
                  <a:lnTo>
                    <a:pt x="81" y="333"/>
                  </a:lnTo>
                  <a:lnTo>
                    <a:pt x="81" y="335"/>
                  </a:lnTo>
                  <a:close/>
                  <a:moveTo>
                    <a:pt x="55" y="335"/>
                  </a:moveTo>
                  <a:lnTo>
                    <a:pt x="55" y="333"/>
                  </a:lnTo>
                  <a:lnTo>
                    <a:pt x="55" y="335"/>
                  </a:lnTo>
                  <a:close/>
                  <a:moveTo>
                    <a:pt x="50" y="335"/>
                  </a:moveTo>
                  <a:lnTo>
                    <a:pt x="50" y="333"/>
                  </a:lnTo>
                  <a:lnTo>
                    <a:pt x="50" y="335"/>
                  </a:lnTo>
                  <a:close/>
                  <a:moveTo>
                    <a:pt x="69" y="333"/>
                  </a:moveTo>
                  <a:lnTo>
                    <a:pt x="69" y="335"/>
                  </a:lnTo>
                  <a:lnTo>
                    <a:pt x="69" y="333"/>
                  </a:lnTo>
                  <a:close/>
                  <a:moveTo>
                    <a:pt x="259" y="335"/>
                  </a:moveTo>
                  <a:lnTo>
                    <a:pt x="259" y="333"/>
                  </a:lnTo>
                  <a:lnTo>
                    <a:pt x="259" y="335"/>
                  </a:lnTo>
                  <a:close/>
                  <a:moveTo>
                    <a:pt x="275" y="335"/>
                  </a:moveTo>
                  <a:lnTo>
                    <a:pt x="275" y="333"/>
                  </a:lnTo>
                  <a:lnTo>
                    <a:pt x="275" y="335"/>
                  </a:lnTo>
                  <a:close/>
                  <a:moveTo>
                    <a:pt x="50" y="335"/>
                  </a:moveTo>
                  <a:lnTo>
                    <a:pt x="50" y="333"/>
                  </a:lnTo>
                  <a:lnTo>
                    <a:pt x="50" y="335"/>
                  </a:lnTo>
                  <a:close/>
                  <a:moveTo>
                    <a:pt x="275" y="335"/>
                  </a:moveTo>
                  <a:lnTo>
                    <a:pt x="273" y="335"/>
                  </a:lnTo>
                  <a:lnTo>
                    <a:pt x="273" y="333"/>
                  </a:lnTo>
                  <a:lnTo>
                    <a:pt x="275" y="335"/>
                  </a:lnTo>
                  <a:close/>
                  <a:moveTo>
                    <a:pt x="261" y="333"/>
                  </a:moveTo>
                  <a:lnTo>
                    <a:pt x="261" y="335"/>
                  </a:lnTo>
                  <a:lnTo>
                    <a:pt x="261" y="333"/>
                  </a:lnTo>
                  <a:close/>
                  <a:moveTo>
                    <a:pt x="81" y="335"/>
                  </a:moveTo>
                  <a:lnTo>
                    <a:pt x="81" y="333"/>
                  </a:lnTo>
                  <a:lnTo>
                    <a:pt x="81" y="335"/>
                  </a:lnTo>
                  <a:close/>
                  <a:moveTo>
                    <a:pt x="275" y="335"/>
                  </a:moveTo>
                  <a:lnTo>
                    <a:pt x="275" y="333"/>
                  </a:lnTo>
                  <a:lnTo>
                    <a:pt x="275" y="335"/>
                  </a:lnTo>
                  <a:close/>
                  <a:moveTo>
                    <a:pt x="74" y="335"/>
                  </a:moveTo>
                  <a:lnTo>
                    <a:pt x="74" y="333"/>
                  </a:lnTo>
                  <a:lnTo>
                    <a:pt x="74" y="335"/>
                  </a:lnTo>
                  <a:close/>
                  <a:moveTo>
                    <a:pt x="261" y="333"/>
                  </a:moveTo>
                  <a:lnTo>
                    <a:pt x="259" y="333"/>
                  </a:lnTo>
                  <a:lnTo>
                    <a:pt x="261" y="333"/>
                  </a:lnTo>
                  <a:close/>
                  <a:moveTo>
                    <a:pt x="88" y="333"/>
                  </a:moveTo>
                  <a:lnTo>
                    <a:pt x="88" y="335"/>
                  </a:lnTo>
                  <a:lnTo>
                    <a:pt x="88" y="333"/>
                  </a:lnTo>
                  <a:close/>
                  <a:moveTo>
                    <a:pt x="275" y="335"/>
                  </a:moveTo>
                  <a:lnTo>
                    <a:pt x="275" y="333"/>
                  </a:lnTo>
                  <a:lnTo>
                    <a:pt x="275" y="335"/>
                  </a:lnTo>
                  <a:close/>
                  <a:moveTo>
                    <a:pt x="57" y="333"/>
                  </a:moveTo>
                  <a:lnTo>
                    <a:pt x="57" y="335"/>
                  </a:lnTo>
                  <a:lnTo>
                    <a:pt x="57" y="333"/>
                  </a:lnTo>
                  <a:close/>
                  <a:moveTo>
                    <a:pt x="261" y="333"/>
                  </a:moveTo>
                  <a:lnTo>
                    <a:pt x="261" y="335"/>
                  </a:lnTo>
                  <a:lnTo>
                    <a:pt x="261" y="333"/>
                  </a:lnTo>
                  <a:close/>
                  <a:moveTo>
                    <a:pt x="55" y="333"/>
                  </a:moveTo>
                  <a:lnTo>
                    <a:pt x="57" y="333"/>
                  </a:lnTo>
                  <a:lnTo>
                    <a:pt x="55" y="333"/>
                  </a:lnTo>
                  <a:lnTo>
                    <a:pt x="55" y="335"/>
                  </a:lnTo>
                  <a:lnTo>
                    <a:pt x="55" y="333"/>
                  </a:lnTo>
                  <a:close/>
                  <a:moveTo>
                    <a:pt x="263" y="333"/>
                  </a:moveTo>
                  <a:lnTo>
                    <a:pt x="263" y="335"/>
                  </a:lnTo>
                  <a:lnTo>
                    <a:pt x="263" y="333"/>
                  </a:lnTo>
                  <a:close/>
                  <a:moveTo>
                    <a:pt x="67" y="333"/>
                  </a:moveTo>
                  <a:lnTo>
                    <a:pt x="67" y="335"/>
                  </a:lnTo>
                  <a:lnTo>
                    <a:pt x="67" y="333"/>
                  </a:lnTo>
                  <a:close/>
                  <a:moveTo>
                    <a:pt x="67" y="333"/>
                  </a:moveTo>
                  <a:lnTo>
                    <a:pt x="64" y="333"/>
                  </a:lnTo>
                  <a:lnTo>
                    <a:pt x="67" y="333"/>
                  </a:lnTo>
                  <a:close/>
                  <a:moveTo>
                    <a:pt x="83" y="333"/>
                  </a:moveTo>
                  <a:lnTo>
                    <a:pt x="81" y="333"/>
                  </a:lnTo>
                  <a:lnTo>
                    <a:pt x="83" y="333"/>
                  </a:lnTo>
                  <a:close/>
                  <a:moveTo>
                    <a:pt x="52" y="333"/>
                  </a:moveTo>
                  <a:lnTo>
                    <a:pt x="50" y="333"/>
                  </a:lnTo>
                  <a:lnTo>
                    <a:pt x="52" y="333"/>
                  </a:lnTo>
                  <a:close/>
                  <a:moveTo>
                    <a:pt x="57" y="333"/>
                  </a:moveTo>
                  <a:lnTo>
                    <a:pt x="55" y="333"/>
                  </a:lnTo>
                  <a:lnTo>
                    <a:pt x="57" y="333"/>
                  </a:lnTo>
                  <a:close/>
                  <a:moveTo>
                    <a:pt x="252" y="333"/>
                  </a:moveTo>
                  <a:lnTo>
                    <a:pt x="254" y="333"/>
                  </a:lnTo>
                  <a:lnTo>
                    <a:pt x="252" y="333"/>
                  </a:lnTo>
                  <a:close/>
                  <a:moveTo>
                    <a:pt x="33" y="333"/>
                  </a:moveTo>
                  <a:lnTo>
                    <a:pt x="31" y="333"/>
                  </a:lnTo>
                  <a:lnTo>
                    <a:pt x="33" y="333"/>
                  </a:lnTo>
                  <a:close/>
                  <a:moveTo>
                    <a:pt x="57" y="333"/>
                  </a:moveTo>
                  <a:lnTo>
                    <a:pt x="55" y="333"/>
                  </a:lnTo>
                  <a:lnTo>
                    <a:pt x="57" y="333"/>
                  </a:lnTo>
                  <a:close/>
                  <a:moveTo>
                    <a:pt x="52" y="333"/>
                  </a:moveTo>
                  <a:lnTo>
                    <a:pt x="50" y="333"/>
                  </a:lnTo>
                  <a:lnTo>
                    <a:pt x="52" y="333"/>
                  </a:lnTo>
                  <a:close/>
                  <a:moveTo>
                    <a:pt x="40" y="333"/>
                  </a:moveTo>
                  <a:lnTo>
                    <a:pt x="38" y="333"/>
                  </a:lnTo>
                  <a:lnTo>
                    <a:pt x="40" y="333"/>
                  </a:lnTo>
                  <a:close/>
                  <a:moveTo>
                    <a:pt x="88" y="333"/>
                  </a:moveTo>
                  <a:lnTo>
                    <a:pt x="86" y="333"/>
                  </a:lnTo>
                  <a:lnTo>
                    <a:pt x="88" y="333"/>
                  </a:lnTo>
                  <a:close/>
                  <a:moveTo>
                    <a:pt x="50" y="333"/>
                  </a:moveTo>
                  <a:lnTo>
                    <a:pt x="48" y="333"/>
                  </a:lnTo>
                  <a:lnTo>
                    <a:pt x="50" y="333"/>
                  </a:lnTo>
                  <a:close/>
                  <a:moveTo>
                    <a:pt x="271" y="333"/>
                  </a:moveTo>
                  <a:lnTo>
                    <a:pt x="268" y="333"/>
                  </a:lnTo>
                  <a:lnTo>
                    <a:pt x="271" y="333"/>
                  </a:lnTo>
                  <a:close/>
                  <a:moveTo>
                    <a:pt x="59" y="333"/>
                  </a:moveTo>
                  <a:lnTo>
                    <a:pt x="57" y="333"/>
                  </a:lnTo>
                  <a:lnTo>
                    <a:pt x="59" y="333"/>
                  </a:lnTo>
                  <a:close/>
                  <a:moveTo>
                    <a:pt x="263" y="333"/>
                  </a:moveTo>
                  <a:lnTo>
                    <a:pt x="261" y="333"/>
                  </a:lnTo>
                  <a:lnTo>
                    <a:pt x="263" y="333"/>
                  </a:lnTo>
                  <a:close/>
                  <a:moveTo>
                    <a:pt x="52" y="333"/>
                  </a:moveTo>
                  <a:lnTo>
                    <a:pt x="50" y="333"/>
                  </a:lnTo>
                  <a:lnTo>
                    <a:pt x="52" y="333"/>
                  </a:lnTo>
                  <a:close/>
                  <a:moveTo>
                    <a:pt x="52" y="333"/>
                  </a:moveTo>
                  <a:lnTo>
                    <a:pt x="50" y="333"/>
                  </a:lnTo>
                  <a:lnTo>
                    <a:pt x="52" y="333"/>
                  </a:lnTo>
                  <a:close/>
                  <a:moveTo>
                    <a:pt x="62" y="333"/>
                  </a:moveTo>
                  <a:lnTo>
                    <a:pt x="59" y="333"/>
                  </a:lnTo>
                  <a:lnTo>
                    <a:pt x="62" y="333"/>
                  </a:lnTo>
                  <a:close/>
                  <a:moveTo>
                    <a:pt x="64" y="333"/>
                  </a:moveTo>
                  <a:lnTo>
                    <a:pt x="62" y="333"/>
                  </a:lnTo>
                  <a:lnTo>
                    <a:pt x="64" y="333"/>
                  </a:lnTo>
                  <a:close/>
                  <a:moveTo>
                    <a:pt x="256" y="333"/>
                  </a:moveTo>
                  <a:lnTo>
                    <a:pt x="254" y="333"/>
                  </a:lnTo>
                  <a:lnTo>
                    <a:pt x="256" y="333"/>
                  </a:lnTo>
                  <a:close/>
                  <a:moveTo>
                    <a:pt x="74" y="333"/>
                  </a:moveTo>
                  <a:lnTo>
                    <a:pt x="71" y="333"/>
                  </a:lnTo>
                  <a:lnTo>
                    <a:pt x="74" y="333"/>
                  </a:lnTo>
                  <a:close/>
                  <a:moveTo>
                    <a:pt x="52" y="333"/>
                  </a:moveTo>
                  <a:lnTo>
                    <a:pt x="50" y="333"/>
                  </a:lnTo>
                  <a:lnTo>
                    <a:pt x="52" y="333"/>
                  </a:lnTo>
                  <a:close/>
                  <a:moveTo>
                    <a:pt x="78" y="333"/>
                  </a:moveTo>
                  <a:lnTo>
                    <a:pt x="78" y="331"/>
                  </a:lnTo>
                  <a:lnTo>
                    <a:pt x="78" y="333"/>
                  </a:lnTo>
                  <a:close/>
                  <a:moveTo>
                    <a:pt x="254" y="333"/>
                  </a:moveTo>
                  <a:lnTo>
                    <a:pt x="254" y="331"/>
                  </a:lnTo>
                  <a:lnTo>
                    <a:pt x="254" y="333"/>
                  </a:lnTo>
                  <a:close/>
                  <a:moveTo>
                    <a:pt x="76" y="333"/>
                  </a:moveTo>
                  <a:lnTo>
                    <a:pt x="76" y="331"/>
                  </a:lnTo>
                  <a:lnTo>
                    <a:pt x="76" y="333"/>
                  </a:lnTo>
                  <a:close/>
                  <a:moveTo>
                    <a:pt x="40" y="331"/>
                  </a:moveTo>
                  <a:lnTo>
                    <a:pt x="40" y="333"/>
                  </a:lnTo>
                  <a:lnTo>
                    <a:pt x="40" y="331"/>
                  </a:lnTo>
                  <a:close/>
                  <a:moveTo>
                    <a:pt x="52" y="331"/>
                  </a:moveTo>
                  <a:lnTo>
                    <a:pt x="50" y="331"/>
                  </a:lnTo>
                  <a:lnTo>
                    <a:pt x="52" y="331"/>
                  </a:lnTo>
                  <a:close/>
                  <a:moveTo>
                    <a:pt x="88" y="333"/>
                  </a:moveTo>
                  <a:lnTo>
                    <a:pt x="86" y="331"/>
                  </a:lnTo>
                  <a:lnTo>
                    <a:pt x="88" y="333"/>
                  </a:lnTo>
                  <a:close/>
                  <a:moveTo>
                    <a:pt x="55" y="331"/>
                  </a:moveTo>
                  <a:lnTo>
                    <a:pt x="52" y="331"/>
                  </a:lnTo>
                  <a:lnTo>
                    <a:pt x="55" y="331"/>
                  </a:lnTo>
                  <a:close/>
                  <a:moveTo>
                    <a:pt x="52" y="331"/>
                  </a:moveTo>
                  <a:lnTo>
                    <a:pt x="50" y="331"/>
                  </a:lnTo>
                  <a:lnTo>
                    <a:pt x="52" y="331"/>
                  </a:lnTo>
                  <a:close/>
                  <a:moveTo>
                    <a:pt x="57" y="331"/>
                  </a:moveTo>
                  <a:lnTo>
                    <a:pt x="55" y="331"/>
                  </a:lnTo>
                  <a:lnTo>
                    <a:pt x="57" y="331"/>
                  </a:lnTo>
                  <a:close/>
                  <a:moveTo>
                    <a:pt x="52" y="331"/>
                  </a:moveTo>
                  <a:lnTo>
                    <a:pt x="50" y="331"/>
                  </a:lnTo>
                  <a:lnTo>
                    <a:pt x="52" y="331"/>
                  </a:lnTo>
                  <a:close/>
                  <a:moveTo>
                    <a:pt x="62" y="331"/>
                  </a:moveTo>
                  <a:lnTo>
                    <a:pt x="59" y="331"/>
                  </a:lnTo>
                  <a:lnTo>
                    <a:pt x="62" y="331"/>
                  </a:lnTo>
                  <a:close/>
                  <a:moveTo>
                    <a:pt x="74" y="331"/>
                  </a:moveTo>
                  <a:lnTo>
                    <a:pt x="71" y="331"/>
                  </a:lnTo>
                  <a:lnTo>
                    <a:pt x="74" y="331"/>
                  </a:lnTo>
                  <a:close/>
                  <a:moveTo>
                    <a:pt x="59" y="331"/>
                  </a:moveTo>
                  <a:lnTo>
                    <a:pt x="57" y="331"/>
                  </a:lnTo>
                  <a:lnTo>
                    <a:pt x="59" y="331"/>
                  </a:lnTo>
                  <a:close/>
                  <a:moveTo>
                    <a:pt x="64" y="331"/>
                  </a:moveTo>
                  <a:lnTo>
                    <a:pt x="62" y="331"/>
                  </a:lnTo>
                  <a:lnTo>
                    <a:pt x="64" y="331"/>
                  </a:lnTo>
                  <a:close/>
                  <a:moveTo>
                    <a:pt x="59" y="331"/>
                  </a:moveTo>
                  <a:lnTo>
                    <a:pt x="57" y="331"/>
                  </a:lnTo>
                  <a:lnTo>
                    <a:pt x="59" y="331"/>
                  </a:lnTo>
                  <a:close/>
                  <a:moveTo>
                    <a:pt x="59" y="328"/>
                  </a:moveTo>
                  <a:lnTo>
                    <a:pt x="59" y="331"/>
                  </a:lnTo>
                  <a:lnTo>
                    <a:pt x="59" y="328"/>
                  </a:lnTo>
                  <a:close/>
                  <a:moveTo>
                    <a:pt x="52" y="331"/>
                  </a:moveTo>
                  <a:lnTo>
                    <a:pt x="52" y="328"/>
                  </a:lnTo>
                  <a:lnTo>
                    <a:pt x="52" y="331"/>
                  </a:lnTo>
                  <a:close/>
                  <a:moveTo>
                    <a:pt x="74" y="328"/>
                  </a:moveTo>
                  <a:lnTo>
                    <a:pt x="74" y="331"/>
                  </a:lnTo>
                  <a:lnTo>
                    <a:pt x="74" y="328"/>
                  </a:lnTo>
                  <a:close/>
                  <a:moveTo>
                    <a:pt x="74" y="328"/>
                  </a:moveTo>
                  <a:lnTo>
                    <a:pt x="74" y="331"/>
                  </a:lnTo>
                  <a:lnTo>
                    <a:pt x="74" y="328"/>
                  </a:lnTo>
                  <a:close/>
                  <a:moveTo>
                    <a:pt x="62" y="328"/>
                  </a:moveTo>
                  <a:lnTo>
                    <a:pt x="62" y="331"/>
                  </a:lnTo>
                  <a:lnTo>
                    <a:pt x="62" y="328"/>
                  </a:lnTo>
                  <a:close/>
                  <a:moveTo>
                    <a:pt x="278" y="331"/>
                  </a:moveTo>
                  <a:lnTo>
                    <a:pt x="278" y="328"/>
                  </a:lnTo>
                  <a:lnTo>
                    <a:pt x="278" y="331"/>
                  </a:lnTo>
                  <a:close/>
                  <a:moveTo>
                    <a:pt x="81" y="331"/>
                  </a:moveTo>
                  <a:lnTo>
                    <a:pt x="81" y="328"/>
                  </a:lnTo>
                  <a:lnTo>
                    <a:pt x="81" y="331"/>
                  </a:lnTo>
                  <a:close/>
                  <a:moveTo>
                    <a:pt x="55" y="328"/>
                  </a:moveTo>
                  <a:lnTo>
                    <a:pt x="55" y="331"/>
                  </a:lnTo>
                  <a:lnTo>
                    <a:pt x="55" y="328"/>
                  </a:lnTo>
                  <a:close/>
                  <a:moveTo>
                    <a:pt x="62" y="331"/>
                  </a:moveTo>
                  <a:lnTo>
                    <a:pt x="62" y="328"/>
                  </a:lnTo>
                  <a:lnTo>
                    <a:pt x="62" y="331"/>
                  </a:lnTo>
                  <a:close/>
                  <a:moveTo>
                    <a:pt x="57" y="331"/>
                  </a:moveTo>
                  <a:lnTo>
                    <a:pt x="57" y="328"/>
                  </a:lnTo>
                  <a:lnTo>
                    <a:pt x="57" y="331"/>
                  </a:lnTo>
                  <a:close/>
                  <a:moveTo>
                    <a:pt x="50" y="328"/>
                  </a:moveTo>
                  <a:lnTo>
                    <a:pt x="50" y="331"/>
                  </a:lnTo>
                  <a:lnTo>
                    <a:pt x="50" y="328"/>
                  </a:lnTo>
                  <a:close/>
                  <a:moveTo>
                    <a:pt x="64" y="331"/>
                  </a:moveTo>
                  <a:lnTo>
                    <a:pt x="64" y="328"/>
                  </a:lnTo>
                  <a:lnTo>
                    <a:pt x="64" y="331"/>
                  </a:lnTo>
                  <a:close/>
                  <a:moveTo>
                    <a:pt x="62" y="328"/>
                  </a:moveTo>
                  <a:lnTo>
                    <a:pt x="62" y="331"/>
                  </a:lnTo>
                  <a:lnTo>
                    <a:pt x="62" y="328"/>
                  </a:lnTo>
                  <a:close/>
                  <a:moveTo>
                    <a:pt x="78" y="331"/>
                  </a:moveTo>
                  <a:lnTo>
                    <a:pt x="78" y="328"/>
                  </a:lnTo>
                  <a:lnTo>
                    <a:pt x="78" y="331"/>
                  </a:lnTo>
                  <a:close/>
                  <a:moveTo>
                    <a:pt x="71" y="328"/>
                  </a:moveTo>
                  <a:lnTo>
                    <a:pt x="69" y="328"/>
                  </a:lnTo>
                  <a:lnTo>
                    <a:pt x="71" y="328"/>
                  </a:lnTo>
                  <a:close/>
                  <a:moveTo>
                    <a:pt x="59" y="328"/>
                  </a:moveTo>
                  <a:lnTo>
                    <a:pt x="57" y="328"/>
                  </a:lnTo>
                  <a:lnTo>
                    <a:pt x="59" y="328"/>
                  </a:lnTo>
                  <a:close/>
                  <a:moveTo>
                    <a:pt x="64" y="328"/>
                  </a:moveTo>
                  <a:lnTo>
                    <a:pt x="62" y="328"/>
                  </a:lnTo>
                  <a:lnTo>
                    <a:pt x="64" y="328"/>
                  </a:lnTo>
                  <a:close/>
                  <a:moveTo>
                    <a:pt x="62" y="326"/>
                  </a:moveTo>
                  <a:lnTo>
                    <a:pt x="62" y="328"/>
                  </a:lnTo>
                  <a:lnTo>
                    <a:pt x="62" y="326"/>
                  </a:lnTo>
                  <a:close/>
                  <a:moveTo>
                    <a:pt x="52" y="328"/>
                  </a:moveTo>
                  <a:lnTo>
                    <a:pt x="52" y="326"/>
                  </a:lnTo>
                  <a:lnTo>
                    <a:pt x="52" y="328"/>
                  </a:lnTo>
                  <a:close/>
                  <a:moveTo>
                    <a:pt x="62" y="328"/>
                  </a:moveTo>
                  <a:lnTo>
                    <a:pt x="62" y="326"/>
                  </a:lnTo>
                  <a:lnTo>
                    <a:pt x="62" y="328"/>
                  </a:lnTo>
                  <a:close/>
                  <a:moveTo>
                    <a:pt x="81" y="326"/>
                  </a:moveTo>
                  <a:lnTo>
                    <a:pt x="81" y="328"/>
                  </a:lnTo>
                  <a:lnTo>
                    <a:pt x="81" y="326"/>
                  </a:lnTo>
                  <a:close/>
                  <a:moveTo>
                    <a:pt x="52" y="326"/>
                  </a:moveTo>
                  <a:lnTo>
                    <a:pt x="50" y="326"/>
                  </a:lnTo>
                  <a:lnTo>
                    <a:pt x="52" y="326"/>
                  </a:lnTo>
                  <a:close/>
                  <a:moveTo>
                    <a:pt x="69" y="326"/>
                  </a:moveTo>
                  <a:lnTo>
                    <a:pt x="67" y="326"/>
                  </a:lnTo>
                  <a:lnTo>
                    <a:pt x="69" y="326"/>
                  </a:lnTo>
                  <a:close/>
                  <a:moveTo>
                    <a:pt x="62" y="326"/>
                  </a:moveTo>
                  <a:lnTo>
                    <a:pt x="64" y="326"/>
                  </a:lnTo>
                  <a:lnTo>
                    <a:pt x="62" y="326"/>
                  </a:lnTo>
                  <a:close/>
                  <a:moveTo>
                    <a:pt x="64" y="326"/>
                  </a:moveTo>
                  <a:lnTo>
                    <a:pt x="64" y="323"/>
                  </a:lnTo>
                  <a:lnTo>
                    <a:pt x="64" y="326"/>
                  </a:lnTo>
                  <a:close/>
                  <a:moveTo>
                    <a:pt x="64" y="323"/>
                  </a:moveTo>
                  <a:lnTo>
                    <a:pt x="64" y="326"/>
                  </a:lnTo>
                  <a:lnTo>
                    <a:pt x="64" y="323"/>
                  </a:lnTo>
                  <a:close/>
                  <a:moveTo>
                    <a:pt x="55" y="323"/>
                  </a:moveTo>
                  <a:lnTo>
                    <a:pt x="55" y="326"/>
                  </a:lnTo>
                  <a:lnTo>
                    <a:pt x="55" y="323"/>
                  </a:lnTo>
                  <a:close/>
                  <a:moveTo>
                    <a:pt x="69" y="323"/>
                  </a:moveTo>
                  <a:lnTo>
                    <a:pt x="69" y="326"/>
                  </a:lnTo>
                  <a:lnTo>
                    <a:pt x="69" y="323"/>
                  </a:lnTo>
                  <a:close/>
                  <a:moveTo>
                    <a:pt x="64" y="323"/>
                  </a:moveTo>
                  <a:lnTo>
                    <a:pt x="62" y="323"/>
                  </a:lnTo>
                  <a:lnTo>
                    <a:pt x="64" y="323"/>
                  </a:lnTo>
                  <a:close/>
                  <a:moveTo>
                    <a:pt x="62" y="323"/>
                  </a:moveTo>
                  <a:lnTo>
                    <a:pt x="59" y="323"/>
                  </a:lnTo>
                  <a:lnTo>
                    <a:pt x="62" y="323"/>
                  </a:lnTo>
                  <a:close/>
                  <a:moveTo>
                    <a:pt x="62" y="323"/>
                  </a:moveTo>
                  <a:lnTo>
                    <a:pt x="62" y="321"/>
                  </a:lnTo>
                  <a:lnTo>
                    <a:pt x="62" y="323"/>
                  </a:lnTo>
                  <a:close/>
                  <a:moveTo>
                    <a:pt x="62" y="321"/>
                  </a:moveTo>
                  <a:lnTo>
                    <a:pt x="59" y="321"/>
                  </a:lnTo>
                  <a:lnTo>
                    <a:pt x="62" y="321"/>
                  </a:lnTo>
                  <a:close/>
                  <a:moveTo>
                    <a:pt x="67" y="321"/>
                  </a:moveTo>
                  <a:lnTo>
                    <a:pt x="64" y="321"/>
                  </a:lnTo>
                  <a:lnTo>
                    <a:pt x="67" y="321"/>
                  </a:lnTo>
                  <a:close/>
                  <a:moveTo>
                    <a:pt x="69" y="321"/>
                  </a:moveTo>
                  <a:lnTo>
                    <a:pt x="71" y="321"/>
                  </a:lnTo>
                  <a:lnTo>
                    <a:pt x="69" y="321"/>
                  </a:lnTo>
                  <a:close/>
                  <a:moveTo>
                    <a:pt x="64" y="321"/>
                  </a:moveTo>
                  <a:lnTo>
                    <a:pt x="64" y="319"/>
                  </a:lnTo>
                  <a:lnTo>
                    <a:pt x="64" y="321"/>
                  </a:lnTo>
                  <a:close/>
                  <a:moveTo>
                    <a:pt x="64" y="321"/>
                  </a:moveTo>
                  <a:lnTo>
                    <a:pt x="64" y="319"/>
                  </a:lnTo>
                  <a:lnTo>
                    <a:pt x="64" y="321"/>
                  </a:lnTo>
                  <a:close/>
                  <a:moveTo>
                    <a:pt x="64" y="321"/>
                  </a:moveTo>
                  <a:lnTo>
                    <a:pt x="64" y="319"/>
                  </a:lnTo>
                  <a:lnTo>
                    <a:pt x="64" y="321"/>
                  </a:lnTo>
                  <a:close/>
                  <a:moveTo>
                    <a:pt x="64" y="321"/>
                  </a:moveTo>
                  <a:lnTo>
                    <a:pt x="64" y="319"/>
                  </a:lnTo>
                  <a:lnTo>
                    <a:pt x="64" y="321"/>
                  </a:lnTo>
                  <a:close/>
                  <a:moveTo>
                    <a:pt x="64" y="321"/>
                  </a:moveTo>
                  <a:lnTo>
                    <a:pt x="64" y="319"/>
                  </a:lnTo>
                  <a:lnTo>
                    <a:pt x="64" y="321"/>
                  </a:lnTo>
                  <a:close/>
                  <a:moveTo>
                    <a:pt x="67" y="321"/>
                  </a:moveTo>
                  <a:lnTo>
                    <a:pt x="67" y="319"/>
                  </a:lnTo>
                  <a:lnTo>
                    <a:pt x="67" y="321"/>
                  </a:lnTo>
                  <a:close/>
                  <a:moveTo>
                    <a:pt x="69" y="319"/>
                  </a:moveTo>
                  <a:lnTo>
                    <a:pt x="67" y="319"/>
                  </a:lnTo>
                  <a:lnTo>
                    <a:pt x="69" y="319"/>
                  </a:lnTo>
                  <a:close/>
                  <a:moveTo>
                    <a:pt x="64" y="319"/>
                  </a:moveTo>
                  <a:lnTo>
                    <a:pt x="62" y="319"/>
                  </a:lnTo>
                  <a:lnTo>
                    <a:pt x="64" y="319"/>
                  </a:lnTo>
                  <a:close/>
                  <a:moveTo>
                    <a:pt x="67" y="319"/>
                  </a:moveTo>
                  <a:lnTo>
                    <a:pt x="64" y="319"/>
                  </a:lnTo>
                  <a:lnTo>
                    <a:pt x="67" y="319"/>
                  </a:lnTo>
                  <a:close/>
                  <a:moveTo>
                    <a:pt x="62" y="319"/>
                  </a:moveTo>
                  <a:lnTo>
                    <a:pt x="59" y="319"/>
                  </a:lnTo>
                  <a:lnTo>
                    <a:pt x="62" y="319"/>
                  </a:lnTo>
                  <a:close/>
                  <a:moveTo>
                    <a:pt x="69" y="319"/>
                  </a:moveTo>
                  <a:lnTo>
                    <a:pt x="67" y="319"/>
                  </a:lnTo>
                  <a:lnTo>
                    <a:pt x="67" y="316"/>
                  </a:lnTo>
                  <a:lnTo>
                    <a:pt x="69" y="319"/>
                  </a:lnTo>
                  <a:close/>
                  <a:moveTo>
                    <a:pt x="64" y="319"/>
                  </a:moveTo>
                  <a:lnTo>
                    <a:pt x="64" y="316"/>
                  </a:lnTo>
                  <a:lnTo>
                    <a:pt x="64" y="319"/>
                  </a:lnTo>
                  <a:close/>
                  <a:moveTo>
                    <a:pt x="67" y="319"/>
                  </a:moveTo>
                  <a:lnTo>
                    <a:pt x="67" y="316"/>
                  </a:lnTo>
                  <a:lnTo>
                    <a:pt x="67" y="319"/>
                  </a:lnTo>
                  <a:close/>
                  <a:moveTo>
                    <a:pt x="69" y="319"/>
                  </a:moveTo>
                  <a:lnTo>
                    <a:pt x="69" y="316"/>
                  </a:lnTo>
                  <a:lnTo>
                    <a:pt x="69" y="319"/>
                  </a:lnTo>
                  <a:close/>
                  <a:moveTo>
                    <a:pt x="62" y="316"/>
                  </a:moveTo>
                  <a:lnTo>
                    <a:pt x="59" y="316"/>
                  </a:lnTo>
                  <a:lnTo>
                    <a:pt x="62" y="316"/>
                  </a:lnTo>
                  <a:close/>
                  <a:moveTo>
                    <a:pt x="62" y="316"/>
                  </a:moveTo>
                  <a:lnTo>
                    <a:pt x="59" y="316"/>
                  </a:lnTo>
                  <a:lnTo>
                    <a:pt x="62" y="316"/>
                  </a:lnTo>
                  <a:close/>
                  <a:moveTo>
                    <a:pt x="64" y="316"/>
                  </a:moveTo>
                  <a:lnTo>
                    <a:pt x="62" y="316"/>
                  </a:lnTo>
                  <a:lnTo>
                    <a:pt x="64" y="316"/>
                  </a:lnTo>
                  <a:close/>
                  <a:moveTo>
                    <a:pt x="69" y="316"/>
                  </a:moveTo>
                  <a:lnTo>
                    <a:pt x="67" y="316"/>
                  </a:lnTo>
                  <a:lnTo>
                    <a:pt x="69" y="316"/>
                  </a:lnTo>
                  <a:close/>
                  <a:moveTo>
                    <a:pt x="59" y="314"/>
                  </a:moveTo>
                  <a:lnTo>
                    <a:pt x="59" y="316"/>
                  </a:lnTo>
                  <a:lnTo>
                    <a:pt x="59" y="314"/>
                  </a:lnTo>
                  <a:close/>
                  <a:moveTo>
                    <a:pt x="59" y="314"/>
                  </a:moveTo>
                  <a:lnTo>
                    <a:pt x="59" y="316"/>
                  </a:lnTo>
                  <a:lnTo>
                    <a:pt x="59" y="314"/>
                  </a:lnTo>
                  <a:close/>
                  <a:moveTo>
                    <a:pt x="67" y="314"/>
                  </a:moveTo>
                  <a:lnTo>
                    <a:pt x="67" y="316"/>
                  </a:lnTo>
                  <a:lnTo>
                    <a:pt x="67" y="314"/>
                  </a:lnTo>
                  <a:lnTo>
                    <a:pt x="67" y="316"/>
                  </a:lnTo>
                  <a:lnTo>
                    <a:pt x="67" y="314"/>
                  </a:lnTo>
                  <a:close/>
                  <a:moveTo>
                    <a:pt x="62" y="314"/>
                  </a:moveTo>
                  <a:lnTo>
                    <a:pt x="59" y="314"/>
                  </a:lnTo>
                  <a:lnTo>
                    <a:pt x="62" y="314"/>
                  </a:lnTo>
                  <a:close/>
                  <a:moveTo>
                    <a:pt x="67" y="314"/>
                  </a:moveTo>
                  <a:lnTo>
                    <a:pt x="64" y="314"/>
                  </a:lnTo>
                  <a:lnTo>
                    <a:pt x="67" y="314"/>
                  </a:lnTo>
                  <a:close/>
                  <a:moveTo>
                    <a:pt x="64" y="314"/>
                  </a:moveTo>
                  <a:lnTo>
                    <a:pt x="64" y="312"/>
                  </a:lnTo>
                  <a:lnTo>
                    <a:pt x="64" y="314"/>
                  </a:lnTo>
                  <a:close/>
                  <a:moveTo>
                    <a:pt x="64" y="312"/>
                  </a:moveTo>
                  <a:lnTo>
                    <a:pt x="64" y="314"/>
                  </a:lnTo>
                  <a:lnTo>
                    <a:pt x="64" y="312"/>
                  </a:lnTo>
                  <a:close/>
                  <a:moveTo>
                    <a:pt x="69" y="312"/>
                  </a:moveTo>
                  <a:lnTo>
                    <a:pt x="69" y="309"/>
                  </a:lnTo>
                  <a:lnTo>
                    <a:pt x="69" y="312"/>
                  </a:lnTo>
                  <a:close/>
                  <a:moveTo>
                    <a:pt x="62" y="309"/>
                  </a:moveTo>
                  <a:lnTo>
                    <a:pt x="64" y="309"/>
                  </a:lnTo>
                  <a:lnTo>
                    <a:pt x="62" y="309"/>
                  </a:lnTo>
                  <a:close/>
                  <a:moveTo>
                    <a:pt x="62" y="312"/>
                  </a:moveTo>
                  <a:lnTo>
                    <a:pt x="62" y="309"/>
                  </a:lnTo>
                  <a:lnTo>
                    <a:pt x="62" y="312"/>
                  </a:lnTo>
                  <a:close/>
                  <a:moveTo>
                    <a:pt x="67" y="309"/>
                  </a:moveTo>
                  <a:lnTo>
                    <a:pt x="64" y="309"/>
                  </a:lnTo>
                  <a:lnTo>
                    <a:pt x="67" y="309"/>
                  </a:lnTo>
                  <a:close/>
                  <a:moveTo>
                    <a:pt x="67" y="309"/>
                  </a:moveTo>
                  <a:lnTo>
                    <a:pt x="64" y="309"/>
                  </a:lnTo>
                  <a:lnTo>
                    <a:pt x="67" y="309"/>
                  </a:lnTo>
                  <a:close/>
                  <a:moveTo>
                    <a:pt x="62" y="309"/>
                  </a:moveTo>
                  <a:lnTo>
                    <a:pt x="59" y="307"/>
                  </a:lnTo>
                  <a:lnTo>
                    <a:pt x="62" y="309"/>
                  </a:lnTo>
                  <a:close/>
                  <a:moveTo>
                    <a:pt x="67" y="307"/>
                  </a:moveTo>
                  <a:lnTo>
                    <a:pt x="67" y="309"/>
                  </a:lnTo>
                  <a:lnTo>
                    <a:pt x="67" y="307"/>
                  </a:lnTo>
                  <a:close/>
                  <a:moveTo>
                    <a:pt x="64" y="307"/>
                  </a:moveTo>
                  <a:lnTo>
                    <a:pt x="62" y="307"/>
                  </a:lnTo>
                  <a:lnTo>
                    <a:pt x="64" y="307"/>
                  </a:lnTo>
                  <a:close/>
                  <a:moveTo>
                    <a:pt x="62" y="304"/>
                  </a:moveTo>
                  <a:lnTo>
                    <a:pt x="62" y="307"/>
                  </a:lnTo>
                  <a:lnTo>
                    <a:pt x="62" y="304"/>
                  </a:lnTo>
                  <a:close/>
                  <a:moveTo>
                    <a:pt x="64" y="304"/>
                  </a:moveTo>
                  <a:lnTo>
                    <a:pt x="62" y="304"/>
                  </a:lnTo>
                  <a:lnTo>
                    <a:pt x="64" y="304"/>
                  </a:lnTo>
                  <a:close/>
                  <a:moveTo>
                    <a:pt x="67" y="300"/>
                  </a:moveTo>
                  <a:lnTo>
                    <a:pt x="64" y="300"/>
                  </a:lnTo>
                  <a:lnTo>
                    <a:pt x="67" y="300"/>
                  </a:lnTo>
                  <a:close/>
                  <a:moveTo>
                    <a:pt x="69" y="300"/>
                  </a:moveTo>
                  <a:lnTo>
                    <a:pt x="67" y="300"/>
                  </a:lnTo>
                  <a:lnTo>
                    <a:pt x="69" y="300"/>
                  </a:lnTo>
                  <a:close/>
                  <a:moveTo>
                    <a:pt x="71" y="300"/>
                  </a:moveTo>
                  <a:lnTo>
                    <a:pt x="69" y="300"/>
                  </a:lnTo>
                  <a:lnTo>
                    <a:pt x="71" y="300"/>
                  </a:lnTo>
                  <a:close/>
                  <a:moveTo>
                    <a:pt x="67" y="300"/>
                  </a:moveTo>
                  <a:lnTo>
                    <a:pt x="67" y="297"/>
                  </a:lnTo>
                  <a:lnTo>
                    <a:pt x="67" y="300"/>
                  </a:lnTo>
                  <a:close/>
                  <a:moveTo>
                    <a:pt x="69" y="300"/>
                  </a:moveTo>
                  <a:lnTo>
                    <a:pt x="69" y="297"/>
                  </a:lnTo>
                  <a:lnTo>
                    <a:pt x="69" y="300"/>
                  </a:lnTo>
                  <a:close/>
                  <a:moveTo>
                    <a:pt x="69" y="300"/>
                  </a:moveTo>
                  <a:lnTo>
                    <a:pt x="69" y="297"/>
                  </a:lnTo>
                  <a:lnTo>
                    <a:pt x="69" y="300"/>
                  </a:lnTo>
                  <a:close/>
                  <a:moveTo>
                    <a:pt x="71" y="297"/>
                  </a:moveTo>
                  <a:lnTo>
                    <a:pt x="71" y="300"/>
                  </a:lnTo>
                  <a:lnTo>
                    <a:pt x="71" y="297"/>
                  </a:lnTo>
                  <a:close/>
                  <a:moveTo>
                    <a:pt x="69" y="297"/>
                  </a:moveTo>
                  <a:lnTo>
                    <a:pt x="67" y="297"/>
                  </a:lnTo>
                  <a:lnTo>
                    <a:pt x="69" y="297"/>
                  </a:lnTo>
                  <a:close/>
                  <a:moveTo>
                    <a:pt x="69" y="297"/>
                  </a:moveTo>
                  <a:lnTo>
                    <a:pt x="67" y="297"/>
                  </a:lnTo>
                  <a:lnTo>
                    <a:pt x="69" y="297"/>
                  </a:lnTo>
                  <a:close/>
                  <a:moveTo>
                    <a:pt x="71" y="297"/>
                  </a:moveTo>
                  <a:lnTo>
                    <a:pt x="69" y="297"/>
                  </a:lnTo>
                  <a:lnTo>
                    <a:pt x="71" y="297"/>
                  </a:lnTo>
                  <a:close/>
                  <a:moveTo>
                    <a:pt x="71" y="297"/>
                  </a:moveTo>
                  <a:lnTo>
                    <a:pt x="69" y="297"/>
                  </a:lnTo>
                  <a:lnTo>
                    <a:pt x="71" y="297"/>
                  </a:lnTo>
                  <a:close/>
                  <a:moveTo>
                    <a:pt x="69" y="297"/>
                  </a:moveTo>
                  <a:lnTo>
                    <a:pt x="71" y="297"/>
                  </a:lnTo>
                  <a:lnTo>
                    <a:pt x="69" y="297"/>
                  </a:lnTo>
                  <a:close/>
                  <a:moveTo>
                    <a:pt x="71" y="297"/>
                  </a:moveTo>
                  <a:lnTo>
                    <a:pt x="69" y="297"/>
                  </a:lnTo>
                  <a:lnTo>
                    <a:pt x="71" y="297"/>
                  </a:lnTo>
                  <a:close/>
                  <a:moveTo>
                    <a:pt x="69" y="295"/>
                  </a:moveTo>
                  <a:lnTo>
                    <a:pt x="69" y="293"/>
                  </a:lnTo>
                  <a:lnTo>
                    <a:pt x="69" y="295"/>
                  </a:lnTo>
                  <a:close/>
                  <a:moveTo>
                    <a:pt x="74" y="295"/>
                  </a:moveTo>
                  <a:lnTo>
                    <a:pt x="74" y="293"/>
                  </a:lnTo>
                  <a:lnTo>
                    <a:pt x="74" y="295"/>
                  </a:lnTo>
                  <a:close/>
                  <a:moveTo>
                    <a:pt x="69" y="290"/>
                  </a:moveTo>
                  <a:lnTo>
                    <a:pt x="69" y="293"/>
                  </a:lnTo>
                  <a:lnTo>
                    <a:pt x="69" y="290"/>
                  </a:lnTo>
                  <a:close/>
                  <a:moveTo>
                    <a:pt x="71" y="288"/>
                  </a:moveTo>
                  <a:lnTo>
                    <a:pt x="69" y="288"/>
                  </a:lnTo>
                  <a:lnTo>
                    <a:pt x="71" y="288"/>
                  </a:lnTo>
                  <a:close/>
                  <a:moveTo>
                    <a:pt x="69" y="285"/>
                  </a:moveTo>
                  <a:lnTo>
                    <a:pt x="69" y="288"/>
                  </a:lnTo>
                  <a:lnTo>
                    <a:pt x="69" y="285"/>
                  </a:lnTo>
                  <a:close/>
                  <a:moveTo>
                    <a:pt x="74" y="285"/>
                  </a:moveTo>
                  <a:lnTo>
                    <a:pt x="71" y="285"/>
                  </a:lnTo>
                  <a:lnTo>
                    <a:pt x="74" y="285"/>
                  </a:lnTo>
                  <a:close/>
                  <a:moveTo>
                    <a:pt x="71" y="285"/>
                  </a:moveTo>
                  <a:lnTo>
                    <a:pt x="69" y="285"/>
                  </a:lnTo>
                  <a:lnTo>
                    <a:pt x="71" y="285"/>
                  </a:lnTo>
                  <a:close/>
                  <a:moveTo>
                    <a:pt x="69" y="285"/>
                  </a:moveTo>
                  <a:lnTo>
                    <a:pt x="67" y="285"/>
                  </a:lnTo>
                  <a:lnTo>
                    <a:pt x="69" y="285"/>
                  </a:lnTo>
                  <a:close/>
                  <a:moveTo>
                    <a:pt x="74" y="285"/>
                  </a:moveTo>
                  <a:lnTo>
                    <a:pt x="71" y="285"/>
                  </a:lnTo>
                  <a:lnTo>
                    <a:pt x="74" y="285"/>
                  </a:lnTo>
                  <a:close/>
                  <a:moveTo>
                    <a:pt x="71" y="285"/>
                  </a:moveTo>
                  <a:lnTo>
                    <a:pt x="69" y="285"/>
                  </a:lnTo>
                  <a:lnTo>
                    <a:pt x="71" y="285"/>
                  </a:lnTo>
                  <a:close/>
                  <a:moveTo>
                    <a:pt x="71" y="285"/>
                  </a:moveTo>
                  <a:lnTo>
                    <a:pt x="71" y="283"/>
                  </a:lnTo>
                  <a:lnTo>
                    <a:pt x="71" y="285"/>
                  </a:lnTo>
                  <a:close/>
                  <a:moveTo>
                    <a:pt x="71" y="285"/>
                  </a:moveTo>
                  <a:lnTo>
                    <a:pt x="69" y="285"/>
                  </a:lnTo>
                  <a:lnTo>
                    <a:pt x="69" y="283"/>
                  </a:lnTo>
                  <a:lnTo>
                    <a:pt x="71" y="285"/>
                  </a:lnTo>
                  <a:close/>
                  <a:moveTo>
                    <a:pt x="67" y="285"/>
                  </a:moveTo>
                  <a:lnTo>
                    <a:pt x="67" y="283"/>
                  </a:lnTo>
                  <a:lnTo>
                    <a:pt x="67" y="285"/>
                  </a:lnTo>
                  <a:close/>
                  <a:moveTo>
                    <a:pt x="71" y="283"/>
                  </a:moveTo>
                  <a:lnTo>
                    <a:pt x="74" y="283"/>
                  </a:lnTo>
                  <a:lnTo>
                    <a:pt x="71" y="283"/>
                  </a:lnTo>
                  <a:close/>
                  <a:moveTo>
                    <a:pt x="67" y="283"/>
                  </a:moveTo>
                  <a:lnTo>
                    <a:pt x="64" y="283"/>
                  </a:lnTo>
                  <a:lnTo>
                    <a:pt x="67" y="283"/>
                  </a:lnTo>
                  <a:close/>
                  <a:moveTo>
                    <a:pt x="67" y="283"/>
                  </a:moveTo>
                  <a:lnTo>
                    <a:pt x="69" y="283"/>
                  </a:lnTo>
                  <a:lnTo>
                    <a:pt x="67" y="283"/>
                  </a:lnTo>
                  <a:close/>
                  <a:moveTo>
                    <a:pt x="71" y="278"/>
                  </a:moveTo>
                  <a:lnTo>
                    <a:pt x="69" y="278"/>
                  </a:lnTo>
                  <a:lnTo>
                    <a:pt x="71" y="278"/>
                  </a:lnTo>
                  <a:close/>
                  <a:moveTo>
                    <a:pt x="71" y="276"/>
                  </a:moveTo>
                  <a:lnTo>
                    <a:pt x="71" y="278"/>
                  </a:lnTo>
                  <a:lnTo>
                    <a:pt x="71" y="276"/>
                  </a:lnTo>
                  <a:close/>
                  <a:moveTo>
                    <a:pt x="67" y="274"/>
                  </a:moveTo>
                  <a:lnTo>
                    <a:pt x="69" y="274"/>
                  </a:lnTo>
                  <a:lnTo>
                    <a:pt x="67" y="274"/>
                  </a:lnTo>
                  <a:close/>
                  <a:moveTo>
                    <a:pt x="76" y="274"/>
                  </a:moveTo>
                  <a:lnTo>
                    <a:pt x="76" y="271"/>
                  </a:lnTo>
                  <a:lnTo>
                    <a:pt x="76" y="274"/>
                  </a:lnTo>
                  <a:close/>
                  <a:moveTo>
                    <a:pt x="69" y="271"/>
                  </a:moveTo>
                  <a:lnTo>
                    <a:pt x="67" y="271"/>
                  </a:lnTo>
                  <a:lnTo>
                    <a:pt x="69" y="271"/>
                  </a:lnTo>
                  <a:close/>
                  <a:moveTo>
                    <a:pt x="69" y="269"/>
                  </a:moveTo>
                  <a:lnTo>
                    <a:pt x="69" y="271"/>
                  </a:lnTo>
                  <a:lnTo>
                    <a:pt x="69" y="269"/>
                  </a:lnTo>
                  <a:close/>
                  <a:moveTo>
                    <a:pt x="67" y="269"/>
                  </a:moveTo>
                  <a:lnTo>
                    <a:pt x="67" y="271"/>
                  </a:lnTo>
                  <a:lnTo>
                    <a:pt x="67" y="269"/>
                  </a:lnTo>
                  <a:close/>
                  <a:moveTo>
                    <a:pt x="71" y="269"/>
                  </a:moveTo>
                  <a:lnTo>
                    <a:pt x="74" y="269"/>
                  </a:lnTo>
                  <a:lnTo>
                    <a:pt x="71" y="269"/>
                  </a:lnTo>
                  <a:close/>
                  <a:moveTo>
                    <a:pt x="74" y="269"/>
                  </a:moveTo>
                  <a:lnTo>
                    <a:pt x="71" y="269"/>
                  </a:lnTo>
                  <a:lnTo>
                    <a:pt x="74" y="269"/>
                  </a:lnTo>
                  <a:close/>
                  <a:moveTo>
                    <a:pt x="74" y="269"/>
                  </a:moveTo>
                  <a:lnTo>
                    <a:pt x="71" y="269"/>
                  </a:lnTo>
                  <a:lnTo>
                    <a:pt x="74" y="269"/>
                  </a:lnTo>
                  <a:close/>
                  <a:moveTo>
                    <a:pt x="71" y="269"/>
                  </a:moveTo>
                  <a:lnTo>
                    <a:pt x="69" y="269"/>
                  </a:lnTo>
                  <a:lnTo>
                    <a:pt x="71" y="269"/>
                  </a:lnTo>
                  <a:close/>
                  <a:moveTo>
                    <a:pt x="71" y="269"/>
                  </a:moveTo>
                  <a:lnTo>
                    <a:pt x="71" y="266"/>
                  </a:lnTo>
                  <a:lnTo>
                    <a:pt x="71" y="269"/>
                  </a:lnTo>
                  <a:close/>
                  <a:moveTo>
                    <a:pt x="74" y="266"/>
                  </a:moveTo>
                  <a:lnTo>
                    <a:pt x="71" y="266"/>
                  </a:lnTo>
                  <a:lnTo>
                    <a:pt x="74" y="266"/>
                  </a:lnTo>
                  <a:close/>
                  <a:moveTo>
                    <a:pt x="71" y="264"/>
                  </a:moveTo>
                  <a:lnTo>
                    <a:pt x="71" y="266"/>
                  </a:lnTo>
                  <a:lnTo>
                    <a:pt x="71" y="264"/>
                  </a:lnTo>
                  <a:close/>
                  <a:moveTo>
                    <a:pt x="71" y="264"/>
                  </a:moveTo>
                  <a:lnTo>
                    <a:pt x="69" y="264"/>
                  </a:lnTo>
                  <a:lnTo>
                    <a:pt x="71" y="264"/>
                  </a:lnTo>
                  <a:close/>
                  <a:moveTo>
                    <a:pt x="71" y="264"/>
                  </a:moveTo>
                  <a:lnTo>
                    <a:pt x="69" y="264"/>
                  </a:lnTo>
                  <a:lnTo>
                    <a:pt x="71" y="264"/>
                  </a:lnTo>
                  <a:close/>
                  <a:moveTo>
                    <a:pt x="69" y="264"/>
                  </a:moveTo>
                  <a:lnTo>
                    <a:pt x="69" y="262"/>
                  </a:lnTo>
                  <a:lnTo>
                    <a:pt x="69" y="264"/>
                  </a:lnTo>
                  <a:close/>
                  <a:moveTo>
                    <a:pt x="69" y="262"/>
                  </a:moveTo>
                  <a:lnTo>
                    <a:pt x="69" y="264"/>
                  </a:lnTo>
                  <a:lnTo>
                    <a:pt x="69" y="262"/>
                  </a:lnTo>
                  <a:close/>
                  <a:moveTo>
                    <a:pt x="71" y="264"/>
                  </a:moveTo>
                  <a:lnTo>
                    <a:pt x="71" y="262"/>
                  </a:lnTo>
                  <a:lnTo>
                    <a:pt x="71" y="264"/>
                  </a:lnTo>
                  <a:close/>
                  <a:moveTo>
                    <a:pt x="71" y="262"/>
                  </a:moveTo>
                  <a:lnTo>
                    <a:pt x="69" y="262"/>
                  </a:lnTo>
                  <a:lnTo>
                    <a:pt x="71" y="262"/>
                  </a:lnTo>
                  <a:close/>
                  <a:moveTo>
                    <a:pt x="71" y="262"/>
                  </a:moveTo>
                  <a:lnTo>
                    <a:pt x="69" y="262"/>
                  </a:lnTo>
                  <a:lnTo>
                    <a:pt x="71" y="262"/>
                  </a:lnTo>
                  <a:close/>
                  <a:moveTo>
                    <a:pt x="69" y="262"/>
                  </a:moveTo>
                  <a:lnTo>
                    <a:pt x="69" y="259"/>
                  </a:lnTo>
                  <a:lnTo>
                    <a:pt x="69" y="262"/>
                  </a:lnTo>
                  <a:close/>
                  <a:moveTo>
                    <a:pt x="67" y="259"/>
                  </a:moveTo>
                  <a:lnTo>
                    <a:pt x="67" y="262"/>
                  </a:lnTo>
                  <a:lnTo>
                    <a:pt x="67" y="259"/>
                  </a:lnTo>
                  <a:close/>
                  <a:moveTo>
                    <a:pt x="69" y="259"/>
                  </a:moveTo>
                  <a:lnTo>
                    <a:pt x="69" y="262"/>
                  </a:lnTo>
                  <a:lnTo>
                    <a:pt x="69" y="259"/>
                  </a:lnTo>
                  <a:close/>
                  <a:moveTo>
                    <a:pt x="69" y="257"/>
                  </a:moveTo>
                  <a:lnTo>
                    <a:pt x="67" y="257"/>
                  </a:lnTo>
                  <a:lnTo>
                    <a:pt x="69" y="257"/>
                  </a:lnTo>
                  <a:close/>
                  <a:moveTo>
                    <a:pt x="69" y="257"/>
                  </a:moveTo>
                  <a:lnTo>
                    <a:pt x="67" y="257"/>
                  </a:lnTo>
                  <a:lnTo>
                    <a:pt x="69" y="257"/>
                  </a:lnTo>
                  <a:close/>
                  <a:moveTo>
                    <a:pt x="69" y="257"/>
                  </a:moveTo>
                  <a:lnTo>
                    <a:pt x="69" y="255"/>
                  </a:lnTo>
                  <a:lnTo>
                    <a:pt x="69" y="257"/>
                  </a:lnTo>
                  <a:close/>
                  <a:moveTo>
                    <a:pt x="67" y="252"/>
                  </a:moveTo>
                  <a:lnTo>
                    <a:pt x="67" y="255"/>
                  </a:lnTo>
                  <a:lnTo>
                    <a:pt x="67" y="252"/>
                  </a:lnTo>
                  <a:close/>
                  <a:moveTo>
                    <a:pt x="67" y="252"/>
                  </a:moveTo>
                  <a:lnTo>
                    <a:pt x="64" y="252"/>
                  </a:lnTo>
                  <a:lnTo>
                    <a:pt x="67" y="252"/>
                  </a:lnTo>
                  <a:close/>
                  <a:moveTo>
                    <a:pt x="67" y="252"/>
                  </a:moveTo>
                  <a:lnTo>
                    <a:pt x="64" y="252"/>
                  </a:lnTo>
                  <a:lnTo>
                    <a:pt x="67" y="252"/>
                  </a:lnTo>
                  <a:close/>
                  <a:moveTo>
                    <a:pt x="67" y="250"/>
                  </a:moveTo>
                  <a:lnTo>
                    <a:pt x="64" y="250"/>
                  </a:lnTo>
                  <a:lnTo>
                    <a:pt x="67" y="250"/>
                  </a:lnTo>
                  <a:close/>
                  <a:moveTo>
                    <a:pt x="64" y="247"/>
                  </a:moveTo>
                  <a:lnTo>
                    <a:pt x="64" y="250"/>
                  </a:lnTo>
                  <a:lnTo>
                    <a:pt x="64" y="247"/>
                  </a:lnTo>
                  <a:close/>
                  <a:moveTo>
                    <a:pt x="67" y="247"/>
                  </a:moveTo>
                  <a:lnTo>
                    <a:pt x="64" y="247"/>
                  </a:lnTo>
                  <a:lnTo>
                    <a:pt x="67" y="247"/>
                  </a:lnTo>
                  <a:close/>
                  <a:moveTo>
                    <a:pt x="64" y="245"/>
                  </a:moveTo>
                  <a:lnTo>
                    <a:pt x="64" y="247"/>
                  </a:lnTo>
                  <a:lnTo>
                    <a:pt x="64" y="245"/>
                  </a:lnTo>
                  <a:close/>
                  <a:moveTo>
                    <a:pt x="64" y="247"/>
                  </a:moveTo>
                  <a:lnTo>
                    <a:pt x="64" y="245"/>
                  </a:lnTo>
                  <a:lnTo>
                    <a:pt x="64" y="247"/>
                  </a:lnTo>
                  <a:close/>
                  <a:moveTo>
                    <a:pt x="64" y="245"/>
                  </a:moveTo>
                  <a:lnTo>
                    <a:pt x="64" y="243"/>
                  </a:lnTo>
                  <a:lnTo>
                    <a:pt x="64" y="245"/>
                  </a:lnTo>
                  <a:close/>
                  <a:moveTo>
                    <a:pt x="67" y="240"/>
                  </a:moveTo>
                  <a:lnTo>
                    <a:pt x="64" y="240"/>
                  </a:lnTo>
                  <a:lnTo>
                    <a:pt x="67" y="240"/>
                  </a:lnTo>
                  <a:close/>
                  <a:moveTo>
                    <a:pt x="69" y="240"/>
                  </a:moveTo>
                  <a:lnTo>
                    <a:pt x="69" y="238"/>
                  </a:lnTo>
                  <a:lnTo>
                    <a:pt x="69" y="240"/>
                  </a:lnTo>
                  <a:close/>
                  <a:moveTo>
                    <a:pt x="67" y="238"/>
                  </a:moveTo>
                  <a:lnTo>
                    <a:pt x="67" y="236"/>
                  </a:lnTo>
                  <a:lnTo>
                    <a:pt x="67" y="238"/>
                  </a:lnTo>
                  <a:close/>
                  <a:moveTo>
                    <a:pt x="67" y="238"/>
                  </a:moveTo>
                  <a:lnTo>
                    <a:pt x="67" y="236"/>
                  </a:lnTo>
                  <a:lnTo>
                    <a:pt x="67" y="238"/>
                  </a:lnTo>
                  <a:close/>
                  <a:moveTo>
                    <a:pt x="64" y="233"/>
                  </a:moveTo>
                  <a:lnTo>
                    <a:pt x="64" y="236"/>
                  </a:lnTo>
                  <a:lnTo>
                    <a:pt x="64" y="233"/>
                  </a:lnTo>
                  <a:close/>
                  <a:moveTo>
                    <a:pt x="64" y="233"/>
                  </a:moveTo>
                  <a:lnTo>
                    <a:pt x="62" y="233"/>
                  </a:lnTo>
                  <a:lnTo>
                    <a:pt x="64" y="233"/>
                  </a:lnTo>
                  <a:close/>
                  <a:moveTo>
                    <a:pt x="67" y="233"/>
                  </a:moveTo>
                  <a:lnTo>
                    <a:pt x="64" y="233"/>
                  </a:lnTo>
                  <a:lnTo>
                    <a:pt x="64" y="231"/>
                  </a:lnTo>
                  <a:lnTo>
                    <a:pt x="67" y="233"/>
                  </a:lnTo>
                  <a:close/>
                  <a:moveTo>
                    <a:pt x="62" y="233"/>
                  </a:moveTo>
                  <a:lnTo>
                    <a:pt x="62" y="231"/>
                  </a:lnTo>
                  <a:lnTo>
                    <a:pt x="62" y="233"/>
                  </a:lnTo>
                  <a:close/>
                  <a:moveTo>
                    <a:pt x="62" y="231"/>
                  </a:moveTo>
                  <a:lnTo>
                    <a:pt x="59" y="231"/>
                  </a:lnTo>
                  <a:lnTo>
                    <a:pt x="62" y="231"/>
                  </a:lnTo>
                  <a:close/>
                  <a:moveTo>
                    <a:pt x="62" y="228"/>
                  </a:moveTo>
                  <a:lnTo>
                    <a:pt x="62" y="226"/>
                  </a:lnTo>
                  <a:lnTo>
                    <a:pt x="62" y="228"/>
                  </a:lnTo>
                  <a:close/>
                  <a:moveTo>
                    <a:pt x="59" y="228"/>
                  </a:moveTo>
                  <a:lnTo>
                    <a:pt x="59" y="226"/>
                  </a:lnTo>
                  <a:lnTo>
                    <a:pt x="59" y="228"/>
                  </a:lnTo>
                  <a:close/>
                  <a:moveTo>
                    <a:pt x="62" y="226"/>
                  </a:moveTo>
                  <a:lnTo>
                    <a:pt x="59" y="226"/>
                  </a:lnTo>
                  <a:lnTo>
                    <a:pt x="62" y="226"/>
                  </a:lnTo>
                  <a:close/>
                  <a:moveTo>
                    <a:pt x="59" y="226"/>
                  </a:moveTo>
                  <a:lnTo>
                    <a:pt x="59" y="224"/>
                  </a:lnTo>
                  <a:lnTo>
                    <a:pt x="59" y="226"/>
                  </a:lnTo>
                  <a:close/>
                  <a:moveTo>
                    <a:pt x="62" y="219"/>
                  </a:moveTo>
                  <a:lnTo>
                    <a:pt x="59" y="219"/>
                  </a:lnTo>
                  <a:lnTo>
                    <a:pt x="62" y="219"/>
                  </a:lnTo>
                  <a:lnTo>
                    <a:pt x="59" y="219"/>
                  </a:lnTo>
                  <a:lnTo>
                    <a:pt x="62" y="219"/>
                  </a:lnTo>
                  <a:close/>
                  <a:moveTo>
                    <a:pt x="59" y="214"/>
                  </a:moveTo>
                  <a:lnTo>
                    <a:pt x="57" y="214"/>
                  </a:lnTo>
                  <a:lnTo>
                    <a:pt x="59" y="214"/>
                  </a:lnTo>
                  <a:close/>
                  <a:moveTo>
                    <a:pt x="59" y="214"/>
                  </a:moveTo>
                  <a:lnTo>
                    <a:pt x="59" y="212"/>
                  </a:lnTo>
                  <a:lnTo>
                    <a:pt x="59" y="214"/>
                  </a:lnTo>
                  <a:close/>
                  <a:moveTo>
                    <a:pt x="59" y="207"/>
                  </a:moveTo>
                  <a:lnTo>
                    <a:pt x="59" y="209"/>
                  </a:lnTo>
                  <a:lnTo>
                    <a:pt x="59" y="207"/>
                  </a:lnTo>
                  <a:lnTo>
                    <a:pt x="59" y="209"/>
                  </a:lnTo>
                  <a:lnTo>
                    <a:pt x="59" y="207"/>
                  </a:lnTo>
                  <a:close/>
                  <a:moveTo>
                    <a:pt x="64" y="205"/>
                  </a:moveTo>
                  <a:lnTo>
                    <a:pt x="64" y="202"/>
                  </a:lnTo>
                  <a:lnTo>
                    <a:pt x="64" y="205"/>
                  </a:lnTo>
                  <a:close/>
                  <a:moveTo>
                    <a:pt x="57" y="202"/>
                  </a:moveTo>
                  <a:lnTo>
                    <a:pt x="55" y="202"/>
                  </a:lnTo>
                  <a:lnTo>
                    <a:pt x="57" y="202"/>
                  </a:lnTo>
                  <a:close/>
                  <a:moveTo>
                    <a:pt x="55" y="202"/>
                  </a:moveTo>
                  <a:lnTo>
                    <a:pt x="57" y="202"/>
                  </a:lnTo>
                  <a:lnTo>
                    <a:pt x="55" y="202"/>
                  </a:lnTo>
                  <a:close/>
                  <a:moveTo>
                    <a:pt x="55" y="202"/>
                  </a:moveTo>
                  <a:lnTo>
                    <a:pt x="57" y="202"/>
                  </a:lnTo>
                  <a:lnTo>
                    <a:pt x="55" y="202"/>
                  </a:lnTo>
                  <a:close/>
                  <a:moveTo>
                    <a:pt x="69" y="202"/>
                  </a:moveTo>
                  <a:lnTo>
                    <a:pt x="67" y="202"/>
                  </a:lnTo>
                  <a:lnTo>
                    <a:pt x="69" y="202"/>
                  </a:lnTo>
                  <a:close/>
                  <a:moveTo>
                    <a:pt x="57" y="202"/>
                  </a:moveTo>
                  <a:lnTo>
                    <a:pt x="55" y="202"/>
                  </a:lnTo>
                  <a:lnTo>
                    <a:pt x="57" y="202"/>
                  </a:lnTo>
                  <a:close/>
                  <a:moveTo>
                    <a:pt x="67" y="200"/>
                  </a:moveTo>
                  <a:lnTo>
                    <a:pt x="67" y="202"/>
                  </a:lnTo>
                  <a:lnTo>
                    <a:pt x="67" y="200"/>
                  </a:lnTo>
                  <a:close/>
                  <a:moveTo>
                    <a:pt x="52" y="200"/>
                  </a:moveTo>
                  <a:lnTo>
                    <a:pt x="50" y="200"/>
                  </a:lnTo>
                  <a:lnTo>
                    <a:pt x="52" y="200"/>
                  </a:lnTo>
                  <a:close/>
                  <a:moveTo>
                    <a:pt x="55" y="200"/>
                  </a:moveTo>
                  <a:lnTo>
                    <a:pt x="52" y="200"/>
                  </a:lnTo>
                  <a:lnTo>
                    <a:pt x="55" y="200"/>
                  </a:lnTo>
                  <a:close/>
                  <a:moveTo>
                    <a:pt x="62" y="200"/>
                  </a:moveTo>
                  <a:lnTo>
                    <a:pt x="64" y="200"/>
                  </a:lnTo>
                  <a:lnTo>
                    <a:pt x="62" y="200"/>
                  </a:lnTo>
                  <a:close/>
                  <a:moveTo>
                    <a:pt x="69" y="200"/>
                  </a:moveTo>
                  <a:lnTo>
                    <a:pt x="69" y="198"/>
                  </a:lnTo>
                  <a:lnTo>
                    <a:pt x="69" y="200"/>
                  </a:lnTo>
                  <a:close/>
                  <a:moveTo>
                    <a:pt x="50" y="200"/>
                  </a:moveTo>
                  <a:lnTo>
                    <a:pt x="50" y="198"/>
                  </a:lnTo>
                  <a:lnTo>
                    <a:pt x="50" y="200"/>
                  </a:lnTo>
                  <a:close/>
                  <a:moveTo>
                    <a:pt x="55" y="200"/>
                  </a:moveTo>
                  <a:lnTo>
                    <a:pt x="55" y="198"/>
                  </a:lnTo>
                  <a:lnTo>
                    <a:pt x="55" y="200"/>
                  </a:lnTo>
                  <a:close/>
                  <a:moveTo>
                    <a:pt x="64" y="198"/>
                  </a:moveTo>
                  <a:lnTo>
                    <a:pt x="64" y="200"/>
                  </a:lnTo>
                  <a:lnTo>
                    <a:pt x="64" y="198"/>
                  </a:lnTo>
                  <a:close/>
                  <a:moveTo>
                    <a:pt x="57" y="198"/>
                  </a:moveTo>
                  <a:lnTo>
                    <a:pt x="55" y="198"/>
                  </a:lnTo>
                  <a:lnTo>
                    <a:pt x="57" y="198"/>
                  </a:lnTo>
                  <a:close/>
                  <a:moveTo>
                    <a:pt x="57" y="198"/>
                  </a:moveTo>
                  <a:lnTo>
                    <a:pt x="55" y="198"/>
                  </a:lnTo>
                  <a:lnTo>
                    <a:pt x="57" y="198"/>
                  </a:lnTo>
                  <a:close/>
                  <a:moveTo>
                    <a:pt x="52" y="198"/>
                  </a:moveTo>
                  <a:lnTo>
                    <a:pt x="50" y="198"/>
                  </a:lnTo>
                  <a:lnTo>
                    <a:pt x="52" y="198"/>
                  </a:lnTo>
                  <a:close/>
                  <a:moveTo>
                    <a:pt x="67" y="198"/>
                  </a:moveTo>
                  <a:lnTo>
                    <a:pt x="64" y="198"/>
                  </a:lnTo>
                  <a:lnTo>
                    <a:pt x="67" y="198"/>
                  </a:lnTo>
                  <a:close/>
                  <a:moveTo>
                    <a:pt x="67" y="198"/>
                  </a:moveTo>
                  <a:lnTo>
                    <a:pt x="69" y="198"/>
                  </a:lnTo>
                  <a:lnTo>
                    <a:pt x="67" y="198"/>
                  </a:lnTo>
                  <a:close/>
                  <a:moveTo>
                    <a:pt x="67" y="195"/>
                  </a:moveTo>
                  <a:lnTo>
                    <a:pt x="67" y="198"/>
                  </a:lnTo>
                  <a:lnTo>
                    <a:pt x="67" y="195"/>
                  </a:lnTo>
                  <a:close/>
                  <a:moveTo>
                    <a:pt x="64" y="195"/>
                  </a:moveTo>
                  <a:lnTo>
                    <a:pt x="64" y="198"/>
                  </a:lnTo>
                  <a:lnTo>
                    <a:pt x="64" y="195"/>
                  </a:lnTo>
                  <a:close/>
                  <a:moveTo>
                    <a:pt x="52" y="195"/>
                  </a:moveTo>
                  <a:lnTo>
                    <a:pt x="50" y="195"/>
                  </a:lnTo>
                  <a:lnTo>
                    <a:pt x="52" y="195"/>
                  </a:lnTo>
                  <a:close/>
                  <a:moveTo>
                    <a:pt x="67" y="195"/>
                  </a:moveTo>
                  <a:lnTo>
                    <a:pt x="64" y="195"/>
                  </a:lnTo>
                  <a:lnTo>
                    <a:pt x="67" y="195"/>
                  </a:lnTo>
                  <a:close/>
                  <a:moveTo>
                    <a:pt x="59" y="195"/>
                  </a:moveTo>
                  <a:lnTo>
                    <a:pt x="57" y="195"/>
                  </a:lnTo>
                  <a:lnTo>
                    <a:pt x="59" y="195"/>
                  </a:lnTo>
                  <a:close/>
                  <a:moveTo>
                    <a:pt x="50" y="193"/>
                  </a:moveTo>
                  <a:lnTo>
                    <a:pt x="50" y="195"/>
                  </a:lnTo>
                  <a:lnTo>
                    <a:pt x="50" y="193"/>
                  </a:lnTo>
                  <a:close/>
                  <a:moveTo>
                    <a:pt x="64" y="193"/>
                  </a:moveTo>
                  <a:lnTo>
                    <a:pt x="62" y="193"/>
                  </a:lnTo>
                  <a:lnTo>
                    <a:pt x="64" y="193"/>
                  </a:lnTo>
                  <a:close/>
                  <a:moveTo>
                    <a:pt x="69" y="193"/>
                  </a:moveTo>
                  <a:lnTo>
                    <a:pt x="67" y="193"/>
                  </a:lnTo>
                  <a:lnTo>
                    <a:pt x="69" y="193"/>
                  </a:lnTo>
                  <a:close/>
                  <a:moveTo>
                    <a:pt x="67" y="193"/>
                  </a:moveTo>
                  <a:lnTo>
                    <a:pt x="64" y="193"/>
                  </a:lnTo>
                  <a:lnTo>
                    <a:pt x="67" y="193"/>
                  </a:lnTo>
                  <a:close/>
                  <a:moveTo>
                    <a:pt x="71" y="193"/>
                  </a:moveTo>
                  <a:lnTo>
                    <a:pt x="71" y="190"/>
                  </a:lnTo>
                  <a:lnTo>
                    <a:pt x="71" y="193"/>
                  </a:lnTo>
                  <a:close/>
                  <a:moveTo>
                    <a:pt x="69" y="193"/>
                  </a:moveTo>
                  <a:lnTo>
                    <a:pt x="67" y="193"/>
                  </a:lnTo>
                  <a:lnTo>
                    <a:pt x="67" y="190"/>
                  </a:lnTo>
                  <a:lnTo>
                    <a:pt x="69" y="193"/>
                  </a:lnTo>
                  <a:close/>
                  <a:moveTo>
                    <a:pt x="69" y="193"/>
                  </a:moveTo>
                  <a:lnTo>
                    <a:pt x="69" y="190"/>
                  </a:lnTo>
                  <a:lnTo>
                    <a:pt x="69" y="193"/>
                  </a:lnTo>
                  <a:close/>
                  <a:moveTo>
                    <a:pt x="67" y="190"/>
                  </a:moveTo>
                  <a:lnTo>
                    <a:pt x="67" y="193"/>
                  </a:lnTo>
                  <a:lnTo>
                    <a:pt x="67" y="190"/>
                  </a:lnTo>
                  <a:close/>
                  <a:moveTo>
                    <a:pt x="71" y="193"/>
                  </a:moveTo>
                  <a:lnTo>
                    <a:pt x="71" y="190"/>
                  </a:lnTo>
                  <a:lnTo>
                    <a:pt x="71" y="193"/>
                  </a:lnTo>
                  <a:close/>
                  <a:moveTo>
                    <a:pt x="71" y="190"/>
                  </a:moveTo>
                  <a:lnTo>
                    <a:pt x="71" y="193"/>
                  </a:lnTo>
                  <a:lnTo>
                    <a:pt x="71" y="190"/>
                  </a:lnTo>
                  <a:close/>
                  <a:moveTo>
                    <a:pt x="64" y="190"/>
                  </a:moveTo>
                  <a:lnTo>
                    <a:pt x="67" y="190"/>
                  </a:lnTo>
                  <a:lnTo>
                    <a:pt x="67" y="193"/>
                  </a:lnTo>
                  <a:lnTo>
                    <a:pt x="64" y="193"/>
                  </a:lnTo>
                  <a:lnTo>
                    <a:pt x="64" y="190"/>
                  </a:lnTo>
                  <a:close/>
                  <a:moveTo>
                    <a:pt x="74" y="190"/>
                  </a:moveTo>
                  <a:lnTo>
                    <a:pt x="71" y="190"/>
                  </a:lnTo>
                  <a:lnTo>
                    <a:pt x="74" y="190"/>
                  </a:lnTo>
                  <a:close/>
                  <a:moveTo>
                    <a:pt x="67" y="190"/>
                  </a:moveTo>
                  <a:lnTo>
                    <a:pt x="69" y="190"/>
                  </a:lnTo>
                  <a:lnTo>
                    <a:pt x="67" y="190"/>
                  </a:lnTo>
                  <a:close/>
                  <a:moveTo>
                    <a:pt x="69" y="190"/>
                  </a:moveTo>
                  <a:lnTo>
                    <a:pt x="67" y="190"/>
                  </a:lnTo>
                  <a:lnTo>
                    <a:pt x="69" y="190"/>
                  </a:lnTo>
                  <a:close/>
                  <a:moveTo>
                    <a:pt x="71" y="190"/>
                  </a:moveTo>
                  <a:lnTo>
                    <a:pt x="69" y="190"/>
                  </a:lnTo>
                  <a:lnTo>
                    <a:pt x="71" y="190"/>
                  </a:lnTo>
                  <a:close/>
                  <a:moveTo>
                    <a:pt x="71" y="190"/>
                  </a:moveTo>
                  <a:lnTo>
                    <a:pt x="71" y="188"/>
                  </a:lnTo>
                  <a:lnTo>
                    <a:pt x="71" y="190"/>
                  </a:lnTo>
                  <a:close/>
                  <a:moveTo>
                    <a:pt x="71" y="190"/>
                  </a:moveTo>
                  <a:lnTo>
                    <a:pt x="71" y="188"/>
                  </a:lnTo>
                  <a:lnTo>
                    <a:pt x="71" y="190"/>
                  </a:lnTo>
                  <a:close/>
                  <a:moveTo>
                    <a:pt x="69" y="188"/>
                  </a:moveTo>
                  <a:lnTo>
                    <a:pt x="69" y="190"/>
                  </a:lnTo>
                  <a:lnTo>
                    <a:pt x="69" y="188"/>
                  </a:lnTo>
                  <a:close/>
                  <a:moveTo>
                    <a:pt x="64" y="188"/>
                  </a:moveTo>
                  <a:lnTo>
                    <a:pt x="62" y="188"/>
                  </a:lnTo>
                  <a:lnTo>
                    <a:pt x="64" y="188"/>
                  </a:lnTo>
                  <a:close/>
                  <a:moveTo>
                    <a:pt x="71" y="188"/>
                  </a:moveTo>
                  <a:lnTo>
                    <a:pt x="69" y="188"/>
                  </a:lnTo>
                  <a:lnTo>
                    <a:pt x="71" y="188"/>
                  </a:lnTo>
                  <a:close/>
                  <a:moveTo>
                    <a:pt x="62" y="188"/>
                  </a:moveTo>
                  <a:lnTo>
                    <a:pt x="59" y="188"/>
                  </a:lnTo>
                  <a:lnTo>
                    <a:pt x="62" y="188"/>
                  </a:lnTo>
                  <a:close/>
                  <a:moveTo>
                    <a:pt x="71" y="188"/>
                  </a:moveTo>
                  <a:lnTo>
                    <a:pt x="71" y="186"/>
                  </a:lnTo>
                  <a:lnTo>
                    <a:pt x="71" y="188"/>
                  </a:lnTo>
                  <a:close/>
                  <a:moveTo>
                    <a:pt x="71" y="188"/>
                  </a:moveTo>
                  <a:lnTo>
                    <a:pt x="71" y="186"/>
                  </a:lnTo>
                  <a:lnTo>
                    <a:pt x="71" y="188"/>
                  </a:lnTo>
                  <a:close/>
                  <a:moveTo>
                    <a:pt x="71" y="188"/>
                  </a:moveTo>
                  <a:lnTo>
                    <a:pt x="71" y="186"/>
                  </a:lnTo>
                  <a:lnTo>
                    <a:pt x="71" y="188"/>
                  </a:lnTo>
                  <a:close/>
                  <a:moveTo>
                    <a:pt x="88" y="186"/>
                  </a:moveTo>
                  <a:lnTo>
                    <a:pt x="88" y="188"/>
                  </a:lnTo>
                  <a:lnTo>
                    <a:pt x="88" y="186"/>
                  </a:lnTo>
                  <a:close/>
                  <a:moveTo>
                    <a:pt x="74" y="188"/>
                  </a:moveTo>
                  <a:lnTo>
                    <a:pt x="74" y="186"/>
                  </a:lnTo>
                  <a:lnTo>
                    <a:pt x="74" y="188"/>
                  </a:lnTo>
                  <a:close/>
                  <a:moveTo>
                    <a:pt x="71" y="186"/>
                  </a:moveTo>
                  <a:lnTo>
                    <a:pt x="69" y="186"/>
                  </a:lnTo>
                  <a:lnTo>
                    <a:pt x="71" y="186"/>
                  </a:lnTo>
                  <a:close/>
                  <a:moveTo>
                    <a:pt x="90" y="186"/>
                  </a:moveTo>
                  <a:lnTo>
                    <a:pt x="88" y="186"/>
                  </a:lnTo>
                  <a:lnTo>
                    <a:pt x="90" y="186"/>
                  </a:lnTo>
                  <a:close/>
                  <a:moveTo>
                    <a:pt x="90" y="186"/>
                  </a:moveTo>
                  <a:lnTo>
                    <a:pt x="88" y="186"/>
                  </a:lnTo>
                  <a:lnTo>
                    <a:pt x="88" y="183"/>
                  </a:lnTo>
                  <a:lnTo>
                    <a:pt x="90" y="183"/>
                  </a:lnTo>
                  <a:lnTo>
                    <a:pt x="90" y="186"/>
                  </a:lnTo>
                  <a:close/>
                  <a:moveTo>
                    <a:pt x="59" y="183"/>
                  </a:moveTo>
                  <a:lnTo>
                    <a:pt x="59" y="186"/>
                  </a:lnTo>
                  <a:lnTo>
                    <a:pt x="59" y="183"/>
                  </a:lnTo>
                  <a:close/>
                  <a:moveTo>
                    <a:pt x="95" y="183"/>
                  </a:moveTo>
                  <a:lnTo>
                    <a:pt x="93" y="183"/>
                  </a:lnTo>
                  <a:lnTo>
                    <a:pt x="95" y="183"/>
                  </a:lnTo>
                  <a:close/>
                  <a:moveTo>
                    <a:pt x="76" y="183"/>
                  </a:moveTo>
                  <a:lnTo>
                    <a:pt x="74" y="183"/>
                  </a:lnTo>
                  <a:lnTo>
                    <a:pt x="76" y="183"/>
                  </a:lnTo>
                  <a:close/>
                  <a:moveTo>
                    <a:pt x="83" y="183"/>
                  </a:moveTo>
                  <a:lnTo>
                    <a:pt x="86" y="183"/>
                  </a:lnTo>
                  <a:lnTo>
                    <a:pt x="83" y="183"/>
                  </a:lnTo>
                  <a:close/>
                  <a:moveTo>
                    <a:pt x="86" y="183"/>
                  </a:moveTo>
                  <a:lnTo>
                    <a:pt x="83" y="183"/>
                  </a:lnTo>
                  <a:lnTo>
                    <a:pt x="86" y="183"/>
                  </a:lnTo>
                  <a:close/>
                  <a:moveTo>
                    <a:pt x="67" y="183"/>
                  </a:moveTo>
                  <a:lnTo>
                    <a:pt x="67" y="181"/>
                  </a:lnTo>
                  <a:lnTo>
                    <a:pt x="67" y="183"/>
                  </a:lnTo>
                  <a:close/>
                  <a:moveTo>
                    <a:pt x="95" y="181"/>
                  </a:moveTo>
                  <a:lnTo>
                    <a:pt x="95" y="183"/>
                  </a:lnTo>
                  <a:lnTo>
                    <a:pt x="95" y="181"/>
                  </a:lnTo>
                  <a:close/>
                  <a:moveTo>
                    <a:pt x="83" y="181"/>
                  </a:moveTo>
                  <a:lnTo>
                    <a:pt x="83" y="183"/>
                  </a:lnTo>
                  <a:lnTo>
                    <a:pt x="83" y="181"/>
                  </a:lnTo>
                  <a:close/>
                  <a:moveTo>
                    <a:pt x="97" y="183"/>
                  </a:moveTo>
                  <a:lnTo>
                    <a:pt x="97" y="181"/>
                  </a:lnTo>
                  <a:lnTo>
                    <a:pt x="95" y="181"/>
                  </a:lnTo>
                  <a:lnTo>
                    <a:pt x="97" y="181"/>
                  </a:lnTo>
                  <a:lnTo>
                    <a:pt x="97" y="183"/>
                  </a:lnTo>
                  <a:close/>
                  <a:moveTo>
                    <a:pt x="69" y="181"/>
                  </a:moveTo>
                  <a:lnTo>
                    <a:pt x="67" y="181"/>
                  </a:lnTo>
                  <a:lnTo>
                    <a:pt x="69" y="181"/>
                  </a:lnTo>
                  <a:close/>
                  <a:moveTo>
                    <a:pt x="69" y="181"/>
                  </a:moveTo>
                  <a:lnTo>
                    <a:pt x="67" y="181"/>
                  </a:lnTo>
                  <a:lnTo>
                    <a:pt x="69" y="181"/>
                  </a:lnTo>
                  <a:close/>
                  <a:moveTo>
                    <a:pt x="95" y="181"/>
                  </a:moveTo>
                  <a:lnTo>
                    <a:pt x="97" y="181"/>
                  </a:lnTo>
                  <a:lnTo>
                    <a:pt x="95" y="181"/>
                  </a:lnTo>
                  <a:close/>
                  <a:moveTo>
                    <a:pt x="86" y="181"/>
                  </a:moveTo>
                  <a:lnTo>
                    <a:pt x="83" y="181"/>
                  </a:lnTo>
                  <a:lnTo>
                    <a:pt x="86" y="181"/>
                  </a:lnTo>
                  <a:close/>
                  <a:moveTo>
                    <a:pt x="88" y="181"/>
                  </a:moveTo>
                  <a:lnTo>
                    <a:pt x="86" y="181"/>
                  </a:lnTo>
                  <a:lnTo>
                    <a:pt x="88" y="181"/>
                  </a:lnTo>
                  <a:close/>
                  <a:moveTo>
                    <a:pt x="93" y="181"/>
                  </a:moveTo>
                  <a:lnTo>
                    <a:pt x="93" y="179"/>
                  </a:lnTo>
                  <a:lnTo>
                    <a:pt x="93" y="181"/>
                  </a:lnTo>
                  <a:close/>
                  <a:moveTo>
                    <a:pt x="78" y="181"/>
                  </a:moveTo>
                  <a:lnTo>
                    <a:pt x="78" y="179"/>
                  </a:lnTo>
                  <a:lnTo>
                    <a:pt x="78" y="181"/>
                  </a:lnTo>
                  <a:close/>
                  <a:moveTo>
                    <a:pt x="88" y="179"/>
                  </a:moveTo>
                  <a:lnTo>
                    <a:pt x="88" y="181"/>
                  </a:lnTo>
                  <a:lnTo>
                    <a:pt x="88" y="179"/>
                  </a:lnTo>
                  <a:close/>
                  <a:moveTo>
                    <a:pt x="76" y="181"/>
                  </a:moveTo>
                  <a:lnTo>
                    <a:pt x="76" y="179"/>
                  </a:lnTo>
                  <a:lnTo>
                    <a:pt x="76" y="181"/>
                  </a:lnTo>
                  <a:close/>
                  <a:moveTo>
                    <a:pt x="76" y="181"/>
                  </a:moveTo>
                  <a:lnTo>
                    <a:pt x="76" y="179"/>
                  </a:lnTo>
                  <a:lnTo>
                    <a:pt x="76" y="181"/>
                  </a:lnTo>
                  <a:close/>
                  <a:moveTo>
                    <a:pt x="88" y="179"/>
                  </a:moveTo>
                  <a:lnTo>
                    <a:pt x="88" y="181"/>
                  </a:lnTo>
                  <a:lnTo>
                    <a:pt x="88" y="179"/>
                  </a:lnTo>
                  <a:close/>
                  <a:moveTo>
                    <a:pt x="95" y="179"/>
                  </a:moveTo>
                  <a:lnTo>
                    <a:pt x="95" y="181"/>
                  </a:lnTo>
                  <a:lnTo>
                    <a:pt x="95" y="179"/>
                  </a:lnTo>
                  <a:close/>
                  <a:moveTo>
                    <a:pt x="76" y="179"/>
                  </a:moveTo>
                  <a:lnTo>
                    <a:pt x="76" y="181"/>
                  </a:lnTo>
                  <a:lnTo>
                    <a:pt x="76" y="179"/>
                  </a:lnTo>
                  <a:close/>
                  <a:moveTo>
                    <a:pt x="78" y="181"/>
                  </a:moveTo>
                  <a:lnTo>
                    <a:pt x="78" y="179"/>
                  </a:lnTo>
                  <a:lnTo>
                    <a:pt x="78" y="181"/>
                  </a:lnTo>
                  <a:close/>
                  <a:moveTo>
                    <a:pt x="83" y="181"/>
                  </a:moveTo>
                  <a:lnTo>
                    <a:pt x="81" y="181"/>
                  </a:lnTo>
                  <a:lnTo>
                    <a:pt x="81" y="179"/>
                  </a:lnTo>
                  <a:lnTo>
                    <a:pt x="83" y="179"/>
                  </a:lnTo>
                  <a:lnTo>
                    <a:pt x="83" y="181"/>
                  </a:lnTo>
                  <a:close/>
                  <a:moveTo>
                    <a:pt x="95" y="179"/>
                  </a:moveTo>
                  <a:lnTo>
                    <a:pt x="93" y="179"/>
                  </a:lnTo>
                  <a:lnTo>
                    <a:pt x="95" y="179"/>
                  </a:lnTo>
                  <a:close/>
                  <a:moveTo>
                    <a:pt x="78" y="179"/>
                  </a:moveTo>
                  <a:lnTo>
                    <a:pt x="76" y="179"/>
                  </a:lnTo>
                  <a:lnTo>
                    <a:pt x="78" y="179"/>
                  </a:lnTo>
                  <a:lnTo>
                    <a:pt x="76" y="179"/>
                  </a:lnTo>
                  <a:lnTo>
                    <a:pt x="78" y="179"/>
                  </a:lnTo>
                  <a:close/>
                  <a:moveTo>
                    <a:pt x="76" y="179"/>
                  </a:moveTo>
                  <a:lnTo>
                    <a:pt x="74" y="179"/>
                  </a:lnTo>
                  <a:lnTo>
                    <a:pt x="76" y="179"/>
                  </a:lnTo>
                  <a:close/>
                  <a:moveTo>
                    <a:pt x="62" y="179"/>
                  </a:moveTo>
                  <a:lnTo>
                    <a:pt x="59" y="179"/>
                  </a:lnTo>
                  <a:lnTo>
                    <a:pt x="62" y="179"/>
                  </a:lnTo>
                  <a:lnTo>
                    <a:pt x="59" y="179"/>
                  </a:lnTo>
                  <a:lnTo>
                    <a:pt x="62" y="179"/>
                  </a:lnTo>
                  <a:close/>
                  <a:moveTo>
                    <a:pt x="95" y="179"/>
                  </a:moveTo>
                  <a:lnTo>
                    <a:pt x="93" y="179"/>
                  </a:lnTo>
                  <a:lnTo>
                    <a:pt x="95" y="179"/>
                  </a:lnTo>
                  <a:close/>
                  <a:moveTo>
                    <a:pt x="59" y="179"/>
                  </a:moveTo>
                  <a:lnTo>
                    <a:pt x="62" y="179"/>
                  </a:lnTo>
                  <a:lnTo>
                    <a:pt x="59" y="179"/>
                  </a:lnTo>
                  <a:close/>
                  <a:moveTo>
                    <a:pt x="57" y="176"/>
                  </a:moveTo>
                  <a:lnTo>
                    <a:pt x="57" y="179"/>
                  </a:lnTo>
                  <a:lnTo>
                    <a:pt x="57" y="176"/>
                  </a:lnTo>
                  <a:close/>
                  <a:moveTo>
                    <a:pt x="59" y="179"/>
                  </a:moveTo>
                  <a:lnTo>
                    <a:pt x="59" y="176"/>
                  </a:lnTo>
                  <a:lnTo>
                    <a:pt x="59" y="179"/>
                  </a:lnTo>
                  <a:close/>
                  <a:moveTo>
                    <a:pt x="78" y="176"/>
                  </a:moveTo>
                  <a:lnTo>
                    <a:pt x="78" y="179"/>
                  </a:lnTo>
                  <a:lnTo>
                    <a:pt x="78" y="176"/>
                  </a:lnTo>
                  <a:close/>
                  <a:moveTo>
                    <a:pt x="59" y="179"/>
                  </a:moveTo>
                  <a:lnTo>
                    <a:pt x="59" y="176"/>
                  </a:lnTo>
                  <a:lnTo>
                    <a:pt x="59" y="179"/>
                  </a:lnTo>
                  <a:close/>
                  <a:moveTo>
                    <a:pt x="57" y="179"/>
                  </a:moveTo>
                  <a:lnTo>
                    <a:pt x="57" y="176"/>
                  </a:lnTo>
                  <a:lnTo>
                    <a:pt x="57" y="179"/>
                  </a:lnTo>
                  <a:close/>
                  <a:moveTo>
                    <a:pt x="74" y="179"/>
                  </a:moveTo>
                  <a:lnTo>
                    <a:pt x="74" y="176"/>
                  </a:lnTo>
                  <a:lnTo>
                    <a:pt x="74" y="179"/>
                  </a:lnTo>
                  <a:close/>
                  <a:moveTo>
                    <a:pt x="95" y="176"/>
                  </a:moveTo>
                  <a:lnTo>
                    <a:pt x="95" y="179"/>
                  </a:lnTo>
                  <a:lnTo>
                    <a:pt x="95" y="176"/>
                  </a:lnTo>
                  <a:close/>
                  <a:moveTo>
                    <a:pt x="78" y="176"/>
                  </a:moveTo>
                  <a:lnTo>
                    <a:pt x="78" y="179"/>
                  </a:lnTo>
                  <a:lnTo>
                    <a:pt x="78" y="176"/>
                  </a:lnTo>
                  <a:close/>
                  <a:moveTo>
                    <a:pt x="81" y="176"/>
                  </a:moveTo>
                  <a:lnTo>
                    <a:pt x="81" y="179"/>
                  </a:lnTo>
                  <a:lnTo>
                    <a:pt x="81" y="176"/>
                  </a:lnTo>
                  <a:close/>
                  <a:moveTo>
                    <a:pt x="59" y="176"/>
                  </a:moveTo>
                  <a:lnTo>
                    <a:pt x="62" y="176"/>
                  </a:lnTo>
                  <a:lnTo>
                    <a:pt x="59" y="176"/>
                  </a:lnTo>
                  <a:close/>
                  <a:moveTo>
                    <a:pt x="74" y="176"/>
                  </a:moveTo>
                  <a:lnTo>
                    <a:pt x="74" y="179"/>
                  </a:lnTo>
                  <a:lnTo>
                    <a:pt x="74" y="176"/>
                  </a:lnTo>
                  <a:close/>
                  <a:moveTo>
                    <a:pt x="64" y="179"/>
                  </a:moveTo>
                  <a:lnTo>
                    <a:pt x="64" y="176"/>
                  </a:lnTo>
                  <a:lnTo>
                    <a:pt x="64" y="179"/>
                  </a:lnTo>
                  <a:close/>
                  <a:moveTo>
                    <a:pt x="95" y="176"/>
                  </a:moveTo>
                  <a:lnTo>
                    <a:pt x="93" y="176"/>
                  </a:lnTo>
                  <a:lnTo>
                    <a:pt x="95" y="176"/>
                  </a:lnTo>
                  <a:close/>
                  <a:moveTo>
                    <a:pt x="95" y="176"/>
                  </a:moveTo>
                  <a:lnTo>
                    <a:pt x="93" y="176"/>
                  </a:lnTo>
                  <a:lnTo>
                    <a:pt x="95" y="176"/>
                  </a:lnTo>
                  <a:close/>
                  <a:moveTo>
                    <a:pt x="95" y="176"/>
                  </a:moveTo>
                  <a:lnTo>
                    <a:pt x="93" y="176"/>
                  </a:lnTo>
                  <a:lnTo>
                    <a:pt x="95" y="176"/>
                  </a:lnTo>
                  <a:close/>
                  <a:moveTo>
                    <a:pt x="78" y="176"/>
                  </a:moveTo>
                  <a:lnTo>
                    <a:pt x="76" y="176"/>
                  </a:lnTo>
                  <a:lnTo>
                    <a:pt x="78" y="176"/>
                  </a:lnTo>
                  <a:close/>
                  <a:moveTo>
                    <a:pt x="81" y="176"/>
                  </a:moveTo>
                  <a:lnTo>
                    <a:pt x="83" y="176"/>
                  </a:lnTo>
                  <a:lnTo>
                    <a:pt x="81" y="176"/>
                  </a:lnTo>
                  <a:close/>
                  <a:moveTo>
                    <a:pt x="83" y="176"/>
                  </a:moveTo>
                  <a:lnTo>
                    <a:pt x="81" y="176"/>
                  </a:lnTo>
                  <a:lnTo>
                    <a:pt x="83" y="176"/>
                  </a:lnTo>
                  <a:close/>
                  <a:moveTo>
                    <a:pt x="59" y="176"/>
                  </a:moveTo>
                  <a:lnTo>
                    <a:pt x="59" y="174"/>
                  </a:lnTo>
                  <a:lnTo>
                    <a:pt x="59" y="176"/>
                  </a:lnTo>
                  <a:close/>
                  <a:moveTo>
                    <a:pt x="83" y="176"/>
                  </a:moveTo>
                  <a:lnTo>
                    <a:pt x="81" y="176"/>
                  </a:lnTo>
                  <a:lnTo>
                    <a:pt x="81" y="174"/>
                  </a:lnTo>
                  <a:lnTo>
                    <a:pt x="81" y="176"/>
                  </a:lnTo>
                  <a:lnTo>
                    <a:pt x="83" y="176"/>
                  </a:lnTo>
                  <a:close/>
                  <a:moveTo>
                    <a:pt x="81" y="174"/>
                  </a:moveTo>
                  <a:lnTo>
                    <a:pt x="81" y="176"/>
                  </a:lnTo>
                  <a:lnTo>
                    <a:pt x="81" y="174"/>
                  </a:lnTo>
                  <a:close/>
                  <a:moveTo>
                    <a:pt x="83" y="174"/>
                  </a:moveTo>
                  <a:lnTo>
                    <a:pt x="83" y="176"/>
                  </a:lnTo>
                  <a:lnTo>
                    <a:pt x="83" y="174"/>
                  </a:lnTo>
                  <a:close/>
                  <a:moveTo>
                    <a:pt x="57" y="174"/>
                  </a:moveTo>
                  <a:lnTo>
                    <a:pt x="59" y="174"/>
                  </a:lnTo>
                  <a:lnTo>
                    <a:pt x="57" y="174"/>
                  </a:lnTo>
                  <a:close/>
                  <a:moveTo>
                    <a:pt x="81" y="174"/>
                  </a:moveTo>
                  <a:lnTo>
                    <a:pt x="78" y="174"/>
                  </a:lnTo>
                  <a:lnTo>
                    <a:pt x="81" y="174"/>
                  </a:lnTo>
                  <a:close/>
                  <a:moveTo>
                    <a:pt x="62" y="174"/>
                  </a:moveTo>
                  <a:lnTo>
                    <a:pt x="59" y="174"/>
                  </a:lnTo>
                  <a:lnTo>
                    <a:pt x="62" y="174"/>
                  </a:lnTo>
                  <a:close/>
                  <a:moveTo>
                    <a:pt x="62" y="174"/>
                  </a:moveTo>
                  <a:lnTo>
                    <a:pt x="59" y="174"/>
                  </a:lnTo>
                  <a:lnTo>
                    <a:pt x="62" y="174"/>
                  </a:lnTo>
                  <a:close/>
                  <a:moveTo>
                    <a:pt x="95" y="174"/>
                  </a:moveTo>
                  <a:lnTo>
                    <a:pt x="93" y="174"/>
                  </a:lnTo>
                  <a:lnTo>
                    <a:pt x="95" y="174"/>
                  </a:lnTo>
                  <a:close/>
                  <a:moveTo>
                    <a:pt x="90" y="174"/>
                  </a:moveTo>
                  <a:lnTo>
                    <a:pt x="88" y="174"/>
                  </a:lnTo>
                  <a:lnTo>
                    <a:pt x="90" y="174"/>
                  </a:lnTo>
                  <a:close/>
                  <a:moveTo>
                    <a:pt x="81" y="174"/>
                  </a:moveTo>
                  <a:lnTo>
                    <a:pt x="81" y="171"/>
                  </a:lnTo>
                  <a:lnTo>
                    <a:pt x="81" y="174"/>
                  </a:lnTo>
                  <a:close/>
                  <a:moveTo>
                    <a:pt x="83" y="171"/>
                  </a:moveTo>
                  <a:lnTo>
                    <a:pt x="83" y="174"/>
                  </a:lnTo>
                  <a:lnTo>
                    <a:pt x="83" y="171"/>
                  </a:lnTo>
                  <a:close/>
                  <a:moveTo>
                    <a:pt x="102" y="171"/>
                  </a:moveTo>
                  <a:lnTo>
                    <a:pt x="102" y="169"/>
                  </a:lnTo>
                  <a:lnTo>
                    <a:pt x="102" y="171"/>
                  </a:lnTo>
                  <a:close/>
                  <a:moveTo>
                    <a:pt x="95" y="169"/>
                  </a:moveTo>
                  <a:lnTo>
                    <a:pt x="93" y="169"/>
                  </a:lnTo>
                  <a:lnTo>
                    <a:pt x="95" y="169"/>
                  </a:lnTo>
                  <a:close/>
                  <a:moveTo>
                    <a:pt x="104" y="169"/>
                  </a:moveTo>
                  <a:lnTo>
                    <a:pt x="102" y="169"/>
                  </a:lnTo>
                  <a:lnTo>
                    <a:pt x="104" y="169"/>
                  </a:lnTo>
                  <a:close/>
                  <a:moveTo>
                    <a:pt x="102" y="169"/>
                  </a:moveTo>
                  <a:lnTo>
                    <a:pt x="102" y="167"/>
                  </a:lnTo>
                  <a:lnTo>
                    <a:pt x="102" y="169"/>
                  </a:lnTo>
                  <a:close/>
                  <a:moveTo>
                    <a:pt x="102" y="167"/>
                  </a:moveTo>
                  <a:lnTo>
                    <a:pt x="100" y="167"/>
                  </a:lnTo>
                  <a:lnTo>
                    <a:pt x="102" y="167"/>
                  </a:lnTo>
                  <a:close/>
                  <a:moveTo>
                    <a:pt x="100" y="167"/>
                  </a:moveTo>
                  <a:lnTo>
                    <a:pt x="100" y="164"/>
                  </a:lnTo>
                  <a:lnTo>
                    <a:pt x="100" y="167"/>
                  </a:lnTo>
                  <a:close/>
                  <a:moveTo>
                    <a:pt x="102" y="162"/>
                  </a:moveTo>
                  <a:lnTo>
                    <a:pt x="100" y="162"/>
                  </a:lnTo>
                  <a:lnTo>
                    <a:pt x="102" y="162"/>
                  </a:lnTo>
                  <a:close/>
                  <a:moveTo>
                    <a:pt x="116" y="160"/>
                  </a:moveTo>
                  <a:lnTo>
                    <a:pt x="114" y="160"/>
                  </a:lnTo>
                  <a:lnTo>
                    <a:pt x="116" y="160"/>
                  </a:lnTo>
                  <a:close/>
                  <a:moveTo>
                    <a:pt x="119" y="160"/>
                  </a:moveTo>
                  <a:lnTo>
                    <a:pt x="116" y="160"/>
                  </a:lnTo>
                  <a:lnTo>
                    <a:pt x="119" y="160"/>
                  </a:lnTo>
                  <a:close/>
                  <a:moveTo>
                    <a:pt x="114" y="160"/>
                  </a:moveTo>
                  <a:lnTo>
                    <a:pt x="112" y="160"/>
                  </a:lnTo>
                  <a:lnTo>
                    <a:pt x="114" y="160"/>
                  </a:lnTo>
                  <a:close/>
                  <a:moveTo>
                    <a:pt x="116" y="160"/>
                  </a:moveTo>
                  <a:lnTo>
                    <a:pt x="116" y="157"/>
                  </a:lnTo>
                  <a:lnTo>
                    <a:pt x="116" y="160"/>
                  </a:lnTo>
                  <a:close/>
                  <a:moveTo>
                    <a:pt x="116" y="160"/>
                  </a:moveTo>
                  <a:lnTo>
                    <a:pt x="116" y="157"/>
                  </a:lnTo>
                  <a:lnTo>
                    <a:pt x="116" y="160"/>
                  </a:lnTo>
                  <a:close/>
                  <a:moveTo>
                    <a:pt x="107" y="160"/>
                  </a:moveTo>
                  <a:lnTo>
                    <a:pt x="107" y="157"/>
                  </a:lnTo>
                  <a:lnTo>
                    <a:pt x="107" y="160"/>
                  </a:lnTo>
                  <a:close/>
                  <a:moveTo>
                    <a:pt x="107" y="157"/>
                  </a:moveTo>
                  <a:lnTo>
                    <a:pt x="107" y="160"/>
                  </a:lnTo>
                  <a:lnTo>
                    <a:pt x="107" y="157"/>
                  </a:lnTo>
                  <a:close/>
                  <a:moveTo>
                    <a:pt x="112" y="157"/>
                  </a:moveTo>
                  <a:lnTo>
                    <a:pt x="112" y="160"/>
                  </a:lnTo>
                  <a:lnTo>
                    <a:pt x="112" y="157"/>
                  </a:lnTo>
                  <a:close/>
                  <a:moveTo>
                    <a:pt x="114" y="157"/>
                  </a:moveTo>
                  <a:lnTo>
                    <a:pt x="112" y="157"/>
                  </a:lnTo>
                  <a:lnTo>
                    <a:pt x="114" y="157"/>
                  </a:lnTo>
                  <a:close/>
                  <a:moveTo>
                    <a:pt x="116" y="155"/>
                  </a:moveTo>
                  <a:lnTo>
                    <a:pt x="116" y="157"/>
                  </a:lnTo>
                  <a:lnTo>
                    <a:pt x="116" y="155"/>
                  </a:lnTo>
                  <a:close/>
                  <a:moveTo>
                    <a:pt x="116" y="155"/>
                  </a:moveTo>
                  <a:lnTo>
                    <a:pt x="116" y="157"/>
                  </a:lnTo>
                  <a:lnTo>
                    <a:pt x="116" y="155"/>
                  </a:lnTo>
                  <a:close/>
                  <a:moveTo>
                    <a:pt x="109" y="152"/>
                  </a:moveTo>
                  <a:lnTo>
                    <a:pt x="107" y="152"/>
                  </a:lnTo>
                  <a:lnTo>
                    <a:pt x="109" y="152"/>
                  </a:lnTo>
                  <a:close/>
                  <a:moveTo>
                    <a:pt x="121" y="152"/>
                  </a:moveTo>
                  <a:lnTo>
                    <a:pt x="121" y="150"/>
                  </a:lnTo>
                  <a:lnTo>
                    <a:pt x="121" y="152"/>
                  </a:lnTo>
                  <a:close/>
                  <a:moveTo>
                    <a:pt x="112" y="150"/>
                  </a:moveTo>
                  <a:lnTo>
                    <a:pt x="109" y="150"/>
                  </a:lnTo>
                  <a:lnTo>
                    <a:pt x="112" y="150"/>
                  </a:lnTo>
                  <a:close/>
                  <a:moveTo>
                    <a:pt x="114" y="150"/>
                  </a:moveTo>
                  <a:lnTo>
                    <a:pt x="114" y="152"/>
                  </a:lnTo>
                  <a:lnTo>
                    <a:pt x="114" y="150"/>
                  </a:lnTo>
                  <a:close/>
                  <a:moveTo>
                    <a:pt x="112" y="150"/>
                  </a:moveTo>
                  <a:lnTo>
                    <a:pt x="109" y="150"/>
                  </a:lnTo>
                  <a:lnTo>
                    <a:pt x="112" y="150"/>
                  </a:lnTo>
                  <a:close/>
                  <a:moveTo>
                    <a:pt x="119" y="150"/>
                  </a:moveTo>
                  <a:lnTo>
                    <a:pt x="121" y="150"/>
                  </a:lnTo>
                  <a:lnTo>
                    <a:pt x="119" y="150"/>
                  </a:lnTo>
                  <a:close/>
                  <a:moveTo>
                    <a:pt x="116" y="150"/>
                  </a:moveTo>
                  <a:lnTo>
                    <a:pt x="116" y="148"/>
                  </a:lnTo>
                  <a:lnTo>
                    <a:pt x="116" y="150"/>
                  </a:lnTo>
                  <a:close/>
                  <a:moveTo>
                    <a:pt x="119" y="148"/>
                  </a:moveTo>
                  <a:lnTo>
                    <a:pt x="119" y="150"/>
                  </a:lnTo>
                  <a:lnTo>
                    <a:pt x="121" y="150"/>
                  </a:lnTo>
                  <a:lnTo>
                    <a:pt x="119" y="150"/>
                  </a:lnTo>
                  <a:lnTo>
                    <a:pt x="119" y="148"/>
                  </a:lnTo>
                  <a:close/>
                  <a:moveTo>
                    <a:pt x="112" y="150"/>
                  </a:moveTo>
                  <a:lnTo>
                    <a:pt x="112" y="148"/>
                  </a:lnTo>
                  <a:lnTo>
                    <a:pt x="112" y="150"/>
                  </a:lnTo>
                  <a:close/>
                  <a:moveTo>
                    <a:pt x="109" y="150"/>
                  </a:moveTo>
                  <a:lnTo>
                    <a:pt x="109" y="148"/>
                  </a:lnTo>
                  <a:lnTo>
                    <a:pt x="109" y="150"/>
                  </a:lnTo>
                  <a:close/>
                  <a:moveTo>
                    <a:pt x="112" y="148"/>
                  </a:moveTo>
                  <a:lnTo>
                    <a:pt x="112" y="150"/>
                  </a:lnTo>
                  <a:lnTo>
                    <a:pt x="112" y="148"/>
                  </a:lnTo>
                  <a:close/>
                  <a:moveTo>
                    <a:pt x="114" y="148"/>
                  </a:moveTo>
                  <a:lnTo>
                    <a:pt x="112" y="148"/>
                  </a:lnTo>
                  <a:lnTo>
                    <a:pt x="114" y="148"/>
                  </a:lnTo>
                  <a:close/>
                  <a:moveTo>
                    <a:pt x="123" y="148"/>
                  </a:moveTo>
                  <a:lnTo>
                    <a:pt x="121" y="148"/>
                  </a:lnTo>
                  <a:lnTo>
                    <a:pt x="123" y="148"/>
                  </a:lnTo>
                  <a:close/>
                  <a:moveTo>
                    <a:pt x="119" y="148"/>
                  </a:moveTo>
                  <a:lnTo>
                    <a:pt x="116" y="148"/>
                  </a:lnTo>
                  <a:lnTo>
                    <a:pt x="119" y="148"/>
                  </a:lnTo>
                  <a:close/>
                  <a:moveTo>
                    <a:pt x="114" y="148"/>
                  </a:moveTo>
                  <a:lnTo>
                    <a:pt x="112" y="148"/>
                  </a:lnTo>
                  <a:lnTo>
                    <a:pt x="114" y="148"/>
                  </a:lnTo>
                  <a:close/>
                  <a:moveTo>
                    <a:pt x="131" y="148"/>
                  </a:moveTo>
                  <a:lnTo>
                    <a:pt x="131" y="145"/>
                  </a:lnTo>
                  <a:lnTo>
                    <a:pt x="131" y="148"/>
                  </a:lnTo>
                  <a:close/>
                  <a:moveTo>
                    <a:pt x="133" y="148"/>
                  </a:moveTo>
                  <a:lnTo>
                    <a:pt x="133" y="145"/>
                  </a:lnTo>
                  <a:lnTo>
                    <a:pt x="133" y="148"/>
                  </a:lnTo>
                  <a:close/>
                  <a:moveTo>
                    <a:pt x="112" y="145"/>
                  </a:moveTo>
                  <a:lnTo>
                    <a:pt x="112" y="148"/>
                  </a:lnTo>
                  <a:lnTo>
                    <a:pt x="112" y="145"/>
                  </a:lnTo>
                  <a:close/>
                  <a:moveTo>
                    <a:pt x="112" y="145"/>
                  </a:moveTo>
                  <a:lnTo>
                    <a:pt x="114" y="145"/>
                  </a:lnTo>
                  <a:lnTo>
                    <a:pt x="112" y="145"/>
                  </a:lnTo>
                  <a:close/>
                  <a:moveTo>
                    <a:pt x="114" y="145"/>
                  </a:moveTo>
                  <a:lnTo>
                    <a:pt x="112" y="145"/>
                  </a:lnTo>
                  <a:lnTo>
                    <a:pt x="114" y="145"/>
                  </a:lnTo>
                  <a:close/>
                  <a:moveTo>
                    <a:pt x="140" y="141"/>
                  </a:moveTo>
                  <a:lnTo>
                    <a:pt x="140" y="138"/>
                  </a:lnTo>
                  <a:lnTo>
                    <a:pt x="140" y="141"/>
                  </a:lnTo>
                  <a:close/>
                  <a:moveTo>
                    <a:pt x="140" y="138"/>
                  </a:moveTo>
                  <a:lnTo>
                    <a:pt x="140" y="141"/>
                  </a:lnTo>
                  <a:lnTo>
                    <a:pt x="140" y="138"/>
                  </a:lnTo>
                  <a:close/>
                  <a:moveTo>
                    <a:pt x="145" y="131"/>
                  </a:moveTo>
                  <a:lnTo>
                    <a:pt x="145" y="133"/>
                  </a:lnTo>
                  <a:lnTo>
                    <a:pt x="145" y="131"/>
                  </a:lnTo>
                  <a:close/>
                  <a:moveTo>
                    <a:pt x="145" y="129"/>
                  </a:moveTo>
                  <a:lnTo>
                    <a:pt x="145" y="131"/>
                  </a:lnTo>
                  <a:lnTo>
                    <a:pt x="145" y="129"/>
                  </a:lnTo>
                  <a:close/>
                  <a:moveTo>
                    <a:pt x="142" y="131"/>
                  </a:moveTo>
                  <a:lnTo>
                    <a:pt x="142" y="129"/>
                  </a:lnTo>
                  <a:lnTo>
                    <a:pt x="142" y="131"/>
                  </a:lnTo>
                  <a:close/>
                  <a:moveTo>
                    <a:pt x="138" y="126"/>
                  </a:moveTo>
                  <a:lnTo>
                    <a:pt x="138" y="124"/>
                  </a:lnTo>
                  <a:lnTo>
                    <a:pt x="138" y="126"/>
                  </a:lnTo>
                  <a:close/>
                  <a:moveTo>
                    <a:pt x="169" y="107"/>
                  </a:moveTo>
                  <a:lnTo>
                    <a:pt x="169" y="105"/>
                  </a:lnTo>
                  <a:lnTo>
                    <a:pt x="169" y="107"/>
                  </a:lnTo>
                  <a:close/>
                  <a:moveTo>
                    <a:pt x="169" y="105"/>
                  </a:moveTo>
                  <a:lnTo>
                    <a:pt x="166" y="105"/>
                  </a:lnTo>
                  <a:lnTo>
                    <a:pt x="169" y="105"/>
                  </a:lnTo>
                  <a:close/>
                  <a:moveTo>
                    <a:pt x="169" y="105"/>
                  </a:moveTo>
                  <a:lnTo>
                    <a:pt x="166" y="105"/>
                  </a:lnTo>
                  <a:lnTo>
                    <a:pt x="169" y="105"/>
                  </a:lnTo>
                  <a:close/>
                  <a:moveTo>
                    <a:pt x="169" y="103"/>
                  </a:moveTo>
                  <a:lnTo>
                    <a:pt x="166" y="103"/>
                  </a:lnTo>
                  <a:lnTo>
                    <a:pt x="169" y="103"/>
                  </a:lnTo>
                  <a:close/>
                  <a:moveTo>
                    <a:pt x="218" y="98"/>
                  </a:moveTo>
                  <a:lnTo>
                    <a:pt x="221" y="98"/>
                  </a:lnTo>
                  <a:lnTo>
                    <a:pt x="218" y="98"/>
                  </a:lnTo>
                  <a:close/>
                  <a:moveTo>
                    <a:pt x="216" y="95"/>
                  </a:moveTo>
                  <a:lnTo>
                    <a:pt x="218" y="95"/>
                  </a:lnTo>
                  <a:lnTo>
                    <a:pt x="216" y="95"/>
                  </a:lnTo>
                  <a:close/>
                  <a:moveTo>
                    <a:pt x="214" y="91"/>
                  </a:moveTo>
                  <a:lnTo>
                    <a:pt x="211" y="91"/>
                  </a:lnTo>
                  <a:lnTo>
                    <a:pt x="214" y="91"/>
                  </a:lnTo>
                  <a:close/>
                  <a:moveTo>
                    <a:pt x="211" y="91"/>
                  </a:moveTo>
                  <a:lnTo>
                    <a:pt x="211" y="88"/>
                  </a:lnTo>
                  <a:lnTo>
                    <a:pt x="211" y="91"/>
                  </a:lnTo>
                  <a:close/>
                  <a:moveTo>
                    <a:pt x="197" y="86"/>
                  </a:moveTo>
                  <a:lnTo>
                    <a:pt x="195" y="86"/>
                  </a:lnTo>
                  <a:lnTo>
                    <a:pt x="197" y="86"/>
                  </a:lnTo>
                  <a:close/>
                  <a:moveTo>
                    <a:pt x="199" y="84"/>
                  </a:moveTo>
                  <a:lnTo>
                    <a:pt x="197" y="84"/>
                  </a:lnTo>
                  <a:lnTo>
                    <a:pt x="199" y="84"/>
                  </a:lnTo>
                  <a:close/>
                  <a:moveTo>
                    <a:pt x="197" y="84"/>
                  </a:moveTo>
                  <a:lnTo>
                    <a:pt x="195" y="84"/>
                  </a:lnTo>
                  <a:lnTo>
                    <a:pt x="197" y="84"/>
                  </a:lnTo>
                  <a:close/>
                  <a:moveTo>
                    <a:pt x="190" y="79"/>
                  </a:moveTo>
                  <a:lnTo>
                    <a:pt x="188" y="79"/>
                  </a:lnTo>
                  <a:lnTo>
                    <a:pt x="190" y="79"/>
                  </a:lnTo>
                  <a:close/>
                  <a:moveTo>
                    <a:pt x="188" y="76"/>
                  </a:moveTo>
                  <a:lnTo>
                    <a:pt x="185" y="76"/>
                  </a:lnTo>
                  <a:lnTo>
                    <a:pt x="188" y="76"/>
                  </a:lnTo>
                  <a:close/>
                  <a:moveTo>
                    <a:pt x="188" y="76"/>
                  </a:moveTo>
                  <a:lnTo>
                    <a:pt x="188" y="74"/>
                  </a:lnTo>
                  <a:lnTo>
                    <a:pt x="188" y="76"/>
                  </a:lnTo>
                  <a:close/>
                  <a:moveTo>
                    <a:pt x="199" y="74"/>
                  </a:moveTo>
                  <a:lnTo>
                    <a:pt x="197" y="74"/>
                  </a:lnTo>
                  <a:lnTo>
                    <a:pt x="199" y="74"/>
                  </a:lnTo>
                  <a:close/>
                  <a:moveTo>
                    <a:pt x="195" y="74"/>
                  </a:moveTo>
                  <a:lnTo>
                    <a:pt x="195" y="72"/>
                  </a:lnTo>
                  <a:lnTo>
                    <a:pt x="195" y="74"/>
                  </a:lnTo>
                  <a:close/>
                  <a:moveTo>
                    <a:pt x="197" y="72"/>
                  </a:moveTo>
                  <a:lnTo>
                    <a:pt x="197" y="69"/>
                  </a:lnTo>
                  <a:lnTo>
                    <a:pt x="197" y="72"/>
                  </a:lnTo>
                  <a:close/>
                  <a:moveTo>
                    <a:pt x="197" y="69"/>
                  </a:moveTo>
                  <a:lnTo>
                    <a:pt x="199" y="69"/>
                  </a:lnTo>
                  <a:lnTo>
                    <a:pt x="197" y="69"/>
                  </a:lnTo>
                  <a:close/>
                  <a:moveTo>
                    <a:pt x="188" y="67"/>
                  </a:moveTo>
                  <a:lnTo>
                    <a:pt x="185" y="67"/>
                  </a:lnTo>
                  <a:lnTo>
                    <a:pt x="188" y="67"/>
                  </a:lnTo>
                  <a:close/>
                  <a:moveTo>
                    <a:pt x="197" y="67"/>
                  </a:moveTo>
                  <a:lnTo>
                    <a:pt x="195" y="67"/>
                  </a:lnTo>
                  <a:lnTo>
                    <a:pt x="197" y="67"/>
                  </a:lnTo>
                  <a:close/>
                  <a:moveTo>
                    <a:pt x="197" y="67"/>
                  </a:moveTo>
                  <a:lnTo>
                    <a:pt x="195" y="67"/>
                  </a:lnTo>
                  <a:lnTo>
                    <a:pt x="197" y="67"/>
                  </a:lnTo>
                  <a:close/>
                  <a:moveTo>
                    <a:pt x="197" y="65"/>
                  </a:moveTo>
                  <a:lnTo>
                    <a:pt x="197" y="67"/>
                  </a:lnTo>
                  <a:lnTo>
                    <a:pt x="195" y="65"/>
                  </a:lnTo>
                  <a:lnTo>
                    <a:pt x="197" y="65"/>
                  </a:lnTo>
                  <a:close/>
                  <a:moveTo>
                    <a:pt x="188" y="65"/>
                  </a:moveTo>
                  <a:lnTo>
                    <a:pt x="188" y="62"/>
                  </a:lnTo>
                  <a:lnTo>
                    <a:pt x="188" y="65"/>
                  </a:lnTo>
                  <a:close/>
                  <a:moveTo>
                    <a:pt x="197" y="65"/>
                  </a:moveTo>
                  <a:lnTo>
                    <a:pt x="197" y="62"/>
                  </a:lnTo>
                  <a:lnTo>
                    <a:pt x="197" y="65"/>
                  </a:lnTo>
                  <a:close/>
                  <a:moveTo>
                    <a:pt x="195" y="62"/>
                  </a:moveTo>
                  <a:lnTo>
                    <a:pt x="192" y="62"/>
                  </a:lnTo>
                  <a:lnTo>
                    <a:pt x="195" y="62"/>
                  </a:lnTo>
                  <a:close/>
                  <a:moveTo>
                    <a:pt x="199" y="62"/>
                  </a:moveTo>
                  <a:lnTo>
                    <a:pt x="197" y="62"/>
                  </a:lnTo>
                  <a:lnTo>
                    <a:pt x="199" y="62"/>
                  </a:lnTo>
                  <a:close/>
                  <a:moveTo>
                    <a:pt x="183" y="60"/>
                  </a:moveTo>
                  <a:lnTo>
                    <a:pt x="183" y="57"/>
                  </a:lnTo>
                  <a:lnTo>
                    <a:pt x="183" y="60"/>
                  </a:lnTo>
                  <a:close/>
                  <a:moveTo>
                    <a:pt x="197" y="57"/>
                  </a:moveTo>
                  <a:lnTo>
                    <a:pt x="197" y="60"/>
                  </a:lnTo>
                  <a:lnTo>
                    <a:pt x="197" y="57"/>
                  </a:lnTo>
                  <a:close/>
                  <a:moveTo>
                    <a:pt x="183" y="55"/>
                  </a:moveTo>
                  <a:lnTo>
                    <a:pt x="183" y="57"/>
                  </a:lnTo>
                  <a:lnTo>
                    <a:pt x="183" y="55"/>
                  </a:lnTo>
                  <a:close/>
                  <a:moveTo>
                    <a:pt x="188" y="53"/>
                  </a:moveTo>
                  <a:lnTo>
                    <a:pt x="185" y="53"/>
                  </a:lnTo>
                  <a:lnTo>
                    <a:pt x="188" y="53"/>
                  </a:lnTo>
                  <a:close/>
                  <a:moveTo>
                    <a:pt x="161" y="53"/>
                  </a:moveTo>
                  <a:lnTo>
                    <a:pt x="159" y="53"/>
                  </a:lnTo>
                  <a:lnTo>
                    <a:pt x="161" y="53"/>
                  </a:lnTo>
                  <a:close/>
                  <a:moveTo>
                    <a:pt x="161" y="53"/>
                  </a:moveTo>
                  <a:lnTo>
                    <a:pt x="159" y="53"/>
                  </a:lnTo>
                  <a:lnTo>
                    <a:pt x="161" y="53"/>
                  </a:lnTo>
                  <a:close/>
                  <a:moveTo>
                    <a:pt x="173" y="50"/>
                  </a:moveTo>
                  <a:lnTo>
                    <a:pt x="171" y="50"/>
                  </a:lnTo>
                  <a:lnTo>
                    <a:pt x="173" y="50"/>
                  </a:lnTo>
                  <a:close/>
                  <a:moveTo>
                    <a:pt x="180" y="50"/>
                  </a:moveTo>
                  <a:lnTo>
                    <a:pt x="178" y="50"/>
                  </a:lnTo>
                  <a:lnTo>
                    <a:pt x="180" y="50"/>
                  </a:lnTo>
                  <a:close/>
                  <a:moveTo>
                    <a:pt x="176" y="50"/>
                  </a:moveTo>
                  <a:lnTo>
                    <a:pt x="176" y="48"/>
                  </a:lnTo>
                  <a:lnTo>
                    <a:pt x="176" y="50"/>
                  </a:lnTo>
                  <a:close/>
                  <a:moveTo>
                    <a:pt x="164" y="48"/>
                  </a:moveTo>
                  <a:lnTo>
                    <a:pt x="161" y="48"/>
                  </a:lnTo>
                  <a:lnTo>
                    <a:pt x="164" y="48"/>
                  </a:lnTo>
                  <a:close/>
                  <a:moveTo>
                    <a:pt x="166" y="48"/>
                  </a:moveTo>
                  <a:lnTo>
                    <a:pt x="164" y="48"/>
                  </a:lnTo>
                  <a:lnTo>
                    <a:pt x="166" y="48"/>
                  </a:lnTo>
                  <a:close/>
                  <a:moveTo>
                    <a:pt x="161" y="48"/>
                  </a:moveTo>
                  <a:lnTo>
                    <a:pt x="159" y="48"/>
                  </a:lnTo>
                  <a:lnTo>
                    <a:pt x="161" y="48"/>
                  </a:lnTo>
                  <a:close/>
                  <a:moveTo>
                    <a:pt x="164" y="48"/>
                  </a:moveTo>
                  <a:lnTo>
                    <a:pt x="164" y="46"/>
                  </a:lnTo>
                  <a:lnTo>
                    <a:pt x="164" y="48"/>
                  </a:lnTo>
                  <a:close/>
                  <a:moveTo>
                    <a:pt x="173" y="48"/>
                  </a:moveTo>
                  <a:lnTo>
                    <a:pt x="173" y="46"/>
                  </a:lnTo>
                  <a:lnTo>
                    <a:pt x="173" y="48"/>
                  </a:lnTo>
                  <a:close/>
                  <a:moveTo>
                    <a:pt x="171" y="46"/>
                  </a:moveTo>
                  <a:lnTo>
                    <a:pt x="169" y="46"/>
                  </a:lnTo>
                  <a:lnTo>
                    <a:pt x="171" y="46"/>
                  </a:lnTo>
                  <a:close/>
                  <a:moveTo>
                    <a:pt x="159" y="46"/>
                  </a:moveTo>
                  <a:lnTo>
                    <a:pt x="161" y="46"/>
                  </a:lnTo>
                  <a:lnTo>
                    <a:pt x="159" y="46"/>
                  </a:lnTo>
                  <a:close/>
                  <a:moveTo>
                    <a:pt x="166" y="43"/>
                  </a:moveTo>
                  <a:lnTo>
                    <a:pt x="166" y="46"/>
                  </a:lnTo>
                  <a:lnTo>
                    <a:pt x="166" y="43"/>
                  </a:lnTo>
                  <a:close/>
                  <a:moveTo>
                    <a:pt x="169" y="43"/>
                  </a:moveTo>
                  <a:lnTo>
                    <a:pt x="169" y="46"/>
                  </a:lnTo>
                  <a:lnTo>
                    <a:pt x="169" y="43"/>
                  </a:lnTo>
                  <a:close/>
                  <a:moveTo>
                    <a:pt x="164" y="43"/>
                  </a:moveTo>
                  <a:lnTo>
                    <a:pt x="161" y="43"/>
                  </a:lnTo>
                  <a:lnTo>
                    <a:pt x="164" y="43"/>
                  </a:lnTo>
                  <a:close/>
                  <a:moveTo>
                    <a:pt x="166" y="43"/>
                  </a:moveTo>
                  <a:lnTo>
                    <a:pt x="169" y="43"/>
                  </a:lnTo>
                  <a:lnTo>
                    <a:pt x="166" y="43"/>
                  </a:lnTo>
                  <a:lnTo>
                    <a:pt x="169" y="43"/>
                  </a:lnTo>
                  <a:lnTo>
                    <a:pt x="166" y="43"/>
                  </a:lnTo>
                  <a:close/>
                  <a:moveTo>
                    <a:pt x="164" y="43"/>
                  </a:moveTo>
                  <a:lnTo>
                    <a:pt x="161" y="43"/>
                  </a:lnTo>
                  <a:lnTo>
                    <a:pt x="164" y="43"/>
                  </a:lnTo>
                  <a:close/>
                  <a:moveTo>
                    <a:pt x="164" y="43"/>
                  </a:moveTo>
                  <a:lnTo>
                    <a:pt x="161" y="43"/>
                  </a:lnTo>
                  <a:lnTo>
                    <a:pt x="164" y="43"/>
                  </a:lnTo>
                  <a:close/>
                  <a:moveTo>
                    <a:pt x="164" y="41"/>
                  </a:moveTo>
                  <a:lnTo>
                    <a:pt x="161" y="41"/>
                  </a:lnTo>
                  <a:lnTo>
                    <a:pt x="164" y="41"/>
                  </a:lnTo>
                  <a:close/>
                  <a:moveTo>
                    <a:pt x="159" y="36"/>
                  </a:moveTo>
                  <a:lnTo>
                    <a:pt x="159" y="34"/>
                  </a:lnTo>
                  <a:lnTo>
                    <a:pt x="159" y="36"/>
                  </a:lnTo>
                  <a:close/>
                  <a:moveTo>
                    <a:pt x="154" y="26"/>
                  </a:moveTo>
                  <a:lnTo>
                    <a:pt x="154" y="29"/>
                  </a:lnTo>
                  <a:lnTo>
                    <a:pt x="154" y="26"/>
                  </a:lnTo>
                  <a:close/>
                  <a:moveTo>
                    <a:pt x="145" y="17"/>
                  </a:moveTo>
                  <a:lnTo>
                    <a:pt x="145" y="15"/>
                  </a:lnTo>
                  <a:lnTo>
                    <a:pt x="145" y="17"/>
                  </a:lnTo>
                  <a:close/>
                  <a:moveTo>
                    <a:pt x="145" y="10"/>
                  </a:moveTo>
                  <a:lnTo>
                    <a:pt x="145" y="12"/>
                  </a:lnTo>
                  <a:lnTo>
                    <a:pt x="145" y="10"/>
                  </a:lnTo>
                  <a:close/>
                  <a:moveTo>
                    <a:pt x="145" y="3"/>
                  </a:moveTo>
                  <a:lnTo>
                    <a:pt x="145" y="0"/>
                  </a:lnTo>
                  <a:lnTo>
                    <a:pt x="145"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9" name="Freeform 52263"/>
            <p:cNvSpPr>
              <a:spLocks/>
            </p:cNvSpPr>
            <p:nvPr/>
          </p:nvSpPr>
          <p:spPr bwMode="auto">
            <a:xfrm>
              <a:off x="2714622" y="4332301"/>
              <a:ext cx="33338" cy="36513"/>
            </a:xfrm>
            <a:custGeom>
              <a:avLst/>
              <a:gdLst>
                <a:gd name="T0" fmla="*/ 10 w 21"/>
                <a:gd name="T1" fmla="*/ 2 h 23"/>
                <a:gd name="T2" fmla="*/ 7 w 21"/>
                <a:gd name="T3" fmla="*/ 4 h 23"/>
                <a:gd name="T4" fmla="*/ 10 w 21"/>
                <a:gd name="T5" fmla="*/ 7 h 23"/>
                <a:gd name="T6" fmla="*/ 12 w 21"/>
                <a:gd name="T7" fmla="*/ 4 h 23"/>
                <a:gd name="T8" fmla="*/ 17 w 21"/>
                <a:gd name="T9" fmla="*/ 4 h 23"/>
                <a:gd name="T10" fmla="*/ 17 w 21"/>
                <a:gd name="T11" fmla="*/ 7 h 23"/>
                <a:gd name="T12" fmla="*/ 14 w 21"/>
                <a:gd name="T13" fmla="*/ 9 h 23"/>
                <a:gd name="T14" fmla="*/ 14 w 21"/>
                <a:gd name="T15" fmla="*/ 14 h 23"/>
                <a:gd name="T16" fmla="*/ 19 w 21"/>
                <a:gd name="T17" fmla="*/ 14 h 23"/>
                <a:gd name="T18" fmla="*/ 21 w 21"/>
                <a:gd name="T19" fmla="*/ 16 h 23"/>
                <a:gd name="T20" fmla="*/ 19 w 21"/>
                <a:gd name="T21" fmla="*/ 19 h 23"/>
                <a:gd name="T22" fmla="*/ 19 w 21"/>
                <a:gd name="T23" fmla="*/ 19 h 23"/>
                <a:gd name="T24" fmla="*/ 19 w 21"/>
                <a:gd name="T25" fmla="*/ 19 h 23"/>
                <a:gd name="T26" fmla="*/ 19 w 21"/>
                <a:gd name="T27" fmla="*/ 16 h 23"/>
                <a:gd name="T28" fmla="*/ 17 w 21"/>
                <a:gd name="T29" fmla="*/ 19 h 23"/>
                <a:gd name="T30" fmla="*/ 14 w 21"/>
                <a:gd name="T31" fmla="*/ 16 h 23"/>
                <a:gd name="T32" fmla="*/ 12 w 21"/>
                <a:gd name="T33" fmla="*/ 19 h 23"/>
                <a:gd name="T34" fmla="*/ 10 w 21"/>
                <a:gd name="T35" fmla="*/ 19 h 23"/>
                <a:gd name="T36" fmla="*/ 10 w 21"/>
                <a:gd name="T37" fmla="*/ 19 h 23"/>
                <a:gd name="T38" fmla="*/ 7 w 21"/>
                <a:gd name="T39" fmla="*/ 21 h 23"/>
                <a:gd name="T40" fmla="*/ 7 w 21"/>
                <a:gd name="T41" fmla="*/ 21 h 23"/>
                <a:gd name="T42" fmla="*/ 10 w 21"/>
                <a:gd name="T43" fmla="*/ 23 h 23"/>
                <a:gd name="T44" fmla="*/ 5 w 21"/>
                <a:gd name="T45" fmla="*/ 23 h 23"/>
                <a:gd name="T46" fmla="*/ 7 w 21"/>
                <a:gd name="T47" fmla="*/ 21 h 23"/>
                <a:gd name="T48" fmla="*/ 7 w 21"/>
                <a:gd name="T49" fmla="*/ 21 h 23"/>
                <a:gd name="T50" fmla="*/ 2 w 21"/>
                <a:gd name="T51" fmla="*/ 21 h 23"/>
                <a:gd name="T52" fmla="*/ 0 w 21"/>
                <a:gd name="T53" fmla="*/ 19 h 23"/>
                <a:gd name="T54" fmla="*/ 0 w 21"/>
                <a:gd name="T55" fmla="*/ 19 h 23"/>
                <a:gd name="T56" fmla="*/ 0 w 21"/>
                <a:gd name="T57" fmla="*/ 19 h 23"/>
                <a:gd name="T58" fmla="*/ 2 w 21"/>
                <a:gd name="T59" fmla="*/ 16 h 23"/>
                <a:gd name="T60" fmla="*/ 5 w 21"/>
                <a:gd name="T61" fmla="*/ 14 h 23"/>
                <a:gd name="T62" fmla="*/ 2 w 21"/>
                <a:gd name="T63" fmla="*/ 12 h 23"/>
                <a:gd name="T64" fmla="*/ 0 w 21"/>
                <a:gd name="T65" fmla="*/ 14 h 23"/>
                <a:gd name="T66" fmla="*/ 2 w 21"/>
                <a:gd name="T67" fmla="*/ 12 h 23"/>
                <a:gd name="T68" fmla="*/ 5 w 21"/>
                <a:gd name="T69" fmla="*/ 9 h 23"/>
                <a:gd name="T70" fmla="*/ 0 w 21"/>
                <a:gd name="T71" fmla="*/ 9 h 23"/>
                <a:gd name="T72" fmla="*/ 2 w 21"/>
                <a:gd name="T73" fmla="*/ 7 h 23"/>
                <a:gd name="T74" fmla="*/ 5 w 21"/>
                <a:gd name="T75" fmla="*/ 9 h 23"/>
                <a:gd name="T76" fmla="*/ 7 w 21"/>
                <a:gd name="T77" fmla="*/ 7 h 23"/>
                <a:gd name="T78" fmla="*/ 7 w 21"/>
                <a:gd name="T79" fmla="*/ 7 h 23"/>
                <a:gd name="T80" fmla="*/ 10 w 21"/>
                <a:gd name="T81" fmla="*/ 9 h 23"/>
                <a:gd name="T82" fmla="*/ 10 w 21"/>
                <a:gd name="T83" fmla="*/ 9 h 23"/>
                <a:gd name="T84" fmla="*/ 12 w 21"/>
                <a:gd name="T85" fmla="*/ 7 h 23"/>
                <a:gd name="T86" fmla="*/ 10 w 21"/>
                <a:gd name="T87" fmla="*/ 4 h 23"/>
                <a:gd name="T88" fmla="*/ 5 w 21"/>
                <a:gd name="T89" fmla="*/ 4 h 23"/>
                <a:gd name="T90" fmla="*/ 2 w 21"/>
                <a:gd name="T91" fmla="*/ 7 h 23"/>
                <a:gd name="T92" fmla="*/ 5 w 21"/>
                <a:gd name="T93" fmla="*/ 4 h 23"/>
                <a:gd name="T94" fmla="*/ 2 w 21"/>
                <a:gd name="T95" fmla="*/ 2 h 23"/>
                <a:gd name="T96" fmla="*/ 2 w 21"/>
                <a:gd name="T97" fmla="*/ 7 h 23"/>
                <a:gd name="T98" fmla="*/ 0 w 21"/>
                <a:gd name="T99" fmla="*/ 4 h 23"/>
                <a:gd name="T100" fmla="*/ 2 w 21"/>
                <a:gd name="T101" fmla="*/ 2 h 23"/>
                <a:gd name="T102" fmla="*/ 5 w 21"/>
                <a:gd name="T103" fmla="*/ 0 h 23"/>
                <a:gd name="T104" fmla="*/ 10 w 21"/>
                <a:gd name="T10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 h="23">
                  <a:moveTo>
                    <a:pt x="10" y="0"/>
                  </a:moveTo>
                  <a:lnTo>
                    <a:pt x="10" y="2"/>
                  </a:lnTo>
                  <a:lnTo>
                    <a:pt x="7" y="2"/>
                  </a:lnTo>
                  <a:lnTo>
                    <a:pt x="7" y="4"/>
                  </a:lnTo>
                  <a:lnTo>
                    <a:pt x="10" y="4"/>
                  </a:lnTo>
                  <a:lnTo>
                    <a:pt x="10" y="7"/>
                  </a:lnTo>
                  <a:lnTo>
                    <a:pt x="12" y="7"/>
                  </a:lnTo>
                  <a:lnTo>
                    <a:pt x="12" y="4"/>
                  </a:lnTo>
                  <a:lnTo>
                    <a:pt x="14" y="4"/>
                  </a:lnTo>
                  <a:lnTo>
                    <a:pt x="17" y="4"/>
                  </a:lnTo>
                  <a:lnTo>
                    <a:pt x="19" y="7"/>
                  </a:lnTo>
                  <a:lnTo>
                    <a:pt x="17" y="7"/>
                  </a:lnTo>
                  <a:lnTo>
                    <a:pt x="17" y="9"/>
                  </a:lnTo>
                  <a:lnTo>
                    <a:pt x="14" y="9"/>
                  </a:lnTo>
                  <a:lnTo>
                    <a:pt x="14" y="12"/>
                  </a:lnTo>
                  <a:lnTo>
                    <a:pt x="14" y="14"/>
                  </a:lnTo>
                  <a:lnTo>
                    <a:pt x="17" y="14"/>
                  </a:lnTo>
                  <a:lnTo>
                    <a:pt x="19" y="14"/>
                  </a:lnTo>
                  <a:lnTo>
                    <a:pt x="19" y="16"/>
                  </a:lnTo>
                  <a:lnTo>
                    <a:pt x="21" y="16"/>
                  </a:lnTo>
                  <a:lnTo>
                    <a:pt x="19" y="16"/>
                  </a:lnTo>
                  <a:lnTo>
                    <a:pt x="19" y="19"/>
                  </a:lnTo>
                  <a:lnTo>
                    <a:pt x="19" y="21"/>
                  </a:lnTo>
                  <a:lnTo>
                    <a:pt x="19" y="19"/>
                  </a:lnTo>
                  <a:lnTo>
                    <a:pt x="17" y="19"/>
                  </a:lnTo>
                  <a:lnTo>
                    <a:pt x="19" y="19"/>
                  </a:lnTo>
                  <a:lnTo>
                    <a:pt x="17" y="19"/>
                  </a:lnTo>
                  <a:lnTo>
                    <a:pt x="19" y="16"/>
                  </a:lnTo>
                  <a:lnTo>
                    <a:pt x="17" y="16"/>
                  </a:lnTo>
                  <a:lnTo>
                    <a:pt x="17" y="19"/>
                  </a:lnTo>
                  <a:lnTo>
                    <a:pt x="17" y="16"/>
                  </a:lnTo>
                  <a:lnTo>
                    <a:pt x="14" y="16"/>
                  </a:lnTo>
                  <a:lnTo>
                    <a:pt x="12" y="16"/>
                  </a:lnTo>
                  <a:lnTo>
                    <a:pt x="12" y="19"/>
                  </a:lnTo>
                  <a:lnTo>
                    <a:pt x="10" y="16"/>
                  </a:lnTo>
                  <a:lnTo>
                    <a:pt x="10" y="19"/>
                  </a:lnTo>
                  <a:lnTo>
                    <a:pt x="12" y="19"/>
                  </a:lnTo>
                  <a:lnTo>
                    <a:pt x="10" y="19"/>
                  </a:lnTo>
                  <a:lnTo>
                    <a:pt x="10" y="21"/>
                  </a:lnTo>
                  <a:lnTo>
                    <a:pt x="7" y="21"/>
                  </a:lnTo>
                  <a:lnTo>
                    <a:pt x="10" y="21"/>
                  </a:lnTo>
                  <a:lnTo>
                    <a:pt x="7" y="21"/>
                  </a:lnTo>
                  <a:lnTo>
                    <a:pt x="10" y="21"/>
                  </a:lnTo>
                  <a:lnTo>
                    <a:pt x="10" y="23"/>
                  </a:lnTo>
                  <a:lnTo>
                    <a:pt x="7" y="23"/>
                  </a:lnTo>
                  <a:lnTo>
                    <a:pt x="5" y="23"/>
                  </a:lnTo>
                  <a:lnTo>
                    <a:pt x="5" y="21"/>
                  </a:lnTo>
                  <a:lnTo>
                    <a:pt x="7" y="21"/>
                  </a:lnTo>
                  <a:lnTo>
                    <a:pt x="5" y="21"/>
                  </a:lnTo>
                  <a:lnTo>
                    <a:pt x="7" y="21"/>
                  </a:lnTo>
                  <a:lnTo>
                    <a:pt x="5" y="21"/>
                  </a:lnTo>
                  <a:lnTo>
                    <a:pt x="2" y="21"/>
                  </a:lnTo>
                  <a:lnTo>
                    <a:pt x="2" y="19"/>
                  </a:lnTo>
                  <a:lnTo>
                    <a:pt x="0" y="19"/>
                  </a:lnTo>
                  <a:lnTo>
                    <a:pt x="0" y="21"/>
                  </a:lnTo>
                  <a:lnTo>
                    <a:pt x="0" y="19"/>
                  </a:lnTo>
                  <a:lnTo>
                    <a:pt x="2" y="19"/>
                  </a:lnTo>
                  <a:lnTo>
                    <a:pt x="0" y="19"/>
                  </a:lnTo>
                  <a:lnTo>
                    <a:pt x="0" y="16"/>
                  </a:lnTo>
                  <a:lnTo>
                    <a:pt x="2" y="16"/>
                  </a:lnTo>
                  <a:lnTo>
                    <a:pt x="5" y="16"/>
                  </a:lnTo>
                  <a:lnTo>
                    <a:pt x="5" y="14"/>
                  </a:lnTo>
                  <a:lnTo>
                    <a:pt x="2" y="14"/>
                  </a:lnTo>
                  <a:lnTo>
                    <a:pt x="2" y="12"/>
                  </a:lnTo>
                  <a:lnTo>
                    <a:pt x="2" y="14"/>
                  </a:lnTo>
                  <a:lnTo>
                    <a:pt x="0" y="14"/>
                  </a:lnTo>
                  <a:lnTo>
                    <a:pt x="0" y="12"/>
                  </a:lnTo>
                  <a:lnTo>
                    <a:pt x="2" y="12"/>
                  </a:lnTo>
                  <a:lnTo>
                    <a:pt x="5" y="12"/>
                  </a:lnTo>
                  <a:lnTo>
                    <a:pt x="5" y="9"/>
                  </a:lnTo>
                  <a:lnTo>
                    <a:pt x="2" y="9"/>
                  </a:lnTo>
                  <a:lnTo>
                    <a:pt x="0" y="9"/>
                  </a:lnTo>
                  <a:lnTo>
                    <a:pt x="0" y="7"/>
                  </a:lnTo>
                  <a:lnTo>
                    <a:pt x="2" y="7"/>
                  </a:lnTo>
                  <a:lnTo>
                    <a:pt x="5" y="7"/>
                  </a:lnTo>
                  <a:lnTo>
                    <a:pt x="5" y="9"/>
                  </a:lnTo>
                  <a:lnTo>
                    <a:pt x="5" y="7"/>
                  </a:lnTo>
                  <a:lnTo>
                    <a:pt x="7" y="7"/>
                  </a:lnTo>
                  <a:lnTo>
                    <a:pt x="7" y="4"/>
                  </a:lnTo>
                  <a:lnTo>
                    <a:pt x="7" y="7"/>
                  </a:lnTo>
                  <a:lnTo>
                    <a:pt x="10" y="7"/>
                  </a:lnTo>
                  <a:lnTo>
                    <a:pt x="10" y="9"/>
                  </a:lnTo>
                  <a:lnTo>
                    <a:pt x="10" y="12"/>
                  </a:lnTo>
                  <a:lnTo>
                    <a:pt x="10" y="9"/>
                  </a:lnTo>
                  <a:lnTo>
                    <a:pt x="12" y="9"/>
                  </a:lnTo>
                  <a:lnTo>
                    <a:pt x="12" y="7"/>
                  </a:lnTo>
                  <a:lnTo>
                    <a:pt x="10" y="7"/>
                  </a:lnTo>
                  <a:lnTo>
                    <a:pt x="10" y="4"/>
                  </a:lnTo>
                  <a:lnTo>
                    <a:pt x="7" y="4"/>
                  </a:lnTo>
                  <a:lnTo>
                    <a:pt x="5" y="4"/>
                  </a:lnTo>
                  <a:lnTo>
                    <a:pt x="5" y="7"/>
                  </a:lnTo>
                  <a:lnTo>
                    <a:pt x="2" y="7"/>
                  </a:lnTo>
                  <a:lnTo>
                    <a:pt x="5" y="7"/>
                  </a:lnTo>
                  <a:lnTo>
                    <a:pt x="5" y="4"/>
                  </a:lnTo>
                  <a:lnTo>
                    <a:pt x="5" y="2"/>
                  </a:lnTo>
                  <a:lnTo>
                    <a:pt x="2" y="2"/>
                  </a:lnTo>
                  <a:lnTo>
                    <a:pt x="2" y="4"/>
                  </a:lnTo>
                  <a:lnTo>
                    <a:pt x="2" y="7"/>
                  </a:lnTo>
                  <a:lnTo>
                    <a:pt x="0" y="7"/>
                  </a:lnTo>
                  <a:lnTo>
                    <a:pt x="0" y="4"/>
                  </a:lnTo>
                  <a:lnTo>
                    <a:pt x="2" y="4"/>
                  </a:lnTo>
                  <a:lnTo>
                    <a:pt x="2" y="2"/>
                  </a:lnTo>
                  <a:lnTo>
                    <a:pt x="5" y="2"/>
                  </a:lnTo>
                  <a:lnTo>
                    <a:pt x="5" y="0"/>
                  </a:lnTo>
                  <a:lnTo>
                    <a:pt x="7" y="0"/>
                  </a:lnTo>
                  <a:lnTo>
                    <a:pt x="1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0" name="Freeform 52264"/>
            <p:cNvSpPr>
              <a:spLocks noEditPoints="1"/>
            </p:cNvSpPr>
            <p:nvPr/>
          </p:nvSpPr>
          <p:spPr bwMode="auto">
            <a:xfrm>
              <a:off x="2333623" y="4302140"/>
              <a:ext cx="482600" cy="606428"/>
            </a:xfrm>
            <a:custGeom>
              <a:avLst/>
              <a:gdLst>
                <a:gd name="T0" fmla="*/ 221 w 304"/>
                <a:gd name="T1" fmla="*/ 33 h 382"/>
                <a:gd name="T2" fmla="*/ 226 w 304"/>
                <a:gd name="T3" fmla="*/ 33 h 382"/>
                <a:gd name="T4" fmla="*/ 240 w 304"/>
                <a:gd name="T5" fmla="*/ 38 h 382"/>
                <a:gd name="T6" fmla="*/ 261 w 304"/>
                <a:gd name="T7" fmla="*/ 50 h 382"/>
                <a:gd name="T8" fmla="*/ 264 w 304"/>
                <a:gd name="T9" fmla="*/ 54 h 382"/>
                <a:gd name="T10" fmla="*/ 264 w 304"/>
                <a:gd name="T11" fmla="*/ 64 h 382"/>
                <a:gd name="T12" fmla="*/ 280 w 304"/>
                <a:gd name="T13" fmla="*/ 97 h 382"/>
                <a:gd name="T14" fmla="*/ 287 w 304"/>
                <a:gd name="T15" fmla="*/ 133 h 382"/>
                <a:gd name="T16" fmla="*/ 287 w 304"/>
                <a:gd name="T17" fmla="*/ 164 h 382"/>
                <a:gd name="T18" fmla="*/ 302 w 304"/>
                <a:gd name="T19" fmla="*/ 185 h 382"/>
                <a:gd name="T20" fmla="*/ 287 w 304"/>
                <a:gd name="T21" fmla="*/ 204 h 382"/>
                <a:gd name="T22" fmla="*/ 271 w 304"/>
                <a:gd name="T23" fmla="*/ 211 h 382"/>
                <a:gd name="T24" fmla="*/ 238 w 304"/>
                <a:gd name="T25" fmla="*/ 228 h 382"/>
                <a:gd name="T26" fmla="*/ 209 w 304"/>
                <a:gd name="T27" fmla="*/ 235 h 382"/>
                <a:gd name="T28" fmla="*/ 221 w 304"/>
                <a:gd name="T29" fmla="*/ 266 h 382"/>
                <a:gd name="T30" fmla="*/ 242 w 304"/>
                <a:gd name="T31" fmla="*/ 292 h 382"/>
                <a:gd name="T32" fmla="*/ 264 w 304"/>
                <a:gd name="T33" fmla="*/ 316 h 382"/>
                <a:gd name="T34" fmla="*/ 233 w 304"/>
                <a:gd name="T35" fmla="*/ 337 h 382"/>
                <a:gd name="T36" fmla="*/ 231 w 304"/>
                <a:gd name="T37" fmla="*/ 370 h 382"/>
                <a:gd name="T38" fmla="*/ 202 w 304"/>
                <a:gd name="T39" fmla="*/ 366 h 382"/>
                <a:gd name="T40" fmla="*/ 164 w 304"/>
                <a:gd name="T41" fmla="*/ 373 h 382"/>
                <a:gd name="T42" fmla="*/ 145 w 304"/>
                <a:gd name="T43" fmla="*/ 382 h 382"/>
                <a:gd name="T44" fmla="*/ 131 w 304"/>
                <a:gd name="T45" fmla="*/ 366 h 382"/>
                <a:gd name="T46" fmla="*/ 91 w 304"/>
                <a:gd name="T47" fmla="*/ 358 h 382"/>
                <a:gd name="T48" fmla="*/ 76 w 304"/>
                <a:gd name="T49" fmla="*/ 368 h 382"/>
                <a:gd name="T50" fmla="*/ 57 w 304"/>
                <a:gd name="T51" fmla="*/ 347 h 382"/>
                <a:gd name="T52" fmla="*/ 76 w 304"/>
                <a:gd name="T53" fmla="*/ 301 h 382"/>
                <a:gd name="T54" fmla="*/ 41 w 304"/>
                <a:gd name="T55" fmla="*/ 294 h 382"/>
                <a:gd name="T56" fmla="*/ 19 w 304"/>
                <a:gd name="T57" fmla="*/ 278 h 382"/>
                <a:gd name="T58" fmla="*/ 10 w 304"/>
                <a:gd name="T59" fmla="*/ 249 h 382"/>
                <a:gd name="T60" fmla="*/ 12 w 304"/>
                <a:gd name="T61" fmla="*/ 228 h 382"/>
                <a:gd name="T62" fmla="*/ 0 w 304"/>
                <a:gd name="T63" fmla="*/ 199 h 382"/>
                <a:gd name="T64" fmla="*/ 3 w 304"/>
                <a:gd name="T65" fmla="*/ 166 h 382"/>
                <a:gd name="T66" fmla="*/ 31 w 304"/>
                <a:gd name="T67" fmla="*/ 156 h 382"/>
                <a:gd name="T68" fmla="*/ 29 w 304"/>
                <a:gd name="T69" fmla="*/ 126 h 382"/>
                <a:gd name="T70" fmla="*/ 50 w 304"/>
                <a:gd name="T71" fmla="*/ 92 h 382"/>
                <a:gd name="T72" fmla="*/ 48 w 304"/>
                <a:gd name="T73" fmla="*/ 69 h 382"/>
                <a:gd name="T74" fmla="*/ 79 w 304"/>
                <a:gd name="T75" fmla="*/ 83 h 382"/>
                <a:gd name="T76" fmla="*/ 95 w 304"/>
                <a:gd name="T77" fmla="*/ 99 h 382"/>
                <a:gd name="T78" fmla="*/ 88 w 304"/>
                <a:gd name="T79" fmla="*/ 71 h 382"/>
                <a:gd name="T80" fmla="*/ 117 w 304"/>
                <a:gd name="T81" fmla="*/ 64 h 382"/>
                <a:gd name="T82" fmla="*/ 143 w 304"/>
                <a:gd name="T83" fmla="*/ 83 h 382"/>
                <a:gd name="T84" fmla="*/ 183 w 304"/>
                <a:gd name="T85" fmla="*/ 99 h 382"/>
                <a:gd name="T86" fmla="*/ 202 w 304"/>
                <a:gd name="T87" fmla="*/ 123 h 382"/>
                <a:gd name="T88" fmla="*/ 181 w 304"/>
                <a:gd name="T89" fmla="*/ 99 h 382"/>
                <a:gd name="T90" fmla="*/ 140 w 304"/>
                <a:gd name="T91" fmla="*/ 83 h 382"/>
                <a:gd name="T92" fmla="*/ 112 w 304"/>
                <a:gd name="T93" fmla="*/ 57 h 382"/>
                <a:gd name="T94" fmla="*/ 143 w 304"/>
                <a:gd name="T95" fmla="*/ 35 h 382"/>
                <a:gd name="T96" fmla="*/ 174 w 304"/>
                <a:gd name="T97" fmla="*/ 33 h 382"/>
                <a:gd name="T98" fmla="*/ 166 w 304"/>
                <a:gd name="T99" fmla="*/ 57 h 382"/>
                <a:gd name="T100" fmla="*/ 183 w 304"/>
                <a:gd name="T101" fmla="*/ 59 h 382"/>
                <a:gd name="T102" fmla="*/ 195 w 304"/>
                <a:gd name="T103" fmla="*/ 45 h 382"/>
                <a:gd name="T104" fmla="*/ 219 w 304"/>
                <a:gd name="T105" fmla="*/ 31 h 382"/>
                <a:gd name="T106" fmla="*/ 100 w 304"/>
                <a:gd name="T107" fmla="*/ 9 h 382"/>
                <a:gd name="T108" fmla="*/ 133 w 304"/>
                <a:gd name="T109" fmla="*/ 16 h 382"/>
                <a:gd name="T110" fmla="*/ 124 w 304"/>
                <a:gd name="T111" fmla="*/ 28 h 382"/>
                <a:gd name="T112" fmla="*/ 131 w 304"/>
                <a:gd name="T113" fmla="*/ 28 h 382"/>
                <a:gd name="T114" fmla="*/ 114 w 304"/>
                <a:gd name="T115" fmla="*/ 50 h 382"/>
                <a:gd name="T116" fmla="*/ 102 w 304"/>
                <a:gd name="T117" fmla="*/ 35 h 382"/>
                <a:gd name="T118" fmla="*/ 95 w 304"/>
                <a:gd name="T119" fmla="*/ 38 h 382"/>
                <a:gd name="T120" fmla="*/ 100 w 304"/>
                <a:gd name="T121" fmla="*/ 26 h 382"/>
                <a:gd name="T122" fmla="*/ 86 w 304"/>
                <a:gd name="T12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2">
                  <a:moveTo>
                    <a:pt x="93" y="361"/>
                  </a:moveTo>
                  <a:lnTo>
                    <a:pt x="95" y="361"/>
                  </a:lnTo>
                  <a:lnTo>
                    <a:pt x="93" y="361"/>
                  </a:lnTo>
                  <a:lnTo>
                    <a:pt x="93" y="363"/>
                  </a:lnTo>
                  <a:lnTo>
                    <a:pt x="93" y="361"/>
                  </a:lnTo>
                  <a:close/>
                  <a:moveTo>
                    <a:pt x="223" y="31"/>
                  </a:moveTo>
                  <a:lnTo>
                    <a:pt x="226" y="31"/>
                  </a:lnTo>
                  <a:lnTo>
                    <a:pt x="228" y="31"/>
                  </a:lnTo>
                  <a:lnTo>
                    <a:pt x="231" y="31"/>
                  </a:lnTo>
                  <a:lnTo>
                    <a:pt x="233" y="31"/>
                  </a:lnTo>
                  <a:lnTo>
                    <a:pt x="235" y="31"/>
                  </a:lnTo>
                  <a:lnTo>
                    <a:pt x="233" y="31"/>
                  </a:lnTo>
                  <a:lnTo>
                    <a:pt x="233" y="33"/>
                  </a:lnTo>
                  <a:lnTo>
                    <a:pt x="231" y="33"/>
                  </a:lnTo>
                  <a:lnTo>
                    <a:pt x="228" y="33"/>
                  </a:lnTo>
                  <a:lnTo>
                    <a:pt x="226" y="33"/>
                  </a:lnTo>
                  <a:lnTo>
                    <a:pt x="226" y="31"/>
                  </a:lnTo>
                  <a:lnTo>
                    <a:pt x="226" y="33"/>
                  </a:lnTo>
                  <a:lnTo>
                    <a:pt x="226" y="31"/>
                  </a:lnTo>
                  <a:lnTo>
                    <a:pt x="226" y="33"/>
                  </a:lnTo>
                  <a:lnTo>
                    <a:pt x="226" y="31"/>
                  </a:lnTo>
                  <a:lnTo>
                    <a:pt x="226" y="33"/>
                  </a:lnTo>
                  <a:lnTo>
                    <a:pt x="223" y="33"/>
                  </a:lnTo>
                  <a:lnTo>
                    <a:pt x="226" y="33"/>
                  </a:lnTo>
                  <a:lnTo>
                    <a:pt x="223" y="33"/>
                  </a:lnTo>
                  <a:lnTo>
                    <a:pt x="221" y="33"/>
                  </a:lnTo>
                  <a:lnTo>
                    <a:pt x="223" y="33"/>
                  </a:lnTo>
                  <a:lnTo>
                    <a:pt x="221" y="33"/>
                  </a:lnTo>
                  <a:lnTo>
                    <a:pt x="221" y="35"/>
                  </a:lnTo>
                  <a:lnTo>
                    <a:pt x="219" y="35"/>
                  </a:lnTo>
                  <a:lnTo>
                    <a:pt x="221" y="35"/>
                  </a:lnTo>
                  <a:lnTo>
                    <a:pt x="219" y="35"/>
                  </a:lnTo>
                  <a:lnTo>
                    <a:pt x="216" y="35"/>
                  </a:lnTo>
                  <a:lnTo>
                    <a:pt x="216" y="38"/>
                  </a:lnTo>
                  <a:lnTo>
                    <a:pt x="216" y="35"/>
                  </a:lnTo>
                  <a:lnTo>
                    <a:pt x="216" y="38"/>
                  </a:lnTo>
                  <a:lnTo>
                    <a:pt x="214" y="38"/>
                  </a:lnTo>
                  <a:lnTo>
                    <a:pt x="214" y="40"/>
                  </a:lnTo>
                  <a:lnTo>
                    <a:pt x="216" y="40"/>
                  </a:lnTo>
                  <a:lnTo>
                    <a:pt x="214" y="40"/>
                  </a:lnTo>
                  <a:lnTo>
                    <a:pt x="216" y="40"/>
                  </a:lnTo>
                  <a:lnTo>
                    <a:pt x="219" y="40"/>
                  </a:lnTo>
                  <a:lnTo>
                    <a:pt x="216" y="40"/>
                  </a:lnTo>
                  <a:lnTo>
                    <a:pt x="216" y="38"/>
                  </a:lnTo>
                  <a:lnTo>
                    <a:pt x="219" y="38"/>
                  </a:lnTo>
                  <a:lnTo>
                    <a:pt x="219" y="35"/>
                  </a:lnTo>
                  <a:lnTo>
                    <a:pt x="219" y="38"/>
                  </a:lnTo>
                  <a:lnTo>
                    <a:pt x="221" y="38"/>
                  </a:lnTo>
                  <a:lnTo>
                    <a:pt x="221" y="35"/>
                  </a:lnTo>
                  <a:lnTo>
                    <a:pt x="223" y="35"/>
                  </a:lnTo>
                  <a:lnTo>
                    <a:pt x="223" y="33"/>
                  </a:lnTo>
                  <a:lnTo>
                    <a:pt x="226" y="33"/>
                  </a:lnTo>
                  <a:lnTo>
                    <a:pt x="223" y="33"/>
                  </a:lnTo>
                  <a:lnTo>
                    <a:pt x="226" y="33"/>
                  </a:lnTo>
                  <a:lnTo>
                    <a:pt x="226" y="35"/>
                  </a:lnTo>
                  <a:lnTo>
                    <a:pt x="226" y="33"/>
                  </a:lnTo>
                  <a:lnTo>
                    <a:pt x="226" y="35"/>
                  </a:lnTo>
                  <a:lnTo>
                    <a:pt x="228" y="35"/>
                  </a:lnTo>
                  <a:lnTo>
                    <a:pt x="228" y="33"/>
                  </a:lnTo>
                  <a:lnTo>
                    <a:pt x="228" y="35"/>
                  </a:lnTo>
                  <a:lnTo>
                    <a:pt x="228" y="33"/>
                  </a:lnTo>
                  <a:lnTo>
                    <a:pt x="228" y="35"/>
                  </a:lnTo>
                  <a:lnTo>
                    <a:pt x="231" y="35"/>
                  </a:lnTo>
                  <a:lnTo>
                    <a:pt x="233" y="35"/>
                  </a:lnTo>
                  <a:lnTo>
                    <a:pt x="233" y="33"/>
                  </a:lnTo>
                  <a:lnTo>
                    <a:pt x="235" y="33"/>
                  </a:lnTo>
                  <a:lnTo>
                    <a:pt x="235" y="31"/>
                  </a:lnTo>
                  <a:lnTo>
                    <a:pt x="238" y="31"/>
                  </a:lnTo>
                  <a:lnTo>
                    <a:pt x="238" y="33"/>
                  </a:lnTo>
                  <a:lnTo>
                    <a:pt x="235" y="33"/>
                  </a:lnTo>
                  <a:lnTo>
                    <a:pt x="238" y="33"/>
                  </a:lnTo>
                  <a:lnTo>
                    <a:pt x="238" y="35"/>
                  </a:lnTo>
                  <a:lnTo>
                    <a:pt x="238" y="33"/>
                  </a:lnTo>
                  <a:lnTo>
                    <a:pt x="238" y="35"/>
                  </a:lnTo>
                  <a:lnTo>
                    <a:pt x="238" y="38"/>
                  </a:lnTo>
                  <a:lnTo>
                    <a:pt x="240" y="38"/>
                  </a:lnTo>
                  <a:lnTo>
                    <a:pt x="238" y="38"/>
                  </a:lnTo>
                  <a:lnTo>
                    <a:pt x="240" y="38"/>
                  </a:lnTo>
                  <a:lnTo>
                    <a:pt x="240" y="40"/>
                  </a:lnTo>
                  <a:lnTo>
                    <a:pt x="242" y="40"/>
                  </a:lnTo>
                  <a:lnTo>
                    <a:pt x="240" y="40"/>
                  </a:lnTo>
                  <a:lnTo>
                    <a:pt x="242" y="40"/>
                  </a:lnTo>
                  <a:lnTo>
                    <a:pt x="242" y="42"/>
                  </a:lnTo>
                  <a:lnTo>
                    <a:pt x="245" y="42"/>
                  </a:lnTo>
                  <a:lnTo>
                    <a:pt x="245" y="40"/>
                  </a:lnTo>
                  <a:lnTo>
                    <a:pt x="245" y="42"/>
                  </a:lnTo>
                  <a:lnTo>
                    <a:pt x="247" y="42"/>
                  </a:lnTo>
                  <a:lnTo>
                    <a:pt x="247" y="45"/>
                  </a:lnTo>
                  <a:lnTo>
                    <a:pt x="250" y="45"/>
                  </a:lnTo>
                  <a:lnTo>
                    <a:pt x="247" y="45"/>
                  </a:lnTo>
                  <a:lnTo>
                    <a:pt x="247" y="47"/>
                  </a:lnTo>
                  <a:lnTo>
                    <a:pt x="250" y="47"/>
                  </a:lnTo>
                  <a:lnTo>
                    <a:pt x="250" y="45"/>
                  </a:lnTo>
                  <a:lnTo>
                    <a:pt x="250" y="47"/>
                  </a:lnTo>
                  <a:lnTo>
                    <a:pt x="250" y="50"/>
                  </a:lnTo>
                  <a:lnTo>
                    <a:pt x="252" y="50"/>
                  </a:lnTo>
                  <a:lnTo>
                    <a:pt x="252" y="47"/>
                  </a:lnTo>
                  <a:lnTo>
                    <a:pt x="254" y="47"/>
                  </a:lnTo>
                  <a:lnTo>
                    <a:pt x="257" y="47"/>
                  </a:lnTo>
                  <a:lnTo>
                    <a:pt x="257" y="45"/>
                  </a:lnTo>
                  <a:lnTo>
                    <a:pt x="259" y="45"/>
                  </a:lnTo>
                  <a:lnTo>
                    <a:pt x="259" y="47"/>
                  </a:lnTo>
                  <a:lnTo>
                    <a:pt x="261" y="47"/>
                  </a:lnTo>
                  <a:lnTo>
                    <a:pt x="261" y="50"/>
                  </a:lnTo>
                  <a:lnTo>
                    <a:pt x="261" y="52"/>
                  </a:lnTo>
                  <a:lnTo>
                    <a:pt x="259" y="52"/>
                  </a:lnTo>
                  <a:lnTo>
                    <a:pt x="261" y="52"/>
                  </a:lnTo>
                  <a:lnTo>
                    <a:pt x="261" y="54"/>
                  </a:lnTo>
                  <a:lnTo>
                    <a:pt x="264" y="54"/>
                  </a:lnTo>
                  <a:lnTo>
                    <a:pt x="264" y="57"/>
                  </a:lnTo>
                  <a:lnTo>
                    <a:pt x="266" y="57"/>
                  </a:lnTo>
                  <a:lnTo>
                    <a:pt x="264" y="59"/>
                  </a:lnTo>
                  <a:lnTo>
                    <a:pt x="266" y="59"/>
                  </a:lnTo>
                  <a:lnTo>
                    <a:pt x="266" y="57"/>
                  </a:lnTo>
                  <a:lnTo>
                    <a:pt x="266" y="54"/>
                  </a:lnTo>
                  <a:lnTo>
                    <a:pt x="269" y="54"/>
                  </a:lnTo>
                  <a:lnTo>
                    <a:pt x="266" y="54"/>
                  </a:lnTo>
                  <a:lnTo>
                    <a:pt x="266" y="57"/>
                  </a:lnTo>
                  <a:lnTo>
                    <a:pt x="269" y="57"/>
                  </a:lnTo>
                  <a:lnTo>
                    <a:pt x="269" y="54"/>
                  </a:lnTo>
                  <a:lnTo>
                    <a:pt x="269" y="57"/>
                  </a:lnTo>
                  <a:lnTo>
                    <a:pt x="271" y="57"/>
                  </a:lnTo>
                  <a:lnTo>
                    <a:pt x="271" y="54"/>
                  </a:lnTo>
                  <a:lnTo>
                    <a:pt x="271" y="52"/>
                  </a:lnTo>
                  <a:lnTo>
                    <a:pt x="269" y="52"/>
                  </a:lnTo>
                  <a:lnTo>
                    <a:pt x="269" y="50"/>
                  </a:lnTo>
                  <a:lnTo>
                    <a:pt x="266" y="50"/>
                  </a:lnTo>
                  <a:lnTo>
                    <a:pt x="266" y="52"/>
                  </a:lnTo>
                  <a:lnTo>
                    <a:pt x="264" y="52"/>
                  </a:lnTo>
                  <a:lnTo>
                    <a:pt x="264" y="54"/>
                  </a:lnTo>
                  <a:lnTo>
                    <a:pt x="264" y="52"/>
                  </a:lnTo>
                  <a:lnTo>
                    <a:pt x="261" y="52"/>
                  </a:lnTo>
                  <a:lnTo>
                    <a:pt x="261" y="50"/>
                  </a:lnTo>
                  <a:lnTo>
                    <a:pt x="261" y="47"/>
                  </a:lnTo>
                  <a:lnTo>
                    <a:pt x="261" y="45"/>
                  </a:lnTo>
                  <a:lnTo>
                    <a:pt x="264" y="47"/>
                  </a:lnTo>
                  <a:lnTo>
                    <a:pt x="264" y="50"/>
                  </a:lnTo>
                  <a:lnTo>
                    <a:pt x="266" y="50"/>
                  </a:lnTo>
                  <a:lnTo>
                    <a:pt x="269" y="50"/>
                  </a:lnTo>
                  <a:lnTo>
                    <a:pt x="271" y="52"/>
                  </a:lnTo>
                  <a:lnTo>
                    <a:pt x="273" y="54"/>
                  </a:lnTo>
                  <a:lnTo>
                    <a:pt x="276" y="57"/>
                  </a:lnTo>
                  <a:lnTo>
                    <a:pt x="276" y="59"/>
                  </a:lnTo>
                  <a:lnTo>
                    <a:pt x="273" y="59"/>
                  </a:lnTo>
                  <a:lnTo>
                    <a:pt x="271" y="59"/>
                  </a:lnTo>
                  <a:lnTo>
                    <a:pt x="269" y="59"/>
                  </a:lnTo>
                  <a:lnTo>
                    <a:pt x="269" y="61"/>
                  </a:lnTo>
                  <a:lnTo>
                    <a:pt x="266" y="61"/>
                  </a:lnTo>
                  <a:lnTo>
                    <a:pt x="264" y="61"/>
                  </a:lnTo>
                  <a:lnTo>
                    <a:pt x="264" y="59"/>
                  </a:lnTo>
                  <a:lnTo>
                    <a:pt x="261" y="59"/>
                  </a:lnTo>
                  <a:lnTo>
                    <a:pt x="261" y="61"/>
                  </a:lnTo>
                  <a:lnTo>
                    <a:pt x="264" y="61"/>
                  </a:lnTo>
                  <a:lnTo>
                    <a:pt x="261" y="61"/>
                  </a:lnTo>
                  <a:lnTo>
                    <a:pt x="264" y="61"/>
                  </a:lnTo>
                  <a:lnTo>
                    <a:pt x="264" y="64"/>
                  </a:lnTo>
                  <a:lnTo>
                    <a:pt x="266" y="64"/>
                  </a:lnTo>
                  <a:lnTo>
                    <a:pt x="269" y="64"/>
                  </a:lnTo>
                  <a:lnTo>
                    <a:pt x="269" y="66"/>
                  </a:lnTo>
                  <a:lnTo>
                    <a:pt x="271" y="66"/>
                  </a:lnTo>
                  <a:lnTo>
                    <a:pt x="273" y="66"/>
                  </a:lnTo>
                  <a:lnTo>
                    <a:pt x="276" y="66"/>
                  </a:lnTo>
                  <a:lnTo>
                    <a:pt x="278" y="66"/>
                  </a:lnTo>
                  <a:lnTo>
                    <a:pt x="278" y="69"/>
                  </a:lnTo>
                  <a:lnTo>
                    <a:pt x="276" y="69"/>
                  </a:lnTo>
                  <a:lnTo>
                    <a:pt x="278" y="69"/>
                  </a:lnTo>
                  <a:lnTo>
                    <a:pt x="278" y="71"/>
                  </a:lnTo>
                  <a:lnTo>
                    <a:pt x="278" y="73"/>
                  </a:lnTo>
                  <a:lnTo>
                    <a:pt x="278" y="76"/>
                  </a:lnTo>
                  <a:lnTo>
                    <a:pt x="278" y="78"/>
                  </a:lnTo>
                  <a:lnTo>
                    <a:pt x="280" y="78"/>
                  </a:lnTo>
                  <a:lnTo>
                    <a:pt x="280" y="80"/>
                  </a:lnTo>
                  <a:lnTo>
                    <a:pt x="280" y="83"/>
                  </a:lnTo>
                  <a:lnTo>
                    <a:pt x="280" y="85"/>
                  </a:lnTo>
                  <a:lnTo>
                    <a:pt x="283" y="85"/>
                  </a:lnTo>
                  <a:lnTo>
                    <a:pt x="280" y="85"/>
                  </a:lnTo>
                  <a:lnTo>
                    <a:pt x="283" y="88"/>
                  </a:lnTo>
                  <a:lnTo>
                    <a:pt x="283" y="90"/>
                  </a:lnTo>
                  <a:lnTo>
                    <a:pt x="283" y="92"/>
                  </a:lnTo>
                  <a:lnTo>
                    <a:pt x="280" y="92"/>
                  </a:lnTo>
                  <a:lnTo>
                    <a:pt x="280" y="95"/>
                  </a:lnTo>
                  <a:lnTo>
                    <a:pt x="280" y="97"/>
                  </a:lnTo>
                  <a:lnTo>
                    <a:pt x="280" y="99"/>
                  </a:lnTo>
                  <a:lnTo>
                    <a:pt x="280" y="102"/>
                  </a:lnTo>
                  <a:lnTo>
                    <a:pt x="278" y="102"/>
                  </a:lnTo>
                  <a:lnTo>
                    <a:pt x="278" y="104"/>
                  </a:lnTo>
                  <a:lnTo>
                    <a:pt x="276" y="104"/>
                  </a:lnTo>
                  <a:lnTo>
                    <a:pt x="273" y="104"/>
                  </a:lnTo>
                  <a:lnTo>
                    <a:pt x="273" y="107"/>
                  </a:lnTo>
                  <a:lnTo>
                    <a:pt x="273" y="109"/>
                  </a:lnTo>
                  <a:lnTo>
                    <a:pt x="273" y="111"/>
                  </a:lnTo>
                  <a:lnTo>
                    <a:pt x="276" y="111"/>
                  </a:lnTo>
                  <a:lnTo>
                    <a:pt x="276" y="114"/>
                  </a:lnTo>
                  <a:lnTo>
                    <a:pt x="278" y="114"/>
                  </a:lnTo>
                  <a:lnTo>
                    <a:pt x="278" y="116"/>
                  </a:lnTo>
                  <a:lnTo>
                    <a:pt x="280" y="116"/>
                  </a:lnTo>
                  <a:lnTo>
                    <a:pt x="283" y="118"/>
                  </a:lnTo>
                  <a:lnTo>
                    <a:pt x="283" y="121"/>
                  </a:lnTo>
                  <a:lnTo>
                    <a:pt x="285" y="121"/>
                  </a:lnTo>
                  <a:lnTo>
                    <a:pt x="287" y="121"/>
                  </a:lnTo>
                  <a:lnTo>
                    <a:pt x="287" y="123"/>
                  </a:lnTo>
                  <a:lnTo>
                    <a:pt x="290" y="123"/>
                  </a:lnTo>
                  <a:lnTo>
                    <a:pt x="290" y="126"/>
                  </a:lnTo>
                  <a:lnTo>
                    <a:pt x="287" y="126"/>
                  </a:lnTo>
                  <a:lnTo>
                    <a:pt x="290" y="128"/>
                  </a:lnTo>
                  <a:lnTo>
                    <a:pt x="290" y="130"/>
                  </a:lnTo>
                  <a:lnTo>
                    <a:pt x="287" y="130"/>
                  </a:lnTo>
                  <a:lnTo>
                    <a:pt x="287" y="133"/>
                  </a:lnTo>
                  <a:lnTo>
                    <a:pt x="285" y="133"/>
                  </a:lnTo>
                  <a:lnTo>
                    <a:pt x="287" y="135"/>
                  </a:lnTo>
                  <a:lnTo>
                    <a:pt x="287" y="137"/>
                  </a:lnTo>
                  <a:lnTo>
                    <a:pt x="287" y="140"/>
                  </a:lnTo>
                  <a:lnTo>
                    <a:pt x="290" y="140"/>
                  </a:lnTo>
                  <a:lnTo>
                    <a:pt x="292" y="140"/>
                  </a:lnTo>
                  <a:lnTo>
                    <a:pt x="292" y="142"/>
                  </a:lnTo>
                  <a:lnTo>
                    <a:pt x="292" y="145"/>
                  </a:lnTo>
                  <a:lnTo>
                    <a:pt x="290" y="145"/>
                  </a:lnTo>
                  <a:lnTo>
                    <a:pt x="290" y="147"/>
                  </a:lnTo>
                  <a:lnTo>
                    <a:pt x="292" y="147"/>
                  </a:lnTo>
                  <a:lnTo>
                    <a:pt x="290" y="147"/>
                  </a:lnTo>
                  <a:lnTo>
                    <a:pt x="292" y="147"/>
                  </a:lnTo>
                  <a:lnTo>
                    <a:pt x="292" y="149"/>
                  </a:lnTo>
                  <a:lnTo>
                    <a:pt x="295" y="149"/>
                  </a:lnTo>
                  <a:lnTo>
                    <a:pt x="292" y="149"/>
                  </a:lnTo>
                  <a:lnTo>
                    <a:pt x="292" y="152"/>
                  </a:lnTo>
                  <a:lnTo>
                    <a:pt x="292" y="154"/>
                  </a:lnTo>
                  <a:lnTo>
                    <a:pt x="292" y="156"/>
                  </a:lnTo>
                  <a:lnTo>
                    <a:pt x="292" y="159"/>
                  </a:lnTo>
                  <a:lnTo>
                    <a:pt x="290" y="159"/>
                  </a:lnTo>
                  <a:lnTo>
                    <a:pt x="290" y="161"/>
                  </a:lnTo>
                  <a:lnTo>
                    <a:pt x="287" y="161"/>
                  </a:lnTo>
                  <a:lnTo>
                    <a:pt x="290" y="161"/>
                  </a:lnTo>
                  <a:lnTo>
                    <a:pt x="287" y="161"/>
                  </a:lnTo>
                  <a:lnTo>
                    <a:pt x="287" y="164"/>
                  </a:lnTo>
                  <a:lnTo>
                    <a:pt x="290" y="164"/>
                  </a:lnTo>
                  <a:lnTo>
                    <a:pt x="290" y="166"/>
                  </a:lnTo>
                  <a:lnTo>
                    <a:pt x="292" y="166"/>
                  </a:lnTo>
                  <a:lnTo>
                    <a:pt x="292" y="168"/>
                  </a:lnTo>
                  <a:lnTo>
                    <a:pt x="295" y="171"/>
                  </a:lnTo>
                  <a:lnTo>
                    <a:pt x="292" y="171"/>
                  </a:lnTo>
                  <a:lnTo>
                    <a:pt x="295" y="171"/>
                  </a:lnTo>
                  <a:lnTo>
                    <a:pt x="292" y="171"/>
                  </a:lnTo>
                  <a:lnTo>
                    <a:pt x="295" y="171"/>
                  </a:lnTo>
                  <a:lnTo>
                    <a:pt x="295" y="173"/>
                  </a:lnTo>
                  <a:lnTo>
                    <a:pt x="292" y="173"/>
                  </a:lnTo>
                  <a:lnTo>
                    <a:pt x="292" y="175"/>
                  </a:lnTo>
                  <a:lnTo>
                    <a:pt x="295" y="175"/>
                  </a:lnTo>
                  <a:lnTo>
                    <a:pt x="295" y="178"/>
                  </a:lnTo>
                  <a:lnTo>
                    <a:pt x="295" y="175"/>
                  </a:lnTo>
                  <a:lnTo>
                    <a:pt x="295" y="178"/>
                  </a:lnTo>
                  <a:lnTo>
                    <a:pt x="295" y="175"/>
                  </a:lnTo>
                  <a:lnTo>
                    <a:pt x="295" y="178"/>
                  </a:lnTo>
                  <a:lnTo>
                    <a:pt x="297" y="178"/>
                  </a:lnTo>
                  <a:lnTo>
                    <a:pt x="299" y="178"/>
                  </a:lnTo>
                  <a:lnTo>
                    <a:pt x="299" y="180"/>
                  </a:lnTo>
                  <a:lnTo>
                    <a:pt x="302" y="180"/>
                  </a:lnTo>
                  <a:lnTo>
                    <a:pt x="299" y="180"/>
                  </a:lnTo>
                  <a:lnTo>
                    <a:pt x="299" y="183"/>
                  </a:lnTo>
                  <a:lnTo>
                    <a:pt x="302" y="183"/>
                  </a:lnTo>
                  <a:lnTo>
                    <a:pt x="302" y="185"/>
                  </a:lnTo>
                  <a:lnTo>
                    <a:pt x="299" y="185"/>
                  </a:lnTo>
                  <a:lnTo>
                    <a:pt x="302" y="185"/>
                  </a:lnTo>
                  <a:lnTo>
                    <a:pt x="302" y="187"/>
                  </a:lnTo>
                  <a:lnTo>
                    <a:pt x="302" y="190"/>
                  </a:lnTo>
                  <a:lnTo>
                    <a:pt x="304" y="190"/>
                  </a:lnTo>
                  <a:lnTo>
                    <a:pt x="302" y="190"/>
                  </a:lnTo>
                  <a:lnTo>
                    <a:pt x="302" y="192"/>
                  </a:lnTo>
                  <a:lnTo>
                    <a:pt x="302" y="194"/>
                  </a:lnTo>
                  <a:lnTo>
                    <a:pt x="302" y="197"/>
                  </a:lnTo>
                  <a:lnTo>
                    <a:pt x="302" y="199"/>
                  </a:lnTo>
                  <a:lnTo>
                    <a:pt x="299" y="199"/>
                  </a:lnTo>
                  <a:lnTo>
                    <a:pt x="302" y="199"/>
                  </a:lnTo>
                  <a:lnTo>
                    <a:pt x="299" y="199"/>
                  </a:lnTo>
                  <a:lnTo>
                    <a:pt x="299" y="202"/>
                  </a:lnTo>
                  <a:lnTo>
                    <a:pt x="299" y="204"/>
                  </a:lnTo>
                  <a:lnTo>
                    <a:pt x="297" y="204"/>
                  </a:lnTo>
                  <a:lnTo>
                    <a:pt x="297" y="206"/>
                  </a:lnTo>
                  <a:lnTo>
                    <a:pt x="295" y="206"/>
                  </a:lnTo>
                  <a:lnTo>
                    <a:pt x="295" y="209"/>
                  </a:lnTo>
                  <a:lnTo>
                    <a:pt x="295" y="211"/>
                  </a:lnTo>
                  <a:lnTo>
                    <a:pt x="292" y="211"/>
                  </a:lnTo>
                  <a:lnTo>
                    <a:pt x="292" y="209"/>
                  </a:lnTo>
                  <a:lnTo>
                    <a:pt x="290" y="209"/>
                  </a:lnTo>
                  <a:lnTo>
                    <a:pt x="290" y="206"/>
                  </a:lnTo>
                  <a:lnTo>
                    <a:pt x="287" y="206"/>
                  </a:lnTo>
                  <a:lnTo>
                    <a:pt x="287" y="204"/>
                  </a:lnTo>
                  <a:lnTo>
                    <a:pt x="287" y="202"/>
                  </a:lnTo>
                  <a:lnTo>
                    <a:pt x="285" y="202"/>
                  </a:lnTo>
                  <a:lnTo>
                    <a:pt x="285" y="199"/>
                  </a:lnTo>
                  <a:lnTo>
                    <a:pt x="283" y="199"/>
                  </a:lnTo>
                  <a:lnTo>
                    <a:pt x="283" y="202"/>
                  </a:lnTo>
                  <a:lnTo>
                    <a:pt x="280" y="202"/>
                  </a:lnTo>
                  <a:lnTo>
                    <a:pt x="280" y="199"/>
                  </a:lnTo>
                  <a:lnTo>
                    <a:pt x="278" y="199"/>
                  </a:lnTo>
                  <a:lnTo>
                    <a:pt x="278" y="202"/>
                  </a:lnTo>
                  <a:lnTo>
                    <a:pt x="278" y="204"/>
                  </a:lnTo>
                  <a:lnTo>
                    <a:pt x="280" y="202"/>
                  </a:lnTo>
                  <a:lnTo>
                    <a:pt x="280" y="204"/>
                  </a:lnTo>
                  <a:lnTo>
                    <a:pt x="278" y="204"/>
                  </a:lnTo>
                  <a:lnTo>
                    <a:pt x="280" y="204"/>
                  </a:lnTo>
                  <a:lnTo>
                    <a:pt x="283" y="204"/>
                  </a:lnTo>
                  <a:lnTo>
                    <a:pt x="283" y="206"/>
                  </a:lnTo>
                  <a:lnTo>
                    <a:pt x="280" y="206"/>
                  </a:lnTo>
                  <a:lnTo>
                    <a:pt x="283" y="206"/>
                  </a:lnTo>
                  <a:lnTo>
                    <a:pt x="280" y="206"/>
                  </a:lnTo>
                  <a:lnTo>
                    <a:pt x="278" y="209"/>
                  </a:lnTo>
                  <a:lnTo>
                    <a:pt x="278" y="206"/>
                  </a:lnTo>
                  <a:lnTo>
                    <a:pt x="276" y="206"/>
                  </a:lnTo>
                  <a:lnTo>
                    <a:pt x="276" y="209"/>
                  </a:lnTo>
                  <a:lnTo>
                    <a:pt x="273" y="209"/>
                  </a:lnTo>
                  <a:lnTo>
                    <a:pt x="273" y="211"/>
                  </a:lnTo>
                  <a:lnTo>
                    <a:pt x="271" y="211"/>
                  </a:lnTo>
                  <a:lnTo>
                    <a:pt x="269" y="211"/>
                  </a:lnTo>
                  <a:lnTo>
                    <a:pt x="266" y="211"/>
                  </a:lnTo>
                  <a:lnTo>
                    <a:pt x="266" y="213"/>
                  </a:lnTo>
                  <a:lnTo>
                    <a:pt x="266" y="216"/>
                  </a:lnTo>
                  <a:lnTo>
                    <a:pt x="264" y="216"/>
                  </a:lnTo>
                  <a:lnTo>
                    <a:pt x="264" y="213"/>
                  </a:lnTo>
                  <a:lnTo>
                    <a:pt x="264" y="216"/>
                  </a:lnTo>
                  <a:lnTo>
                    <a:pt x="261" y="216"/>
                  </a:lnTo>
                  <a:lnTo>
                    <a:pt x="259" y="216"/>
                  </a:lnTo>
                  <a:lnTo>
                    <a:pt x="257" y="216"/>
                  </a:lnTo>
                  <a:lnTo>
                    <a:pt x="254" y="216"/>
                  </a:lnTo>
                  <a:lnTo>
                    <a:pt x="252" y="216"/>
                  </a:lnTo>
                  <a:lnTo>
                    <a:pt x="254" y="218"/>
                  </a:lnTo>
                  <a:lnTo>
                    <a:pt x="252" y="218"/>
                  </a:lnTo>
                  <a:lnTo>
                    <a:pt x="252" y="221"/>
                  </a:lnTo>
                  <a:lnTo>
                    <a:pt x="250" y="221"/>
                  </a:lnTo>
                  <a:lnTo>
                    <a:pt x="247" y="221"/>
                  </a:lnTo>
                  <a:lnTo>
                    <a:pt x="247" y="223"/>
                  </a:lnTo>
                  <a:lnTo>
                    <a:pt x="245" y="223"/>
                  </a:lnTo>
                  <a:lnTo>
                    <a:pt x="245" y="221"/>
                  </a:lnTo>
                  <a:lnTo>
                    <a:pt x="245" y="223"/>
                  </a:lnTo>
                  <a:lnTo>
                    <a:pt x="242" y="223"/>
                  </a:lnTo>
                  <a:lnTo>
                    <a:pt x="242" y="225"/>
                  </a:lnTo>
                  <a:lnTo>
                    <a:pt x="240" y="225"/>
                  </a:lnTo>
                  <a:lnTo>
                    <a:pt x="238" y="225"/>
                  </a:lnTo>
                  <a:lnTo>
                    <a:pt x="238" y="228"/>
                  </a:lnTo>
                  <a:lnTo>
                    <a:pt x="235" y="228"/>
                  </a:lnTo>
                  <a:lnTo>
                    <a:pt x="235" y="230"/>
                  </a:lnTo>
                  <a:lnTo>
                    <a:pt x="233" y="230"/>
                  </a:lnTo>
                  <a:lnTo>
                    <a:pt x="231" y="230"/>
                  </a:lnTo>
                  <a:lnTo>
                    <a:pt x="231" y="228"/>
                  </a:lnTo>
                  <a:lnTo>
                    <a:pt x="231" y="230"/>
                  </a:lnTo>
                  <a:lnTo>
                    <a:pt x="228" y="230"/>
                  </a:lnTo>
                  <a:lnTo>
                    <a:pt x="226" y="230"/>
                  </a:lnTo>
                  <a:lnTo>
                    <a:pt x="226" y="232"/>
                  </a:lnTo>
                  <a:lnTo>
                    <a:pt x="226" y="230"/>
                  </a:lnTo>
                  <a:lnTo>
                    <a:pt x="223" y="230"/>
                  </a:lnTo>
                  <a:lnTo>
                    <a:pt x="221" y="232"/>
                  </a:lnTo>
                  <a:lnTo>
                    <a:pt x="219" y="232"/>
                  </a:lnTo>
                  <a:lnTo>
                    <a:pt x="219" y="235"/>
                  </a:lnTo>
                  <a:lnTo>
                    <a:pt x="216" y="235"/>
                  </a:lnTo>
                  <a:lnTo>
                    <a:pt x="216" y="237"/>
                  </a:lnTo>
                  <a:lnTo>
                    <a:pt x="214" y="237"/>
                  </a:lnTo>
                  <a:lnTo>
                    <a:pt x="214" y="240"/>
                  </a:lnTo>
                  <a:lnTo>
                    <a:pt x="214" y="242"/>
                  </a:lnTo>
                  <a:lnTo>
                    <a:pt x="212" y="242"/>
                  </a:lnTo>
                  <a:lnTo>
                    <a:pt x="212" y="240"/>
                  </a:lnTo>
                  <a:lnTo>
                    <a:pt x="212" y="237"/>
                  </a:lnTo>
                  <a:lnTo>
                    <a:pt x="212" y="240"/>
                  </a:lnTo>
                  <a:lnTo>
                    <a:pt x="212" y="237"/>
                  </a:lnTo>
                  <a:lnTo>
                    <a:pt x="209" y="237"/>
                  </a:lnTo>
                  <a:lnTo>
                    <a:pt x="209" y="235"/>
                  </a:lnTo>
                  <a:lnTo>
                    <a:pt x="207" y="235"/>
                  </a:lnTo>
                  <a:lnTo>
                    <a:pt x="207" y="237"/>
                  </a:lnTo>
                  <a:lnTo>
                    <a:pt x="207" y="240"/>
                  </a:lnTo>
                  <a:lnTo>
                    <a:pt x="209" y="240"/>
                  </a:lnTo>
                  <a:lnTo>
                    <a:pt x="207" y="240"/>
                  </a:lnTo>
                  <a:lnTo>
                    <a:pt x="209" y="240"/>
                  </a:lnTo>
                  <a:lnTo>
                    <a:pt x="209" y="242"/>
                  </a:lnTo>
                  <a:lnTo>
                    <a:pt x="209" y="244"/>
                  </a:lnTo>
                  <a:lnTo>
                    <a:pt x="209" y="247"/>
                  </a:lnTo>
                  <a:lnTo>
                    <a:pt x="212" y="247"/>
                  </a:lnTo>
                  <a:lnTo>
                    <a:pt x="212" y="249"/>
                  </a:lnTo>
                  <a:lnTo>
                    <a:pt x="212" y="247"/>
                  </a:lnTo>
                  <a:lnTo>
                    <a:pt x="214" y="249"/>
                  </a:lnTo>
                  <a:lnTo>
                    <a:pt x="216" y="249"/>
                  </a:lnTo>
                  <a:lnTo>
                    <a:pt x="216" y="251"/>
                  </a:lnTo>
                  <a:lnTo>
                    <a:pt x="219" y="251"/>
                  </a:lnTo>
                  <a:lnTo>
                    <a:pt x="219" y="254"/>
                  </a:lnTo>
                  <a:lnTo>
                    <a:pt x="221" y="254"/>
                  </a:lnTo>
                  <a:lnTo>
                    <a:pt x="221" y="256"/>
                  </a:lnTo>
                  <a:lnTo>
                    <a:pt x="219" y="256"/>
                  </a:lnTo>
                  <a:lnTo>
                    <a:pt x="219" y="259"/>
                  </a:lnTo>
                  <a:lnTo>
                    <a:pt x="219" y="261"/>
                  </a:lnTo>
                  <a:lnTo>
                    <a:pt x="216" y="263"/>
                  </a:lnTo>
                  <a:lnTo>
                    <a:pt x="216" y="266"/>
                  </a:lnTo>
                  <a:lnTo>
                    <a:pt x="219" y="266"/>
                  </a:lnTo>
                  <a:lnTo>
                    <a:pt x="221" y="266"/>
                  </a:lnTo>
                  <a:lnTo>
                    <a:pt x="219" y="268"/>
                  </a:lnTo>
                  <a:lnTo>
                    <a:pt x="221" y="268"/>
                  </a:lnTo>
                  <a:lnTo>
                    <a:pt x="219" y="268"/>
                  </a:lnTo>
                  <a:lnTo>
                    <a:pt x="221" y="268"/>
                  </a:lnTo>
                  <a:lnTo>
                    <a:pt x="221" y="270"/>
                  </a:lnTo>
                  <a:lnTo>
                    <a:pt x="221" y="273"/>
                  </a:lnTo>
                  <a:lnTo>
                    <a:pt x="223" y="273"/>
                  </a:lnTo>
                  <a:lnTo>
                    <a:pt x="223" y="275"/>
                  </a:lnTo>
                  <a:lnTo>
                    <a:pt x="223" y="278"/>
                  </a:lnTo>
                  <a:lnTo>
                    <a:pt x="226" y="278"/>
                  </a:lnTo>
                  <a:lnTo>
                    <a:pt x="226" y="280"/>
                  </a:lnTo>
                  <a:lnTo>
                    <a:pt x="228" y="280"/>
                  </a:lnTo>
                  <a:lnTo>
                    <a:pt x="228" y="282"/>
                  </a:lnTo>
                  <a:lnTo>
                    <a:pt x="231" y="282"/>
                  </a:lnTo>
                  <a:lnTo>
                    <a:pt x="233" y="282"/>
                  </a:lnTo>
                  <a:lnTo>
                    <a:pt x="231" y="282"/>
                  </a:lnTo>
                  <a:lnTo>
                    <a:pt x="233" y="282"/>
                  </a:lnTo>
                  <a:lnTo>
                    <a:pt x="235" y="282"/>
                  </a:lnTo>
                  <a:lnTo>
                    <a:pt x="235" y="285"/>
                  </a:lnTo>
                  <a:lnTo>
                    <a:pt x="238" y="285"/>
                  </a:lnTo>
                  <a:lnTo>
                    <a:pt x="235" y="285"/>
                  </a:lnTo>
                  <a:lnTo>
                    <a:pt x="238" y="287"/>
                  </a:lnTo>
                  <a:lnTo>
                    <a:pt x="240" y="290"/>
                  </a:lnTo>
                  <a:lnTo>
                    <a:pt x="242" y="292"/>
                  </a:lnTo>
                  <a:lnTo>
                    <a:pt x="240" y="292"/>
                  </a:lnTo>
                  <a:lnTo>
                    <a:pt x="242" y="292"/>
                  </a:lnTo>
                  <a:lnTo>
                    <a:pt x="242" y="294"/>
                  </a:lnTo>
                  <a:lnTo>
                    <a:pt x="245" y="294"/>
                  </a:lnTo>
                  <a:lnTo>
                    <a:pt x="247" y="294"/>
                  </a:lnTo>
                  <a:lnTo>
                    <a:pt x="247" y="297"/>
                  </a:lnTo>
                  <a:lnTo>
                    <a:pt x="250" y="297"/>
                  </a:lnTo>
                  <a:lnTo>
                    <a:pt x="250" y="299"/>
                  </a:lnTo>
                  <a:lnTo>
                    <a:pt x="250" y="301"/>
                  </a:lnTo>
                  <a:lnTo>
                    <a:pt x="252" y="301"/>
                  </a:lnTo>
                  <a:lnTo>
                    <a:pt x="254" y="301"/>
                  </a:lnTo>
                  <a:lnTo>
                    <a:pt x="257" y="301"/>
                  </a:lnTo>
                  <a:lnTo>
                    <a:pt x="257" y="304"/>
                  </a:lnTo>
                  <a:lnTo>
                    <a:pt x="259" y="304"/>
                  </a:lnTo>
                  <a:lnTo>
                    <a:pt x="259" y="306"/>
                  </a:lnTo>
                  <a:lnTo>
                    <a:pt x="259" y="304"/>
                  </a:lnTo>
                  <a:lnTo>
                    <a:pt x="259" y="306"/>
                  </a:lnTo>
                  <a:lnTo>
                    <a:pt x="261" y="306"/>
                  </a:lnTo>
                  <a:lnTo>
                    <a:pt x="261" y="309"/>
                  </a:lnTo>
                  <a:lnTo>
                    <a:pt x="261" y="311"/>
                  </a:lnTo>
                  <a:lnTo>
                    <a:pt x="264" y="311"/>
                  </a:lnTo>
                  <a:lnTo>
                    <a:pt x="261" y="311"/>
                  </a:lnTo>
                  <a:lnTo>
                    <a:pt x="261" y="313"/>
                  </a:lnTo>
                  <a:lnTo>
                    <a:pt x="264" y="313"/>
                  </a:lnTo>
                  <a:lnTo>
                    <a:pt x="261" y="313"/>
                  </a:lnTo>
                  <a:lnTo>
                    <a:pt x="264" y="316"/>
                  </a:lnTo>
                  <a:lnTo>
                    <a:pt x="261" y="316"/>
                  </a:lnTo>
                  <a:lnTo>
                    <a:pt x="264" y="316"/>
                  </a:lnTo>
                  <a:lnTo>
                    <a:pt x="264" y="318"/>
                  </a:lnTo>
                  <a:lnTo>
                    <a:pt x="261" y="318"/>
                  </a:lnTo>
                  <a:lnTo>
                    <a:pt x="261" y="320"/>
                  </a:lnTo>
                  <a:lnTo>
                    <a:pt x="259" y="320"/>
                  </a:lnTo>
                  <a:lnTo>
                    <a:pt x="261" y="320"/>
                  </a:lnTo>
                  <a:lnTo>
                    <a:pt x="259" y="320"/>
                  </a:lnTo>
                  <a:lnTo>
                    <a:pt x="259" y="323"/>
                  </a:lnTo>
                  <a:lnTo>
                    <a:pt x="257" y="320"/>
                  </a:lnTo>
                  <a:lnTo>
                    <a:pt x="254" y="320"/>
                  </a:lnTo>
                  <a:lnTo>
                    <a:pt x="252" y="318"/>
                  </a:lnTo>
                  <a:lnTo>
                    <a:pt x="252" y="320"/>
                  </a:lnTo>
                  <a:lnTo>
                    <a:pt x="250" y="320"/>
                  </a:lnTo>
                  <a:lnTo>
                    <a:pt x="250" y="323"/>
                  </a:lnTo>
                  <a:lnTo>
                    <a:pt x="250" y="325"/>
                  </a:lnTo>
                  <a:lnTo>
                    <a:pt x="250" y="328"/>
                  </a:lnTo>
                  <a:lnTo>
                    <a:pt x="250" y="330"/>
                  </a:lnTo>
                  <a:lnTo>
                    <a:pt x="247" y="330"/>
                  </a:lnTo>
                  <a:lnTo>
                    <a:pt x="247" y="332"/>
                  </a:lnTo>
                  <a:lnTo>
                    <a:pt x="245" y="332"/>
                  </a:lnTo>
                  <a:lnTo>
                    <a:pt x="242" y="332"/>
                  </a:lnTo>
                  <a:lnTo>
                    <a:pt x="240" y="332"/>
                  </a:lnTo>
                  <a:lnTo>
                    <a:pt x="240" y="335"/>
                  </a:lnTo>
                  <a:lnTo>
                    <a:pt x="238" y="335"/>
                  </a:lnTo>
                  <a:lnTo>
                    <a:pt x="235" y="335"/>
                  </a:lnTo>
                  <a:lnTo>
                    <a:pt x="235" y="337"/>
                  </a:lnTo>
                  <a:lnTo>
                    <a:pt x="233" y="337"/>
                  </a:lnTo>
                  <a:lnTo>
                    <a:pt x="231" y="337"/>
                  </a:lnTo>
                  <a:lnTo>
                    <a:pt x="231" y="339"/>
                  </a:lnTo>
                  <a:lnTo>
                    <a:pt x="228" y="339"/>
                  </a:lnTo>
                  <a:lnTo>
                    <a:pt x="228" y="342"/>
                  </a:lnTo>
                  <a:lnTo>
                    <a:pt x="228" y="344"/>
                  </a:lnTo>
                  <a:lnTo>
                    <a:pt x="231" y="347"/>
                  </a:lnTo>
                  <a:lnTo>
                    <a:pt x="231" y="349"/>
                  </a:lnTo>
                  <a:lnTo>
                    <a:pt x="233" y="349"/>
                  </a:lnTo>
                  <a:lnTo>
                    <a:pt x="233" y="351"/>
                  </a:lnTo>
                  <a:lnTo>
                    <a:pt x="235" y="351"/>
                  </a:lnTo>
                  <a:lnTo>
                    <a:pt x="235" y="354"/>
                  </a:lnTo>
                  <a:lnTo>
                    <a:pt x="235" y="356"/>
                  </a:lnTo>
                  <a:lnTo>
                    <a:pt x="233" y="356"/>
                  </a:lnTo>
                  <a:lnTo>
                    <a:pt x="233" y="358"/>
                  </a:lnTo>
                  <a:lnTo>
                    <a:pt x="233" y="361"/>
                  </a:lnTo>
                  <a:lnTo>
                    <a:pt x="235" y="361"/>
                  </a:lnTo>
                  <a:lnTo>
                    <a:pt x="238" y="361"/>
                  </a:lnTo>
                  <a:lnTo>
                    <a:pt x="238" y="363"/>
                  </a:lnTo>
                  <a:lnTo>
                    <a:pt x="238" y="366"/>
                  </a:lnTo>
                  <a:lnTo>
                    <a:pt x="238" y="368"/>
                  </a:lnTo>
                  <a:lnTo>
                    <a:pt x="238" y="370"/>
                  </a:lnTo>
                  <a:lnTo>
                    <a:pt x="238" y="373"/>
                  </a:lnTo>
                  <a:lnTo>
                    <a:pt x="235" y="373"/>
                  </a:lnTo>
                  <a:lnTo>
                    <a:pt x="233" y="373"/>
                  </a:lnTo>
                  <a:lnTo>
                    <a:pt x="233" y="370"/>
                  </a:lnTo>
                  <a:lnTo>
                    <a:pt x="231" y="370"/>
                  </a:lnTo>
                  <a:lnTo>
                    <a:pt x="231" y="368"/>
                  </a:lnTo>
                  <a:lnTo>
                    <a:pt x="228" y="368"/>
                  </a:lnTo>
                  <a:lnTo>
                    <a:pt x="228" y="366"/>
                  </a:lnTo>
                  <a:lnTo>
                    <a:pt x="231" y="366"/>
                  </a:lnTo>
                  <a:lnTo>
                    <a:pt x="228" y="366"/>
                  </a:lnTo>
                  <a:lnTo>
                    <a:pt x="228" y="363"/>
                  </a:lnTo>
                  <a:lnTo>
                    <a:pt x="226" y="363"/>
                  </a:lnTo>
                  <a:lnTo>
                    <a:pt x="223" y="363"/>
                  </a:lnTo>
                  <a:lnTo>
                    <a:pt x="221" y="363"/>
                  </a:lnTo>
                  <a:lnTo>
                    <a:pt x="221" y="366"/>
                  </a:lnTo>
                  <a:lnTo>
                    <a:pt x="219" y="366"/>
                  </a:lnTo>
                  <a:lnTo>
                    <a:pt x="219" y="363"/>
                  </a:lnTo>
                  <a:lnTo>
                    <a:pt x="216" y="363"/>
                  </a:lnTo>
                  <a:lnTo>
                    <a:pt x="216" y="361"/>
                  </a:lnTo>
                  <a:lnTo>
                    <a:pt x="214" y="363"/>
                  </a:lnTo>
                  <a:lnTo>
                    <a:pt x="214" y="361"/>
                  </a:lnTo>
                  <a:lnTo>
                    <a:pt x="212" y="361"/>
                  </a:lnTo>
                  <a:lnTo>
                    <a:pt x="212" y="363"/>
                  </a:lnTo>
                  <a:lnTo>
                    <a:pt x="212" y="361"/>
                  </a:lnTo>
                  <a:lnTo>
                    <a:pt x="212" y="358"/>
                  </a:lnTo>
                  <a:lnTo>
                    <a:pt x="209" y="361"/>
                  </a:lnTo>
                  <a:lnTo>
                    <a:pt x="209" y="363"/>
                  </a:lnTo>
                  <a:lnTo>
                    <a:pt x="209" y="366"/>
                  </a:lnTo>
                  <a:lnTo>
                    <a:pt x="207" y="366"/>
                  </a:lnTo>
                  <a:lnTo>
                    <a:pt x="204" y="366"/>
                  </a:lnTo>
                  <a:lnTo>
                    <a:pt x="202" y="366"/>
                  </a:lnTo>
                  <a:lnTo>
                    <a:pt x="200" y="366"/>
                  </a:lnTo>
                  <a:lnTo>
                    <a:pt x="197" y="366"/>
                  </a:lnTo>
                  <a:lnTo>
                    <a:pt x="197" y="368"/>
                  </a:lnTo>
                  <a:lnTo>
                    <a:pt x="195" y="366"/>
                  </a:lnTo>
                  <a:lnTo>
                    <a:pt x="193" y="366"/>
                  </a:lnTo>
                  <a:lnTo>
                    <a:pt x="193" y="368"/>
                  </a:lnTo>
                  <a:lnTo>
                    <a:pt x="190" y="368"/>
                  </a:lnTo>
                  <a:lnTo>
                    <a:pt x="190" y="366"/>
                  </a:lnTo>
                  <a:lnTo>
                    <a:pt x="190" y="368"/>
                  </a:lnTo>
                  <a:lnTo>
                    <a:pt x="188" y="368"/>
                  </a:lnTo>
                  <a:lnTo>
                    <a:pt x="188" y="370"/>
                  </a:lnTo>
                  <a:lnTo>
                    <a:pt x="185" y="370"/>
                  </a:lnTo>
                  <a:lnTo>
                    <a:pt x="183" y="370"/>
                  </a:lnTo>
                  <a:lnTo>
                    <a:pt x="183" y="373"/>
                  </a:lnTo>
                  <a:lnTo>
                    <a:pt x="181" y="373"/>
                  </a:lnTo>
                  <a:lnTo>
                    <a:pt x="181" y="375"/>
                  </a:lnTo>
                  <a:lnTo>
                    <a:pt x="178" y="375"/>
                  </a:lnTo>
                  <a:lnTo>
                    <a:pt x="176" y="375"/>
                  </a:lnTo>
                  <a:lnTo>
                    <a:pt x="178" y="375"/>
                  </a:lnTo>
                  <a:lnTo>
                    <a:pt x="176" y="375"/>
                  </a:lnTo>
                  <a:lnTo>
                    <a:pt x="174" y="375"/>
                  </a:lnTo>
                  <a:lnTo>
                    <a:pt x="171" y="375"/>
                  </a:lnTo>
                  <a:lnTo>
                    <a:pt x="169" y="375"/>
                  </a:lnTo>
                  <a:lnTo>
                    <a:pt x="169" y="373"/>
                  </a:lnTo>
                  <a:lnTo>
                    <a:pt x="166" y="373"/>
                  </a:lnTo>
                  <a:lnTo>
                    <a:pt x="164" y="373"/>
                  </a:lnTo>
                  <a:lnTo>
                    <a:pt x="166" y="370"/>
                  </a:lnTo>
                  <a:lnTo>
                    <a:pt x="166" y="368"/>
                  </a:lnTo>
                  <a:lnTo>
                    <a:pt x="164" y="370"/>
                  </a:lnTo>
                  <a:lnTo>
                    <a:pt x="162" y="370"/>
                  </a:lnTo>
                  <a:lnTo>
                    <a:pt x="162" y="368"/>
                  </a:lnTo>
                  <a:lnTo>
                    <a:pt x="159" y="370"/>
                  </a:lnTo>
                  <a:lnTo>
                    <a:pt x="159" y="368"/>
                  </a:lnTo>
                  <a:lnTo>
                    <a:pt x="157" y="368"/>
                  </a:lnTo>
                  <a:lnTo>
                    <a:pt x="155" y="368"/>
                  </a:lnTo>
                  <a:lnTo>
                    <a:pt x="155" y="370"/>
                  </a:lnTo>
                  <a:lnTo>
                    <a:pt x="155" y="368"/>
                  </a:lnTo>
                  <a:lnTo>
                    <a:pt x="155" y="370"/>
                  </a:lnTo>
                  <a:lnTo>
                    <a:pt x="152" y="368"/>
                  </a:lnTo>
                  <a:lnTo>
                    <a:pt x="150" y="368"/>
                  </a:lnTo>
                  <a:lnTo>
                    <a:pt x="152" y="368"/>
                  </a:lnTo>
                  <a:lnTo>
                    <a:pt x="152" y="370"/>
                  </a:lnTo>
                  <a:lnTo>
                    <a:pt x="150" y="370"/>
                  </a:lnTo>
                  <a:lnTo>
                    <a:pt x="152" y="370"/>
                  </a:lnTo>
                  <a:lnTo>
                    <a:pt x="152" y="373"/>
                  </a:lnTo>
                  <a:lnTo>
                    <a:pt x="152" y="375"/>
                  </a:lnTo>
                  <a:lnTo>
                    <a:pt x="150" y="375"/>
                  </a:lnTo>
                  <a:lnTo>
                    <a:pt x="152" y="377"/>
                  </a:lnTo>
                  <a:lnTo>
                    <a:pt x="150" y="377"/>
                  </a:lnTo>
                  <a:lnTo>
                    <a:pt x="147" y="377"/>
                  </a:lnTo>
                  <a:lnTo>
                    <a:pt x="147" y="380"/>
                  </a:lnTo>
                  <a:lnTo>
                    <a:pt x="145" y="382"/>
                  </a:lnTo>
                  <a:lnTo>
                    <a:pt x="143" y="382"/>
                  </a:lnTo>
                  <a:lnTo>
                    <a:pt x="143" y="380"/>
                  </a:lnTo>
                  <a:lnTo>
                    <a:pt x="143" y="377"/>
                  </a:lnTo>
                  <a:lnTo>
                    <a:pt x="145" y="377"/>
                  </a:lnTo>
                  <a:lnTo>
                    <a:pt x="145" y="375"/>
                  </a:lnTo>
                  <a:lnTo>
                    <a:pt x="143" y="377"/>
                  </a:lnTo>
                  <a:lnTo>
                    <a:pt x="143" y="375"/>
                  </a:lnTo>
                  <a:lnTo>
                    <a:pt x="143" y="377"/>
                  </a:lnTo>
                  <a:lnTo>
                    <a:pt x="140" y="377"/>
                  </a:lnTo>
                  <a:lnTo>
                    <a:pt x="140" y="375"/>
                  </a:lnTo>
                  <a:lnTo>
                    <a:pt x="138" y="375"/>
                  </a:lnTo>
                  <a:lnTo>
                    <a:pt x="140" y="375"/>
                  </a:lnTo>
                  <a:lnTo>
                    <a:pt x="140" y="373"/>
                  </a:lnTo>
                  <a:lnTo>
                    <a:pt x="138" y="373"/>
                  </a:lnTo>
                  <a:lnTo>
                    <a:pt x="138" y="370"/>
                  </a:lnTo>
                  <a:lnTo>
                    <a:pt x="138" y="373"/>
                  </a:lnTo>
                  <a:lnTo>
                    <a:pt x="136" y="373"/>
                  </a:lnTo>
                  <a:lnTo>
                    <a:pt x="136" y="370"/>
                  </a:lnTo>
                  <a:lnTo>
                    <a:pt x="136" y="368"/>
                  </a:lnTo>
                  <a:lnTo>
                    <a:pt x="136" y="370"/>
                  </a:lnTo>
                  <a:lnTo>
                    <a:pt x="133" y="370"/>
                  </a:lnTo>
                  <a:lnTo>
                    <a:pt x="133" y="368"/>
                  </a:lnTo>
                  <a:lnTo>
                    <a:pt x="133" y="370"/>
                  </a:lnTo>
                  <a:lnTo>
                    <a:pt x="131" y="370"/>
                  </a:lnTo>
                  <a:lnTo>
                    <a:pt x="131" y="368"/>
                  </a:lnTo>
                  <a:lnTo>
                    <a:pt x="131" y="366"/>
                  </a:lnTo>
                  <a:lnTo>
                    <a:pt x="129" y="366"/>
                  </a:lnTo>
                  <a:lnTo>
                    <a:pt x="129" y="368"/>
                  </a:lnTo>
                  <a:lnTo>
                    <a:pt x="129" y="370"/>
                  </a:lnTo>
                  <a:lnTo>
                    <a:pt x="126" y="370"/>
                  </a:lnTo>
                  <a:lnTo>
                    <a:pt x="121" y="368"/>
                  </a:lnTo>
                  <a:lnTo>
                    <a:pt x="119" y="368"/>
                  </a:lnTo>
                  <a:lnTo>
                    <a:pt x="117" y="366"/>
                  </a:lnTo>
                  <a:lnTo>
                    <a:pt x="110" y="363"/>
                  </a:lnTo>
                  <a:lnTo>
                    <a:pt x="107" y="363"/>
                  </a:lnTo>
                  <a:lnTo>
                    <a:pt x="102" y="363"/>
                  </a:lnTo>
                  <a:lnTo>
                    <a:pt x="100" y="363"/>
                  </a:lnTo>
                  <a:lnTo>
                    <a:pt x="98" y="363"/>
                  </a:lnTo>
                  <a:lnTo>
                    <a:pt x="100" y="361"/>
                  </a:lnTo>
                  <a:lnTo>
                    <a:pt x="98" y="361"/>
                  </a:lnTo>
                  <a:lnTo>
                    <a:pt x="100" y="361"/>
                  </a:lnTo>
                  <a:lnTo>
                    <a:pt x="98" y="361"/>
                  </a:lnTo>
                  <a:lnTo>
                    <a:pt x="95" y="361"/>
                  </a:lnTo>
                  <a:lnTo>
                    <a:pt x="98" y="361"/>
                  </a:lnTo>
                  <a:lnTo>
                    <a:pt x="98" y="363"/>
                  </a:lnTo>
                  <a:lnTo>
                    <a:pt x="95" y="363"/>
                  </a:lnTo>
                  <a:lnTo>
                    <a:pt x="95" y="361"/>
                  </a:lnTo>
                  <a:lnTo>
                    <a:pt x="95" y="358"/>
                  </a:lnTo>
                  <a:lnTo>
                    <a:pt x="93" y="358"/>
                  </a:lnTo>
                  <a:lnTo>
                    <a:pt x="93" y="356"/>
                  </a:lnTo>
                  <a:lnTo>
                    <a:pt x="93" y="358"/>
                  </a:lnTo>
                  <a:lnTo>
                    <a:pt x="91" y="358"/>
                  </a:lnTo>
                  <a:lnTo>
                    <a:pt x="91" y="356"/>
                  </a:lnTo>
                  <a:lnTo>
                    <a:pt x="88" y="356"/>
                  </a:lnTo>
                  <a:lnTo>
                    <a:pt x="91" y="358"/>
                  </a:lnTo>
                  <a:lnTo>
                    <a:pt x="88" y="358"/>
                  </a:lnTo>
                  <a:lnTo>
                    <a:pt x="86" y="358"/>
                  </a:lnTo>
                  <a:lnTo>
                    <a:pt x="86" y="361"/>
                  </a:lnTo>
                  <a:lnTo>
                    <a:pt x="83" y="361"/>
                  </a:lnTo>
                  <a:lnTo>
                    <a:pt x="86" y="363"/>
                  </a:lnTo>
                  <a:lnTo>
                    <a:pt x="83" y="363"/>
                  </a:lnTo>
                  <a:lnTo>
                    <a:pt x="86" y="363"/>
                  </a:lnTo>
                  <a:lnTo>
                    <a:pt x="88" y="363"/>
                  </a:lnTo>
                  <a:lnTo>
                    <a:pt x="91" y="363"/>
                  </a:lnTo>
                  <a:lnTo>
                    <a:pt x="91" y="366"/>
                  </a:lnTo>
                  <a:lnTo>
                    <a:pt x="91" y="363"/>
                  </a:lnTo>
                  <a:lnTo>
                    <a:pt x="91" y="366"/>
                  </a:lnTo>
                  <a:lnTo>
                    <a:pt x="88" y="366"/>
                  </a:lnTo>
                  <a:lnTo>
                    <a:pt x="91" y="366"/>
                  </a:lnTo>
                  <a:lnTo>
                    <a:pt x="88" y="366"/>
                  </a:lnTo>
                  <a:lnTo>
                    <a:pt x="86" y="366"/>
                  </a:lnTo>
                  <a:lnTo>
                    <a:pt x="86" y="368"/>
                  </a:lnTo>
                  <a:lnTo>
                    <a:pt x="83" y="368"/>
                  </a:lnTo>
                  <a:lnTo>
                    <a:pt x="81" y="368"/>
                  </a:lnTo>
                  <a:lnTo>
                    <a:pt x="81" y="366"/>
                  </a:lnTo>
                  <a:lnTo>
                    <a:pt x="79" y="366"/>
                  </a:lnTo>
                  <a:lnTo>
                    <a:pt x="76" y="366"/>
                  </a:lnTo>
                  <a:lnTo>
                    <a:pt x="76" y="368"/>
                  </a:lnTo>
                  <a:lnTo>
                    <a:pt x="74" y="368"/>
                  </a:lnTo>
                  <a:lnTo>
                    <a:pt x="72" y="368"/>
                  </a:lnTo>
                  <a:lnTo>
                    <a:pt x="69" y="368"/>
                  </a:lnTo>
                  <a:lnTo>
                    <a:pt x="67" y="368"/>
                  </a:lnTo>
                  <a:lnTo>
                    <a:pt x="67" y="366"/>
                  </a:lnTo>
                  <a:lnTo>
                    <a:pt x="64" y="368"/>
                  </a:lnTo>
                  <a:lnTo>
                    <a:pt x="64" y="366"/>
                  </a:lnTo>
                  <a:lnTo>
                    <a:pt x="64" y="368"/>
                  </a:lnTo>
                  <a:lnTo>
                    <a:pt x="62" y="368"/>
                  </a:lnTo>
                  <a:lnTo>
                    <a:pt x="60" y="370"/>
                  </a:lnTo>
                  <a:lnTo>
                    <a:pt x="60" y="368"/>
                  </a:lnTo>
                  <a:lnTo>
                    <a:pt x="57" y="368"/>
                  </a:lnTo>
                  <a:lnTo>
                    <a:pt x="60" y="368"/>
                  </a:lnTo>
                  <a:lnTo>
                    <a:pt x="60" y="366"/>
                  </a:lnTo>
                  <a:lnTo>
                    <a:pt x="57" y="368"/>
                  </a:lnTo>
                  <a:lnTo>
                    <a:pt x="57" y="366"/>
                  </a:lnTo>
                  <a:lnTo>
                    <a:pt x="55" y="363"/>
                  </a:lnTo>
                  <a:lnTo>
                    <a:pt x="55" y="361"/>
                  </a:lnTo>
                  <a:lnTo>
                    <a:pt x="55" y="358"/>
                  </a:lnTo>
                  <a:lnTo>
                    <a:pt x="55" y="356"/>
                  </a:lnTo>
                  <a:lnTo>
                    <a:pt x="57" y="354"/>
                  </a:lnTo>
                  <a:lnTo>
                    <a:pt x="55" y="354"/>
                  </a:lnTo>
                  <a:lnTo>
                    <a:pt x="57" y="354"/>
                  </a:lnTo>
                  <a:lnTo>
                    <a:pt x="57" y="351"/>
                  </a:lnTo>
                  <a:lnTo>
                    <a:pt x="57" y="349"/>
                  </a:lnTo>
                  <a:lnTo>
                    <a:pt x="57" y="347"/>
                  </a:lnTo>
                  <a:lnTo>
                    <a:pt x="57" y="344"/>
                  </a:lnTo>
                  <a:lnTo>
                    <a:pt x="57" y="342"/>
                  </a:lnTo>
                  <a:lnTo>
                    <a:pt x="57" y="339"/>
                  </a:lnTo>
                  <a:lnTo>
                    <a:pt x="57" y="337"/>
                  </a:lnTo>
                  <a:lnTo>
                    <a:pt x="60" y="337"/>
                  </a:lnTo>
                  <a:lnTo>
                    <a:pt x="60" y="335"/>
                  </a:lnTo>
                  <a:lnTo>
                    <a:pt x="60" y="332"/>
                  </a:lnTo>
                  <a:lnTo>
                    <a:pt x="62" y="332"/>
                  </a:lnTo>
                  <a:lnTo>
                    <a:pt x="62" y="330"/>
                  </a:lnTo>
                  <a:lnTo>
                    <a:pt x="62" y="328"/>
                  </a:lnTo>
                  <a:lnTo>
                    <a:pt x="62" y="325"/>
                  </a:lnTo>
                  <a:lnTo>
                    <a:pt x="62" y="323"/>
                  </a:lnTo>
                  <a:lnTo>
                    <a:pt x="64" y="323"/>
                  </a:lnTo>
                  <a:lnTo>
                    <a:pt x="64" y="320"/>
                  </a:lnTo>
                  <a:lnTo>
                    <a:pt x="64" y="318"/>
                  </a:lnTo>
                  <a:lnTo>
                    <a:pt x="64" y="316"/>
                  </a:lnTo>
                  <a:lnTo>
                    <a:pt x="67" y="316"/>
                  </a:lnTo>
                  <a:lnTo>
                    <a:pt x="67" y="313"/>
                  </a:lnTo>
                  <a:lnTo>
                    <a:pt x="69" y="313"/>
                  </a:lnTo>
                  <a:lnTo>
                    <a:pt x="69" y="311"/>
                  </a:lnTo>
                  <a:lnTo>
                    <a:pt x="72" y="311"/>
                  </a:lnTo>
                  <a:lnTo>
                    <a:pt x="72" y="309"/>
                  </a:lnTo>
                  <a:lnTo>
                    <a:pt x="74" y="309"/>
                  </a:lnTo>
                  <a:lnTo>
                    <a:pt x="74" y="306"/>
                  </a:lnTo>
                  <a:lnTo>
                    <a:pt x="76" y="304"/>
                  </a:lnTo>
                  <a:lnTo>
                    <a:pt x="76" y="301"/>
                  </a:lnTo>
                  <a:lnTo>
                    <a:pt x="79" y="301"/>
                  </a:lnTo>
                  <a:lnTo>
                    <a:pt x="76" y="301"/>
                  </a:lnTo>
                  <a:lnTo>
                    <a:pt x="76" y="299"/>
                  </a:lnTo>
                  <a:lnTo>
                    <a:pt x="74" y="299"/>
                  </a:lnTo>
                  <a:lnTo>
                    <a:pt x="72" y="299"/>
                  </a:lnTo>
                  <a:lnTo>
                    <a:pt x="72" y="297"/>
                  </a:lnTo>
                  <a:lnTo>
                    <a:pt x="69" y="299"/>
                  </a:lnTo>
                  <a:lnTo>
                    <a:pt x="69" y="297"/>
                  </a:lnTo>
                  <a:lnTo>
                    <a:pt x="67" y="297"/>
                  </a:lnTo>
                  <a:lnTo>
                    <a:pt x="64" y="297"/>
                  </a:lnTo>
                  <a:lnTo>
                    <a:pt x="62" y="297"/>
                  </a:lnTo>
                  <a:lnTo>
                    <a:pt x="60" y="297"/>
                  </a:lnTo>
                  <a:lnTo>
                    <a:pt x="57" y="294"/>
                  </a:lnTo>
                  <a:lnTo>
                    <a:pt x="55" y="294"/>
                  </a:lnTo>
                  <a:lnTo>
                    <a:pt x="55" y="292"/>
                  </a:lnTo>
                  <a:lnTo>
                    <a:pt x="53" y="292"/>
                  </a:lnTo>
                  <a:lnTo>
                    <a:pt x="53" y="290"/>
                  </a:lnTo>
                  <a:lnTo>
                    <a:pt x="50" y="290"/>
                  </a:lnTo>
                  <a:lnTo>
                    <a:pt x="50" y="292"/>
                  </a:lnTo>
                  <a:lnTo>
                    <a:pt x="48" y="292"/>
                  </a:lnTo>
                  <a:lnTo>
                    <a:pt x="48" y="294"/>
                  </a:lnTo>
                  <a:lnTo>
                    <a:pt x="45" y="292"/>
                  </a:lnTo>
                  <a:lnTo>
                    <a:pt x="43" y="294"/>
                  </a:lnTo>
                  <a:lnTo>
                    <a:pt x="43" y="292"/>
                  </a:lnTo>
                  <a:lnTo>
                    <a:pt x="41" y="292"/>
                  </a:lnTo>
                  <a:lnTo>
                    <a:pt x="41" y="294"/>
                  </a:lnTo>
                  <a:lnTo>
                    <a:pt x="38" y="294"/>
                  </a:lnTo>
                  <a:lnTo>
                    <a:pt x="38" y="292"/>
                  </a:lnTo>
                  <a:lnTo>
                    <a:pt x="38" y="290"/>
                  </a:lnTo>
                  <a:lnTo>
                    <a:pt x="38" y="287"/>
                  </a:lnTo>
                  <a:lnTo>
                    <a:pt x="36" y="287"/>
                  </a:lnTo>
                  <a:lnTo>
                    <a:pt x="36" y="290"/>
                  </a:lnTo>
                  <a:lnTo>
                    <a:pt x="34" y="290"/>
                  </a:lnTo>
                  <a:lnTo>
                    <a:pt x="31" y="290"/>
                  </a:lnTo>
                  <a:lnTo>
                    <a:pt x="34" y="290"/>
                  </a:lnTo>
                  <a:lnTo>
                    <a:pt x="34" y="292"/>
                  </a:lnTo>
                  <a:lnTo>
                    <a:pt x="31" y="292"/>
                  </a:lnTo>
                  <a:lnTo>
                    <a:pt x="29" y="292"/>
                  </a:lnTo>
                  <a:lnTo>
                    <a:pt x="29" y="290"/>
                  </a:lnTo>
                  <a:lnTo>
                    <a:pt x="26" y="290"/>
                  </a:lnTo>
                  <a:lnTo>
                    <a:pt x="26" y="287"/>
                  </a:lnTo>
                  <a:lnTo>
                    <a:pt x="26" y="285"/>
                  </a:lnTo>
                  <a:lnTo>
                    <a:pt x="24" y="285"/>
                  </a:lnTo>
                  <a:lnTo>
                    <a:pt x="24" y="282"/>
                  </a:lnTo>
                  <a:lnTo>
                    <a:pt x="22" y="282"/>
                  </a:lnTo>
                  <a:lnTo>
                    <a:pt x="24" y="282"/>
                  </a:lnTo>
                  <a:lnTo>
                    <a:pt x="24" y="280"/>
                  </a:lnTo>
                  <a:lnTo>
                    <a:pt x="22" y="280"/>
                  </a:lnTo>
                  <a:lnTo>
                    <a:pt x="22" y="278"/>
                  </a:lnTo>
                  <a:lnTo>
                    <a:pt x="19" y="278"/>
                  </a:lnTo>
                  <a:lnTo>
                    <a:pt x="19" y="275"/>
                  </a:lnTo>
                  <a:lnTo>
                    <a:pt x="19" y="278"/>
                  </a:lnTo>
                  <a:lnTo>
                    <a:pt x="17" y="278"/>
                  </a:lnTo>
                  <a:lnTo>
                    <a:pt x="17" y="275"/>
                  </a:lnTo>
                  <a:lnTo>
                    <a:pt x="17" y="273"/>
                  </a:lnTo>
                  <a:lnTo>
                    <a:pt x="17" y="270"/>
                  </a:lnTo>
                  <a:lnTo>
                    <a:pt x="19" y="270"/>
                  </a:lnTo>
                  <a:lnTo>
                    <a:pt x="19" y="268"/>
                  </a:lnTo>
                  <a:lnTo>
                    <a:pt x="19" y="266"/>
                  </a:lnTo>
                  <a:lnTo>
                    <a:pt x="22" y="266"/>
                  </a:lnTo>
                  <a:lnTo>
                    <a:pt x="22" y="263"/>
                  </a:lnTo>
                  <a:lnTo>
                    <a:pt x="22" y="261"/>
                  </a:lnTo>
                  <a:lnTo>
                    <a:pt x="22" y="259"/>
                  </a:lnTo>
                  <a:lnTo>
                    <a:pt x="19" y="259"/>
                  </a:lnTo>
                  <a:lnTo>
                    <a:pt x="19" y="261"/>
                  </a:lnTo>
                  <a:lnTo>
                    <a:pt x="19" y="259"/>
                  </a:lnTo>
                  <a:lnTo>
                    <a:pt x="19" y="261"/>
                  </a:lnTo>
                  <a:lnTo>
                    <a:pt x="19" y="259"/>
                  </a:lnTo>
                  <a:lnTo>
                    <a:pt x="17" y="259"/>
                  </a:lnTo>
                  <a:lnTo>
                    <a:pt x="15" y="259"/>
                  </a:lnTo>
                  <a:lnTo>
                    <a:pt x="15" y="256"/>
                  </a:lnTo>
                  <a:lnTo>
                    <a:pt x="12" y="256"/>
                  </a:lnTo>
                  <a:lnTo>
                    <a:pt x="12" y="254"/>
                  </a:lnTo>
                  <a:lnTo>
                    <a:pt x="12" y="251"/>
                  </a:lnTo>
                  <a:lnTo>
                    <a:pt x="10" y="251"/>
                  </a:lnTo>
                  <a:lnTo>
                    <a:pt x="10" y="254"/>
                  </a:lnTo>
                  <a:lnTo>
                    <a:pt x="10" y="251"/>
                  </a:lnTo>
                  <a:lnTo>
                    <a:pt x="10" y="249"/>
                  </a:lnTo>
                  <a:lnTo>
                    <a:pt x="10" y="247"/>
                  </a:lnTo>
                  <a:lnTo>
                    <a:pt x="8" y="247"/>
                  </a:lnTo>
                  <a:lnTo>
                    <a:pt x="8" y="249"/>
                  </a:lnTo>
                  <a:lnTo>
                    <a:pt x="8" y="247"/>
                  </a:lnTo>
                  <a:lnTo>
                    <a:pt x="10" y="247"/>
                  </a:lnTo>
                  <a:lnTo>
                    <a:pt x="8" y="247"/>
                  </a:lnTo>
                  <a:lnTo>
                    <a:pt x="10" y="247"/>
                  </a:lnTo>
                  <a:lnTo>
                    <a:pt x="8" y="247"/>
                  </a:lnTo>
                  <a:lnTo>
                    <a:pt x="10" y="247"/>
                  </a:lnTo>
                  <a:lnTo>
                    <a:pt x="10" y="244"/>
                  </a:lnTo>
                  <a:lnTo>
                    <a:pt x="10" y="242"/>
                  </a:lnTo>
                  <a:lnTo>
                    <a:pt x="10" y="240"/>
                  </a:lnTo>
                  <a:lnTo>
                    <a:pt x="12" y="240"/>
                  </a:lnTo>
                  <a:lnTo>
                    <a:pt x="12" y="237"/>
                  </a:lnTo>
                  <a:lnTo>
                    <a:pt x="15" y="237"/>
                  </a:lnTo>
                  <a:lnTo>
                    <a:pt x="15" y="235"/>
                  </a:lnTo>
                  <a:lnTo>
                    <a:pt x="17" y="235"/>
                  </a:lnTo>
                  <a:lnTo>
                    <a:pt x="17" y="232"/>
                  </a:lnTo>
                  <a:lnTo>
                    <a:pt x="15" y="232"/>
                  </a:lnTo>
                  <a:lnTo>
                    <a:pt x="17" y="232"/>
                  </a:lnTo>
                  <a:lnTo>
                    <a:pt x="17" y="230"/>
                  </a:lnTo>
                  <a:lnTo>
                    <a:pt x="17" y="228"/>
                  </a:lnTo>
                  <a:lnTo>
                    <a:pt x="15" y="228"/>
                  </a:lnTo>
                  <a:lnTo>
                    <a:pt x="15" y="225"/>
                  </a:lnTo>
                  <a:lnTo>
                    <a:pt x="12" y="225"/>
                  </a:lnTo>
                  <a:lnTo>
                    <a:pt x="12" y="228"/>
                  </a:lnTo>
                  <a:lnTo>
                    <a:pt x="12" y="225"/>
                  </a:lnTo>
                  <a:lnTo>
                    <a:pt x="10" y="225"/>
                  </a:lnTo>
                  <a:lnTo>
                    <a:pt x="10" y="223"/>
                  </a:lnTo>
                  <a:lnTo>
                    <a:pt x="12" y="223"/>
                  </a:lnTo>
                  <a:lnTo>
                    <a:pt x="12" y="221"/>
                  </a:lnTo>
                  <a:lnTo>
                    <a:pt x="15" y="221"/>
                  </a:lnTo>
                  <a:lnTo>
                    <a:pt x="12" y="221"/>
                  </a:lnTo>
                  <a:lnTo>
                    <a:pt x="10" y="221"/>
                  </a:lnTo>
                  <a:lnTo>
                    <a:pt x="10" y="218"/>
                  </a:lnTo>
                  <a:lnTo>
                    <a:pt x="10" y="216"/>
                  </a:lnTo>
                  <a:lnTo>
                    <a:pt x="8" y="216"/>
                  </a:lnTo>
                  <a:lnTo>
                    <a:pt x="5" y="216"/>
                  </a:lnTo>
                  <a:lnTo>
                    <a:pt x="5" y="213"/>
                  </a:lnTo>
                  <a:lnTo>
                    <a:pt x="5" y="211"/>
                  </a:lnTo>
                  <a:lnTo>
                    <a:pt x="5" y="209"/>
                  </a:lnTo>
                  <a:lnTo>
                    <a:pt x="8" y="209"/>
                  </a:lnTo>
                  <a:lnTo>
                    <a:pt x="8" y="206"/>
                  </a:lnTo>
                  <a:lnTo>
                    <a:pt x="5" y="206"/>
                  </a:lnTo>
                  <a:lnTo>
                    <a:pt x="5" y="204"/>
                  </a:lnTo>
                  <a:lnTo>
                    <a:pt x="3" y="202"/>
                  </a:lnTo>
                  <a:lnTo>
                    <a:pt x="3" y="204"/>
                  </a:lnTo>
                  <a:lnTo>
                    <a:pt x="0" y="204"/>
                  </a:lnTo>
                  <a:lnTo>
                    <a:pt x="0" y="202"/>
                  </a:lnTo>
                  <a:lnTo>
                    <a:pt x="3" y="202"/>
                  </a:lnTo>
                  <a:lnTo>
                    <a:pt x="0" y="202"/>
                  </a:lnTo>
                  <a:lnTo>
                    <a:pt x="0" y="199"/>
                  </a:lnTo>
                  <a:lnTo>
                    <a:pt x="3" y="199"/>
                  </a:lnTo>
                  <a:lnTo>
                    <a:pt x="5" y="199"/>
                  </a:lnTo>
                  <a:lnTo>
                    <a:pt x="5" y="197"/>
                  </a:lnTo>
                  <a:lnTo>
                    <a:pt x="8" y="197"/>
                  </a:lnTo>
                  <a:lnTo>
                    <a:pt x="8" y="194"/>
                  </a:lnTo>
                  <a:lnTo>
                    <a:pt x="10" y="194"/>
                  </a:lnTo>
                  <a:lnTo>
                    <a:pt x="10" y="192"/>
                  </a:lnTo>
                  <a:lnTo>
                    <a:pt x="8" y="194"/>
                  </a:lnTo>
                  <a:lnTo>
                    <a:pt x="8" y="192"/>
                  </a:lnTo>
                  <a:lnTo>
                    <a:pt x="8" y="190"/>
                  </a:lnTo>
                  <a:lnTo>
                    <a:pt x="10" y="190"/>
                  </a:lnTo>
                  <a:lnTo>
                    <a:pt x="10" y="187"/>
                  </a:lnTo>
                  <a:lnTo>
                    <a:pt x="10" y="185"/>
                  </a:lnTo>
                  <a:lnTo>
                    <a:pt x="12" y="185"/>
                  </a:lnTo>
                  <a:lnTo>
                    <a:pt x="12" y="183"/>
                  </a:lnTo>
                  <a:lnTo>
                    <a:pt x="12" y="180"/>
                  </a:lnTo>
                  <a:lnTo>
                    <a:pt x="12" y="178"/>
                  </a:lnTo>
                  <a:lnTo>
                    <a:pt x="12" y="175"/>
                  </a:lnTo>
                  <a:lnTo>
                    <a:pt x="10" y="175"/>
                  </a:lnTo>
                  <a:lnTo>
                    <a:pt x="10" y="173"/>
                  </a:lnTo>
                  <a:lnTo>
                    <a:pt x="8" y="173"/>
                  </a:lnTo>
                  <a:lnTo>
                    <a:pt x="8" y="171"/>
                  </a:lnTo>
                  <a:lnTo>
                    <a:pt x="8" y="168"/>
                  </a:lnTo>
                  <a:lnTo>
                    <a:pt x="5" y="168"/>
                  </a:lnTo>
                  <a:lnTo>
                    <a:pt x="5" y="166"/>
                  </a:lnTo>
                  <a:lnTo>
                    <a:pt x="3" y="166"/>
                  </a:lnTo>
                  <a:lnTo>
                    <a:pt x="5" y="164"/>
                  </a:lnTo>
                  <a:lnTo>
                    <a:pt x="3" y="164"/>
                  </a:lnTo>
                  <a:lnTo>
                    <a:pt x="3" y="161"/>
                  </a:lnTo>
                  <a:lnTo>
                    <a:pt x="5" y="161"/>
                  </a:lnTo>
                  <a:lnTo>
                    <a:pt x="8" y="159"/>
                  </a:lnTo>
                  <a:lnTo>
                    <a:pt x="8" y="161"/>
                  </a:lnTo>
                  <a:lnTo>
                    <a:pt x="10" y="161"/>
                  </a:lnTo>
                  <a:lnTo>
                    <a:pt x="10" y="159"/>
                  </a:lnTo>
                  <a:lnTo>
                    <a:pt x="8" y="159"/>
                  </a:lnTo>
                  <a:lnTo>
                    <a:pt x="10" y="159"/>
                  </a:lnTo>
                  <a:lnTo>
                    <a:pt x="12" y="159"/>
                  </a:lnTo>
                  <a:lnTo>
                    <a:pt x="15" y="159"/>
                  </a:lnTo>
                  <a:lnTo>
                    <a:pt x="15" y="161"/>
                  </a:lnTo>
                  <a:lnTo>
                    <a:pt x="17" y="161"/>
                  </a:lnTo>
                  <a:lnTo>
                    <a:pt x="19" y="161"/>
                  </a:lnTo>
                  <a:lnTo>
                    <a:pt x="17" y="161"/>
                  </a:lnTo>
                  <a:lnTo>
                    <a:pt x="17" y="159"/>
                  </a:lnTo>
                  <a:lnTo>
                    <a:pt x="19" y="159"/>
                  </a:lnTo>
                  <a:lnTo>
                    <a:pt x="22" y="159"/>
                  </a:lnTo>
                  <a:lnTo>
                    <a:pt x="24" y="159"/>
                  </a:lnTo>
                  <a:lnTo>
                    <a:pt x="26" y="159"/>
                  </a:lnTo>
                  <a:lnTo>
                    <a:pt x="26" y="156"/>
                  </a:lnTo>
                  <a:lnTo>
                    <a:pt x="29" y="156"/>
                  </a:lnTo>
                  <a:lnTo>
                    <a:pt x="29" y="159"/>
                  </a:lnTo>
                  <a:lnTo>
                    <a:pt x="29" y="156"/>
                  </a:lnTo>
                  <a:lnTo>
                    <a:pt x="31" y="156"/>
                  </a:lnTo>
                  <a:lnTo>
                    <a:pt x="31" y="154"/>
                  </a:lnTo>
                  <a:lnTo>
                    <a:pt x="29" y="152"/>
                  </a:lnTo>
                  <a:lnTo>
                    <a:pt x="26" y="152"/>
                  </a:lnTo>
                  <a:lnTo>
                    <a:pt x="26" y="149"/>
                  </a:lnTo>
                  <a:lnTo>
                    <a:pt x="29" y="149"/>
                  </a:lnTo>
                  <a:lnTo>
                    <a:pt x="29" y="147"/>
                  </a:lnTo>
                  <a:lnTo>
                    <a:pt x="31" y="147"/>
                  </a:lnTo>
                  <a:lnTo>
                    <a:pt x="34" y="147"/>
                  </a:lnTo>
                  <a:lnTo>
                    <a:pt x="34" y="145"/>
                  </a:lnTo>
                  <a:lnTo>
                    <a:pt x="36" y="145"/>
                  </a:lnTo>
                  <a:lnTo>
                    <a:pt x="36" y="142"/>
                  </a:lnTo>
                  <a:lnTo>
                    <a:pt x="38" y="142"/>
                  </a:lnTo>
                  <a:lnTo>
                    <a:pt x="41" y="142"/>
                  </a:lnTo>
                  <a:lnTo>
                    <a:pt x="38" y="140"/>
                  </a:lnTo>
                  <a:lnTo>
                    <a:pt x="38" y="137"/>
                  </a:lnTo>
                  <a:lnTo>
                    <a:pt x="41" y="135"/>
                  </a:lnTo>
                  <a:lnTo>
                    <a:pt x="41" y="133"/>
                  </a:lnTo>
                  <a:lnTo>
                    <a:pt x="38" y="133"/>
                  </a:lnTo>
                  <a:lnTo>
                    <a:pt x="38" y="130"/>
                  </a:lnTo>
                  <a:lnTo>
                    <a:pt x="36" y="130"/>
                  </a:lnTo>
                  <a:lnTo>
                    <a:pt x="34" y="130"/>
                  </a:lnTo>
                  <a:lnTo>
                    <a:pt x="31" y="130"/>
                  </a:lnTo>
                  <a:lnTo>
                    <a:pt x="29" y="130"/>
                  </a:lnTo>
                  <a:lnTo>
                    <a:pt x="29" y="128"/>
                  </a:lnTo>
                  <a:lnTo>
                    <a:pt x="26" y="126"/>
                  </a:lnTo>
                  <a:lnTo>
                    <a:pt x="29" y="126"/>
                  </a:lnTo>
                  <a:lnTo>
                    <a:pt x="31" y="126"/>
                  </a:lnTo>
                  <a:lnTo>
                    <a:pt x="29" y="123"/>
                  </a:lnTo>
                  <a:lnTo>
                    <a:pt x="29" y="121"/>
                  </a:lnTo>
                  <a:lnTo>
                    <a:pt x="31" y="121"/>
                  </a:lnTo>
                  <a:lnTo>
                    <a:pt x="34" y="121"/>
                  </a:lnTo>
                  <a:lnTo>
                    <a:pt x="36" y="121"/>
                  </a:lnTo>
                  <a:lnTo>
                    <a:pt x="38" y="121"/>
                  </a:lnTo>
                  <a:lnTo>
                    <a:pt x="41" y="118"/>
                  </a:lnTo>
                  <a:lnTo>
                    <a:pt x="41" y="114"/>
                  </a:lnTo>
                  <a:lnTo>
                    <a:pt x="41" y="111"/>
                  </a:lnTo>
                  <a:lnTo>
                    <a:pt x="41" y="109"/>
                  </a:lnTo>
                  <a:lnTo>
                    <a:pt x="43" y="107"/>
                  </a:lnTo>
                  <a:lnTo>
                    <a:pt x="45" y="104"/>
                  </a:lnTo>
                  <a:lnTo>
                    <a:pt x="45" y="102"/>
                  </a:lnTo>
                  <a:lnTo>
                    <a:pt x="43" y="99"/>
                  </a:lnTo>
                  <a:lnTo>
                    <a:pt x="45" y="97"/>
                  </a:lnTo>
                  <a:lnTo>
                    <a:pt x="43" y="97"/>
                  </a:lnTo>
                  <a:lnTo>
                    <a:pt x="43" y="95"/>
                  </a:lnTo>
                  <a:lnTo>
                    <a:pt x="45" y="95"/>
                  </a:lnTo>
                  <a:lnTo>
                    <a:pt x="45" y="92"/>
                  </a:lnTo>
                  <a:lnTo>
                    <a:pt x="45" y="90"/>
                  </a:lnTo>
                  <a:lnTo>
                    <a:pt x="45" y="88"/>
                  </a:lnTo>
                  <a:lnTo>
                    <a:pt x="48" y="88"/>
                  </a:lnTo>
                  <a:lnTo>
                    <a:pt x="50" y="88"/>
                  </a:lnTo>
                  <a:lnTo>
                    <a:pt x="50" y="90"/>
                  </a:lnTo>
                  <a:lnTo>
                    <a:pt x="50" y="92"/>
                  </a:lnTo>
                  <a:lnTo>
                    <a:pt x="53" y="92"/>
                  </a:lnTo>
                  <a:lnTo>
                    <a:pt x="50" y="92"/>
                  </a:lnTo>
                  <a:lnTo>
                    <a:pt x="53" y="92"/>
                  </a:lnTo>
                  <a:lnTo>
                    <a:pt x="50" y="92"/>
                  </a:lnTo>
                  <a:lnTo>
                    <a:pt x="50" y="90"/>
                  </a:lnTo>
                  <a:lnTo>
                    <a:pt x="50" y="88"/>
                  </a:lnTo>
                  <a:lnTo>
                    <a:pt x="48" y="88"/>
                  </a:lnTo>
                  <a:lnTo>
                    <a:pt x="45" y="88"/>
                  </a:lnTo>
                  <a:lnTo>
                    <a:pt x="43" y="88"/>
                  </a:lnTo>
                  <a:lnTo>
                    <a:pt x="41" y="88"/>
                  </a:lnTo>
                  <a:lnTo>
                    <a:pt x="38" y="88"/>
                  </a:lnTo>
                  <a:lnTo>
                    <a:pt x="38" y="85"/>
                  </a:lnTo>
                  <a:lnTo>
                    <a:pt x="38" y="83"/>
                  </a:lnTo>
                  <a:lnTo>
                    <a:pt x="38" y="80"/>
                  </a:lnTo>
                  <a:lnTo>
                    <a:pt x="38" y="78"/>
                  </a:lnTo>
                  <a:lnTo>
                    <a:pt x="38" y="76"/>
                  </a:lnTo>
                  <a:lnTo>
                    <a:pt x="41" y="78"/>
                  </a:lnTo>
                  <a:lnTo>
                    <a:pt x="41" y="76"/>
                  </a:lnTo>
                  <a:lnTo>
                    <a:pt x="41" y="78"/>
                  </a:lnTo>
                  <a:lnTo>
                    <a:pt x="43" y="76"/>
                  </a:lnTo>
                  <a:lnTo>
                    <a:pt x="41" y="76"/>
                  </a:lnTo>
                  <a:lnTo>
                    <a:pt x="41" y="73"/>
                  </a:lnTo>
                  <a:lnTo>
                    <a:pt x="43" y="73"/>
                  </a:lnTo>
                  <a:lnTo>
                    <a:pt x="43" y="71"/>
                  </a:lnTo>
                  <a:lnTo>
                    <a:pt x="45" y="71"/>
                  </a:lnTo>
                  <a:lnTo>
                    <a:pt x="48" y="69"/>
                  </a:lnTo>
                  <a:lnTo>
                    <a:pt x="50" y="69"/>
                  </a:lnTo>
                  <a:lnTo>
                    <a:pt x="53" y="69"/>
                  </a:lnTo>
                  <a:lnTo>
                    <a:pt x="55" y="69"/>
                  </a:lnTo>
                  <a:lnTo>
                    <a:pt x="55" y="71"/>
                  </a:lnTo>
                  <a:lnTo>
                    <a:pt x="55" y="69"/>
                  </a:lnTo>
                  <a:lnTo>
                    <a:pt x="57" y="69"/>
                  </a:lnTo>
                  <a:lnTo>
                    <a:pt x="60" y="69"/>
                  </a:lnTo>
                  <a:lnTo>
                    <a:pt x="62" y="69"/>
                  </a:lnTo>
                  <a:lnTo>
                    <a:pt x="64" y="69"/>
                  </a:lnTo>
                  <a:lnTo>
                    <a:pt x="67" y="69"/>
                  </a:lnTo>
                  <a:lnTo>
                    <a:pt x="69" y="69"/>
                  </a:lnTo>
                  <a:lnTo>
                    <a:pt x="72" y="69"/>
                  </a:lnTo>
                  <a:lnTo>
                    <a:pt x="72" y="71"/>
                  </a:lnTo>
                  <a:lnTo>
                    <a:pt x="74" y="71"/>
                  </a:lnTo>
                  <a:lnTo>
                    <a:pt x="74" y="73"/>
                  </a:lnTo>
                  <a:lnTo>
                    <a:pt x="76" y="73"/>
                  </a:lnTo>
                  <a:lnTo>
                    <a:pt x="76" y="76"/>
                  </a:lnTo>
                  <a:lnTo>
                    <a:pt x="76" y="78"/>
                  </a:lnTo>
                  <a:lnTo>
                    <a:pt x="76" y="76"/>
                  </a:lnTo>
                  <a:lnTo>
                    <a:pt x="76" y="78"/>
                  </a:lnTo>
                  <a:lnTo>
                    <a:pt x="74" y="78"/>
                  </a:lnTo>
                  <a:lnTo>
                    <a:pt x="72" y="78"/>
                  </a:lnTo>
                  <a:lnTo>
                    <a:pt x="74" y="80"/>
                  </a:lnTo>
                  <a:lnTo>
                    <a:pt x="76" y="80"/>
                  </a:lnTo>
                  <a:lnTo>
                    <a:pt x="76" y="83"/>
                  </a:lnTo>
                  <a:lnTo>
                    <a:pt x="79" y="83"/>
                  </a:lnTo>
                  <a:lnTo>
                    <a:pt x="81" y="83"/>
                  </a:lnTo>
                  <a:lnTo>
                    <a:pt x="81" y="80"/>
                  </a:lnTo>
                  <a:lnTo>
                    <a:pt x="81" y="78"/>
                  </a:lnTo>
                  <a:lnTo>
                    <a:pt x="79" y="78"/>
                  </a:lnTo>
                  <a:lnTo>
                    <a:pt x="79" y="76"/>
                  </a:lnTo>
                  <a:lnTo>
                    <a:pt x="79" y="73"/>
                  </a:lnTo>
                  <a:lnTo>
                    <a:pt x="81" y="73"/>
                  </a:lnTo>
                  <a:lnTo>
                    <a:pt x="83" y="73"/>
                  </a:lnTo>
                  <a:lnTo>
                    <a:pt x="83" y="76"/>
                  </a:lnTo>
                  <a:lnTo>
                    <a:pt x="86" y="76"/>
                  </a:lnTo>
                  <a:lnTo>
                    <a:pt x="88" y="76"/>
                  </a:lnTo>
                  <a:lnTo>
                    <a:pt x="88" y="78"/>
                  </a:lnTo>
                  <a:lnTo>
                    <a:pt x="86" y="80"/>
                  </a:lnTo>
                  <a:lnTo>
                    <a:pt x="86" y="83"/>
                  </a:lnTo>
                  <a:lnTo>
                    <a:pt x="86" y="85"/>
                  </a:lnTo>
                  <a:lnTo>
                    <a:pt x="88" y="85"/>
                  </a:lnTo>
                  <a:lnTo>
                    <a:pt x="86" y="88"/>
                  </a:lnTo>
                  <a:lnTo>
                    <a:pt x="86" y="90"/>
                  </a:lnTo>
                  <a:lnTo>
                    <a:pt x="86" y="92"/>
                  </a:lnTo>
                  <a:lnTo>
                    <a:pt x="88" y="92"/>
                  </a:lnTo>
                  <a:lnTo>
                    <a:pt x="88" y="95"/>
                  </a:lnTo>
                  <a:lnTo>
                    <a:pt x="91" y="95"/>
                  </a:lnTo>
                  <a:lnTo>
                    <a:pt x="91" y="97"/>
                  </a:lnTo>
                  <a:lnTo>
                    <a:pt x="93" y="97"/>
                  </a:lnTo>
                  <a:lnTo>
                    <a:pt x="95" y="97"/>
                  </a:lnTo>
                  <a:lnTo>
                    <a:pt x="95" y="99"/>
                  </a:lnTo>
                  <a:lnTo>
                    <a:pt x="95" y="97"/>
                  </a:lnTo>
                  <a:lnTo>
                    <a:pt x="95" y="99"/>
                  </a:lnTo>
                  <a:lnTo>
                    <a:pt x="98" y="99"/>
                  </a:lnTo>
                  <a:lnTo>
                    <a:pt x="95" y="99"/>
                  </a:lnTo>
                  <a:lnTo>
                    <a:pt x="95" y="97"/>
                  </a:lnTo>
                  <a:lnTo>
                    <a:pt x="93" y="97"/>
                  </a:lnTo>
                  <a:lnTo>
                    <a:pt x="91" y="97"/>
                  </a:lnTo>
                  <a:lnTo>
                    <a:pt x="91" y="95"/>
                  </a:lnTo>
                  <a:lnTo>
                    <a:pt x="88" y="95"/>
                  </a:lnTo>
                  <a:lnTo>
                    <a:pt x="88" y="92"/>
                  </a:lnTo>
                  <a:lnTo>
                    <a:pt x="86" y="92"/>
                  </a:lnTo>
                  <a:lnTo>
                    <a:pt x="86" y="90"/>
                  </a:lnTo>
                  <a:lnTo>
                    <a:pt x="88" y="88"/>
                  </a:lnTo>
                  <a:lnTo>
                    <a:pt x="86" y="88"/>
                  </a:lnTo>
                  <a:lnTo>
                    <a:pt x="88" y="88"/>
                  </a:lnTo>
                  <a:lnTo>
                    <a:pt x="88" y="85"/>
                  </a:lnTo>
                  <a:lnTo>
                    <a:pt x="88" y="88"/>
                  </a:lnTo>
                  <a:lnTo>
                    <a:pt x="88" y="85"/>
                  </a:lnTo>
                  <a:lnTo>
                    <a:pt x="88" y="83"/>
                  </a:lnTo>
                  <a:lnTo>
                    <a:pt x="88" y="80"/>
                  </a:lnTo>
                  <a:lnTo>
                    <a:pt x="88" y="78"/>
                  </a:lnTo>
                  <a:lnTo>
                    <a:pt x="91" y="78"/>
                  </a:lnTo>
                  <a:lnTo>
                    <a:pt x="91" y="76"/>
                  </a:lnTo>
                  <a:lnTo>
                    <a:pt x="88" y="76"/>
                  </a:lnTo>
                  <a:lnTo>
                    <a:pt x="88" y="73"/>
                  </a:lnTo>
                  <a:lnTo>
                    <a:pt x="88" y="71"/>
                  </a:lnTo>
                  <a:lnTo>
                    <a:pt x="86" y="71"/>
                  </a:lnTo>
                  <a:lnTo>
                    <a:pt x="86" y="69"/>
                  </a:lnTo>
                  <a:lnTo>
                    <a:pt x="88" y="69"/>
                  </a:lnTo>
                  <a:lnTo>
                    <a:pt x="86" y="69"/>
                  </a:lnTo>
                  <a:lnTo>
                    <a:pt x="88" y="66"/>
                  </a:lnTo>
                  <a:lnTo>
                    <a:pt x="88" y="64"/>
                  </a:lnTo>
                  <a:lnTo>
                    <a:pt x="88" y="61"/>
                  </a:lnTo>
                  <a:lnTo>
                    <a:pt x="91" y="61"/>
                  </a:lnTo>
                  <a:lnTo>
                    <a:pt x="91" y="59"/>
                  </a:lnTo>
                  <a:lnTo>
                    <a:pt x="93" y="59"/>
                  </a:lnTo>
                  <a:lnTo>
                    <a:pt x="95" y="59"/>
                  </a:lnTo>
                  <a:lnTo>
                    <a:pt x="95" y="61"/>
                  </a:lnTo>
                  <a:lnTo>
                    <a:pt x="98" y="61"/>
                  </a:lnTo>
                  <a:lnTo>
                    <a:pt x="100" y="61"/>
                  </a:lnTo>
                  <a:lnTo>
                    <a:pt x="102" y="61"/>
                  </a:lnTo>
                  <a:lnTo>
                    <a:pt x="105" y="61"/>
                  </a:lnTo>
                  <a:lnTo>
                    <a:pt x="105" y="64"/>
                  </a:lnTo>
                  <a:lnTo>
                    <a:pt x="105" y="61"/>
                  </a:lnTo>
                  <a:lnTo>
                    <a:pt x="107" y="61"/>
                  </a:lnTo>
                  <a:lnTo>
                    <a:pt x="107" y="59"/>
                  </a:lnTo>
                  <a:lnTo>
                    <a:pt x="110" y="59"/>
                  </a:lnTo>
                  <a:lnTo>
                    <a:pt x="112" y="59"/>
                  </a:lnTo>
                  <a:lnTo>
                    <a:pt x="112" y="61"/>
                  </a:lnTo>
                  <a:lnTo>
                    <a:pt x="114" y="61"/>
                  </a:lnTo>
                  <a:lnTo>
                    <a:pt x="114" y="64"/>
                  </a:lnTo>
                  <a:lnTo>
                    <a:pt x="117" y="64"/>
                  </a:lnTo>
                  <a:lnTo>
                    <a:pt x="117" y="66"/>
                  </a:lnTo>
                  <a:lnTo>
                    <a:pt x="119" y="69"/>
                  </a:lnTo>
                  <a:lnTo>
                    <a:pt x="119" y="71"/>
                  </a:lnTo>
                  <a:lnTo>
                    <a:pt x="121" y="71"/>
                  </a:lnTo>
                  <a:lnTo>
                    <a:pt x="119" y="71"/>
                  </a:lnTo>
                  <a:lnTo>
                    <a:pt x="121" y="71"/>
                  </a:lnTo>
                  <a:lnTo>
                    <a:pt x="121" y="73"/>
                  </a:lnTo>
                  <a:lnTo>
                    <a:pt x="124" y="73"/>
                  </a:lnTo>
                  <a:lnTo>
                    <a:pt x="124" y="76"/>
                  </a:lnTo>
                  <a:lnTo>
                    <a:pt x="126" y="76"/>
                  </a:lnTo>
                  <a:lnTo>
                    <a:pt x="129" y="76"/>
                  </a:lnTo>
                  <a:lnTo>
                    <a:pt x="131" y="76"/>
                  </a:lnTo>
                  <a:lnTo>
                    <a:pt x="131" y="78"/>
                  </a:lnTo>
                  <a:lnTo>
                    <a:pt x="131" y="76"/>
                  </a:lnTo>
                  <a:lnTo>
                    <a:pt x="133" y="76"/>
                  </a:lnTo>
                  <a:lnTo>
                    <a:pt x="133" y="78"/>
                  </a:lnTo>
                  <a:lnTo>
                    <a:pt x="133" y="76"/>
                  </a:lnTo>
                  <a:lnTo>
                    <a:pt x="133" y="78"/>
                  </a:lnTo>
                  <a:lnTo>
                    <a:pt x="133" y="76"/>
                  </a:lnTo>
                  <a:lnTo>
                    <a:pt x="136" y="76"/>
                  </a:lnTo>
                  <a:lnTo>
                    <a:pt x="136" y="78"/>
                  </a:lnTo>
                  <a:lnTo>
                    <a:pt x="136" y="80"/>
                  </a:lnTo>
                  <a:lnTo>
                    <a:pt x="138" y="80"/>
                  </a:lnTo>
                  <a:lnTo>
                    <a:pt x="140" y="80"/>
                  </a:lnTo>
                  <a:lnTo>
                    <a:pt x="140" y="83"/>
                  </a:lnTo>
                  <a:lnTo>
                    <a:pt x="143" y="83"/>
                  </a:lnTo>
                  <a:lnTo>
                    <a:pt x="145" y="83"/>
                  </a:lnTo>
                  <a:lnTo>
                    <a:pt x="147" y="83"/>
                  </a:lnTo>
                  <a:lnTo>
                    <a:pt x="150" y="83"/>
                  </a:lnTo>
                  <a:lnTo>
                    <a:pt x="152" y="83"/>
                  </a:lnTo>
                  <a:lnTo>
                    <a:pt x="152" y="85"/>
                  </a:lnTo>
                  <a:lnTo>
                    <a:pt x="155" y="85"/>
                  </a:lnTo>
                  <a:lnTo>
                    <a:pt x="157" y="85"/>
                  </a:lnTo>
                  <a:lnTo>
                    <a:pt x="159" y="85"/>
                  </a:lnTo>
                  <a:lnTo>
                    <a:pt x="162" y="85"/>
                  </a:lnTo>
                  <a:lnTo>
                    <a:pt x="162" y="88"/>
                  </a:lnTo>
                  <a:lnTo>
                    <a:pt x="162" y="90"/>
                  </a:lnTo>
                  <a:lnTo>
                    <a:pt x="164" y="90"/>
                  </a:lnTo>
                  <a:lnTo>
                    <a:pt x="166" y="92"/>
                  </a:lnTo>
                  <a:lnTo>
                    <a:pt x="169" y="95"/>
                  </a:lnTo>
                  <a:lnTo>
                    <a:pt x="171" y="95"/>
                  </a:lnTo>
                  <a:lnTo>
                    <a:pt x="171" y="97"/>
                  </a:lnTo>
                  <a:lnTo>
                    <a:pt x="174" y="97"/>
                  </a:lnTo>
                  <a:lnTo>
                    <a:pt x="174" y="95"/>
                  </a:lnTo>
                  <a:lnTo>
                    <a:pt x="176" y="95"/>
                  </a:lnTo>
                  <a:lnTo>
                    <a:pt x="176" y="97"/>
                  </a:lnTo>
                  <a:lnTo>
                    <a:pt x="178" y="97"/>
                  </a:lnTo>
                  <a:lnTo>
                    <a:pt x="178" y="99"/>
                  </a:lnTo>
                  <a:lnTo>
                    <a:pt x="181" y="99"/>
                  </a:lnTo>
                  <a:lnTo>
                    <a:pt x="181" y="102"/>
                  </a:lnTo>
                  <a:lnTo>
                    <a:pt x="181" y="99"/>
                  </a:lnTo>
                  <a:lnTo>
                    <a:pt x="183" y="99"/>
                  </a:lnTo>
                  <a:lnTo>
                    <a:pt x="185" y="99"/>
                  </a:lnTo>
                  <a:lnTo>
                    <a:pt x="185" y="102"/>
                  </a:lnTo>
                  <a:lnTo>
                    <a:pt x="188" y="102"/>
                  </a:lnTo>
                  <a:lnTo>
                    <a:pt x="190" y="102"/>
                  </a:lnTo>
                  <a:lnTo>
                    <a:pt x="190" y="104"/>
                  </a:lnTo>
                  <a:lnTo>
                    <a:pt x="190" y="102"/>
                  </a:lnTo>
                  <a:lnTo>
                    <a:pt x="193" y="102"/>
                  </a:lnTo>
                  <a:lnTo>
                    <a:pt x="193" y="104"/>
                  </a:lnTo>
                  <a:lnTo>
                    <a:pt x="195" y="104"/>
                  </a:lnTo>
                  <a:lnTo>
                    <a:pt x="195" y="107"/>
                  </a:lnTo>
                  <a:lnTo>
                    <a:pt x="197" y="107"/>
                  </a:lnTo>
                  <a:lnTo>
                    <a:pt x="197" y="109"/>
                  </a:lnTo>
                  <a:lnTo>
                    <a:pt x="200" y="109"/>
                  </a:lnTo>
                  <a:lnTo>
                    <a:pt x="202" y="109"/>
                  </a:lnTo>
                  <a:lnTo>
                    <a:pt x="204" y="109"/>
                  </a:lnTo>
                  <a:lnTo>
                    <a:pt x="204" y="111"/>
                  </a:lnTo>
                  <a:lnTo>
                    <a:pt x="202" y="111"/>
                  </a:lnTo>
                  <a:lnTo>
                    <a:pt x="204" y="111"/>
                  </a:lnTo>
                  <a:lnTo>
                    <a:pt x="204" y="114"/>
                  </a:lnTo>
                  <a:lnTo>
                    <a:pt x="204" y="116"/>
                  </a:lnTo>
                  <a:lnTo>
                    <a:pt x="204" y="118"/>
                  </a:lnTo>
                  <a:lnTo>
                    <a:pt x="202" y="118"/>
                  </a:lnTo>
                  <a:lnTo>
                    <a:pt x="202" y="121"/>
                  </a:lnTo>
                  <a:lnTo>
                    <a:pt x="202" y="123"/>
                  </a:lnTo>
                  <a:lnTo>
                    <a:pt x="202" y="126"/>
                  </a:lnTo>
                  <a:lnTo>
                    <a:pt x="202" y="123"/>
                  </a:lnTo>
                  <a:lnTo>
                    <a:pt x="202" y="121"/>
                  </a:lnTo>
                  <a:lnTo>
                    <a:pt x="204" y="121"/>
                  </a:lnTo>
                  <a:lnTo>
                    <a:pt x="202" y="121"/>
                  </a:lnTo>
                  <a:lnTo>
                    <a:pt x="202" y="118"/>
                  </a:lnTo>
                  <a:lnTo>
                    <a:pt x="204" y="118"/>
                  </a:lnTo>
                  <a:lnTo>
                    <a:pt x="204" y="116"/>
                  </a:lnTo>
                  <a:lnTo>
                    <a:pt x="204" y="114"/>
                  </a:lnTo>
                  <a:lnTo>
                    <a:pt x="204" y="111"/>
                  </a:lnTo>
                  <a:lnTo>
                    <a:pt x="204" y="109"/>
                  </a:lnTo>
                  <a:lnTo>
                    <a:pt x="202" y="109"/>
                  </a:lnTo>
                  <a:lnTo>
                    <a:pt x="200" y="109"/>
                  </a:lnTo>
                  <a:lnTo>
                    <a:pt x="197" y="109"/>
                  </a:lnTo>
                  <a:lnTo>
                    <a:pt x="197" y="107"/>
                  </a:lnTo>
                  <a:lnTo>
                    <a:pt x="197" y="104"/>
                  </a:lnTo>
                  <a:lnTo>
                    <a:pt x="197" y="107"/>
                  </a:lnTo>
                  <a:lnTo>
                    <a:pt x="195" y="104"/>
                  </a:lnTo>
                  <a:lnTo>
                    <a:pt x="193" y="104"/>
                  </a:lnTo>
                  <a:lnTo>
                    <a:pt x="193" y="102"/>
                  </a:lnTo>
                  <a:lnTo>
                    <a:pt x="190" y="102"/>
                  </a:lnTo>
                  <a:lnTo>
                    <a:pt x="188" y="102"/>
                  </a:lnTo>
                  <a:lnTo>
                    <a:pt x="188" y="99"/>
                  </a:lnTo>
                  <a:lnTo>
                    <a:pt x="188" y="102"/>
                  </a:lnTo>
                  <a:lnTo>
                    <a:pt x="185" y="102"/>
                  </a:lnTo>
                  <a:lnTo>
                    <a:pt x="185" y="99"/>
                  </a:lnTo>
                  <a:lnTo>
                    <a:pt x="183" y="99"/>
                  </a:lnTo>
                  <a:lnTo>
                    <a:pt x="181" y="99"/>
                  </a:lnTo>
                  <a:lnTo>
                    <a:pt x="178" y="99"/>
                  </a:lnTo>
                  <a:lnTo>
                    <a:pt x="178" y="97"/>
                  </a:lnTo>
                  <a:lnTo>
                    <a:pt x="176" y="97"/>
                  </a:lnTo>
                  <a:lnTo>
                    <a:pt x="176" y="95"/>
                  </a:lnTo>
                  <a:lnTo>
                    <a:pt x="174" y="95"/>
                  </a:lnTo>
                  <a:lnTo>
                    <a:pt x="174" y="97"/>
                  </a:lnTo>
                  <a:lnTo>
                    <a:pt x="171" y="97"/>
                  </a:lnTo>
                  <a:lnTo>
                    <a:pt x="171" y="95"/>
                  </a:lnTo>
                  <a:lnTo>
                    <a:pt x="169" y="95"/>
                  </a:lnTo>
                  <a:lnTo>
                    <a:pt x="169" y="92"/>
                  </a:lnTo>
                  <a:lnTo>
                    <a:pt x="166" y="92"/>
                  </a:lnTo>
                  <a:lnTo>
                    <a:pt x="166" y="90"/>
                  </a:lnTo>
                  <a:lnTo>
                    <a:pt x="164" y="90"/>
                  </a:lnTo>
                  <a:lnTo>
                    <a:pt x="162" y="90"/>
                  </a:lnTo>
                  <a:lnTo>
                    <a:pt x="162" y="88"/>
                  </a:lnTo>
                  <a:lnTo>
                    <a:pt x="162" y="85"/>
                  </a:lnTo>
                  <a:lnTo>
                    <a:pt x="159" y="85"/>
                  </a:lnTo>
                  <a:lnTo>
                    <a:pt x="157" y="85"/>
                  </a:lnTo>
                  <a:lnTo>
                    <a:pt x="155" y="85"/>
                  </a:lnTo>
                  <a:lnTo>
                    <a:pt x="152" y="85"/>
                  </a:lnTo>
                  <a:lnTo>
                    <a:pt x="152" y="83"/>
                  </a:lnTo>
                  <a:lnTo>
                    <a:pt x="150" y="83"/>
                  </a:lnTo>
                  <a:lnTo>
                    <a:pt x="147" y="83"/>
                  </a:lnTo>
                  <a:lnTo>
                    <a:pt x="145" y="83"/>
                  </a:lnTo>
                  <a:lnTo>
                    <a:pt x="143" y="83"/>
                  </a:lnTo>
                  <a:lnTo>
                    <a:pt x="140" y="83"/>
                  </a:lnTo>
                  <a:lnTo>
                    <a:pt x="140" y="80"/>
                  </a:lnTo>
                  <a:lnTo>
                    <a:pt x="138" y="80"/>
                  </a:lnTo>
                  <a:lnTo>
                    <a:pt x="138" y="78"/>
                  </a:lnTo>
                  <a:lnTo>
                    <a:pt x="138" y="76"/>
                  </a:lnTo>
                  <a:lnTo>
                    <a:pt x="136" y="76"/>
                  </a:lnTo>
                  <a:lnTo>
                    <a:pt x="133" y="76"/>
                  </a:lnTo>
                  <a:lnTo>
                    <a:pt x="131" y="76"/>
                  </a:lnTo>
                  <a:lnTo>
                    <a:pt x="129" y="76"/>
                  </a:lnTo>
                  <a:lnTo>
                    <a:pt x="126" y="76"/>
                  </a:lnTo>
                  <a:lnTo>
                    <a:pt x="126" y="73"/>
                  </a:lnTo>
                  <a:lnTo>
                    <a:pt x="124" y="73"/>
                  </a:lnTo>
                  <a:lnTo>
                    <a:pt x="121" y="73"/>
                  </a:lnTo>
                  <a:lnTo>
                    <a:pt x="121" y="71"/>
                  </a:lnTo>
                  <a:lnTo>
                    <a:pt x="121" y="69"/>
                  </a:lnTo>
                  <a:lnTo>
                    <a:pt x="119" y="66"/>
                  </a:lnTo>
                  <a:lnTo>
                    <a:pt x="117" y="66"/>
                  </a:lnTo>
                  <a:lnTo>
                    <a:pt x="117" y="64"/>
                  </a:lnTo>
                  <a:lnTo>
                    <a:pt x="117" y="61"/>
                  </a:lnTo>
                  <a:lnTo>
                    <a:pt x="114" y="61"/>
                  </a:lnTo>
                  <a:lnTo>
                    <a:pt x="114" y="59"/>
                  </a:lnTo>
                  <a:lnTo>
                    <a:pt x="112" y="59"/>
                  </a:lnTo>
                  <a:lnTo>
                    <a:pt x="110" y="59"/>
                  </a:lnTo>
                  <a:lnTo>
                    <a:pt x="107" y="59"/>
                  </a:lnTo>
                  <a:lnTo>
                    <a:pt x="110" y="59"/>
                  </a:lnTo>
                  <a:lnTo>
                    <a:pt x="110" y="57"/>
                  </a:lnTo>
                  <a:lnTo>
                    <a:pt x="112" y="57"/>
                  </a:lnTo>
                  <a:lnTo>
                    <a:pt x="112" y="54"/>
                  </a:lnTo>
                  <a:lnTo>
                    <a:pt x="114" y="54"/>
                  </a:lnTo>
                  <a:lnTo>
                    <a:pt x="114" y="50"/>
                  </a:lnTo>
                  <a:lnTo>
                    <a:pt x="114" y="47"/>
                  </a:lnTo>
                  <a:lnTo>
                    <a:pt x="114" y="45"/>
                  </a:lnTo>
                  <a:lnTo>
                    <a:pt x="117" y="45"/>
                  </a:lnTo>
                  <a:lnTo>
                    <a:pt x="119" y="45"/>
                  </a:lnTo>
                  <a:lnTo>
                    <a:pt x="121" y="42"/>
                  </a:lnTo>
                  <a:lnTo>
                    <a:pt x="124" y="42"/>
                  </a:lnTo>
                  <a:lnTo>
                    <a:pt x="124" y="40"/>
                  </a:lnTo>
                  <a:lnTo>
                    <a:pt x="126" y="40"/>
                  </a:lnTo>
                  <a:lnTo>
                    <a:pt x="126" y="38"/>
                  </a:lnTo>
                  <a:lnTo>
                    <a:pt x="129" y="38"/>
                  </a:lnTo>
                  <a:lnTo>
                    <a:pt x="129" y="35"/>
                  </a:lnTo>
                  <a:lnTo>
                    <a:pt x="131" y="35"/>
                  </a:lnTo>
                  <a:lnTo>
                    <a:pt x="133" y="35"/>
                  </a:lnTo>
                  <a:lnTo>
                    <a:pt x="136" y="35"/>
                  </a:lnTo>
                  <a:lnTo>
                    <a:pt x="136" y="38"/>
                  </a:lnTo>
                  <a:lnTo>
                    <a:pt x="136" y="35"/>
                  </a:lnTo>
                  <a:lnTo>
                    <a:pt x="138" y="35"/>
                  </a:lnTo>
                  <a:lnTo>
                    <a:pt x="140" y="35"/>
                  </a:lnTo>
                  <a:lnTo>
                    <a:pt x="143" y="35"/>
                  </a:lnTo>
                  <a:lnTo>
                    <a:pt x="140" y="35"/>
                  </a:lnTo>
                  <a:lnTo>
                    <a:pt x="143" y="35"/>
                  </a:lnTo>
                  <a:lnTo>
                    <a:pt x="140" y="35"/>
                  </a:lnTo>
                  <a:lnTo>
                    <a:pt x="143" y="35"/>
                  </a:lnTo>
                  <a:lnTo>
                    <a:pt x="140" y="38"/>
                  </a:lnTo>
                  <a:lnTo>
                    <a:pt x="143" y="38"/>
                  </a:lnTo>
                  <a:lnTo>
                    <a:pt x="143" y="35"/>
                  </a:lnTo>
                  <a:lnTo>
                    <a:pt x="143" y="33"/>
                  </a:lnTo>
                  <a:lnTo>
                    <a:pt x="145" y="33"/>
                  </a:lnTo>
                  <a:lnTo>
                    <a:pt x="147" y="33"/>
                  </a:lnTo>
                  <a:lnTo>
                    <a:pt x="145" y="33"/>
                  </a:lnTo>
                  <a:lnTo>
                    <a:pt x="147" y="31"/>
                  </a:lnTo>
                  <a:lnTo>
                    <a:pt x="150" y="33"/>
                  </a:lnTo>
                  <a:lnTo>
                    <a:pt x="152" y="33"/>
                  </a:lnTo>
                  <a:lnTo>
                    <a:pt x="155" y="33"/>
                  </a:lnTo>
                  <a:lnTo>
                    <a:pt x="155" y="35"/>
                  </a:lnTo>
                  <a:lnTo>
                    <a:pt x="157" y="35"/>
                  </a:lnTo>
                  <a:lnTo>
                    <a:pt x="157" y="38"/>
                  </a:lnTo>
                  <a:lnTo>
                    <a:pt x="159" y="38"/>
                  </a:lnTo>
                  <a:lnTo>
                    <a:pt x="162" y="38"/>
                  </a:lnTo>
                  <a:lnTo>
                    <a:pt x="164" y="38"/>
                  </a:lnTo>
                  <a:lnTo>
                    <a:pt x="164" y="35"/>
                  </a:lnTo>
                  <a:lnTo>
                    <a:pt x="166" y="35"/>
                  </a:lnTo>
                  <a:lnTo>
                    <a:pt x="169" y="33"/>
                  </a:lnTo>
                  <a:lnTo>
                    <a:pt x="169" y="35"/>
                  </a:lnTo>
                  <a:lnTo>
                    <a:pt x="171" y="35"/>
                  </a:lnTo>
                  <a:lnTo>
                    <a:pt x="169" y="35"/>
                  </a:lnTo>
                  <a:lnTo>
                    <a:pt x="171" y="35"/>
                  </a:lnTo>
                  <a:lnTo>
                    <a:pt x="171" y="33"/>
                  </a:lnTo>
                  <a:lnTo>
                    <a:pt x="174" y="33"/>
                  </a:lnTo>
                  <a:lnTo>
                    <a:pt x="174" y="35"/>
                  </a:lnTo>
                  <a:lnTo>
                    <a:pt x="171" y="35"/>
                  </a:lnTo>
                  <a:lnTo>
                    <a:pt x="171" y="38"/>
                  </a:lnTo>
                  <a:lnTo>
                    <a:pt x="171" y="40"/>
                  </a:lnTo>
                  <a:lnTo>
                    <a:pt x="174" y="42"/>
                  </a:lnTo>
                  <a:lnTo>
                    <a:pt x="171" y="42"/>
                  </a:lnTo>
                  <a:lnTo>
                    <a:pt x="171" y="45"/>
                  </a:lnTo>
                  <a:lnTo>
                    <a:pt x="169" y="45"/>
                  </a:lnTo>
                  <a:lnTo>
                    <a:pt x="169" y="47"/>
                  </a:lnTo>
                  <a:lnTo>
                    <a:pt x="166" y="47"/>
                  </a:lnTo>
                  <a:lnTo>
                    <a:pt x="166" y="50"/>
                  </a:lnTo>
                  <a:lnTo>
                    <a:pt x="164" y="50"/>
                  </a:lnTo>
                  <a:lnTo>
                    <a:pt x="162" y="50"/>
                  </a:lnTo>
                  <a:lnTo>
                    <a:pt x="162" y="52"/>
                  </a:lnTo>
                  <a:lnTo>
                    <a:pt x="162" y="54"/>
                  </a:lnTo>
                  <a:lnTo>
                    <a:pt x="164" y="54"/>
                  </a:lnTo>
                  <a:lnTo>
                    <a:pt x="166" y="54"/>
                  </a:lnTo>
                  <a:lnTo>
                    <a:pt x="164" y="57"/>
                  </a:lnTo>
                  <a:lnTo>
                    <a:pt x="164" y="59"/>
                  </a:lnTo>
                  <a:lnTo>
                    <a:pt x="162" y="59"/>
                  </a:lnTo>
                  <a:lnTo>
                    <a:pt x="162" y="57"/>
                  </a:lnTo>
                  <a:lnTo>
                    <a:pt x="162" y="59"/>
                  </a:lnTo>
                  <a:lnTo>
                    <a:pt x="159" y="59"/>
                  </a:lnTo>
                  <a:lnTo>
                    <a:pt x="162" y="59"/>
                  </a:lnTo>
                  <a:lnTo>
                    <a:pt x="164" y="59"/>
                  </a:lnTo>
                  <a:lnTo>
                    <a:pt x="166" y="57"/>
                  </a:lnTo>
                  <a:lnTo>
                    <a:pt x="166" y="59"/>
                  </a:lnTo>
                  <a:lnTo>
                    <a:pt x="169" y="59"/>
                  </a:lnTo>
                  <a:lnTo>
                    <a:pt x="169" y="57"/>
                  </a:lnTo>
                  <a:lnTo>
                    <a:pt x="169" y="59"/>
                  </a:lnTo>
                  <a:lnTo>
                    <a:pt x="169" y="57"/>
                  </a:lnTo>
                  <a:lnTo>
                    <a:pt x="166" y="57"/>
                  </a:lnTo>
                  <a:lnTo>
                    <a:pt x="164" y="57"/>
                  </a:lnTo>
                  <a:lnTo>
                    <a:pt x="166" y="57"/>
                  </a:lnTo>
                  <a:lnTo>
                    <a:pt x="166" y="54"/>
                  </a:lnTo>
                  <a:lnTo>
                    <a:pt x="166" y="57"/>
                  </a:lnTo>
                  <a:lnTo>
                    <a:pt x="166" y="54"/>
                  </a:lnTo>
                  <a:lnTo>
                    <a:pt x="169" y="54"/>
                  </a:lnTo>
                  <a:lnTo>
                    <a:pt x="171" y="54"/>
                  </a:lnTo>
                  <a:lnTo>
                    <a:pt x="171" y="52"/>
                  </a:lnTo>
                  <a:lnTo>
                    <a:pt x="174" y="52"/>
                  </a:lnTo>
                  <a:lnTo>
                    <a:pt x="176" y="52"/>
                  </a:lnTo>
                  <a:lnTo>
                    <a:pt x="176" y="54"/>
                  </a:lnTo>
                  <a:lnTo>
                    <a:pt x="178" y="54"/>
                  </a:lnTo>
                  <a:lnTo>
                    <a:pt x="178" y="57"/>
                  </a:lnTo>
                  <a:lnTo>
                    <a:pt x="181" y="57"/>
                  </a:lnTo>
                  <a:lnTo>
                    <a:pt x="181" y="54"/>
                  </a:lnTo>
                  <a:lnTo>
                    <a:pt x="181" y="57"/>
                  </a:lnTo>
                  <a:lnTo>
                    <a:pt x="183" y="57"/>
                  </a:lnTo>
                  <a:lnTo>
                    <a:pt x="183" y="59"/>
                  </a:lnTo>
                  <a:lnTo>
                    <a:pt x="185" y="59"/>
                  </a:lnTo>
                  <a:lnTo>
                    <a:pt x="183" y="59"/>
                  </a:lnTo>
                  <a:lnTo>
                    <a:pt x="185" y="59"/>
                  </a:lnTo>
                  <a:lnTo>
                    <a:pt x="183" y="57"/>
                  </a:lnTo>
                  <a:lnTo>
                    <a:pt x="185" y="57"/>
                  </a:lnTo>
                  <a:lnTo>
                    <a:pt x="185" y="54"/>
                  </a:lnTo>
                  <a:lnTo>
                    <a:pt x="183" y="54"/>
                  </a:lnTo>
                  <a:lnTo>
                    <a:pt x="185" y="54"/>
                  </a:lnTo>
                  <a:lnTo>
                    <a:pt x="183" y="54"/>
                  </a:lnTo>
                  <a:lnTo>
                    <a:pt x="183" y="52"/>
                  </a:lnTo>
                  <a:lnTo>
                    <a:pt x="185" y="52"/>
                  </a:lnTo>
                  <a:lnTo>
                    <a:pt x="185" y="54"/>
                  </a:lnTo>
                  <a:lnTo>
                    <a:pt x="185" y="52"/>
                  </a:lnTo>
                  <a:lnTo>
                    <a:pt x="188" y="52"/>
                  </a:lnTo>
                  <a:lnTo>
                    <a:pt x="185" y="52"/>
                  </a:lnTo>
                  <a:lnTo>
                    <a:pt x="188" y="52"/>
                  </a:lnTo>
                  <a:lnTo>
                    <a:pt x="188" y="50"/>
                  </a:lnTo>
                  <a:lnTo>
                    <a:pt x="190" y="50"/>
                  </a:lnTo>
                  <a:lnTo>
                    <a:pt x="190" y="47"/>
                  </a:lnTo>
                  <a:lnTo>
                    <a:pt x="190" y="50"/>
                  </a:lnTo>
                  <a:lnTo>
                    <a:pt x="188" y="50"/>
                  </a:lnTo>
                  <a:lnTo>
                    <a:pt x="188" y="52"/>
                  </a:lnTo>
                  <a:lnTo>
                    <a:pt x="188" y="50"/>
                  </a:lnTo>
                  <a:lnTo>
                    <a:pt x="188" y="47"/>
                  </a:lnTo>
                  <a:lnTo>
                    <a:pt x="190" y="47"/>
                  </a:lnTo>
                  <a:lnTo>
                    <a:pt x="193" y="47"/>
                  </a:lnTo>
                  <a:lnTo>
                    <a:pt x="193" y="45"/>
                  </a:lnTo>
                  <a:lnTo>
                    <a:pt x="195" y="45"/>
                  </a:lnTo>
                  <a:lnTo>
                    <a:pt x="197" y="47"/>
                  </a:lnTo>
                  <a:lnTo>
                    <a:pt x="200" y="45"/>
                  </a:lnTo>
                  <a:lnTo>
                    <a:pt x="202" y="45"/>
                  </a:lnTo>
                  <a:lnTo>
                    <a:pt x="204" y="45"/>
                  </a:lnTo>
                  <a:lnTo>
                    <a:pt x="207" y="45"/>
                  </a:lnTo>
                  <a:lnTo>
                    <a:pt x="204" y="45"/>
                  </a:lnTo>
                  <a:lnTo>
                    <a:pt x="204" y="47"/>
                  </a:lnTo>
                  <a:lnTo>
                    <a:pt x="207" y="47"/>
                  </a:lnTo>
                  <a:lnTo>
                    <a:pt x="204" y="47"/>
                  </a:lnTo>
                  <a:lnTo>
                    <a:pt x="207" y="47"/>
                  </a:lnTo>
                  <a:lnTo>
                    <a:pt x="207" y="50"/>
                  </a:lnTo>
                  <a:lnTo>
                    <a:pt x="207" y="47"/>
                  </a:lnTo>
                  <a:lnTo>
                    <a:pt x="207" y="50"/>
                  </a:lnTo>
                  <a:lnTo>
                    <a:pt x="207" y="47"/>
                  </a:lnTo>
                  <a:lnTo>
                    <a:pt x="207" y="45"/>
                  </a:lnTo>
                  <a:lnTo>
                    <a:pt x="207" y="42"/>
                  </a:lnTo>
                  <a:lnTo>
                    <a:pt x="209" y="42"/>
                  </a:lnTo>
                  <a:lnTo>
                    <a:pt x="209" y="40"/>
                  </a:lnTo>
                  <a:lnTo>
                    <a:pt x="212" y="40"/>
                  </a:lnTo>
                  <a:lnTo>
                    <a:pt x="214" y="40"/>
                  </a:lnTo>
                  <a:lnTo>
                    <a:pt x="214" y="38"/>
                  </a:lnTo>
                  <a:lnTo>
                    <a:pt x="214" y="35"/>
                  </a:lnTo>
                  <a:lnTo>
                    <a:pt x="216" y="35"/>
                  </a:lnTo>
                  <a:lnTo>
                    <a:pt x="216" y="33"/>
                  </a:lnTo>
                  <a:lnTo>
                    <a:pt x="219" y="33"/>
                  </a:lnTo>
                  <a:lnTo>
                    <a:pt x="219" y="31"/>
                  </a:lnTo>
                  <a:lnTo>
                    <a:pt x="219" y="28"/>
                  </a:lnTo>
                  <a:lnTo>
                    <a:pt x="221" y="28"/>
                  </a:lnTo>
                  <a:lnTo>
                    <a:pt x="221" y="31"/>
                  </a:lnTo>
                  <a:lnTo>
                    <a:pt x="223" y="31"/>
                  </a:lnTo>
                  <a:close/>
                  <a:moveTo>
                    <a:pt x="98" y="99"/>
                  </a:moveTo>
                  <a:lnTo>
                    <a:pt x="100" y="99"/>
                  </a:lnTo>
                  <a:lnTo>
                    <a:pt x="100" y="102"/>
                  </a:lnTo>
                  <a:lnTo>
                    <a:pt x="100" y="99"/>
                  </a:lnTo>
                  <a:lnTo>
                    <a:pt x="98" y="99"/>
                  </a:lnTo>
                  <a:close/>
                  <a:moveTo>
                    <a:pt x="86" y="0"/>
                  </a:moveTo>
                  <a:lnTo>
                    <a:pt x="83" y="0"/>
                  </a:lnTo>
                  <a:lnTo>
                    <a:pt x="83" y="2"/>
                  </a:lnTo>
                  <a:lnTo>
                    <a:pt x="86" y="2"/>
                  </a:lnTo>
                  <a:lnTo>
                    <a:pt x="83" y="2"/>
                  </a:lnTo>
                  <a:lnTo>
                    <a:pt x="83" y="4"/>
                  </a:lnTo>
                  <a:lnTo>
                    <a:pt x="83" y="7"/>
                  </a:lnTo>
                  <a:lnTo>
                    <a:pt x="83" y="9"/>
                  </a:lnTo>
                  <a:lnTo>
                    <a:pt x="86" y="9"/>
                  </a:lnTo>
                  <a:lnTo>
                    <a:pt x="88" y="9"/>
                  </a:lnTo>
                  <a:lnTo>
                    <a:pt x="91" y="9"/>
                  </a:lnTo>
                  <a:lnTo>
                    <a:pt x="91" y="7"/>
                  </a:lnTo>
                  <a:lnTo>
                    <a:pt x="93" y="7"/>
                  </a:lnTo>
                  <a:lnTo>
                    <a:pt x="95" y="9"/>
                  </a:lnTo>
                  <a:lnTo>
                    <a:pt x="98" y="7"/>
                  </a:lnTo>
                  <a:lnTo>
                    <a:pt x="98" y="9"/>
                  </a:lnTo>
                  <a:lnTo>
                    <a:pt x="100" y="9"/>
                  </a:lnTo>
                  <a:lnTo>
                    <a:pt x="100" y="7"/>
                  </a:lnTo>
                  <a:lnTo>
                    <a:pt x="102" y="7"/>
                  </a:lnTo>
                  <a:lnTo>
                    <a:pt x="102" y="9"/>
                  </a:lnTo>
                  <a:lnTo>
                    <a:pt x="105" y="9"/>
                  </a:lnTo>
                  <a:lnTo>
                    <a:pt x="107" y="9"/>
                  </a:lnTo>
                  <a:lnTo>
                    <a:pt x="110" y="9"/>
                  </a:lnTo>
                  <a:lnTo>
                    <a:pt x="112" y="12"/>
                  </a:lnTo>
                  <a:lnTo>
                    <a:pt x="114" y="14"/>
                  </a:lnTo>
                  <a:lnTo>
                    <a:pt x="114" y="12"/>
                  </a:lnTo>
                  <a:lnTo>
                    <a:pt x="114" y="14"/>
                  </a:lnTo>
                  <a:lnTo>
                    <a:pt x="114" y="12"/>
                  </a:lnTo>
                  <a:lnTo>
                    <a:pt x="117" y="12"/>
                  </a:lnTo>
                  <a:lnTo>
                    <a:pt x="119" y="12"/>
                  </a:lnTo>
                  <a:lnTo>
                    <a:pt x="119" y="14"/>
                  </a:lnTo>
                  <a:lnTo>
                    <a:pt x="117" y="14"/>
                  </a:lnTo>
                  <a:lnTo>
                    <a:pt x="119" y="14"/>
                  </a:lnTo>
                  <a:lnTo>
                    <a:pt x="119" y="12"/>
                  </a:lnTo>
                  <a:lnTo>
                    <a:pt x="121" y="12"/>
                  </a:lnTo>
                  <a:lnTo>
                    <a:pt x="121" y="9"/>
                  </a:lnTo>
                  <a:lnTo>
                    <a:pt x="124" y="9"/>
                  </a:lnTo>
                  <a:lnTo>
                    <a:pt x="124" y="12"/>
                  </a:lnTo>
                  <a:lnTo>
                    <a:pt x="126" y="12"/>
                  </a:lnTo>
                  <a:lnTo>
                    <a:pt x="129" y="14"/>
                  </a:lnTo>
                  <a:lnTo>
                    <a:pt x="131" y="14"/>
                  </a:lnTo>
                  <a:lnTo>
                    <a:pt x="131" y="16"/>
                  </a:lnTo>
                  <a:lnTo>
                    <a:pt x="133" y="16"/>
                  </a:lnTo>
                  <a:lnTo>
                    <a:pt x="133" y="14"/>
                  </a:lnTo>
                  <a:lnTo>
                    <a:pt x="136" y="14"/>
                  </a:lnTo>
                  <a:lnTo>
                    <a:pt x="136" y="16"/>
                  </a:lnTo>
                  <a:lnTo>
                    <a:pt x="136" y="19"/>
                  </a:lnTo>
                  <a:lnTo>
                    <a:pt x="138" y="19"/>
                  </a:lnTo>
                  <a:lnTo>
                    <a:pt x="136" y="19"/>
                  </a:lnTo>
                  <a:lnTo>
                    <a:pt x="136" y="21"/>
                  </a:lnTo>
                  <a:lnTo>
                    <a:pt x="133" y="21"/>
                  </a:lnTo>
                  <a:lnTo>
                    <a:pt x="136" y="21"/>
                  </a:lnTo>
                  <a:lnTo>
                    <a:pt x="133" y="21"/>
                  </a:lnTo>
                  <a:lnTo>
                    <a:pt x="133" y="23"/>
                  </a:lnTo>
                  <a:lnTo>
                    <a:pt x="131" y="23"/>
                  </a:lnTo>
                  <a:lnTo>
                    <a:pt x="129" y="23"/>
                  </a:lnTo>
                  <a:lnTo>
                    <a:pt x="129" y="26"/>
                  </a:lnTo>
                  <a:lnTo>
                    <a:pt x="126" y="26"/>
                  </a:lnTo>
                  <a:lnTo>
                    <a:pt x="129" y="26"/>
                  </a:lnTo>
                  <a:lnTo>
                    <a:pt x="126" y="28"/>
                  </a:lnTo>
                  <a:lnTo>
                    <a:pt x="126" y="26"/>
                  </a:lnTo>
                  <a:lnTo>
                    <a:pt x="126" y="28"/>
                  </a:lnTo>
                  <a:lnTo>
                    <a:pt x="126" y="26"/>
                  </a:lnTo>
                  <a:lnTo>
                    <a:pt x="126" y="28"/>
                  </a:lnTo>
                  <a:lnTo>
                    <a:pt x="124" y="28"/>
                  </a:lnTo>
                  <a:lnTo>
                    <a:pt x="124" y="26"/>
                  </a:lnTo>
                  <a:lnTo>
                    <a:pt x="124" y="28"/>
                  </a:lnTo>
                  <a:lnTo>
                    <a:pt x="121" y="28"/>
                  </a:lnTo>
                  <a:lnTo>
                    <a:pt x="124" y="28"/>
                  </a:lnTo>
                  <a:lnTo>
                    <a:pt x="121" y="28"/>
                  </a:lnTo>
                  <a:lnTo>
                    <a:pt x="124" y="28"/>
                  </a:lnTo>
                  <a:lnTo>
                    <a:pt x="121" y="28"/>
                  </a:lnTo>
                  <a:lnTo>
                    <a:pt x="121" y="31"/>
                  </a:lnTo>
                  <a:lnTo>
                    <a:pt x="124" y="31"/>
                  </a:lnTo>
                  <a:lnTo>
                    <a:pt x="124" y="28"/>
                  </a:lnTo>
                  <a:lnTo>
                    <a:pt x="126" y="28"/>
                  </a:lnTo>
                  <a:lnTo>
                    <a:pt x="129" y="26"/>
                  </a:lnTo>
                  <a:lnTo>
                    <a:pt x="129" y="28"/>
                  </a:lnTo>
                  <a:lnTo>
                    <a:pt x="129" y="26"/>
                  </a:lnTo>
                  <a:lnTo>
                    <a:pt x="131" y="26"/>
                  </a:lnTo>
                  <a:lnTo>
                    <a:pt x="131" y="23"/>
                  </a:lnTo>
                  <a:lnTo>
                    <a:pt x="133" y="23"/>
                  </a:lnTo>
                  <a:lnTo>
                    <a:pt x="133" y="21"/>
                  </a:lnTo>
                  <a:lnTo>
                    <a:pt x="136" y="21"/>
                  </a:lnTo>
                  <a:lnTo>
                    <a:pt x="136" y="19"/>
                  </a:lnTo>
                  <a:lnTo>
                    <a:pt x="138" y="21"/>
                  </a:lnTo>
                  <a:lnTo>
                    <a:pt x="138" y="19"/>
                  </a:lnTo>
                  <a:lnTo>
                    <a:pt x="138" y="21"/>
                  </a:lnTo>
                  <a:lnTo>
                    <a:pt x="138" y="23"/>
                  </a:lnTo>
                  <a:lnTo>
                    <a:pt x="138" y="26"/>
                  </a:lnTo>
                  <a:lnTo>
                    <a:pt x="136" y="28"/>
                  </a:lnTo>
                  <a:lnTo>
                    <a:pt x="133" y="28"/>
                  </a:lnTo>
                  <a:lnTo>
                    <a:pt x="133" y="31"/>
                  </a:lnTo>
                  <a:lnTo>
                    <a:pt x="131" y="31"/>
                  </a:lnTo>
                  <a:lnTo>
                    <a:pt x="131" y="28"/>
                  </a:lnTo>
                  <a:lnTo>
                    <a:pt x="131" y="31"/>
                  </a:lnTo>
                  <a:lnTo>
                    <a:pt x="133" y="31"/>
                  </a:lnTo>
                  <a:lnTo>
                    <a:pt x="136" y="31"/>
                  </a:lnTo>
                  <a:lnTo>
                    <a:pt x="133" y="31"/>
                  </a:lnTo>
                  <a:lnTo>
                    <a:pt x="136" y="31"/>
                  </a:lnTo>
                  <a:lnTo>
                    <a:pt x="138" y="31"/>
                  </a:lnTo>
                  <a:lnTo>
                    <a:pt x="138" y="28"/>
                  </a:lnTo>
                  <a:lnTo>
                    <a:pt x="140" y="28"/>
                  </a:lnTo>
                  <a:lnTo>
                    <a:pt x="143" y="31"/>
                  </a:lnTo>
                  <a:lnTo>
                    <a:pt x="143" y="33"/>
                  </a:lnTo>
                  <a:lnTo>
                    <a:pt x="143" y="35"/>
                  </a:lnTo>
                  <a:lnTo>
                    <a:pt x="140" y="35"/>
                  </a:lnTo>
                  <a:lnTo>
                    <a:pt x="138" y="35"/>
                  </a:lnTo>
                  <a:lnTo>
                    <a:pt x="136" y="35"/>
                  </a:lnTo>
                  <a:lnTo>
                    <a:pt x="133" y="35"/>
                  </a:lnTo>
                  <a:lnTo>
                    <a:pt x="131" y="35"/>
                  </a:lnTo>
                  <a:lnTo>
                    <a:pt x="129" y="35"/>
                  </a:lnTo>
                  <a:lnTo>
                    <a:pt x="126" y="35"/>
                  </a:lnTo>
                  <a:lnTo>
                    <a:pt x="126" y="38"/>
                  </a:lnTo>
                  <a:lnTo>
                    <a:pt x="124" y="40"/>
                  </a:lnTo>
                  <a:lnTo>
                    <a:pt x="124" y="42"/>
                  </a:lnTo>
                  <a:lnTo>
                    <a:pt x="121" y="42"/>
                  </a:lnTo>
                  <a:lnTo>
                    <a:pt x="119" y="45"/>
                  </a:lnTo>
                  <a:lnTo>
                    <a:pt x="117" y="45"/>
                  </a:lnTo>
                  <a:lnTo>
                    <a:pt x="114" y="47"/>
                  </a:lnTo>
                  <a:lnTo>
                    <a:pt x="114" y="50"/>
                  </a:lnTo>
                  <a:lnTo>
                    <a:pt x="114" y="52"/>
                  </a:lnTo>
                  <a:lnTo>
                    <a:pt x="114" y="54"/>
                  </a:lnTo>
                  <a:lnTo>
                    <a:pt x="112" y="54"/>
                  </a:lnTo>
                  <a:lnTo>
                    <a:pt x="112" y="57"/>
                  </a:lnTo>
                  <a:lnTo>
                    <a:pt x="110" y="57"/>
                  </a:lnTo>
                  <a:lnTo>
                    <a:pt x="110" y="59"/>
                  </a:lnTo>
                  <a:lnTo>
                    <a:pt x="107" y="59"/>
                  </a:lnTo>
                  <a:lnTo>
                    <a:pt x="105" y="59"/>
                  </a:lnTo>
                  <a:lnTo>
                    <a:pt x="102" y="59"/>
                  </a:lnTo>
                  <a:lnTo>
                    <a:pt x="100" y="57"/>
                  </a:lnTo>
                  <a:lnTo>
                    <a:pt x="100" y="54"/>
                  </a:lnTo>
                  <a:lnTo>
                    <a:pt x="98" y="54"/>
                  </a:lnTo>
                  <a:lnTo>
                    <a:pt x="98" y="52"/>
                  </a:lnTo>
                  <a:lnTo>
                    <a:pt x="100" y="52"/>
                  </a:lnTo>
                  <a:lnTo>
                    <a:pt x="102" y="52"/>
                  </a:lnTo>
                  <a:lnTo>
                    <a:pt x="102" y="50"/>
                  </a:lnTo>
                  <a:lnTo>
                    <a:pt x="102" y="47"/>
                  </a:lnTo>
                  <a:lnTo>
                    <a:pt x="100" y="47"/>
                  </a:lnTo>
                  <a:lnTo>
                    <a:pt x="98" y="47"/>
                  </a:lnTo>
                  <a:lnTo>
                    <a:pt x="98" y="45"/>
                  </a:lnTo>
                  <a:lnTo>
                    <a:pt x="98" y="42"/>
                  </a:lnTo>
                  <a:lnTo>
                    <a:pt x="98" y="40"/>
                  </a:lnTo>
                  <a:lnTo>
                    <a:pt x="100" y="40"/>
                  </a:lnTo>
                  <a:lnTo>
                    <a:pt x="102" y="40"/>
                  </a:lnTo>
                  <a:lnTo>
                    <a:pt x="102" y="38"/>
                  </a:lnTo>
                  <a:lnTo>
                    <a:pt x="102" y="35"/>
                  </a:lnTo>
                  <a:lnTo>
                    <a:pt x="105" y="35"/>
                  </a:lnTo>
                  <a:lnTo>
                    <a:pt x="107" y="35"/>
                  </a:lnTo>
                  <a:lnTo>
                    <a:pt x="110" y="35"/>
                  </a:lnTo>
                  <a:lnTo>
                    <a:pt x="110" y="38"/>
                  </a:lnTo>
                  <a:lnTo>
                    <a:pt x="112" y="38"/>
                  </a:lnTo>
                  <a:lnTo>
                    <a:pt x="112" y="35"/>
                  </a:lnTo>
                  <a:lnTo>
                    <a:pt x="112" y="38"/>
                  </a:lnTo>
                  <a:lnTo>
                    <a:pt x="110" y="38"/>
                  </a:lnTo>
                  <a:lnTo>
                    <a:pt x="110" y="35"/>
                  </a:lnTo>
                  <a:lnTo>
                    <a:pt x="110" y="38"/>
                  </a:lnTo>
                  <a:lnTo>
                    <a:pt x="110" y="35"/>
                  </a:lnTo>
                  <a:lnTo>
                    <a:pt x="107" y="35"/>
                  </a:lnTo>
                  <a:lnTo>
                    <a:pt x="105" y="35"/>
                  </a:lnTo>
                  <a:lnTo>
                    <a:pt x="102" y="35"/>
                  </a:lnTo>
                  <a:lnTo>
                    <a:pt x="102" y="38"/>
                  </a:lnTo>
                  <a:lnTo>
                    <a:pt x="100" y="38"/>
                  </a:lnTo>
                  <a:lnTo>
                    <a:pt x="100" y="40"/>
                  </a:lnTo>
                  <a:lnTo>
                    <a:pt x="98" y="40"/>
                  </a:lnTo>
                  <a:lnTo>
                    <a:pt x="98" y="38"/>
                  </a:lnTo>
                  <a:lnTo>
                    <a:pt x="98" y="40"/>
                  </a:lnTo>
                  <a:lnTo>
                    <a:pt x="100" y="40"/>
                  </a:lnTo>
                  <a:lnTo>
                    <a:pt x="98" y="40"/>
                  </a:lnTo>
                  <a:lnTo>
                    <a:pt x="98" y="38"/>
                  </a:lnTo>
                  <a:lnTo>
                    <a:pt x="98" y="40"/>
                  </a:lnTo>
                  <a:lnTo>
                    <a:pt x="95" y="40"/>
                  </a:lnTo>
                  <a:lnTo>
                    <a:pt x="95" y="38"/>
                  </a:lnTo>
                  <a:lnTo>
                    <a:pt x="95" y="40"/>
                  </a:lnTo>
                  <a:lnTo>
                    <a:pt x="93" y="40"/>
                  </a:lnTo>
                  <a:lnTo>
                    <a:pt x="91" y="40"/>
                  </a:lnTo>
                  <a:lnTo>
                    <a:pt x="91" y="38"/>
                  </a:lnTo>
                  <a:lnTo>
                    <a:pt x="91" y="40"/>
                  </a:lnTo>
                  <a:lnTo>
                    <a:pt x="91" y="38"/>
                  </a:lnTo>
                  <a:lnTo>
                    <a:pt x="91" y="35"/>
                  </a:lnTo>
                  <a:lnTo>
                    <a:pt x="93" y="35"/>
                  </a:lnTo>
                  <a:lnTo>
                    <a:pt x="91" y="35"/>
                  </a:lnTo>
                  <a:lnTo>
                    <a:pt x="93" y="35"/>
                  </a:lnTo>
                  <a:lnTo>
                    <a:pt x="91" y="35"/>
                  </a:lnTo>
                  <a:lnTo>
                    <a:pt x="91" y="33"/>
                  </a:lnTo>
                  <a:lnTo>
                    <a:pt x="93" y="33"/>
                  </a:lnTo>
                  <a:lnTo>
                    <a:pt x="95" y="33"/>
                  </a:lnTo>
                  <a:lnTo>
                    <a:pt x="98" y="33"/>
                  </a:lnTo>
                  <a:lnTo>
                    <a:pt x="100" y="33"/>
                  </a:lnTo>
                  <a:lnTo>
                    <a:pt x="100" y="31"/>
                  </a:lnTo>
                  <a:lnTo>
                    <a:pt x="102" y="31"/>
                  </a:lnTo>
                  <a:lnTo>
                    <a:pt x="105" y="31"/>
                  </a:lnTo>
                  <a:lnTo>
                    <a:pt x="105" y="28"/>
                  </a:lnTo>
                  <a:lnTo>
                    <a:pt x="102" y="28"/>
                  </a:lnTo>
                  <a:lnTo>
                    <a:pt x="102" y="31"/>
                  </a:lnTo>
                  <a:lnTo>
                    <a:pt x="100" y="31"/>
                  </a:lnTo>
                  <a:lnTo>
                    <a:pt x="98" y="31"/>
                  </a:lnTo>
                  <a:lnTo>
                    <a:pt x="98" y="28"/>
                  </a:lnTo>
                  <a:lnTo>
                    <a:pt x="100" y="26"/>
                  </a:lnTo>
                  <a:lnTo>
                    <a:pt x="100" y="23"/>
                  </a:lnTo>
                  <a:lnTo>
                    <a:pt x="98" y="23"/>
                  </a:lnTo>
                  <a:lnTo>
                    <a:pt x="98" y="21"/>
                  </a:lnTo>
                  <a:lnTo>
                    <a:pt x="95" y="19"/>
                  </a:lnTo>
                  <a:lnTo>
                    <a:pt x="95" y="16"/>
                  </a:lnTo>
                  <a:lnTo>
                    <a:pt x="93" y="16"/>
                  </a:lnTo>
                  <a:lnTo>
                    <a:pt x="93" y="14"/>
                  </a:lnTo>
                  <a:lnTo>
                    <a:pt x="93" y="12"/>
                  </a:lnTo>
                  <a:lnTo>
                    <a:pt x="91" y="12"/>
                  </a:lnTo>
                  <a:lnTo>
                    <a:pt x="91" y="9"/>
                  </a:lnTo>
                  <a:lnTo>
                    <a:pt x="88" y="9"/>
                  </a:lnTo>
                  <a:lnTo>
                    <a:pt x="86" y="9"/>
                  </a:lnTo>
                  <a:lnTo>
                    <a:pt x="86" y="12"/>
                  </a:lnTo>
                  <a:lnTo>
                    <a:pt x="83" y="12"/>
                  </a:lnTo>
                  <a:lnTo>
                    <a:pt x="83" y="9"/>
                  </a:lnTo>
                  <a:lnTo>
                    <a:pt x="81" y="9"/>
                  </a:lnTo>
                  <a:lnTo>
                    <a:pt x="81" y="12"/>
                  </a:lnTo>
                  <a:lnTo>
                    <a:pt x="81" y="14"/>
                  </a:lnTo>
                  <a:lnTo>
                    <a:pt x="81" y="16"/>
                  </a:lnTo>
                  <a:lnTo>
                    <a:pt x="81" y="12"/>
                  </a:lnTo>
                  <a:lnTo>
                    <a:pt x="81" y="9"/>
                  </a:lnTo>
                  <a:lnTo>
                    <a:pt x="81" y="7"/>
                  </a:lnTo>
                  <a:lnTo>
                    <a:pt x="81" y="4"/>
                  </a:lnTo>
                  <a:lnTo>
                    <a:pt x="83" y="2"/>
                  </a:lnTo>
                  <a:lnTo>
                    <a:pt x="83" y="0"/>
                  </a:lnTo>
                  <a:lnTo>
                    <a:pt x="8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1" name="Freeform 52270"/>
            <p:cNvSpPr>
              <a:spLocks noEditPoints="1"/>
            </p:cNvSpPr>
            <p:nvPr/>
          </p:nvSpPr>
          <p:spPr bwMode="auto">
            <a:xfrm>
              <a:off x="2374898" y="4327539"/>
              <a:ext cx="400050" cy="101600"/>
            </a:xfrm>
            <a:custGeom>
              <a:avLst/>
              <a:gdLst>
                <a:gd name="T0" fmla="*/ 112 w 252"/>
                <a:gd name="T1" fmla="*/ 64 h 64"/>
                <a:gd name="T2" fmla="*/ 110 w 252"/>
                <a:gd name="T3" fmla="*/ 62 h 64"/>
                <a:gd name="T4" fmla="*/ 100 w 252"/>
                <a:gd name="T5" fmla="*/ 60 h 64"/>
                <a:gd name="T6" fmla="*/ 5 w 252"/>
                <a:gd name="T7" fmla="*/ 57 h 64"/>
                <a:gd name="T8" fmla="*/ 0 w 252"/>
                <a:gd name="T9" fmla="*/ 57 h 64"/>
                <a:gd name="T10" fmla="*/ 8 w 252"/>
                <a:gd name="T11" fmla="*/ 55 h 64"/>
                <a:gd name="T12" fmla="*/ 15 w 252"/>
                <a:gd name="T13" fmla="*/ 53 h 64"/>
                <a:gd name="T14" fmla="*/ 10 w 252"/>
                <a:gd name="T15" fmla="*/ 55 h 64"/>
                <a:gd name="T16" fmla="*/ 15 w 252"/>
                <a:gd name="T17" fmla="*/ 53 h 64"/>
                <a:gd name="T18" fmla="*/ 95 w 252"/>
                <a:gd name="T19" fmla="*/ 55 h 64"/>
                <a:gd name="T20" fmla="*/ 95 w 252"/>
                <a:gd name="T21" fmla="*/ 55 h 64"/>
                <a:gd name="T22" fmla="*/ 22 w 252"/>
                <a:gd name="T23" fmla="*/ 50 h 64"/>
                <a:gd name="T24" fmla="*/ 17 w 252"/>
                <a:gd name="T25" fmla="*/ 50 h 64"/>
                <a:gd name="T26" fmla="*/ 22 w 252"/>
                <a:gd name="T27" fmla="*/ 50 h 64"/>
                <a:gd name="T28" fmla="*/ 48 w 252"/>
                <a:gd name="T29" fmla="*/ 50 h 64"/>
                <a:gd name="T30" fmla="*/ 27 w 252"/>
                <a:gd name="T31" fmla="*/ 50 h 64"/>
                <a:gd name="T32" fmla="*/ 29 w 252"/>
                <a:gd name="T33" fmla="*/ 50 h 64"/>
                <a:gd name="T34" fmla="*/ 38 w 252"/>
                <a:gd name="T35" fmla="*/ 50 h 64"/>
                <a:gd name="T36" fmla="*/ 36 w 252"/>
                <a:gd name="T37" fmla="*/ 48 h 64"/>
                <a:gd name="T38" fmla="*/ 46 w 252"/>
                <a:gd name="T39" fmla="*/ 50 h 64"/>
                <a:gd name="T40" fmla="*/ 41 w 252"/>
                <a:gd name="T41" fmla="*/ 48 h 64"/>
                <a:gd name="T42" fmla="*/ 91 w 252"/>
                <a:gd name="T43" fmla="*/ 48 h 64"/>
                <a:gd name="T44" fmla="*/ 67 w 252"/>
                <a:gd name="T45" fmla="*/ 36 h 64"/>
                <a:gd name="T46" fmla="*/ 159 w 252"/>
                <a:gd name="T47" fmla="*/ 34 h 64"/>
                <a:gd name="T48" fmla="*/ 159 w 252"/>
                <a:gd name="T49" fmla="*/ 36 h 64"/>
                <a:gd name="T50" fmla="*/ 41 w 252"/>
                <a:gd name="T51" fmla="*/ 29 h 64"/>
                <a:gd name="T52" fmla="*/ 228 w 252"/>
                <a:gd name="T53" fmla="*/ 22 h 64"/>
                <a:gd name="T54" fmla="*/ 103 w 252"/>
                <a:gd name="T55" fmla="*/ 22 h 64"/>
                <a:gd name="T56" fmla="*/ 212 w 252"/>
                <a:gd name="T57" fmla="*/ 15 h 64"/>
                <a:gd name="T58" fmla="*/ 62 w 252"/>
                <a:gd name="T59" fmla="*/ 17 h 64"/>
                <a:gd name="T60" fmla="*/ 60 w 252"/>
                <a:gd name="T61" fmla="*/ 15 h 64"/>
                <a:gd name="T62" fmla="*/ 214 w 252"/>
                <a:gd name="T63" fmla="*/ 15 h 64"/>
                <a:gd name="T64" fmla="*/ 152 w 252"/>
                <a:gd name="T65" fmla="*/ 12 h 64"/>
                <a:gd name="T66" fmla="*/ 150 w 252"/>
                <a:gd name="T67" fmla="*/ 17 h 64"/>
                <a:gd name="T68" fmla="*/ 145 w 252"/>
                <a:gd name="T69" fmla="*/ 17 h 64"/>
                <a:gd name="T70" fmla="*/ 145 w 252"/>
                <a:gd name="T71" fmla="*/ 10 h 64"/>
                <a:gd name="T72" fmla="*/ 60 w 252"/>
                <a:gd name="T73" fmla="*/ 10 h 64"/>
                <a:gd name="T74" fmla="*/ 62 w 252"/>
                <a:gd name="T75" fmla="*/ 12 h 64"/>
                <a:gd name="T76" fmla="*/ 65 w 252"/>
                <a:gd name="T77" fmla="*/ 12 h 64"/>
                <a:gd name="T78" fmla="*/ 62 w 252"/>
                <a:gd name="T79" fmla="*/ 10 h 64"/>
                <a:gd name="T80" fmla="*/ 60 w 252"/>
                <a:gd name="T81" fmla="*/ 7 h 64"/>
                <a:gd name="T82" fmla="*/ 214 w 252"/>
                <a:gd name="T83" fmla="*/ 7 h 64"/>
                <a:gd name="T84" fmla="*/ 212 w 252"/>
                <a:gd name="T85" fmla="*/ 15 h 64"/>
                <a:gd name="T86" fmla="*/ 212 w 252"/>
                <a:gd name="T87" fmla="*/ 7 h 64"/>
                <a:gd name="T88" fmla="*/ 69 w 252"/>
                <a:gd name="T89" fmla="*/ 5 h 64"/>
                <a:gd name="T90" fmla="*/ 62 w 252"/>
                <a:gd name="T91" fmla="*/ 7 h 64"/>
                <a:gd name="T92" fmla="*/ 69 w 252"/>
                <a:gd name="T93" fmla="*/ 3 h 64"/>
                <a:gd name="T94" fmla="*/ 57 w 252"/>
                <a:gd name="T95" fmla="*/ 7 h 64"/>
                <a:gd name="T96" fmla="*/ 55 w 252"/>
                <a:gd name="T97" fmla="*/ 3 h 64"/>
                <a:gd name="T98" fmla="*/ 57 w 252"/>
                <a:gd name="T99" fmla="*/ 5 h 64"/>
                <a:gd name="T100" fmla="*/ 60 w 252"/>
                <a:gd name="T101" fmla="*/ 3 h 64"/>
                <a:gd name="T102" fmla="*/ 62 w 252"/>
                <a:gd name="T10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 h="64">
                  <a:moveTo>
                    <a:pt x="110" y="60"/>
                  </a:moveTo>
                  <a:lnTo>
                    <a:pt x="112" y="60"/>
                  </a:lnTo>
                  <a:lnTo>
                    <a:pt x="112" y="62"/>
                  </a:lnTo>
                  <a:lnTo>
                    <a:pt x="112" y="64"/>
                  </a:lnTo>
                  <a:lnTo>
                    <a:pt x="110" y="64"/>
                  </a:lnTo>
                  <a:lnTo>
                    <a:pt x="110" y="62"/>
                  </a:lnTo>
                  <a:lnTo>
                    <a:pt x="110" y="60"/>
                  </a:lnTo>
                  <a:lnTo>
                    <a:pt x="110" y="62"/>
                  </a:lnTo>
                  <a:lnTo>
                    <a:pt x="110" y="60"/>
                  </a:lnTo>
                  <a:close/>
                  <a:moveTo>
                    <a:pt x="100" y="60"/>
                  </a:moveTo>
                  <a:lnTo>
                    <a:pt x="103" y="60"/>
                  </a:lnTo>
                  <a:lnTo>
                    <a:pt x="100" y="60"/>
                  </a:lnTo>
                  <a:close/>
                  <a:moveTo>
                    <a:pt x="98" y="57"/>
                  </a:moveTo>
                  <a:lnTo>
                    <a:pt x="95" y="57"/>
                  </a:lnTo>
                  <a:lnTo>
                    <a:pt x="98" y="57"/>
                  </a:lnTo>
                  <a:close/>
                  <a:moveTo>
                    <a:pt x="5" y="57"/>
                  </a:moveTo>
                  <a:lnTo>
                    <a:pt x="3" y="57"/>
                  </a:lnTo>
                  <a:lnTo>
                    <a:pt x="3" y="60"/>
                  </a:lnTo>
                  <a:lnTo>
                    <a:pt x="0" y="60"/>
                  </a:lnTo>
                  <a:lnTo>
                    <a:pt x="0" y="57"/>
                  </a:lnTo>
                  <a:lnTo>
                    <a:pt x="3" y="57"/>
                  </a:lnTo>
                  <a:lnTo>
                    <a:pt x="5" y="57"/>
                  </a:lnTo>
                  <a:close/>
                  <a:moveTo>
                    <a:pt x="5" y="55"/>
                  </a:moveTo>
                  <a:lnTo>
                    <a:pt x="8" y="55"/>
                  </a:lnTo>
                  <a:lnTo>
                    <a:pt x="5" y="55"/>
                  </a:lnTo>
                  <a:lnTo>
                    <a:pt x="8" y="55"/>
                  </a:lnTo>
                  <a:lnTo>
                    <a:pt x="5" y="55"/>
                  </a:lnTo>
                  <a:close/>
                  <a:moveTo>
                    <a:pt x="15" y="53"/>
                  </a:moveTo>
                  <a:lnTo>
                    <a:pt x="12" y="53"/>
                  </a:lnTo>
                  <a:lnTo>
                    <a:pt x="12" y="55"/>
                  </a:lnTo>
                  <a:lnTo>
                    <a:pt x="12" y="53"/>
                  </a:lnTo>
                  <a:lnTo>
                    <a:pt x="10" y="55"/>
                  </a:lnTo>
                  <a:lnTo>
                    <a:pt x="8" y="55"/>
                  </a:lnTo>
                  <a:lnTo>
                    <a:pt x="10" y="53"/>
                  </a:lnTo>
                  <a:lnTo>
                    <a:pt x="12" y="53"/>
                  </a:lnTo>
                  <a:lnTo>
                    <a:pt x="15" y="53"/>
                  </a:lnTo>
                  <a:close/>
                  <a:moveTo>
                    <a:pt x="252" y="53"/>
                  </a:moveTo>
                  <a:lnTo>
                    <a:pt x="250" y="53"/>
                  </a:lnTo>
                  <a:lnTo>
                    <a:pt x="252" y="53"/>
                  </a:lnTo>
                  <a:close/>
                  <a:moveTo>
                    <a:pt x="95" y="55"/>
                  </a:moveTo>
                  <a:lnTo>
                    <a:pt x="95" y="53"/>
                  </a:lnTo>
                  <a:lnTo>
                    <a:pt x="93" y="53"/>
                  </a:lnTo>
                  <a:lnTo>
                    <a:pt x="95" y="53"/>
                  </a:lnTo>
                  <a:lnTo>
                    <a:pt x="95" y="55"/>
                  </a:lnTo>
                  <a:close/>
                  <a:moveTo>
                    <a:pt x="93" y="53"/>
                  </a:moveTo>
                  <a:lnTo>
                    <a:pt x="93" y="50"/>
                  </a:lnTo>
                  <a:lnTo>
                    <a:pt x="93" y="53"/>
                  </a:lnTo>
                  <a:close/>
                  <a:moveTo>
                    <a:pt x="22" y="50"/>
                  </a:moveTo>
                  <a:lnTo>
                    <a:pt x="22" y="53"/>
                  </a:lnTo>
                  <a:lnTo>
                    <a:pt x="19" y="53"/>
                  </a:lnTo>
                  <a:lnTo>
                    <a:pt x="17" y="53"/>
                  </a:lnTo>
                  <a:lnTo>
                    <a:pt x="17" y="50"/>
                  </a:lnTo>
                  <a:lnTo>
                    <a:pt x="19" y="50"/>
                  </a:lnTo>
                  <a:lnTo>
                    <a:pt x="19" y="53"/>
                  </a:lnTo>
                  <a:lnTo>
                    <a:pt x="22" y="53"/>
                  </a:lnTo>
                  <a:lnTo>
                    <a:pt x="22" y="50"/>
                  </a:lnTo>
                  <a:close/>
                  <a:moveTo>
                    <a:pt x="50" y="50"/>
                  </a:moveTo>
                  <a:lnTo>
                    <a:pt x="50" y="53"/>
                  </a:lnTo>
                  <a:lnTo>
                    <a:pt x="48" y="53"/>
                  </a:lnTo>
                  <a:lnTo>
                    <a:pt x="48" y="50"/>
                  </a:lnTo>
                  <a:lnTo>
                    <a:pt x="50" y="50"/>
                  </a:lnTo>
                  <a:close/>
                  <a:moveTo>
                    <a:pt x="27" y="50"/>
                  </a:moveTo>
                  <a:lnTo>
                    <a:pt x="24" y="50"/>
                  </a:lnTo>
                  <a:lnTo>
                    <a:pt x="27" y="50"/>
                  </a:lnTo>
                  <a:close/>
                  <a:moveTo>
                    <a:pt x="31" y="50"/>
                  </a:moveTo>
                  <a:lnTo>
                    <a:pt x="29" y="50"/>
                  </a:lnTo>
                  <a:lnTo>
                    <a:pt x="27" y="50"/>
                  </a:lnTo>
                  <a:lnTo>
                    <a:pt x="29" y="50"/>
                  </a:lnTo>
                  <a:lnTo>
                    <a:pt x="31" y="50"/>
                  </a:lnTo>
                  <a:close/>
                  <a:moveTo>
                    <a:pt x="36" y="48"/>
                  </a:moveTo>
                  <a:lnTo>
                    <a:pt x="38" y="48"/>
                  </a:lnTo>
                  <a:lnTo>
                    <a:pt x="38" y="50"/>
                  </a:lnTo>
                  <a:lnTo>
                    <a:pt x="36" y="50"/>
                  </a:lnTo>
                  <a:lnTo>
                    <a:pt x="34" y="50"/>
                  </a:lnTo>
                  <a:lnTo>
                    <a:pt x="34" y="48"/>
                  </a:lnTo>
                  <a:lnTo>
                    <a:pt x="36" y="48"/>
                  </a:lnTo>
                  <a:close/>
                  <a:moveTo>
                    <a:pt x="46" y="50"/>
                  </a:moveTo>
                  <a:lnTo>
                    <a:pt x="43" y="48"/>
                  </a:lnTo>
                  <a:lnTo>
                    <a:pt x="46" y="48"/>
                  </a:lnTo>
                  <a:lnTo>
                    <a:pt x="46" y="50"/>
                  </a:lnTo>
                  <a:close/>
                  <a:moveTo>
                    <a:pt x="43" y="48"/>
                  </a:moveTo>
                  <a:lnTo>
                    <a:pt x="41" y="48"/>
                  </a:lnTo>
                  <a:lnTo>
                    <a:pt x="38" y="48"/>
                  </a:lnTo>
                  <a:lnTo>
                    <a:pt x="41" y="48"/>
                  </a:lnTo>
                  <a:lnTo>
                    <a:pt x="43" y="48"/>
                  </a:lnTo>
                  <a:close/>
                  <a:moveTo>
                    <a:pt x="91" y="48"/>
                  </a:moveTo>
                  <a:lnTo>
                    <a:pt x="91" y="50"/>
                  </a:lnTo>
                  <a:lnTo>
                    <a:pt x="91" y="48"/>
                  </a:lnTo>
                  <a:close/>
                  <a:moveTo>
                    <a:pt x="62" y="41"/>
                  </a:moveTo>
                  <a:lnTo>
                    <a:pt x="60" y="41"/>
                  </a:lnTo>
                  <a:lnTo>
                    <a:pt x="62" y="41"/>
                  </a:lnTo>
                  <a:close/>
                  <a:moveTo>
                    <a:pt x="67" y="36"/>
                  </a:moveTo>
                  <a:lnTo>
                    <a:pt x="67" y="34"/>
                  </a:lnTo>
                  <a:lnTo>
                    <a:pt x="67" y="36"/>
                  </a:lnTo>
                  <a:close/>
                  <a:moveTo>
                    <a:pt x="159" y="36"/>
                  </a:moveTo>
                  <a:lnTo>
                    <a:pt x="159" y="34"/>
                  </a:lnTo>
                  <a:lnTo>
                    <a:pt x="162" y="34"/>
                  </a:lnTo>
                  <a:lnTo>
                    <a:pt x="159" y="34"/>
                  </a:lnTo>
                  <a:lnTo>
                    <a:pt x="162" y="36"/>
                  </a:lnTo>
                  <a:lnTo>
                    <a:pt x="159" y="36"/>
                  </a:lnTo>
                  <a:close/>
                  <a:moveTo>
                    <a:pt x="41" y="29"/>
                  </a:moveTo>
                  <a:lnTo>
                    <a:pt x="43" y="29"/>
                  </a:lnTo>
                  <a:lnTo>
                    <a:pt x="41" y="29"/>
                  </a:lnTo>
                  <a:close/>
                  <a:moveTo>
                    <a:pt x="41" y="29"/>
                  </a:moveTo>
                  <a:lnTo>
                    <a:pt x="41" y="26"/>
                  </a:lnTo>
                  <a:lnTo>
                    <a:pt x="41" y="29"/>
                  </a:lnTo>
                  <a:close/>
                  <a:moveTo>
                    <a:pt x="226" y="22"/>
                  </a:moveTo>
                  <a:lnTo>
                    <a:pt x="228" y="22"/>
                  </a:lnTo>
                  <a:lnTo>
                    <a:pt x="226" y="22"/>
                  </a:lnTo>
                  <a:lnTo>
                    <a:pt x="228" y="22"/>
                  </a:lnTo>
                  <a:lnTo>
                    <a:pt x="226" y="22"/>
                  </a:lnTo>
                  <a:close/>
                  <a:moveTo>
                    <a:pt x="103" y="22"/>
                  </a:moveTo>
                  <a:lnTo>
                    <a:pt x="100" y="22"/>
                  </a:lnTo>
                  <a:lnTo>
                    <a:pt x="103" y="19"/>
                  </a:lnTo>
                  <a:lnTo>
                    <a:pt x="103" y="22"/>
                  </a:lnTo>
                  <a:close/>
                  <a:moveTo>
                    <a:pt x="212" y="15"/>
                  </a:moveTo>
                  <a:lnTo>
                    <a:pt x="209" y="15"/>
                  </a:lnTo>
                  <a:lnTo>
                    <a:pt x="212" y="15"/>
                  </a:lnTo>
                  <a:close/>
                  <a:moveTo>
                    <a:pt x="62" y="15"/>
                  </a:moveTo>
                  <a:lnTo>
                    <a:pt x="62" y="17"/>
                  </a:lnTo>
                  <a:lnTo>
                    <a:pt x="60" y="17"/>
                  </a:lnTo>
                  <a:lnTo>
                    <a:pt x="60" y="15"/>
                  </a:lnTo>
                  <a:lnTo>
                    <a:pt x="60" y="12"/>
                  </a:lnTo>
                  <a:lnTo>
                    <a:pt x="60" y="15"/>
                  </a:lnTo>
                  <a:lnTo>
                    <a:pt x="62" y="15"/>
                  </a:lnTo>
                  <a:close/>
                  <a:moveTo>
                    <a:pt x="216" y="12"/>
                  </a:moveTo>
                  <a:lnTo>
                    <a:pt x="216" y="15"/>
                  </a:lnTo>
                  <a:lnTo>
                    <a:pt x="214" y="15"/>
                  </a:lnTo>
                  <a:lnTo>
                    <a:pt x="214" y="12"/>
                  </a:lnTo>
                  <a:lnTo>
                    <a:pt x="216" y="12"/>
                  </a:lnTo>
                  <a:close/>
                  <a:moveTo>
                    <a:pt x="150" y="12"/>
                  </a:moveTo>
                  <a:lnTo>
                    <a:pt x="152" y="12"/>
                  </a:lnTo>
                  <a:lnTo>
                    <a:pt x="152" y="15"/>
                  </a:lnTo>
                  <a:lnTo>
                    <a:pt x="155" y="17"/>
                  </a:lnTo>
                  <a:lnTo>
                    <a:pt x="152" y="17"/>
                  </a:lnTo>
                  <a:lnTo>
                    <a:pt x="150" y="17"/>
                  </a:lnTo>
                  <a:lnTo>
                    <a:pt x="148" y="17"/>
                  </a:lnTo>
                  <a:lnTo>
                    <a:pt x="148" y="15"/>
                  </a:lnTo>
                  <a:lnTo>
                    <a:pt x="145" y="15"/>
                  </a:lnTo>
                  <a:lnTo>
                    <a:pt x="145" y="17"/>
                  </a:lnTo>
                  <a:lnTo>
                    <a:pt x="143" y="15"/>
                  </a:lnTo>
                  <a:lnTo>
                    <a:pt x="143" y="12"/>
                  </a:lnTo>
                  <a:lnTo>
                    <a:pt x="145" y="12"/>
                  </a:lnTo>
                  <a:lnTo>
                    <a:pt x="145" y="10"/>
                  </a:lnTo>
                  <a:lnTo>
                    <a:pt x="148" y="10"/>
                  </a:lnTo>
                  <a:lnTo>
                    <a:pt x="150" y="12"/>
                  </a:lnTo>
                  <a:close/>
                  <a:moveTo>
                    <a:pt x="60" y="12"/>
                  </a:moveTo>
                  <a:lnTo>
                    <a:pt x="60" y="10"/>
                  </a:lnTo>
                  <a:lnTo>
                    <a:pt x="62" y="10"/>
                  </a:lnTo>
                  <a:lnTo>
                    <a:pt x="60" y="10"/>
                  </a:lnTo>
                  <a:lnTo>
                    <a:pt x="60" y="12"/>
                  </a:lnTo>
                  <a:lnTo>
                    <a:pt x="62" y="12"/>
                  </a:lnTo>
                  <a:lnTo>
                    <a:pt x="60" y="12"/>
                  </a:lnTo>
                  <a:close/>
                  <a:moveTo>
                    <a:pt x="67" y="10"/>
                  </a:moveTo>
                  <a:lnTo>
                    <a:pt x="67" y="12"/>
                  </a:lnTo>
                  <a:lnTo>
                    <a:pt x="65" y="12"/>
                  </a:lnTo>
                  <a:lnTo>
                    <a:pt x="65" y="10"/>
                  </a:lnTo>
                  <a:lnTo>
                    <a:pt x="67" y="10"/>
                  </a:lnTo>
                  <a:close/>
                  <a:moveTo>
                    <a:pt x="62" y="7"/>
                  </a:moveTo>
                  <a:lnTo>
                    <a:pt x="62" y="10"/>
                  </a:lnTo>
                  <a:lnTo>
                    <a:pt x="65" y="10"/>
                  </a:lnTo>
                  <a:lnTo>
                    <a:pt x="62" y="10"/>
                  </a:lnTo>
                  <a:lnTo>
                    <a:pt x="62" y="7"/>
                  </a:lnTo>
                  <a:close/>
                  <a:moveTo>
                    <a:pt x="60" y="7"/>
                  </a:moveTo>
                  <a:lnTo>
                    <a:pt x="62" y="10"/>
                  </a:lnTo>
                  <a:lnTo>
                    <a:pt x="60" y="10"/>
                  </a:lnTo>
                  <a:lnTo>
                    <a:pt x="60" y="7"/>
                  </a:lnTo>
                  <a:close/>
                  <a:moveTo>
                    <a:pt x="214" y="7"/>
                  </a:moveTo>
                  <a:lnTo>
                    <a:pt x="214" y="10"/>
                  </a:lnTo>
                  <a:lnTo>
                    <a:pt x="212" y="10"/>
                  </a:lnTo>
                  <a:lnTo>
                    <a:pt x="212" y="12"/>
                  </a:lnTo>
                  <a:lnTo>
                    <a:pt x="212" y="15"/>
                  </a:lnTo>
                  <a:lnTo>
                    <a:pt x="212" y="12"/>
                  </a:lnTo>
                  <a:lnTo>
                    <a:pt x="212" y="10"/>
                  </a:lnTo>
                  <a:lnTo>
                    <a:pt x="214" y="7"/>
                  </a:lnTo>
                  <a:lnTo>
                    <a:pt x="212" y="7"/>
                  </a:lnTo>
                  <a:lnTo>
                    <a:pt x="214" y="7"/>
                  </a:lnTo>
                  <a:close/>
                  <a:moveTo>
                    <a:pt x="69" y="5"/>
                  </a:moveTo>
                  <a:lnTo>
                    <a:pt x="67" y="5"/>
                  </a:lnTo>
                  <a:lnTo>
                    <a:pt x="69" y="5"/>
                  </a:lnTo>
                  <a:close/>
                  <a:moveTo>
                    <a:pt x="67" y="5"/>
                  </a:moveTo>
                  <a:lnTo>
                    <a:pt x="65" y="5"/>
                  </a:lnTo>
                  <a:lnTo>
                    <a:pt x="62" y="5"/>
                  </a:lnTo>
                  <a:lnTo>
                    <a:pt x="62" y="7"/>
                  </a:lnTo>
                  <a:lnTo>
                    <a:pt x="62" y="5"/>
                  </a:lnTo>
                  <a:lnTo>
                    <a:pt x="65" y="5"/>
                  </a:lnTo>
                  <a:lnTo>
                    <a:pt x="67" y="5"/>
                  </a:lnTo>
                  <a:close/>
                  <a:moveTo>
                    <a:pt x="69" y="3"/>
                  </a:moveTo>
                  <a:lnTo>
                    <a:pt x="67" y="3"/>
                  </a:lnTo>
                  <a:lnTo>
                    <a:pt x="69" y="3"/>
                  </a:lnTo>
                  <a:close/>
                  <a:moveTo>
                    <a:pt x="57" y="5"/>
                  </a:moveTo>
                  <a:lnTo>
                    <a:pt x="57" y="7"/>
                  </a:lnTo>
                  <a:lnTo>
                    <a:pt x="57" y="5"/>
                  </a:lnTo>
                  <a:lnTo>
                    <a:pt x="57" y="7"/>
                  </a:lnTo>
                  <a:lnTo>
                    <a:pt x="55" y="5"/>
                  </a:lnTo>
                  <a:lnTo>
                    <a:pt x="55" y="3"/>
                  </a:lnTo>
                  <a:lnTo>
                    <a:pt x="57" y="3"/>
                  </a:lnTo>
                  <a:lnTo>
                    <a:pt x="55" y="3"/>
                  </a:lnTo>
                  <a:lnTo>
                    <a:pt x="57" y="3"/>
                  </a:lnTo>
                  <a:lnTo>
                    <a:pt x="57" y="5"/>
                  </a:lnTo>
                  <a:close/>
                  <a:moveTo>
                    <a:pt x="65" y="0"/>
                  </a:moveTo>
                  <a:lnTo>
                    <a:pt x="65" y="3"/>
                  </a:lnTo>
                  <a:lnTo>
                    <a:pt x="62" y="3"/>
                  </a:lnTo>
                  <a:lnTo>
                    <a:pt x="60" y="3"/>
                  </a:lnTo>
                  <a:lnTo>
                    <a:pt x="57" y="3"/>
                  </a:lnTo>
                  <a:lnTo>
                    <a:pt x="57" y="0"/>
                  </a:lnTo>
                  <a:lnTo>
                    <a:pt x="60" y="0"/>
                  </a:lnTo>
                  <a:lnTo>
                    <a:pt x="62" y="0"/>
                  </a:lnTo>
                  <a:lnTo>
                    <a:pt x="6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2" name="Freeform 52271"/>
            <p:cNvSpPr>
              <a:spLocks noEditPoints="1"/>
            </p:cNvSpPr>
            <p:nvPr/>
          </p:nvSpPr>
          <p:spPr bwMode="auto">
            <a:xfrm>
              <a:off x="2387598" y="4305313"/>
              <a:ext cx="376238" cy="150814"/>
            </a:xfrm>
            <a:custGeom>
              <a:avLst/>
              <a:gdLst>
                <a:gd name="T0" fmla="*/ 61 w 237"/>
                <a:gd name="T1" fmla="*/ 95 h 95"/>
                <a:gd name="T2" fmla="*/ 16 w 237"/>
                <a:gd name="T3" fmla="*/ 86 h 95"/>
                <a:gd name="T4" fmla="*/ 16 w 237"/>
                <a:gd name="T5" fmla="*/ 86 h 95"/>
                <a:gd name="T6" fmla="*/ 102 w 237"/>
                <a:gd name="T7" fmla="*/ 74 h 95"/>
                <a:gd name="T8" fmla="*/ 102 w 237"/>
                <a:gd name="T9" fmla="*/ 74 h 95"/>
                <a:gd name="T10" fmla="*/ 95 w 237"/>
                <a:gd name="T11" fmla="*/ 74 h 95"/>
                <a:gd name="T12" fmla="*/ 95 w 237"/>
                <a:gd name="T13" fmla="*/ 74 h 95"/>
                <a:gd name="T14" fmla="*/ 95 w 237"/>
                <a:gd name="T15" fmla="*/ 74 h 95"/>
                <a:gd name="T16" fmla="*/ 90 w 237"/>
                <a:gd name="T17" fmla="*/ 71 h 95"/>
                <a:gd name="T18" fmla="*/ 0 w 237"/>
                <a:gd name="T19" fmla="*/ 71 h 95"/>
                <a:gd name="T20" fmla="*/ 87 w 237"/>
                <a:gd name="T21" fmla="*/ 69 h 95"/>
                <a:gd name="T22" fmla="*/ 87 w 237"/>
                <a:gd name="T23" fmla="*/ 69 h 95"/>
                <a:gd name="T24" fmla="*/ 132 w 237"/>
                <a:gd name="T25" fmla="*/ 57 h 95"/>
                <a:gd name="T26" fmla="*/ 149 w 237"/>
                <a:gd name="T27" fmla="*/ 55 h 95"/>
                <a:gd name="T28" fmla="*/ 232 w 237"/>
                <a:gd name="T29" fmla="*/ 55 h 95"/>
                <a:gd name="T30" fmla="*/ 232 w 237"/>
                <a:gd name="T31" fmla="*/ 55 h 95"/>
                <a:gd name="T32" fmla="*/ 237 w 237"/>
                <a:gd name="T33" fmla="*/ 55 h 95"/>
                <a:gd name="T34" fmla="*/ 52 w 237"/>
                <a:gd name="T35" fmla="*/ 55 h 95"/>
                <a:gd name="T36" fmla="*/ 235 w 237"/>
                <a:gd name="T37" fmla="*/ 55 h 95"/>
                <a:gd name="T38" fmla="*/ 52 w 237"/>
                <a:gd name="T39" fmla="*/ 52 h 95"/>
                <a:gd name="T40" fmla="*/ 52 w 237"/>
                <a:gd name="T41" fmla="*/ 52 h 95"/>
                <a:gd name="T42" fmla="*/ 52 w 237"/>
                <a:gd name="T43" fmla="*/ 52 h 95"/>
                <a:gd name="T44" fmla="*/ 151 w 237"/>
                <a:gd name="T45" fmla="*/ 52 h 95"/>
                <a:gd name="T46" fmla="*/ 151 w 237"/>
                <a:gd name="T47" fmla="*/ 52 h 95"/>
                <a:gd name="T48" fmla="*/ 227 w 237"/>
                <a:gd name="T49" fmla="*/ 45 h 95"/>
                <a:gd name="T50" fmla="*/ 213 w 237"/>
                <a:gd name="T51" fmla="*/ 43 h 95"/>
                <a:gd name="T52" fmla="*/ 227 w 237"/>
                <a:gd name="T53" fmla="*/ 40 h 95"/>
                <a:gd name="T54" fmla="*/ 227 w 237"/>
                <a:gd name="T55" fmla="*/ 40 h 95"/>
                <a:gd name="T56" fmla="*/ 213 w 237"/>
                <a:gd name="T57" fmla="*/ 38 h 95"/>
                <a:gd name="T58" fmla="*/ 213 w 237"/>
                <a:gd name="T59" fmla="*/ 38 h 95"/>
                <a:gd name="T60" fmla="*/ 106 w 237"/>
                <a:gd name="T61" fmla="*/ 33 h 95"/>
                <a:gd name="T62" fmla="*/ 187 w 237"/>
                <a:gd name="T63" fmla="*/ 33 h 95"/>
                <a:gd name="T64" fmla="*/ 185 w 237"/>
                <a:gd name="T65" fmla="*/ 33 h 95"/>
                <a:gd name="T66" fmla="*/ 187 w 237"/>
                <a:gd name="T67" fmla="*/ 33 h 95"/>
                <a:gd name="T68" fmla="*/ 187 w 237"/>
                <a:gd name="T69" fmla="*/ 33 h 95"/>
                <a:gd name="T70" fmla="*/ 187 w 237"/>
                <a:gd name="T71" fmla="*/ 33 h 95"/>
                <a:gd name="T72" fmla="*/ 57 w 237"/>
                <a:gd name="T73" fmla="*/ 31 h 95"/>
                <a:gd name="T74" fmla="*/ 57 w 237"/>
                <a:gd name="T75" fmla="*/ 31 h 95"/>
                <a:gd name="T76" fmla="*/ 206 w 237"/>
                <a:gd name="T77" fmla="*/ 29 h 95"/>
                <a:gd name="T78" fmla="*/ 140 w 237"/>
                <a:gd name="T79" fmla="*/ 29 h 95"/>
                <a:gd name="T80" fmla="*/ 204 w 237"/>
                <a:gd name="T81" fmla="*/ 29 h 95"/>
                <a:gd name="T82" fmla="*/ 204 w 237"/>
                <a:gd name="T83" fmla="*/ 26 h 95"/>
                <a:gd name="T84" fmla="*/ 92 w 237"/>
                <a:gd name="T85" fmla="*/ 26 h 95"/>
                <a:gd name="T86" fmla="*/ 92 w 237"/>
                <a:gd name="T87" fmla="*/ 26 h 95"/>
                <a:gd name="T88" fmla="*/ 54 w 237"/>
                <a:gd name="T89" fmla="*/ 24 h 95"/>
                <a:gd name="T90" fmla="*/ 211 w 237"/>
                <a:gd name="T91" fmla="*/ 24 h 95"/>
                <a:gd name="T92" fmla="*/ 211 w 237"/>
                <a:gd name="T93" fmla="*/ 24 h 95"/>
                <a:gd name="T94" fmla="*/ 61 w 237"/>
                <a:gd name="T95" fmla="*/ 19 h 95"/>
                <a:gd name="T96" fmla="*/ 61 w 237"/>
                <a:gd name="T97" fmla="*/ 19 h 95"/>
                <a:gd name="T98" fmla="*/ 52 w 237"/>
                <a:gd name="T9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7" h="95">
                  <a:moveTo>
                    <a:pt x="61" y="95"/>
                  </a:moveTo>
                  <a:lnTo>
                    <a:pt x="61" y="95"/>
                  </a:lnTo>
                  <a:lnTo>
                    <a:pt x="61" y="95"/>
                  </a:lnTo>
                  <a:lnTo>
                    <a:pt x="61" y="95"/>
                  </a:lnTo>
                  <a:lnTo>
                    <a:pt x="61" y="95"/>
                  </a:lnTo>
                  <a:lnTo>
                    <a:pt x="61" y="95"/>
                  </a:lnTo>
                  <a:close/>
                  <a:moveTo>
                    <a:pt x="16" y="86"/>
                  </a:moveTo>
                  <a:lnTo>
                    <a:pt x="16" y="86"/>
                  </a:lnTo>
                  <a:lnTo>
                    <a:pt x="16" y="86"/>
                  </a:lnTo>
                  <a:lnTo>
                    <a:pt x="16" y="86"/>
                  </a:lnTo>
                  <a:lnTo>
                    <a:pt x="16" y="86"/>
                  </a:lnTo>
                  <a:lnTo>
                    <a:pt x="16" y="86"/>
                  </a:lnTo>
                  <a:lnTo>
                    <a:pt x="16" y="86"/>
                  </a:lnTo>
                  <a:lnTo>
                    <a:pt x="16" y="86"/>
                  </a:lnTo>
                  <a:lnTo>
                    <a:pt x="16" y="86"/>
                  </a:lnTo>
                  <a:close/>
                  <a:moveTo>
                    <a:pt x="102" y="74"/>
                  </a:moveTo>
                  <a:lnTo>
                    <a:pt x="102" y="74"/>
                  </a:lnTo>
                  <a:lnTo>
                    <a:pt x="102" y="74"/>
                  </a:lnTo>
                  <a:lnTo>
                    <a:pt x="102" y="74"/>
                  </a:lnTo>
                  <a:lnTo>
                    <a:pt x="102" y="74"/>
                  </a:lnTo>
                  <a:lnTo>
                    <a:pt x="102" y="74"/>
                  </a:lnTo>
                  <a:lnTo>
                    <a:pt x="102" y="74"/>
                  </a:lnTo>
                  <a:lnTo>
                    <a:pt x="102" y="74"/>
                  </a:lnTo>
                  <a:close/>
                  <a:moveTo>
                    <a:pt x="95" y="74"/>
                  </a:moveTo>
                  <a:lnTo>
                    <a:pt x="95" y="74"/>
                  </a:lnTo>
                  <a:lnTo>
                    <a:pt x="95" y="74"/>
                  </a:lnTo>
                  <a:lnTo>
                    <a:pt x="95" y="74"/>
                  </a:lnTo>
                  <a:lnTo>
                    <a:pt x="95" y="74"/>
                  </a:lnTo>
                  <a:lnTo>
                    <a:pt x="95" y="74"/>
                  </a:lnTo>
                  <a:lnTo>
                    <a:pt x="95" y="74"/>
                  </a:lnTo>
                  <a:lnTo>
                    <a:pt x="95" y="74"/>
                  </a:lnTo>
                  <a:lnTo>
                    <a:pt x="95" y="74"/>
                  </a:lnTo>
                  <a:close/>
                  <a:moveTo>
                    <a:pt x="90" y="71"/>
                  </a:moveTo>
                  <a:lnTo>
                    <a:pt x="90" y="71"/>
                  </a:lnTo>
                  <a:lnTo>
                    <a:pt x="90" y="71"/>
                  </a:lnTo>
                  <a:lnTo>
                    <a:pt x="90" y="71"/>
                  </a:lnTo>
                  <a:lnTo>
                    <a:pt x="90" y="71"/>
                  </a:lnTo>
                  <a:close/>
                  <a:moveTo>
                    <a:pt x="0" y="71"/>
                  </a:moveTo>
                  <a:lnTo>
                    <a:pt x="0" y="71"/>
                  </a:lnTo>
                  <a:lnTo>
                    <a:pt x="0" y="71"/>
                  </a:lnTo>
                  <a:lnTo>
                    <a:pt x="0" y="71"/>
                  </a:lnTo>
                  <a:lnTo>
                    <a:pt x="0" y="71"/>
                  </a:lnTo>
                  <a:lnTo>
                    <a:pt x="0" y="71"/>
                  </a:lnTo>
                  <a:close/>
                  <a:moveTo>
                    <a:pt x="87" y="69"/>
                  </a:moveTo>
                  <a:lnTo>
                    <a:pt x="87" y="69"/>
                  </a:lnTo>
                  <a:lnTo>
                    <a:pt x="87" y="69"/>
                  </a:lnTo>
                  <a:lnTo>
                    <a:pt x="87" y="69"/>
                  </a:lnTo>
                  <a:lnTo>
                    <a:pt x="87" y="69"/>
                  </a:lnTo>
                  <a:close/>
                  <a:moveTo>
                    <a:pt x="132" y="57"/>
                  </a:moveTo>
                  <a:lnTo>
                    <a:pt x="132" y="57"/>
                  </a:lnTo>
                  <a:lnTo>
                    <a:pt x="132" y="57"/>
                  </a:lnTo>
                  <a:lnTo>
                    <a:pt x="132" y="57"/>
                  </a:lnTo>
                  <a:lnTo>
                    <a:pt x="132" y="57"/>
                  </a:lnTo>
                  <a:lnTo>
                    <a:pt x="132" y="57"/>
                  </a:lnTo>
                  <a:close/>
                  <a:moveTo>
                    <a:pt x="149" y="55"/>
                  </a:moveTo>
                  <a:lnTo>
                    <a:pt x="149" y="55"/>
                  </a:lnTo>
                  <a:lnTo>
                    <a:pt x="149" y="55"/>
                  </a:lnTo>
                  <a:lnTo>
                    <a:pt x="149" y="55"/>
                  </a:lnTo>
                  <a:lnTo>
                    <a:pt x="149" y="55"/>
                  </a:lnTo>
                  <a:close/>
                  <a:moveTo>
                    <a:pt x="232" y="55"/>
                  </a:moveTo>
                  <a:lnTo>
                    <a:pt x="232" y="55"/>
                  </a:lnTo>
                  <a:lnTo>
                    <a:pt x="232" y="55"/>
                  </a:lnTo>
                  <a:lnTo>
                    <a:pt x="232" y="55"/>
                  </a:lnTo>
                  <a:lnTo>
                    <a:pt x="232" y="55"/>
                  </a:lnTo>
                  <a:close/>
                  <a:moveTo>
                    <a:pt x="237" y="55"/>
                  </a:moveTo>
                  <a:lnTo>
                    <a:pt x="235" y="55"/>
                  </a:lnTo>
                  <a:lnTo>
                    <a:pt x="235" y="55"/>
                  </a:lnTo>
                  <a:lnTo>
                    <a:pt x="237" y="55"/>
                  </a:lnTo>
                  <a:close/>
                  <a:moveTo>
                    <a:pt x="52" y="55"/>
                  </a:moveTo>
                  <a:lnTo>
                    <a:pt x="52" y="55"/>
                  </a:lnTo>
                  <a:lnTo>
                    <a:pt x="52" y="55"/>
                  </a:lnTo>
                  <a:lnTo>
                    <a:pt x="52" y="55"/>
                  </a:lnTo>
                  <a:lnTo>
                    <a:pt x="52" y="55"/>
                  </a:lnTo>
                  <a:lnTo>
                    <a:pt x="52" y="55"/>
                  </a:lnTo>
                  <a:close/>
                  <a:moveTo>
                    <a:pt x="235" y="55"/>
                  </a:moveTo>
                  <a:lnTo>
                    <a:pt x="235" y="55"/>
                  </a:lnTo>
                  <a:lnTo>
                    <a:pt x="235" y="55"/>
                  </a:lnTo>
                  <a:lnTo>
                    <a:pt x="235" y="55"/>
                  </a:lnTo>
                  <a:lnTo>
                    <a:pt x="235" y="55"/>
                  </a:lnTo>
                  <a:close/>
                  <a:moveTo>
                    <a:pt x="52" y="52"/>
                  </a:moveTo>
                  <a:lnTo>
                    <a:pt x="52" y="52"/>
                  </a:lnTo>
                  <a:lnTo>
                    <a:pt x="52" y="52"/>
                  </a:lnTo>
                  <a:lnTo>
                    <a:pt x="52" y="52"/>
                  </a:lnTo>
                  <a:lnTo>
                    <a:pt x="52" y="52"/>
                  </a:lnTo>
                  <a:lnTo>
                    <a:pt x="52" y="52"/>
                  </a:lnTo>
                  <a:lnTo>
                    <a:pt x="52" y="52"/>
                  </a:lnTo>
                  <a:lnTo>
                    <a:pt x="52" y="52"/>
                  </a:lnTo>
                  <a:lnTo>
                    <a:pt x="52" y="52"/>
                  </a:lnTo>
                  <a:close/>
                  <a:moveTo>
                    <a:pt x="151" y="52"/>
                  </a:moveTo>
                  <a:lnTo>
                    <a:pt x="151" y="52"/>
                  </a:lnTo>
                  <a:lnTo>
                    <a:pt x="151" y="52"/>
                  </a:lnTo>
                  <a:lnTo>
                    <a:pt x="151" y="52"/>
                  </a:lnTo>
                  <a:lnTo>
                    <a:pt x="151" y="52"/>
                  </a:lnTo>
                  <a:lnTo>
                    <a:pt x="151" y="52"/>
                  </a:lnTo>
                  <a:lnTo>
                    <a:pt x="151" y="52"/>
                  </a:lnTo>
                  <a:lnTo>
                    <a:pt x="151" y="52"/>
                  </a:lnTo>
                  <a:close/>
                  <a:moveTo>
                    <a:pt x="227" y="45"/>
                  </a:moveTo>
                  <a:lnTo>
                    <a:pt x="227" y="45"/>
                  </a:lnTo>
                  <a:lnTo>
                    <a:pt x="227" y="45"/>
                  </a:lnTo>
                  <a:lnTo>
                    <a:pt x="227" y="45"/>
                  </a:lnTo>
                  <a:lnTo>
                    <a:pt x="227" y="45"/>
                  </a:lnTo>
                  <a:close/>
                  <a:moveTo>
                    <a:pt x="213" y="43"/>
                  </a:moveTo>
                  <a:lnTo>
                    <a:pt x="213" y="43"/>
                  </a:lnTo>
                  <a:lnTo>
                    <a:pt x="213" y="43"/>
                  </a:lnTo>
                  <a:lnTo>
                    <a:pt x="213" y="43"/>
                  </a:lnTo>
                  <a:lnTo>
                    <a:pt x="213" y="43"/>
                  </a:lnTo>
                  <a:lnTo>
                    <a:pt x="213" y="43"/>
                  </a:lnTo>
                  <a:close/>
                  <a:moveTo>
                    <a:pt x="227" y="40"/>
                  </a:moveTo>
                  <a:lnTo>
                    <a:pt x="227" y="40"/>
                  </a:lnTo>
                  <a:lnTo>
                    <a:pt x="227" y="40"/>
                  </a:lnTo>
                  <a:lnTo>
                    <a:pt x="227" y="40"/>
                  </a:lnTo>
                  <a:lnTo>
                    <a:pt x="227" y="40"/>
                  </a:lnTo>
                  <a:lnTo>
                    <a:pt x="227" y="40"/>
                  </a:lnTo>
                  <a:lnTo>
                    <a:pt x="227" y="40"/>
                  </a:lnTo>
                  <a:lnTo>
                    <a:pt x="227" y="40"/>
                  </a:lnTo>
                  <a:close/>
                  <a:moveTo>
                    <a:pt x="213" y="38"/>
                  </a:moveTo>
                  <a:lnTo>
                    <a:pt x="213" y="38"/>
                  </a:lnTo>
                  <a:lnTo>
                    <a:pt x="213" y="38"/>
                  </a:lnTo>
                  <a:lnTo>
                    <a:pt x="213" y="38"/>
                  </a:lnTo>
                  <a:lnTo>
                    <a:pt x="213" y="38"/>
                  </a:lnTo>
                  <a:close/>
                  <a:moveTo>
                    <a:pt x="106" y="33"/>
                  </a:moveTo>
                  <a:lnTo>
                    <a:pt x="106" y="33"/>
                  </a:lnTo>
                  <a:lnTo>
                    <a:pt x="106" y="33"/>
                  </a:lnTo>
                  <a:lnTo>
                    <a:pt x="106" y="33"/>
                  </a:lnTo>
                  <a:lnTo>
                    <a:pt x="106" y="33"/>
                  </a:lnTo>
                  <a:lnTo>
                    <a:pt x="106" y="33"/>
                  </a:lnTo>
                  <a:lnTo>
                    <a:pt x="106" y="33"/>
                  </a:lnTo>
                  <a:close/>
                  <a:moveTo>
                    <a:pt x="187" y="33"/>
                  </a:moveTo>
                  <a:lnTo>
                    <a:pt x="187" y="33"/>
                  </a:lnTo>
                  <a:lnTo>
                    <a:pt x="187" y="33"/>
                  </a:lnTo>
                  <a:lnTo>
                    <a:pt x="187" y="33"/>
                  </a:lnTo>
                  <a:lnTo>
                    <a:pt x="185" y="33"/>
                  </a:lnTo>
                  <a:lnTo>
                    <a:pt x="185" y="33"/>
                  </a:lnTo>
                  <a:lnTo>
                    <a:pt x="187" y="33"/>
                  </a:lnTo>
                  <a:lnTo>
                    <a:pt x="187" y="33"/>
                  </a:lnTo>
                  <a:lnTo>
                    <a:pt x="187" y="33"/>
                  </a:lnTo>
                  <a:lnTo>
                    <a:pt x="187" y="33"/>
                  </a:lnTo>
                  <a:close/>
                  <a:moveTo>
                    <a:pt x="187" y="33"/>
                  </a:moveTo>
                  <a:lnTo>
                    <a:pt x="187" y="33"/>
                  </a:lnTo>
                  <a:lnTo>
                    <a:pt x="187" y="33"/>
                  </a:lnTo>
                  <a:lnTo>
                    <a:pt x="187" y="33"/>
                  </a:lnTo>
                  <a:lnTo>
                    <a:pt x="187" y="33"/>
                  </a:lnTo>
                  <a:lnTo>
                    <a:pt x="187" y="33"/>
                  </a:lnTo>
                  <a:lnTo>
                    <a:pt x="187" y="33"/>
                  </a:lnTo>
                  <a:lnTo>
                    <a:pt x="187" y="33"/>
                  </a:lnTo>
                  <a:close/>
                  <a:moveTo>
                    <a:pt x="57" y="31"/>
                  </a:moveTo>
                  <a:lnTo>
                    <a:pt x="57" y="31"/>
                  </a:lnTo>
                  <a:lnTo>
                    <a:pt x="57" y="31"/>
                  </a:lnTo>
                  <a:lnTo>
                    <a:pt x="57" y="31"/>
                  </a:lnTo>
                  <a:lnTo>
                    <a:pt x="57" y="31"/>
                  </a:lnTo>
                  <a:lnTo>
                    <a:pt x="57" y="31"/>
                  </a:lnTo>
                  <a:lnTo>
                    <a:pt x="57" y="31"/>
                  </a:lnTo>
                  <a:close/>
                  <a:moveTo>
                    <a:pt x="206" y="31"/>
                  </a:moveTo>
                  <a:lnTo>
                    <a:pt x="206" y="31"/>
                  </a:lnTo>
                  <a:lnTo>
                    <a:pt x="206" y="31"/>
                  </a:lnTo>
                  <a:lnTo>
                    <a:pt x="206" y="29"/>
                  </a:lnTo>
                  <a:lnTo>
                    <a:pt x="206" y="29"/>
                  </a:lnTo>
                  <a:lnTo>
                    <a:pt x="206" y="31"/>
                  </a:lnTo>
                  <a:close/>
                  <a:moveTo>
                    <a:pt x="140" y="29"/>
                  </a:moveTo>
                  <a:lnTo>
                    <a:pt x="140" y="29"/>
                  </a:lnTo>
                  <a:lnTo>
                    <a:pt x="137" y="29"/>
                  </a:lnTo>
                  <a:lnTo>
                    <a:pt x="140" y="29"/>
                  </a:lnTo>
                  <a:lnTo>
                    <a:pt x="140" y="29"/>
                  </a:lnTo>
                  <a:close/>
                  <a:moveTo>
                    <a:pt x="204" y="29"/>
                  </a:moveTo>
                  <a:lnTo>
                    <a:pt x="204" y="29"/>
                  </a:lnTo>
                  <a:lnTo>
                    <a:pt x="204" y="26"/>
                  </a:lnTo>
                  <a:lnTo>
                    <a:pt x="204" y="26"/>
                  </a:lnTo>
                  <a:lnTo>
                    <a:pt x="204" y="26"/>
                  </a:lnTo>
                  <a:lnTo>
                    <a:pt x="204" y="29"/>
                  </a:lnTo>
                  <a:lnTo>
                    <a:pt x="204" y="29"/>
                  </a:lnTo>
                  <a:close/>
                  <a:moveTo>
                    <a:pt x="92" y="26"/>
                  </a:moveTo>
                  <a:lnTo>
                    <a:pt x="92" y="26"/>
                  </a:lnTo>
                  <a:lnTo>
                    <a:pt x="92" y="26"/>
                  </a:lnTo>
                  <a:lnTo>
                    <a:pt x="92" y="26"/>
                  </a:lnTo>
                  <a:lnTo>
                    <a:pt x="92" y="26"/>
                  </a:lnTo>
                  <a:lnTo>
                    <a:pt x="92" y="26"/>
                  </a:lnTo>
                  <a:close/>
                  <a:moveTo>
                    <a:pt x="54" y="24"/>
                  </a:moveTo>
                  <a:lnTo>
                    <a:pt x="54" y="24"/>
                  </a:lnTo>
                  <a:lnTo>
                    <a:pt x="54" y="24"/>
                  </a:lnTo>
                  <a:lnTo>
                    <a:pt x="54" y="24"/>
                  </a:lnTo>
                  <a:lnTo>
                    <a:pt x="54" y="24"/>
                  </a:lnTo>
                  <a:lnTo>
                    <a:pt x="54" y="24"/>
                  </a:lnTo>
                  <a:lnTo>
                    <a:pt x="54" y="24"/>
                  </a:lnTo>
                  <a:close/>
                  <a:moveTo>
                    <a:pt x="211" y="24"/>
                  </a:moveTo>
                  <a:lnTo>
                    <a:pt x="211" y="24"/>
                  </a:lnTo>
                  <a:lnTo>
                    <a:pt x="211" y="24"/>
                  </a:lnTo>
                  <a:lnTo>
                    <a:pt x="211" y="24"/>
                  </a:lnTo>
                  <a:lnTo>
                    <a:pt x="211" y="24"/>
                  </a:lnTo>
                  <a:lnTo>
                    <a:pt x="211" y="24"/>
                  </a:lnTo>
                  <a:close/>
                  <a:moveTo>
                    <a:pt x="61" y="19"/>
                  </a:moveTo>
                  <a:lnTo>
                    <a:pt x="61" y="19"/>
                  </a:lnTo>
                  <a:lnTo>
                    <a:pt x="61" y="19"/>
                  </a:lnTo>
                  <a:lnTo>
                    <a:pt x="61" y="19"/>
                  </a:lnTo>
                  <a:lnTo>
                    <a:pt x="61" y="19"/>
                  </a:lnTo>
                  <a:lnTo>
                    <a:pt x="61" y="19"/>
                  </a:lnTo>
                  <a:lnTo>
                    <a:pt x="61" y="19"/>
                  </a:lnTo>
                  <a:close/>
                  <a:moveTo>
                    <a:pt x="52" y="0"/>
                  </a:moveTo>
                  <a:lnTo>
                    <a:pt x="52" y="0"/>
                  </a:lnTo>
                  <a:lnTo>
                    <a:pt x="52" y="0"/>
                  </a:lnTo>
                  <a:lnTo>
                    <a:pt x="5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3" name="Freeform 52272"/>
            <p:cNvSpPr>
              <a:spLocks/>
            </p:cNvSpPr>
            <p:nvPr/>
          </p:nvSpPr>
          <p:spPr bwMode="auto">
            <a:xfrm>
              <a:off x="1746248" y="5716607"/>
              <a:ext cx="0" cy="3175"/>
            </a:xfrm>
            <a:custGeom>
              <a:avLst/>
              <a:gdLst>
                <a:gd name="T0" fmla="*/ 0 h 2"/>
                <a:gd name="T1" fmla="*/ 0 h 2"/>
                <a:gd name="T2" fmla="*/ 0 h 2"/>
                <a:gd name="T3" fmla="*/ 0 h 2"/>
                <a:gd name="T4" fmla="*/ 0 h 2"/>
                <a:gd name="T5" fmla="*/ 0 h 2"/>
                <a:gd name="T6" fmla="*/ 0 h 2"/>
                <a:gd name="T7" fmla="*/ 0 h 2"/>
                <a:gd name="T8" fmla="*/ 0 h 2"/>
                <a:gd name="T9" fmla="*/ 0 h 2"/>
                <a:gd name="T10" fmla="*/ 2 h 2"/>
                <a:gd name="T11" fmla="*/ 2 h 2"/>
                <a:gd name="T12" fmla="*/ 0 h 2"/>
                <a:gd name="T13" fmla="*/ 0 h 2"/>
                <a:gd name="T14" fmla="*/ 0 h 2"/>
                <a:gd name="T15" fmla="*/ 0 h 2"/>
                <a:gd name="T16" fmla="*/ 0 h 2"/>
                <a:gd name="T17" fmla="*/ 0 h 2"/>
                <a:gd name="T18" fmla="*/ 0 h 2"/>
                <a:gd name="T19" fmla="*/ 0 h 2"/>
                <a:gd name="T20" fmla="*/ 0 h 2"/>
                <a:gd name="T21" fmla="*/ 0 h 2"/>
                <a:gd name="T22" fmla="*/ 0 h 2"/>
                <a:gd name="T23" fmla="*/ 0 h 2"/>
                <a:gd name="T24" fmla="*/ 0 h 2"/>
                <a:gd name="T25" fmla="*/ 0 h 2"/>
                <a:gd name="T26" fmla="*/ 0 h 2"/>
                <a:gd name="T27" fmla="*/ 0 h 2"/>
                <a:gd name="T28" fmla="*/ 0 h 2"/>
                <a:gd name="T29" fmla="*/ 0 h 2"/>
                <a:gd name="T30" fmla="*/ 0 h 2"/>
                <a:gd name="T31" fmla="*/ 0 h 2"/>
                <a:gd name="T32" fmla="*/ 0 h 2"/>
                <a:gd name="T33" fmla="*/ 0 h 2"/>
                <a:gd name="T34" fmla="*/ 0 h 2"/>
                <a:gd name="T35" fmla="*/ 0 h 2"/>
                <a:gd name="T36" fmla="*/ 0 h 2"/>
                <a:gd name="T37" fmla="*/ 0 h 2"/>
                <a:gd name="T3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Lst>
              <a:rect l="0" t="0" r="r" b="b"/>
              <a:pathLst>
                <a:path h="2">
                  <a:moveTo>
                    <a:pt x="0" y="0"/>
                  </a:moveTo>
                  <a:lnTo>
                    <a:pt x="0" y="0"/>
                  </a:lnTo>
                  <a:lnTo>
                    <a:pt x="0" y="0"/>
                  </a:lnTo>
                  <a:lnTo>
                    <a:pt x="0" y="0"/>
                  </a:lnTo>
                  <a:lnTo>
                    <a:pt x="0" y="0"/>
                  </a:lnTo>
                  <a:lnTo>
                    <a:pt x="0" y="0"/>
                  </a:lnTo>
                  <a:lnTo>
                    <a:pt x="0" y="0"/>
                  </a:lnTo>
                  <a:lnTo>
                    <a:pt x="0" y="0"/>
                  </a:lnTo>
                  <a:lnTo>
                    <a:pt x="0" y="0"/>
                  </a:lnTo>
                  <a:lnTo>
                    <a:pt x="0" y="0"/>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4" name="Freeform 52273"/>
            <p:cNvSpPr>
              <a:spLocks noEditPoints="1"/>
            </p:cNvSpPr>
            <p:nvPr/>
          </p:nvSpPr>
          <p:spPr bwMode="auto">
            <a:xfrm>
              <a:off x="1746248" y="5716607"/>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moveTo>
                    <a:pt x="0" y="0"/>
                  </a:moveTo>
                  <a:lnTo>
                    <a:pt x="0" y="0"/>
                  </a:lnTo>
                  <a:lnTo>
                    <a:pt x="0" y="0"/>
                  </a:lnTo>
                  <a:lnTo>
                    <a:pt x="0" y="0"/>
                  </a:lnTo>
                  <a:lnTo>
                    <a:pt x="0" y="0"/>
                  </a:lnTo>
                  <a:close/>
                  <a:moveTo>
                    <a:pt x="0" y="0"/>
                  </a:moveTo>
                  <a:lnTo>
                    <a:pt x="0" y="0"/>
                  </a:lnTo>
                  <a:lnTo>
                    <a:pt x="0" y="0"/>
                  </a:lnTo>
                  <a:lnTo>
                    <a:pt x="0" y="0"/>
                  </a:lnTo>
                  <a:close/>
                  <a:moveTo>
                    <a:pt x="0" y="0"/>
                  </a:move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5" name="Freeform 52274"/>
            <p:cNvSpPr>
              <a:spLocks/>
            </p:cNvSpPr>
            <p:nvPr/>
          </p:nvSpPr>
          <p:spPr bwMode="auto">
            <a:xfrm>
              <a:off x="3257547" y="5746768"/>
              <a:ext cx="146050" cy="55563"/>
            </a:xfrm>
            <a:custGeom>
              <a:avLst/>
              <a:gdLst>
                <a:gd name="T0" fmla="*/ 9 w 92"/>
                <a:gd name="T1" fmla="*/ 2 h 35"/>
                <a:gd name="T2" fmla="*/ 14 w 92"/>
                <a:gd name="T3" fmla="*/ 7 h 35"/>
                <a:gd name="T4" fmla="*/ 16 w 92"/>
                <a:gd name="T5" fmla="*/ 9 h 35"/>
                <a:gd name="T6" fmla="*/ 16 w 92"/>
                <a:gd name="T7" fmla="*/ 9 h 35"/>
                <a:gd name="T8" fmla="*/ 23 w 92"/>
                <a:gd name="T9" fmla="*/ 4 h 35"/>
                <a:gd name="T10" fmla="*/ 19 w 92"/>
                <a:gd name="T11" fmla="*/ 9 h 35"/>
                <a:gd name="T12" fmla="*/ 23 w 92"/>
                <a:gd name="T13" fmla="*/ 9 h 35"/>
                <a:gd name="T14" fmla="*/ 26 w 92"/>
                <a:gd name="T15" fmla="*/ 11 h 35"/>
                <a:gd name="T16" fmla="*/ 28 w 92"/>
                <a:gd name="T17" fmla="*/ 14 h 35"/>
                <a:gd name="T18" fmla="*/ 38 w 92"/>
                <a:gd name="T19" fmla="*/ 14 h 35"/>
                <a:gd name="T20" fmla="*/ 42 w 92"/>
                <a:gd name="T21" fmla="*/ 14 h 35"/>
                <a:gd name="T22" fmla="*/ 45 w 92"/>
                <a:gd name="T23" fmla="*/ 11 h 35"/>
                <a:gd name="T24" fmla="*/ 45 w 92"/>
                <a:gd name="T25" fmla="*/ 11 h 35"/>
                <a:gd name="T26" fmla="*/ 47 w 92"/>
                <a:gd name="T27" fmla="*/ 14 h 35"/>
                <a:gd name="T28" fmla="*/ 50 w 92"/>
                <a:gd name="T29" fmla="*/ 11 h 35"/>
                <a:gd name="T30" fmla="*/ 52 w 92"/>
                <a:gd name="T31" fmla="*/ 14 h 35"/>
                <a:gd name="T32" fmla="*/ 59 w 92"/>
                <a:gd name="T33" fmla="*/ 16 h 35"/>
                <a:gd name="T34" fmla="*/ 66 w 92"/>
                <a:gd name="T35" fmla="*/ 19 h 35"/>
                <a:gd name="T36" fmla="*/ 73 w 92"/>
                <a:gd name="T37" fmla="*/ 16 h 35"/>
                <a:gd name="T38" fmla="*/ 73 w 92"/>
                <a:gd name="T39" fmla="*/ 21 h 35"/>
                <a:gd name="T40" fmla="*/ 78 w 92"/>
                <a:gd name="T41" fmla="*/ 26 h 35"/>
                <a:gd name="T42" fmla="*/ 83 w 92"/>
                <a:gd name="T43" fmla="*/ 21 h 35"/>
                <a:gd name="T44" fmla="*/ 90 w 92"/>
                <a:gd name="T45" fmla="*/ 19 h 35"/>
                <a:gd name="T46" fmla="*/ 90 w 92"/>
                <a:gd name="T47" fmla="*/ 19 h 35"/>
                <a:gd name="T48" fmla="*/ 92 w 92"/>
                <a:gd name="T49" fmla="*/ 21 h 35"/>
                <a:gd name="T50" fmla="*/ 92 w 92"/>
                <a:gd name="T51" fmla="*/ 26 h 35"/>
                <a:gd name="T52" fmla="*/ 90 w 92"/>
                <a:gd name="T53" fmla="*/ 30 h 35"/>
                <a:gd name="T54" fmla="*/ 83 w 92"/>
                <a:gd name="T55" fmla="*/ 28 h 35"/>
                <a:gd name="T56" fmla="*/ 76 w 92"/>
                <a:gd name="T57" fmla="*/ 30 h 35"/>
                <a:gd name="T58" fmla="*/ 66 w 92"/>
                <a:gd name="T59" fmla="*/ 30 h 35"/>
                <a:gd name="T60" fmla="*/ 59 w 92"/>
                <a:gd name="T61" fmla="*/ 33 h 35"/>
                <a:gd name="T62" fmla="*/ 50 w 92"/>
                <a:gd name="T63" fmla="*/ 33 h 35"/>
                <a:gd name="T64" fmla="*/ 42 w 92"/>
                <a:gd name="T65" fmla="*/ 35 h 35"/>
                <a:gd name="T66" fmla="*/ 40 w 92"/>
                <a:gd name="T67" fmla="*/ 33 h 35"/>
                <a:gd name="T68" fmla="*/ 40 w 92"/>
                <a:gd name="T69" fmla="*/ 28 h 35"/>
                <a:gd name="T70" fmla="*/ 33 w 92"/>
                <a:gd name="T71" fmla="*/ 26 h 35"/>
                <a:gd name="T72" fmla="*/ 31 w 92"/>
                <a:gd name="T73" fmla="*/ 23 h 35"/>
                <a:gd name="T74" fmla="*/ 23 w 92"/>
                <a:gd name="T75" fmla="*/ 23 h 35"/>
                <a:gd name="T76" fmla="*/ 21 w 92"/>
                <a:gd name="T77" fmla="*/ 21 h 35"/>
                <a:gd name="T78" fmla="*/ 19 w 92"/>
                <a:gd name="T79" fmla="*/ 23 h 35"/>
                <a:gd name="T80" fmla="*/ 12 w 92"/>
                <a:gd name="T81" fmla="*/ 21 h 35"/>
                <a:gd name="T82" fmla="*/ 7 w 92"/>
                <a:gd name="T83" fmla="*/ 21 h 35"/>
                <a:gd name="T84" fmla="*/ 2 w 92"/>
                <a:gd name="T85" fmla="*/ 21 h 35"/>
                <a:gd name="T86" fmla="*/ 2 w 92"/>
                <a:gd name="T87" fmla="*/ 16 h 35"/>
                <a:gd name="T88" fmla="*/ 2 w 92"/>
                <a:gd name="T89" fmla="*/ 16 h 35"/>
                <a:gd name="T90" fmla="*/ 2 w 92"/>
                <a:gd name="T91" fmla="*/ 14 h 35"/>
                <a:gd name="T92" fmla="*/ 2 w 92"/>
                <a:gd name="T93" fmla="*/ 9 h 35"/>
                <a:gd name="T94" fmla="*/ 4 w 92"/>
                <a:gd name="T95" fmla="*/ 4 h 35"/>
                <a:gd name="T96" fmla="*/ 4 w 92"/>
                <a:gd name="T97" fmla="*/ 9 h 35"/>
                <a:gd name="T98" fmla="*/ 7 w 92"/>
                <a:gd name="T99"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35">
                  <a:moveTo>
                    <a:pt x="7" y="2"/>
                  </a:moveTo>
                  <a:lnTo>
                    <a:pt x="7" y="0"/>
                  </a:lnTo>
                  <a:lnTo>
                    <a:pt x="9" y="0"/>
                  </a:lnTo>
                  <a:lnTo>
                    <a:pt x="9" y="2"/>
                  </a:lnTo>
                  <a:lnTo>
                    <a:pt x="9" y="4"/>
                  </a:lnTo>
                  <a:lnTo>
                    <a:pt x="9" y="7"/>
                  </a:lnTo>
                  <a:lnTo>
                    <a:pt x="12" y="7"/>
                  </a:lnTo>
                  <a:lnTo>
                    <a:pt x="14" y="7"/>
                  </a:lnTo>
                  <a:lnTo>
                    <a:pt x="14" y="9"/>
                  </a:lnTo>
                  <a:lnTo>
                    <a:pt x="16" y="9"/>
                  </a:lnTo>
                  <a:lnTo>
                    <a:pt x="16" y="7"/>
                  </a:lnTo>
                  <a:lnTo>
                    <a:pt x="16" y="9"/>
                  </a:lnTo>
                  <a:lnTo>
                    <a:pt x="16" y="7"/>
                  </a:lnTo>
                  <a:lnTo>
                    <a:pt x="16" y="9"/>
                  </a:lnTo>
                  <a:lnTo>
                    <a:pt x="16" y="7"/>
                  </a:lnTo>
                  <a:lnTo>
                    <a:pt x="16" y="9"/>
                  </a:lnTo>
                  <a:lnTo>
                    <a:pt x="19" y="7"/>
                  </a:lnTo>
                  <a:lnTo>
                    <a:pt x="19" y="4"/>
                  </a:lnTo>
                  <a:lnTo>
                    <a:pt x="21" y="4"/>
                  </a:lnTo>
                  <a:lnTo>
                    <a:pt x="23" y="4"/>
                  </a:lnTo>
                  <a:lnTo>
                    <a:pt x="23" y="7"/>
                  </a:lnTo>
                  <a:lnTo>
                    <a:pt x="23" y="9"/>
                  </a:lnTo>
                  <a:lnTo>
                    <a:pt x="21" y="9"/>
                  </a:lnTo>
                  <a:lnTo>
                    <a:pt x="19" y="9"/>
                  </a:lnTo>
                  <a:lnTo>
                    <a:pt x="21" y="9"/>
                  </a:lnTo>
                  <a:lnTo>
                    <a:pt x="21" y="11"/>
                  </a:lnTo>
                  <a:lnTo>
                    <a:pt x="23" y="11"/>
                  </a:lnTo>
                  <a:lnTo>
                    <a:pt x="23" y="9"/>
                  </a:lnTo>
                  <a:lnTo>
                    <a:pt x="23" y="11"/>
                  </a:lnTo>
                  <a:lnTo>
                    <a:pt x="23" y="9"/>
                  </a:lnTo>
                  <a:lnTo>
                    <a:pt x="23" y="11"/>
                  </a:lnTo>
                  <a:lnTo>
                    <a:pt x="26" y="11"/>
                  </a:lnTo>
                  <a:lnTo>
                    <a:pt x="26" y="14"/>
                  </a:lnTo>
                  <a:lnTo>
                    <a:pt x="26" y="16"/>
                  </a:lnTo>
                  <a:lnTo>
                    <a:pt x="28" y="16"/>
                  </a:lnTo>
                  <a:lnTo>
                    <a:pt x="28" y="14"/>
                  </a:lnTo>
                  <a:lnTo>
                    <a:pt x="31" y="14"/>
                  </a:lnTo>
                  <a:lnTo>
                    <a:pt x="33" y="14"/>
                  </a:lnTo>
                  <a:lnTo>
                    <a:pt x="35" y="14"/>
                  </a:lnTo>
                  <a:lnTo>
                    <a:pt x="38" y="14"/>
                  </a:lnTo>
                  <a:lnTo>
                    <a:pt x="38" y="11"/>
                  </a:lnTo>
                  <a:lnTo>
                    <a:pt x="40" y="11"/>
                  </a:lnTo>
                  <a:lnTo>
                    <a:pt x="42" y="11"/>
                  </a:lnTo>
                  <a:lnTo>
                    <a:pt x="42" y="14"/>
                  </a:lnTo>
                  <a:lnTo>
                    <a:pt x="42" y="11"/>
                  </a:lnTo>
                  <a:lnTo>
                    <a:pt x="42" y="14"/>
                  </a:lnTo>
                  <a:lnTo>
                    <a:pt x="42" y="11"/>
                  </a:lnTo>
                  <a:lnTo>
                    <a:pt x="45" y="11"/>
                  </a:lnTo>
                  <a:lnTo>
                    <a:pt x="42" y="11"/>
                  </a:lnTo>
                  <a:lnTo>
                    <a:pt x="45" y="11"/>
                  </a:lnTo>
                  <a:lnTo>
                    <a:pt x="45" y="14"/>
                  </a:lnTo>
                  <a:lnTo>
                    <a:pt x="45" y="11"/>
                  </a:lnTo>
                  <a:lnTo>
                    <a:pt x="45" y="14"/>
                  </a:lnTo>
                  <a:lnTo>
                    <a:pt x="45" y="11"/>
                  </a:lnTo>
                  <a:lnTo>
                    <a:pt x="47" y="11"/>
                  </a:lnTo>
                  <a:lnTo>
                    <a:pt x="47" y="14"/>
                  </a:lnTo>
                  <a:lnTo>
                    <a:pt x="47" y="11"/>
                  </a:lnTo>
                  <a:lnTo>
                    <a:pt x="47" y="14"/>
                  </a:lnTo>
                  <a:lnTo>
                    <a:pt x="47" y="11"/>
                  </a:lnTo>
                  <a:lnTo>
                    <a:pt x="50" y="11"/>
                  </a:lnTo>
                  <a:lnTo>
                    <a:pt x="50" y="14"/>
                  </a:lnTo>
                  <a:lnTo>
                    <a:pt x="52" y="14"/>
                  </a:lnTo>
                  <a:lnTo>
                    <a:pt x="50" y="14"/>
                  </a:lnTo>
                  <a:lnTo>
                    <a:pt x="52" y="14"/>
                  </a:lnTo>
                  <a:lnTo>
                    <a:pt x="52" y="16"/>
                  </a:lnTo>
                  <a:lnTo>
                    <a:pt x="54" y="16"/>
                  </a:lnTo>
                  <a:lnTo>
                    <a:pt x="57" y="16"/>
                  </a:lnTo>
                  <a:lnTo>
                    <a:pt x="59" y="16"/>
                  </a:lnTo>
                  <a:lnTo>
                    <a:pt x="61" y="16"/>
                  </a:lnTo>
                  <a:lnTo>
                    <a:pt x="64" y="16"/>
                  </a:lnTo>
                  <a:lnTo>
                    <a:pt x="64" y="19"/>
                  </a:lnTo>
                  <a:lnTo>
                    <a:pt x="66" y="19"/>
                  </a:lnTo>
                  <a:lnTo>
                    <a:pt x="66" y="16"/>
                  </a:lnTo>
                  <a:lnTo>
                    <a:pt x="69" y="16"/>
                  </a:lnTo>
                  <a:lnTo>
                    <a:pt x="71" y="16"/>
                  </a:lnTo>
                  <a:lnTo>
                    <a:pt x="73" y="16"/>
                  </a:lnTo>
                  <a:lnTo>
                    <a:pt x="76" y="16"/>
                  </a:lnTo>
                  <a:lnTo>
                    <a:pt x="73" y="16"/>
                  </a:lnTo>
                  <a:lnTo>
                    <a:pt x="73" y="19"/>
                  </a:lnTo>
                  <a:lnTo>
                    <a:pt x="73" y="21"/>
                  </a:lnTo>
                  <a:lnTo>
                    <a:pt x="73" y="23"/>
                  </a:lnTo>
                  <a:lnTo>
                    <a:pt x="73" y="26"/>
                  </a:lnTo>
                  <a:lnTo>
                    <a:pt x="76" y="26"/>
                  </a:lnTo>
                  <a:lnTo>
                    <a:pt x="78" y="26"/>
                  </a:lnTo>
                  <a:lnTo>
                    <a:pt x="78" y="23"/>
                  </a:lnTo>
                  <a:lnTo>
                    <a:pt x="80" y="23"/>
                  </a:lnTo>
                  <a:lnTo>
                    <a:pt x="80" y="21"/>
                  </a:lnTo>
                  <a:lnTo>
                    <a:pt x="83" y="21"/>
                  </a:lnTo>
                  <a:lnTo>
                    <a:pt x="85" y="21"/>
                  </a:lnTo>
                  <a:lnTo>
                    <a:pt x="87" y="21"/>
                  </a:lnTo>
                  <a:lnTo>
                    <a:pt x="90" y="21"/>
                  </a:lnTo>
                  <a:lnTo>
                    <a:pt x="90" y="19"/>
                  </a:lnTo>
                  <a:lnTo>
                    <a:pt x="92" y="19"/>
                  </a:lnTo>
                  <a:lnTo>
                    <a:pt x="92" y="16"/>
                  </a:lnTo>
                  <a:lnTo>
                    <a:pt x="92" y="19"/>
                  </a:lnTo>
                  <a:lnTo>
                    <a:pt x="90" y="19"/>
                  </a:lnTo>
                  <a:lnTo>
                    <a:pt x="92" y="19"/>
                  </a:lnTo>
                  <a:lnTo>
                    <a:pt x="90" y="19"/>
                  </a:lnTo>
                  <a:lnTo>
                    <a:pt x="92" y="19"/>
                  </a:lnTo>
                  <a:lnTo>
                    <a:pt x="92" y="21"/>
                  </a:lnTo>
                  <a:lnTo>
                    <a:pt x="92" y="23"/>
                  </a:lnTo>
                  <a:lnTo>
                    <a:pt x="92" y="21"/>
                  </a:lnTo>
                  <a:lnTo>
                    <a:pt x="92" y="23"/>
                  </a:lnTo>
                  <a:lnTo>
                    <a:pt x="92" y="26"/>
                  </a:lnTo>
                  <a:lnTo>
                    <a:pt x="90" y="26"/>
                  </a:lnTo>
                  <a:lnTo>
                    <a:pt x="92" y="26"/>
                  </a:lnTo>
                  <a:lnTo>
                    <a:pt x="90" y="28"/>
                  </a:lnTo>
                  <a:lnTo>
                    <a:pt x="90" y="30"/>
                  </a:lnTo>
                  <a:lnTo>
                    <a:pt x="87" y="30"/>
                  </a:lnTo>
                  <a:lnTo>
                    <a:pt x="85" y="30"/>
                  </a:lnTo>
                  <a:lnTo>
                    <a:pt x="83" y="30"/>
                  </a:lnTo>
                  <a:lnTo>
                    <a:pt x="83" y="28"/>
                  </a:lnTo>
                  <a:lnTo>
                    <a:pt x="80" y="28"/>
                  </a:lnTo>
                  <a:lnTo>
                    <a:pt x="80" y="30"/>
                  </a:lnTo>
                  <a:lnTo>
                    <a:pt x="78" y="30"/>
                  </a:lnTo>
                  <a:lnTo>
                    <a:pt x="76" y="30"/>
                  </a:lnTo>
                  <a:lnTo>
                    <a:pt x="73" y="30"/>
                  </a:lnTo>
                  <a:lnTo>
                    <a:pt x="71" y="30"/>
                  </a:lnTo>
                  <a:lnTo>
                    <a:pt x="69" y="30"/>
                  </a:lnTo>
                  <a:lnTo>
                    <a:pt x="66" y="30"/>
                  </a:lnTo>
                  <a:lnTo>
                    <a:pt x="64" y="30"/>
                  </a:lnTo>
                  <a:lnTo>
                    <a:pt x="61" y="30"/>
                  </a:lnTo>
                  <a:lnTo>
                    <a:pt x="59" y="30"/>
                  </a:lnTo>
                  <a:lnTo>
                    <a:pt x="59" y="33"/>
                  </a:lnTo>
                  <a:lnTo>
                    <a:pt x="57" y="33"/>
                  </a:lnTo>
                  <a:lnTo>
                    <a:pt x="54" y="33"/>
                  </a:lnTo>
                  <a:lnTo>
                    <a:pt x="52" y="33"/>
                  </a:lnTo>
                  <a:lnTo>
                    <a:pt x="50" y="33"/>
                  </a:lnTo>
                  <a:lnTo>
                    <a:pt x="47" y="33"/>
                  </a:lnTo>
                  <a:lnTo>
                    <a:pt x="45" y="33"/>
                  </a:lnTo>
                  <a:lnTo>
                    <a:pt x="42" y="33"/>
                  </a:lnTo>
                  <a:lnTo>
                    <a:pt x="42" y="35"/>
                  </a:lnTo>
                  <a:lnTo>
                    <a:pt x="42" y="33"/>
                  </a:lnTo>
                  <a:lnTo>
                    <a:pt x="40" y="33"/>
                  </a:lnTo>
                  <a:lnTo>
                    <a:pt x="42" y="33"/>
                  </a:lnTo>
                  <a:lnTo>
                    <a:pt x="40" y="33"/>
                  </a:lnTo>
                  <a:lnTo>
                    <a:pt x="40" y="30"/>
                  </a:lnTo>
                  <a:lnTo>
                    <a:pt x="42" y="30"/>
                  </a:lnTo>
                  <a:lnTo>
                    <a:pt x="42" y="28"/>
                  </a:lnTo>
                  <a:lnTo>
                    <a:pt x="40" y="28"/>
                  </a:lnTo>
                  <a:lnTo>
                    <a:pt x="40" y="26"/>
                  </a:lnTo>
                  <a:lnTo>
                    <a:pt x="38" y="26"/>
                  </a:lnTo>
                  <a:lnTo>
                    <a:pt x="35" y="26"/>
                  </a:lnTo>
                  <a:lnTo>
                    <a:pt x="33" y="26"/>
                  </a:lnTo>
                  <a:lnTo>
                    <a:pt x="33" y="23"/>
                  </a:lnTo>
                  <a:lnTo>
                    <a:pt x="31" y="23"/>
                  </a:lnTo>
                  <a:lnTo>
                    <a:pt x="28" y="23"/>
                  </a:lnTo>
                  <a:lnTo>
                    <a:pt x="31" y="23"/>
                  </a:lnTo>
                  <a:lnTo>
                    <a:pt x="28" y="21"/>
                  </a:lnTo>
                  <a:lnTo>
                    <a:pt x="28" y="23"/>
                  </a:lnTo>
                  <a:lnTo>
                    <a:pt x="26" y="23"/>
                  </a:lnTo>
                  <a:lnTo>
                    <a:pt x="23" y="23"/>
                  </a:lnTo>
                  <a:lnTo>
                    <a:pt x="23" y="21"/>
                  </a:lnTo>
                  <a:lnTo>
                    <a:pt x="23" y="23"/>
                  </a:lnTo>
                  <a:lnTo>
                    <a:pt x="23" y="21"/>
                  </a:lnTo>
                  <a:lnTo>
                    <a:pt x="21" y="21"/>
                  </a:lnTo>
                  <a:lnTo>
                    <a:pt x="21" y="23"/>
                  </a:lnTo>
                  <a:lnTo>
                    <a:pt x="21" y="21"/>
                  </a:lnTo>
                  <a:lnTo>
                    <a:pt x="19" y="21"/>
                  </a:lnTo>
                  <a:lnTo>
                    <a:pt x="19" y="23"/>
                  </a:lnTo>
                  <a:lnTo>
                    <a:pt x="19" y="21"/>
                  </a:lnTo>
                  <a:lnTo>
                    <a:pt x="16" y="21"/>
                  </a:lnTo>
                  <a:lnTo>
                    <a:pt x="14" y="21"/>
                  </a:lnTo>
                  <a:lnTo>
                    <a:pt x="12" y="21"/>
                  </a:lnTo>
                  <a:lnTo>
                    <a:pt x="12" y="19"/>
                  </a:lnTo>
                  <a:lnTo>
                    <a:pt x="9" y="19"/>
                  </a:lnTo>
                  <a:lnTo>
                    <a:pt x="9" y="21"/>
                  </a:lnTo>
                  <a:lnTo>
                    <a:pt x="7" y="21"/>
                  </a:lnTo>
                  <a:lnTo>
                    <a:pt x="4" y="21"/>
                  </a:lnTo>
                  <a:lnTo>
                    <a:pt x="7" y="21"/>
                  </a:lnTo>
                  <a:lnTo>
                    <a:pt x="4" y="21"/>
                  </a:lnTo>
                  <a:lnTo>
                    <a:pt x="2" y="21"/>
                  </a:lnTo>
                  <a:lnTo>
                    <a:pt x="2" y="19"/>
                  </a:lnTo>
                  <a:lnTo>
                    <a:pt x="0" y="19"/>
                  </a:lnTo>
                  <a:lnTo>
                    <a:pt x="0" y="16"/>
                  </a:lnTo>
                  <a:lnTo>
                    <a:pt x="2" y="16"/>
                  </a:lnTo>
                  <a:lnTo>
                    <a:pt x="0" y="16"/>
                  </a:lnTo>
                  <a:lnTo>
                    <a:pt x="2" y="16"/>
                  </a:lnTo>
                  <a:lnTo>
                    <a:pt x="0" y="16"/>
                  </a:lnTo>
                  <a:lnTo>
                    <a:pt x="2" y="16"/>
                  </a:lnTo>
                  <a:lnTo>
                    <a:pt x="0" y="14"/>
                  </a:lnTo>
                  <a:lnTo>
                    <a:pt x="2" y="14"/>
                  </a:lnTo>
                  <a:lnTo>
                    <a:pt x="0" y="14"/>
                  </a:lnTo>
                  <a:lnTo>
                    <a:pt x="2" y="14"/>
                  </a:lnTo>
                  <a:lnTo>
                    <a:pt x="0" y="14"/>
                  </a:lnTo>
                  <a:lnTo>
                    <a:pt x="2" y="14"/>
                  </a:lnTo>
                  <a:lnTo>
                    <a:pt x="2" y="11"/>
                  </a:lnTo>
                  <a:lnTo>
                    <a:pt x="2" y="9"/>
                  </a:lnTo>
                  <a:lnTo>
                    <a:pt x="2" y="7"/>
                  </a:lnTo>
                  <a:lnTo>
                    <a:pt x="2" y="4"/>
                  </a:lnTo>
                  <a:lnTo>
                    <a:pt x="2" y="2"/>
                  </a:lnTo>
                  <a:lnTo>
                    <a:pt x="4" y="4"/>
                  </a:lnTo>
                  <a:lnTo>
                    <a:pt x="4" y="7"/>
                  </a:lnTo>
                  <a:lnTo>
                    <a:pt x="4" y="9"/>
                  </a:lnTo>
                  <a:lnTo>
                    <a:pt x="4" y="7"/>
                  </a:lnTo>
                  <a:lnTo>
                    <a:pt x="4" y="9"/>
                  </a:lnTo>
                  <a:lnTo>
                    <a:pt x="7" y="9"/>
                  </a:lnTo>
                  <a:lnTo>
                    <a:pt x="7" y="7"/>
                  </a:lnTo>
                  <a:lnTo>
                    <a:pt x="7" y="4"/>
                  </a:lnTo>
                  <a:lnTo>
                    <a:pt x="7"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6" name="Freeform 52275"/>
            <p:cNvSpPr>
              <a:spLocks noEditPoints="1"/>
            </p:cNvSpPr>
            <p:nvPr/>
          </p:nvSpPr>
          <p:spPr bwMode="auto">
            <a:xfrm>
              <a:off x="3054348" y="5440381"/>
              <a:ext cx="450850" cy="293690"/>
            </a:xfrm>
            <a:custGeom>
              <a:avLst/>
              <a:gdLst>
                <a:gd name="T0" fmla="*/ 282 w 284"/>
                <a:gd name="T1" fmla="*/ 166 h 185"/>
                <a:gd name="T2" fmla="*/ 280 w 284"/>
                <a:gd name="T3" fmla="*/ 176 h 185"/>
                <a:gd name="T4" fmla="*/ 270 w 284"/>
                <a:gd name="T5" fmla="*/ 183 h 185"/>
                <a:gd name="T6" fmla="*/ 268 w 284"/>
                <a:gd name="T7" fmla="*/ 174 h 185"/>
                <a:gd name="T8" fmla="*/ 270 w 284"/>
                <a:gd name="T9" fmla="*/ 166 h 185"/>
                <a:gd name="T10" fmla="*/ 282 w 284"/>
                <a:gd name="T11" fmla="*/ 162 h 185"/>
                <a:gd name="T12" fmla="*/ 33 w 284"/>
                <a:gd name="T13" fmla="*/ 71 h 185"/>
                <a:gd name="T14" fmla="*/ 35 w 284"/>
                <a:gd name="T15" fmla="*/ 81 h 185"/>
                <a:gd name="T16" fmla="*/ 35 w 284"/>
                <a:gd name="T17" fmla="*/ 88 h 185"/>
                <a:gd name="T18" fmla="*/ 28 w 284"/>
                <a:gd name="T19" fmla="*/ 83 h 185"/>
                <a:gd name="T20" fmla="*/ 28 w 284"/>
                <a:gd name="T21" fmla="*/ 81 h 185"/>
                <a:gd name="T22" fmla="*/ 26 w 284"/>
                <a:gd name="T23" fmla="*/ 76 h 185"/>
                <a:gd name="T24" fmla="*/ 213 w 284"/>
                <a:gd name="T25" fmla="*/ 64 h 185"/>
                <a:gd name="T26" fmla="*/ 215 w 284"/>
                <a:gd name="T27" fmla="*/ 69 h 185"/>
                <a:gd name="T28" fmla="*/ 211 w 284"/>
                <a:gd name="T29" fmla="*/ 81 h 185"/>
                <a:gd name="T30" fmla="*/ 208 w 284"/>
                <a:gd name="T31" fmla="*/ 76 h 185"/>
                <a:gd name="T32" fmla="*/ 206 w 284"/>
                <a:gd name="T33" fmla="*/ 67 h 185"/>
                <a:gd name="T34" fmla="*/ 123 w 284"/>
                <a:gd name="T35" fmla="*/ 45 h 185"/>
                <a:gd name="T36" fmla="*/ 130 w 284"/>
                <a:gd name="T37" fmla="*/ 55 h 185"/>
                <a:gd name="T38" fmla="*/ 137 w 284"/>
                <a:gd name="T39" fmla="*/ 60 h 185"/>
                <a:gd name="T40" fmla="*/ 144 w 284"/>
                <a:gd name="T41" fmla="*/ 60 h 185"/>
                <a:gd name="T42" fmla="*/ 149 w 284"/>
                <a:gd name="T43" fmla="*/ 62 h 185"/>
                <a:gd name="T44" fmla="*/ 151 w 284"/>
                <a:gd name="T45" fmla="*/ 76 h 185"/>
                <a:gd name="T46" fmla="*/ 154 w 284"/>
                <a:gd name="T47" fmla="*/ 81 h 185"/>
                <a:gd name="T48" fmla="*/ 161 w 284"/>
                <a:gd name="T49" fmla="*/ 86 h 185"/>
                <a:gd name="T50" fmla="*/ 163 w 284"/>
                <a:gd name="T51" fmla="*/ 90 h 185"/>
                <a:gd name="T52" fmla="*/ 156 w 284"/>
                <a:gd name="T53" fmla="*/ 90 h 185"/>
                <a:gd name="T54" fmla="*/ 154 w 284"/>
                <a:gd name="T55" fmla="*/ 90 h 185"/>
                <a:gd name="T56" fmla="*/ 151 w 284"/>
                <a:gd name="T57" fmla="*/ 83 h 185"/>
                <a:gd name="T58" fmla="*/ 149 w 284"/>
                <a:gd name="T59" fmla="*/ 79 h 185"/>
                <a:gd name="T60" fmla="*/ 144 w 284"/>
                <a:gd name="T61" fmla="*/ 76 h 185"/>
                <a:gd name="T62" fmla="*/ 135 w 284"/>
                <a:gd name="T63" fmla="*/ 74 h 185"/>
                <a:gd name="T64" fmla="*/ 130 w 284"/>
                <a:gd name="T65" fmla="*/ 71 h 185"/>
                <a:gd name="T66" fmla="*/ 125 w 284"/>
                <a:gd name="T67" fmla="*/ 62 h 185"/>
                <a:gd name="T68" fmla="*/ 118 w 284"/>
                <a:gd name="T69" fmla="*/ 52 h 185"/>
                <a:gd name="T70" fmla="*/ 111 w 284"/>
                <a:gd name="T71" fmla="*/ 52 h 185"/>
                <a:gd name="T72" fmla="*/ 106 w 284"/>
                <a:gd name="T73" fmla="*/ 55 h 185"/>
                <a:gd name="T74" fmla="*/ 113 w 284"/>
                <a:gd name="T75" fmla="*/ 50 h 185"/>
                <a:gd name="T76" fmla="*/ 225 w 284"/>
                <a:gd name="T77" fmla="*/ 31 h 185"/>
                <a:gd name="T78" fmla="*/ 227 w 284"/>
                <a:gd name="T79" fmla="*/ 41 h 185"/>
                <a:gd name="T80" fmla="*/ 225 w 284"/>
                <a:gd name="T81" fmla="*/ 41 h 185"/>
                <a:gd name="T82" fmla="*/ 220 w 284"/>
                <a:gd name="T83" fmla="*/ 48 h 185"/>
                <a:gd name="T84" fmla="*/ 215 w 284"/>
                <a:gd name="T85" fmla="*/ 41 h 185"/>
                <a:gd name="T86" fmla="*/ 218 w 284"/>
                <a:gd name="T87" fmla="*/ 36 h 185"/>
                <a:gd name="T88" fmla="*/ 211 w 284"/>
                <a:gd name="T89" fmla="*/ 41 h 185"/>
                <a:gd name="T90" fmla="*/ 206 w 284"/>
                <a:gd name="T91" fmla="*/ 33 h 185"/>
                <a:gd name="T92" fmla="*/ 208 w 284"/>
                <a:gd name="T93" fmla="*/ 33 h 185"/>
                <a:gd name="T94" fmla="*/ 215 w 284"/>
                <a:gd name="T95" fmla="*/ 33 h 185"/>
                <a:gd name="T96" fmla="*/ 9 w 284"/>
                <a:gd name="T97" fmla="*/ 10 h 185"/>
                <a:gd name="T98" fmla="*/ 7 w 284"/>
                <a:gd name="T99" fmla="*/ 14 h 185"/>
                <a:gd name="T100" fmla="*/ 9 w 284"/>
                <a:gd name="T101" fmla="*/ 19 h 185"/>
                <a:gd name="T102" fmla="*/ 14 w 284"/>
                <a:gd name="T103" fmla="*/ 26 h 185"/>
                <a:gd name="T104" fmla="*/ 14 w 284"/>
                <a:gd name="T105" fmla="*/ 29 h 185"/>
                <a:gd name="T106" fmla="*/ 7 w 284"/>
                <a:gd name="T107" fmla="*/ 19 h 185"/>
                <a:gd name="T108" fmla="*/ 2 w 284"/>
                <a:gd name="T109" fmla="*/ 10 h 185"/>
                <a:gd name="T110" fmla="*/ 189 w 284"/>
                <a:gd name="T111" fmla="*/ 7 h 185"/>
                <a:gd name="T112" fmla="*/ 187 w 284"/>
                <a:gd name="T113" fmla="*/ 5 h 185"/>
                <a:gd name="T114" fmla="*/ 185 w 284"/>
                <a:gd name="T115" fmla="*/ 10 h 185"/>
                <a:gd name="T116" fmla="*/ 180 w 284"/>
                <a:gd name="T117" fmla="*/ 7 h 185"/>
                <a:gd name="T118" fmla="*/ 180 w 284"/>
                <a:gd name="T119" fmla="*/ 5 h 185"/>
                <a:gd name="T120" fmla="*/ 185 w 284"/>
                <a:gd name="T121" fmla="*/ 0 h 185"/>
                <a:gd name="T122" fmla="*/ 187 w 284"/>
                <a:gd name="T123" fmla="*/ 5 h 185"/>
                <a:gd name="T124" fmla="*/ 189 w 284"/>
                <a:gd name="T12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185">
                  <a:moveTo>
                    <a:pt x="284" y="159"/>
                  </a:moveTo>
                  <a:lnTo>
                    <a:pt x="284" y="162"/>
                  </a:lnTo>
                  <a:lnTo>
                    <a:pt x="284" y="164"/>
                  </a:lnTo>
                  <a:lnTo>
                    <a:pt x="282" y="164"/>
                  </a:lnTo>
                  <a:lnTo>
                    <a:pt x="284" y="164"/>
                  </a:lnTo>
                  <a:lnTo>
                    <a:pt x="284" y="166"/>
                  </a:lnTo>
                  <a:lnTo>
                    <a:pt x="282" y="166"/>
                  </a:lnTo>
                  <a:lnTo>
                    <a:pt x="282" y="169"/>
                  </a:lnTo>
                  <a:lnTo>
                    <a:pt x="282" y="171"/>
                  </a:lnTo>
                  <a:lnTo>
                    <a:pt x="280" y="171"/>
                  </a:lnTo>
                  <a:lnTo>
                    <a:pt x="280" y="174"/>
                  </a:lnTo>
                  <a:lnTo>
                    <a:pt x="280" y="176"/>
                  </a:lnTo>
                  <a:lnTo>
                    <a:pt x="280" y="178"/>
                  </a:lnTo>
                  <a:lnTo>
                    <a:pt x="280" y="176"/>
                  </a:lnTo>
                  <a:lnTo>
                    <a:pt x="277" y="176"/>
                  </a:lnTo>
                  <a:lnTo>
                    <a:pt x="275" y="176"/>
                  </a:lnTo>
                  <a:lnTo>
                    <a:pt x="275" y="178"/>
                  </a:lnTo>
                  <a:lnTo>
                    <a:pt x="272" y="178"/>
                  </a:lnTo>
                  <a:lnTo>
                    <a:pt x="272" y="181"/>
                  </a:lnTo>
                  <a:lnTo>
                    <a:pt x="272" y="183"/>
                  </a:lnTo>
                  <a:lnTo>
                    <a:pt x="270" y="183"/>
                  </a:lnTo>
                  <a:lnTo>
                    <a:pt x="270" y="185"/>
                  </a:lnTo>
                  <a:lnTo>
                    <a:pt x="268" y="185"/>
                  </a:lnTo>
                  <a:lnTo>
                    <a:pt x="268" y="183"/>
                  </a:lnTo>
                  <a:lnTo>
                    <a:pt x="268" y="181"/>
                  </a:lnTo>
                  <a:lnTo>
                    <a:pt x="268" y="178"/>
                  </a:lnTo>
                  <a:lnTo>
                    <a:pt x="268" y="176"/>
                  </a:lnTo>
                  <a:lnTo>
                    <a:pt x="268" y="174"/>
                  </a:lnTo>
                  <a:lnTo>
                    <a:pt x="265" y="174"/>
                  </a:lnTo>
                  <a:lnTo>
                    <a:pt x="268" y="171"/>
                  </a:lnTo>
                  <a:lnTo>
                    <a:pt x="268" y="174"/>
                  </a:lnTo>
                  <a:lnTo>
                    <a:pt x="268" y="171"/>
                  </a:lnTo>
                  <a:lnTo>
                    <a:pt x="270" y="171"/>
                  </a:lnTo>
                  <a:lnTo>
                    <a:pt x="270" y="169"/>
                  </a:lnTo>
                  <a:lnTo>
                    <a:pt x="270" y="166"/>
                  </a:lnTo>
                  <a:lnTo>
                    <a:pt x="272" y="166"/>
                  </a:lnTo>
                  <a:lnTo>
                    <a:pt x="272" y="164"/>
                  </a:lnTo>
                  <a:lnTo>
                    <a:pt x="275" y="164"/>
                  </a:lnTo>
                  <a:lnTo>
                    <a:pt x="277" y="164"/>
                  </a:lnTo>
                  <a:lnTo>
                    <a:pt x="277" y="162"/>
                  </a:lnTo>
                  <a:lnTo>
                    <a:pt x="280" y="162"/>
                  </a:lnTo>
                  <a:lnTo>
                    <a:pt x="282" y="162"/>
                  </a:lnTo>
                  <a:lnTo>
                    <a:pt x="284" y="159"/>
                  </a:lnTo>
                  <a:close/>
                  <a:moveTo>
                    <a:pt x="30" y="69"/>
                  </a:moveTo>
                  <a:lnTo>
                    <a:pt x="33" y="71"/>
                  </a:lnTo>
                  <a:lnTo>
                    <a:pt x="30" y="71"/>
                  </a:lnTo>
                  <a:lnTo>
                    <a:pt x="33" y="71"/>
                  </a:lnTo>
                  <a:lnTo>
                    <a:pt x="30" y="71"/>
                  </a:lnTo>
                  <a:lnTo>
                    <a:pt x="33" y="71"/>
                  </a:lnTo>
                  <a:lnTo>
                    <a:pt x="33" y="74"/>
                  </a:lnTo>
                  <a:lnTo>
                    <a:pt x="33" y="76"/>
                  </a:lnTo>
                  <a:lnTo>
                    <a:pt x="33" y="79"/>
                  </a:lnTo>
                  <a:lnTo>
                    <a:pt x="33" y="81"/>
                  </a:lnTo>
                  <a:lnTo>
                    <a:pt x="33" y="79"/>
                  </a:lnTo>
                  <a:lnTo>
                    <a:pt x="35" y="79"/>
                  </a:lnTo>
                  <a:lnTo>
                    <a:pt x="35" y="81"/>
                  </a:lnTo>
                  <a:lnTo>
                    <a:pt x="38" y="81"/>
                  </a:lnTo>
                  <a:lnTo>
                    <a:pt x="38" y="83"/>
                  </a:lnTo>
                  <a:lnTo>
                    <a:pt x="38" y="86"/>
                  </a:lnTo>
                  <a:lnTo>
                    <a:pt x="40" y="86"/>
                  </a:lnTo>
                  <a:lnTo>
                    <a:pt x="40" y="88"/>
                  </a:lnTo>
                  <a:lnTo>
                    <a:pt x="38" y="88"/>
                  </a:lnTo>
                  <a:lnTo>
                    <a:pt x="35" y="88"/>
                  </a:lnTo>
                  <a:lnTo>
                    <a:pt x="35" y="86"/>
                  </a:lnTo>
                  <a:lnTo>
                    <a:pt x="33" y="86"/>
                  </a:lnTo>
                  <a:lnTo>
                    <a:pt x="30" y="86"/>
                  </a:lnTo>
                  <a:lnTo>
                    <a:pt x="30" y="88"/>
                  </a:lnTo>
                  <a:lnTo>
                    <a:pt x="30" y="86"/>
                  </a:lnTo>
                  <a:lnTo>
                    <a:pt x="28" y="86"/>
                  </a:lnTo>
                  <a:lnTo>
                    <a:pt x="28" y="83"/>
                  </a:lnTo>
                  <a:lnTo>
                    <a:pt x="30" y="83"/>
                  </a:lnTo>
                  <a:lnTo>
                    <a:pt x="28" y="83"/>
                  </a:lnTo>
                  <a:lnTo>
                    <a:pt x="28" y="81"/>
                  </a:lnTo>
                  <a:lnTo>
                    <a:pt x="28" y="79"/>
                  </a:lnTo>
                  <a:lnTo>
                    <a:pt x="26" y="79"/>
                  </a:lnTo>
                  <a:lnTo>
                    <a:pt x="26" y="81"/>
                  </a:lnTo>
                  <a:lnTo>
                    <a:pt x="28" y="81"/>
                  </a:lnTo>
                  <a:lnTo>
                    <a:pt x="28" y="83"/>
                  </a:lnTo>
                  <a:lnTo>
                    <a:pt x="26" y="83"/>
                  </a:lnTo>
                  <a:lnTo>
                    <a:pt x="23" y="83"/>
                  </a:lnTo>
                  <a:lnTo>
                    <a:pt x="23" y="81"/>
                  </a:lnTo>
                  <a:lnTo>
                    <a:pt x="23" y="79"/>
                  </a:lnTo>
                  <a:lnTo>
                    <a:pt x="26" y="79"/>
                  </a:lnTo>
                  <a:lnTo>
                    <a:pt x="26" y="76"/>
                  </a:lnTo>
                  <a:lnTo>
                    <a:pt x="28" y="76"/>
                  </a:lnTo>
                  <a:lnTo>
                    <a:pt x="30" y="76"/>
                  </a:lnTo>
                  <a:lnTo>
                    <a:pt x="30" y="74"/>
                  </a:lnTo>
                  <a:lnTo>
                    <a:pt x="30" y="71"/>
                  </a:lnTo>
                  <a:lnTo>
                    <a:pt x="30" y="69"/>
                  </a:lnTo>
                  <a:close/>
                  <a:moveTo>
                    <a:pt x="211" y="64"/>
                  </a:moveTo>
                  <a:lnTo>
                    <a:pt x="213" y="64"/>
                  </a:lnTo>
                  <a:lnTo>
                    <a:pt x="213" y="67"/>
                  </a:lnTo>
                  <a:lnTo>
                    <a:pt x="215" y="67"/>
                  </a:lnTo>
                  <a:lnTo>
                    <a:pt x="215" y="69"/>
                  </a:lnTo>
                  <a:lnTo>
                    <a:pt x="215" y="71"/>
                  </a:lnTo>
                  <a:lnTo>
                    <a:pt x="215" y="69"/>
                  </a:lnTo>
                  <a:lnTo>
                    <a:pt x="215" y="71"/>
                  </a:lnTo>
                  <a:lnTo>
                    <a:pt x="215" y="69"/>
                  </a:lnTo>
                  <a:lnTo>
                    <a:pt x="215" y="71"/>
                  </a:lnTo>
                  <a:lnTo>
                    <a:pt x="215" y="74"/>
                  </a:lnTo>
                  <a:lnTo>
                    <a:pt x="215" y="76"/>
                  </a:lnTo>
                  <a:lnTo>
                    <a:pt x="215" y="79"/>
                  </a:lnTo>
                  <a:lnTo>
                    <a:pt x="213" y="79"/>
                  </a:lnTo>
                  <a:lnTo>
                    <a:pt x="213" y="81"/>
                  </a:lnTo>
                  <a:lnTo>
                    <a:pt x="211" y="81"/>
                  </a:lnTo>
                  <a:lnTo>
                    <a:pt x="211" y="83"/>
                  </a:lnTo>
                  <a:lnTo>
                    <a:pt x="208" y="83"/>
                  </a:lnTo>
                  <a:lnTo>
                    <a:pt x="208" y="81"/>
                  </a:lnTo>
                  <a:lnTo>
                    <a:pt x="206" y="81"/>
                  </a:lnTo>
                  <a:lnTo>
                    <a:pt x="206" y="79"/>
                  </a:lnTo>
                  <a:lnTo>
                    <a:pt x="208" y="79"/>
                  </a:lnTo>
                  <a:lnTo>
                    <a:pt x="208" y="76"/>
                  </a:lnTo>
                  <a:lnTo>
                    <a:pt x="211" y="76"/>
                  </a:lnTo>
                  <a:lnTo>
                    <a:pt x="211" y="74"/>
                  </a:lnTo>
                  <a:lnTo>
                    <a:pt x="208" y="74"/>
                  </a:lnTo>
                  <a:lnTo>
                    <a:pt x="208" y="71"/>
                  </a:lnTo>
                  <a:lnTo>
                    <a:pt x="208" y="69"/>
                  </a:lnTo>
                  <a:lnTo>
                    <a:pt x="206" y="69"/>
                  </a:lnTo>
                  <a:lnTo>
                    <a:pt x="206" y="67"/>
                  </a:lnTo>
                  <a:lnTo>
                    <a:pt x="204" y="67"/>
                  </a:lnTo>
                  <a:lnTo>
                    <a:pt x="206" y="67"/>
                  </a:lnTo>
                  <a:lnTo>
                    <a:pt x="206" y="64"/>
                  </a:lnTo>
                  <a:lnTo>
                    <a:pt x="208" y="64"/>
                  </a:lnTo>
                  <a:lnTo>
                    <a:pt x="211" y="64"/>
                  </a:lnTo>
                  <a:close/>
                  <a:moveTo>
                    <a:pt x="121" y="45"/>
                  </a:moveTo>
                  <a:lnTo>
                    <a:pt x="123" y="45"/>
                  </a:lnTo>
                  <a:lnTo>
                    <a:pt x="123" y="48"/>
                  </a:lnTo>
                  <a:lnTo>
                    <a:pt x="125" y="48"/>
                  </a:lnTo>
                  <a:lnTo>
                    <a:pt x="125" y="50"/>
                  </a:lnTo>
                  <a:lnTo>
                    <a:pt x="125" y="52"/>
                  </a:lnTo>
                  <a:lnTo>
                    <a:pt x="128" y="52"/>
                  </a:lnTo>
                  <a:lnTo>
                    <a:pt x="128" y="55"/>
                  </a:lnTo>
                  <a:lnTo>
                    <a:pt x="130" y="55"/>
                  </a:lnTo>
                  <a:lnTo>
                    <a:pt x="130" y="57"/>
                  </a:lnTo>
                  <a:lnTo>
                    <a:pt x="130" y="55"/>
                  </a:lnTo>
                  <a:lnTo>
                    <a:pt x="130" y="57"/>
                  </a:lnTo>
                  <a:lnTo>
                    <a:pt x="132" y="57"/>
                  </a:lnTo>
                  <a:lnTo>
                    <a:pt x="135" y="57"/>
                  </a:lnTo>
                  <a:lnTo>
                    <a:pt x="135" y="60"/>
                  </a:lnTo>
                  <a:lnTo>
                    <a:pt x="137" y="60"/>
                  </a:lnTo>
                  <a:lnTo>
                    <a:pt x="140" y="60"/>
                  </a:lnTo>
                  <a:lnTo>
                    <a:pt x="140" y="62"/>
                  </a:lnTo>
                  <a:lnTo>
                    <a:pt x="140" y="60"/>
                  </a:lnTo>
                  <a:lnTo>
                    <a:pt x="142" y="60"/>
                  </a:lnTo>
                  <a:lnTo>
                    <a:pt x="142" y="62"/>
                  </a:lnTo>
                  <a:lnTo>
                    <a:pt x="144" y="62"/>
                  </a:lnTo>
                  <a:lnTo>
                    <a:pt x="144" y="60"/>
                  </a:lnTo>
                  <a:lnTo>
                    <a:pt x="144" y="62"/>
                  </a:lnTo>
                  <a:lnTo>
                    <a:pt x="144" y="60"/>
                  </a:lnTo>
                  <a:lnTo>
                    <a:pt x="147" y="60"/>
                  </a:lnTo>
                  <a:lnTo>
                    <a:pt x="147" y="62"/>
                  </a:lnTo>
                  <a:lnTo>
                    <a:pt x="149" y="62"/>
                  </a:lnTo>
                  <a:lnTo>
                    <a:pt x="149" y="64"/>
                  </a:lnTo>
                  <a:lnTo>
                    <a:pt x="149" y="62"/>
                  </a:lnTo>
                  <a:lnTo>
                    <a:pt x="149" y="64"/>
                  </a:lnTo>
                  <a:lnTo>
                    <a:pt x="149" y="67"/>
                  </a:lnTo>
                  <a:lnTo>
                    <a:pt x="151" y="67"/>
                  </a:lnTo>
                  <a:lnTo>
                    <a:pt x="151" y="69"/>
                  </a:lnTo>
                  <a:lnTo>
                    <a:pt x="151" y="71"/>
                  </a:lnTo>
                  <a:lnTo>
                    <a:pt x="151" y="74"/>
                  </a:lnTo>
                  <a:lnTo>
                    <a:pt x="151" y="76"/>
                  </a:lnTo>
                  <a:lnTo>
                    <a:pt x="151" y="79"/>
                  </a:lnTo>
                  <a:lnTo>
                    <a:pt x="154" y="79"/>
                  </a:lnTo>
                  <a:lnTo>
                    <a:pt x="154" y="81"/>
                  </a:lnTo>
                  <a:lnTo>
                    <a:pt x="151" y="81"/>
                  </a:lnTo>
                  <a:lnTo>
                    <a:pt x="154" y="81"/>
                  </a:lnTo>
                  <a:lnTo>
                    <a:pt x="154" y="83"/>
                  </a:lnTo>
                  <a:lnTo>
                    <a:pt x="154" y="81"/>
                  </a:lnTo>
                  <a:lnTo>
                    <a:pt x="154" y="83"/>
                  </a:lnTo>
                  <a:lnTo>
                    <a:pt x="156" y="83"/>
                  </a:lnTo>
                  <a:lnTo>
                    <a:pt x="159" y="83"/>
                  </a:lnTo>
                  <a:lnTo>
                    <a:pt x="159" y="86"/>
                  </a:lnTo>
                  <a:lnTo>
                    <a:pt x="159" y="83"/>
                  </a:lnTo>
                  <a:lnTo>
                    <a:pt x="159" y="86"/>
                  </a:lnTo>
                  <a:lnTo>
                    <a:pt x="161" y="86"/>
                  </a:lnTo>
                  <a:lnTo>
                    <a:pt x="161" y="83"/>
                  </a:lnTo>
                  <a:lnTo>
                    <a:pt x="161" y="86"/>
                  </a:lnTo>
                  <a:lnTo>
                    <a:pt x="163" y="86"/>
                  </a:lnTo>
                  <a:lnTo>
                    <a:pt x="163" y="83"/>
                  </a:lnTo>
                  <a:lnTo>
                    <a:pt x="163" y="86"/>
                  </a:lnTo>
                  <a:lnTo>
                    <a:pt x="163" y="88"/>
                  </a:lnTo>
                  <a:lnTo>
                    <a:pt x="163" y="90"/>
                  </a:lnTo>
                  <a:lnTo>
                    <a:pt x="163" y="93"/>
                  </a:lnTo>
                  <a:lnTo>
                    <a:pt x="161" y="93"/>
                  </a:lnTo>
                  <a:lnTo>
                    <a:pt x="163" y="93"/>
                  </a:lnTo>
                  <a:lnTo>
                    <a:pt x="161" y="93"/>
                  </a:lnTo>
                  <a:lnTo>
                    <a:pt x="161" y="90"/>
                  </a:lnTo>
                  <a:lnTo>
                    <a:pt x="159" y="90"/>
                  </a:lnTo>
                  <a:lnTo>
                    <a:pt x="156" y="90"/>
                  </a:lnTo>
                  <a:lnTo>
                    <a:pt x="159" y="90"/>
                  </a:lnTo>
                  <a:lnTo>
                    <a:pt x="156" y="90"/>
                  </a:lnTo>
                  <a:lnTo>
                    <a:pt x="156" y="93"/>
                  </a:lnTo>
                  <a:lnTo>
                    <a:pt x="159" y="93"/>
                  </a:lnTo>
                  <a:lnTo>
                    <a:pt x="156" y="93"/>
                  </a:lnTo>
                  <a:lnTo>
                    <a:pt x="156" y="90"/>
                  </a:lnTo>
                  <a:lnTo>
                    <a:pt x="154" y="90"/>
                  </a:lnTo>
                  <a:lnTo>
                    <a:pt x="154" y="88"/>
                  </a:lnTo>
                  <a:lnTo>
                    <a:pt x="154" y="86"/>
                  </a:lnTo>
                  <a:lnTo>
                    <a:pt x="154" y="88"/>
                  </a:lnTo>
                  <a:lnTo>
                    <a:pt x="151" y="86"/>
                  </a:lnTo>
                  <a:lnTo>
                    <a:pt x="151" y="88"/>
                  </a:lnTo>
                  <a:lnTo>
                    <a:pt x="151" y="86"/>
                  </a:lnTo>
                  <a:lnTo>
                    <a:pt x="151" y="83"/>
                  </a:lnTo>
                  <a:lnTo>
                    <a:pt x="151" y="81"/>
                  </a:lnTo>
                  <a:lnTo>
                    <a:pt x="149" y="81"/>
                  </a:lnTo>
                  <a:lnTo>
                    <a:pt x="149" y="79"/>
                  </a:lnTo>
                  <a:lnTo>
                    <a:pt x="149" y="81"/>
                  </a:lnTo>
                  <a:lnTo>
                    <a:pt x="149" y="79"/>
                  </a:lnTo>
                  <a:lnTo>
                    <a:pt x="147" y="79"/>
                  </a:lnTo>
                  <a:lnTo>
                    <a:pt x="149" y="79"/>
                  </a:lnTo>
                  <a:lnTo>
                    <a:pt x="147" y="79"/>
                  </a:lnTo>
                  <a:lnTo>
                    <a:pt x="149" y="79"/>
                  </a:lnTo>
                  <a:lnTo>
                    <a:pt x="147" y="79"/>
                  </a:lnTo>
                  <a:lnTo>
                    <a:pt x="149" y="79"/>
                  </a:lnTo>
                  <a:lnTo>
                    <a:pt x="149" y="76"/>
                  </a:lnTo>
                  <a:lnTo>
                    <a:pt x="147" y="76"/>
                  </a:lnTo>
                  <a:lnTo>
                    <a:pt x="144" y="76"/>
                  </a:lnTo>
                  <a:lnTo>
                    <a:pt x="147" y="76"/>
                  </a:lnTo>
                  <a:lnTo>
                    <a:pt x="147" y="74"/>
                  </a:lnTo>
                  <a:lnTo>
                    <a:pt x="144" y="74"/>
                  </a:lnTo>
                  <a:lnTo>
                    <a:pt x="142" y="74"/>
                  </a:lnTo>
                  <a:lnTo>
                    <a:pt x="140" y="74"/>
                  </a:lnTo>
                  <a:lnTo>
                    <a:pt x="137" y="74"/>
                  </a:lnTo>
                  <a:lnTo>
                    <a:pt x="135" y="74"/>
                  </a:lnTo>
                  <a:lnTo>
                    <a:pt x="135" y="71"/>
                  </a:lnTo>
                  <a:lnTo>
                    <a:pt x="135" y="74"/>
                  </a:lnTo>
                  <a:lnTo>
                    <a:pt x="135" y="71"/>
                  </a:lnTo>
                  <a:lnTo>
                    <a:pt x="135" y="74"/>
                  </a:lnTo>
                  <a:lnTo>
                    <a:pt x="132" y="74"/>
                  </a:lnTo>
                  <a:lnTo>
                    <a:pt x="132" y="71"/>
                  </a:lnTo>
                  <a:lnTo>
                    <a:pt x="130" y="71"/>
                  </a:lnTo>
                  <a:lnTo>
                    <a:pt x="130" y="69"/>
                  </a:lnTo>
                  <a:lnTo>
                    <a:pt x="132" y="69"/>
                  </a:lnTo>
                  <a:lnTo>
                    <a:pt x="132" y="67"/>
                  </a:lnTo>
                  <a:lnTo>
                    <a:pt x="130" y="64"/>
                  </a:lnTo>
                  <a:lnTo>
                    <a:pt x="128" y="64"/>
                  </a:lnTo>
                  <a:lnTo>
                    <a:pt x="128" y="62"/>
                  </a:lnTo>
                  <a:lnTo>
                    <a:pt x="125" y="62"/>
                  </a:lnTo>
                  <a:lnTo>
                    <a:pt x="125" y="60"/>
                  </a:lnTo>
                  <a:lnTo>
                    <a:pt x="123" y="60"/>
                  </a:lnTo>
                  <a:lnTo>
                    <a:pt x="123" y="57"/>
                  </a:lnTo>
                  <a:lnTo>
                    <a:pt x="121" y="57"/>
                  </a:lnTo>
                  <a:lnTo>
                    <a:pt x="121" y="55"/>
                  </a:lnTo>
                  <a:lnTo>
                    <a:pt x="118" y="55"/>
                  </a:lnTo>
                  <a:lnTo>
                    <a:pt x="118" y="52"/>
                  </a:lnTo>
                  <a:lnTo>
                    <a:pt x="116" y="52"/>
                  </a:lnTo>
                  <a:lnTo>
                    <a:pt x="113" y="52"/>
                  </a:lnTo>
                  <a:lnTo>
                    <a:pt x="111" y="52"/>
                  </a:lnTo>
                  <a:lnTo>
                    <a:pt x="111" y="50"/>
                  </a:lnTo>
                  <a:lnTo>
                    <a:pt x="111" y="52"/>
                  </a:lnTo>
                  <a:lnTo>
                    <a:pt x="109" y="52"/>
                  </a:lnTo>
                  <a:lnTo>
                    <a:pt x="111" y="52"/>
                  </a:lnTo>
                  <a:lnTo>
                    <a:pt x="111" y="55"/>
                  </a:lnTo>
                  <a:lnTo>
                    <a:pt x="109" y="55"/>
                  </a:lnTo>
                  <a:lnTo>
                    <a:pt x="109" y="52"/>
                  </a:lnTo>
                  <a:lnTo>
                    <a:pt x="109" y="55"/>
                  </a:lnTo>
                  <a:lnTo>
                    <a:pt x="109" y="52"/>
                  </a:lnTo>
                  <a:lnTo>
                    <a:pt x="106" y="52"/>
                  </a:lnTo>
                  <a:lnTo>
                    <a:pt x="106" y="55"/>
                  </a:lnTo>
                  <a:lnTo>
                    <a:pt x="106" y="52"/>
                  </a:lnTo>
                  <a:lnTo>
                    <a:pt x="109" y="52"/>
                  </a:lnTo>
                  <a:lnTo>
                    <a:pt x="109" y="50"/>
                  </a:lnTo>
                  <a:lnTo>
                    <a:pt x="111" y="50"/>
                  </a:lnTo>
                  <a:lnTo>
                    <a:pt x="113" y="50"/>
                  </a:lnTo>
                  <a:lnTo>
                    <a:pt x="113" y="48"/>
                  </a:lnTo>
                  <a:lnTo>
                    <a:pt x="113" y="50"/>
                  </a:lnTo>
                  <a:lnTo>
                    <a:pt x="113" y="48"/>
                  </a:lnTo>
                  <a:lnTo>
                    <a:pt x="116" y="45"/>
                  </a:lnTo>
                  <a:lnTo>
                    <a:pt x="118" y="45"/>
                  </a:lnTo>
                  <a:lnTo>
                    <a:pt x="121" y="45"/>
                  </a:lnTo>
                  <a:close/>
                  <a:moveTo>
                    <a:pt x="223" y="29"/>
                  </a:moveTo>
                  <a:lnTo>
                    <a:pt x="223" y="31"/>
                  </a:lnTo>
                  <a:lnTo>
                    <a:pt x="225" y="31"/>
                  </a:lnTo>
                  <a:lnTo>
                    <a:pt x="223" y="33"/>
                  </a:lnTo>
                  <a:lnTo>
                    <a:pt x="225" y="36"/>
                  </a:lnTo>
                  <a:lnTo>
                    <a:pt x="227" y="36"/>
                  </a:lnTo>
                  <a:lnTo>
                    <a:pt x="225" y="36"/>
                  </a:lnTo>
                  <a:lnTo>
                    <a:pt x="227" y="36"/>
                  </a:lnTo>
                  <a:lnTo>
                    <a:pt x="227" y="38"/>
                  </a:lnTo>
                  <a:lnTo>
                    <a:pt x="227" y="41"/>
                  </a:lnTo>
                  <a:lnTo>
                    <a:pt x="230" y="41"/>
                  </a:lnTo>
                  <a:lnTo>
                    <a:pt x="230" y="43"/>
                  </a:lnTo>
                  <a:lnTo>
                    <a:pt x="230" y="45"/>
                  </a:lnTo>
                  <a:lnTo>
                    <a:pt x="227" y="45"/>
                  </a:lnTo>
                  <a:lnTo>
                    <a:pt x="227" y="43"/>
                  </a:lnTo>
                  <a:lnTo>
                    <a:pt x="227" y="41"/>
                  </a:lnTo>
                  <a:lnTo>
                    <a:pt x="225" y="41"/>
                  </a:lnTo>
                  <a:lnTo>
                    <a:pt x="225" y="43"/>
                  </a:lnTo>
                  <a:lnTo>
                    <a:pt x="227" y="43"/>
                  </a:lnTo>
                  <a:lnTo>
                    <a:pt x="227" y="45"/>
                  </a:lnTo>
                  <a:lnTo>
                    <a:pt x="227" y="48"/>
                  </a:lnTo>
                  <a:lnTo>
                    <a:pt x="225" y="48"/>
                  </a:lnTo>
                  <a:lnTo>
                    <a:pt x="223" y="48"/>
                  </a:lnTo>
                  <a:lnTo>
                    <a:pt x="220" y="48"/>
                  </a:lnTo>
                  <a:lnTo>
                    <a:pt x="220" y="45"/>
                  </a:lnTo>
                  <a:lnTo>
                    <a:pt x="218" y="45"/>
                  </a:lnTo>
                  <a:lnTo>
                    <a:pt x="215" y="45"/>
                  </a:lnTo>
                  <a:lnTo>
                    <a:pt x="215" y="43"/>
                  </a:lnTo>
                  <a:lnTo>
                    <a:pt x="213" y="43"/>
                  </a:lnTo>
                  <a:lnTo>
                    <a:pt x="215" y="43"/>
                  </a:lnTo>
                  <a:lnTo>
                    <a:pt x="215" y="41"/>
                  </a:lnTo>
                  <a:lnTo>
                    <a:pt x="218" y="41"/>
                  </a:lnTo>
                  <a:lnTo>
                    <a:pt x="220" y="41"/>
                  </a:lnTo>
                  <a:lnTo>
                    <a:pt x="220" y="38"/>
                  </a:lnTo>
                  <a:lnTo>
                    <a:pt x="218" y="38"/>
                  </a:lnTo>
                  <a:lnTo>
                    <a:pt x="218" y="36"/>
                  </a:lnTo>
                  <a:lnTo>
                    <a:pt x="218" y="38"/>
                  </a:lnTo>
                  <a:lnTo>
                    <a:pt x="218" y="36"/>
                  </a:lnTo>
                  <a:lnTo>
                    <a:pt x="218" y="38"/>
                  </a:lnTo>
                  <a:lnTo>
                    <a:pt x="215" y="38"/>
                  </a:lnTo>
                  <a:lnTo>
                    <a:pt x="215" y="41"/>
                  </a:lnTo>
                  <a:lnTo>
                    <a:pt x="213" y="41"/>
                  </a:lnTo>
                  <a:lnTo>
                    <a:pt x="213" y="43"/>
                  </a:lnTo>
                  <a:lnTo>
                    <a:pt x="211" y="43"/>
                  </a:lnTo>
                  <a:lnTo>
                    <a:pt x="211" y="41"/>
                  </a:lnTo>
                  <a:lnTo>
                    <a:pt x="208" y="41"/>
                  </a:lnTo>
                  <a:lnTo>
                    <a:pt x="206" y="41"/>
                  </a:lnTo>
                  <a:lnTo>
                    <a:pt x="206" y="38"/>
                  </a:lnTo>
                  <a:lnTo>
                    <a:pt x="204" y="38"/>
                  </a:lnTo>
                  <a:lnTo>
                    <a:pt x="206" y="38"/>
                  </a:lnTo>
                  <a:lnTo>
                    <a:pt x="206" y="36"/>
                  </a:lnTo>
                  <a:lnTo>
                    <a:pt x="206" y="33"/>
                  </a:lnTo>
                  <a:lnTo>
                    <a:pt x="208" y="33"/>
                  </a:lnTo>
                  <a:lnTo>
                    <a:pt x="206" y="33"/>
                  </a:lnTo>
                  <a:lnTo>
                    <a:pt x="208" y="33"/>
                  </a:lnTo>
                  <a:lnTo>
                    <a:pt x="206" y="33"/>
                  </a:lnTo>
                  <a:lnTo>
                    <a:pt x="208" y="33"/>
                  </a:lnTo>
                  <a:lnTo>
                    <a:pt x="211" y="33"/>
                  </a:lnTo>
                  <a:lnTo>
                    <a:pt x="208" y="33"/>
                  </a:lnTo>
                  <a:lnTo>
                    <a:pt x="211" y="33"/>
                  </a:lnTo>
                  <a:lnTo>
                    <a:pt x="213" y="33"/>
                  </a:lnTo>
                  <a:lnTo>
                    <a:pt x="211" y="33"/>
                  </a:lnTo>
                  <a:lnTo>
                    <a:pt x="213" y="33"/>
                  </a:lnTo>
                  <a:lnTo>
                    <a:pt x="213" y="31"/>
                  </a:lnTo>
                  <a:lnTo>
                    <a:pt x="213" y="33"/>
                  </a:lnTo>
                  <a:lnTo>
                    <a:pt x="215" y="33"/>
                  </a:lnTo>
                  <a:lnTo>
                    <a:pt x="215" y="31"/>
                  </a:lnTo>
                  <a:lnTo>
                    <a:pt x="215" y="29"/>
                  </a:lnTo>
                  <a:lnTo>
                    <a:pt x="218" y="29"/>
                  </a:lnTo>
                  <a:lnTo>
                    <a:pt x="220" y="29"/>
                  </a:lnTo>
                  <a:lnTo>
                    <a:pt x="223" y="29"/>
                  </a:lnTo>
                  <a:close/>
                  <a:moveTo>
                    <a:pt x="7" y="10"/>
                  </a:moveTo>
                  <a:lnTo>
                    <a:pt x="9" y="10"/>
                  </a:lnTo>
                  <a:lnTo>
                    <a:pt x="9" y="12"/>
                  </a:lnTo>
                  <a:lnTo>
                    <a:pt x="11" y="12"/>
                  </a:lnTo>
                  <a:lnTo>
                    <a:pt x="11" y="10"/>
                  </a:lnTo>
                  <a:lnTo>
                    <a:pt x="11" y="12"/>
                  </a:lnTo>
                  <a:lnTo>
                    <a:pt x="9" y="12"/>
                  </a:lnTo>
                  <a:lnTo>
                    <a:pt x="9" y="14"/>
                  </a:lnTo>
                  <a:lnTo>
                    <a:pt x="7" y="14"/>
                  </a:lnTo>
                  <a:lnTo>
                    <a:pt x="7" y="17"/>
                  </a:lnTo>
                  <a:lnTo>
                    <a:pt x="9" y="17"/>
                  </a:lnTo>
                  <a:lnTo>
                    <a:pt x="7" y="17"/>
                  </a:lnTo>
                  <a:lnTo>
                    <a:pt x="9" y="17"/>
                  </a:lnTo>
                  <a:lnTo>
                    <a:pt x="7" y="17"/>
                  </a:lnTo>
                  <a:lnTo>
                    <a:pt x="9" y="17"/>
                  </a:lnTo>
                  <a:lnTo>
                    <a:pt x="9" y="19"/>
                  </a:lnTo>
                  <a:lnTo>
                    <a:pt x="9" y="17"/>
                  </a:lnTo>
                  <a:lnTo>
                    <a:pt x="9" y="19"/>
                  </a:lnTo>
                  <a:lnTo>
                    <a:pt x="9" y="22"/>
                  </a:lnTo>
                  <a:lnTo>
                    <a:pt x="9" y="24"/>
                  </a:lnTo>
                  <a:lnTo>
                    <a:pt x="11" y="24"/>
                  </a:lnTo>
                  <a:lnTo>
                    <a:pt x="11" y="26"/>
                  </a:lnTo>
                  <a:lnTo>
                    <a:pt x="14" y="26"/>
                  </a:lnTo>
                  <a:lnTo>
                    <a:pt x="16" y="26"/>
                  </a:lnTo>
                  <a:lnTo>
                    <a:pt x="16" y="29"/>
                  </a:lnTo>
                  <a:lnTo>
                    <a:pt x="16" y="31"/>
                  </a:lnTo>
                  <a:lnTo>
                    <a:pt x="16" y="29"/>
                  </a:lnTo>
                  <a:lnTo>
                    <a:pt x="16" y="31"/>
                  </a:lnTo>
                  <a:lnTo>
                    <a:pt x="16" y="29"/>
                  </a:lnTo>
                  <a:lnTo>
                    <a:pt x="14" y="29"/>
                  </a:lnTo>
                  <a:lnTo>
                    <a:pt x="11" y="29"/>
                  </a:lnTo>
                  <a:lnTo>
                    <a:pt x="11" y="26"/>
                  </a:lnTo>
                  <a:lnTo>
                    <a:pt x="9" y="26"/>
                  </a:lnTo>
                  <a:lnTo>
                    <a:pt x="9" y="24"/>
                  </a:lnTo>
                  <a:lnTo>
                    <a:pt x="7" y="24"/>
                  </a:lnTo>
                  <a:lnTo>
                    <a:pt x="7" y="22"/>
                  </a:lnTo>
                  <a:lnTo>
                    <a:pt x="7" y="19"/>
                  </a:lnTo>
                  <a:lnTo>
                    <a:pt x="4" y="19"/>
                  </a:lnTo>
                  <a:lnTo>
                    <a:pt x="4" y="17"/>
                  </a:lnTo>
                  <a:lnTo>
                    <a:pt x="2" y="17"/>
                  </a:lnTo>
                  <a:lnTo>
                    <a:pt x="2" y="14"/>
                  </a:lnTo>
                  <a:lnTo>
                    <a:pt x="0" y="12"/>
                  </a:lnTo>
                  <a:lnTo>
                    <a:pt x="2" y="12"/>
                  </a:lnTo>
                  <a:lnTo>
                    <a:pt x="2" y="10"/>
                  </a:lnTo>
                  <a:lnTo>
                    <a:pt x="4" y="10"/>
                  </a:lnTo>
                  <a:lnTo>
                    <a:pt x="7" y="10"/>
                  </a:lnTo>
                  <a:close/>
                  <a:moveTo>
                    <a:pt x="192" y="0"/>
                  </a:moveTo>
                  <a:lnTo>
                    <a:pt x="192" y="3"/>
                  </a:lnTo>
                  <a:lnTo>
                    <a:pt x="189" y="3"/>
                  </a:lnTo>
                  <a:lnTo>
                    <a:pt x="189" y="5"/>
                  </a:lnTo>
                  <a:lnTo>
                    <a:pt x="189" y="7"/>
                  </a:lnTo>
                  <a:lnTo>
                    <a:pt x="189" y="10"/>
                  </a:lnTo>
                  <a:lnTo>
                    <a:pt x="189" y="12"/>
                  </a:lnTo>
                  <a:lnTo>
                    <a:pt x="187" y="10"/>
                  </a:lnTo>
                  <a:lnTo>
                    <a:pt x="187" y="7"/>
                  </a:lnTo>
                  <a:lnTo>
                    <a:pt x="185" y="7"/>
                  </a:lnTo>
                  <a:lnTo>
                    <a:pt x="187" y="7"/>
                  </a:lnTo>
                  <a:lnTo>
                    <a:pt x="187" y="5"/>
                  </a:lnTo>
                  <a:lnTo>
                    <a:pt x="185" y="5"/>
                  </a:lnTo>
                  <a:lnTo>
                    <a:pt x="185" y="7"/>
                  </a:lnTo>
                  <a:lnTo>
                    <a:pt x="182" y="7"/>
                  </a:lnTo>
                  <a:lnTo>
                    <a:pt x="185" y="7"/>
                  </a:lnTo>
                  <a:lnTo>
                    <a:pt x="185" y="10"/>
                  </a:lnTo>
                  <a:lnTo>
                    <a:pt x="185" y="7"/>
                  </a:lnTo>
                  <a:lnTo>
                    <a:pt x="185" y="10"/>
                  </a:lnTo>
                  <a:lnTo>
                    <a:pt x="182" y="10"/>
                  </a:lnTo>
                  <a:lnTo>
                    <a:pt x="182" y="7"/>
                  </a:lnTo>
                  <a:lnTo>
                    <a:pt x="182" y="10"/>
                  </a:lnTo>
                  <a:lnTo>
                    <a:pt x="182" y="7"/>
                  </a:lnTo>
                  <a:lnTo>
                    <a:pt x="182" y="10"/>
                  </a:lnTo>
                  <a:lnTo>
                    <a:pt x="182" y="7"/>
                  </a:lnTo>
                  <a:lnTo>
                    <a:pt x="180" y="7"/>
                  </a:lnTo>
                  <a:lnTo>
                    <a:pt x="180" y="10"/>
                  </a:lnTo>
                  <a:lnTo>
                    <a:pt x="180" y="7"/>
                  </a:lnTo>
                  <a:lnTo>
                    <a:pt x="180" y="10"/>
                  </a:lnTo>
                  <a:lnTo>
                    <a:pt x="180" y="7"/>
                  </a:lnTo>
                  <a:lnTo>
                    <a:pt x="180" y="10"/>
                  </a:lnTo>
                  <a:lnTo>
                    <a:pt x="180" y="7"/>
                  </a:lnTo>
                  <a:lnTo>
                    <a:pt x="180" y="5"/>
                  </a:lnTo>
                  <a:lnTo>
                    <a:pt x="180" y="3"/>
                  </a:lnTo>
                  <a:lnTo>
                    <a:pt x="178" y="3"/>
                  </a:lnTo>
                  <a:lnTo>
                    <a:pt x="180" y="3"/>
                  </a:lnTo>
                  <a:lnTo>
                    <a:pt x="182" y="3"/>
                  </a:lnTo>
                  <a:lnTo>
                    <a:pt x="182" y="0"/>
                  </a:lnTo>
                  <a:lnTo>
                    <a:pt x="182" y="3"/>
                  </a:lnTo>
                  <a:lnTo>
                    <a:pt x="185" y="0"/>
                  </a:lnTo>
                  <a:lnTo>
                    <a:pt x="185" y="3"/>
                  </a:lnTo>
                  <a:lnTo>
                    <a:pt x="185" y="0"/>
                  </a:lnTo>
                  <a:lnTo>
                    <a:pt x="185" y="3"/>
                  </a:lnTo>
                  <a:lnTo>
                    <a:pt x="185" y="0"/>
                  </a:lnTo>
                  <a:lnTo>
                    <a:pt x="185" y="3"/>
                  </a:lnTo>
                  <a:lnTo>
                    <a:pt x="187" y="3"/>
                  </a:lnTo>
                  <a:lnTo>
                    <a:pt x="187" y="5"/>
                  </a:lnTo>
                  <a:lnTo>
                    <a:pt x="187" y="3"/>
                  </a:lnTo>
                  <a:lnTo>
                    <a:pt x="189" y="3"/>
                  </a:lnTo>
                  <a:lnTo>
                    <a:pt x="187" y="3"/>
                  </a:lnTo>
                  <a:lnTo>
                    <a:pt x="189" y="3"/>
                  </a:lnTo>
                  <a:lnTo>
                    <a:pt x="187" y="3"/>
                  </a:lnTo>
                  <a:lnTo>
                    <a:pt x="189" y="3"/>
                  </a:lnTo>
                  <a:lnTo>
                    <a:pt x="189" y="0"/>
                  </a:lnTo>
                  <a:lnTo>
                    <a:pt x="19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7" name="Freeform 52276"/>
            <p:cNvSpPr>
              <a:spLocks noEditPoints="1"/>
            </p:cNvSpPr>
            <p:nvPr/>
          </p:nvSpPr>
          <p:spPr bwMode="auto">
            <a:xfrm>
              <a:off x="3076573" y="5316556"/>
              <a:ext cx="346075" cy="381001"/>
            </a:xfrm>
            <a:custGeom>
              <a:avLst/>
              <a:gdLst>
                <a:gd name="T0" fmla="*/ 69 w 218"/>
                <a:gd name="T1" fmla="*/ 159 h 240"/>
                <a:gd name="T2" fmla="*/ 97 w 218"/>
                <a:gd name="T3" fmla="*/ 173 h 240"/>
                <a:gd name="T4" fmla="*/ 109 w 218"/>
                <a:gd name="T5" fmla="*/ 187 h 240"/>
                <a:gd name="T6" fmla="*/ 104 w 218"/>
                <a:gd name="T7" fmla="*/ 197 h 240"/>
                <a:gd name="T8" fmla="*/ 102 w 218"/>
                <a:gd name="T9" fmla="*/ 197 h 240"/>
                <a:gd name="T10" fmla="*/ 90 w 218"/>
                <a:gd name="T11" fmla="*/ 197 h 240"/>
                <a:gd name="T12" fmla="*/ 102 w 218"/>
                <a:gd name="T13" fmla="*/ 223 h 240"/>
                <a:gd name="T14" fmla="*/ 99 w 218"/>
                <a:gd name="T15" fmla="*/ 237 h 240"/>
                <a:gd name="T16" fmla="*/ 83 w 218"/>
                <a:gd name="T17" fmla="*/ 225 h 240"/>
                <a:gd name="T18" fmla="*/ 76 w 218"/>
                <a:gd name="T19" fmla="*/ 233 h 240"/>
                <a:gd name="T20" fmla="*/ 71 w 218"/>
                <a:gd name="T21" fmla="*/ 218 h 240"/>
                <a:gd name="T22" fmla="*/ 59 w 218"/>
                <a:gd name="T23" fmla="*/ 225 h 240"/>
                <a:gd name="T24" fmla="*/ 54 w 218"/>
                <a:gd name="T25" fmla="*/ 202 h 240"/>
                <a:gd name="T26" fmla="*/ 35 w 218"/>
                <a:gd name="T27" fmla="*/ 173 h 240"/>
                <a:gd name="T28" fmla="*/ 121 w 218"/>
                <a:gd name="T29" fmla="*/ 173 h 240"/>
                <a:gd name="T30" fmla="*/ 111 w 218"/>
                <a:gd name="T31" fmla="*/ 168 h 240"/>
                <a:gd name="T32" fmla="*/ 104 w 218"/>
                <a:gd name="T33" fmla="*/ 166 h 240"/>
                <a:gd name="T34" fmla="*/ 90 w 218"/>
                <a:gd name="T35" fmla="*/ 159 h 240"/>
                <a:gd name="T36" fmla="*/ 78 w 218"/>
                <a:gd name="T37" fmla="*/ 149 h 240"/>
                <a:gd name="T38" fmla="*/ 52 w 218"/>
                <a:gd name="T39" fmla="*/ 154 h 240"/>
                <a:gd name="T40" fmla="*/ 43 w 218"/>
                <a:gd name="T41" fmla="*/ 152 h 240"/>
                <a:gd name="T42" fmla="*/ 35 w 218"/>
                <a:gd name="T43" fmla="*/ 149 h 240"/>
                <a:gd name="T44" fmla="*/ 31 w 218"/>
                <a:gd name="T45" fmla="*/ 140 h 240"/>
                <a:gd name="T46" fmla="*/ 21 w 218"/>
                <a:gd name="T47" fmla="*/ 135 h 240"/>
                <a:gd name="T48" fmla="*/ 16 w 218"/>
                <a:gd name="T49" fmla="*/ 142 h 240"/>
                <a:gd name="T50" fmla="*/ 26 w 218"/>
                <a:gd name="T51" fmla="*/ 128 h 240"/>
                <a:gd name="T52" fmla="*/ 33 w 218"/>
                <a:gd name="T53" fmla="*/ 123 h 240"/>
                <a:gd name="T54" fmla="*/ 16 w 218"/>
                <a:gd name="T55" fmla="*/ 116 h 240"/>
                <a:gd name="T56" fmla="*/ 5 w 218"/>
                <a:gd name="T57" fmla="*/ 100 h 240"/>
                <a:gd name="T58" fmla="*/ 5 w 218"/>
                <a:gd name="T59" fmla="*/ 95 h 240"/>
                <a:gd name="T60" fmla="*/ 12 w 218"/>
                <a:gd name="T61" fmla="*/ 76 h 240"/>
                <a:gd name="T62" fmla="*/ 33 w 218"/>
                <a:gd name="T63" fmla="*/ 54 h 240"/>
                <a:gd name="T64" fmla="*/ 54 w 218"/>
                <a:gd name="T65" fmla="*/ 38 h 240"/>
                <a:gd name="T66" fmla="*/ 78 w 218"/>
                <a:gd name="T67" fmla="*/ 28 h 240"/>
                <a:gd name="T68" fmla="*/ 114 w 218"/>
                <a:gd name="T69" fmla="*/ 16 h 240"/>
                <a:gd name="T70" fmla="*/ 140 w 218"/>
                <a:gd name="T71" fmla="*/ 9 h 240"/>
                <a:gd name="T72" fmla="*/ 168 w 218"/>
                <a:gd name="T73" fmla="*/ 21 h 240"/>
                <a:gd name="T74" fmla="*/ 194 w 218"/>
                <a:gd name="T75" fmla="*/ 19 h 240"/>
                <a:gd name="T76" fmla="*/ 209 w 218"/>
                <a:gd name="T77" fmla="*/ 2 h 240"/>
                <a:gd name="T78" fmla="*/ 206 w 218"/>
                <a:gd name="T79" fmla="*/ 23 h 240"/>
                <a:gd name="T80" fmla="*/ 199 w 218"/>
                <a:gd name="T81" fmla="*/ 45 h 240"/>
                <a:gd name="T82" fmla="*/ 173 w 218"/>
                <a:gd name="T83" fmla="*/ 35 h 240"/>
                <a:gd name="T84" fmla="*/ 161 w 218"/>
                <a:gd name="T85" fmla="*/ 38 h 240"/>
                <a:gd name="T86" fmla="*/ 142 w 218"/>
                <a:gd name="T87" fmla="*/ 38 h 240"/>
                <a:gd name="T88" fmla="*/ 121 w 218"/>
                <a:gd name="T89" fmla="*/ 45 h 240"/>
                <a:gd name="T90" fmla="*/ 133 w 218"/>
                <a:gd name="T91" fmla="*/ 61 h 240"/>
                <a:gd name="T92" fmla="*/ 133 w 218"/>
                <a:gd name="T93" fmla="*/ 66 h 240"/>
                <a:gd name="T94" fmla="*/ 130 w 218"/>
                <a:gd name="T95" fmla="*/ 73 h 240"/>
                <a:gd name="T96" fmla="*/ 118 w 218"/>
                <a:gd name="T97" fmla="*/ 69 h 240"/>
                <a:gd name="T98" fmla="*/ 123 w 218"/>
                <a:gd name="T99" fmla="*/ 83 h 240"/>
                <a:gd name="T100" fmla="*/ 97 w 218"/>
                <a:gd name="T101" fmla="*/ 64 h 240"/>
                <a:gd name="T102" fmla="*/ 88 w 218"/>
                <a:gd name="T103" fmla="*/ 54 h 240"/>
                <a:gd name="T104" fmla="*/ 85 w 218"/>
                <a:gd name="T105" fmla="*/ 66 h 240"/>
                <a:gd name="T106" fmla="*/ 95 w 218"/>
                <a:gd name="T107" fmla="*/ 100 h 240"/>
                <a:gd name="T108" fmla="*/ 104 w 218"/>
                <a:gd name="T109" fmla="*/ 119 h 240"/>
                <a:gd name="T110" fmla="*/ 99 w 218"/>
                <a:gd name="T111" fmla="*/ 111 h 240"/>
                <a:gd name="T112" fmla="*/ 95 w 218"/>
                <a:gd name="T113" fmla="*/ 128 h 240"/>
                <a:gd name="T114" fmla="*/ 85 w 218"/>
                <a:gd name="T115" fmla="*/ 130 h 240"/>
                <a:gd name="T116" fmla="*/ 107 w 218"/>
                <a:gd name="T117" fmla="*/ 140 h 240"/>
                <a:gd name="T118" fmla="*/ 126 w 218"/>
                <a:gd name="T119" fmla="*/ 154 h 240"/>
                <a:gd name="T120" fmla="*/ 133 w 218"/>
                <a:gd name="T121" fmla="*/ 1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240">
                  <a:moveTo>
                    <a:pt x="43" y="161"/>
                  </a:moveTo>
                  <a:lnTo>
                    <a:pt x="45" y="161"/>
                  </a:lnTo>
                  <a:lnTo>
                    <a:pt x="43" y="159"/>
                  </a:lnTo>
                  <a:lnTo>
                    <a:pt x="45" y="159"/>
                  </a:lnTo>
                  <a:lnTo>
                    <a:pt x="45" y="161"/>
                  </a:lnTo>
                  <a:lnTo>
                    <a:pt x="47" y="161"/>
                  </a:lnTo>
                  <a:lnTo>
                    <a:pt x="50" y="161"/>
                  </a:lnTo>
                  <a:lnTo>
                    <a:pt x="52" y="164"/>
                  </a:lnTo>
                  <a:lnTo>
                    <a:pt x="52" y="161"/>
                  </a:lnTo>
                  <a:lnTo>
                    <a:pt x="54" y="161"/>
                  </a:lnTo>
                  <a:lnTo>
                    <a:pt x="54" y="159"/>
                  </a:lnTo>
                  <a:lnTo>
                    <a:pt x="57" y="159"/>
                  </a:lnTo>
                  <a:lnTo>
                    <a:pt x="57" y="157"/>
                  </a:lnTo>
                  <a:lnTo>
                    <a:pt x="57" y="154"/>
                  </a:lnTo>
                  <a:lnTo>
                    <a:pt x="59" y="154"/>
                  </a:lnTo>
                  <a:lnTo>
                    <a:pt x="62" y="154"/>
                  </a:lnTo>
                  <a:lnTo>
                    <a:pt x="64" y="154"/>
                  </a:lnTo>
                  <a:lnTo>
                    <a:pt x="66" y="157"/>
                  </a:lnTo>
                  <a:lnTo>
                    <a:pt x="69" y="157"/>
                  </a:lnTo>
                  <a:lnTo>
                    <a:pt x="69" y="159"/>
                  </a:lnTo>
                  <a:lnTo>
                    <a:pt x="71" y="159"/>
                  </a:lnTo>
                  <a:lnTo>
                    <a:pt x="71" y="161"/>
                  </a:lnTo>
                  <a:lnTo>
                    <a:pt x="73" y="161"/>
                  </a:lnTo>
                  <a:lnTo>
                    <a:pt x="76" y="161"/>
                  </a:lnTo>
                  <a:lnTo>
                    <a:pt x="76" y="164"/>
                  </a:lnTo>
                  <a:lnTo>
                    <a:pt x="78" y="164"/>
                  </a:lnTo>
                  <a:lnTo>
                    <a:pt x="80" y="164"/>
                  </a:lnTo>
                  <a:lnTo>
                    <a:pt x="83" y="164"/>
                  </a:lnTo>
                  <a:lnTo>
                    <a:pt x="83" y="166"/>
                  </a:lnTo>
                  <a:lnTo>
                    <a:pt x="85" y="166"/>
                  </a:lnTo>
                  <a:lnTo>
                    <a:pt x="88" y="166"/>
                  </a:lnTo>
                  <a:lnTo>
                    <a:pt x="88" y="168"/>
                  </a:lnTo>
                  <a:lnTo>
                    <a:pt x="90" y="168"/>
                  </a:lnTo>
                  <a:lnTo>
                    <a:pt x="90" y="171"/>
                  </a:lnTo>
                  <a:lnTo>
                    <a:pt x="92" y="171"/>
                  </a:lnTo>
                  <a:lnTo>
                    <a:pt x="95" y="171"/>
                  </a:lnTo>
                  <a:lnTo>
                    <a:pt x="95" y="173"/>
                  </a:lnTo>
                  <a:lnTo>
                    <a:pt x="95" y="171"/>
                  </a:lnTo>
                  <a:lnTo>
                    <a:pt x="97" y="171"/>
                  </a:lnTo>
                  <a:lnTo>
                    <a:pt x="97" y="173"/>
                  </a:lnTo>
                  <a:lnTo>
                    <a:pt x="97" y="176"/>
                  </a:lnTo>
                  <a:lnTo>
                    <a:pt x="99" y="176"/>
                  </a:lnTo>
                  <a:lnTo>
                    <a:pt x="102" y="176"/>
                  </a:lnTo>
                  <a:lnTo>
                    <a:pt x="102" y="178"/>
                  </a:lnTo>
                  <a:lnTo>
                    <a:pt x="104" y="178"/>
                  </a:lnTo>
                  <a:lnTo>
                    <a:pt x="102" y="180"/>
                  </a:lnTo>
                  <a:lnTo>
                    <a:pt x="102" y="183"/>
                  </a:lnTo>
                  <a:lnTo>
                    <a:pt x="104" y="183"/>
                  </a:lnTo>
                  <a:lnTo>
                    <a:pt x="102" y="183"/>
                  </a:lnTo>
                  <a:lnTo>
                    <a:pt x="104" y="183"/>
                  </a:lnTo>
                  <a:lnTo>
                    <a:pt x="102" y="183"/>
                  </a:lnTo>
                  <a:lnTo>
                    <a:pt x="102" y="185"/>
                  </a:lnTo>
                  <a:lnTo>
                    <a:pt x="104" y="185"/>
                  </a:lnTo>
                  <a:lnTo>
                    <a:pt x="102" y="185"/>
                  </a:lnTo>
                  <a:lnTo>
                    <a:pt x="104" y="185"/>
                  </a:lnTo>
                  <a:lnTo>
                    <a:pt x="104" y="187"/>
                  </a:lnTo>
                  <a:lnTo>
                    <a:pt x="107" y="187"/>
                  </a:lnTo>
                  <a:lnTo>
                    <a:pt x="107" y="190"/>
                  </a:lnTo>
                  <a:lnTo>
                    <a:pt x="109" y="190"/>
                  </a:lnTo>
                  <a:lnTo>
                    <a:pt x="109" y="187"/>
                  </a:lnTo>
                  <a:lnTo>
                    <a:pt x="107" y="187"/>
                  </a:lnTo>
                  <a:lnTo>
                    <a:pt x="107" y="185"/>
                  </a:lnTo>
                  <a:lnTo>
                    <a:pt x="109" y="185"/>
                  </a:lnTo>
                  <a:lnTo>
                    <a:pt x="111" y="185"/>
                  </a:lnTo>
                  <a:lnTo>
                    <a:pt x="111" y="187"/>
                  </a:lnTo>
                  <a:lnTo>
                    <a:pt x="109" y="187"/>
                  </a:lnTo>
                  <a:lnTo>
                    <a:pt x="109" y="190"/>
                  </a:lnTo>
                  <a:lnTo>
                    <a:pt x="109" y="187"/>
                  </a:lnTo>
                  <a:lnTo>
                    <a:pt x="109" y="190"/>
                  </a:lnTo>
                  <a:lnTo>
                    <a:pt x="111" y="190"/>
                  </a:lnTo>
                  <a:lnTo>
                    <a:pt x="111" y="192"/>
                  </a:lnTo>
                  <a:lnTo>
                    <a:pt x="114" y="192"/>
                  </a:lnTo>
                  <a:lnTo>
                    <a:pt x="114" y="195"/>
                  </a:lnTo>
                  <a:lnTo>
                    <a:pt x="111" y="195"/>
                  </a:lnTo>
                  <a:lnTo>
                    <a:pt x="109" y="195"/>
                  </a:lnTo>
                  <a:lnTo>
                    <a:pt x="107" y="195"/>
                  </a:lnTo>
                  <a:lnTo>
                    <a:pt x="107" y="197"/>
                  </a:lnTo>
                  <a:lnTo>
                    <a:pt x="107" y="195"/>
                  </a:lnTo>
                  <a:lnTo>
                    <a:pt x="107" y="197"/>
                  </a:lnTo>
                  <a:lnTo>
                    <a:pt x="104" y="197"/>
                  </a:lnTo>
                  <a:lnTo>
                    <a:pt x="107" y="197"/>
                  </a:lnTo>
                  <a:lnTo>
                    <a:pt x="107" y="199"/>
                  </a:lnTo>
                  <a:lnTo>
                    <a:pt x="107" y="197"/>
                  </a:lnTo>
                  <a:lnTo>
                    <a:pt x="104" y="199"/>
                  </a:lnTo>
                  <a:lnTo>
                    <a:pt x="104" y="197"/>
                  </a:lnTo>
                  <a:lnTo>
                    <a:pt x="104" y="199"/>
                  </a:lnTo>
                  <a:lnTo>
                    <a:pt x="104" y="197"/>
                  </a:lnTo>
                  <a:lnTo>
                    <a:pt x="104" y="199"/>
                  </a:lnTo>
                  <a:lnTo>
                    <a:pt x="104" y="197"/>
                  </a:lnTo>
                  <a:lnTo>
                    <a:pt x="104" y="199"/>
                  </a:lnTo>
                  <a:lnTo>
                    <a:pt x="104" y="202"/>
                  </a:lnTo>
                  <a:lnTo>
                    <a:pt x="104" y="199"/>
                  </a:lnTo>
                  <a:lnTo>
                    <a:pt x="104" y="202"/>
                  </a:lnTo>
                  <a:lnTo>
                    <a:pt x="102" y="202"/>
                  </a:lnTo>
                  <a:lnTo>
                    <a:pt x="102" y="199"/>
                  </a:lnTo>
                  <a:lnTo>
                    <a:pt x="102" y="197"/>
                  </a:lnTo>
                  <a:lnTo>
                    <a:pt x="99" y="197"/>
                  </a:lnTo>
                  <a:lnTo>
                    <a:pt x="102" y="197"/>
                  </a:lnTo>
                  <a:lnTo>
                    <a:pt x="102" y="195"/>
                  </a:lnTo>
                  <a:lnTo>
                    <a:pt x="102" y="197"/>
                  </a:lnTo>
                  <a:lnTo>
                    <a:pt x="102" y="195"/>
                  </a:lnTo>
                  <a:lnTo>
                    <a:pt x="102" y="192"/>
                  </a:lnTo>
                  <a:lnTo>
                    <a:pt x="99" y="192"/>
                  </a:lnTo>
                  <a:lnTo>
                    <a:pt x="99" y="195"/>
                  </a:lnTo>
                  <a:lnTo>
                    <a:pt x="99" y="192"/>
                  </a:lnTo>
                  <a:lnTo>
                    <a:pt x="99" y="195"/>
                  </a:lnTo>
                  <a:lnTo>
                    <a:pt x="99" y="192"/>
                  </a:lnTo>
                  <a:lnTo>
                    <a:pt x="97" y="192"/>
                  </a:lnTo>
                  <a:lnTo>
                    <a:pt x="97" y="190"/>
                  </a:lnTo>
                  <a:lnTo>
                    <a:pt x="95" y="190"/>
                  </a:lnTo>
                  <a:lnTo>
                    <a:pt x="92" y="190"/>
                  </a:lnTo>
                  <a:lnTo>
                    <a:pt x="90" y="187"/>
                  </a:lnTo>
                  <a:lnTo>
                    <a:pt x="88" y="187"/>
                  </a:lnTo>
                  <a:lnTo>
                    <a:pt x="88" y="190"/>
                  </a:lnTo>
                  <a:lnTo>
                    <a:pt x="90" y="190"/>
                  </a:lnTo>
                  <a:lnTo>
                    <a:pt x="88" y="190"/>
                  </a:lnTo>
                  <a:lnTo>
                    <a:pt x="88" y="192"/>
                  </a:lnTo>
                  <a:lnTo>
                    <a:pt x="90" y="192"/>
                  </a:lnTo>
                  <a:lnTo>
                    <a:pt x="90" y="195"/>
                  </a:lnTo>
                  <a:lnTo>
                    <a:pt x="90" y="197"/>
                  </a:lnTo>
                  <a:lnTo>
                    <a:pt x="90" y="199"/>
                  </a:lnTo>
                  <a:lnTo>
                    <a:pt x="92" y="199"/>
                  </a:lnTo>
                  <a:lnTo>
                    <a:pt x="90" y="199"/>
                  </a:lnTo>
                  <a:lnTo>
                    <a:pt x="92" y="199"/>
                  </a:lnTo>
                  <a:lnTo>
                    <a:pt x="92" y="202"/>
                  </a:lnTo>
                  <a:lnTo>
                    <a:pt x="95" y="204"/>
                  </a:lnTo>
                  <a:lnTo>
                    <a:pt x="95" y="206"/>
                  </a:lnTo>
                  <a:lnTo>
                    <a:pt x="95" y="209"/>
                  </a:lnTo>
                  <a:lnTo>
                    <a:pt x="97" y="209"/>
                  </a:lnTo>
                  <a:lnTo>
                    <a:pt x="95" y="209"/>
                  </a:lnTo>
                  <a:lnTo>
                    <a:pt x="97" y="209"/>
                  </a:lnTo>
                  <a:lnTo>
                    <a:pt x="97" y="211"/>
                  </a:lnTo>
                  <a:lnTo>
                    <a:pt x="97" y="214"/>
                  </a:lnTo>
                  <a:lnTo>
                    <a:pt x="97" y="216"/>
                  </a:lnTo>
                  <a:lnTo>
                    <a:pt x="97" y="214"/>
                  </a:lnTo>
                  <a:lnTo>
                    <a:pt x="97" y="216"/>
                  </a:lnTo>
                  <a:lnTo>
                    <a:pt x="99" y="218"/>
                  </a:lnTo>
                  <a:lnTo>
                    <a:pt x="99" y="221"/>
                  </a:lnTo>
                  <a:lnTo>
                    <a:pt x="99" y="223"/>
                  </a:lnTo>
                  <a:lnTo>
                    <a:pt x="102" y="223"/>
                  </a:lnTo>
                  <a:lnTo>
                    <a:pt x="99" y="223"/>
                  </a:lnTo>
                  <a:lnTo>
                    <a:pt x="99" y="225"/>
                  </a:lnTo>
                  <a:lnTo>
                    <a:pt x="97" y="225"/>
                  </a:lnTo>
                  <a:lnTo>
                    <a:pt x="99" y="225"/>
                  </a:lnTo>
                  <a:lnTo>
                    <a:pt x="99" y="228"/>
                  </a:lnTo>
                  <a:lnTo>
                    <a:pt x="97" y="228"/>
                  </a:lnTo>
                  <a:lnTo>
                    <a:pt x="99" y="228"/>
                  </a:lnTo>
                  <a:lnTo>
                    <a:pt x="97" y="228"/>
                  </a:lnTo>
                  <a:lnTo>
                    <a:pt x="99" y="230"/>
                  </a:lnTo>
                  <a:lnTo>
                    <a:pt x="99" y="233"/>
                  </a:lnTo>
                  <a:lnTo>
                    <a:pt x="102" y="233"/>
                  </a:lnTo>
                  <a:lnTo>
                    <a:pt x="102" y="235"/>
                  </a:lnTo>
                  <a:lnTo>
                    <a:pt x="102" y="237"/>
                  </a:lnTo>
                  <a:lnTo>
                    <a:pt x="102" y="235"/>
                  </a:lnTo>
                  <a:lnTo>
                    <a:pt x="102" y="237"/>
                  </a:lnTo>
                  <a:lnTo>
                    <a:pt x="104" y="237"/>
                  </a:lnTo>
                  <a:lnTo>
                    <a:pt x="102" y="237"/>
                  </a:lnTo>
                  <a:lnTo>
                    <a:pt x="102" y="240"/>
                  </a:lnTo>
                  <a:lnTo>
                    <a:pt x="102" y="237"/>
                  </a:lnTo>
                  <a:lnTo>
                    <a:pt x="99" y="237"/>
                  </a:lnTo>
                  <a:lnTo>
                    <a:pt x="99" y="235"/>
                  </a:lnTo>
                  <a:lnTo>
                    <a:pt x="97" y="235"/>
                  </a:lnTo>
                  <a:lnTo>
                    <a:pt x="97" y="233"/>
                  </a:lnTo>
                  <a:lnTo>
                    <a:pt x="95" y="233"/>
                  </a:lnTo>
                  <a:lnTo>
                    <a:pt x="95" y="230"/>
                  </a:lnTo>
                  <a:lnTo>
                    <a:pt x="92" y="230"/>
                  </a:lnTo>
                  <a:lnTo>
                    <a:pt x="95" y="230"/>
                  </a:lnTo>
                  <a:lnTo>
                    <a:pt x="92" y="230"/>
                  </a:lnTo>
                  <a:lnTo>
                    <a:pt x="92" y="228"/>
                  </a:lnTo>
                  <a:lnTo>
                    <a:pt x="90" y="228"/>
                  </a:lnTo>
                  <a:lnTo>
                    <a:pt x="92" y="228"/>
                  </a:lnTo>
                  <a:lnTo>
                    <a:pt x="90" y="228"/>
                  </a:lnTo>
                  <a:lnTo>
                    <a:pt x="92" y="228"/>
                  </a:lnTo>
                  <a:lnTo>
                    <a:pt x="92" y="225"/>
                  </a:lnTo>
                  <a:lnTo>
                    <a:pt x="90" y="225"/>
                  </a:lnTo>
                  <a:lnTo>
                    <a:pt x="90" y="223"/>
                  </a:lnTo>
                  <a:lnTo>
                    <a:pt x="88" y="223"/>
                  </a:lnTo>
                  <a:lnTo>
                    <a:pt x="85" y="223"/>
                  </a:lnTo>
                  <a:lnTo>
                    <a:pt x="83" y="223"/>
                  </a:lnTo>
                  <a:lnTo>
                    <a:pt x="83" y="225"/>
                  </a:lnTo>
                  <a:lnTo>
                    <a:pt x="80" y="225"/>
                  </a:lnTo>
                  <a:lnTo>
                    <a:pt x="80" y="228"/>
                  </a:lnTo>
                  <a:lnTo>
                    <a:pt x="83" y="228"/>
                  </a:lnTo>
                  <a:lnTo>
                    <a:pt x="80" y="228"/>
                  </a:lnTo>
                  <a:lnTo>
                    <a:pt x="83" y="228"/>
                  </a:lnTo>
                  <a:lnTo>
                    <a:pt x="83" y="230"/>
                  </a:lnTo>
                  <a:lnTo>
                    <a:pt x="83" y="228"/>
                  </a:lnTo>
                  <a:lnTo>
                    <a:pt x="80" y="228"/>
                  </a:lnTo>
                  <a:lnTo>
                    <a:pt x="80" y="230"/>
                  </a:lnTo>
                  <a:lnTo>
                    <a:pt x="83" y="230"/>
                  </a:lnTo>
                  <a:lnTo>
                    <a:pt x="80" y="230"/>
                  </a:lnTo>
                  <a:lnTo>
                    <a:pt x="80" y="233"/>
                  </a:lnTo>
                  <a:lnTo>
                    <a:pt x="80" y="235"/>
                  </a:lnTo>
                  <a:lnTo>
                    <a:pt x="80" y="237"/>
                  </a:lnTo>
                  <a:lnTo>
                    <a:pt x="80" y="240"/>
                  </a:lnTo>
                  <a:lnTo>
                    <a:pt x="80" y="237"/>
                  </a:lnTo>
                  <a:lnTo>
                    <a:pt x="78" y="237"/>
                  </a:lnTo>
                  <a:lnTo>
                    <a:pt x="76" y="237"/>
                  </a:lnTo>
                  <a:lnTo>
                    <a:pt x="76" y="235"/>
                  </a:lnTo>
                  <a:lnTo>
                    <a:pt x="76" y="233"/>
                  </a:lnTo>
                  <a:lnTo>
                    <a:pt x="76" y="235"/>
                  </a:lnTo>
                  <a:lnTo>
                    <a:pt x="78" y="235"/>
                  </a:lnTo>
                  <a:lnTo>
                    <a:pt x="78" y="233"/>
                  </a:lnTo>
                  <a:lnTo>
                    <a:pt x="76" y="233"/>
                  </a:lnTo>
                  <a:lnTo>
                    <a:pt x="78" y="233"/>
                  </a:lnTo>
                  <a:lnTo>
                    <a:pt x="78" y="230"/>
                  </a:lnTo>
                  <a:lnTo>
                    <a:pt x="76" y="230"/>
                  </a:lnTo>
                  <a:lnTo>
                    <a:pt x="78" y="230"/>
                  </a:lnTo>
                  <a:lnTo>
                    <a:pt x="76" y="230"/>
                  </a:lnTo>
                  <a:lnTo>
                    <a:pt x="76" y="228"/>
                  </a:lnTo>
                  <a:lnTo>
                    <a:pt x="78" y="228"/>
                  </a:lnTo>
                  <a:lnTo>
                    <a:pt x="76" y="228"/>
                  </a:lnTo>
                  <a:lnTo>
                    <a:pt x="76" y="225"/>
                  </a:lnTo>
                  <a:lnTo>
                    <a:pt x="76" y="223"/>
                  </a:lnTo>
                  <a:lnTo>
                    <a:pt x="73" y="223"/>
                  </a:lnTo>
                  <a:lnTo>
                    <a:pt x="76" y="223"/>
                  </a:lnTo>
                  <a:lnTo>
                    <a:pt x="73" y="223"/>
                  </a:lnTo>
                  <a:lnTo>
                    <a:pt x="73" y="221"/>
                  </a:lnTo>
                  <a:lnTo>
                    <a:pt x="73" y="218"/>
                  </a:lnTo>
                  <a:lnTo>
                    <a:pt x="71" y="218"/>
                  </a:lnTo>
                  <a:lnTo>
                    <a:pt x="69" y="218"/>
                  </a:lnTo>
                  <a:lnTo>
                    <a:pt x="69" y="216"/>
                  </a:lnTo>
                  <a:lnTo>
                    <a:pt x="69" y="214"/>
                  </a:lnTo>
                  <a:lnTo>
                    <a:pt x="69" y="211"/>
                  </a:lnTo>
                  <a:lnTo>
                    <a:pt x="69" y="214"/>
                  </a:lnTo>
                  <a:lnTo>
                    <a:pt x="69" y="211"/>
                  </a:lnTo>
                  <a:lnTo>
                    <a:pt x="69" y="214"/>
                  </a:lnTo>
                  <a:lnTo>
                    <a:pt x="69" y="211"/>
                  </a:lnTo>
                  <a:lnTo>
                    <a:pt x="66" y="211"/>
                  </a:lnTo>
                  <a:lnTo>
                    <a:pt x="66" y="214"/>
                  </a:lnTo>
                  <a:lnTo>
                    <a:pt x="64" y="214"/>
                  </a:lnTo>
                  <a:lnTo>
                    <a:pt x="62" y="214"/>
                  </a:lnTo>
                  <a:lnTo>
                    <a:pt x="62" y="216"/>
                  </a:lnTo>
                  <a:lnTo>
                    <a:pt x="62" y="218"/>
                  </a:lnTo>
                  <a:lnTo>
                    <a:pt x="62" y="221"/>
                  </a:lnTo>
                  <a:lnTo>
                    <a:pt x="62" y="223"/>
                  </a:lnTo>
                  <a:lnTo>
                    <a:pt x="64" y="223"/>
                  </a:lnTo>
                  <a:lnTo>
                    <a:pt x="62" y="223"/>
                  </a:lnTo>
                  <a:lnTo>
                    <a:pt x="62" y="225"/>
                  </a:lnTo>
                  <a:lnTo>
                    <a:pt x="59" y="225"/>
                  </a:lnTo>
                  <a:lnTo>
                    <a:pt x="59" y="223"/>
                  </a:lnTo>
                  <a:lnTo>
                    <a:pt x="57" y="223"/>
                  </a:lnTo>
                  <a:lnTo>
                    <a:pt x="54" y="223"/>
                  </a:lnTo>
                  <a:lnTo>
                    <a:pt x="54" y="221"/>
                  </a:lnTo>
                  <a:lnTo>
                    <a:pt x="54" y="218"/>
                  </a:lnTo>
                  <a:lnTo>
                    <a:pt x="54" y="216"/>
                  </a:lnTo>
                  <a:lnTo>
                    <a:pt x="54" y="218"/>
                  </a:lnTo>
                  <a:lnTo>
                    <a:pt x="54" y="216"/>
                  </a:lnTo>
                  <a:lnTo>
                    <a:pt x="52" y="216"/>
                  </a:lnTo>
                  <a:lnTo>
                    <a:pt x="54" y="216"/>
                  </a:lnTo>
                  <a:lnTo>
                    <a:pt x="52" y="216"/>
                  </a:lnTo>
                  <a:lnTo>
                    <a:pt x="52" y="214"/>
                  </a:lnTo>
                  <a:lnTo>
                    <a:pt x="52" y="211"/>
                  </a:lnTo>
                  <a:lnTo>
                    <a:pt x="50" y="211"/>
                  </a:lnTo>
                  <a:lnTo>
                    <a:pt x="50" y="209"/>
                  </a:lnTo>
                  <a:lnTo>
                    <a:pt x="50" y="206"/>
                  </a:lnTo>
                  <a:lnTo>
                    <a:pt x="50" y="204"/>
                  </a:lnTo>
                  <a:lnTo>
                    <a:pt x="52" y="204"/>
                  </a:lnTo>
                  <a:lnTo>
                    <a:pt x="52" y="202"/>
                  </a:lnTo>
                  <a:lnTo>
                    <a:pt x="54" y="202"/>
                  </a:lnTo>
                  <a:lnTo>
                    <a:pt x="54" y="199"/>
                  </a:lnTo>
                  <a:lnTo>
                    <a:pt x="54" y="202"/>
                  </a:lnTo>
                  <a:lnTo>
                    <a:pt x="54" y="199"/>
                  </a:lnTo>
                  <a:lnTo>
                    <a:pt x="54" y="197"/>
                  </a:lnTo>
                  <a:lnTo>
                    <a:pt x="54" y="195"/>
                  </a:lnTo>
                  <a:lnTo>
                    <a:pt x="52" y="195"/>
                  </a:lnTo>
                  <a:lnTo>
                    <a:pt x="52" y="192"/>
                  </a:lnTo>
                  <a:lnTo>
                    <a:pt x="50" y="190"/>
                  </a:lnTo>
                  <a:lnTo>
                    <a:pt x="50" y="187"/>
                  </a:lnTo>
                  <a:lnTo>
                    <a:pt x="47" y="187"/>
                  </a:lnTo>
                  <a:lnTo>
                    <a:pt x="47" y="185"/>
                  </a:lnTo>
                  <a:lnTo>
                    <a:pt x="45" y="185"/>
                  </a:lnTo>
                  <a:lnTo>
                    <a:pt x="43" y="185"/>
                  </a:lnTo>
                  <a:lnTo>
                    <a:pt x="43" y="183"/>
                  </a:lnTo>
                  <a:lnTo>
                    <a:pt x="43" y="180"/>
                  </a:lnTo>
                  <a:lnTo>
                    <a:pt x="40" y="178"/>
                  </a:lnTo>
                  <a:lnTo>
                    <a:pt x="38" y="178"/>
                  </a:lnTo>
                  <a:lnTo>
                    <a:pt x="38" y="176"/>
                  </a:lnTo>
                  <a:lnTo>
                    <a:pt x="35" y="176"/>
                  </a:lnTo>
                  <a:lnTo>
                    <a:pt x="35" y="173"/>
                  </a:lnTo>
                  <a:lnTo>
                    <a:pt x="35" y="171"/>
                  </a:lnTo>
                  <a:lnTo>
                    <a:pt x="35" y="173"/>
                  </a:lnTo>
                  <a:lnTo>
                    <a:pt x="38" y="173"/>
                  </a:lnTo>
                  <a:lnTo>
                    <a:pt x="38" y="171"/>
                  </a:lnTo>
                  <a:lnTo>
                    <a:pt x="40" y="171"/>
                  </a:lnTo>
                  <a:lnTo>
                    <a:pt x="40" y="168"/>
                  </a:lnTo>
                  <a:lnTo>
                    <a:pt x="43" y="168"/>
                  </a:lnTo>
                  <a:lnTo>
                    <a:pt x="40" y="168"/>
                  </a:lnTo>
                  <a:lnTo>
                    <a:pt x="43" y="168"/>
                  </a:lnTo>
                  <a:lnTo>
                    <a:pt x="43" y="166"/>
                  </a:lnTo>
                  <a:lnTo>
                    <a:pt x="43" y="164"/>
                  </a:lnTo>
                  <a:lnTo>
                    <a:pt x="43" y="161"/>
                  </a:lnTo>
                  <a:close/>
                  <a:moveTo>
                    <a:pt x="123" y="178"/>
                  </a:moveTo>
                  <a:lnTo>
                    <a:pt x="123" y="176"/>
                  </a:lnTo>
                  <a:lnTo>
                    <a:pt x="121" y="176"/>
                  </a:lnTo>
                  <a:lnTo>
                    <a:pt x="123" y="176"/>
                  </a:lnTo>
                  <a:lnTo>
                    <a:pt x="121" y="176"/>
                  </a:lnTo>
                  <a:lnTo>
                    <a:pt x="121" y="173"/>
                  </a:lnTo>
                  <a:lnTo>
                    <a:pt x="121" y="176"/>
                  </a:lnTo>
                  <a:lnTo>
                    <a:pt x="121" y="173"/>
                  </a:lnTo>
                  <a:lnTo>
                    <a:pt x="121" y="171"/>
                  </a:lnTo>
                  <a:lnTo>
                    <a:pt x="118" y="171"/>
                  </a:lnTo>
                  <a:lnTo>
                    <a:pt x="118" y="173"/>
                  </a:lnTo>
                  <a:lnTo>
                    <a:pt x="118" y="171"/>
                  </a:lnTo>
                  <a:lnTo>
                    <a:pt x="116" y="171"/>
                  </a:lnTo>
                  <a:lnTo>
                    <a:pt x="118" y="171"/>
                  </a:lnTo>
                  <a:lnTo>
                    <a:pt x="116" y="171"/>
                  </a:lnTo>
                  <a:lnTo>
                    <a:pt x="118" y="171"/>
                  </a:lnTo>
                  <a:lnTo>
                    <a:pt x="116" y="171"/>
                  </a:lnTo>
                  <a:lnTo>
                    <a:pt x="116" y="168"/>
                  </a:lnTo>
                  <a:lnTo>
                    <a:pt x="118" y="168"/>
                  </a:lnTo>
                  <a:lnTo>
                    <a:pt x="116" y="168"/>
                  </a:lnTo>
                  <a:lnTo>
                    <a:pt x="116" y="166"/>
                  </a:lnTo>
                  <a:lnTo>
                    <a:pt x="116" y="168"/>
                  </a:lnTo>
                  <a:lnTo>
                    <a:pt x="116" y="166"/>
                  </a:lnTo>
                  <a:lnTo>
                    <a:pt x="116" y="168"/>
                  </a:lnTo>
                  <a:lnTo>
                    <a:pt x="116" y="166"/>
                  </a:lnTo>
                  <a:lnTo>
                    <a:pt x="114" y="166"/>
                  </a:lnTo>
                  <a:lnTo>
                    <a:pt x="114" y="168"/>
                  </a:lnTo>
                  <a:lnTo>
                    <a:pt x="111" y="168"/>
                  </a:lnTo>
                  <a:lnTo>
                    <a:pt x="111" y="171"/>
                  </a:lnTo>
                  <a:lnTo>
                    <a:pt x="111" y="168"/>
                  </a:lnTo>
                  <a:lnTo>
                    <a:pt x="111" y="171"/>
                  </a:lnTo>
                  <a:lnTo>
                    <a:pt x="109" y="171"/>
                  </a:lnTo>
                  <a:lnTo>
                    <a:pt x="107" y="171"/>
                  </a:lnTo>
                  <a:lnTo>
                    <a:pt x="104" y="171"/>
                  </a:lnTo>
                  <a:lnTo>
                    <a:pt x="102" y="171"/>
                  </a:lnTo>
                  <a:lnTo>
                    <a:pt x="102" y="173"/>
                  </a:lnTo>
                  <a:lnTo>
                    <a:pt x="99" y="173"/>
                  </a:lnTo>
                  <a:lnTo>
                    <a:pt x="97" y="173"/>
                  </a:lnTo>
                  <a:lnTo>
                    <a:pt x="97" y="171"/>
                  </a:lnTo>
                  <a:lnTo>
                    <a:pt x="97" y="168"/>
                  </a:lnTo>
                  <a:lnTo>
                    <a:pt x="95" y="168"/>
                  </a:lnTo>
                  <a:lnTo>
                    <a:pt x="92" y="168"/>
                  </a:lnTo>
                  <a:lnTo>
                    <a:pt x="92" y="166"/>
                  </a:lnTo>
                  <a:lnTo>
                    <a:pt x="95" y="166"/>
                  </a:lnTo>
                  <a:lnTo>
                    <a:pt x="97" y="166"/>
                  </a:lnTo>
                  <a:lnTo>
                    <a:pt x="99" y="166"/>
                  </a:lnTo>
                  <a:lnTo>
                    <a:pt x="102" y="166"/>
                  </a:lnTo>
                  <a:lnTo>
                    <a:pt x="104" y="166"/>
                  </a:lnTo>
                  <a:lnTo>
                    <a:pt x="104" y="164"/>
                  </a:lnTo>
                  <a:lnTo>
                    <a:pt x="104" y="161"/>
                  </a:lnTo>
                  <a:lnTo>
                    <a:pt x="104" y="164"/>
                  </a:lnTo>
                  <a:lnTo>
                    <a:pt x="104" y="161"/>
                  </a:lnTo>
                  <a:lnTo>
                    <a:pt x="102" y="161"/>
                  </a:lnTo>
                  <a:lnTo>
                    <a:pt x="102" y="159"/>
                  </a:lnTo>
                  <a:lnTo>
                    <a:pt x="99" y="161"/>
                  </a:lnTo>
                  <a:lnTo>
                    <a:pt x="99" y="159"/>
                  </a:lnTo>
                  <a:lnTo>
                    <a:pt x="99" y="161"/>
                  </a:lnTo>
                  <a:lnTo>
                    <a:pt x="99" y="159"/>
                  </a:lnTo>
                  <a:lnTo>
                    <a:pt x="97" y="159"/>
                  </a:lnTo>
                  <a:lnTo>
                    <a:pt x="95" y="159"/>
                  </a:lnTo>
                  <a:lnTo>
                    <a:pt x="97" y="159"/>
                  </a:lnTo>
                  <a:lnTo>
                    <a:pt x="97" y="161"/>
                  </a:lnTo>
                  <a:lnTo>
                    <a:pt x="95" y="161"/>
                  </a:lnTo>
                  <a:lnTo>
                    <a:pt x="95" y="159"/>
                  </a:lnTo>
                  <a:lnTo>
                    <a:pt x="92" y="159"/>
                  </a:lnTo>
                  <a:lnTo>
                    <a:pt x="95" y="159"/>
                  </a:lnTo>
                  <a:lnTo>
                    <a:pt x="92" y="159"/>
                  </a:lnTo>
                  <a:lnTo>
                    <a:pt x="90" y="159"/>
                  </a:lnTo>
                  <a:lnTo>
                    <a:pt x="90" y="157"/>
                  </a:lnTo>
                  <a:lnTo>
                    <a:pt x="88" y="157"/>
                  </a:lnTo>
                  <a:lnTo>
                    <a:pt x="88" y="154"/>
                  </a:lnTo>
                  <a:lnTo>
                    <a:pt x="88" y="152"/>
                  </a:lnTo>
                  <a:lnTo>
                    <a:pt x="85" y="152"/>
                  </a:lnTo>
                  <a:lnTo>
                    <a:pt x="85" y="154"/>
                  </a:lnTo>
                  <a:lnTo>
                    <a:pt x="85" y="152"/>
                  </a:lnTo>
                  <a:lnTo>
                    <a:pt x="85" y="154"/>
                  </a:lnTo>
                  <a:lnTo>
                    <a:pt x="85" y="152"/>
                  </a:lnTo>
                  <a:lnTo>
                    <a:pt x="85" y="154"/>
                  </a:lnTo>
                  <a:lnTo>
                    <a:pt x="83" y="154"/>
                  </a:lnTo>
                  <a:lnTo>
                    <a:pt x="85" y="154"/>
                  </a:lnTo>
                  <a:lnTo>
                    <a:pt x="83" y="157"/>
                  </a:lnTo>
                  <a:lnTo>
                    <a:pt x="83" y="154"/>
                  </a:lnTo>
                  <a:lnTo>
                    <a:pt x="80" y="154"/>
                  </a:lnTo>
                  <a:lnTo>
                    <a:pt x="83" y="154"/>
                  </a:lnTo>
                  <a:lnTo>
                    <a:pt x="80" y="154"/>
                  </a:lnTo>
                  <a:lnTo>
                    <a:pt x="80" y="152"/>
                  </a:lnTo>
                  <a:lnTo>
                    <a:pt x="80" y="149"/>
                  </a:lnTo>
                  <a:lnTo>
                    <a:pt x="78" y="149"/>
                  </a:lnTo>
                  <a:lnTo>
                    <a:pt x="78" y="152"/>
                  </a:lnTo>
                  <a:lnTo>
                    <a:pt x="76" y="152"/>
                  </a:lnTo>
                  <a:lnTo>
                    <a:pt x="78" y="152"/>
                  </a:lnTo>
                  <a:lnTo>
                    <a:pt x="78" y="154"/>
                  </a:lnTo>
                  <a:lnTo>
                    <a:pt x="76" y="154"/>
                  </a:lnTo>
                  <a:lnTo>
                    <a:pt x="73" y="154"/>
                  </a:lnTo>
                  <a:lnTo>
                    <a:pt x="73" y="152"/>
                  </a:lnTo>
                  <a:lnTo>
                    <a:pt x="73" y="154"/>
                  </a:lnTo>
                  <a:lnTo>
                    <a:pt x="71" y="152"/>
                  </a:lnTo>
                  <a:lnTo>
                    <a:pt x="71" y="154"/>
                  </a:lnTo>
                  <a:lnTo>
                    <a:pt x="69" y="154"/>
                  </a:lnTo>
                  <a:lnTo>
                    <a:pt x="69" y="152"/>
                  </a:lnTo>
                  <a:lnTo>
                    <a:pt x="66" y="152"/>
                  </a:lnTo>
                  <a:lnTo>
                    <a:pt x="64" y="152"/>
                  </a:lnTo>
                  <a:lnTo>
                    <a:pt x="62" y="152"/>
                  </a:lnTo>
                  <a:lnTo>
                    <a:pt x="59" y="152"/>
                  </a:lnTo>
                  <a:lnTo>
                    <a:pt x="57" y="152"/>
                  </a:lnTo>
                  <a:lnTo>
                    <a:pt x="57" y="154"/>
                  </a:lnTo>
                  <a:lnTo>
                    <a:pt x="54" y="154"/>
                  </a:lnTo>
                  <a:lnTo>
                    <a:pt x="52" y="154"/>
                  </a:lnTo>
                  <a:lnTo>
                    <a:pt x="50" y="154"/>
                  </a:lnTo>
                  <a:lnTo>
                    <a:pt x="50" y="157"/>
                  </a:lnTo>
                  <a:lnTo>
                    <a:pt x="50" y="154"/>
                  </a:lnTo>
                  <a:lnTo>
                    <a:pt x="50" y="157"/>
                  </a:lnTo>
                  <a:lnTo>
                    <a:pt x="47" y="157"/>
                  </a:lnTo>
                  <a:lnTo>
                    <a:pt x="47" y="154"/>
                  </a:lnTo>
                  <a:lnTo>
                    <a:pt x="45" y="154"/>
                  </a:lnTo>
                  <a:lnTo>
                    <a:pt x="47" y="154"/>
                  </a:lnTo>
                  <a:lnTo>
                    <a:pt x="47" y="157"/>
                  </a:lnTo>
                  <a:lnTo>
                    <a:pt x="47" y="154"/>
                  </a:lnTo>
                  <a:lnTo>
                    <a:pt x="47" y="152"/>
                  </a:lnTo>
                  <a:lnTo>
                    <a:pt x="45" y="152"/>
                  </a:lnTo>
                  <a:lnTo>
                    <a:pt x="45" y="154"/>
                  </a:lnTo>
                  <a:lnTo>
                    <a:pt x="45" y="152"/>
                  </a:lnTo>
                  <a:lnTo>
                    <a:pt x="45" y="149"/>
                  </a:lnTo>
                  <a:lnTo>
                    <a:pt x="43" y="152"/>
                  </a:lnTo>
                  <a:lnTo>
                    <a:pt x="43" y="149"/>
                  </a:lnTo>
                  <a:lnTo>
                    <a:pt x="43" y="147"/>
                  </a:lnTo>
                  <a:lnTo>
                    <a:pt x="43" y="149"/>
                  </a:lnTo>
                  <a:lnTo>
                    <a:pt x="43" y="152"/>
                  </a:lnTo>
                  <a:lnTo>
                    <a:pt x="40" y="152"/>
                  </a:lnTo>
                  <a:lnTo>
                    <a:pt x="40" y="154"/>
                  </a:lnTo>
                  <a:lnTo>
                    <a:pt x="38" y="154"/>
                  </a:lnTo>
                  <a:lnTo>
                    <a:pt x="40" y="157"/>
                  </a:lnTo>
                  <a:lnTo>
                    <a:pt x="40" y="154"/>
                  </a:lnTo>
                  <a:lnTo>
                    <a:pt x="43" y="154"/>
                  </a:lnTo>
                  <a:lnTo>
                    <a:pt x="43" y="157"/>
                  </a:lnTo>
                  <a:lnTo>
                    <a:pt x="40" y="154"/>
                  </a:lnTo>
                  <a:lnTo>
                    <a:pt x="40" y="157"/>
                  </a:lnTo>
                  <a:lnTo>
                    <a:pt x="38" y="157"/>
                  </a:lnTo>
                  <a:lnTo>
                    <a:pt x="38" y="154"/>
                  </a:lnTo>
                  <a:lnTo>
                    <a:pt x="38" y="157"/>
                  </a:lnTo>
                  <a:lnTo>
                    <a:pt x="35" y="157"/>
                  </a:lnTo>
                  <a:lnTo>
                    <a:pt x="35" y="154"/>
                  </a:lnTo>
                  <a:lnTo>
                    <a:pt x="35" y="152"/>
                  </a:lnTo>
                  <a:lnTo>
                    <a:pt x="35" y="149"/>
                  </a:lnTo>
                  <a:lnTo>
                    <a:pt x="35" y="152"/>
                  </a:lnTo>
                  <a:lnTo>
                    <a:pt x="35" y="149"/>
                  </a:lnTo>
                  <a:lnTo>
                    <a:pt x="35" y="152"/>
                  </a:lnTo>
                  <a:lnTo>
                    <a:pt x="35" y="149"/>
                  </a:lnTo>
                  <a:lnTo>
                    <a:pt x="35" y="147"/>
                  </a:lnTo>
                  <a:lnTo>
                    <a:pt x="35" y="149"/>
                  </a:lnTo>
                  <a:lnTo>
                    <a:pt x="35" y="147"/>
                  </a:lnTo>
                  <a:lnTo>
                    <a:pt x="33" y="147"/>
                  </a:lnTo>
                  <a:lnTo>
                    <a:pt x="35" y="147"/>
                  </a:lnTo>
                  <a:lnTo>
                    <a:pt x="33" y="147"/>
                  </a:lnTo>
                  <a:lnTo>
                    <a:pt x="35" y="147"/>
                  </a:lnTo>
                  <a:lnTo>
                    <a:pt x="33" y="147"/>
                  </a:lnTo>
                  <a:lnTo>
                    <a:pt x="35" y="147"/>
                  </a:lnTo>
                  <a:lnTo>
                    <a:pt x="35" y="145"/>
                  </a:lnTo>
                  <a:lnTo>
                    <a:pt x="33" y="145"/>
                  </a:lnTo>
                  <a:lnTo>
                    <a:pt x="33" y="147"/>
                  </a:lnTo>
                  <a:lnTo>
                    <a:pt x="33" y="145"/>
                  </a:lnTo>
                  <a:lnTo>
                    <a:pt x="31" y="145"/>
                  </a:lnTo>
                  <a:lnTo>
                    <a:pt x="33" y="145"/>
                  </a:lnTo>
                  <a:lnTo>
                    <a:pt x="31" y="145"/>
                  </a:lnTo>
                  <a:lnTo>
                    <a:pt x="33" y="145"/>
                  </a:lnTo>
                  <a:lnTo>
                    <a:pt x="33" y="142"/>
                  </a:lnTo>
                  <a:lnTo>
                    <a:pt x="31" y="142"/>
                  </a:lnTo>
                  <a:lnTo>
                    <a:pt x="31" y="140"/>
                  </a:lnTo>
                  <a:lnTo>
                    <a:pt x="28" y="140"/>
                  </a:lnTo>
                  <a:lnTo>
                    <a:pt x="28" y="138"/>
                  </a:lnTo>
                  <a:lnTo>
                    <a:pt x="28" y="140"/>
                  </a:lnTo>
                  <a:lnTo>
                    <a:pt x="28" y="138"/>
                  </a:lnTo>
                  <a:lnTo>
                    <a:pt x="28" y="135"/>
                  </a:lnTo>
                  <a:lnTo>
                    <a:pt x="28" y="133"/>
                  </a:lnTo>
                  <a:lnTo>
                    <a:pt x="26" y="133"/>
                  </a:lnTo>
                  <a:lnTo>
                    <a:pt x="26" y="135"/>
                  </a:lnTo>
                  <a:lnTo>
                    <a:pt x="24" y="135"/>
                  </a:lnTo>
                  <a:lnTo>
                    <a:pt x="24" y="133"/>
                  </a:lnTo>
                  <a:lnTo>
                    <a:pt x="24" y="130"/>
                  </a:lnTo>
                  <a:lnTo>
                    <a:pt x="21" y="130"/>
                  </a:lnTo>
                  <a:lnTo>
                    <a:pt x="21" y="133"/>
                  </a:lnTo>
                  <a:lnTo>
                    <a:pt x="21" y="130"/>
                  </a:lnTo>
                  <a:lnTo>
                    <a:pt x="21" y="133"/>
                  </a:lnTo>
                  <a:lnTo>
                    <a:pt x="21" y="130"/>
                  </a:lnTo>
                  <a:lnTo>
                    <a:pt x="21" y="133"/>
                  </a:lnTo>
                  <a:lnTo>
                    <a:pt x="24" y="133"/>
                  </a:lnTo>
                  <a:lnTo>
                    <a:pt x="21" y="133"/>
                  </a:lnTo>
                  <a:lnTo>
                    <a:pt x="21" y="135"/>
                  </a:lnTo>
                  <a:lnTo>
                    <a:pt x="24" y="135"/>
                  </a:lnTo>
                  <a:lnTo>
                    <a:pt x="24" y="138"/>
                  </a:lnTo>
                  <a:lnTo>
                    <a:pt x="21" y="138"/>
                  </a:lnTo>
                  <a:lnTo>
                    <a:pt x="24" y="138"/>
                  </a:lnTo>
                  <a:lnTo>
                    <a:pt x="21" y="138"/>
                  </a:lnTo>
                  <a:lnTo>
                    <a:pt x="24" y="138"/>
                  </a:lnTo>
                  <a:lnTo>
                    <a:pt x="21" y="140"/>
                  </a:lnTo>
                  <a:lnTo>
                    <a:pt x="24" y="140"/>
                  </a:lnTo>
                  <a:lnTo>
                    <a:pt x="21" y="140"/>
                  </a:lnTo>
                  <a:lnTo>
                    <a:pt x="21" y="142"/>
                  </a:lnTo>
                  <a:lnTo>
                    <a:pt x="21" y="140"/>
                  </a:lnTo>
                  <a:lnTo>
                    <a:pt x="21" y="142"/>
                  </a:lnTo>
                  <a:lnTo>
                    <a:pt x="21" y="140"/>
                  </a:lnTo>
                  <a:lnTo>
                    <a:pt x="21" y="142"/>
                  </a:lnTo>
                  <a:lnTo>
                    <a:pt x="19" y="142"/>
                  </a:lnTo>
                  <a:lnTo>
                    <a:pt x="19" y="140"/>
                  </a:lnTo>
                  <a:lnTo>
                    <a:pt x="19" y="142"/>
                  </a:lnTo>
                  <a:lnTo>
                    <a:pt x="16" y="142"/>
                  </a:lnTo>
                  <a:lnTo>
                    <a:pt x="16" y="145"/>
                  </a:lnTo>
                  <a:lnTo>
                    <a:pt x="16" y="142"/>
                  </a:lnTo>
                  <a:lnTo>
                    <a:pt x="16" y="140"/>
                  </a:lnTo>
                  <a:lnTo>
                    <a:pt x="16" y="138"/>
                  </a:lnTo>
                  <a:lnTo>
                    <a:pt x="16" y="135"/>
                  </a:lnTo>
                  <a:lnTo>
                    <a:pt x="19" y="135"/>
                  </a:lnTo>
                  <a:lnTo>
                    <a:pt x="19" y="133"/>
                  </a:lnTo>
                  <a:lnTo>
                    <a:pt x="21" y="133"/>
                  </a:lnTo>
                  <a:lnTo>
                    <a:pt x="21" y="130"/>
                  </a:lnTo>
                  <a:lnTo>
                    <a:pt x="24" y="130"/>
                  </a:lnTo>
                  <a:lnTo>
                    <a:pt x="26" y="130"/>
                  </a:lnTo>
                  <a:lnTo>
                    <a:pt x="24" y="130"/>
                  </a:lnTo>
                  <a:lnTo>
                    <a:pt x="24" y="128"/>
                  </a:lnTo>
                  <a:lnTo>
                    <a:pt x="24" y="126"/>
                  </a:lnTo>
                  <a:lnTo>
                    <a:pt x="24" y="128"/>
                  </a:lnTo>
                  <a:lnTo>
                    <a:pt x="26" y="128"/>
                  </a:lnTo>
                  <a:lnTo>
                    <a:pt x="26" y="126"/>
                  </a:lnTo>
                  <a:lnTo>
                    <a:pt x="28" y="126"/>
                  </a:lnTo>
                  <a:lnTo>
                    <a:pt x="26" y="126"/>
                  </a:lnTo>
                  <a:lnTo>
                    <a:pt x="26" y="128"/>
                  </a:lnTo>
                  <a:lnTo>
                    <a:pt x="28" y="128"/>
                  </a:lnTo>
                  <a:lnTo>
                    <a:pt x="26" y="128"/>
                  </a:lnTo>
                  <a:lnTo>
                    <a:pt x="28" y="128"/>
                  </a:lnTo>
                  <a:lnTo>
                    <a:pt x="28" y="126"/>
                  </a:lnTo>
                  <a:lnTo>
                    <a:pt x="28" y="128"/>
                  </a:lnTo>
                  <a:lnTo>
                    <a:pt x="31" y="128"/>
                  </a:lnTo>
                  <a:lnTo>
                    <a:pt x="31" y="126"/>
                  </a:lnTo>
                  <a:lnTo>
                    <a:pt x="31" y="128"/>
                  </a:lnTo>
                  <a:lnTo>
                    <a:pt x="33" y="128"/>
                  </a:lnTo>
                  <a:lnTo>
                    <a:pt x="33" y="130"/>
                  </a:lnTo>
                  <a:lnTo>
                    <a:pt x="35" y="130"/>
                  </a:lnTo>
                  <a:lnTo>
                    <a:pt x="35" y="128"/>
                  </a:lnTo>
                  <a:lnTo>
                    <a:pt x="38" y="130"/>
                  </a:lnTo>
                  <a:lnTo>
                    <a:pt x="38" y="128"/>
                  </a:lnTo>
                  <a:lnTo>
                    <a:pt x="35" y="128"/>
                  </a:lnTo>
                  <a:lnTo>
                    <a:pt x="35" y="126"/>
                  </a:lnTo>
                  <a:lnTo>
                    <a:pt x="35" y="123"/>
                  </a:lnTo>
                  <a:lnTo>
                    <a:pt x="35" y="121"/>
                  </a:lnTo>
                  <a:lnTo>
                    <a:pt x="33" y="121"/>
                  </a:lnTo>
                  <a:lnTo>
                    <a:pt x="33" y="123"/>
                  </a:lnTo>
                  <a:lnTo>
                    <a:pt x="33" y="121"/>
                  </a:lnTo>
                  <a:lnTo>
                    <a:pt x="33" y="123"/>
                  </a:lnTo>
                  <a:lnTo>
                    <a:pt x="33" y="121"/>
                  </a:lnTo>
                  <a:lnTo>
                    <a:pt x="33" y="123"/>
                  </a:lnTo>
                  <a:lnTo>
                    <a:pt x="31" y="123"/>
                  </a:lnTo>
                  <a:lnTo>
                    <a:pt x="33" y="123"/>
                  </a:lnTo>
                  <a:lnTo>
                    <a:pt x="31" y="123"/>
                  </a:lnTo>
                  <a:lnTo>
                    <a:pt x="28" y="123"/>
                  </a:lnTo>
                  <a:lnTo>
                    <a:pt x="26" y="123"/>
                  </a:lnTo>
                  <a:lnTo>
                    <a:pt x="26" y="121"/>
                  </a:lnTo>
                  <a:lnTo>
                    <a:pt x="24" y="121"/>
                  </a:lnTo>
                  <a:lnTo>
                    <a:pt x="24" y="123"/>
                  </a:lnTo>
                  <a:lnTo>
                    <a:pt x="24" y="126"/>
                  </a:lnTo>
                  <a:lnTo>
                    <a:pt x="26" y="126"/>
                  </a:lnTo>
                  <a:lnTo>
                    <a:pt x="24" y="126"/>
                  </a:lnTo>
                  <a:lnTo>
                    <a:pt x="21" y="126"/>
                  </a:lnTo>
                  <a:lnTo>
                    <a:pt x="21" y="123"/>
                  </a:lnTo>
                  <a:lnTo>
                    <a:pt x="21" y="121"/>
                  </a:lnTo>
                  <a:lnTo>
                    <a:pt x="19" y="121"/>
                  </a:lnTo>
                  <a:lnTo>
                    <a:pt x="19" y="119"/>
                  </a:lnTo>
                  <a:lnTo>
                    <a:pt x="16" y="119"/>
                  </a:lnTo>
                  <a:lnTo>
                    <a:pt x="16" y="116"/>
                  </a:lnTo>
                  <a:lnTo>
                    <a:pt x="14" y="116"/>
                  </a:lnTo>
                  <a:lnTo>
                    <a:pt x="14" y="114"/>
                  </a:lnTo>
                  <a:lnTo>
                    <a:pt x="14" y="111"/>
                  </a:lnTo>
                  <a:lnTo>
                    <a:pt x="12" y="111"/>
                  </a:lnTo>
                  <a:lnTo>
                    <a:pt x="9" y="111"/>
                  </a:lnTo>
                  <a:lnTo>
                    <a:pt x="9" y="109"/>
                  </a:lnTo>
                  <a:lnTo>
                    <a:pt x="7" y="109"/>
                  </a:lnTo>
                  <a:lnTo>
                    <a:pt x="7" y="107"/>
                  </a:lnTo>
                  <a:lnTo>
                    <a:pt x="7" y="104"/>
                  </a:lnTo>
                  <a:lnTo>
                    <a:pt x="5" y="104"/>
                  </a:lnTo>
                  <a:lnTo>
                    <a:pt x="7" y="104"/>
                  </a:lnTo>
                  <a:lnTo>
                    <a:pt x="7" y="102"/>
                  </a:lnTo>
                  <a:lnTo>
                    <a:pt x="7" y="104"/>
                  </a:lnTo>
                  <a:lnTo>
                    <a:pt x="7" y="102"/>
                  </a:lnTo>
                  <a:lnTo>
                    <a:pt x="5" y="102"/>
                  </a:lnTo>
                  <a:lnTo>
                    <a:pt x="7" y="102"/>
                  </a:lnTo>
                  <a:lnTo>
                    <a:pt x="5" y="102"/>
                  </a:lnTo>
                  <a:lnTo>
                    <a:pt x="5" y="100"/>
                  </a:lnTo>
                  <a:lnTo>
                    <a:pt x="5" y="102"/>
                  </a:lnTo>
                  <a:lnTo>
                    <a:pt x="5" y="100"/>
                  </a:lnTo>
                  <a:lnTo>
                    <a:pt x="2" y="100"/>
                  </a:lnTo>
                  <a:lnTo>
                    <a:pt x="5" y="100"/>
                  </a:lnTo>
                  <a:lnTo>
                    <a:pt x="5" y="97"/>
                  </a:lnTo>
                  <a:lnTo>
                    <a:pt x="2" y="97"/>
                  </a:lnTo>
                  <a:lnTo>
                    <a:pt x="5" y="97"/>
                  </a:lnTo>
                  <a:lnTo>
                    <a:pt x="2" y="97"/>
                  </a:lnTo>
                  <a:lnTo>
                    <a:pt x="5" y="97"/>
                  </a:lnTo>
                  <a:lnTo>
                    <a:pt x="5" y="95"/>
                  </a:lnTo>
                  <a:lnTo>
                    <a:pt x="2" y="95"/>
                  </a:lnTo>
                  <a:lnTo>
                    <a:pt x="0" y="95"/>
                  </a:lnTo>
                  <a:lnTo>
                    <a:pt x="0" y="92"/>
                  </a:lnTo>
                  <a:lnTo>
                    <a:pt x="0" y="95"/>
                  </a:lnTo>
                  <a:lnTo>
                    <a:pt x="0" y="92"/>
                  </a:lnTo>
                  <a:lnTo>
                    <a:pt x="0" y="95"/>
                  </a:lnTo>
                  <a:lnTo>
                    <a:pt x="0" y="92"/>
                  </a:lnTo>
                  <a:lnTo>
                    <a:pt x="2" y="92"/>
                  </a:lnTo>
                  <a:lnTo>
                    <a:pt x="2" y="95"/>
                  </a:lnTo>
                  <a:lnTo>
                    <a:pt x="5" y="95"/>
                  </a:lnTo>
                  <a:lnTo>
                    <a:pt x="7" y="95"/>
                  </a:lnTo>
                  <a:lnTo>
                    <a:pt x="5" y="95"/>
                  </a:lnTo>
                  <a:lnTo>
                    <a:pt x="7" y="95"/>
                  </a:lnTo>
                  <a:lnTo>
                    <a:pt x="7" y="92"/>
                  </a:lnTo>
                  <a:lnTo>
                    <a:pt x="7" y="95"/>
                  </a:lnTo>
                  <a:lnTo>
                    <a:pt x="7" y="92"/>
                  </a:lnTo>
                  <a:lnTo>
                    <a:pt x="9" y="92"/>
                  </a:lnTo>
                  <a:lnTo>
                    <a:pt x="9" y="90"/>
                  </a:lnTo>
                  <a:lnTo>
                    <a:pt x="7" y="90"/>
                  </a:lnTo>
                  <a:lnTo>
                    <a:pt x="9" y="90"/>
                  </a:lnTo>
                  <a:lnTo>
                    <a:pt x="7" y="88"/>
                  </a:lnTo>
                  <a:lnTo>
                    <a:pt x="9" y="88"/>
                  </a:lnTo>
                  <a:lnTo>
                    <a:pt x="12" y="90"/>
                  </a:lnTo>
                  <a:lnTo>
                    <a:pt x="12" y="88"/>
                  </a:lnTo>
                  <a:lnTo>
                    <a:pt x="12" y="85"/>
                  </a:lnTo>
                  <a:lnTo>
                    <a:pt x="9" y="83"/>
                  </a:lnTo>
                  <a:lnTo>
                    <a:pt x="9" y="81"/>
                  </a:lnTo>
                  <a:lnTo>
                    <a:pt x="9" y="78"/>
                  </a:lnTo>
                  <a:lnTo>
                    <a:pt x="9" y="81"/>
                  </a:lnTo>
                  <a:lnTo>
                    <a:pt x="12" y="81"/>
                  </a:lnTo>
                  <a:lnTo>
                    <a:pt x="12" y="78"/>
                  </a:lnTo>
                  <a:lnTo>
                    <a:pt x="12" y="76"/>
                  </a:lnTo>
                  <a:lnTo>
                    <a:pt x="14" y="76"/>
                  </a:lnTo>
                  <a:lnTo>
                    <a:pt x="16" y="76"/>
                  </a:lnTo>
                  <a:lnTo>
                    <a:pt x="19" y="76"/>
                  </a:lnTo>
                  <a:lnTo>
                    <a:pt x="21" y="76"/>
                  </a:lnTo>
                  <a:lnTo>
                    <a:pt x="21" y="73"/>
                  </a:lnTo>
                  <a:lnTo>
                    <a:pt x="21" y="71"/>
                  </a:lnTo>
                  <a:lnTo>
                    <a:pt x="21" y="69"/>
                  </a:lnTo>
                  <a:lnTo>
                    <a:pt x="21" y="66"/>
                  </a:lnTo>
                  <a:lnTo>
                    <a:pt x="24" y="66"/>
                  </a:lnTo>
                  <a:lnTo>
                    <a:pt x="24" y="64"/>
                  </a:lnTo>
                  <a:lnTo>
                    <a:pt x="24" y="61"/>
                  </a:lnTo>
                  <a:lnTo>
                    <a:pt x="24" y="59"/>
                  </a:lnTo>
                  <a:lnTo>
                    <a:pt x="26" y="59"/>
                  </a:lnTo>
                  <a:lnTo>
                    <a:pt x="26" y="57"/>
                  </a:lnTo>
                  <a:lnTo>
                    <a:pt x="28" y="57"/>
                  </a:lnTo>
                  <a:lnTo>
                    <a:pt x="28" y="59"/>
                  </a:lnTo>
                  <a:lnTo>
                    <a:pt x="31" y="59"/>
                  </a:lnTo>
                  <a:lnTo>
                    <a:pt x="31" y="57"/>
                  </a:lnTo>
                  <a:lnTo>
                    <a:pt x="31" y="54"/>
                  </a:lnTo>
                  <a:lnTo>
                    <a:pt x="33" y="54"/>
                  </a:lnTo>
                  <a:lnTo>
                    <a:pt x="33" y="52"/>
                  </a:lnTo>
                  <a:lnTo>
                    <a:pt x="33" y="50"/>
                  </a:lnTo>
                  <a:lnTo>
                    <a:pt x="33" y="47"/>
                  </a:lnTo>
                  <a:lnTo>
                    <a:pt x="31" y="47"/>
                  </a:lnTo>
                  <a:lnTo>
                    <a:pt x="31" y="45"/>
                  </a:lnTo>
                  <a:lnTo>
                    <a:pt x="31" y="42"/>
                  </a:lnTo>
                  <a:lnTo>
                    <a:pt x="31" y="40"/>
                  </a:lnTo>
                  <a:lnTo>
                    <a:pt x="35" y="40"/>
                  </a:lnTo>
                  <a:lnTo>
                    <a:pt x="38" y="40"/>
                  </a:lnTo>
                  <a:lnTo>
                    <a:pt x="40" y="40"/>
                  </a:lnTo>
                  <a:lnTo>
                    <a:pt x="43" y="40"/>
                  </a:lnTo>
                  <a:lnTo>
                    <a:pt x="45" y="38"/>
                  </a:lnTo>
                  <a:lnTo>
                    <a:pt x="47" y="38"/>
                  </a:lnTo>
                  <a:lnTo>
                    <a:pt x="50" y="38"/>
                  </a:lnTo>
                  <a:lnTo>
                    <a:pt x="50" y="40"/>
                  </a:lnTo>
                  <a:lnTo>
                    <a:pt x="52" y="40"/>
                  </a:lnTo>
                  <a:lnTo>
                    <a:pt x="52" y="38"/>
                  </a:lnTo>
                  <a:lnTo>
                    <a:pt x="54" y="38"/>
                  </a:lnTo>
                  <a:lnTo>
                    <a:pt x="54" y="35"/>
                  </a:lnTo>
                  <a:lnTo>
                    <a:pt x="54" y="38"/>
                  </a:lnTo>
                  <a:lnTo>
                    <a:pt x="57" y="38"/>
                  </a:lnTo>
                  <a:lnTo>
                    <a:pt x="57" y="35"/>
                  </a:lnTo>
                  <a:lnTo>
                    <a:pt x="59" y="35"/>
                  </a:lnTo>
                  <a:lnTo>
                    <a:pt x="57" y="35"/>
                  </a:lnTo>
                  <a:lnTo>
                    <a:pt x="59" y="35"/>
                  </a:lnTo>
                  <a:lnTo>
                    <a:pt x="59" y="33"/>
                  </a:lnTo>
                  <a:lnTo>
                    <a:pt x="62" y="33"/>
                  </a:lnTo>
                  <a:lnTo>
                    <a:pt x="62" y="31"/>
                  </a:lnTo>
                  <a:lnTo>
                    <a:pt x="62" y="28"/>
                  </a:lnTo>
                  <a:lnTo>
                    <a:pt x="64" y="28"/>
                  </a:lnTo>
                  <a:lnTo>
                    <a:pt x="66" y="28"/>
                  </a:lnTo>
                  <a:lnTo>
                    <a:pt x="66" y="26"/>
                  </a:lnTo>
                  <a:lnTo>
                    <a:pt x="66" y="28"/>
                  </a:lnTo>
                  <a:lnTo>
                    <a:pt x="69" y="28"/>
                  </a:lnTo>
                  <a:lnTo>
                    <a:pt x="71" y="28"/>
                  </a:lnTo>
                  <a:lnTo>
                    <a:pt x="71" y="26"/>
                  </a:lnTo>
                  <a:lnTo>
                    <a:pt x="73" y="26"/>
                  </a:lnTo>
                  <a:lnTo>
                    <a:pt x="73" y="28"/>
                  </a:lnTo>
                  <a:lnTo>
                    <a:pt x="76" y="28"/>
                  </a:lnTo>
                  <a:lnTo>
                    <a:pt x="78" y="28"/>
                  </a:lnTo>
                  <a:lnTo>
                    <a:pt x="80" y="28"/>
                  </a:lnTo>
                  <a:lnTo>
                    <a:pt x="83" y="28"/>
                  </a:lnTo>
                  <a:lnTo>
                    <a:pt x="85" y="28"/>
                  </a:lnTo>
                  <a:lnTo>
                    <a:pt x="85" y="26"/>
                  </a:lnTo>
                  <a:lnTo>
                    <a:pt x="88" y="26"/>
                  </a:lnTo>
                  <a:lnTo>
                    <a:pt x="88" y="28"/>
                  </a:lnTo>
                  <a:lnTo>
                    <a:pt x="90" y="26"/>
                  </a:lnTo>
                  <a:lnTo>
                    <a:pt x="90" y="21"/>
                  </a:lnTo>
                  <a:lnTo>
                    <a:pt x="90" y="19"/>
                  </a:lnTo>
                  <a:lnTo>
                    <a:pt x="92" y="19"/>
                  </a:lnTo>
                  <a:lnTo>
                    <a:pt x="95" y="19"/>
                  </a:lnTo>
                  <a:lnTo>
                    <a:pt x="97" y="19"/>
                  </a:lnTo>
                  <a:lnTo>
                    <a:pt x="99" y="19"/>
                  </a:lnTo>
                  <a:lnTo>
                    <a:pt x="102" y="19"/>
                  </a:lnTo>
                  <a:lnTo>
                    <a:pt x="104" y="19"/>
                  </a:lnTo>
                  <a:lnTo>
                    <a:pt x="104" y="16"/>
                  </a:lnTo>
                  <a:lnTo>
                    <a:pt x="107" y="16"/>
                  </a:lnTo>
                  <a:lnTo>
                    <a:pt x="109" y="16"/>
                  </a:lnTo>
                  <a:lnTo>
                    <a:pt x="111" y="16"/>
                  </a:lnTo>
                  <a:lnTo>
                    <a:pt x="114" y="16"/>
                  </a:lnTo>
                  <a:lnTo>
                    <a:pt x="116" y="16"/>
                  </a:lnTo>
                  <a:lnTo>
                    <a:pt x="118" y="16"/>
                  </a:lnTo>
                  <a:lnTo>
                    <a:pt x="121" y="16"/>
                  </a:lnTo>
                  <a:lnTo>
                    <a:pt x="123" y="16"/>
                  </a:lnTo>
                  <a:lnTo>
                    <a:pt x="123" y="14"/>
                  </a:lnTo>
                  <a:lnTo>
                    <a:pt x="126" y="14"/>
                  </a:lnTo>
                  <a:lnTo>
                    <a:pt x="128" y="14"/>
                  </a:lnTo>
                  <a:lnTo>
                    <a:pt x="128" y="12"/>
                  </a:lnTo>
                  <a:lnTo>
                    <a:pt x="128" y="14"/>
                  </a:lnTo>
                  <a:lnTo>
                    <a:pt x="130" y="14"/>
                  </a:lnTo>
                  <a:lnTo>
                    <a:pt x="130" y="12"/>
                  </a:lnTo>
                  <a:lnTo>
                    <a:pt x="130" y="14"/>
                  </a:lnTo>
                  <a:lnTo>
                    <a:pt x="133" y="14"/>
                  </a:lnTo>
                  <a:lnTo>
                    <a:pt x="133" y="12"/>
                  </a:lnTo>
                  <a:lnTo>
                    <a:pt x="133" y="9"/>
                  </a:lnTo>
                  <a:lnTo>
                    <a:pt x="135" y="9"/>
                  </a:lnTo>
                  <a:lnTo>
                    <a:pt x="135" y="12"/>
                  </a:lnTo>
                  <a:lnTo>
                    <a:pt x="137" y="9"/>
                  </a:lnTo>
                  <a:lnTo>
                    <a:pt x="140" y="7"/>
                  </a:lnTo>
                  <a:lnTo>
                    <a:pt x="140" y="9"/>
                  </a:lnTo>
                  <a:lnTo>
                    <a:pt x="140" y="12"/>
                  </a:lnTo>
                  <a:lnTo>
                    <a:pt x="142" y="9"/>
                  </a:lnTo>
                  <a:lnTo>
                    <a:pt x="145" y="9"/>
                  </a:lnTo>
                  <a:lnTo>
                    <a:pt x="147" y="9"/>
                  </a:lnTo>
                  <a:lnTo>
                    <a:pt x="149" y="9"/>
                  </a:lnTo>
                  <a:lnTo>
                    <a:pt x="149" y="12"/>
                  </a:lnTo>
                  <a:lnTo>
                    <a:pt x="149" y="14"/>
                  </a:lnTo>
                  <a:lnTo>
                    <a:pt x="152" y="14"/>
                  </a:lnTo>
                  <a:lnTo>
                    <a:pt x="154" y="14"/>
                  </a:lnTo>
                  <a:lnTo>
                    <a:pt x="154" y="16"/>
                  </a:lnTo>
                  <a:lnTo>
                    <a:pt x="156" y="16"/>
                  </a:lnTo>
                  <a:lnTo>
                    <a:pt x="156" y="19"/>
                  </a:lnTo>
                  <a:lnTo>
                    <a:pt x="156" y="16"/>
                  </a:lnTo>
                  <a:lnTo>
                    <a:pt x="159" y="16"/>
                  </a:lnTo>
                  <a:lnTo>
                    <a:pt x="161" y="16"/>
                  </a:lnTo>
                  <a:lnTo>
                    <a:pt x="164" y="16"/>
                  </a:lnTo>
                  <a:lnTo>
                    <a:pt x="166" y="16"/>
                  </a:lnTo>
                  <a:lnTo>
                    <a:pt x="166" y="19"/>
                  </a:lnTo>
                  <a:lnTo>
                    <a:pt x="168" y="19"/>
                  </a:lnTo>
                  <a:lnTo>
                    <a:pt x="168" y="21"/>
                  </a:lnTo>
                  <a:lnTo>
                    <a:pt x="171" y="21"/>
                  </a:lnTo>
                  <a:lnTo>
                    <a:pt x="171" y="23"/>
                  </a:lnTo>
                  <a:lnTo>
                    <a:pt x="173" y="23"/>
                  </a:lnTo>
                  <a:lnTo>
                    <a:pt x="175" y="23"/>
                  </a:lnTo>
                  <a:lnTo>
                    <a:pt x="175" y="21"/>
                  </a:lnTo>
                  <a:lnTo>
                    <a:pt x="178" y="21"/>
                  </a:lnTo>
                  <a:lnTo>
                    <a:pt x="180" y="21"/>
                  </a:lnTo>
                  <a:lnTo>
                    <a:pt x="183" y="21"/>
                  </a:lnTo>
                  <a:lnTo>
                    <a:pt x="183" y="19"/>
                  </a:lnTo>
                  <a:lnTo>
                    <a:pt x="183" y="21"/>
                  </a:lnTo>
                  <a:lnTo>
                    <a:pt x="185" y="21"/>
                  </a:lnTo>
                  <a:lnTo>
                    <a:pt x="185" y="19"/>
                  </a:lnTo>
                  <a:lnTo>
                    <a:pt x="185" y="21"/>
                  </a:lnTo>
                  <a:lnTo>
                    <a:pt x="187" y="21"/>
                  </a:lnTo>
                  <a:lnTo>
                    <a:pt x="187" y="19"/>
                  </a:lnTo>
                  <a:lnTo>
                    <a:pt x="190" y="19"/>
                  </a:lnTo>
                  <a:lnTo>
                    <a:pt x="192" y="19"/>
                  </a:lnTo>
                  <a:lnTo>
                    <a:pt x="192" y="21"/>
                  </a:lnTo>
                  <a:lnTo>
                    <a:pt x="194" y="21"/>
                  </a:lnTo>
                  <a:lnTo>
                    <a:pt x="194" y="19"/>
                  </a:lnTo>
                  <a:lnTo>
                    <a:pt x="197" y="19"/>
                  </a:lnTo>
                  <a:lnTo>
                    <a:pt x="199" y="19"/>
                  </a:lnTo>
                  <a:lnTo>
                    <a:pt x="201" y="19"/>
                  </a:lnTo>
                  <a:lnTo>
                    <a:pt x="201" y="16"/>
                  </a:lnTo>
                  <a:lnTo>
                    <a:pt x="201" y="19"/>
                  </a:lnTo>
                  <a:lnTo>
                    <a:pt x="201" y="16"/>
                  </a:lnTo>
                  <a:lnTo>
                    <a:pt x="201" y="14"/>
                  </a:lnTo>
                  <a:lnTo>
                    <a:pt x="204" y="14"/>
                  </a:lnTo>
                  <a:lnTo>
                    <a:pt x="201" y="12"/>
                  </a:lnTo>
                  <a:lnTo>
                    <a:pt x="201" y="9"/>
                  </a:lnTo>
                  <a:lnTo>
                    <a:pt x="201" y="7"/>
                  </a:lnTo>
                  <a:lnTo>
                    <a:pt x="201" y="4"/>
                  </a:lnTo>
                  <a:lnTo>
                    <a:pt x="199" y="4"/>
                  </a:lnTo>
                  <a:lnTo>
                    <a:pt x="199" y="2"/>
                  </a:lnTo>
                  <a:lnTo>
                    <a:pt x="199" y="0"/>
                  </a:lnTo>
                  <a:lnTo>
                    <a:pt x="201" y="0"/>
                  </a:lnTo>
                  <a:lnTo>
                    <a:pt x="204" y="0"/>
                  </a:lnTo>
                  <a:lnTo>
                    <a:pt x="204" y="2"/>
                  </a:lnTo>
                  <a:lnTo>
                    <a:pt x="206" y="2"/>
                  </a:lnTo>
                  <a:lnTo>
                    <a:pt x="209" y="2"/>
                  </a:lnTo>
                  <a:lnTo>
                    <a:pt x="211" y="2"/>
                  </a:lnTo>
                  <a:lnTo>
                    <a:pt x="211" y="4"/>
                  </a:lnTo>
                  <a:lnTo>
                    <a:pt x="213" y="2"/>
                  </a:lnTo>
                  <a:lnTo>
                    <a:pt x="213" y="4"/>
                  </a:lnTo>
                  <a:lnTo>
                    <a:pt x="213" y="7"/>
                  </a:lnTo>
                  <a:lnTo>
                    <a:pt x="216" y="7"/>
                  </a:lnTo>
                  <a:lnTo>
                    <a:pt x="216" y="9"/>
                  </a:lnTo>
                  <a:lnTo>
                    <a:pt x="216" y="12"/>
                  </a:lnTo>
                  <a:lnTo>
                    <a:pt x="216" y="14"/>
                  </a:lnTo>
                  <a:lnTo>
                    <a:pt x="218" y="14"/>
                  </a:lnTo>
                  <a:lnTo>
                    <a:pt x="218" y="16"/>
                  </a:lnTo>
                  <a:lnTo>
                    <a:pt x="218" y="19"/>
                  </a:lnTo>
                  <a:lnTo>
                    <a:pt x="216" y="19"/>
                  </a:lnTo>
                  <a:lnTo>
                    <a:pt x="213" y="19"/>
                  </a:lnTo>
                  <a:lnTo>
                    <a:pt x="213" y="21"/>
                  </a:lnTo>
                  <a:lnTo>
                    <a:pt x="211" y="21"/>
                  </a:lnTo>
                  <a:lnTo>
                    <a:pt x="211" y="23"/>
                  </a:lnTo>
                  <a:lnTo>
                    <a:pt x="209" y="23"/>
                  </a:lnTo>
                  <a:lnTo>
                    <a:pt x="209" y="21"/>
                  </a:lnTo>
                  <a:lnTo>
                    <a:pt x="206" y="23"/>
                  </a:lnTo>
                  <a:lnTo>
                    <a:pt x="206" y="26"/>
                  </a:lnTo>
                  <a:lnTo>
                    <a:pt x="209" y="28"/>
                  </a:lnTo>
                  <a:lnTo>
                    <a:pt x="206" y="28"/>
                  </a:lnTo>
                  <a:lnTo>
                    <a:pt x="206" y="31"/>
                  </a:lnTo>
                  <a:lnTo>
                    <a:pt x="206" y="33"/>
                  </a:lnTo>
                  <a:lnTo>
                    <a:pt x="209" y="33"/>
                  </a:lnTo>
                  <a:lnTo>
                    <a:pt x="209" y="35"/>
                  </a:lnTo>
                  <a:lnTo>
                    <a:pt x="206" y="35"/>
                  </a:lnTo>
                  <a:lnTo>
                    <a:pt x="209" y="35"/>
                  </a:lnTo>
                  <a:lnTo>
                    <a:pt x="209" y="38"/>
                  </a:lnTo>
                  <a:lnTo>
                    <a:pt x="206" y="35"/>
                  </a:lnTo>
                  <a:lnTo>
                    <a:pt x="206" y="38"/>
                  </a:lnTo>
                  <a:lnTo>
                    <a:pt x="204" y="38"/>
                  </a:lnTo>
                  <a:lnTo>
                    <a:pt x="204" y="40"/>
                  </a:lnTo>
                  <a:lnTo>
                    <a:pt x="204" y="38"/>
                  </a:lnTo>
                  <a:lnTo>
                    <a:pt x="204" y="40"/>
                  </a:lnTo>
                  <a:lnTo>
                    <a:pt x="204" y="42"/>
                  </a:lnTo>
                  <a:lnTo>
                    <a:pt x="201" y="42"/>
                  </a:lnTo>
                  <a:lnTo>
                    <a:pt x="201" y="45"/>
                  </a:lnTo>
                  <a:lnTo>
                    <a:pt x="199" y="45"/>
                  </a:lnTo>
                  <a:lnTo>
                    <a:pt x="199" y="47"/>
                  </a:lnTo>
                  <a:lnTo>
                    <a:pt x="197" y="47"/>
                  </a:lnTo>
                  <a:lnTo>
                    <a:pt x="197" y="45"/>
                  </a:lnTo>
                  <a:lnTo>
                    <a:pt x="199" y="45"/>
                  </a:lnTo>
                  <a:lnTo>
                    <a:pt x="197" y="45"/>
                  </a:lnTo>
                  <a:lnTo>
                    <a:pt x="197" y="42"/>
                  </a:lnTo>
                  <a:lnTo>
                    <a:pt x="194" y="40"/>
                  </a:lnTo>
                  <a:lnTo>
                    <a:pt x="192" y="40"/>
                  </a:lnTo>
                  <a:lnTo>
                    <a:pt x="190" y="40"/>
                  </a:lnTo>
                  <a:lnTo>
                    <a:pt x="187" y="40"/>
                  </a:lnTo>
                  <a:lnTo>
                    <a:pt x="185" y="40"/>
                  </a:lnTo>
                  <a:lnTo>
                    <a:pt x="183" y="40"/>
                  </a:lnTo>
                  <a:lnTo>
                    <a:pt x="180" y="40"/>
                  </a:lnTo>
                  <a:lnTo>
                    <a:pt x="178" y="38"/>
                  </a:lnTo>
                  <a:lnTo>
                    <a:pt x="175" y="38"/>
                  </a:lnTo>
                  <a:lnTo>
                    <a:pt x="175" y="35"/>
                  </a:lnTo>
                  <a:lnTo>
                    <a:pt x="175" y="38"/>
                  </a:lnTo>
                  <a:lnTo>
                    <a:pt x="173" y="35"/>
                  </a:lnTo>
                  <a:lnTo>
                    <a:pt x="173" y="38"/>
                  </a:lnTo>
                  <a:lnTo>
                    <a:pt x="173" y="35"/>
                  </a:lnTo>
                  <a:lnTo>
                    <a:pt x="173" y="38"/>
                  </a:lnTo>
                  <a:lnTo>
                    <a:pt x="171" y="38"/>
                  </a:lnTo>
                  <a:lnTo>
                    <a:pt x="173" y="38"/>
                  </a:lnTo>
                  <a:lnTo>
                    <a:pt x="171" y="38"/>
                  </a:lnTo>
                  <a:lnTo>
                    <a:pt x="173" y="38"/>
                  </a:lnTo>
                  <a:lnTo>
                    <a:pt x="171" y="38"/>
                  </a:lnTo>
                  <a:lnTo>
                    <a:pt x="168" y="38"/>
                  </a:lnTo>
                  <a:lnTo>
                    <a:pt x="168" y="35"/>
                  </a:lnTo>
                  <a:lnTo>
                    <a:pt x="168" y="33"/>
                  </a:lnTo>
                  <a:lnTo>
                    <a:pt x="168" y="35"/>
                  </a:lnTo>
                  <a:lnTo>
                    <a:pt x="168" y="33"/>
                  </a:lnTo>
                  <a:lnTo>
                    <a:pt x="168" y="31"/>
                  </a:lnTo>
                  <a:lnTo>
                    <a:pt x="166" y="31"/>
                  </a:lnTo>
                  <a:lnTo>
                    <a:pt x="166" y="33"/>
                  </a:lnTo>
                  <a:lnTo>
                    <a:pt x="168" y="33"/>
                  </a:lnTo>
                  <a:lnTo>
                    <a:pt x="166" y="33"/>
                  </a:lnTo>
                  <a:lnTo>
                    <a:pt x="166" y="35"/>
                  </a:lnTo>
                  <a:lnTo>
                    <a:pt x="164" y="35"/>
                  </a:lnTo>
                  <a:lnTo>
                    <a:pt x="164" y="38"/>
                  </a:lnTo>
                  <a:lnTo>
                    <a:pt x="161" y="38"/>
                  </a:lnTo>
                  <a:lnTo>
                    <a:pt x="164" y="38"/>
                  </a:lnTo>
                  <a:lnTo>
                    <a:pt x="161" y="38"/>
                  </a:lnTo>
                  <a:lnTo>
                    <a:pt x="159" y="38"/>
                  </a:lnTo>
                  <a:lnTo>
                    <a:pt x="159" y="40"/>
                  </a:lnTo>
                  <a:lnTo>
                    <a:pt x="156" y="40"/>
                  </a:lnTo>
                  <a:lnTo>
                    <a:pt x="154" y="40"/>
                  </a:lnTo>
                  <a:lnTo>
                    <a:pt x="152" y="40"/>
                  </a:lnTo>
                  <a:lnTo>
                    <a:pt x="149" y="40"/>
                  </a:lnTo>
                  <a:lnTo>
                    <a:pt x="149" y="38"/>
                  </a:lnTo>
                  <a:lnTo>
                    <a:pt x="149" y="35"/>
                  </a:lnTo>
                  <a:lnTo>
                    <a:pt x="147" y="35"/>
                  </a:lnTo>
                  <a:lnTo>
                    <a:pt x="147" y="38"/>
                  </a:lnTo>
                  <a:lnTo>
                    <a:pt x="147" y="35"/>
                  </a:lnTo>
                  <a:lnTo>
                    <a:pt x="145" y="35"/>
                  </a:lnTo>
                  <a:lnTo>
                    <a:pt x="145" y="38"/>
                  </a:lnTo>
                  <a:lnTo>
                    <a:pt x="145" y="35"/>
                  </a:lnTo>
                  <a:lnTo>
                    <a:pt x="145" y="38"/>
                  </a:lnTo>
                  <a:lnTo>
                    <a:pt x="142" y="38"/>
                  </a:lnTo>
                  <a:lnTo>
                    <a:pt x="145" y="38"/>
                  </a:lnTo>
                  <a:lnTo>
                    <a:pt x="142" y="38"/>
                  </a:lnTo>
                  <a:lnTo>
                    <a:pt x="142" y="40"/>
                  </a:lnTo>
                  <a:lnTo>
                    <a:pt x="140" y="40"/>
                  </a:lnTo>
                  <a:lnTo>
                    <a:pt x="142" y="40"/>
                  </a:lnTo>
                  <a:lnTo>
                    <a:pt x="140" y="40"/>
                  </a:lnTo>
                  <a:lnTo>
                    <a:pt x="140" y="42"/>
                  </a:lnTo>
                  <a:lnTo>
                    <a:pt x="142" y="42"/>
                  </a:lnTo>
                  <a:lnTo>
                    <a:pt x="140" y="42"/>
                  </a:lnTo>
                  <a:lnTo>
                    <a:pt x="137" y="42"/>
                  </a:lnTo>
                  <a:lnTo>
                    <a:pt x="137" y="45"/>
                  </a:lnTo>
                  <a:lnTo>
                    <a:pt x="135" y="45"/>
                  </a:lnTo>
                  <a:lnTo>
                    <a:pt x="135" y="47"/>
                  </a:lnTo>
                  <a:lnTo>
                    <a:pt x="133" y="47"/>
                  </a:lnTo>
                  <a:lnTo>
                    <a:pt x="130" y="47"/>
                  </a:lnTo>
                  <a:lnTo>
                    <a:pt x="130" y="45"/>
                  </a:lnTo>
                  <a:lnTo>
                    <a:pt x="128" y="45"/>
                  </a:lnTo>
                  <a:lnTo>
                    <a:pt x="126" y="45"/>
                  </a:lnTo>
                  <a:lnTo>
                    <a:pt x="126" y="42"/>
                  </a:lnTo>
                  <a:lnTo>
                    <a:pt x="126" y="45"/>
                  </a:lnTo>
                  <a:lnTo>
                    <a:pt x="123" y="45"/>
                  </a:lnTo>
                  <a:lnTo>
                    <a:pt x="121" y="45"/>
                  </a:lnTo>
                  <a:lnTo>
                    <a:pt x="121" y="47"/>
                  </a:lnTo>
                  <a:lnTo>
                    <a:pt x="121" y="50"/>
                  </a:lnTo>
                  <a:lnTo>
                    <a:pt x="123" y="50"/>
                  </a:lnTo>
                  <a:lnTo>
                    <a:pt x="123" y="52"/>
                  </a:lnTo>
                  <a:lnTo>
                    <a:pt x="126" y="52"/>
                  </a:lnTo>
                  <a:lnTo>
                    <a:pt x="126" y="54"/>
                  </a:lnTo>
                  <a:lnTo>
                    <a:pt x="128" y="54"/>
                  </a:lnTo>
                  <a:lnTo>
                    <a:pt x="128" y="57"/>
                  </a:lnTo>
                  <a:lnTo>
                    <a:pt x="128" y="54"/>
                  </a:lnTo>
                  <a:lnTo>
                    <a:pt x="128" y="57"/>
                  </a:lnTo>
                  <a:lnTo>
                    <a:pt x="126" y="57"/>
                  </a:lnTo>
                  <a:lnTo>
                    <a:pt x="126" y="59"/>
                  </a:lnTo>
                  <a:lnTo>
                    <a:pt x="126" y="61"/>
                  </a:lnTo>
                  <a:lnTo>
                    <a:pt x="128" y="61"/>
                  </a:lnTo>
                  <a:lnTo>
                    <a:pt x="130" y="61"/>
                  </a:lnTo>
                  <a:lnTo>
                    <a:pt x="130" y="59"/>
                  </a:lnTo>
                  <a:lnTo>
                    <a:pt x="130" y="61"/>
                  </a:lnTo>
                  <a:lnTo>
                    <a:pt x="133" y="61"/>
                  </a:lnTo>
                  <a:lnTo>
                    <a:pt x="133" y="64"/>
                  </a:lnTo>
                  <a:lnTo>
                    <a:pt x="133" y="61"/>
                  </a:lnTo>
                  <a:lnTo>
                    <a:pt x="133" y="64"/>
                  </a:lnTo>
                  <a:lnTo>
                    <a:pt x="133" y="61"/>
                  </a:lnTo>
                  <a:lnTo>
                    <a:pt x="133" y="64"/>
                  </a:lnTo>
                  <a:lnTo>
                    <a:pt x="135" y="64"/>
                  </a:lnTo>
                  <a:lnTo>
                    <a:pt x="137" y="64"/>
                  </a:lnTo>
                  <a:lnTo>
                    <a:pt x="137" y="66"/>
                  </a:lnTo>
                  <a:lnTo>
                    <a:pt x="140" y="66"/>
                  </a:lnTo>
                  <a:lnTo>
                    <a:pt x="140" y="69"/>
                  </a:lnTo>
                  <a:lnTo>
                    <a:pt x="142" y="69"/>
                  </a:lnTo>
                  <a:lnTo>
                    <a:pt x="142" y="71"/>
                  </a:lnTo>
                  <a:lnTo>
                    <a:pt x="145" y="71"/>
                  </a:lnTo>
                  <a:lnTo>
                    <a:pt x="145" y="73"/>
                  </a:lnTo>
                  <a:lnTo>
                    <a:pt x="142" y="73"/>
                  </a:lnTo>
                  <a:lnTo>
                    <a:pt x="140" y="73"/>
                  </a:lnTo>
                  <a:lnTo>
                    <a:pt x="140" y="71"/>
                  </a:lnTo>
                  <a:lnTo>
                    <a:pt x="137" y="71"/>
                  </a:lnTo>
                  <a:lnTo>
                    <a:pt x="137" y="69"/>
                  </a:lnTo>
                  <a:lnTo>
                    <a:pt x="135" y="69"/>
                  </a:lnTo>
                  <a:lnTo>
                    <a:pt x="135" y="66"/>
                  </a:lnTo>
                  <a:lnTo>
                    <a:pt x="133" y="66"/>
                  </a:lnTo>
                  <a:lnTo>
                    <a:pt x="130" y="66"/>
                  </a:lnTo>
                  <a:lnTo>
                    <a:pt x="130" y="64"/>
                  </a:lnTo>
                  <a:lnTo>
                    <a:pt x="128" y="64"/>
                  </a:lnTo>
                  <a:lnTo>
                    <a:pt x="126" y="64"/>
                  </a:lnTo>
                  <a:lnTo>
                    <a:pt x="126" y="61"/>
                  </a:lnTo>
                  <a:lnTo>
                    <a:pt x="126" y="64"/>
                  </a:lnTo>
                  <a:lnTo>
                    <a:pt x="123" y="64"/>
                  </a:lnTo>
                  <a:lnTo>
                    <a:pt x="121" y="64"/>
                  </a:lnTo>
                  <a:lnTo>
                    <a:pt x="121" y="66"/>
                  </a:lnTo>
                  <a:lnTo>
                    <a:pt x="121" y="69"/>
                  </a:lnTo>
                  <a:lnTo>
                    <a:pt x="123" y="69"/>
                  </a:lnTo>
                  <a:lnTo>
                    <a:pt x="121" y="69"/>
                  </a:lnTo>
                  <a:lnTo>
                    <a:pt x="123" y="69"/>
                  </a:lnTo>
                  <a:lnTo>
                    <a:pt x="123" y="71"/>
                  </a:lnTo>
                  <a:lnTo>
                    <a:pt x="126" y="71"/>
                  </a:lnTo>
                  <a:lnTo>
                    <a:pt x="128" y="71"/>
                  </a:lnTo>
                  <a:lnTo>
                    <a:pt x="128" y="73"/>
                  </a:lnTo>
                  <a:lnTo>
                    <a:pt x="130" y="73"/>
                  </a:lnTo>
                  <a:lnTo>
                    <a:pt x="130" y="76"/>
                  </a:lnTo>
                  <a:lnTo>
                    <a:pt x="130" y="73"/>
                  </a:lnTo>
                  <a:lnTo>
                    <a:pt x="130" y="76"/>
                  </a:lnTo>
                  <a:lnTo>
                    <a:pt x="130" y="78"/>
                  </a:lnTo>
                  <a:lnTo>
                    <a:pt x="130" y="76"/>
                  </a:lnTo>
                  <a:lnTo>
                    <a:pt x="130" y="78"/>
                  </a:lnTo>
                  <a:lnTo>
                    <a:pt x="130" y="81"/>
                  </a:lnTo>
                  <a:lnTo>
                    <a:pt x="130" y="78"/>
                  </a:lnTo>
                  <a:lnTo>
                    <a:pt x="130" y="81"/>
                  </a:lnTo>
                  <a:lnTo>
                    <a:pt x="130" y="83"/>
                  </a:lnTo>
                  <a:lnTo>
                    <a:pt x="130" y="81"/>
                  </a:lnTo>
                  <a:lnTo>
                    <a:pt x="128" y="81"/>
                  </a:lnTo>
                  <a:lnTo>
                    <a:pt x="128" y="83"/>
                  </a:lnTo>
                  <a:lnTo>
                    <a:pt x="128" y="81"/>
                  </a:lnTo>
                  <a:lnTo>
                    <a:pt x="126" y="81"/>
                  </a:lnTo>
                  <a:lnTo>
                    <a:pt x="126" y="78"/>
                  </a:lnTo>
                  <a:lnTo>
                    <a:pt x="123" y="78"/>
                  </a:lnTo>
                  <a:lnTo>
                    <a:pt x="123" y="76"/>
                  </a:lnTo>
                  <a:lnTo>
                    <a:pt x="123" y="73"/>
                  </a:lnTo>
                  <a:lnTo>
                    <a:pt x="121" y="73"/>
                  </a:lnTo>
                  <a:lnTo>
                    <a:pt x="121" y="71"/>
                  </a:lnTo>
                  <a:lnTo>
                    <a:pt x="118" y="69"/>
                  </a:lnTo>
                  <a:lnTo>
                    <a:pt x="116" y="69"/>
                  </a:lnTo>
                  <a:lnTo>
                    <a:pt x="114" y="69"/>
                  </a:lnTo>
                  <a:lnTo>
                    <a:pt x="114" y="66"/>
                  </a:lnTo>
                  <a:lnTo>
                    <a:pt x="111" y="66"/>
                  </a:lnTo>
                  <a:lnTo>
                    <a:pt x="109" y="66"/>
                  </a:lnTo>
                  <a:lnTo>
                    <a:pt x="109" y="69"/>
                  </a:lnTo>
                  <a:lnTo>
                    <a:pt x="109" y="71"/>
                  </a:lnTo>
                  <a:lnTo>
                    <a:pt x="109" y="73"/>
                  </a:lnTo>
                  <a:lnTo>
                    <a:pt x="111" y="73"/>
                  </a:lnTo>
                  <a:lnTo>
                    <a:pt x="111" y="76"/>
                  </a:lnTo>
                  <a:lnTo>
                    <a:pt x="114" y="76"/>
                  </a:lnTo>
                  <a:lnTo>
                    <a:pt x="114" y="78"/>
                  </a:lnTo>
                  <a:lnTo>
                    <a:pt x="116" y="78"/>
                  </a:lnTo>
                  <a:lnTo>
                    <a:pt x="116" y="81"/>
                  </a:lnTo>
                  <a:lnTo>
                    <a:pt x="118" y="81"/>
                  </a:lnTo>
                  <a:lnTo>
                    <a:pt x="121" y="81"/>
                  </a:lnTo>
                  <a:lnTo>
                    <a:pt x="121" y="83"/>
                  </a:lnTo>
                  <a:lnTo>
                    <a:pt x="123" y="83"/>
                  </a:lnTo>
                  <a:lnTo>
                    <a:pt x="121" y="83"/>
                  </a:lnTo>
                  <a:lnTo>
                    <a:pt x="123" y="83"/>
                  </a:lnTo>
                  <a:lnTo>
                    <a:pt x="121" y="83"/>
                  </a:lnTo>
                  <a:lnTo>
                    <a:pt x="118" y="83"/>
                  </a:lnTo>
                  <a:lnTo>
                    <a:pt x="116" y="83"/>
                  </a:lnTo>
                  <a:lnTo>
                    <a:pt x="114" y="81"/>
                  </a:lnTo>
                  <a:lnTo>
                    <a:pt x="111" y="81"/>
                  </a:lnTo>
                  <a:lnTo>
                    <a:pt x="109" y="81"/>
                  </a:lnTo>
                  <a:lnTo>
                    <a:pt x="109" y="78"/>
                  </a:lnTo>
                  <a:lnTo>
                    <a:pt x="109" y="76"/>
                  </a:lnTo>
                  <a:lnTo>
                    <a:pt x="107" y="76"/>
                  </a:lnTo>
                  <a:lnTo>
                    <a:pt x="107" y="73"/>
                  </a:lnTo>
                  <a:lnTo>
                    <a:pt x="109" y="73"/>
                  </a:lnTo>
                  <a:lnTo>
                    <a:pt x="109" y="71"/>
                  </a:lnTo>
                  <a:lnTo>
                    <a:pt x="109" y="69"/>
                  </a:lnTo>
                  <a:lnTo>
                    <a:pt x="107" y="69"/>
                  </a:lnTo>
                  <a:lnTo>
                    <a:pt x="104" y="69"/>
                  </a:lnTo>
                  <a:lnTo>
                    <a:pt x="104" y="66"/>
                  </a:lnTo>
                  <a:lnTo>
                    <a:pt x="102" y="66"/>
                  </a:lnTo>
                  <a:lnTo>
                    <a:pt x="99" y="66"/>
                  </a:lnTo>
                  <a:lnTo>
                    <a:pt x="99" y="64"/>
                  </a:lnTo>
                  <a:lnTo>
                    <a:pt x="97" y="64"/>
                  </a:lnTo>
                  <a:lnTo>
                    <a:pt x="97" y="61"/>
                  </a:lnTo>
                  <a:lnTo>
                    <a:pt x="95" y="61"/>
                  </a:lnTo>
                  <a:lnTo>
                    <a:pt x="95" y="59"/>
                  </a:lnTo>
                  <a:lnTo>
                    <a:pt x="92" y="59"/>
                  </a:lnTo>
                  <a:lnTo>
                    <a:pt x="92" y="57"/>
                  </a:lnTo>
                  <a:lnTo>
                    <a:pt x="95" y="57"/>
                  </a:lnTo>
                  <a:lnTo>
                    <a:pt x="97" y="54"/>
                  </a:lnTo>
                  <a:lnTo>
                    <a:pt x="95" y="54"/>
                  </a:lnTo>
                  <a:lnTo>
                    <a:pt x="95" y="52"/>
                  </a:lnTo>
                  <a:lnTo>
                    <a:pt x="95" y="50"/>
                  </a:lnTo>
                  <a:lnTo>
                    <a:pt x="92" y="50"/>
                  </a:lnTo>
                  <a:lnTo>
                    <a:pt x="92" y="52"/>
                  </a:lnTo>
                  <a:lnTo>
                    <a:pt x="92" y="50"/>
                  </a:lnTo>
                  <a:lnTo>
                    <a:pt x="92" y="52"/>
                  </a:lnTo>
                  <a:lnTo>
                    <a:pt x="90" y="54"/>
                  </a:lnTo>
                  <a:lnTo>
                    <a:pt x="92" y="54"/>
                  </a:lnTo>
                  <a:lnTo>
                    <a:pt x="90" y="54"/>
                  </a:lnTo>
                  <a:lnTo>
                    <a:pt x="88" y="54"/>
                  </a:lnTo>
                  <a:lnTo>
                    <a:pt x="90" y="54"/>
                  </a:lnTo>
                  <a:lnTo>
                    <a:pt x="88" y="54"/>
                  </a:lnTo>
                  <a:lnTo>
                    <a:pt x="90" y="54"/>
                  </a:lnTo>
                  <a:lnTo>
                    <a:pt x="90" y="57"/>
                  </a:lnTo>
                  <a:lnTo>
                    <a:pt x="88" y="57"/>
                  </a:lnTo>
                  <a:lnTo>
                    <a:pt x="90" y="57"/>
                  </a:lnTo>
                  <a:lnTo>
                    <a:pt x="88" y="57"/>
                  </a:lnTo>
                  <a:lnTo>
                    <a:pt x="88" y="54"/>
                  </a:lnTo>
                  <a:lnTo>
                    <a:pt x="85" y="54"/>
                  </a:lnTo>
                  <a:lnTo>
                    <a:pt x="85" y="57"/>
                  </a:lnTo>
                  <a:lnTo>
                    <a:pt x="88" y="57"/>
                  </a:lnTo>
                  <a:lnTo>
                    <a:pt x="85" y="57"/>
                  </a:lnTo>
                  <a:lnTo>
                    <a:pt x="85" y="59"/>
                  </a:lnTo>
                  <a:lnTo>
                    <a:pt x="85" y="57"/>
                  </a:lnTo>
                  <a:lnTo>
                    <a:pt x="85" y="59"/>
                  </a:lnTo>
                  <a:lnTo>
                    <a:pt x="85" y="57"/>
                  </a:lnTo>
                  <a:lnTo>
                    <a:pt x="83" y="57"/>
                  </a:lnTo>
                  <a:lnTo>
                    <a:pt x="83" y="59"/>
                  </a:lnTo>
                  <a:lnTo>
                    <a:pt x="85" y="59"/>
                  </a:lnTo>
                  <a:lnTo>
                    <a:pt x="85" y="61"/>
                  </a:lnTo>
                  <a:lnTo>
                    <a:pt x="85" y="64"/>
                  </a:lnTo>
                  <a:lnTo>
                    <a:pt x="85" y="66"/>
                  </a:lnTo>
                  <a:lnTo>
                    <a:pt x="85" y="69"/>
                  </a:lnTo>
                  <a:lnTo>
                    <a:pt x="83" y="69"/>
                  </a:lnTo>
                  <a:lnTo>
                    <a:pt x="83" y="71"/>
                  </a:lnTo>
                  <a:lnTo>
                    <a:pt x="83" y="73"/>
                  </a:lnTo>
                  <a:lnTo>
                    <a:pt x="83" y="76"/>
                  </a:lnTo>
                  <a:lnTo>
                    <a:pt x="83" y="78"/>
                  </a:lnTo>
                  <a:lnTo>
                    <a:pt x="85" y="78"/>
                  </a:lnTo>
                  <a:lnTo>
                    <a:pt x="85" y="81"/>
                  </a:lnTo>
                  <a:lnTo>
                    <a:pt x="88" y="81"/>
                  </a:lnTo>
                  <a:lnTo>
                    <a:pt x="88" y="83"/>
                  </a:lnTo>
                  <a:lnTo>
                    <a:pt x="88" y="85"/>
                  </a:lnTo>
                  <a:lnTo>
                    <a:pt x="90" y="85"/>
                  </a:lnTo>
                  <a:lnTo>
                    <a:pt x="90" y="88"/>
                  </a:lnTo>
                  <a:lnTo>
                    <a:pt x="92" y="88"/>
                  </a:lnTo>
                  <a:lnTo>
                    <a:pt x="92" y="90"/>
                  </a:lnTo>
                  <a:lnTo>
                    <a:pt x="92" y="92"/>
                  </a:lnTo>
                  <a:lnTo>
                    <a:pt x="95" y="92"/>
                  </a:lnTo>
                  <a:lnTo>
                    <a:pt x="95" y="95"/>
                  </a:lnTo>
                  <a:lnTo>
                    <a:pt x="95" y="97"/>
                  </a:lnTo>
                  <a:lnTo>
                    <a:pt x="95" y="100"/>
                  </a:lnTo>
                  <a:lnTo>
                    <a:pt x="97" y="100"/>
                  </a:lnTo>
                  <a:lnTo>
                    <a:pt x="99" y="100"/>
                  </a:lnTo>
                  <a:lnTo>
                    <a:pt x="99" y="102"/>
                  </a:lnTo>
                  <a:lnTo>
                    <a:pt x="102" y="102"/>
                  </a:lnTo>
                  <a:lnTo>
                    <a:pt x="102" y="104"/>
                  </a:lnTo>
                  <a:lnTo>
                    <a:pt x="102" y="107"/>
                  </a:lnTo>
                  <a:lnTo>
                    <a:pt x="104" y="107"/>
                  </a:lnTo>
                  <a:lnTo>
                    <a:pt x="104" y="109"/>
                  </a:lnTo>
                  <a:lnTo>
                    <a:pt x="104" y="107"/>
                  </a:lnTo>
                  <a:lnTo>
                    <a:pt x="104" y="109"/>
                  </a:lnTo>
                  <a:lnTo>
                    <a:pt x="107" y="109"/>
                  </a:lnTo>
                  <a:lnTo>
                    <a:pt x="107" y="111"/>
                  </a:lnTo>
                  <a:lnTo>
                    <a:pt x="107" y="114"/>
                  </a:lnTo>
                  <a:lnTo>
                    <a:pt x="109" y="114"/>
                  </a:lnTo>
                  <a:lnTo>
                    <a:pt x="109" y="116"/>
                  </a:lnTo>
                  <a:lnTo>
                    <a:pt x="109" y="119"/>
                  </a:lnTo>
                  <a:lnTo>
                    <a:pt x="107" y="119"/>
                  </a:lnTo>
                  <a:lnTo>
                    <a:pt x="104" y="119"/>
                  </a:lnTo>
                  <a:lnTo>
                    <a:pt x="104" y="121"/>
                  </a:lnTo>
                  <a:lnTo>
                    <a:pt x="104" y="119"/>
                  </a:lnTo>
                  <a:lnTo>
                    <a:pt x="102" y="121"/>
                  </a:lnTo>
                  <a:lnTo>
                    <a:pt x="99" y="121"/>
                  </a:lnTo>
                  <a:lnTo>
                    <a:pt x="99" y="119"/>
                  </a:lnTo>
                  <a:lnTo>
                    <a:pt x="102" y="119"/>
                  </a:lnTo>
                  <a:lnTo>
                    <a:pt x="102" y="116"/>
                  </a:lnTo>
                  <a:lnTo>
                    <a:pt x="102" y="119"/>
                  </a:lnTo>
                  <a:lnTo>
                    <a:pt x="99" y="119"/>
                  </a:lnTo>
                  <a:lnTo>
                    <a:pt x="99" y="121"/>
                  </a:lnTo>
                  <a:lnTo>
                    <a:pt x="102" y="121"/>
                  </a:lnTo>
                  <a:lnTo>
                    <a:pt x="102" y="119"/>
                  </a:lnTo>
                  <a:lnTo>
                    <a:pt x="104" y="119"/>
                  </a:lnTo>
                  <a:lnTo>
                    <a:pt x="104" y="116"/>
                  </a:lnTo>
                  <a:lnTo>
                    <a:pt x="104" y="119"/>
                  </a:lnTo>
                  <a:lnTo>
                    <a:pt x="104" y="116"/>
                  </a:lnTo>
                  <a:lnTo>
                    <a:pt x="104" y="119"/>
                  </a:lnTo>
                  <a:lnTo>
                    <a:pt x="104" y="116"/>
                  </a:lnTo>
                  <a:lnTo>
                    <a:pt x="104" y="114"/>
                  </a:lnTo>
                  <a:lnTo>
                    <a:pt x="104" y="111"/>
                  </a:lnTo>
                  <a:lnTo>
                    <a:pt x="102" y="111"/>
                  </a:lnTo>
                  <a:lnTo>
                    <a:pt x="99" y="111"/>
                  </a:lnTo>
                  <a:lnTo>
                    <a:pt x="99" y="109"/>
                  </a:lnTo>
                  <a:lnTo>
                    <a:pt x="99" y="111"/>
                  </a:lnTo>
                  <a:lnTo>
                    <a:pt x="99" y="109"/>
                  </a:lnTo>
                  <a:lnTo>
                    <a:pt x="97" y="109"/>
                  </a:lnTo>
                  <a:lnTo>
                    <a:pt x="95" y="109"/>
                  </a:lnTo>
                  <a:lnTo>
                    <a:pt x="95" y="111"/>
                  </a:lnTo>
                  <a:lnTo>
                    <a:pt x="92" y="111"/>
                  </a:lnTo>
                  <a:lnTo>
                    <a:pt x="92" y="114"/>
                  </a:lnTo>
                  <a:lnTo>
                    <a:pt x="92" y="116"/>
                  </a:lnTo>
                  <a:lnTo>
                    <a:pt x="92" y="119"/>
                  </a:lnTo>
                  <a:lnTo>
                    <a:pt x="92" y="116"/>
                  </a:lnTo>
                  <a:lnTo>
                    <a:pt x="95" y="116"/>
                  </a:lnTo>
                  <a:lnTo>
                    <a:pt x="95" y="119"/>
                  </a:lnTo>
                  <a:lnTo>
                    <a:pt x="97" y="119"/>
                  </a:lnTo>
                  <a:lnTo>
                    <a:pt x="97" y="121"/>
                  </a:lnTo>
                  <a:lnTo>
                    <a:pt x="97" y="123"/>
                  </a:lnTo>
                  <a:lnTo>
                    <a:pt x="99" y="123"/>
                  </a:lnTo>
                  <a:lnTo>
                    <a:pt x="97" y="123"/>
                  </a:lnTo>
                  <a:lnTo>
                    <a:pt x="97" y="126"/>
                  </a:lnTo>
                  <a:lnTo>
                    <a:pt x="95" y="128"/>
                  </a:lnTo>
                  <a:lnTo>
                    <a:pt x="95" y="126"/>
                  </a:lnTo>
                  <a:lnTo>
                    <a:pt x="95" y="128"/>
                  </a:lnTo>
                  <a:lnTo>
                    <a:pt x="92" y="128"/>
                  </a:lnTo>
                  <a:lnTo>
                    <a:pt x="92" y="130"/>
                  </a:lnTo>
                  <a:lnTo>
                    <a:pt x="90" y="130"/>
                  </a:lnTo>
                  <a:lnTo>
                    <a:pt x="88" y="130"/>
                  </a:lnTo>
                  <a:lnTo>
                    <a:pt x="85" y="130"/>
                  </a:lnTo>
                  <a:lnTo>
                    <a:pt x="85" y="128"/>
                  </a:lnTo>
                  <a:lnTo>
                    <a:pt x="83" y="128"/>
                  </a:lnTo>
                  <a:lnTo>
                    <a:pt x="83" y="130"/>
                  </a:lnTo>
                  <a:lnTo>
                    <a:pt x="83" y="133"/>
                  </a:lnTo>
                  <a:lnTo>
                    <a:pt x="83" y="130"/>
                  </a:lnTo>
                  <a:lnTo>
                    <a:pt x="83" y="133"/>
                  </a:lnTo>
                  <a:lnTo>
                    <a:pt x="83" y="130"/>
                  </a:lnTo>
                  <a:lnTo>
                    <a:pt x="83" y="133"/>
                  </a:lnTo>
                  <a:lnTo>
                    <a:pt x="85" y="130"/>
                  </a:lnTo>
                  <a:lnTo>
                    <a:pt x="83" y="130"/>
                  </a:lnTo>
                  <a:lnTo>
                    <a:pt x="85" y="130"/>
                  </a:lnTo>
                  <a:lnTo>
                    <a:pt x="85" y="133"/>
                  </a:lnTo>
                  <a:lnTo>
                    <a:pt x="85" y="130"/>
                  </a:lnTo>
                  <a:lnTo>
                    <a:pt x="85" y="133"/>
                  </a:lnTo>
                  <a:lnTo>
                    <a:pt x="88" y="130"/>
                  </a:lnTo>
                  <a:lnTo>
                    <a:pt x="88" y="133"/>
                  </a:lnTo>
                  <a:lnTo>
                    <a:pt x="90" y="133"/>
                  </a:lnTo>
                  <a:lnTo>
                    <a:pt x="90" y="135"/>
                  </a:lnTo>
                  <a:lnTo>
                    <a:pt x="90" y="133"/>
                  </a:lnTo>
                  <a:lnTo>
                    <a:pt x="90" y="135"/>
                  </a:lnTo>
                  <a:lnTo>
                    <a:pt x="92" y="133"/>
                  </a:lnTo>
                  <a:lnTo>
                    <a:pt x="92" y="135"/>
                  </a:lnTo>
                  <a:lnTo>
                    <a:pt x="95" y="135"/>
                  </a:lnTo>
                  <a:lnTo>
                    <a:pt x="97" y="135"/>
                  </a:lnTo>
                  <a:lnTo>
                    <a:pt x="99" y="135"/>
                  </a:lnTo>
                  <a:lnTo>
                    <a:pt x="99" y="138"/>
                  </a:lnTo>
                  <a:lnTo>
                    <a:pt x="99" y="140"/>
                  </a:lnTo>
                  <a:lnTo>
                    <a:pt x="102" y="140"/>
                  </a:lnTo>
                  <a:lnTo>
                    <a:pt x="104" y="140"/>
                  </a:lnTo>
                  <a:lnTo>
                    <a:pt x="102" y="140"/>
                  </a:lnTo>
                  <a:lnTo>
                    <a:pt x="104" y="138"/>
                  </a:lnTo>
                  <a:lnTo>
                    <a:pt x="104" y="140"/>
                  </a:lnTo>
                  <a:lnTo>
                    <a:pt x="107" y="140"/>
                  </a:lnTo>
                  <a:lnTo>
                    <a:pt x="109" y="140"/>
                  </a:lnTo>
                  <a:lnTo>
                    <a:pt x="109" y="142"/>
                  </a:lnTo>
                  <a:lnTo>
                    <a:pt x="107" y="142"/>
                  </a:lnTo>
                  <a:lnTo>
                    <a:pt x="107" y="145"/>
                  </a:lnTo>
                  <a:lnTo>
                    <a:pt x="109" y="145"/>
                  </a:lnTo>
                  <a:lnTo>
                    <a:pt x="109" y="147"/>
                  </a:lnTo>
                  <a:lnTo>
                    <a:pt x="109" y="145"/>
                  </a:lnTo>
                  <a:lnTo>
                    <a:pt x="109" y="147"/>
                  </a:lnTo>
                  <a:lnTo>
                    <a:pt x="111" y="147"/>
                  </a:lnTo>
                  <a:lnTo>
                    <a:pt x="114" y="147"/>
                  </a:lnTo>
                  <a:lnTo>
                    <a:pt x="116" y="147"/>
                  </a:lnTo>
                  <a:lnTo>
                    <a:pt x="116" y="149"/>
                  </a:lnTo>
                  <a:lnTo>
                    <a:pt x="118" y="149"/>
                  </a:lnTo>
                  <a:lnTo>
                    <a:pt x="116" y="149"/>
                  </a:lnTo>
                  <a:lnTo>
                    <a:pt x="118" y="149"/>
                  </a:lnTo>
                  <a:lnTo>
                    <a:pt x="118" y="152"/>
                  </a:lnTo>
                  <a:lnTo>
                    <a:pt x="118" y="154"/>
                  </a:lnTo>
                  <a:lnTo>
                    <a:pt x="121" y="154"/>
                  </a:lnTo>
                  <a:lnTo>
                    <a:pt x="123" y="154"/>
                  </a:lnTo>
                  <a:lnTo>
                    <a:pt x="126" y="154"/>
                  </a:lnTo>
                  <a:lnTo>
                    <a:pt x="126" y="157"/>
                  </a:lnTo>
                  <a:lnTo>
                    <a:pt x="128" y="157"/>
                  </a:lnTo>
                  <a:lnTo>
                    <a:pt x="130" y="157"/>
                  </a:lnTo>
                  <a:lnTo>
                    <a:pt x="130" y="159"/>
                  </a:lnTo>
                  <a:lnTo>
                    <a:pt x="133" y="159"/>
                  </a:lnTo>
                  <a:lnTo>
                    <a:pt x="133" y="161"/>
                  </a:lnTo>
                  <a:lnTo>
                    <a:pt x="133" y="164"/>
                  </a:lnTo>
                  <a:lnTo>
                    <a:pt x="130" y="164"/>
                  </a:lnTo>
                  <a:lnTo>
                    <a:pt x="130" y="166"/>
                  </a:lnTo>
                  <a:lnTo>
                    <a:pt x="130" y="168"/>
                  </a:lnTo>
                  <a:lnTo>
                    <a:pt x="130" y="171"/>
                  </a:lnTo>
                  <a:lnTo>
                    <a:pt x="130" y="173"/>
                  </a:lnTo>
                  <a:lnTo>
                    <a:pt x="133" y="173"/>
                  </a:lnTo>
                  <a:lnTo>
                    <a:pt x="130" y="173"/>
                  </a:lnTo>
                  <a:lnTo>
                    <a:pt x="130" y="176"/>
                  </a:lnTo>
                  <a:lnTo>
                    <a:pt x="133" y="176"/>
                  </a:lnTo>
                  <a:lnTo>
                    <a:pt x="133" y="178"/>
                  </a:lnTo>
                  <a:lnTo>
                    <a:pt x="133" y="180"/>
                  </a:lnTo>
                  <a:lnTo>
                    <a:pt x="133" y="183"/>
                  </a:lnTo>
                  <a:lnTo>
                    <a:pt x="133" y="185"/>
                  </a:lnTo>
                  <a:lnTo>
                    <a:pt x="130" y="185"/>
                  </a:lnTo>
                  <a:lnTo>
                    <a:pt x="133" y="185"/>
                  </a:lnTo>
                  <a:lnTo>
                    <a:pt x="130" y="185"/>
                  </a:lnTo>
                  <a:lnTo>
                    <a:pt x="130" y="183"/>
                  </a:lnTo>
                  <a:lnTo>
                    <a:pt x="130" y="185"/>
                  </a:lnTo>
                  <a:lnTo>
                    <a:pt x="128" y="183"/>
                  </a:lnTo>
                  <a:lnTo>
                    <a:pt x="128" y="180"/>
                  </a:lnTo>
                  <a:lnTo>
                    <a:pt x="128" y="183"/>
                  </a:lnTo>
                  <a:lnTo>
                    <a:pt x="128" y="180"/>
                  </a:lnTo>
                  <a:lnTo>
                    <a:pt x="128" y="178"/>
                  </a:lnTo>
                  <a:lnTo>
                    <a:pt x="126" y="178"/>
                  </a:lnTo>
                  <a:lnTo>
                    <a:pt x="123" y="17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8" name="Freeform 52279"/>
            <p:cNvSpPr>
              <a:spLocks noEditPoints="1"/>
            </p:cNvSpPr>
            <p:nvPr/>
          </p:nvSpPr>
          <p:spPr bwMode="auto">
            <a:xfrm>
              <a:off x="3041648" y="5383231"/>
              <a:ext cx="539750" cy="427038"/>
            </a:xfrm>
            <a:custGeom>
              <a:avLst/>
              <a:gdLst>
                <a:gd name="T0" fmla="*/ 136 w 340"/>
                <a:gd name="T1" fmla="*/ 248 h 269"/>
                <a:gd name="T2" fmla="*/ 193 w 340"/>
                <a:gd name="T3" fmla="*/ 238 h 269"/>
                <a:gd name="T4" fmla="*/ 254 w 340"/>
                <a:gd name="T5" fmla="*/ 233 h 269"/>
                <a:gd name="T6" fmla="*/ 259 w 340"/>
                <a:gd name="T7" fmla="*/ 221 h 269"/>
                <a:gd name="T8" fmla="*/ 271 w 340"/>
                <a:gd name="T9" fmla="*/ 205 h 269"/>
                <a:gd name="T10" fmla="*/ 276 w 340"/>
                <a:gd name="T11" fmla="*/ 205 h 269"/>
                <a:gd name="T12" fmla="*/ 117 w 340"/>
                <a:gd name="T13" fmla="*/ 207 h 269"/>
                <a:gd name="T14" fmla="*/ 202 w 340"/>
                <a:gd name="T15" fmla="*/ 198 h 269"/>
                <a:gd name="T16" fmla="*/ 264 w 340"/>
                <a:gd name="T17" fmla="*/ 195 h 269"/>
                <a:gd name="T18" fmla="*/ 254 w 340"/>
                <a:gd name="T19" fmla="*/ 191 h 269"/>
                <a:gd name="T20" fmla="*/ 276 w 340"/>
                <a:gd name="T21" fmla="*/ 188 h 269"/>
                <a:gd name="T22" fmla="*/ 228 w 340"/>
                <a:gd name="T23" fmla="*/ 188 h 269"/>
                <a:gd name="T24" fmla="*/ 254 w 340"/>
                <a:gd name="T25" fmla="*/ 186 h 269"/>
                <a:gd name="T26" fmla="*/ 167 w 340"/>
                <a:gd name="T27" fmla="*/ 183 h 269"/>
                <a:gd name="T28" fmla="*/ 167 w 340"/>
                <a:gd name="T29" fmla="*/ 183 h 269"/>
                <a:gd name="T30" fmla="*/ 197 w 340"/>
                <a:gd name="T31" fmla="*/ 188 h 269"/>
                <a:gd name="T32" fmla="*/ 148 w 340"/>
                <a:gd name="T33" fmla="*/ 179 h 269"/>
                <a:gd name="T34" fmla="*/ 205 w 340"/>
                <a:gd name="T35" fmla="*/ 176 h 269"/>
                <a:gd name="T36" fmla="*/ 250 w 340"/>
                <a:gd name="T37" fmla="*/ 181 h 269"/>
                <a:gd name="T38" fmla="*/ 219 w 340"/>
                <a:gd name="T39" fmla="*/ 176 h 269"/>
                <a:gd name="T40" fmla="*/ 219 w 340"/>
                <a:gd name="T41" fmla="*/ 174 h 269"/>
                <a:gd name="T42" fmla="*/ 188 w 340"/>
                <a:gd name="T43" fmla="*/ 172 h 269"/>
                <a:gd name="T44" fmla="*/ 176 w 340"/>
                <a:gd name="T45" fmla="*/ 174 h 269"/>
                <a:gd name="T46" fmla="*/ 250 w 340"/>
                <a:gd name="T47" fmla="*/ 174 h 269"/>
                <a:gd name="T48" fmla="*/ 193 w 340"/>
                <a:gd name="T49" fmla="*/ 167 h 269"/>
                <a:gd name="T50" fmla="*/ 247 w 340"/>
                <a:gd name="T51" fmla="*/ 164 h 269"/>
                <a:gd name="T52" fmla="*/ 200 w 340"/>
                <a:gd name="T53" fmla="*/ 176 h 269"/>
                <a:gd name="T54" fmla="*/ 167 w 340"/>
                <a:gd name="T55" fmla="*/ 164 h 269"/>
                <a:gd name="T56" fmla="*/ 124 w 340"/>
                <a:gd name="T57" fmla="*/ 162 h 269"/>
                <a:gd name="T58" fmla="*/ 131 w 340"/>
                <a:gd name="T59" fmla="*/ 157 h 269"/>
                <a:gd name="T60" fmla="*/ 238 w 340"/>
                <a:gd name="T61" fmla="*/ 160 h 269"/>
                <a:gd name="T62" fmla="*/ 195 w 340"/>
                <a:gd name="T63" fmla="*/ 155 h 269"/>
                <a:gd name="T64" fmla="*/ 169 w 340"/>
                <a:gd name="T65" fmla="*/ 155 h 269"/>
                <a:gd name="T66" fmla="*/ 197 w 340"/>
                <a:gd name="T67" fmla="*/ 150 h 269"/>
                <a:gd name="T68" fmla="*/ 183 w 340"/>
                <a:gd name="T69" fmla="*/ 150 h 269"/>
                <a:gd name="T70" fmla="*/ 233 w 340"/>
                <a:gd name="T71" fmla="*/ 145 h 269"/>
                <a:gd name="T72" fmla="*/ 235 w 340"/>
                <a:gd name="T73" fmla="*/ 145 h 269"/>
                <a:gd name="T74" fmla="*/ 164 w 340"/>
                <a:gd name="T75" fmla="*/ 141 h 269"/>
                <a:gd name="T76" fmla="*/ 231 w 340"/>
                <a:gd name="T77" fmla="*/ 143 h 269"/>
                <a:gd name="T78" fmla="*/ 157 w 340"/>
                <a:gd name="T79" fmla="*/ 141 h 269"/>
                <a:gd name="T80" fmla="*/ 133 w 340"/>
                <a:gd name="T81" fmla="*/ 138 h 269"/>
                <a:gd name="T82" fmla="*/ 252 w 340"/>
                <a:gd name="T83" fmla="*/ 141 h 269"/>
                <a:gd name="T84" fmla="*/ 129 w 340"/>
                <a:gd name="T85" fmla="*/ 136 h 269"/>
                <a:gd name="T86" fmla="*/ 41 w 340"/>
                <a:gd name="T87" fmla="*/ 136 h 269"/>
                <a:gd name="T88" fmla="*/ 186 w 340"/>
                <a:gd name="T89" fmla="*/ 138 h 269"/>
                <a:gd name="T90" fmla="*/ 176 w 340"/>
                <a:gd name="T91" fmla="*/ 129 h 269"/>
                <a:gd name="T92" fmla="*/ 159 w 340"/>
                <a:gd name="T93" fmla="*/ 126 h 269"/>
                <a:gd name="T94" fmla="*/ 55 w 340"/>
                <a:gd name="T95" fmla="*/ 110 h 269"/>
                <a:gd name="T96" fmla="*/ 46 w 340"/>
                <a:gd name="T97" fmla="*/ 115 h 269"/>
                <a:gd name="T98" fmla="*/ 226 w 340"/>
                <a:gd name="T99" fmla="*/ 105 h 269"/>
                <a:gd name="T100" fmla="*/ 50 w 340"/>
                <a:gd name="T101" fmla="*/ 98 h 269"/>
                <a:gd name="T102" fmla="*/ 169 w 340"/>
                <a:gd name="T103" fmla="*/ 91 h 269"/>
                <a:gd name="T104" fmla="*/ 169 w 340"/>
                <a:gd name="T105" fmla="*/ 93 h 269"/>
                <a:gd name="T106" fmla="*/ 157 w 340"/>
                <a:gd name="T107" fmla="*/ 77 h 269"/>
                <a:gd name="T108" fmla="*/ 145 w 340"/>
                <a:gd name="T109" fmla="*/ 79 h 269"/>
                <a:gd name="T110" fmla="*/ 152 w 340"/>
                <a:gd name="T111" fmla="*/ 72 h 269"/>
                <a:gd name="T112" fmla="*/ 150 w 340"/>
                <a:gd name="T113" fmla="*/ 69 h 269"/>
                <a:gd name="T114" fmla="*/ 157 w 340"/>
                <a:gd name="T115" fmla="*/ 67 h 269"/>
                <a:gd name="T116" fmla="*/ 0 w 340"/>
                <a:gd name="T117" fmla="*/ 43 h 269"/>
                <a:gd name="T118" fmla="*/ 207 w 340"/>
                <a:gd name="T119" fmla="*/ 17 h 269"/>
                <a:gd name="T120" fmla="*/ 174 w 340"/>
                <a:gd name="T121" fmla="*/ 1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0" h="269">
                  <a:moveTo>
                    <a:pt x="155" y="264"/>
                  </a:moveTo>
                  <a:lnTo>
                    <a:pt x="155" y="267"/>
                  </a:lnTo>
                  <a:lnTo>
                    <a:pt x="157" y="267"/>
                  </a:lnTo>
                  <a:lnTo>
                    <a:pt x="157" y="269"/>
                  </a:lnTo>
                  <a:lnTo>
                    <a:pt x="155" y="267"/>
                  </a:lnTo>
                  <a:lnTo>
                    <a:pt x="155" y="264"/>
                  </a:lnTo>
                  <a:close/>
                  <a:moveTo>
                    <a:pt x="209" y="264"/>
                  </a:moveTo>
                  <a:lnTo>
                    <a:pt x="209" y="267"/>
                  </a:lnTo>
                  <a:lnTo>
                    <a:pt x="209" y="264"/>
                  </a:lnTo>
                  <a:lnTo>
                    <a:pt x="207" y="264"/>
                  </a:lnTo>
                  <a:lnTo>
                    <a:pt x="209" y="264"/>
                  </a:lnTo>
                  <a:close/>
                  <a:moveTo>
                    <a:pt x="152" y="264"/>
                  </a:moveTo>
                  <a:lnTo>
                    <a:pt x="152" y="262"/>
                  </a:lnTo>
                  <a:lnTo>
                    <a:pt x="152" y="264"/>
                  </a:lnTo>
                  <a:close/>
                  <a:moveTo>
                    <a:pt x="223" y="262"/>
                  </a:moveTo>
                  <a:lnTo>
                    <a:pt x="223" y="264"/>
                  </a:lnTo>
                  <a:lnTo>
                    <a:pt x="223" y="262"/>
                  </a:lnTo>
                  <a:close/>
                  <a:moveTo>
                    <a:pt x="214" y="250"/>
                  </a:moveTo>
                  <a:lnTo>
                    <a:pt x="214" y="252"/>
                  </a:lnTo>
                  <a:lnTo>
                    <a:pt x="214" y="250"/>
                  </a:lnTo>
                  <a:close/>
                  <a:moveTo>
                    <a:pt x="138" y="248"/>
                  </a:moveTo>
                  <a:lnTo>
                    <a:pt x="136" y="248"/>
                  </a:lnTo>
                  <a:lnTo>
                    <a:pt x="138" y="248"/>
                  </a:lnTo>
                  <a:close/>
                  <a:moveTo>
                    <a:pt x="231" y="248"/>
                  </a:moveTo>
                  <a:lnTo>
                    <a:pt x="228" y="248"/>
                  </a:lnTo>
                  <a:lnTo>
                    <a:pt x="231" y="248"/>
                  </a:lnTo>
                  <a:close/>
                  <a:moveTo>
                    <a:pt x="223" y="243"/>
                  </a:moveTo>
                  <a:lnTo>
                    <a:pt x="223" y="245"/>
                  </a:lnTo>
                  <a:lnTo>
                    <a:pt x="223" y="243"/>
                  </a:lnTo>
                  <a:lnTo>
                    <a:pt x="223" y="245"/>
                  </a:lnTo>
                  <a:lnTo>
                    <a:pt x="223" y="243"/>
                  </a:lnTo>
                  <a:close/>
                  <a:moveTo>
                    <a:pt x="252" y="240"/>
                  </a:moveTo>
                  <a:lnTo>
                    <a:pt x="252" y="243"/>
                  </a:lnTo>
                  <a:lnTo>
                    <a:pt x="250" y="243"/>
                  </a:lnTo>
                  <a:lnTo>
                    <a:pt x="247" y="243"/>
                  </a:lnTo>
                  <a:lnTo>
                    <a:pt x="247" y="245"/>
                  </a:lnTo>
                  <a:lnTo>
                    <a:pt x="247" y="243"/>
                  </a:lnTo>
                  <a:lnTo>
                    <a:pt x="247" y="240"/>
                  </a:lnTo>
                  <a:lnTo>
                    <a:pt x="250" y="240"/>
                  </a:lnTo>
                  <a:lnTo>
                    <a:pt x="252" y="240"/>
                  </a:lnTo>
                  <a:close/>
                  <a:moveTo>
                    <a:pt x="193" y="240"/>
                  </a:moveTo>
                  <a:lnTo>
                    <a:pt x="190" y="240"/>
                  </a:lnTo>
                  <a:lnTo>
                    <a:pt x="193" y="240"/>
                  </a:lnTo>
                  <a:lnTo>
                    <a:pt x="193" y="238"/>
                  </a:lnTo>
                  <a:lnTo>
                    <a:pt x="193" y="240"/>
                  </a:lnTo>
                  <a:close/>
                  <a:moveTo>
                    <a:pt x="259" y="224"/>
                  </a:moveTo>
                  <a:lnTo>
                    <a:pt x="259" y="226"/>
                  </a:lnTo>
                  <a:lnTo>
                    <a:pt x="259" y="229"/>
                  </a:lnTo>
                  <a:lnTo>
                    <a:pt x="257" y="229"/>
                  </a:lnTo>
                  <a:lnTo>
                    <a:pt x="257" y="231"/>
                  </a:lnTo>
                  <a:lnTo>
                    <a:pt x="257" y="233"/>
                  </a:lnTo>
                  <a:lnTo>
                    <a:pt x="259" y="233"/>
                  </a:lnTo>
                  <a:lnTo>
                    <a:pt x="259" y="236"/>
                  </a:lnTo>
                  <a:lnTo>
                    <a:pt x="259" y="238"/>
                  </a:lnTo>
                  <a:lnTo>
                    <a:pt x="257" y="238"/>
                  </a:lnTo>
                  <a:lnTo>
                    <a:pt x="257" y="240"/>
                  </a:lnTo>
                  <a:lnTo>
                    <a:pt x="257" y="238"/>
                  </a:lnTo>
                  <a:lnTo>
                    <a:pt x="257" y="240"/>
                  </a:lnTo>
                  <a:lnTo>
                    <a:pt x="257" y="243"/>
                  </a:lnTo>
                  <a:lnTo>
                    <a:pt x="257" y="240"/>
                  </a:lnTo>
                  <a:lnTo>
                    <a:pt x="257" y="243"/>
                  </a:lnTo>
                  <a:lnTo>
                    <a:pt x="257" y="240"/>
                  </a:lnTo>
                  <a:lnTo>
                    <a:pt x="254" y="240"/>
                  </a:lnTo>
                  <a:lnTo>
                    <a:pt x="254" y="238"/>
                  </a:lnTo>
                  <a:lnTo>
                    <a:pt x="254" y="236"/>
                  </a:lnTo>
                  <a:lnTo>
                    <a:pt x="254" y="233"/>
                  </a:lnTo>
                  <a:lnTo>
                    <a:pt x="254" y="231"/>
                  </a:lnTo>
                  <a:lnTo>
                    <a:pt x="254" y="229"/>
                  </a:lnTo>
                  <a:lnTo>
                    <a:pt x="257" y="229"/>
                  </a:lnTo>
                  <a:lnTo>
                    <a:pt x="257" y="226"/>
                  </a:lnTo>
                  <a:lnTo>
                    <a:pt x="257" y="224"/>
                  </a:lnTo>
                  <a:lnTo>
                    <a:pt x="259" y="224"/>
                  </a:lnTo>
                  <a:close/>
                  <a:moveTo>
                    <a:pt x="245" y="221"/>
                  </a:moveTo>
                  <a:lnTo>
                    <a:pt x="245" y="219"/>
                  </a:lnTo>
                  <a:lnTo>
                    <a:pt x="245" y="221"/>
                  </a:lnTo>
                  <a:close/>
                  <a:moveTo>
                    <a:pt x="129" y="219"/>
                  </a:moveTo>
                  <a:lnTo>
                    <a:pt x="129" y="221"/>
                  </a:lnTo>
                  <a:lnTo>
                    <a:pt x="129" y="219"/>
                  </a:lnTo>
                  <a:lnTo>
                    <a:pt x="129" y="221"/>
                  </a:lnTo>
                  <a:lnTo>
                    <a:pt x="131" y="221"/>
                  </a:lnTo>
                  <a:lnTo>
                    <a:pt x="131" y="224"/>
                  </a:lnTo>
                  <a:lnTo>
                    <a:pt x="129" y="224"/>
                  </a:lnTo>
                  <a:lnTo>
                    <a:pt x="129" y="221"/>
                  </a:lnTo>
                  <a:lnTo>
                    <a:pt x="129" y="219"/>
                  </a:lnTo>
                  <a:close/>
                  <a:moveTo>
                    <a:pt x="259" y="219"/>
                  </a:moveTo>
                  <a:lnTo>
                    <a:pt x="259" y="221"/>
                  </a:lnTo>
                  <a:lnTo>
                    <a:pt x="259" y="219"/>
                  </a:lnTo>
                  <a:lnTo>
                    <a:pt x="259" y="221"/>
                  </a:lnTo>
                  <a:lnTo>
                    <a:pt x="259" y="224"/>
                  </a:lnTo>
                  <a:lnTo>
                    <a:pt x="259" y="221"/>
                  </a:lnTo>
                  <a:lnTo>
                    <a:pt x="257" y="221"/>
                  </a:lnTo>
                  <a:lnTo>
                    <a:pt x="259" y="221"/>
                  </a:lnTo>
                  <a:lnTo>
                    <a:pt x="259" y="219"/>
                  </a:lnTo>
                  <a:close/>
                  <a:moveTo>
                    <a:pt x="231" y="212"/>
                  </a:moveTo>
                  <a:lnTo>
                    <a:pt x="233" y="212"/>
                  </a:lnTo>
                  <a:lnTo>
                    <a:pt x="231" y="212"/>
                  </a:lnTo>
                  <a:close/>
                  <a:moveTo>
                    <a:pt x="337" y="212"/>
                  </a:moveTo>
                  <a:lnTo>
                    <a:pt x="337" y="210"/>
                  </a:lnTo>
                  <a:lnTo>
                    <a:pt x="340" y="210"/>
                  </a:lnTo>
                  <a:lnTo>
                    <a:pt x="337" y="210"/>
                  </a:lnTo>
                  <a:lnTo>
                    <a:pt x="337" y="212"/>
                  </a:lnTo>
                  <a:close/>
                  <a:moveTo>
                    <a:pt x="333" y="210"/>
                  </a:moveTo>
                  <a:lnTo>
                    <a:pt x="335" y="210"/>
                  </a:lnTo>
                  <a:lnTo>
                    <a:pt x="333" y="210"/>
                  </a:lnTo>
                  <a:close/>
                  <a:moveTo>
                    <a:pt x="337" y="210"/>
                  </a:moveTo>
                  <a:lnTo>
                    <a:pt x="335" y="210"/>
                  </a:lnTo>
                  <a:lnTo>
                    <a:pt x="337" y="210"/>
                  </a:lnTo>
                  <a:lnTo>
                    <a:pt x="337" y="207"/>
                  </a:lnTo>
                  <a:lnTo>
                    <a:pt x="337" y="210"/>
                  </a:lnTo>
                  <a:close/>
                  <a:moveTo>
                    <a:pt x="271" y="205"/>
                  </a:moveTo>
                  <a:lnTo>
                    <a:pt x="271" y="207"/>
                  </a:lnTo>
                  <a:lnTo>
                    <a:pt x="271" y="205"/>
                  </a:lnTo>
                  <a:lnTo>
                    <a:pt x="271" y="207"/>
                  </a:lnTo>
                  <a:lnTo>
                    <a:pt x="271" y="205"/>
                  </a:lnTo>
                  <a:lnTo>
                    <a:pt x="269" y="207"/>
                  </a:lnTo>
                  <a:lnTo>
                    <a:pt x="269" y="205"/>
                  </a:lnTo>
                  <a:lnTo>
                    <a:pt x="269" y="207"/>
                  </a:lnTo>
                  <a:lnTo>
                    <a:pt x="269" y="205"/>
                  </a:lnTo>
                  <a:lnTo>
                    <a:pt x="271" y="205"/>
                  </a:lnTo>
                  <a:close/>
                  <a:moveTo>
                    <a:pt x="121" y="202"/>
                  </a:moveTo>
                  <a:lnTo>
                    <a:pt x="121" y="205"/>
                  </a:lnTo>
                  <a:lnTo>
                    <a:pt x="121" y="202"/>
                  </a:lnTo>
                  <a:close/>
                  <a:moveTo>
                    <a:pt x="214" y="202"/>
                  </a:moveTo>
                  <a:lnTo>
                    <a:pt x="214" y="205"/>
                  </a:lnTo>
                  <a:lnTo>
                    <a:pt x="214" y="202"/>
                  </a:lnTo>
                  <a:close/>
                  <a:moveTo>
                    <a:pt x="212" y="202"/>
                  </a:moveTo>
                  <a:lnTo>
                    <a:pt x="214" y="202"/>
                  </a:lnTo>
                  <a:lnTo>
                    <a:pt x="214" y="205"/>
                  </a:lnTo>
                  <a:lnTo>
                    <a:pt x="212" y="205"/>
                  </a:lnTo>
                  <a:lnTo>
                    <a:pt x="212" y="202"/>
                  </a:lnTo>
                  <a:close/>
                  <a:moveTo>
                    <a:pt x="276" y="202"/>
                  </a:moveTo>
                  <a:lnTo>
                    <a:pt x="276" y="205"/>
                  </a:lnTo>
                  <a:lnTo>
                    <a:pt x="273" y="205"/>
                  </a:lnTo>
                  <a:lnTo>
                    <a:pt x="276" y="205"/>
                  </a:lnTo>
                  <a:lnTo>
                    <a:pt x="273" y="205"/>
                  </a:lnTo>
                  <a:lnTo>
                    <a:pt x="273" y="202"/>
                  </a:lnTo>
                  <a:lnTo>
                    <a:pt x="276" y="202"/>
                  </a:lnTo>
                  <a:close/>
                  <a:moveTo>
                    <a:pt x="240" y="200"/>
                  </a:moveTo>
                  <a:lnTo>
                    <a:pt x="242" y="200"/>
                  </a:lnTo>
                  <a:lnTo>
                    <a:pt x="240" y="200"/>
                  </a:lnTo>
                  <a:lnTo>
                    <a:pt x="240" y="202"/>
                  </a:lnTo>
                  <a:lnTo>
                    <a:pt x="240" y="200"/>
                  </a:lnTo>
                  <a:close/>
                  <a:moveTo>
                    <a:pt x="119" y="198"/>
                  </a:moveTo>
                  <a:lnTo>
                    <a:pt x="119" y="200"/>
                  </a:lnTo>
                  <a:lnTo>
                    <a:pt x="119" y="202"/>
                  </a:lnTo>
                  <a:lnTo>
                    <a:pt x="121" y="202"/>
                  </a:lnTo>
                  <a:lnTo>
                    <a:pt x="121" y="205"/>
                  </a:lnTo>
                  <a:lnTo>
                    <a:pt x="124" y="205"/>
                  </a:lnTo>
                  <a:lnTo>
                    <a:pt x="121" y="205"/>
                  </a:lnTo>
                  <a:lnTo>
                    <a:pt x="121" y="207"/>
                  </a:lnTo>
                  <a:lnTo>
                    <a:pt x="121" y="210"/>
                  </a:lnTo>
                  <a:lnTo>
                    <a:pt x="119" y="210"/>
                  </a:lnTo>
                  <a:lnTo>
                    <a:pt x="117" y="210"/>
                  </a:lnTo>
                  <a:lnTo>
                    <a:pt x="117" y="207"/>
                  </a:lnTo>
                  <a:lnTo>
                    <a:pt x="117" y="205"/>
                  </a:lnTo>
                  <a:lnTo>
                    <a:pt x="117" y="202"/>
                  </a:lnTo>
                  <a:lnTo>
                    <a:pt x="117" y="200"/>
                  </a:lnTo>
                  <a:lnTo>
                    <a:pt x="117" y="198"/>
                  </a:lnTo>
                  <a:lnTo>
                    <a:pt x="119" y="198"/>
                  </a:lnTo>
                  <a:close/>
                  <a:moveTo>
                    <a:pt x="212" y="200"/>
                  </a:moveTo>
                  <a:lnTo>
                    <a:pt x="214" y="200"/>
                  </a:lnTo>
                  <a:lnTo>
                    <a:pt x="212" y="200"/>
                  </a:lnTo>
                  <a:lnTo>
                    <a:pt x="209" y="200"/>
                  </a:lnTo>
                  <a:lnTo>
                    <a:pt x="209" y="198"/>
                  </a:lnTo>
                  <a:lnTo>
                    <a:pt x="212" y="198"/>
                  </a:lnTo>
                  <a:lnTo>
                    <a:pt x="212" y="200"/>
                  </a:lnTo>
                  <a:close/>
                  <a:moveTo>
                    <a:pt x="197" y="198"/>
                  </a:moveTo>
                  <a:lnTo>
                    <a:pt x="200" y="198"/>
                  </a:lnTo>
                  <a:lnTo>
                    <a:pt x="197" y="198"/>
                  </a:lnTo>
                  <a:close/>
                  <a:moveTo>
                    <a:pt x="197" y="195"/>
                  </a:moveTo>
                  <a:lnTo>
                    <a:pt x="197" y="198"/>
                  </a:lnTo>
                  <a:lnTo>
                    <a:pt x="195" y="198"/>
                  </a:lnTo>
                  <a:lnTo>
                    <a:pt x="197" y="195"/>
                  </a:lnTo>
                  <a:close/>
                  <a:moveTo>
                    <a:pt x="200" y="195"/>
                  </a:moveTo>
                  <a:lnTo>
                    <a:pt x="200" y="198"/>
                  </a:lnTo>
                  <a:lnTo>
                    <a:pt x="202" y="198"/>
                  </a:lnTo>
                  <a:lnTo>
                    <a:pt x="202" y="200"/>
                  </a:lnTo>
                  <a:lnTo>
                    <a:pt x="200" y="200"/>
                  </a:lnTo>
                  <a:lnTo>
                    <a:pt x="197" y="200"/>
                  </a:lnTo>
                  <a:lnTo>
                    <a:pt x="200" y="200"/>
                  </a:lnTo>
                  <a:lnTo>
                    <a:pt x="200" y="198"/>
                  </a:lnTo>
                  <a:lnTo>
                    <a:pt x="200" y="195"/>
                  </a:lnTo>
                  <a:lnTo>
                    <a:pt x="197" y="195"/>
                  </a:lnTo>
                  <a:lnTo>
                    <a:pt x="200" y="195"/>
                  </a:lnTo>
                  <a:close/>
                  <a:moveTo>
                    <a:pt x="264" y="195"/>
                  </a:moveTo>
                  <a:lnTo>
                    <a:pt x="264" y="198"/>
                  </a:lnTo>
                  <a:lnTo>
                    <a:pt x="266" y="198"/>
                  </a:lnTo>
                  <a:lnTo>
                    <a:pt x="264" y="198"/>
                  </a:lnTo>
                  <a:lnTo>
                    <a:pt x="264" y="200"/>
                  </a:lnTo>
                  <a:lnTo>
                    <a:pt x="264" y="198"/>
                  </a:lnTo>
                  <a:lnTo>
                    <a:pt x="264" y="200"/>
                  </a:lnTo>
                  <a:lnTo>
                    <a:pt x="264" y="198"/>
                  </a:lnTo>
                  <a:lnTo>
                    <a:pt x="264" y="200"/>
                  </a:lnTo>
                  <a:lnTo>
                    <a:pt x="264" y="198"/>
                  </a:lnTo>
                  <a:lnTo>
                    <a:pt x="264" y="195"/>
                  </a:lnTo>
                  <a:lnTo>
                    <a:pt x="261" y="198"/>
                  </a:lnTo>
                  <a:lnTo>
                    <a:pt x="261" y="195"/>
                  </a:lnTo>
                  <a:lnTo>
                    <a:pt x="264" y="195"/>
                  </a:lnTo>
                  <a:close/>
                  <a:moveTo>
                    <a:pt x="119" y="193"/>
                  </a:moveTo>
                  <a:lnTo>
                    <a:pt x="119" y="195"/>
                  </a:lnTo>
                  <a:lnTo>
                    <a:pt x="117" y="195"/>
                  </a:lnTo>
                  <a:lnTo>
                    <a:pt x="117" y="193"/>
                  </a:lnTo>
                  <a:lnTo>
                    <a:pt x="119" y="193"/>
                  </a:lnTo>
                  <a:close/>
                  <a:moveTo>
                    <a:pt x="233" y="193"/>
                  </a:moveTo>
                  <a:lnTo>
                    <a:pt x="233" y="191"/>
                  </a:lnTo>
                  <a:lnTo>
                    <a:pt x="233" y="193"/>
                  </a:lnTo>
                  <a:close/>
                  <a:moveTo>
                    <a:pt x="223" y="191"/>
                  </a:moveTo>
                  <a:lnTo>
                    <a:pt x="223" y="193"/>
                  </a:lnTo>
                  <a:lnTo>
                    <a:pt x="223" y="191"/>
                  </a:lnTo>
                  <a:close/>
                  <a:moveTo>
                    <a:pt x="252" y="191"/>
                  </a:moveTo>
                  <a:lnTo>
                    <a:pt x="252" y="188"/>
                  </a:lnTo>
                  <a:lnTo>
                    <a:pt x="252" y="191"/>
                  </a:lnTo>
                  <a:close/>
                  <a:moveTo>
                    <a:pt x="231" y="188"/>
                  </a:moveTo>
                  <a:lnTo>
                    <a:pt x="231" y="191"/>
                  </a:lnTo>
                  <a:lnTo>
                    <a:pt x="231" y="188"/>
                  </a:lnTo>
                  <a:close/>
                  <a:moveTo>
                    <a:pt x="257" y="188"/>
                  </a:moveTo>
                  <a:lnTo>
                    <a:pt x="259" y="188"/>
                  </a:lnTo>
                  <a:lnTo>
                    <a:pt x="259" y="191"/>
                  </a:lnTo>
                  <a:lnTo>
                    <a:pt x="257" y="191"/>
                  </a:lnTo>
                  <a:lnTo>
                    <a:pt x="254" y="191"/>
                  </a:lnTo>
                  <a:lnTo>
                    <a:pt x="257" y="191"/>
                  </a:lnTo>
                  <a:lnTo>
                    <a:pt x="254" y="191"/>
                  </a:lnTo>
                  <a:lnTo>
                    <a:pt x="257" y="191"/>
                  </a:lnTo>
                  <a:lnTo>
                    <a:pt x="254" y="188"/>
                  </a:lnTo>
                  <a:lnTo>
                    <a:pt x="257" y="188"/>
                  </a:lnTo>
                  <a:close/>
                  <a:moveTo>
                    <a:pt x="207" y="188"/>
                  </a:moveTo>
                  <a:lnTo>
                    <a:pt x="209" y="188"/>
                  </a:lnTo>
                  <a:lnTo>
                    <a:pt x="207" y="188"/>
                  </a:lnTo>
                  <a:close/>
                  <a:moveTo>
                    <a:pt x="278" y="188"/>
                  </a:moveTo>
                  <a:lnTo>
                    <a:pt x="280" y="188"/>
                  </a:lnTo>
                  <a:lnTo>
                    <a:pt x="280" y="191"/>
                  </a:lnTo>
                  <a:lnTo>
                    <a:pt x="280" y="193"/>
                  </a:lnTo>
                  <a:lnTo>
                    <a:pt x="278" y="193"/>
                  </a:lnTo>
                  <a:lnTo>
                    <a:pt x="278" y="191"/>
                  </a:lnTo>
                  <a:lnTo>
                    <a:pt x="278" y="193"/>
                  </a:lnTo>
                  <a:lnTo>
                    <a:pt x="278" y="191"/>
                  </a:lnTo>
                  <a:lnTo>
                    <a:pt x="280" y="191"/>
                  </a:lnTo>
                  <a:lnTo>
                    <a:pt x="278" y="191"/>
                  </a:lnTo>
                  <a:lnTo>
                    <a:pt x="280" y="191"/>
                  </a:lnTo>
                  <a:lnTo>
                    <a:pt x="278" y="191"/>
                  </a:lnTo>
                  <a:lnTo>
                    <a:pt x="276" y="191"/>
                  </a:lnTo>
                  <a:lnTo>
                    <a:pt x="276" y="188"/>
                  </a:lnTo>
                  <a:lnTo>
                    <a:pt x="278" y="188"/>
                  </a:lnTo>
                  <a:lnTo>
                    <a:pt x="276" y="188"/>
                  </a:lnTo>
                  <a:lnTo>
                    <a:pt x="278" y="188"/>
                  </a:lnTo>
                  <a:close/>
                  <a:moveTo>
                    <a:pt x="231" y="188"/>
                  </a:moveTo>
                  <a:lnTo>
                    <a:pt x="233" y="188"/>
                  </a:lnTo>
                  <a:lnTo>
                    <a:pt x="233" y="191"/>
                  </a:lnTo>
                  <a:lnTo>
                    <a:pt x="231" y="191"/>
                  </a:lnTo>
                  <a:lnTo>
                    <a:pt x="231" y="193"/>
                  </a:lnTo>
                  <a:lnTo>
                    <a:pt x="231" y="191"/>
                  </a:lnTo>
                  <a:lnTo>
                    <a:pt x="231" y="193"/>
                  </a:lnTo>
                  <a:lnTo>
                    <a:pt x="228" y="193"/>
                  </a:lnTo>
                  <a:lnTo>
                    <a:pt x="228" y="191"/>
                  </a:lnTo>
                  <a:lnTo>
                    <a:pt x="226" y="191"/>
                  </a:lnTo>
                  <a:lnTo>
                    <a:pt x="228" y="191"/>
                  </a:lnTo>
                  <a:lnTo>
                    <a:pt x="226" y="191"/>
                  </a:lnTo>
                  <a:lnTo>
                    <a:pt x="228" y="188"/>
                  </a:lnTo>
                  <a:lnTo>
                    <a:pt x="228" y="191"/>
                  </a:lnTo>
                  <a:lnTo>
                    <a:pt x="228" y="188"/>
                  </a:lnTo>
                  <a:lnTo>
                    <a:pt x="228" y="191"/>
                  </a:lnTo>
                  <a:lnTo>
                    <a:pt x="228" y="188"/>
                  </a:lnTo>
                  <a:lnTo>
                    <a:pt x="228" y="191"/>
                  </a:lnTo>
                  <a:lnTo>
                    <a:pt x="228" y="188"/>
                  </a:lnTo>
                  <a:lnTo>
                    <a:pt x="228" y="191"/>
                  </a:lnTo>
                  <a:lnTo>
                    <a:pt x="231" y="191"/>
                  </a:lnTo>
                  <a:lnTo>
                    <a:pt x="231" y="188"/>
                  </a:lnTo>
                  <a:lnTo>
                    <a:pt x="231" y="191"/>
                  </a:lnTo>
                  <a:lnTo>
                    <a:pt x="231" y="188"/>
                  </a:lnTo>
                  <a:lnTo>
                    <a:pt x="233" y="188"/>
                  </a:lnTo>
                  <a:lnTo>
                    <a:pt x="231" y="188"/>
                  </a:lnTo>
                  <a:close/>
                  <a:moveTo>
                    <a:pt x="181" y="186"/>
                  </a:moveTo>
                  <a:lnTo>
                    <a:pt x="183" y="188"/>
                  </a:lnTo>
                  <a:lnTo>
                    <a:pt x="183" y="191"/>
                  </a:lnTo>
                  <a:lnTo>
                    <a:pt x="183" y="188"/>
                  </a:lnTo>
                  <a:lnTo>
                    <a:pt x="181" y="188"/>
                  </a:lnTo>
                  <a:lnTo>
                    <a:pt x="181" y="186"/>
                  </a:lnTo>
                  <a:close/>
                  <a:moveTo>
                    <a:pt x="280" y="186"/>
                  </a:moveTo>
                  <a:lnTo>
                    <a:pt x="280" y="188"/>
                  </a:lnTo>
                  <a:lnTo>
                    <a:pt x="278" y="188"/>
                  </a:lnTo>
                  <a:lnTo>
                    <a:pt x="278" y="186"/>
                  </a:lnTo>
                  <a:lnTo>
                    <a:pt x="280" y="186"/>
                  </a:lnTo>
                  <a:close/>
                  <a:moveTo>
                    <a:pt x="257" y="186"/>
                  </a:moveTo>
                  <a:lnTo>
                    <a:pt x="254" y="186"/>
                  </a:lnTo>
                  <a:lnTo>
                    <a:pt x="254" y="188"/>
                  </a:lnTo>
                  <a:lnTo>
                    <a:pt x="254" y="186"/>
                  </a:lnTo>
                  <a:lnTo>
                    <a:pt x="257" y="186"/>
                  </a:lnTo>
                  <a:close/>
                  <a:moveTo>
                    <a:pt x="84" y="186"/>
                  </a:moveTo>
                  <a:lnTo>
                    <a:pt x="84" y="183"/>
                  </a:lnTo>
                  <a:lnTo>
                    <a:pt x="84" y="186"/>
                  </a:lnTo>
                  <a:close/>
                  <a:moveTo>
                    <a:pt x="190" y="183"/>
                  </a:moveTo>
                  <a:lnTo>
                    <a:pt x="190" y="186"/>
                  </a:lnTo>
                  <a:lnTo>
                    <a:pt x="188" y="186"/>
                  </a:lnTo>
                  <a:lnTo>
                    <a:pt x="188" y="188"/>
                  </a:lnTo>
                  <a:lnTo>
                    <a:pt x="188" y="186"/>
                  </a:lnTo>
                  <a:lnTo>
                    <a:pt x="190" y="183"/>
                  </a:lnTo>
                  <a:close/>
                  <a:moveTo>
                    <a:pt x="79" y="183"/>
                  </a:moveTo>
                  <a:lnTo>
                    <a:pt x="79" y="186"/>
                  </a:lnTo>
                  <a:lnTo>
                    <a:pt x="79" y="183"/>
                  </a:lnTo>
                  <a:lnTo>
                    <a:pt x="79" y="186"/>
                  </a:lnTo>
                  <a:lnTo>
                    <a:pt x="79" y="183"/>
                  </a:lnTo>
                  <a:lnTo>
                    <a:pt x="79" y="181"/>
                  </a:lnTo>
                  <a:lnTo>
                    <a:pt x="79" y="183"/>
                  </a:lnTo>
                  <a:close/>
                  <a:moveTo>
                    <a:pt x="79" y="183"/>
                  </a:moveTo>
                  <a:lnTo>
                    <a:pt x="79" y="181"/>
                  </a:lnTo>
                  <a:lnTo>
                    <a:pt x="79" y="183"/>
                  </a:lnTo>
                  <a:close/>
                  <a:moveTo>
                    <a:pt x="167" y="181"/>
                  </a:moveTo>
                  <a:lnTo>
                    <a:pt x="167" y="183"/>
                  </a:lnTo>
                  <a:lnTo>
                    <a:pt x="169" y="183"/>
                  </a:lnTo>
                  <a:lnTo>
                    <a:pt x="169" y="181"/>
                  </a:lnTo>
                  <a:lnTo>
                    <a:pt x="171" y="181"/>
                  </a:lnTo>
                  <a:lnTo>
                    <a:pt x="171" y="183"/>
                  </a:lnTo>
                  <a:lnTo>
                    <a:pt x="171" y="181"/>
                  </a:lnTo>
                  <a:lnTo>
                    <a:pt x="171" y="183"/>
                  </a:lnTo>
                  <a:lnTo>
                    <a:pt x="169" y="183"/>
                  </a:lnTo>
                  <a:lnTo>
                    <a:pt x="171" y="183"/>
                  </a:lnTo>
                  <a:lnTo>
                    <a:pt x="169" y="183"/>
                  </a:lnTo>
                  <a:lnTo>
                    <a:pt x="171" y="183"/>
                  </a:lnTo>
                  <a:lnTo>
                    <a:pt x="171" y="186"/>
                  </a:lnTo>
                  <a:lnTo>
                    <a:pt x="169" y="186"/>
                  </a:lnTo>
                  <a:lnTo>
                    <a:pt x="167" y="186"/>
                  </a:lnTo>
                  <a:lnTo>
                    <a:pt x="164" y="186"/>
                  </a:lnTo>
                  <a:lnTo>
                    <a:pt x="164" y="188"/>
                  </a:lnTo>
                  <a:lnTo>
                    <a:pt x="162" y="188"/>
                  </a:lnTo>
                  <a:lnTo>
                    <a:pt x="162" y="186"/>
                  </a:lnTo>
                  <a:lnTo>
                    <a:pt x="164" y="186"/>
                  </a:lnTo>
                  <a:lnTo>
                    <a:pt x="164" y="183"/>
                  </a:lnTo>
                  <a:lnTo>
                    <a:pt x="167" y="183"/>
                  </a:lnTo>
                  <a:lnTo>
                    <a:pt x="164" y="183"/>
                  </a:lnTo>
                  <a:lnTo>
                    <a:pt x="167" y="183"/>
                  </a:lnTo>
                  <a:lnTo>
                    <a:pt x="164" y="183"/>
                  </a:lnTo>
                  <a:lnTo>
                    <a:pt x="167" y="183"/>
                  </a:lnTo>
                  <a:lnTo>
                    <a:pt x="167" y="186"/>
                  </a:lnTo>
                  <a:lnTo>
                    <a:pt x="167" y="183"/>
                  </a:lnTo>
                  <a:lnTo>
                    <a:pt x="167" y="186"/>
                  </a:lnTo>
                  <a:lnTo>
                    <a:pt x="169" y="186"/>
                  </a:lnTo>
                  <a:lnTo>
                    <a:pt x="169" y="183"/>
                  </a:lnTo>
                  <a:lnTo>
                    <a:pt x="167" y="183"/>
                  </a:lnTo>
                  <a:lnTo>
                    <a:pt x="167" y="181"/>
                  </a:lnTo>
                  <a:close/>
                  <a:moveTo>
                    <a:pt x="174" y="181"/>
                  </a:moveTo>
                  <a:lnTo>
                    <a:pt x="174" y="183"/>
                  </a:lnTo>
                  <a:lnTo>
                    <a:pt x="174" y="181"/>
                  </a:lnTo>
                  <a:lnTo>
                    <a:pt x="171" y="181"/>
                  </a:lnTo>
                  <a:lnTo>
                    <a:pt x="174" y="181"/>
                  </a:lnTo>
                  <a:close/>
                  <a:moveTo>
                    <a:pt x="195" y="181"/>
                  </a:moveTo>
                  <a:lnTo>
                    <a:pt x="197" y="181"/>
                  </a:lnTo>
                  <a:lnTo>
                    <a:pt x="195" y="183"/>
                  </a:lnTo>
                  <a:lnTo>
                    <a:pt x="197" y="183"/>
                  </a:lnTo>
                  <a:lnTo>
                    <a:pt x="200" y="183"/>
                  </a:lnTo>
                  <a:lnTo>
                    <a:pt x="197" y="183"/>
                  </a:lnTo>
                  <a:lnTo>
                    <a:pt x="197" y="186"/>
                  </a:lnTo>
                  <a:lnTo>
                    <a:pt x="197" y="188"/>
                  </a:lnTo>
                  <a:lnTo>
                    <a:pt x="197" y="186"/>
                  </a:lnTo>
                  <a:lnTo>
                    <a:pt x="197" y="188"/>
                  </a:lnTo>
                  <a:lnTo>
                    <a:pt x="197" y="186"/>
                  </a:lnTo>
                  <a:lnTo>
                    <a:pt x="195" y="186"/>
                  </a:lnTo>
                  <a:lnTo>
                    <a:pt x="195" y="183"/>
                  </a:lnTo>
                  <a:lnTo>
                    <a:pt x="193" y="183"/>
                  </a:lnTo>
                  <a:lnTo>
                    <a:pt x="195" y="183"/>
                  </a:lnTo>
                  <a:lnTo>
                    <a:pt x="193" y="183"/>
                  </a:lnTo>
                  <a:lnTo>
                    <a:pt x="195" y="183"/>
                  </a:lnTo>
                  <a:lnTo>
                    <a:pt x="193" y="183"/>
                  </a:lnTo>
                  <a:lnTo>
                    <a:pt x="195" y="183"/>
                  </a:lnTo>
                  <a:lnTo>
                    <a:pt x="195" y="181"/>
                  </a:lnTo>
                  <a:close/>
                  <a:moveTo>
                    <a:pt x="76" y="181"/>
                  </a:moveTo>
                  <a:lnTo>
                    <a:pt x="76" y="183"/>
                  </a:lnTo>
                  <a:lnTo>
                    <a:pt x="76" y="181"/>
                  </a:lnTo>
                  <a:close/>
                  <a:moveTo>
                    <a:pt x="159" y="181"/>
                  </a:moveTo>
                  <a:lnTo>
                    <a:pt x="162" y="181"/>
                  </a:lnTo>
                  <a:lnTo>
                    <a:pt x="159" y="181"/>
                  </a:lnTo>
                  <a:close/>
                  <a:moveTo>
                    <a:pt x="209" y="181"/>
                  </a:moveTo>
                  <a:lnTo>
                    <a:pt x="209" y="179"/>
                  </a:lnTo>
                  <a:lnTo>
                    <a:pt x="209" y="181"/>
                  </a:lnTo>
                  <a:close/>
                  <a:moveTo>
                    <a:pt x="148" y="179"/>
                  </a:moveTo>
                  <a:lnTo>
                    <a:pt x="150" y="179"/>
                  </a:lnTo>
                  <a:lnTo>
                    <a:pt x="148" y="179"/>
                  </a:lnTo>
                  <a:close/>
                  <a:moveTo>
                    <a:pt x="171" y="179"/>
                  </a:moveTo>
                  <a:lnTo>
                    <a:pt x="171" y="181"/>
                  </a:lnTo>
                  <a:lnTo>
                    <a:pt x="169" y="181"/>
                  </a:lnTo>
                  <a:lnTo>
                    <a:pt x="169" y="179"/>
                  </a:lnTo>
                  <a:lnTo>
                    <a:pt x="171" y="179"/>
                  </a:lnTo>
                  <a:close/>
                  <a:moveTo>
                    <a:pt x="207" y="179"/>
                  </a:moveTo>
                  <a:lnTo>
                    <a:pt x="209" y="179"/>
                  </a:lnTo>
                  <a:lnTo>
                    <a:pt x="207" y="179"/>
                  </a:lnTo>
                  <a:close/>
                  <a:moveTo>
                    <a:pt x="200" y="176"/>
                  </a:moveTo>
                  <a:lnTo>
                    <a:pt x="202" y="176"/>
                  </a:lnTo>
                  <a:lnTo>
                    <a:pt x="202" y="179"/>
                  </a:lnTo>
                  <a:lnTo>
                    <a:pt x="200" y="179"/>
                  </a:lnTo>
                  <a:lnTo>
                    <a:pt x="200" y="176"/>
                  </a:lnTo>
                  <a:lnTo>
                    <a:pt x="202" y="176"/>
                  </a:lnTo>
                  <a:lnTo>
                    <a:pt x="200" y="176"/>
                  </a:lnTo>
                  <a:close/>
                  <a:moveTo>
                    <a:pt x="216" y="176"/>
                  </a:moveTo>
                  <a:lnTo>
                    <a:pt x="214" y="176"/>
                  </a:lnTo>
                  <a:lnTo>
                    <a:pt x="216" y="176"/>
                  </a:lnTo>
                  <a:close/>
                  <a:moveTo>
                    <a:pt x="202" y="176"/>
                  </a:moveTo>
                  <a:lnTo>
                    <a:pt x="205" y="176"/>
                  </a:lnTo>
                  <a:lnTo>
                    <a:pt x="202" y="176"/>
                  </a:lnTo>
                  <a:lnTo>
                    <a:pt x="202" y="179"/>
                  </a:lnTo>
                  <a:lnTo>
                    <a:pt x="202" y="176"/>
                  </a:lnTo>
                  <a:close/>
                  <a:moveTo>
                    <a:pt x="207" y="176"/>
                  </a:moveTo>
                  <a:lnTo>
                    <a:pt x="205" y="176"/>
                  </a:lnTo>
                  <a:lnTo>
                    <a:pt x="207" y="176"/>
                  </a:lnTo>
                  <a:close/>
                  <a:moveTo>
                    <a:pt x="261" y="176"/>
                  </a:moveTo>
                  <a:lnTo>
                    <a:pt x="264" y="176"/>
                  </a:lnTo>
                  <a:lnTo>
                    <a:pt x="264" y="179"/>
                  </a:lnTo>
                  <a:lnTo>
                    <a:pt x="261" y="179"/>
                  </a:lnTo>
                  <a:lnTo>
                    <a:pt x="259" y="179"/>
                  </a:lnTo>
                  <a:lnTo>
                    <a:pt x="257" y="179"/>
                  </a:lnTo>
                  <a:lnTo>
                    <a:pt x="257" y="181"/>
                  </a:lnTo>
                  <a:lnTo>
                    <a:pt x="254" y="181"/>
                  </a:lnTo>
                  <a:lnTo>
                    <a:pt x="252" y="181"/>
                  </a:lnTo>
                  <a:lnTo>
                    <a:pt x="252" y="183"/>
                  </a:lnTo>
                  <a:lnTo>
                    <a:pt x="250" y="183"/>
                  </a:lnTo>
                  <a:lnTo>
                    <a:pt x="252" y="183"/>
                  </a:lnTo>
                  <a:lnTo>
                    <a:pt x="250" y="183"/>
                  </a:lnTo>
                  <a:lnTo>
                    <a:pt x="250" y="186"/>
                  </a:lnTo>
                  <a:lnTo>
                    <a:pt x="250" y="183"/>
                  </a:lnTo>
                  <a:lnTo>
                    <a:pt x="250" y="181"/>
                  </a:lnTo>
                  <a:lnTo>
                    <a:pt x="252" y="181"/>
                  </a:lnTo>
                  <a:lnTo>
                    <a:pt x="252" y="179"/>
                  </a:lnTo>
                  <a:lnTo>
                    <a:pt x="254" y="179"/>
                  </a:lnTo>
                  <a:lnTo>
                    <a:pt x="254" y="176"/>
                  </a:lnTo>
                  <a:lnTo>
                    <a:pt x="257" y="176"/>
                  </a:lnTo>
                  <a:lnTo>
                    <a:pt x="259" y="176"/>
                  </a:lnTo>
                  <a:lnTo>
                    <a:pt x="261" y="176"/>
                  </a:lnTo>
                  <a:close/>
                  <a:moveTo>
                    <a:pt x="250" y="176"/>
                  </a:moveTo>
                  <a:lnTo>
                    <a:pt x="250" y="174"/>
                  </a:lnTo>
                  <a:lnTo>
                    <a:pt x="250" y="176"/>
                  </a:lnTo>
                  <a:close/>
                  <a:moveTo>
                    <a:pt x="205" y="176"/>
                  </a:moveTo>
                  <a:lnTo>
                    <a:pt x="205" y="174"/>
                  </a:lnTo>
                  <a:lnTo>
                    <a:pt x="205" y="176"/>
                  </a:lnTo>
                  <a:close/>
                  <a:moveTo>
                    <a:pt x="136" y="174"/>
                  </a:moveTo>
                  <a:lnTo>
                    <a:pt x="136" y="176"/>
                  </a:lnTo>
                  <a:lnTo>
                    <a:pt x="133" y="176"/>
                  </a:lnTo>
                  <a:lnTo>
                    <a:pt x="133" y="174"/>
                  </a:lnTo>
                  <a:lnTo>
                    <a:pt x="136" y="174"/>
                  </a:lnTo>
                  <a:close/>
                  <a:moveTo>
                    <a:pt x="219" y="174"/>
                  </a:moveTo>
                  <a:lnTo>
                    <a:pt x="219" y="176"/>
                  </a:lnTo>
                  <a:lnTo>
                    <a:pt x="221" y="176"/>
                  </a:lnTo>
                  <a:lnTo>
                    <a:pt x="219" y="176"/>
                  </a:lnTo>
                  <a:lnTo>
                    <a:pt x="216" y="176"/>
                  </a:lnTo>
                  <a:lnTo>
                    <a:pt x="216" y="179"/>
                  </a:lnTo>
                  <a:lnTo>
                    <a:pt x="214" y="179"/>
                  </a:lnTo>
                  <a:lnTo>
                    <a:pt x="214" y="181"/>
                  </a:lnTo>
                  <a:lnTo>
                    <a:pt x="212" y="181"/>
                  </a:lnTo>
                  <a:lnTo>
                    <a:pt x="209" y="181"/>
                  </a:lnTo>
                  <a:lnTo>
                    <a:pt x="212" y="181"/>
                  </a:lnTo>
                  <a:lnTo>
                    <a:pt x="212" y="179"/>
                  </a:lnTo>
                  <a:lnTo>
                    <a:pt x="212" y="181"/>
                  </a:lnTo>
                  <a:lnTo>
                    <a:pt x="212" y="179"/>
                  </a:lnTo>
                  <a:lnTo>
                    <a:pt x="212" y="181"/>
                  </a:lnTo>
                  <a:lnTo>
                    <a:pt x="212" y="179"/>
                  </a:lnTo>
                  <a:lnTo>
                    <a:pt x="212" y="181"/>
                  </a:lnTo>
                  <a:lnTo>
                    <a:pt x="212" y="179"/>
                  </a:lnTo>
                  <a:lnTo>
                    <a:pt x="212" y="181"/>
                  </a:lnTo>
                  <a:lnTo>
                    <a:pt x="214" y="179"/>
                  </a:lnTo>
                  <a:lnTo>
                    <a:pt x="214" y="176"/>
                  </a:lnTo>
                  <a:lnTo>
                    <a:pt x="216" y="176"/>
                  </a:lnTo>
                  <a:lnTo>
                    <a:pt x="219" y="176"/>
                  </a:lnTo>
                  <a:lnTo>
                    <a:pt x="216" y="176"/>
                  </a:lnTo>
                  <a:lnTo>
                    <a:pt x="216" y="174"/>
                  </a:lnTo>
                  <a:lnTo>
                    <a:pt x="219" y="174"/>
                  </a:lnTo>
                  <a:close/>
                  <a:moveTo>
                    <a:pt x="76" y="176"/>
                  </a:moveTo>
                  <a:lnTo>
                    <a:pt x="76" y="174"/>
                  </a:lnTo>
                  <a:lnTo>
                    <a:pt x="74" y="174"/>
                  </a:lnTo>
                  <a:lnTo>
                    <a:pt x="76" y="174"/>
                  </a:lnTo>
                  <a:lnTo>
                    <a:pt x="76" y="176"/>
                  </a:lnTo>
                  <a:close/>
                  <a:moveTo>
                    <a:pt x="205" y="174"/>
                  </a:moveTo>
                  <a:lnTo>
                    <a:pt x="207" y="174"/>
                  </a:lnTo>
                  <a:lnTo>
                    <a:pt x="205" y="174"/>
                  </a:lnTo>
                  <a:close/>
                  <a:moveTo>
                    <a:pt x="183" y="174"/>
                  </a:moveTo>
                  <a:lnTo>
                    <a:pt x="186" y="174"/>
                  </a:lnTo>
                  <a:lnTo>
                    <a:pt x="183" y="174"/>
                  </a:lnTo>
                  <a:close/>
                  <a:moveTo>
                    <a:pt x="257" y="174"/>
                  </a:moveTo>
                  <a:lnTo>
                    <a:pt x="254" y="174"/>
                  </a:lnTo>
                  <a:lnTo>
                    <a:pt x="257" y="174"/>
                  </a:lnTo>
                  <a:close/>
                  <a:moveTo>
                    <a:pt x="186" y="172"/>
                  </a:moveTo>
                  <a:lnTo>
                    <a:pt x="186" y="174"/>
                  </a:lnTo>
                  <a:lnTo>
                    <a:pt x="186" y="172"/>
                  </a:lnTo>
                  <a:lnTo>
                    <a:pt x="186" y="174"/>
                  </a:lnTo>
                  <a:lnTo>
                    <a:pt x="186" y="172"/>
                  </a:lnTo>
                  <a:close/>
                  <a:moveTo>
                    <a:pt x="190" y="172"/>
                  </a:moveTo>
                  <a:lnTo>
                    <a:pt x="190" y="174"/>
                  </a:lnTo>
                  <a:lnTo>
                    <a:pt x="188" y="172"/>
                  </a:lnTo>
                  <a:lnTo>
                    <a:pt x="190" y="172"/>
                  </a:lnTo>
                  <a:close/>
                  <a:moveTo>
                    <a:pt x="228" y="172"/>
                  </a:moveTo>
                  <a:lnTo>
                    <a:pt x="228" y="174"/>
                  </a:lnTo>
                  <a:lnTo>
                    <a:pt x="228" y="172"/>
                  </a:lnTo>
                  <a:close/>
                  <a:moveTo>
                    <a:pt x="247" y="172"/>
                  </a:moveTo>
                  <a:lnTo>
                    <a:pt x="250" y="172"/>
                  </a:lnTo>
                  <a:lnTo>
                    <a:pt x="247" y="172"/>
                  </a:lnTo>
                  <a:close/>
                  <a:moveTo>
                    <a:pt x="233" y="172"/>
                  </a:moveTo>
                  <a:lnTo>
                    <a:pt x="235" y="172"/>
                  </a:lnTo>
                  <a:lnTo>
                    <a:pt x="233" y="172"/>
                  </a:lnTo>
                  <a:lnTo>
                    <a:pt x="233" y="169"/>
                  </a:lnTo>
                  <a:lnTo>
                    <a:pt x="233" y="172"/>
                  </a:lnTo>
                  <a:close/>
                  <a:moveTo>
                    <a:pt x="174" y="169"/>
                  </a:moveTo>
                  <a:lnTo>
                    <a:pt x="176" y="169"/>
                  </a:lnTo>
                  <a:lnTo>
                    <a:pt x="176" y="172"/>
                  </a:lnTo>
                  <a:lnTo>
                    <a:pt x="176" y="169"/>
                  </a:lnTo>
                  <a:lnTo>
                    <a:pt x="176" y="172"/>
                  </a:lnTo>
                  <a:lnTo>
                    <a:pt x="176" y="174"/>
                  </a:lnTo>
                  <a:lnTo>
                    <a:pt x="178" y="174"/>
                  </a:lnTo>
                  <a:lnTo>
                    <a:pt x="176" y="174"/>
                  </a:lnTo>
                  <a:lnTo>
                    <a:pt x="176" y="176"/>
                  </a:lnTo>
                  <a:lnTo>
                    <a:pt x="176" y="174"/>
                  </a:lnTo>
                  <a:lnTo>
                    <a:pt x="174" y="174"/>
                  </a:lnTo>
                  <a:lnTo>
                    <a:pt x="174" y="172"/>
                  </a:lnTo>
                  <a:lnTo>
                    <a:pt x="174" y="169"/>
                  </a:lnTo>
                  <a:close/>
                  <a:moveTo>
                    <a:pt x="188" y="169"/>
                  </a:moveTo>
                  <a:lnTo>
                    <a:pt x="188" y="172"/>
                  </a:lnTo>
                  <a:lnTo>
                    <a:pt x="188" y="174"/>
                  </a:lnTo>
                  <a:lnTo>
                    <a:pt x="186" y="174"/>
                  </a:lnTo>
                  <a:lnTo>
                    <a:pt x="188" y="174"/>
                  </a:lnTo>
                  <a:lnTo>
                    <a:pt x="186" y="172"/>
                  </a:lnTo>
                  <a:lnTo>
                    <a:pt x="188" y="172"/>
                  </a:lnTo>
                  <a:lnTo>
                    <a:pt x="188" y="169"/>
                  </a:lnTo>
                  <a:close/>
                  <a:moveTo>
                    <a:pt x="247" y="169"/>
                  </a:moveTo>
                  <a:lnTo>
                    <a:pt x="250" y="169"/>
                  </a:lnTo>
                  <a:lnTo>
                    <a:pt x="252" y="169"/>
                  </a:lnTo>
                  <a:lnTo>
                    <a:pt x="250" y="169"/>
                  </a:lnTo>
                  <a:lnTo>
                    <a:pt x="252" y="172"/>
                  </a:lnTo>
                  <a:lnTo>
                    <a:pt x="252" y="174"/>
                  </a:lnTo>
                  <a:lnTo>
                    <a:pt x="254" y="174"/>
                  </a:lnTo>
                  <a:lnTo>
                    <a:pt x="252" y="174"/>
                  </a:lnTo>
                  <a:lnTo>
                    <a:pt x="250" y="174"/>
                  </a:lnTo>
                  <a:lnTo>
                    <a:pt x="252" y="174"/>
                  </a:lnTo>
                  <a:lnTo>
                    <a:pt x="250" y="174"/>
                  </a:lnTo>
                  <a:lnTo>
                    <a:pt x="247" y="174"/>
                  </a:lnTo>
                  <a:lnTo>
                    <a:pt x="250" y="174"/>
                  </a:lnTo>
                  <a:lnTo>
                    <a:pt x="250" y="172"/>
                  </a:lnTo>
                  <a:lnTo>
                    <a:pt x="250" y="169"/>
                  </a:lnTo>
                  <a:lnTo>
                    <a:pt x="247" y="169"/>
                  </a:lnTo>
                  <a:lnTo>
                    <a:pt x="250" y="169"/>
                  </a:lnTo>
                  <a:lnTo>
                    <a:pt x="247" y="169"/>
                  </a:lnTo>
                  <a:lnTo>
                    <a:pt x="247" y="167"/>
                  </a:lnTo>
                  <a:lnTo>
                    <a:pt x="247" y="169"/>
                  </a:lnTo>
                  <a:close/>
                  <a:moveTo>
                    <a:pt x="209" y="167"/>
                  </a:moveTo>
                  <a:lnTo>
                    <a:pt x="207" y="167"/>
                  </a:lnTo>
                  <a:lnTo>
                    <a:pt x="209" y="167"/>
                  </a:lnTo>
                  <a:close/>
                  <a:moveTo>
                    <a:pt x="214" y="164"/>
                  </a:moveTo>
                  <a:lnTo>
                    <a:pt x="212" y="167"/>
                  </a:lnTo>
                  <a:lnTo>
                    <a:pt x="214" y="167"/>
                  </a:lnTo>
                  <a:lnTo>
                    <a:pt x="212" y="167"/>
                  </a:lnTo>
                  <a:lnTo>
                    <a:pt x="212" y="164"/>
                  </a:lnTo>
                  <a:lnTo>
                    <a:pt x="212" y="167"/>
                  </a:lnTo>
                  <a:lnTo>
                    <a:pt x="212" y="164"/>
                  </a:lnTo>
                  <a:lnTo>
                    <a:pt x="214" y="164"/>
                  </a:lnTo>
                  <a:close/>
                  <a:moveTo>
                    <a:pt x="193" y="164"/>
                  </a:moveTo>
                  <a:lnTo>
                    <a:pt x="193" y="167"/>
                  </a:lnTo>
                  <a:lnTo>
                    <a:pt x="195" y="167"/>
                  </a:lnTo>
                  <a:lnTo>
                    <a:pt x="195" y="164"/>
                  </a:lnTo>
                  <a:lnTo>
                    <a:pt x="195" y="167"/>
                  </a:lnTo>
                  <a:lnTo>
                    <a:pt x="195" y="164"/>
                  </a:lnTo>
                  <a:lnTo>
                    <a:pt x="193" y="164"/>
                  </a:lnTo>
                  <a:lnTo>
                    <a:pt x="195" y="164"/>
                  </a:lnTo>
                  <a:lnTo>
                    <a:pt x="195" y="167"/>
                  </a:lnTo>
                  <a:lnTo>
                    <a:pt x="193" y="167"/>
                  </a:lnTo>
                  <a:lnTo>
                    <a:pt x="195" y="169"/>
                  </a:lnTo>
                  <a:lnTo>
                    <a:pt x="193" y="169"/>
                  </a:lnTo>
                  <a:lnTo>
                    <a:pt x="193" y="172"/>
                  </a:lnTo>
                  <a:lnTo>
                    <a:pt x="190" y="172"/>
                  </a:lnTo>
                  <a:lnTo>
                    <a:pt x="188" y="172"/>
                  </a:lnTo>
                  <a:lnTo>
                    <a:pt x="188" y="169"/>
                  </a:lnTo>
                  <a:lnTo>
                    <a:pt x="190" y="169"/>
                  </a:lnTo>
                  <a:lnTo>
                    <a:pt x="190" y="167"/>
                  </a:lnTo>
                  <a:lnTo>
                    <a:pt x="190" y="169"/>
                  </a:lnTo>
                  <a:lnTo>
                    <a:pt x="190" y="167"/>
                  </a:lnTo>
                  <a:lnTo>
                    <a:pt x="193" y="164"/>
                  </a:lnTo>
                  <a:close/>
                  <a:moveTo>
                    <a:pt x="245" y="162"/>
                  </a:moveTo>
                  <a:lnTo>
                    <a:pt x="247" y="162"/>
                  </a:lnTo>
                  <a:lnTo>
                    <a:pt x="247" y="164"/>
                  </a:lnTo>
                  <a:lnTo>
                    <a:pt x="245" y="164"/>
                  </a:lnTo>
                  <a:lnTo>
                    <a:pt x="247" y="164"/>
                  </a:lnTo>
                  <a:lnTo>
                    <a:pt x="247" y="167"/>
                  </a:lnTo>
                  <a:lnTo>
                    <a:pt x="247" y="164"/>
                  </a:lnTo>
                  <a:lnTo>
                    <a:pt x="247" y="167"/>
                  </a:lnTo>
                  <a:lnTo>
                    <a:pt x="245" y="167"/>
                  </a:lnTo>
                  <a:lnTo>
                    <a:pt x="247" y="167"/>
                  </a:lnTo>
                  <a:lnTo>
                    <a:pt x="245" y="167"/>
                  </a:lnTo>
                  <a:lnTo>
                    <a:pt x="245" y="164"/>
                  </a:lnTo>
                  <a:lnTo>
                    <a:pt x="242" y="164"/>
                  </a:lnTo>
                  <a:lnTo>
                    <a:pt x="245" y="164"/>
                  </a:lnTo>
                  <a:lnTo>
                    <a:pt x="245" y="162"/>
                  </a:lnTo>
                  <a:close/>
                  <a:moveTo>
                    <a:pt x="202" y="162"/>
                  </a:moveTo>
                  <a:lnTo>
                    <a:pt x="205" y="162"/>
                  </a:lnTo>
                  <a:lnTo>
                    <a:pt x="205" y="164"/>
                  </a:lnTo>
                  <a:lnTo>
                    <a:pt x="205" y="167"/>
                  </a:lnTo>
                  <a:lnTo>
                    <a:pt x="205" y="169"/>
                  </a:lnTo>
                  <a:lnTo>
                    <a:pt x="205" y="172"/>
                  </a:lnTo>
                  <a:lnTo>
                    <a:pt x="205" y="174"/>
                  </a:lnTo>
                  <a:lnTo>
                    <a:pt x="202" y="174"/>
                  </a:lnTo>
                  <a:lnTo>
                    <a:pt x="200" y="174"/>
                  </a:lnTo>
                  <a:lnTo>
                    <a:pt x="200" y="176"/>
                  </a:lnTo>
                  <a:lnTo>
                    <a:pt x="200" y="174"/>
                  </a:lnTo>
                  <a:lnTo>
                    <a:pt x="200" y="172"/>
                  </a:lnTo>
                  <a:lnTo>
                    <a:pt x="197" y="172"/>
                  </a:lnTo>
                  <a:lnTo>
                    <a:pt x="197" y="169"/>
                  </a:lnTo>
                  <a:lnTo>
                    <a:pt x="197" y="167"/>
                  </a:lnTo>
                  <a:lnTo>
                    <a:pt x="197" y="169"/>
                  </a:lnTo>
                  <a:lnTo>
                    <a:pt x="197" y="167"/>
                  </a:lnTo>
                  <a:lnTo>
                    <a:pt x="200" y="167"/>
                  </a:lnTo>
                  <a:lnTo>
                    <a:pt x="200" y="164"/>
                  </a:lnTo>
                  <a:lnTo>
                    <a:pt x="202" y="164"/>
                  </a:lnTo>
                  <a:lnTo>
                    <a:pt x="202" y="162"/>
                  </a:lnTo>
                  <a:close/>
                  <a:moveTo>
                    <a:pt x="169" y="162"/>
                  </a:moveTo>
                  <a:lnTo>
                    <a:pt x="169" y="164"/>
                  </a:lnTo>
                  <a:lnTo>
                    <a:pt x="169" y="162"/>
                  </a:lnTo>
                  <a:lnTo>
                    <a:pt x="169" y="164"/>
                  </a:lnTo>
                  <a:lnTo>
                    <a:pt x="171" y="164"/>
                  </a:lnTo>
                  <a:lnTo>
                    <a:pt x="169" y="164"/>
                  </a:lnTo>
                  <a:lnTo>
                    <a:pt x="169" y="167"/>
                  </a:lnTo>
                  <a:lnTo>
                    <a:pt x="169" y="164"/>
                  </a:lnTo>
                  <a:lnTo>
                    <a:pt x="169" y="167"/>
                  </a:lnTo>
                  <a:lnTo>
                    <a:pt x="167" y="167"/>
                  </a:lnTo>
                  <a:lnTo>
                    <a:pt x="167" y="164"/>
                  </a:lnTo>
                  <a:lnTo>
                    <a:pt x="167" y="167"/>
                  </a:lnTo>
                  <a:lnTo>
                    <a:pt x="167" y="164"/>
                  </a:lnTo>
                  <a:lnTo>
                    <a:pt x="167" y="167"/>
                  </a:lnTo>
                  <a:lnTo>
                    <a:pt x="167" y="164"/>
                  </a:lnTo>
                  <a:lnTo>
                    <a:pt x="167" y="162"/>
                  </a:lnTo>
                  <a:lnTo>
                    <a:pt x="167" y="164"/>
                  </a:lnTo>
                  <a:lnTo>
                    <a:pt x="167" y="162"/>
                  </a:lnTo>
                  <a:lnTo>
                    <a:pt x="169" y="162"/>
                  </a:lnTo>
                  <a:close/>
                  <a:moveTo>
                    <a:pt x="245" y="162"/>
                  </a:moveTo>
                  <a:lnTo>
                    <a:pt x="242" y="162"/>
                  </a:lnTo>
                  <a:lnTo>
                    <a:pt x="245" y="162"/>
                  </a:lnTo>
                  <a:close/>
                  <a:moveTo>
                    <a:pt x="126" y="162"/>
                  </a:moveTo>
                  <a:lnTo>
                    <a:pt x="124" y="162"/>
                  </a:lnTo>
                  <a:lnTo>
                    <a:pt x="126" y="162"/>
                  </a:lnTo>
                  <a:close/>
                  <a:moveTo>
                    <a:pt x="55" y="160"/>
                  </a:moveTo>
                  <a:lnTo>
                    <a:pt x="53" y="160"/>
                  </a:lnTo>
                  <a:lnTo>
                    <a:pt x="55" y="160"/>
                  </a:lnTo>
                  <a:close/>
                  <a:moveTo>
                    <a:pt x="174" y="160"/>
                  </a:moveTo>
                  <a:lnTo>
                    <a:pt x="171" y="160"/>
                  </a:lnTo>
                  <a:lnTo>
                    <a:pt x="174" y="160"/>
                  </a:lnTo>
                  <a:close/>
                  <a:moveTo>
                    <a:pt x="124" y="160"/>
                  </a:moveTo>
                  <a:lnTo>
                    <a:pt x="124" y="162"/>
                  </a:lnTo>
                  <a:lnTo>
                    <a:pt x="124" y="160"/>
                  </a:lnTo>
                  <a:lnTo>
                    <a:pt x="124" y="162"/>
                  </a:lnTo>
                  <a:lnTo>
                    <a:pt x="124" y="160"/>
                  </a:lnTo>
                  <a:lnTo>
                    <a:pt x="121" y="160"/>
                  </a:lnTo>
                  <a:lnTo>
                    <a:pt x="124" y="160"/>
                  </a:lnTo>
                  <a:close/>
                  <a:moveTo>
                    <a:pt x="254" y="157"/>
                  </a:moveTo>
                  <a:lnTo>
                    <a:pt x="254" y="160"/>
                  </a:lnTo>
                  <a:lnTo>
                    <a:pt x="254" y="157"/>
                  </a:lnTo>
                  <a:close/>
                  <a:moveTo>
                    <a:pt x="242" y="157"/>
                  </a:moveTo>
                  <a:lnTo>
                    <a:pt x="245" y="157"/>
                  </a:lnTo>
                  <a:lnTo>
                    <a:pt x="245" y="160"/>
                  </a:lnTo>
                  <a:lnTo>
                    <a:pt x="242" y="160"/>
                  </a:lnTo>
                  <a:lnTo>
                    <a:pt x="242" y="157"/>
                  </a:lnTo>
                  <a:lnTo>
                    <a:pt x="242" y="160"/>
                  </a:lnTo>
                  <a:lnTo>
                    <a:pt x="242" y="157"/>
                  </a:lnTo>
                  <a:lnTo>
                    <a:pt x="242" y="160"/>
                  </a:lnTo>
                  <a:lnTo>
                    <a:pt x="242" y="157"/>
                  </a:lnTo>
                  <a:close/>
                  <a:moveTo>
                    <a:pt x="131" y="157"/>
                  </a:moveTo>
                  <a:lnTo>
                    <a:pt x="129" y="157"/>
                  </a:lnTo>
                  <a:lnTo>
                    <a:pt x="131" y="157"/>
                  </a:lnTo>
                  <a:lnTo>
                    <a:pt x="131" y="155"/>
                  </a:lnTo>
                  <a:lnTo>
                    <a:pt x="131" y="157"/>
                  </a:lnTo>
                  <a:lnTo>
                    <a:pt x="131" y="155"/>
                  </a:lnTo>
                  <a:lnTo>
                    <a:pt x="131" y="157"/>
                  </a:lnTo>
                  <a:close/>
                  <a:moveTo>
                    <a:pt x="138" y="155"/>
                  </a:moveTo>
                  <a:lnTo>
                    <a:pt x="136" y="155"/>
                  </a:lnTo>
                  <a:lnTo>
                    <a:pt x="136" y="157"/>
                  </a:lnTo>
                  <a:lnTo>
                    <a:pt x="133" y="157"/>
                  </a:lnTo>
                  <a:lnTo>
                    <a:pt x="131" y="157"/>
                  </a:lnTo>
                  <a:lnTo>
                    <a:pt x="133" y="157"/>
                  </a:lnTo>
                  <a:lnTo>
                    <a:pt x="133" y="155"/>
                  </a:lnTo>
                  <a:lnTo>
                    <a:pt x="136" y="155"/>
                  </a:lnTo>
                  <a:lnTo>
                    <a:pt x="138" y="155"/>
                  </a:lnTo>
                  <a:close/>
                  <a:moveTo>
                    <a:pt x="238" y="155"/>
                  </a:moveTo>
                  <a:lnTo>
                    <a:pt x="238" y="157"/>
                  </a:lnTo>
                  <a:lnTo>
                    <a:pt x="238" y="155"/>
                  </a:lnTo>
                  <a:lnTo>
                    <a:pt x="238" y="157"/>
                  </a:lnTo>
                  <a:lnTo>
                    <a:pt x="238" y="155"/>
                  </a:lnTo>
                  <a:lnTo>
                    <a:pt x="238" y="157"/>
                  </a:lnTo>
                  <a:lnTo>
                    <a:pt x="235" y="157"/>
                  </a:lnTo>
                  <a:lnTo>
                    <a:pt x="238" y="157"/>
                  </a:lnTo>
                  <a:lnTo>
                    <a:pt x="238" y="160"/>
                  </a:lnTo>
                  <a:lnTo>
                    <a:pt x="235" y="160"/>
                  </a:lnTo>
                  <a:lnTo>
                    <a:pt x="238" y="160"/>
                  </a:lnTo>
                  <a:lnTo>
                    <a:pt x="235" y="160"/>
                  </a:lnTo>
                  <a:lnTo>
                    <a:pt x="235" y="157"/>
                  </a:lnTo>
                  <a:lnTo>
                    <a:pt x="235" y="160"/>
                  </a:lnTo>
                  <a:lnTo>
                    <a:pt x="235" y="157"/>
                  </a:lnTo>
                  <a:lnTo>
                    <a:pt x="235" y="155"/>
                  </a:lnTo>
                  <a:lnTo>
                    <a:pt x="238" y="155"/>
                  </a:lnTo>
                  <a:close/>
                  <a:moveTo>
                    <a:pt x="242" y="153"/>
                  </a:moveTo>
                  <a:lnTo>
                    <a:pt x="242" y="155"/>
                  </a:lnTo>
                  <a:lnTo>
                    <a:pt x="242" y="153"/>
                  </a:lnTo>
                  <a:lnTo>
                    <a:pt x="242" y="155"/>
                  </a:lnTo>
                  <a:lnTo>
                    <a:pt x="242" y="153"/>
                  </a:lnTo>
                  <a:close/>
                  <a:moveTo>
                    <a:pt x="195" y="153"/>
                  </a:moveTo>
                  <a:lnTo>
                    <a:pt x="195" y="155"/>
                  </a:lnTo>
                  <a:lnTo>
                    <a:pt x="195" y="153"/>
                  </a:lnTo>
                  <a:close/>
                  <a:moveTo>
                    <a:pt x="186" y="153"/>
                  </a:moveTo>
                  <a:lnTo>
                    <a:pt x="183" y="153"/>
                  </a:lnTo>
                  <a:lnTo>
                    <a:pt x="186" y="153"/>
                  </a:lnTo>
                  <a:close/>
                  <a:moveTo>
                    <a:pt x="193" y="153"/>
                  </a:moveTo>
                  <a:lnTo>
                    <a:pt x="193" y="155"/>
                  </a:lnTo>
                  <a:lnTo>
                    <a:pt x="193" y="153"/>
                  </a:lnTo>
                  <a:lnTo>
                    <a:pt x="193" y="155"/>
                  </a:lnTo>
                  <a:lnTo>
                    <a:pt x="195" y="155"/>
                  </a:lnTo>
                  <a:lnTo>
                    <a:pt x="193" y="155"/>
                  </a:lnTo>
                  <a:lnTo>
                    <a:pt x="193" y="153"/>
                  </a:lnTo>
                  <a:close/>
                  <a:moveTo>
                    <a:pt x="202" y="150"/>
                  </a:moveTo>
                  <a:lnTo>
                    <a:pt x="202" y="153"/>
                  </a:lnTo>
                  <a:lnTo>
                    <a:pt x="202" y="150"/>
                  </a:lnTo>
                  <a:lnTo>
                    <a:pt x="202" y="153"/>
                  </a:lnTo>
                  <a:lnTo>
                    <a:pt x="202" y="150"/>
                  </a:lnTo>
                  <a:close/>
                  <a:moveTo>
                    <a:pt x="252" y="150"/>
                  </a:moveTo>
                  <a:lnTo>
                    <a:pt x="250" y="150"/>
                  </a:lnTo>
                  <a:lnTo>
                    <a:pt x="250" y="153"/>
                  </a:lnTo>
                  <a:lnTo>
                    <a:pt x="250" y="150"/>
                  </a:lnTo>
                  <a:lnTo>
                    <a:pt x="250" y="153"/>
                  </a:lnTo>
                  <a:lnTo>
                    <a:pt x="250" y="150"/>
                  </a:lnTo>
                  <a:lnTo>
                    <a:pt x="250" y="153"/>
                  </a:lnTo>
                  <a:lnTo>
                    <a:pt x="250" y="150"/>
                  </a:lnTo>
                  <a:lnTo>
                    <a:pt x="250" y="153"/>
                  </a:lnTo>
                  <a:lnTo>
                    <a:pt x="250" y="150"/>
                  </a:lnTo>
                  <a:lnTo>
                    <a:pt x="252" y="150"/>
                  </a:lnTo>
                  <a:close/>
                  <a:moveTo>
                    <a:pt x="167" y="150"/>
                  </a:moveTo>
                  <a:lnTo>
                    <a:pt x="167" y="153"/>
                  </a:lnTo>
                  <a:lnTo>
                    <a:pt x="169" y="153"/>
                  </a:lnTo>
                  <a:lnTo>
                    <a:pt x="169" y="155"/>
                  </a:lnTo>
                  <a:lnTo>
                    <a:pt x="167" y="155"/>
                  </a:lnTo>
                  <a:lnTo>
                    <a:pt x="167" y="157"/>
                  </a:lnTo>
                  <a:lnTo>
                    <a:pt x="167" y="155"/>
                  </a:lnTo>
                  <a:lnTo>
                    <a:pt x="167" y="157"/>
                  </a:lnTo>
                  <a:lnTo>
                    <a:pt x="167" y="155"/>
                  </a:lnTo>
                  <a:lnTo>
                    <a:pt x="167" y="157"/>
                  </a:lnTo>
                  <a:lnTo>
                    <a:pt x="164" y="157"/>
                  </a:lnTo>
                  <a:lnTo>
                    <a:pt x="164" y="155"/>
                  </a:lnTo>
                  <a:lnTo>
                    <a:pt x="167" y="155"/>
                  </a:lnTo>
                  <a:lnTo>
                    <a:pt x="164" y="155"/>
                  </a:lnTo>
                  <a:lnTo>
                    <a:pt x="167" y="155"/>
                  </a:lnTo>
                  <a:lnTo>
                    <a:pt x="164" y="155"/>
                  </a:lnTo>
                  <a:lnTo>
                    <a:pt x="167" y="155"/>
                  </a:lnTo>
                  <a:lnTo>
                    <a:pt x="164" y="155"/>
                  </a:lnTo>
                  <a:lnTo>
                    <a:pt x="164" y="153"/>
                  </a:lnTo>
                  <a:lnTo>
                    <a:pt x="167" y="153"/>
                  </a:lnTo>
                  <a:lnTo>
                    <a:pt x="164" y="153"/>
                  </a:lnTo>
                  <a:lnTo>
                    <a:pt x="167" y="153"/>
                  </a:lnTo>
                  <a:lnTo>
                    <a:pt x="164" y="153"/>
                  </a:lnTo>
                  <a:lnTo>
                    <a:pt x="164" y="150"/>
                  </a:lnTo>
                  <a:lnTo>
                    <a:pt x="167" y="150"/>
                  </a:lnTo>
                  <a:close/>
                  <a:moveTo>
                    <a:pt x="197" y="150"/>
                  </a:moveTo>
                  <a:lnTo>
                    <a:pt x="200" y="150"/>
                  </a:lnTo>
                  <a:lnTo>
                    <a:pt x="200" y="153"/>
                  </a:lnTo>
                  <a:lnTo>
                    <a:pt x="197" y="153"/>
                  </a:lnTo>
                  <a:lnTo>
                    <a:pt x="195" y="153"/>
                  </a:lnTo>
                  <a:lnTo>
                    <a:pt x="197" y="153"/>
                  </a:lnTo>
                  <a:lnTo>
                    <a:pt x="195" y="150"/>
                  </a:lnTo>
                  <a:lnTo>
                    <a:pt x="197" y="150"/>
                  </a:lnTo>
                  <a:close/>
                  <a:moveTo>
                    <a:pt x="181" y="148"/>
                  </a:moveTo>
                  <a:lnTo>
                    <a:pt x="183" y="148"/>
                  </a:lnTo>
                  <a:lnTo>
                    <a:pt x="183" y="150"/>
                  </a:lnTo>
                  <a:lnTo>
                    <a:pt x="183" y="153"/>
                  </a:lnTo>
                  <a:lnTo>
                    <a:pt x="186" y="153"/>
                  </a:lnTo>
                  <a:lnTo>
                    <a:pt x="183" y="155"/>
                  </a:lnTo>
                  <a:lnTo>
                    <a:pt x="181" y="155"/>
                  </a:lnTo>
                  <a:lnTo>
                    <a:pt x="181" y="153"/>
                  </a:lnTo>
                  <a:lnTo>
                    <a:pt x="183" y="153"/>
                  </a:lnTo>
                  <a:lnTo>
                    <a:pt x="181" y="153"/>
                  </a:lnTo>
                  <a:lnTo>
                    <a:pt x="183" y="150"/>
                  </a:lnTo>
                  <a:lnTo>
                    <a:pt x="181" y="150"/>
                  </a:lnTo>
                  <a:lnTo>
                    <a:pt x="183" y="150"/>
                  </a:lnTo>
                  <a:lnTo>
                    <a:pt x="181" y="150"/>
                  </a:lnTo>
                  <a:lnTo>
                    <a:pt x="183" y="150"/>
                  </a:lnTo>
                  <a:lnTo>
                    <a:pt x="181" y="150"/>
                  </a:lnTo>
                  <a:lnTo>
                    <a:pt x="183" y="150"/>
                  </a:lnTo>
                  <a:lnTo>
                    <a:pt x="181" y="150"/>
                  </a:lnTo>
                  <a:lnTo>
                    <a:pt x="181" y="148"/>
                  </a:lnTo>
                  <a:close/>
                  <a:moveTo>
                    <a:pt x="114" y="148"/>
                  </a:moveTo>
                  <a:lnTo>
                    <a:pt x="114" y="150"/>
                  </a:lnTo>
                  <a:lnTo>
                    <a:pt x="114" y="148"/>
                  </a:lnTo>
                  <a:lnTo>
                    <a:pt x="114" y="150"/>
                  </a:lnTo>
                  <a:lnTo>
                    <a:pt x="114" y="148"/>
                  </a:lnTo>
                  <a:close/>
                  <a:moveTo>
                    <a:pt x="235" y="150"/>
                  </a:moveTo>
                  <a:lnTo>
                    <a:pt x="235" y="148"/>
                  </a:lnTo>
                  <a:lnTo>
                    <a:pt x="235" y="150"/>
                  </a:lnTo>
                  <a:close/>
                  <a:moveTo>
                    <a:pt x="136" y="148"/>
                  </a:moveTo>
                  <a:lnTo>
                    <a:pt x="136" y="150"/>
                  </a:lnTo>
                  <a:lnTo>
                    <a:pt x="136" y="148"/>
                  </a:lnTo>
                  <a:lnTo>
                    <a:pt x="136" y="150"/>
                  </a:lnTo>
                  <a:lnTo>
                    <a:pt x="133" y="150"/>
                  </a:lnTo>
                  <a:lnTo>
                    <a:pt x="133" y="148"/>
                  </a:lnTo>
                  <a:lnTo>
                    <a:pt x="136" y="148"/>
                  </a:lnTo>
                  <a:lnTo>
                    <a:pt x="136" y="145"/>
                  </a:lnTo>
                  <a:lnTo>
                    <a:pt x="136" y="148"/>
                  </a:lnTo>
                  <a:close/>
                  <a:moveTo>
                    <a:pt x="233" y="145"/>
                  </a:moveTo>
                  <a:lnTo>
                    <a:pt x="231" y="145"/>
                  </a:lnTo>
                  <a:lnTo>
                    <a:pt x="233" y="145"/>
                  </a:lnTo>
                  <a:close/>
                  <a:moveTo>
                    <a:pt x="238" y="145"/>
                  </a:moveTo>
                  <a:lnTo>
                    <a:pt x="235" y="145"/>
                  </a:lnTo>
                  <a:lnTo>
                    <a:pt x="238" y="145"/>
                  </a:lnTo>
                  <a:close/>
                  <a:moveTo>
                    <a:pt x="176" y="143"/>
                  </a:moveTo>
                  <a:lnTo>
                    <a:pt x="176" y="145"/>
                  </a:lnTo>
                  <a:lnTo>
                    <a:pt x="174" y="145"/>
                  </a:lnTo>
                  <a:lnTo>
                    <a:pt x="176" y="145"/>
                  </a:lnTo>
                  <a:lnTo>
                    <a:pt x="176" y="143"/>
                  </a:lnTo>
                  <a:close/>
                  <a:moveTo>
                    <a:pt x="235" y="143"/>
                  </a:moveTo>
                  <a:lnTo>
                    <a:pt x="235" y="145"/>
                  </a:lnTo>
                  <a:lnTo>
                    <a:pt x="235" y="148"/>
                  </a:lnTo>
                  <a:lnTo>
                    <a:pt x="235" y="145"/>
                  </a:lnTo>
                  <a:lnTo>
                    <a:pt x="235" y="148"/>
                  </a:lnTo>
                  <a:lnTo>
                    <a:pt x="233" y="148"/>
                  </a:lnTo>
                  <a:lnTo>
                    <a:pt x="233" y="145"/>
                  </a:lnTo>
                  <a:lnTo>
                    <a:pt x="235" y="145"/>
                  </a:lnTo>
                  <a:lnTo>
                    <a:pt x="233" y="145"/>
                  </a:lnTo>
                  <a:lnTo>
                    <a:pt x="235" y="145"/>
                  </a:lnTo>
                  <a:lnTo>
                    <a:pt x="233" y="145"/>
                  </a:lnTo>
                  <a:lnTo>
                    <a:pt x="235" y="145"/>
                  </a:lnTo>
                  <a:lnTo>
                    <a:pt x="235" y="143"/>
                  </a:lnTo>
                  <a:close/>
                  <a:moveTo>
                    <a:pt x="150" y="143"/>
                  </a:moveTo>
                  <a:lnTo>
                    <a:pt x="152" y="143"/>
                  </a:lnTo>
                  <a:lnTo>
                    <a:pt x="150" y="143"/>
                  </a:lnTo>
                  <a:close/>
                  <a:moveTo>
                    <a:pt x="186" y="141"/>
                  </a:moveTo>
                  <a:lnTo>
                    <a:pt x="186" y="143"/>
                  </a:lnTo>
                  <a:lnTo>
                    <a:pt x="186" y="141"/>
                  </a:lnTo>
                  <a:lnTo>
                    <a:pt x="188" y="141"/>
                  </a:lnTo>
                  <a:lnTo>
                    <a:pt x="188" y="143"/>
                  </a:lnTo>
                  <a:lnTo>
                    <a:pt x="190" y="143"/>
                  </a:lnTo>
                  <a:lnTo>
                    <a:pt x="193" y="143"/>
                  </a:lnTo>
                  <a:lnTo>
                    <a:pt x="193" y="145"/>
                  </a:lnTo>
                  <a:lnTo>
                    <a:pt x="193" y="143"/>
                  </a:lnTo>
                  <a:lnTo>
                    <a:pt x="193" y="145"/>
                  </a:lnTo>
                  <a:lnTo>
                    <a:pt x="193" y="148"/>
                  </a:lnTo>
                  <a:lnTo>
                    <a:pt x="190" y="148"/>
                  </a:lnTo>
                  <a:lnTo>
                    <a:pt x="188" y="148"/>
                  </a:lnTo>
                  <a:lnTo>
                    <a:pt x="188" y="145"/>
                  </a:lnTo>
                  <a:lnTo>
                    <a:pt x="188" y="143"/>
                  </a:lnTo>
                  <a:lnTo>
                    <a:pt x="186" y="143"/>
                  </a:lnTo>
                  <a:lnTo>
                    <a:pt x="186" y="141"/>
                  </a:lnTo>
                  <a:close/>
                  <a:moveTo>
                    <a:pt x="164" y="141"/>
                  </a:moveTo>
                  <a:lnTo>
                    <a:pt x="167" y="141"/>
                  </a:lnTo>
                  <a:lnTo>
                    <a:pt x="167" y="143"/>
                  </a:lnTo>
                  <a:lnTo>
                    <a:pt x="164" y="143"/>
                  </a:lnTo>
                  <a:lnTo>
                    <a:pt x="167" y="143"/>
                  </a:lnTo>
                  <a:lnTo>
                    <a:pt x="164" y="143"/>
                  </a:lnTo>
                  <a:lnTo>
                    <a:pt x="164" y="145"/>
                  </a:lnTo>
                  <a:lnTo>
                    <a:pt x="164" y="148"/>
                  </a:lnTo>
                  <a:lnTo>
                    <a:pt x="164" y="145"/>
                  </a:lnTo>
                  <a:lnTo>
                    <a:pt x="164" y="148"/>
                  </a:lnTo>
                  <a:lnTo>
                    <a:pt x="162" y="148"/>
                  </a:lnTo>
                  <a:lnTo>
                    <a:pt x="164" y="148"/>
                  </a:lnTo>
                  <a:lnTo>
                    <a:pt x="162" y="148"/>
                  </a:lnTo>
                  <a:lnTo>
                    <a:pt x="162" y="145"/>
                  </a:lnTo>
                  <a:lnTo>
                    <a:pt x="162" y="143"/>
                  </a:lnTo>
                  <a:lnTo>
                    <a:pt x="162" y="141"/>
                  </a:lnTo>
                  <a:lnTo>
                    <a:pt x="164" y="141"/>
                  </a:lnTo>
                  <a:lnTo>
                    <a:pt x="164" y="143"/>
                  </a:lnTo>
                  <a:lnTo>
                    <a:pt x="164" y="141"/>
                  </a:lnTo>
                  <a:lnTo>
                    <a:pt x="162" y="141"/>
                  </a:lnTo>
                  <a:lnTo>
                    <a:pt x="164" y="141"/>
                  </a:lnTo>
                  <a:close/>
                  <a:moveTo>
                    <a:pt x="231" y="141"/>
                  </a:moveTo>
                  <a:lnTo>
                    <a:pt x="231" y="143"/>
                  </a:lnTo>
                  <a:lnTo>
                    <a:pt x="228" y="143"/>
                  </a:lnTo>
                  <a:lnTo>
                    <a:pt x="228" y="145"/>
                  </a:lnTo>
                  <a:lnTo>
                    <a:pt x="226" y="145"/>
                  </a:lnTo>
                  <a:lnTo>
                    <a:pt x="223" y="145"/>
                  </a:lnTo>
                  <a:lnTo>
                    <a:pt x="223" y="148"/>
                  </a:lnTo>
                  <a:lnTo>
                    <a:pt x="223" y="145"/>
                  </a:lnTo>
                  <a:lnTo>
                    <a:pt x="223" y="148"/>
                  </a:lnTo>
                  <a:lnTo>
                    <a:pt x="223" y="145"/>
                  </a:lnTo>
                  <a:lnTo>
                    <a:pt x="221" y="148"/>
                  </a:lnTo>
                  <a:lnTo>
                    <a:pt x="219" y="148"/>
                  </a:lnTo>
                  <a:lnTo>
                    <a:pt x="216" y="148"/>
                  </a:lnTo>
                  <a:lnTo>
                    <a:pt x="219" y="148"/>
                  </a:lnTo>
                  <a:lnTo>
                    <a:pt x="216" y="148"/>
                  </a:lnTo>
                  <a:lnTo>
                    <a:pt x="219" y="148"/>
                  </a:lnTo>
                  <a:lnTo>
                    <a:pt x="219" y="145"/>
                  </a:lnTo>
                  <a:lnTo>
                    <a:pt x="221" y="143"/>
                  </a:lnTo>
                  <a:lnTo>
                    <a:pt x="223" y="143"/>
                  </a:lnTo>
                  <a:lnTo>
                    <a:pt x="226" y="143"/>
                  </a:lnTo>
                  <a:lnTo>
                    <a:pt x="228" y="141"/>
                  </a:lnTo>
                  <a:lnTo>
                    <a:pt x="231" y="141"/>
                  </a:lnTo>
                  <a:close/>
                  <a:moveTo>
                    <a:pt x="157" y="138"/>
                  </a:moveTo>
                  <a:lnTo>
                    <a:pt x="157" y="141"/>
                  </a:lnTo>
                  <a:lnTo>
                    <a:pt x="157" y="143"/>
                  </a:lnTo>
                  <a:lnTo>
                    <a:pt x="155" y="143"/>
                  </a:lnTo>
                  <a:lnTo>
                    <a:pt x="155" y="141"/>
                  </a:lnTo>
                  <a:lnTo>
                    <a:pt x="157" y="141"/>
                  </a:lnTo>
                  <a:lnTo>
                    <a:pt x="157" y="138"/>
                  </a:lnTo>
                  <a:close/>
                  <a:moveTo>
                    <a:pt x="136" y="136"/>
                  </a:moveTo>
                  <a:lnTo>
                    <a:pt x="136" y="138"/>
                  </a:lnTo>
                  <a:lnTo>
                    <a:pt x="136" y="136"/>
                  </a:lnTo>
                  <a:lnTo>
                    <a:pt x="136" y="138"/>
                  </a:lnTo>
                  <a:lnTo>
                    <a:pt x="136" y="136"/>
                  </a:lnTo>
                  <a:lnTo>
                    <a:pt x="136" y="138"/>
                  </a:lnTo>
                  <a:lnTo>
                    <a:pt x="136" y="136"/>
                  </a:lnTo>
                  <a:lnTo>
                    <a:pt x="138" y="136"/>
                  </a:lnTo>
                  <a:lnTo>
                    <a:pt x="138" y="138"/>
                  </a:lnTo>
                  <a:lnTo>
                    <a:pt x="138" y="136"/>
                  </a:lnTo>
                  <a:lnTo>
                    <a:pt x="138" y="138"/>
                  </a:lnTo>
                  <a:lnTo>
                    <a:pt x="136" y="138"/>
                  </a:lnTo>
                  <a:lnTo>
                    <a:pt x="136" y="141"/>
                  </a:lnTo>
                  <a:lnTo>
                    <a:pt x="133" y="141"/>
                  </a:lnTo>
                  <a:lnTo>
                    <a:pt x="136" y="141"/>
                  </a:lnTo>
                  <a:lnTo>
                    <a:pt x="136" y="138"/>
                  </a:lnTo>
                  <a:lnTo>
                    <a:pt x="133" y="138"/>
                  </a:lnTo>
                  <a:lnTo>
                    <a:pt x="133" y="136"/>
                  </a:lnTo>
                  <a:lnTo>
                    <a:pt x="136" y="138"/>
                  </a:lnTo>
                  <a:lnTo>
                    <a:pt x="136" y="136"/>
                  </a:lnTo>
                  <a:close/>
                  <a:moveTo>
                    <a:pt x="145" y="138"/>
                  </a:moveTo>
                  <a:lnTo>
                    <a:pt x="145" y="136"/>
                  </a:lnTo>
                  <a:lnTo>
                    <a:pt x="145" y="138"/>
                  </a:lnTo>
                  <a:close/>
                  <a:moveTo>
                    <a:pt x="242" y="136"/>
                  </a:moveTo>
                  <a:lnTo>
                    <a:pt x="245" y="136"/>
                  </a:lnTo>
                  <a:lnTo>
                    <a:pt x="247" y="136"/>
                  </a:lnTo>
                  <a:lnTo>
                    <a:pt x="250" y="138"/>
                  </a:lnTo>
                  <a:lnTo>
                    <a:pt x="250" y="136"/>
                  </a:lnTo>
                  <a:lnTo>
                    <a:pt x="250" y="138"/>
                  </a:lnTo>
                  <a:lnTo>
                    <a:pt x="250" y="136"/>
                  </a:lnTo>
                  <a:lnTo>
                    <a:pt x="252" y="136"/>
                  </a:lnTo>
                  <a:lnTo>
                    <a:pt x="250" y="136"/>
                  </a:lnTo>
                  <a:lnTo>
                    <a:pt x="252" y="136"/>
                  </a:lnTo>
                  <a:lnTo>
                    <a:pt x="254" y="136"/>
                  </a:lnTo>
                  <a:lnTo>
                    <a:pt x="254" y="138"/>
                  </a:lnTo>
                  <a:lnTo>
                    <a:pt x="252" y="138"/>
                  </a:lnTo>
                  <a:lnTo>
                    <a:pt x="254" y="138"/>
                  </a:lnTo>
                  <a:lnTo>
                    <a:pt x="254" y="141"/>
                  </a:lnTo>
                  <a:lnTo>
                    <a:pt x="252" y="141"/>
                  </a:lnTo>
                  <a:lnTo>
                    <a:pt x="250" y="141"/>
                  </a:lnTo>
                  <a:lnTo>
                    <a:pt x="247" y="141"/>
                  </a:lnTo>
                  <a:lnTo>
                    <a:pt x="247" y="143"/>
                  </a:lnTo>
                  <a:lnTo>
                    <a:pt x="245" y="143"/>
                  </a:lnTo>
                  <a:lnTo>
                    <a:pt x="245" y="141"/>
                  </a:lnTo>
                  <a:lnTo>
                    <a:pt x="242" y="141"/>
                  </a:lnTo>
                  <a:lnTo>
                    <a:pt x="240" y="141"/>
                  </a:lnTo>
                  <a:lnTo>
                    <a:pt x="238" y="141"/>
                  </a:lnTo>
                  <a:lnTo>
                    <a:pt x="240" y="141"/>
                  </a:lnTo>
                  <a:lnTo>
                    <a:pt x="238" y="141"/>
                  </a:lnTo>
                  <a:lnTo>
                    <a:pt x="238" y="138"/>
                  </a:lnTo>
                  <a:lnTo>
                    <a:pt x="240" y="138"/>
                  </a:lnTo>
                  <a:lnTo>
                    <a:pt x="240" y="136"/>
                  </a:lnTo>
                  <a:lnTo>
                    <a:pt x="242" y="136"/>
                  </a:lnTo>
                  <a:close/>
                  <a:moveTo>
                    <a:pt x="126" y="136"/>
                  </a:moveTo>
                  <a:lnTo>
                    <a:pt x="129" y="136"/>
                  </a:lnTo>
                  <a:lnTo>
                    <a:pt x="126" y="136"/>
                  </a:lnTo>
                  <a:lnTo>
                    <a:pt x="129" y="136"/>
                  </a:lnTo>
                  <a:lnTo>
                    <a:pt x="126" y="136"/>
                  </a:lnTo>
                  <a:close/>
                  <a:moveTo>
                    <a:pt x="129" y="136"/>
                  </a:moveTo>
                  <a:lnTo>
                    <a:pt x="129" y="134"/>
                  </a:lnTo>
                  <a:lnTo>
                    <a:pt x="129" y="136"/>
                  </a:lnTo>
                  <a:close/>
                  <a:moveTo>
                    <a:pt x="43" y="131"/>
                  </a:moveTo>
                  <a:lnTo>
                    <a:pt x="46" y="134"/>
                  </a:lnTo>
                  <a:lnTo>
                    <a:pt x="46" y="131"/>
                  </a:lnTo>
                  <a:lnTo>
                    <a:pt x="46" y="134"/>
                  </a:lnTo>
                  <a:lnTo>
                    <a:pt x="48" y="134"/>
                  </a:lnTo>
                  <a:lnTo>
                    <a:pt x="48" y="136"/>
                  </a:lnTo>
                  <a:lnTo>
                    <a:pt x="50" y="136"/>
                  </a:lnTo>
                  <a:lnTo>
                    <a:pt x="50" y="138"/>
                  </a:lnTo>
                  <a:lnTo>
                    <a:pt x="53" y="138"/>
                  </a:lnTo>
                  <a:lnTo>
                    <a:pt x="53" y="141"/>
                  </a:lnTo>
                  <a:lnTo>
                    <a:pt x="53" y="138"/>
                  </a:lnTo>
                  <a:lnTo>
                    <a:pt x="50" y="138"/>
                  </a:lnTo>
                  <a:lnTo>
                    <a:pt x="48" y="138"/>
                  </a:lnTo>
                  <a:lnTo>
                    <a:pt x="48" y="141"/>
                  </a:lnTo>
                  <a:lnTo>
                    <a:pt x="48" y="143"/>
                  </a:lnTo>
                  <a:lnTo>
                    <a:pt x="48" y="141"/>
                  </a:lnTo>
                  <a:lnTo>
                    <a:pt x="46" y="141"/>
                  </a:lnTo>
                  <a:lnTo>
                    <a:pt x="43" y="141"/>
                  </a:lnTo>
                  <a:lnTo>
                    <a:pt x="46" y="138"/>
                  </a:lnTo>
                  <a:lnTo>
                    <a:pt x="43" y="138"/>
                  </a:lnTo>
                  <a:lnTo>
                    <a:pt x="43" y="136"/>
                  </a:lnTo>
                  <a:lnTo>
                    <a:pt x="41" y="136"/>
                  </a:lnTo>
                  <a:lnTo>
                    <a:pt x="41" y="134"/>
                  </a:lnTo>
                  <a:lnTo>
                    <a:pt x="41" y="131"/>
                  </a:lnTo>
                  <a:lnTo>
                    <a:pt x="43" y="131"/>
                  </a:lnTo>
                  <a:lnTo>
                    <a:pt x="43" y="129"/>
                  </a:lnTo>
                  <a:lnTo>
                    <a:pt x="43" y="131"/>
                  </a:lnTo>
                  <a:close/>
                  <a:moveTo>
                    <a:pt x="169" y="129"/>
                  </a:moveTo>
                  <a:lnTo>
                    <a:pt x="169" y="131"/>
                  </a:lnTo>
                  <a:lnTo>
                    <a:pt x="169" y="129"/>
                  </a:lnTo>
                  <a:close/>
                  <a:moveTo>
                    <a:pt x="178" y="126"/>
                  </a:moveTo>
                  <a:lnTo>
                    <a:pt x="178" y="129"/>
                  </a:lnTo>
                  <a:lnTo>
                    <a:pt x="181" y="129"/>
                  </a:lnTo>
                  <a:lnTo>
                    <a:pt x="181" y="131"/>
                  </a:lnTo>
                  <a:lnTo>
                    <a:pt x="183" y="131"/>
                  </a:lnTo>
                  <a:lnTo>
                    <a:pt x="183" y="134"/>
                  </a:lnTo>
                  <a:lnTo>
                    <a:pt x="183" y="136"/>
                  </a:lnTo>
                  <a:lnTo>
                    <a:pt x="183" y="134"/>
                  </a:lnTo>
                  <a:lnTo>
                    <a:pt x="186" y="136"/>
                  </a:lnTo>
                  <a:lnTo>
                    <a:pt x="183" y="136"/>
                  </a:lnTo>
                  <a:lnTo>
                    <a:pt x="186" y="136"/>
                  </a:lnTo>
                  <a:lnTo>
                    <a:pt x="183" y="136"/>
                  </a:lnTo>
                  <a:lnTo>
                    <a:pt x="183" y="138"/>
                  </a:lnTo>
                  <a:lnTo>
                    <a:pt x="186" y="138"/>
                  </a:lnTo>
                  <a:lnTo>
                    <a:pt x="186" y="136"/>
                  </a:lnTo>
                  <a:lnTo>
                    <a:pt x="186" y="138"/>
                  </a:lnTo>
                  <a:lnTo>
                    <a:pt x="186" y="141"/>
                  </a:lnTo>
                  <a:lnTo>
                    <a:pt x="183" y="141"/>
                  </a:lnTo>
                  <a:lnTo>
                    <a:pt x="183" y="138"/>
                  </a:lnTo>
                  <a:lnTo>
                    <a:pt x="181" y="138"/>
                  </a:lnTo>
                  <a:lnTo>
                    <a:pt x="181" y="136"/>
                  </a:lnTo>
                  <a:lnTo>
                    <a:pt x="178" y="136"/>
                  </a:lnTo>
                  <a:lnTo>
                    <a:pt x="181" y="136"/>
                  </a:lnTo>
                  <a:lnTo>
                    <a:pt x="178" y="136"/>
                  </a:lnTo>
                  <a:lnTo>
                    <a:pt x="178" y="134"/>
                  </a:lnTo>
                  <a:lnTo>
                    <a:pt x="176" y="134"/>
                  </a:lnTo>
                  <a:lnTo>
                    <a:pt x="176" y="131"/>
                  </a:lnTo>
                  <a:lnTo>
                    <a:pt x="176" y="134"/>
                  </a:lnTo>
                  <a:lnTo>
                    <a:pt x="176" y="131"/>
                  </a:lnTo>
                  <a:lnTo>
                    <a:pt x="176" y="134"/>
                  </a:lnTo>
                  <a:lnTo>
                    <a:pt x="176" y="131"/>
                  </a:lnTo>
                  <a:lnTo>
                    <a:pt x="174" y="131"/>
                  </a:lnTo>
                  <a:lnTo>
                    <a:pt x="176" y="131"/>
                  </a:lnTo>
                  <a:lnTo>
                    <a:pt x="176" y="129"/>
                  </a:lnTo>
                  <a:lnTo>
                    <a:pt x="176" y="131"/>
                  </a:lnTo>
                  <a:lnTo>
                    <a:pt x="176" y="129"/>
                  </a:lnTo>
                  <a:lnTo>
                    <a:pt x="176" y="126"/>
                  </a:lnTo>
                  <a:lnTo>
                    <a:pt x="178" y="126"/>
                  </a:lnTo>
                  <a:close/>
                  <a:moveTo>
                    <a:pt x="136" y="126"/>
                  </a:moveTo>
                  <a:lnTo>
                    <a:pt x="138" y="126"/>
                  </a:lnTo>
                  <a:lnTo>
                    <a:pt x="138" y="129"/>
                  </a:lnTo>
                  <a:lnTo>
                    <a:pt x="136" y="129"/>
                  </a:lnTo>
                  <a:lnTo>
                    <a:pt x="138" y="129"/>
                  </a:lnTo>
                  <a:lnTo>
                    <a:pt x="136" y="129"/>
                  </a:lnTo>
                  <a:lnTo>
                    <a:pt x="138" y="129"/>
                  </a:lnTo>
                  <a:lnTo>
                    <a:pt x="138" y="131"/>
                  </a:lnTo>
                  <a:lnTo>
                    <a:pt x="136" y="131"/>
                  </a:lnTo>
                  <a:lnTo>
                    <a:pt x="133" y="134"/>
                  </a:lnTo>
                  <a:lnTo>
                    <a:pt x="133" y="131"/>
                  </a:lnTo>
                  <a:lnTo>
                    <a:pt x="136" y="131"/>
                  </a:lnTo>
                  <a:lnTo>
                    <a:pt x="136" y="129"/>
                  </a:lnTo>
                  <a:lnTo>
                    <a:pt x="133" y="129"/>
                  </a:lnTo>
                  <a:lnTo>
                    <a:pt x="136" y="129"/>
                  </a:lnTo>
                  <a:lnTo>
                    <a:pt x="136" y="126"/>
                  </a:lnTo>
                  <a:close/>
                  <a:moveTo>
                    <a:pt x="162" y="126"/>
                  </a:moveTo>
                  <a:lnTo>
                    <a:pt x="162" y="129"/>
                  </a:lnTo>
                  <a:lnTo>
                    <a:pt x="159" y="129"/>
                  </a:lnTo>
                  <a:lnTo>
                    <a:pt x="159" y="126"/>
                  </a:lnTo>
                  <a:lnTo>
                    <a:pt x="162" y="126"/>
                  </a:lnTo>
                  <a:close/>
                  <a:moveTo>
                    <a:pt x="119" y="119"/>
                  </a:moveTo>
                  <a:lnTo>
                    <a:pt x="117" y="119"/>
                  </a:lnTo>
                  <a:lnTo>
                    <a:pt x="119" y="119"/>
                  </a:lnTo>
                  <a:close/>
                  <a:moveTo>
                    <a:pt x="159" y="119"/>
                  </a:moveTo>
                  <a:lnTo>
                    <a:pt x="157" y="119"/>
                  </a:lnTo>
                  <a:lnTo>
                    <a:pt x="159" y="119"/>
                  </a:lnTo>
                  <a:close/>
                  <a:moveTo>
                    <a:pt x="155" y="117"/>
                  </a:moveTo>
                  <a:lnTo>
                    <a:pt x="157" y="117"/>
                  </a:lnTo>
                  <a:lnTo>
                    <a:pt x="155" y="117"/>
                  </a:lnTo>
                  <a:close/>
                  <a:moveTo>
                    <a:pt x="57" y="112"/>
                  </a:moveTo>
                  <a:lnTo>
                    <a:pt x="57" y="115"/>
                  </a:lnTo>
                  <a:lnTo>
                    <a:pt x="57" y="112"/>
                  </a:lnTo>
                  <a:close/>
                  <a:moveTo>
                    <a:pt x="55" y="112"/>
                  </a:moveTo>
                  <a:lnTo>
                    <a:pt x="55" y="110"/>
                  </a:lnTo>
                  <a:lnTo>
                    <a:pt x="55" y="112"/>
                  </a:lnTo>
                  <a:close/>
                  <a:moveTo>
                    <a:pt x="88" y="110"/>
                  </a:moveTo>
                  <a:lnTo>
                    <a:pt x="88" y="112"/>
                  </a:lnTo>
                  <a:lnTo>
                    <a:pt x="88" y="110"/>
                  </a:lnTo>
                  <a:close/>
                  <a:moveTo>
                    <a:pt x="57" y="107"/>
                  </a:moveTo>
                  <a:lnTo>
                    <a:pt x="57" y="110"/>
                  </a:lnTo>
                  <a:lnTo>
                    <a:pt x="55" y="110"/>
                  </a:lnTo>
                  <a:lnTo>
                    <a:pt x="55" y="107"/>
                  </a:lnTo>
                  <a:lnTo>
                    <a:pt x="57" y="107"/>
                  </a:lnTo>
                  <a:lnTo>
                    <a:pt x="55" y="107"/>
                  </a:lnTo>
                  <a:lnTo>
                    <a:pt x="57" y="107"/>
                  </a:lnTo>
                  <a:close/>
                  <a:moveTo>
                    <a:pt x="55" y="107"/>
                  </a:moveTo>
                  <a:lnTo>
                    <a:pt x="55" y="105"/>
                  </a:lnTo>
                  <a:lnTo>
                    <a:pt x="55" y="107"/>
                  </a:lnTo>
                  <a:close/>
                  <a:moveTo>
                    <a:pt x="55" y="105"/>
                  </a:moveTo>
                  <a:lnTo>
                    <a:pt x="53" y="105"/>
                  </a:lnTo>
                  <a:lnTo>
                    <a:pt x="55" y="105"/>
                  </a:lnTo>
                  <a:lnTo>
                    <a:pt x="53" y="105"/>
                  </a:lnTo>
                  <a:lnTo>
                    <a:pt x="55" y="105"/>
                  </a:lnTo>
                  <a:close/>
                  <a:moveTo>
                    <a:pt x="48" y="105"/>
                  </a:moveTo>
                  <a:lnTo>
                    <a:pt x="46" y="105"/>
                  </a:lnTo>
                  <a:lnTo>
                    <a:pt x="48" y="105"/>
                  </a:lnTo>
                  <a:close/>
                  <a:moveTo>
                    <a:pt x="41" y="105"/>
                  </a:moveTo>
                  <a:lnTo>
                    <a:pt x="43" y="105"/>
                  </a:lnTo>
                  <a:lnTo>
                    <a:pt x="43" y="107"/>
                  </a:lnTo>
                  <a:lnTo>
                    <a:pt x="43" y="110"/>
                  </a:lnTo>
                  <a:lnTo>
                    <a:pt x="46" y="110"/>
                  </a:lnTo>
                  <a:lnTo>
                    <a:pt x="46" y="112"/>
                  </a:lnTo>
                  <a:lnTo>
                    <a:pt x="46" y="115"/>
                  </a:lnTo>
                  <a:lnTo>
                    <a:pt x="46" y="112"/>
                  </a:lnTo>
                  <a:lnTo>
                    <a:pt x="43" y="112"/>
                  </a:lnTo>
                  <a:lnTo>
                    <a:pt x="43" y="115"/>
                  </a:lnTo>
                  <a:lnTo>
                    <a:pt x="43" y="112"/>
                  </a:lnTo>
                  <a:lnTo>
                    <a:pt x="43" y="110"/>
                  </a:lnTo>
                  <a:lnTo>
                    <a:pt x="41" y="110"/>
                  </a:lnTo>
                  <a:lnTo>
                    <a:pt x="41" y="107"/>
                  </a:lnTo>
                  <a:lnTo>
                    <a:pt x="41" y="105"/>
                  </a:lnTo>
                  <a:lnTo>
                    <a:pt x="43" y="105"/>
                  </a:lnTo>
                  <a:lnTo>
                    <a:pt x="41" y="105"/>
                  </a:lnTo>
                  <a:close/>
                  <a:moveTo>
                    <a:pt x="228" y="105"/>
                  </a:moveTo>
                  <a:lnTo>
                    <a:pt x="228" y="103"/>
                  </a:lnTo>
                  <a:lnTo>
                    <a:pt x="228" y="105"/>
                  </a:lnTo>
                  <a:close/>
                  <a:moveTo>
                    <a:pt x="223" y="103"/>
                  </a:moveTo>
                  <a:lnTo>
                    <a:pt x="226" y="103"/>
                  </a:lnTo>
                  <a:lnTo>
                    <a:pt x="228" y="103"/>
                  </a:lnTo>
                  <a:lnTo>
                    <a:pt x="228" y="105"/>
                  </a:lnTo>
                  <a:lnTo>
                    <a:pt x="226" y="105"/>
                  </a:lnTo>
                  <a:lnTo>
                    <a:pt x="226" y="103"/>
                  </a:lnTo>
                  <a:lnTo>
                    <a:pt x="226" y="105"/>
                  </a:lnTo>
                  <a:lnTo>
                    <a:pt x="226" y="103"/>
                  </a:lnTo>
                  <a:lnTo>
                    <a:pt x="226" y="105"/>
                  </a:lnTo>
                  <a:lnTo>
                    <a:pt x="226" y="103"/>
                  </a:lnTo>
                  <a:lnTo>
                    <a:pt x="223" y="103"/>
                  </a:lnTo>
                  <a:close/>
                  <a:moveTo>
                    <a:pt x="48" y="100"/>
                  </a:moveTo>
                  <a:lnTo>
                    <a:pt x="46" y="100"/>
                  </a:lnTo>
                  <a:lnTo>
                    <a:pt x="48" y="100"/>
                  </a:lnTo>
                  <a:close/>
                  <a:moveTo>
                    <a:pt x="50" y="100"/>
                  </a:moveTo>
                  <a:lnTo>
                    <a:pt x="50" y="103"/>
                  </a:lnTo>
                  <a:lnTo>
                    <a:pt x="50" y="100"/>
                  </a:lnTo>
                  <a:close/>
                  <a:moveTo>
                    <a:pt x="205" y="100"/>
                  </a:moveTo>
                  <a:lnTo>
                    <a:pt x="207" y="100"/>
                  </a:lnTo>
                  <a:lnTo>
                    <a:pt x="205" y="103"/>
                  </a:lnTo>
                  <a:lnTo>
                    <a:pt x="205" y="100"/>
                  </a:lnTo>
                  <a:lnTo>
                    <a:pt x="202" y="100"/>
                  </a:lnTo>
                  <a:lnTo>
                    <a:pt x="205" y="100"/>
                  </a:lnTo>
                  <a:close/>
                  <a:moveTo>
                    <a:pt x="53" y="98"/>
                  </a:moveTo>
                  <a:lnTo>
                    <a:pt x="50" y="98"/>
                  </a:lnTo>
                  <a:lnTo>
                    <a:pt x="50" y="100"/>
                  </a:lnTo>
                  <a:lnTo>
                    <a:pt x="48" y="100"/>
                  </a:lnTo>
                  <a:lnTo>
                    <a:pt x="50" y="100"/>
                  </a:lnTo>
                  <a:lnTo>
                    <a:pt x="48" y="100"/>
                  </a:lnTo>
                  <a:lnTo>
                    <a:pt x="50" y="100"/>
                  </a:lnTo>
                  <a:lnTo>
                    <a:pt x="50" y="98"/>
                  </a:lnTo>
                  <a:lnTo>
                    <a:pt x="53" y="98"/>
                  </a:lnTo>
                  <a:close/>
                  <a:moveTo>
                    <a:pt x="46" y="98"/>
                  </a:moveTo>
                  <a:lnTo>
                    <a:pt x="48" y="98"/>
                  </a:lnTo>
                  <a:lnTo>
                    <a:pt x="46" y="98"/>
                  </a:lnTo>
                  <a:lnTo>
                    <a:pt x="46" y="100"/>
                  </a:lnTo>
                  <a:lnTo>
                    <a:pt x="48" y="100"/>
                  </a:lnTo>
                  <a:lnTo>
                    <a:pt x="46" y="100"/>
                  </a:lnTo>
                  <a:lnTo>
                    <a:pt x="46" y="98"/>
                  </a:lnTo>
                  <a:lnTo>
                    <a:pt x="46" y="96"/>
                  </a:lnTo>
                  <a:lnTo>
                    <a:pt x="46" y="98"/>
                  </a:lnTo>
                  <a:close/>
                  <a:moveTo>
                    <a:pt x="121" y="98"/>
                  </a:moveTo>
                  <a:lnTo>
                    <a:pt x="121" y="96"/>
                  </a:lnTo>
                  <a:lnTo>
                    <a:pt x="124" y="96"/>
                  </a:lnTo>
                  <a:lnTo>
                    <a:pt x="124" y="98"/>
                  </a:lnTo>
                  <a:lnTo>
                    <a:pt x="121" y="98"/>
                  </a:lnTo>
                  <a:close/>
                  <a:moveTo>
                    <a:pt x="174" y="93"/>
                  </a:moveTo>
                  <a:lnTo>
                    <a:pt x="171" y="93"/>
                  </a:lnTo>
                  <a:lnTo>
                    <a:pt x="174" y="93"/>
                  </a:lnTo>
                  <a:close/>
                  <a:moveTo>
                    <a:pt x="167" y="88"/>
                  </a:moveTo>
                  <a:lnTo>
                    <a:pt x="167" y="91"/>
                  </a:lnTo>
                  <a:lnTo>
                    <a:pt x="167" y="88"/>
                  </a:lnTo>
                  <a:close/>
                  <a:moveTo>
                    <a:pt x="169" y="91"/>
                  </a:moveTo>
                  <a:lnTo>
                    <a:pt x="169" y="88"/>
                  </a:lnTo>
                  <a:lnTo>
                    <a:pt x="169" y="91"/>
                  </a:lnTo>
                  <a:close/>
                  <a:moveTo>
                    <a:pt x="164" y="88"/>
                  </a:moveTo>
                  <a:lnTo>
                    <a:pt x="164" y="91"/>
                  </a:lnTo>
                  <a:lnTo>
                    <a:pt x="164" y="88"/>
                  </a:lnTo>
                  <a:close/>
                  <a:moveTo>
                    <a:pt x="169" y="84"/>
                  </a:moveTo>
                  <a:lnTo>
                    <a:pt x="171" y="84"/>
                  </a:lnTo>
                  <a:lnTo>
                    <a:pt x="171" y="86"/>
                  </a:lnTo>
                  <a:lnTo>
                    <a:pt x="171" y="88"/>
                  </a:lnTo>
                  <a:lnTo>
                    <a:pt x="174" y="88"/>
                  </a:lnTo>
                  <a:lnTo>
                    <a:pt x="174" y="91"/>
                  </a:lnTo>
                  <a:lnTo>
                    <a:pt x="174" y="88"/>
                  </a:lnTo>
                  <a:lnTo>
                    <a:pt x="174" y="91"/>
                  </a:lnTo>
                  <a:lnTo>
                    <a:pt x="176" y="91"/>
                  </a:lnTo>
                  <a:lnTo>
                    <a:pt x="174" y="91"/>
                  </a:lnTo>
                  <a:lnTo>
                    <a:pt x="176" y="93"/>
                  </a:lnTo>
                  <a:lnTo>
                    <a:pt x="174" y="93"/>
                  </a:lnTo>
                  <a:lnTo>
                    <a:pt x="171" y="93"/>
                  </a:lnTo>
                  <a:lnTo>
                    <a:pt x="171" y="91"/>
                  </a:lnTo>
                  <a:lnTo>
                    <a:pt x="171" y="93"/>
                  </a:lnTo>
                  <a:lnTo>
                    <a:pt x="171" y="91"/>
                  </a:lnTo>
                  <a:lnTo>
                    <a:pt x="169" y="93"/>
                  </a:lnTo>
                  <a:lnTo>
                    <a:pt x="169" y="91"/>
                  </a:lnTo>
                  <a:lnTo>
                    <a:pt x="171" y="91"/>
                  </a:lnTo>
                  <a:lnTo>
                    <a:pt x="171" y="88"/>
                  </a:lnTo>
                  <a:lnTo>
                    <a:pt x="171" y="91"/>
                  </a:lnTo>
                  <a:lnTo>
                    <a:pt x="171" y="88"/>
                  </a:lnTo>
                  <a:lnTo>
                    <a:pt x="169" y="88"/>
                  </a:lnTo>
                  <a:lnTo>
                    <a:pt x="167" y="88"/>
                  </a:lnTo>
                  <a:lnTo>
                    <a:pt x="167" y="86"/>
                  </a:lnTo>
                  <a:lnTo>
                    <a:pt x="169" y="86"/>
                  </a:lnTo>
                  <a:lnTo>
                    <a:pt x="167" y="86"/>
                  </a:lnTo>
                  <a:lnTo>
                    <a:pt x="167" y="84"/>
                  </a:lnTo>
                  <a:lnTo>
                    <a:pt x="169" y="84"/>
                  </a:lnTo>
                  <a:close/>
                  <a:moveTo>
                    <a:pt x="131" y="81"/>
                  </a:moveTo>
                  <a:lnTo>
                    <a:pt x="131" y="79"/>
                  </a:lnTo>
                  <a:lnTo>
                    <a:pt x="131" y="81"/>
                  </a:lnTo>
                  <a:close/>
                  <a:moveTo>
                    <a:pt x="157" y="77"/>
                  </a:moveTo>
                  <a:lnTo>
                    <a:pt x="157" y="79"/>
                  </a:lnTo>
                  <a:lnTo>
                    <a:pt x="155" y="79"/>
                  </a:lnTo>
                  <a:lnTo>
                    <a:pt x="157" y="79"/>
                  </a:lnTo>
                  <a:lnTo>
                    <a:pt x="155" y="79"/>
                  </a:lnTo>
                  <a:lnTo>
                    <a:pt x="157" y="79"/>
                  </a:lnTo>
                  <a:lnTo>
                    <a:pt x="157" y="77"/>
                  </a:lnTo>
                  <a:lnTo>
                    <a:pt x="157" y="79"/>
                  </a:lnTo>
                  <a:lnTo>
                    <a:pt x="157" y="77"/>
                  </a:lnTo>
                  <a:close/>
                  <a:moveTo>
                    <a:pt x="136" y="77"/>
                  </a:moveTo>
                  <a:lnTo>
                    <a:pt x="136" y="74"/>
                  </a:lnTo>
                  <a:lnTo>
                    <a:pt x="136" y="77"/>
                  </a:lnTo>
                  <a:close/>
                  <a:moveTo>
                    <a:pt x="29" y="77"/>
                  </a:moveTo>
                  <a:lnTo>
                    <a:pt x="27" y="77"/>
                  </a:lnTo>
                  <a:lnTo>
                    <a:pt x="27" y="74"/>
                  </a:lnTo>
                  <a:lnTo>
                    <a:pt x="29" y="74"/>
                  </a:lnTo>
                  <a:lnTo>
                    <a:pt x="29" y="77"/>
                  </a:lnTo>
                  <a:close/>
                  <a:moveTo>
                    <a:pt x="121" y="74"/>
                  </a:moveTo>
                  <a:lnTo>
                    <a:pt x="121" y="77"/>
                  </a:lnTo>
                  <a:lnTo>
                    <a:pt x="121" y="74"/>
                  </a:lnTo>
                  <a:close/>
                  <a:moveTo>
                    <a:pt x="126" y="74"/>
                  </a:moveTo>
                  <a:lnTo>
                    <a:pt x="126" y="77"/>
                  </a:lnTo>
                  <a:lnTo>
                    <a:pt x="126" y="74"/>
                  </a:lnTo>
                  <a:close/>
                  <a:moveTo>
                    <a:pt x="140" y="72"/>
                  </a:moveTo>
                  <a:lnTo>
                    <a:pt x="140" y="74"/>
                  </a:lnTo>
                  <a:lnTo>
                    <a:pt x="143" y="74"/>
                  </a:lnTo>
                  <a:lnTo>
                    <a:pt x="143" y="77"/>
                  </a:lnTo>
                  <a:lnTo>
                    <a:pt x="145" y="77"/>
                  </a:lnTo>
                  <a:lnTo>
                    <a:pt x="145" y="79"/>
                  </a:lnTo>
                  <a:lnTo>
                    <a:pt x="143" y="79"/>
                  </a:lnTo>
                  <a:lnTo>
                    <a:pt x="140" y="79"/>
                  </a:lnTo>
                  <a:lnTo>
                    <a:pt x="140" y="77"/>
                  </a:lnTo>
                  <a:lnTo>
                    <a:pt x="140" y="74"/>
                  </a:lnTo>
                  <a:lnTo>
                    <a:pt x="138" y="74"/>
                  </a:lnTo>
                  <a:lnTo>
                    <a:pt x="138" y="72"/>
                  </a:lnTo>
                  <a:lnTo>
                    <a:pt x="140" y="72"/>
                  </a:lnTo>
                  <a:close/>
                  <a:moveTo>
                    <a:pt x="136" y="72"/>
                  </a:moveTo>
                  <a:lnTo>
                    <a:pt x="136" y="74"/>
                  </a:lnTo>
                  <a:lnTo>
                    <a:pt x="136" y="77"/>
                  </a:lnTo>
                  <a:lnTo>
                    <a:pt x="133" y="77"/>
                  </a:lnTo>
                  <a:lnTo>
                    <a:pt x="136" y="77"/>
                  </a:lnTo>
                  <a:lnTo>
                    <a:pt x="133" y="77"/>
                  </a:lnTo>
                  <a:lnTo>
                    <a:pt x="131" y="74"/>
                  </a:lnTo>
                  <a:lnTo>
                    <a:pt x="133" y="74"/>
                  </a:lnTo>
                  <a:lnTo>
                    <a:pt x="136" y="72"/>
                  </a:lnTo>
                  <a:close/>
                  <a:moveTo>
                    <a:pt x="214" y="72"/>
                  </a:moveTo>
                  <a:lnTo>
                    <a:pt x="214" y="74"/>
                  </a:lnTo>
                  <a:lnTo>
                    <a:pt x="214" y="72"/>
                  </a:lnTo>
                  <a:lnTo>
                    <a:pt x="212" y="72"/>
                  </a:lnTo>
                  <a:lnTo>
                    <a:pt x="214" y="72"/>
                  </a:lnTo>
                  <a:close/>
                  <a:moveTo>
                    <a:pt x="152" y="72"/>
                  </a:moveTo>
                  <a:lnTo>
                    <a:pt x="152" y="74"/>
                  </a:lnTo>
                  <a:lnTo>
                    <a:pt x="150" y="74"/>
                  </a:lnTo>
                  <a:lnTo>
                    <a:pt x="152" y="74"/>
                  </a:lnTo>
                  <a:lnTo>
                    <a:pt x="152" y="72"/>
                  </a:lnTo>
                  <a:lnTo>
                    <a:pt x="150" y="72"/>
                  </a:lnTo>
                  <a:lnTo>
                    <a:pt x="152" y="72"/>
                  </a:lnTo>
                  <a:close/>
                  <a:moveTo>
                    <a:pt x="24" y="72"/>
                  </a:moveTo>
                  <a:lnTo>
                    <a:pt x="27" y="72"/>
                  </a:lnTo>
                  <a:lnTo>
                    <a:pt x="27" y="74"/>
                  </a:lnTo>
                  <a:lnTo>
                    <a:pt x="24" y="74"/>
                  </a:lnTo>
                  <a:lnTo>
                    <a:pt x="24" y="72"/>
                  </a:lnTo>
                  <a:close/>
                  <a:moveTo>
                    <a:pt x="150" y="69"/>
                  </a:moveTo>
                  <a:lnTo>
                    <a:pt x="152" y="69"/>
                  </a:lnTo>
                  <a:lnTo>
                    <a:pt x="152" y="72"/>
                  </a:lnTo>
                  <a:lnTo>
                    <a:pt x="150" y="72"/>
                  </a:lnTo>
                  <a:lnTo>
                    <a:pt x="150" y="74"/>
                  </a:lnTo>
                  <a:lnTo>
                    <a:pt x="148" y="74"/>
                  </a:lnTo>
                  <a:lnTo>
                    <a:pt x="148" y="77"/>
                  </a:lnTo>
                  <a:lnTo>
                    <a:pt x="148" y="74"/>
                  </a:lnTo>
                  <a:lnTo>
                    <a:pt x="148" y="72"/>
                  </a:lnTo>
                  <a:lnTo>
                    <a:pt x="150" y="72"/>
                  </a:lnTo>
                  <a:lnTo>
                    <a:pt x="150" y="69"/>
                  </a:lnTo>
                  <a:close/>
                  <a:moveTo>
                    <a:pt x="233" y="69"/>
                  </a:moveTo>
                  <a:lnTo>
                    <a:pt x="233" y="67"/>
                  </a:lnTo>
                  <a:lnTo>
                    <a:pt x="233" y="69"/>
                  </a:lnTo>
                  <a:close/>
                  <a:moveTo>
                    <a:pt x="155" y="65"/>
                  </a:moveTo>
                  <a:lnTo>
                    <a:pt x="155" y="67"/>
                  </a:lnTo>
                  <a:lnTo>
                    <a:pt x="155" y="69"/>
                  </a:lnTo>
                  <a:lnTo>
                    <a:pt x="155" y="67"/>
                  </a:lnTo>
                  <a:lnTo>
                    <a:pt x="155" y="69"/>
                  </a:lnTo>
                  <a:lnTo>
                    <a:pt x="155" y="67"/>
                  </a:lnTo>
                  <a:lnTo>
                    <a:pt x="155" y="65"/>
                  </a:lnTo>
                  <a:close/>
                  <a:moveTo>
                    <a:pt x="164" y="65"/>
                  </a:moveTo>
                  <a:lnTo>
                    <a:pt x="164" y="67"/>
                  </a:lnTo>
                  <a:lnTo>
                    <a:pt x="162" y="67"/>
                  </a:lnTo>
                  <a:lnTo>
                    <a:pt x="162" y="65"/>
                  </a:lnTo>
                  <a:lnTo>
                    <a:pt x="164" y="65"/>
                  </a:lnTo>
                  <a:close/>
                  <a:moveTo>
                    <a:pt x="27" y="65"/>
                  </a:moveTo>
                  <a:lnTo>
                    <a:pt x="29" y="65"/>
                  </a:lnTo>
                  <a:lnTo>
                    <a:pt x="27" y="65"/>
                  </a:lnTo>
                  <a:close/>
                  <a:moveTo>
                    <a:pt x="159" y="62"/>
                  </a:moveTo>
                  <a:lnTo>
                    <a:pt x="159" y="65"/>
                  </a:lnTo>
                  <a:lnTo>
                    <a:pt x="157" y="65"/>
                  </a:lnTo>
                  <a:lnTo>
                    <a:pt x="157" y="67"/>
                  </a:lnTo>
                  <a:lnTo>
                    <a:pt x="157" y="65"/>
                  </a:lnTo>
                  <a:lnTo>
                    <a:pt x="157" y="62"/>
                  </a:lnTo>
                  <a:lnTo>
                    <a:pt x="159" y="62"/>
                  </a:lnTo>
                  <a:close/>
                  <a:moveTo>
                    <a:pt x="159" y="60"/>
                  </a:moveTo>
                  <a:lnTo>
                    <a:pt x="157" y="60"/>
                  </a:lnTo>
                  <a:lnTo>
                    <a:pt x="159" y="60"/>
                  </a:lnTo>
                  <a:close/>
                  <a:moveTo>
                    <a:pt x="186" y="58"/>
                  </a:moveTo>
                  <a:lnTo>
                    <a:pt x="188" y="58"/>
                  </a:lnTo>
                  <a:lnTo>
                    <a:pt x="188" y="60"/>
                  </a:lnTo>
                  <a:lnTo>
                    <a:pt x="186" y="60"/>
                  </a:lnTo>
                  <a:lnTo>
                    <a:pt x="188" y="60"/>
                  </a:lnTo>
                  <a:lnTo>
                    <a:pt x="186" y="60"/>
                  </a:lnTo>
                  <a:lnTo>
                    <a:pt x="186" y="62"/>
                  </a:lnTo>
                  <a:lnTo>
                    <a:pt x="186" y="60"/>
                  </a:lnTo>
                  <a:lnTo>
                    <a:pt x="186" y="58"/>
                  </a:lnTo>
                  <a:close/>
                  <a:moveTo>
                    <a:pt x="0" y="43"/>
                  </a:moveTo>
                  <a:lnTo>
                    <a:pt x="3" y="43"/>
                  </a:lnTo>
                  <a:lnTo>
                    <a:pt x="0" y="43"/>
                  </a:lnTo>
                  <a:lnTo>
                    <a:pt x="0" y="46"/>
                  </a:lnTo>
                  <a:lnTo>
                    <a:pt x="0" y="43"/>
                  </a:lnTo>
                  <a:lnTo>
                    <a:pt x="0" y="46"/>
                  </a:lnTo>
                  <a:lnTo>
                    <a:pt x="0" y="43"/>
                  </a:lnTo>
                  <a:lnTo>
                    <a:pt x="0" y="46"/>
                  </a:lnTo>
                  <a:lnTo>
                    <a:pt x="0" y="43"/>
                  </a:lnTo>
                  <a:close/>
                  <a:moveTo>
                    <a:pt x="8" y="43"/>
                  </a:moveTo>
                  <a:lnTo>
                    <a:pt x="5" y="43"/>
                  </a:lnTo>
                  <a:lnTo>
                    <a:pt x="5" y="41"/>
                  </a:lnTo>
                  <a:lnTo>
                    <a:pt x="8" y="41"/>
                  </a:lnTo>
                  <a:lnTo>
                    <a:pt x="8" y="43"/>
                  </a:lnTo>
                  <a:close/>
                  <a:moveTo>
                    <a:pt x="148" y="36"/>
                  </a:moveTo>
                  <a:lnTo>
                    <a:pt x="145" y="36"/>
                  </a:lnTo>
                  <a:lnTo>
                    <a:pt x="148" y="36"/>
                  </a:lnTo>
                  <a:close/>
                  <a:moveTo>
                    <a:pt x="145" y="27"/>
                  </a:moveTo>
                  <a:lnTo>
                    <a:pt x="145" y="29"/>
                  </a:lnTo>
                  <a:lnTo>
                    <a:pt x="145" y="27"/>
                  </a:lnTo>
                  <a:close/>
                  <a:moveTo>
                    <a:pt x="150" y="22"/>
                  </a:moveTo>
                  <a:lnTo>
                    <a:pt x="150" y="24"/>
                  </a:lnTo>
                  <a:lnTo>
                    <a:pt x="150" y="22"/>
                  </a:lnTo>
                  <a:lnTo>
                    <a:pt x="148" y="22"/>
                  </a:lnTo>
                  <a:lnTo>
                    <a:pt x="150" y="22"/>
                  </a:lnTo>
                  <a:close/>
                  <a:moveTo>
                    <a:pt x="205" y="15"/>
                  </a:moveTo>
                  <a:lnTo>
                    <a:pt x="207" y="15"/>
                  </a:lnTo>
                  <a:lnTo>
                    <a:pt x="209" y="17"/>
                  </a:lnTo>
                  <a:lnTo>
                    <a:pt x="207" y="17"/>
                  </a:lnTo>
                  <a:lnTo>
                    <a:pt x="207" y="19"/>
                  </a:lnTo>
                  <a:lnTo>
                    <a:pt x="205" y="19"/>
                  </a:lnTo>
                  <a:lnTo>
                    <a:pt x="202" y="19"/>
                  </a:lnTo>
                  <a:lnTo>
                    <a:pt x="202" y="17"/>
                  </a:lnTo>
                  <a:lnTo>
                    <a:pt x="200" y="17"/>
                  </a:lnTo>
                  <a:lnTo>
                    <a:pt x="200" y="15"/>
                  </a:lnTo>
                  <a:lnTo>
                    <a:pt x="202" y="15"/>
                  </a:lnTo>
                  <a:lnTo>
                    <a:pt x="205" y="15"/>
                  </a:lnTo>
                  <a:close/>
                  <a:moveTo>
                    <a:pt x="174" y="0"/>
                  </a:moveTo>
                  <a:lnTo>
                    <a:pt x="174" y="3"/>
                  </a:lnTo>
                  <a:lnTo>
                    <a:pt x="176" y="3"/>
                  </a:lnTo>
                  <a:lnTo>
                    <a:pt x="176" y="0"/>
                  </a:lnTo>
                  <a:lnTo>
                    <a:pt x="176" y="3"/>
                  </a:lnTo>
                  <a:lnTo>
                    <a:pt x="178" y="3"/>
                  </a:lnTo>
                  <a:lnTo>
                    <a:pt x="178" y="5"/>
                  </a:lnTo>
                  <a:lnTo>
                    <a:pt x="178" y="3"/>
                  </a:lnTo>
                  <a:lnTo>
                    <a:pt x="178" y="5"/>
                  </a:lnTo>
                  <a:lnTo>
                    <a:pt x="178" y="8"/>
                  </a:lnTo>
                  <a:lnTo>
                    <a:pt x="178" y="10"/>
                  </a:lnTo>
                  <a:lnTo>
                    <a:pt x="176" y="10"/>
                  </a:lnTo>
                  <a:lnTo>
                    <a:pt x="174" y="10"/>
                  </a:lnTo>
                  <a:lnTo>
                    <a:pt x="174" y="12"/>
                  </a:lnTo>
                  <a:lnTo>
                    <a:pt x="174" y="10"/>
                  </a:lnTo>
                  <a:lnTo>
                    <a:pt x="174" y="12"/>
                  </a:lnTo>
                  <a:lnTo>
                    <a:pt x="174" y="10"/>
                  </a:lnTo>
                  <a:lnTo>
                    <a:pt x="171" y="10"/>
                  </a:lnTo>
                  <a:lnTo>
                    <a:pt x="174" y="10"/>
                  </a:lnTo>
                  <a:lnTo>
                    <a:pt x="171" y="10"/>
                  </a:lnTo>
                  <a:lnTo>
                    <a:pt x="169" y="10"/>
                  </a:lnTo>
                  <a:lnTo>
                    <a:pt x="169" y="8"/>
                  </a:lnTo>
                  <a:lnTo>
                    <a:pt x="169" y="5"/>
                  </a:lnTo>
                  <a:lnTo>
                    <a:pt x="171" y="5"/>
                  </a:lnTo>
                  <a:lnTo>
                    <a:pt x="171" y="3"/>
                  </a:lnTo>
                  <a:lnTo>
                    <a:pt x="174" y="3"/>
                  </a:lnTo>
                  <a:lnTo>
                    <a:pt x="17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9" name="Freeform 52454"/>
            <p:cNvSpPr>
              <a:spLocks noEditPoints="1"/>
            </p:cNvSpPr>
            <p:nvPr/>
          </p:nvSpPr>
          <p:spPr bwMode="auto">
            <a:xfrm>
              <a:off x="3068634" y="5383231"/>
              <a:ext cx="414338" cy="393701"/>
            </a:xfrm>
            <a:custGeom>
              <a:avLst/>
              <a:gdLst>
                <a:gd name="T0" fmla="*/ 230 w 261"/>
                <a:gd name="T1" fmla="*/ 243 h 248"/>
                <a:gd name="T2" fmla="*/ 230 w 261"/>
                <a:gd name="T3" fmla="*/ 240 h 248"/>
                <a:gd name="T4" fmla="*/ 142 w 261"/>
                <a:gd name="T5" fmla="*/ 238 h 248"/>
                <a:gd name="T6" fmla="*/ 259 w 261"/>
                <a:gd name="T7" fmla="*/ 219 h 248"/>
                <a:gd name="T8" fmla="*/ 109 w 261"/>
                <a:gd name="T9" fmla="*/ 217 h 248"/>
                <a:gd name="T10" fmla="*/ 259 w 261"/>
                <a:gd name="T11" fmla="*/ 217 h 248"/>
                <a:gd name="T12" fmla="*/ 254 w 261"/>
                <a:gd name="T13" fmla="*/ 207 h 248"/>
                <a:gd name="T14" fmla="*/ 259 w 261"/>
                <a:gd name="T15" fmla="*/ 205 h 248"/>
                <a:gd name="T16" fmla="*/ 261 w 261"/>
                <a:gd name="T17" fmla="*/ 205 h 248"/>
                <a:gd name="T18" fmla="*/ 225 w 261"/>
                <a:gd name="T19" fmla="*/ 202 h 248"/>
                <a:gd name="T20" fmla="*/ 216 w 261"/>
                <a:gd name="T21" fmla="*/ 193 h 248"/>
                <a:gd name="T22" fmla="*/ 214 w 261"/>
                <a:gd name="T23" fmla="*/ 191 h 248"/>
                <a:gd name="T24" fmla="*/ 59 w 261"/>
                <a:gd name="T25" fmla="*/ 181 h 248"/>
                <a:gd name="T26" fmla="*/ 157 w 261"/>
                <a:gd name="T27" fmla="*/ 181 h 248"/>
                <a:gd name="T28" fmla="*/ 121 w 261"/>
                <a:gd name="T29" fmla="*/ 181 h 248"/>
                <a:gd name="T30" fmla="*/ 147 w 261"/>
                <a:gd name="T31" fmla="*/ 181 h 248"/>
                <a:gd name="T32" fmla="*/ 190 w 261"/>
                <a:gd name="T33" fmla="*/ 179 h 248"/>
                <a:gd name="T34" fmla="*/ 190 w 261"/>
                <a:gd name="T35" fmla="*/ 176 h 248"/>
                <a:gd name="T36" fmla="*/ 188 w 261"/>
                <a:gd name="T37" fmla="*/ 176 h 248"/>
                <a:gd name="T38" fmla="*/ 233 w 261"/>
                <a:gd name="T39" fmla="*/ 172 h 248"/>
                <a:gd name="T40" fmla="*/ 173 w 261"/>
                <a:gd name="T41" fmla="*/ 172 h 248"/>
                <a:gd name="T42" fmla="*/ 178 w 261"/>
                <a:gd name="T43" fmla="*/ 172 h 248"/>
                <a:gd name="T44" fmla="*/ 192 w 261"/>
                <a:gd name="T45" fmla="*/ 169 h 248"/>
                <a:gd name="T46" fmla="*/ 195 w 261"/>
                <a:gd name="T47" fmla="*/ 167 h 248"/>
                <a:gd name="T48" fmla="*/ 199 w 261"/>
                <a:gd name="T49" fmla="*/ 160 h 248"/>
                <a:gd name="T50" fmla="*/ 116 w 261"/>
                <a:gd name="T51" fmla="*/ 157 h 248"/>
                <a:gd name="T52" fmla="*/ 221 w 261"/>
                <a:gd name="T53" fmla="*/ 160 h 248"/>
                <a:gd name="T54" fmla="*/ 225 w 261"/>
                <a:gd name="T55" fmla="*/ 155 h 248"/>
                <a:gd name="T56" fmla="*/ 119 w 261"/>
                <a:gd name="T57" fmla="*/ 153 h 248"/>
                <a:gd name="T58" fmla="*/ 119 w 261"/>
                <a:gd name="T59" fmla="*/ 148 h 248"/>
                <a:gd name="T60" fmla="*/ 161 w 261"/>
                <a:gd name="T61" fmla="*/ 145 h 248"/>
                <a:gd name="T62" fmla="*/ 114 w 261"/>
                <a:gd name="T63" fmla="*/ 141 h 248"/>
                <a:gd name="T64" fmla="*/ 31 w 261"/>
                <a:gd name="T65" fmla="*/ 141 h 248"/>
                <a:gd name="T66" fmla="*/ 116 w 261"/>
                <a:gd name="T67" fmla="*/ 138 h 248"/>
                <a:gd name="T68" fmla="*/ 128 w 261"/>
                <a:gd name="T69" fmla="*/ 134 h 248"/>
                <a:gd name="T70" fmla="*/ 97 w 261"/>
                <a:gd name="T71" fmla="*/ 119 h 248"/>
                <a:gd name="T72" fmla="*/ 140 w 261"/>
                <a:gd name="T73" fmla="*/ 115 h 248"/>
                <a:gd name="T74" fmla="*/ 45 w 261"/>
                <a:gd name="T75" fmla="*/ 112 h 248"/>
                <a:gd name="T76" fmla="*/ 50 w 261"/>
                <a:gd name="T77" fmla="*/ 112 h 248"/>
                <a:gd name="T78" fmla="*/ 74 w 261"/>
                <a:gd name="T79" fmla="*/ 110 h 248"/>
                <a:gd name="T80" fmla="*/ 38 w 261"/>
                <a:gd name="T81" fmla="*/ 107 h 248"/>
                <a:gd name="T82" fmla="*/ 38 w 261"/>
                <a:gd name="T83" fmla="*/ 107 h 248"/>
                <a:gd name="T84" fmla="*/ 211 w 261"/>
                <a:gd name="T85" fmla="*/ 105 h 248"/>
                <a:gd name="T86" fmla="*/ 116 w 261"/>
                <a:gd name="T87" fmla="*/ 103 h 248"/>
                <a:gd name="T88" fmla="*/ 206 w 261"/>
                <a:gd name="T89" fmla="*/ 103 h 248"/>
                <a:gd name="T90" fmla="*/ 33 w 261"/>
                <a:gd name="T91" fmla="*/ 100 h 248"/>
                <a:gd name="T92" fmla="*/ 133 w 261"/>
                <a:gd name="T93" fmla="*/ 98 h 248"/>
                <a:gd name="T94" fmla="*/ 26 w 261"/>
                <a:gd name="T95" fmla="*/ 96 h 248"/>
                <a:gd name="T96" fmla="*/ 40 w 261"/>
                <a:gd name="T97" fmla="*/ 79 h 248"/>
                <a:gd name="T98" fmla="*/ 138 w 261"/>
                <a:gd name="T99" fmla="*/ 79 h 248"/>
                <a:gd name="T100" fmla="*/ 121 w 261"/>
                <a:gd name="T101" fmla="*/ 77 h 248"/>
                <a:gd name="T102" fmla="*/ 138 w 261"/>
                <a:gd name="T103" fmla="*/ 67 h 248"/>
                <a:gd name="T104" fmla="*/ 216 w 261"/>
                <a:gd name="T105" fmla="*/ 67 h 248"/>
                <a:gd name="T106" fmla="*/ 171 w 261"/>
                <a:gd name="T107" fmla="*/ 43 h 248"/>
                <a:gd name="T108" fmla="*/ 133 w 261"/>
                <a:gd name="T109" fmla="*/ 24 h 248"/>
                <a:gd name="T110" fmla="*/ 202 w 261"/>
                <a:gd name="T111" fmla="*/ 0 h 248"/>
                <a:gd name="T112" fmla="*/ 202 w 261"/>
                <a:gd name="T11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1" h="248">
                  <a:moveTo>
                    <a:pt x="195" y="248"/>
                  </a:moveTo>
                  <a:lnTo>
                    <a:pt x="192" y="248"/>
                  </a:lnTo>
                  <a:lnTo>
                    <a:pt x="195" y="248"/>
                  </a:lnTo>
                  <a:close/>
                  <a:moveTo>
                    <a:pt x="230" y="243"/>
                  </a:moveTo>
                  <a:lnTo>
                    <a:pt x="228" y="243"/>
                  </a:lnTo>
                  <a:lnTo>
                    <a:pt x="230" y="243"/>
                  </a:lnTo>
                  <a:close/>
                  <a:moveTo>
                    <a:pt x="233" y="240"/>
                  </a:moveTo>
                  <a:lnTo>
                    <a:pt x="230" y="240"/>
                  </a:lnTo>
                  <a:lnTo>
                    <a:pt x="233" y="240"/>
                  </a:lnTo>
                  <a:close/>
                  <a:moveTo>
                    <a:pt x="142" y="238"/>
                  </a:moveTo>
                  <a:lnTo>
                    <a:pt x="140" y="238"/>
                  </a:lnTo>
                  <a:lnTo>
                    <a:pt x="142" y="238"/>
                  </a:lnTo>
                  <a:close/>
                  <a:moveTo>
                    <a:pt x="237" y="233"/>
                  </a:moveTo>
                  <a:lnTo>
                    <a:pt x="235" y="233"/>
                  </a:lnTo>
                  <a:lnTo>
                    <a:pt x="237" y="233"/>
                  </a:lnTo>
                  <a:close/>
                  <a:moveTo>
                    <a:pt x="259" y="219"/>
                  </a:moveTo>
                  <a:lnTo>
                    <a:pt x="256" y="219"/>
                  </a:lnTo>
                  <a:lnTo>
                    <a:pt x="259" y="219"/>
                  </a:lnTo>
                  <a:close/>
                  <a:moveTo>
                    <a:pt x="112" y="217"/>
                  </a:moveTo>
                  <a:lnTo>
                    <a:pt x="109" y="217"/>
                  </a:lnTo>
                  <a:lnTo>
                    <a:pt x="112" y="217"/>
                  </a:lnTo>
                  <a:close/>
                  <a:moveTo>
                    <a:pt x="259" y="217"/>
                  </a:moveTo>
                  <a:lnTo>
                    <a:pt x="256" y="217"/>
                  </a:lnTo>
                  <a:lnTo>
                    <a:pt x="259" y="217"/>
                  </a:lnTo>
                  <a:close/>
                  <a:moveTo>
                    <a:pt x="259" y="210"/>
                  </a:moveTo>
                  <a:lnTo>
                    <a:pt x="256" y="210"/>
                  </a:lnTo>
                  <a:lnTo>
                    <a:pt x="259" y="210"/>
                  </a:lnTo>
                  <a:close/>
                  <a:moveTo>
                    <a:pt x="254" y="207"/>
                  </a:moveTo>
                  <a:lnTo>
                    <a:pt x="254" y="205"/>
                  </a:lnTo>
                  <a:lnTo>
                    <a:pt x="256" y="207"/>
                  </a:lnTo>
                  <a:lnTo>
                    <a:pt x="254" y="207"/>
                  </a:lnTo>
                  <a:close/>
                  <a:moveTo>
                    <a:pt x="259" y="205"/>
                  </a:moveTo>
                  <a:lnTo>
                    <a:pt x="256" y="205"/>
                  </a:lnTo>
                  <a:lnTo>
                    <a:pt x="259" y="205"/>
                  </a:lnTo>
                  <a:close/>
                  <a:moveTo>
                    <a:pt x="259" y="205"/>
                  </a:moveTo>
                  <a:lnTo>
                    <a:pt x="261" y="205"/>
                  </a:lnTo>
                  <a:lnTo>
                    <a:pt x="259" y="205"/>
                  </a:lnTo>
                  <a:close/>
                  <a:moveTo>
                    <a:pt x="225" y="202"/>
                  </a:moveTo>
                  <a:lnTo>
                    <a:pt x="225" y="200"/>
                  </a:lnTo>
                  <a:lnTo>
                    <a:pt x="225" y="202"/>
                  </a:lnTo>
                  <a:close/>
                  <a:moveTo>
                    <a:pt x="223" y="198"/>
                  </a:moveTo>
                  <a:lnTo>
                    <a:pt x="221" y="198"/>
                  </a:lnTo>
                  <a:lnTo>
                    <a:pt x="223" y="198"/>
                  </a:lnTo>
                  <a:close/>
                  <a:moveTo>
                    <a:pt x="216" y="193"/>
                  </a:moveTo>
                  <a:lnTo>
                    <a:pt x="216" y="191"/>
                  </a:lnTo>
                  <a:lnTo>
                    <a:pt x="216" y="193"/>
                  </a:lnTo>
                  <a:close/>
                  <a:moveTo>
                    <a:pt x="216" y="191"/>
                  </a:moveTo>
                  <a:lnTo>
                    <a:pt x="214" y="191"/>
                  </a:lnTo>
                  <a:lnTo>
                    <a:pt x="216" y="191"/>
                  </a:lnTo>
                  <a:close/>
                  <a:moveTo>
                    <a:pt x="59" y="181"/>
                  </a:moveTo>
                  <a:lnTo>
                    <a:pt x="59" y="183"/>
                  </a:lnTo>
                  <a:lnTo>
                    <a:pt x="59" y="181"/>
                  </a:lnTo>
                  <a:close/>
                  <a:moveTo>
                    <a:pt x="154" y="181"/>
                  </a:moveTo>
                  <a:lnTo>
                    <a:pt x="154" y="183"/>
                  </a:lnTo>
                  <a:lnTo>
                    <a:pt x="154" y="181"/>
                  </a:lnTo>
                  <a:close/>
                  <a:moveTo>
                    <a:pt x="157" y="181"/>
                  </a:moveTo>
                  <a:lnTo>
                    <a:pt x="154" y="181"/>
                  </a:lnTo>
                  <a:lnTo>
                    <a:pt x="157" y="181"/>
                  </a:lnTo>
                  <a:close/>
                  <a:moveTo>
                    <a:pt x="123" y="181"/>
                  </a:moveTo>
                  <a:lnTo>
                    <a:pt x="121" y="181"/>
                  </a:lnTo>
                  <a:lnTo>
                    <a:pt x="123" y="181"/>
                  </a:lnTo>
                  <a:close/>
                  <a:moveTo>
                    <a:pt x="147" y="181"/>
                  </a:moveTo>
                  <a:lnTo>
                    <a:pt x="150" y="181"/>
                  </a:lnTo>
                  <a:lnTo>
                    <a:pt x="147" y="181"/>
                  </a:lnTo>
                  <a:close/>
                  <a:moveTo>
                    <a:pt x="188" y="179"/>
                  </a:moveTo>
                  <a:lnTo>
                    <a:pt x="185" y="179"/>
                  </a:lnTo>
                  <a:lnTo>
                    <a:pt x="188" y="179"/>
                  </a:lnTo>
                  <a:close/>
                  <a:moveTo>
                    <a:pt x="190" y="179"/>
                  </a:moveTo>
                  <a:lnTo>
                    <a:pt x="190" y="176"/>
                  </a:lnTo>
                  <a:lnTo>
                    <a:pt x="190" y="179"/>
                  </a:lnTo>
                  <a:close/>
                  <a:moveTo>
                    <a:pt x="192" y="176"/>
                  </a:moveTo>
                  <a:lnTo>
                    <a:pt x="190" y="176"/>
                  </a:lnTo>
                  <a:lnTo>
                    <a:pt x="192" y="176"/>
                  </a:lnTo>
                  <a:close/>
                  <a:moveTo>
                    <a:pt x="188" y="176"/>
                  </a:moveTo>
                  <a:lnTo>
                    <a:pt x="188" y="174"/>
                  </a:lnTo>
                  <a:lnTo>
                    <a:pt x="188" y="176"/>
                  </a:lnTo>
                  <a:close/>
                  <a:moveTo>
                    <a:pt x="237" y="174"/>
                  </a:moveTo>
                  <a:lnTo>
                    <a:pt x="235" y="174"/>
                  </a:lnTo>
                  <a:lnTo>
                    <a:pt x="237" y="174"/>
                  </a:lnTo>
                  <a:close/>
                  <a:moveTo>
                    <a:pt x="233" y="172"/>
                  </a:moveTo>
                  <a:lnTo>
                    <a:pt x="230" y="172"/>
                  </a:lnTo>
                  <a:lnTo>
                    <a:pt x="233" y="172"/>
                  </a:lnTo>
                  <a:close/>
                  <a:moveTo>
                    <a:pt x="171" y="172"/>
                  </a:moveTo>
                  <a:lnTo>
                    <a:pt x="173" y="172"/>
                  </a:lnTo>
                  <a:lnTo>
                    <a:pt x="171" y="172"/>
                  </a:lnTo>
                  <a:close/>
                  <a:moveTo>
                    <a:pt x="178" y="172"/>
                  </a:moveTo>
                  <a:lnTo>
                    <a:pt x="176" y="172"/>
                  </a:lnTo>
                  <a:lnTo>
                    <a:pt x="178" y="172"/>
                  </a:lnTo>
                  <a:close/>
                  <a:moveTo>
                    <a:pt x="171" y="167"/>
                  </a:moveTo>
                  <a:lnTo>
                    <a:pt x="171" y="169"/>
                  </a:lnTo>
                  <a:lnTo>
                    <a:pt x="171" y="167"/>
                  </a:lnTo>
                  <a:close/>
                  <a:moveTo>
                    <a:pt x="192" y="169"/>
                  </a:moveTo>
                  <a:lnTo>
                    <a:pt x="192" y="167"/>
                  </a:lnTo>
                  <a:lnTo>
                    <a:pt x="192" y="169"/>
                  </a:lnTo>
                  <a:close/>
                  <a:moveTo>
                    <a:pt x="197" y="167"/>
                  </a:moveTo>
                  <a:lnTo>
                    <a:pt x="195" y="167"/>
                  </a:lnTo>
                  <a:lnTo>
                    <a:pt x="197" y="167"/>
                  </a:lnTo>
                  <a:close/>
                  <a:moveTo>
                    <a:pt x="199" y="160"/>
                  </a:moveTo>
                  <a:lnTo>
                    <a:pt x="199" y="162"/>
                  </a:lnTo>
                  <a:lnTo>
                    <a:pt x="199" y="160"/>
                  </a:lnTo>
                  <a:close/>
                  <a:moveTo>
                    <a:pt x="114" y="160"/>
                  </a:moveTo>
                  <a:lnTo>
                    <a:pt x="112" y="160"/>
                  </a:lnTo>
                  <a:lnTo>
                    <a:pt x="114" y="160"/>
                  </a:lnTo>
                  <a:close/>
                  <a:moveTo>
                    <a:pt x="116" y="157"/>
                  </a:moveTo>
                  <a:lnTo>
                    <a:pt x="114" y="157"/>
                  </a:lnTo>
                  <a:lnTo>
                    <a:pt x="116" y="157"/>
                  </a:lnTo>
                  <a:close/>
                  <a:moveTo>
                    <a:pt x="221" y="157"/>
                  </a:moveTo>
                  <a:lnTo>
                    <a:pt x="221" y="160"/>
                  </a:lnTo>
                  <a:lnTo>
                    <a:pt x="221" y="157"/>
                  </a:lnTo>
                  <a:close/>
                  <a:moveTo>
                    <a:pt x="225" y="155"/>
                  </a:moveTo>
                  <a:lnTo>
                    <a:pt x="228" y="155"/>
                  </a:lnTo>
                  <a:lnTo>
                    <a:pt x="225" y="155"/>
                  </a:lnTo>
                  <a:close/>
                  <a:moveTo>
                    <a:pt x="233" y="153"/>
                  </a:moveTo>
                  <a:lnTo>
                    <a:pt x="235" y="153"/>
                  </a:lnTo>
                  <a:lnTo>
                    <a:pt x="233" y="153"/>
                  </a:lnTo>
                  <a:close/>
                  <a:moveTo>
                    <a:pt x="119" y="153"/>
                  </a:moveTo>
                  <a:lnTo>
                    <a:pt x="121" y="153"/>
                  </a:lnTo>
                  <a:lnTo>
                    <a:pt x="119" y="153"/>
                  </a:lnTo>
                  <a:close/>
                  <a:moveTo>
                    <a:pt x="121" y="148"/>
                  </a:moveTo>
                  <a:lnTo>
                    <a:pt x="119" y="148"/>
                  </a:lnTo>
                  <a:lnTo>
                    <a:pt x="121" y="148"/>
                  </a:lnTo>
                  <a:close/>
                  <a:moveTo>
                    <a:pt x="161" y="145"/>
                  </a:moveTo>
                  <a:lnTo>
                    <a:pt x="159" y="145"/>
                  </a:lnTo>
                  <a:lnTo>
                    <a:pt x="161" y="145"/>
                  </a:lnTo>
                  <a:close/>
                  <a:moveTo>
                    <a:pt x="48" y="143"/>
                  </a:moveTo>
                  <a:lnTo>
                    <a:pt x="45" y="143"/>
                  </a:lnTo>
                  <a:lnTo>
                    <a:pt x="48" y="143"/>
                  </a:lnTo>
                  <a:close/>
                  <a:moveTo>
                    <a:pt x="114" y="141"/>
                  </a:moveTo>
                  <a:lnTo>
                    <a:pt x="112" y="141"/>
                  </a:lnTo>
                  <a:lnTo>
                    <a:pt x="114" y="141"/>
                  </a:lnTo>
                  <a:close/>
                  <a:moveTo>
                    <a:pt x="33" y="141"/>
                  </a:moveTo>
                  <a:lnTo>
                    <a:pt x="31" y="141"/>
                  </a:lnTo>
                  <a:lnTo>
                    <a:pt x="33" y="141"/>
                  </a:lnTo>
                  <a:close/>
                  <a:moveTo>
                    <a:pt x="116" y="138"/>
                  </a:moveTo>
                  <a:lnTo>
                    <a:pt x="114" y="138"/>
                  </a:lnTo>
                  <a:lnTo>
                    <a:pt x="116" y="138"/>
                  </a:lnTo>
                  <a:close/>
                  <a:moveTo>
                    <a:pt x="114" y="136"/>
                  </a:moveTo>
                  <a:lnTo>
                    <a:pt x="116" y="136"/>
                  </a:lnTo>
                  <a:lnTo>
                    <a:pt x="114" y="136"/>
                  </a:lnTo>
                  <a:close/>
                  <a:moveTo>
                    <a:pt x="128" y="134"/>
                  </a:moveTo>
                  <a:lnTo>
                    <a:pt x="126" y="134"/>
                  </a:lnTo>
                  <a:lnTo>
                    <a:pt x="128" y="134"/>
                  </a:lnTo>
                  <a:close/>
                  <a:moveTo>
                    <a:pt x="100" y="119"/>
                  </a:moveTo>
                  <a:lnTo>
                    <a:pt x="97" y="119"/>
                  </a:lnTo>
                  <a:lnTo>
                    <a:pt x="100" y="119"/>
                  </a:lnTo>
                  <a:close/>
                  <a:moveTo>
                    <a:pt x="140" y="115"/>
                  </a:moveTo>
                  <a:lnTo>
                    <a:pt x="138" y="115"/>
                  </a:lnTo>
                  <a:lnTo>
                    <a:pt x="140" y="115"/>
                  </a:lnTo>
                  <a:close/>
                  <a:moveTo>
                    <a:pt x="40" y="115"/>
                  </a:moveTo>
                  <a:lnTo>
                    <a:pt x="40" y="112"/>
                  </a:lnTo>
                  <a:lnTo>
                    <a:pt x="40" y="115"/>
                  </a:lnTo>
                  <a:close/>
                  <a:moveTo>
                    <a:pt x="45" y="112"/>
                  </a:moveTo>
                  <a:lnTo>
                    <a:pt x="43" y="112"/>
                  </a:lnTo>
                  <a:lnTo>
                    <a:pt x="45" y="112"/>
                  </a:lnTo>
                  <a:close/>
                  <a:moveTo>
                    <a:pt x="48" y="112"/>
                  </a:moveTo>
                  <a:lnTo>
                    <a:pt x="50" y="112"/>
                  </a:lnTo>
                  <a:lnTo>
                    <a:pt x="48" y="112"/>
                  </a:lnTo>
                  <a:close/>
                  <a:moveTo>
                    <a:pt x="74" y="110"/>
                  </a:moveTo>
                  <a:lnTo>
                    <a:pt x="74" y="112"/>
                  </a:lnTo>
                  <a:lnTo>
                    <a:pt x="74" y="110"/>
                  </a:lnTo>
                  <a:close/>
                  <a:moveTo>
                    <a:pt x="123" y="107"/>
                  </a:moveTo>
                  <a:lnTo>
                    <a:pt x="121" y="107"/>
                  </a:lnTo>
                  <a:lnTo>
                    <a:pt x="123" y="107"/>
                  </a:lnTo>
                  <a:close/>
                  <a:moveTo>
                    <a:pt x="38" y="107"/>
                  </a:moveTo>
                  <a:lnTo>
                    <a:pt x="38" y="105"/>
                  </a:lnTo>
                  <a:lnTo>
                    <a:pt x="38" y="107"/>
                  </a:lnTo>
                  <a:close/>
                  <a:moveTo>
                    <a:pt x="38" y="105"/>
                  </a:moveTo>
                  <a:lnTo>
                    <a:pt x="38" y="107"/>
                  </a:lnTo>
                  <a:lnTo>
                    <a:pt x="38" y="105"/>
                  </a:lnTo>
                  <a:close/>
                  <a:moveTo>
                    <a:pt x="211" y="105"/>
                  </a:moveTo>
                  <a:lnTo>
                    <a:pt x="209" y="105"/>
                  </a:lnTo>
                  <a:lnTo>
                    <a:pt x="211" y="105"/>
                  </a:lnTo>
                  <a:close/>
                  <a:moveTo>
                    <a:pt x="142" y="105"/>
                  </a:moveTo>
                  <a:lnTo>
                    <a:pt x="142" y="103"/>
                  </a:lnTo>
                  <a:lnTo>
                    <a:pt x="142" y="105"/>
                  </a:lnTo>
                  <a:close/>
                  <a:moveTo>
                    <a:pt x="116" y="103"/>
                  </a:moveTo>
                  <a:lnTo>
                    <a:pt x="114" y="103"/>
                  </a:lnTo>
                  <a:lnTo>
                    <a:pt x="116" y="103"/>
                  </a:lnTo>
                  <a:close/>
                  <a:moveTo>
                    <a:pt x="204" y="103"/>
                  </a:moveTo>
                  <a:lnTo>
                    <a:pt x="206" y="103"/>
                  </a:lnTo>
                  <a:lnTo>
                    <a:pt x="204" y="103"/>
                  </a:lnTo>
                  <a:close/>
                  <a:moveTo>
                    <a:pt x="33" y="100"/>
                  </a:moveTo>
                  <a:lnTo>
                    <a:pt x="36" y="100"/>
                  </a:lnTo>
                  <a:lnTo>
                    <a:pt x="33" y="100"/>
                  </a:lnTo>
                  <a:close/>
                  <a:moveTo>
                    <a:pt x="145" y="98"/>
                  </a:moveTo>
                  <a:lnTo>
                    <a:pt x="142" y="98"/>
                  </a:lnTo>
                  <a:lnTo>
                    <a:pt x="145" y="98"/>
                  </a:lnTo>
                  <a:close/>
                  <a:moveTo>
                    <a:pt x="133" y="98"/>
                  </a:moveTo>
                  <a:lnTo>
                    <a:pt x="133" y="96"/>
                  </a:lnTo>
                  <a:lnTo>
                    <a:pt x="133" y="98"/>
                  </a:lnTo>
                  <a:close/>
                  <a:moveTo>
                    <a:pt x="29" y="96"/>
                  </a:moveTo>
                  <a:lnTo>
                    <a:pt x="26" y="96"/>
                  </a:lnTo>
                  <a:lnTo>
                    <a:pt x="29" y="96"/>
                  </a:lnTo>
                  <a:close/>
                  <a:moveTo>
                    <a:pt x="40" y="79"/>
                  </a:moveTo>
                  <a:lnTo>
                    <a:pt x="38" y="81"/>
                  </a:lnTo>
                  <a:lnTo>
                    <a:pt x="40" y="79"/>
                  </a:lnTo>
                  <a:close/>
                  <a:moveTo>
                    <a:pt x="138" y="81"/>
                  </a:moveTo>
                  <a:lnTo>
                    <a:pt x="138" y="79"/>
                  </a:lnTo>
                  <a:lnTo>
                    <a:pt x="138" y="81"/>
                  </a:lnTo>
                  <a:close/>
                  <a:moveTo>
                    <a:pt x="138" y="79"/>
                  </a:moveTo>
                  <a:lnTo>
                    <a:pt x="138" y="77"/>
                  </a:lnTo>
                  <a:lnTo>
                    <a:pt x="138" y="79"/>
                  </a:lnTo>
                  <a:close/>
                  <a:moveTo>
                    <a:pt x="119" y="77"/>
                  </a:moveTo>
                  <a:lnTo>
                    <a:pt x="121" y="77"/>
                  </a:lnTo>
                  <a:lnTo>
                    <a:pt x="119" y="77"/>
                  </a:lnTo>
                  <a:close/>
                  <a:moveTo>
                    <a:pt x="138" y="69"/>
                  </a:moveTo>
                  <a:lnTo>
                    <a:pt x="135" y="69"/>
                  </a:lnTo>
                  <a:lnTo>
                    <a:pt x="138" y="67"/>
                  </a:lnTo>
                  <a:lnTo>
                    <a:pt x="138" y="69"/>
                  </a:lnTo>
                  <a:close/>
                  <a:moveTo>
                    <a:pt x="216" y="67"/>
                  </a:moveTo>
                  <a:lnTo>
                    <a:pt x="216" y="69"/>
                  </a:lnTo>
                  <a:lnTo>
                    <a:pt x="216" y="67"/>
                  </a:lnTo>
                  <a:close/>
                  <a:moveTo>
                    <a:pt x="0" y="65"/>
                  </a:moveTo>
                  <a:lnTo>
                    <a:pt x="0" y="62"/>
                  </a:lnTo>
                  <a:lnTo>
                    <a:pt x="0" y="65"/>
                  </a:lnTo>
                  <a:close/>
                  <a:moveTo>
                    <a:pt x="171" y="43"/>
                  </a:moveTo>
                  <a:lnTo>
                    <a:pt x="169" y="43"/>
                  </a:lnTo>
                  <a:lnTo>
                    <a:pt x="171" y="43"/>
                  </a:lnTo>
                  <a:close/>
                  <a:moveTo>
                    <a:pt x="135" y="24"/>
                  </a:moveTo>
                  <a:lnTo>
                    <a:pt x="133" y="24"/>
                  </a:lnTo>
                  <a:lnTo>
                    <a:pt x="135" y="22"/>
                  </a:lnTo>
                  <a:lnTo>
                    <a:pt x="135" y="24"/>
                  </a:lnTo>
                  <a:close/>
                  <a:moveTo>
                    <a:pt x="202" y="3"/>
                  </a:moveTo>
                  <a:lnTo>
                    <a:pt x="202" y="0"/>
                  </a:lnTo>
                  <a:lnTo>
                    <a:pt x="202" y="3"/>
                  </a:lnTo>
                  <a:close/>
                  <a:moveTo>
                    <a:pt x="202" y="0"/>
                  </a:moveTo>
                  <a:lnTo>
                    <a:pt x="202" y="3"/>
                  </a:lnTo>
                  <a:lnTo>
                    <a:pt x="20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0" name="Freeform 52455"/>
            <p:cNvSpPr>
              <a:spLocks noEditPoints="1"/>
            </p:cNvSpPr>
            <p:nvPr/>
          </p:nvSpPr>
          <p:spPr bwMode="auto">
            <a:xfrm>
              <a:off x="1885948" y="4719654"/>
              <a:ext cx="26988" cy="26988"/>
            </a:xfrm>
            <a:custGeom>
              <a:avLst/>
              <a:gdLst>
                <a:gd name="T0" fmla="*/ 10 w 17"/>
                <a:gd name="T1" fmla="*/ 15 h 17"/>
                <a:gd name="T2" fmla="*/ 10 w 17"/>
                <a:gd name="T3" fmla="*/ 15 h 17"/>
                <a:gd name="T4" fmla="*/ 12 w 17"/>
                <a:gd name="T5" fmla="*/ 15 h 17"/>
                <a:gd name="T6" fmla="*/ 12 w 17"/>
                <a:gd name="T7" fmla="*/ 15 h 17"/>
                <a:gd name="T8" fmla="*/ 12 w 17"/>
                <a:gd name="T9" fmla="*/ 17 h 17"/>
                <a:gd name="T10" fmla="*/ 10 w 17"/>
                <a:gd name="T11" fmla="*/ 17 h 17"/>
                <a:gd name="T12" fmla="*/ 10 w 17"/>
                <a:gd name="T13" fmla="*/ 15 h 17"/>
                <a:gd name="T14" fmla="*/ 10 w 17"/>
                <a:gd name="T15" fmla="*/ 15 h 17"/>
                <a:gd name="T16" fmla="*/ 10 w 17"/>
                <a:gd name="T17" fmla="*/ 15 h 17"/>
                <a:gd name="T18" fmla="*/ 10 w 17"/>
                <a:gd name="T19" fmla="*/ 15 h 17"/>
                <a:gd name="T20" fmla="*/ 7 w 17"/>
                <a:gd name="T21" fmla="*/ 12 h 17"/>
                <a:gd name="T22" fmla="*/ 7 w 17"/>
                <a:gd name="T23" fmla="*/ 12 h 17"/>
                <a:gd name="T24" fmla="*/ 5 w 17"/>
                <a:gd name="T25" fmla="*/ 12 h 17"/>
                <a:gd name="T26" fmla="*/ 5 w 17"/>
                <a:gd name="T27" fmla="*/ 12 h 17"/>
                <a:gd name="T28" fmla="*/ 7 w 17"/>
                <a:gd name="T29" fmla="*/ 12 h 17"/>
                <a:gd name="T30" fmla="*/ 7 w 17"/>
                <a:gd name="T31" fmla="*/ 12 h 17"/>
                <a:gd name="T32" fmla="*/ 5 w 17"/>
                <a:gd name="T33" fmla="*/ 12 h 17"/>
                <a:gd name="T34" fmla="*/ 5 w 17"/>
                <a:gd name="T35" fmla="*/ 12 h 17"/>
                <a:gd name="T36" fmla="*/ 5 w 17"/>
                <a:gd name="T37" fmla="*/ 15 h 17"/>
                <a:gd name="T38" fmla="*/ 5 w 17"/>
                <a:gd name="T39" fmla="*/ 15 h 17"/>
                <a:gd name="T40" fmla="*/ 5 w 17"/>
                <a:gd name="T41" fmla="*/ 15 h 17"/>
                <a:gd name="T42" fmla="*/ 5 w 17"/>
                <a:gd name="T43" fmla="*/ 15 h 17"/>
                <a:gd name="T44" fmla="*/ 5 w 17"/>
                <a:gd name="T45" fmla="*/ 17 h 17"/>
                <a:gd name="T46" fmla="*/ 5 w 17"/>
                <a:gd name="T47" fmla="*/ 15 h 17"/>
                <a:gd name="T48" fmla="*/ 5 w 17"/>
                <a:gd name="T49" fmla="*/ 15 h 17"/>
                <a:gd name="T50" fmla="*/ 2 w 17"/>
                <a:gd name="T51" fmla="*/ 17 h 17"/>
                <a:gd name="T52" fmla="*/ 2 w 17"/>
                <a:gd name="T53" fmla="*/ 17 h 17"/>
                <a:gd name="T54" fmla="*/ 2 w 17"/>
                <a:gd name="T55" fmla="*/ 15 h 17"/>
                <a:gd name="T56" fmla="*/ 0 w 17"/>
                <a:gd name="T57" fmla="*/ 15 h 17"/>
                <a:gd name="T58" fmla="*/ 0 w 17"/>
                <a:gd name="T59" fmla="*/ 15 h 17"/>
                <a:gd name="T60" fmla="*/ 0 w 17"/>
                <a:gd name="T61" fmla="*/ 15 h 17"/>
                <a:gd name="T62" fmla="*/ 2 w 17"/>
                <a:gd name="T63" fmla="*/ 15 h 17"/>
                <a:gd name="T64" fmla="*/ 2 w 17"/>
                <a:gd name="T65" fmla="*/ 15 h 17"/>
                <a:gd name="T66" fmla="*/ 2 w 17"/>
                <a:gd name="T67" fmla="*/ 15 h 17"/>
                <a:gd name="T68" fmla="*/ 2 w 17"/>
                <a:gd name="T69" fmla="*/ 15 h 17"/>
                <a:gd name="T70" fmla="*/ 2 w 17"/>
                <a:gd name="T71" fmla="*/ 15 h 17"/>
                <a:gd name="T72" fmla="*/ 2 w 17"/>
                <a:gd name="T73" fmla="*/ 12 h 17"/>
                <a:gd name="T74" fmla="*/ 2 w 17"/>
                <a:gd name="T75" fmla="*/ 12 h 17"/>
                <a:gd name="T76" fmla="*/ 2 w 17"/>
                <a:gd name="T77" fmla="*/ 12 h 17"/>
                <a:gd name="T78" fmla="*/ 5 w 17"/>
                <a:gd name="T79" fmla="*/ 12 h 17"/>
                <a:gd name="T80" fmla="*/ 5 w 17"/>
                <a:gd name="T81" fmla="*/ 12 h 17"/>
                <a:gd name="T82" fmla="*/ 5 w 17"/>
                <a:gd name="T83" fmla="*/ 12 h 17"/>
                <a:gd name="T84" fmla="*/ 5 w 17"/>
                <a:gd name="T85" fmla="*/ 12 h 17"/>
                <a:gd name="T86" fmla="*/ 5 w 17"/>
                <a:gd name="T87" fmla="*/ 12 h 17"/>
                <a:gd name="T88" fmla="*/ 17 w 17"/>
                <a:gd name="T89" fmla="*/ 0 h 17"/>
                <a:gd name="T90" fmla="*/ 17 w 17"/>
                <a:gd name="T91" fmla="*/ 0 h 17"/>
                <a:gd name="T92" fmla="*/ 17 w 17"/>
                <a:gd name="T93" fmla="*/ 3 h 17"/>
                <a:gd name="T94" fmla="*/ 17 w 17"/>
                <a:gd name="T95" fmla="*/ 3 h 17"/>
                <a:gd name="T96" fmla="*/ 14 w 17"/>
                <a:gd name="T97" fmla="*/ 3 h 17"/>
                <a:gd name="T98" fmla="*/ 14 w 17"/>
                <a:gd name="T99" fmla="*/ 3 h 17"/>
                <a:gd name="T100" fmla="*/ 14 w 17"/>
                <a:gd name="T101" fmla="*/ 3 h 17"/>
                <a:gd name="T102" fmla="*/ 17 w 17"/>
                <a:gd name="T103" fmla="*/ 0 h 17"/>
                <a:gd name="T104" fmla="*/ 17 w 17"/>
                <a:gd name="T105" fmla="*/ 0 h 17"/>
                <a:gd name="T106" fmla="*/ 17 w 17"/>
                <a:gd name="T107" fmla="*/ 0 h 17"/>
                <a:gd name="T108" fmla="*/ 17 w 17"/>
                <a:gd name="T109" fmla="*/ 0 h 17"/>
                <a:gd name="T110" fmla="*/ 14 w 17"/>
                <a:gd name="T111" fmla="*/ 0 h 17"/>
                <a:gd name="T112" fmla="*/ 14 w 17"/>
                <a:gd name="T11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 h="17">
                  <a:moveTo>
                    <a:pt x="10" y="15"/>
                  </a:moveTo>
                  <a:lnTo>
                    <a:pt x="10" y="15"/>
                  </a:lnTo>
                  <a:lnTo>
                    <a:pt x="10" y="15"/>
                  </a:lnTo>
                  <a:lnTo>
                    <a:pt x="10" y="15"/>
                  </a:lnTo>
                  <a:lnTo>
                    <a:pt x="10" y="15"/>
                  </a:lnTo>
                  <a:lnTo>
                    <a:pt x="10" y="15"/>
                  </a:lnTo>
                  <a:lnTo>
                    <a:pt x="10" y="15"/>
                  </a:lnTo>
                  <a:lnTo>
                    <a:pt x="10" y="15"/>
                  </a:lnTo>
                  <a:lnTo>
                    <a:pt x="10" y="15"/>
                  </a:lnTo>
                  <a:lnTo>
                    <a:pt x="10" y="15"/>
                  </a:lnTo>
                  <a:lnTo>
                    <a:pt x="10" y="15"/>
                  </a:lnTo>
                  <a:close/>
                  <a:moveTo>
                    <a:pt x="10" y="15"/>
                  </a:move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7"/>
                  </a:lnTo>
                  <a:lnTo>
                    <a:pt x="12" y="17"/>
                  </a:lnTo>
                  <a:lnTo>
                    <a:pt x="10" y="17"/>
                  </a:lnTo>
                  <a:lnTo>
                    <a:pt x="10" y="17"/>
                  </a:lnTo>
                  <a:lnTo>
                    <a:pt x="10" y="17"/>
                  </a:lnTo>
                  <a:lnTo>
                    <a:pt x="10" y="17"/>
                  </a:lnTo>
                  <a:lnTo>
                    <a:pt x="10" y="17"/>
                  </a:lnTo>
                  <a:lnTo>
                    <a:pt x="10" y="17"/>
                  </a:lnTo>
                  <a:lnTo>
                    <a:pt x="10" y="17"/>
                  </a:lnTo>
                  <a:lnTo>
                    <a:pt x="10" y="17"/>
                  </a:lnTo>
                  <a:lnTo>
                    <a:pt x="10" y="17"/>
                  </a:lnTo>
                  <a:lnTo>
                    <a:pt x="10" y="17"/>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2" y="15"/>
                  </a:lnTo>
                  <a:lnTo>
                    <a:pt x="12" y="15"/>
                  </a:lnTo>
                  <a:lnTo>
                    <a:pt x="10" y="15"/>
                  </a:lnTo>
                  <a:lnTo>
                    <a:pt x="12" y="15"/>
                  </a:lnTo>
                  <a:lnTo>
                    <a:pt x="10" y="15"/>
                  </a:lnTo>
                  <a:lnTo>
                    <a:pt x="10" y="15"/>
                  </a:lnTo>
                  <a:close/>
                  <a:moveTo>
                    <a:pt x="7" y="15"/>
                  </a:moveTo>
                  <a:lnTo>
                    <a:pt x="7" y="15"/>
                  </a:lnTo>
                  <a:lnTo>
                    <a:pt x="7" y="15"/>
                  </a:lnTo>
                  <a:lnTo>
                    <a:pt x="7" y="15"/>
                  </a:lnTo>
                  <a:lnTo>
                    <a:pt x="7" y="12"/>
                  </a:lnTo>
                  <a:lnTo>
                    <a:pt x="7" y="12"/>
                  </a:lnTo>
                  <a:lnTo>
                    <a:pt x="7" y="12"/>
                  </a:lnTo>
                  <a:lnTo>
                    <a:pt x="7" y="12"/>
                  </a:lnTo>
                  <a:lnTo>
                    <a:pt x="7" y="12"/>
                  </a:lnTo>
                  <a:lnTo>
                    <a:pt x="7" y="12"/>
                  </a:lnTo>
                  <a:lnTo>
                    <a:pt x="7" y="12"/>
                  </a:lnTo>
                  <a:lnTo>
                    <a:pt x="7" y="12"/>
                  </a:lnTo>
                  <a:lnTo>
                    <a:pt x="7" y="15"/>
                  </a:lnTo>
                  <a:lnTo>
                    <a:pt x="7" y="15"/>
                  </a:lnTo>
                  <a:lnTo>
                    <a:pt x="7" y="15"/>
                  </a:lnTo>
                  <a:close/>
                  <a:moveTo>
                    <a:pt x="5" y="12"/>
                  </a:moveTo>
                  <a:lnTo>
                    <a:pt x="5" y="12"/>
                  </a:lnTo>
                  <a:lnTo>
                    <a:pt x="5" y="12"/>
                  </a:lnTo>
                  <a:lnTo>
                    <a:pt x="5" y="12"/>
                  </a:lnTo>
                  <a:lnTo>
                    <a:pt x="5" y="12"/>
                  </a:lnTo>
                  <a:lnTo>
                    <a:pt x="5" y="12"/>
                  </a:lnTo>
                  <a:lnTo>
                    <a:pt x="5" y="12"/>
                  </a:lnTo>
                  <a:lnTo>
                    <a:pt x="5" y="12"/>
                  </a:lnTo>
                  <a:lnTo>
                    <a:pt x="5" y="12"/>
                  </a:lnTo>
                  <a:lnTo>
                    <a:pt x="5" y="12"/>
                  </a:lnTo>
                  <a:lnTo>
                    <a:pt x="5" y="12"/>
                  </a:lnTo>
                  <a:lnTo>
                    <a:pt x="5"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5" y="12"/>
                  </a:lnTo>
                  <a:lnTo>
                    <a:pt x="5" y="12"/>
                  </a:lnTo>
                  <a:lnTo>
                    <a:pt x="5" y="12"/>
                  </a:lnTo>
                  <a:lnTo>
                    <a:pt x="7" y="12"/>
                  </a:lnTo>
                  <a:lnTo>
                    <a:pt x="5" y="12"/>
                  </a:lnTo>
                  <a:lnTo>
                    <a:pt x="7" y="12"/>
                  </a:lnTo>
                  <a:lnTo>
                    <a:pt x="7" y="12"/>
                  </a:lnTo>
                  <a:lnTo>
                    <a:pt x="5" y="12"/>
                  </a:lnTo>
                  <a:lnTo>
                    <a:pt x="5" y="12"/>
                  </a:lnTo>
                  <a:lnTo>
                    <a:pt x="5" y="12"/>
                  </a:lnTo>
                  <a:lnTo>
                    <a:pt x="5" y="12"/>
                  </a:lnTo>
                  <a:lnTo>
                    <a:pt x="5" y="12"/>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7"/>
                  </a:lnTo>
                  <a:lnTo>
                    <a:pt x="5" y="17"/>
                  </a:lnTo>
                  <a:lnTo>
                    <a:pt x="5" y="17"/>
                  </a:lnTo>
                  <a:lnTo>
                    <a:pt x="5" y="17"/>
                  </a:lnTo>
                  <a:lnTo>
                    <a:pt x="5" y="17"/>
                  </a:lnTo>
                  <a:lnTo>
                    <a:pt x="5" y="15"/>
                  </a:lnTo>
                  <a:lnTo>
                    <a:pt x="5" y="15"/>
                  </a:lnTo>
                  <a:lnTo>
                    <a:pt x="5" y="15"/>
                  </a:lnTo>
                  <a:lnTo>
                    <a:pt x="5" y="15"/>
                  </a:lnTo>
                  <a:lnTo>
                    <a:pt x="5" y="15"/>
                  </a:lnTo>
                  <a:lnTo>
                    <a:pt x="5" y="17"/>
                  </a:lnTo>
                  <a:lnTo>
                    <a:pt x="5" y="17"/>
                  </a:lnTo>
                  <a:lnTo>
                    <a:pt x="5" y="17"/>
                  </a:lnTo>
                  <a:lnTo>
                    <a:pt x="5" y="17"/>
                  </a:lnTo>
                  <a:lnTo>
                    <a:pt x="5" y="15"/>
                  </a:lnTo>
                  <a:lnTo>
                    <a:pt x="5" y="15"/>
                  </a:lnTo>
                  <a:lnTo>
                    <a:pt x="5" y="15"/>
                  </a:lnTo>
                  <a:lnTo>
                    <a:pt x="5" y="15"/>
                  </a:lnTo>
                  <a:lnTo>
                    <a:pt x="5" y="15"/>
                  </a:lnTo>
                  <a:lnTo>
                    <a:pt x="2" y="17"/>
                  </a:lnTo>
                  <a:lnTo>
                    <a:pt x="2" y="17"/>
                  </a:lnTo>
                  <a:lnTo>
                    <a:pt x="2" y="17"/>
                  </a:lnTo>
                  <a:lnTo>
                    <a:pt x="2" y="17"/>
                  </a:lnTo>
                  <a:lnTo>
                    <a:pt x="2" y="17"/>
                  </a:lnTo>
                  <a:lnTo>
                    <a:pt x="2" y="17"/>
                  </a:lnTo>
                  <a:lnTo>
                    <a:pt x="2" y="17"/>
                  </a:lnTo>
                  <a:lnTo>
                    <a:pt x="2" y="17"/>
                  </a:lnTo>
                  <a:lnTo>
                    <a:pt x="2" y="17"/>
                  </a:lnTo>
                  <a:lnTo>
                    <a:pt x="2" y="17"/>
                  </a:lnTo>
                  <a:lnTo>
                    <a:pt x="2" y="17"/>
                  </a:lnTo>
                  <a:lnTo>
                    <a:pt x="2" y="15"/>
                  </a:lnTo>
                  <a:lnTo>
                    <a:pt x="2" y="15"/>
                  </a:lnTo>
                  <a:lnTo>
                    <a:pt x="2" y="15"/>
                  </a:lnTo>
                  <a:lnTo>
                    <a:pt x="2" y="15"/>
                  </a:lnTo>
                  <a:lnTo>
                    <a:pt x="2" y="15"/>
                  </a:lnTo>
                  <a:lnTo>
                    <a:pt x="2" y="15"/>
                  </a:lnTo>
                  <a:lnTo>
                    <a:pt x="2" y="15"/>
                  </a:lnTo>
                  <a:lnTo>
                    <a:pt x="2" y="15"/>
                  </a:lnTo>
                  <a:lnTo>
                    <a:pt x="2"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2" y="15"/>
                  </a:lnTo>
                  <a:lnTo>
                    <a:pt x="0" y="15"/>
                  </a:lnTo>
                  <a:lnTo>
                    <a:pt x="2" y="15"/>
                  </a:lnTo>
                  <a:lnTo>
                    <a:pt x="2" y="15"/>
                  </a:lnTo>
                  <a:lnTo>
                    <a:pt x="2" y="15"/>
                  </a:lnTo>
                  <a:lnTo>
                    <a:pt x="2" y="15"/>
                  </a:lnTo>
                  <a:lnTo>
                    <a:pt x="0" y="15"/>
                  </a:lnTo>
                  <a:lnTo>
                    <a:pt x="0" y="15"/>
                  </a:lnTo>
                  <a:lnTo>
                    <a:pt x="0"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close/>
                  <a:moveTo>
                    <a:pt x="17" y="0"/>
                  </a:move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4" y="3"/>
                  </a:lnTo>
                  <a:lnTo>
                    <a:pt x="14" y="3"/>
                  </a:lnTo>
                  <a:lnTo>
                    <a:pt x="14" y="3"/>
                  </a:lnTo>
                  <a:lnTo>
                    <a:pt x="14" y="3"/>
                  </a:lnTo>
                  <a:lnTo>
                    <a:pt x="14" y="3"/>
                  </a:lnTo>
                  <a:lnTo>
                    <a:pt x="14" y="3"/>
                  </a:lnTo>
                  <a:lnTo>
                    <a:pt x="14" y="3"/>
                  </a:lnTo>
                  <a:lnTo>
                    <a:pt x="14" y="3"/>
                  </a:lnTo>
                  <a:lnTo>
                    <a:pt x="14" y="3"/>
                  </a:lnTo>
                  <a:lnTo>
                    <a:pt x="14" y="3"/>
                  </a:lnTo>
                  <a:lnTo>
                    <a:pt x="14" y="3"/>
                  </a:lnTo>
                  <a:lnTo>
                    <a:pt x="14" y="3"/>
                  </a:lnTo>
                  <a:lnTo>
                    <a:pt x="14" y="3"/>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close/>
                  <a:moveTo>
                    <a:pt x="14" y="0"/>
                  </a:moveTo>
                  <a:lnTo>
                    <a:pt x="14" y="0"/>
                  </a:lnTo>
                  <a:lnTo>
                    <a:pt x="14" y="0"/>
                  </a:lnTo>
                  <a:lnTo>
                    <a:pt x="14" y="0"/>
                  </a:lnTo>
                  <a:lnTo>
                    <a:pt x="14" y="0"/>
                  </a:lnTo>
                  <a:lnTo>
                    <a:pt x="14" y="0"/>
                  </a:lnTo>
                  <a:lnTo>
                    <a:pt x="14" y="0"/>
                  </a:lnTo>
                  <a:lnTo>
                    <a:pt x="14" y="0"/>
                  </a:lnTo>
                  <a:lnTo>
                    <a:pt x="14" y="0"/>
                  </a:lnTo>
                  <a:lnTo>
                    <a:pt x="14" y="0"/>
                  </a:lnTo>
                  <a:lnTo>
                    <a:pt x="14" y="0"/>
                  </a:lnTo>
                  <a:lnTo>
                    <a:pt x="14" y="0"/>
                  </a:lnTo>
                  <a:lnTo>
                    <a:pt x="14" y="0"/>
                  </a:lnTo>
                  <a:lnTo>
                    <a:pt x="1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1" name="Freeform 52456"/>
            <p:cNvSpPr>
              <a:spLocks noEditPoints="1"/>
            </p:cNvSpPr>
            <p:nvPr/>
          </p:nvSpPr>
          <p:spPr bwMode="auto">
            <a:xfrm>
              <a:off x="1885948" y="4719654"/>
              <a:ext cx="26988" cy="26988"/>
            </a:xfrm>
            <a:custGeom>
              <a:avLst/>
              <a:gdLst>
                <a:gd name="T0" fmla="*/ 10 w 17"/>
                <a:gd name="T1" fmla="*/ 17 h 17"/>
                <a:gd name="T2" fmla="*/ 12 w 17"/>
                <a:gd name="T3" fmla="*/ 17 h 17"/>
                <a:gd name="T4" fmla="*/ 12 w 17"/>
                <a:gd name="T5" fmla="*/ 15 h 17"/>
                <a:gd name="T6" fmla="*/ 12 w 17"/>
                <a:gd name="T7" fmla="*/ 15 h 17"/>
                <a:gd name="T8" fmla="*/ 12 w 17"/>
                <a:gd name="T9" fmla="*/ 15 h 17"/>
                <a:gd name="T10" fmla="*/ 7 w 17"/>
                <a:gd name="T11" fmla="*/ 15 h 17"/>
                <a:gd name="T12" fmla="*/ 7 w 17"/>
                <a:gd name="T13" fmla="*/ 15 h 17"/>
                <a:gd name="T14" fmla="*/ 7 w 17"/>
                <a:gd name="T15" fmla="*/ 15 h 17"/>
                <a:gd name="T16" fmla="*/ 7 w 17"/>
                <a:gd name="T17" fmla="*/ 15 h 17"/>
                <a:gd name="T18" fmla="*/ 0 w 17"/>
                <a:gd name="T19" fmla="*/ 15 h 17"/>
                <a:gd name="T20" fmla="*/ 0 w 17"/>
                <a:gd name="T21" fmla="*/ 15 h 17"/>
                <a:gd name="T22" fmla="*/ 0 w 17"/>
                <a:gd name="T23" fmla="*/ 15 h 17"/>
                <a:gd name="T24" fmla="*/ 7 w 17"/>
                <a:gd name="T25" fmla="*/ 15 h 17"/>
                <a:gd name="T26" fmla="*/ 7 w 17"/>
                <a:gd name="T27" fmla="*/ 15 h 17"/>
                <a:gd name="T28" fmla="*/ 7 w 17"/>
                <a:gd name="T29" fmla="*/ 15 h 17"/>
                <a:gd name="T30" fmla="*/ 0 w 17"/>
                <a:gd name="T31" fmla="*/ 15 h 17"/>
                <a:gd name="T32" fmla="*/ 0 w 17"/>
                <a:gd name="T33" fmla="*/ 15 h 17"/>
                <a:gd name="T34" fmla="*/ 0 w 17"/>
                <a:gd name="T35" fmla="*/ 15 h 17"/>
                <a:gd name="T36" fmla="*/ 0 w 17"/>
                <a:gd name="T37" fmla="*/ 15 h 17"/>
                <a:gd name="T38" fmla="*/ 7 w 17"/>
                <a:gd name="T39" fmla="*/ 12 h 17"/>
                <a:gd name="T40" fmla="*/ 7 w 17"/>
                <a:gd name="T41" fmla="*/ 12 h 17"/>
                <a:gd name="T42" fmla="*/ 7 w 17"/>
                <a:gd name="T43" fmla="*/ 12 h 17"/>
                <a:gd name="T44" fmla="*/ 7 w 17"/>
                <a:gd name="T45" fmla="*/ 12 h 17"/>
                <a:gd name="T46" fmla="*/ 7 w 17"/>
                <a:gd name="T47" fmla="*/ 12 h 17"/>
                <a:gd name="T48" fmla="*/ 7 w 17"/>
                <a:gd name="T49" fmla="*/ 12 h 17"/>
                <a:gd name="T50" fmla="*/ 17 w 17"/>
                <a:gd name="T51" fmla="*/ 3 h 17"/>
                <a:gd name="T52" fmla="*/ 17 w 17"/>
                <a:gd name="T53" fmla="*/ 3 h 17"/>
                <a:gd name="T54" fmla="*/ 14 w 17"/>
                <a:gd name="T55" fmla="*/ 3 h 17"/>
                <a:gd name="T56" fmla="*/ 14 w 17"/>
                <a:gd name="T57" fmla="*/ 3 h 17"/>
                <a:gd name="T58" fmla="*/ 14 w 17"/>
                <a:gd name="T59" fmla="*/ 3 h 17"/>
                <a:gd name="T60" fmla="*/ 17 w 17"/>
                <a:gd name="T61" fmla="*/ 0 h 17"/>
                <a:gd name="T62" fmla="*/ 17 w 17"/>
                <a:gd name="T63" fmla="*/ 0 h 17"/>
                <a:gd name="T64" fmla="*/ 17 w 17"/>
                <a:gd name="T65" fmla="*/ 0 h 17"/>
                <a:gd name="T66" fmla="*/ 10 w 17"/>
                <a:gd name="T67" fmla="*/ 0 h 17"/>
                <a:gd name="T68" fmla="*/ 10 w 17"/>
                <a:gd name="T69" fmla="*/ 0 h 17"/>
                <a:gd name="T70" fmla="*/ 10 w 17"/>
                <a:gd name="T71" fmla="*/ 0 h 17"/>
                <a:gd name="T72" fmla="*/ 14 w 17"/>
                <a:gd name="T73" fmla="*/ 0 h 17"/>
                <a:gd name="T74" fmla="*/ 14 w 17"/>
                <a:gd name="T7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17">
                  <a:moveTo>
                    <a:pt x="12" y="17"/>
                  </a:moveTo>
                  <a:lnTo>
                    <a:pt x="10" y="17"/>
                  </a:lnTo>
                  <a:lnTo>
                    <a:pt x="10" y="17"/>
                  </a:lnTo>
                  <a:lnTo>
                    <a:pt x="12" y="17"/>
                  </a:lnTo>
                  <a:lnTo>
                    <a:pt x="12" y="17"/>
                  </a:lnTo>
                  <a:close/>
                  <a:moveTo>
                    <a:pt x="12" y="15"/>
                  </a:moveTo>
                  <a:lnTo>
                    <a:pt x="12" y="15"/>
                  </a:lnTo>
                  <a:lnTo>
                    <a:pt x="12" y="15"/>
                  </a:lnTo>
                  <a:lnTo>
                    <a:pt x="12" y="15"/>
                  </a:lnTo>
                  <a:lnTo>
                    <a:pt x="12" y="15"/>
                  </a:lnTo>
                  <a:close/>
                  <a:moveTo>
                    <a:pt x="7" y="15"/>
                  </a:moveTo>
                  <a:lnTo>
                    <a:pt x="7" y="15"/>
                  </a:lnTo>
                  <a:lnTo>
                    <a:pt x="7" y="15"/>
                  </a:lnTo>
                  <a:lnTo>
                    <a:pt x="7" y="15"/>
                  </a:lnTo>
                  <a:lnTo>
                    <a:pt x="7" y="15"/>
                  </a:lnTo>
                  <a:lnTo>
                    <a:pt x="7" y="15"/>
                  </a:lnTo>
                  <a:lnTo>
                    <a:pt x="7" y="15"/>
                  </a:lnTo>
                  <a:lnTo>
                    <a:pt x="7" y="15"/>
                  </a:lnTo>
                  <a:lnTo>
                    <a:pt x="7" y="15"/>
                  </a:lnTo>
                  <a:close/>
                  <a:moveTo>
                    <a:pt x="0" y="15"/>
                  </a:moveTo>
                  <a:lnTo>
                    <a:pt x="0" y="15"/>
                  </a:lnTo>
                  <a:lnTo>
                    <a:pt x="0" y="15"/>
                  </a:lnTo>
                  <a:lnTo>
                    <a:pt x="0" y="15"/>
                  </a:lnTo>
                  <a:lnTo>
                    <a:pt x="0" y="15"/>
                  </a:lnTo>
                  <a:close/>
                  <a:moveTo>
                    <a:pt x="7" y="15"/>
                  </a:moveTo>
                  <a:lnTo>
                    <a:pt x="7" y="15"/>
                  </a:lnTo>
                  <a:lnTo>
                    <a:pt x="7" y="15"/>
                  </a:lnTo>
                  <a:lnTo>
                    <a:pt x="7" y="15"/>
                  </a:lnTo>
                  <a:lnTo>
                    <a:pt x="7" y="15"/>
                  </a:lnTo>
                  <a:lnTo>
                    <a:pt x="7" y="15"/>
                  </a:lnTo>
                  <a:close/>
                  <a:moveTo>
                    <a:pt x="0" y="15"/>
                  </a:moveTo>
                  <a:lnTo>
                    <a:pt x="0" y="15"/>
                  </a:lnTo>
                  <a:lnTo>
                    <a:pt x="0" y="15"/>
                  </a:lnTo>
                  <a:lnTo>
                    <a:pt x="0" y="15"/>
                  </a:lnTo>
                  <a:lnTo>
                    <a:pt x="0" y="15"/>
                  </a:lnTo>
                  <a:lnTo>
                    <a:pt x="0" y="15"/>
                  </a:lnTo>
                  <a:lnTo>
                    <a:pt x="0" y="15"/>
                  </a:lnTo>
                  <a:lnTo>
                    <a:pt x="0" y="15"/>
                  </a:lnTo>
                  <a:close/>
                  <a:moveTo>
                    <a:pt x="7" y="12"/>
                  </a:moveTo>
                  <a:lnTo>
                    <a:pt x="7" y="12"/>
                  </a:lnTo>
                  <a:lnTo>
                    <a:pt x="7" y="12"/>
                  </a:lnTo>
                  <a:lnTo>
                    <a:pt x="7" y="12"/>
                  </a:lnTo>
                  <a:lnTo>
                    <a:pt x="7" y="12"/>
                  </a:lnTo>
                  <a:lnTo>
                    <a:pt x="7" y="12"/>
                  </a:lnTo>
                  <a:close/>
                  <a:moveTo>
                    <a:pt x="7" y="12"/>
                  </a:moveTo>
                  <a:lnTo>
                    <a:pt x="7" y="12"/>
                  </a:lnTo>
                  <a:lnTo>
                    <a:pt x="7" y="12"/>
                  </a:lnTo>
                  <a:lnTo>
                    <a:pt x="7" y="12"/>
                  </a:lnTo>
                  <a:lnTo>
                    <a:pt x="7" y="12"/>
                  </a:lnTo>
                  <a:lnTo>
                    <a:pt x="7" y="12"/>
                  </a:lnTo>
                  <a:close/>
                  <a:moveTo>
                    <a:pt x="17" y="3"/>
                  </a:moveTo>
                  <a:lnTo>
                    <a:pt x="17" y="3"/>
                  </a:lnTo>
                  <a:lnTo>
                    <a:pt x="17" y="3"/>
                  </a:lnTo>
                  <a:lnTo>
                    <a:pt x="17" y="3"/>
                  </a:lnTo>
                  <a:close/>
                  <a:moveTo>
                    <a:pt x="14" y="3"/>
                  </a:moveTo>
                  <a:lnTo>
                    <a:pt x="14" y="3"/>
                  </a:lnTo>
                  <a:lnTo>
                    <a:pt x="14" y="3"/>
                  </a:lnTo>
                  <a:lnTo>
                    <a:pt x="14" y="3"/>
                  </a:lnTo>
                  <a:lnTo>
                    <a:pt x="14" y="3"/>
                  </a:lnTo>
                  <a:lnTo>
                    <a:pt x="14" y="3"/>
                  </a:lnTo>
                  <a:lnTo>
                    <a:pt x="14" y="3"/>
                  </a:lnTo>
                  <a:close/>
                  <a:moveTo>
                    <a:pt x="17" y="0"/>
                  </a:moveTo>
                  <a:lnTo>
                    <a:pt x="17" y="0"/>
                  </a:lnTo>
                  <a:lnTo>
                    <a:pt x="17" y="0"/>
                  </a:lnTo>
                  <a:lnTo>
                    <a:pt x="17" y="0"/>
                  </a:lnTo>
                  <a:lnTo>
                    <a:pt x="17" y="0"/>
                  </a:lnTo>
                  <a:close/>
                  <a:moveTo>
                    <a:pt x="10" y="0"/>
                  </a:moveTo>
                  <a:lnTo>
                    <a:pt x="10" y="0"/>
                  </a:lnTo>
                  <a:lnTo>
                    <a:pt x="10" y="0"/>
                  </a:lnTo>
                  <a:lnTo>
                    <a:pt x="10" y="0"/>
                  </a:lnTo>
                  <a:lnTo>
                    <a:pt x="10" y="0"/>
                  </a:lnTo>
                  <a:lnTo>
                    <a:pt x="10" y="0"/>
                  </a:lnTo>
                  <a:close/>
                  <a:moveTo>
                    <a:pt x="14" y="0"/>
                  </a:moveTo>
                  <a:lnTo>
                    <a:pt x="14" y="0"/>
                  </a:lnTo>
                  <a:lnTo>
                    <a:pt x="14" y="0"/>
                  </a:lnTo>
                  <a:lnTo>
                    <a:pt x="14" y="0"/>
                  </a:lnTo>
                  <a:lnTo>
                    <a:pt x="1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2" name="Freeform 52457"/>
            <p:cNvSpPr>
              <a:spLocks/>
            </p:cNvSpPr>
            <p:nvPr/>
          </p:nvSpPr>
          <p:spPr bwMode="auto">
            <a:xfrm>
              <a:off x="2676523" y="5305443"/>
              <a:ext cx="4763" cy="0"/>
            </a:xfrm>
            <a:custGeom>
              <a:avLst/>
              <a:gdLst>
                <a:gd name="T0" fmla="*/ 3 w 3"/>
                <a:gd name="T1" fmla="*/ 3 w 3"/>
                <a:gd name="T2" fmla="*/ 0 w 3"/>
                <a:gd name="T3" fmla="*/ 0 w 3"/>
                <a:gd name="T4" fmla="*/ 3 w 3"/>
                <a:gd name="T5" fmla="*/ 3 w 3"/>
                <a:gd name="T6" fmla="*/ 3 w 3"/>
                <a:gd name="T7" fmla="*/ 3 w 3"/>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3">
                  <a:moveTo>
                    <a:pt x="3" y="0"/>
                  </a:moveTo>
                  <a:lnTo>
                    <a:pt x="3" y="0"/>
                  </a:lnTo>
                  <a:lnTo>
                    <a:pt x="0" y="0"/>
                  </a:lnTo>
                  <a:lnTo>
                    <a:pt x="0"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3" name="Freeform 52458"/>
            <p:cNvSpPr>
              <a:spLocks/>
            </p:cNvSpPr>
            <p:nvPr/>
          </p:nvSpPr>
          <p:spPr bwMode="auto">
            <a:xfrm>
              <a:off x="2868610" y="4806966"/>
              <a:ext cx="358775" cy="214313"/>
            </a:xfrm>
            <a:custGeom>
              <a:avLst/>
              <a:gdLst>
                <a:gd name="T0" fmla="*/ 188 w 226"/>
                <a:gd name="T1" fmla="*/ 12 h 135"/>
                <a:gd name="T2" fmla="*/ 200 w 226"/>
                <a:gd name="T3" fmla="*/ 12 h 135"/>
                <a:gd name="T4" fmla="*/ 207 w 226"/>
                <a:gd name="T5" fmla="*/ 17 h 135"/>
                <a:gd name="T6" fmla="*/ 214 w 226"/>
                <a:gd name="T7" fmla="*/ 21 h 135"/>
                <a:gd name="T8" fmla="*/ 223 w 226"/>
                <a:gd name="T9" fmla="*/ 24 h 135"/>
                <a:gd name="T10" fmla="*/ 221 w 226"/>
                <a:gd name="T11" fmla="*/ 33 h 135"/>
                <a:gd name="T12" fmla="*/ 214 w 226"/>
                <a:gd name="T13" fmla="*/ 40 h 135"/>
                <a:gd name="T14" fmla="*/ 202 w 226"/>
                <a:gd name="T15" fmla="*/ 45 h 135"/>
                <a:gd name="T16" fmla="*/ 197 w 226"/>
                <a:gd name="T17" fmla="*/ 52 h 135"/>
                <a:gd name="T18" fmla="*/ 193 w 226"/>
                <a:gd name="T19" fmla="*/ 62 h 135"/>
                <a:gd name="T20" fmla="*/ 185 w 226"/>
                <a:gd name="T21" fmla="*/ 74 h 135"/>
                <a:gd name="T22" fmla="*/ 183 w 226"/>
                <a:gd name="T23" fmla="*/ 83 h 135"/>
                <a:gd name="T24" fmla="*/ 178 w 226"/>
                <a:gd name="T25" fmla="*/ 90 h 135"/>
                <a:gd name="T26" fmla="*/ 176 w 226"/>
                <a:gd name="T27" fmla="*/ 95 h 135"/>
                <a:gd name="T28" fmla="*/ 174 w 226"/>
                <a:gd name="T29" fmla="*/ 102 h 135"/>
                <a:gd name="T30" fmla="*/ 164 w 226"/>
                <a:gd name="T31" fmla="*/ 112 h 135"/>
                <a:gd name="T32" fmla="*/ 152 w 226"/>
                <a:gd name="T33" fmla="*/ 116 h 135"/>
                <a:gd name="T34" fmla="*/ 143 w 226"/>
                <a:gd name="T35" fmla="*/ 116 h 135"/>
                <a:gd name="T36" fmla="*/ 126 w 226"/>
                <a:gd name="T37" fmla="*/ 116 h 135"/>
                <a:gd name="T38" fmla="*/ 117 w 226"/>
                <a:gd name="T39" fmla="*/ 116 h 135"/>
                <a:gd name="T40" fmla="*/ 105 w 226"/>
                <a:gd name="T41" fmla="*/ 124 h 135"/>
                <a:gd name="T42" fmla="*/ 98 w 226"/>
                <a:gd name="T43" fmla="*/ 126 h 135"/>
                <a:gd name="T44" fmla="*/ 90 w 226"/>
                <a:gd name="T45" fmla="*/ 131 h 135"/>
                <a:gd name="T46" fmla="*/ 81 w 226"/>
                <a:gd name="T47" fmla="*/ 133 h 135"/>
                <a:gd name="T48" fmla="*/ 69 w 226"/>
                <a:gd name="T49" fmla="*/ 133 h 135"/>
                <a:gd name="T50" fmla="*/ 62 w 226"/>
                <a:gd name="T51" fmla="*/ 133 h 135"/>
                <a:gd name="T52" fmla="*/ 53 w 226"/>
                <a:gd name="T53" fmla="*/ 131 h 135"/>
                <a:gd name="T54" fmla="*/ 43 w 226"/>
                <a:gd name="T55" fmla="*/ 126 h 135"/>
                <a:gd name="T56" fmla="*/ 36 w 226"/>
                <a:gd name="T57" fmla="*/ 116 h 135"/>
                <a:gd name="T58" fmla="*/ 26 w 226"/>
                <a:gd name="T59" fmla="*/ 109 h 135"/>
                <a:gd name="T60" fmla="*/ 24 w 226"/>
                <a:gd name="T61" fmla="*/ 105 h 135"/>
                <a:gd name="T62" fmla="*/ 17 w 226"/>
                <a:gd name="T63" fmla="*/ 100 h 135"/>
                <a:gd name="T64" fmla="*/ 12 w 226"/>
                <a:gd name="T65" fmla="*/ 93 h 135"/>
                <a:gd name="T66" fmla="*/ 7 w 226"/>
                <a:gd name="T67" fmla="*/ 83 h 135"/>
                <a:gd name="T68" fmla="*/ 5 w 226"/>
                <a:gd name="T69" fmla="*/ 78 h 135"/>
                <a:gd name="T70" fmla="*/ 7 w 226"/>
                <a:gd name="T71" fmla="*/ 78 h 135"/>
                <a:gd name="T72" fmla="*/ 15 w 226"/>
                <a:gd name="T73" fmla="*/ 74 h 135"/>
                <a:gd name="T74" fmla="*/ 12 w 226"/>
                <a:gd name="T75" fmla="*/ 69 h 135"/>
                <a:gd name="T76" fmla="*/ 15 w 226"/>
                <a:gd name="T77" fmla="*/ 57 h 135"/>
                <a:gd name="T78" fmla="*/ 19 w 226"/>
                <a:gd name="T79" fmla="*/ 50 h 135"/>
                <a:gd name="T80" fmla="*/ 12 w 226"/>
                <a:gd name="T81" fmla="*/ 43 h 135"/>
                <a:gd name="T82" fmla="*/ 22 w 226"/>
                <a:gd name="T83" fmla="*/ 45 h 135"/>
                <a:gd name="T84" fmla="*/ 34 w 226"/>
                <a:gd name="T85" fmla="*/ 43 h 135"/>
                <a:gd name="T86" fmla="*/ 34 w 226"/>
                <a:gd name="T87" fmla="*/ 33 h 135"/>
                <a:gd name="T88" fmla="*/ 43 w 226"/>
                <a:gd name="T89" fmla="*/ 33 h 135"/>
                <a:gd name="T90" fmla="*/ 53 w 226"/>
                <a:gd name="T91" fmla="*/ 40 h 135"/>
                <a:gd name="T92" fmla="*/ 69 w 226"/>
                <a:gd name="T93" fmla="*/ 40 h 135"/>
                <a:gd name="T94" fmla="*/ 86 w 226"/>
                <a:gd name="T95" fmla="*/ 40 h 135"/>
                <a:gd name="T96" fmla="*/ 88 w 226"/>
                <a:gd name="T97" fmla="*/ 36 h 135"/>
                <a:gd name="T98" fmla="*/ 93 w 226"/>
                <a:gd name="T99" fmla="*/ 26 h 135"/>
                <a:gd name="T100" fmla="*/ 109 w 226"/>
                <a:gd name="T101" fmla="*/ 24 h 135"/>
                <a:gd name="T102" fmla="*/ 114 w 226"/>
                <a:gd name="T103" fmla="*/ 21 h 135"/>
                <a:gd name="T104" fmla="*/ 124 w 226"/>
                <a:gd name="T105" fmla="*/ 19 h 135"/>
                <a:gd name="T106" fmla="*/ 131 w 226"/>
                <a:gd name="T107" fmla="*/ 21 h 135"/>
                <a:gd name="T108" fmla="*/ 140 w 226"/>
                <a:gd name="T109" fmla="*/ 14 h 135"/>
                <a:gd name="T110" fmla="*/ 147 w 226"/>
                <a:gd name="T111" fmla="*/ 2 h 135"/>
                <a:gd name="T112" fmla="*/ 157 w 226"/>
                <a:gd name="T113" fmla="*/ 0 h 135"/>
                <a:gd name="T114" fmla="*/ 169 w 226"/>
                <a:gd name="T115" fmla="*/ 5 h 135"/>
                <a:gd name="T116" fmla="*/ 176 w 226"/>
                <a:gd name="T1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135">
                  <a:moveTo>
                    <a:pt x="178" y="2"/>
                  </a:moveTo>
                  <a:lnTo>
                    <a:pt x="181" y="5"/>
                  </a:lnTo>
                  <a:lnTo>
                    <a:pt x="183" y="5"/>
                  </a:lnTo>
                  <a:lnTo>
                    <a:pt x="183" y="7"/>
                  </a:lnTo>
                  <a:lnTo>
                    <a:pt x="185" y="10"/>
                  </a:lnTo>
                  <a:lnTo>
                    <a:pt x="185" y="12"/>
                  </a:lnTo>
                  <a:lnTo>
                    <a:pt x="188" y="12"/>
                  </a:lnTo>
                  <a:lnTo>
                    <a:pt x="190" y="12"/>
                  </a:lnTo>
                  <a:lnTo>
                    <a:pt x="193" y="12"/>
                  </a:lnTo>
                  <a:lnTo>
                    <a:pt x="195" y="12"/>
                  </a:lnTo>
                  <a:lnTo>
                    <a:pt x="195" y="10"/>
                  </a:lnTo>
                  <a:lnTo>
                    <a:pt x="197" y="10"/>
                  </a:lnTo>
                  <a:lnTo>
                    <a:pt x="197" y="12"/>
                  </a:lnTo>
                  <a:lnTo>
                    <a:pt x="200" y="12"/>
                  </a:lnTo>
                  <a:lnTo>
                    <a:pt x="200" y="10"/>
                  </a:lnTo>
                  <a:lnTo>
                    <a:pt x="202" y="10"/>
                  </a:lnTo>
                  <a:lnTo>
                    <a:pt x="204" y="10"/>
                  </a:lnTo>
                  <a:lnTo>
                    <a:pt x="204" y="12"/>
                  </a:lnTo>
                  <a:lnTo>
                    <a:pt x="207" y="12"/>
                  </a:lnTo>
                  <a:lnTo>
                    <a:pt x="207" y="14"/>
                  </a:lnTo>
                  <a:lnTo>
                    <a:pt x="207" y="17"/>
                  </a:lnTo>
                  <a:lnTo>
                    <a:pt x="209" y="17"/>
                  </a:lnTo>
                  <a:lnTo>
                    <a:pt x="211" y="17"/>
                  </a:lnTo>
                  <a:lnTo>
                    <a:pt x="211" y="19"/>
                  </a:lnTo>
                  <a:lnTo>
                    <a:pt x="214" y="19"/>
                  </a:lnTo>
                  <a:lnTo>
                    <a:pt x="214" y="21"/>
                  </a:lnTo>
                  <a:lnTo>
                    <a:pt x="216" y="21"/>
                  </a:lnTo>
                  <a:lnTo>
                    <a:pt x="214" y="21"/>
                  </a:lnTo>
                  <a:lnTo>
                    <a:pt x="214" y="24"/>
                  </a:lnTo>
                  <a:lnTo>
                    <a:pt x="216" y="24"/>
                  </a:lnTo>
                  <a:lnTo>
                    <a:pt x="214" y="24"/>
                  </a:lnTo>
                  <a:lnTo>
                    <a:pt x="216" y="24"/>
                  </a:lnTo>
                  <a:lnTo>
                    <a:pt x="219" y="24"/>
                  </a:lnTo>
                  <a:lnTo>
                    <a:pt x="221" y="24"/>
                  </a:lnTo>
                  <a:lnTo>
                    <a:pt x="223" y="24"/>
                  </a:lnTo>
                  <a:lnTo>
                    <a:pt x="223" y="26"/>
                  </a:lnTo>
                  <a:lnTo>
                    <a:pt x="223" y="29"/>
                  </a:lnTo>
                  <a:lnTo>
                    <a:pt x="223" y="31"/>
                  </a:lnTo>
                  <a:lnTo>
                    <a:pt x="226" y="31"/>
                  </a:lnTo>
                  <a:lnTo>
                    <a:pt x="223" y="31"/>
                  </a:lnTo>
                  <a:lnTo>
                    <a:pt x="223" y="33"/>
                  </a:lnTo>
                  <a:lnTo>
                    <a:pt x="221" y="33"/>
                  </a:lnTo>
                  <a:lnTo>
                    <a:pt x="221" y="36"/>
                  </a:lnTo>
                  <a:lnTo>
                    <a:pt x="221" y="38"/>
                  </a:lnTo>
                  <a:lnTo>
                    <a:pt x="219" y="36"/>
                  </a:lnTo>
                  <a:lnTo>
                    <a:pt x="219" y="38"/>
                  </a:lnTo>
                  <a:lnTo>
                    <a:pt x="219" y="40"/>
                  </a:lnTo>
                  <a:lnTo>
                    <a:pt x="216" y="40"/>
                  </a:lnTo>
                  <a:lnTo>
                    <a:pt x="214" y="40"/>
                  </a:lnTo>
                  <a:lnTo>
                    <a:pt x="211" y="38"/>
                  </a:lnTo>
                  <a:lnTo>
                    <a:pt x="209" y="38"/>
                  </a:lnTo>
                  <a:lnTo>
                    <a:pt x="209" y="40"/>
                  </a:lnTo>
                  <a:lnTo>
                    <a:pt x="207" y="40"/>
                  </a:lnTo>
                  <a:lnTo>
                    <a:pt x="204" y="43"/>
                  </a:lnTo>
                  <a:lnTo>
                    <a:pt x="202" y="43"/>
                  </a:lnTo>
                  <a:lnTo>
                    <a:pt x="202" y="45"/>
                  </a:lnTo>
                  <a:lnTo>
                    <a:pt x="202" y="48"/>
                  </a:lnTo>
                  <a:lnTo>
                    <a:pt x="200" y="48"/>
                  </a:lnTo>
                  <a:lnTo>
                    <a:pt x="200" y="50"/>
                  </a:lnTo>
                  <a:lnTo>
                    <a:pt x="197" y="50"/>
                  </a:lnTo>
                  <a:lnTo>
                    <a:pt x="197" y="52"/>
                  </a:lnTo>
                  <a:lnTo>
                    <a:pt x="197" y="50"/>
                  </a:lnTo>
                  <a:lnTo>
                    <a:pt x="197" y="52"/>
                  </a:lnTo>
                  <a:lnTo>
                    <a:pt x="195" y="52"/>
                  </a:lnTo>
                  <a:lnTo>
                    <a:pt x="195" y="55"/>
                  </a:lnTo>
                  <a:lnTo>
                    <a:pt x="197" y="55"/>
                  </a:lnTo>
                  <a:lnTo>
                    <a:pt x="197" y="57"/>
                  </a:lnTo>
                  <a:lnTo>
                    <a:pt x="195" y="59"/>
                  </a:lnTo>
                  <a:lnTo>
                    <a:pt x="193" y="59"/>
                  </a:lnTo>
                  <a:lnTo>
                    <a:pt x="193" y="62"/>
                  </a:lnTo>
                  <a:lnTo>
                    <a:pt x="193" y="64"/>
                  </a:lnTo>
                  <a:lnTo>
                    <a:pt x="190" y="64"/>
                  </a:lnTo>
                  <a:lnTo>
                    <a:pt x="190" y="67"/>
                  </a:lnTo>
                  <a:lnTo>
                    <a:pt x="190" y="69"/>
                  </a:lnTo>
                  <a:lnTo>
                    <a:pt x="188" y="71"/>
                  </a:lnTo>
                  <a:lnTo>
                    <a:pt x="185" y="71"/>
                  </a:lnTo>
                  <a:lnTo>
                    <a:pt x="185" y="74"/>
                  </a:lnTo>
                  <a:lnTo>
                    <a:pt x="183" y="74"/>
                  </a:lnTo>
                  <a:lnTo>
                    <a:pt x="183" y="76"/>
                  </a:lnTo>
                  <a:lnTo>
                    <a:pt x="185" y="76"/>
                  </a:lnTo>
                  <a:lnTo>
                    <a:pt x="185" y="78"/>
                  </a:lnTo>
                  <a:lnTo>
                    <a:pt x="183" y="78"/>
                  </a:lnTo>
                  <a:lnTo>
                    <a:pt x="183" y="81"/>
                  </a:lnTo>
                  <a:lnTo>
                    <a:pt x="183" y="83"/>
                  </a:lnTo>
                  <a:lnTo>
                    <a:pt x="181" y="83"/>
                  </a:lnTo>
                  <a:lnTo>
                    <a:pt x="181" y="86"/>
                  </a:lnTo>
                  <a:lnTo>
                    <a:pt x="178" y="86"/>
                  </a:lnTo>
                  <a:lnTo>
                    <a:pt x="178" y="88"/>
                  </a:lnTo>
                  <a:lnTo>
                    <a:pt x="181" y="88"/>
                  </a:lnTo>
                  <a:lnTo>
                    <a:pt x="181" y="90"/>
                  </a:lnTo>
                  <a:lnTo>
                    <a:pt x="178" y="90"/>
                  </a:lnTo>
                  <a:lnTo>
                    <a:pt x="178" y="93"/>
                  </a:lnTo>
                  <a:lnTo>
                    <a:pt x="178" y="90"/>
                  </a:lnTo>
                  <a:lnTo>
                    <a:pt x="176" y="90"/>
                  </a:lnTo>
                  <a:lnTo>
                    <a:pt x="176" y="93"/>
                  </a:lnTo>
                  <a:lnTo>
                    <a:pt x="178" y="93"/>
                  </a:lnTo>
                  <a:lnTo>
                    <a:pt x="176" y="93"/>
                  </a:lnTo>
                  <a:lnTo>
                    <a:pt x="176" y="95"/>
                  </a:lnTo>
                  <a:lnTo>
                    <a:pt x="174" y="93"/>
                  </a:lnTo>
                  <a:lnTo>
                    <a:pt x="174" y="95"/>
                  </a:lnTo>
                  <a:lnTo>
                    <a:pt x="174" y="97"/>
                  </a:lnTo>
                  <a:lnTo>
                    <a:pt x="171" y="97"/>
                  </a:lnTo>
                  <a:lnTo>
                    <a:pt x="171" y="100"/>
                  </a:lnTo>
                  <a:lnTo>
                    <a:pt x="171" y="102"/>
                  </a:lnTo>
                  <a:lnTo>
                    <a:pt x="174" y="102"/>
                  </a:lnTo>
                  <a:lnTo>
                    <a:pt x="171" y="105"/>
                  </a:lnTo>
                  <a:lnTo>
                    <a:pt x="169" y="105"/>
                  </a:lnTo>
                  <a:lnTo>
                    <a:pt x="169" y="107"/>
                  </a:lnTo>
                  <a:lnTo>
                    <a:pt x="169" y="109"/>
                  </a:lnTo>
                  <a:lnTo>
                    <a:pt x="166" y="109"/>
                  </a:lnTo>
                  <a:lnTo>
                    <a:pt x="166" y="112"/>
                  </a:lnTo>
                  <a:lnTo>
                    <a:pt x="164" y="112"/>
                  </a:lnTo>
                  <a:lnTo>
                    <a:pt x="162" y="112"/>
                  </a:lnTo>
                  <a:lnTo>
                    <a:pt x="159" y="112"/>
                  </a:lnTo>
                  <a:lnTo>
                    <a:pt x="159" y="109"/>
                  </a:lnTo>
                  <a:lnTo>
                    <a:pt x="155" y="112"/>
                  </a:lnTo>
                  <a:lnTo>
                    <a:pt x="155" y="114"/>
                  </a:lnTo>
                  <a:lnTo>
                    <a:pt x="152" y="114"/>
                  </a:lnTo>
                  <a:lnTo>
                    <a:pt x="152" y="116"/>
                  </a:lnTo>
                  <a:lnTo>
                    <a:pt x="150" y="116"/>
                  </a:lnTo>
                  <a:lnTo>
                    <a:pt x="150" y="119"/>
                  </a:lnTo>
                  <a:lnTo>
                    <a:pt x="150" y="116"/>
                  </a:lnTo>
                  <a:lnTo>
                    <a:pt x="147" y="116"/>
                  </a:lnTo>
                  <a:lnTo>
                    <a:pt x="145" y="114"/>
                  </a:lnTo>
                  <a:lnTo>
                    <a:pt x="145" y="116"/>
                  </a:lnTo>
                  <a:lnTo>
                    <a:pt x="143" y="116"/>
                  </a:lnTo>
                  <a:lnTo>
                    <a:pt x="140" y="116"/>
                  </a:lnTo>
                  <a:lnTo>
                    <a:pt x="138" y="119"/>
                  </a:lnTo>
                  <a:lnTo>
                    <a:pt x="136" y="116"/>
                  </a:lnTo>
                  <a:lnTo>
                    <a:pt x="133" y="116"/>
                  </a:lnTo>
                  <a:lnTo>
                    <a:pt x="131" y="116"/>
                  </a:lnTo>
                  <a:lnTo>
                    <a:pt x="128" y="116"/>
                  </a:lnTo>
                  <a:lnTo>
                    <a:pt x="126" y="116"/>
                  </a:lnTo>
                  <a:lnTo>
                    <a:pt x="124" y="116"/>
                  </a:lnTo>
                  <a:lnTo>
                    <a:pt x="124" y="119"/>
                  </a:lnTo>
                  <a:lnTo>
                    <a:pt x="124" y="116"/>
                  </a:lnTo>
                  <a:lnTo>
                    <a:pt x="121" y="116"/>
                  </a:lnTo>
                  <a:lnTo>
                    <a:pt x="119" y="116"/>
                  </a:lnTo>
                  <a:lnTo>
                    <a:pt x="119" y="114"/>
                  </a:lnTo>
                  <a:lnTo>
                    <a:pt x="117" y="116"/>
                  </a:lnTo>
                  <a:lnTo>
                    <a:pt x="114" y="116"/>
                  </a:lnTo>
                  <a:lnTo>
                    <a:pt x="112" y="116"/>
                  </a:lnTo>
                  <a:lnTo>
                    <a:pt x="114" y="119"/>
                  </a:lnTo>
                  <a:lnTo>
                    <a:pt x="112" y="119"/>
                  </a:lnTo>
                  <a:lnTo>
                    <a:pt x="112" y="121"/>
                  </a:lnTo>
                  <a:lnTo>
                    <a:pt x="109" y="121"/>
                  </a:lnTo>
                  <a:lnTo>
                    <a:pt x="105" y="124"/>
                  </a:lnTo>
                  <a:lnTo>
                    <a:pt x="107" y="124"/>
                  </a:lnTo>
                  <a:lnTo>
                    <a:pt x="105" y="124"/>
                  </a:lnTo>
                  <a:lnTo>
                    <a:pt x="102" y="124"/>
                  </a:lnTo>
                  <a:lnTo>
                    <a:pt x="100" y="121"/>
                  </a:lnTo>
                  <a:lnTo>
                    <a:pt x="98" y="124"/>
                  </a:lnTo>
                  <a:lnTo>
                    <a:pt x="100" y="126"/>
                  </a:lnTo>
                  <a:lnTo>
                    <a:pt x="98" y="126"/>
                  </a:lnTo>
                  <a:lnTo>
                    <a:pt x="98" y="128"/>
                  </a:lnTo>
                  <a:lnTo>
                    <a:pt x="95" y="126"/>
                  </a:lnTo>
                  <a:lnTo>
                    <a:pt x="95" y="128"/>
                  </a:lnTo>
                  <a:lnTo>
                    <a:pt x="93" y="126"/>
                  </a:lnTo>
                  <a:lnTo>
                    <a:pt x="93" y="128"/>
                  </a:lnTo>
                  <a:lnTo>
                    <a:pt x="90" y="128"/>
                  </a:lnTo>
                  <a:lnTo>
                    <a:pt x="90" y="131"/>
                  </a:lnTo>
                  <a:lnTo>
                    <a:pt x="90" y="128"/>
                  </a:lnTo>
                  <a:lnTo>
                    <a:pt x="88" y="128"/>
                  </a:lnTo>
                  <a:lnTo>
                    <a:pt x="86" y="128"/>
                  </a:lnTo>
                  <a:lnTo>
                    <a:pt x="86" y="131"/>
                  </a:lnTo>
                  <a:lnTo>
                    <a:pt x="83" y="131"/>
                  </a:lnTo>
                  <a:lnTo>
                    <a:pt x="83" y="133"/>
                  </a:lnTo>
                  <a:lnTo>
                    <a:pt x="81" y="133"/>
                  </a:lnTo>
                  <a:lnTo>
                    <a:pt x="79" y="133"/>
                  </a:lnTo>
                  <a:lnTo>
                    <a:pt x="79" y="135"/>
                  </a:lnTo>
                  <a:lnTo>
                    <a:pt x="76" y="135"/>
                  </a:lnTo>
                  <a:lnTo>
                    <a:pt x="74" y="135"/>
                  </a:lnTo>
                  <a:lnTo>
                    <a:pt x="71" y="135"/>
                  </a:lnTo>
                  <a:lnTo>
                    <a:pt x="71" y="133"/>
                  </a:lnTo>
                  <a:lnTo>
                    <a:pt x="69" y="133"/>
                  </a:lnTo>
                  <a:lnTo>
                    <a:pt x="69" y="135"/>
                  </a:lnTo>
                  <a:lnTo>
                    <a:pt x="69" y="133"/>
                  </a:lnTo>
                  <a:lnTo>
                    <a:pt x="67" y="133"/>
                  </a:lnTo>
                  <a:lnTo>
                    <a:pt x="67" y="135"/>
                  </a:lnTo>
                  <a:lnTo>
                    <a:pt x="64" y="135"/>
                  </a:lnTo>
                  <a:lnTo>
                    <a:pt x="64" y="133"/>
                  </a:lnTo>
                  <a:lnTo>
                    <a:pt x="62" y="133"/>
                  </a:lnTo>
                  <a:lnTo>
                    <a:pt x="60" y="133"/>
                  </a:lnTo>
                  <a:lnTo>
                    <a:pt x="60" y="135"/>
                  </a:lnTo>
                  <a:lnTo>
                    <a:pt x="60" y="133"/>
                  </a:lnTo>
                  <a:lnTo>
                    <a:pt x="57" y="133"/>
                  </a:lnTo>
                  <a:lnTo>
                    <a:pt x="55" y="133"/>
                  </a:lnTo>
                  <a:lnTo>
                    <a:pt x="55" y="131"/>
                  </a:lnTo>
                  <a:lnTo>
                    <a:pt x="53" y="131"/>
                  </a:lnTo>
                  <a:lnTo>
                    <a:pt x="50" y="128"/>
                  </a:lnTo>
                  <a:lnTo>
                    <a:pt x="50" y="126"/>
                  </a:lnTo>
                  <a:lnTo>
                    <a:pt x="48" y="126"/>
                  </a:lnTo>
                  <a:lnTo>
                    <a:pt x="45" y="126"/>
                  </a:lnTo>
                  <a:lnTo>
                    <a:pt x="43" y="126"/>
                  </a:lnTo>
                  <a:lnTo>
                    <a:pt x="41" y="126"/>
                  </a:lnTo>
                  <a:lnTo>
                    <a:pt x="43" y="126"/>
                  </a:lnTo>
                  <a:lnTo>
                    <a:pt x="41" y="126"/>
                  </a:lnTo>
                  <a:lnTo>
                    <a:pt x="41" y="124"/>
                  </a:lnTo>
                  <a:lnTo>
                    <a:pt x="38" y="124"/>
                  </a:lnTo>
                  <a:lnTo>
                    <a:pt x="38" y="121"/>
                  </a:lnTo>
                  <a:lnTo>
                    <a:pt x="38" y="119"/>
                  </a:lnTo>
                  <a:lnTo>
                    <a:pt x="36" y="119"/>
                  </a:lnTo>
                  <a:lnTo>
                    <a:pt x="36" y="116"/>
                  </a:lnTo>
                  <a:lnTo>
                    <a:pt x="34" y="116"/>
                  </a:lnTo>
                  <a:lnTo>
                    <a:pt x="34" y="114"/>
                  </a:lnTo>
                  <a:lnTo>
                    <a:pt x="31" y="114"/>
                  </a:lnTo>
                  <a:lnTo>
                    <a:pt x="29" y="114"/>
                  </a:lnTo>
                  <a:lnTo>
                    <a:pt x="29" y="112"/>
                  </a:lnTo>
                  <a:lnTo>
                    <a:pt x="26" y="112"/>
                  </a:lnTo>
                  <a:lnTo>
                    <a:pt x="26" y="109"/>
                  </a:lnTo>
                  <a:lnTo>
                    <a:pt x="26" y="107"/>
                  </a:lnTo>
                  <a:lnTo>
                    <a:pt x="26" y="109"/>
                  </a:lnTo>
                  <a:lnTo>
                    <a:pt x="26" y="107"/>
                  </a:lnTo>
                  <a:lnTo>
                    <a:pt x="24" y="107"/>
                  </a:lnTo>
                  <a:lnTo>
                    <a:pt x="24" y="105"/>
                  </a:lnTo>
                  <a:lnTo>
                    <a:pt x="24" y="107"/>
                  </a:lnTo>
                  <a:lnTo>
                    <a:pt x="24" y="105"/>
                  </a:lnTo>
                  <a:lnTo>
                    <a:pt x="22" y="105"/>
                  </a:lnTo>
                  <a:lnTo>
                    <a:pt x="22" y="107"/>
                  </a:lnTo>
                  <a:lnTo>
                    <a:pt x="22" y="105"/>
                  </a:lnTo>
                  <a:lnTo>
                    <a:pt x="19" y="105"/>
                  </a:lnTo>
                  <a:lnTo>
                    <a:pt x="19" y="102"/>
                  </a:lnTo>
                  <a:lnTo>
                    <a:pt x="17" y="102"/>
                  </a:lnTo>
                  <a:lnTo>
                    <a:pt x="17" y="100"/>
                  </a:lnTo>
                  <a:lnTo>
                    <a:pt x="15" y="100"/>
                  </a:lnTo>
                  <a:lnTo>
                    <a:pt x="15" y="97"/>
                  </a:lnTo>
                  <a:lnTo>
                    <a:pt x="12" y="97"/>
                  </a:lnTo>
                  <a:lnTo>
                    <a:pt x="12" y="95"/>
                  </a:lnTo>
                  <a:lnTo>
                    <a:pt x="10" y="95"/>
                  </a:lnTo>
                  <a:lnTo>
                    <a:pt x="10" y="93"/>
                  </a:lnTo>
                  <a:lnTo>
                    <a:pt x="12" y="93"/>
                  </a:lnTo>
                  <a:lnTo>
                    <a:pt x="12" y="90"/>
                  </a:lnTo>
                  <a:lnTo>
                    <a:pt x="10" y="90"/>
                  </a:lnTo>
                  <a:lnTo>
                    <a:pt x="7" y="88"/>
                  </a:lnTo>
                  <a:lnTo>
                    <a:pt x="7" y="86"/>
                  </a:lnTo>
                  <a:lnTo>
                    <a:pt x="10" y="86"/>
                  </a:lnTo>
                  <a:lnTo>
                    <a:pt x="10" y="83"/>
                  </a:lnTo>
                  <a:lnTo>
                    <a:pt x="7" y="83"/>
                  </a:lnTo>
                  <a:lnTo>
                    <a:pt x="5" y="83"/>
                  </a:lnTo>
                  <a:lnTo>
                    <a:pt x="3" y="83"/>
                  </a:lnTo>
                  <a:lnTo>
                    <a:pt x="0" y="83"/>
                  </a:lnTo>
                  <a:lnTo>
                    <a:pt x="3" y="83"/>
                  </a:lnTo>
                  <a:lnTo>
                    <a:pt x="3" y="81"/>
                  </a:lnTo>
                  <a:lnTo>
                    <a:pt x="5" y="81"/>
                  </a:lnTo>
                  <a:lnTo>
                    <a:pt x="5" y="78"/>
                  </a:lnTo>
                  <a:lnTo>
                    <a:pt x="5" y="81"/>
                  </a:lnTo>
                  <a:lnTo>
                    <a:pt x="5" y="78"/>
                  </a:lnTo>
                  <a:lnTo>
                    <a:pt x="5" y="81"/>
                  </a:lnTo>
                  <a:lnTo>
                    <a:pt x="5" y="78"/>
                  </a:lnTo>
                  <a:lnTo>
                    <a:pt x="5" y="81"/>
                  </a:lnTo>
                  <a:lnTo>
                    <a:pt x="5" y="78"/>
                  </a:lnTo>
                  <a:lnTo>
                    <a:pt x="7" y="78"/>
                  </a:lnTo>
                  <a:lnTo>
                    <a:pt x="7" y="76"/>
                  </a:lnTo>
                  <a:lnTo>
                    <a:pt x="10" y="76"/>
                  </a:lnTo>
                  <a:lnTo>
                    <a:pt x="12" y="76"/>
                  </a:lnTo>
                  <a:lnTo>
                    <a:pt x="15" y="76"/>
                  </a:lnTo>
                  <a:lnTo>
                    <a:pt x="12" y="76"/>
                  </a:lnTo>
                  <a:lnTo>
                    <a:pt x="12" y="74"/>
                  </a:lnTo>
                  <a:lnTo>
                    <a:pt x="15" y="74"/>
                  </a:lnTo>
                  <a:lnTo>
                    <a:pt x="12" y="74"/>
                  </a:lnTo>
                  <a:lnTo>
                    <a:pt x="12" y="71"/>
                  </a:lnTo>
                  <a:lnTo>
                    <a:pt x="15" y="71"/>
                  </a:lnTo>
                  <a:lnTo>
                    <a:pt x="15" y="69"/>
                  </a:lnTo>
                  <a:lnTo>
                    <a:pt x="12" y="69"/>
                  </a:lnTo>
                  <a:lnTo>
                    <a:pt x="12" y="67"/>
                  </a:lnTo>
                  <a:lnTo>
                    <a:pt x="12" y="69"/>
                  </a:lnTo>
                  <a:lnTo>
                    <a:pt x="12" y="67"/>
                  </a:lnTo>
                  <a:lnTo>
                    <a:pt x="12" y="64"/>
                  </a:lnTo>
                  <a:lnTo>
                    <a:pt x="15" y="64"/>
                  </a:lnTo>
                  <a:lnTo>
                    <a:pt x="12" y="62"/>
                  </a:lnTo>
                  <a:lnTo>
                    <a:pt x="12" y="59"/>
                  </a:lnTo>
                  <a:lnTo>
                    <a:pt x="12" y="57"/>
                  </a:lnTo>
                  <a:lnTo>
                    <a:pt x="15" y="57"/>
                  </a:lnTo>
                  <a:lnTo>
                    <a:pt x="17" y="57"/>
                  </a:lnTo>
                  <a:lnTo>
                    <a:pt x="19" y="57"/>
                  </a:lnTo>
                  <a:lnTo>
                    <a:pt x="19" y="55"/>
                  </a:lnTo>
                  <a:lnTo>
                    <a:pt x="19" y="52"/>
                  </a:lnTo>
                  <a:lnTo>
                    <a:pt x="22" y="52"/>
                  </a:lnTo>
                  <a:lnTo>
                    <a:pt x="22" y="50"/>
                  </a:lnTo>
                  <a:lnTo>
                    <a:pt x="19" y="50"/>
                  </a:lnTo>
                  <a:lnTo>
                    <a:pt x="19" y="48"/>
                  </a:lnTo>
                  <a:lnTo>
                    <a:pt x="17" y="48"/>
                  </a:lnTo>
                  <a:lnTo>
                    <a:pt x="15" y="45"/>
                  </a:lnTo>
                  <a:lnTo>
                    <a:pt x="12" y="45"/>
                  </a:lnTo>
                  <a:lnTo>
                    <a:pt x="12" y="43"/>
                  </a:lnTo>
                  <a:lnTo>
                    <a:pt x="12" y="45"/>
                  </a:lnTo>
                  <a:lnTo>
                    <a:pt x="12" y="43"/>
                  </a:lnTo>
                  <a:lnTo>
                    <a:pt x="15" y="43"/>
                  </a:lnTo>
                  <a:lnTo>
                    <a:pt x="15" y="40"/>
                  </a:lnTo>
                  <a:lnTo>
                    <a:pt x="17" y="40"/>
                  </a:lnTo>
                  <a:lnTo>
                    <a:pt x="19" y="40"/>
                  </a:lnTo>
                  <a:lnTo>
                    <a:pt x="22" y="40"/>
                  </a:lnTo>
                  <a:lnTo>
                    <a:pt x="22" y="43"/>
                  </a:lnTo>
                  <a:lnTo>
                    <a:pt x="22" y="45"/>
                  </a:lnTo>
                  <a:lnTo>
                    <a:pt x="24" y="45"/>
                  </a:lnTo>
                  <a:lnTo>
                    <a:pt x="24" y="43"/>
                  </a:lnTo>
                  <a:lnTo>
                    <a:pt x="26" y="43"/>
                  </a:lnTo>
                  <a:lnTo>
                    <a:pt x="29" y="45"/>
                  </a:lnTo>
                  <a:lnTo>
                    <a:pt x="29" y="43"/>
                  </a:lnTo>
                  <a:lnTo>
                    <a:pt x="31" y="43"/>
                  </a:lnTo>
                  <a:lnTo>
                    <a:pt x="34" y="43"/>
                  </a:lnTo>
                  <a:lnTo>
                    <a:pt x="34" y="40"/>
                  </a:lnTo>
                  <a:lnTo>
                    <a:pt x="31" y="38"/>
                  </a:lnTo>
                  <a:lnTo>
                    <a:pt x="34" y="38"/>
                  </a:lnTo>
                  <a:lnTo>
                    <a:pt x="31" y="38"/>
                  </a:lnTo>
                  <a:lnTo>
                    <a:pt x="31" y="36"/>
                  </a:lnTo>
                  <a:lnTo>
                    <a:pt x="34" y="36"/>
                  </a:lnTo>
                  <a:lnTo>
                    <a:pt x="34" y="33"/>
                  </a:lnTo>
                  <a:lnTo>
                    <a:pt x="34" y="31"/>
                  </a:lnTo>
                  <a:lnTo>
                    <a:pt x="36" y="29"/>
                  </a:lnTo>
                  <a:lnTo>
                    <a:pt x="38" y="29"/>
                  </a:lnTo>
                  <a:lnTo>
                    <a:pt x="41" y="29"/>
                  </a:lnTo>
                  <a:lnTo>
                    <a:pt x="41" y="31"/>
                  </a:lnTo>
                  <a:lnTo>
                    <a:pt x="43" y="31"/>
                  </a:lnTo>
                  <a:lnTo>
                    <a:pt x="43" y="33"/>
                  </a:lnTo>
                  <a:lnTo>
                    <a:pt x="45" y="33"/>
                  </a:lnTo>
                  <a:lnTo>
                    <a:pt x="45" y="36"/>
                  </a:lnTo>
                  <a:lnTo>
                    <a:pt x="48" y="36"/>
                  </a:lnTo>
                  <a:lnTo>
                    <a:pt x="48" y="38"/>
                  </a:lnTo>
                  <a:lnTo>
                    <a:pt x="50" y="38"/>
                  </a:lnTo>
                  <a:lnTo>
                    <a:pt x="53" y="38"/>
                  </a:lnTo>
                  <a:lnTo>
                    <a:pt x="53" y="40"/>
                  </a:lnTo>
                  <a:lnTo>
                    <a:pt x="55" y="40"/>
                  </a:lnTo>
                  <a:lnTo>
                    <a:pt x="57" y="40"/>
                  </a:lnTo>
                  <a:lnTo>
                    <a:pt x="60" y="40"/>
                  </a:lnTo>
                  <a:lnTo>
                    <a:pt x="62" y="40"/>
                  </a:lnTo>
                  <a:lnTo>
                    <a:pt x="64" y="40"/>
                  </a:lnTo>
                  <a:lnTo>
                    <a:pt x="67" y="40"/>
                  </a:lnTo>
                  <a:lnTo>
                    <a:pt x="69" y="40"/>
                  </a:lnTo>
                  <a:lnTo>
                    <a:pt x="71" y="40"/>
                  </a:lnTo>
                  <a:lnTo>
                    <a:pt x="74" y="43"/>
                  </a:lnTo>
                  <a:lnTo>
                    <a:pt x="76" y="40"/>
                  </a:lnTo>
                  <a:lnTo>
                    <a:pt x="79" y="40"/>
                  </a:lnTo>
                  <a:lnTo>
                    <a:pt x="81" y="40"/>
                  </a:lnTo>
                  <a:lnTo>
                    <a:pt x="83" y="40"/>
                  </a:lnTo>
                  <a:lnTo>
                    <a:pt x="86" y="40"/>
                  </a:lnTo>
                  <a:lnTo>
                    <a:pt x="88" y="40"/>
                  </a:lnTo>
                  <a:lnTo>
                    <a:pt x="88" y="38"/>
                  </a:lnTo>
                  <a:lnTo>
                    <a:pt x="90" y="38"/>
                  </a:lnTo>
                  <a:lnTo>
                    <a:pt x="93" y="38"/>
                  </a:lnTo>
                  <a:lnTo>
                    <a:pt x="90" y="38"/>
                  </a:lnTo>
                  <a:lnTo>
                    <a:pt x="90" y="36"/>
                  </a:lnTo>
                  <a:lnTo>
                    <a:pt x="88" y="36"/>
                  </a:lnTo>
                  <a:lnTo>
                    <a:pt x="88" y="33"/>
                  </a:lnTo>
                  <a:lnTo>
                    <a:pt x="88" y="31"/>
                  </a:lnTo>
                  <a:lnTo>
                    <a:pt x="90" y="29"/>
                  </a:lnTo>
                  <a:lnTo>
                    <a:pt x="90" y="31"/>
                  </a:lnTo>
                  <a:lnTo>
                    <a:pt x="90" y="29"/>
                  </a:lnTo>
                  <a:lnTo>
                    <a:pt x="90" y="26"/>
                  </a:lnTo>
                  <a:lnTo>
                    <a:pt x="93" y="26"/>
                  </a:lnTo>
                  <a:lnTo>
                    <a:pt x="95" y="26"/>
                  </a:lnTo>
                  <a:lnTo>
                    <a:pt x="98" y="26"/>
                  </a:lnTo>
                  <a:lnTo>
                    <a:pt x="100" y="26"/>
                  </a:lnTo>
                  <a:lnTo>
                    <a:pt x="102" y="26"/>
                  </a:lnTo>
                  <a:lnTo>
                    <a:pt x="105" y="26"/>
                  </a:lnTo>
                  <a:lnTo>
                    <a:pt x="107" y="24"/>
                  </a:lnTo>
                  <a:lnTo>
                    <a:pt x="109" y="24"/>
                  </a:lnTo>
                  <a:lnTo>
                    <a:pt x="109" y="26"/>
                  </a:lnTo>
                  <a:lnTo>
                    <a:pt x="109" y="24"/>
                  </a:lnTo>
                  <a:lnTo>
                    <a:pt x="112" y="24"/>
                  </a:lnTo>
                  <a:lnTo>
                    <a:pt x="112" y="26"/>
                  </a:lnTo>
                  <a:lnTo>
                    <a:pt x="112" y="24"/>
                  </a:lnTo>
                  <a:lnTo>
                    <a:pt x="112" y="21"/>
                  </a:lnTo>
                  <a:lnTo>
                    <a:pt x="114" y="21"/>
                  </a:lnTo>
                  <a:lnTo>
                    <a:pt x="114" y="19"/>
                  </a:lnTo>
                  <a:lnTo>
                    <a:pt x="117" y="19"/>
                  </a:lnTo>
                  <a:lnTo>
                    <a:pt x="117" y="17"/>
                  </a:lnTo>
                  <a:lnTo>
                    <a:pt x="119" y="17"/>
                  </a:lnTo>
                  <a:lnTo>
                    <a:pt x="119" y="19"/>
                  </a:lnTo>
                  <a:lnTo>
                    <a:pt x="121" y="19"/>
                  </a:lnTo>
                  <a:lnTo>
                    <a:pt x="124" y="19"/>
                  </a:lnTo>
                  <a:lnTo>
                    <a:pt x="124" y="21"/>
                  </a:lnTo>
                  <a:lnTo>
                    <a:pt x="121" y="21"/>
                  </a:lnTo>
                  <a:lnTo>
                    <a:pt x="124" y="21"/>
                  </a:lnTo>
                  <a:lnTo>
                    <a:pt x="126" y="21"/>
                  </a:lnTo>
                  <a:lnTo>
                    <a:pt x="126" y="24"/>
                  </a:lnTo>
                  <a:lnTo>
                    <a:pt x="128" y="21"/>
                  </a:lnTo>
                  <a:lnTo>
                    <a:pt x="131" y="21"/>
                  </a:lnTo>
                  <a:lnTo>
                    <a:pt x="131" y="19"/>
                  </a:lnTo>
                  <a:lnTo>
                    <a:pt x="133" y="19"/>
                  </a:lnTo>
                  <a:lnTo>
                    <a:pt x="133" y="17"/>
                  </a:lnTo>
                  <a:lnTo>
                    <a:pt x="136" y="17"/>
                  </a:lnTo>
                  <a:lnTo>
                    <a:pt x="138" y="17"/>
                  </a:lnTo>
                  <a:lnTo>
                    <a:pt x="140" y="17"/>
                  </a:lnTo>
                  <a:lnTo>
                    <a:pt x="140" y="14"/>
                  </a:lnTo>
                  <a:lnTo>
                    <a:pt x="143" y="14"/>
                  </a:lnTo>
                  <a:lnTo>
                    <a:pt x="143" y="12"/>
                  </a:lnTo>
                  <a:lnTo>
                    <a:pt x="143" y="10"/>
                  </a:lnTo>
                  <a:lnTo>
                    <a:pt x="145" y="7"/>
                  </a:lnTo>
                  <a:lnTo>
                    <a:pt x="145" y="5"/>
                  </a:lnTo>
                  <a:lnTo>
                    <a:pt x="145" y="2"/>
                  </a:lnTo>
                  <a:lnTo>
                    <a:pt x="147" y="2"/>
                  </a:lnTo>
                  <a:lnTo>
                    <a:pt x="147" y="5"/>
                  </a:lnTo>
                  <a:lnTo>
                    <a:pt x="147" y="2"/>
                  </a:lnTo>
                  <a:lnTo>
                    <a:pt x="150" y="2"/>
                  </a:lnTo>
                  <a:lnTo>
                    <a:pt x="152" y="2"/>
                  </a:lnTo>
                  <a:lnTo>
                    <a:pt x="155" y="2"/>
                  </a:lnTo>
                  <a:lnTo>
                    <a:pt x="157" y="2"/>
                  </a:lnTo>
                  <a:lnTo>
                    <a:pt x="157" y="0"/>
                  </a:lnTo>
                  <a:lnTo>
                    <a:pt x="157" y="2"/>
                  </a:lnTo>
                  <a:lnTo>
                    <a:pt x="159" y="2"/>
                  </a:lnTo>
                  <a:lnTo>
                    <a:pt x="162" y="2"/>
                  </a:lnTo>
                  <a:lnTo>
                    <a:pt x="162" y="5"/>
                  </a:lnTo>
                  <a:lnTo>
                    <a:pt x="164" y="5"/>
                  </a:lnTo>
                  <a:lnTo>
                    <a:pt x="166" y="5"/>
                  </a:lnTo>
                  <a:lnTo>
                    <a:pt x="169" y="5"/>
                  </a:lnTo>
                  <a:lnTo>
                    <a:pt x="169" y="2"/>
                  </a:lnTo>
                  <a:lnTo>
                    <a:pt x="171" y="2"/>
                  </a:lnTo>
                  <a:lnTo>
                    <a:pt x="171" y="5"/>
                  </a:lnTo>
                  <a:lnTo>
                    <a:pt x="174" y="5"/>
                  </a:lnTo>
                  <a:lnTo>
                    <a:pt x="174" y="2"/>
                  </a:lnTo>
                  <a:lnTo>
                    <a:pt x="176" y="2"/>
                  </a:lnTo>
                  <a:lnTo>
                    <a:pt x="176" y="0"/>
                  </a:lnTo>
                  <a:lnTo>
                    <a:pt x="178" y="0"/>
                  </a:lnTo>
                  <a:lnTo>
                    <a:pt x="178"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4" name="Freeform 52459"/>
            <p:cNvSpPr>
              <a:spLocks/>
            </p:cNvSpPr>
            <p:nvPr/>
          </p:nvSpPr>
          <p:spPr bwMode="auto">
            <a:xfrm>
              <a:off x="741361" y="3324237"/>
              <a:ext cx="579437" cy="279401"/>
            </a:xfrm>
            <a:custGeom>
              <a:avLst/>
              <a:gdLst>
                <a:gd name="T0" fmla="*/ 204 w 365"/>
                <a:gd name="T1" fmla="*/ 164 h 176"/>
                <a:gd name="T2" fmla="*/ 171 w 365"/>
                <a:gd name="T3" fmla="*/ 171 h 176"/>
                <a:gd name="T4" fmla="*/ 137 w 365"/>
                <a:gd name="T5" fmla="*/ 152 h 176"/>
                <a:gd name="T6" fmla="*/ 140 w 365"/>
                <a:gd name="T7" fmla="*/ 143 h 176"/>
                <a:gd name="T8" fmla="*/ 121 w 365"/>
                <a:gd name="T9" fmla="*/ 155 h 176"/>
                <a:gd name="T10" fmla="*/ 130 w 365"/>
                <a:gd name="T11" fmla="*/ 138 h 176"/>
                <a:gd name="T12" fmla="*/ 107 w 365"/>
                <a:gd name="T13" fmla="*/ 150 h 176"/>
                <a:gd name="T14" fmla="*/ 61 w 365"/>
                <a:gd name="T15" fmla="*/ 152 h 176"/>
                <a:gd name="T16" fmla="*/ 85 w 365"/>
                <a:gd name="T17" fmla="*/ 141 h 176"/>
                <a:gd name="T18" fmla="*/ 90 w 365"/>
                <a:gd name="T19" fmla="*/ 129 h 176"/>
                <a:gd name="T20" fmla="*/ 83 w 365"/>
                <a:gd name="T21" fmla="*/ 124 h 176"/>
                <a:gd name="T22" fmla="*/ 90 w 365"/>
                <a:gd name="T23" fmla="*/ 114 h 176"/>
                <a:gd name="T24" fmla="*/ 95 w 365"/>
                <a:gd name="T25" fmla="*/ 110 h 176"/>
                <a:gd name="T26" fmla="*/ 76 w 365"/>
                <a:gd name="T27" fmla="*/ 114 h 176"/>
                <a:gd name="T28" fmla="*/ 73 w 365"/>
                <a:gd name="T29" fmla="*/ 107 h 176"/>
                <a:gd name="T30" fmla="*/ 61 w 365"/>
                <a:gd name="T31" fmla="*/ 100 h 176"/>
                <a:gd name="T32" fmla="*/ 16 w 365"/>
                <a:gd name="T33" fmla="*/ 95 h 176"/>
                <a:gd name="T34" fmla="*/ 50 w 365"/>
                <a:gd name="T35" fmla="*/ 86 h 176"/>
                <a:gd name="T36" fmla="*/ 59 w 365"/>
                <a:gd name="T37" fmla="*/ 81 h 176"/>
                <a:gd name="T38" fmla="*/ 83 w 365"/>
                <a:gd name="T39" fmla="*/ 86 h 176"/>
                <a:gd name="T40" fmla="*/ 69 w 365"/>
                <a:gd name="T41" fmla="*/ 79 h 176"/>
                <a:gd name="T42" fmla="*/ 80 w 365"/>
                <a:gd name="T43" fmla="*/ 67 h 176"/>
                <a:gd name="T44" fmla="*/ 73 w 365"/>
                <a:gd name="T45" fmla="*/ 60 h 176"/>
                <a:gd name="T46" fmla="*/ 64 w 365"/>
                <a:gd name="T47" fmla="*/ 57 h 176"/>
                <a:gd name="T48" fmla="*/ 57 w 365"/>
                <a:gd name="T49" fmla="*/ 55 h 176"/>
                <a:gd name="T50" fmla="*/ 21 w 365"/>
                <a:gd name="T51" fmla="*/ 62 h 176"/>
                <a:gd name="T52" fmla="*/ 23 w 365"/>
                <a:gd name="T53" fmla="*/ 57 h 176"/>
                <a:gd name="T54" fmla="*/ 26 w 365"/>
                <a:gd name="T55" fmla="*/ 46 h 176"/>
                <a:gd name="T56" fmla="*/ 33 w 365"/>
                <a:gd name="T57" fmla="*/ 43 h 176"/>
                <a:gd name="T58" fmla="*/ 28 w 365"/>
                <a:gd name="T59" fmla="*/ 34 h 176"/>
                <a:gd name="T60" fmla="*/ 38 w 365"/>
                <a:gd name="T61" fmla="*/ 24 h 176"/>
                <a:gd name="T62" fmla="*/ 52 w 365"/>
                <a:gd name="T63" fmla="*/ 31 h 176"/>
                <a:gd name="T64" fmla="*/ 66 w 365"/>
                <a:gd name="T65" fmla="*/ 31 h 176"/>
                <a:gd name="T66" fmla="*/ 73 w 365"/>
                <a:gd name="T67" fmla="*/ 36 h 176"/>
                <a:gd name="T68" fmla="*/ 69 w 365"/>
                <a:gd name="T69" fmla="*/ 15 h 176"/>
                <a:gd name="T70" fmla="*/ 50 w 365"/>
                <a:gd name="T71" fmla="*/ 12 h 176"/>
                <a:gd name="T72" fmla="*/ 69 w 365"/>
                <a:gd name="T73" fmla="*/ 7 h 176"/>
                <a:gd name="T74" fmla="*/ 90 w 365"/>
                <a:gd name="T75" fmla="*/ 19 h 176"/>
                <a:gd name="T76" fmla="*/ 104 w 365"/>
                <a:gd name="T77" fmla="*/ 31 h 176"/>
                <a:gd name="T78" fmla="*/ 97 w 365"/>
                <a:gd name="T79" fmla="*/ 50 h 176"/>
                <a:gd name="T80" fmla="*/ 114 w 365"/>
                <a:gd name="T81" fmla="*/ 79 h 176"/>
                <a:gd name="T82" fmla="*/ 130 w 365"/>
                <a:gd name="T83" fmla="*/ 53 h 176"/>
                <a:gd name="T84" fmla="*/ 142 w 365"/>
                <a:gd name="T85" fmla="*/ 48 h 176"/>
                <a:gd name="T86" fmla="*/ 149 w 365"/>
                <a:gd name="T87" fmla="*/ 29 h 176"/>
                <a:gd name="T88" fmla="*/ 171 w 365"/>
                <a:gd name="T89" fmla="*/ 29 h 176"/>
                <a:gd name="T90" fmla="*/ 192 w 365"/>
                <a:gd name="T91" fmla="*/ 29 h 176"/>
                <a:gd name="T92" fmla="*/ 209 w 365"/>
                <a:gd name="T93" fmla="*/ 34 h 176"/>
                <a:gd name="T94" fmla="*/ 237 w 365"/>
                <a:gd name="T95" fmla="*/ 26 h 176"/>
                <a:gd name="T96" fmla="*/ 268 w 365"/>
                <a:gd name="T97" fmla="*/ 12 h 176"/>
                <a:gd name="T98" fmla="*/ 280 w 365"/>
                <a:gd name="T99" fmla="*/ 3 h 176"/>
                <a:gd name="T100" fmla="*/ 301 w 365"/>
                <a:gd name="T101" fmla="*/ 22 h 176"/>
                <a:gd name="T102" fmla="*/ 315 w 365"/>
                <a:gd name="T103" fmla="*/ 17 h 176"/>
                <a:gd name="T104" fmla="*/ 318 w 365"/>
                <a:gd name="T105" fmla="*/ 43 h 176"/>
                <a:gd name="T106" fmla="*/ 330 w 365"/>
                <a:gd name="T107" fmla="*/ 57 h 176"/>
                <a:gd name="T108" fmla="*/ 325 w 365"/>
                <a:gd name="T109" fmla="*/ 76 h 176"/>
                <a:gd name="T110" fmla="*/ 337 w 365"/>
                <a:gd name="T111" fmla="*/ 55 h 176"/>
                <a:gd name="T112" fmla="*/ 356 w 365"/>
                <a:gd name="T113" fmla="*/ 67 h 176"/>
                <a:gd name="T114" fmla="*/ 356 w 365"/>
                <a:gd name="T115" fmla="*/ 79 h 176"/>
                <a:gd name="T116" fmla="*/ 344 w 365"/>
                <a:gd name="T117" fmla="*/ 86 h 176"/>
                <a:gd name="T118" fmla="*/ 351 w 365"/>
                <a:gd name="T119" fmla="*/ 98 h 176"/>
                <a:gd name="T120" fmla="*/ 330 w 365"/>
                <a:gd name="T121" fmla="*/ 110 h 176"/>
                <a:gd name="T122" fmla="*/ 308 w 365"/>
                <a:gd name="T123" fmla="*/ 129 h 176"/>
                <a:gd name="T124" fmla="*/ 287 w 365"/>
                <a:gd name="T125" fmla="*/ 13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5" h="176">
                  <a:moveTo>
                    <a:pt x="268" y="145"/>
                  </a:moveTo>
                  <a:lnTo>
                    <a:pt x="268" y="148"/>
                  </a:lnTo>
                  <a:lnTo>
                    <a:pt x="265" y="148"/>
                  </a:lnTo>
                  <a:lnTo>
                    <a:pt x="263" y="150"/>
                  </a:lnTo>
                  <a:lnTo>
                    <a:pt x="261" y="152"/>
                  </a:lnTo>
                  <a:lnTo>
                    <a:pt x="261" y="155"/>
                  </a:lnTo>
                  <a:lnTo>
                    <a:pt x="256" y="155"/>
                  </a:lnTo>
                  <a:lnTo>
                    <a:pt x="254" y="155"/>
                  </a:lnTo>
                  <a:lnTo>
                    <a:pt x="249" y="155"/>
                  </a:lnTo>
                  <a:lnTo>
                    <a:pt x="244" y="155"/>
                  </a:lnTo>
                  <a:lnTo>
                    <a:pt x="242" y="155"/>
                  </a:lnTo>
                  <a:lnTo>
                    <a:pt x="239" y="155"/>
                  </a:lnTo>
                  <a:lnTo>
                    <a:pt x="237" y="155"/>
                  </a:lnTo>
                  <a:lnTo>
                    <a:pt x="235" y="155"/>
                  </a:lnTo>
                  <a:lnTo>
                    <a:pt x="232" y="157"/>
                  </a:lnTo>
                  <a:lnTo>
                    <a:pt x="230" y="157"/>
                  </a:lnTo>
                  <a:lnTo>
                    <a:pt x="228" y="157"/>
                  </a:lnTo>
                  <a:lnTo>
                    <a:pt x="225" y="160"/>
                  </a:lnTo>
                  <a:lnTo>
                    <a:pt x="223" y="162"/>
                  </a:lnTo>
                  <a:lnTo>
                    <a:pt x="220" y="164"/>
                  </a:lnTo>
                  <a:lnTo>
                    <a:pt x="220" y="167"/>
                  </a:lnTo>
                  <a:lnTo>
                    <a:pt x="218" y="169"/>
                  </a:lnTo>
                  <a:lnTo>
                    <a:pt x="216" y="169"/>
                  </a:lnTo>
                  <a:lnTo>
                    <a:pt x="213" y="171"/>
                  </a:lnTo>
                  <a:lnTo>
                    <a:pt x="211" y="171"/>
                  </a:lnTo>
                  <a:lnTo>
                    <a:pt x="209" y="171"/>
                  </a:lnTo>
                  <a:lnTo>
                    <a:pt x="209" y="169"/>
                  </a:lnTo>
                  <a:lnTo>
                    <a:pt x="209" y="167"/>
                  </a:lnTo>
                  <a:lnTo>
                    <a:pt x="206" y="167"/>
                  </a:lnTo>
                  <a:lnTo>
                    <a:pt x="206" y="164"/>
                  </a:lnTo>
                  <a:lnTo>
                    <a:pt x="204" y="164"/>
                  </a:lnTo>
                  <a:lnTo>
                    <a:pt x="201" y="164"/>
                  </a:lnTo>
                  <a:lnTo>
                    <a:pt x="201" y="162"/>
                  </a:lnTo>
                  <a:lnTo>
                    <a:pt x="201" y="160"/>
                  </a:lnTo>
                  <a:lnTo>
                    <a:pt x="199" y="160"/>
                  </a:lnTo>
                  <a:lnTo>
                    <a:pt x="199" y="162"/>
                  </a:lnTo>
                  <a:lnTo>
                    <a:pt x="201" y="162"/>
                  </a:lnTo>
                  <a:lnTo>
                    <a:pt x="201" y="164"/>
                  </a:lnTo>
                  <a:lnTo>
                    <a:pt x="204" y="164"/>
                  </a:lnTo>
                  <a:lnTo>
                    <a:pt x="204" y="167"/>
                  </a:lnTo>
                  <a:lnTo>
                    <a:pt x="206" y="167"/>
                  </a:lnTo>
                  <a:lnTo>
                    <a:pt x="206" y="169"/>
                  </a:lnTo>
                  <a:lnTo>
                    <a:pt x="206" y="171"/>
                  </a:lnTo>
                  <a:lnTo>
                    <a:pt x="209" y="171"/>
                  </a:lnTo>
                  <a:lnTo>
                    <a:pt x="211" y="171"/>
                  </a:lnTo>
                  <a:lnTo>
                    <a:pt x="209" y="171"/>
                  </a:lnTo>
                  <a:lnTo>
                    <a:pt x="206" y="174"/>
                  </a:lnTo>
                  <a:lnTo>
                    <a:pt x="204" y="174"/>
                  </a:lnTo>
                  <a:lnTo>
                    <a:pt x="201" y="174"/>
                  </a:lnTo>
                  <a:lnTo>
                    <a:pt x="199" y="174"/>
                  </a:lnTo>
                  <a:lnTo>
                    <a:pt x="197" y="176"/>
                  </a:lnTo>
                  <a:lnTo>
                    <a:pt x="194" y="176"/>
                  </a:lnTo>
                  <a:lnTo>
                    <a:pt x="192" y="176"/>
                  </a:lnTo>
                  <a:lnTo>
                    <a:pt x="190" y="176"/>
                  </a:lnTo>
                  <a:lnTo>
                    <a:pt x="187" y="176"/>
                  </a:lnTo>
                  <a:lnTo>
                    <a:pt x="185" y="174"/>
                  </a:lnTo>
                  <a:lnTo>
                    <a:pt x="182" y="174"/>
                  </a:lnTo>
                  <a:lnTo>
                    <a:pt x="182" y="176"/>
                  </a:lnTo>
                  <a:lnTo>
                    <a:pt x="180" y="176"/>
                  </a:lnTo>
                  <a:lnTo>
                    <a:pt x="178" y="176"/>
                  </a:lnTo>
                  <a:lnTo>
                    <a:pt x="173" y="174"/>
                  </a:lnTo>
                  <a:lnTo>
                    <a:pt x="171" y="171"/>
                  </a:lnTo>
                  <a:lnTo>
                    <a:pt x="168" y="171"/>
                  </a:lnTo>
                  <a:lnTo>
                    <a:pt x="166" y="171"/>
                  </a:lnTo>
                  <a:lnTo>
                    <a:pt x="163" y="171"/>
                  </a:lnTo>
                  <a:lnTo>
                    <a:pt x="163" y="169"/>
                  </a:lnTo>
                  <a:lnTo>
                    <a:pt x="161" y="169"/>
                  </a:lnTo>
                  <a:lnTo>
                    <a:pt x="159" y="169"/>
                  </a:lnTo>
                  <a:lnTo>
                    <a:pt x="156" y="169"/>
                  </a:lnTo>
                  <a:lnTo>
                    <a:pt x="154" y="169"/>
                  </a:lnTo>
                  <a:lnTo>
                    <a:pt x="152" y="169"/>
                  </a:lnTo>
                  <a:lnTo>
                    <a:pt x="149" y="169"/>
                  </a:lnTo>
                  <a:lnTo>
                    <a:pt x="149" y="167"/>
                  </a:lnTo>
                  <a:lnTo>
                    <a:pt x="149" y="164"/>
                  </a:lnTo>
                  <a:lnTo>
                    <a:pt x="149" y="162"/>
                  </a:lnTo>
                  <a:lnTo>
                    <a:pt x="149" y="164"/>
                  </a:lnTo>
                  <a:lnTo>
                    <a:pt x="149" y="167"/>
                  </a:lnTo>
                  <a:lnTo>
                    <a:pt x="147" y="169"/>
                  </a:lnTo>
                  <a:lnTo>
                    <a:pt x="144" y="169"/>
                  </a:lnTo>
                  <a:lnTo>
                    <a:pt x="142" y="167"/>
                  </a:lnTo>
                  <a:lnTo>
                    <a:pt x="140" y="167"/>
                  </a:lnTo>
                  <a:lnTo>
                    <a:pt x="137" y="164"/>
                  </a:lnTo>
                  <a:lnTo>
                    <a:pt x="135" y="162"/>
                  </a:lnTo>
                  <a:lnTo>
                    <a:pt x="133" y="160"/>
                  </a:lnTo>
                  <a:lnTo>
                    <a:pt x="133" y="157"/>
                  </a:lnTo>
                  <a:lnTo>
                    <a:pt x="135" y="155"/>
                  </a:lnTo>
                  <a:lnTo>
                    <a:pt x="137" y="155"/>
                  </a:lnTo>
                  <a:lnTo>
                    <a:pt x="137" y="157"/>
                  </a:lnTo>
                  <a:lnTo>
                    <a:pt x="137" y="155"/>
                  </a:lnTo>
                  <a:lnTo>
                    <a:pt x="135" y="155"/>
                  </a:lnTo>
                  <a:lnTo>
                    <a:pt x="137" y="152"/>
                  </a:lnTo>
                  <a:lnTo>
                    <a:pt x="135" y="152"/>
                  </a:lnTo>
                  <a:lnTo>
                    <a:pt x="137" y="152"/>
                  </a:lnTo>
                  <a:lnTo>
                    <a:pt x="135" y="152"/>
                  </a:lnTo>
                  <a:lnTo>
                    <a:pt x="135" y="155"/>
                  </a:lnTo>
                  <a:lnTo>
                    <a:pt x="133" y="155"/>
                  </a:lnTo>
                  <a:lnTo>
                    <a:pt x="133" y="157"/>
                  </a:lnTo>
                  <a:lnTo>
                    <a:pt x="130" y="157"/>
                  </a:lnTo>
                  <a:lnTo>
                    <a:pt x="133" y="157"/>
                  </a:lnTo>
                  <a:lnTo>
                    <a:pt x="130" y="157"/>
                  </a:lnTo>
                  <a:lnTo>
                    <a:pt x="130" y="160"/>
                  </a:lnTo>
                  <a:lnTo>
                    <a:pt x="133" y="160"/>
                  </a:lnTo>
                  <a:lnTo>
                    <a:pt x="130" y="157"/>
                  </a:lnTo>
                  <a:lnTo>
                    <a:pt x="125" y="155"/>
                  </a:lnTo>
                  <a:lnTo>
                    <a:pt x="123" y="155"/>
                  </a:lnTo>
                  <a:lnTo>
                    <a:pt x="125" y="155"/>
                  </a:lnTo>
                  <a:lnTo>
                    <a:pt x="125" y="152"/>
                  </a:lnTo>
                  <a:lnTo>
                    <a:pt x="128" y="152"/>
                  </a:lnTo>
                  <a:lnTo>
                    <a:pt x="128" y="150"/>
                  </a:lnTo>
                  <a:lnTo>
                    <a:pt x="128" y="148"/>
                  </a:lnTo>
                  <a:lnTo>
                    <a:pt x="128" y="145"/>
                  </a:lnTo>
                  <a:lnTo>
                    <a:pt x="130" y="145"/>
                  </a:lnTo>
                  <a:lnTo>
                    <a:pt x="130" y="148"/>
                  </a:lnTo>
                  <a:lnTo>
                    <a:pt x="130" y="145"/>
                  </a:lnTo>
                  <a:lnTo>
                    <a:pt x="133" y="145"/>
                  </a:lnTo>
                  <a:lnTo>
                    <a:pt x="133" y="143"/>
                  </a:lnTo>
                  <a:lnTo>
                    <a:pt x="135" y="143"/>
                  </a:lnTo>
                  <a:lnTo>
                    <a:pt x="135" y="141"/>
                  </a:lnTo>
                  <a:lnTo>
                    <a:pt x="137" y="141"/>
                  </a:lnTo>
                  <a:lnTo>
                    <a:pt x="140" y="141"/>
                  </a:lnTo>
                  <a:lnTo>
                    <a:pt x="140" y="143"/>
                  </a:lnTo>
                  <a:lnTo>
                    <a:pt x="142" y="141"/>
                  </a:lnTo>
                  <a:lnTo>
                    <a:pt x="142" y="143"/>
                  </a:lnTo>
                  <a:lnTo>
                    <a:pt x="140" y="143"/>
                  </a:lnTo>
                  <a:lnTo>
                    <a:pt x="142" y="143"/>
                  </a:lnTo>
                  <a:lnTo>
                    <a:pt x="142" y="141"/>
                  </a:lnTo>
                  <a:lnTo>
                    <a:pt x="142" y="143"/>
                  </a:lnTo>
                  <a:lnTo>
                    <a:pt x="142" y="141"/>
                  </a:lnTo>
                  <a:lnTo>
                    <a:pt x="144" y="141"/>
                  </a:lnTo>
                  <a:lnTo>
                    <a:pt x="147" y="141"/>
                  </a:lnTo>
                  <a:lnTo>
                    <a:pt x="147" y="138"/>
                  </a:lnTo>
                  <a:lnTo>
                    <a:pt x="149" y="141"/>
                  </a:lnTo>
                  <a:lnTo>
                    <a:pt x="149" y="138"/>
                  </a:lnTo>
                  <a:lnTo>
                    <a:pt x="152" y="138"/>
                  </a:lnTo>
                  <a:lnTo>
                    <a:pt x="149" y="138"/>
                  </a:lnTo>
                  <a:lnTo>
                    <a:pt x="147" y="138"/>
                  </a:lnTo>
                  <a:lnTo>
                    <a:pt x="147" y="141"/>
                  </a:lnTo>
                  <a:lnTo>
                    <a:pt x="144" y="141"/>
                  </a:lnTo>
                  <a:lnTo>
                    <a:pt x="142" y="141"/>
                  </a:lnTo>
                  <a:lnTo>
                    <a:pt x="140" y="141"/>
                  </a:lnTo>
                  <a:lnTo>
                    <a:pt x="137" y="141"/>
                  </a:lnTo>
                  <a:lnTo>
                    <a:pt x="135" y="141"/>
                  </a:lnTo>
                  <a:lnTo>
                    <a:pt x="133" y="143"/>
                  </a:lnTo>
                  <a:lnTo>
                    <a:pt x="133" y="145"/>
                  </a:lnTo>
                  <a:lnTo>
                    <a:pt x="130" y="145"/>
                  </a:lnTo>
                  <a:lnTo>
                    <a:pt x="128" y="145"/>
                  </a:lnTo>
                  <a:lnTo>
                    <a:pt x="128" y="148"/>
                  </a:lnTo>
                  <a:lnTo>
                    <a:pt x="125" y="148"/>
                  </a:lnTo>
                  <a:lnTo>
                    <a:pt x="125" y="150"/>
                  </a:lnTo>
                  <a:lnTo>
                    <a:pt x="128" y="150"/>
                  </a:lnTo>
                  <a:lnTo>
                    <a:pt x="128" y="152"/>
                  </a:lnTo>
                  <a:lnTo>
                    <a:pt x="125" y="152"/>
                  </a:lnTo>
                  <a:lnTo>
                    <a:pt x="125" y="155"/>
                  </a:lnTo>
                  <a:lnTo>
                    <a:pt x="123" y="155"/>
                  </a:lnTo>
                  <a:lnTo>
                    <a:pt x="121" y="155"/>
                  </a:lnTo>
                  <a:lnTo>
                    <a:pt x="121" y="152"/>
                  </a:lnTo>
                  <a:lnTo>
                    <a:pt x="118" y="152"/>
                  </a:lnTo>
                  <a:lnTo>
                    <a:pt x="116" y="152"/>
                  </a:lnTo>
                  <a:lnTo>
                    <a:pt x="114" y="152"/>
                  </a:lnTo>
                  <a:lnTo>
                    <a:pt x="114" y="150"/>
                  </a:lnTo>
                  <a:lnTo>
                    <a:pt x="111" y="150"/>
                  </a:lnTo>
                  <a:lnTo>
                    <a:pt x="111" y="148"/>
                  </a:lnTo>
                  <a:lnTo>
                    <a:pt x="109" y="148"/>
                  </a:lnTo>
                  <a:lnTo>
                    <a:pt x="111" y="145"/>
                  </a:lnTo>
                  <a:lnTo>
                    <a:pt x="114" y="145"/>
                  </a:lnTo>
                  <a:lnTo>
                    <a:pt x="116" y="145"/>
                  </a:lnTo>
                  <a:lnTo>
                    <a:pt x="118" y="145"/>
                  </a:lnTo>
                  <a:lnTo>
                    <a:pt x="118" y="143"/>
                  </a:lnTo>
                  <a:lnTo>
                    <a:pt x="121" y="143"/>
                  </a:lnTo>
                  <a:lnTo>
                    <a:pt x="123" y="143"/>
                  </a:lnTo>
                  <a:lnTo>
                    <a:pt x="125" y="143"/>
                  </a:lnTo>
                  <a:lnTo>
                    <a:pt x="128" y="143"/>
                  </a:lnTo>
                  <a:lnTo>
                    <a:pt x="128" y="145"/>
                  </a:lnTo>
                  <a:lnTo>
                    <a:pt x="128" y="143"/>
                  </a:lnTo>
                  <a:lnTo>
                    <a:pt x="130" y="143"/>
                  </a:lnTo>
                  <a:lnTo>
                    <a:pt x="128" y="143"/>
                  </a:lnTo>
                  <a:lnTo>
                    <a:pt x="130" y="143"/>
                  </a:lnTo>
                  <a:lnTo>
                    <a:pt x="130" y="141"/>
                  </a:lnTo>
                  <a:lnTo>
                    <a:pt x="130" y="138"/>
                  </a:lnTo>
                  <a:lnTo>
                    <a:pt x="133" y="138"/>
                  </a:lnTo>
                  <a:lnTo>
                    <a:pt x="133" y="136"/>
                  </a:lnTo>
                  <a:lnTo>
                    <a:pt x="135" y="136"/>
                  </a:lnTo>
                  <a:lnTo>
                    <a:pt x="135" y="138"/>
                  </a:lnTo>
                  <a:lnTo>
                    <a:pt x="135" y="136"/>
                  </a:lnTo>
                  <a:lnTo>
                    <a:pt x="133" y="136"/>
                  </a:lnTo>
                  <a:lnTo>
                    <a:pt x="130" y="138"/>
                  </a:lnTo>
                  <a:lnTo>
                    <a:pt x="130" y="136"/>
                  </a:lnTo>
                  <a:lnTo>
                    <a:pt x="133" y="136"/>
                  </a:lnTo>
                  <a:lnTo>
                    <a:pt x="130" y="136"/>
                  </a:lnTo>
                  <a:lnTo>
                    <a:pt x="133" y="136"/>
                  </a:lnTo>
                  <a:lnTo>
                    <a:pt x="130" y="136"/>
                  </a:lnTo>
                  <a:lnTo>
                    <a:pt x="133" y="136"/>
                  </a:lnTo>
                  <a:lnTo>
                    <a:pt x="130" y="136"/>
                  </a:lnTo>
                  <a:lnTo>
                    <a:pt x="130" y="138"/>
                  </a:lnTo>
                  <a:lnTo>
                    <a:pt x="130" y="141"/>
                  </a:lnTo>
                  <a:lnTo>
                    <a:pt x="128" y="141"/>
                  </a:lnTo>
                  <a:lnTo>
                    <a:pt x="128" y="143"/>
                  </a:lnTo>
                  <a:lnTo>
                    <a:pt x="128" y="145"/>
                  </a:lnTo>
                  <a:lnTo>
                    <a:pt x="128" y="143"/>
                  </a:lnTo>
                  <a:lnTo>
                    <a:pt x="125" y="143"/>
                  </a:lnTo>
                  <a:lnTo>
                    <a:pt x="123" y="143"/>
                  </a:lnTo>
                  <a:lnTo>
                    <a:pt x="121" y="143"/>
                  </a:lnTo>
                  <a:lnTo>
                    <a:pt x="121" y="141"/>
                  </a:lnTo>
                  <a:lnTo>
                    <a:pt x="121" y="143"/>
                  </a:lnTo>
                  <a:lnTo>
                    <a:pt x="118" y="143"/>
                  </a:lnTo>
                  <a:lnTo>
                    <a:pt x="118" y="145"/>
                  </a:lnTo>
                  <a:lnTo>
                    <a:pt x="116" y="145"/>
                  </a:lnTo>
                  <a:lnTo>
                    <a:pt x="114" y="145"/>
                  </a:lnTo>
                  <a:lnTo>
                    <a:pt x="111" y="145"/>
                  </a:lnTo>
                  <a:lnTo>
                    <a:pt x="109" y="145"/>
                  </a:lnTo>
                  <a:lnTo>
                    <a:pt x="109" y="148"/>
                  </a:lnTo>
                  <a:lnTo>
                    <a:pt x="107" y="148"/>
                  </a:lnTo>
                  <a:lnTo>
                    <a:pt x="109" y="148"/>
                  </a:lnTo>
                  <a:lnTo>
                    <a:pt x="109" y="150"/>
                  </a:lnTo>
                  <a:lnTo>
                    <a:pt x="111" y="150"/>
                  </a:lnTo>
                  <a:lnTo>
                    <a:pt x="109" y="150"/>
                  </a:lnTo>
                  <a:lnTo>
                    <a:pt x="107" y="150"/>
                  </a:lnTo>
                  <a:lnTo>
                    <a:pt x="104" y="150"/>
                  </a:lnTo>
                  <a:lnTo>
                    <a:pt x="102" y="150"/>
                  </a:lnTo>
                  <a:lnTo>
                    <a:pt x="102" y="152"/>
                  </a:lnTo>
                  <a:lnTo>
                    <a:pt x="97" y="152"/>
                  </a:lnTo>
                  <a:lnTo>
                    <a:pt x="95" y="152"/>
                  </a:lnTo>
                  <a:lnTo>
                    <a:pt x="95" y="150"/>
                  </a:lnTo>
                  <a:lnTo>
                    <a:pt x="92" y="150"/>
                  </a:lnTo>
                  <a:lnTo>
                    <a:pt x="95" y="150"/>
                  </a:lnTo>
                  <a:lnTo>
                    <a:pt x="92" y="150"/>
                  </a:lnTo>
                  <a:lnTo>
                    <a:pt x="95" y="150"/>
                  </a:lnTo>
                  <a:lnTo>
                    <a:pt x="92" y="150"/>
                  </a:lnTo>
                  <a:lnTo>
                    <a:pt x="90" y="150"/>
                  </a:lnTo>
                  <a:lnTo>
                    <a:pt x="88" y="150"/>
                  </a:lnTo>
                  <a:lnTo>
                    <a:pt x="88" y="152"/>
                  </a:lnTo>
                  <a:lnTo>
                    <a:pt x="85" y="152"/>
                  </a:lnTo>
                  <a:lnTo>
                    <a:pt x="83" y="152"/>
                  </a:lnTo>
                  <a:lnTo>
                    <a:pt x="80" y="152"/>
                  </a:lnTo>
                  <a:lnTo>
                    <a:pt x="78" y="152"/>
                  </a:lnTo>
                  <a:lnTo>
                    <a:pt x="76" y="152"/>
                  </a:lnTo>
                  <a:lnTo>
                    <a:pt x="76" y="150"/>
                  </a:lnTo>
                  <a:lnTo>
                    <a:pt x="73" y="150"/>
                  </a:lnTo>
                  <a:lnTo>
                    <a:pt x="71" y="150"/>
                  </a:lnTo>
                  <a:lnTo>
                    <a:pt x="71" y="152"/>
                  </a:lnTo>
                  <a:lnTo>
                    <a:pt x="69" y="152"/>
                  </a:lnTo>
                  <a:lnTo>
                    <a:pt x="66" y="152"/>
                  </a:lnTo>
                  <a:lnTo>
                    <a:pt x="69" y="152"/>
                  </a:lnTo>
                  <a:lnTo>
                    <a:pt x="66" y="152"/>
                  </a:lnTo>
                  <a:lnTo>
                    <a:pt x="64" y="152"/>
                  </a:lnTo>
                  <a:lnTo>
                    <a:pt x="61" y="152"/>
                  </a:lnTo>
                  <a:lnTo>
                    <a:pt x="59" y="152"/>
                  </a:lnTo>
                  <a:lnTo>
                    <a:pt x="61" y="152"/>
                  </a:lnTo>
                  <a:lnTo>
                    <a:pt x="61" y="150"/>
                  </a:lnTo>
                  <a:lnTo>
                    <a:pt x="59" y="150"/>
                  </a:lnTo>
                  <a:lnTo>
                    <a:pt x="59" y="148"/>
                  </a:lnTo>
                  <a:lnTo>
                    <a:pt x="61" y="148"/>
                  </a:lnTo>
                  <a:lnTo>
                    <a:pt x="61" y="145"/>
                  </a:lnTo>
                  <a:lnTo>
                    <a:pt x="64" y="145"/>
                  </a:lnTo>
                  <a:lnTo>
                    <a:pt x="61" y="145"/>
                  </a:lnTo>
                  <a:lnTo>
                    <a:pt x="59" y="145"/>
                  </a:lnTo>
                  <a:lnTo>
                    <a:pt x="61" y="145"/>
                  </a:lnTo>
                  <a:lnTo>
                    <a:pt x="59" y="145"/>
                  </a:lnTo>
                  <a:lnTo>
                    <a:pt x="59" y="143"/>
                  </a:lnTo>
                  <a:lnTo>
                    <a:pt x="61" y="143"/>
                  </a:lnTo>
                  <a:lnTo>
                    <a:pt x="61" y="141"/>
                  </a:lnTo>
                  <a:lnTo>
                    <a:pt x="61" y="138"/>
                  </a:lnTo>
                  <a:lnTo>
                    <a:pt x="64" y="138"/>
                  </a:lnTo>
                  <a:lnTo>
                    <a:pt x="64" y="141"/>
                  </a:lnTo>
                  <a:lnTo>
                    <a:pt x="66" y="141"/>
                  </a:lnTo>
                  <a:lnTo>
                    <a:pt x="66" y="143"/>
                  </a:lnTo>
                  <a:lnTo>
                    <a:pt x="69" y="143"/>
                  </a:lnTo>
                  <a:lnTo>
                    <a:pt x="71" y="143"/>
                  </a:lnTo>
                  <a:lnTo>
                    <a:pt x="71" y="145"/>
                  </a:lnTo>
                  <a:lnTo>
                    <a:pt x="71" y="143"/>
                  </a:lnTo>
                  <a:lnTo>
                    <a:pt x="73" y="143"/>
                  </a:lnTo>
                  <a:lnTo>
                    <a:pt x="73" y="141"/>
                  </a:lnTo>
                  <a:lnTo>
                    <a:pt x="73" y="143"/>
                  </a:lnTo>
                  <a:lnTo>
                    <a:pt x="73" y="141"/>
                  </a:lnTo>
                  <a:lnTo>
                    <a:pt x="76" y="141"/>
                  </a:lnTo>
                  <a:lnTo>
                    <a:pt x="78" y="141"/>
                  </a:lnTo>
                  <a:lnTo>
                    <a:pt x="80" y="141"/>
                  </a:lnTo>
                  <a:lnTo>
                    <a:pt x="83" y="141"/>
                  </a:lnTo>
                  <a:lnTo>
                    <a:pt x="85" y="141"/>
                  </a:lnTo>
                  <a:lnTo>
                    <a:pt x="85" y="138"/>
                  </a:lnTo>
                  <a:lnTo>
                    <a:pt x="83" y="138"/>
                  </a:lnTo>
                  <a:lnTo>
                    <a:pt x="85" y="138"/>
                  </a:lnTo>
                  <a:lnTo>
                    <a:pt x="83" y="138"/>
                  </a:lnTo>
                  <a:lnTo>
                    <a:pt x="83" y="136"/>
                  </a:lnTo>
                  <a:lnTo>
                    <a:pt x="85" y="136"/>
                  </a:lnTo>
                  <a:lnTo>
                    <a:pt x="85" y="138"/>
                  </a:lnTo>
                  <a:lnTo>
                    <a:pt x="85" y="136"/>
                  </a:lnTo>
                  <a:lnTo>
                    <a:pt x="85" y="138"/>
                  </a:lnTo>
                  <a:lnTo>
                    <a:pt x="88" y="138"/>
                  </a:lnTo>
                  <a:lnTo>
                    <a:pt x="88" y="136"/>
                  </a:lnTo>
                  <a:lnTo>
                    <a:pt x="85" y="136"/>
                  </a:lnTo>
                  <a:lnTo>
                    <a:pt x="88" y="136"/>
                  </a:lnTo>
                  <a:lnTo>
                    <a:pt x="85" y="136"/>
                  </a:lnTo>
                  <a:lnTo>
                    <a:pt x="85" y="133"/>
                  </a:lnTo>
                  <a:lnTo>
                    <a:pt x="83" y="133"/>
                  </a:lnTo>
                  <a:lnTo>
                    <a:pt x="85" y="133"/>
                  </a:lnTo>
                  <a:lnTo>
                    <a:pt x="88" y="133"/>
                  </a:lnTo>
                  <a:lnTo>
                    <a:pt x="85" y="133"/>
                  </a:lnTo>
                  <a:lnTo>
                    <a:pt x="88" y="133"/>
                  </a:lnTo>
                  <a:lnTo>
                    <a:pt x="90" y="133"/>
                  </a:lnTo>
                  <a:lnTo>
                    <a:pt x="90" y="136"/>
                  </a:lnTo>
                  <a:lnTo>
                    <a:pt x="90" y="133"/>
                  </a:lnTo>
                  <a:lnTo>
                    <a:pt x="92" y="133"/>
                  </a:lnTo>
                  <a:lnTo>
                    <a:pt x="95" y="133"/>
                  </a:lnTo>
                  <a:lnTo>
                    <a:pt x="92" y="133"/>
                  </a:lnTo>
                  <a:lnTo>
                    <a:pt x="92" y="131"/>
                  </a:lnTo>
                  <a:lnTo>
                    <a:pt x="95" y="131"/>
                  </a:lnTo>
                  <a:lnTo>
                    <a:pt x="92" y="131"/>
                  </a:lnTo>
                  <a:lnTo>
                    <a:pt x="90" y="131"/>
                  </a:lnTo>
                  <a:lnTo>
                    <a:pt x="90" y="129"/>
                  </a:lnTo>
                  <a:lnTo>
                    <a:pt x="88" y="129"/>
                  </a:lnTo>
                  <a:lnTo>
                    <a:pt x="90" y="129"/>
                  </a:lnTo>
                  <a:lnTo>
                    <a:pt x="90" y="126"/>
                  </a:lnTo>
                  <a:lnTo>
                    <a:pt x="92" y="126"/>
                  </a:lnTo>
                  <a:lnTo>
                    <a:pt x="92" y="124"/>
                  </a:lnTo>
                  <a:lnTo>
                    <a:pt x="95" y="124"/>
                  </a:lnTo>
                  <a:lnTo>
                    <a:pt x="97" y="124"/>
                  </a:lnTo>
                  <a:lnTo>
                    <a:pt x="95" y="124"/>
                  </a:lnTo>
                  <a:lnTo>
                    <a:pt x="95" y="122"/>
                  </a:lnTo>
                  <a:lnTo>
                    <a:pt x="97" y="122"/>
                  </a:lnTo>
                  <a:lnTo>
                    <a:pt x="99" y="122"/>
                  </a:lnTo>
                  <a:lnTo>
                    <a:pt x="102" y="122"/>
                  </a:lnTo>
                  <a:lnTo>
                    <a:pt x="102" y="124"/>
                  </a:lnTo>
                  <a:lnTo>
                    <a:pt x="102" y="122"/>
                  </a:lnTo>
                  <a:lnTo>
                    <a:pt x="104" y="122"/>
                  </a:lnTo>
                  <a:lnTo>
                    <a:pt x="107" y="122"/>
                  </a:lnTo>
                  <a:lnTo>
                    <a:pt x="104" y="122"/>
                  </a:lnTo>
                  <a:lnTo>
                    <a:pt x="102" y="122"/>
                  </a:lnTo>
                  <a:lnTo>
                    <a:pt x="104" y="122"/>
                  </a:lnTo>
                  <a:lnTo>
                    <a:pt x="102" y="122"/>
                  </a:lnTo>
                  <a:lnTo>
                    <a:pt x="99" y="122"/>
                  </a:lnTo>
                  <a:lnTo>
                    <a:pt x="97" y="122"/>
                  </a:lnTo>
                  <a:lnTo>
                    <a:pt x="97" y="119"/>
                  </a:lnTo>
                  <a:lnTo>
                    <a:pt x="95" y="122"/>
                  </a:lnTo>
                  <a:lnTo>
                    <a:pt x="92" y="122"/>
                  </a:lnTo>
                  <a:lnTo>
                    <a:pt x="90" y="124"/>
                  </a:lnTo>
                  <a:lnTo>
                    <a:pt x="88" y="124"/>
                  </a:lnTo>
                  <a:lnTo>
                    <a:pt x="88" y="126"/>
                  </a:lnTo>
                  <a:lnTo>
                    <a:pt x="85" y="126"/>
                  </a:lnTo>
                  <a:lnTo>
                    <a:pt x="83" y="126"/>
                  </a:lnTo>
                  <a:lnTo>
                    <a:pt x="83" y="124"/>
                  </a:lnTo>
                  <a:lnTo>
                    <a:pt x="80" y="124"/>
                  </a:lnTo>
                  <a:lnTo>
                    <a:pt x="80" y="126"/>
                  </a:lnTo>
                  <a:lnTo>
                    <a:pt x="80" y="124"/>
                  </a:lnTo>
                  <a:lnTo>
                    <a:pt x="83" y="124"/>
                  </a:lnTo>
                  <a:lnTo>
                    <a:pt x="83" y="122"/>
                  </a:lnTo>
                  <a:lnTo>
                    <a:pt x="83" y="124"/>
                  </a:lnTo>
                  <a:lnTo>
                    <a:pt x="85" y="124"/>
                  </a:lnTo>
                  <a:lnTo>
                    <a:pt x="85" y="122"/>
                  </a:lnTo>
                  <a:lnTo>
                    <a:pt x="88" y="122"/>
                  </a:lnTo>
                  <a:lnTo>
                    <a:pt x="90" y="122"/>
                  </a:lnTo>
                  <a:lnTo>
                    <a:pt x="88" y="122"/>
                  </a:lnTo>
                  <a:lnTo>
                    <a:pt x="90" y="122"/>
                  </a:lnTo>
                  <a:lnTo>
                    <a:pt x="88" y="122"/>
                  </a:lnTo>
                  <a:lnTo>
                    <a:pt x="88" y="119"/>
                  </a:lnTo>
                  <a:lnTo>
                    <a:pt x="88" y="122"/>
                  </a:lnTo>
                  <a:lnTo>
                    <a:pt x="85" y="122"/>
                  </a:lnTo>
                  <a:lnTo>
                    <a:pt x="88" y="119"/>
                  </a:lnTo>
                  <a:lnTo>
                    <a:pt x="85" y="119"/>
                  </a:lnTo>
                  <a:lnTo>
                    <a:pt x="85" y="122"/>
                  </a:lnTo>
                  <a:lnTo>
                    <a:pt x="83" y="122"/>
                  </a:lnTo>
                  <a:lnTo>
                    <a:pt x="83" y="119"/>
                  </a:lnTo>
                  <a:lnTo>
                    <a:pt x="83" y="117"/>
                  </a:lnTo>
                  <a:lnTo>
                    <a:pt x="85" y="117"/>
                  </a:lnTo>
                  <a:lnTo>
                    <a:pt x="85" y="119"/>
                  </a:lnTo>
                  <a:lnTo>
                    <a:pt x="83" y="119"/>
                  </a:lnTo>
                  <a:lnTo>
                    <a:pt x="85" y="119"/>
                  </a:lnTo>
                  <a:lnTo>
                    <a:pt x="85" y="117"/>
                  </a:lnTo>
                  <a:lnTo>
                    <a:pt x="85" y="114"/>
                  </a:lnTo>
                  <a:lnTo>
                    <a:pt x="88" y="114"/>
                  </a:lnTo>
                  <a:lnTo>
                    <a:pt x="88" y="112"/>
                  </a:lnTo>
                  <a:lnTo>
                    <a:pt x="90" y="114"/>
                  </a:lnTo>
                  <a:lnTo>
                    <a:pt x="90" y="112"/>
                  </a:lnTo>
                  <a:lnTo>
                    <a:pt x="92" y="112"/>
                  </a:lnTo>
                  <a:lnTo>
                    <a:pt x="90" y="112"/>
                  </a:lnTo>
                  <a:lnTo>
                    <a:pt x="92" y="112"/>
                  </a:lnTo>
                  <a:lnTo>
                    <a:pt x="92" y="110"/>
                  </a:lnTo>
                  <a:lnTo>
                    <a:pt x="95" y="110"/>
                  </a:lnTo>
                  <a:lnTo>
                    <a:pt x="95" y="107"/>
                  </a:lnTo>
                  <a:lnTo>
                    <a:pt x="97" y="107"/>
                  </a:lnTo>
                  <a:lnTo>
                    <a:pt x="99" y="107"/>
                  </a:lnTo>
                  <a:lnTo>
                    <a:pt x="102" y="107"/>
                  </a:lnTo>
                  <a:lnTo>
                    <a:pt x="102" y="105"/>
                  </a:lnTo>
                  <a:lnTo>
                    <a:pt x="102" y="107"/>
                  </a:lnTo>
                  <a:lnTo>
                    <a:pt x="99" y="107"/>
                  </a:lnTo>
                  <a:lnTo>
                    <a:pt x="97" y="107"/>
                  </a:lnTo>
                  <a:lnTo>
                    <a:pt x="99" y="107"/>
                  </a:lnTo>
                  <a:lnTo>
                    <a:pt x="97" y="105"/>
                  </a:lnTo>
                  <a:lnTo>
                    <a:pt x="99" y="105"/>
                  </a:lnTo>
                  <a:lnTo>
                    <a:pt x="99" y="107"/>
                  </a:lnTo>
                  <a:lnTo>
                    <a:pt x="97" y="107"/>
                  </a:lnTo>
                  <a:lnTo>
                    <a:pt x="97" y="105"/>
                  </a:lnTo>
                  <a:lnTo>
                    <a:pt x="97" y="107"/>
                  </a:lnTo>
                  <a:lnTo>
                    <a:pt x="95" y="107"/>
                  </a:lnTo>
                  <a:lnTo>
                    <a:pt x="95" y="105"/>
                  </a:lnTo>
                  <a:lnTo>
                    <a:pt x="97" y="105"/>
                  </a:lnTo>
                  <a:lnTo>
                    <a:pt x="95" y="105"/>
                  </a:lnTo>
                  <a:lnTo>
                    <a:pt x="97" y="105"/>
                  </a:lnTo>
                  <a:lnTo>
                    <a:pt x="95" y="105"/>
                  </a:lnTo>
                  <a:lnTo>
                    <a:pt x="97" y="105"/>
                  </a:lnTo>
                  <a:lnTo>
                    <a:pt x="95" y="105"/>
                  </a:lnTo>
                  <a:lnTo>
                    <a:pt x="95" y="107"/>
                  </a:lnTo>
                  <a:lnTo>
                    <a:pt x="95" y="110"/>
                  </a:lnTo>
                  <a:lnTo>
                    <a:pt x="92" y="110"/>
                  </a:lnTo>
                  <a:lnTo>
                    <a:pt x="90" y="110"/>
                  </a:lnTo>
                  <a:lnTo>
                    <a:pt x="88" y="110"/>
                  </a:lnTo>
                  <a:lnTo>
                    <a:pt x="88" y="112"/>
                  </a:lnTo>
                  <a:lnTo>
                    <a:pt x="90" y="112"/>
                  </a:lnTo>
                  <a:lnTo>
                    <a:pt x="88" y="112"/>
                  </a:lnTo>
                  <a:lnTo>
                    <a:pt x="85" y="112"/>
                  </a:lnTo>
                  <a:lnTo>
                    <a:pt x="85" y="114"/>
                  </a:lnTo>
                  <a:lnTo>
                    <a:pt x="85" y="112"/>
                  </a:lnTo>
                  <a:lnTo>
                    <a:pt x="83" y="114"/>
                  </a:lnTo>
                  <a:lnTo>
                    <a:pt x="83" y="112"/>
                  </a:lnTo>
                  <a:lnTo>
                    <a:pt x="83" y="114"/>
                  </a:lnTo>
                  <a:lnTo>
                    <a:pt x="83" y="112"/>
                  </a:lnTo>
                  <a:lnTo>
                    <a:pt x="83" y="110"/>
                  </a:lnTo>
                  <a:lnTo>
                    <a:pt x="85" y="110"/>
                  </a:lnTo>
                  <a:lnTo>
                    <a:pt x="83" y="110"/>
                  </a:lnTo>
                  <a:lnTo>
                    <a:pt x="83" y="112"/>
                  </a:lnTo>
                  <a:lnTo>
                    <a:pt x="83" y="114"/>
                  </a:lnTo>
                  <a:lnTo>
                    <a:pt x="83" y="117"/>
                  </a:lnTo>
                  <a:lnTo>
                    <a:pt x="80" y="117"/>
                  </a:lnTo>
                  <a:lnTo>
                    <a:pt x="83" y="117"/>
                  </a:lnTo>
                  <a:lnTo>
                    <a:pt x="80" y="117"/>
                  </a:lnTo>
                  <a:lnTo>
                    <a:pt x="78" y="117"/>
                  </a:lnTo>
                  <a:lnTo>
                    <a:pt x="80" y="117"/>
                  </a:lnTo>
                  <a:lnTo>
                    <a:pt x="78" y="117"/>
                  </a:lnTo>
                  <a:lnTo>
                    <a:pt x="78" y="114"/>
                  </a:lnTo>
                  <a:lnTo>
                    <a:pt x="76" y="114"/>
                  </a:lnTo>
                  <a:lnTo>
                    <a:pt x="78" y="114"/>
                  </a:lnTo>
                  <a:lnTo>
                    <a:pt x="76" y="114"/>
                  </a:lnTo>
                  <a:lnTo>
                    <a:pt x="78" y="114"/>
                  </a:lnTo>
                  <a:lnTo>
                    <a:pt x="76" y="114"/>
                  </a:lnTo>
                  <a:lnTo>
                    <a:pt x="78" y="114"/>
                  </a:lnTo>
                  <a:lnTo>
                    <a:pt x="78" y="117"/>
                  </a:lnTo>
                  <a:lnTo>
                    <a:pt x="76" y="114"/>
                  </a:lnTo>
                  <a:lnTo>
                    <a:pt x="76" y="117"/>
                  </a:lnTo>
                  <a:lnTo>
                    <a:pt x="76" y="114"/>
                  </a:lnTo>
                  <a:lnTo>
                    <a:pt x="76" y="112"/>
                  </a:lnTo>
                  <a:lnTo>
                    <a:pt x="76" y="114"/>
                  </a:lnTo>
                  <a:lnTo>
                    <a:pt x="76" y="112"/>
                  </a:lnTo>
                  <a:lnTo>
                    <a:pt x="76" y="114"/>
                  </a:lnTo>
                  <a:lnTo>
                    <a:pt x="78" y="112"/>
                  </a:lnTo>
                  <a:lnTo>
                    <a:pt x="76" y="112"/>
                  </a:lnTo>
                  <a:lnTo>
                    <a:pt x="78" y="112"/>
                  </a:lnTo>
                  <a:lnTo>
                    <a:pt x="76" y="112"/>
                  </a:lnTo>
                  <a:lnTo>
                    <a:pt x="78" y="112"/>
                  </a:lnTo>
                  <a:lnTo>
                    <a:pt x="76" y="112"/>
                  </a:lnTo>
                  <a:lnTo>
                    <a:pt x="76" y="110"/>
                  </a:lnTo>
                  <a:lnTo>
                    <a:pt x="73" y="112"/>
                  </a:lnTo>
                  <a:lnTo>
                    <a:pt x="73" y="110"/>
                  </a:lnTo>
                  <a:lnTo>
                    <a:pt x="73" y="107"/>
                  </a:lnTo>
                  <a:lnTo>
                    <a:pt x="71" y="107"/>
                  </a:lnTo>
                  <a:lnTo>
                    <a:pt x="71" y="105"/>
                  </a:lnTo>
                  <a:lnTo>
                    <a:pt x="69" y="105"/>
                  </a:lnTo>
                  <a:lnTo>
                    <a:pt x="71" y="105"/>
                  </a:lnTo>
                  <a:lnTo>
                    <a:pt x="69" y="105"/>
                  </a:lnTo>
                  <a:lnTo>
                    <a:pt x="71" y="105"/>
                  </a:lnTo>
                  <a:lnTo>
                    <a:pt x="71" y="107"/>
                  </a:lnTo>
                  <a:lnTo>
                    <a:pt x="73" y="107"/>
                  </a:lnTo>
                  <a:lnTo>
                    <a:pt x="73" y="105"/>
                  </a:lnTo>
                  <a:lnTo>
                    <a:pt x="73" y="107"/>
                  </a:lnTo>
                  <a:lnTo>
                    <a:pt x="73" y="105"/>
                  </a:lnTo>
                  <a:lnTo>
                    <a:pt x="73" y="107"/>
                  </a:lnTo>
                  <a:lnTo>
                    <a:pt x="73" y="105"/>
                  </a:lnTo>
                  <a:lnTo>
                    <a:pt x="73" y="103"/>
                  </a:lnTo>
                  <a:lnTo>
                    <a:pt x="73" y="105"/>
                  </a:lnTo>
                  <a:lnTo>
                    <a:pt x="71" y="105"/>
                  </a:lnTo>
                  <a:lnTo>
                    <a:pt x="71" y="103"/>
                  </a:lnTo>
                  <a:lnTo>
                    <a:pt x="73" y="103"/>
                  </a:lnTo>
                  <a:lnTo>
                    <a:pt x="71" y="103"/>
                  </a:lnTo>
                  <a:lnTo>
                    <a:pt x="73" y="103"/>
                  </a:lnTo>
                  <a:lnTo>
                    <a:pt x="73" y="100"/>
                  </a:lnTo>
                  <a:lnTo>
                    <a:pt x="71" y="100"/>
                  </a:lnTo>
                  <a:lnTo>
                    <a:pt x="69" y="100"/>
                  </a:lnTo>
                  <a:lnTo>
                    <a:pt x="71" y="100"/>
                  </a:lnTo>
                  <a:lnTo>
                    <a:pt x="71" y="98"/>
                  </a:lnTo>
                  <a:lnTo>
                    <a:pt x="69" y="98"/>
                  </a:lnTo>
                  <a:lnTo>
                    <a:pt x="71" y="98"/>
                  </a:lnTo>
                  <a:lnTo>
                    <a:pt x="69" y="98"/>
                  </a:lnTo>
                  <a:lnTo>
                    <a:pt x="66" y="98"/>
                  </a:lnTo>
                  <a:lnTo>
                    <a:pt x="64" y="98"/>
                  </a:lnTo>
                  <a:lnTo>
                    <a:pt x="66" y="100"/>
                  </a:lnTo>
                  <a:lnTo>
                    <a:pt x="64" y="100"/>
                  </a:lnTo>
                  <a:lnTo>
                    <a:pt x="61" y="100"/>
                  </a:lnTo>
                  <a:lnTo>
                    <a:pt x="64" y="100"/>
                  </a:lnTo>
                  <a:lnTo>
                    <a:pt x="64" y="98"/>
                  </a:lnTo>
                  <a:lnTo>
                    <a:pt x="61" y="98"/>
                  </a:lnTo>
                  <a:lnTo>
                    <a:pt x="64" y="98"/>
                  </a:lnTo>
                  <a:lnTo>
                    <a:pt x="61" y="98"/>
                  </a:lnTo>
                  <a:lnTo>
                    <a:pt x="64" y="98"/>
                  </a:lnTo>
                  <a:lnTo>
                    <a:pt x="61" y="98"/>
                  </a:lnTo>
                  <a:lnTo>
                    <a:pt x="59" y="98"/>
                  </a:lnTo>
                  <a:lnTo>
                    <a:pt x="61" y="98"/>
                  </a:lnTo>
                  <a:lnTo>
                    <a:pt x="61" y="100"/>
                  </a:lnTo>
                  <a:lnTo>
                    <a:pt x="59" y="98"/>
                  </a:lnTo>
                  <a:lnTo>
                    <a:pt x="57" y="98"/>
                  </a:lnTo>
                  <a:lnTo>
                    <a:pt x="54" y="98"/>
                  </a:lnTo>
                  <a:lnTo>
                    <a:pt x="52" y="98"/>
                  </a:lnTo>
                  <a:lnTo>
                    <a:pt x="50" y="98"/>
                  </a:lnTo>
                  <a:lnTo>
                    <a:pt x="47" y="98"/>
                  </a:lnTo>
                  <a:lnTo>
                    <a:pt x="45" y="98"/>
                  </a:lnTo>
                  <a:lnTo>
                    <a:pt x="42" y="98"/>
                  </a:lnTo>
                  <a:lnTo>
                    <a:pt x="42" y="95"/>
                  </a:lnTo>
                  <a:lnTo>
                    <a:pt x="40" y="95"/>
                  </a:lnTo>
                  <a:lnTo>
                    <a:pt x="38" y="95"/>
                  </a:lnTo>
                  <a:lnTo>
                    <a:pt x="40" y="95"/>
                  </a:lnTo>
                  <a:lnTo>
                    <a:pt x="38" y="95"/>
                  </a:lnTo>
                  <a:lnTo>
                    <a:pt x="38" y="98"/>
                  </a:lnTo>
                  <a:lnTo>
                    <a:pt x="35" y="98"/>
                  </a:lnTo>
                  <a:lnTo>
                    <a:pt x="33" y="98"/>
                  </a:lnTo>
                  <a:lnTo>
                    <a:pt x="35" y="98"/>
                  </a:lnTo>
                  <a:lnTo>
                    <a:pt x="33" y="98"/>
                  </a:lnTo>
                  <a:lnTo>
                    <a:pt x="35" y="98"/>
                  </a:lnTo>
                  <a:lnTo>
                    <a:pt x="33" y="98"/>
                  </a:lnTo>
                  <a:lnTo>
                    <a:pt x="31" y="98"/>
                  </a:lnTo>
                  <a:lnTo>
                    <a:pt x="31" y="100"/>
                  </a:lnTo>
                  <a:lnTo>
                    <a:pt x="31" y="103"/>
                  </a:lnTo>
                  <a:lnTo>
                    <a:pt x="28" y="100"/>
                  </a:lnTo>
                  <a:lnTo>
                    <a:pt x="26" y="103"/>
                  </a:lnTo>
                  <a:lnTo>
                    <a:pt x="23" y="103"/>
                  </a:lnTo>
                  <a:lnTo>
                    <a:pt x="23" y="100"/>
                  </a:lnTo>
                  <a:lnTo>
                    <a:pt x="21" y="100"/>
                  </a:lnTo>
                  <a:lnTo>
                    <a:pt x="19" y="98"/>
                  </a:lnTo>
                  <a:lnTo>
                    <a:pt x="19" y="95"/>
                  </a:lnTo>
                  <a:lnTo>
                    <a:pt x="16" y="95"/>
                  </a:lnTo>
                  <a:lnTo>
                    <a:pt x="16" y="93"/>
                  </a:lnTo>
                  <a:lnTo>
                    <a:pt x="19" y="93"/>
                  </a:lnTo>
                  <a:lnTo>
                    <a:pt x="21" y="93"/>
                  </a:lnTo>
                  <a:lnTo>
                    <a:pt x="21" y="91"/>
                  </a:lnTo>
                  <a:lnTo>
                    <a:pt x="23" y="91"/>
                  </a:lnTo>
                  <a:lnTo>
                    <a:pt x="26" y="91"/>
                  </a:lnTo>
                  <a:lnTo>
                    <a:pt x="26" y="93"/>
                  </a:lnTo>
                  <a:lnTo>
                    <a:pt x="28" y="93"/>
                  </a:lnTo>
                  <a:lnTo>
                    <a:pt x="31" y="93"/>
                  </a:lnTo>
                  <a:lnTo>
                    <a:pt x="31" y="91"/>
                  </a:lnTo>
                  <a:lnTo>
                    <a:pt x="33" y="91"/>
                  </a:lnTo>
                  <a:lnTo>
                    <a:pt x="35" y="91"/>
                  </a:lnTo>
                  <a:lnTo>
                    <a:pt x="35" y="88"/>
                  </a:lnTo>
                  <a:lnTo>
                    <a:pt x="35" y="91"/>
                  </a:lnTo>
                  <a:lnTo>
                    <a:pt x="38" y="91"/>
                  </a:lnTo>
                  <a:lnTo>
                    <a:pt x="40" y="91"/>
                  </a:lnTo>
                  <a:lnTo>
                    <a:pt x="38" y="91"/>
                  </a:lnTo>
                  <a:lnTo>
                    <a:pt x="38" y="88"/>
                  </a:lnTo>
                  <a:lnTo>
                    <a:pt x="40" y="88"/>
                  </a:lnTo>
                  <a:lnTo>
                    <a:pt x="40" y="91"/>
                  </a:lnTo>
                  <a:lnTo>
                    <a:pt x="40" y="88"/>
                  </a:lnTo>
                  <a:lnTo>
                    <a:pt x="40" y="91"/>
                  </a:lnTo>
                  <a:lnTo>
                    <a:pt x="40" y="88"/>
                  </a:lnTo>
                  <a:lnTo>
                    <a:pt x="42" y="91"/>
                  </a:lnTo>
                  <a:lnTo>
                    <a:pt x="40" y="91"/>
                  </a:lnTo>
                  <a:lnTo>
                    <a:pt x="42" y="91"/>
                  </a:lnTo>
                  <a:lnTo>
                    <a:pt x="45" y="91"/>
                  </a:lnTo>
                  <a:lnTo>
                    <a:pt x="45" y="88"/>
                  </a:lnTo>
                  <a:lnTo>
                    <a:pt x="45" y="86"/>
                  </a:lnTo>
                  <a:lnTo>
                    <a:pt x="47" y="86"/>
                  </a:lnTo>
                  <a:lnTo>
                    <a:pt x="50" y="86"/>
                  </a:lnTo>
                  <a:lnTo>
                    <a:pt x="47" y="86"/>
                  </a:lnTo>
                  <a:lnTo>
                    <a:pt x="47" y="88"/>
                  </a:lnTo>
                  <a:lnTo>
                    <a:pt x="45" y="91"/>
                  </a:lnTo>
                  <a:lnTo>
                    <a:pt x="47" y="91"/>
                  </a:lnTo>
                  <a:lnTo>
                    <a:pt x="50" y="91"/>
                  </a:lnTo>
                  <a:lnTo>
                    <a:pt x="47" y="91"/>
                  </a:lnTo>
                  <a:lnTo>
                    <a:pt x="47" y="88"/>
                  </a:lnTo>
                  <a:lnTo>
                    <a:pt x="50" y="88"/>
                  </a:lnTo>
                  <a:lnTo>
                    <a:pt x="52" y="88"/>
                  </a:lnTo>
                  <a:lnTo>
                    <a:pt x="52" y="91"/>
                  </a:lnTo>
                  <a:lnTo>
                    <a:pt x="50" y="91"/>
                  </a:lnTo>
                  <a:lnTo>
                    <a:pt x="52" y="91"/>
                  </a:lnTo>
                  <a:lnTo>
                    <a:pt x="50" y="91"/>
                  </a:lnTo>
                  <a:lnTo>
                    <a:pt x="52" y="91"/>
                  </a:lnTo>
                  <a:lnTo>
                    <a:pt x="52" y="88"/>
                  </a:lnTo>
                  <a:lnTo>
                    <a:pt x="50" y="88"/>
                  </a:lnTo>
                  <a:lnTo>
                    <a:pt x="50" y="86"/>
                  </a:lnTo>
                  <a:lnTo>
                    <a:pt x="52" y="86"/>
                  </a:lnTo>
                  <a:lnTo>
                    <a:pt x="54" y="86"/>
                  </a:lnTo>
                  <a:lnTo>
                    <a:pt x="54" y="88"/>
                  </a:lnTo>
                  <a:lnTo>
                    <a:pt x="54" y="86"/>
                  </a:lnTo>
                  <a:lnTo>
                    <a:pt x="57" y="86"/>
                  </a:lnTo>
                  <a:lnTo>
                    <a:pt x="59" y="86"/>
                  </a:lnTo>
                  <a:lnTo>
                    <a:pt x="57" y="86"/>
                  </a:lnTo>
                  <a:lnTo>
                    <a:pt x="54" y="86"/>
                  </a:lnTo>
                  <a:lnTo>
                    <a:pt x="57" y="86"/>
                  </a:lnTo>
                  <a:lnTo>
                    <a:pt x="57" y="84"/>
                  </a:lnTo>
                  <a:lnTo>
                    <a:pt x="57" y="86"/>
                  </a:lnTo>
                  <a:lnTo>
                    <a:pt x="57" y="84"/>
                  </a:lnTo>
                  <a:lnTo>
                    <a:pt x="59" y="84"/>
                  </a:lnTo>
                  <a:lnTo>
                    <a:pt x="59" y="81"/>
                  </a:lnTo>
                  <a:lnTo>
                    <a:pt x="61" y="81"/>
                  </a:lnTo>
                  <a:lnTo>
                    <a:pt x="61" y="84"/>
                  </a:lnTo>
                  <a:lnTo>
                    <a:pt x="59" y="84"/>
                  </a:lnTo>
                  <a:lnTo>
                    <a:pt x="61" y="84"/>
                  </a:lnTo>
                  <a:lnTo>
                    <a:pt x="61" y="86"/>
                  </a:lnTo>
                  <a:lnTo>
                    <a:pt x="59" y="86"/>
                  </a:lnTo>
                  <a:lnTo>
                    <a:pt x="61" y="86"/>
                  </a:lnTo>
                  <a:lnTo>
                    <a:pt x="64" y="86"/>
                  </a:lnTo>
                  <a:lnTo>
                    <a:pt x="64" y="88"/>
                  </a:lnTo>
                  <a:lnTo>
                    <a:pt x="66" y="88"/>
                  </a:lnTo>
                  <a:lnTo>
                    <a:pt x="64" y="88"/>
                  </a:lnTo>
                  <a:lnTo>
                    <a:pt x="64" y="86"/>
                  </a:lnTo>
                  <a:lnTo>
                    <a:pt x="66" y="86"/>
                  </a:lnTo>
                  <a:lnTo>
                    <a:pt x="66" y="84"/>
                  </a:lnTo>
                  <a:lnTo>
                    <a:pt x="69" y="84"/>
                  </a:lnTo>
                  <a:lnTo>
                    <a:pt x="71" y="84"/>
                  </a:lnTo>
                  <a:lnTo>
                    <a:pt x="73" y="84"/>
                  </a:lnTo>
                  <a:lnTo>
                    <a:pt x="76" y="84"/>
                  </a:lnTo>
                  <a:lnTo>
                    <a:pt x="78" y="84"/>
                  </a:lnTo>
                  <a:lnTo>
                    <a:pt x="76" y="84"/>
                  </a:lnTo>
                  <a:lnTo>
                    <a:pt x="78" y="86"/>
                  </a:lnTo>
                  <a:lnTo>
                    <a:pt x="80" y="86"/>
                  </a:lnTo>
                  <a:lnTo>
                    <a:pt x="78" y="86"/>
                  </a:lnTo>
                  <a:lnTo>
                    <a:pt x="80" y="86"/>
                  </a:lnTo>
                  <a:lnTo>
                    <a:pt x="80" y="84"/>
                  </a:lnTo>
                  <a:lnTo>
                    <a:pt x="80" y="86"/>
                  </a:lnTo>
                  <a:lnTo>
                    <a:pt x="80" y="84"/>
                  </a:lnTo>
                  <a:lnTo>
                    <a:pt x="80" y="86"/>
                  </a:lnTo>
                  <a:lnTo>
                    <a:pt x="80" y="84"/>
                  </a:lnTo>
                  <a:lnTo>
                    <a:pt x="83" y="84"/>
                  </a:lnTo>
                  <a:lnTo>
                    <a:pt x="83" y="86"/>
                  </a:lnTo>
                  <a:lnTo>
                    <a:pt x="85" y="86"/>
                  </a:lnTo>
                  <a:lnTo>
                    <a:pt x="88" y="86"/>
                  </a:lnTo>
                  <a:lnTo>
                    <a:pt x="90" y="86"/>
                  </a:lnTo>
                  <a:lnTo>
                    <a:pt x="92" y="86"/>
                  </a:lnTo>
                  <a:lnTo>
                    <a:pt x="92" y="84"/>
                  </a:lnTo>
                  <a:lnTo>
                    <a:pt x="90" y="84"/>
                  </a:lnTo>
                  <a:lnTo>
                    <a:pt x="90" y="81"/>
                  </a:lnTo>
                  <a:lnTo>
                    <a:pt x="92" y="81"/>
                  </a:lnTo>
                  <a:lnTo>
                    <a:pt x="92" y="79"/>
                  </a:lnTo>
                  <a:lnTo>
                    <a:pt x="95" y="79"/>
                  </a:lnTo>
                  <a:lnTo>
                    <a:pt x="95" y="76"/>
                  </a:lnTo>
                  <a:lnTo>
                    <a:pt x="92" y="76"/>
                  </a:lnTo>
                  <a:lnTo>
                    <a:pt x="92" y="74"/>
                  </a:lnTo>
                  <a:lnTo>
                    <a:pt x="92" y="76"/>
                  </a:lnTo>
                  <a:lnTo>
                    <a:pt x="90" y="74"/>
                  </a:lnTo>
                  <a:lnTo>
                    <a:pt x="90" y="76"/>
                  </a:lnTo>
                  <a:lnTo>
                    <a:pt x="90" y="79"/>
                  </a:lnTo>
                  <a:lnTo>
                    <a:pt x="88" y="79"/>
                  </a:lnTo>
                  <a:lnTo>
                    <a:pt x="85" y="79"/>
                  </a:lnTo>
                  <a:lnTo>
                    <a:pt x="85" y="81"/>
                  </a:lnTo>
                  <a:lnTo>
                    <a:pt x="83" y="81"/>
                  </a:lnTo>
                  <a:lnTo>
                    <a:pt x="80" y="81"/>
                  </a:lnTo>
                  <a:lnTo>
                    <a:pt x="80" y="79"/>
                  </a:lnTo>
                  <a:lnTo>
                    <a:pt x="78" y="81"/>
                  </a:lnTo>
                  <a:lnTo>
                    <a:pt x="78" y="79"/>
                  </a:lnTo>
                  <a:lnTo>
                    <a:pt x="76" y="79"/>
                  </a:lnTo>
                  <a:lnTo>
                    <a:pt x="73" y="79"/>
                  </a:lnTo>
                  <a:lnTo>
                    <a:pt x="71" y="79"/>
                  </a:lnTo>
                  <a:lnTo>
                    <a:pt x="71" y="76"/>
                  </a:lnTo>
                  <a:lnTo>
                    <a:pt x="71" y="79"/>
                  </a:lnTo>
                  <a:lnTo>
                    <a:pt x="69" y="79"/>
                  </a:lnTo>
                  <a:lnTo>
                    <a:pt x="71" y="79"/>
                  </a:lnTo>
                  <a:lnTo>
                    <a:pt x="69" y="79"/>
                  </a:lnTo>
                  <a:lnTo>
                    <a:pt x="66" y="79"/>
                  </a:lnTo>
                  <a:lnTo>
                    <a:pt x="66" y="76"/>
                  </a:lnTo>
                  <a:lnTo>
                    <a:pt x="66" y="79"/>
                  </a:lnTo>
                  <a:lnTo>
                    <a:pt x="66" y="76"/>
                  </a:lnTo>
                  <a:lnTo>
                    <a:pt x="69" y="76"/>
                  </a:lnTo>
                  <a:lnTo>
                    <a:pt x="66" y="76"/>
                  </a:lnTo>
                  <a:lnTo>
                    <a:pt x="69" y="76"/>
                  </a:lnTo>
                  <a:lnTo>
                    <a:pt x="66" y="76"/>
                  </a:lnTo>
                  <a:lnTo>
                    <a:pt x="64" y="76"/>
                  </a:lnTo>
                  <a:lnTo>
                    <a:pt x="66" y="76"/>
                  </a:lnTo>
                  <a:lnTo>
                    <a:pt x="69" y="76"/>
                  </a:lnTo>
                  <a:lnTo>
                    <a:pt x="66" y="76"/>
                  </a:lnTo>
                  <a:lnTo>
                    <a:pt x="69" y="74"/>
                  </a:lnTo>
                  <a:lnTo>
                    <a:pt x="66" y="74"/>
                  </a:lnTo>
                  <a:lnTo>
                    <a:pt x="69" y="74"/>
                  </a:lnTo>
                  <a:lnTo>
                    <a:pt x="71" y="74"/>
                  </a:lnTo>
                  <a:lnTo>
                    <a:pt x="71" y="72"/>
                  </a:lnTo>
                  <a:lnTo>
                    <a:pt x="71" y="74"/>
                  </a:lnTo>
                  <a:lnTo>
                    <a:pt x="71" y="72"/>
                  </a:lnTo>
                  <a:lnTo>
                    <a:pt x="73" y="72"/>
                  </a:lnTo>
                  <a:lnTo>
                    <a:pt x="71" y="72"/>
                  </a:lnTo>
                  <a:lnTo>
                    <a:pt x="73" y="72"/>
                  </a:lnTo>
                  <a:lnTo>
                    <a:pt x="71" y="72"/>
                  </a:lnTo>
                  <a:lnTo>
                    <a:pt x="73" y="72"/>
                  </a:lnTo>
                  <a:lnTo>
                    <a:pt x="73" y="69"/>
                  </a:lnTo>
                  <a:lnTo>
                    <a:pt x="76" y="69"/>
                  </a:lnTo>
                  <a:lnTo>
                    <a:pt x="78" y="69"/>
                  </a:lnTo>
                  <a:lnTo>
                    <a:pt x="80" y="69"/>
                  </a:lnTo>
                  <a:lnTo>
                    <a:pt x="80" y="67"/>
                  </a:lnTo>
                  <a:lnTo>
                    <a:pt x="83" y="67"/>
                  </a:lnTo>
                  <a:lnTo>
                    <a:pt x="83" y="65"/>
                  </a:lnTo>
                  <a:lnTo>
                    <a:pt x="85" y="65"/>
                  </a:lnTo>
                  <a:lnTo>
                    <a:pt x="88" y="65"/>
                  </a:lnTo>
                  <a:lnTo>
                    <a:pt x="85" y="65"/>
                  </a:lnTo>
                  <a:lnTo>
                    <a:pt x="88" y="65"/>
                  </a:lnTo>
                  <a:lnTo>
                    <a:pt x="88" y="62"/>
                  </a:lnTo>
                  <a:lnTo>
                    <a:pt x="88" y="65"/>
                  </a:lnTo>
                  <a:lnTo>
                    <a:pt x="90" y="65"/>
                  </a:lnTo>
                  <a:lnTo>
                    <a:pt x="92" y="62"/>
                  </a:lnTo>
                  <a:lnTo>
                    <a:pt x="95" y="62"/>
                  </a:lnTo>
                  <a:lnTo>
                    <a:pt x="92" y="62"/>
                  </a:lnTo>
                  <a:lnTo>
                    <a:pt x="90" y="62"/>
                  </a:lnTo>
                  <a:lnTo>
                    <a:pt x="88" y="62"/>
                  </a:lnTo>
                  <a:lnTo>
                    <a:pt x="85" y="62"/>
                  </a:lnTo>
                  <a:lnTo>
                    <a:pt x="88" y="62"/>
                  </a:lnTo>
                  <a:lnTo>
                    <a:pt x="85" y="62"/>
                  </a:lnTo>
                  <a:lnTo>
                    <a:pt x="88" y="62"/>
                  </a:lnTo>
                  <a:lnTo>
                    <a:pt x="88" y="60"/>
                  </a:lnTo>
                  <a:lnTo>
                    <a:pt x="85" y="60"/>
                  </a:lnTo>
                  <a:lnTo>
                    <a:pt x="85" y="57"/>
                  </a:lnTo>
                  <a:lnTo>
                    <a:pt x="83" y="57"/>
                  </a:lnTo>
                  <a:lnTo>
                    <a:pt x="83" y="60"/>
                  </a:lnTo>
                  <a:lnTo>
                    <a:pt x="83" y="57"/>
                  </a:lnTo>
                  <a:lnTo>
                    <a:pt x="80" y="57"/>
                  </a:lnTo>
                  <a:lnTo>
                    <a:pt x="80" y="60"/>
                  </a:lnTo>
                  <a:lnTo>
                    <a:pt x="78" y="60"/>
                  </a:lnTo>
                  <a:lnTo>
                    <a:pt x="78" y="62"/>
                  </a:lnTo>
                  <a:lnTo>
                    <a:pt x="76" y="62"/>
                  </a:lnTo>
                  <a:lnTo>
                    <a:pt x="73" y="62"/>
                  </a:lnTo>
                  <a:lnTo>
                    <a:pt x="73" y="60"/>
                  </a:lnTo>
                  <a:lnTo>
                    <a:pt x="71" y="60"/>
                  </a:lnTo>
                  <a:lnTo>
                    <a:pt x="73" y="57"/>
                  </a:lnTo>
                  <a:lnTo>
                    <a:pt x="76" y="57"/>
                  </a:lnTo>
                  <a:lnTo>
                    <a:pt x="78" y="57"/>
                  </a:lnTo>
                  <a:lnTo>
                    <a:pt x="78" y="55"/>
                  </a:lnTo>
                  <a:lnTo>
                    <a:pt x="80" y="55"/>
                  </a:lnTo>
                  <a:lnTo>
                    <a:pt x="78" y="55"/>
                  </a:lnTo>
                  <a:lnTo>
                    <a:pt x="80" y="55"/>
                  </a:lnTo>
                  <a:lnTo>
                    <a:pt x="80" y="53"/>
                  </a:lnTo>
                  <a:lnTo>
                    <a:pt x="78" y="55"/>
                  </a:lnTo>
                  <a:lnTo>
                    <a:pt x="78" y="57"/>
                  </a:lnTo>
                  <a:lnTo>
                    <a:pt x="76" y="57"/>
                  </a:lnTo>
                  <a:lnTo>
                    <a:pt x="73" y="57"/>
                  </a:lnTo>
                  <a:lnTo>
                    <a:pt x="73" y="55"/>
                  </a:lnTo>
                  <a:lnTo>
                    <a:pt x="76" y="55"/>
                  </a:lnTo>
                  <a:lnTo>
                    <a:pt x="73" y="55"/>
                  </a:lnTo>
                  <a:lnTo>
                    <a:pt x="73" y="57"/>
                  </a:lnTo>
                  <a:lnTo>
                    <a:pt x="71" y="57"/>
                  </a:lnTo>
                  <a:lnTo>
                    <a:pt x="71" y="55"/>
                  </a:lnTo>
                  <a:lnTo>
                    <a:pt x="71" y="57"/>
                  </a:lnTo>
                  <a:lnTo>
                    <a:pt x="69" y="57"/>
                  </a:lnTo>
                  <a:lnTo>
                    <a:pt x="69" y="55"/>
                  </a:lnTo>
                  <a:lnTo>
                    <a:pt x="69" y="53"/>
                  </a:lnTo>
                  <a:lnTo>
                    <a:pt x="66" y="53"/>
                  </a:lnTo>
                  <a:lnTo>
                    <a:pt x="69" y="53"/>
                  </a:lnTo>
                  <a:lnTo>
                    <a:pt x="66" y="53"/>
                  </a:lnTo>
                  <a:lnTo>
                    <a:pt x="66" y="50"/>
                  </a:lnTo>
                  <a:lnTo>
                    <a:pt x="66" y="53"/>
                  </a:lnTo>
                  <a:lnTo>
                    <a:pt x="66" y="55"/>
                  </a:lnTo>
                  <a:lnTo>
                    <a:pt x="66" y="57"/>
                  </a:lnTo>
                  <a:lnTo>
                    <a:pt x="64" y="57"/>
                  </a:lnTo>
                  <a:lnTo>
                    <a:pt x="66" y="57"/>
                  </a:lnTo>
                  <a:lnTo>
                    <a:pt x="64" y="57"/>
                  </a:lnTo>
                  <a:lnTo>
                    <a:pt x="64" y="55"/>
                  </a:lnTo>
                  <a:lnTo>
                    <a:pt x="64" y="53"/>
                  </a:lnTo>
                  <a:lnTo>
                    <a:pt x="64" y="55"/>
                  </a:lnTo>
                  <a:lnTo>
                    <a:pt x="64" y="57"/>
                  </a:lnTo>
                  <a:lnTo>
                    <a:pt x="61" y="57"/>
                  </a:lnTo>
                  <a:lnTo>
                    <a:pt x="61" y="55"/>
                  </a:lnTo>
                  <a:lnTo>
                    <a:pt x="61" y="53"/>
                  </a:lnTo>
                  <a:lnTo>
                    <a:pt x="61" y="50"/>
                  </a:lnTo>
                  <a:lnTo>
                    <a:pt x="61" y="53"/>
                  </a:lnTo>
                  <a:lnTo>
                    <a:pt x="59" y="53"/>
                  </a:lnTo>
                  <a:lnTo>
                    <a:pt x="59" y="50"/>
                  </a:lnTo>
                  <a:lnTo>
                    <a:pt x="59" y="53"/>
                  </a:lnTo>
                  <a:lnTo>
                    <a:pt x="59" y="50"/>
                  </a:lnTo>
                  <a:lnTo>
                    <a:pt x="59" y="53"/>
                  </a:lnTo>
                  <a:lnTo>
                    <a:pt x="59" y="55"/>
                  </a:lnTo>
                  <a:lnTo>
                    <a:pt x="61" y="57"/>
                  </a:lnTo>
                  <a:lnTo>
                    <a:pt x="61" y="60"/>
                  </a:lnTo>
                  <a:lnTo>
                    <a:pt x="61" y="57"/>
                  </a:lnTo>
                  <a:lnTo>
                    <a:pt x="59" y="57"/>
                  </a:lnTo>
                  <a:lnTo>
                    <a:pt x="57" y="57"/>
                  </a:lnTo>
                  <a:lnTo>
                    <a:pt x="54" y="57"/>
                  </a:lnTo>
                  <a:lnTo>
                    <a:pt x="57" y="57"/>
                  </a:lnTo>
                  <a:lnTo>
                    <a:pt x="54" y="57"/>
                  </a:lnTo>
                  <a:lnTo>
                    <a:pt x="57" y="55"/>
                  </a:lnTo>
                  <a:lnTo>
                    <a:pt x="59" y="53"/>
                  </a:lnTo>
                  <a:lnTo>
                    <a:pt x="57" y="53"/>
                  </a:lnTo>
                  <a:lnTo>
                    <a:pt x="57" y="50"/>
                  </a:lnTo>
                  <a:lnTo>
                    <a:pt x="57" y="53"/>
                  </a:lnTo>
                  <a:lnTo>
                    <a:pt x="57" y="55"/>
                  </a:lnTo>
                  <a:lnTo>
                    <a:pt x="54" y="55"/>
                  </a:lnTo>
                  <a:lnTo>
                    <a:pt x="54" y="53"/>
                  </a:lnTo>
                  <a:lnTo>
                    <a:pt x="52" y="53"/>
                  </a:lnTo>
                  <a:lnTo>
                    <a:pt x="52" y="55"/>
                  </a:lnTo>
                  <a:lnTo>
                    <a:pt x="52" y="57"/>
                  </a:lnTo>
                  <a:lnTo>
                    <a:pt x="50" y="57"/>
                  </a:lnTo>
                  <a:lnTo>
                    <a:pt x="50" y="55"/>
                  </a:lnTo>
                  <a:lnTo>
                    <a:pt x="47" y="55"/>
                  </a:lnTo>
                  <a:lnTo>
                    <a:pt x="47" y="53"/>
                  </a:lnTo>
                  <a:lnTo>
                    <a:pt x="47" y="55"/>
                  </a:lnTo>
                  <a:lnTo>
                    <a:pt x="45" y="55"/>
                  </a:lnTo>
                  <a:lnTo>
                    <a:pt x="45" y="57"/>
                  </a:lnTo>
                  <a:lnTo>
                    <a:pt x="45" y="60"/>
                  </a:lnTo>
                  <a:lnTo>
                    <a:pt x="42" y="60"/>
                  </a:lnTo>
                  <a:lnTo>
                    <a:pt x="40" y="60"/>
                  </a:lnTo>
                  <a:lnTo>
                    <a:pt x="40" y="57"/>
                  </a:lnTo>
                  <a:lnTo>
                    <a:pt x="38" y="57"/>
                  </a:lnTo>
                  <a:lnTo>
                    <a:pt x="38" y="60"/>
                  </a:lnTo>
                  <a:lnTo>
                    <a:pt x="35" y="60"/>
                  </a:lnTo>
                  <a:lnTo>
                    <a:pt x="33" y="60"/>
                  </a:lnTo>
                  <a:lnTo>
                    <a:pt x="31" y="60"/>
                  </a:lnTo>
                  <a:lnTo>
                    <a:pt x="31" y="62"/>
                  </a:lnTo>
                  <a:lnTo>
                    <a:pt x="28" y="62"/>
                  </a:lnTo>
                  <a:lnTo>
                    <a:pt x="28" y="65"/>
                  </a:lnTo>
                  <a:lnTo>
                    <a:pt x="26" y="62"/>
                  </a:lnTo>
                  <a:lnTo>
                    <a:pt x="26" y="65"/>
                  </a:lnTo>
                  <a:lnTo>
                    <a:pt x="23" y="65"/>
                  </a:lnTo>
                  <a:lnTo>
                    <a:pt x="21" y="65"/>
                  </a:lnTo>
                  <a:lnTo>
                    <a:pt x="19" y="65"/>
                  </a:lnTo>
                  <a:lnTo>
                    <a:pt x="19" y="62"/>
                  </a:lnTo>
                  <a:lnTo>
                    <a:pt x="21" y="62"/>
                  </a:lnTo>
                  <a:lnTo>
                    <a:pt x="21" y="60"/>
                  </a:lnTo>
                  <a:lnTo>
                    <a:pt x="19" y="60"/>
                  </a:lnTo>
                  <a:lnTo>
                    <a:pt x="21" y="60"/>
                  </a:lnTo>
                  <a:lnTo>
                    <a:pt x="19" y="60"/>
                  </a:lnTo>
                  <a:lnTo>
                    <a:pt x="19" y="62"/>
                  </a:lnTo>
                  <a:lnTo>
                    <a:pt x="16" y="60"/>
                  </a:lnTo>
                  <a:lnTo>
                    <a:pt x="14" y="60"/>
                  </a:lnTo>
                  <a:lnTo>
                    <a:pt x="12" y="60"/>
                  </a:lnTo>
                  <a:lnTo>
                    <a:pt x="12" y="57"/>
                  </a:lnTo>
                  <a:lnTo>
                    <a:pt x="9" y="57"/>
                  </a:lnTo>
                  <a:lnTo>
                    <a:pt x="9" y="60"/>
                  </a:lnTo>
                  <a:lnTo>
                    <a:pt x="7" y="60"/>
                  </a:lnTo>
                  <a:lnTo>
                    <a:pt x="4" y="60"/>
                  </a:lnTo>
                  <a:lnTo>
                    <a:pt x="2" y="60"/>
                  </a:lnTo>
                  <a:lnTo>
                    <a:pt x="0" y="60"/>
                  </a:lnTo>
                  <a:lnTo>
                    <a:pt x="0" y="57"/>
                  </a:lnTo>
                  <a:lnTo>
                    <a:pt x="2" y="57"/>
                  </a:lnTo>
                  <a:lnTo>
                    <a:pt x="4" y="55"/>
                  </a:lnTo>
                  <a:lnTo>
                    <a:pt x="7" y="55"/>
                  </a:lnTo>
                  <a:lnTo>
                    <a:pt x="7" y="53"/>
                  </a:lnTo>
                  <a:lnTo>
                    <a:pt x="7" y="50"/>
                  </a:lnTo>
                  <a:lnTo>
                    <a:pt x="9" y="50"/>
                  </a:lnTo>
                  <a:lnTo>
                    <a:pt x="12" y="50"/>
                  </a:lnTo>
                  <a:lnTo>
                    <a:pt x="12" y="53"/>
                  </a:lnTo>
                  <a:lnTo>
                    <a:pt x="14" y="53"/>
                  </a:lnTo>
                  <a:lnTo>
                    <a:pt x="14" y="55"/>
                  </a:lnTo>
                  <a:lnTo>
                    <a:pt x="16" y="55"/>
                  </a:lnTo>
                  <a:lnTo>
                    <a:pt x="19" y="55"/>
                  </a:lnTo>
                  <a:lnTo>
                    <a:pt x="21" y="55"/>
                  </a:lnTo>
                  <a:lnTo>
                    <a:pt x="21" y="57"/>
                  </a:lnTo>
                  <a:lnTo>
                    <a:pt x="23" y="57"/>
                  </a:lnTo>
                  <a:lnTo>
                    <a:pt x="26" y="57"/>
                  </a:lnTo>
                  <a:lnTo>
                    <a:pt x="23" y="57"/>
                  </a:lnTo>
                  <a:lnTo>
                    <a:pt x="21" y="55"/>
                  </a:lnTo>
                  <a:lnTo>
                    <a:pt x="19" y="55"/>
                  </a:lnTo>
                  <a:lnTo>
                    <a:pt x="19" y="53"/>
                  </a:lnTo>
                  <a:lnTo>
                    <a:pt x="16" y="53"/>
                  </a:lnTo>
                  <a:lnTo>
                    <a:pt x="16" y="50"/>
                  </a:lnTo>
                  <a:lnTo>
                    <a:pt x="19" y="50"/>
                  </a:lnTo>
                  <a:lnTo>
                    <a:pt x="21" y="50"/>
                  </a:lnTo>
                  <a:lnTo>
                    <a:pt x="21" y="53"/>
                  </a:lnTo>
                  <a:lnTo>
                    <a:pt x="23" y="53"/>
                  </a:lnTo>
                  <a:lnTo>
                    <a:pt x="26" y="53"/>
                  </a:lnTo>
                  <a:lnTo>
                    <a:pt x="23" y="53"/>
                  </a:lnTo>
                  <a:lnTo>
                    <a:pt x="23" y="50"/>
                  </a:lnTo>
                  <a:lnTo>
                    <a:pt x="23" y="53"/>
                  </a:lnTo>
                  <a:lnTo>
                    <a:pt x="23" y="50"/>
                  </a:lnTo>
                  <a:lnTo>
                    <a:pt x="21" y="50"/>
                  </a:lnTo>
                  <a:lnTo>
                    <a:pt x="19" y="50"/>
                  </a:lnTo>
                  <a:lnTo>
                    <a:pt x="19" y="48"/>
                  </a:lnTo>
                  <a:lnTo>
                    <a:pt x="16" y="48"/>
                  </a:lnTo>
                  <a:lnTo>
                    <a:pt x="16" y="46"/>
                  </a:lnTo>
                  <a:lnTo>
                    <a:pt x="14" y="46"/>
                  </a:lnTo>
                  <a:lnTo>
                    <a:pt x="14" y="43"/>
                  </a:lnTo>
                  <a:lnTo>
                    <a:pt x="14" y="41"/>
                  </a:lnTo>
                  <a:lnTo>
                    <a:pt x="16" y="41"/>
                  </a:lnTo>
                  <a:lnTo>
                    <a:pt x="19" y="41"/>
                  </a:lnTo>
                  <a:lnTo>
                    <a:pt x="19" y="43"/>
                  </a:lnTo>
                  <a:lnTo>
                    <a:pt x="21" y="43"/>
                  </a:lnTo>
                  <a:lnTo>
                    <a:pt x="23" y="43"/>
                  </a:lnTo>
                  <a:lnTo>
                    <a:pt x="23" y="46"/>
                  </a:lnTo>
                  <a:lnTo>
                    <a:pt x="26" y="46"/>
                  </a:lnTo>
                  <a:lnTo>
                    <a:pt x="28" y="46"/>
                  </a:lnTo>
                  <a:lnTo>
                    <a:pt x="31" y="48"/>
                  </a:lnTo>
                  <a:lnTo>
                    <a:pt x="33" y="48"/>
                  </a:lnTo>
                  <a:lnTo>
                    <a:pt x="33" y="50"/>
                  </a:lnTo>
                  <a:lnTo>
                    <a:pt x="33" y="53"/>
                  </a:lnTo>
                  <a:lnTo>
                    <a:pt x="35" y="50"/>
                  </a:lnTo>
                  <a:lnTo>
                    <a:pt x="35" y="53"/>
                  </a:lnTo>
                  <a:lnTo>
                    <a:pt x="35" y="50"/>
                  </a:lnTo>
                  <a:lnTo>
                    <a:pt x="38" y="50"/>
                  </a:lnTo>
                  <a:lnTo>
                    <a:pt x="38" y="53"/>
                  </a:lnTo>
                  <a:lnTo>
                    <a:pt x="38" y="50"/>
                  </a:lnTo>
                  <a:lnTo>
                    <a:pt x="40" y="50"/>
                  </a:lnTo>
                  <a:lnTo>
                    <a:pt x="38" y="50"/>
                  </a:lnTo>
                  <a:lnTo>
                    <a:pt x="40" y="50"/>
                  </a:lnTo>
                  <a:lnTo>
                    <a:pt x="42" y="48"/>
                  </a:lnTo>
                  <a:lnTo>
                    <a:pt x="40" y="48"/>
                  </a:lnTo>
                  <a:lnTo>
                    <a:pt x="38" y="48"/>
                  </a:lnTo>
                  <a:lnTo>
                    <a:pt x="35" y="48"/>
                  </a:lnTo>
                  <a:lnTo>
                    <a:pt x="33" y="46"/>
                  </a:lnTo>
                  <a:lnTo>
                    <a:pt x="35" y="46"/>
                  </a:lnTo>
                  <a:lnTo>
                    <a:pt x="38" y="46"/>
                  </a:lnTo>
                  <a:lnTo>
                    <a:pt x="40" y="46"/>
                  </a:lnTo>
                  <a:lnTo>
                    <a:pt x="42" y="46"/>
                  </a:lnTo>
                  <a:lnTo>
                    <a:pt x="45" y="46"/>
                  </a:lnTo>
                  <a:lnTo>
                    <a:pt x="42" y="43"/>
                  </a:lnTo>
                  <a:lnTo>
                    <a:pt x="45" y="43"/>
                  </a:lnTo>
                  <a:lnTo>
                    <a:pt x="42" y="43"/>
                  </a:lnTo>
                  <a:lnTo>
                    <a:pt x="40" y="43"/>
                  </a:lnTo>
                  <a:lnTo>
                    <a:pt x="38" y="43"/>
                  </a:lnTo>
                  <a:lnTo>
                    <a:pt x="35" y="43"/>
                  </a:lnTo>
                  <a:lnTo>
                    <a:pt x="33" y="43"/>
                  </a:lnTo>
                  <a:lnTo>
                    <a:pt x="31" y="43"/>
                  </a:lnTo>
                  <a:lnTo>
                    <a:pt x="28" y="43"/>
                  </a:lnTo>
                  <a:lnTo>
                    <a:pt x="26" y="43"/>
                  </a:lnTo>
                  <a:lnTo>
                    <a:pt x="26" y="41"/>
                  </a:lnTo>
                  <a:lnTo>
                    <a:pt x="23" y="41"/>
                  </a:lnTo>
                  <a:lnTo>
                    <a:pt x="23" y="38"/>
                  </a:lnTo>
                  <a:lnTo>
                    <a:pt x="23" y="36"/>
                  </a:lnTo>
                  <a:lnTo>
                    <a:pt x="23" y="34"/>
                  </a:lnTo>
                  <a:lnTo>
                    <a:pt x="26" y="34"/>
                  </a:lnTo>
                  <a:lnTo>
                    <a:pt x="26" y="36"/>
                  </a:lnTo>
                  <a:lnTo>
                    <a:pt x="28" y="36"/>
                  </a:lnTo>
                  <a:lnTo>
                    <a:pt x="31" y="36"/>
                  </a:lnTo>
                  <a:lnTo>
                    <a:pt x="33" y="38"/>
                  </a:lnTo>
                  <a:lnTo>
                    <a:pt x="33" y="36"/>
                  </a:lnTo>
                  <a:lnTo>
                    <a:pt x="35" y="36"/>
                  </a:lnTo>
                  <a:lnTo>
                    <a:pt x="35" y="38"/>
                  </a:lnTo>
                  <a:lnTo>
                    <a:pt x="38" y="38"/>
                  </a:lnTo>
                  <a:lnTo>
                    <a:pt x="40" y="38"/>
                  </a:lnTo>
                  <a:lnTo>
                    <a:pt x="42" y="38"/>
                  </a:lnTo>
                  <a:lnTo>
                    <a:pt x="45" y="38"/>
                  </a:lnTo>
                  <a:lnTo>
                    <a:pt x="45" y="41"/>
                  </a:lnTo>
                  <a:lnTo>
                    <a:pt x="45" y="38"/>
                  </a:lnTo>
                  <a:lnTo>
                    <a:pt x="42" y="38"/>
                  </a:lnTo>
                  <a:lnTo>
                    <a:pt x="40" y="38"/>
                  </a:lnTo>
                  <a:lnTo>
                    <a:pt x="38" y="38"/>
                  </a:lnTo>
                  <a:lnTo>
                    <a:pt x="38" y="36"/>
                  </a:lnTo>
                  <a:lnTo>
                    <a:pt x="35" y="36"/>
                  </a:lnTo>
                  <a:lnTo>
                    <a:pt x="33" y="36"/>
                  </a:lnTo>
                  <a:lnTo>
                    <a:pt x="31" y="36"/>
                  </a:lnTo>
                  <a:lnTo>
                    <a:pt x="31" y="34"/>
                  </a:lnTo>
                  <a:lnTo>
                    <a:pt x="28" y="34"/>
                  </a:lnTo>
                  <a:lnTo>
                    <a:pt x="28" y="31"/>
                  </a:lnTo>
                  <a:lnTo>
                    <a:pt x="26" y="31"/>
                  </a:lnTo>
                  <a:lnTo>
                    <a:pt x="23" y="29"/>
                  </a:lnTo>
                  <a:lnTo>
                    <a:pt x="23" y="26"/>
                  </a:lnTo>
                  <a:lnTo>
                    <a:pt x="26" y="26"/>
                  </a:lnTo>
                  <a:lnTo>
                    <a:pt x="28" y="26"/>
                  </a:lnTo>
                  <a:lnTo>
                    <a:pt x="31" y="26"/>
                  </a:lnTo>
                  <a:lnTo>
                    <a:pt x="31" y="29"/>
                  </a:lnTo>
                  <a:lnTo>
                    <a:pt x="33" y="29"/>
                  </a:lnTo>
                  <a:lnTo>
                    <a:pt x="35" y="29"/>
                  </a:lnTo>
                  <a:lnTo>
                    <a:pt x="38" y="29"/>
                  </a:lnTo>
                  <a:lnTo>
                    <a:pt x="38" y="31"/>
                  </a:lnTo>
                  <a:lnTo>
                    <a:pt x="40" y="31"/>
                  </a:lnTo>
                  <a:lnTo>
                    <a:pt x="38" y="31"/>
                  </a:lnTo>
                  <a:lnTo>
                    <a:pt x="38" y="29"/>
                  </a:lnTo>
                  <a:lnTo>
                    <a:pt x="35" y="29"/>
                  </a:lnTo>
                  <a:lnTo>
                    <a:pt x="35" y="26"/>
                  </a:lnTo>
                  <a:lnTo>
                    <a:pt x="35" y="29"/>
                  </a:lnTo>
                  <a:lnTo>
                    <a:pt x="35" y="26"/>
                  </a:lnTo>
                  <a:lnTo>
                    <a:pt x="33" y="26"/>
                  </a:lnTo>
                  <a:lnTo>
                    <a:pt x="31" y="26"/>
                  </a:lnTo>
                  <a:lnTo>
                    <a:pt x="31" y="24"/>
                  </a:lnTo>
                  <a:lnTo>
                    <a:pt x="28" y="24"/>
                  </a:lnTo>
                  <a:lnTo>
                    <a:pt x="31" y="24"/>
                  </a:lnTo>
                  <a:lnTo>
                    <a:pt x="33" y="24"/>
                  </a:lnTo>
                  <a:lnTo>
                    <a:pt x="33" y="22"/>
                  </a:lnTo>
                  <a:lnTo>
                    <a:pt x="35" y="24"/>
                  </a:lnTo>
                  <a:lnTo>
                    <a:pt x="38" y="24"/>
                  </a:lnTo>
                  <a:lnTo>
                    <a:pt x="38" y="26"/>
                  </a:lnTo>
                  <a:lnTo>
                    <a:pt x="40" y="26"/>
                  </a:lnTo>
                  <a:lnTo>
                    <a:pt x="38" y="24"/>
                  </a:lnTo>
                  <a:lnTo>
                    <a:pt x="35" y="24"/>
                  </a:lnTo>
                  <a:lnTo>
                    <a:pt x="35" y="22"/>
                  </a:lnTo>
                  <a:lnTo>
                    <a:pt x="33" y="22"/>
                  </a:lnTo>
                  <a:lnTo>
                    <a:pt x="31" y="22"/>
                  </a:lnTo>
                  <a:lnTo>
                    <a:pt x="33" y="22"/>
                  </a:lnTo>
                  <a:lnTo>
                    <a:pt x="33" y="19"/>
                  </a:lnTo>
                  <a:lnTo>
                    <a:pt x="35" y="19"/>
                  </a:lnTo>
                  <a:lnTo>
                    <a:pt x="38" y="19"/>
                  </a:lnTo>
                  <a:lnTo>
                    <a:pt x="40" y="19"/>
                  </a:lnTo>
                  <a:lnTo>
                    <a:pt x="42" y="19"/>
                  </a:lnTo>
                  <a:lnTo>
                    <a:pt x="42" y="22"/>
                  </a:lnTo>
                  <a:lnTo>
                    <a:pt x="45" y="22"/>
                  </a:lnTo>
                  <a:lnTo>
                    <a:pt x="47" y="22"/>
                  </a:lnTo>
                  <a:lnTo>
                    <a:pt x="47" y="24"/>
                  </a:lnTo>
                  <a:lnTo>
                    <a:pt x="47" y="26"/>
                  </a:lnTo>
                  <a:lnTo>
                    <a:pt x="45" y="26"/>
                  </a:lnTo>
                  <a:lnTo>
                    <a:pt x="45" y="29"/>
                  </a:lnTo>
                  <a:lnTo>
                    <a:pt x="47" y="29"/>
                  </a:lnTo>
                  <a:lnTo>
                    <a:pt x="47" y="26"/>
                  </a:lnTo>
                  <a:lnTo>
                    <a:pt x="50" y="26"/>
                  </a:lnTo>
                  <a:lnTo>
                    <a:pt x="50" y="24"/>
                  </a:lnTo>
                  <a:lnTo>
                    <a:pt x="52" y="24"/>
                  </a:lnTo>
                  <a:lnTo>
                    <a:pt x="52" y="26"/>
                  </a:lnTo>
                  <a:lnTo>
                    <a:pt x="52" y="29"/>
                  </a:lnTo>
                  <a:lnTo>
                    <a:pt x="50" y="31"/>
                  </a:lnTo>
                  <a:lnTo>
                    <a:pt x="47" y="31"/>
                  </a:lnTo>
                  <a:lnTo>
                    <a:pt x="47" y="34"/>
                  </a:lnTo>
                  <a:lnTo>
                    <a:pt x="50" y="34"/>
                  </a:lnTo>
                  <a:lnTo>
                    <a:pt x="47" y="31"/>
                  </a:lnTo>
                  <a:lnTo>
                    <a:pt x="50" y="31"/>
                  </a:lnTo>
                  <a:lnTo>
                    <a:pt x="52" y="31"/>
                  </a:lnTo>
                  <a:lnTo>
                    <a:pt x="52" y="29"/>
                  </a:lnTo>
                  <a:lnTo>
                    <a:pt x="52" y="26"/>
                  </a:lnTo>
                  <a:lnTo>
                    <a:pt x="54" y="26"/>
                  </a:lnTo>
                  <a:lnTo>
                    <a:pt x="54" y="29"/>
                  </a:lnTo>
                  <a:lnTo>
                    <a:pt x="54" y="31"/>
                  </a:lnTo>
                  <a:lnTo>
                    <a:pt x="54" y="29"/>
                  </a:lnTo>
                  <a:lnTo>
                    <a:pt x="57" y="29"/>
                  </a:lnTo>
                  <a:lnTo>
                    <a:pt x="57" y="31"/>
                  </a:lnTo>
                  <a:lnTo>
                    <a:pt x="54" y="31"/>
                  </a:lnTo>
                  <a:lnTo>
                    <a:pt x="54" y="34"/>
                  </a:lnTo>
                  <a:lnTo>
                    <a:pt x="52" y="34"/>
                  </a:lnTo>
                  <a:lnTo>
                    <a:pt x="52" y="36"/>
                  </a:lnTo>
                  <a:lnTo>
                    <a:pt x="52" y="34"/>
                  </a:lnTo>
                  <a:lnTo>
                    <a:pt x="54" y="34"/>
                  </a:lnTo>
                  <a:lnTo>
                    <a:pt x="57" y="31"/>
                  </a:lnTo>
                  <a:lnTo>
                    <a:pt x="57" y="34"/>
                  </a:lnTo>
                  <a:lnTo>
                    <a:pt x="57" y="36"/>
                  </a:lnTo>
                  <a:lnTo>
                    <a:pt x="57" y="34"/>
                  </a:lnTo>
                  <a:lnTo>
                    <a:pt x="59" y="34"/>
                  </a:lnTo>
                  <a:lnTo>
                    <a:pt x="59" y="31"/>
                  </a:lnTo>
                  <a:lnTo>
                    <a:pt x="59" y="29"/>
                  </a:lnTo>
                  <a:lnTo>
                    <a:pt x="59" y="26"/>
                  </a:lnTo>
                  <a:lnTo>
                    <a:pt x="59" y="29"/>
                  </a:lnTo>
                  <a:lnTo>
                    <a:pt x="61" y="29"/>
                  </a:lnTo>
                  <a:lnTo>
                    <a:pt x="61" y="26"/>
                  </a:lnTo>
                  <a:lnTo>
                    <a:pt x="61" y="29"/>
                  </a:lnTo>
                  <a:lnTo>
                    <a:pt x="61" y="26"/>
                  </a:lnTo>
                  <a:lnTo>
                    <a:pt x="61" y="29"/>
                  </a:lnTo>
                  <a:lnTo>
                    <a:pt x="64" y="29"/>
                  </a:lnTo>
                  <a:lnTo>
                    <a:pt x="64" y="31"/>
                  </a:lnTo>
                  <a:lnTo>
                    <a:pt x="66" y="31"/>
                  </a:lnTo>
                  <a:lnTo>
                    <a:pt x="64" y="34"/>
                  </a:lnTo>
                  <a:lnTo>
                    <a:pt x="66" y="34"/>
                  </a:lnTo>
                  <a:lnTo>
                    <a:pt x="64" y="34"/>
                  </a:lnTo>
                  <a:lnTo>
                    <a:pt x="66" y="34"/>
                  </a:lnTo>
                  <a:lnTo>
                    <a:pt x="64" y="36"/>
                  </a:lnTo>
                  <a:lnTo>
                    <a:pt x="64" y="38"/>
                  </a:lnTo>
                  <a:lnTo>
                    <a:pt x="64" y="41"/>
                  </a:lnTo>
                  <a:lnTo>
                    <a:pt x="61" y="41"/>
                  </a:lnTo>
                  <a:lnTo>
                    <a:pt x="64" y="41"/>
                  </a:lnTo>
                  <a:lnTo>
                    <a:pt x="64" y="38"/>
                  </a:lnTo>
                  <a:lnTo>
                    <a:pt x="64" y="36"/>
                  </a:lnTo>
                  <a:lnTo>
                    <a:pt x="66" y="36"/>
                  </a:lnTo>
                  <a:lnTo>
                    <a:pt x="66" y="34"/>
                  </a:lnTo>
                  <a:lnTo>
                    <a:pt x="66" y="31"/>
                  </a:lnTo>
                  <a:lnTo>
                    <a:pt x="69" y="31"/>
                  </a:lnTo>
                  <a:lnTo>
                    <a:pt x="69" y="34"/>
                  </a:lnTo>
                  <a:lnTo>
                    <a:pt x="69" y="36"/>
                  </a:lnTo>
                  <a:lnTo>
                    <a:pt x="71" y="36"/>
                  </a:lnTo>
                  <a:lnTo>
                    <a:pt x="71" y="34"/>
                  </a:lnTo>
                  <a:lnTo>
                    <a:pt x="71" y="36"/>
                  </a:lnTo>
                  <a:lnTo>
                    <a:pt x="71" y="38"/>
                  </a:lnTo>
                  <a:lnTo>
                    <a:pt x="69" y="38"/>
                  </a:lnTo>
                  <a:lnTo>
                    <a:pt x="69" y="41"/>
                  </a:lnTo>
                  <a:lnTo>
                    <a:pt x="66" y="41"/>
                  </a:lnTo>
                  <a:lnTo>
                    <a:pt x="66" y="43"/>
                  </a:lnTo>
                  <a:lnTo>
                    <a:pt x="66" y="41"/>
                  </a:lnTo>
                  <a:lnTo>
                    <a:pt x="69" y="41"/>
                  </a:lnTo>
                  <a:lnTo>
                    <a:pt x="71" y="41"/>
                  </a:lnTo>
                  <a:lnTo>
                    <a:pt x="71" y="38"/>
                  </a:lnTo>
                  <a:lnTo>
                    <a:pt x="71" y="36"/>
                  </a:lnTo>
                  <a:lnTo>
                    <a:pt x="73" y="36"/>
                  </a:lnTo>
                  <a:lnTo>
                    <a:pt x="73" y="34"/>
                  </a:lnTo>
                  <a:lnTo>
                    <a:pt x="71" y="34"/>
                  </a:lnTo>
                  <a:lnTo>
                    <a:pt x="71" y="31"/>
                  </a:lnTo>
                  <a:lnTo>
                    <a:pt x="71" y="29"/>
                  </a:lnTo>
                  <a:lnTo>
                    <a:pt x="69" y="29"/>
                  </a:lnTo>
                  <a:lnTo>
                    <a:pt x="71" y="29"/>
                  </a:lnTo>
                  <a:lnTo>
                    <a:pt x="69" y="29"/>
                  </a:lnTo>
                  <a:lnTo>
                    <a:pt x="69" y="26"/>
                  </a:lnTo>
                  <a:lnTo>
                    <a:pt x="71" y="26"/>
                  </a:lnTo>
                  <a:lnTo>
                    <a:pt x="71" y="24"/>
                  </a:lnTo>
                  <a:lnTo>
                    <a:pt x="71" y="26"/>
                  </a:lnTo>
                  <a:lnTo>
                    <a:pt x="69" y="26"/>
                  </a:lnTo>
                  <a:lnTo>
                    <a:pt x="66" y="26"/>
                  </a:lnTo>
                  <a:lnTo>
                    <a:pt x="66" y="24"/>
                  </a:lnTo>
                  <a:lnTo>
                    <a:pt x="64" y="24"/>
                  </a:lnTo>
                  <a:lnTo>
                    <a:pt x="61" y="24"/>
                  </a:lnTo>
                  <a:lnTo>
                    <a:pt x="61" y="22"/>
                  </a:lnTo>
                  <a:lnTo>
                    <a:pt x="59" y="22"/>
                  </a:lnTo>
                  <a:lnTo>
                    <a:pt x="57" y="22"/>
                  </a:lnTo>
                  <a:lnTo>
                    <a:pt x="54" y="22"/>
                  </a:lnTo>
                  <a:lnTo>
                    <a:pt x="54" y="19"/>
                  </a:lnTo>
                  <a:lnTo>
                    <a:pt x="52" y="19"/>
                  </a:lnTo>
                  <a:lnTo>
                    <a:pt x="52" y="17"/>
                  </a:lnTo>
                  <a:lnTo>
                    <a:pt x="54" y="17"/>
                  </a:lnTo>
                  <a:lnTo>
                    <a:pt x="57" y="15"/>
                  </a:lnTo>
                  <a:lnTo>
                    <a:pt x="59" y="15"/>
                  </a:lnTo>
                  <a:lnTo>
                    <a:pt x="61" y="17"/>
                  </a:lnTo>
                  <a:lnTo>
                    <a:pt x="64" y="17"/>
                  </a:lnTo>
                  <a:lnTo>
                    <a:pt x="66" y="17"/>
                  </a:lnTo>
                  <a:lnTo>
                    <a:pt x="69" y="17"/>
                  </a:lnTo>
                  <a:lnTo>
                    <a:pt x="69" y="15"/>
                  </a:lnTo>
                  <a:lnTo>
                    <a:pt x="71" y="17"/>
                  </a:lnTo>
                  <a:lnTo>
                    <a:pt x="71" y="15"/>
                  </a:lnTo>
                  <a:lnTo>
                    <a:pt x="73" y="15"/>
                  </a:lnTo>
                  <a:lnTo>
                    <a:pt x="71" y="15"/>
                  </a:lnTo>
                  <a:lnTo>
                    <a:pt x="69" y="15"/>
                  </a:lnTo>
                  <a:lnTo>
                    <a:pt x="66" y="15"/>
                  </a:lnTo>
                  <a:lnTo>
                    <a:pt x="69" y="15"/>
                  </a:lnTo>
                  <a:lnTo>
                    <a:pt x="69" y="12"/>
                  </a:lnTo>
                  <a:lnTo>
                    <a:pt x="66" y="12"/>
                  </a:lnTo>
                  <a:lnTo>
                    <a:pt x="66" y="15"/>
                  </a:lnTo>
                  <a:lnTo>
                    <a:pt x="64" y="15"/>
                  </a:lnTo>
                  <a:lnTo>
                    <a:pt x="61" y="15"/>
                  </a:lnTo>
                  <a:lnTo>
                    <a:pt x="61" y="12"/>
                  </a:lnTo>
                  <a:lnTo>
                    <a:pt x="61" y="10"/>
                  </a:lnTo>
                  <a:lnTo>
                    <a:pt x="64" y="10"/>
                  </a:lnTo>
                  <a:lnTo>
                    <a:pt x="61" y="10"/>
                  </a:lnTo>
                  <a:lnTo>
                    <a:pt x="61" y="12"/>
                  </a:lnTo>
                  <a:lnTo>
                    <a:pt x="59" y="12"/>
                  </a:lnTo>
                  <a:lnTo>
                    <a:pt x="57" y="12"/>
                  </a:lnTo>
                  <a:lnTo>
                    <a:pt x="57" y="10"/>
                  </a:lnTo>
                  <a:lnTo>
                    <a:pt x="59" y="10"/>
                  </a:lnTo>
                  <a:lnTo>
                    <a:pt x="57" y="10"/>
                  </a:lnTo>
                  <a:lnTo>
                    <a:pt x="57" y="12"/>
                  </a:lnTo>
                  <a:lnTo>
                    <a:pt x="54" y="12"/>
                  </a:lnTo>
                  <a:lnTo>
                    <a:pt x="52" y="12"/>
                  </a:lnTo>
                  <a:lnTo>
                    <a:pt x="52" y="15"/>
                  </a:lnTo>
                  <a:lnTo>
                    <a:pt x="52" y="12"/>
                  </a:lnTo>
                  <a:lnTo>
                    <a:pt x="52" y="15"/>
                  </a:lnTo>
                  <a:lnTo>
                    <a:pt x="52" y="12"/>
                  </a:lnTo>
                  <a:lnTo>
                    <a:pt x="50" y="15"/>
                  </a:lnTo>
                  <a:lnTo>
                    <a:pt x="50" y="12"/>
                  </a:lnTo>
                  <a:lnTo>
                    <a:pt x="47" y="12"/>
                  </a:lnTo>
                  <a:lnTo>
                    <a:pt x="45" y="10"/>
                  </a:lnTo>
                  <a:lnTo>
                    <a:pt x="47" y="10"/>
                  </a:lnTo>
                  <a:lnTo>
                    <a:pt x="50" y="10"/>
                  </a:lnTo>
                  <a:lnTo>
                    <a:pt x="50" y="7"/>
                  </a:lnTo>
                  <a:lnTo>
                    <a:pt x="47" y="7"/>
                  </a:lnTo>
                  <a:lnTo>
                    <a:pt x="47" y="5"/>
                  </a:lnTo>
                  <a:lnTo>
                    <a:pt x="50" y="5"/>
                  </a:lnTo>
                  <a:lnTo>
                    <a:pt x="50" y="7"/>
                  </a:lnTo>
                  <a:lnTo>
                    <a:pt x="52" y="7"/>
                  </a:lnTo>
                  <a:lnTo>
                    <a:pt x="50" y="7"/>
                  </a:lnTo>
                  <a:lnTo>
                    <a:pt x="50" y="5"/>
                  </a:lnTo>
                  <a:lnTo>
                    <a:pt x="52" y="5"/>
                  </a:lnTo>
                  <a:lnTo>
                    <a:pt x="54" y="5"/>
                  </a:lnTo>
                  <a:lnTo>
                    <a:pt x="54" y="7"/>
                  </a:lnTo>
                  <a:lnTo>
                    <a:pt x="57" y="7"/>
                  </a:lnTo>
                  <a:lnTo>
                    <a:pt x="57" y="5"/>
                  </a:lnTo>
                  <a:lnTo>
                    <a:pt x="54" y="5"/>
                  </a:lnTo>
                  <a:lnTo>
                    <a:pt x="52" y="5"/>
                  </a:lnTo>
                  <a:lnTo>
                    <a:pt x="52" y="3"/>
                  </a:lnTo>
                  <a:lnTo>
                    <a:pt x="54" y="3"/>
                  </a:lnTo>
                  <a:lnTo>
                    <a:pt x="57" y="5"/>
                  </a:lnTo>
                  <a:lnTo>
                    <a:pt x="59" y="5"/>
                  </a:lnTo>
                  <a:lnTo>
                    <a:pt x="61" y="7"/>
                  </a:lnTo>
                  <a:lnTo>
                    <a:pt x="64" y="7"/>
                  </a:lnTo>
                  <a:lnTo>
                    <a:pt x="64" y="5"/>
                  </a:lnTo>
                  <a:lnTo>
                    <a:pt x="64" y="3"/>
                  </a:lnTo>
                  <a:lnTo>
                    <a:pt x="66" y="3"/>
                  </a:lnTo>
                  <a:lnTo>
                    <a:pt x="66" y="5"/>
                  </a:lnTo>
                  <a:lnTo>
                    <a:pt x="69" y="5"/>
                  </a:lnTo>
                  <a:lnTo>
                    <a:pt x="69" y="7"/>
                  </a:lnTo>
                  <a:lnTo>
                    <a:pt x="69" y="5"/>
                  </a:lnTo>
                  <a:lnTo>
                    <a:pt x="69" y="3"/>
                  </a:lnTo>
                  <a:lnTo>
                    <a:pt x="71" y="5"/>
                  </a:lnTo>
                  <a:lnTo>
                    <a:pt x="71" y="7"/>
                  </a:lnTo>
                  <a:lnTo>
                    <a:pt x="73" y="7"/>
                  </a:lnTo>
                  <a:lnTo>
                    <a:pt x="73" y="10"/>
                  </a:lnTo>
                  <a:lnTo>
                    <a:pt x="76" y="10"/>
                  </a:lnTo>
                  <a:lnTo>
                    <a:pt x="76" y="12"/>
                  </a:lnTo>
                  <a:lnTo>
                    <a:pt x="78" y="10"/>
                  </a:lnTo>
                  <a:lnTo>
                    <a:pt x="78" y="12"/>
                  </a:lnTo>
                  <a:lnTo>
                    <a:pt x="76" y="12"/>
                  </a:lnTo>
                  <a:lnTo>
                    <a:pt x="78" y="12"/>
                  </a:lnTo>
                  <a:lnTo>
                    <a:pt x="78" y="15"/>
                  </a:lnTo>
                  <a:lnTo>
                    <a:pt x="76" y="15"/>
                  </a:lnTo>
                  <a:lnTo>
                    <a:pt x="78" y="15"/>
                  </a:lnTo>
                  <a:lnTo>
                    <a:pt x="80" y="15"/>
                  </a:lnTo>
                  <a:lnTo>
                    <a:pt x="78" y="17"/>
                  </a:lnTo>
                  <a:lnTo>
                    <a:pt x="80" y="17"/>
                  </a:lnTo>
                  <a:lnTo>
                    <a:pt x="80" y="15"/>
                  </a:lnTo>
                  <a:lnTo>
                    <a:pt x="83" y="15"/>
                  </a:lnTo>
                  <a:lnTo>
                    <a:pt x="80" y="15"/>
                  </a:lnTo>
                  <a:lnTo>
                    <a:pt x="83" y="17"/>
                  </a:lnTo>
                  <a:lnTo>
                    <a:pt x="83" y="15"/>
                  </a:lnTo>
                  <a:lnTo>
                    <a:pt x="85" y="15"/>
                  </a:lnTo>
                  <a:lnTo>
                    <a:pt x="85" y="17"/>
                  </a:lnTo>
                  <a:lnTo>
                    <a:pt x="88" y="17"/>
                  </a:lnTo>
                  <a:lnTo>
                    <a:pt x="85" y="17"/>
                  </a:lnTo>
                  <a:lnTo>
                    <a:pt x="85" y="19"/>
                  </a:lnTo>
                  <a:lnTo>
                    <a:pt x="88" y="17"/>
                  </a:lnTo>
                  <a:lnTo>
                    <a:pt x="88" y="19"/>
                  </a:lnTo>
                  <a:lnTo>
                    <a:pt x="90" y="19"/>
                  </a:lnTo>
                  <a:lnTo>
                    <a:pt x="92" y="19"/>
                  </a:lnTo>
                  <a:lnTo>
                    <a:pt x="92" y="22"/>
                  </a:lnTo>
                  <a:lnTo>
                    <a:pt x="95" y="22"/>
                  </a:lnTo>
                  <a:lnTo>
                    <a:pt x="92" y="22"/>
                  </a:lnTo>
                  <a:lnTo>
                    <a:pt x="92" y="24"/>
                  </a:lnTo>
                  <a:lnTo>
                    <a:pt x="95" y="24"/>
                  </a:lnTo>
                  <a:lnTo>
                    <a:pt x="92" y="24"/>
                  </a:lnTo>
                  <a:lnTo>
                    <a:pt x="92" y="26"/>
                  </a:lnTo>
                  <a:lnTo>
                    <a:pt x="95" y="26"/>
                  </a:lnTo>
                  <a:lnTo>
                    <a:pt x="97" y="26"/>
                  </a:lnTo>
                  <a:lnTo>
                    <a:pt x="97" y="29"/>
                  </a:lnTo>
                  <a:lnTo>
                    <a:pt x="95" y="29"/>
                  </a:lnTo>
                  <a:lnTo>
                    <a:pt x="97" y="29"/>
                  </a:lnTo>
                  <a:lnTo>
                    <a:pt x="97" y="26"/>
                  </a:lnTo>
                  <a:lnTo>
                    <a:pt x="99" y="26"/>
                  </a:lnTo>
                  <a:lnTo>
                    <a:pt x="102" y="26"/>
                  </a:lnTo>
                  <a:lnTo>
                    <a:pt x="102" y="29"/>
                  </a:lnTo>
                  <a:lnTo>
                    <a:pt x="99" y="29"/>
                  </a:lnTo>
                  <a:lnTo>
                    <a:pt x="99" y="26"/>
                  </a:lnTo>
                  <a:lnTo>
                    <a:pt x="99" y="29"/>
                  </a:lnTo>
                  <a:lnTo>
                    <a:pt x="102" y="29"/>
                  </a:lnTo>
                  <a:lnTo>
                    <a:pt x="104" y="29"/>
                  </a:lnTo>
                  <a:lnTo>
                    <a:pt x="107" y="29"/>
                  </a:lnTo>
                  <a:lnTo>
                    <a:pt x="107" y="31"/>
                  </a:lnTo>
                  <a:lnTo>
                    <a:pt x="104" y="31"/>
                  </a:lnTo>
                  <a:lnTo>
                    <a:pt x="102" y="31"/>
                  </a:lnTo>
                  <a:lnTo>
                    <a:pt x="99" y="31"/>
                  </a:lnTo>
                  <a:lnTo>
                    <a:pt x="97" y="34"/>
                  </a:lnTo>
                  <a:lnTo>
                    <a:pt x="99" y="34"/>
                  </a:lnTo>
                  <a:lnTo>
                    <a:pt x="102" y="34"/>
                  </a:lnTo>
                  <a:lnTo>
                    <a:pt x="104" y="31"/>
                  </a:lnTo>
                  <a:lnTo>
                    <a:pt x="104" y="34"/>
                  </a:lnTo>
                  <a:lnTo>
                    <a:pt x="102" y="34"/>
                  </a:lnTo>
                  <a:lnTo>
                    <a:pt x="104" y="34"/>
                  </a:lnTo>
                  <a:lnTo>
                    <a:pt x="107" y="34"/>
                  </a:lnTo>
                  <a:lnTo>
                    <a:pt x="109" y="34"/>
                  </a:lnTo>
                  <a:lnTo>
                    <a:pt x="109" y="36"/>
                  </a:lnTo>
                  <a:lnTo>
                    <a:pt x="107" y="38"/>
                  </a:lnTo>
                  <a:lnTo>
                    <a:pt x="109" y="38"/>
                  </a:lnTo>
                  <a:lnTo>
                    <a:pt x="107" y="38"/>
                  </a:lnTo>
                  <a:lnTo>
                    <a:pt x="109" y="41"/>
                  </a:lnTo>
                  <a:lnTo>
                    <a:pt x="107" y="41"/>
                  </a:lnTo>
                  <a:lnTo>
                    <a:pt x="104" y="43"/>
                  </a:lnTo>
                  <a:lnTo>
                    <a:pt x="102" y="43"/>
                  </a:lnTo>
                  <a:lnTo>
                    <a:pt x="104" y="43"/>
                  </a:lnTo>
                  <a:lnTo>
                    <a:pt x="104" y="46"/>
                  </a:lnTo>
                  <a:lnTo>
                    <a:pt x="107" y="46"/>
                  </a:lnTo>
                  <a:lnTo>
                    <a:pt x="104" y="46"/>
                  </a:lnTo>
                  <a:lnTo>
                    <a:pt x="104" y="48"/>
                  </a:lnTo>
                  <a:lnTo>
                    <a:pt x="102" y="48"/>
                  </a:lnTo>
                  <a:lnTo>
                    <a:pt x="104" y="48"/>
                  </a:lnTo>
                  <a:lnTo>
                    <a:pt x="102" y="48"/>
                  </a:lnTo>
                  <a:lnTo>
                    <a:pt x="99" y="48"/>
                  </a:lnTo>
                  <a:lnTo>
                    <a:pt x="97" y="48"/>
                  </a:lnTo>
                  <a:lnTo>
                    <a:pt x="97" y="46"/>
                  </a:lnTo>
                  <a:lnTo>
                    <a:pt x="95" y="46"/>
                  </a:lnTo>
                  <a:lnTo>
                    <a:pt x="95" y="43"/>
                  </a:lnTo>
                  <a:lnTo>
                    <a:pt x="92" y="43"/>
                  </a:lnTo>
                  <a:lnTo>
                    <a:pt x="95" y="46"/>
                  </a:lnTo>
                  <a:lnTo>
                    <a:pt x="95" y="48"/>
                  </a:lnTo>
                  <a:lnTo>
                    <a:pt x="95" y="50"/>
                  </a:lnTo>
                  <a:lnTo>
                    <a:pt x="97" y="50"/>
                  </a:lnTo>
                  <a:lnTo>
                    <a:pt x="99" y="50"/>
                  </a:lnTo>
                  <a:lnTo>
                    <a:pt x="102" y="50"/>
                  </a:lnTo>
                  <a:lnTo>
                    <a:pt x="104" y="50"/>
                  </a:lnTo>
                  <a:lnTo>
                    <a:pt x="104" y="53"/>
                  </a:lnTo>
                  <a:lnTo>
                    <a:pt x="102" y="53"/>
                  </a:lnTo>
                  <a:lnTo>
                    <a:pt x="102" y="55"/>
                  </a:lnTo>
                  <a:lnTo>
                    <a:pt x="104" y="55"/>
                  </a:lnTo>
                  <a:lnTo>
                    <a:pt x="104" y="53"/>
                  </a:lnTo>
                  <a:lnTo>
                    <a:pt x="107" y="53"/>
                  </a:lnTo>
                  <a:lnTo>
                    <a:pt x="107" y="55"/>
                  </a:lnTo>
                  <a:lnTo>
                    <a:pt x="107" y="57"/>
                  </a:lnTo>
                  <a:lnTo>
                    <a:pt x="104" y="60"/>
                  </a:lnTo>
                  <a:lnTo>
                    <a:pt x="102" y="60"/>
                  </a:lnTo>
                  <a:lnTo>
                    <a:pt x="102" y="62"/>
                  </a:lnTo>
                  <a:lnTo>
                    <a:pt x="104" y="62"/>
                  </a:lnTo>
                  <a:lnTo>
                    <a:pt x="107" y="60"/>
                  </a:lnTo>
                  <a:lnTo>
                    <a:pt x="109" y="60"/>
                  </a:lnTo>
                  <a:lnTo>
                    <a:pt x="109" y="62"/>
                  </a:lnTo>
                  <a:lnTo>
                    <a:pt x="111" y="62"/>
                  </a:lnTo>
                  <a:lnTo>
                    <a:pt x="109" y="62"/>
                  </a:lnTo>
                  <a:lnTo>
                    <a:pt x="111" y="62"/>
                  </a:lnTo>
                  <a:lnTo>
                    <a:pt x="111" y="65"/>
                  </a:lnTo>
                  <a:lnTo>
                    <a:pt x="111" y="67"/>
                  </a:lnTo>
                  <a:lnTo>
                    <a:pt x="111" y="69"/>
                  </a:lnTo>
                  <a:lnTo>
                    <a:pt x="111" y="72"/>
                  </a:lnTo>
                  <a:lnTo>
                    <a:pt x="114" y="72"/>
                  </a:lnTo>
                  <a:lnTo>
                    <a:pt x="114" y="74"/>
                  </a:lnTo>
                  <a:lnTo>
                    <a:pt x="114" y="76"/>
                  </a:lnTo>
                  <a:lnTo>
                    <a:pt x="114" y="79"/>
                  </a:lnTo>
                  <a:lnTo>
                    <a:pt x="116" y="79"/>
                  </a:lnTo>
                  <a:lnTo>
                    <a:pt x="114" y="79"/>
                  </a:lnTo>
                  <a:lnTo>
                    <a:pt x="116" y="79"/>
                  </a:lnTo>
                  <a:lnTo>
                    <a:pt x="116" y="76"/>
                  </a:lnTo>
                  <a:lnTo>
                    <a:pt x="114" y="74"/>
                  </a:lnTo>
                  <a:lnTo>
                    <a:pt x="114" y="72"/>
                  </a:lnTo>
                  <a:lnTo>
                    <a:pt x="114" y="69"/>
                  </a:lnTo>
                  <a:lnTo>
                    <a:pt x="116" y="69"/>
                  </a:lnTo>
                  <a:lnTo>
                    <a:pt x="116" y="67"/>
                  </a:lnTo>
                  <a:lnTo>
                    <a:pt x="114" y="67"/>
                  </a:lnTo>
                  <a:lnTo>
                    <a:pt x="116" y="67"/>
                  </a:lnTo>
                  <a:lnTo>
                    <a:pt x="114" y="67"/>
                  </a:lnTo>
                  <a:lnTo>
                    <a:pt x="114" y="65"/>
                  </a:lnTo>
                  <a:lnTo>
                    <a:pt x="114" y="62"/>
                  </a:lnTo>
                  <a:lnTo>
                    <a:pt x="116" y="62"/>
                  </a:lnTo>
                  <a:lnTo>
                    <a:pt x="116" y="65"/>
                  </a:lnTo>
                  <a:lnTo>
                    <a:pt x="118" y="65"/>
                  </a:lnTo>
                  <a:lnTo>
                    <a:pt x="118" y="67"/>
                  </a:lnTo>
                  <a:lnTo>
                    <a:pt x="121" y="67"/>
                  </a:lnTo>
                  <a:lnTo>
                    <a:pt x="118" y="65"/>
                  </a:lnTo>
                  <a:lnTo>
                    <a:pt x="118" y="62"/>
                  </a:lnTo>
                  <a:lnTo>
                    <a:pt x="118" y="60"/>
                  </a:lnTo>
                  <a:lnTo>
                    <a:pt x="118" y="57"/>
                  </a:lnTo>
                  <a:lnTo>
                    <a:pt x="118" y="55"/>
                  </a:lnTo>
                  <a:lnTo>
                    <a:pt x="121" y="53"/>
                  </a:lnTo>
                  <a:lnTo>
                    <a:pt x="123" y="53"/>
                  </a:lnTo>
                  <a:lnTo>
                    <a:pt x="123" y="50"/>
                  </a:lnTo>
                  <a:lnTo>
                    <a:pt x="125" y="50"/>
                  </a:lnTo>
                  <a:lnTo>
                    <a:pt x="125" y="48"/>
                  </a:lnTo>
                  <a:lnTo>
                    <a:pt x="128" y="48"/>
                  </a:lnTo>
                  <a:lnTo>
                    <a:pt x="130" y="48"/>
                  </a:lnTo>
                  <a:lnTo>
                    <a:pt x="130" y="50"/>
                  </a:lnTo>
                  <a:lnTo>
                    <a:pt x="130" y="53"/>
                  </a:lnTo>
                  <a:lnTo>
                    <a:pt x="128" y="55"/>
                  </a:lnTo>
                  <a:lnTo>
                    <a:pt x="128" y="57"/>
                  </a:lnTo>
                  <a:lnTo>
                    <a:pt x="130" y="57"/>
                  </a:lnTo>
                  <a:lnTo>
                    <a:pt x="130" y="55"/>
                  </a:lnTo>
                  <a:lnTo>
                    <a:pt x="133" y="55"/>
                  </a:lnTo>
                  <a:lnTo>
                    <a:pt x="130" y="55"/>
                  </a:lnTo>
                  <a:lnTo>
                    <a:pt x="130" y="57"/>
                  </a:lnTo>
                  <a:lnTo>
                    <a:pt x="133" y="57"/>
                  </a:lnTo>
                  <a:lnTo>
                    <a:pt x="133" y="60"/>
                  </a:lnTo>
                  <a:lnTo>
                    <a:pt x="135" y="60"/>
                  </a:lnTo>
                  <a:lnTo>
                    <a:pt x="135" y="57"/>
                  </a:lnTo>
                  <a:lnTo>
                    <a:pt x="137" y="57"/>
                  </a:lnTo>
                  <a:lnTo>
                    <a:pt x="135" y="55"/>
                  </a:lnTo>
                  <a:lnTo>
                    <a:pt x="133" y="55"/>
                  </a:lnTo>
                  <a:lnTo>
                    <a:pt x="135" y="55"/>
                  </a:lnTo>
                  <a:lnTo>
                    <a:pt x="133" y="55"/>
                  </a:lnTo>
                  <a:lnTo>
                    <a:pt x="133" y="53"/>
                  </a:lnTo>
                  <a:lnTo>
                    <a:pt x="133" y="55"/>
                  </a:lnTo>
                  <a:lnTo>
                    <a:pt x="135" y="55"/>
                  </a:lnTo>
                  <a:lnTo>
                    <a:pt x="135" y="53"/>
                  </a:lnTo>
                  <a:lnTo>
                    <a:pt x="133" y="53"/>
                  </a:lnTo>
                  <a:lnTo>
                    <a:pt x="135" y="53"/>
                  </a:lnTo>
                  <a:lnTo>
                    <a:pt x="137" y="53"/>
                  </a:lnTo>
                  <a:lnTo>
                    <a:pt x="137" y="55"/>
                  </a:lnTo>
                  <a:lnTo>
                    <a:pt x="137" y="53"/>
                  </a:lnTo>
                  <a:lnTo>
                    <a:pt x="137" y="55"/>
                  </a:lnTo>
                  <a:lnTo>
                    <a:pt x="137" y="53"/>
                  </a:lnTo>
                  <a:lnTo>
                    <a:pt x="140" y="53"/>
                  </a:lnTo>
                  <a:lnTo>
                    <a:pt x="140" y="50"/>
                  </a:lnTo>
                  <a:lnTo>
                    <a:pt x="140" y="48"/>
                  </a:lnTo>
                  <a:lnTo>
                    <a:pt x="142" y="48"/>
                  </a:lnTo>
                  <a:lnTo>
                    <a:pt x="142" y="46"/>
                  </a:lnTo>
                  <a:lnTo>
                    <a:pt x="142" y="43"/>
                  </a:lnTo>
                  <a:lnTo>
                    <a:pt x="140" y="43"/>
                  </a:lnTo>
                  <a:lnTo>
                    <a:pt x="142" y="43"/>
                  </a:lnTo>
                  <a:lnTo>
                    <a:pt x="140" y="43"/>
                  </a:lnTo>
                  <a:lnTo>
                    <a:pt x="142" y="43"/>
                  </a:lnTo>
                  <a:lnTo>
                    <a:pt x="140" y="43"/>
                  </a:lnTo>
                  <a:lnTo>
                    <a:pt x="140" y="41"/>
                  </a:lnTo>
                  <a:lnTo>
                    <a:pt x="140" y="38"/>
                  </a:lnTo>
                  <a:lnTo>
                    <a:pt x="140" y="36"/>
                  </a:lnTo>
                  <a:lnTo>
                    <a:pt x="137" y="36"/>
                  </a:lnTo>
                  <a:lnTo>
                    <a:pt x="137" y="34"/>
                  </a:lnTo>
                  <a:lnTo>
                    <a:pt x="137" y="31"/>
                  </a:lnTo>
                  <a:lnTo>
                    <a:pt x="137" y="29"/>
                  </a:lnTo>
                  <a:lnTo>
                    <a:pt x="135" y="29"/>
                  </a:lnTo>
                  <a:lnTo>
                    <a:pt x="137" y="29"/>
                  </a:lnTo>
                  <a:lnTo>
                    <a:pt x="137" y="26"/>
                  </a:lnTo>
                  <a:lnTo>
                    <a:pt x="137" y="24"/>
                  </a:lnTo>
                  <a:lnTo>
                    <a:pt x="137" y="26"/>
                  </a:lnTo>
                  <a:lnTo>
                    <a:pt x="137" y="24"/>
                  </a:lnTo>
                  <a:lnTo>
                    <a:pt x="137" y="26"/>
                  </a:lnTo>
                  <a:lnTo>
                    <a:pt x="140" y="26"/>
                  </a:lnTo>
                  <a:lnTo>
                    <a:pt x="137" y="26"/>
                  </a:lnTo>
                  <a:lnTo>
                    <a:pt x="140" y="26"/>
                  </a:lnTo>
                  <a:lnTo>
                    <a:pt x="140" y="24"/>
                  </a:lnTo>
                  <a:lnTo>
                    <a:pt x="142" y="24"/>
                  </a:lnTo>
                  <a:lnTo>
                    <a:pt x="144" y="24"/>
                  </a:lnTo>
                  <a:lnTo>
                    <a:pt x="147" y="24"/>
                  </a:lnTo>
                  <a:lnTo>
                    <a:pt x="147" y="26"/>
                  </a:lnTo>
                  <a:lnTo>
                    <a:pt x="149" y="26"/>
                  </a:lnTo>
                  <a:lnTo>
                    <a:pt x="149" y="29"/>
                  </a:lnTo>
                  <a:lnTo>
                    <a:pt x="152" y="29"/>
                  </a:lnTo>
                  <a:lnTo>
                    <a:pt x="152" y="31"/>
                  </a:lnTo>
                  <a:lnTo>
                    <a:pt x="154" y="31"/>
                  </a:lnTo>
                  <a:lnTo>
                    <a:pt x="152" y="31"/>
                  </a:lnTo>
                  <a:lnTo>
                    <a:pt x="152" y="34"/>
                  </a:lnTo>
                  <a:lnTo>
                    <a:pt x="154" y="34"/>
                  </a:lnTo>
                  <a:lnTo>
                    <a:pt x="154" y="36"/>
                  </a:lnTo>
                  <a:lnTo>
                    <a:pt x="156" y="36"/>
                  </a:lnTo>
                  <a:lnTo>
                    <a:pt x="159" y="36"/>
                  </a:lnTo>
                  <a:lnTo>
                    <a:pt x="159" y="38"/>
                  </a:lnTo>
                  <a:lnTo>
                    <a:pt x="161" y="38"/>
                  </a:lnTo>
                  <a:lnTo>
                    <a:pt x="161" y="41"/>
                  </a:lnTo>
                  <a:lnTo>
                    <a:pt x="161" y="43"/>
                  </a:lnTo>
                  <a:lnTo>
                    <a:pt x="161" y="46"/>
                  </a:lnTo>
                  <a:lnTo>
                    <a:pt x="163" y="46"/>
                  </a:lnTo>
                  <a:lnTo>
                    <a:pt x="166" y="46"/>
                  </a:lnTo>
                  <a:lnTo>
                    <a:pt x="166" y="43"/>
                  </a:lnTo>
                  <a:lnTo>
                    <a:pt x="166" y="46"/>
                  </a:lnTo>
                  <a:lnTo>
                    <a:pt x="168" y="46"/>
                  </a:lnTo>
                  <a:lnTo>
                    <a:pt x="171" y="46"/>
                  </a:lnTo>
                  <a:lnTo>
                    <a:pt x="171" y="43"/>
                  </a:lnTo>
                  <a:lnTo>
                    <a:pt x="171" y="41"/>
                  </a:lnTo>
                  <a:lnTo>
                    <a:pt x="171" y="38"/>
                  </a:lnTo>
                  <a:lnTo>
                    <a:pt x="171" y="36"/>
                  </a:lnTo>
                  <a:lnTo>
                    <a:pt x="168" y="36"/>
                  </a:lnTo>
                  <a:lnTo>
                    <a:pt x="168" y="34"/>
                  </a:lnTo>
                  <a:lnTo>
                    <a:pt x="171" y="34"/>
                  </a:lnTo>
                  <a:lnTo>
                    <a:pt x="171" y="31"/>
                  </a:lnTo>
                  <a:lnTo>
                    <a:pt x="168" y="31"/>
                  </a:lnTo>
                  <a:lnTo>
                    <a:pt x="171" y="31"/>
                  </a:lnTo>
                  <a:lnTo>
                    <a:pt x="171" y="29"/>
                  </a:lnTo>
                  <a:lnTo>
                    <a:pt x="168" y="29"/>
                  </a:lnTo>
                  <a:lnTo>
                    <a:pt x="168" y="26"/>
                  </a:lnTo>
                  <a:lnTo>
                    <a:pt x="171" y="26"/>
                  </a:lnTo>
                  <a:lnTo>
                    <a:pt x="173" y="26"/>
                  </a:lnTo>
                  <a:lnTo>
                    <a:pt x="175" y="26"/>
                  </a:lnTo>
                  <a:lnTo>
                    <a:pt x="178" y="26"/>
                  </a:lnTo>
                  <a:lnTo>
                    <a:pt x="180" y="26"/>
                  </a:lnTo>
                  <a:lnTo>
                    <a:pt x="178" y="26"/>
                  </a:lnTo>
                  <a:lnTo>
                    <a:pt x="180" y="26"/>
                  </a:lnTo>
                  <a:lnTo>
                    <a:pt x="180" y="24"/>
                  </a:lnTo>
                  <a:lnTo>
                    <a:pt x="180" y="22"/>
                  </a:lnTo>
                  <a:lnTo>
                    <a:pt x="182" y="22"/>
                  </a:lnTo>
                  <a:lnTo>
                    <a:pt x="182" y="19"/>
                  </a:lnTo>
                  <a:lnTo>
                    <a:pt x="185" y="19"/>
                  </a:lnTo>
                  <a:lnTo>
                    <a:pt x="187" y="19"/>
                  </a:lnTo>
                  <a:lnTo>
                    <a:pt x="187" y="22"/>
                  </a:lnTo>
                  <a:lnTo>
                    <a:pt x="185" y="22"/>
                  </a:lnTo>
                  <a:lnTo>
                    <a:pt x="187" y="22"/>
                  </a:lnTo>
                  <a:lnTo>
                    <a:pt x="187" y="19"/>
                  </a:lnTo>
                  <a:lnTo>
                    <a:pt x="190" y="19"/>
                  </a:lnTo>
                  <a:lnTo>
                    <a:pt x="187" y="19"/>
                  </a:lnTo>
                  <a:lnTo>
                    <a:pt x="190" y="19"/>
                  </a:lnTo>
                  <a:lnTo>
                    <a:pt x="192" y="19"/>
                  </a:lnTo>
                  <a:lnTo>
                    <a:pt x="192" y="22"/>
                  </a:lnTo>
                  <a:lnTo>
                    <a:pt x="190" y="22"/>
                  </a:lnTo>
                  <a:lnTo>
                    <a:pt x="192" y="22"/>
                  </a:lnTo>
                  <a:lnTo>
                    <a:pt x="194" y="22"/>
                  </a:lnTo>
                  <a:lnTo>
                    <a:pt x="197" y="24"/>
                  </a:lnTo>
                  <a:lnTo>
                    <a:pt x="194" y="24"/>
                  </a:lnTo>
                  <a:lnTo>
                    <a:pt x="194" y="26"/>
                  </a:lnTo>
                  <a:lnTo>
                    <a:pt x="192" y="29"/>
                  </a:lnTo>
                  <a:lnTo>
                    <a:pt x="194" y="29"/>
                  </a:lnTo>
                  <a:lnTo>
                    <a:pt x="194" y="26"/>
                  </a:lnTo>
                  <a:lnTo>
                    <a:pt x="197" y="26"/>
                  </a:lnTo>
                  <a:lnTo>
                    <a:pt x="197" y="24"/>
                  </a:lnTo>
                  <a:lnTo>
                    <a:pt x="199" y="26"/>
                  </a:lnTo>
                  <a:lnTo>
                    <a:pt x="199" y="29"/>
                  </a:lnTo>
                  <a:lnTo>
                    <a:pt x="199" y="31"/>
                  </a:lnTo>
                  <a:lnTo>
                    <a:pt x="199" y="34"/>
                  </a:lnTo>
                  <a:lnTo>
                    <a:pt x="201" y="31"/>
                  </a:lnTo>
                  <a:lnTo>
                    <a:pt x="201" y="34"/>
                  </a:lnTo>
                  <a:lnTo>
                    <a:pt x="204" y="34"/>
                  </a:lnTo>
                  <a:lnTo>
                    <a:pt x="206" y="34"/>
                  </a:lnTo>
                  <a:lnTo>
                    <a:pt x="206" y="36"/>
                  </a:lnTo>
                  <a:lnTo>
                    <a:pt x="209" y="36"/>
                  </a:lnTo>
                  <a:lnTo>
                    <a:pt x="209" y="38"/>
                  </a:lnTo>
                  <a:lnTo>
                    <a:pt x="211" y="38"/>
                  </a:lnTo>
                  <a:lnTo>
                    <a:pt x="211" y="41"/>
                  </a:lnTo>
                  <a:lnTo>
                    <a:pt x="211" y="43"/>
                  </a:lnTo>
                  <a:lnTo>
                    <a:pt x="211" y="46"/>
                  </a:lnTo>
                  <a:lnTo>
                    <a:pt x="213" y="48"/>
                  </a:lnTo>
                  <a:lnTo>
                    <a:pt x="213" y="50"/>
                  </a:lnTo>
                  <a:lnTo>
                    <a:pt x="216" y="50"/>
                  </a:lnTo>
                  <a:lnTo>
                    <a:pt x="216" y="48"/>
                  </a:lnTo>
                  <a:lnTo>
                    <a:pt x="213" y="46"/>
                  </a:lnTo>
                  <a:lnTo>
                    <a:pt x="213" y="43"/>
                  </a:lnTo>
                  <a:lnTo>
                    <a:pt x="213" y="41"/>
                  </a:lnTo>
                  <a:lnTo>
                    <a:pt x="213" y="38"/>
                  </a:lnTo>
                  <a:lnTo>
                    <a:pt x="213" y="36"/>
                  </a:lnTo>
                  <a:lnTo>
                    <a:pt x="211" y="36"/>
                  </a:lnTo>
                  <a:lnTo>
                    <a:pt x="209" y="36"/>
                  </a:lnTo>
                  <a:lnTo>
                    <a:pt x="209" y="34"/>
                  </a:lnTo>
                  <a:lnTo>
                    <a:pt x="211" y="34"/>
                  </a:lnTo>
                  <a:lnTo>
                    <a:pt x="209" y="31"/>
                  </a:lnTo>
                  <a:lnTo>
                    <a:pt x="209" y="29"/>
                  </a:lnTo>
                  <a:lnTo>
                    <a:pt x="206" y="29"/>
                  </a:lnTo>
                  <a:lnTo>
                    <a:pt x="206" y="26"/>
                  </a:lnTo>
                  <a:lnTo>
                    <a:pt x="206" y="24"/>
                  </a:lnTo>
                  <a:lnTo>
                    <a:pt x="206" y="22"/>
                  </a:lnTo>
                  <a:lnTo>
                    <a:pt x="209" y="19"/>
                  </a:lnTo>
                  <a:lnTo>
                    <a:pt x="209" y="22"/>
                  </a:lnTo>
                  <a:lnTo>
                    <a:pt x="211" y="22"/>
                  </a:lnTo>
                  <a:lnTo>
                    <a:pt x="213" y="22"/>
                  </a:lnTo>
                  <a:lnTo>
                    <a:pt x="216" y="22"/>
                  </a:lnTo>
                  <a:lnTo>
                    <a:pt x="218" y="22"/>
                  </a:lnTo>
                  <a:lnTo>
                    <a:pt x="220" y="22"/>
                  </a:lnTo>
                  <a:lnTo>
                    <a:pt x="220" y="24"/>
                  </a:lnTo>
                  <a:lnTo>
                    <a:pt x="223" y="24"/>
                  </a:lnTo>
                  <a:lnTo>
                    <a:pt x="223" y="26"/>
                  </a:lnTo>
                  <a:lnTo>
                    <a:pt x="225" y="26"/>
                  </a:lnTo>
                  <a:lnTo>
                    <a:pt x="225" y="29"/>
                  </a:lnTo>
                  <a:lnTo>
                    <a:pt x="228" y="29"/>
                  </a:lnTo>
                  <a:lnTo>
                    <a:pt x="228" y="31"/>
                  </a:lnTo>
                  <a:lnTo>
                    <a:pt x="230" y="31"/>
                  </a:lnTo>
                  <a:lnTo>
                    <a:pt x="230" y="34"/>
                  </a:lnTo>
                  <a:lnTo>
                    <a:pt x="230" y="31"/>
                  </a:lnTo>
                  <a:lnTo>
                    <a:pt x="232" y="31"/>
                  </a:lnTo>
                  <a:lnTo>
                    <a:pt x="235" y="31"/>
                  </a:lnTo>
                  <a:lnTo>
                    <a:pt x="237" y="31"/>
                  </a:lnTo>
                  <a:lnTo>
                    <a:pt x="237" y="29"/>
                  </a:lnTo>
                  <a:lnTo>
                    <a:pt x="237" y="26"/>
                  </a:lnTo>
                  <a:lnTo>
                    <a:pt x="237" y="29"/>
                  </a:lnTo>
                  <a:lnTo>
                    <a:pt x="237" y="26"/>
                  </a:lnTo>
                  <a:lnTo>
                    <a:pt x="237" y="24"/>
                  </a:lnTo>
                  <a:lnTo>
                    <a:pt x="239" y="24"/>
                  </a:lnTo>
                  <a:lnTo>
                    <a:pt x="242" y="24"/>
                  </a:lnTo>
                  <a:lnTo>
                    <a:pt x="239" y="24"/>
                  </a:lnTo>
                  <a:lnTo>
                    <a:pt x="242" y="22"/>
                  </a:lnTo>
                  <a:lnTo>
                    <a:pt x="239" y="22"/>
                  </a:lnTo>
                  <a:lnTo>
                    <a:pt x="242" y="22"/>
                  </a:lnTo>
                  <a:lnTo>
                    <a:pt x="242" y="19"/>
                  </a:lnTo>
                  <a:lnTo>
                    <a:pt x="244" y="19"/>
                  </a:lnTo>
                  <a:lnTo>
                    <a:pt x="247" y="19"/>
                  </a:lnTo>
                  <a:lnTo>
                    <a:pt x="249" y="19"/>
                  </a:lnTo>
                  <a:lnTo>
                    <a:pt x="249" y="22"/>
                  </a:lnTo>
                  <a:lnTo>
                    <a:pt x="251" y="22"/>
                  </a:lnTo>
                  <a:lnTo>
                    <a:pt x="251" y="24"/>
                  </a:lnTo>
                  <a:lnTo>
                    <a:pt x="254" y="24"/>
                  </a:lnTo>
                  <a:lnTo>
                    <a:pt x="256" y="22"/>
                  </a:lnTo>
                  <a:lnTo>
                    <a:pt x="256" y="24"/>
                  </a:lnTo>
                  <a:lnTo>
                    <a:pt x="258" y="24"/>
                  </a:lnTo>
                  <a:lnTo>
                    <a:pt x="258" y="22"/>
                  </a:lnTo>
                  <a:lnTo>
                    <a:pt x="261" y="24"/>
                  </a:lnTo>
                  <a:lnTo>
                    <a:pt x="261" y="26"/>
                  </a:lnTo>
                  <a:lnTo>
                    <a:pt x="263" y="26"/>
                  </a:lnTo>
                  <a:lnTo>
                    <a:pt x="263" y="24"/>
                  </a:lnTo>
                  <a:lnTo>
                    <a:pt x="261" y="24"/>
                  </a:lnTo>
                  <a:lnTo>
                    <a:pt x="261" y="22"/>
                  </a:lnTo>
                  <a:lnTo>
                    <a:pt x="263" y="22"/>
                  </a:lnTo>
                  <a:lnTo>
                    <a:pt x="263" y="19"/>
                  </a:lnTo>
                  <a:lnTo>
                    <a:pt x="265" y="19"/>
                  </a:lnTo>
                  <a:lnTo>
                    <a:pt x="268" y="17"/>
                  </a:lnTo>
                  <a:lnTo>
                    <a:pt x="268" y="15"/>
                  </a:lnTo>
                  <a:lnTo>
                    <a:pt x="268" y="12"/>
                  </a:lnTo>
                  <a:lnTo>
                    <a:pt x="265" y="12"/>
                  </a:lnTo>
                  <a:lnTo>
                    <a:pt x="268" y="12"/>
                  </a:lnTo>
                  <a:lnTo>
                    <a:pt x="265" y="12"/>
                  </a:lnTo>
                  <a:lnTo>
                    <a:pt x="265" y="10"/>
                  </a:lnTo>
                  <a:lnTo>
                    <a:pt x="265" y="7"/>
                  </a:lnTo>
                  <a:lnTo>
                    <a:pt x="265" y="5"/>
                  </a:lnTo>
                  <a:lnTo>
                    <a:pt x="263" y="5"/>
                  </a:lnTo>
                  <a:lnTo>
                    <a:pt x="265" y="5"/>
                  </a:lnTo>
                  <a:lnTo>
                    <a:pt x="263" y="3"/>
                  </a:lnTo>
                  <a:lnTo>
                    <a:pt x="263" y="0"/>
                  </a:lnTo>
                  <a:lnTo>
                    <a:pt x="265" y="3"/>
                  </a:lnTo>
                  <a:lnTo>
                    <a:pt x="265" y="0"/>
                  </a:lnTo>
                  <a:lnTo>
                    <a:pt x="268" y="0"/>
                  </a:lnTo>
                  <a:lnTo>
                    <a:pt x="268" y="3"/>
                  </a:lnTo>
                  <a:lnTo>
                    <a:pt x="268" y="0"/>
                  </a:lnTo>
                  <a:lnTo>
                    <a:pt x="270" y="0"/>
                  </a:lnTo>
                  <a:lnTo>
                    <a:pt x="270" y="3"/>
                  </a:lnTo>
                  <a:lnTo>
                    <a:pt x="273" y="3"/>
                  </a:lnTo>
                  <a:lnTo>
                    <a:pt x="275" y="3"/>
                  </a:lnTo>
                  <a:lnTo>
                    <a:pt x="273" y="3"/>
                  </a:lnTo>
                  <a:lnTo>
                    <a:pt x="275" y="3"/>
                  </a:lnTo>
                  <a:lnTo>
                    <a:pt x="275" y="0"/>
                  </a:lnTo>
                  <a:lnTo>
                    <a:pt x="273" y="0"/>
                  </a:lnTo>
                  <a:lnTo>
                    <a:pt x="275" y="0"/>
                  </a:lnTo>
                  <a:lnTo>
                    <a:pt x="275" y="3"/>
                  </a:lnTo>
                  <a:lnTo>
                    <a:pt x="275" y="0"/>
                  </a:lnTo>
                  <a:lnTo>
                    <a:pt x="277" y="0"/>
                  </a:lnTo>
                  <a:lnTo>
                    <a:pt x="280" y="0"/>
                  </a:lnTo>
                  <a:lnTo>
                    <a:pt x="282" y="0"/>
                  </a:lnTo>
                  <a:lnTo>
                    <a:pt x="280" y="0"/>
                  </a:lnTo>
                  <a:lnTo>
                    <a:pt x="280" y="3"/>
                  </a:lnTo>
                  <a:lnTo>
                    <a:pt x="282" y="3"/>
                  </a:lnTo>
                  <a:lnTo>
                    <a:pt x="282" y="0"/>
                  </a:lnTo>
                  <a:lnTo>
                    <a:pt x="284" y="0"/>
                  </a:lnTo>
                  <a:lnTo>
                    <a:pt x="284" y="3"/>
                  </a:lnTo>
                  <a:lnTo>
                    <a:pt x="282" y="3"/>
                  </a:lnTo>
                  <a:lnTo>
                    <a:pt x="284" y="3"/>
                  </a:lnTo>
                  <a:lnTo>
                    <a:pt x="287" y="3"/>
                  </a:lnTo>
                  <a:lnTo>
                    <a:pt x="284" y="3"/>
                  </a:lnTo>
                  <a:lnTo>
                    <a:pt x="284" y="5"/>
                  </a:lnTo>
                  <a:lnTo>
                    <a:pt x="284" y="7"/>
                  </a:lnTo>
                  <a:lnTo>
                    <a:pt x="284" y="5"/>
                  </a:lnTo>
                  <a:lnTo>
                    <a:pt x="287" y="5"/>
                  </a:lnTo>
                  <a:lnTo>
                    <a:pt x="287" y="7"/>
                  </a:lnTo>
                  <a:lnTo>
                    <a:pt x="287" y="5"/>
                  </a:lnTo>
                  <a:lnTo>
                    <a:pt x="287" y="7"/>
                  </a:lnTo>
                  <a:lnTo>
                    <a:pt x="289" y="7"/>
                  </a:lnTo>
                  <a:lnTo>
                    <a:pt x="292" y="7"/>
                  </a:lnTo>
                  <a:lnTo>
                    <a:pt x="292" y="10"/>
                  </a:lnTo>
                  <a:lnTo>
                    <a:pt x="294" y="10"/>
                  </a:lnTo>
                  <a:lnTo>
                    <a:pt x="292" y="12"/>
                  </a:lnTo>
                  <a:lnTo>
                    <a:pt x="292" y="15"/>
                  </a:lnTo>
                  <a:lnTo>
                    <a:pt x="289" y="15"/>
                  </a:lnTo>
                  <a:lnTo>
                    <a:pt x="292" y="15"/>
                  </a:lnTo>
                  <a:lnTo>
                    <a:pt x="292" y="17"/>
                  </a:lnTo>
                  <a:lnTo>
                    <a:pt x="294" y="17"/>
                  </a:lnTo>
                  <a:lnTo>
                    <a:pt x="296" y="17"/>
                  </a:lnTo>
                  <a:lnTo>
                    <a:pt x="296" y="19"/>
                  </a:lnTo>
                  <a:lnTo>
                    <a:pt x="299" y="17"/>
                  </a:lnTo>
                  <a:lnTo>
                    <a:pt x="299" y="19"/>
                  </a:lnTo>
                  <a:lnTo>
                    <a:pt x="301" y="19"/>
                  </a:lnTo>
                  <a:lnTo>
                    <a:pt x="301" y="22"/>
                  </a:lnTo>
                  <a:lnTo>
                    <a:pt x="303" y="22"/>
                  </a:lnTo>
                  <a:lnTo>
                    <a:pt x="301" y="22"/>
                  </a:lnTo>
                  <a:lnTo>
                    <a:pt x="303" y="22"/>
                  </a:lnTo>
                  <a:lnTo>
                    <a:pt x="303" y="19"/>
                  </a:lnTo>
                  <a:lnTo>
                    <a:pt x="303" y="17"/>
                  </a:lnTo>
                  <a:lnTo>
                    <a:pt x="303" y="15"/>
                  </a:lnTo>
                  <a:lnTo>
                    <a:pt x="306" y="15"/>
                  </a:lnTo>
                  <a:lnTo>
                    <a:pt x="306" y="17"/>
                  </a:lnTo>
                  <a:lnTo>
                    <a:pt x="308" y="17"/>
                  </a:lnTo>
                  <a:lnTo>
                    <a:pt x="311" y="15"/>
                  </a:lnTo>
                  <a:lnTo>
                    <a:pt x="313" y="15"/>
                  </a:lnTo>
                  <a:lnTo>
                    <a:pt x="311" y="15"/>
                  </a:lnTo>
                  <a:lnTo>
                    <a:pt x="313" y="15"/>
                  </a:lnTo>
                  <a:lnTo>
                    <a:pt x="313" y="12"/>
                  </a:lnTo>
                  <a:lnTo>
                    <a:pt x="315" y="12"/>
                  </a:lnTo>
                  <a:lnTo>
                    <a:pt x="315" y="10"/>
                  </a:lnTo>
                  <a:lnTo>
                    <a:pt x="318" y="10"/>
                  </a:lnTo>
                  <a:lnTo>
                    <a:pt x="320" y="10"/>
                  </a:lnTo>
                  <a:lnTo>
                    <a:pt x="320" y="7"/>
                  </a:lnTo>
                  <a:lnTo>
                    <a:pt x="320" y="10"/>
                  </a:lnTo>
                  <a:lnTo>
                    <a:pt x="322" y="10"/>
                  </a:lnTo>
                  <a:lnTo>
                    <a:pt x="325" y="10"/>
                  </a:lnTo>
                  <a:lnTo>
                    <a:pt x="327" y="10"/>
                  </a:lnTo>
                  <a:lnTo>
                    <a:pt x="330" y="10"/>
                  </a:lnTo>
                  <a:lnTo>
                    <a:pt x="327" y="10"/>
                  </a:lnTo>
                  <a:lnTo>
                    <a:pt x="325" y="10"/>
                  </a:lnTo>
                  <a:lnTo>
                    <a:pt x="322" y="12"/>
                  </a:lnTo>
                  <a:lnTo>
                    <a:pt x="320" y="12"/>
                  </a:lnTo>
                  <a:lnTo>
                    <a:pt x="318" y="15"/>
                  </a:lnTo>
                  <a:lnTo>
                    <a:pt x="315" y="15"/>
                  </a:lnTo>
                  <a:lnTo>
                    <a:pt x="315" y="17"/>
                  </a:lnTo>
                  <a:lnTo>
                    <a:pt x="318" y="17"/>
                  </a:lnTo>
                  <a:lnTo>
                    <a:pt x="318" y="19"/>
                  </a:lnTo>
                  <a:lnTo>
                    <a:pt x="315" y="19"/>
                  </a:lnTo>
                  <a:lnTo>
                    <a:pt x="315" y="22"/>
                  </a:lnTo>
                  <a:lnTo>
                    <a:pt x="313" y="22"/>
                  </a:lnTo>
                  <a:lnTo>
                    <a:pt x="311" y="22"/>
                  </a:lnTo>
                  <a:lnTo>
                    <a:pt x="311" y="24"/>
                  </a:lnTo>
                  <a:lnTo>
                    <a:pt x="308" y="24"/>
                  </a:lnTo>
                  <a:lnTo>
                    <a:pt x="311" y="24"/>
                  </a:lnTo>
                  <a:lnTo>
                    <a:pt x="313" y="24"/>
                  </a:lnTo>
                  <a:lnTo>
                    <a:pt x="313" y="26"/>
                  </a:lnTo>
                  <a:lnTo>
                    <a:pt x="313" y="29"/>
                  </a:lnTo>
                  <a:lnTo>
                    <a:pt x="315" y="29"/>
                  </a:lnTo>
                  <a:lnTo>
                    <a:pt x="318" y="29"/>
                  </a:lnTo>
                  <a:lnTo>
                    <a:pt x="320" y="29"/>
                  </a:lnTo>
                  <a:lnTo>
                    <a:pt x="322" y="29"/>
                  </a:lnTo>
                  <a:lnTo>
                    <a:pt x="322" y="26"/>
                  </a:lnTo>
                  <a:lnTo>
                    <a:pt x="325" y="26"/>
                  </a:lnTo>
                  <a:lnTo>
                    <a:pt x="325" y="29"/>
                  </a:lnTo>
                  <a:lnTo>
                    <a:pt x="327" y="29"/>
                  </a:lnTo>
                  <a:lnTo>
                    <a:pt x="327" y="31"/>
                  </a:lnTo>
                  <a:lnTo>
                    <a:pt x="327" y="34"/>
                  </a:lnTo>
                  <a:lnTo>
                    <a:pt x="327" y="36"/>
                  </a:lnTo>
                  <a:lnTo>
                    <a:pt x="325" y="38"/>
                  </a:lnTo>
                  <a:lnTo>
                    <a:pt x="322" y="38"/>
                  </a:lnTo>
                  <a:lnTo>
                    <a:pt x="322" y="41"/>
                  </a:lnTo>
                  <a:lnTo>
                    <a:pt x="320" y="41"/>
                  </a:lnTo>
                  <a:lnTo>
                    <a:pt x="320" y="43"/>
                  </a:lnTo>
                  <a:lnTo>
                    <a:pt x="322" y="43"/>
                  </a:lnTo>
                  <a:lnTo>
                    <a:pt x="320" y="43"/>
                  </a:lnTo>
                  <a:lnTo>
                    <a:pt x="318" y="43"/>
                  </a:lnTo>
                  <a:lnTo>
                    <a:pt x="318" y="46"/>
                  </a:lnTo>
                  <a:lnTo>
                    <a:pt x="320" y="46"/>
                  </a:lnTo>
                  <a:lnTo>
                    <a:pt x="318" y="46"/>
                  </a:lnTo>
                  <a:lnTo>
                    <a:pt x="320" y="46"/>
                  </a:lnTo>
                  <a:lnTo>
                    <a:pt x="320" y="43"/>
                  </a:lnTo>
                  <a:lnTo>
                    <a:pt x="322" y="43"/>
                  </a:lnTo>
                  <a:lnTo>
                    <a:pt x="320" y="43"/>
                  </a:lnTo>
                  <a:lnTo>
                    <a:pt x="320" y="46"/>
                  </a:lnTo>
                  <a:lnTo>
                    <a:pt x="322" y="46"/>
                  </a:lnTo>
                  <a:lnTo>
                    <a:pt x="325" y="46"/>
                  </a:lnTo>
                  <a:lnTo>
                    <a:pt x="325" y="43"/>
                  </a:lnTo>
                  <a:lnTo>
                    <a:pt x="325" y="46"/>
                  </a:lnTo>
                  <a:lnTo>
                    <a:pt x="327" y="46"/>
                  </a:lnTo>
                  <a:lnTo>
                    <a:pt x="327" y="43"/>
                  </a:lnTo>
                  <a:lnTo>
                    <a:pt x="330" y="43"/>
                  </a:lnTo>
                  <a:lnTo>
                    <a:pt x="332" y="43"/>
                  </a:lnTo>
                  <a:lnTo>
                    <a:pt x="334" y="43"/>
                  </a:lnTo>
                  <a:lnTo>
                    <a:pt x="337" y="43"/>
                  </a:lnTo>
                  <a:lnTo>
                    <a:pt x="337" y="46"/>
                  </a:lnTo>
                  <a:lnTo>
                    <a:pt x="334" y="46"/>
                  </a:lnTo>
                  <a:lnTo>
                    <a:pt x="337" y="48"/>
                  </a:lnTo>
                  <a:lnTo>
                    <a:pt x="337" y="50"/>
                  </a:lnTo>
                  <a:lnTo>
                    <a:pt x="334" y="53"/>
                  </a:lnTo>
                  <a:lnTo>
                    <a:pt x="332" y="53"/>
                  </a:lnTo>
                  <a:lnTo>
                    <a:pt x="332" y="55"/>
                  </a:lnTo>
                  <a:lnTo>
                    <a:pt x="332" y="57"/>
                  </a:lnTo>
                  <a:lnTo>
                    <a:pt x="330" y="57"/>
                  </a:lnTo>
                  <a:lnTo>
                    <a:pt x="330" y="60"/>
                  </a:lnTo>
                  <a:lnTo>
                    <a:pt x="330" y="62"/>
                  </a:lnTo>
                  <a:lnTo>
                    <a:pt x="330" y="60"/>
                  </a:lnTo>
                  <a:lnTo>
                    <a:pt x="330" y="57"/>
                  </a:lnTo>
                  <a:lnTo>
                    <a:pt x="332" y="57"/>
                  </a:lnTo>
                  <a:lnTo>
                    <a:pt x="332" y="55"/>
                  </a:lnTo>
                  <a:lnTo>
                    <a:pt x="334" y="55"/>
                  </a:lnTo>
                  <a:lnTo>
                    <a:pt x="334" y="53"/>
                  </a:lnTo>
                  <a:lnTo>
                    <a:pt x="337" y="53"/>
                  </a:lnTo>
                  <a:lnTo>
                    <a:pt x="337" y="50"/>
                  </a:lnTo>
                  <a:lnTo>
                    <a:pt x="339" y="50"/>
                  </a:lnTo>
                  <a:lnTo>
                    <a:pt x="341" y="50"/>
                  </a:lnTo>
                  <a:lnTo>
                    <a:pt x="341" y="53"/>
                  </a:lnTo>
                  <a:lnTo>
                    <a:pt x="339" y="53"/>
                  </a:lnTo>
                  <a:lnTo>
                    <a:pt x="341" y="53"/>
                  </a:lnTo>
                  <a:lnTo>
                    <a:pt x="339" y="53"/>
                  </a:lnTo>
                  <a:lnTo>
                    <a:pt x="339" y="55"/>
                  </a:lnTo>
                  <a:lnTo>
                    <a:pt x="337" y="55"/>
                  </a:lnTo>
                  <a:lnTo>
                    <a:pt x="337" y="57"/>
                  </a:lnTo>
                  <a:lnTo>
                    <a:pt x="337" y="60"/>
                  </a:lnTo>
                  <a:lnTo>
                    <a:pt x="334" y="60"/>
                  </a:lnTo>
                  <a:lnTo>
                    <a:pt x="337" y="62"/>
                  </a:lnTo>
                  <a:lnTo>
                    <a:pt x="334" y="62"/>
                  </a:lnTo>
                  <a:lnTo>
                    <a:pt x="337" y="62"/>
                  </a:lnTo>
                  <a:lnTo>
                    <a:pt x="334" y="62"/>
                  </a:lnTo>
                  <a:lnTo>
                    <a:pt x="334" y="65"/>
                  </a:lnTo>
                  <a:lnTo>
                    <a:pt x="334" y="67"/>
                  </a:lnTo>
                  <a:lnTo>
                    <a:pt x="334" y="69"/>
                  </a:lnTo>
                  <a:lnTo>
                    <a:pt x="334" y="72"/>
                  </a:lnTo>
                  <a:lnTo>
                    <a:pt x="332" y="72"/>
                  </a:lnTo>
                  <a:lnTo>
                    <a:pt x="332" y="74"/>
                  </a:lnTo>
                  <a:lnTo>
                    <a:pt x="330" y="74"/>
                  </a:lnTo>
                  <a:lnTo>
                    <a:pt x="330" y="76"/>
                  </a:lnTo>
                  <a:lnTo>
                    <a:pt x="327" y="76"/>
                  </a:lnTo>
                  <a:lnTo>
                    <a:pt x="325" y="76"/>
                  </a:lnTo>
                  <a:lnTo>
                    <a:pt x="325" y="79"/>
                  </a:lnTo>
                  <a:lnTo>
                    <a:pt x="322" y="79"/>
                  </a:lnTo>
                  <a:lnTo>
                    <a:pt x="322" y="81"/>
                  </a:lnTo>
                  <a:lnTo>
                    <a:pt x="320" y="81"/>
                  </a:lnTo>
                  <a:lnTo>
                    <a:pt x="320" y="84"/>
                  </a:lnTo>
                  <a:lnTo>
                    <a:pt x="318" y="84"/>
                  </a:lnTo>
                  <a:lnTo>
                    <a:pt x="318" y="86"/>
                  </a:lnTo>
                  <a:lnTo>
                    <a:pt x="315" y="86"/>
                  </a:lnTo>
                  <a:lnTo>
                    <a:pt x="318" y="86"/>
                  </a:lnTo>
                  <a:lnTo>
                    <a:pt x="318" y="84"/>
                  </a:lnTo>
                  <a:lnTo>
                    <a:pt x="320" y="84"/>
                  </a:lnTo>
                  <a:lnTo>
                    <a:pt x="322" y="84"/>
                  </a:lnTo>
                  <a:lnTo>
                    <a:pt x="322" y="81"/>
                  </a:lnTo>
                  <a:lnTo>
                    <a:pt x="325" y="81"/>
                  </a:lnTo>
                  <a:lnTo>
                    <a:pt x="325" y="79"/>
                  </a:lnTo>
                  <a:lnTo>
                    <a:pt x="327" y="79"/>
                  </a:lnTo>
                  <a:lnTo>
                    <a:pt x="327" y="76"/>
                  </a:lnTo>
                  <a:lnTo>
                    <a:pt x="330" y="76"/>
                  </a:lnTo>
                  <a:lnTo>
                    <a:pt x="330" y="74"/>
                  </a:lnTo>
                  <a:lnTo>
                    <a:pt x="332" y="74"/>
                  </a:lnTo>
                  <a:lnTo>
                    <a:pt x="332" y="72"/>
                  </a:lnTo>
                  <a:lnTo>
                    <a:pt x="334" y="72"/>
                  </a:lnTo>
                  <a:lnTo>
                    <a:pt x="334" y="69"/>
                  </a:lnTo>
                  <a:lnTo>
                    <a:pt x="334" y="67"/>
                  </a:lnTo>
                  <a:lnTo>
                    <a:pt x="337" y="67"/>
                  </a:lnTo>
                  <a:lnTo>
                    <a:pt x="334" y="67"/>
                  </a:lnTo>
                  <a:lnTo>
                    <a:pt x="337" y="65"/>
                  </a:lnTo>
                  <a:lnTo>
                    <a:pt x="337" y="62"/>
                  </a:lnTo>
                  <a:lnTo>
                    <a:pt x="337" y="60"/>
                  </a:lnTo>
                  <a:lnTo>
                    <a:pt x="337" y="57"/>
                  </a:lnTo>
                  <a:lnTo>
                    <a:pt x="337" y="55"/>
                  </a:lnTo>
                  <a:lnTo>
                    <a:pt x="339" y="55"/>
                  </a:lnTo>
                  <a:lnTo>
                    <a:pt x="339" y="53"/>
                  </a:lnTo>
                  <a:lnTo>
                    <a:pt x="341" y="53"/>
                  </a:lnTo>
                  <a:lnTo>
                    <a:pt x="339" y="53"/>
                  </a:lnTo>
                  <a:lnTo>
                    <a:pt x="341" y="53"/>
                  </a:lnTo>
                  <a:lnTo>
                    <a:pt x="344" y="53"/>
                  </a:lnTo>
                  <a:lnTo>
                    <a:pt x="346" y="53"/>
                  </a:lnTo>
                  <a:lnTo>
                    <a:pt x="346" y="55"/>
                  </a:lnTo>
                  <a:lnTo>
                    <a:pt x="349" y="55"/>
                  </a:lnTo>
                  <a:lnTo>
                    <a:pt x="349" y="53"/>
                  </a:lnTo>
                  <a:lnTo>
                    <a:pt x="351" y="53"/>
                  </a:lnTo>
                  <a:lnTo>
                    <a:pt x="353" y="53"/>
                  </a:lnTo>
                  <a:lnTo>
                    <a:pt x="353" y="55"/>
                  </a:lnTo>
                  <a:lnTo>
                    <a:pt x="351" y="55"/>
                  </a:lnTo>
                  <a:lnTo>
                    <a:pt x="353" y="55"/>
                  </a:lnTo>
                  <a:lnTo>
                    <a:pt x="353" y="57"/>
                  </a:lnTo>
                  <a:lnTo>
                    <a:pt x="356" y="57"/>
                  </a:lnTo>
                  <a:lnTo>
                    <a:pt x="356" y="55"/>
                  </a:lnTo>
                  <a:lnTo>
                    <a:pt x="358" y="55"/>
                  </a:lnTo>
                  <a:lnTo>
                    <a:pt x="358" y="57"/>
                  </a:lnTo>
                  <a:lnTo>
                    <a:pt x="360" y="57"/>
                  </a:lnTo>
                  <a:lnTo>
                    <a:pt x="360" y="60"/>
                  </a:lnTo>
                  <a:lnTo>
                    <a:pt x="360" y="62"/>
                  </a:lnTo>
                  <a:lnTo>
                    <a:pt x="360" y="65"/>
                  </a:lnTo>
                  <a:lnTo>
                    <a:pt x="358" y="65"/>
                  </a:lnTo>
                  <a:lnTo>
                    <a:pt x="360" y="65"/>
                  </a:lnTo>
                  <a:lnTo>
                    <a:pt x="358" y="65"/>
                  </a:lnTo>
                  <a:lnTo>
                    <a:pt x="358" y="67"/>
                  </a:lnTo>
                  <a:lnTo>
                    <a:pt x="356" y="67"/>
                  </a:lnTo>
                  <a:lnTo>
                    <a:pt x="353" y="67"/>
                  </a:lnTo>
                  <a:lnTo>
                    <a:pt x="356" y="67"/>
                  </a:lnTo>
                  <a:lnTo>
                    <a:pt x="358" y="67"/>
                  </a:lnTo>
                  <a:lnTo>
                    <a:pt x="358" y="69"/>
                  </a:lnTo>
                  <a:lnTo>
                    <a:pt x="356" y="69"/>
                  </a:lnTo>
                  <a:lnTo>
                    <a:pt x="353" y="69"/>
                  </a:lnTo>
                  <a:lnTo>
                    <a:pt x="351" y="69"/>
                  </a:lnTo>
                  <a:lnTo>
                    <a:pt x="351" y="72"/>
                  </a:lnTo>
                  <a:lnTo>
                    <a:pt x="349" y="72"/>
                  </a:lnTo>
                  <a:lnTo>
                    <a:pt x="351" y="72"/>
                  </a:lnTo>
                  <a:lnTo>
                    <a:pt x="353" y="72"/>
                  </a:lnTo>
                  <a:lnTo>
                    <a:pt x="353" y="69"/>
                  </a:lnTo>
                  <a:lnTo>
                    <a:pt x="356" y="72"/>
                  </a:lnTo>
                  <a:lnTo>
                    <a:pt x="358" y="72"/>
                  </a:lnTo>
                  <a:lnTo>
                    <a:pt x="358" y="69"/>
                  </a:lnTo>
                  <a:lnTo>
                    <a:pt x="360" y="72"/>
                  </a:lnTo>
                  <a:lnTo>
                    <a:pt x="363" y="72"/>
                  </a:lnTo>
                  <a:lnTo>
                    <a:pt x="360" y="72"/>
                  </a:lnTo>
                  <a:lnTo>
                    <a:pt x="360" y="74"/>
                  </a:lnTo>
                  <a:lnTo>
                    <a:pt x="358" y="74"/>
                  </a:lnTo>
                  <a:lnTo>
                    <a:pt x="356" y="76"/>
                  </a:lnTo>
                  <a:lnTo>
                    <a:pt x="353" y="76"/>
                  </a:lnTo>
                  <a:lnTo>
                    <a:pt x="351" y="74"/>
                  </a:lnTo>
                  <a:lnTo>
                    <a:pt x="351" y="76"/>
                  </a:lnTo>
                  <a:lnTo>
                    <a:pt x="349" y="76"/>
                  </a:lnTo>
                  <a:lnTo>
                    <a:pt x="351" y="76"/>
                  </a:lnTo>
                  <a:lnTo>
                    <a:pt x="353" y="76"/>
                  </a:lnTo>
                  <a:lnTo>
                    <a:pt x="356" y="76"/>
                  </a:lnTo>
                  <a:lnTo>
                    <a:pt x="358" y="76"/>
                  </a:lnTo>
                  <a:lnTo>
                    <a:pt x="360" y="76"/>
                  </a:lnTo>
                  <a:lnTo>
                    <a:pt x="360" y="79"/>
                  </a:lnTo>
                  <a:lnTo>
                    <a:pt x="358" y="79"/>
                  </a:lnTo>
                  <a:lnTo>
                    <a:pt x="356" y="79"/>
                  </a:lnTo>
                  <a:lnTo>
                    <a:pt x="358" y="79"/>
                  </a:lnTo>
                  <a:lnTo>
                    <a:pt x="360" y="79"/>
                  </a:lnTo>
                  <a:lnTo>
                    <a:pt x="358" y="81"/>
                  </a:lnTo>
                  <a:lnTo>
                    <a:pt x="360" y="81"/>
                  </a:lnTo>
                  <a:lnTo>
                    <a:pt x="363" y="79"/>
                  </a:lnTo>
                  <a:lnTo>
                    <a:pt x="363" y="76"/>
                  </a:lnTo>
                  <a:lnTo>
                    <a:pt x="365" y="76"/>
                  </a:lnTo>
                  <a:lnTo>
                    <a:pt x="365" y="79"/>
                  </a:lnTo>
                  <a:lnTo>
                    <a:pt x="363" y="79"/>
                  </a:lnTo>
                  <a:lnTo>
                    <a:pt x="363" y="81"/>
                  </a:lnTo>
                  <a:lnTo>
                    <a:pt x="365" y="81"/>
                  </a:lnTo>
                  <a:lnTo>
                    <a:pt x="365" y="84"/>
                  </a:lnTo>
                  <a:lnTo>
                    <a:pt x="363" y="84"/>
                  </a:lnTo>
                  <a:lnTo>
                    <a:pt x="363" y="86"/>
                  </a:lnTo>
                  <a:lnTo>
                    <a:pt x="360" y="84"/>
                  </a:lnTo>
                  <a:lnTo>
                    <a:pt x="360" y="86"/>
                  </a:lnTo>
                  <a:lnTo>
                    <a:pt x="360" y="88"/>
                  </a:lnTo>
                  <a:lnTo>
                    <a:pt x="358" y="88"/>
                  </a:lnTo>
                  <a:lnTo>
                    <a:pt x="356" y="88"/>
                  </a:lnTo>
                  <a:lnTo>
                    <a:pt x="356" y="86"/>
                  </a:lnTo>
                  <a:lnTo>
                    <a:pt x="353" y="86"/>
                  </a:lnTo>
                  <a:lnTo>
                    <a:pt x="351" y="84"/>
                  </a:lnTo>
                  <a:lnTo>
                    <a:pt x="349" y="84"/>
                  </a:lnTo>
                  <a:lnTo>
                    <a:pt x="346" y="84"/>
                  </a:lnTo>
                  <a:lnTo>
                    <a:pt x="349" y="84"/>
                  </a:lnTo>
                  <a:lnTo>
                    <a:pt x="346" y="84"/>
                  </a:lnTo>
                  <a:lnTo>
                    <a:pt x="344" y="86"/>
                  </a:lnTo>
                  <a:lnTo>
                    <a:pt x="341" y="86"/>
                  </a:lnTo>
                  <a:lnTo>
                    <a:pt x="339" y="86"/>
                  </a:lnTo>
                  <a:lnTo>
                    <a:pt x="341" y="86"/>
                  </a:lnTo>
                  <a:lnTo>
                    <a:pt x="344" y="86"/>
                  </a:lnTo>
                  <a:lnTo>
                    <a:pt x="346" y="86"/>
                  </a:lnTo>
                  <a:lnTo>
                    <a:pt x="349" y="86"/>
                  </a:lnTo>
                  <a:lnTo>
                    <a:pt x="351" y="86"/>
                  </a:lnTo>
                  <a:lnTo>
                    <a:pt x="351" y="88"/>
                  </a:lnTo>
                  <a:lnTo>
                    <a:pt x="353" y="88"/>
                  </a:lnTo>
                  <a:lnTo>
                    <a:pt x="351" y="88"/>
                  </a:lnTo>
                  <a:lnTo>
                    <a:pt x="353" y="88"/>
                  </a:lnTo>
                  <a:lnTo>
                    <a:pt x="356" y="91"/>
                  </a:lnTo>
                  <a:lnTo>
                    <a:pt x="358" y="91"/>
                  </a:lnTo>
                  <a:lnTo>
                    <a:pt x="356" y="91"/>
                  </a:lnTo>
                  <a:lnTo>
                    <a:pt x="356" y="93"/>
                  </a:lnTo>
                  <a:lnTo>
                    <a:pt x="356" y="91"/>
                  </a:lnTo>
                  <a:lnTo>
                    <a:pt x="356" y="93"/>
                  </a:lnTo>
                  <a:lnTo>
                    <a:pt x="356" y="91"/>
                  </a:lnTo>
                  <a:lnTo>
                    <a:pt x="353" y="91"/>
                  </a:lnTo>
                  <a:lnTo>
                    <a:pt x="351" y="91"/>
                  </a:lnTo>
                  <a:lnTo>
                    <a:pt x="349" y="91"/>
                  </a:lnTo>
                  <a:lnTo>
                    <a:pt x="346" y="91"/>
                  </a:lnTo>
                  <a:lnTo>
                    <a:pt x="349" y="93"/>
                  </a:lnTo>
                  <a:lnTo>
                    <a:pt x="351" y="93"/>
                  </a:lnTo>
                  <a:lnTo>
                    <a:pt x="353" y="93"/>
                  </a:lnTo>
                  <a:lnTo>
                    <a:pt x="356" y="93"/>
                  </a:lnTo>
                  <a:lnTo>
                    <a:pt x="356" y="95"/>
                  </a:lnTo>
                  <a:lnTo>
                    <a:pt x="353" y="95"/>
                  </a:lnTo>
                  <a:lnTo>
                    <a:pt x="353" y="98"/>
                  </a:lnTo>
                  <a:lnTo>
                    <a:pt x="353" y="95"/>
                  </a:lnTo>
                  <a:lnTo>
                    <a:pt x="351" y="95"/>
                  </a:lnTo>
                  <a:lnTo>
                    <a:pt x="349" y="95"/>
                  </a:lnTo>
                  <a:lnTo>
                    <a:pt x="351" y="98"/>
                  </a:lnTo>
                  <a:lnTo>
                    <a:pt x="353" y="98"/>
                  </a:lnTo>
                  <a:lnTo>
                    <a:pt x="351" y="98"/>
                  </a:lnTo>
                  <a:lnTo>
                    <a:pt x="349" y="98"/>
                  </a:lnTo>
                  <a:lnTo>
                    <a:pt x="346" y="98"/>
                  </a:lnTo>
                  <a:lnTo>
                    <a:pt x="346" y="100"/>
                  </a:lnTo>
                  <a:lnTo>
                    <a:pt x="349" y="100"/>
                  </a:lnTo>
                  <a:lnTo>
                    <a:pt x="349" y="103"/>
                  </a:lnTo>
                  <a:lnTo>
                    <a:pt x="346" y="103"/>
                  </a:lnTo>
                  <a:lnTo>
                    <a:pt x="344" y="103"/>
                  </a:lnTo>
                  <a:lnTo>
                    <a:pt x="341" y="105"/>
                  </a:lnTo>
                  <a:lnTo>
                    <a:pt x="339" y="105"/>
                  </a:lnTo>
                  <a:lnTo>
                    <a:pt x="339" y="103"/>
                  </a:lnTo>
                  <a:lnTo>
                    <a:pt x="337" y="103"/>
                  </a:lnTo>
                  <a:lnTo>
                    <a:pt x="337" y="100"/>
                  </a:lnTo>
                  <a:lnTo>
                    <a:pt x="334" y="100"/>
                  </a:lnTo>
                  <a:lnTo>
                    <a:pt x="334" y="98"/>
                  </a:lnTo>
                  <a:lnTo>
                    <a:pt x="332" y="98"/>
                  </a:lnTo>
                  <a:lnTo>
                    <a:pt x="332" y="100"/>
                  </a:lnTo>
                  <a:lnTo>
                    <a:pt x="334" y="100"/>
                  </a:lnTo>
                  <a:lnTo>
                    <a:pt x="334" y="103"/>
                  </a:lnTo>
                  <a:lnTo>
                    <a:pt x="337" y="105"/>
                  </a:lnTo>
                  <a:lnTo>
                    <a:pt x="339" y="105"/>
                  </a:lnTo>
                  <a:lnTo>
                    <a:pt x="339" y="107"/>
                  </a:lnTo>
                  <a:lnTo>
                    <a:pt x="337" y="107"/>
                  </a:lnTo>
                  <a:lnTo>
                    <a:pt x="337" y="105"/>
                  </a:lnTo>
                  <a:lnTo>
                    <a:pt x="337" y="107"/>
                  </a:lnTo>
                  <a:lnTo>
                    <a:pt x="334" y="105"/>
                  </a:lnTo>
                  <a:lnTo>
                    <a:pt x="332" y="105"/>
                  </a:lnTo>
                  <a:lnTo>
                    <a:pt x="332" y="107"/>
                  </a:lnTo>
                  <a:lnTo>
                    <a:pt x="334" y="107"/>
                  </a:lnTo>
                  <a:lnTo>
                    <a:pt x="334" y="110"/>
                  </a:lnTo>
                  <a:lnTo>
                    <a:pt x="332" y="110"/>
                  </a:lnTo>
                  <a:lnTo>
                    <a:pt x="330" y="110"/>
                  </a:lnTo>
                  <a:lnTo>
                    <a:pt x="330" y="112"/>
                  </a:lnTo>
                  <a:lnTo>
                    <a:pt x="332" y="112"/>
                  </a:lnTo>
                  <a:lnTo>
                    <a:pt x="332" y="114"/>
                  </a:lnTo>
                  <a:lnTo>
                    <a:pt x="332" y="117"/>
                  </a:lnTo>
                  <a:lnTo>
                    <a:pt x="332" y="119"/>
                  </a:lnTo>
                  <a:lnTo>
                    <a:pt x="330" y="119"/>
                  </a:lnTo>
                  <a:lnTo>
                    <a:pt x="327" y="119"/>
                  </a:lnTo>
                  <a:lnTo>
                    <a:pt x="325" y="119"/>
                  </a:lnTo>
                  <a:lnTo>
                    <a:pt x="327" y="119"/>
                  </a:lnTo>
                  <a:lnTo>
                    <a:pt x="325" y="119"/>
                  </a:lnTo>
                  <a:lnTo>
                    <a:pt x="325" y="122"/>
                  </a:lnTo>
                  <a:lnTo>
                    <a:pt x="322" y="122"/>
                  </a:lnTo>
                  <a:lnTo>
                    <a:pt x="320" y="122"/>
                  </a:lnTo>
                  <a:lnTo>
                    <a:pt x="320" y="124"/>
                  </a:lnTo>
                  <a:lnTo>
                    <a:pt x="318" y="124"/>
                  </a:lnTo>
                  <a:lnTo>
                    <a:pt x="315" y="126"/>
                  </a:lnTo>
                  <a:lnTo>
                    <a:pt x="318" y="126"/>
                  </a:lnTo>
                  <a:lnTo>
                    <a:pt x="318" y="129"/>
                  </a:lnTo>
                  <a:lnTo>
                    <a:pt x="315" y="129"/>
                  </a:lnTo>
                  <a:lnTo>
                    <a:pt x="318" y="129"/>
                  </a:lnTo>
                  <a:lnTo>
                    <a:pt x="315" y="129"/>
                  </a:lnTo>
                  <a:lnTo>
                    <a:pt x="311" y="129"/>
                  </a:lnTo>
                  <a:lnTo>
                    <a:pt x="308" y="129"/>
                  </a:lnTo>
                  <a:lnTo>
                    <a:pt x="311" y="129"/>
                  </a:lnTo>
                  <a:lnTo>
                    <a:pt x="313" y="129"/>
                  </a:lnTo>
                  <a:lnTo>
                    <a:pt x="315" y="129"/>
                  </a:lnTo>
                  <a:lnTo>
                    <a:pt x="313" y="129"/>
                  </a:lnTo>
                  <a:lnTo>
                    <a:pt x="313" y="126"/>
                  </a:lnTo>
                  <a:lnTo>
                    <a:pt x="311" y="126"/>
                  </a:lnTo>
                  <a:lnTo>
                    <a:pt x="308" y="126"/>
                  </a:lnTo>
                  <a:lnTo>
                    <a:pt x="308" y="129"/>
                  </a:lnTo>
                  <a:lnTo>
                    <a:pt x="308" y="126"/>
                  </a:lnTo>
                  <a:lnTo>
                    <a:pt x="306" y="126"/>
                  </a:lnTo>
                  <a:lnTo>
                    <a:pt x="303" y="126"/>
                  </a:lnTo>
                  <a:lnTo>
                    <a:pt x="303" y="124"/>
                  </a:lnTo>
                  <a:lnTo>
                    <a:pt x="303" y="122"/>
                  </a:lnTo>
                  <a:lnTo>
                    <a:pt x="303" y="119"/>
                  </a:lnTo>
                  <a:lnTo>
                    <a:pt x="301" y="119"/>
                  </a:lnTo>
                  <a:lnTo>
                    <a:pt x="303" y="119"/>
                  </a:lnTo>
                  <a:lnTo>
                    <a:pt x="303" y="122"/>
                  </a:lnTo>
                  <a:lnTo>
                    <a:pt x="303" y="124"/>
                  </a:lnTo>
                  <a:lnTo>
                    <a:pt x="303" y="126"/>
                  </a:lnTo>
                  <a:lnTo>
                    <a:pt x="303" y="129"/>
                  </a:lnTo>
                  <a:lnTo>
                    <a:pt x="303" y="126"/>
                  </a:lnTo>
                  <a:lnTo>
                    <a:pt x="301" y="126"/>
                  </a:lnTo>
                  <a:lnTo>
                    <a:pt x="301" y="129"/>
                  </a:lnTo>
                  <a:lnTo>
                    <a:pt x="301" y="126"/>
                  </a:lnTo>
                  <a:lnTo>
                    <a:pt x="301" y="129"/>
                  </a:lnTo>
                  <a:lnTo>
                    <a:pt x="299" y="129"/>
                  </a:lnTo>
                  <a:lnTo>
                    <a:pt x="301" y="129"/>
                  </a:lnTo>
                  <a:lnTo>
                    <a:pt x="303" y="129"/>
                  </a:lnTo>
                  <a:lnTo>
                    <a:pt x="306" y="129"/>
                  </a:lnTo>
                  <a:lnTo>
                    <a:pt x="308" y="129"/>
                  </a:lnTo>
                  <a:lnTo>
                    <a:pt x="306" y="129"/>
                  </a:lnTo>
                  <a:lnTo>
                    <a:pt x="301" y="129"/>
                  </a:lnTo>
                  <a:lnTo>
                    <a:pt x="299" y="129"/>
                  </a:lnTo>
                  <a:lnTo>
                    <a:pt x="299" y="131"/>
                  </a:lnTo>
                  <a:lnTo>
                    <a:pt x="296" y="131"/>
                  </a:lnTo>
                  <a:lnTo>
                    <a:pt x="294" y="131"/>
                  </a:lnTo>
                  <a:lnTo>
                    <a:pt x="292" y="131"/>
                  </a:lnTo>
                  <a:lnTo>
                    <a:pt x="292" y="133"/>
                  </a:lnTo>
                  <a:lnTo>
                    <a:pt x="287" y="133"/>
                  </a:lnTo>
                  <a:lnTo>
                    <a:pt x="284" y="133"/>
                  </a:lnTo>
                  <a:lnTo>
                    <a:pt x="284" y="136"/>
                  </a:lnTo>
                  <a:lnTo>
                    <a:pt x="282" y="136"/>
                  </a:lnTo>
                  <a:lnTo>
                    <a:pt x="280" y="138"/>
                  </a:lnTo>
                  <a:lnTo>
                    <a:pt x="277" y="138"/>
                  </a:lnTo>
                  <a:lnTo>
                    <a:pt x="275" y="141"/>
                  </a:lnTo>
                  <a:lnTo>
                    <a:pt x="273" y="143"/>
                  </a:lnTo>
                  <a:lnTo>
                    <a:pt x="270" y="143"/>
                  </a:lnTo>
                  <a:lnTo>
                    <a:pt x="268" y="14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5" name="Freeform 52462"/>
            <p:cNvSpPr>
              <a:spLocks noEditPoints="1"/>
            </p:cNvSpPr>
            <p:nvPr/>
          </p:nvSpPr>
          <p:spPr bwMode="auto">
            <a:xfrm>
              <a:off x="820736" y="3321062"/>
              <a:ext cx="466725" cy="282577"/>
            </a:xfrm>
            <a:custGeom>
              <a:avLst/>
              <a:gdLst>
                <a:gd name="T0" fmla="*/ 92 w 294"/>
                <a:gd name="T1" fmla="*/ 178 h 178"/>
                <a:gd name="T2" fmla="*/ 92 w 294"/>
                <a:gd name="T3" fmla="*/ 173 h 178"/>
                <a:gd name="T4" fmla="*/ 85 w 294"/>
                <a:gd name="T5" fmla="*/ 157 h 178"/>
                <a:gd name="T6" fmla="*/ 87 w 294"/>
                <a:gd name="T7" fmla="*/ 143 h 178"/>
                <a:gd name="T8" fmla="*/ 83 w 294"/>
                <a:gd name="T9" fmla="*/ 145 h 178"/>
                <a:gd name="T10" fmla="*/ 97 w 294"/>
                <a:gd name="T11" fmla="*/ 140 h 178"/>
                <a:gd name="T12" fmla="*/ 40 w 294"/>
                <a:gd name="T13" fmla="*/ 135 h 178"/>
                <a:gd name="T14" fmla="*/ 42 w 294"/>
                <a:gd name="T15" fmla="*/ 135 h 178"/>
                <a:gd name="T16" fmla="*/ 42 w 294"/>
                <a:gd name="T17" fmla="*/ 133 h 178"/>
                <a:gd name="T18" fmla="*/ 253 w 294"/>
                <a:gd name="T19" fmla="*/ 131 h 178"/>
                <a:gd name="T20" fmla="*/ 270 w 294"/>
                <a:gd name="T21" fmla="*/ 124 h 178"/>
                <a:gd name="T22" fmla="*/ 268 w 294"/>
                <a:gd name="T23" fmla="*/ 128 h 178"/>
                <a:gd name="T24" fmla="*/ 277 w 294"/>
                <a:gd name="T25" fmla="*/ 121 h 178"/>
                <a:gd name="T26" fmla="*/ 26 w 294"/>
                <a:gd name="T27" fmla="*/ 119 h 178"/>
                <a:gd name="T28" fmla="*/ 26 w 294"/>
                <a:gd name="T29" fmla="*/ 119 h 178"/>
                <a:gd name="T30" fmla="*/ 23 w 294"/>
                <a:gd name="T31" fmla="*/ 116 h 178"/>
                <a:gd name="T32" fmla="*/ 280 w 294"/>
                <a:gd name="T33" fmla="*/ 114 h 178"/>
                <a:gd name="T34" fmla="*/ 280 w 294"/>
                <a:gd name="T35" fmla="*/ 114 h 178"/>
                <a:gd name="T36" fmla="*/ 291 w 294"/>
                <a:gd name="T37" fmla="*/ 112 h 178"/>
                <a:gd name="T38" fmla="*/ 21 w 294"/>
                <a:gd name="T39" fmla="*/ 102 h 178"/>
                <a:gd name="T40" fmla="*/ 16 w 294"/>
                <a:gd name="T41" fmla="*/ 102 h 178"/>
                <a:gd name="T42" fmla="*/ 2 w 294"/>
                <a:gd name="T43" fmla="*/ 88 h 178"/>
                <a:gd name="T44" fmla="*/ 2 w 294"/>
                <a:gd name="T45" fmla="*/ 88 h 178"/>
                <a:gd name="T46" fmla="*/ 19 w 294"/>
                <a:gd name="T47" fmla="*/ 86 h 178"/>
                <a:gd name="T48" fmla="*/ 11 w 294"/>
                <a:gd name="T49" fmla="*/ 83 h 178"/>
                <a:gd name="T50" fmla="*/ 9 w 294"/>
                <a:gd name="T51" fmla="*/ 86 h 178"/>
                <a:gd name="T52" fmla="*/ 21 w 294"/>
                <a:gd name="T53" fmla="*/ 83 h 178"/>
                <a:gd name="T54" fmla="*/ 19 w 294"/>
                <a:gd name="T55" fmla="*/ 86 h 178"/>
                <a:gd name="T56" fmla="*/ 19 w 294"/>
                <a:gd name="T57" fmla="*/ 83 h 178"/>
                <a:gd name="T58" fmla="*/ 19 w 294"/>
                <a:gd name="T59" fmla="*/ 83 h 178"/>
                <a:gd name="T60" fmla="*/ 21 w 294"/>
                <a:gd name="T61" fmla="*/ 83 h 178"/>
                <a:gd name="T62" fmla="*/ 19 w 294"/>
                <a:gd name="T63" fmla="*/ 81 h 178"/>
                <a:gd name="T64" fmla="*/ 19 w 294"/>
                <a:gd name="T65" fmla="*/ 81 h 178"/>
                <a:gd name="T66" fmla="*/ 16 w 294"/>
                <a:gd name="T67" fmla="*/ 81 h 178"/>
                <a:gd name="T68" fmla="*/ 11 w 294"/>
                <a:gd name="T69" fmla="*/ 81 h 178"/>
                <a:gd name="T70" fmla="*/ 21 w 294"/>
                <a:gd name="T71" fmla="*/ 81 h 178"/>
                <a:gd name="T72" fmla="*/ 14 w 294"/>
                <a:gd name="T73" fmla="*/ 81 h 178"/>
                <a:gd name="T74" fmla="*/ 14 w 294"/>
                <a:gd name="T75" fmla="*/ 81 h 178"/>
                <a:gd name="T76" fmla="*/ 16 w 294"/>
                <a:gd name="T77" fmla="*/ 81 h 178"/>
                <a:gd name="T78" fmla="*/ 11 w 294"/>
                <a:gd name="T79" fmla="*/ 81 h 178"/>
                <a:gd name="T80" fmla="*/ 19 w 294"/>
                <a:gd name="T81" fmla="*/ 74 h 178"/>
                <a:gd name="T82" fmla="*/ 7 w 294"/>
                <a:gd name="T83" fmla="*/ 67 h 178"/>
                <a:gd name="T84" fmla="*/ 14 w 294"/>
                <a:gd name="T85" fmla="*/ 64 h 178"/>
                <a:gd name="T86" fmla="*/ 14 w 294"/>
                <a:gd name="T87" fmla="*/ 62 h 178"/>
                <a:gd name="T88" fmla="*/ 30 w 294"/>
                <a:gd name="T89" fmla="*/ 62 h 178"/>
                <a:gd name="T90" fmla="*/ 9 w 294"/>
                <a:gd name="T91" fmla="*/ 59 h 178"/>
                <a:gd name="T92" fmla="*/ 7 w 294"/>
                <a:gd name="T93" fmla="*/ 57 h 178"/>
                <a:gd name="T94" fmla="*/ 116 w 294"/>
                <a:gd name="T95" fmla="*/ 33 h 178"/>
                <a:gd name="T96" fmla="*/ 116 w 294"/>
                <a:gd name="T97" fmla="*/ 33 h 178"/>
                <a:gd name="T98" fmla="*/ 151 w 294"/>
                <a:gd name="T99" fmla="*/ 31 h 178"/>
                <a:gd name="T100" fmla="*/ 14 w 294"/>
                <a:gd name="T101" fmla="*/ 26 h 178"/>
                <a:gd name="T102" fmla="*/ 14 w 294"/>
                <a:gd name="T103" fmla="*/ 26 h 178"/>
                <a:gd name="T104" fmla="*/ 166 w 294"/>
                <a:gd name="T105" fmla="*/ 2 h 178"/>
                <a:gd name="T106" fmla="*/ 166 w 294"/>
                <a:gd name="T107" fmla="*/ 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178">
                  <a:moveTo>
                    <a:pt x="92" y="176"/>
                  </a:moveTo>
                  <a:lnTo>
                    <a:pt x="92" y="178"/>
                  </a:lnTo>
                  <a:lnTo>
                    <a:pt x="90" y="178"/>
                  </a:lnTo>
                  <a:lnTo>
                    <a:pt x="92" y="178"/>
                  </a:lnTo>
                  <a:lnTo>
                    <a:pt x="90" y="178"/>
                  </a:lnTo>
                  <a:lnTo>
                    <a:pt x="90" y="176"/>
                  </a:lnTo>
                  <a:lnTo>
                    <a:pt x="92" y="176"/>
                  </a:lnTo>
                  <a:lnTo>
                    <a:pt x="92" y="173"/>
                  </a:lnTo>
                  <a:lnTo>
                    <a:pt x="92" y="176"/>
                  </a:lnTo>
                  <a:close/>
                  <a:moveTo>
                    <a:pt x="85" y="157"/>
                  </a:moveTo>
                  <a:lnTo>
                    <a:pt x="87" y="157"/>
                  </a:lnTo>
                  <a:lnTo>
                    <a:pt x="85" y="157"/>
                  </a:lnTo>
                  <a:close/>
                  <a:moveTo>
                    <a:pt x="92" y="143"/>
                  </a:moveTo>
                  <a:lnTo>
                    <a:pt x="92" y="145"/>
                  </a:lnTo>
                  <a:lnTo>
                    <a:pt x="92" y="143"/>
                  </a:lnTo>
                  <a:close/>
                  <a:moveTo>
                    <a:pt x="87" y="143"/>
                  </a:moveTo>
                  <a:lnTo>
                    <a:pt x="85" y="143"/>
                  </a:lnTo>
                  <a:lnTo>
                    <a:pt x="85" y="145"/>
                  </a:lnTo>
                  <a:lnTo>
                    <a:pt x="85" y="143"/>
                  </a:lnTo>
                  <a:lnTo>
                    <a:pt x="83" y="145"/>
                  </a:lnTo>
                  <a:lnTo>
                    <a:pt x="85" y="143"/>
                  </a:lnTo>
                  <a:lnTo>
                    <a:pt x="87" y="143"/>
                  </a:lnTo>
                  <a:close/>
                  <a:moveTo>
                    <a:pt x="97" y="143"/>
                  </a:moveTo>
                  <a:lnTo>
                    <a:pt x="97" y="140"/>
                  </a:lnTo>
                  <a:lnTo>
                    <a:pt x="97" y="143"/>
                  </a:lnTo>
                  <a:close/>
                  <a:moveTo>
                    <a:pt x="40" y="135"/>
                  </a:moveTo>
                  <a:lnTo>
                    <a:pt x="42" y="135"/>
                  </a:lnTo>
                  <a:lnTo>
                    <a:pt x="40" y="135"/>
                  </a:lnTo>
                  <a:close/>
                  <a:moveTo>
                    <a:pt x="40" y="135"/>
                  </a:moveTo>
                  <a:lnTo>
                    <a:pt x="38" y="135"/>
                  </a:lnTo>
                  <a:lnTo>
                    <a:pt x="40" y="135"/>
                  </a:lnTo>
                  <a:close/>
                  <a:moveTo>
                    <a:pt x="42" y="135"/>
                  </a:moveTo>
                  <a:lnTo>
                    <a:pt x="40" y="135"/>
                  </a:lnTo>
                  <a:lnTo>
                    <a:pt x="42" y="135"/>
                  </a:lnTo>
                  <a:lnTo>
                    <a:pt x="40" y="133"/>
                  </a:lnTo>
                  <a:lnTo>
                    <a:pt x="42" y="133"/>
                  </a:lnTo>
                  <a:lnTo>
                    <a:pt x="42" y="135"/>
                  </a:lnTo>
                  <a:close/>
                  <a:moveTo>
                    <a:pt x="253" y="131"/>
                  </a:moveTo>
                  <a:lnTo>
                    <a:pt x="251" y="131"/>
                  </a:lnTo>
                  <a:lnTo>
                    <a:pt x="253" y="131"/>
                  </a:lnTo>
                  <a:close/>
                  <a:moveTo>
                    <a:pt x="268" y="128"/>
                  </a:moveTo>
                  <a:lnTo>
                    <a:pt x="268" y="126"/>
                  </a:lnTo>
                  <a:lnTo>
                    <a:pt x="270" y="126"/>
                  </a:lnTo>
                  <a:lnTo>
                    <a:pt x="270" y="124"/>
                  </a:lnTo>
                  <a:lnTo>
                    <a:pt x="272" y="124"/>
                  </a:lnTo>
                  <a:lnTo>
                    <a:pt x="270" y="126"/>
                  </a:lnTo>
                  <a:lnTo>
                    <a:pt x="268" y="126"/>
                  </a:lnTo>
                  <a:lnTo>
                    <a:pt x="268" y="128"/>
                  </a:lnTo>
                  <a:close/>
                  <a:moveTo>
                    <a:pt x="272" y="124"/>
                  </a:moveTo>
                  <a:lnTo>
                    <a:pt x="275" y="124"/>
                  </a:lnTo>
                  <a:lnTo>
                    <a:pt x="280" y="121"/>
                  </a:lnTo>
                  <a:lnTo>
                    <a:pt x="277" y="121"/>
                  </a:lnTo>
                  <a:lnTo>
                    <a:pt x="275" y="124"/>
                  </a:lnTo>
                  <a:lnTo>
                    <a:pt x="272" y="124"/>
                  </a:lnTo>
                  <a:close/>
                  <a:moveTo>
                    <a:pt x="28" y="119"/>
                  </a:moveTo>
                  <a:lnTo>
                    <a:pt x="26" y="119"/>
                  </a:lnTo>
                  <a:lnTo>
                    <a:pt x="28" y="119"/>
                  </a:lnTo>
                  <a:lnTo>
                    <a:pt x="28" y="116"/>
                  </a:lnTo>
                  <a:lnTo>
                    <a:pt x="28" y="119"/>
                  </a:lnTo>
                  <a:close/>
                  <a:moveTo>
                    <a:pt x="26" y="119"/>
                  </a:moveTo>
                  <a:lnTo>
                    <a:pt x="26" y="116"/>
                  </a:lnTo>
                  <a:lnTo>
                    <a:pt x="26" y="119"/>
                  </a:lnTo>
                  <a:close/>
                  <a:moveTo>
                    <a:pt x="23" y="114"/>
                  </a:moveTo>
                  <a:lnTo>
                    <a:pt x="23" y="116"/>
                  </a:lnTo>
                  <a:lnTo>
                    <a:pt x="21" y="116"/>
                  </a:lnTo>
                  <a:lnTo>
                    <a:pt x="21" y="114"/>
                  </a:lnTo>
                  <a:lnTo>
                    <a:pt x="23" y="114"/>
                  </a:lnTo>
                  <a:close/>
                  <a:moveTo>
                    <a:pt x="280" y="114"/>
                  </a:moveTo>
                  <a:lnTo>
                    <a:pt x="282" y="114"/>
                  </a:lnTo>
                  <a:lnTo>
                    <a:pt x="280" y="114"/>
                  </a:lnTo>
                  <a:lnTo>
                    <a:pt x="280" y="112"/>
                  </a:lnTo>
                  <a:lnTo>
                    <a:pt x="280" y="114"/>
                  </a:lnTo>
                  <a:close/>
                  <a:moveTo>
                    <a:pt x="280" y="114"/>
                  </a:moveTo>
                  <a:lnTo>
                    <a:pt x="280" y="112"/>
                  </a:lnTo>
                  <a:lnTo>
                    <a:pt x="280" y="114"/>
                  </a:lnTo>
                  <a:close/>
                  <a:moveTo>
                    <a:pt x="291" y="112"/>
                  </a:moveTo>
                  <a:lnTo>
                    <a:pt x="294" y="112"/>
                  </a:lnTo>
                  <a:lnTo>
                    <a:pt x="291" y="112"/>
                  </a:lnTo>
                  <a:close/>
                  <a:moveTo>
                    <a:pt x="21" y="105"/>
                  </a:moveTo>
                  <a:lnTo>
                    <a:pt x="21" y="102"/>
                  </a:lnTo>
                  <a:lnTo>
                    <a:pt x="19" y="102"/>
                  </a:lnTo>
                  <a:lnTo>
                    <a:pt x="21" y="105"/>
                  </a:lnTo>
                  <a:close/>
                  <a:moveTo>
                    <a:pt x="19" y="102"/>
                  </a:moveTo>
                  <a:lnTo>
                    <a:pt x="16" y="102"/>
                  </a:lnTo>
                  <a:lnTo>
                    <a:pt x="16" y="100"/>
                  </a:lnTo>
                  <a:lnTo>
                    <a:pt x="16" y="102"/>
                  </a:lnTo>
                  <a:lnTo>
                    <a:pt x="19" y="102"/>
                  </a:lnTo>
                  <a:close/>
                  <a:moveTo>
                    <a:pt x="2" y="88"/>
                  </a:moveTo>
                  <a:lnTo>
                    <a:pt x="0" y="88"/>
                  </a:lnTo>
                  <a:lnTo>
                    <a:pt x="2" y="88"/>
                  </a:lnTo>
                  <a:lnTo>
                    <a:pt x="0" y="88"/>
                  </a:lnTo>
                  <a:lnTo>
                    <a:pt x="2" y="88"/>
                  </a:lnTo>
                  <a:close/>
                  <a:moveTo>
                    <a:pt x="7" y="88"/>
                  </a:moveTo>
                  <a:lnTo>
                    <a:pt x="4" y="88"/>
                  </a:lnTo>
                  <a:lnTo>
                    <a:pt x="7" y="88"/>
                  </a:lnTo>
                  <a:close/>
                  <a:moveTo>
                    <a:pt x="19" y="86"/>
                  </a:moveTo>
                  <a:lnTo>
                    <a:pt x="16" y="86"/>
                  </a:lnTo>
                  <a:lnTo>
                    <a:pt x="19" y="86"/>
                  </a:lnTo>
                  <a:close/>
                  <a:moveTo>
                    <a:pt x="11" y="86"/>
                  </a:moveTo>
                  <a:lnTo>
                    <a:pt x="11" y="83"/>
                  </a:lnTo>
                  <a:lnTo>
                    <a:pt x="11" y="86"/>
                  </a:lnTo>
                  <a:close/>
                  <a:moveTo>
                    <a:pt x="9" y="86"/>
                  </a:moveTo>
                  <a:lnTo>
                    <a:pt x="9" y="83"/>
                  </a:lnTo>
                  <a:lnTo>
                    <a:pt x="9" y="86"/>
                  </a:lnTo>
                  <a:close/>
                  <a:moveTo>
                    <a:pt x="19" y="83"/>
                  </a:moveTo>
                  <a:lnTo>
                    <a:pt x="21" y="83"/>
                  </a:lnTo>
                  <a:lnTo>
                    <a:pt x="19" y="83"/>
                  </a:lnTo>
                  <a:lnTo>
                    <a:pt x="21" y="83"/>
                  </a:lnTo>
                  <a:lnTo>
                    <a:pt x="21" y="86"/>
                  </a:lnTo>
                  <a:lnTo>
                    <a:pt x="19" y="86"/>
                  </a:lnTo>
                  <a:lnTo>
                    <a:pt x="21" y="86"/>
                  </a:lnTo>
                  <a:lnTo>
                    <a:pt x="19" y="86"/>
                  </a:lnTo>
                  <a:lnTo>
                    <a:pt x="16" y="86"/>
                  </a:lnTo>
                  <a:lnTo>
                    <a:pt x="16" y="83"/>
                  </a:lnTo>
                  <a:lnTo>
                    <a:pt x="19" y="83"/>
                  </a:lnTo>
                  <a:close/>
                  <a:moveTo>
                    <a:pt x="19" y="83"/>
                  </a:moveTo>
                  <a:lnTo>
                    <a:pt x="16" y="83"/>
                  </a:lnTo>
                  <a:lnTo>
                    <a:pt x="19" y="83"/>
                  </a:lnTo>
                  <a:lnTo>
                    <a:pt x="16" y="83"/>
                  </a:lnTo>
                  <a:lnTo>
                    <a:pt x="19" y="83"/>
                  </a:lnTo>
                  <a:close/>
                  <a:moveTo>
                    <a:pt x="19" y="83"/>
                  </a:moveTo>
                  <a:lnTo>
                    <a:pt x="21" y="83"/>
                  </a:lnTo>
                  <a:lnTo>
                    <a:pt x="19" y="83"/>
                  </a:lnTo>
                  <a:lnTo>
                    <a:pt x="21" y="83"/>
                  </a:lnTo>
                  <a:lnTo>
                    <a:pt x="19" y="83"/>
                  </a:lnTo>
                  <a:lnTo>
                    <a:pt x="21" y="83"/>
                  </a:lnTo>
                  <a:lnTo>
                    <a:pt x="19" y="83"/>
                  </a:lnTo>
                  <a:close/>
                  <a:moveTo>
                    <a:pt x="19" y="81"/>
                  </a:moveTo>
                  <a:lnTo>
                    <a:pt x="19" y="83"/>
                  </a:lnTo>
                  <a:lnTo>
                    <a:pt x="19" y="81"/>
                  </a:lnTo>
                  <a:lnTo>
                    <a:pt x="19" y="83"/>
                  </a:lnTo>
                  <a:lnTo>
                    <a:pt x="19" y="81"/>
                  </a:lnTo>
                  <a:close/>
                  <a:moveTo>
                    <a:pt x="14" y="81"/>
                  </a:moveTo>
                  <a:lnTo>
                    <a:pt x="14" y="83"/>
                  </a:lnTo>
                  <a:lnTo>
                    <a:pt x="14" y="81"/>
                  </a:lnTo>
                  <a:close/>
                  <a:moveTo>
                    <a:pt x="16" y="81"/>
                  </a:moveTo>
                  <a:lnTo>
                    <a:pt x="14" y="81"/>
                  </a:lnTo>
                  <a:lnTo>
                    <a:pt x="16" y="81"/>
                  </a:lnTo>
                  <a:close/>
                  <a:moveTo>
                    <a:pt x="9" y="81"/>
                  </a:moveTo>
                  <a:lnTo>
                    <a:pt x="11" y="81"/>
                  </a:lnTo>
                  <a:lnTo>
                    <a:pt x="9" y="81"/>
                  </a:lnTo>
                  <a:close/>
                  <a:moveTo>
                    <a:pt x="21" y="81"/>
                  </a:moveTo>
                  <a:lnTo>
                    <a:pt x="19" y="81"/>
                  </a:lnTo>
                  <a:lnTo>
                    <a:pt x="21" y="81"/>
                  </a:lnTo>
                  <a:close/>
                  <a:moveTo>
                    <a:pt x="16" y="81"/>
                  </a:moveTo>
                  <a:lnTo>
                    <a:pt x="19" y="81"/>
                  </a:lnTo>
                  <a:lnTo>
                    <a:pt x="16" y="81"/>
                  </a:lnTo>
                  <a:lnTo>
                    <a:pt x="14" y="81"/>
                  </a:lnTo>
                  <a:lnTo>
                    <a:pt x="16" y="81"/>
                  </a:lnTo>
                  <a:close/>
                  <a:moveTo>
                    <a:pt x="14" y="81"/>
                  </a:moveTo>
                  <a:lnTo>
                    <a:pt x="11" y="81"/>
                  </a:lnTo>
                  <a:lnTo>
                    <a:pt x="14" y="81"/>
                  </a:lnTo>
                  <a:lnTo>
                    <a:pt x="11" y="81"/>
                  </a:lnTo>
                  <a:lnTo>
                    <a:pt x="14" y="81"/>
                  </a:lnTo>
                  <a:close/>
                  <a:moveTo>
                    <a:pt x="19" y="81"/>
                  </a:moveTo>
                  <a:lnTo>
                    <a:pt x="16" y="81"/>
                  </a:lnTo>
                  <a:lnTo>
                    <a:pt x="19" y="81"/>
                  </a:lnTo>
                  <a:close/>
                  <a:moveTo>
                    <a:pt x="14" y="78"/>
                  </a:moveTo>
                  <a:lnTo>
                    <a:pt x="14" y="81"/>
                  </a:lnTo>
                  <a:lnTo>
                    <a:pt x="11" y="81"/>
                  </a:lnTo>
                  <a:lnTo>
                    <a:pt x="11" y="78"/>
                  </a:lnTo>
                  <a:lnTo>
                    <a:pt x="14" y="78"/>
                  </a:lnTo>
                  <a:close/>
                  <a:moveTo>
                    <a:pt x="21" y="74"/>
                  </a:moveTo>
                  <a:lnTo>
                    <a:pt x="19" y="74"/>
                  </a:lnTo>
                  <a:lnTo>
                    <a:pt x="21" y="74"/>
                  </a:lnTo>
                  <a:close/>
                  <a:moveTo>
                    <a:pt x="7" y="67"/>
                  </a:moveTo>
                  <a:lnTo>
                    <a:pt x="7" y="69"/>
                  </a:lnTo>
                  <a:lnTo>
                    <a:pt x="7" y="67"/>
                  </a:lnTo>
                  <a:close/>
                  <a:moveTo>
                    <a:pt x="4" y="67"/>
                  </a:moveTo>
                  <a:lnTo>
                    <a:pt x="4" y="69"/>
                  </a:lnTo>
                  <a:lnTo>
                    <a:pt x="4" y="67"/>
                  </a:lnTo>
                  <a:close/>
                  <a:moveTo>
                    <a:pt x="14" y="64"/>
                  </a:moveTo>
                  <a:lnTo>
                    <a:pt x="11" y="64"/>
                  </a:lnTo>
                  <a:lnTo>
                    <a:pt x="14" y="64"/>
                  </a:lnTo>
                  <a:close/>
                  <a:moveTo>
                    <a:pt x="14" y="64"/>
                  </a:moveTo>
                  <a:lnTo>
                    <a:pt x="14" y="62"/>
                  </a:lnTo>
                  <a:lnTo>
                    <a:pt x="14" y="64"/>
                  </a:lnTo>
                  <a:close/>
                  <a:moveTo>
                    <a:pt x="30" y="62"/>
                  </a:moveTo>
                  <a:lnTo>
                    <a:pt x="30" y="64"/>
                  </a:lnTo>
                  <a:lnTo>
                    <a:pt x="30" y="62"/>
                  </a:lnTo>
                  <a:lnTo>
                    <a:pt x="30" y="64"/>
                  </a:lnTo>
                  <a:lnTo>
                    <a:pt x="30" y="62"/>
                  </a:lnTo>
                  <a:close/>
                  <a:moveTo>
                    <a:pt x="7" y="59"/>
                  </a:moveTo>
                  <a:lnTo>
                    <a:pt x="9" y="59"/>
                  </a:lnTo>
                  <a:lnTo>
                    <a:pt x="7" y="59"/>
                  </a:lnTo>
                  <a:close/>
                  <a:moveTo>
                    <a:pt x="7" y="57"/>
                  </a:moveTo>
                  <a:lnTo>
                    <a:pt x="4" y="57"/>
                  </a:lnTo>
                  <a:lnTo>
                    <a:pt x="7" y="57"/>
                  </a:lnTo>
                  <a:close/>
                  <a:moveTo>
                    <a:pt x="289" y="52"/>
                  </a:moveTo>
                  <a:lnTo>
                    <a:pt x="287" y="52"/>
                  </a:lnTo>
                  <a:lnTo>
                    <a:pt x="289" y="52"/>
                  </a:lnTo>
                  <a:close/>
                  <a:moveTo>
                    <a:pt x="116" y="33"/>
                  </a:moveTo>
                  <a:lnTo>
                    <a:pt x="118" y="33"/>
                  </a:lnTo>
                  <a:lnTo>
                    <a:pt x="118" y="36"/>
                  </a:lnTo>
                  <a:lnTo>
                    <a:pt x="116" y="36"/>
                  </a:lnTo>
                  <a:lnTo>
                    <a:pt x="116" y="33"/>
                  </a:lnTo>
                  <a:close/>
                  <a:moveTo>
                    <a:pt x="151" y="31"/>
                  </a:moveTo>
                  <a:lnTo>
                    <a:pt x="154" y="31"/>
                  </a:lnTo>
                  <a:lnTo>
                    <a:pt x="154" y="33"/>
                  </a:lnTo>
                  <a:lnTo>
                    <a:pt x="151" y="31"/>
                  </a:lnTo>
                  <a:close/>
                  <a:moveTo>
                    <a:pt x="116" y="33"/>
                  </a:moveTo>
                  <a:lnTo>
                    <a:pt x="116" y="31"/>
                  </a:lnTo>
                  <a:lnTo>
                    <a:pt x="116" y="33"/>
                  </a:lnTo>
                  <a:close/>
                  <a:moveTo>
                    <a:pt x="14" y="26"/>
                  </a:moveTo>
                  <a:lnTo>
                    <a:pt x="11" y="26"/>
                  </a:lnTo>
                  <a:lnTo>
                    <a:pt x="14" y="26"/>
                  </a:lnTo>
                  <a:lnTo>
                    <a:pt x="11" y="26"/>
                  </a:lnTo>
                  <a:lnTo>
                    <a:pt x="14" y="26"/>
                  </a:lnTo>
                  <a:close/>
                  <a:moveTo>
                    <a:pt x="170" y="24"/>
                  </a:moveTo>
                  <a:lnTo>
                    <a:pt x="173" y="24"/>
                  </a:lnTo>
                  <a:lnTo>
                    <a:pt x="170" y="24"/>
                  </a:lnTo>
                  <a:close/>
                  <a:moveTo>
                    <a:pt x="166" y="2"/>
                  </a:moveTo>
                  <a:lnTo>
                    <a:pt x="166" y="0"/>
                  </a:lnTo>
                  <a:lnTo>
                    <a:pt x="166" y="2"/>
                  </a:lnTo>
                  <a:lnTo>
                    <a:pt x="168" y="2"/>
                  </a:lnTo>
                  <a:lnTo>
                    <a:pt x="16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6" name="Freeform 52463"/>
            <p:cNvSpPr>
              <a:spLocks noEditPoints="1"/>
            </p:cNvSpPr>
            <p:nvPr/>
          </p:nvSpPr>
          <p:spPr bwMode="auto">
            <a:xfrm>
              <a:off x="801686" y="3332174"/>
              <a:ext cx="519113" cy="260351"/>
            </a:xfrm>
            <a:custGeom>
              <a:avLst/>
              <a:gdLst>
                <a:gd name="T0" fmla="*/ 87 w 327"/>
                <a:gd name="T1" fmla="*/ 147 h 164"/>
                <a:gd name="T2" fmla="*/ 76 w 327"/>
                <a:gd name="T3" fmla="*/ 145 h 164"/>
                <a:gd name="T4" fmla="*/ 95 w 327"/>
                <a:gd name="T5" fmla="*/ 138 h 164"/>
                <a:gd name="T6" fmla="*/ 83 w 327"/>
                <a:gd name="T7" fmla="*/ 138 h 164"/>
                <a:gd name="T8" fmla="*/ 102 w 327"/>
                <a:gd name="T9" fmla="*/ 136 h 164"/>
                <a:gd name="T10" fmla="*/ 95 w 327"/>
                <a:gd name="T11" fmla="*/ 131 h 164"/>
                <a:gd name="T12" fmla="*/ 47 w 327"/>
                <a:gd name="T13" fmla="*/ 112 h 164"/>
                <a:gd name="T14" fmla="*/ 38 w 327"/>
                <a:gd name="T15" fmla="*/ 107 h 164"/>
                <a:gd name="T16" fmla="*/ 306 w 327"/>
                <a:gd name="T17" fmla="*/ 105 h 164"/>
                <a:gd name="T18" fmla="*/ 35 w 327"/>
                <a:gd name="T19" fmla="*/ 105 h 164"/>
                <a:gd name="T20" fmla="*/ 35 w 327"/>
                <a:gd name="T21" fmla="*/ 100 h 164"/>
                <a:gd name="T22" fmla="*/ 23 w 327"/>
                <a:gd name="T23" fmla="*/ 93 h 164"/>
                <a:gd name="T24" fmla="*/ 327 w 327"/>
                <a:gd name="T25" fmla="*/ 83 h 164"/>
                <a:gd name="T26" fmla="*/ 16 w 327"/>
                <a:gd name="T27" fmla="*/ 81 h 164"/>
                <a:gd name="T28" fmla="*/ 19 w 327"/>
                <a:gd name="T29" fmla="*/ 81 h 164"/>
                <a:gd name="T30" fmla="*/ 23 w 327"/>
                <a:gd name="T31" fmla="*/ 79 h 164"/>
                <a:gd name="T32" fmla="*/ 23 w 327"/>
                <a:gd name="T33" fmla="*/ 81 h 164"/>
                <a:gd name="T34" fmla="*/ 31 w 327"/>
                <a:gd name="T35" fmla="*/ 79 h 164"/>
                <a:gd name="T36" fmla="*/ 21 w 327"/>
                <a:gd name="T37" fmla="*/ 79 h 164"/>
                <a:gd name="T38" fmla="*/ 35 w 327"/>
                <a:gd name="T39" fmla="*/ 79 h 164"/>
                <a:gd name="T40" fmla="*/ 35 w 327"/>
                <a:gd name="T41" fmla="*/ 76 h 164"/>
                <a:gd name="T42" fmla="*/ 28 w 327"/>
                <a:gd name="T43" fmla="*/ 76 h 164"/>
                <a:gd name="T44" fmla="*/ 33 w 327"/>
                <a:gd name="T45" fmla="*/ 79 h 164"/>
                <a:gd name="T46" fmla="*/ 33 w 327"/>
                <a:gd name="T47" fmla="*/ 76 h 164"/>
                <a:gd name="T48" fmla="*/ 31 w 327"/>
                <a:gd name="T49" fmla="*/ 76 h 164"/>
                <a:gd name="T50" fmla="*/ 31 w 327"/>
                <a:gd name="T51" fmla="*/ 76 h 164"/>
                <a:gd name="T52" fmla="*/ 23 w 327"/>
                <a:gd name="T53" fmla="*/ 74 h 164"/>
                <a:gd name="T54" fmla="*/ 28 w 327"/>
                <a:gd name="T55" fmla="*/ 74 h 164"/>
                <a:gd name="T56" fmla="*/ 28 w 327"/>
                <a:gd name="T57" fmla="*/ 74 h 164"/>
                <a:gd name="T58" fmla="*/ 31 w 327"/>
                <a:gd name="T59" fmla="*/ 69 h 164"/>
                <a:gd name="T60" fmla="*/ 31 w 327"/>
                <a:gd name="T61" fmla="*/ 69 h 164"/>
                <a:gd name="T62" fmla="*/ 28 w 327"/>
                <a:gd name="T63" fmla="*/ 67 h 164"/>
                <a:gd name="T64" fmla="*/ 40 w 327"/>
                <a:gd name="T65" fmla="*/ 62 h 164"/>
                <a:gd name="T66" fmla="*/ 38 w 327"/>
                <a:gd name="T67" fmla="*/ 62 h 164"/>
                <a:gd name="T68" fmla="*/ 40 w 327"/>
                <a:gd name="T69" fmla="*/ 62 h 164"/>
                <a:gd name="T70" fmla="*/ 19 w 327"/>
                <a:gd name="T71" fmla="*/ 62 h 164"/>
                <a:gd name="T72" fmla="*/ 16 w 327"/>
                <a:gd name="T73" fmla="*/ 60 h 164"/>
                <a:gd name="T74" fmla="*/ 38 w 327"/>
                <a:gd name="T75" fmla="*/ 57 h 164"/>
                <a:gd name="T76" fmla="*/ 35 w 327"/>
                <a:gd name="T77" fmla="*/ 57 h 164"/>
                <a:gd name="T78" fmla="*/ 26 w 327"/>
                <a:gd name="T79" fmla="*/ 57 h 164"/>
                <a:gd name="T80" fmla="*/ 35 w 327"/>
                <a:gd name="T81" fmla="*/ 55 h 164"/>
                <a:gd name="T82" fmla="*/ 31 w 327"/>
                <a:gd name="T83" fmla="*/ 55 h 164"/>
                <a:gd name="T84" fmla="*/ 21 w 327"/>
                <a:gd name="T85" fmla="*/ 52 h 164"/>
                <a:gd name="T86" fmla="*/ 21 w 327"/>
                <a:gd name="T87" fmla="*/ 52 h 164"/>
                <a:gd name="T88" fmla="*/ 21 w 327"/>
                <a:gd name="T89" fmla="*/ 55 h 164"/>
                <a:gd name="T90" fmla="*/ 26 w 327"/>
                <a:gd name="T91" fmla="*/ 52 h 164"/>
                <a:gd name="T92" fmla="*/ 40 w 327"/>
                <a:gd name="T93" fmla="*/ 50 h 164"/>
                <a:gd name="T94" fmla="*/ 97 w 327"/>
                <a:gd name="T95" fmla="*/ 50 h 164"/>
                <a:gd name="T96" fmla="*/ 95 w 327"/>
                <a:gd name="T97" fmla="*/ 48 h 164"/>
                <a:gd name="T98" fmla="*/ 301 w 327"/>
                <a:gd name="T99" fmla="*/ 45 h 164"/>
                <a:gd name="T100" fmla="*/ 59 w 327"/>
                <a:gd name="T101" fmla="*/ 43 h 164"/>
                <a:gd name="T102" fmla="*/ 301 w 327"/>
                <a:gd name="T103" fmla="*/ 38 h 164"/>
                <a:gd name="T104" fmla="*/ 19 w 327"/>
                <a:gd name="T105" fmla="*/ 24 h 164"/>
                <a:gd name="T106" fmla="*/ 209 w 327"/>
                <a:gd name="T107" fmla="*/ 10 h 164"/>
                <a:gd name="T108" fmla="*/ 12 w 327"/>
                <a:gd name="T10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7" h="164">
                  <a:moveTo>
                    <a:pt x="168" y="164"/>
                  </a:moveTo>
                  <a:lnTo>
                    <a:pt x="168" y="162"/>
                  </a:lnTo>
                  <a:lnTo>
                    <a:pt x="168" y="164"/>
                  </a:lnTo>
                  <a:close/>
                  <a:moveTo>
                    <a:pt x="87" y="147"/>
                  </a:moveTo>
                  <a:lnTo>
                    <a:pt x="90" y="147"/>
                  </a:lnTo>
                  <a:lnTo>
                    <a:pt x="87" y="147"/>
                  </a:lnTo>
                  <a:close/>
                  <a:moveTo>
                    <a:pt x="76" y="145"/>
                  </a:moveTo>
                  <a:lnTo>
                    <a:pt x="76" y="147"/>
                  </a:lnTo>
                  <a:lnTo>
                    <a:pt x="76" y="145"/>
                  </a:lnTo>
                  <a:close/>
                  <a:moveTo>
                    <a:pt x="76" y="145"/>
                  </a:moveTo>
                  <a:lnTo>
                    <a:pt x="76" y="147"/>
                  </a:lnTo>
                  <a:lnTo>
                    <a:pt x="76" y="145"/>
                  </a:lnTo>
                  <a:close/>
                  <a:moveTo>
                    <a:pt x="95" y="140"/>
                  </a:moveTo>
                  <a:lnTo>
                    <a:pt x="92" y="140"/>
                  </a:lnTo>
                  <a:lnTo>
                    <a:pt x="95" y="140"/>
                  </a:lnTo>
                  <a:close/>
                  <a:moveTo>
                    <a:pt x="95" y="138"/>
                  </a:moveTo>
                  <a:lnTo>
                    <a:pt x="95" y="140"/>
                  </a:lnTo>
                  <a:lnTo>
                    <a:pt x="95" y="138"/>
                  </a:lnTo>
                  <a:close/>
                  <a:moveTo>
                    <a:pt x="85" y="138"/>
                  </a:moveTo>
                  <a:lnTo>
                    <a:pt x="87" y="138"/>
                  </a:lnTo>
                  <a:lnTo>
                    <a:pt x="85" y="138"/>
                  </a:lnTo>
                  <a:close/>
                  <a:moveTo>
                    <a:pt x="83" y="138"/>
                  </a:moveTo>
                  <a:lnTo>
                    <a:pt x="85" y="138"/>
                  </a:lnTo>
                  <a:lnTo>
                    <a:pt x="83" y="138"/>
                  </a:lnTo>
                  <a:close/>
                  <a:moveTo>
                    <a:pt x="97" y="136"/>
                  </a:moveTo>
                  <a:lnTo>
                    <a:pt x="97" y="138"/>
                  </a:lnTo>
                  <a:lnTo>
                    <a:pt x="97" y="136"/>
                  </a:lnTo>
                  <a:close/>
                  <a:moveTo>
                    <a:pt x="102" y="136"/>
                  </a:moveTo>
                  <a:lnTo>
                    <a:pt x="99" y="136"/>
                  </a:lnTo>
                  <a:lnTo>
                    <a:pt x="102" y="136"/>
                  </a:lnTo>
                  <a:close/>
                  <a:moveTo>
                    <a:pt x="92" y="133"/>
                  </a:moveTo>
                  <a:lnTo>
                    <a:pt x="92" y="136"/>
                  </a:lnTo>
                  <a:lnTo>
                    <a:pt x="92" y="133"/>
                  </a:lnTo>
                  <a:close/>
                  <a:moveTo>
                    <a:pt x="95" y="131"/>
                  </a:moveTo>
                  <a:lnTo>
                    <a:pt x="97" y="131"/>
                  </a:lnTo>
                  <a:lnTo>
                    <a:pt x="95" y="131"/>
                  </a:lnTo>
                  <a:close/>
                  <a:moveTo>
                    <a:pt x="47" y="117"/>
                  </a:moveTo>
                  <a:lnTo>
                    <a:pt x="50" y="117"/>
                  </a:lnTo>
                  <a:lnTo>
                    <a:pt x="47" y="117"/>
                  </a:lnTo>
                  <a:close/>
                  <a:moveTo>
                    <a:pt x="47" y="112"/>
                  </a:moveTo>
                  <a:lnTo>
                    <a:pt x="45" y="112"/>
                  </a:lnTo>
                  <a:lnTo>
                    <a:pt x="47" y="112"/>
                  </a:lnTo>
                  <a:close/>
                  <a:moveTo>
                    <a:pt x="40" y="109"/>
                  </a:moveTo>
                  <a:lnTo>
                    <a:pt x="40" y="112"/>
                  </a:lnTo>
                  <a:lnTo>
                    <a:pt x="40" y="109"/>
                  </a:lnTo>
                  <a:close/>
                  <a:moveTo>
                    <a:pt x="38" y="107"/>
                  </a:moveTo>
                  <a:lnTo>
                    <a:pt x="38" y="109"/>
                  </a:lnTo>
                  <a:lnTo>
                    <a:pt x="38" y="107"/>
                  </a:lnTo>
                  <a:close/>
                  <a:moveTo>
                    <a:pt x="35" y="105"/>
                  </a:moveTo>
                  <a:lnTo>
                    <a:pt x="33" y="105"/>
                  </a:lnTo>
                  <a:lnTo>
                    <a:pt x="35" y="105"/>
                  </a:lnTo>
                  <a:close/>
                  <a:moveTo>
                    <a:pt x="306" y="105"/>
                  </a:moveTo>
                  <a:lnTo>
                    <a:pt x="303" y="105"/>
                  </a:lnTo>
                  <a:lnTo>
                    <a:pt x="306" y="105"/>
                  </a:lnTo>
                  <a:close/>
                  <a:moveTo>
                    <a:pt x="33" y="105"/>
                  </a:moveTo>
                  <a:lnTo>
                    <a:pt x="35" y="105"/>
                  </a:lnTo>
                  <a:lnTo>
                    <a:pt x="33" y="105"/>
                  </a:lnTo>
                  <a:close/>
                  <a:moveTo>
                    <a:pt x="35" y="105"/>
                  </a:moveTo>
                  <a:lnTo>
                    <a:pt x="35" y="102"/>
                  </a:lnTo>
                  <a:lnTo>
                    <a:pt x="35" y="105"/>
                  </a:lnTo>
                  <a:close/>
                  <a:moveTo>
                    <a:pt x="303" y="102"/>
                  </a:moveTo>
                  <a:lnTo>
                    <a:pt x="301" y="102"/>
                  </a:lnTo>
                  <a:lnTo>
                    <a:pt x="303" y="102"/>
                  </a:lnTo>
                  <a:close/>
                  <a:moveTo>
                    <a:pt x="35" y="100"/>
                  </a:moveTo>
                  <a:lnTo>
                    <a:pt x="33" y="100"/>
                  </a:lnTo>
                  <a:lnTo>
                    <a:pt x="35" y="100"/>
                  </a:lnTo>
                  <a:close/>
                  <a:moveTo>
                    <a:pt x="35" y="95"/>
                  </a:moveTo>
                  <a:lnTo>
                    <a:pt x="35" y="98"/>
                  </a:lnTo>
                  <a:lnTo>
                    <a:pt x="35" y="95"/>
                  </a:lnTo>
                  <a:close/>
                  <a:moveTo>
                    <a:pt x="23" y="93"/>
                  </a:moveTo>
                  <a:lnTo>
                    <a:pt x="23" y="95"/>
                  </a:lnTo>
                  <a:lnTo>
                    <a:pt x="23" y="93"/>
                  </a:lnTo>
                  <a:close/>
                  <a:moveTo>
                    <a:pt x="31" y="95"/>
                  </a:moveTo>
                  <a:lnTo>
                    <a:pt x="28" y="95"/>
                  </a:lnTo>
                  <a:lnTo>
                    <a:pt x="28" y="93"/>
                  </a:lnTo>
                  <a:lnTo>
                    <a:pt x="31" y="93"/>
                  </a:lnTo>
                  <a:lnTo>
                    <a:pt x="31" y="95"/>
                  </a:lnTo>
                  <a:close/>
                  <a:moveTo>
                    <a:pt x="327" y="83"/>
                  </a:moveTo>
                  <a:lnTo>
                    <a:pt x="325" y="83"/>
                  </a:lnTo>
                  <a:lnTo>
                    <a:pt x="327" y="83"/>
                  </a:lnTo>
                  <a:close/>
                  <a:moveTo>
                    <a:pt x="4" y="83"/>
                  </a:moveTo>
                  <a:lnTo>
                    <a:pt x="2" y="83"/>
                  </a:lnTo>
                  <a:lnTo>
                    <a:pt x="4" y="83"/>
                  </a:lnTo>
                  <a:close/>
                  <a:moveTo>
                    <a:pt x="16" y="81"/>
                  </a:moveTo>
                  <a:lnTo>
                    <a:pt x="14" y="81"/>
                  </a:lnTo>
                  <a:lnTo>
                    <a:pt x="16" y="81"/>
                  </a:lnTo>
                  <a:close/>
                  <a:moveTo>
                    <a:pt x="54" y="81"/>
                  </a:moveTo>
                  <a:lnTo>
                    <a:pt x="52" y="81"/>
                  </a:lnTo>
                  <a:lnTo>
                    <a:pt x="54" y="81"/>
                  </a:lnTo>
                  <a:close/>
                  <a:moveTo>
                    <a:pt x="19" y="81"/>
                  </a:moveTo>
                  <a:lnTo>
                    <a:pt x="16" y="81"/>
                  </a:lnTo>
                  <a:lnTo>
                    <a:pt x="19" y="81"/>
                  </a:lnTo>
                  <a:close/>
                  <a:moveTo>
                    <a:pt x="280" y="81"/>
                  </a:moveTo>
                  <a:lnTo>
                    <a:pt x="280" y="79"/>
                  </a:lnTo>
                  <a:lnTo>
                    <a:pt x="280" y="81"/>
                  </a:lnTo>
                  <a:close/>
                  <a:moveTo>
                    <a:pt x="23" y="79"/>
                  </a:moveTo>
                  <a:lnTo>
                    <a:pt x="23" y="81"/>
                  </a:lnTo>
                  <a:lnTo>
                    <a:pt x="23" y="79"/>
                  </a:lnTo>
                  <a:close/>
                  <a:moveTo>
                    <a:pt x="26" y="79"/>
                  </a:moveTo>
                  <a:lnTo>
                    <a:pt x="23" y="79"/>
                  </a:lnTo>
                  <a:lnTo>
                    <a:pt x="26" y="79"/>
                  </a:lnTo>
                  <a:close/>
                  <a:moveTo>
                    <a:pt x="23" y="81"/>
                  </a:moveTo>
                  <a:lnTo>
                    <a:pt x="23" y="79"/>
                  </a:lnTo>
                  <a:lnTo>
                    <a:pt x="23" y="81"/>
                  </a:lnTo>
                  <a:close/>
                  <a:moveTo>
                    <a:pt x="28" y="79"/>
                  </a:moveTo>
                  <a:lnTo>
                    <a:pt x="26" y="79"/>
                  </a:lnTo>
                  <a:lnTo>
                    <a:pt x="28" y="79"/>
                  </a:lnTo>
                  <a:close/>
                  <a:moveTo>
                    <a:pt x="31" y="79"/>
                  </a:moveTo>
                  <a:lnTo>
                    <a:pt x="28" y="79"/>
                  </a:lnTo>
                  <a:lnTo>
                    <a:pt x="31" y="79"/>
                  </a:lnTo>
                  <a:close/>
                  <a:moveTo>
                    <a:pt x="28" y="79"/>
                  </a:moveTo>
                  <a:lnTo>
                    <a:pt x="26" y="79"/>
                  </a:lnTo>
                  <a:lnTo>
                    <a:pt x="28" y="79"/>
                  </a:lnTo>
                  <a:close/>
                  <a:moveTo>
                    <a:pt x="21" y="79"/>
                  </a:moveTo>
                  <a:lnTo>
                    <a:pt x="19" y="79"/>
                  </a:lnTo>
                  <a:lnTo>
                    <a:pt x="21" y="79"/>
                  </a:lnTo>
                  <a:close/>
                  <a:moveTo>
                    <a:pt x="26" y="79"/>
                  </a:moveTo>
                  <a:lnTo>
                    <a:pt x="23" y="79"/>
                  </a:lnTo>
                  <a:lnTo>
                    <a:pt x="26" y="79"/>
                  </a:lnTo>
                  <a:close/>
                  <a:moveTo>
                    <a:pt x="35" y="79"/>
                  </a:moveTo>
                  <a:lnTo>
                    <a:pt x="33" y="79"/>
                  </a:lnTo>
                  <a:lnTo>
                    <a:pt x="35" y="79"/>
                  </a:lnTo>
                  <a:close/>
                  <a:moveTo>
                    <a:pt x="33" y="79"/>
                  </a:moveTo>
                  <a:lnTo>
                    <a:pt x="33" y="76"/>
                  </a:lnTo>
                  <a:lnTo>
                    <a:pt x="33" y="79"/>
                  </a:lnTo>
                  <a:close/>
                  <a:moveTo>
                    <a:pt x="35" y="76"/>
                  </a:moveTo>
                  <a:lnTo>
                    <a:pt x="35" y="79"/>
                  </a:lnTo>
                  <a:lnTo>
                    <a:pt x="33" y="76"/>
                  </a:lnTo>
                  <a:lnTo>
                    <a:pt x="35" y="76"/>
                  </a:lnTo>
                  <a:close/>
                  <a:moveTo>
                    <a:pt x="28" y="76"/>
                  </a:moveTo>
                  <a:lnTo>
                    <a:pt x="28" y="79"/>
                  </a:lnTo>
                  <a:lnTo>
                    <a:pt x="28" y="76"/>
                  </a:lnTo>
                  <a:lnTo>
                    <a:pt x="28" y="79"/>
                  </a:lnTo>
                  <a:lnTo>
                    <a:pt x="28" y="76"/>
                  </a:lnTo>
                  <a:lnTo>
                    <a:pt x="28" y="79"/>
                  </a:lnTo>
                  <a:lnTo>
                    <a:pt x="28" y="76"/>
                  </a:lnTo>
                  <a:close/>
                  <a:moveTo>
                    <a:pt x="33" y="76"/>
                  </a:moveTo>
                  <a:lnTo>
                    <a:pt x="33" y="79"/>
                  </a:lnTo>
                  <a:lnTo>
                    <a:pt x="33" y="76"/>
                  </a:lnTo>
                  <a:close/>
                  <a:moveTo>
                    <a:pt x="33" y="76"/>
                  </a:moveTo>
                  <a:lnTo>
                    <a:pt x="31" y="76"/>
                  </a:lnTo>
                  <a:lnTo>
                    <a:pt x="33" y="76"/>
                  </a:lnTo>
                  <a:close/>
                  <a:moveTo>
                    <a:pt x="35" y="76"/>
                  </a:moveTo>
                  <a:lnTo>
                    <a:pt x="33" y="76"/>
                  </a:lnTo>
                  <a:lnTo>
                    <a:pt x="35" y="76"/>
                  </a:lnTo>
                  <a:close/>
                  <a:moveTo>
                    <a:pt x="14" y="76"/>
                  </a:moveTo>
                  <a:lnTo>
                    <a:pt x="12" y="76"/>
                  </a:lnTo>
                  <a:lnTo>
                    <a:pt x="14" y="76"/>
                  </a:lnTo>
                  <a:close/>
                  <a:moveTo>
                    <a:pt x="33" y="76"/>
                  </a:moveTo>
                  <a:lnTo>
                    <a:pt x="31" y="76"/>
                  </a:lnTo>
                  <a:lnTo>
                    <a:pt x="33" y="76"/>
                  </a:lnTo>
                  <a:close/>
                  <a:moveTo>
                    <a:pt x="19" y="76"/>
                  </a:moveTo>
                  <a:lnTo>
                    <a:pt x="21" y="76"/>
                  </a:lnTo>
                  <a:lnTo>
                    <a:pt x="19" y="76"/>
                  </a:lnTo>
                  <a:close/>
                  <a:moveTo>
                    <a:pt x="33" y="76"/>
                  </a:moveTo>
                  <a:lnTo>
                    <a:pt x="31" y="76"/>
                  </a:lnTo>
                  <a:lnTo>
                    <a:pt x="33" y="76"/>
                  </a:lnTo>
                  <a:close/>
                  <a:moveTo>
                    <a:pt x="42" y="76"/>
                  </a:moveTo>
                  <a:lnTo>
                    <a:pt x="40" y="76"/>
                  </a:lnTo>
                  <a:lnTo>
                    <a:pt x="42" y="76"/>
                  </a:lnTo>
                  <a:close/>
                  <a:moveTo>
                    <a:pt x="23" y="76"/>
                  </a:moveTo>
                  <a:lnTo>
                    <a:pt x="23" y="74"/>
                  </a:lnTo>
                  <a:lnTo>
                    <a:pt x="23" y="76"/>
                  </a:lnTo>
                  <a:close/>
                  <a:moveTo>
                    <a:pt x="38" y="76"/>
                  </a:moveTo>
                  <a:lnTo>
                    <a:pt x="38" y="74"/>
                  </a:lnTo>
                  <a:lnTo>
                    <a:pt x="38" y="76"/>
                  </a:lnTo>
                  <a:close/>
                  <a:moveTo>
                    <a:pt x="31" y="74"/>
                  </a:moveTo>
                  <a:lnTo>
                    <a:pt x="28" y="74"/>
                  </a:lnTo>
                  <a:lnTo>
                    <a:pt x="31" y="74"/>
                  </a:lnTo>
                  <a:close/>
                  <a:moveTo>
                    <a:pt x="31" y="74"/>
                  </a:moveTo>
                  <a:lnTo>
                    <a:pt x="28" y="74"/>
                  </a:lnTo>
                  <a:lnTo>
                    <a:pt x="31" y="74"/>
                  </a:lnTo>
                  <a:close/>
                  <a:moveTo>
                    <a:pt x="28" y="71"/>
                  </a:moveTo>
                  <a:lnTo>
                    <a:pt x="28" y="74"/>
                  </a:lnTo>
                  <a:lnTo>
                    <a:pt x="28" y="71"/>
                  </a:lnTo>
                  <a:close/>
                  <a:moveTo>
                    <a:pt x="31" y="69"/>
                  </a:moveTo>
                  <a:lnTo>
                    <a:pt x="31" y="67"/>
                  </a:lnTo>
                  <a:lnTo>
                    <a:pt x="31" y="69"/>
                  </a:lnTo>
                  <a:close/>
                  <a:moveTo>
                    <a:pt x="33" y="69"/>
                  </a:moveTo>
                  <a:lnTo>
                    <a:pt x="31" y="69"/>
                  </a:lnTo>
                  <a:lnTo>
                    <a:pt x="33" y="69"/>
                  </a:lnTo>
                  <a:lnTo>
                    <a:pt x="33" y="67"/>
                  </a:lnTo>
                  <a:lnTo>
                    <a:pt x="33" y="69"/>
                  </a:lnTo>
                  <a:close/>
                  <a:moveTo>
                    <a:pt x="31" y="69"/>
                  </a:moveTo>
                  <a:lnTo>
                    <a:pt x="31" y="67"/>
                  </a:lnTo>
                  <a:lnTo>
                    <a:pt x="31" y="69"/>
                  </a:lnTo>
                  <a:close/>
                  <a:moveTo>
                    <a:pt x="33" y="67"/>
                  </a:moveTo>
                  <a:lnTo>
                    <a:pt x="31" y="67"/>
                  </a:lnTo>
                  <a:lnTo>
                    <a:pt x="33" y="67"/>
                  </a:lnTo>
                  <a:close/>
                  <a:moveTo>
                    <a:pt x="28" y="67"/>
                  </a:moveTo>
                  <a:lnTo>
                    <a:pt x="26" y="67"/>
                  </a:lnTo>
                  <a:lnTo>
                    <a:pt x="28" y="67"/>
                  </a:lnTo>
                  <a:close/>
                  <a:moveTo>
                    <a:pt x="38" y="62"/>
                  </a:moveTo>
                  <a:lnTo>
                    <a:pt x="38" y="64"/>
                  </a:lnTo>
                  <a:lnTo>
                    <a:pt x="38" y="62"/>
                  </a:lnTo>
                  <a:close/>
                  <a:moveTo>
                    <a:pt x="42" y="62"/>
                  </a:moveTo>
                  <a:lnTo>
                    <a:pt x="40" y="64"/>
                  </a:lnTo>
                  <a:lnTo>
                    <a:pt x="40" y="62"/>
                  </a:lnTo>
                  <a:lnTo>
                    <a:pt x="42" y="62"/>
                  </a:lnTo>
                  <a:close/>
                  <a:moveTo>
                    <a:pt x="42" y="62"/>
                  </a:moveTo>
                  <a:lnTo>
                    <a:pt x="40" y="62"/>
                  </a:lnTo>
                  <a:lnTo>
                    <a:pt x="42" y="62"/>
                  </a:lnTo>
                  <a:close/>
                  <a:moveTo>
                    <a:pt x="40" y="62"/>
                  </a:moveTo>
                  <a:lnTo>
                    <a:pt x="38" y="62"/>
                  </a:lnTo>
                  <a:lnTo>
                    <a:pt x="40" y="62"/>
                  </a:lnTo>
                  <a:close/>
                  <a:moveTo>
                    <a:pt x="38" y="62"/>
                  </a:moveTo>
                  <a:lnTo>
                    <a:pt x="38" y="60"/>
                  </a:lnTo>
                  <a:lnTo>
                    <a:pt x="38" y="62"/>
                  </a:lnTo>
                  <a:close/>
                  <a:moveTo>
                    <a:pt x="40" y="60"/>
                  </a:moveTo>
                  <a:lnTo>
                    <a:pt x="40" y="62"/>
                  </a:lnTo>
                  <a:lnTo>
                    <a:pt x="40" y="60"/>
                  </a:lnTo>
                  <a:close/>
                  <a:moveTo>
                    <a:pt x="38" y="60"/>
                  </a:moveTo>
                  <a:lnTo>
                    <a:pt x="38" y="62"/>
                  </a:lnTo>
                  <a:lnTo>
                    <a:pt x="38" y="60"/>
                  </a:lnTo>
                  <a:close/>
                  <a:moveTo>
                    <a:pt x="19" y="60"/>
                  </a:moveTo>
                  <a:lnTo>
                    <a:pt x="19" y="62"/>
                  </a:lnTo>
                  <a:lnTo>
                    <a:pt x="19" y="60"/>
                  </a:lnTo>
                  <a:close/>
                  <a:moveTo>
                    <a:pt x="21" y="60"/>
                  </a:moveTo>
                  <a:lnTo>
                    <a:pt x="19" y="60"/>
                  </a:lnTo>
                  <a:lnTo>
                    <a:pt x="21" y="60"/>
                  </a:lnTo>
                  <a:close/>
                  <a:moveTo>
                    <a:pt x="14" y="60"/>
                  </a:moveTo>
                  <a:lnTo>
                    <a:pt x="16" y="60"/>
                  </a:lnTo>
                  <a:lnTo>
                    <a:pt x="14" y="60"/>
                  </a:lnTo>
                  <a:close/>
                  <a:moveTo>
                    <a:pt x="21" y="57"/>
                  </a:moveTo>
                  <a:lnTo>
                    <a:pt x="21" y="60"/>
                  </a:lnTo>
                  <a:lnTo>
                    <a:pt x="21" y="57"/>
                  </a:lnTo>
                  <a:close/>
                  <a:moveTo>
                    <a:pt x="40" y="57"/>
                  </a:moveTo>
                  <a:lnTo>
                    <a:pt x="38" y="57"/>
                  </a:lnTo>
                  <a:lnTo>
                    <a:pt x="40" y="57"/>
                  </a:lnTo>
                  <a:close/>
                  <a:moveTo>
                    <a:pt x="14" y="57"/>
                  </a:moveTo>
                  <a:lnTo>
                    <a:pt x="12" y="57"/>
                  </a:lnTo>
                  <a:lnTo>
                    <a:pt x="14" y="57"/>
                  </a:lnTo>
                  <a:close/>
                  <a:moveTo>
                    <a:pt x="38" y="57"/>
                  </a:moveTo>
                  <a:lnTo>
                    <a:pt x="35" y="57"/>
                  </a:lnTo>
                  <a:lnTo>
                    <a:pt x="38" y="57"/>
                  </a:lnTo>
                  <a:close/>
                  <a:moveTo>
                    <a:pt x="52" y="57"/>
                  </a:moveTo>
                  <a:lnTo>
                    <a:pt x="50" y="57"/>
                  </a:lnTo>
                  <a:lnTo>
                    <a:pt x="52" y="57"/>
                  </a:lnTo>
                  <a:close/>
                  <a:moveTo>
                    <a:pt x="23" y="57"/>
                  </a:moveTo>
                  <a:lnTo>
                    <a:pt x="26" y="57"/>
                  </a:lnTo>
                  <a:lnTo>
                    <a:pt x="23" y="57"/>
                  </a:lnTo>
                  <a:close/>
                  <a:moveTo>
                    <a:pt x="35" y="57"/>
                  </a:moveTo>
                  <a:lnTo>
                    <a:pt x="35" y="55"/>
                  </a:lnTo>
                  <a:lnTo>
                    <a:pt x="35" y="57"/>
                  </a:lnTo>
                  <a:close/>
                  <a:moveTo>
                    <a:pt x="35" y="57"/>
                  </a:moveTo>
                  <a:lnTo>
                    <a:pt x="35" y="55"/>
                  </a:lnTo>
                  <a:lnTo>
                    <a:pt x="35" y="57"/>
                  </a:lnTo>
                  <a:close/>
                  <a:moveTo>
                    <a:pt x="50" y="55"/>
                  </a:moveTo>
                  <a:lnTo>
                    <a:pt x="47" y="55"/>
                  </a:lnTo>
                  <a:lnTo>
                    <a:pt x="50" y="55"/>
                  </a:lnTo>
                  <a:close/>
                  <a:moveTo>
                    <a:pt x="33" y="55"/>
                  </a:moveTo>
                  <a:lnTo>
                    <a:pt x="31" y="55"/>
                  </a:lnTo>
                  <a:lnTo>
                    <a:pt x="33" y="55"/>
                  </a:lnTo>
                  <a:close/>
                  <a:moveTo>
                    <a:pt x="35" y="55"/>
                  </a:moveTo>
                  <a:lnTo>
                    <a:pt x="33" y="55"/>
                  </a:lnTo>
                  <a:lnTo>
                    <a:pt x="35" y="55"/>
                  </a:lnTo>
                  <a:close/>
                  <a:moveTo>
                    <a:pt x="21" y="55"/>
                  </a:moveTo>
                  <a:lnTo>
                    <a:pt x="21" y="52"/>
                  </a:lnTo>
                  <a:lnTo>
                    <a:pt x="21" y="55"/>
                  </a:lnTo>
                  <a:close/>
                  <a:moveTo>
                    <a:pt x="33" y="55"/>
                  </a:moveTo>
                  <a:lnTo>
                    <a:pt x="33" y="52"/>
                  </a:lnTo>
                  <a:lnTo>
                    <a:pt x="33" y="55"/>
                  </a:lnTo>
                  <a:close/>
                  <a:moveTo>
                    <a:pt x="21" y="55"/>
                  </a:moveTo>
                  <a:lnTo>
                    <a:pt x="21" y="52"/>
                  </a:lnTo>
                  <a:lnTo>
                    <a:pt x="21" y="55"/>
                  </a:lnTo>
                  <a:close/>
                  <a:moveTo>
                    <a:pt x="47" y="52"/>
                  </a:moveTo>
                  <a:lnTo>
                    <a:pt x="47" y="55"/>
                  </a:lnTo>
                  <a:lnTo>
                    <a:pt x="47" y="52"/>
                  </a:lnTo>
                  <a:close/>
                  <a:moveTo>
                    <a:pt x="21" y="52"/>
                  </a:moveTo>
                  <a:lnTo>
                    <a:pt x="21" y="55"/>
                  </a:lnTo>
                  <a:lnTo>
                    <a:pt x="21" y="52"/>
                  </a:lnTo>
                  <a:close/>
                  <a:moveTo>
                    <a:pt x="35" y="52"/>
                  </a:moveTo>
                  <a:lnTo>
                    <a:pt x="33" y="52"/>
                  </a:lnTo>
                  <a:lnTo>
                    <a:pt x="35" y="52"/>
                  </a:lnTo>
                  <a:close/>
                  <a:moveTo>
                    <a:pt x="28" y="52"/>
                  </a:moveTo>
                  <a:lnTo>
                    <a:pt x="26" y="52"/>
                  </a:lnTo>
                  <a:lnTo>
                    <a:pt x="28" y="52"/>
                  </a:lnTo>
                  <a:close/>
                  <a:moveTo>
                    <a:pt x="16" y="52"/>
                  </a:moveTo>
                  <a:lnTo>
                    <a:pt x="16" y="50"/>
                  </a:lnTo>
                  <a:lnTo>
                    <a:pt x="16" y="52"/>
                  </a:lnTo>
                  <a:close/>
                  <a:moveTo>
                    <a:pt x="42" y="50"/>
                  </a:moveTo>
                  <a:lnTo>
                    <a:pt x="40" y="50"/>
                  </a:lnTo>
                  <a:lnTo>
                    <a:pt x="42" y="50"/>
                  </a:lnTo>
                  <a:close/>
                  <a:moveTo>
                    <a:pt x="92" y="50"/>
                  </a:moveTo>
                  <a:lnTo>
                    <a:pt x="92" y="48"/>
                  </a:lnTo>
                  <a:lnTo>
                    <a:pt x="92" y="50"/>
                  </a:lnTo>
                  <a:close/>
                  <a:moveTo>
                    <a:pt x="97" y="48"/>
                  </a:moveTo>
                  <a:lnTo>
                    <a:pt x="97" y="50"/>
                  </a:lnTo>
                  <a:lnTo>
                    <a:pt x="97" y="48"/>
                  </a:lnTo>
                  <a:close/>
                  <a:moveTo>
                    <a:pt x="97" y="48"/>
                  </a:moveTo>
                  <a:lnTo>
                    <a:pt x="95" y="50"/>
                  </a:lnTo>
                  <a:lnTo>
                    <a:pt x="95" y="48"/>
                  </a:lnTo>
                  <a:lnTo>
                    <a:pt x="97" y="48"/>
                  </a:lnTo>
                  <a:close/>
                  <a:moveTo>
                    <a:pt x="95" y="48"/>
                  </a:moveTo>
                  <a:lnTo>
                    <a:pt x="97" y="48"/>
                  </a:lnTo>
                  <a:lnTo>
                    <a:pt x="95" y="48"/>
                  </a:lnTo>
                  <a:close/>
                  <a:moveTo>
                    <a:pt x="99" y="48"/>
                  </a:moveTo>
                  <a:lnTo>
                    <a:pt x="97" y="48"/>
                  </a:lnTo>
                  <a:lnTo>
                    <a:pt x="99" y="48"/>
                  </a:lnTo>
                  <a:close/>
                  <a:moveTo>
                    <a:pt x="301" y="45"/>
                  </a:moveTo>
                  <a:lnTo>
                    <a:pt x="299" y="45"/>
                  </a:lnTo>
                  <a:lnTo>
                    <a:pt x="301" y="45"/>
                  </a:lnTo>
                  <a:close/>
                  <a:moveTo>
                    <a:pt x="59" y="45"/>
                  </a:moveTo>
                  <a:lnTo>
                    <a:pt x="57" y="45"/>
                  </a:lnTo>
                  <a:lnTo>
                    <a:pt x="59" y="45"/>
                  </a:lnTo>
                  <a:close/>
                  <a:moveTo>
                    <a:pt x="59" y="43"/>
                  </a:moveTo>
                  <a:lnTo>
                    <a:pt x="59" y="41"/>
                  </a:lnTo>
                  <a:lnTo>
                    <a:pt x="59" y="43"/>
                  </a:lnTo>
                  <a:close/>
                  <a:moveTo>
                    <a:pt x="66" y="38"/>
                  </a:moveTo>
                  <a:lnTo>
                    <a:pt x="64" y="38"/>
                  </a:lnTo>
                  <a:lnTo>
                    <a:pt x="66" y="38"/>
                  </a:lnTo>
                  <a:close/>
                  <a:moveTo>
                    <a:pt x="301" y="38"/>
                  </a:moveTo>
                  <a:lnTo>
                    <a:pt x="299" y="38"/>
                  </a:lnTo>
                  <a:lnTo>
                    <a:pt x="301" y="38"/>
                  </a:lnTo>
                  <a:close/>
                  <a:moveTo>
                    <a:pt x="2" y="26"/>
                  </a:moveTo>
                  <a:lnTo>
                    <a:pt x="0" y="26"/>
                  </a:lnTo>
                  <a:lnTo>
                    <a:pt x="2" y="26"/>
                  </a:lnTo>
                  <a:close/>
                  <a:moveTo>
                    <a:pt x="19" y="24"/>
                  </a:moveTo>
                  <a:lnTo>
                    <a:pt x="19" y="26"/>
                  </a:lnTo>
                  <a:lnTo>
                    <a:pt x="19" y="24"/>
                  </a:lnTo>
                  <a:close/>
                  <a:moveTo>
                    <a:pt x="140" y="21"/>
                  </a:moveTo>
                  <a:lnTo>
                    <a:pt x="142" y="21"/>
                  </a:lnTo>
                  <a:lnTo>
                    <a:pt x="140" y="21"/>
                  </a:lnTo>
                  <a:close/>
                  <a:moveTo>
                    <a:pt x="209" y="10"/>
                  </a:moveTo>
                  <a:lnTo>
                    <a:pt x="206" y="10"/>
                  </a:lnTo>
                  <a:lnTo>
                    <a:pt x="206" y="7"/>
                  </a:lnTo>
                  <a:lnTo>
                    <a:pt x="209" y="7"/>
                  </a:lnTo>
                  <a:lnTo>
                    <a:pt x="209" y="10"/>
                  </a:lnTo>
                  <a:close/>
                  <a:moveTo>
                    <a:pt x="12" y="2"/>
                  </a:moveTo>
                  <a:lnTo>
                    <a:pt x="12" y="0"/>
                  </a:lnTo>
                  <a:lnTo>
                    <a:pt x="12"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7" name="Freeform 52464"/>
            <p:cNvSpPr>
              <a:spLocks/>
            </p:cNvSpPr>
            <p:nvPr/>
          </p:nvSpPr>
          <p:spPr bwMode="auto">
            <a:xfrm>
              <a:off x="1479548" y="4275153"/>
              <a:ext cx="233363" cy="312739"/>
            </a:xfrm>
            <a:custGeom>
              <a:avLst/>
              <a:gdLst>
                <a:gd name="T0" fmla="*/ 69 w 147"/>
                <a:gd name="T1" fmla="*/ 176 h 197"/>
                <a:gd name="T2" fmla="*/ 66 w 147"/>
                <a:gd name="T3" fmla="*/ 183 h 197"/>
                <a:gd name="T4" fmla="*/ 59 w 147"/>
                <a:gd name="T5" fmla="*/ 188 h 197"/>
                <a:gd name="T6" fmla="*/ 42 w 147"/>
                <a:gd name="T7" fmla="*/ 190 h 197"/>
                <a:gd name="T8" fmla="*/ 35 w 147"/>
                <a:gd name="T9" fmla="*/ 192 h 197"/>
                <a:gd name="T10" fmla="*/ 24 w 147"/>
                <a:gd name="T11" fmla="*/ 195 h 197"/>
                <a:gd name="T12" fmla="*/ 21 w 147"/>
                <a:gd name="T13" fmla="*/ 190 h 197"/>
                <a:gd name="T14" fmla="*/ 9 w 147"/>
                <a:gd name="T15" fmla="*/ 190 h 197"/>
                <a:gd name="T16" fmla="*/ 21 w 147"/>
                <a:gd name="T17" fmla="*/ 183 h 197"/>
                <a:gd name="T18" fmla="*/ 16 w 147"/>
                <a:gd name="T19" fmla="*/ 181 h 197"/>
                <a:gd name="T20" fmla="*/ 5 w 147"/>
                <a:gd name="T21" fmla="*/ 178 h 197"/>
                <a:gd name="T22" fmla="*/ 24 w 147"/>
                <a:gd name="T23" fmla="*/ 164 h 197"/>
                <a:gd name="T24" fmla="*/ 0 w 147"/>
                <a:gd name="T25" fmla="*/ 159 h 197"/>
                <a:gd name="T26" fmla="*/ 14 w 147"/>
                <a:gd name="T27" fmla="*/ 157 h 197"/>
                <a:gd name="T28" fmla="*/ 19 w 147"/>
                <a:gd name="T29" fmla="*/ 150 h 197"/>
                <a:gd name="T30" fmla="*/ 33 w 147"/>
                <a:gd name="T31" fmla="*/ 143 h 197"/>
                <a:gd name="T32" fmla="*/ 54 w 147"/>
                <a:gd name="T33" fmla="*/ 135 h 197"/>
                <a:gd name="T34" fmla="*/ 38 w 147"/>
                <a:gd name="T35" fmla="*/ 140 h 197"/>
                <a:gd name="T36" fmla="*/ 19 w 147"/>
                <a:gd name="T37" fmla="*/ 140 h 197"/>
                <a:gd name="T38" fmla="*/ 35 w 147"/>
                <a:gd name="T39" fmla="*/ 124 h 197"/>
                <a:gd name="T40" fmla="*/ 50 w 147"/>
                <a:gd name="T41" fmla="*/ 114 h 197"/>
                <a:gd name="T42" fmla="*/ 45 w 147"/>
                <a:gd name="T43" fmla="*/ 107 h 197"/>
                <a:gd name="T44" fmla="*/ 28 w 147"/>
                <a:gd name="T45" fmla="*/ 105 h 197"/>
                <a:gd name="T46" fmla="*/ 21 w 147"/>
                <a:gd name="T47" fmla="*/ 107 h 197"/>
                <a:gd name="T48" fmla="*/ 12 w 147"/>
                <a:gd name="T49" fmla="*/ 100 h 197"/>
                <a:gd name="T50" fmla="*/ 14 w 147"/>
                <a:gd name="T51" fmla="*/ 93 h 197"/>
                <a:gd name="T52" fmla="*/ 16 w 147"/>
                <a:gd name="T53" fmla="*/ 86 h 197"/>
                <a:gd name="T54" fmla="*/ 31 w 147"/>
                <a:gd name="T55" fmla="*/ 76 h 197"/>
                <a:gd name="T56" fmla="*/ 7 w 147"/>
                <a:gd name="T57" fmla="*/ 71 h 197"/>
                <a:gd name="T58" fmla="*/ 21 w 147"/>
                <a:gd name="T59" fmla="*/ 74 h 197"/>
                <a:gd name="T60" fmla="*/ 19 w 147"/>
                <a:gd name="T61" fmla="*/ 67 h 197"/>
                <a:gd name="T62" fmla="*/ 12 w 147"/>
                <a:gd name="T63" fmla="*/ 62 h 197"/>
                <a:gd name="T64" fmla="*/ 19 w 147"/>
                <a:gd name="T65" fmla="*/ 59 h 197"/>
                <a:gd name="T66" fmla="*/ 28 w 147"/>
                <a:gd name="T67" fmla="*/ 55 h 197"/>
                <a:gd name="T68" fmla="*/ 45 w 147"/>
                <a:gd name="T69" fmla="*/ 62 h 197"/>
                <a:gd name="T70" fmla="*/ 64 w 147"/>
                <a:gd name="T71" fmla="*/ 59 h 197"/>
                <a:gd name="T72" fmla="*/ 61 w 147"/>
                <a:gd name="T73" fmla="*/ 50 h 197"/>
                <a:gd name="T74" fmla="*/ 78 w 147"/>
                <a:gd name="T75" fmla="*/ 40 h 197"/>
                <a:gd name="T76" fmla="*/ 69 w 147"/>
                <a:gd name="T77" fmla="*/ 40 h 197"/>
                <a:gd name="T78" fmla="*/ 61 w 147"/>
                <a:gd name="T79" fmla="*/ 38 h 197"/>
                <a:gd name="T80" fmla="*/ 64 w 147"/>
                <a:gd name="T81" fmla="*/ 29 h 197"/>
                <a:gd name="T82" fmla="*/ 66 w 147"/>
                <a:gd name="T83" fmla="*/ 26 h 197"/>
                <a:gd name="T84" fmla="*/ 71 w 147"/>
                <a:gd name="T85" fmla="*/ 17 h 197"/>
                <a:gd name="T86" fmla="*/ 85 w 147"/>
                <a:gd name="T87" fmla="*/ 12 h 197"/>
                <a:gd name="T88" fmla="*/ 90 w 147"/>
                <a:gd name="T89" fmla="*/ 12 h 197"/>
                <a:gd name="T90" fmla="*/ 90 w 147"/>
                <a:gd name="T91" fmla="*/ 7 h 197"/>
                <a:gd name="T92" fmla="*/ 97 w 147"/>
                <a:gd name="T93" fmla="*/ 19 h 197"/>
                <a:gd name="T94" fmla="*/ 104 w 147"/>
                <a:gd name="T95" fmla="*/ 5 h 197"/>
                <a:gd name="T96" fmla="*/ 116 w 147"/>
                <a:gd name="T97" fmla="*/ 7 h 197"/>
                <a:gd name="T98" fmla="*/ 97 w 147"/>
                <a:gd name="T99" fmla="*/ 33 h 197"/>
                <a:gd name="T100" fmla="*/ 78 w 147"/>
                <a:gd name="T101" fmla="*/ 45 h 197"/>
                <a:gd name="T102" fmla="*/ 102 w 147"/>
                <a:gd name="T103" fmla="*/ 62 h 197"/>
                <a:gd name="T104" fmla="*/ 123 w 147"/>
                <a:gd name="T105" fmla="*/ 62 h 197"/>
                <a:gd name="T106" fmla="*/ 145 w 147"/>
                <a:gd name="T107" fmla="*/ 71 h 197"/>
                <a:gd name="T108" fmla="*/ 140 w 147"/>
                <a:gd name="T109" fmla="*/ 86 h 197"/>
                <a:gd name="T110" fmla="*/ 145 w 147"/>
                <a:gd name="T111" fmla="*/ 107 h 197"/>
                <a:gd name="T112" fmla="*/ 140 w 147"/>
                <a:gd name="T113" fmla="*/ 135 h 197"/>
                <a:gd name="T114" fmla="*/ 133 w 147"/>
                <a:gd name="T115" fmla="*/ 154 h 197"/>
                <a:gd name="T116" fmla="*/ 118 w 147"/>
                <a:gd name="T117" fmla="*/ 159 h 197"/>
                <a:gd name="T118" fmla="*/ 114 w 147"/>
                <a:gd name="T119" fmla="*/ 157 h 197"/>
                <a:gd name="T120" fmla="*/ 111 w 147"/>
                <a:gd name="T121" fmla="*/ 164 h 197"/>
                <a:gd name="T122" fmla="*/ 95 w 147"/>
                <a:gd name="T123" fmla="*/ 166 h 197"/>
                <a:gd name="T124" fmla="*/ 83 w 147"/>
                <a:gd name="T125" fmla="*/ 1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97">
                  <a:moveTo>
                    <a:pt x="76" y="178"/>
                  </a:moveTo>
                  <a:lnTo>
                    <a:pt x="73" y="178"/>
                  </a:lnTo>
                  <a:lnTo>
                    <a:pt x="76" y="178"/>
                  </a:lnTo>
                  <a:lnTo>
                    <a:pt x="76" y="176"/>
                  </a:lnTo>
                  <a:lnTo>
                    <a:pt x="73" y="176"/>
                  </a:lnTo>
                  <a:lnTo>
                    <a:pt x="76" y="176"/>
                  </a:lnTo>
                  <a:lnTo>
                    <a:pt x="73" y="176"/>
                  </a:lnTo>
                  <a:lnTo>
                    <a:pt x="71" y="176"/>
                  </a:lnTo>
                  <a:lnTo>
                    <a:pt x="73" y="176"/>
                  </a:lnTo>
                  <a:lnTo>
                    <a:pt x="71" y="176"/>
                  </a:lnTo>
                  <a:lnTo>
                    <a:pt x="73" y="176"/>
                  </a:lnTo>
                  <a:lnTo>
                    <a:pt x="71" y="178"/>
                  </a:lnTo>
                  <a:lnTo>
                    <a:pt x="71" y="176"/>
                  </a:lnTo>
                  <a:lnTo>
                    <a:pt x="71" y="173"/>
                  </a:lnTo>
                  <a:lnTo>
                    <a:pt x="71" y="176"/>
                  </a:lnTo>
                  <a:lnTo>
                    <a:pt x="71" y="173"/>
                  </a:lnTo>
                  <a:lnTo>
                    <a:pt x="71" y="176"/>
                  </a:lnTo>
                  <a:lnTo>
                    <a:pt x="71" y="173"/>
                  </a:lnTo>
                  <a:lnTo>
                    <a:pt x="71" y="176"/>
                  </a:lnTo>
                  <a:lnTo>
                    <a:pt x="69" y="176"/>
                  </a:lnTo>
                  <a:lnTo>
                    <a:pt x="69" y="173"/>
                  </a:lnTo>
                  <a:lnTo>
                    <a:pt x="69" y="176"/>
                  </a:lnTo>
                  <a:lnTo>
                    <a:pt x="66" y="176"/>
                  </a:lnTo>
                  <a:lnTo>
                    <a:pt x="69" y="176"/>
                  </a:lnTo>
                  <a:lnTo>
                    <a:pt x="66" y="176"/>
                  </a:lnTo>
                  <a:lnTo>
                    <a:pt x="69" y="176"/>
                  </a:lnTo>
                  <a:lnTo>
                    <a:pt x="71" y="176"/>
                  </a:lnTo>
                  <a:lnTo>
                    <a:pt x="71" y="178"/>
                  </a:lnTo>
                  <a:lnTo>
                    <a:pt x="69" y="178"/>
                  </a:lnTo>
                  <a:lnTo>
                    <a:pt x="71" y="178"/>
                  </a:lnTo>
                  <a:lnTo>
                    <a:pt x="71" y="181"/>
                  </a:lnTo>
                  <a:lnTo>
                    <a:pt x="71" y="178"/>
                  </a:lnTo>
                  <a:lnTo>
                    <a:pt x="71" y="181"/>
                  </a:lnTo>
                  <a:lnTo>
                    <a:pt x="71" y="178"/>
                  </a:lnTo>
                  <a:lnTo>
                    <a:pt x="71" y="181"/>
                  </a:lnTo>
                  <a:lnTo>
                    <a:pt x="69" y="178"/>
                  </a:lnTo>
                  <a:lnTo>
                    <a:pt x="71" y="181"/>
                  </a:lnTo>
                  <a:lnTo>
                    <a:pt x="71" y="178"/>
                  </a:lnTo>
                  <a:lnTo>
                    <a:pt x="71" y="181"/>
                  </a:lnTo>
                  <a:lnTo>
                    <a:pt x="71" y="183"/>
                  </a:lnTo>
                  <a:lnTo>
                    <a:pt x="69" y="183"/>
                  </a:lnTo>
                  <a:lnTo>
                    <a:pt x="69" y="185"/>
                  </a:lnTo>
                  <a:lnTo>
                    <a:pt x="66" y="185"/>
                  </a:lnTo>
                  <a:lnTo>
                    <a:pt x="66" y="183"/>
                  </a:lnTo>
                  <a:lnTo>
                    <a:pt x="64" y="183"/>
                  </a:lnTo>
                  <a:lnTo>
                    <a:pt x="66" y="185"/>
                  </a:lnTo>
                  <a:lnTo>
                    <a:pt x="66" y="183"/>
                  </a:lnTo>
                  <a:lnTo>
                    <a:pt x="66" y="185"/>
                  </a:lnTo>
                  <a:lnTo>
                    <a:pt x="64" y="185"/>
                  </a:lnTo>
                  <a:lnTo>
                    <a:pt x="61" y="185"/>
                  </a:lnTo>
                  <a:lnTo>
                    <a:pt x="64" y="185"/>
                  </a:lnTo>
                  <a:lnTo>
                    <a:pt x="61" y="185"/>
                  </a:lnTo>
                  <a:lnTo>
                    <a:pt x="61" y="183"/>
                  </a:lnTo>
                  <a:lnTo>
                    <a:pt x="59" y="183"/>
                  </a:lnTo>
                  <a:lnTo>
                    <a:pt x="61" y="183"/>
                  </a:lnTo>
                  <a:lnTo>
                    <a:pt x="61" y="185"/>
                  </a:lnTo>
                  <a:lnTo>
                    <a:pt x="64" y="185"/>
                  </a:lnTo>
                  <a:lnTo>
                    <a:pt x="64" y="188"/>
                  </a:lnTo>
                  <a:lnTo>
                    <a:pt x="64" y="190"/>
                  </a:lnTo>
                  <a:lnTo>
                    <a:pt x="64" y="188"/>
                  </a:lnTo>
                  <a:lnTo>
                    <a:pt x="61" y="188"/>
                  </a:lnTo>
                  <a:lnTo>
                    <a:pt x="59" y="188"/>
                  </a:lnTo>
                  <a:lnTo>
                    <a:pt x="57" y="188"/>
                  </a:lnTo>
                  <a:lnTo>
                    <a:pt x="59" y="188"/>
                  </a:lnTo>
                  <a:lnTo>
                    <a:pt x="57" y="188"/>
                  </a:lnTo>
                  <a:lnTo>
                    <a:pt x="59" y="188"/>
                  </a:lnTo>
                  <a:lnTo>
                    <a:pt x="59" y="190"/>
                  </a:lnTo>
                  <a:lnTo>
                    <a:pt x="57" y="190"/>
                  </a:lnTo>
                  <a:lnTo>
                    <a:pt x="59" y="190"/>
                  </a:lnTo>
                  <a:lnTo>
                    <a:pt x="57" y="190"/>
                  </a:lnTo>
                  <a:lnTo>
                    <a:pt x="59" y="190"/>
                  </a:lnTo>
                  <a:lnTo>
                    <a:pt x="57" y="190"/>
                  </a:lnTo>
                  <a:lnTo>
                    <a:pt x="59" y="190"/>
                  </a:lnTo>
                  <a:lnTo>
                    <a:pt x="57" y="190"/>
                  </a:lnTo>
                  <a:lnTo>
                    <a:pt x="54" y="190"/>
                  </a:lnTo>
                  <a:lnTo>
                    <a:pt x="52" y="190"/>
                  </a:lnTo>
                  <a:lnTo>
                    <a:pt x="52" y="188"/>
                  </a:lnTo>
                  <a:lnTo>
                    <a:pt x="52" y="190"/>
                  </a:lnTo>
                  <a:lnTo>
                    <a:pt x="52" y="192"/>
                  </a:lnTo>
                  <a:lnTo>
                    <a:pt x="50" y="192"/>
                  </a:lnTo>
                  <a:lnTo>
                    <a:pt x="47" y="192"/>
                  </a:lnTo>
                  <a:lnTo>
                    <a:pt x="47" y="190"/>
                  </a:lnTo>
                  <a:lnTo>
                    <a:pt x="47" y="192"/>
                  </a:lnTo>
                  <a:lnTo>
                    <a:pt x="47" y="190"/>
                  </a:lnTo>
                  <a:lnTo>
                    <a:pt x="47" y="192"/>
                  </a:lnTo>
                  <a:lnTo>
                    <a:pt x="45" y="192"/>
                  </a:lnTo>
                  <a:lnTo>
                    <a:pt x="42" y="192"/>
                  </a:lnTo>
                  <a:lnTo>
                    <a:pt x="42" y="190"/>
                  </a:lnTo>
                  <a:lnTo>
                    <a:pt x="42" y="192"/>
                  </a:lnTo>
                  <a:lnTo>
                    <a:pt x="45" y="192"/>
                  </a:lnTo>
                  <a:lnTo>
                    <a:pt x="42" y="192"/>
                  </a:lnTo>
                  <a:lnTo>
                    <a:pt x="45" y="192"/>
                  </a:lnTo>
                  <a:lnTo>
                    <a:pt x="42" y="192"/>
                  </a:lnTo>
                  <a:lnTo>
                    <a:pt x="42" y="195"/>
                  </a:lnTo>
                  <a:lnTo>
                    <a:pt x="42" y="192"/>
                  </a:lnTo>
                  <a:lnTo>
                    <a:pt x="42" y="195"/>
                  </a:lnTo>
                  <a:lnTo>
                    <a:pt x="40" y="195"/>
                  </a:lnTo>
                  <a:lnTo>
                    <a:pt x="38" y="195"/>
                  </a:lnTo>
                  <a:lnTo>
                    <a:pt x="38" y="197"/>
                  </a:lnTo>
                  <a:lnTo>
                    <a:pt x="35" y="195"/>
                  </a:lnTo>
                  <a:lnTo>
                    <a:pt x="35" y="197"/>
                  </a:lnTo>
                  <a:lnTo>
                    <a:pt x="35" y="195"/>
                  </a:lnTo>
                  <a:lnTo>
                    <a:pt x="35" y="192"/>
                  </a:lnTo>
                  <a:lnTo>
                    <a:pt x="38" y="192"/>
                  </a:lnTo>
                  <a:lnTo>
                    <a:pt x="35" y="192"/>
                  </a:lnTo>
                  <a:lnTo>
                    <a:pt x="35" y="195"/>
                  </a:lnTo>
                  <a:lnTo>
                    <a:pt x="33" y="195"/>
                  </a:lnTo>
                  <a:lnTo>
                    <a:pt x="35" y="195"/>
                  </a:lnTo>
                  <a:lnTo>
                    <a:pt x="33" y="195"/>
                  </a:lnTo>
                  <a:lnTo>
                    <a:pt x="35" y="192"/>
                  </a:lnTo>
                  <a:lnTo>
                    <a:pt x="33" y="192"/>
                  </a:lnTo>
                  <a:lnTo>
                    <a:pt x="35" y="192"/>
                  </a:lnTo>
                  <a:lnTo>
                    <a:pt x="33" y="192"/>
                  </a:lnTo>
                  <a:lnTo>
                    <a:pt x="35" y="192"/>
                  </a:lnTo>
                  <a:lnTo>
                    <a:pt x="33" y="192"/>
                  </a:lnTo>
                  <a:lnTo>
                    <a:pt x="31" y="192"/>
                  </a:lnTo>
                  <a:lnTo>
                    <a:pt x="31" y="195"/>
                  </a:lnTo>
                  <a:lnTo>
                    <a:pt x="31" y="192"/>
                  </a:lnTo>
                  <a:lnTo>
                    <a:pt x="31" y="195"/>
                  </a:lnTo>
                  <a:lnTo>
                    <a:pt x="28" y="195"/>
                  </a:lnTo>
                  <a:lnTo>
                    <a:pt x="26" y="195"/>
                  </a:lnTo>
                  <a:lnTo>
                    <a:pt x="26" y="192"/>
                  </a:lnTo>
                  <a:lnTo>
                    <a:pt x="26" y="195"/>
                  </a:lnTo>
                  <a:lnTo>
                    <a:pt x="24" y="195"/>
                  </a:lnTo>
                  <a:lnTo>
                    <a:pt x="26" y="195"/>
                  </a:lnTo>
                  <a:lnTo>
                    <a:pt x="24" y="195"/>
                  </a:lnTo>
                  <a:lnTo>
                    <a:pt x="24" y="197"/>
                  </a:lnTo>
                  <a:lnTo>
                    <a:pt x="24" y="195"/>
                  </a:lnTo>
                  <a:lnTo>
                    <a:pt x="26" y="195"/>
                  </a:lnTo>
                  <a:lnTo>
                    <a:pt x="24" y="195"/>
                  </a:lnTo>
                  <a:lnTo>
                    <a:pt x="24" y="197"/>
                  </a:lnTo>
                  <a:lnTo>
                    <a:pt x="24" y="195"/>
                  </a:lnTo>
                  <a:lnTo>
                    <a:pt x="21" y="197"/>
                  </a:lnTo>
                  <a:lnTo>
                    <a:pt x="21" y="195"/>
                  </a:lnTo>
                  <a:lnTo>
                    <a:pt x="24" y="195"/>
                  </a:lnTo>
                  <a:lnTo>
                    <a:pt x="24" y="192"/>
                  </a:lnTo>
                  <a:lnTo>
                    <a:pt x="26" y="192"/>
                  </a:lnTo>
                  <a:lnTo>
                    <a:pt x="26" y="190"/>
                  </a:lnTo>
                  <a:lnTo>
                    <a:pt x="28" y="190"/>
                  </a:lnTo>
                  <a:lnTo>
                    <a:pt x="31" y="190"/>
                  </a:lnTo>
                  <a:lnTo>
                    <a:pt x="31" y="188"/>
                  </a:lnTo>
                  <a:lnTo>
                    <a:pt x="31" y="190"/>
                  </a:lnTo>
                  <a:lnTo>
                    <a:pt x="28" y="190"/>
                  </a:lnTo>
                  <a:lnTo>
                    <a:pt x="31" y="190"/>
                  </a:lnTo>
                  <a:lnTo>
                    <a:pt x="28" y="190"/>
                  </a:lnTo>
                  <a:lnTo>
                    <a:pt x="26" y="190"/>
                  </a:lnTo>
                  <a:lnTo>
                    <a:pt x="28" y="190"/>
                  </a:lnTo>
                  <a:lnTo>
                    <a:pt x="26" y="190"/>
                  </a:lnTo>
                  <a:lnTo>
                    <a:pt x="24" y="190"/>
                  </a:lnTo>
                  <a:lnTo>
                    <a:pt x="24" y="192"/>
                  </a:lnTo>
                  <a:lnTo>
                    <a:pt x="21" y="192"/>
                  </a:lnTo>
                  <a:lnTo>
                    <a:pt x="19" y="192"/>
                  </a:lnTo>
                  <a:lnTo>
                    <a:pt x="21" y="192"/>
                  </a:lnTo>
                  <a:lnTo>
                    <a:pt x="21" y="190"/>
                  </a:lnTo>
                  <a:lnTo>
                    <a:pt x="24" y="190"/>
                  </a:lnTo>
                  <a:lnTo>
                    <a:pt x="26" y="190"/>
                  </a:lnTo>
                  <a:lnTo>
                    <a:pt x="26" y="188"/>
                  </a:lnTo>
                  <a:lnTo>
                    <a:pt x="28" y="188"/>
                  </a:lnTo>
                  <a:lnTo>
                    <a:pt x="31" y="188"/>
                  </a:lnTo>
                  <a:lnTo>
                    <a:pt x="31" y="185"/>
                  </a:lnTo>
                  <a:lnTo>
                    <a:pt x="33" y="185"/>
                  </a:lnTo>
                  <a:lnTo>
                    <a:pt x="33" y="183"/>
                  </a:lnTo>
                  <a:lnTo>
                    <a:pt x="31" y="183"/>
                  </a:lnTo>
                  <a:lnTo>
                    <a:pt x="28" y="185"/>
                  </a:lnTo>
                  <a:lnTo>
                    <a:pt x="26" y="185"/>
                  </a:lnTo>
                  <a:lnTo>
                    <a:pt x="24" y="185"/>
                  </a:lnTo>
                  <a:lnTo>
                    <a:pt x="24" y="188"/>
                  </a:lnTo>
                  <a:lnTo>
                    <a:pt x="21" y="188"/>
                  </a:lnTo>
                  <a:lnTo>
                    <a:pt x="19" y="188"/>
                  </a:lnTo>
                  <a:lnTo>
                    <a:pt x="16" y="188"/>
                  </a:lnTo>
                  <a:lnTo>
                    <a:pt x="16" y="190"/>
                  </a:lnTo>
                  <a:lnTo>
                    <a:pt x="16" y="188"/>
                  </a:lnTo>
                  <a:lnTo>
                    <a:pt x="16" y="190"/>
                  </a:lnTo>
                  <a:lnTo>
                    <a:pt x="14" y="190"/>
                  </a:lnTo>
                  <a:lnTo>
                    <a:pt x="12" y="190"/>
                  </a:lnTo>
                  <a:lnTo>
                    <a:pt x="9" y="190"/>
                  </a:lnTo>
                  <a:lnTo>
                    <a:pt x="9" y="188"/>
                  </a:lnTo>
                  <a:lnTo>
                    <a:pt x="12" y="188"/>
                  </a:lnTo>
                  <a:lnTo>
                    <a:pt x="12" y="190"/>
                  </a:lnTo>
                  <a:lnTo>
                    <a:pt x="12" y="188"/>
                  </a:lnTo>
                  <a:lnTo>
                    <a:pt x="14" y="188"/>
                  </a:lnTo>
                  <a:lnTo>
                    <a:pt x="12" y="188"/>
                  </a:lnTo>
                  <a:lnTo>
                    <a:pt x="14" y="188"/>
                  </a:lnTo>
                  <a:lnTo>
                    <a:pt x="12" y="188"/>
                  </a:lnTo>
                  <a:lnTo>
                    <a:pt x="12" y="185"/>
                  </a:lnTo>
                  <a:lnTo>
                    <a:pt x="14" y="185"/>
                  </a:lnTo>
                  <a:lnTo>
                    <a:pt x="16" y="185"/>
                  </a:lnTo>
                  <a:lnTo>
                    <a:pt x="16" y="183"/>
                  </a:lnTo>
                  <a:lnTo>
                    <a:pt x="16" y="185"/>
                  </a:lnTo>
                  <a:lnTo>
                    <a:pt x="16" y="183"/>
                  </a:lnTo>
                  <a:lnTo>
                    <a:pt x="14" y="183"/>
                  </a:lnTo>
                  <a:lnTo>
                    <a:pt x="16" y="183"/>
                  </a:lnTo>
                  <a:lnTo>
                    <a:pt x="19" y="183"/>
                  </a:lnTo>
                  <a:lnTo>
                    <a:pt x="16" y="183"/>
                  </a:lnTo>
                  <a:lnTo>
                    <a:pt x="19" y="183"/>
                  </a:lnTo>
                  <a:lnTo>
                    <a:pt x="19" y="181"/>
                  </a:lnTo>
                  <a:lnTo>
                    <a:pt x="19" y="183"/>
                  </a:lnTo>
                  <a:lnTo>
                    <a:pt x="21" y="183"/>
                  </a:lnTo>
                  <a:lnTo>
                    <a:pt x="19" y="181"/>
                  </a:lnTo>
                  <a:lnTo>
                    <a:pt x="21" y="181"/>
                  </a:lnTo>
                  <a:lnTo>
                    <a:pt x="24" y="181"/>
                  </a:lnTo>
                  <a:lnTo>
                    <a:pt x="21" y="181"/>
                  </a:lnTo>
                  <a:lnTo>
                    <a:pt x="24" y="181"/>
                  </a:lnTo>
                  <a:lnTo>
                    <a:pt x="21" y="178"/>
                  </a:lnTo>
                  <a:lnTo>
                    <a:pt x="24" y="178"/>
                  </a:lnTo>
                  <a:lnTo>
                    <a:pt x="26" y="178"/>
                  </a:lnTo>
                  <a:lnTo>
                    <a:pt x="28" y="178"/>
                  </a:lnTo>
                  <a:lnTo>
                    <a:pt x="28" y="176"/>
                  </a:lnTo>
                  <a:lnTo>
                    <a:pt x="31" y="176"/>
                  </a:lnTo>
                  <a:lnTo>
                    <a:pt x="28" y="176"/>
                  </a:lnTo>
                  <a:lnTo>
                    <a:pt x="26" y="176"/>
                  </a:lnTo>
                  <a:lnTo>
                    <a:pt x="24" y="176"/>
                  </a:lnTo>
                  <a:lnTo>
                    <a:pt x="24" y="178"/>
                  </a:lnTo>
                  <a:lnTo>
                    <a:pt x="21" y="178"/>
                  </a:lnTo>
                  <a:lnTo>
                    <a:pt x="19" y="181"/>
                  </a:lnTo>
                  <a:lnTo>
                    <a:pt x="19" y="178"/>
                  </a:lnTo>
                  <a:lnTo>
                    <a:pt x="19" y="181"/>
                  </a:lnTo>
                  <a:lnTo>
                    <a:pt x="19" y="178"/>
                  </a:lnTo>
                  <a:lnTo>
                    <a:pt x="19" y="181"/>
                  </a:lnTo>
                  <a:lnTo>
                    <a:pt x="16" y="181"/>
                  </a:lnTo>
                  <a:lnTo>
                    <a:pt x="14" y="181"/>
                  </a:lnTo>
                  <a:lnTo>
                    <a:pt x="12" y="183"/>
                  </a:lnTo>
                  <a:lnTo>
                    <a:pt x="12" y="181"/>
                  </a:lnTo>
                  <a:lnTo>
                    <a:pt x="12" y="183"/>
                  </a:lnTo>
                  <a:lnTo>
                    <a:pt x="9" y="183"/>
                  </a:lnTo>
                  <a:lnTo>
                    <a:pt x="12" y="181"/>
                  </a:lnTo>
                  <a:lnTo>
                    <a:pt x="9" y="181"/>
                  </a:lnTo>
                  <a:lnTo>
                    <a:pt x="9" y="183"/>
                  </a:lnTo>
                  <a:lnTo>
                    <a:pt x="9" y="181"/>
                  </a:lnTo>
                  <a:lnTo>
                    <a:pt x="9" y="183"/>
                  </a:lnTo>
                  <a:lnTo>
                    <a:pt x="9" y="181"/>
                  </a:lnTo>
                  <a:lnTo>
                    <a:pt x="7" y="181"/>
                  </a:lnTo>
                  <a:lnTo>
                    <a:pt x="9" y="181"/>
                  </a:lnTo>
                  <a:lnTo>
                    <a:pt x="9" y="178"/>
                  </a:lnTo>
                  <a:lnTo>
                    <a:pt x="9" y="176"/>
                  </a:lnTo>
                  <a:lnTo>
                    <a:pt x="9" y="178"/>
                  </a:lnTo>
                  <a:lnTo>
                    <a:pt x="7" y="178"/>
                  </a:lnTo>
                  <a:lnTo>
                    <a:pt x="7" y="181"/>
                  </a:lnTo>
                  <a:lnTo>
                    <a:pt x="5" y="181"/>
                  </a:lnTo>
                  <a:lnTo>
                    <a:pt x="2" y="181"/>
                  </a:lnTo>
                  <a:lnTo>
                    <a:pt x="5" y="181"/>
                  </a:lnTo>
                  <a:lnTo>
                    <a:pt x="5" y="178"/>
                  </a:lnTo>
                  <a:lnTo>
                    <a:pt x="2" y="178"/>
                  </a:lnTo>
                  <a:lnTo>
                    <a:pt x="2" y="176"/>
                  </a:lnTo>
                  <a:lnTo>
                    <a:pt x="5" y="176"/>
                  </a:lnTo>
                  <a:lnTo>
                    <a:pt x="7" y="173"/>
                  </a:lnTo>
                  <a:lnTo>
                    <a:pt x="7" y="171"/>
                  </a:lnTo>
                  <a:lnTo>
                    <a:pt x="9" y="171"/>
                  </a:lnTo>
                  <a:lnTo>
                    <a:pt x="7" y="171"/>
                  </a:lnTo>
                  <a:lnTo>
                    <a:pt x="7" y="173"/>
                  </a:lnTo>
                  <a:lnTo>
                    <a:pt x="5" y="173"/>
                  </a:lnTo>
                  <a:lnTo>
                    <a:pt x="7" y="173"/>
                  </a:lnTo>
                  <a:lnTo>
                    <a:pt x="5" y="173"/>
                  </a:lnTo>
                  <a:lnTo>
                    <a:pt x="5" y="171"/>
                  </a:lnTo>
                  <a:lnTo>
                    <a:pt x="7" y="171"/>
                  </a:lnTo>
                  <a:lnTo>
                    <a:pt x="9" y="169"/>
                  </a:lnTo>
                  <a:lnTo>
                    <a:pt x="12" y="169"/>
                  </a:lnTo>
                  <a:lnTo>
                    <a:pt x="14" y="169"/>
                  </a:lnTo>
                  <a:lnTo>
                    <a:pt x="16" y="166"/>
                  </a:lnTo>
                  <a:lnTo>
                    <a:pt x="19" y="166"/>
                  </a:lnTo>
                  <a:lnTo>
                    <a:pt x="16" y="166"/>
                  </a:lnTo>
                  <a:lnTo>
                    <a:pt x="19" y="164"/>
                  </a:lnTo>
                  <a:lnTo>
                    <a:pt x="21" y="164"/>
                  </a:lnTo>
                  <a:lnTo>
                    <a:pt x="24" y="164"/>
                  </a:lnTo>
                  <a:lnTo>
                    <a:pt x="21" y="164"/>
                  </a:lnTo>
                  <a:lnTo>
                    <a:pt x="21" y="162"/>
                  </a:lnTo>
                  <a:lnTo>
                    <a:pt x="24" y="162"/>
                  </a:lnTo>
                  <a:lnTo>
                    <a:pt x="21" y="162"/>
                  </a:lnTo>
                  <a:lnTo>
                    <a:pt x="19" y="162"/>
                  </a:lnTo>
                  <a:lnTo>
                    <a:pt x="16" y="162"/>
                  </a:lnTo>
                  <a:lnTo>
                    <a:pt x="16" y="164"/>
                  </a:lnTo>
                  <a:lnTo>
                    <a:pt x="14" y="164"/>
                  </a:lnTo>
                  <a:lnTo>
                    <a:pt x="12" y="164"/>
                  </a:lnTo>
                  <a:lnTo>
                    <a:pt x="9" y="164"/>
                  </a:lnTo>
                  <a:lnTo>
                    <a:pt x="7" y="164"/>
                  </a:lnTo>
                  <a:lnTo>
                    <a:pt x="9" y="164"/>
                  </a:lnTo>
                  <a:lnTo>
                    <a:pt x="7" y="164"/>
                  </a:lnTo>
                  <a:lnTo>
                    <a:pt x="5" y="164"/>
                  </a:lnTo>
                  <a:lnTo>
                    <a:pt x="7" y="164"/>
                  </a:lnTo>
                  <a:lnTo>
                    <a:pt x="5" y="164"/>
                  </a:lnTo>
                  <a:lnTo>
                    <a:pt x="2" y="164"/>
                  </a:lnTo>
                  <a:lnTo>
                    <a:pt x="5" y="164"/>
                  </a:lnTo>
                  <a:lnTo>
                    <a:pt x="2" y="164"/>
                  </a:lnTo>
                  <a:lnTo>
                    <a:pt x="0" y="164"/>
                  </a:lnTo>
                  <a:lnTo>
                    <a:pt x="0" y="162"/>
                  </a:lnTo>
                  <a:lnTo>
                    <a:pt x="0" y="159"/>
                  </a:lnTo>
                  <a:lnTo>
                    <a:pt x="2" y="159"/>
                  </a:lnTo>
                  <a:lnTo>
                    <a:pt x="2" y="162"/>
                  </a:lnTo>
                  <a:lnTo>
                    <a:pt x="2" y="159"/>
                  </a:lnTo>
                  <a:lnTo>
                    <a:pt x="5" y="159"/>
                  </a:lnTo>
                  <a:lnTo>
                    <a:pt x="5" y="157"/>
                  </a:lnTo>
                  <a:lnTo>
                    <a:pt x="5" y="159"/>
                  </a:lnTo>
                  <a:lnTo>
                    <a:pt x="5" y="157"/>
                  </a:lnTo>
                  <a:lnTo>
                    <a:pt x="7" y="157"/>
                  </a:lnTo>
                  <a:lnTo>
                    <a:pt x="9" y="157"/>
                  </a:lnTo>
                  <a:lnTo>
                    <a:pt x="9" y="154"/>
                  </a:lnTo>
                  <a:lnTo>
                    <a:pt x="9" y="157"/>
                  </a:lnTo>
                  <a:lnTo>
                    <a:pt x="9" y="159"/>
                  </a:lnTo>
                  <a:lnTo>
                    <a:pt x="9" y="157"/>
                  </a:lnTo>
                  <a:lnTo>
                    <a:pt x="9" y="159"/>
                  </a:lnTo>
                  <a:lnTo>
                    <a:pt x="12" y="157"/>
                  </a:lnTo>
                  <a:lnTo>
                    <a:pt x="9" y="157"/>
                  </a:lnTo>
                  <a:lnTo>
                    <a:pt x="12" y="157"/>
                  </a:lnTo>
                  <a:lnTo>
                    <a:pt x="9" y="157"/>
                  </a:lnTo>
                  <a:lnTo>
                    <a:pt x="12" y="157"/>
                  </a:lnTo>
                  <a:lnTo>
                    <a:pt x="14" y="157"/>
                  </a:lnTo>
                  <a:lnTo>
                    <a:pt x="14" y="154"/>
                  </a:lnTo>
                  <a:lnTo>
                    <a:pt x="14" y="157"/>
                  </a:lnTo>
                  <a:lnTo>
                    <a:pt x="16" y="157"/>
                  </a:lnTo>
                  <a:lnTo>
                    <a:pt x="16" y="159"/>
                  </a:lnTo>
                  <a:lnTo>
                    <a:pt x="19" y="159"/>
                  </a:lnTo>
                  <a:lnTo>
                    <a:pt x="21" y="157"/>
                  </a:lnTo>
                  <a:lnTo>
                    <a:pt x="24" y="157"/>
                  </a:lnTo>
                  <a:lnTo>
                    <a:pt x="21" y="157"/>
                  </a:lnTo>
                  <a:lnTo>
                    <a:pt x="19" y="157"/>
                  </a:lnTo>
                  <a:lnTo>
                    <a:pt x="19" y="154"/>
                  </a:lnTo>
                  <a:lnTo>
                    <a:pt x="19" y="157"/>
                  </a:lnTo>
                  <a:lnTo>
                    <a:pt x="19" y="154"/>
                  </a:lnTo>
                  <a:lnTo>
                    <a:pt x="21" y="154"/>
                  </a:lnTo>
                  <a:lnTo>
                    <a:pt x="19" y="154"/>
                  </a:lnTo>
                  <a:lnTo>
                    <a:pt x="21" y="154"/>
                  </a:lnTo>
                  <a:lnTo>
                    <a:pt x="21" y="152"/>
                  </a:lnTo>
                  <a:lnTo>
                    <a:pt x="21" y="150"/>
                  </a:lnTo>
                  <a:lnTo>
                    <a:pt x="19" y="150"/>
                  </a:lnTo>
                  <a:lnTo>
                    <a:pt x="16" y="150"/>
                  </a:lnTo>
                  <a:lnTo>
                    <a:pt x="19" y="150"/>
                  </a:lnTo>
                  <a:lnTo>
                    <a:pt x="19" y="147"/>
                  </a:lnTo>
                  <a:lnTo>
                    <a:pt x="19" y="150"/>
                  </a:lnTo>
                  <a:lnTo>
                    <a:pt x="19" y="147"/>
                  </a:lnTo>
                  <a:lnTo>
                    <a:pt x="19" y="150"/>
                  </a:lnTo>
                  <a:lnTo>
                    <a:pt x="21" y="150"/>
                  </a:lnTo>
                  <a:lnTo>
                    <a:pt x="21" y="147"/>
                  </a:lnTo>
                  <a:lnTo>
                    <a:pt x="24" y="147"/>
                  </a:lnTo>
                  <a:lnTo>
                    <a:pt x="24" y="145"/>
                  </a:lnTo>
                  <a:lnTo>
                    <a:pt x="26" y="147"/>
                  </a:lnTo>
                  <a:lnTo>
                    <a:pt x="26" y="145"/>
                  </a:lnTo>
                  <a:lnTo>
                    <a:pt x="26" y="147"/>
                  </a:lnTo>
                  <a:lnTo>
                    <a:pt x="28" y="147"/>
                  </a:lnTo>
                  <a:lnTo>
                    <a:pt x="26" y="147"/>
                  </a:lnTo>
                  <a:lnTo>
                    <a:pt x="26" y="145"/>
                  </a:lnTo>
                  <a:lnTo>
                    <a:pt x="26" y="147"/>
                  </a:lnTo>
                  <a:lnTo>
                    <a:pt x="26" y="145"/>
                  </a:lnTo>
                  <a:lnTo>
                    <a:pt x="26" y="143"/>
                  </a:lnTo>
                  <a:lnTo>
                    <a:pt x="28" y="140"/>
                  </a:lnTo>
                  <a:lnTo>
                    <a:pt x="28" y="143"/>
                  </a:lnTo>
                  <a:lnTo>
                    <a:pt x="31" y="143"/>
                  </a:lnTo>
                  <a:lnTo>
                    <a:pt x="31" y="140"/>
                  </a:lnTo>
                  <a:lnTo>
                    <a:pt x="33" y="143"/>
                  </a:lnTo>
                  <a:lnTo>
                    <a:pt x="31" y="143"/>
                  </a:lnTo>
                  <a:lnTo>
                    <a:pt x="33" y="143"/>
                  </a:lnTo>
                  <a:lnTo>
                    <a:pt x="31" y="143"/>
                  </a:lnTo>
                  <a:lnTo>
                    <a:pt x="33" y="143"/>
                  </a:lnTo>
                  <a:lnTo>
                    <a:pt x="33" y="140"/>
                  </a:lnTo>
                  <a:lnTo>
                    <a:pt x="35" y="140"/>
                  </a:lnTo>
                  <a:lnTo>
                    <a:pt x="35" y="143"/>
                  </a:lnTo>
                  <a:lnTo>
                    <a:pt x="38" y="143"/>
                  </a:lnTo>
                  <a:lnTo>
                    <a:pt x="38" y="140"/>
                  </a:lnTo>
                  <a:lnTo>
                    <a:pt x="40" y="140"/>
                  </a:lnTo>
                  <a:lnTo>
                    <a:pt x="42" y="140"/>
                  </a:lnTo>
                  <a:lnTo>
                    <a:pt x="40" y="140"/>
                  </a:lnTo>
                  <a:lnTo>
                    <a:pt x="42" y="140"/>
                  </a:lnTo>
                  <a:lnTo>
                    <a:pt x="45" y="140"/>
                  </a:lnTo>
                  <a:lnTo>
                    <a:pt x="45" y="138"/>
                  </a:lnTo>
                  <a:lnTo>
                    <a:pt x="47" y="138"/>
                  </a:lnTo>
                  <a:lnTo>
                    <a:pt x="47" y="140"/>
                  </a:lnTo>
                  <a:lnTo>
                    <a:pt x="47" y="138"/>
                  </a:lnTo>
                  <a:lnTo>
                    <a:pt x="47" y="140"/>
                  </a:lnTo>
                  <a:lnTo>
                    <a:pt x="47" y="138"/>
                  </a:lnTo>
                  <a:lnTo>
                    <a:pt x="47" y="140"/>
                  </a:lnTo>
                  <a:lnTo>
                    <a:pt x="47" y="138"/>
                  </a:lnTo>
                  <a:lnTo>
                    <a:pt x="50" y="138"/>
                  </a:lnTo>
                  <a:lnTo>
                    <a:pt x="52" y="138"/>
                  </a:lnTo>
                  <a:lnTo>
                    <a:pt x="54" y="138"/>
                  </a:lnTo>
                  <a:lnTo>
                    <a:pt x="54" y="135"/>
                  </a:lnTo>
                  <a:lnTo>
                    <a:pt x="54" y="138"/>
                  </a:lnTo>
                  <a:lnTo>
                    <a:pt x="57" y="135"/>
                  </a:lnTo>
                  <a:lnTo>
                    <a:pt x="57" y="138"/>
                  </a:lnTo>
                  <a:lnTo>
                    <a:pt x="59" y="138"/>
                  </a:lnTo>
                  <a:lnTo>
                    <a:pt x="57" y="138"/>
                  </a:lnTo>
                  <a:lnTo>
                    <a:pt x="57" y="135"/>
                  </a:lnTo>
                  <a:lnTo>
                    <a:pt x="54" y="135"/>
                  </a:lnTo>
                  <a:lnTo>
                    <a:pt x="52" y="135"/>
                  </a:lnTo>
                  <a:lnTo>
                    <a:pt x="50" y="135"/>
                  </a:lnTo>
                  <a:lnTo>
                    <a:pt x="50" y="133"/>
                  </a:lnTo>
                  <a:lnTo>
                    <a:pt x="50" y="131"/>
                  </a:lnTo>
                  <a:lnTo>
                    <a:pt x="50" y="133"/>
                  </a:lnTo>
                  <a:lnTo>
                    <a:pt x="47" y="133"/>
                  </a:lnTo>
                  <a:lnTo>
                    <a:pt x="47" y="135"/>
                  </a:lnTo>
                  <a:lnTo>
                    <a:pt x="45" y="135"/>
                  </a:lnTo>
                  <a:lnTo>
                    <a:pt x="45" y="138"/>
                  </a:lnTo>
                  <a:lnTo>
                    <a:pt x="45" y="135"/>
                  </a:lnTo>
                  <a:lnTo>
                    <a:pt x="45" y="138"/>
                  </a:lnTo>
                  <a:lnTo>
                    <a:pt x="42" y="138"/>
                  </a:lnTo>
                  <a:lnTo>
                    <a:pt x="42" y="140"/>
                  </a:lnTo>
                  <a:lnTo>
                    <a:pt x="40" y="140"/>
                  </a:lnTo>
                  <a:lnTo>
                    <a:pt x="38" y="140"/>
                  </a:lnTo>
                  <a:lnTo>
                    <a:pt x="38" y="138"/>
                  </a:lnTo>
                  <a:lnTo>
                    <a:pt x="40" y="138"/>
                  </a:lnTo>
                  <a:lnTo>
                    <a:pt x="38" y="138"/>
                  </a:lnTo>
                  <a:lnTo>
                    <a:pt x="38" y="140"/>
                  </a:lnTo>
                  <a:lnTo>
                    <a:pt x="35" y="140"/>
                  </a:lnTo>
                  <a:lnTo>
                    <a:pt x="33" y="140"/>
                  </a:lnTo>
                  <a:lnTo>
                    <a:pt x="31" y="140"/>
                  </a:lnTo>
                  <a:lnTo>
                    <a:pt x="31" y="138"/>
                  </a:lnTo>
                  <a:lnTo>
                    <a:pt x="28" y="138"/>
                  </a:lnTo>
                  <a:lnTo>
                    <a:pt x="31" y="138"/>
                  </a:lnTo>
                  <a:lnTo>
                    <a:pt x="28" y="138"/>
                  </a:lnTo>
                  <a:lnTo>
                    <a:pt x="28" y="140"/>
                  </a:lnTo>
                  <a:lnTo>
                    <a:pt x="26" y="140"/>
                  </a:lnTo>
                  <a:lnTo>
                    <a:pt x="24" y="140"/>
                  </a:lnTo>
                  <a:lnTo>
                    <a:pt x="26" y="140"/>
                  </a:lnTo>
                  <a:lnTo>
                    <a:pt x="24" y="140"/>
                  </a:lnTo>
                  <a:lnTo>
                    <a:pt x="24" y="143"/>
                  </a:lnTo>
                  <a:lnTo>
                    <a:pt x="21" y="143"/>
                  </a:lnTo>
                  <a:lnTo>
                    <a:pt x="19" y="143"/>
                  </a:lnTo>
                  <a:lnTo>
                    <a:pt x="16" y="143"/>
                  </a:lnTo>
                  <a:lnTo>
                    <a:pt x="19" y="143"/>
                  </a:lnTo>
                  <a:lnTo>
                    <a:pt x="19" y="140"/>
                  </a:lnTo>
                  <a:lnTo>
                    <a:pt x="21" y="140"/>
                  </a:lnTo>
                  <a:lnTo>
                    <a:pt x="21" y="138"/>
                  </a:lnTo>
                  <a:lnTo>
                    <a:pt x="24" y="138"/>
                  </a:lnTo>
                  <a:lnTo>
                    <a:pt x="26" y="138"/>
                  </a:lnTo>
                  <a:lnTo>
                    <a:pt x="26" y="135"/>
                  </a:lnTo>
                  <a:lnTo>
                    <a:pt x="28" y="135"/>
                  </a:lnTo>
                  <a:lnTo>
                    <a:pt x="28" y="133"/>
                  </a:lnTo>
                  <a:lnTo>
                    <a:pt x="26" y="133"/>
                  </a:lnTo>
                  <a:lnTo>
                    <a:pt x="28" y="133"/>
                  </a:lnTo>
                  <a:lnTo>
                    <a:pt x="31" y="133"/>
                  </a:lnTo>
                  <a:lnTo>
                    <a:pt x="31" y="131"/>
                  </a:lnTo>
                  <a:lnTo>
                    <a:pt x="33" y="131"/>
                  </a:lnTo>
                  <a:lnTo>
                    <a:pt x="31" y="131"/>
                  </a:lnTo>
                  <a:lnTo>
                    <a:pt x="33" y="131"/>
                  </a:lnTo>
                  <a:lnTo>
                    <a:pt x="31" y="131"/>
                  </a:lnTo>
                  <a:lnTo>
                    <a:pt x="33" y="131"/>
                  </a:lnTo>
                  <a:lnTo>
                    <a:pt x="31" y="131"/>
                  </a:lnTo>
                  <a:lnTo>
                    <a:pt x="33" y="131"/>
                  </a:lnTo>
                  <a:lnTo>
                    <a:pt x="33" y="128"/>
                  </a:lnTo>
                  <a:lnTo>
                    <a:pt x="33" y="126"/>
                  </a:lnTo>
                  <a:lnTo>
                    <a:pt x="35" y="126"/>
                  </a:lnTo>
                  <a:lnTo>
                    <a:pt x="35" y="124"/>
                  </a:lnTo>
                  <a:lnTo>
                    <a:pt x="33" y="124"/>
                  </a:lnTo>
                  <a:lnTo>
                    <a:pt x="33" y="121"/>
                  </a:lnTo>
                  <a:lnTo>
                    <a:pt x="35" y="121"/>
                  </a:lnTo>
                  <a:lnTo>
                    <a:pt x="35" y="119"/>
                  </a:lnTo>
                  <a:lnTo>
                    <a:pt x="35" y="116"/>
                  </a:lnTo>
                  <a:lnTo>
                    <a:pt x="38" y="116"/>
                  </a:lnTo>
                  <a:lnTo>
                    <a:pt x="38" y="114"/>
                  </a:lnTo>
                  <a:lnTo>
                    <a:pt x="40" y="114"/>
                  </a:lnTo>
                  <a:lnTo>
                    <a:pt x="40" y="112"/>
                  </a:lnTo>
                  <a:lnTo>
                    <a:pt x="40" y="114"/>
                  </a:lnTo>
                  <a:lnTo>
                    <a:pt x="42" y="114"/>
                  </a:lnTo>
                  <a:lnTo>
                    <a:pt x="45" y="114"/>
                  </a:lnTo>
                  <a:lnTo>
                    <a:pt x="42" y="114"/>
                  </a:lnTo>
                  <a:lnTo>
                    <a:pt x="42" y="112"/>
                  </a:lnTo>
                  <a:lnTo>
                    <a:pt x="45" y="112"/>
                  </a:lnTo>
                  <a:lnTo>
                    <a:pt x="47" y="112"/>
                  </a:lnTo>
                  <a:lnTo>
                    <a:pt x="47" y="114"/>
                  </a:lnTo>
                  <a:lnTo>
                    <a:pt x="47" y="112"/>
                  </a:lnTo>
                  <a:lnTo>
                    <a:pt x="45" y="112"/>
                  </a:lnTo>
                  <a:lnTo>
                    <a:pt x="47" y="112"/>
                  </a:lnTo>
                  <a:lnTo>
                    <a:pt x="50" y="112"/>
                  </a:lnTo>
                  <a:lnTo>
                    <a:pt x="50" y="114"/>
                  </a:lnTo>
                  <a:lnTo>
                    <a:pt x="50" y="112"/>
                  </a:lnTo>
                  <a:lnTo>
                    <a:pt x="50" y="109"/>
                  </a:lnTo>
                  <a:lnTo>
                    <a:pt x="52" y="109"/>
                  </a:lnTo>
                  <a:lnTo>
                    <a:pt x="50" y="109"/>
                  </a:lnTo>
                  <a:lnTo>
                    <a:pt x="52" y="109"/>
                  </a:lnTo>
                  <a:lnTo>
                    <a:pt x="50" y="109"/>
                  </a:lnTo>
                  <a:lnTo>
                    <a:pt x="47" y="109"/>
                  </a:lnTo>
                  <a:lnTo>
                    <a:pt x="50" y="109"/>
                  </a:lnTo>
                  <a:lnTo>
                    <a:pt x="47" y="109"/>
                  </a:lnTo>
                  <a:lnTo>
                    <a:pt x="50" y="109"/>
                  </a:lnTo>
                  <a:lnTo>
                    <a:pt x="47" y="109"/>
                  </a:lnTo>
                  <a:lnTo>
                    <a:pt x="50" y="109"/>
                  </a:lnTo>
                  <a:lnTo>
                    <a:pt x="50" y="107"/>
                  </a:lnTo>
                  <a:lnTo>
                    <a:pt x="50" y="109"/>
                  </a:lnTo>
                  <a:lnTo>
                    <a:pt x="50" y="107"/>
                  </a:lnTo>
                  <a:lnTo>
                    <a:pt x="50" y="109"/>
                  </a:lnTo>
                  <a:lnTo>
                    <a:pt x="47" y="107"/>
                  </a:lnTo>
                  <a:lnTo>
                    <a:pt x="50" y="107"/>
                  </a:lnTo>
                  <a:lnTo>
                    <a:pt x="47" y="107"/>
                  </a:lnTo>
                  <a:lnTo>
                    <a:pt x="45" y="107"/>
                  </a:lnTo>
                  <a:lnTo>
                    <a:pt x="45" y="109"/>
                  </a:lnTo>
                  <a:lnTo>
                    <a:pt x="45" y="107"/>
                  </a:lnTo>
                  <a:lnTo>
                    <a:pt x="42" y="107"/>
                  </a:lnTo>
                  <a:lnTo>
                    <a:pt x="42" y="109"/>
                  </a:lnTo>
                  <a:lnTo>
                    <a:pt x="42" y="107"/>
                  </a:lnTo>
                  <a:lnTo>
                    <a:pt x="40" y="107"/>
                  </a:lnTo>
                  <a:lnTo>
                    <a:pt x="40" y="109"/>
                  </a:lnTo>
                  <a:lnTo>
                    <a:pt x="40" y="107"/>
                  </a:lnTo>
                  <a:lnTo>
                    <a:pt x="40" y="109"/>
                  </a:lnTo>
                  <a:lnTo>
                    <a:pt x="38" y="109"/>
                  </a:lnTo>
                  <a:lnTo>
                    <a:pt x="35" y="109"/>
                  </a:lnTo>
                  <a:lnTo>
                    <a:pt x="33" y="109"/>
                  </a:lnTo>
                  <a:lnTo>
                    <a:pt x="31" y="109"/>
                  </a:lnTo>
                  <a:lnTo>
                    <a:pt x="31" y="107"/>
                  </a:lnTo>
                  <a:lnTo>
                    <a:pt x="28" y="107"/>
                  </a:lnTo>
                  <a:lnTo>
                    <a:pt x="31" y="107"/>
                  </a:lnTo>
                  <a:lnTo>
                    <a:pt x="28" y="107"/>
                  </a:lnTo>
                  <a:lnTo>
                    <a:pt x="31" y="107"/>
                  </a:lnTo>
                  <a:lnTo>
                    <a:pt x="28" y="107"/>
                  </a:lnTo>
                  <a:lnTo>
                    <a:pt x="28" y="109"/>
                  </a:lnTo>
                  <a:lnTo>
                    <a:pt x="28" y="107"/>
                  </a:lnTo>
                  <a:lnTo>
                    <a:pt x="28" y="105"/>
                  </a:lnTo>
                  <a:lnTo>
                    <a:pt x="28" y="107"/>
                  </a:lnTo>
                  <a:lnTo>
                    <a:pt x="28" y="105"/>
                  </a:lnTo>
                  <a:lnTo>
                    <a:pt x="28" y="102"/>
                  </a:lnTo>
                  <a:lnTo>
                    <a:pt x="31" y="105"/>
                  </a:lnTo>
                  <a:lnTo>
                    <a:pt x="31" y="102"/>
                  </a:lnTo>
                  <a:lnTo>
                    <a:pt x="28" y="102"/>
                  </a:lnTo>
                  <a:lnTo>
                    <a:pt x="31" y="102"/>
                  </a:lnTo>
                  <a:lnTo>
                    <a:pt x="28" y="102"/>
                  </a:lnTo>
                  <a:lnTo>
                    <a:pt x="28" y="105"/>
                  </a:lnTo>
                  <a:lnTo>
                    <a:pt x="26" y="105"/>
                  </a:lnTo>
                  <a:lnTo>
                    <a:pt x="26" y="102"/>
                  </a:lnTo>
                  <a:lnTo>
                    <a:pt x="28" y="102"/>
                  </a:lnTo>
                  <a:lnTo>
                    <a:pt x="26" y="102"/>
                  </a:lnTo>
                  <a:lnTo>
                    <a:pt x="28" y="102"/>
                  </a:lnTo>
                  <a:lnTo>
                    <a:pt x="26" y="102"/>
                  </a:lnTo>
                  <a:lnTo>
                    <a:pt x="28" y="102"/>
                  </a:lnTo>
                  <a:lnTo>
                    <a:pt x="26" y="102"/>
                  </a:lnTo>
                  <a:lnTo>
                    <a:pt x="24" y="102"/>
                  </a:lnTo>
                  <a:lnTo>
                    <a:pt x="24" y="105"/>
                  </a:lnTo>
                  <a:lnTo>
                    <a:pt x="24" y="102"/>
                  </a:lnTo>
                  <a:lnTo>
                    <a:pt x="24" y="105"/>
                  </a:lnTo>
                  <a:lnTo>
                    <a:pt x="24" y="107"/>
                  </a:lnTo>
                  <a:lnTo>
                    <a:pt x="21" y="105"/>
                  </a:lnTo>
                  <a:lnTo>
                    <a:pt x="21" y="107"/>
                  </a:lnTo>
                  <a:lnTo>
                    <a:pt x="19" y="107"/>
                  </a:lnTo>
                  <a:lnTo>
                    <a:pt x="19" y="105"/>
                  </a:lnTo>
                  <a:lnTo>
                    <a:pt x="21" y="105"/>
                  </a:lnTo>
                  <a:lnTo>
                    <a:pt x="19" y="105"/>
                  </a:lnTo>
                  <a:lnTo>
                    <a:pt x="19" y="102"/>
                  </a:lnTo>
                  <a:lnTo>
                    <a:pt x="19" y="105"/>
                  </a:lnTo>
                  <a:lnTo>
                    <a:pt x="19" y="102"/>
                  </a:lnTo>
                  <a:lnTo>
                    <a:pt x="21" y="102"/>
                  </a:lnTo>
                  <a:lnTo>
                    <a:pt x="21" y="100"/>
                  </a:lnTo>
                  <a:lnTo>
                    <a:pt x="19" y="100"/>
                  </a:lnTo>
                  <a:lnTo>
                    <a:pt x="19" y="102"/>
                  </a:lnTo>
                  <a:lnTo>
                    <a:pt x="19" y="100"/>
                  </a:lnTo>
                  <a:lnTo>
                    <a:pt x="21" y="100"/>
                  </a:lnTo>
                  <a:lnTo>
                    <a:pt x="19" y="100"/>
                  </a:lnTo>
                  <a:lnTo>
                    <a:pt x="19" y="102"/>
                  </a:lnTo>
                  <a:lnTo>
                    <a:pt x="19" y="100"/>
                  </a:lnTo>
                  <a:lnTo>
                    <a:pt x="16" y="102"/>
                  </a:lnTo>
                  <a:lnTo>
                    <a:pt x="14" y="102"/>
                  </a:lnTo>
                  <a:lnTo>
                    <a:pt x="14" y="100"/>
                  </a:lnTo>
                  <a:lnTo>
                    <a:pt x="12" y="100"/>
                  </a:lnTo>
                  <a:lnTo>
                    <a:pt x="9" y="100"/>
                  </a:lnTo>
                  <a:lnTo>
                    <a:pt x="12" y="100"/>
                  </a:lnTo>
                  <a:lnTo>
                    <a:pt x="9" y="100"/>
                  </a:lnTo>
                  <a:lnTo>
                    <a:pt x="9" y="97"/>
                  </a:lnTo>
                  <a:lnTo>
                    <a:pt x="9" y="100"/>
                  </a:lnTo>
                  <a:lnTo>
                    <a:pt x="9" y="97"/>
                  </a:lnTo>
                  <a:lnTo>
                    <a:pt x="9" y="100"/>
                  </a:lnTo>
                  <a:lnTo>
                    <a:pt x="9" y="97"/>
                  </a:lnTo>
                  <a:lnTo>
                    <a:pt x="12" y="97"/>
                  </a:lnTo>
                  <a:lnTo>
                    <a:pt x="14" y="97"/>
                  </a:lnTo>
                  <a:lnTo>
                    <a:pt x="12" y="97"/>
                  </a:lnTo>
                  <a:lnTo>
                    <a:pt x="12" y="95"/>
                  </a:lnTo>
                  <a:lnTo>
                    <a:pt x="12" y="97"/>
                  </a:lnTo>
                  <a:lnTo>
                    <a:pt x="12" y="95"/>
                  </a:lnTo>
                  <a:lnTo>
                    <a:pt x="14" y="97"/>
                  </a:lnTo>
                  <a:lnTo>
                    <a:pt x="14" y="95"/>
                  </a:lnTo>
                  <a:lnTo>
                    <a:pt x="12" y="95"/>
                  </a:lnTo>
                  <a:lnTo>
                    <a:pt x="9" y="95"/>
                  </a:lnTo>
                  <a:lnTo>
                    <a:pt x="12" y="95"/>
                  </a:lnTo>
                  <a:lnTo>
                    <a:pt x="9" y="95"/>
                  </a:lnTo>
                  <a:lnTo>
                    <a:pt x="12" y="95"/>
                  </a:lnTo>
                  <a:lnTo>
                    <a:pt x="9" y="93"/>
                  </a:lnTo>
                  <a:lnTo>
                    <a:pt x="12" y="93"/>
                  </a:lnTo>
                  <a:lnTo>
                    <a:pt x="14" y="93"/>
                  </a:lnTo>
                  <a:lnTo>
                    <a:pt x="16" y="93"/>
                  </a:lnTo>
                  <a:lnTo>
                    <a:pt x="14" y="93"/>
                  </a:lnTo>
                  <a:lnTo>
                    <a:pt x="16" y="93"/>
                  </a:lnTo>
                  <a:lnTo>
                    <a:pt x="14" y="93"/>
                  </a:lnTo>
                  <a:lnTo>
                    <a:pt x="16" y="93"/>
                  </a:lnTo>
                  <a:lnTo>
                    <a:pt x="14" y="93"/>
                  </a:lnTo>
                  <a:lnTo>
                    <a:pt x="14" y="90"/>
                  </a:lnTo>
                  <a:lnTo>
                    <a:pt x="16" y="90"/>
                  </a:lnTo>
                  <a:lnTo>
                    <a:pt x="19" y="90"/>
                  </a:lnTo>
                  <a:lnTo>
                    <a:pt x="21" y="90"/>
                  </a:lnTo>
                  <a:lnTo>
                    <a:pt x="19" y="90"/>
                  </a:lnTo>
                  <a:lnTo>
                    <a:pt x="19" y="88"/>
                  </a:lnTo>
                  <a:lnTo>
                    <a:pt x="19" y="90"/>
                  </a:lnTo>
                  <a:lnTo>
                    <a:pt x="21" y="90"/>
                  </a:lnTo>
                  <a:lnTo>
                    <a:pt x="24" y="90"/>
                  </a:lnTo>
                  <a:lnTo>
                    <a:pt x="26" y="90"/>
                  </a:lnTo>
                  <a:lnTo>
                    <a:pt x="24" y="90"/>
                  </a:lnTo>
                  <a:lnTo>
                    <a:pt x="21" y="90"/>
                  </a:lnTo>
                  <a:lnTo>
                    <a:pt x="19" y="90"/>
                  </a:lnTo>
                  <a:lnTo>
                    <a:pt x="19" y="88"/>
                  </a:lnTo>
                  <a:lnTo>
                    <a:pt x="19" y="86"/>
                  </a:lnTo>
                  <a:lnTo>
                    <a:pt x="16" y="86"/>
                  </a:lnTo>
                  <a:lnTo>
                    <a:pt x="19" y="86"/>
                  </a:lnTo>
                  <a:lnTo>
                    <a:pt x="19" y="83"/>
                  </a:lnTo>
                  <a:lnTo>
                    <a:pt x="19" y="81"/>
                  </a:lnTo>
                  <a:lnTo>
                    <a:pt x="21" y="81"/>
                  </a:lnTo>
                  <a:lnTo>
                    <a:pt x="24" y="81"/>
                  </a:lnTo>
                  <a:lnTo>
                    <a:pt x="26" y="81"/>
                  </a:lnTo>
                  <a:lnTo>
                    <a:pt x="28" y="81"/>
                  </a:lnTo>
                  <a:lnTo>
                    <a:pt x="31" y="81"/>
                  </a:lnTo>
                  <a:lnTo>
                    <a:pt x="28" y="81"/>
                  </a:lnTo>
                  <a:lnTo>
                    <a:pt x="31" y="81"/>
                  </a:lnTo>
                  <a:lnTo>
                    <a:pt x="28" y="81"/>
                  </a:lnTo>
                  <a:lnTo>
                    <a:pt x="28" y="78"/>
                  </a:lnTo>
                  <a:lnTo>
                    <a:pt x="28" y="81"/>
                  </a:lnTo>
                  <a:lnTo>
                    <a:pt x="28" y="78"/>
                  </a:lnTo>
                  <a:lnTo>
                    <a:pt x="31" y="78"/>
                  </a:lnTo>
                  <a:lnTo>
                    <a:pt x="28" y="78"/>
                  </a:lnTo>
                  <a:lnTo>
                    <a:pt x="28" y="76"/>
                  </a:lnTo>
                  <a:lnTo>
                    <a:pt x="31" y="76"/>
                  </a:lnTo>
                  <a:lnTo>
                    <a:pt x="28" y="76"/>
                  </a:lnTo>
                  <a:lnTo>
                    <a:pt x="31" y="76"/>
                  </a:lnTo>
                  <a:lnTo>
                    <a:pt x="28" y="76"/>
                  </a:lnTo>
                  <a:lnTo>
                    <a:pt x="31" y="76"/>
                  </a:lnTo>
                  <a:lnTo>
                    <a:pt x="28" y="76"/>
                  </a:lnTo>
                  <a:lnTo>
                    <a:pt x="26" y="76"/>
                  </a:lnTo>
                  <a:lnTo>
                    <a:pt x="28" y="76"/>
                  </a:lnTo>
                  <a:lnTo>
                    <a:pt x="26" y="76"/>
                  </a:lnTo>
                  <a:lnTo>
                    <a:pt x="24" y="76"/>
                  </a:lnTo>
                  <a:lnTo>
                    <a:pt x="21" y="76"/>
                  </a:lnTo>
                  <a:lnTo>
                    <a:pt x="19" y="76"/>
                  </a:lnTo>
                  <a:lnTo>
                    <a:pt x="19" y="78"/>
                  </a:lnTo>
                  <a:lnTo>
                    <a:pt x="19" y="76"/>
                  </a:lnTo>
                  <a:lnTo>
                    <a:pt x="16" y="76"/>
                  </a:lnTo>
                  <a:lnTo>
                    <a:pt x="16" y="74"/>
                  </a:lnTo>
                  <a:lnTo>
                    <a:pt x="19" y="74"/>
                  </a:lnTo>
                  <a:lnTo>
                    <a:pt x="16" y="74"/>
                  </a:lnTo>
                  <a:lnTo>
                    <a:pt x="16" y="76"/>
                  </a:lnTo>
                  <a:lnTo>
                    <a:pt x="16" y="74"/>
                  </a:lnTo>
                  <a:lnTo>
                    <a:pt x="16" y="76"/>
                  </a:lnTo>
                  <a:lnTo>
                    <a:pt x="14" y="76"/>
                  </a:lnTo>
                  <a:lnTo>
                    <a:pt x="14" y="74"/>
                  </a:lnTo>
                  <a:lnTo>
                    <a:pt x="14" y="71"/>
                  </a:lnTo>
                  <a:lnTo>
                    <a:pt x="12" y="71"/>
                  </a:lnTo>
                  <a:lnTo>
                    <a:pt x="9" y="71"/>
                  </a:lnTo>
                  <a:lnTo>
                    <a:pt x="7" y="71"/>
                  </a:lnTo>
                  <a:lnTo>
                    <a:pt x="9" y="71"/>
                  </a:lnTo>
                  <a:lnTo>
                    <a:pt x="9" y="69"/>
                  </a:lnTo>
                  <a:lnTo>
                    <a:pt x="9" y="71"/>
                  </a:lnTo>
                  <a:lnTo>
                    <a:pt x="12" y="71"/>
                  </a:lnTo>
                  <a:lnTo>
                    <a:pt x="12" y="69"/>
                  </a:lnTo>
                  <a:lnTo>
                    <a:pt x="14" y="69"/>
                  </a:lnTo>
                  <a:lnTo>
                    <a:pt x="16" y="69"/>
                  </a:lnTo>
                  <a:lnTo>
                    <a:pt x="16" y="71"/>
                  </a:lnTo>
                  <a:lnTo>
                    <a:pt x="16" y="74"/>
                  </a:lnTo>
                  <a:lnTo>
                    <a:pt x="16" y="71"/>
                  </a:lnTo>
                  <a:lnTo>
                    <a:pt x="19" y="71"/>
                  </a:lnTo>
                  <a:lnTo>
                    <a:pt x="16" y="74"/>
                  </a:lnTo>
                  <a:lnTo>
                    <a:pt x="19" y="74"/>
                  </a:lnTo>
                  <a:lnTo>
                    <a:pt x="16" y="74"/>
                  </a:lnTo>
                  <a:lnTo>
                    <a:pt x="19" y="74"/>
                  </a:lnTo>
                  <a:lnTo>
                    <a:pt x="19" y="71"/>
                  </a:lnTo>
                  <a:lnTo>
                    <a:pt x="19" y="74"/>
                  </a:lnTo>
                  <a:lnTo>
                    <a:pt x="19" y="71"/>
                  </a:lnTo>
                  <a:lnTo>
                    <a:pt x="19" y="74"/>
                  </a:lnTo>
                  <a:lnTo>
                    <a:pt x="19" y="71"/>
                  </a:lnTo>
                  <a:lnTo>
                    <a:pt x="21" y="71"/>
                  </a:lnTo>
                  <a:lnTo>
                    <a:pt x="21" y="74"/>
                  </a:lnTo>
                  <a:lnTo>
                    <a:pt x="21" y="71"/>
                  </a:lnTo>
                  <a:lnTo>
                    <a:pt x="21" y="74"/>
                  </a:lnTo>
                  <a:lnTo>
                    <a:pt x="21" y="71"/>
                  </a:lnTo>
                  <a:lnTo>
                    <a:pt x="21" y="74"/>
                  </a:lnTo>
                  <a:lnTo>
                    <a:pt x="21" y="71"/>
                  </a:lnTo>
                  <a:lnTo>
                    <a:pt x="19" y="71"/>
                  </a:lnTo>
                  <a:lnTo>
                    <a:pt x="21" y="71"/>
                  </a:lnTo>
                  <a:lnTo>
                    <a:pt x="19" y="71"/>
                  </a:lnTo>
                  <a:lnTo>
                    <a:pt x="21" y="71"/>
                  </a:lnTo>
                  <a:lnTo>
                    <a:pt x="19" y="71"/>
                  </a:lnTo>
                  <a:lnTo>
                    <a:pt x="21" y="71"/>
                  </a:lnTo>
                  <a:lnTo>
                    <a:pt x="19" y="71"/>
                  </a:lnTo>
                  <a:lnTo>
                    <a:pt x="21" y="71"/>
                  </a:lnTo>
                  <a:lnTo>
                    <a:pt x="19" y="71"/>
                  </a:lnTo>
                  <a:lnTo>
                    <a:pt x="19" y="69"/>
                  </a:lnTo>
                  <a:lnTo>
                    <a:pt x="19" y="71"/>
                  </a:lnTo>
                  <a:lnTo>
                    <a:pt x="16" y="71"/>
                  </a:lnTo>
                  <a:lnTo>
                    <a:pt x="19" y="71"/>
                  </a:lnTo>
                  <a:lnTo>
                    <a:pt x="19" y="69"/>
                  </a:lnTo>
                  <a:lnTo>
                    <a:pt x="19" y="67"/>
                  </a:lnTo>
                  <a:lnTo>
                    <a:pt x="21" y="67"/>
                  </a:lnTo>
                  <a:lnTo>
                    <a:pt x="19" y="67"/>
                  </a:lnTo>
                  <a:lnTo>
                    <a:pt x="21" y="67"/>
                  </a:lnTo>
                  <a:lnTo>
                    <a:pt x="19" y="67"/>
                  </a:lnTo>
                  <a:lnTo>
                    <a:pt x="21" y="67"/>
                  </a:lnTo>
                  <a:lnTo>
                    <a:pt x="19" y="64"/>
                  </a:lnTo>
                  <a:lnTo>
                    <a:pt x="21" y="64"/>
                  </a:lnTo>
                  <a:lnTo>
                    <a:pt x="19" y="64"/>
                  </a:lnTo>
                  <a:lnTo>
                    <a:pt x="19" y="67"/>
                  </a:lnTo>
                  <a:lnTo>
                    <a:pt x="16" y="67"/>
                  </a:lnTo>
                  <a:lnTo>
                    <a:pt x="16" y="64"/>
                  </a:lnTo>
                  <a:lnTo>
                    <a:pt x="14" y="64"/>
                  </a:lnTo>
                  <a:lnTo>
                    <a:pt x="16" y="64"/>
                  </a:lnTo>
                  <a:lnTo>
                    <a:pt x="19" y="64"/>
                  </a:lnTo>
                  <a:lnTo>
                    <a:pt x="16" y="64"/>
                  </a:lnTo>
                  <a:lnTo>
                    <a:pt x="16" y="62"/>
                  </a:lnTo>
                  <a:lnTo>
                    <a:pt x="16" y="59"/>
                  </a:lnTo>
                  <a:lnTo>
                    <a:pt x="16" y="62"/>
                  </a:lnTo>
                  <a:lnTo>
                    <a:pt x="16" y="59"/>
                  </a:lnTo>
                  <a:lnTo>
                    <a:pt x="14" y="59"/>
                  </a:lnTo>
                  <a:lnTo>
                    <a:pt x="14" y="62"/>
                  </a:lnTo>
                  <a:lnTo>
                    <a:pt x="14" y="59"/>
                  </a:lnTo>
                  <a:lnTo>
                    <a:pt x="14" y="62"/>
                  </a:lnTo>
                  <a:lnTo>
                    <a:pt x="12" y="62"/>
                  </a:lnTo>
                  <a:lnTo>
                    <a:pt x="14" y="62"/>
                  </a:lnTo>
                  <a:lnTo>
                    <a:pt x="14" y="64"/>
                  </a:lnTo>
                  <a:lnTo>
                    <a:pt x="12" y="64"/>
                  </a:lnTo>
                  <a:lnTo>
                    <a:pt x="14" y="64"/>
                  </a:lnTo>
                  <a:lnTo>
                    <a:pt x="12" y="64"/>
                  </a:lnTo>
                  <a:lnTo>
                    <a:pt x="14" y="64"/>
                  </a:lnTo>
                  <a:lnTo>
                    <a:pt x="14" y="67"/>
                  </a:lnTo>
                  <a:lnTo>
                    <a:pt x="12" y="67"/>
                  </a:lnTo>
                  <a:lnTo>
                    <a:pt x="12" y="64"/>
                  </a:lnTo>
                  <a:lnTo>
                    <a:pt x="12" y="62"/>
                  </a:lnTo>
                  <a:lnTo>
                    <a:pt x="12" y="59"/>
                  </a:lnTo>
                  <a:lnTo>
                    <a:pt x="14" y="59"/>
                  </a:lnTo>
                  <a:lnTo>
                    <a:pt x="12" y="59"/>
                  </a:lnTo>
                  <a:lnTo>
                    <a:pt x="12" y="57"/>
                  </a:lnTo>
                  <a:lnTo>
                    <a:pt x="12" y="59"/>
                  </a:lnTo>
                  <a:lnTo>
                    <a:pt x="12" y="57"/>
                  </a:lnTo>
                  <a:lnTo>
                    <a:pt x="14" y="57"/>
                  </a:lnTo>
                  <a:lnTo>
                    <a:pt x="14" y="55"/>
                  </a:lnTo>
                  <a:lnTo>
                    <a:pt x="16" y="55"/>
                  </a:lnTo>
                  <a:lnTo>
                    <a:pt x="16" y="57"/>
                  </a:lnTo>
                  <a:lnTo>
                    <a:pt x="19" y="57"/>
                  </a:lnTo>
                  <a:lnTo>
                    <a:pt x="19" y="59"/>
                  </a:lnTo>
                  <a:lnTo>
                    <a:pt x="16" y="59"/>
                  </a:lnTo>
                  <a:lnTo>
                    <a:pt x="19" y="59"/>
                  </a:lnTo>
                  <a:lnTo>
                    <a:pt x="21" y="59"/>
                  </a:lnTo>
                  <a:lnTo>
                    <a:pt x="19" y="59"/>
                  </a:lnTo>
                  <a:lnTo>
                    <a:pt x="19" y="57"/>
                  </a:lnTo>
                  <a:lnTo>
                    <a:pt x="21" y="57"/>
                  </a:lnTo>
                  <a:lnTo>
                    <a:pt x="24" y="57"/>
                  </a:lnTo>
                  <a:lnTo>
                    <a:pt x="21" y="57"/>
                  </a:lnTo>
                  <a:lnTo>
                    <a:pt x="21" y="55"/>
                  </a:lnTo>
                  <a:lnTo>
                    <a:pt x="21" y="57"/>
                  </a:lnTo>
                  <a:lnTo>
                    <a:pt x="24" y="57"/>
                  </a:lnTo>
                  <a:lnTo>
                    <a:pt x="21" y="55"/>
                  </a:lnTo>
                  <a:lnTo>
                    <a:pt x="19" y="55"/>
                  </a:lnTo>
                  <a:lnTo>
                    <a:pt x="21" y="55"/>
                  </a:lnTo>
                  <a:lnTo>
                    <a:pt x="21" y="52"/>
                  </a:lnTo>
                  <a:lnTo>
                    <a:pt x="24" y="52"/>
                  </a:lnTo>
                  <a:lnTo>
                    <a:pt x="21" y="52"/>
                  </a:lnTo>
                  <a:lnTo>
                    <a:pt x="21" y="55"/>
                  </a:lnTo>
                  <a:lnTo>
                    <a:pt x="24" y="52"/>
                  </a:lnTo>
                  <a:lnTo>
                    <a:pt x="24" y="55"/>
                  </a:lnTo>
                  <a:lnTo>
                    <a:pt x="26" y="55"/>
                  </a:lnTo>
                  <a:lnTo>
                    <a:pt x="28" y="55"/>
                  </a:lnTo>
                  <a:lnTo>
                    <a:pt x="31" y="55"/>
                  </a:lnTo>
                  <a:lnTo>
                    <a:pt x="28" y="55"/>
                  </a:lnTo>
                  <a:lnTo>
                    <a:pt x="31" y="55"/>
                  </a:lnTo>
                  <a:lnTo>
                    <a:pt x="33" y="55"/>
                  </a:lnTo>
                  <a:lnTo>
                    <a:pt x="35" y="55"/>
                  </a:lnTo>
                  <a:lnTo>
                    <a:pt x="38" y="55"/>
                  </a:lnTo>
                  <a:lnTo>
                    <a:pt x="35" y="55"/>
                  </a:lnTo>
                  <a:lnTo>
                    <a:pt x="38" y="55"/>
                  </a:lnTo>
                  <a:lnTo>
                    <a:pt x="40" y="55"/>
                  </a:lnTo>
                  <a:lnTo>
                    <a:pt x="40" y="57"/>
                  </a:lnTo>
                  <a:lnTo>
                    <a:pt x="40" y="55"/>
                  </a:lnTo>
                  <a:lnTo>
                    <a:pt x="40" y="57"/>
                  </a:lnTo>
                  <a:lnTo>
                    <a:pt x="40" y="59"/>
                  </a:lnTo>
                  <a:lnTo>
                    <a:pt x="40" y="57"/>
                  </a:lnTo>
                  <a:lnTo>
                    <a:pt x="42" y="57"/>
                  </a:lnTo>
                  <a:lnTo>
                    <a:pt x="42" y="59"/>
                  </a:lnTo>
                  <a:lnTo>
                    <a:pt x="40" y="59"/>
                  </a:lnTo>
                  <a:lnTo>
                    <a:pt x="42" y="59"/>
                  </a:lnTo>
                  <a:lnTo>
                    <a:pt x="42" y="62"/>
                  </a:lnTo>
                  <a:lnTo>
                    <a:pt x="42" y="64"/>
                  </a:lnTo>
                  <a:lnTo>
                    <a:pt x="42" y="62"/>
                  </a:lnTo>
                  <a:lnTo>
                    <a:pt x="45" y="62"/>
                  </a:lnTo>
                  <a:lnTo>
                    <a:pt x="45" y="59"/>
                  </a:lnTo>
                  <a:lnTo>
                    <a:pt x="42" y="59"/>
                  </a:lnTo>
                  <a:lnTo>
                    <a:pt x="45" y="59"/>
                  </a:lnTo>
                  <a:lnTo>
                    <a:pt x="45" y="57"/>
                  </a:lnTo>
                  <a:lnTo>
                    <a:pt x="47" y="57"/>
                  </a:lnTo>
                  <a:lnTo>
                    <a:pt x="45" y="57"/>
                  </a:lnTo>
                  <a:lnTo>
                    <a:pt x="47" y="57"/>
                  </a:lnTo>
                  <a:lnTo>
                    <a:pt x="47" y="55"/>
                  </a:lnTo>
                  <a:lnTo>
                    <a:pt x="45" y="55"/>
                  </a:lnTo>
                  <a:lnTo>
                    <a:pt x="47" y="55"/>
                  </a:lnTo>
                  <a:lnTo>
                    <a:pt x="50" y="55"/>
                  </a:lnTo>
                  <a:lnTo>
                    <a:pt x="50" y="57"/>
                  </a:lnTo>
                  <a:lnTo>
                    <a:pt x="52" y="57"/>
                  </a:lnTo>
                  <a:lnTo>
                    <a:pt x="54" y="57"/>
                  </a:lnTo>
                  <a:lnTo>
                    <a:pt x="57" y="57"/>
                  </a:lnTo>
                  <a:lnTo>
                    <a:pt x="59" y="57"/>
                  </a:lnTo>
                  <a:lnTo>
                    <a:pt x="61" y="57"/>
                  </a:lnTo>
                  <a:lnTo>
                    <a:pt x="59" y="57"/>
                  </a:lnTo>
                  <a:lnTo>
                    <a:pt x="61" y="57"/>
                  </a:lnTo>
                  <a:lnTo>
                    <a:pt x="59" y="59"/>
                  </a:lnTo>
                  <a:lnTo>
                    <a:pt x="61" y="59"/>
                  </a:lnTo>
                  <a:lnTo>
                    <a:pt x="64" y="59"/>
                  </a:lnTo>
                  <a:lnTo>
                    <a:pt x="61" y="59"/>
                  </a:lnTo>
                  <a:lnTo>
                    <a:pt x="61" y="57"/>
                  </a:lnTo>
                  <a:lnTo>
                    <a:pt x="61" y="55"/>
                  </a:lnTo>
                  <a:lnTo>
                    <a:pt x="61" y="57"/>
                  </a:lnTo>
                  <a:lnTo>
                    <a:pt x="64" y="57"/>
                  </a:lnTo>
                  <a:lnTo>
                    <a:pt x="66" y="57"/>
                  </a:lnTo>
                  <a:lnTo>
                    <a:pt x="64" y="57"/>
                  </a:lnTo>
                  <a:lnTo>
                    <a:pt x="66" y="57"/>
                  </a:lnTo>
                  <a:lnTo>
                    <a:pt x="64" y="57"/>
                  </a:lnTo>
                  <a:lnTo>
                    <a:pt x="64" y="55"/>
                  </a:lnTo>
                  <a:lnTo>
                    <a:pt x="61" y="55"/>
                  </a:lnTo>
                  <a:lnTo>
                    <a:pt x="64" y="55"/>
                  </a:lnTo>
                  <a:lnTo>
                    <a:pt x="64" y="52"/>
                  </a:lnTo>
                  <a:lnTo>
                    <a:pt x="61" y="52"/>
                  </a:lnTo>
                  <a:lnTo>
                    <a:pt x="61" y="55"/>
                  </a:lnTo>
                  <a:lnTo>
                    <a:pt x="59" y="52"/>
                  </a:lnTo>
                  <a:lnTo>
                    <a:pt x="59" y="55"/>
                  </a:lnTo>
                  <a:lnTo>
                    <a:pt x="59" y="52"/>
                  </a:lnTo>
                  <a:lnTo>
                    <a:pt x="61" y="52"/>
                  </a:lnTo>
                  <a:lnTo>
                    <a:pt x="61" y="50"/>
                  </a:lnTo>
                  <a:lnTo>
                    <a:pt x="64" y="50"/>
                  </a:lnTo>
                  <a:lnTo>
                    <a:pt x="61" y="50"/>
                  </a:lnTo>
                  <a:lnTo>
                    <a:pt x="64" y="50"/>
                  </a:lnTo>
                  <a:lnTo>
                    <a:pt x="64" y="48"/>
                  </a:lnTo>
                  <a:lnTo>
                    <a:pt x="66" y="48"/>
                  </a:lnTo>
                  <a:lnTo>
                    <a:pt x="64" y="48"/>
                  </a:lnTo>
                  <a:lnTo>
                    <a:pt x="66" y="48"/>
                  </a:lnTo>
                  <a:lnTo>
                    <a:pt x="69" y="48"/>
                  </a:lnTo>
                  <a:lnTo>
                    <a:pt x="71" y="48"/>
                  </a:lnTo>
                  <a:lnTo>
                    <a:pt x="71" y="45"/>
                  </a:lnTo>
                  <a:lnTo>
                    <a:pt x="73" y="45"/>
                  </a:lnTo>
                  <a:lnTo>
                    <a:pt x="71" y="45"/>
                  </a:lnTo>
                  <a:lnTo>
                    <a:pt x="71" y="43"/>
                  </a:lnTo>
                  <a:lnTo>
                    <a:pt x="73" y="43"/>
                  </a:lnTo>
                  <a:lnTo>
                    <a:pt x="73" y="40"/>
                  </a:lnTo>
                  <a:lnTo>
                    <a:pt x="76" y="40"/>
                  </a:lnTo>
                  <a:lnTo>
                    <a:pt x="76" y="38"/>
                  </a:lnTo>
                  <a:lnTo>
                    <a:pt x="76" y="40"/>
                  </a:lnTo>
                  <a:lnTo>
                    <a:pt x="76" y="38"/>
                  </a:lnTo>
                  <a:lnTo>
                    <a:pt x="76" y="40"/>
                  </a:lnTo>
                  <a:lnTo>
                    <a:pt x="76" y="38"/>
                  </a:lnTo>
                  <a:lnTo>
                    <a:pt x="78" y="38"/>
                  </a:lnTo>
                  <a:lnTo>
                    <a:pt x="76" y="40"/>
                  </a:lnTo>
                  <a:lnTo>
                    <a:pt x="78" y="40"/>
                  </a:lnTo>
                  <a:lnTo>
                    <a:pt x="76" y="40"/>
                  </a:lnTo>
                  <a:lnTo>
                    <a:pt x="78" y="40"/>
                  </a:lnTo>
                  <a:lnTo>
                    <a:pt x="78" y="38"/>
                  </a:lnTo>
                  <a:lnTo>
                    <a:pt x="78" y="40"/>
                  </a:lnTo>
                  <a:lnTo>
                    <a:pt x="78" y="38"/>
                  </a:lnTo>
                  <a:lnTo>
                    <a:pt x="76" y="38"/>
                  </a:lnTo>
                  <a:lnTo>
                    <a:pt x="78" y="38"/>
                  </a:lnTo>
                  <a:lnTo>
                    <a:pt x="76" y="38"/>
                  </a:lnTo>
                  <a:lnTo>
                    <a:pt x="78" y="38"/>
                  </a:lnTo>
                  <a:lnTo>
                    <a:pt x="76" y="38"/>
                  </a:lnTo>
                  <a:lnTo>
                    <a:pt x="78" y="38"/>
                  </a:lnTo>
                  <a:lnTo>
                    <a:pt x="76" y="38"/>
                  </a:lnTo>
                  <a:lnTo>
                    <a:pt x="73" y="38"/>
                  </a:lnTo>
                  <a:lnTo>
                    <a:pt x="73" y="40"/>
                  </a:lnTo>
                  <a:lnTo>
                    <a:pt x="71" y="40"/>
                  </a:lnTo>
                  <a:lnTo>
                    <a:pt x="71" y="38"/>
                  </a:lnTo>
                  <a:lnTo>
                    <a:pt x="69" y="38"/>
                  </a:lnTo>
                  <a:lnTo>
                    <a:pt x="69" y="40"/>
                  </a:lnTo>
                  <a:lnTo>
                    <a:pt x="66" y="40"/>
                  </a:lnTo>
                  <a:lnTo>
                    <a:pt x="66" y="43"/>
                  </a:lnTo>
                  <a:lnTo>
                    <a:pt x="66" y="40"/>
                  </a:lnTo>
                  <a:lnTo>
                    <a:pt x="69" y="40"/>
                  </a:lnTo>
                  <a:lnTo>
                    <a:pt x="69" y="38"/>
                  </a:lnTo>
                  <a:lnTo>
                    <a:pt x="69" y="40"/>
                  </a:lnTo>
                  <a:lnTo>
                    <a:pt x="69" y="38"/>
                  </a:lnTo>
                  <a:lnTo>
                    <a:pt x="66" y="38"/>
                  </a:lnTo>
                  <a:lnTo>
                    <a:pt x="66" y="40"/>
                  </a:lnTo>
                  <a:lnTo>
                    <a:pt x="66" y="38"/>
                  </a:lnTo>
                  <a:lnTo>
                    <a:pt x="66" y="40"/>
                  </a:lnTo>
                  <a:lnTo>
                    <a:pt x="66" y="38"/>
                  </a:lnTo>
                  <a:lnTo>
                    <a:pt x="66" y="40"/>
                  </a:lnTo>
                  <a:lnTo>
                    <a:pt x="64" y="40"/>
                  </a:lnTo>
                  <a:lnTo>
                    <a:pt x="66" y="40"/>
                  </a:lnTo>
                  <a:lnTo>
                    <a:pt x="64" y="40"/>
                  </a:lnTo>
                  <a:lnTo>
                    <a:pt x="64" y="38"/>
                  </a:lnTo>
                  <a:lnTo>
                    <a:pt x="66" y="38"/>
                  </a:lnTo>
                  <a:lnTo>
                    <a:pt x="64" y="38"/>
                  </a:lnTo>
                  <a:lnTo>
                    <a:pt x="66" y="38"/>
                  </a:lnTo>
                  <a:lnTo>
                    <a:pt x="64" y="38"/>
                  </a:lnTo>
                  <a:lnTo>
                    <a:pt x="64" y="40"/>
                  </a:lnTo>
                  <a:lnTo>
                    <a:pt x="64" y="38"/>
                  </a:lnTo>
                  <a:lnTo>
                    <a:pt x="61" y="38"/>
                  </a:lnTo>
                  <a:lnTo>
                    <a:pt x="61" y="40"/>
                  </a:lnTo>
                  <a:lnTo>
                    <a:pt x="61" y="38"/>
                  </a:lnTo>
                  <a:lnTo>
                    <a:pt x="59" y="38"/>
                  </a:lnTo>
                  <a:lnTo>
                    <a:pt x="61" y="38"/>
                  </a:lnTo>
                  <a:lnTo>
                    <a:pt x="59" y="38"/>
                  </a:lnTo>
                  <a:lnTo>
                    <a:pt x="57" y="38"/>
                  </a:lnTo>
                  <a:lnTo>
                    <a:pt x="54" y="38"/>
                  </a:lnTo>
                  <a:lnTo>
                    <a:pt x="54" y="36"/>
                  </a:lnTo>
                  <a:lnTo>
                    <a:pt x="54" y="38"/>
                  </a:lnTo>
                  <a:lnTo>
                    <a:pt x="54" y="36"/>
                  </a:lnTo>
                  <a:lnTo>
                    <a:pt x="57" y="36"/>
                  </a:lnTo>
                  <a:lnTo>
                    <a:pt x="57" y="33"/>
                  </a:lnTo>
                  <a:lnTo>
                    <a:pt x="57" y="36"/>
                  </a:lnTo>
                  <a:lnTo>
                    <a:pt x="57" y="33"/>
                  </a:lnTo>
                  <a:lnTo>
                    <a:pt x="59" y="33"/>
                  </a:lnTo>
                  <a:lnTo>
                    <a:pt x="59" y="31"/>
                  </a:lnTo>
                  <a:lnTo>
                    <a:pt x="61" y="31"/>
                  </a:lnTo>
                  <a:lnTo>
                    <a:pt x="64" y="31"/>
                  </a:lnTo>
                  <a:lnTo>
                    <a:pt x="66" y="33"/>
                  </a:lnTo>
                  <a:lnTo>
                    <a:pt x="66" y="31"/>
                  </a:lnTo>
                  <a:lnTo>
                    <a:pt x="64" y="31"/>
                  </a:lnTo>
                  <a:lnTo>
                    <a:pt x="66" y="31"/>
                  </a:lnTo>
                  <a:lnTo>
                    <a:pt x="64" y="31"/>
                  </a:lnTo>
                  <a:lnTo>
                    <a:pt x="64" y="29"/>
                  </a:lnTo>
                  <a:lnTo>
                    <a:pt x="61" y="29"/>
                  </a:lnTo>
                  <a:lnTo>
                    <a:pt x="64" y="29"/>
                  </a:lnTo>
                  <a:lnTo>
                    <a:pt x="66" y="29"/>
                  </a:lnTo>
                  <a:lnTo>
                    <a:pt x="69" y="29"/>
                  </a:lnTo>
                  <a:lnTo>
                    <a:pt x="69" y="26"/>
                  </a:lnTo>
                  <a:lnTo>
                    <a:pt x="69" y="29"/>
                  </a:lnTo>
                  <a:lnTo>
                    <a:pt x="71" y="29"/>
                  </a:lnTo>
                  <a:lnTo>
                    <a:pt x="71" y="26"/>
                  </a:lnTo>
                  <a:lnTo>
                    <a:pt x="73" y="26"/>
                  </a:lnTo>
                  <a:lnTo>
                    <a:pt x="71" y="26"/>
                  </a:lnTo>
                  <a:lnTo>
                    <a:pt x="71" y="29"/>
                  </a:lnTo>
                  <a:lnTo>
                    <a:pt x="69" y="29"/>
                  </a:lnTo>
                  <a:lnTo>
                    <a:pt x="69" y="26"/>
                  </a:lnTo>
                  <a:lnTo>
                    <a:pt x="69" y="29"/>
                  </a:lnTo>
                  <a:lnTo>
                    <a:pt x="69" y="26"/>
                  </a:lnTo>
                  <a:lnTo>
                    <a:pt x="71" y="26"/>
                  </a:lnTo>
                  <a:lnTo>
                    <a:pt x="69" y="26"/>
                  </a:lnTo>
                  <a:lnTo>
                    <a:pt x="69" y="24"/>
                  </a:lnTo>
                  <a:lnTo>
                    <a:pt x="69" y="26"/>
                  </a:lnTo>
                  <a:lnTo>
                    <a:pt x="69" y="24"/>
                  </a:lnTo>
                  <a:lnTo>
                    <a:pt x="69" y="26"/>
                  </a:lnTo>
                  <a:lnTo>
                    <a:pt x="66" y="26"/>
                  </a:lnTo>
                  <a:lnTo>
                    <a:pt x="66" y="24"/>
                  </a:lnTo>
                  <a:lnTo>
                    <a:pt x="69" y="24"/>
                  </a:lnTo>
                  <a:lnTo>
                    <a:pt x="69" y="21"/>
                  </a:lnTo>
                  <a:lnTo>
                    <a:pt x="66" y="21"/>
                  </a:lnTo>
                  <a:lnTo>
                    <a:pt x="66" y="19"/>
                  </a:lnTo>
                  <a:lnTo>
                    <a:pt x="66" y="21"/>
                  </a:lnTo>
                  <a:lnTo>
                    <a:pt x="66" y="19"/>
                  </a:lnTo>
                  <a:lnTo>
                    <a:pt x="69" y="19"/>
                  </a:lnTo>
                  <a:lnTo>
                    <a:pt x="66" y="19"/>
                  </a:lnTo>
                  <a:lnTo>
                    <a:pt x="66" y="17"/>
                  </a:lnTo>
                  <a:lnTo>
                    <a:pt x="66" y="19"/>
                  </a:lnTo>
                  <a:lnTo>
                    <a:pt x="69" y="19"/>
                  </a:lnTo>
                  <a:lnTo>
                    <a:pt x="69" y="17"/>
                  </a:lnTo>
                  <a:lnTo>
                    <a:pt x="69" y="19"/>
                  </a:lnTo>
                  <a:lnTo>
                    <a:pt x="69" y="17"/>
                  </a:lnTo>
                  <a:lnTo>
                    <a:pt x="69" y="19"/>
                  </a:lnTo>
                  <a:lnTo>
                    <a:pt x="69" y="17"/>
                  </a:lnTo>
                  <a:lnTo>
                    <a:pt x="71" y="17"/>
                  </a:lnTo>
                  <a:lnTo>
                    <a:pt x="71" y="19"/>
                  </a:lnTo>
                  <a:lnTo>
                    <a:pt x="71" y="17"/>
                  </a:lnTo>
                  <a:lnTo>
                    <a:pt x="71" y="19"/>
                  </a:lnTo>
                  <a:lnTo>
                    <a:pt x="71" y="17"/>
                  </a:lnTo>
                  <a:lnTo>
                    <a:pt x="71" y="14"/>
                  </a:lnTo>
                  <a:lnTo>
                    <a:pt x="71" y="12"/>
                  </a:lnTo>
                  <a:lnTo>
                    <a:pt x="73" y="12"/>
                  </a:lnTo>
                  <a:lnTo>
                    <a:pt x="76" y="12"/>
                  </a:lnTo>
                  <a:lnTo>
                    <a:pt x="76" y="14"/>
                  </a:lnTo>
                  <a:lnTo>
                    <a:pt x="76" y="12"/>
                  </a:lnTo>
                  <a:lnTo>
                    <a:pt x="78" y="12"/>
                  </a:lnTo>
                  <a:lnTo>
                    <a:pt x="76" y="12"/>
                  </a:lnTo>
                  <a:lnTo>
                    <a:pt x="78" y="12"/>
                  </a:lnTo>
                  <a:lnTo>
                    <a:pt x="80" y="12"/>
                  </a:lnTo>
                  <a:lnTo>
                    <a:pt x="80" y="10"/>
                  </a:lnTo>
                  <a:lnTo>
                    <a:pt x="83" y="10"/>
                  </a:lnTo>
                  <a:lnTo>
                    <a:pt x="80" y="10"/>
                  </a:lnTo>
                  <a:lnTo>
                    <a:pt x="83" y="10"/>
                  </a:lnTo>
                  <a:lnTo>
                    <a:pt x="83" y="12"/>
                  </a:lnTo>
                  <a:lnTo>
                    <a:pt x="83" y="10"/>
                  </a:lnTo>
                  <a:lnTo>
                    <a:pt x="85" y="10"/>
                  </a:lnTo>
                  <a:lnTo>
                    <a:pt x="85" y="12"/>
                  </a:lnTo>
                  <a:lnTo>
                    <a:pt x="83" y="12"/>
                  </a:lnTo>
                  <a:lnTo>
                    <a:pt x="85" y="12"/>
                  </a:lnTo>
                  <a:lnTo>
                    <a:pt x="85" y="14"/>
                  </a:lnTo>
                  <a:lnTo>
                    <a:pt x="85" y="12"/>
                  </a:lnTo>
                  <a:lnTo>
                    <a:pt x="88" y="12"/>
                  </a:lnTo>
                  <a:lnTo>
                    <a:pt x="88" y="10"/>
                  </a:lnTo>
                  <a:lnTo>
                    <a:pt x="85" y="10"/>
                  </a:lnTo>
                  <a:lnTo>
                    <a:pt x="85" y="7"/>
                  </a:lnTo>
                  <a:lnTo>
                    <a:pt x="85" y="10"/>
                  </a:lnTo>
                  <a:lnTo>
                    <a:pt x="85" y="7"/>
                  </a:lnTo>
                  <a:lnTo>
                    <a:pt x="85" y="10"/>
                  </a:lnTo>
                  <a:lnTo>
                    <a:pt x="85" y="7"/>
                  </a:lnTo>
                  <a:lnTo>
                    <a:pt x="88" y="7"/>
                  </a:lnTo>
                  <a:lnTo>
                    <a:pt x="88" y="10"/>
                  </a:lnTo>
                  <a:lnTo>
                    <a:pt x="88" y="7"/>
                  </a:lnTo>
                  <a:lnTo>
                    <a:pt x="88" y="10"/>
                  </a:lnTo>
                  <a:lnTo>
                    <a:pt x="88" y="12"/>
                  </a:lnTo>
                  <a:lnTo>
                    <a:pt x="88" y="10"/>
                  </a:lnTo>
                  <a:lnTo>
                    <a:pt x="88" y="12"/>
                  </a:lnTo>
                  <a:lnTo>
                    <a:pt x="88" y="10"/>
                  </a:lnTo>
                  <a:lnTo>
                    <a:pt x="90" y="10"/>
                  </a:lnTo>
                  <a:lnTo>
                    <a:pt x="90" y="12"/>
                  </a:lnTo>
                  <a:lnTo>
                    <a:pt x="90" y="10"/>
                  </a:lnTo>
                  <a:lnTo>
                    <a:pt x="90" y="12"/>
                  </a:lnTo>
                  <a:lnTo>
                    <a:pt x="92" y="12"/>
                  </a:lnTo>
                  <a:lnTo>
                    <a:pt x="90" y="12"/>
                  </a:lnTo>
                  <a:lnTo>
                    <a:pt x="90" y="14"/>
                  </a:lnTo>
                  <a:lnTo>
                    <a:pt x="92" y="14"/>
                  </a:lnTo>
                  <a:lnTo>
                    <a:pt x="90" y="14"/>
                  </a:lnTo>
                  <a:lnTo>
                    <a:pt x="92" y="14"/>
                  </a:lnTo>
                  <a:lnTo>
                    <a:pt x="90" y="14"/>
                  </a:lnTo>
                  <a:lnTo>
                    <a:pt x="92" y="14"/>
                  </a:lnTo>
                  <a:lnTo>
                    <a:pt x="92" y="12"/>
                  </a:lnTo>
                  <a:lnTo>
                    <a:pt x="92" y="10"/>
                  </a:lnTo>
                  <a:lnTo>
                    <a:pt x="92" y="12"/>
                  </a:lnTo>
                  <a:lnTo>
                    <a:pt x="92" y="10"/>
                  </a:lnTo>
                  <a:lnTo>
                    <a:pt x="92" y="12"/>
                  </a:lnTo>
                  <a:lnTo>
                    <a:pt x="90" y="12"/>
                  </a:lnTo>
                  <a:lnTo>
                    <a:pt x="90" y="10"/>
                  </a:lnTo>
                  <a:lnTo>
                    <a:pt x="90" y="7"/>
                  </a:lnTo>
                  <a:lnTo>
                    <a:pt x="90" y="10"/>
                  </a:lnTo>
                  <a:lnTo>
                    <a:pt x="90" y="12"/>
                  </a:lnTo>
                  <a:lnTo>
                    <a:pt x="90" y="10"/>
                  </a:lnTo>
                  <a:lnTo>
                    <a:pt x="88" y="10"/>
                  </a:lnTo>
                  <a:lnTo>
                    <a:pt x="88" y="7"/>
                  </a:lnTo>
                  <a:lnTo>
                    <a:pt x="90" y="7"/>
                  </a:lnTo>
                  <a:lnTo>
                    <a:pt x="92" y="7"/>
                  </a:lnTo>
                  <a:lnTo>
                    <a:pt x="90" y="7"/>
                  </a:lnTo>
                  <a:lnTo>
                    <a:pt x="92" y="7"/>
                  </a:lnTo>
                  <a:lnTo>
                    <a:pt x="92" y="5"/>
                  </a:lnTo>
                  <a:lnTo>
                    <a:pt x="92" y="7"/>
                  </a:lnTo>
                  <a:lnTo>
                    <a:pt x="95" y="7"/>
                  </a:lnTo>
                  <a:lnTo>
                    <a:pt x="95" y="10"/>
                  </a:lnTo>
                  <a:lnTo>
                    <a:pt x="92" y="10"/>
                  </a:lnTo>
                  <a:lnTo>
                    <a:pt x="95" y="10"/>
                  </a:lnTo>
                  <a:lnTo>
                    <a:pt x="95" y="12"/>
                  </a:lnTo>
                  <a:lnTo>
                    <a:pt x="97" y="12"/>
                  </a:lnTo>
                  <a:lnTo>
                    <a:pt x="97" y="14"/>
                  </a:lnTo>
                  <a:lnTo>
                    <a:pt x="95" y="14"/>
                  </a:lnTo>
                  <a:lnTo>
                    <a:pt x="95" y="17"/>
                  </a:lnTo>
                  <a:lnTo>
                    <a:pt x="92" y="17"/>
                  </a:lnTo>
                  <a:lnTo>
                    <a:pt x="92" y="19"/>
                  </a:lnTo>
                  <a:lnTo>
                    <a:pt x="92" y="17"/>
                  </a:lnTo>
                  <a:lnTo>
                    <a:pt x="95" y="17"/>
                  </a:lnTo>
                  <a:lnTo>
                    <a:pt x="95" y="19"/>
                  </a:lnTo>
                  <a:lnTo>
                    <a:pt x="92" y="19"/>
                  </a:lnTo>
                  <a:lnTo>
                    <a:pt x="92" y="21"/>
                  </a:lnTo>
                  <a:lnTo>
                    <a:pt x="95" y="21"/>
                  </a:lnTo>
                  <a:lnTo>
                    <a:pt x="95" y="19"/>
                  </a:lnTo>
                  <a:lnTo>
                    <a:pt x="97" y="19"/>
                  </a:lnTo>
                  <a:lnTo>
                    <a:pt x="97" y="17"/>
                  </a:lnTo>
                  <a:lnTo>
                    <a:pt x="99" y="17"/>
                  </a:lnTo>
                  <a:lnTo>
                    <a:pt x="97" y="17"/>
                  </a:lnTo>
                  <a:lnTo>
                    <a:pt x="99" y="17"/>
                  </a:lnTo>
                  <a:lnTo>
                    <a:pt x="99" y="14"/>
                  </a:lnTo>
                  <a:lnTo>
                    <a:pt x="97" y="17"/>
                  </a:lnTo>
                  <a:lnTo>
                    <a:pt x="97" y="14"/>
                  </a:lnTo>
                  <a:lnTo>
                    <a:pt x="99" y="14"/>
                  </a:lnTo>
                  <a:lnTo>
                    <a:pt x="99" y="12"/>
                  </a:lnTo>
                  <a:lnTo>
                    <a:pt x="97" y="12"/>
                  </a:lnTo>
                  <a:lnTo>
                    <a:pt x="97" y="10"/>
                  </a:lnTo>
                  <a:lnTo>
                    <a:pt x="95" y="10"/>
                  </a:lnTo>
                  <a:lnTo>
                    <a:pt x="97" y="10"/>
                  </a:lnTo>
                  <a:lnTo>
                    <a:pt x="95" y="10"/>
                  </a:lnTo>
                  <a:lnTo>
                    <a:pt x="97" y="10"/>
                  </a:lnTo>
                  <a:lnTo>
                    <a:pt x="97" y="7"/>
                  </a:lnTo>
                  <a:lnTo>
                    <a:pt x="97" y="5"/>
                  </a:lnTo>
                  <a:lnTo>
                    <a:pt x="99" y="5"/>
                  </a:lnTo>
                  <a:lnTo>
                    <a:pt x="102" y="5"/>
                  </a:lnTo>
                  <a:lnTo>
                    <a:pt x="104" y="5"/>
                  </a:lnTo>
                  <a:lnTo>
                    <a:pt x="102" y="5"/>
                  </a:lnTo>
                  <a:lnTo>
                    <a:pt x="104" y="5"/>
                  </a:lnTo>
                  <a:lnTo>
                    <a:pt x="107" y="5"/>
                  </a:lnTo>
                  <a:lnTo>
                    <a:pt x="104" y="5"/>
                  </a:lnTo>
                  <a:lnTo>
                    <a:pt x="107" y="5"/>
                  </a:lnTo>
                  <a:lnTo>
                    <a:pt x="104" y="5"/>
                  </a:lnTo>
                  <a:lnTo>
                    <a:pt x="102" y="5"/>
                  </a:lnTo>
                  <a:lnTo>
                    <a:pt x="102" y="2"/>
                  </a:lnTo>
                  <a:lnTo>
                    <a:pt x="102" y="0"/>
                  </a:lnTo>
                  <a:lnTo>
                    <a:pt x="104" y="0"/>
                  </a:lnTo>
                  <a:lnTo>
                    <a:pt x="104" y="2"/>
                  </a:lnTo>
                  <a:lnTo>
                    <a:pt x="104" y="0"/>
                  </a:lnTo>
                  <a:lnTo>
                    <a:pt x="104" y="2"/>
                  </a:lnTo>
                  <a:lnTo>
                    <a:pt x="104" y="0"/>
                  </a:lnTo>
                  <a:lnTo>
                    <a:pt x="104" y="2"/>
                  </a:lnTo>
                  <a:lnTo>
                    <a:pt x="107" y="2"/>
                  </a:lnTo>
                  <a:lnTo>
                    <a:pt x="109" y="2"/>
                  </a:lnTo>
                  <a:lnTo>
                    <a:pt x="109" y="5"/>
                  </a:lnTo>
                  <a:lnTo>
                    <a:pt x="111" y="5"/>
                  </a:lnTo>
                  <a:lnTo>
                    <a:pt x="111" y="7"/>
                  </a:lnTo>
                  <a:lnTo>
                    <a:pt x="111" y="5"/>
                  </a:lnTo>
                  <a:lnTo>
                    <a:pt x="114" y="5"/>
                  </a:lnTo>
                  <a:lnTo>
                    <a:pt x="114" y="7"/>
                  </a:lnTo>
                  <a:lnTo>
                    <a:pt x="116" y="7"/>
                  </a:lnTo>
                  <a:lnTo>
                    <a:pt x="116" y="10"/>
                  </a:lnTo>
                  <a:lnTo>
                    <a:pt x="114" y="10"/>
                  </a:lnTo>
                  <a:lnTo>
                    <a:pt x="111" y="10"/>
                  </a:lnTo>
                  <a:lnTo>
                    <a:pt x="111" y="12"/>
                  </a:lnTo>
                  <a:lnTo>
                    <a:pt x="109" y="12"/>
                  </a:lnTo>
                  <a:lnTo>
                    <a:pt x="109" y="14"/>
                  </a:lnTo>
                  <a:lnTo>
                    <a:pt x="107" y="14"/>
                  </a:lnTo>
                  <a:lnTo>
                    <a:pt x="107" y="17"/>
                  </a:lnTo>
                  <a:lnTo>
                    <a:pt x="104" y="17"/>
                  </a:lnTo>
                  <a:lnTo>
                    <a:pt x="102" y="17"/>
                  </a:lnTo>
                  <a:lnTo>
                    <a:pt x="102" y="19"/>
                  </a:lnTo>
                  <a:lnTo>
                    <a:pt x="99" y="21"/>
                  </a:lnTo>
                  <a:lnTo>
                    <a:pt x="102" y="21"/>
                  </a:lnTo>
                  <a:lnTo>
                    <a:pt x="99" y="21"/>
                  </a:lnTo>
                  <a:lnTo>
                    <a:pt x="102" y="24"/>
                  </a:lnTo>
                  <a:lnTo>
                    <a:pt x="99" y="24"/>
                  </a:lnTo>
                  <a:lnTo>
                    <a:pt x="99" y="26"/>
                  </a:lnTo>
                  <a:lnTo>
                    <a:pt x="99" y="29"/>
                  </a:lnTo>
                  <a:lnTo>
                    <a:pt x="97" y="29"/>
                  </a:lnTo>
                  <a:lnTo>
                    <a:pt x="97" y="31"/>
                  </a:lnTo>
                  <a:lnTo>
                    <a:pt x="95" y="31"/>
                  </a:lnTo>
                  <a:lnTo>
                    <a:pt x="97" y="33"/>
                  </a:lnTo>
                  <a:lnTo>
                    <a:pt x="95" y="33"/>
                  </a:lnTo>
                  <a:lnTo>
                    <a:pt x="92" y="33"/>
                  </a:lnTo>
                  <a:lnTo>
                    <a:pt x="90" y="33"/>
                  </a:lnTo>
                  <a:lnTo>
                    <a:pt x="90" y="36"/>
                  </a:lnTo>
                  <a:lnTo>
                    <a:pt x="88" y="36"/>
                  </a:lnTo>
                  <a:lnTo>
                    <a:pt x="88" y="33"/>
                  </a:lnTo>
                  <a:lnTo>
                    <a:pt x="85" y="33"/>
                  </a:lnTo>
                  <a:lnTo>
                    <a:pt x="85" y="36"/>
                  </a:lnTo>
                  <a:lnTo>
                    <a:pt x="83" y="36"/>
                  </a:lnTo>
                  <a:lnTo>
                    <a:pt x="85" y="36"/>
                  </a:lnTo>
                  <a:lnTo>
                    <a:pt x="83" y="36"/>
                  </a:lnTo>
                  <a:lnTo>
                    <a:pt x="85" y="38"/>
                  </a:lnTo>
                  <a:lnTo>
                    <a:pt x="88" y="38"/>
                  </a:lnTo>
                  <a:lnTo>
                    <a:pt x="90" y="38"/>
                  </a:lnTo>
                  <a:lnTo>
                    <a:pt x="90" y="40"/>
                  </a:lnTo>
                  <a:lnTo>
                    <a:pt x="88" y="40"/>
                  </a:lnTo>
                  <a:lnTo>
                    <a:pt x="88" y="43"/>
                  </a:lnTo>
                  <a:lnTo>
                    <a:pt x="85" y="43"/>
                  </a:lnTo>
                  <a:lnTo>
                    <a:pt x="83" y="43"/>
                  </a:lnTo>
                  <a:lnTo>
                    <a:pt x="80" y="43"/>
                  </a:lnTo>
                  <a:lnTo>
                    <a:pt x="80" y="45"/>
                  </a:lnTo>
                  <a:lnTo>
                    <a:pt x="78" y="45"/>
                  </a:lnTo>
                  <a:lnTo>
                    <a:pt x="78" y="48"/>
                  </a:lnTo>
                  <a:lnTo>
                    <a:pt x="76" y="48"/>
                  </a:lnTo>
                  <a:lnTo>
                    <a:pt x="78" y="50"/>
                  </a:lnTo>
                  <a:lnTo>
                    <a:pt x="78" y="52"/>
                  </a:lnTo>
                  <a:lnTo>
                    <a:pt x="80" y="52"/>
                  </a:lnTo>
                  <a:lnTo>
                    <a:pt x="83" y="55"/>
                  </a:lnTo>
                  <a:lnTo>
                    <a:pt x="85" y="55"/>
                  </a:lnTo>
                  <a:lnTo>
                    <a:pt x="85" y="57"/>
                  </a:lnTo>
                  <a:lnTo>
                    <a:pt x="85" y="59"/>
                  </a:lnTo>
                  <a:lnTo>
                    <a:pt x="88" y="59"/>
                  </a:lnTo>
                  <a:lnTo>
                    <a:pt x="90" y="59"/>
                  </a:lnTo>
                  <a:lnTo>
                    <a:pt x="92" y="59"/>
                  </a:lnTo>
                  <a:lnTo>
                    <a:pt x="92" y="62"/>
                  </a:lnTo>
                  <a:lnTo>
                    <a:pt x="95" y="62"/>
                  </a:lnTo>
                  <a:lnTo>
                    <a:pt x="95" y="64"/>
                  </a:lnTo>
                  <a:lnTo>
                    <a:pt x="97" y="64"/>
                  </a:lnTo>
                  <a:lnTo>
                    <a:pt x="99" y="64"/>
                  </a:lnTo>
                  <a:lnTo>
                    <a:pt x="99" y="62"/>
                  </a:lnTo>
                  <a:lnTo>
                    <a:pt x="99" y="64"/>
                  </a:lnTo>
                  <a:lnTo>
                    <a:pt x="102" y="64"/>
                  </a:lnTo>
                  <a:lnTo>
                    <a:pt x="104" y="64"/>
                  </a:lnTo>
                  <a:lnTo>
                    <a:pt x="102" y="62"/>
                  </a:lnTo>
                  <a:lnTo>
                    <a:pt x="104" y="62"/>
                  </a:lnTo>
                  <a:lnTo>
                    <a:pt x="104" y="64"/>
                  </a:lnTo>
                  <a:lnTo>
                    <a:pt x="104" y="62"/>
                  </a:lnTo>
                  <a:lnTo>
                    <a:pt x="107" y="62"/>
                  </a:lnTo>
                  <a:lnTo>
                    <a:pt x="107" y="59"/>
                  </a:lnTo>
                  <a:lnTo>
                    <a:pt x="109" y="59"/>
                  </a:lnTo>
                  <a:lnTo>
                    <a:pt x="109" y="57"/>
                  </a:lnTo>
                  <a:lnTo>
                    <a:pt x="109" y="55"/>
                  </a:lnTo>
                  <a:lnTo>
                    <a:pt x="107" y="55"/>
                  </a:lnTo>
                  <a:lnTo>
                    <a:pt x="109" y="55"/>
                  </a:lnTo>
                  <a:lnTo>
                    <a:pt x="109" y="52"/>
                  </a:lnTo>
                  <a:lnTo>
                    <a:pt x="111" y="52"/>
                  </a:lnTo>
                  <a:lnTo>
                    <a:pt x="111" y="50"/>
                  </a:lnTo>
                  <a:lnTo>
                    <a:pt x="114" y="50"/>
                  </a:lnTo>
                  <a:lnTo>
                    <a:pt x="116" y="50"/>
                  </a:lnTo>
                  <a:lnTo>
                    <a:pt x="116" y="52"/>
                  </a:lnTo>
                  <a:lnTo>
                    <a:pt x="118" y="52"/>
                  </a:lnTo>
                  <a:lnTo>
                    <a:pt x="118" y="55"/>
                  </a:lnTo>
                  <a:lnTo>
                    <a:pt x="118" y="57"/>
                  </a:lnTo>
                  <a:lnTo>
                    <a:pt x="121" y="59"/>
                  </a:lnTo>
                  <a:lnTo>
                    <a:pt x="123" y="59"/>
                  </a:lnTo>
                  <a:lnTo>
                    <a:pt x="123" y="62"/>
                  </a:lnTo>
                  <a:lnTo>
                    <a:pt x="123" y="59"/>
                  </a:lnTo>
                  <a:lnTo>
                    <a:pt x="126" y="59"/>
                  </a:lnTo>
                  <a:lnTo>
                    <a:pt x="126" y="62"/>
                  </a:lnTo>
                  <a:lnTo>
                    <a:pt x="126" y="64"/>
                  </a:lnTo>
                  <a:lnTo>
                    <a:pt x="126" y="67"/>
                  </a:lnTo>
                  <a:lnTo>
                    <a:pt x="126" y="69"/>
                  </a:lnTo>
                  <a:lnTo>
                    <a:pt x="128" y="69"/>
                  </a:lnTo>
                  <a:lnTo>
                    <a:pt x="128" y="67"/>
                  </a:lnTo>
                  <a:lnTo>
                    <a:pt x="128" y="69"/>
                  </a:lnTo>
                  <a:lnTo>
                    <a:pt x="128" y="67"/>
                  </a:lnTo>
                  <a:lnTo>
                    <a:pt x="130" y="67"/>
                  </a:lnTo>
                  <a:lnTo>
                    <a:pt x="133" y="67"/>
                  </a:lnTo>
                  <a:lnTo>
                    <a:pt x="135" y="67"/>
                  </a:lnTo>
                  <a:lnTo>
                    <a:pt x="135" y="64"/>
                  </a:lnTo>
                  <a:lnTo>
                    <a:pt x="135" y="67"/>
                  </a:lnTo>
                  <a:lnTo>
                    <a:pt x="137" y="67"/>
                  </a:lnTo>
                  <a:lnTo>
                    <a:pt x="137" y="64"/>
                  </a:lnTo>
                  <a:lnTo>
                    <a:pt x="137" y="67"/>
                  </a:lnTo>
                  <a:lnTo>
                    <a:pt x="140" y="67"/>
                  </a:lnTo>
                  <a:lnTo>
                    <a:pt x="140" y="69"/>
                  </a:lnTo>
                  <a:lnTo>
                    <a:pt x="142" y="69"/>
                  </a:lnTo>
                  <a:lnTo>
                    <a:pt x="145" y="71"/>
                  </a:lnTo>
                  <a:lnTo>
                    <a:pt x="142" y="71"/>
                  </a:lnTo>
                  <a:lnTo>
                    <a:pt x="140" y="71"/>
                  </a:lnTo>
                  <a:lnTo>
                    <a:pt x="137" y="71"/>
                  </a:lnTo>
                  <a:lnTo>
                    <a:pt x="137" y="69"/>
                  </a:lnTo>
                  <a:lnTo>
                    <a:pt x="135" y="69"/>
                  </a:lnTo>
                  <a:lnTo>
                    <a:pt x="133" y="69"/>
                  </a:lnTo>
                  <a:lnTo>
                    <a:pt x="135" y="69"/>
                  </a:lnTo>
                  <a:lnTo>
                    <a:pt x="135" y="71"/>
                  </a:lnTo>
                  <a:lnTo>
                    <a:pt x="135" y="74"/>
                  </a:lnTo>
                  <a:lnTo>
                    <a:pt x="135" y="76"/>
                  </a:lnTo>
                  <a:lnTo>
                    <a:pt x="137" y="76"/>
                  </a:lnTo>
                  <a:lnTo>
                    <a:pt x="140" y="76"/>
                  </a:lnTo>
                  <a:lnTo>
                    <a:pt x="140" y="78"/>
                  </a:lnTo>
                  <a:lnTo>
                    <a:pt x="137" y="78"/>
                  </a:lnTo>
                  <a:lnTo>
                    <a:pt x="137" y="81"/>
                  </a:lnTo>
                  <a:lnTo>
                    <a:pt x="140" y="81"/>
                  </a:lnTo>
                  <a:lnTo>
                    <a:pt x="140" y="83"/>
                  </a:lnTo>
                  <a:lnTo>
                    <a:pt x="137" y="83"/>
                  </a:lnTo>
                  <a:lnTo>
                    <a:pt x="137" y="86"/>
                  </a:lnTo>
                  <a:lnTo>
                    <a:pt x="137" y="83"/>
                  </a:lnTo>
                  <a:lnTo>
                    <a:pt x="140" y="83"/>
                  </a:lnTo>
                  <a:lnTo>
                    <a:pt x="140" y="86"/>
                  </a:lnTo>
                  <a:lnTo>
                    <a:pt x="140" y="88"/>
                  </a:lnTo>
                  <a:lnTo>
                    <a:pt x="140" y="90"/>
                  </a:lnTo>
                  <a:lnTo>
                    <a:pt x="142" y="90"/>
                  </a:lnTo>
                  <a:lnTo>
                    <a:pt x="145" y="90"/>
                  </a:lnTo>
                  <a:lnTo>
                    <a:pt x="145" y="93"/>
                  </a:lnTo>
                  <a:lnTo>
                    <a:pt x="145" y="95"/>
                  </a:lnTo>
                  <a:lnTo>
                    <a:pt x="142" y="95"/>
                  </a:lnTo>
                  <a:lnTo>
                    <a:pt x="145" y="95"/>
                  </a:lnTo>
                  <a:lnTo>
                    <a:pt x="142" y="97"/>
                  </a:lnTo>
                  <a:lnTo>
                    <a:pt x="140" y="97"/>
                  </a:lnTo>
                  <a:lnTo>
                    <a:pt x="142" y="97"/>
                  </a:lnTo>
                  <a:lnTo>
                    <a:pt x="142" y="100"/>
                  </a:lnTo>
                  <a:lnTo>
                    <a:pt x="145" y="100"/>
                  </a:lnTo>
                  <a:lnTo>
                    <a:pt x="145" y="102"/>
                  </a:lnTo>
                  <a:lnTo>
                    <a:pt x="142" y="100"/>
                  </a:lnTo>
                  <a:lnTo>
                    <a:pt x="142" y="102"/>
                  </a:lnTo>
                  <a:lnTo>
                    <a:pt x="140" y="102"/>
                  </a:lnTo>
                  <a:lnTo>
                    <a:pt x="142" y="102"/>
                  </a:lnTo>
                  <a:lnTo>
                    <a:pt x="140" y="105"/>
                  </a:lnTo>
                  <a:lnTo>
                    <a:pt x="142" y="105"/>
                  </a:lnTo>
                  <a:lnTo>
                    <a:pt x="142" y="107"/>
                  </a:lnTo>
                  <a:lnTo>
                    <a:pt x="145" y="107"/>
                  </a:lnTo>
                  <a:lnTo>
                    <a:pt x="142" y="107"/>
                  </a:lnTo>
                  <a:lnTo>
                    <a:pt x="142" y="109"/>
                  </a:lnTo>
                  <a:lnTo>
                    <a:pt x="145" y="109"/>
                  </a:lnTo>
                  <a:lnTo>
                    <a:pt x="145" y="112"/>
                  </a:lnTo>
                  <a:lnTo>
                    <a:pt x="145" y="114"/>
                  </a:lnTo>
                  <a:lnTo>
                    <a:pt x="145" y="116"/>
                  </a:lnTo>
                  <a:lnTo>
                    <a:pt x="147" y="116"/>
                  </a:lnTo>
                  <a:lnTo>
                    <a:pt x="145" y="116"/>
                  </a:lnTo>
                  <a:lnTo>
                    <a:pt x="145" y="119"/>
                  </a:lnTo>
                  <a:lnTo>
                    <a:pt x="145" y="121"/>
                  </a:lnTo>
                  <a:lnTo>
                    <a:pt x="147" y="121"/>
                  </a:lnTo>
                  <a:lnTo>
                    <a:pt x="147" y="124"/>
                  </a:lnTo>
                  <a:lnTo>
                    <a:pt x="145" y="124"/>
                  </a:lnTo>
                  <a:lnTo>
                    <a:pt x="145" y="126"/>
                  </a:lnTo>
                  <a:lnTo>
                    <a:pt x="147" y="126"/>
                  </a:lnTo>
                  <a:lnTo>
                    <a:pt x="145" y="126"/>
                  </a:lnTo>
                  <a:lnTo>
                    <a:pt x="145" y="128"/>
                  </a:lnTo>
                  <a:lnTo>
                    <a:pt x="142" y="128"/>
                  </a:lnTo>
                  <a:lnTo>
                    <a:pt x="142" y="131"/>
                  </a:lnTo>
                  <a:lnTo>
                    <a:pt x="142" y="133"/>
                  </a:lnTo>
                  <a:lnTo>
                    <a:pt x="142" y="135"/>
                  </a:lnTo>
                  <a:lnTo>
                    <a:pt x="140" y="135"/>
                  </a:lnTo>
                  <a:lnTo>
                    <a:pt x="140" y="138"/>
                  </a:lnTo>
                  <a:lnTo>
                    <a:pt x="140" y="140"/>
                  </a:lnTo>
                  <a:lnTo>
                    <a:pt x="140" y="143"/>
                  </a:lnTo>
                  <a:lnTo>
                    <a:pt x="140" y="145"/>
                  </a:lnTo>
                  <a:lnTo>
                    <a:pt x="137" y="145"/>
                  </a:lnTo>
                  <a:lnTo>
                    <a:pt x="137" y="147"/>
                  </a:lnTo>
                  <a:lnTo>
                    <a:pt x="135" y="150"/>
                  </a:lnTo>
                  <a:lnTo>
                    <a:pt x="135" y="152"/>
                  </a:lnTo>
                  <a:lnTo>
                    <a:pt x="133" y="152"/>
                  </a:lnTo>
                  <a:lnTo>
                    <a:pt x="130" y="152"/>
                  </a:lnTo>
                  <a:lnTo>
                    <a:pt x="133" y="152"/>
                  </a:lnTo>
                  <a:lnTo>
                    <a:pt x="130" y="152"/>
                  </a:lnTo>
                  <a:lnTo>
                    <a:pt x="133" y="152"/>
                  </a:lnTo>
                  <a:lnTo>
                    <a:pt x="130" y="152"/>
                  </a:lnTo>
                  <a:lnTo>
                    <a:pt x="133" y="152"/>
                  </a:lnTo>
                  <a:lnTo>
                    <a:pt x="130" y="152"/>
                  </a:lnTo>
                  <a:lnTo>
                    <a:pt x="128" y="152"/>
                  </a:lnTo>
                  <a:lnTo>
                    <a:pt x="128" y="150"/>
                  </a:lnTo>
                  <a:lnTo>
                    <a:pt x="128" y="152"/>
                  </a:lnTo>
                  <a:lnTo>
                    <a:pt x="130" y="152"/>
                  </a:lnTo>
                  <a:lnTo>
                    <a:pt x="133" y="152"/>
                  </a:lnTo>
                  <a:lnTo>
                    <a:pt x="133" y="154"/>
                  </a:lnTo>
                  <a:lnTo>
                    <a:pt x="135" y="154"/>
                  </a:lnTo>
                  <a:lnTo>
                    <a:pt x="135" y="157"/>
                  </a:lnTo>
                  <a:lnTo>
                    <a:pt x="137" y="157"/>
                  </a:lnTo>
                  <a:lnTo>
                    <a:pt x="137" y="159"/>
                  </a:lnTo>
                  <a:lnTo>
                    <a:pt x="135" y="159"/>
                  </a:lnTo>
                  <a:lnTo>
                    <a:pt x="135" y="162"/>
                  </a:lnTo>
                  <a:lnTo>
                    <a:pt x="133" y="162"/>
                  </a:lnTo>
                  <a:lnTo>
                    <a:pt x="130" y="162"/>
                  </a:lnTo>
                  <a:lnTo>
                    <a:pt x="128" y="162"/>
                  </a:lnTo>
                  <a:lnTo>
                    <a:pt x="126" y="162"/>
                  </a:lnTo>
                  <a:lnTo>
                    <a:pt x="126" y="159"/>
                  </a:lnTo>
                  <a:lnTo>
                    <a:pt x="123" y="159"/>
                  </a:lnTo>
                  <a:lnTo>
                    <a:pt x="126" y="159"/>
                  </a:lnTo>
                  <a:lnTo>
                    <a:pt x="123" y="159"/>
                  </a:lnTo>
                  <a:lnTo>
                    <a:pt x="121" y="159"/>
                  </a:lnTo>
                  <a:lnTo>
                    <a:pt x="121" y="157"/>
                  </a:lnTo>
                  <a:lnTo>
                    <a:pt x="123" y="157"/>
                  </a:lnTo>
                  <a:lnTo>
                    <a:pt x="121" y="157"/>
                  </a:lnTo>
                  <a:lnTo>
                    <a:pt x="121" y="159"/>
                  </a:lnTo>
                  <a:lnTo>
                    <a:pt x="118" y="159"/>
                  </a:lnTo>
                  <a:lnTo>
                    <a:pt x="121" y="159"/>
                  </a:lnTo>
                  <a:lnTo>
                    <a:pt x="118" y="159"/>
                  </a:lnTo>
                  <a:lnTo>
                    <a:pt x="118" y="162"/>
                  </a:lnTo>
                  <a:lnTo>
                    <a:pt x="121" y="159"/>
                  </a:lnTo>
                  <a:lnTo>
                    <a:pt x="121" y="162"/>
                  </a:lnTo>
                  <a:lnTo>
                    <a:pt x="118" y="162"/>
                  </a:lnTo>
                  <a:lnTo>
                    <a:pt x="121" y="162"/>
                  </a:lnTo>
                  <a:lnTo>
                    <a:pt x="118" y="162"/>
                  </a:lnTo>
                  <a:lnTo>
                    <a:pt x="116" y="162"/>
                  </a:lnTo>
                  <a:lnTo>
                    <a:pt x="116" y="164"/>
                  </a:lnTo>
                  <a:lnTo>
                    <a:pt x="116" y="162"/>
                  </a:lnTo>
                  <a:lnTo>
                    <a:pt x="118" y="162"/>
                  </a:lnTo>
                  <a:lnTo>
                    <a:pt x="116" y="162"/>
                  </a:lnTo>
                  <a:lnTo>
                    <a:pt x="116" y="159"/>
                  </a:lnTo>
                  <a:lnTo>
                    <a:pt x="116" y="157"/>
                  </a:lnTo>
                  <a:lnTo>
                    <a:pt x="114" y="157"/>
                  </a:lnTo>
                  <a:lnTo>
                    <a:pt x="114" y="154"/>
                  </a:lnTo>
                  <a:lnTo>
                    <a:pt x="114" y="152"/>
                  </a:lnTo>
                  <a:lnTo>
                    <a:pt x="116" y="152"/>
                  </a:lnTo>
                  <a:lnTo>
                    <a:pt x="116" y="150"/>
                  </a:lnTo>
                  <a:lnTo>
                    <a:pt x="116" y="152"/>
                  </a:lnTo>
                  <a:lnTo>
                    <a:pt x="114" y="152"/>
                  </a:lnTo>
                  <a:lnTo>
                    <a:pt x="114" y="154"/>
                  </a:lnTo>
                  <a:lnTo>
                    <a:pt x="114" y="157"/>
                  </a:lnTo>
                  <a:lnTo>
                    <a:pt x="111" y="157"/>
                  </a:lnTo>
                  <a:lnTo>
                    <a:pt x="109" y="157"/>
                  </a:lnTo>
                  <a:lnTo>
                    <a:pt x="107" y="157"/>
                  </a:lnTo>
                  <a:lnTo>
                    <a:pt x="104" y="157"/>
                  </a:lnTo>
                  <a:lnTo>
                    <a:pt x="104" y="154"/>
                  </a:lnTo>
                  <a:lnTo>
                    <a:pt x="104" y="157"/>
                  </a:lnTo>
                  <a:lnTo>
                    <a:pt x="107" y="157"/>
                  </a:lnTo>
                  <a:lnTo>
                    <a:pt x="109" y="157"/>
                  </a:lnTo>
                  <a:lnTo>
                    <a:pt x="111" y="157"/>
                  </a:lnTo>
                  <a:lnTo>
                    <a:pt x="114" y="157"/>
                  </a:lnTo>
                  <a:lnTo>
                    <a:pt x="116" y="157"/>
                  </a:lnTo>
                  <a:lnTo>
                    <a:pt x="116" y="159"/>
                  </a:lnTo>
                  <a:lnTo>
                    <a:pt x="114" y="159"/>
                  </a:lnTo>
                  <a:lnTo>
                    <a:pt x="116" y="159"/>
                  </a:lnTo>
                  <a:lnTo>
                    <a:pt x="114" y="159"/>
                  </a:lnTo>
                  <a:lnTo>
                    <a:pt x="114" y="162"/>
                  </a:lnTo>
                  <a:lnTo>
                    <a:pt x="116" y="162"/>
                  </a:lnTo>
                  <a:lnTo>
                    <a:pt x="114" y="162"/>
                  </a:lnTo>
                  <a:lnTo>
                    <a:pt x="116" y="162"/>
                  </a:lnTo>
                  <a:lnTo>
                    <a:pt x="114" y="162"/>
                  </a:lnTo>
                  <a:lnTo>
                    <a:pt x="114" y="164"/>
                  </a:lnTo>
                  <a:lnTo>
                    <a:pt x="111" y="164"/>
                  </a:lnTo>
                  <a:lnTo>
                    <a:pt x="111" y="162"/>
                  </a:lnTo>
                  <a:lnTo>
                    <a:pt x="109" y="162"/>
                  </a:lnTo>
                  <a:lnTo>
                    <a:pt x="111" y="162"/>
                  </a:lnTo>
                  <a:lnTo>
                    <a:pt x="109" y="162"/>
                  </a:lnTo>
                  <a:lnTo>
                    <a:pt x="109" y="164"/>
                  </a:lnTo>
                  <a:lnTo>
                    <a:pt x="107" y="164"/>
                  </a:lnTo>
                  <a:lnTo>
                    <a:pt x="104" y="164"/>
                  </a:lnTo>
                  <a:lnTo>
                    <a:pt x="102" y="164"/>
                  </a:lnTo>
                  <a:lnTo>
                    <a:pt x="99" y="164"/>
                  </a:lnTo>
                  <a:lnTo>
                    <a:pt x="97" y="164"/>
                  </a:lnTo>
                  <a:lnTo>
                    <a:pt x="97" y="166"/>
                  </a:lnTo>
                  <a:lnTo>
                    <a:pt x="95" y="166"/>
                  </a:lnTo>
                  <a:lnTo>
                    <a:pt x="97" y="166"/>
                  </a:lnTo>
                  <a:lnTo>
                    <a:pt x="95" y="166"/>
                  </a:lnTo>
                  <a:lnTo>
                    <a:pt x="95" y="164"/>
                  </a:lnTo>
                  <a:lnTo>
                    <a:pt x="95" y="166"/>
                  </a:lnTo>
                  <a:lnTo>
                    <a:pt x="95" y="164"/>
                  </a:lnTo>
                  <a:lnTo>
                    <a:pt x="92" y="164"/>
                  </a:lnTo>
                  <a:lnTo>
                    <a:pt x="92" y="166"/>
                  </a:lnTo>
                  <a:lnTo>
                    <a:pt x="95" y="166"/>
                  </a:lnTo>
                  <a:lnTo>
                    <a:pt x="92" y="166"/>
                  </a:lnTo>
                  <a:lnTo>
                    <a:pt x="95" y="166"/>
                  </a:lnTo>
                  <a:lnTo>
                    <a:pt x="97" y="166"/>
                  </a:lnTo>
                  <a:lnTo>
                    <a:pt x="97" y="169"/>
                  </a:lnTo>
                  <a:lnTo>
                    <a:pt x="95" y="169"/>
                  </a:lnTo>
                  <a:lnTo>
                    <a:pt x="95" y="171"/>
                  </a:lnTo>
                  <a:lnTo>
                    <a:pt x="92" y="171"/>
                  </a:lnTo>
                  <a:lnTo>
                    <a:pt x="90" y="171"/>
                  </a:lnTo>
                  <a:lnTo>
                    <a:pt x="90" y="173"/>
                  </a:lnTo>
                  <a:lnTo>
                    <a:pt x="88" y="173"/>
                  </a:lnTo>
                  <a:lnTo>
                    <a:pt x="88" y="171"/>
                  </a:lnTo>
                  <a:lnTo>
                    <a:pt x="88" y="173"/>
                  </a:lnTo>
                  <a:lnTo>
                    <a:pt x="88" y="171"/>
                  </a:lnTo>
                  <a:lnTo>
                    <a:pt x="85" y="171"/>
                  </a:lnTo>
                  <a:lnTo>
                    <a:pt x="88" y="171"/>
                  </a:lnTo>
                  <a:lnTo>
                    <a:pt x="85" y="171"/>
                  </a:lnTo>
                  <a:lnTo>
                    <a:pt x="85" y="169"/>
                  </a:lnTo>
                  <a:lnTo>
                    <a:pt x="85" y="166"/>
                  </a:lnTo>
                  <a:lnTo>
                    <a:pt x="85" y="169"/>
                  </a:lnTo>
                  <a:lnTo>
                    <a:pt x="85" y="171"/>
                  </a:lnTo>
                  <a:lnTo>
                    <a:pt x="85" y="173"/>
                  </a:lnTo>
                  <a:lnTo>
                    <a:pt x="83" y="173"/>
                  </a:lnTo>
                  <a:lnTo>
                    <a:pt x="83" y="176"/>
                  </a:lnTo>
                  <a:lnTo>
                    <a:pt x="83" y="173"/>
                  </a:lnTo>
                  <a:lnTo>
                    <a:pt x="85" y="173"/>
                  </a:lnTo>
                  <a:lnTo>
                    <a:pt x="85" y="176"/>
                  </a:lnTo>
                  <a:lnTo>
                    <a:pt x="83" y="176"/>
                  </a:lnTo>
                  <a:lnTo>
                    <a:pt x="80" y="176"/>
                  </a:lnTo>
                  <a:lnTo>
                    <a:pt x="80" y="178"/>
                  </a:lnTo>
                  <a:lnTo>
                    <a:pt x="78" y="178"/>
                  </a:lnTo>
                  <a:lnTo>
                    <a:pt x="78" y="181"/>
                  </a:lnTo>
                  <a:lnTo>
                    <a:pt x="78" y="178"/>
                  </a:lnTo>
                  <a:lnTo>
                    <a:pt x="76" y="181"/>
                  </a:lnTo>
                  <a:lnTo>
                    <a:pt x="73" y="181"/>
                  </a:lnTo>
                  <a:lnTo>
                    <a:pt x="73" y="178"/>
                  </a:lnTo>
                  <a:lnTo>
                    <a:pt x="76" y="17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8" name="Freeform 52467"/>
            <p:cNvSpPr>
              <a:spLocks noEditPoints="1"/>
            </p:cNvSpPr>
            <p:nvPr/>
          </p:nvSpPr>
          <p:spPr bwMode="auto">
            <a:xfrm>
              <a:off x="1471610" y="4283090"/>
              <a:ext cx="241300" cy="309565"/>
            </a:xfrm>
            <a:custGeom>
              <a:avLst/>
              <a:gdLst>
                <a:gd name="T0" fmla="*/ 38 w 152"/>
                <a:gd name="T1" fmla="*/ 192 h 195"/>
                <a:gd name="T2" fmla="*/ 40 w 152"/>
                <a:gd name="T3" fmla="*/ 192 h 195"/>
                <a:gd name="T4" fmla="*/ 40 w 152"/>
                <a:gd name="T5" fmla="*/ 190 h 195"/>
                <a:gd name="T6" fmla="*/ 38 w 152"/>
                <a:gd name="T7" fmla="*/ 187 h 195"/>
                <a:gd name="T8" fmla="*/ 26 w 152"/>
                <a:gd name="T9" fmla="*/ 183 h 195"/>
                <a:gd name="T10" fmla="*/ 24 w 152"/>
                <a:gd name="T11" fmla="*/ 183 h 195"/>
                <a:gd name="T12" fmla="*/ 19 w 152"/>
                <a:gd name="T13" fmla="*/ 180 h 195"/>
                <a:gd name="T14" fmla="*/ 7 w 152"/>
                <a:gd name="T15" fmla="*/ 171 h 195"/>
                <a:gd name="T16" fmla="*/ 7 w 152"/>
                <a:gd name="T17" fmla="*/ 168 h 195"/>
                <a:gd name="T18" fmla="*/ 2 w 152"/>
                <a:gd name="T19" fmla="*/ 159 h 195"/>
                <a:gd name="T20" fmla="*/ 131 w 152"/>
                <a:gd name="T21" fmla="*/ 159 h 195"/>
                <a:gd name="T22" fmla="*/ 116 w 152"/>
                <a:gd name="T23" fmla="*/ 152 h 195"/>
                <a:gd name="T24" fmla="*/ 50 w 152"/>
                <a:gd name="T25" fmla="*/ 130 h 195"/>
                <a:gd name="T26" fmla="*/ 52 w 152"/>
                <a:gd name="T27" fmla="*/ 133 h 195"/>
                <a:gd name="T28" fmla="*/ 52 w 152"/>
                <a:gd name="T29" fmla="*/ 130 h 195"/>
                <a:gd name="T30" fmla="*/ 52 w 152"/>
                <a:gd name="T31" fmla="*/ 130 h 195"/>
                <a:gd name="T32" fmla="*/ 36 w 152"/>
                <a:gd name="T33" fmla="*/ 114 h 195"/>
                <a:gd name="T34" fmla="*/ 36 w 152"/>
                <a:gd name="T35" fmla="*/ 111 h 195"/>
                <a:gd name="T36" fmla="*/ 26 w 152"/>
                <a:gd name="T37" fmla="*/ 109 h 195"/>
                <a:gd name="T38" fmla="*/ 29 w 152"/>
                <a:gd name="T39" fmla="*/ 107 h 195"/>
                <a:gd name="T40" fmla="*/ 31 w 152"/>
                <a:gd name="T41" fmla="*/ 111 h 195"/>
                <a:gd name="T42" fmla="*/ 26 w 152"/>
                <a:gd name="T43" fmla="*/ 109 h 195"/>
                <a:gd name="T44" fmla="*/ 52 w 152"/>
                <a:gd name="T45" fmla="*/ 104 h 195"/>
                <a:gd name="T46" fmla="*/ 26 w 152"/>
                <a:gd name="T47" fmla="*/ 102 h 195"/>
                <a:gd name="T48" fmla="*/ 31 w 152"/>
                <a:gd name="T49" fmla="*/ 100 h 195"/>
                <a:gd name="T50" fmla="*/ 31 w 152"/>
                <a:gd name="T51" fmla="*/ 102 h 195"/>
                <a:gd name="T52" fmla="*/ 29 w 152"/>
                <a:gd name="T53" fmla="*/ 102 h 195"/>
                <a:gd name="T54" fmla="*/ 29 w 152"/>
                <a:gd name="T55" fmla="*/ 102 h 195"/>
                <a:gd name="T56" fmla="*/ 31 w 152"/>
                <a:gd name="T57" fmla="*/ 100 h 195"/>
                <a:gd name="T58" fmla="*/ 12 w 152"/>
                <a:gd name="T59" fmla="*/ 95 h 195"/>
                <a:gd name="T60" fmla="*/ 17 w 152"/>
                <a:gd name="T61" fmla="*/ 90 h 195"/>
                <a:gd name="T62" fmla="*/ 14 w 152"/>
                <a:gd name="T63" fmla="*/ 90 h 195"/>
                <a:gd name="T64" fmla="*/ 19 w 152"/>
                <a:gd name="T65" fmla="*/ 85 h 195"/>
                <a:gd name="T66" fmla="*/ 21 w 152"/>
                <a:gd name="T67" fmla="*/ 85 h 195"/>
                <a:gd name="T68" fmla="*/ 17 w 152"/>
                <a:gd name="T69" fmla="*/ 83 h 195"/>
                <a:gd name="T70" fmla="*/ 12 w 152"/>
                <a:gd name="T71" fmla="*/ 85 h 195"/>
                <a:gd name="T72" fmla="*/ 12 w 152"/>
                <a:gd name="T73" fmla="*/ 83 h 195"/>
                <a:gd name="T74" fmla="*/ 21 w 152"/>
                <a:gd name="T75" fmla="*/ 83 h 195"/>
                <a:gd name="T76" fmla="*/ 14 w 152"/>
                <a:gd name="T77" fmla="*/ 81 h 195"/>
                <a:gd name="T78" fmla="*/ 19 w 152"/>
                <a:gd name="T79" fmla="*/ 78 h 195"/>
                <a:gd name="T80" fmla="*/ 21 w 152"/>
                <a:gd name="T81" fmla="*/ 76 h 195"/>
                <a:gd name="T82" fmla="*/ 33 w 152"/>
                <a:gd name="T83" fmla="*/ 73 h 195"/>
                <a:gd name="T84" fmla="*/ 33 w 152"/>
                <a:gd name="T85" fmla="*/ 73 h 195"/>
                <a:gd name="T86" fmla="*/ 21 w 152"/>
                <a:gd name="T87" fmla="*/ 71 h 195"/>
                <a:gd name="T88" fmla="*/ 14 w 152"/>
                <a:gd name="T89" fmla="*/ 59 h 195"/>
                <a:gd name="T90" fmla="*/ 14 w 152"/>
                <a:gd name="T91" fmla="*/ 59 h 195"/>
                <a:gd name="T92" fmla="*/ 14 w 152"/>
                <a:gd name="T93" fmla="*/ 57 h 195"/>
                <a:gd name="T94" fmla="*/ 64 w 152"/>
                <a:gd name="T95" fmla="*/ 45 h 195"/>
                <a:gd name="T96" fmla="*/ 59 w 152"/>
                <a:gd name="T97" fmla="*/ 31 h 195"/>
                <a:gd name="T98" fmla="*/ 71 w 152"/>
                <a:gd name="T99" fmla="*/ 16 h 195"/>
                <a:gd name="T100" fmla="*/ 66 w 152"/>
                <a:gd name="T101" fmla="*/ 14 h 195"/>
                <a:gd name="T102" fmla="*/ 74 w 152"/>
                <a:gd name="T103" fmla="*/ 12 h 195"/>
                <a:gd name="T104" fmla="*/ 76 w 152"/>
                <a:gd name="T105" fmla="*/ 9 h 195"/>
                <a:gd name="T106" fmla="*/ 76 w 152"/>
                <a:gd name="T107" fmla="*/ 9 h 195"/>
                <a:gd name="T108" fmla="*/ 81 w 152"/>
                <a:gd name="T109" fmla="*/ 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95">
                  <a:moveTo>
                    <a:pt x="38" y="192"/>
                  </a:moveTo>
                  <a:lnTo>
                    <a:pt x="36" y="192"/>
                  </a:lnTo>
                  <a:lnTo>
                    <a:pt x="36" y="195"/>
                  </a:lnTo>
                  <a:lnTo>
                    <a:pt x="36" y="192"/>
                  </a:lnTo>
                  <a:lnTo>
                    <a:pt x="38" y="192"/>
                  </a:lnTo>
                  <a:close/>
                  <a:moveTo>
                    <a:pt x="38" y="190"/>
                  </a:moveTo>
                  <a:lnTo>
                    <a:pt x="36" y="190"/>
                  </a:lnTo>
                  <a:lnTo>
                    <a:pt x="38" y="190"/>
                  </a:lnTo>
                  <a:close/>
                  <a:moveTo>
                    <a:pt x="40" y="190"/>
                  </a:moveTo>
                  <a:lnTo>
                    <a:pt x="40" y="192"/>
                  </a:lnTo>
                  <a:lnTo>
                    <a:pt x="38" y="192"/>
                  </a:lnTo>
                  <a:lnTo>
                    <a:pt x="38" y="190"/>
                  </a:lnTo>
                  <a:lnTo>
                    <a:pt x="40" y="190"/>
                  </a:lnTo>
                  <a:lnTo>
                    <a:pt x="38" y="190"/>
                  </a:lnTo>
                  <a:lnTo>
                    <a:pt x="40" y="190"/>
                  </a:lnTo>
                  <a:close/>
                  <a:moveTo>
                    <a:pt x="36" y="190"/>
                  </a:moveTo>
                  <a:lnTo>
                    <a:pt x="33" y="190"/>
                  </a:lnTo>
                  <a:lnTo>
                    <a:pt x="36" y="190"/>
                  </a:lnTo>
                  <a:close/>
                  <a:moveTo>
                    <a:pt x="38" y="190"/>
                  </a:moveTo>
                  <a:lnTo>
                    <a:pt x="38" y="187"/>
                  </a:lnTo>
                  <a:lnTo>
                    <a:pt x="38" y="190"/>
                  </a:lnTo>
                  <a:close/>
                  <a:moveTo>
                    <a:pt x="14" y="185"/>
                  </a:moveTo>
                  <a:lnTo>
                    <a:pt x="12" y="185"/>
                  </a:lnTo>
                  <a:lnTo>
                    <a:pt x="14" y="185"/>
                  </a:lnTo>
                  <a:close/>
                  <a:moveTo>
                    <a:pt x="26" y="183"/>
                  </a:moveTo>
                  <a:lnTo>
                    <a:pt x="24" y="183"/>
                  </a:lnTo>
                  <a:lnTo>
                    <a:pt x="24" y="185"/>
                  </a:lnTo>
                  <a:lnTo>
                    <a:pt x="24" y="183"/>
                  </a:lnTo>
                  <a:lnTo>
                    <a:pt x="24" y="185"/>
                  </a:lnTo>
                  <a:lnTo>
                    <a:pt x="24" y="183"/>
                  </a:lnTo>
                  <a:lnTo>
                    <a:pt x="26" y="183"/>
                  </a:lnTo>
                  <a:close/>
                  <a:moveTo>
                    <a:pt x="38" y="180"/>
                  </a:moveTo>
                  <a:lnTo>
                    <a:pt x="36" y="180"/>
                  </a:lnTo>
                  <a:lnTo>
                    <a:pt x="38" y="180"/>
                  </a:lnTo>
                  <a:close/>
                  <a:moveTo>
                    <a:pt x="19" y="180"/>
                  </a:moveTo>
                  <a:lnTo>
                    <a:pt x="19" y="178"/>
                  </a:lnTo>
                  <a:lnTo>
                    <a:pt x="19" y="180"/>
                  </a:lnTo>
                  <a:close/>
                  <a:moveTo>
                    <a:pt x="10" y="168"/>
                  </a:moveTo>
                  <a:lnTo>
                    <a:pt x="10" y="171"/>
                  </a:lnTo>
                  <a:lnTo>
                    <a:pt x="7" y="171"/>
                  </a:lnTo>
                  <a:lnTo>
                    <a:pt x="5" y="171"/>
                  </a:lnTo>
                  <a:lnTo>
                    <a:pt x="7" y="171"/>
                  </a:lnTo>
                  <a:lnTo>
                    <a:pt x="7" y="168"/>
                  </a:lnTo>
                  <a:lnTo>
                    <a:pt x="10" y="168"/>
                  </a:lnTo>
                  <a:lnTo>
                    <a:pt x="7" y="168"/>
                  </a:lnTo>
                  <a:lnTo>
                    <a:pt x="10" y="168"/>
                  </a:lnTo>
                  <a:close/>
                  <a:moveTo>
                    <a:pt x="0" y="164"/>
                  </a:moveTo>
                  <a:lnTo>
                    <a:pt x="0" y="161"/>
                  </a:lnTo>
                  <a:lnTo>
                    <a:pt x="0" y="164"/>
                  </a:lnTo>
                  <a:close/>
                  <a:moveTo>
                    <a:pt x="2" y="159"/>
                  </a:moveTo>
                  <a:lnTo>
                    <a:pt x="2" y="161"/>
                  </a:lnTo>
                  <a:lnTo>
                    <a:pt x="0" y="161"/>
                  </a:lnTo>
                  <a:lnTo>
                    <a:pt x="2" y="161"/>
                  </a:lnTo>
                  <a:lnTo>
                    <a:pt x="2" y="159"/>
                  </a:lnTo>
                  <a:close/>
                  <a:moveTo>
                    <a:pt x="131" y="159"/>
                  </a:moveTo>
                  <a:lnTo>
                    <a:pt x="133" y="159"/>
                  </a:lnTo>
                  <a:lnTo>
                    <a:pt x="131" y="159"/>
                  </a:lnTo>
                  <a:close/>
                  <a:moveTo>
                    <a:pt x="116" y="152"/>
                  </a:moveTo>
                  <a:lnTo>
                    <a:pt x="119" y="152"/>
                  </a:lnTo>
                  <a:lnTo>
                    <a:pt x="116" y="152"/>
                  </a:lnTo>
                  <a:close/>
                  <a:moveTo>
                    <a:pt x="50" y="133"/>
                  </a:moveTo>
                  <a:lnTo>
                    <a:pt x="50" y="130"/>
                  </a:lnTo>
                  <a:lnTo>
                    <a:pt x="50" y="133"/>
                  </a:lnTo>
                  <a:close/>
                  <a:moveTo>
                    <a:pt x="50" y="133"/>
                  </a:moveTo>
                  <a:lnTo>
                    <a:pt x="50" y="130"/>
                  </a:lnTo>
                  <a:lnTo>
                    <a:pt x="50" y="133"/>
                  </a:lnTo>
                  <a:close/>
                  <a:moveTo>
                    <a:pt x="52" y="130"/>
                  </a:moveTo>
                  <a:lnTo>
                    <a:pt x="52" y="133"/>
                  </a:lnTo>
                  <a:lnTo>
                    <a:pt x="52" y="130"/>
                  </a:lnTo>
                  <a:close/>
                  <a:moveTo>
                    <a:pt x="52" y="133"/>
                  </a:moveTo>
                  <a:lnTo>
                    <a:pt x="50" y="133"/>
                  </a:lnTo>
                  <a:lnTo>
                    <a:pt x="52" y="133"/>
                  </a:lnTo>
                  <a:lnTo>
                    <a:pt x="52" y="130"/>
                  </a:lnTo>
                  <a:lnTo>
                    <a:pt x="52" y="133"/>
                  </a:lnTo>
                  <a:close/>
                  <a:moveTo>
                    <a:pt x="52" y="130"/>
                  </a:moveTo>
                  <a:lnTo>
                    <a:pt x="50" y="130"/>
                  </a:lnTo>
                  <a:lnTo>
                    <a:pt x="52" y="130"/>
                  </a:lnTo>
                  <a:close/>
                  <a:moveTo>
                    <a:pt x="52" y="130"/>
                  </a:moveTo>
                  <a:lnTo>
                    <a:pt x="52" y="128"/>
                  </a:lnTo>
                  <a:lnTo>
                    <a:pt x="52" y="130"/>
                  </a:lnTo>
                  <a:close/>
                  <a:moveTo>
                    <a:pt x="36" y="123"/>
                  </a:moveTo>
                  <a:lnTo>
                    <a:pt x="36" y="126"/>
                  </a:lnTo>
                  <a:lnTo>
                    <a:pt x="36" y="123"/>
                  </a:lnTo>
                  <a:close/>
                  <a:moveTo>
                    <a:pt x="36" y="111"/>
                  </a:moveTo>
                  <a:lnTo>
                    <a:pt x="36" y="114"/>
                  </a:lnTo>
                  <a:lnTo>
                    <a:pt x="36" y="111"/>
                  </a:lnTo>
                  <a:close/>
                  <a:moveTo>
                    <a:pt x="33" y="109"/>
                  </a:moveTo>
                  <a:lnTo>
                    <a:pt x="36" y="111"/>
                  </a:lnTo>
                  <a:lnTo>
                    <a:pt x="33" y="111"/>
                  </a:lnTo>
                  <a:lnTo>
                    <a:pt x="36" y="111"/>
                  </a:lnTo>
                  <a:lnTo>
                    <a:pt x="33" y="111"/>
                  </a:lnTo>
                  <a:lnTo>
                    <a:pt x="33" y="109"/>
                  </a:lnTo>
                  <a:close/>
                  <a:moveTo>
                    <a:pt x="26" y="109"/>
                  </a:moveTo>
                  <a:lnTo>
                    <a:pt x="24" y="109"/>
                  </a:lnTo>
                  <a:lnTo>
                    <a:pt x="26" y="109"/>
                  </a:lnTo>
                  <a:close/>
                  <a:moveTo>
                    <a:pt x="26" y="109"/>
                  </a:moveTo>
                  <a:lnTo>
                    <a:pt x="29" y="109"/>
                  </a:lnTo>
                  <a:lnTo>
                    <a:pt x="29" y="107"/>
                  </a:lnTo>
                  <a:lnTo>
                    <a:pt x="29" y="109"/>
                  </a:lnTo>
                  <a:lnTo>
                    <a:pt x="29" y="107"/>
                  </a:lnTo>
                  <a:lnTo>
                    <a:pt x="29" y="109"/>
                  </a:lnTo>
                  <a:lnTo>
                    <a:pt x="31" y="109"/>
                  </a:lnTo>
                  <a:lnTo>
                    <a:pt x="33" y="109"/>
                  </a:lnTo>
                  <a:lnTo>
                    <a:pt x="33" y="111"/>
                  </a:lnTo>
                  <a:lnTo>
                    <a:pt x="31" y="111"/>
                  </a:lnTo>
                  <a:lnTo>
                    <a:pt x="31" y="109"/>
                  </a:lnTo>
                  <a:lnTo>
                    <a:pt x="29" y="109"/>
                  </a:lnTo>
                  <a:lnTo>
                    <a:pt x="26" y="109"/>
                  </a:lnTo>
                  <a:lnTo>
                    <a:pt x="26" y="107"/>
                  </a:lnTo>
                  <a:lnTo>
                    <a:pt x="26" y="109"/>
                  </a:lnTo>
                  <a:close/>
                  <a:moveTo>
                    <a:pt x="52" y="104"/>
                  </a:moveTo>
                  <a:lnTo>
                    <a:pt x="55" y="104"/>
                  </a:lnTo>
                  <a:lnTo>
                    <a:pt x="55" y="107"/>
                  </a:lnTo>
                  <a:lnTo>
                    <a:pt x="52" y="107"/>
                  </a:lnTo>
                  <a:lnTo>
                    <a:pt x="52" y="104"/>
                  </a:lnTo>
                  <a:close/>
                  <a:moveTo>
                    <a:pt x="29" y="102"/>
                  </a:moveTo>
                  <a:lnTo>
                    <a:pt x="31" y="102"/>
                  </a:lnTo>
                  <a:lnTo>
                    <a:pt x="29" y="102"/>
                  </a:lnTo>
                  <a:close/>
                  <a:moveTo>
                    <a:pt x="26" y="100"/>
                  </a:moveTo>
                  <a:lnTo>
                    <a:pt x="26" y="102"/>
                  </a:lnTo>
                  <a:lnTo>
                    <a:pt x="26" y="100"/>
                  </a:lnTo>
                  <a:close/>
                  <a:moveTo>
                    <a:pt x="24" y="100"/>
                  </a:moveTo>
                  <a:lnTo>
                    <a:pt x="21" y="100"/>
                  </a:lnTo>
                  <a:lnTo>
                    <a:pt x="24" y="100"/>
                  </a:lnTo>
                  <a:close/>
                  <a:moveTo>
                    <a:pt x="31" y="100"/>
                  </a:moveTo>
                  <a:lnTo>
                    <a:pt x="33" y="100"/>
                  </a:lnTo>
                  <a:lnTo>
                    <a:pt x="33" y="102"/>
                  </a:lnTo>
                  <a:lnTo>
                    <a:pt x="33" y="100"/>
                  </a:lnTo>
                  <a:lnTo>
                    <a:pt x="31" y="100"/>
                  </a:lnTo>
                  <a:lnTo>
                    <a:pt x="31" y="102"/>
                  </a:lnTo>
                  <a:lnTo>
                    <a:pt x="31" y="104"/>
                  </a:lnTo>
                  <a:lnTo>
                    <a:pt x="29" y="104"/>
                  </a:lnTo>
                  <a:lnTo>
                    <a:pt x="29" y="102"/>
                  </a:lnTo>
                  <a:lnTo>
                    <a:pt x="29" y="104"/>
                  </a:lnTo>
                  <a:lnTo>
                    <a:pt x="29" y="102"/>
                  </a:lnTo>
                  <a:lnTo>
                    <a:pt x="29" y="104"/>
                  </a:lnTo>
                  <a:lnTo>
                    <a:pt x="31" y="102"/>
                  </a:lnTo>
                  <a:lnTo>
                    <a:pt x="29" y="102"/>
                  </a:lnTo>
                  <a:lnTo>
                    <a:pt x="31" y="102"/>
                  </a:lnTo>
                  <a:lnTo>
                    <a:pt x="29" y="102"/>
                  </a:lnTo>
                  <a:lnTo>
                    <a:pt x="31" y="102"/>
                  </a:lnTo>
                  <a:lnTo>
                    <a:pt x="29" y="100"/>
                  </a:lnTo>
                  <a:lnTo>
                    <a:pt x="31" y="100"/>
                  </a:lnTo>
                  <a:lnTo>
                    <a:pt x="33" y="100"/>
                  </a:lnTo>
                  <a:lnTo>
                    <a:pt x="31" y="100"/>
                  </a:lnTo>
                  <a:close/>
                  <a:moveTo>
                    <a:pt x="21" y="97"/>
                  </a:moveTo>
                  <a:lnTo>
                    <a:pt x="24" y="97"/>
                  </a:lnTo>
                  <a:lnTo>
                    <a:pt x="21" y="97"/>
                  </a:lnTo>
                  <a:close/>
                  <a:moveTo>
                    <a:pt x="14" y="95"/>
                  </a:moveTo>
                  <a:lnTo>
                    <a:pt x="12" y="95"/>
                  </a:lnTo>
                  <a:lnTo>
                    <a:pt x="14" y="95"/>
                  </a:lnTo>
                  <a:close/>
                  <a:moveTo>
                    <a:pt x="152" y="90"/>
                  </a:moveTo>
                  <a:lnTo>
                    <a:pt x="152" y="92"/>
                  </a:lnTo>
                  <a:lnTo>
                    <a:pt x="152" y="90"/>
                  </a:lnTo>
                  <a:close/>
                  <a:moveTo>
                    <a:pt x="17" y="90"/>
                  </a:moveTo>
                  <a:lnTo>
                    <a:pt x="14" y="90"/>
                  </a:lnTo>
                  <a:lnTo>
                    <a:pt x="17" y="90"/>
                  </a:lnTo>
                  <a:close/>
                  <a:moveTo>
                    <a:pt x="14" y="90"/>
                  </a:moveTo>
                  <a:lnTo>
                    <a:pt x="12" y="90"/>
                  </a:lnTo>
                  <a:lnTo>
                    <a:pt x="14" y="90"/>
                  </a:lnTo>
                  <a:close/>
                  <a:moveTo>
                    <a:pt x="14" y="88"/>
                  </a:moveTo>
                  <a:lnTo>
                    <a:pt x="14" y="90"/>
                  </a:lnTo>
                  <a:lnTo>
                    <a:pt x="14" y="88"/>
                  </a:lnTo>
                  <a:close/>
                  <a:moveTo>
                    <a:pt x="19" y="88"/>
                  </a:moveTo>
                  <a:lnTo>
                    <a:pt x="19" y="85"/>
                  </a:lnTo>
                  <a:lnTo>
                    <a:pt x="19" y="88"/>
                  </a:lnTo>
                  <a:close/>
                  <a:moveTo>
                    <a:pt x="10" y="85"/>
                  </a:moveTo>
                  <a:lnTo>
                    <a:pt x="12" y="85"/>
                  </a:lnTo>
                  <a:lnTo>
                    <a:pt x="10" y="85"/>
                  </a:lnTo>
                  <a:close/>
                  <a:moveTo>
                    <a:pt x="21" y="85"/>
                  </a:moveTo>
                  <a:lnTo>
                    <a:pt x="19" y="85"/>
                  </a:lnTo>
                  <a:lnTo>
                    <a:pt x="19" y="83"/>
                  </a:lnTo>
                  <a:lnTo>
                    <a:pt x="19" y="85"/>
                  </a:lnTo>
                  <a:lnTo>
                    <a:pt x="21" y="85"/>
                  </a:lnTo>
                  <a:close/>
                  <a:moveTo>
                    <a:pt x="17" y="83"/>
                  </a:moveTo>
                  <a:lnTo>
                    <a:pt x="14" y="83"/>
                  </a:lnTo>
                  <a:lnTo>
                    <a:pt x="17" y="83"/>
                  </a:lnTo>
                  <a:close/>
                  <a:moveTo>
                    <a:pt x="14" y="83"/>
                  </a:moveTo>
                  <a:lnTo>
                    <a:pt x="14" y="85"/>
                  </a:lnTo>
                  <a:lnTo>
                    <a:pt x="12" y="85"/>
                  </a:lnTo>
                  <a:lnTo>
                    <a:pt x="14" y="85"/>
                  </a:lnTo>
                  <a:lnTo>
                    <a:pt x="12" y="85"/>
                  </a:lnTo>
                  <a:lnTo>
                    <a:pt x="12" y="83"/>
                  </a:lnTo>
                  <a:lnTo>
                    <a:pt x="12" y="85"/>
                  </a:lnTo>
                  <a:lnTo>
                    <a:pt x="12" y="83"/>
                  </a:lnTo>
                  <a:lnTo>
                    <a:pt x="14" y="83"/>
                  </a:lnTo>
                  <a:lnTo>
                    <a:pt x="12" y="83"/>
                  </a:lnTo>
                  <a:lnTo>
                    <a:pt x="14" y="83"/>
                  </a:lnTo>
                  <a:close/>
                  <a:moveTo>
                    <a:pt x="24" y="83"/>
                  </a:moveTo>
                  <a:lnTo>
                    <a:pt x="21" y="83"/>
                  </a:lnTo>
                  <a:lnTo>
                    <a:pt x="24" y="83"/>
                  </a:lnTo>
                  <a:lnTo>
                    <a:pt x="21" y="83"/>
                  </a:lnTo>
                  <a:lnTo>
                    <a:pt x="24" y="83"/>
                  </a:lnTo>
                  <a:close/>
                  <a:moveTo>
                    <a:pt x="17" y="81"/>
                  </a:moveTo>
                  <a:lnTo>
                    <a:pt x="14" y="81"/>
                  </a:lnTo>
                  <a:lnTo>
                    <a:pt x="17" y="81"/>
                  </a:lnTo>
                  <a:lnTo>
                    <a:pt x="14" y="81"/>
                  </a:lnTo>
                  <a:lnTo>
                    <a:pt x="17" y="81"/>
                  </a:lnTo>
                  <a:close/>
                  <a:moveTo>
                    <a:pt x="19" y="81"/>
                  </a:moveTo>
                  <a:lnTo>
                    <a:pt x="19" y="78"/>
                  </a:lnTo>
                  <a:lnTo>
                    <a:pt x="19" y="81"/>
                  </a:lnTo>
                  <a:close/>
                  <a:moveTo>
                    <a:pt x="31" y="76"/>
                  </a:moveTo>
                  <a:lnTo>
                    <a:pt x="31" y="73"/>
                  </a:lnTo>
                  <a:lnTo>
                    <a:pt x="31" y="76"/>
                  </a:lnTo>
                  <a:close/>
                  <a:moveTo>
                    <a:pt x="21" y="76"/>
                  </a:moveTo>
                  <a:lnTo>
                    <a:pt x="19" y="76"/>
                  </a:lnTo>
                  <a:lnTo>
                    <a:pt x="19" y="73"/>
                  </a:lnTo>
                  <a:lnTo>
                    <a:pt x="21" y="73"/>
                  </a:lnTo>
                  <a:lnTo>
                    <a:pt x="21" y="76"/>
                  </a:lnTo>
                  <a:close/>
                  <a:moveTo>
                    <a:pt x="33" y="73"/>
                  </a:moveTo>
                  <a:lnTo>
                    <a:pt x="31" y="73"/>
                  </a:lnTo>
                  <a:lnTo>
                    <a:pt x="33" y="73"/>
                  </a:lnTo>
                  <a:close/>
                  <a:moveTo>
                    <a:pt x="33" y="73"/>
                  </a:moveTo>
                  <a:lnTo>
                    <a:pt x="31" y="73"/>
                  </a:lnTo>
                  <a:lnTo>
                    <a:pt x="33" y="73"/>
                  </a:lnTo>
                  <a:close/>
                  <a:moveTo>
                    <a:pt x="33" y="73"/>
                  </a:moveTo>
                  <a:lnTo>
                    <a:pt x="31" y="73"/>
                  </a:lnTo>
                  <a:lnTo>
                    <a:pt x="33" y="73"/>
                  </a:lnTo>
                  <a:close/>
                  <a:moveTo>
                    <a:pt x="21" y="73"/>
                  </a:moveTo>
                  <a:lnTo>
                    <a:pt x="21" y="71"/>
                  </a:lnTo>
                  <a:lnTo>
                    <a:pt x="21" y="73"/>
                  </a:lnTo>
                  <a:close/>
                  <a:moveTo>
                    <a:pt x="14" y="62"/>
                  </a:moveTo>
                  <a:lnTo>
                    <a:pt x="17" y="62"/>
                  </a:lnTo>
                  <a:lnTo>
                    <a:pt x="14" y="62"/>
                  </a:lnTo>
                  <a:close/>
                  <a:moveTo>
                    <a:pt x="14" y="59"/>
                  </a:moveTo>
                  <a:lnTo>
                    <a:pt x="12" y="59"/>
                  </a:lnTo>
                  <a:lnTo>
                    <a:pt x="14" y="59"/>
                  </a:lnTo>
                  <a:close/>
                  <a:moveTo>
                    <a:pt x="14" y="59"/>
                  </a:moveTo>
                  <a:lnTo>
                    <a:pt x="12" y="59"/>
                  </a:lnTo>
                  <a:lnTo>
                    <a:pt x="14" y="59"/>
                  </a:lnTo>
                  <a:lnTo>
                    <a:pt x="12" y="59"/>
                  </a:lnTo>
                  <a:lnTo>
                    <a:pt x="14" y="59"/>
                  </a:lnTo>
                  <a:lnTo>
                    <a:pt x="12" y="59"/>
                  </a:lnTo>
                  <a:lnTo>
                    <a:pt x="12" y="57"/>
                  </a:lnTo>
                  <a:lnTo>
                    <a:pt x="14" y="57"/>
                  </a:lnTo>
                  <a:lnTo>
                    <a:pt x="14" y="59"/>
                  </a:lnTo>
                  <a:close/>
                  <a:moveTo>
                    <a:pt x="66" y="50"/>
                  </a:moveTo>
                  <a:lnTo>
                    <a:pt x="66" y="52"/>
                  </a:lnTo>
                  <a:lnTo>
                    <a:pt x="66" y="50"/>
                  </a:lnTo>
                  <a:close/>
                  <a:moveTo>
                    <a:pt x="64" y="45"/>
                  </a:moveTo>
                  <a:lnTo>
                    <a:pt x="64" y="43"/>
                  </a:lnTo>
                  <a:lnTo>
                    <a:pt x="64" y="45"/>
                  </a:lnTo>
                  <a:close/>
                  <a:moveTo>
                    <a:pt x="59" y="31"/>
                  </a:moveTo>
                  <a:lnTo>
                    <a:pt x="59" y="33"/>
                  </a:lnTo>
                  <a:lnTo>
                    <a:pt x="59" y="31"/>
                  </a:lnTo>
                  <a:close/>
                  <a:moveTo>
                    <a:pt x="71" y="16"/>
                  </a:moveTo>
                  <a:lnTo>
                    <a:pt x="71" y="19"/>
                  </a:lnTo>
                  <a:lnTo>
                    <a:pt x="71" y="16"/>
                  </a:lnTo>
                  <a:close/>
                  <a:moveTo>
                    <a:pt x="71" y="14"/>
                  </a:moveTo>
                  <a:lnTo>
                    <a:pt x="71" y="16"/>
                  </a:lnTo>
                  <a:lnTo>
                    <a:pt x="71" y="14"/>
                  </a:lnTo>
                  <a:close/>
                  <a:moveTo>
                    <a:pt x="69" y="14"/>
                  </a:moveTo>
                  <a:lnTo>
                    <a:pt x="69" y="16"/>
                  </a:lnTo>
                  <a:lnTo>
                    <a:pt x="66" y="16"/>
                  </a:lnTo>
                  <a:lnTo>
                    <a:pt x="66" y="14"/>
                  </a:lnTo>
                  <a:lnTo>
                    <a:pt x="69" y="14"/>
                  </a:lnTo>
                  <a:lnTo>
                    <a:pt x="66" y="14"/>
                  </a:lnTo>
                  <a:lnTo>
                    <a:pt x="69" y="14"/>
                  </a:lnTo>
                  <a:close/>
                  <a:moveTo>
                    <a:pt x="76" y="12"/>
                  </a:moveTo>
                  <a:lnTo>
                    <a:pt x="74" y="12"/>
                  </a:lnTo>
                  <a:lnTo>
                    <a:pt x="76" y="12"/>
                  </a:lnTo>
                  <a:close/>
                  <a:moveTo>
                    <a:pt x="74" y="12"/>
                  </a:moveTo>
                  <a:lnTo>
                    <a:pt x="74" y="9"/>
                  </a:lnTo>
                  <a:lnTo>
                    <a:pt x="74" y="12"/>
                  </a:lnTo>
                  <a:close/>
                  <a:moveTo>
                    <a:pt x="76" y="9"/>
                  </a:moveTo>
                  <a:lnTo>
                    <a:pt x="74" y="9"/>
                  </a:lnTo>
                  <a:lnTo>
                    <a:pt x="76" y="9"/>
                  </a:lnTo>
                  <a:close/>
                  <a:moveTo>
                    <a:pt x="76" y="9"/>
                  </a:moveTo>
                  <a:lnTo>
                    <a:pt x="74" y="9"/>
                  </a:lnTo>
                  <a:lnTo>
                    <a:pt x="76" y="9"/>
                  </a:lnTo>
                  <a:close/>
                  <a:moveTo>
                    <a:pt x="81" y="7"/>
                  </a:moveTo>
                  <a:lnTo>
                    <a:pt x="81" y="5"/>
                  </a:lnTo>
                  <a:lnTo>
                    <a:pt x="81" y="7"/>
                  </a:lnTo>
                  <a:close/>
                  <a:moveTo>
                    <a:pt x="78" y="2"/>
                  </a:moveTo>
                  <a:lnTo>
                    <a:pt x="81" y="2"/>
                  </a:lnTo>
                  <a:lnTo>
                    <a:pt x="78" y="2"/>
                  </a:lnTo>
                  <a:lnTo>
                    <a:pt x="78" y="0"/>
                  </a:lnTo>
                  <a:lnTo>
                    <a:pt x="78"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9" name="Freeform 52468"/>
            <p:cNvSpPr>
              <a:spLocks noEditPoints="1"/>
            </p:cNvSpPr>
            <p:nvPr/>
          </p:nvSpPr>
          <p:spPr bwMode="auto">
            <a:xfrm>
              <a:off x="1490660" y="4275153"/>
              <a:ext cx="153988" cy="312739"/>
            </a:xfrm>
            <a:custGeom>
              <a:avLst/>
              <a:gdLst>
                <a:gd name="T0" fmla="*/ 31 w 97"/>
                <a:gd name="T1" fmla="*/ 197 h 197"/>
                <a:gd name="T2" fmla="*/ 33 w 97"/>
                <a:gd name="T3" fmla="*/ 197 h 197"/>
                <a:gd name="T4" fmla="*/ 38 w 97"/>
                <a:gd name="T5" fmla="*/ 192 h 197"/>
                <a:gd name="T6" fmla="*/ 26 w 97"/>
                <a:gd name="T7" fmla="*/ 192 h 197"/>
                <a:gd name="T8" fmla="*/ 0 w 97"/>
                <a:gd name="T9" fmla="*/ 181 h 197"/>
                <a:gd name="T10" fmla="*/ 7 w 97"/>
                <a:gd name="T11" fmla="*/ 152 h 197"/>
                <a:gd name="T12" fmla="*/ 38 w 97"/>
                <a:gd name="T13" fmla="*/ 135 h 197"/>
                <a:gd name="T14" fmla="*/ 40 w 97"/>
                <a:gd name="T15" fmla="*/ 135 h 197"/>
                <a:gd name="T16" fmla="*/ 38 w 97"/>
                <a:gd name="T17" fmla="*/ 135 h 197"/>
                <a:gd name="T18" fmla="*/ 40 w 97"/>
                <a:gd name="T19" fmla="*/ 135 h 197"/>
                <a:gd name="T20" fmla="*/ 40 w 97"/>
                <a:gd name="T21" fmla="*/ 133 h 197"/>
                <a:gd name="T22" fmla="*/ 12 w 97"/>
                <a:gd name="T23" fmla="*/ 112 h 197"/>
                <a:gd name="T24" fmla="*/ 12 w 97"/>
                <a:gd name="T25" fmla="*/ 107 h 197"/>
                <a:gd name="T26" fmla="*/ 21 w 97"/>
                <a:gd name="T27" fmla="*/ 107 h 197"/>
                <a:gd name="T28" fmla="*/ 12 w 97"/>
                <a:gd name="T29" fmla="*/ 107 h 197"/>
                <a:gd name="T30" fmla="*/ 17 w 97"/>
                <a:gd name="T31" fmla="*/ 107 h 197"/>
                <a:gd name="T32" fmla="*/ 9 w 97"/>
                <a:gd name="T33" fmla="*/ 102 h 197"/>
                <a:gd name="T34" fmla="*/ 14 w 97"/>
                <a:gd name="T35" fmla="*/ 100 h 197"/>
                <a:gd name="T36" fmla="*/ 2 w 97"/>
                <a:gd name="T37" fmla="*/ 100 h 197"/>
                <a:gd name="T38" fmla="*/ 2 w 97"/>
                <a:gd name="T39" fmla="*/ 100 h 197"/>
                <a:gd name="T40" fmla="*/ 5 w 97"/>
                <a:gd name="T41" fmla="*/ 97 h 197"/>
                <a:gd name="T42" fmla="*/ 5 w 97"/>
                <a:gd name="T43" fmla="*/ 90 h 197"/>
                <a:gd name="T44" fmla="*/ 9 w 97"/>
                <a:gd name="T45" fmla="*/ 90 h 197"/>
                <a:gd name="T46" fmla="*/ 12 w 97"/>
                <a:gd name="T47" fmla="*/ 88 h 197"/>
                <a:gd name="T48" fmla="*/ 19 w 97"/>
                <a:gd name="T49" fmla="*/ 81 h 197"/>
                <a:gd name="T50" fmla="*/ 19 w 97"/>
                <a:gd name="T51" fmla="*/ 81 h 197"/>
                <a:gd name="T52" fmla="*/ 19 w 97"/>
                <a:gd name="T53" fmla="*/ 81 h 197"/>
                <a:gd name="T54" fmla="*/ 19 w 97"/>
                <a:gd name="T55" fmla="*/ 78 h 197"/>
                <a:gd name="T56" fmla="*/ 21 w 97"/>
                <a:gd name="T57" fmla="*/ 76 h 197"/>
                <a:gd name="T58" fmla="*/ 19 w 97"/>
                <a:gd name="T59" fmla="*/ 76 h 197"/>
                <a:gd name="T60" fmla="*/ 19 w 97"/>
                <a:gd name="T61" fmla="*/ 76 h 197"/>
                <a:gd name="T62" fmla="*/ 0 w 97"/>
                <a:gd name="T63" fmla="*/ 76 h 197"/>
                <a:gd name="T64" fmla="*/ 17 w 97"/>
                <a:gd name="T65" fmla="*/ 76 h 197"/>
                <a:gd name="T66" fmla="*/ 19 w 97"/>
                <a:gd name="T67" fmla="*/ 76 h 197"/>
                <a:gd name="T68" fmla="*/ 19 w 97"/>
                <a:gd name="T69" fmla="*/ 76 h 197"/>
                <a:gd name="T70" fmla="*/ 17 w 97"/>
                <a:gd name="T71" fmla="*/ 76 h 197"/>
                <a:gd name="T72" fmla="*/ 17 w 97"/>
                <a:gd name="T73" fmla="*/ 76 h 197"/>
                <a:gd name="T74" fmla="*/ 5 w 97"/>
                <a:gd name="T75" fmla="*/ 74 h 197"/>
                <a:gd name="T76" fmla="*/ 12 w 97"/>
                <a:gd name="T77" fmla="*/ 71 h 197"/>
                <a:gd name="T78" fmla="*/ 2 w 97"/>
                <a:gd name="T79" fmla="*/ 67 h 197"/>
                <a:gd name="T80" fmla="*/ 35 w 97"/>
                <a:gd name="T81" fmla="*/ 59 h 197"/>
                <a:gd name="T82" fmla="*/ 2 w 97"/>
                <a:gd name="T83" fmla="*/ 59 h 197"/>
                <a:gd name="T84" fmla="*/ 17 w 97"/>
                <a:gd name="T85" fmla="*/ 52 h 197"/>
                <a:gd name="T86" fmla="*/ 54 w 97"/>
                <a:gd name="T87" fmla="*/ 52 h 197"/>
                <a:gd name="T88" fmla="*/ 69 w 97"/>
                <a:gd name="T89" fmla="*/ 38 h 197"/>
                <a:gd name="T90" fmla="*/ 54 w 97"/>
                <a:gd name="T91" fmla="*/ 29 h 197"/>
                <a:gd name="T92" fmla="*/ 59 w 97"/>
                <a:gd name="T93" fmla="*/ 26 h 197"/>
                <a:gd name="T94" fmla="*/ 57 w 97"/>
                <a:gd name="T95" fmla="*/ 24 h 197"/>
                <a:gd name="T96" fmla="*/ 62 w 97"/>
                <a:gd name="T97" fmla="*/ 24 h 197"/>
                <a:gd name="T98" fmla="*/ 59 w 97"/>
                <a:gd name="T99" fmla="*/ 17 h 197"/>
                <a:gd name="T100" fmla="*/ 97 w 97"/>
                <a:gd name="T101" fmla="*/ 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 h="197">
                  <a:moveTo>
                    <a:pt x="31" y="197"/>
                  </a:moveTo>
                  <a:lnTo>
                    <a:pt x="28" y="197"/>
                  </a:lnTo>
                  <a:lnTo>
                    <a:pt x="31" y="197"/>
                  </a:lnTo>
                  <a:close/>
                  <a:moveTo>
                    <a:pt x="33" y="197"/>
                  </a:moveTo>
                  <a:lnTo>
                    <a:pt x="33" y="195"/>
                  </a:lnTo>
                  <a:lnTo>
                    <a:pt x="33" y="197"/>
                  </a:lnTo>
                  <a:close/>
                  <a:moveTo>
                    <a:pt x="38" y="195"/>
                  </a:moveTo>
                  <a:lnTo>
                    <a:pt x="35" y="195"/>
                  </a:lnTo>
                  <a:lnTo>
                    <a:pt x="38" y="192"/>
                  </a:lnTo>
                  <a:lnTo>
                    <a:pt x="38" y="195"/>
                  </a:lnTo>
                  <a:close/>
                  <a:moveTo>
                    <a:pt x="28" y="192"/>
                  </a:moveTo>
                  <a:lnTo>
                    <a:pt x="26" y="192"/>
                  </a:lnTo>
                  <a:lnTo>
                    <a:pt x="28" y="192"/>
                  </a:lnTo>
                  <a:close/>
                  <a:moveTo>
                    <a:pt x="0" y="178"/>
                  </a:moveTo>
                  <a:lnTo>
                    <a:pt x="0" y="181"/>
                  </a:lnTo>
                  <a:lnTo>
                    <a:pt x="0" y="178"/>
                  </a:lnTo>
                  <a:close/>
                  <a:moveTo>
                    <a:pt x="7" y="154"/>
                  </a:moveTo>
                  <a:lnTo>
                    <a:pt x="7" y="152"/>
                  </a:lnTo>
                  <a:lnTo>
                    <a:pt x="7" y="154"/>
                  </a:lnTo>
                  <a:close/>
                  <a:moveTo>
                    <a:pt x="38" y="138"/>
                  </a:moveTo>
                  <a:lnTo>
                    <a:pt x="38" y="135"/>
                  </a:lnTo>
                  <a:lnTo>
                    <a:pt x="38" y="138"/>
                  </a:lnTo>
                  <a:close/>
                  <a:moveTo>
                    <a:pt x="40" y="138"/>
                  </a:moveTo>
                  <a:lnTo>
                    <a:pt x="40" y="135"/>
                  </a:lnTo>
                  <a:lnTo>
                    <a:pt x="40" y="138"/>
                  </a:lnTo>
                  <a:close/>
                  <a:moveTo>
                    <a:pt x="40" y="135"/>
                  </a:moveTo>
                  <a:lnTo>
                    <a:pt x="38" y="135"/>
                  </a:lnTo>
                  <a:lnTo>
                    <a:pt x="40" y="135"/>
                  </a:lnTo>
                  <a:close/>
                  <a:moveTo>
                    <a:pt x="43" y="135"/>
                  </a:moveTo>
                  <a:lnTo>
                    <a:pt x="40" y="135"/>
                  </a:lnTo>
                  <a:lnTo>
                    <a:pt x="43" y="135"/>
                  </a:lnTo>
                  <a:close/>
                  <a:moveTo>
                    <a:pt x="43" y="133"/>
                  </a:moveTo>
                  <a:lnTo>
                    <a:pt x="40" y="133"/>
                  </a:lnTo>
                  <a:lnTo>
                    <a:pt x="43" y="133"/>
                  </a:lnTo>
                  <a:close/>
                  <a:moveTo>
                    <a:pt x="12" y="114"/>
                  </a:moveTo>
                  <a:lnTo>
                    <a:pt x="12" y="112"/>
                  </a:lnTo>
                  <a:lnTo>
                    <a:pt x="12" y="114"/>
                  </a:lnTo>
                  <a:close/>
                  <a:moveTo>
                    <a:pt x="14" y="107"/>
                  </a:moveTo>
                  <a:lnTo>
                    <a:pt x="12" y="107"/>
                  </a:lnTo>
                  <a:lnTo>
                    <a:pt x="14" y="107"/>
                  </a:lnTo>
                  <a:close/>
                  <a:moveTo>
                    <a:pt x="24" y="107"/>
                  </a:moveTo>
                  <a:lnTo>
                    <a:pt x="21" y="107"/>
                  </a:lnTo>
                  <a:lnTo>
                    <a:pt x="24" y="107"/>
                  </a:lnTo>
                  <a:close/>
                  <a:moveTo>
                    <a:pt x="14" y="107"/>
                  </a:moveTo>
                  <a:lnTo>
                    <a:pt x="12" y="107"/>
                  </a:lnTo>
                  <a:lnTo>
                    <a:pt x="14" y="107"/>
                  </a:lnTo>
                  <a:close/>
                  <a:moveTo>
                    <a:pt x="17" y="105"/>
                  </a:moveTo>
                  <a:lnTo>
                    <a:pt x="17" y="107"/>
                  </a:lnTo>
                  <a:lnTo>
                    <a:pt x="17" y="105"/>
                  </a:lnTo>
                  <a:close/>
                  <a:moveTo>
                    <a:pt x="9" y="105"/>
                  </a:moveTo>
                  <a:lnTo>
                    <a:pt x="9" y="102"/>
                  </a:lnTo>
                  <a:lnTo>
                    <a:pt x="9" y="105"/>
                  </a:lnTo>
                  <a:close/>
                  <a:moveTo>
                    <a:pt x="14" y="102"/>
                  </a:moveTo>
                  <a:lnTo>
                    <a:pt x="14" y="100"/>
                  </a:lnTo>
                  <a:lnTo>
                    <a:pt x="14" y="102"/>
                  </a:lnTo>
                  <a:close/>
                  <a:moveTo>
                    <a:pt x="5" y="100"/>
                  </a:moveTo>
                  <a:lnTo>
                    <a:pt x="2" y="100"/>
                  </a:lnTo>
                  <a:lnTo>
                    <a:pt x="5" y="100"/>
                  </a:lnTo>
                  <a:close/>
                  <a:moveTo>
                    <a:pt x="5" y="100"/>
                  </a:moveTo>
                  <a:lnTo>
                    <a:pt x="2" y="100"/>
                  </a:lnTo>
                  <a:lnTo>
                    <a:pt x="5" y="100"/>
                  </a:lnTo>
                  <a:close/>
                  <a:moveTo>
                    <a:pt x="7" y="97"/>
                  </a:moveTo>
                  <a:lnTo>
                    <a:pt x="5" y="97"/>
                  </a:lnTo>
                  <a:lnTo>
                    <a:pt x="7" y="97"/>
                  </a:lnTo>
                  <a:close/>
                  <a:moveTo>
                    <a:pt x="7" y="90"/>
                  </a:moveTo>
                  <a:lnTo>
                    <a:pt x="5" y="90"/>
                  </a:lnTo>
                  <a:lnTo>
                    <a:pt x="7" y="90"/>
                  </a:lnTo>
                  <a:close/>
                  <a:moveTo>
                    <a:pt x="12" y="90"/>
                  </a:moveTo>
                  <a:lnTo>
                    <a:pt x="9" y="90"/>
                  </a:lnTo>
                  <a:lnTo>
                    <a:pt x="12" y="90"/>
                  </a:lnTo>
                  <a:close/>
                  <a:moveTo>
                    <a:pt x="12" y="90"/>
                  </a:moveTo>
                  <a:lnTo>
                    <a:pt x="12" y="88"/>
                  </a:lnTo>
                  <a:lnTo>
                    <a:pt x="12" y="90"/>
                  </a:lnTo>
                  <a:close/>
                  <a:moveTo>
                    <a:pt x="21" y="81"/>
                  </a:moveTo>
                  <a:lnTo>
                    <a:pt x="19" y="81"/>
                  </a:lnTo>
                  <a:lnTo>
                    <a:pt x="21" y="81"/>
                  </a:lnTo>
                  <a:close/>
                  <a:moveTo>
                    <a:pt x="21" y="81"/>
                  </a:moveTo>
                  <a:lnTo>
                    <a:pt x="19" y="81"/>
                  </a:lnTo>
                  <a:lnTo>
                    <a:pt x="21" y="81"/>
                  </a:lnTo>
                  <a:close/>
                  <a:moveTo>
                    <a:pt x="21" y="81"/>
                  </a:moveTo>
                  <a:lnTo>
                    <a:pt x="19" y="81"/>
                  </a:lnTo>
                  <a:lnTo>
                    <a:pt x="21" y="81"/>
                  </a:lnTo>
                  <a:close/>
                  <a:moveTo>
                    <a:pt x="21" y="78"/>
                  </a:moveTo>
                  <a:lnTo>
                    <a:pt x="19" y="78"/>
                  </a:lnTo>
                  <a:lnTo>
                    <a:pt x="21" y="78"/>
                  </a:lnTo>
                  <a:close/>
                  <a:moveTo>
                    <a:pt x="21" y="78"/>
                  </a:moveTo>
                  <a:lnTo>
                    <a:pt x="21" y="76"/>
                  </a:lnTo>
                  <a:lnTo>
                    <a:pt x="21" y="78"/>
                  </a:lnTo>
                  <a:close/>
                  <a:moveTo>
                    <a:pt x="21" y="76"/>
                  </a:moveTo>
                  <a:lnTo>
                    <a:pt x="19" y="76"/>
                  </a:lnTo>
                  <a:lnTo>
                    <a:pt x="21" y="76"/>
                  </a:lnTo>
                  <a:close/>
                  <a:moveTo>
                    <a:pt x="21" y="76"/>
                  </a:moveTo>
                  <a:lnTo>
                    <a:pt x="19" y="76"/>
                  </a:lnTo>
                  <a:lnTo>
                    <a:pt x="21" y="76"/>
                  </a:lnTo>
                  <a:close/>
                  <a:moveTo>
                    <a:pt x="2" y="76"/>
                  </a:moveTo>
                  <a:lnTo>
                    <a:pt x="0" y="76"/>
                  </a:lnTo>
                  <a:lnTo>
                    <a:pt x="2" y="76"/>
                  </a:lnTo>
                  <a:close/>
                  <a:moveTo>
                    <a:pt x="19" y="76"/>
                  </a:moveTo>
                  <a:lnTo>
                    <a:pt x="17" y="76"/>
                  </a:lnTo>
                  <a:lnTo>
                    <a:pt x="19" y="76"/>
                  </a:lnTo>
                  <a:close/>
                  <a:moveTo>
                    <a:pt x="17" y="76"/>
                  </a:moveTo>
                  <a:lnTo>
                    <a:pt x="19" y="76"/>
                  </a:lnTo>
                  <a:lnTo>
                    <a:pt x="17" y="76"/>
                  </a:lnTo>
                  <a:close/>
                  <a:moveTo>
                    <a:pt x="21" y="76"/>
                  </a:moveTo>
                  <a:lnTo>
                    <a:pt x="19" y="76"/>
                  </a:lnTo>
                  <a:lnTo>
                    <a:pt x="21" y="76"/>
                  </a:lnTo>
                  <a:close/>
                  <a:moveTo>
                    <a:pt x="19" y="76"/>
                  </a:moveTo>
                  <a:lnTo>
                    <a:pt x="17" y="76"/>
                  </a:lnTo>
                  <a:lnTo>
                    <a:pt x="19" y="76"/>
                  </a:lnTo>
                  <a:close/>
                  <a:moveTo>
                    <a:pt x="19" y="76"/>
                  </a:moveTo>
                  <a:lnTo>
                    <a:pt x="17" y="76"/>
                  </a:lnTo>
                  <a:lnTo>
                    <a:pt x="19" y="76"/>
                  </a:lnTo>
                  <a:close/>
                  <a:moveTo>
                    <a:pt x="5" y="71"/>
                  </a:moveTo>
                  <a:lnTo>
                    <a:pt x="5" y="74"/>
                  </a:lnTo>
                  <a:lnTo>
                    <a:pt x="5" y="71"/>
                  </a:lnTo>
                  <a:close/>
                  <a:moveTo>
                    <a:pt x="14" y="71"/>
                  </a:moveTo>
                  <a:lnTo>
                    <a:pt x="12" y="71"/>
                  </a:lnTo>
                  <a:lnTo>
                    <a:pt x="14" y="71"/>
                  </a:lnTo>
                  <a:close/>
                  <a:moveTo>
                    <a:pt x="5" y="67"/>
                  </a:moveTo>
                  <a:lnTo>
                    <a:pt x="2" y="67"/>
                  </a:lnTo>
                  <a:lnTo>
                    <a:pt x="5" y="67"/>
                  </a:lnTo>
                  <a:close/>
                  <a:moveTo>
                    <a:pt x="35" y="62"/>
                  </a:moveTo>
                  <a:lnTo>
                    <a:pt x="35" y="59"/>
                  </a:lnTo>
                  <a:lnTo>
                    <a:pt x="35" y="62"/>
                  </a:lnTo>
                  <a:close/>
                  <a:moveTo>
                    <a:pt x="5" y="59"/>
                  </a:moveTo>
                  <a:lnTo>
                    <a:pt x="2" y="59"/>
                  </a:lnTo>
                  <a:lnTo>
                    <a:pt x="5" y="59"/>
                  </a:lnTo>
                  <a:close/>
                  <a:moveTo>
                    <a:pt x="17" y="55"/>
                  </a:moveTo>
                  <a:lnTo>
                    <a:pt x="17" y="52"/>
                  </a:lnTo>
                  <a:lnTo>
                    <a:pt x="17" y="55"/>
                  </a:lnTo>
                  <a:close/>
                  <a:moveTo>
                    <a:pt x="52" y="52"/>
                  </a:moveTo>
                  <a:lnTo>
                    <a:pt x="54" y="52"/>
                  </a:lnTo>
                  <a:lnTo>
                    <a:pt x="52" y="52"/>
                  </a:lnTo>
                  <a:close/>
                  <a:moveTo>
                    <a:pt x="69" y="40"/>
                  </a:moveTo>
                  <a:lnTo>
                    <a:pt x="69" y="38"/>
                  </a:lnTo>
                  <a:lnTo>
                    <a:pt x="69" y="40"/>
                  </a:lnTo>
                  <a:close/>
                  <a:moveTo>
                    <a:pt x="57" y="29"/>
                  </a:moveTo>
                  <a:lnTo>
                    <a:pt x="54" y="29"/>
                  </a:lnTo>
                  <a:lnTo>
                    <a:pt x="57" y="29"/>
                  </a:lnTo>
                  <a:close/>
                  <a:moveTo>
                    <a:pt x="62" y="26"/>
                  </a:moveTo>
                  <a:lnTo>
                    <a:pt x="59" y="26"/>
                  </a:lnTo>
                  <a:lnTo>
                    <a:pt x="62" y="26"/>
                  </a:lnTo>
                  <a:close/>
                  <a:moveTo>
                    <a:pt x="59" y="24"/>
                  </a:moveTo>
                  <a:lnTo>
                    <a:pt x="57" y="24"/>
                  </a:lnTo>
                  <a:lnTo>
                    <a:pt x="59" y="24"/>
                  </a:lnTo>
                  <a:close/>
                  <a:moveTo>
                    <a:pt x="62" y="21"/>
                  </a:moveTo>
                  <a:lnTo>
                    <a:pt x="62" y="24"/>
                  </a:lnTo>
                  <a:lnTo>
                    <a:pt x="62" y="21"/>
                  </a:lnTo>
                  <a:close/>
                  <a:moveTo>
                    <a:pt x="62" y="17"/>
                  </a:moveTo>
                  <a:lnTo>
                    <a:pt x="59" y="17"/>
                  </a:lnTo>
                  <a:lnTo>
                    <a:pt x="62" y="17"/>
                  </a:lnTo>
                  <a:close/>
                  <a:moveTo>
                    <a:pt x="97" y="0"/>
                  </a:moveTo>
                  <a:lnTo>
                    <a:pt x="97" y="2"/>
                  </a:lnTo>
                  <a:lnTo>
                    <a:pt x="97"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0" name="Freeform 52469"/>
            <p:cNvSpPr>
              <a:spLocks/>
            </p:cNvSpPr>
            <p:nvPr/>
          </p:nvSpPr>
          <p:spPr bwMode="auto">
            <a:xfrm>
              <a:off x="1776411" y="4354528"/>
              <a:ext cx="26988" cy="26988"/>
            </a:xfrm>
            <a:custGeom>
              <a:avLst/>
              <a:gdLst>
                <a:gd name="T0" fmla="*/ 14 w 17"/>
                <a:gd name="T1" fmla="*/ 5 h 17"/>
                <a:gd name="T2" fmla="*/ 17 w 17"/>
                <a:gd name="T3" fmla="*/ 5 h 17"/>
                <a:gd name="T4" fmla="*/ 14 w 17"/>
                <a:gd name="T5" fmla="*/ 7 h 17"/>
                <a:gd name="T6" fmla="*/ 14 w 17"/>
                <a:gd name="T7" fmla="*/ 7 h 17"/>
                <a:gd name="T8" fmla="*/ 14 w 17"/>
                <a:gd name="T9" fmla="*/ 7 h 17"/>
                <a:gd name="T10" fmla="*/ 14 w 17"/>
                <a:gd name="T11" fmla="*/ 7 h 17"/>
                <a:gd name="T12" fmla="*/ 14 w 17"/>
                <a:gd name="T13" fmla="*/ 9 h 17"/>
                <a:gd name="T14" fmla="*/ 12 w 17"/>
                <a:gd name="T15" fmla="*/ 9 h 17"/>
                <a:gd name="T16" fmla="*/ 12 w 17"/>
                <a:gd name="T17" fmla="*/ 9 h 17"/>
                <a:gd name="T18" fmla="*/ 12 w 17"/>
                <a:gd name="T19" fmla="*/ 12 h 17"/>
                <a:gd name="T20" fmla="*/ 12 w 17"/>
                <a:gd name="T21" fmla="*/ 12 h 17"/>
                <a:gd name="T22" fmla="*/ 10 w 17"/>
                <a:gd name="T23" fmla="*/ 12 h 17"/>
                <a:gd name="T24" fmla="*/ 10 w 17"/>
                <a:gd name="T25" fmla="*/ 12 h 17"/>
                <a:gd name="T26" fmla="*/ 10 w 17"/>
                <a:gd name="T27" fmla="*/ 12 h 17"/>
                <a:gd name="T28" fmla="*/ 10 w 17"/>
                <a:gd name="T29" fmla="*/ 14 h 17"/>
                <a:gd name="T30" fmla="*/ 10 w 17"/>
                <a:gd name="T31" fmla="*/ 14 h 17"/>
                <a:gd name="T32" fmla="*/ 7 w 17"/>
                <a:gd name="T33" fmla="*/ 14 h 17"/>
                <a:gd name="T34" fmla="*/ 7 w 17"/>
                <a:gd name="T35" fmla="*/ 14 h 17"/>
                <a:gd name="T36" fmla="*/ 7 w 17"/>
                <a:gd name="T37" fmla="*/ 14 h 17"/>
                <a:gd name="T38" fmla="*/ 7 w 17"/>
                <a:gd name="T39" fmla="*/ 17 h 17"/>
                <a:gd name="T40" fmla="*/ 5 w 17"/>
                <a:gd name="T41" fmla="*/ 17 h 17"/>
                <a:gd name="T42" fmla="*/ 5 w 17"/>
                <a:gd name="T43" fmla="*/ 17 h 17"/>
                <a:gd name="T44" fmla="*/ 5 w 17"/>
                <a:gd name="T45" fmla="*/ 17 h 17"/>
                <a:gd name="T46" fmla="*/ 5 w 17"/>
                <a:gd name="T47" fmla="*/ 17 h 17"/>
                <a:gd name="T48" fmla="*/ 5 w 17"/>
                <a:gd name="T49" fmla="*/ 17 h 17"/>
                <a:gd name="T50" fmla="*/ 5 w 17"/>
                <a:gd name="T51" fmla="*/ 17 h 17"/>
                <a:gd name="T52" fmla="*/ 5 w 17"/>
                <a:gd name="T53" fmla="*/ 17 h 17"/>
                <a:gd name="T54" fmla="*/ 3 w 17"/>
                <a:gd name="T55" fmla="*/ 17 h 17"/>
                <a:gd name="T56" fmla="*/ 3 w 17"/>
                <a:gd name="T57" fmla="*/ 17 h 17"/>
                <a:gd name="T58" fmla="*/ 3 w 17"/>
                <a:gd name="T59" fmla="*/ 17 h 17"/>
                <a:gd name="T60" fmla="*/ 3 w 17"/>
                <a:gd name="T61" fmla="*/ 17 h 17"/>
                <a:gd name="T62" fmla="*/ 3 w 17"/>
                <a:gd name="T63" fmla="*/ 17 h 17"/>
                <a:gd name="T64" fmla="*/ 3 w 17"/>
                <a:gd name="T65" fmla="*/ 17 h 17"/>
                <a:gd name="T66" fmla="*/ 0 w 17"/>
                <a:gd name="T67" fmla="*/ 17 h 17"/>
                <a:gd name="T68" fmla="*/ 0 w 17"/>
                <a:gd name="T69" fmla="*/ 17 h 17"/>
                <a:gd name="T70" fmla="*/ 0 w 17"/>
                <a:gd name="T71" fmla="*/ 17 h 17"/>
                <a:gd name="T72" fmla="*/ 0 w 17"/>
                <a:gd name="T73" fmla="*/ 17 h 17"/>
                <a:gd name="T74" fmla="*/ 0 w 17"/>
                <a:gd name="T75" fmla="*/ 17 h 17"/>
                <a:gd name="T76" fmla="*/ 0 w 17"/>
                <a:gd name="T77" fmla="*/ 17 h 17"/>
                <a:gd name="T78" fmla="*/ 0 w 17"/>
                <a:gd name="T79" fmla="*/ 17 h 17"/>
                <a:gd name="T80" fmla="*/ 0 w 17"/>
                <a:gd name="T81" fmla="*/ 17 h 17"/>
                <a:gd name="T82" fmla="*/ 0 w 17"/>
                <a:gd name="T83" fmla="*/ 14 h 17"/>
                <a:gd name="T84" fmla="*/ 3 w 17"/>
                <a:gd name="T85" fmla="*/ 14 h 17"/>
                <a:gd name="T86" fmla="*/ 3 w 17"/>
                <a:gd name="T87" fmla="*/ 14 h 17"/>
                <a:gd name="T88" fmla="*/ 0 w 17"/>
                <a:gd name="T89" fmla="*/ 12 h 17"/>
                <a:gd name="T90" fmla="*/ 3 w 17"/>
                <a:gd name="T91" fmla="*/ 12 h 17"/>
                <a:gd name="T92" fmla="*/ 3 w 17"/>
                <a:gd name="T93" fmla="*/ 9 h 17"/>
                <a:gd name="T94" fmla="*/ 3 w 17"/>
                <a:gd name="T95" fmla="*/ 9 h 17"/>
                <a:gd name="T96" fmla="*/ 3 w 17"/>
                <a:gd name="T97" fmla="*/ 9 h 17"/>
                <a:gd name="T98" fmla="*/ 5 w 17"/>
                <a:gd name="T99" fmla="*/ 7 h 17"/>
                <a:gd name="T100" fmla="*/ 7 w 17"/>
                <a:gd name="T101" fmla="*/ 5 h 17"/>
                <a:gd name="T102" fmla="*/ 7 w 17"/>
                <a:gd name="T103" fmla="*/ 2 h 17"/>
                <a:gd name="T104" fmla="*/ 10 w 17"/>
                <a:gd name="T105" fmla="*/ 2 h 17"/>
                <a:gd name="T106" fmla="*/ 12 w 17"/>
                <a:gd name="T107" fmla="*/ 0 h 17"/>
                <a:gd name="T108" fmla="*/ 14 w 17"/>
                <a:gd name="T109" fmla="*/ 0 h 17"/>
                <a:gd name="T110" fmla="*/ 14 w 17"/>
                <a:gd name="T111" fmla="*/ 2 h 17"/>
                <a:gd name="T112" fmla="*/ 14 w 17"/>
                <a:gd name="T113"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 h="17">
                  <a:moveTo>
                    <a:pt x="14" y="5"/>
                  </a:moveTo>
                  <a:lnTo>
                    <a:pt x="14" y="5"/>
                  </a:lnTo>
                  <a:lnTo>
                    <a:pt x="14" y="5"/>
                  </a:lnTo>
                  <a:lnTo>
                    <a:pt x="14" y="5"/>
                  </a:lnTo>
                  <a:lnTo>
                    <a:pt x="14" y="5"/>
                  </a:lnTo>
                  <a:lnTo>
                    <a:pt x="14" y="5"/>
                  </a:lnTo>
                  <a:lnTo>
                    <a:pt x="17" y="5"/>
                  </a:lnTo>
                  <a:lnTo>
                    <a:pt x="17" y="5"/>
                  </a:lnTo>
                  <a:lnTo>
                    <a:pt x="14" y="5"/>
                  </a:lnTo>
                  <a:lnTo>
                    <a:pt x="14" y="5"/>
                  </a:lnTo>
                  <a:lnTo>
                    <a:pt x="14" y="5"/>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9"/>
                  </a:lnTo>
                  <a:lnTo>
                    <a:pt x="14" y="9"/>
                  </a:lnTo>
                  <a:lnTo>
                    <a:pt x="14" y="9"/>
                  </a:lnTo>
                  <a:lnTo>
                    <a:pt x="12" y="9"/>
                  </a:lnTo>
                  <a:lnTo>
                    <a:pt x="12" y="9"/>
                  </a:lnTo>
                  <a:lnTo>
                    <a:pt x="12" y="9"/>
                  </a:lnTo>
                  <a:lnTo>
                    <a:pt x="12" y="9"/>
                  </a:lnTo>
                  <a:lnTo>
                    <a:pt x="12" y="9"/>
                  </a:lnTo>
                  <a:lnTo>
                    <a:pt x="12" y="9"/>
                  </a:lnTo>
                  <a:lnTo>
                    <a:pt x="12" y="9"/>
                  </a:lnTo>
                  <a:lnTo>
                    <a:pt x="12" y="9"/>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0" y="12"/>
                  </a:lnTo>
                  <a:lnTo>
                    <a:pt x="10" y="12"/>
                  </a:lnTo>
                  <a:lnTo>
                    <a:pt x="10" y="12"/>
                  </a:lnTo>
                  <a:lnTo>
                    <a:pt x="10" y="12"/>
                  </a:lnTo>
                  <a:lnTo>
                    <a:pt x="10" y="12"/>
                  </a:lnTo>
                  <a:lnTo>
                    <a:pt x="10" y="12"/>
                  </a:lnTo>
                  <a:lnTo>
                    <a:pt x="10" y="12"/>
                  </a:lnTo>
                  <a:lnTo>
                    <a:pt x="10" y="12"/>
                  </a:lnTo>
                  <a:lnTo>
                    <a:pt x="10" y="12"/>
                  </a:lnTo>
                  <a:lnTo>
                    <a:pt x="10" y="14"/>
                  </a:lnTo>
                  <a:lnTo>
                    <a:pt x="10" y="14"/>
                  </a:lnTo>
                  <a:lnTo>
                    <a:pt x="10" y="14"/>
                  </a:lnTo>
                  <a:lnTo>
                    <a:pt x="10" y="14"/>
                  </a:lnTo>
                  <a:lnTo>
                    <a:pt x="10" y="14"/>
                  </a:lnTo>
                  <a:lnTo>
                    <a:pt x="10" y="14"/>
                  </a:lnTo>
                  <a:lnTo>
                    <a:pt x="10" y="14"/>
                  </a:lnTo>
                  <a:lnTo>
                    <a:pt x="10" y="14"/>
                  </a:lnTo>
                  <a:lnTo>
                    <a:pt x="10" y="14"/>
                  </a:lnTo>
                  <a:lnTo>
                    <a:pt x="7" y="14"/>
                  </a:lnTo>
                  <a:lnTo>
                    <a:pt x="7" y="14"/>
                  </a:lnTo>
                  <a:lnTo>
                    <a:pt x="7" y="14"/>
                  </a:lnTo>
                  <a:lnTo>
                    <a:pt x="7" y="14"/>
                  </a:lnTo>
                  <a:lnTo>
                    <a:pt x="7" y="14"/>
                  </a:lnTo>
                  <a:lnTo>
                    <a:pt x="7" y="14"/>
                  </a:lnTo>
                  <a:lnTo>
                    <a:pt x="7" y="14"/>
                  </a:lnTo>
                  <a:lnTo>
                    <a:pt x="7" y="14"/>
                  </a:lnTo>
                  <a:lnTo>
                    <a:pt x="7" y="14"/>
                  </a:lnTo>
                  <a:lnTo>
                    <a:pt x="7" y="14"/>
                  </a:lnTo>
                  <a:lnTo>
                    <a:pt x="7" y="14"/>
                  </a:lnTo>
                  <a:lnTo>
                    <a:pt x="7" y="17"/>
                  </a:lnTo>
                  <a:lnTo>
                    <a:pt x="7" y="17"/>
                  </a:lnTo>
                  <a:lnTo>
                    <a:pt x="7" y="17"/>
                  </a:lnTo>
                  <a:lnTo>
                    <a:pt x="7"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4"/>
                  </a:lnTo>
                  <a:lnTo>
                    <a:pt x="0" y="14"/>
                  </a:lnTo>
                  <a:lnTo>
                    <a:pt x="0" y="14"/>
                  </a:lnTo>
                  <a:lnTo>
                    <a:pt x="0" y="14"/>
                  </a:lnTo>
                  <a:lnTo>
                    <a:pt x="0" y="14"/>
                  </a:lnTo>
                  <a:lnTo>
                    <a:pt x="0" y="14"/>
                  </a:lnTo>
                  <a:lnTo>
                    <a:pt x="3" y="14"/>
                  </a:lnTo>
                  <a:lnTo>
                    <a:pt x="3" y="14"/>
                  </a:lnTo>
                  <a:lnTo>
                    <a:pt x="3" y="14"/>
                  </a:lnTo>
                  <a:lnTo>
                    <a:pt x="3" y="14"/>
                  </a:lnTo>
                  <a:lnTo>
                    <a:pt x="3" y="14"/>
                  </a:lnTo>
                  <a:lnTo>
                    <a:pt x="3" y="14"/>
                  </a:lnTo>
                  <a:lnTo>
                    <a:pt x="3" y="12"/>
                  </a:lnTo>
                  <a:lnTo>
                    <a:pt x="3" y="12"/>
                  </a:lnTo>
                  <a:lnTo>
                    <a:pt x="0" y="12"/>
                  </a:lnTo>
                  <a:lnTo>
                    <a:pt x="0" y="12"/>
                  </a:lnTo>
                  <a:lnTo>
                    <a:pt x="3" y="12"/>
                  </a:lnTo>
                  <a:lnTo>
                    <a:pt x="3" y="12"/>
                  </a:lnTo>
                  <a:lnTo>
                    <a:pt x="3" y="12"/>
                  </a:lnTo>
                  <a:lnTo>
                    <a:pt x="3" y="9"/>
                  </a:lnTo>
                  <a:lnTo>
                    <a:pt x="3" y="9"/>
                  </a:lnTo>
                  <a:lnTo>
                    <a:pt x="3" y="9"/>
                  </a:lnTo>
                  <a:lnTo>
                    <a:pt x="3" y="9"/>
                  </a:lnTo>
                  <a:lnTo>
                    <a:pt x="3" y="9"/>
                  </a:lnTo>
                  <a:lnTo>
                    <a:pt x="3" y="9"/>
                  </a:lnTo>
                  <a:lnTo>
                    <a:pt x="3" y="9"/>
                  </a:lnTo>
                  <a:lnTo>
                    <a:pt x="3" y="9"/>
                  </a:lnTo>
                  <a:lnTo>
                    <a:pt x="3" y="9"/>
                  </a:lnTo>
                  <a:lnTo>
                    <a:pt x="3" y="9"/>
                  </a:lnTo>
                  <a:lnTo>
                    <a:pt x="3" y="9"/>
                  </a:lnTo>
                  <a:lnTo>
                    <a:pt x="3" y="9"/>
                  </a:lnTo>
                  <a:lnTo>
                    <a:pt x="3" y="9"/>
                  </a:lnTo>
                  <a:lnTo>
                    <a:pt x="3" y="9"/>
                  </a:lnTo>
                  <a:lnTo>
                    <a:pt x="5" y="9"/>
                  </a:lnTo>
                  <a:lnTo>
                    <a:pt x="5" y="7"/>
                  </a:lnTo>
                  <a:lnTo>
                    <a:pt x="5" y="7"/>
                  </a:lnTo>
                  <a:lnTo>
                    <a:pt x="5" y="7"/>
                  </a:lnTo>
                  <a:lnTo>
                    <a:pt x="5" y="7"/>
                  </a:lnTo>
                  <a:lnTo>
                    <a:pt x="7" y="5"/>
                  </a:lnTo>
                  <a:lnTo>
                    <a:pt x="7" y="5"/>
                  </a:lnTo>
                  <a:lnTo>
                    <a:pt x="7" y="5"/>
                  </a:lnTo>
                  <a:lnTo>
                    <a:pt x="7" y="5"/>
                  </a:lnTo>
                  <a:lnTo>
                    <a:pt x="7" y="2"/>
                  </a:lnTo>
                  <a:lnTo>
                    <a:pt x="7" y="2"/>
                  </a:lnTo>
                  <a:lnTo>
                    <a:pt x="7" y="2"/>
                  </a:lnTo>
                  <a:lnTo>
                    <a:pt x="7" y="2"/>
                  </a:lnTo>
                  <a:lnTo>
                    <a:pt x="10" y="2"/>
                  </a:lnTo>
                  <a:lnTo>
                    <a:pt x="10" y="0"/>
                  </a:lnTo>
                  <a:lnTo>
                    <a:pt x="10" y="0"/>
                  </a:lnTo>
                  <a:lnTo>
                    <a:pt x="12" y="0"/>
                  </a:lnTo>
                  <a:lnTo>
                    <a:pt x="12" y="0"/>
                  </a:lnTo>
                  <a:lnTo>
                    <a:pt x="12" y="0"/>
                  </a:lnTo>
                  <a:lnTo>
                    <a:pt x="14" y="0"/>
                  </a:lnTo>
                  <a:lnTo>
                    <a:pt x="14" y="0"/>
                  </a:lnTo>
                  <a:lnTo>
                    <a:pt x="14" y="0"/>
                  </a:lnTo>
                  <a:lnTo>
                    <a:pt x="14" y="0"/>
                  </a:lnTo>
                  <a:lnTo>
                    <a:pt x="14" y="0"/>
                  </a:lnTo>
                  <a:lnTo>
                    <a:pt x="14" y="2"/>
                  </a:lnTo>
                  <a:lnTo>
                    <a:pt x="14" y="2"/>
                  </a:lnTo>
                  <a:lnTo>
                    <a:pt x="12" y="2"/>
                  </a:lnTo>
                  <a:lnTo>
                    <a:pt x="12" y="2"/>
                  </a:lnTo>
                  <a:lnTo>
                    <a:pt x="14" y="5"/>
                  </a:lnTo>
                  <a:lnTo>
                    <a:pt x="14" y="5"/>
                  </a:lnTo>
                  <a:lnTo>
                    <a:pt x="14" y="5"/>
                  </a:lnTo>
                  <a:lnTo>
                    <a:pt x="14" y="5"/>
                  </a:lnTo>
                  <a:lnTo>
                    <a:pt x="14" y="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1" name="Freeform 52470"/>
            <p:cNvSpPr>
              <a:spLocks/>
            </p:cNvSpPr>
            <p:nvPr/>
          </p:nvSpPr>
          <p:spPr bwMode="auto">
            <a:xfrm>
              <a:off x="1773235" y="4381515"/>
              <a:ext cx="3175" cy="3175"/>
            </a:xfrm>
            <a:custGeom>
              <a:avLst/>
              <a:gdLst>
                <a:gd name="T0" fmla="*/ 2 w 2"/>
                <a:gd name="T1" fmla="*/ 0 h 2"/>
                <a:gd name="T2" fmla="*/ 2 w 2"/>
                <a:gd name="T3" fmla="*/ 2 h 2"/>
                <a:gd name="T4" fmla="*/ 2 w 2"/>
                <a:gd name="T5" fmla="*/ 2 h 2"/>
                <a:gd name="T6" fmla="*/ 0 w 2"/>
                <a:gd name="T7" fmla="*/ 2 h 2"/>
                <a:gd name="T8" fmla="*/ 0 w 2"/>
                <a:gd name="T9" fmla="*/ 2 h 2"/>
                <a:gd name="T10" fmla="*/ 0 w 2"/>
                <a:gd name="T11" fmla="*/ 0 h 2"/>
                <a:gd name="T12" fmla="*/ 0 w 2"/>
                <a:gd name="T13" fmla="*/ 0 h 2"/>
                <a:gd name="T14" fmla="*/ 0 w 2"/>
                <a:gd name="T15" fmla="*/ 0 h 2"/>
                <a:gd name="T16" fmla="*/ 2 w 2"/>
                <a:gd name="T17" fmla="*/ 0 h 2"/>
                <a:gd name="T18" fmla="*/ 2 w 2"/>
                <a:gd name="T19" fmla="*/ 0 h 2"/>
                <a:gd name="T20" fmla="*/ 2 w 2"/>
                <a:gd name="T21" fmla="*/ 0 h 2"/>
                <a:gd name="T22" fmla="*/ 2 w 2"/>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2" y="0"/>
                  </a:moveTo>
                  <a:lnTo>
                    <a:pt x="2" y="2"/>
                  </a:lnTo>
                  <a:lnTo>
                    <a:pt x="2" y="2"/>
                  </a:lnTo>
                  <a:lnTo>
                    <a:pt x="0" y="2"/>
                  </a:lnTo>
                  <a:lnTo>
                    <a:pt x="0" y="2"/>
                  </a:lnTo>
                  <a:lnTo>
                    <a:pt x="0" y="0"/>
                  </a:lnTo>
                  <a:lnTo>
                    <a:pt x="0" y="0"/>
                  </a:lnTo>
                  <a:lnTo>
                    <a:pt x="0" y="0"/>
                  </a:lnTo>
                  <a:lnTo>
                    <a:pt x="2" y="0"/>
                  </a:lnTo>
                  <a:lnTo>
                    <a:pt x="2" y="0"/>
                  </a:lnTo>
                  <a:lnTo>
                    <a:pt x="2"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2" name="Freeform 52471"/>
            <p:cNvSpPr>
              <a:spLocks noEditPoints="1"/>
            </p:cNvSpPr>
            <p:nvPr/>
          </p:nvSpPr>
          <p:spPr bwMode="auto">
            <a:xfrm>
              <a:off x="2374898" y="4919679"/>
              <a:ext cx="622299" cy="762002"/>
            </a:xfrm>
            <a:custGeom>
              <a:avLst/>
              <a:gdLst>
                <a:gd name="T0" fmla="*/ 278 w 392"/>
                <a:gd name="T1" fmla="*/ 445 h 480"/>
                <a:gd name="T2" fmla="*/ 285 w 392"/>
                <a:gd name="T3" fmla="*/ 461 h 480"/>
                <a:gd name="T4" fmla="*/ 259 w 392"/>
                <a:gd name="T5" fmla="*/ 473 h 480"/>
                <a:gd name="T6" fmla="*/ 224 w 392"/>
                <a:gd name="T7" fmla="*/ 449 h 480"/>
                <a:gd name="T8" fmla="*/ 193 w 392"/>
                <a:gd name="T9" fmla="*/ 421 h 480"/>
                <a:gd name="T10" fmla="*/ 214 w 392"/>
                <a:gd name="T11" fmla="*/ 411 h 480"/>
                <a:gd name="T12" fmla="*/ 243 w 392"/>
                <a:gd name="T13" fmla="*/ 418 h 480"/>
                <a:gd name="T14" fmla="*/ 285 w 392"/>
                <a:gd name="T15" fmla="*/ 409 h 480"/>
                <a:gd name="T16" fmla="*/ 98 w 392"/>
                <a:gd name="T17" fmla="*/ 285 h 480"/>
                <a:gd name="T18" fmla="*/ 100 w 392"/>
                <a:gd name="T19" fmla="*/ 297 h 480"/>
                <a:gd name="T20" fmla="*/ 100 w 392"/>
                <a:gd name="T21" fmla="*/ 338 h 480"/>
                <a:gd name="T22" fmla="*/ 86 w 392"/>
                <a:gd name="T23" fmla="*/ 364 h 480"/>
                <a:gd name="T24" fmla="*/ 72 w 392"/>
                <a:gd name="T25" fmla="*/ 378 h 480"/>
                <a:gd name="T26" fmla="*/ 57 w 392"/>
                <a:gd name="T27" fmla="*/ 357 h 480"/>
                <a:gd name="T28" fmla="*/ 60 w 392"/>
                <a:gd name="T29" fmla="*/ 335 h 480"/>
                <a:gd name="T30" fmla="*/ 53 w 392"/>
                <a:gd name="T31" fmla="*/ 302 h 480"/>
                <a:gd name="T32" fmla="*/ 57 w 392"/>
                <a:gd name="T33" fmla="*/ 290 h 480"/>
                <a:gd name="T34" fmla="*/ 183 w 392"/>
                <a:gd name="T35" fmla="*/ 86 h 480"/>
                <a:gd name="T36" fmla="*/ 209 w 392"/>
                <a:gd name="T37" fmla="*/ 69 h 480"/>
                <a:gd name="T38" fmla="*/ 193 w 392"/>
                <a:gd name="T39" fmla="*/ 76 h 480"/>
                <a:gd name="T40" fmla="*/ 188 w 392"/>
                <a:gd name="T41" fmla="*/ 79 h 480"/>
                <a:gd name="T42" fmla="*/ 183 w 392"/>
                <a:gd name="T43" fmla="*/ 91 h 480"/>
                <a:gd name="T44" fmla="*/ 190 w 392"/>
                <a:gd name="T45" fmla="*/ 98 h 480"/>
                <a:gd name="T46" fmla="*/ 188 w 392"/>
                <a:gd name="T47" fmla="*/ 110 h 480"/>
                <a:gd name="T48" fmla="*/ 193 w 392"/>
                <a:gd name="T49" fmla="*/ 140 h 480"/>
                <a:gd name="T50" fmla="*/ 235 w 392"/>
                <a:gd name="T51" fmla="*/ 181 h 480"/>
                <a:gd name="T52" fmla="*/ 266 w 392"/>
                <a:gd name="T53" fmla="*/ 233 h 480"/>
                <a:gd name="T54" fmla="*/ 314 w 392"/>
                <a:gd name="T55" fmla="*/ 245 h 480"/>
                <a:gd name="T56" fmla="*/ 318 w 392"/>
                <a:gd name="T57" fmla="*/ 269 h 480"/>
                <a:gd name="T58" fmla="*/ 356 w 392"/>
                <a:gd name="T59" fmla="*/ 290 h 480"/>
                <a:gd name="T60" fmla="*/ 387 w 392"/>
                <a:gd name="T61" fmla="*/ 314 h 480"/>
                <a:gd name="T62" fmla="*/ 375 w 392"/>
                <a:gd name="T63" fmla="*/ 326 h 480"/>
                <a:gd name="T64" fmla="*/ 345 w 392"/>
                <a:gd name="T65" fmla="*/ 307 h 480"/>
                <a:gd name="T66" fmla="*/ 335 w 392"/>
                <a:gd name="T67" fmla="*/ 347 h 480"/>
                <a:gd name="T68" fmla="*/ 337 w 392"/>
                <a:gd name="T69" fmla="*/ 378 h 480"/>
                <a:gd name="T70" fmla="*/ 309 w 392"/>
                <a:gd name="T71" fmla="*/ 423 h 480"/>
                <a:gd name="T72" fmla="*/ 307 w 392"/>
                <a:gd name="T73" fmla="*/ 397 h 480"/>
                <a:gd name="T74" fmla="*/ 309 w 392"/>
                <a:gd name="T75" fmla="*/ 357 h 480"/>
                <a:gd name="T76" fmla="*/ 285 w 392"/>
                <a:gd name="T77" fmla="*/ 328 h 480"/>
                <a:gd name="T78" fmla="*/ 254 w 392"/>
                <a:gd name="T79" fmla="*/ 302 h 480"/>
                <a:gd name="T80" fmla="*/ 240 w 392"/>
                <a:gd name="T81" fmla="*/ 283 h 480"/>
                <a:gd name="T82" fmla="*/ 205 w 392"/>
                <a:gd name="T83" fmla="*/ 266 h 480"/>
                <a:gd name="T84" fmla="*/ 171 w 392"/>
                <a:gd name="T85" fmla="*/ 238 h 480"/>
                <a:gd name="T86" fmla="*/ 148 w 392"/>
                <a:gd name="T87" fmla="*/ 209 h 480"/>
                <a:gd name="T88" fmla="*/ 121 w 392"/>
                <a:gd name="T89" fmla="*/ 171 h 480"/>
                <a:gd name="T90" fmla="*/ 105 w 392"/>
                <a:gd name="T91" fmla="*/ 143 h 480"/>
                <a:gd name="T92" fmla="*/ 84 w 392"/>
                <a:gd name="T93" fmla="*/ 129 h 480"/>
                <a:gd name="T94" fmla="*/ 62 w 392"/>
                <a:gd name="T95" fmla="*/ 131 h 480"/>
                <a:gd name="T96" fmla="*/ 29 w 392"/>
                <a:gd name="T97" fmla="*/ 157 h 480"/>
                <a:gd name="T98" fmla="*/ 10 w 392"/>
                <a:gd name="T99" fmla="*/ 133 h 480"/>
                <a:gd name="T100" fmla="*/ 0 w 392"/>
                <a:gd name="T101" fmla="*/ 93 h 480"/>
                <a:gd name="T102" fmla="*/ 5 w 392"/>
                <a:gd name="T103" fmla="*/ 67 h 480"/>
                <a:gd name="T104" fmla="*/ 41 w 392"/>
                <a:gd name="T105" fmla="*/ 57 h 480"/>
                <a:gd name="T106" fmla="*/ 65 w 392"/>
                <a:gd name="T107" fmla="*/ 48 h 480"/>
                <a:gd name="T108" fmla="*/ 84 w 392"/>
                <a:gd name="T109" fmla="*/ 43 h 480"/>
                <a:gd name="T110" fmla="*/ 110 w 392"/>
                <a:gd name="T111" fmla="*/ 36 h 480"/>
                <a:gd name="T112" fmla="*/ 124 w 392"/>
                <a:gd name="T113" fmla="*/ 22 h 480"/>
                <a:gd name="T114" fmla="*/ 159 w 392"/>
                <a:gd name="T115" fmla="*/ 5 h 480"/>
                <a:gd name="T116" fmla="*/ 186 w 392"/>
                <a:gd name="T117" fmla="*/ 12 h 480"/>
                <a:gd name="T118" fmla="*/ 228 w 392"/>
                <a:gd name="T119" fmla="*/ 31 h 480"/>
                <a:gd name="T120" fmla="*/ 228 w 392"/>
                <a:gd name="T121" fmla="*/ 62 h 480"/>
                <a:gd name="T122" fmla="*/ 228 w 392"/>
                <a:gd name="T123" fmla="*/ 6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2" h="480">
                  <a:moveTo>
                    <a:pt x="295" y="407"/>
                  </a:moveTo>
                  <a:lnTo>
                    <a:pt x="297" y="407"/>
                  </a:lnTo>
                  <a:lnTo>
                    <a:pt x="295" y="407"/>
                  </a:lnTo>
                  <a:lnTo>
                    <a:pt x="295" y="409"/>
                  </a:lnTo>
                  <a:lnTo>
                    <a:pt x="295" y="411"/>
                  </a:lnTo>
                  <a:lnTo>
                    <a:pt x="292" y="411"/>
                  </a:lnTo>
                  <a:lnTo>
                    <a:pt x="292" y="414"/>
                  </a:lnTo>
                  <a:lnTo>
                    <a:pt x="292" y="416"/>
                  </a:lnTo>
                  <a:lnTo>
                    <a:pt x="290" y="416"/>
                  </a:lnTo>
                  <a:lnTo>
                    <a:pt x="290" y="418"/>
                  </a:lnTo>
                  <a:lnTo>
                    <a:pt x="290" y="421"/>
                  </a:lnTo>
                  <a:lnTo>
                    <a:pt x="288" y="421"/>
                  </a:lnTo>
                  <a:lnTo>
                    <a:pt x="288" y="423"/>
                  </a:lnTo>
                  <a:lnTo>
                    <a:pt x="285" y="423"/>
                  </a:lnTo>
                  <a:lnTo>
                    <a:pt x="285" y="426"/>
                  </a:lnTo>
                  <a:lnTo>
                    <a:pt x="285" y="428"/>
                  </a:lnTo>
                  <a:lnTo>
                    <a:pt x="285" y="426"/>
                  </a:lnTo>
                  <a:lnTo>
                    <a:pt x="285" y="428"/>
                  </a:lnTo>
                  <a:lnTo>
                    <a:pt x="283" y="428"/>
                  </a:lnTo>
                  <a:lnTo>
                    <a:pt x="283" y="430"/>
                  </a:lnTo>
                  <a:lnTo>
                    <a:pt x="283" y="433"/>
                  </a:lnTo>
                  <a:lnTo>
                    <a:pt x="283" y="435"/>
                  </a:lnTo>
                  <a:lnTo>
                    <a:pt x="280" y="435"/>
                  </a:lnTo>
                  <a:lnTo>
                    <a:pt x="280" y="437"/>
                  </a:lnTo>
                  <a:lnTo>
                    <a:pt x="280" y="440"/>
                  </a:lnTo>
                  <a:lnTo>
                    <a:pt x="278" y="440"/>
                  </a:lnTo>
                  <a:lnTo>
                    <a:pt x="278" y="442"/>
                  </a:lnTo>
                  <a:lnTo>
                    <a:pt x="278" y="445"/>
                  </a:lnTo>
                  <a:lnTo>
                    <a:pt x="278" y="447"/>
                  </a:lnTo>
                  <a:lnTo>
                    <a:pt x="278" y="449"/>
                  </a:lnTo>
                  <a:lnTo>
                    <a:pt x="280" y="449"/>
                  </a:lnTo>
                  <a:lnTo>
                    <a:pt x="280" y="452"/>
                  </a:lnTo>
                  <a:lnTo>
                    <a:pt x="280" y="449"/>
                  </a:lnTo>
                  <a:lnTo>
                    <a:pt x="280" y="452"/>
                  </a:lnTo>
                  <a:lnTo>
                    <a:pt x="283" y="452"/>
                  </a:lnTo>
                  <a:lnTo>
                    <a:pt x="283" y="449"/>
                  </a:lnTo>
                  <a:lnTo>
                    <a:pt x="283" y="452"/>
                  </a:lnTo>
                  <a:lnTo>
                    <a:pt x="285" y="452"/>
                  </a:lnTo>
                  <a:lnTo>
                    <a:pt x="283" y="452"/>
                  </a:lnTo>
                  <a:lnTo>
                    <a:pt x="283" y="454"/>
                  </a:lnTo>
                  <a:lnTo>
                    <a:pt x="283" y="452"/>
                  </a:lnTo>
                  <a:lnTo>
                    <a:pt x="283" y="454"/>
                  </a:lnTo>
                  <a:lnTo>
                    <a:pt x="283" y="452"/>
                  </a:lnTo>
                  <a:lnTo>
                    <a:pt x="283" y="454"/>
                  </a:lnTo>
                  <a:lnTo>
                    <a:pt x="280" y="454"/>
                  </a:lnTo>
                  <a:lnTo>
                    <a:pt x="283" y="454"/>
                  </a:lnTo>
                  <a:lnTo>
                    <a:pt x="280" y="454"/>
                  </a:lnTo>
                  <a:lnTo>
                    <a:pt x="283" y="454"/>
                  </a:lnTo>
                  <a:lnTo>
                    <a:pt x="280" y="454"/>
                  </a:lnTo>
                  <a:lnTo>
                    <a:pt x="283" y="454"/>
                  </a:lnTo>
                  <a:lnTo>
                    <a:pt x="283" y="456"/>
                  </a:lnTo>
                  <a:lnTo>
                    <a:pt x="283" y="454"/>
                  </a:lnTo>
                  <a:lnTo>
                    <a:pt x="283" y="456"/>
                  </a:lnTo>
                  <a:lnTo>
                    <a:pt x="283" y="459"/>
                  </a:lnTo>
                  <a:lnTo>
                    <a:pt x="285" y="459"/>
                  </a:lnTo>
                  <a:lnTo>
                    <a:pt x="285" y="461"/>
                  </a:lnTo>
                  <a:lnTo>
                    <a:pt x="285" y="464"/>
                  </a:lnTo>
                  <a:lnTo>
                    <a:pt x="288" y="464"/>
                  </a:lnTo>
                  <a:lnTo>
                    <a:pt x="285" y="464"/>
                  </a:lnTo>
                  <a:lnTo>
                    <a:pt x="283" y="464"/>
                  </a:lnTo>
                  <a:lnTo>
                    <a:pt x="283" y="466"/>
                  </a:lnTo>
                  <a:lnTo>
                    <a:pt x="280" y="466"/>
                  </a:lnTo>
                  <a:lnTo>
                    <a:pt x="280" y="468"/>
                  </a:lnTo>
                  <a:lnTo>
                    <a:pt x="280" y="471"/>
                  </a:lnTo>
                  <a:lnTo>
                    <a:pt x="278" y="471"/>
                  </a:lnTo>
                  <a:lnTo>
                    <a:pt x="278" y="473"/>
                  </a:lnTo>
                  <a:lnTo>
                    <a:pt x="278" y="475"/>
                  </a:lnTo>
                  <a:lnTo>
                    <a:pt x="280" y="475"/>
                  </a:lnTo>
                  <a:lnTo>
                    <a:pt x="280" y="478"/>
                  </a:lnTo>
                  <a:lnTo>
                    <a:pt x="278" y="478"/>
                  </a:lnTo>
                  <a:lnTo>
                    <a:pt x="278" y="480"/>
                  </a:lnTo>
                  <a:lnTo>
                    <a:pt x="278" y="478"/>
                  </a:lnTo>
                  <a:lnTo>
                    <a:pt x="276" y="478"/>
                  </a:lnTo>
                  <a:lnTo>
                    <a:pt x="276" y="475"/>
                  </a:lnTo>
                  <a:lnTo>
                    <a:pt x="276" y="478"/>
                  </a:lnTo>
                  <a:lnTo>
                    <a:pt x="273" y="478"/>
                  </a:lnTo>
                  <a:lnTo>
                    <a:pt x="273" y="475"/>
                  </a:lnTo>
                  <a:lnTo>
                    <a:pt x="271" y="475"/>
                  </a:lnTo>
                  <a:lnTo>
                    <a:pt x="269" y="475"/>
                  </a:lnTo>
                  <a:lnTo>
                    <a:pt x="266" y="475"/>
                  </a:lnTo>
                  <a:lnTo>
                    <a:pt x="264" y="475"/>
                  </a:lnTo>
                  <a:lnTo>
                    <a:pt x="264" y="473"/>
                  </a:lnTo>
                  <a:lnTo>
                    <a:pt x="261" y="473"/>
                  </a:lnTo>
                  <a:lnTo>
                    <a:pt x="259" y="473"/>
                  </a:lnTo>
                  <a:lnTo>
                    <a:pt x="259" y="471"/>
                  </a:lnTo>
                  <a:lnTo>
                    <a:pt x="257" y="471"/>
                  </a:lnTo>
                  <a:lnTo>
                    <a:pt x="257" y="468"/>
                  </a:lnTo>
                  <a:lnTo>
                    <a:pt x="257" y="466"/>
                  </a:lnTo>
                  <a:lnTo>
                    <a:pt x="254" y="466"/>
                  </a:lnTo>
                  <a:lnTo>
                    <a:pt x="254" y="464"/>
                  </a:lnTo>
                  <a:lnTo>
                    <a:pt x="252" y="461"/>
                  </a:lnTo>
                  <a:lnTo>
                    <a:pt x="250" y="461"/>
                  </a:lnTo>
                  <a:lnTo>
                    <a:pt x="250" y="459"/>
                  </a:lnTo>
                  <a:lnTo>
                    <a:pt x="247" y="459"/>
                  </a:lnTo>
                  <a:lnTo>
                    <a:pt x="245" y="459"/>
                  </a:lnTo>
                  <a:lnTo>
                    <a:pt x="243" y="459"/>
                  </a:lnTo>
                  <a:lnTo>
                    <a:pt x="240" y="459"/>
                  </a:lnTo>
                  <a:lnTo>
                    <a:pt x="238" y="459"/>
                  </a:lnTo>
                  <a:lnTo>
                    <a:pt x="238" y="456"/>
                  </a:lnTo>
                  <a:lnTo>
                    <a:pt x="235" y="456"/>
                  </a:lnTo>
                  <a:lnTo>
                    <a:pt x="233" y="456"/>
                  </a:lnTo>
                  <a:lnTo>
                    <a:pt x="233" y="454"/>
                  </a:lnTo>
                  <a:lnTo>
                    <a:pt x="231" y="454"/>
                  </a:lnTo>
                  <a:lnTo>
                    <a:pt x="231" y="452"/>
                  </a:lnTo>
                  <a:lnTo>
                    <a:pt x="228" y="452"/>
                  </a:lnTo>
                  <a:lnTo>
                    <a:pt x="226" y="452"/>
                  </a:lnTo>
                  <a:lnTo>
                    <a:pt x="228" y="452"/>
                  </a:lnTo>
                  <a:lnTo>
                    <a:pt x="226" y="452"/>
                  </a:lnTo>
                  <a:lnTo>
                    <a:pt x="226" y="449"/>
                  </a:lnTo>
                  <a:lnTo>
                    <a:pt x="226" y="452"/>
                  </a:lnTo>
                  <a:lnTo>
                    <a:pt x="226" y="449"/>
                  </a:lnTo>
                  <a:lnTo>
                    <a:pt x="224" y="449"/>
                  </a:lnTo>
                  <a:lnTo>
                    <a:pt x="221" y="449"/>
                  </a:lnTo>
                  <a:lnTo>
                    <a:pt x="221" y="447"/>
                  </a:lnTo>
                  <a:lnTo>
                    <a:pt x="219" y="447"/>
                  </a:lnTo>
                  <a:lnTo>
                    <a:pt x="219" y="445"/>
                  </a:lnTo>
                  <a:lnTo>
                    <a:pt x="216" y="445"/>
                  </a:lnTo>
                  <a:lnTo>
                    <a:pt x="216" y="442"/>
                  </a:lnTo>
                  <a:lnTo>
                    <a:pt x="214" y="442"/>
                  </a:lnTo>
                  <a:lnTo>
                    <a:pt x="212" y="442"/>
                  </a:lnTo>
                  <a:lnTo>
                    <a:pt x="212" y="440"/>
                  </a:lnTo>
                  <a:lnTo>
                    <a:pt x="212" y="442"/>
                  </a:lnTo>
                  <a:lnTo>
                    <a:pt x="209" y="442"/>
                  </a:lnTo>
                  <a:lnTo>
                    <a:pt x="209" y="440"/>
                  </a:lnTo>
                  <a:lnTo>
                    <a:pt x="209" y="437"/>
                  </a:lnTo>
                  <a:lnTo>
                    <a:pt x="207" y="437"/>
                  </a:lnTo>
                  <a:lnTo>
                    <a:pt x="205" y="437"/>
                  </a:lnTo>
                  <a:lnTo>
                    <a:pt x="202" y="437"/>
                  </a:lnTo>
                  <a:lnTo>
                    <a:pt x="200" y="437"/>
                  </a:lnTo>
                  <a:lnTo>
                    <a:pt x="197" y="437"/>
                  </a:lnTo>
                  <a:lnTo>
                    <a:pt x="197" y="435"/>
                  </a:lnTo>
                  <a:lnTo>
                    <a:pt x="195" y="435"/>
                  </a:lnTo>
                  <a:lnTo>
                    <a:pt x="193" y="435"/>
                  </a:lnTo>
                  <a:lnTo>
                    <a:pt x="193" y="433"/>
                  </a:lnTo>
                  <a:lnTo>
                    <a:pt x="193" y="430"/>
                  </a:lnTo>
                  <a:lnTo>
                    <a:pt x="190" y="428"/>
                  </a:lnTo>
                  <a:lnTo>
                    <a:pt x="193" y="428"/>
                  </a:lnTo>
                  <a:lnTo>
                    <a:pt x="193" y="426"/>
                  </a:lnTo>
                  <a:lnTo>
                    <a:pt x="193" y="423"/>
                  </a:lnTo>
                  <a:lnTo>
                    <a:pt x="193" y="421"/>
                  </a:lnTo>
                  <a:lnTo>
                    <a:pt x="193" y="423"/>
                  </a:lnTo>
                  <a:lnTo>
                    <a:pt x="193" y="421"/>
                  </a:lnTo>
                  <a:lnTo>
                    <a:pt x="193" y="418"/>
                  </a:lnTo>
                  <a:lnTo>
                    <a:pt x="193" y="421"/>
                  </a:lnTo>
                  <a:lnTo>
                    <a:pt x="193" y="418"/>
                  </a:lnTo>
                  <a:lnTo>
                    <a:pt x="193" y="421"/>
                  </a:lnTo>
                  <a:lnTo>
                    <a:pt x="195" y="418"/>
                  </a:lnTo>
                  <a:lnTo>
                    <a:pt x="193" y="418"/>
                  </a:lnTo>
                  <a:lnTo>
                    <a:pt x="195" y="418"/>
                  </a:lnTo>
                  <a:lnTo>
                    <a:pt x="193" y="418"/>
                  </a:lnTo>
                  <a:lnTo>
                    <a:pt x="195" y="418"/>
                  </a:lnTo>
                  <a:lnTo>
                    <a:pt x="195" y="416"/>
                  </a:lnTo>
                  <a:lnTo>
                    <a:pt x="197" y="416"/>
                  </a:lnTo>
                  <a:lnTo>
                    <a:pt x="197" y="414"/>
                  </a:lnTo>
                  <a:lnTo>
                    <a:pt x="200" y="414"/>
                  </a:lnTo>
                  <a:lnTo>
                    <a:pt x="200" y="411"/>
                  </a:lnTo>
                  <a:lnTo>
                    <a:pt x="202" y="411"/>
                  </a:lnTo>
                  <a:lnTo>
                    <a:pt x="202" y="414"/>
                  </a:lnTo>
                  <a:lnTo>
                    <a:pt x="202" y="416"/>
                  </a:lnTo>
                  <a:lnTo>
                    <a:pt x="205" y="416"/>
                  </a:lnTo>
                  <a:lnTo>
                    <a:pt x="205" y="418"/>
                  </a:lnTo>
                  <a:lnTo>
                    <a:pt x="207" y="418"/>
                  </a:lnTo>
                  <a:lnTo>
                    <a:pt x="209" y="418"/>
                  </a:lnTo>
                  <a:lnTo>
                    <a:pt x="209" y="416"/>
                  </a:lnTo>
                  <a:lnTo>
                    <a:pt x="212" y="416"/>
                  </a:lnTo>
                  <a:lnTo>
                    <a:pt x="212" y="414"/>
                  </a:lnTo>
                  <a:lnTo>
                    <a:pt x="212" y="411"/>
                  </a:lnTo>
                  <a:lnTo>
                    <a:pt x="214" y="411"/>
                  </a:lnTo>
                  <a:lnTo>
                    <a:pt x="216" y="411"/>
                  </a:lnTo>
                  <a:lnTo>
                    <a:pt x="219" y="411"/>
                  </a:lnTo>
                  <a:lnTo>
                    <a:pt x="219" y="409"/>
                  </a:lnTo>
                  <a:lnTo>
                    <a:pt x="216" y="409"/>
                  </a:lnTo>
                  <a:lnTo>
                    <a:pt x="219" y="409"/>
                  </a:lnTo>
                  <a:lnTo>
                    <a:pt x="219" y="411"/>
                  </a:lnTo>
                  <a:lnTo>
                    <a:pt x="219" y="409"/>
                  </a:lnTo>
                  <a:lnTo>
                    <a:pt x="221" y="409"/>
                  </a:lnTo>
                  <a:lnTo>
                    <a:pt x="221" y="411"/>
                  </a:lnTo>
                  <a:lnTo>
                    <a:pt x="221" y="414"/>
                  </a:lnTo>
                  <a:lnTo>
                    <a:pt x="224" y="414"/>
                  </a:lnTo>
                  <a:lnTo>
                    <a:pt x="226" y="414"/>
                  </a:lnTo>
                  <a:lnTo>
                    <a:pt x="228" y="414"/>
                  </a:lnTo>
                  <a:lnTo>
                    <a:pt x="228" y="416"/>
                  </a:lnTo>
                  <a:lnTo>
                    <a:pt x="228" y="418"/>
                  </a:lnTo>
                  <a:lnTo>
                    <a:pt x="231" y="418"/>
                  </a:lnTo>
                  <a:lnTo>
                    <a:pt x="233" y="418"/>
                  </a:lnTo>
                  <a:lnTo>
                    <a:pt x="233" y="421"/>
                  </a:lnTo>
                  <a:lnTo>
                    <a:pt x="235" y="421"/>
                  </a:lnTo>
                  <a:lnTo>
                    <a:pt x="235" y="418"/>
                  </a:lnTo>
                  <a:lnTo>
                    <a:pt x="235" y="421"/>
                  </a:lnTo>
                  <a:lnTo>
                    <a:pt x="238" y="421"/>
                  </a:lnTo>
                  <a:lnTo>
                    <a:pt x="238" y="418"/>
                  </a:lnTo>
                  <a:lnTo>
                    <a:pt x="240" y="418"/>
                  </a:lnTo>
                  <a:lnTo>
                    <a:pt x="243" y="418"/>
                  </a:lnTo>
                  <a:lnTo>
                    <a:pt x="243" y="416"/>
                  </a:lnTo>
                  <a:lnTo>
                    <a:pt x="245" y="416"/>
                  </a:lnTo>
                  <a:lnTo>
                    <a:pt x="243" y="418"/>
                  </a:lnTo>
                  <a:lnTo>
                    <a:pt x="245" y="418"/>
                  </a:lnTo>
                  <a:lnTo>
                    <a:pt x="247" y="418"/>
                  </a:lnTo>
                  <a:lnTo>
                    <a:pt x="250" y="418"/>
                  </a:lnTo>
                  <a:lnTo>
                    <a:pt x="252" y="418"/>
                  </a:lnTo>
                  <a:lnTo>
                    <a:pt x="254" y="418"/>
                  </a:lnTo>
                  <a:lnTo>
                    <a:pt x="257" y="418"/>
                  </a:lnTo>
                  <a:lnTo>
                    <a:pt x="257" y="416"/>
                  </a:lnTo>
                  <a:lnTo>
                    <a:pt x="257" y="418"/>
                  </a:lnTo>
                  <a:lnTo>
                    <a:pt x="259" y="418"/>
                  </a:lnTo>
                  <a:lnTo>
                    <a:pt x="259" y="416"/>
                  </a:lnTo>
                  <a:lnTo>
                    <a:pt x="261" y="416"/>
                  </a:lnTo>
                  <a:lnTo>
                    <a:pt x="264" y="416"/>
                  </a:lnTo>
                  <a:lnTo>
                    <a:pt x="264" y="414"/>
                  </a:lnTo>
                  <a:lnTo>
                    <a:pt x="266" y="414"/>
                  </a:lnTo>
                  <a:lnTo>
                    <a:pt x="266" y="411"/>
                  </a:lnTo>
                  <a:lnTo>
                    <a:pt x="269" y="411"/>
                  </a:lnTo>
                  <a:lnTo>
                    <a:pt x="271" y="411"/>
                  </a:lnTo>
                  <a:lnTo>
                    <a:pt x="273" y="411"/>
                  </a:lnTo>
                  <a:lnTo>
                    <a:pt x="276" y="411"/>
                  </a:lnTo>
                  <a:lnTo>
                    <a:pt x="278" y="411"/>
                  </a:lnTo>
                  <a:lnTo>
                    <a:pt x="278" y="414"/>
                  </a:lnTo>
                  <a:lnTo>
                    <a:pt x="280" y="414"/>
                  </a:lnTo>
                  <a:lnTo>
                    <a:pt x="280" y="411"/>
                  </a:lnTo>
                  <a:lnTo>
                    <a:pt x="283" y="411"/>
                  </a:lnTo>
                  <a:lnTo>
                    <a:pt x="283" y="409"/>
                  </a:lnTo>
                  <a:lnTo>
                    <a:pt x="283" y="407"/>
                  </a:lnTo>
                  <a:lnTo>
                    <a:pt x="283" y="409"/>
                  </a:lnTo>
                  <a:lnTo>
                    <a:pt x="285" y="409"/>
                  </a:lnTo>
                  <a:lnTo>
                    <a:pt x="288" y="409"/>
                  </a:lnTo>
                  <a:lnTo>
                    <a:pt x="290" y="409"/>
                  </a:lnTo>
                  <a:lnTo>
                    <a:pt x="290" y="407"/>
                  </a:lnTo>
                  <a:lnTo>
                    <a:pt x="292" y="407"/>
                  </a:lnTo>
                  <a:lnTo>
                    <a:pt x="295" y="407"/>
                  </a:lnTo>
                  <a:close/>
                  <a:moveTo>
                    <a:pt x="86" y="273"/>
                  </a:moveTo>
                  <a:lnTo>
                    <a:pt x="86" y="276"/>
                  </a:lnTo>
                  <a:lnTo>
                    <a:pt x="88" y="276"/>
                  </a:lnTo>
                  <a:lnTo>
                    <a:pt x="88" y="273"/>
                  </a:lnTo>
                  <a:lnTo>
                    <a:pt x="88" y="276"/>
                  </a:lnTo>
                  <a:lnTo>
                    <a:pt x="88" y="273"/>
                  </a:lnTo>
                  <a:lnTo>
                    <a:pt x="91" y="273"/>
                  </a:lnTo>
                  <a:lnTo>
                    <a:pt x="91" y="276"/>
                  </a:lnTo>
                  <a:lnTo>
                    <a:pt x="93" y="276"/>
                  </a:lnTo>
                  <a:lnTo>
                    <a:pt x="93" y="278"/>
                  </a:lnTo>
                  <a:lnTo>
                    <a:pt x="91" y="278"/>
                  </a:lnTo>
                  <a:lnTo>
                    <a:pt x="93" y="278"/>
                  </a:lnTo>
                  <a:lnTo>
                    <a:pt x="93" y="281"/>
                  </a:lnTo>
                  <a:lnTo>
                    <a:pt x="93" y="278"/>
                  </a:lnTo>
                  <a:lnTo>
                    <a:pt x="95" y="278"/>
                  </a:lnTo>
                  <a:lnTo>
                    <a:pt x="95" y="276"/>
                  </a:lnTo>
                  <a:lnTo>
                    <a:pt x="95" y="278"/>
                  </a:lnTo>
                  <a:lnTo>
                    <a:pt x="95" y="281"/>
                  </a:lnTo>
                  <a:lnTo>
                    <a:pt x="95" y="283"/>
                  </a:lnTo>
                  <a:lnTo>
                    <a:pt x="98" y="283"/>
                  </a:lnTo>
                  <a:lnTo>
                    <a:pt x="100" y="283"/>
                  </a:lnTo>
                  <a:lnTo>
                    <a:pt x="100" y="285"/>
                  </a:lnTo>
                  <a:lnTo>
                    <a:pt x="98" y="285"/>
                  </a:lnTo>
                  <a:lnTo>
                    <a:pt x="98" y="283"/>
                  </a:lnTo>
                  <a:lnTo>
                    <a:pt x="98" y="285"/>
                  </a:lnTo>
                  <a:lnTo>
                    <a:pt x="95" y="285"/>
                  </a:lnTo>
                  <a:lnTo>
                    <a:pt x="95" y="288"/>
                  </a:lnTo>
                  <a:lnTo>
                    <a:pt x="98" y="288"/>
                  </a:lnTo>
                  <a:lnTo>
                    <a:pt x="95" y="288"/>
                  </a:lnTo>
                  <a:lnTo>
                    <a:pt x="93" y="288"/>
                  </a:lnTo>
                  <a:lnTo>
                    <a:pt x="95" y="288"/>
                  </a:lnTo>
                  <a:lnTo>
                    <a:pt x="93" y="288"/>
                  </a:lnTo>
                  <a:lnTo>
                    <a:pt x="95" y="288"/>
                  </a:lnTo>
                  <a:lnTo>
                    <a:pt x="98" y="288"/>
                  </a:lnTo>
                  <a:lnTo>
                    <a:pt x="95" y="288"/>
                  </a:lnTo>
                  <a:lnTo>
                    <a:pt x="98" y="288"/>
                  </a:lnTo>
                  <a:lnTo>
                    <a:pt x="95" y="288"/>
                  </a:lnTo>
                  <a:lnTo>
                    <a:pt x="98" y="288"/>
                  </a:lnTo>
                  <a:lnTo>
                    <a:pt x="100" y="288"/>
                  </a:lnTo>
                  <a:lnTo>
                    <a:pt x="98" y="288"/>
                  </a:lnTo>
                  <a:lnTo>
                    <a:pt x="98" y="290"/>
                  </a:lnTo>
                  <a:lnTo>
                    <a:pt x="100" y="290"/>
                  </a:lnTo>
                  <a:lnTo>
                    <a:pt x="103" y="290"/>
                  </a:lnTo>
                  <a:lnTo>
                    <a:pt x="103" y="292"/>
                  </a:lnTo>
                  <a:lnTo>
                    <a:pt x="100" y="292"/>
                  </a:lnTo>
                  <a:lnTo>
                    <a:pt x="100" y="290"/>
                  </a:lnTo>
                  <a:lnTo>
                    <a:pt x="100" y="292"/>
                  </a:lnTo>
                  <a:lnTo>
                    <a:pt x="100" y="290"/>
                  </a:lnTo>
                  <a:lnTo>
                    <a:pt x="100" y="292"/>
                  </a:lnTo>
                  <a:lnTo>
                    <a:pt x="100" y="295"/>
                  </a:lnTo>
                  <a:lnTo>
                    <a:pt x="100" y="297"/>
                  </a:lnTo>
                  <a:lnTo>
                    <a:pt x="103" y="297"/>
                  </a:lnTo>
                  <a:lnTo>
                    <a:pt x="100" y="297"/>
                  </a:lnTo>
                  <a:lnTo>
                    <a:pt x="103" y="297"/>
                  </a:lnTo>
                  <a:lnTo>
                    <a:pt x="103" y="300"/>
                  </a:lnTo>
                  <a:lnTo>
                    <a:pt x="103" y="302"/>
                  </a:lnTo>
                  <a:lnTo>
                    <a:pt x="103" y="304"/>
                  </a:lnTo>
                  <a:lnTo>
                    <a:pt x="105" y="304"/>
                  </a:lnTo>
                  <a:lnTo>
                    <a:pt x="105" y="307"/>
                  </a:lnTo>
                  <a:lnTo>
                    <a:pt x="105" y="309"/>
                  </a:lnTo>
                  <a:lnTo>
                    <a:pt x="103" y="309"/>
                  </a:lnTo>
                  <a:lnTo>
                    <a:pt x="103" y="311"/>
                  </a:lnTo>
                  <a:lnTo>
                    <a:pt x="100" y="311"/>
                  </a:lnTo>
                  <a:lnTo>
                    <a:pt x="103" y="311"/>
                  </a:lnTo>
                  <a:lnTo>
                    <a:pt x="100" y="314"/>
                  </a:lnTo>
                  <a:lnTo>
                    <a:pt x="100" y="316"/>
                  </a:lnTo>
                  <a:lnTo>
                    <a:pt x="98" y="316"/>
                  </a:lnTo>
                  <a:lnTo>
                    <a:pt x="98" y="319"/>
                  </a:lnTo>
                  <a:lnTo>
                    <a:pt x="98" y="321"/>
                  </a:lnTo>
                  <a:lnTo>
                    <a:pt x="100" y="321"/>
                  </a:lnTo>
                  <a:lnTo>
                    <a:pt x="100" y="323"/>
                  </a:lnTo>
                  <a:lnTo>
                    <a:pt x="100" y="326"/>
                  </a:lnTo>
                  <a:lnTo>
                    <a:pt x="103" y="326"/>
                  </a:lnTo>
                  <a:lnTo>
                    <a:pt x="103" y="328"/>
                  </a:lnTo>
                  <a:lnTo>
                    <a:pt x="100" y="328"/>
                  </a:lnTo>
                  <a:lnTo>
                    <a:pt x="100" y="331"/>
                  </a:lnTo>
                  <a:lnTo>
                    <a:pt x="100" y="333"/>
                  </a:lnTo>
                  <a:lnTo>
                    <a:pt x="100" y="335"/>
                  </a:lnTo>
                  <a:lnTo>
                    <a:pt x="100" y="338"/>
                  </a:lnTo>
                  <a:lnTo>
                    <a:pt x="100" y="340"/>
                  </a:lnTo>
                  <a:lnTo>
                    <a:pt x="100" y="342"/>
                  </a:lnTo>
                  <a:lnTo>
                    <a:pt x="100" y="345"/>
                  </a:lnTo>
                  <a:lnTo>
                    <a:pt x="100" y="347"/>
                  </a:lnTo>
                  <a:lnTo>
                    <a:pt x="100" y="350"/>
                  </a:lnTo>
                  <a:lnTo>
                    <a:pt x="98" y="350"/>
                  </a:lnTo>
                  <a:lnTo>
                    <a:pt x="98" y="352"/>
                  </a:lnTo>
                  <a:lnTo>
                    <a:pt x="98" y="354"/>
                  </a:lnTo>
                  <a:lnTo>
                    <a:pt x="100" y="354"/>
                  </a:lnTo>
                  <a:lnTo>
                    <a:pt x="98" y="354"/>
                  </a:lnTo>
                  <a:lnTo>
                    <a:pt x="98" y="357"/>
                  </a:lnTo>
                  <a:lnTo>
                    <a:pt x="98" y="359"/>
                  </a:lnTo>
                  <a:lnTo>
                    <a:pt x="98" y="361"/>
                  </a:lnTo>
                  <a:lnTo>
                    <a:pt x="95" y="364"/>
                  </a:lnTo>
                  <a:lnTo>
                    <a:pt x="95" y="366"/>
                  </a:lnTo>
                  <a:lnTo>
                    <a:pt x="98" y="366"/>
                  </a:lnTo>
                  <a:lnTo>
                    <a:pt x="95" y="366"/>
                  </a:lnTo>
                  <a:lnTo>
                    <a:pt x="95" y="369"/>
                  </a:lnTo>
                  <a:lnTo>
                    <a:pt x="95" y="371"/>
                  </a:lnTo>
                  <a:lnTo>
                    <a:pt x="95" y="369"/>
                  </a:lnTo>
                  <a:lnTo>
                    <a:pt x="93" y="369"/>
                  </a:lnTo>
                  <a:lnTo>
                    <a:pt x="95" y="369"/>
                  </a:lnTo>
                  <a:lnTo>
                    <a:pt x="93" y="369"/>
                  </a:lnTo>
                  <a:lnTo>
                    <a:pt x="91" y="369"/>
                  </a:lnTo>
                  <a:lnTo>
                    <a:pt x="91" y="366"/>
                  </a:lnTo>
                  <a:lnTo>
                    <a:pt x="88" y="366"/>
                  </a:lnTo>
                  <a:lnTo>
                    <a:pt x="88" y="364"/>
                  </a:lnTo>
                  <a:lnTo>
                    <a:pt x="86" y="364"/>
                  </a:lnTo>
                  <a:lnTo>
                    <a:pt x="84" y="364"/>
                  </a:lnTo>
                  <a:lnTo>
                    <a:pt x="84" y="366"/>
                  </a:lnTo>
                  <a:lnTo>
                    <a:pt x="81" y="366"/>
                  </a:lnTo>
                  <a:lnTo>
                    <a:pt x="81" y="364"/>
                  </a:lnTo>
                  <a:lnTo>
                    <a:pt x="79" y="364"/>
                  </a:lnTo>
                  <a:lnTo>
                    <a:pt x="79" y="361"/>
                  </a:lnTo>
                  <a:lnTo>
                    <a:pt x="79" y="364"/>
                  </a:lnTo>
                  <a:lnTo>
                    <a:pt x="79" y="361"/>
                  </a:lnTo>
                  <a:lnTo>
                    <a:pt x="79" y="364"/>
                  </a:lnTo>
                  <a:lnTo>
                    <a:pt x="81" y="364"/>
                  </a:lnTo>
                  <a:lnTo>
                    <a:pt x="79" y="364"/>
                  </a:lnTo>
                  <a:lnTo>
                    <a:pt x="81" y="364"/>
                  </a:lnTo>
                  <a:lnTo>
                    <a:pt x="81" y="366"/>
                  </a:lnTo>
                  <a:lnTo>
                    <a:pt x="81" y="364"/>
                  </a:lnTo>
                  <a:lnTo>
                    <a:pt x="79" y="364"/>
                  </a:lnTo>
                  <a:lnTo>
                    <a:pt x="81" y="364"/>
                  </a:lnTo>
                  <a:lnTo>
                    <a:pt x="81" y="366"/>
                  </a:lnTo>
                  <a:lnTo>
                    <a:pt x="79" y="366"/>
                  </a:lnTo>
                  <a:lnTo>
                    <a:pt x="79" y="369"/>
                  </a:lnTo>
                  <a:lnTo>
                    <a:pt x="79" y="371"/>
                  </a:lnTo>
                  <a:lnTo>
                    <a:pt x="79" y="373"/>
                  </a:lnTo>
                  <a:lnTo>
                    <a:pt x="79" y="376"/>
                  </a:lnTo>
                  <a:lnTo>
                    <a:pt x="76" y="376"/>
                  </a:lnTo>
                  <a:lnTo>
                    <a:pt x="76" y="378"/>
                  </a:lnTo>
                  <a:lnTo>
                    <a:pt x="74" y="378"/>
                  </a:lnTo>
                  <a:lnTo>
                    <a:pt x="74" y="380"/>
                  </a:lnTo>
                  <a:lnTo>
                    <a:pt x="72" y="380"/>
                  </a:lnTo>
                  <a:lnTo>
                    <a:pt x="72" y="378"/>
                  </a:lnTo>
                  <a:lnTo>
                    <a:pt x="72" y="380"/>
                  </a:lnTo>
                  <a:lnTo>
                    <a:pt x="72" y="378"/>
                  </a:lnTo>
                  <a:lnTo>
                    <a:pt x="72" y="380"/>
                  </a:lnTo>
                  <a:lnTo>
                    <a:pt x="72" y="378"/>
                  </a:lnTo>
                  <a:lnTo>
                    <a:pt x="69" y="378"/>
                  </a:lnTo>
                  <a:lnTo>
                    <a:pt x="67" y="378"/>
                  </a:lnTo>
                  <a:lnTo>
                    <a:pt x="67" y="380"/>
                  </a:lnTo>
                  <a:lnTo>
                    <a:pt x="65" y="380"/>
                  </a:lnTo>
                  <a:lnTo>
                    <a:pt x="67" y="380"/>
                  </a:lnTo>
                  <a:lnTo>
                    <a:pt x="67" y="378"/>
                  </a:lnTo>
                  <a:lnTo>
                    <a:pt x="65" y="378"/>
                  </a:lnTo>
                  <a:lnTo>
                    <a:pt x="65" y="376"/>
                  </a:lnTo>
                  <a:lnTo>
                    <a:pt x="62" y="373"/>
                  </a:lnTo>
                  <a:lnTo>
                    <a:pt x="65" y="373"/>
                  </a:lnTo>
                  <a:lnTo>
                    <a:pt x="62" y="373"/>
                  </a:lnTo>
                  <a:lnTo>
                    <a:pt x="62" y="371"/>
                  </a:lnTo>
                  <a:lnTo>
                    <a:pt x="62" y="373"/>
                  </a:lnTo>
                  <a:lnTo>
                    <a:pt x="62" y="371"/>
                  </a:lnTo>
                  <a:lnTo>
                    <a:pt x="60" y="371"/>
                  </a:lnTo>
                  <a:lnTo>
                    <a:pt x="60" y="369"/>
                  </a:lnTo>
                  <a:lnTo>
                    <a:pt x="60" y="366"/>
                  </a:lnTo>
                  <a:lnTo>
                    <a:pt x="57" y="366"/>
                  </a:lnTo>
                  <a:lnTo>
                    <a:pt x="57" y="364"/>
                  </a:lnTo>
                  <a:lnTo>
                    <a:pt x="57" y="361"/>
                  </a:lnTo>
                  <a:lnTo>
                    <a:pt x="60" y="361"/>
                  </a:lnTo>
                  <a:lnTo>
                    <a:pt x="60" y="359"/>
                  </a:lnTo>
                  <a:lnTo>
                    <a:pt x="57" y="359"/>
                  </a:lnTo>
                  <a:lnTo>
                    <a:pt x="57" y="357"/>
                  </a:lnTo>
                  <a:lnTo>
                    <a:pt x="57" y="354"/>
                  </a:lnTo>
                  <a:lnTo>
                    <a:pt x="57" y="352"/>
                  </a:lnTo>
                  <a:lnTo>
                    <a:pt x="60" y="352"/>
                  </a:lnTo>
                  <a:lnTo>
                    <a:pt x="60" y="350"/>
                  </a:lnTo>
                  <a:lnTo>
                    <a:pt x="60" y="347"/>
                  </a:lnTo>
                  <a:lnTo>
                    <a:pt x="60" y="345"/>
                  </a:lnTo>
                  <a:lnTo>
                    <a:pt x="60" y="342"/>
                  </a:lnTo>
                  <a:lnTo>
                    <a:pt x="60" y="340"/>
                  </a:lnTo>
                  <a:lnTo>
                    <a:pt x="60" y="342"/>
                  </a:lnTo>
                  <a:lnTo>
                    <a:pt x="62" y="342"/>
                  </a:lnTo>
                  <a:lnTo>
                    <a:pt x="62" y="340"/>
                  </a:lnTo>
                  <a:lnTo>
                    <a:pt x="62" y="338"/>
                  </a:lnTo>
                  <a:lnTo>
                    <a:pt x="62" y="335"/>
                  </a:lnTo>
                  <a:lnTo>
                    <a:pt x="65" y="335"/>
                  </a:lnTo>
                  <a:lnTo>
                    <a:pt x="62" y="335"/>
                  </a:lnTo>
                  <a:lnTo>
                    <a:pt x="62" y="333"/>
                  </a:lnTo>
                  <a:lnTo>
                    <a:pt x="60" y="333"/>
                  </a:lnTo>
                  <a:lnTo>
                    <a:pt x="62" y="333"/>
                  </a:lnTo>
                  <a:lnTo>
                    <a:pt x="62" y="331"/>
                  </a:lnTo>
                  <a:lnTo>
                    <a:pt x="60" y="331"/>
                  </a:lnTo>
                  <a:lnTo>
                    <a:pt x="60" y="333"/>
                  </a:lnTo>
                  <a:lnTo>
                    <a:pt x="62" y="333"/>
                  </a:lnTo>
                  <a:lnTo>
                    <a:pt x="60" y="333"/>
                  </a:lnTo>
                  <a:lnTo>
                    <a:pt x="60" y="335"/>
                  </a:lnTo>
                  <a:lnTo>
                    <a:pt x="60" y="333"/>
                  </a:lnTo>
                  <a:lnTo>
                    <a:pt x="60" y="335"/>
                  </a:lnTo>
                  <a:lnTo>
                    <a:pt x="60" y="333"/>
                  </a:lnTo>
                  <a:lnTo>
                    <a:pt x="60" y="335"/>
                  </a:lnTo>
                  <a:lnTo>
                    <a:pt x="57" y="333"/>
                  </a:lnTo>
                  <a:lnTo>
                    <a:pt x="57" y="331"/>
                  </a:lnTo>
                  <a:lnTo>
                    <a:pt x="57" y="328"/>
                  </a:lnTo>
                  <a:lnTo>
                    <a:pt x="57" y="326"/>
                  </a:lnTo>
                  <a:lnTo>
                    <a:pt x="57" y="328"/>
                  </a:lnTo>
                  <a:lnTo>
                    <a:pt x="60" y="328"/>
                  </a:lnTo>
                  <a:lnTo>
                    <a:pt x="60" y="326"/>
                  </a:lnTo>
                  <a:lnTo>
                    <a:pt x="60" y="328"/>
                  </a:lnTo>
                  <a:lnTo>
                    <a:pt x="60" y="326"/>
                  </a:lnTo>
                  <a:lnTo>
                    <a:pt x="60" y="323"/>
                  </a:lnTo>
                  <a:lnTo>
                    <a:pt x="60" y="321"/>
                  </a:lnTo>
                  <a:lnTo>
                    <a:pt x="60" y="319"/>
                  </a:lnTo>
                  <a:lnTo>
                    <a:pt x="60" y="316"/>
                  </a:lnTo>
                  <a:lnTo>
                    <a:pt x="60" y="314"/>
                  </a:lnTo>
                  <a:lnTo>
                    <a:pt x="57" y="314"/>
                  </a:lnTo>
                  <a:lnTo>
                    <a:pt x="57" y="311"/>
                  </a:lnTo>
                  <a:lnTo>
                    <a:pt x="57" y="309"/>
                  </a:lnTo>
                  <a:lnTo>
                    <a:pt x="57" y="307"/>
                  </a:lnTo>
                  <a:lnTo>
                    <a:pt x="55" y="307"/>
                  </a:lnTo>
                  <a:lnTo>
                    <a:pt x="55" y="304"/>
                  </a:lnTo>
                  <a:lnTo>
                    <a:pt x="55" y="302"/>
                  </a:lnTo>
                  <a:lnTo>
                    <a:pt x="53" y="302"/>
                  </a:lnTo>
                  <a:lnTo>
                    <a:pt x="53" y="304"/>
                  </a:lnTo>
                  <a:lnTo>
                    <a:pt x="50" y="304"/>
                  </a:lnTo>
                  <a:lnTo>
                    <a:pt x="50" y="302"/>
                  </a:lnTo>
                  <a:lnTo>
                    <a:pt x="53" y="302"/>
                  </a:lnTo>
                  <a:lnTo>
                    <a:pt x="50" y="302"/>
                  </a:lnTo>
                  <a:lnTo>
                    <a:pt x="53" y="302"/>
                  </a:lnTo>
                  <a:lnTo>
                    <a:pt x="50" y="302"/>
                  </a:lnTo>
                  <a:lnTo>
                    <a:pt x="50" y="304"/>
                  </a:lnTo>
                  <a:lnTo>
                    <a:pt x="50" y="302"/>
                  </a:lnTo>
                  <a:lnTo>
                    <a:pt x="50" y="300"/>
                  </a:lnTo>
                  <a:lnTo>
                    <a:pt x="50" y="297"/>
                  </a:lnTo>
                  <a:lnTo>
                    <a:pt x="48" y="297"/>
                  </a:lnTo>
                  <a:lnTo>
                    <a:pt x="50" y="295"/>
                  </a:lnTo>
                  <a:lnTo>
                    <a:pt x="48" y="295"/>
                  </a:lnTo>
                  <a:lnTo>
                    <a:pt x="50" y="295"/>
                  </a:lnTo>
                  <a:lnTo>
                    <a:pt x="50" y="292"/>
                  </a:lnTo>
                  <a:lnTo>
                    <a:pt x="50" y="290"/>
                  </a:lnTo>
                  <a:lnTo>
                    <a:pt x="53" y="290"/>
                  </a:lnTo>
                  <a:lnTo>
                    <a:pt x="53" y="288"/>
                  </a:lnTo>
                  <a:lnTo>
                    <a:pt x="50" y="288"/>
                  </a:lnTo>
                  <a:lnTo>
                    <a:pt x="50" y="285"/>
                  </a:lnTo>
                  <a:lnTo>
                    <a:pt x="53" y="285"/>
                  </a:lnTo>
                  <a:lnTo>
                    <a:pt x="53" y="288"/>
                  </a:lnTo>
                  <a:lnTo>
                    <a:pt x="53" y="290"/>
                  </a:lnTo>
                  <a:lnTo>
                    <a:pt x="55" y="290"/>
                  </a:lnTo>
                  <a:lnTo>
                    <a:pt x="53" y="290"/>
                  </a:lnTo>
                  <a:lnTo>
                    <a:pt x="55" y="290"/>
                  </a:lnTo>
                  <a:lnTo>
                    <a:pt x="57" y="290"/>
                  </a:lnTo>
                  <a:lnTo>
                    <a:pt x="55" y="290"/>
                  </a:lnTo>
                  <a:lnTo>
                    <a:pt x="57" y="290"/>
                  </a:lnTo>
                  <a:lnTo>
                    <a:pt x="57" y="292"/>
                  </a:lnTo>
                  <a:lnTo>
                    <a:pt x="57" y="290"/>
                  </a:lnTo>
                  <a:lnTo>
                    <a:pt x="57" y="292"/>
                  </a:lnTo>
                  <a:lnTo>
                    <a:pt x="57" y="290"/>
                  </a:lnTo>
                  <a:lnTo>
                    <a:pt x="60" y="292"/>
                  </a:lnTo>
                  <a:lnTo>
                    <a:pt x="62" y="292"/>
                  </a:lnTo>
                  <a:lnTo>
                    <a:pt x="65" y="290"/>
                  </a:lnTo>
                  <a:lnTo>
                    <a:pt x="67" y="290"/>
                  </a:lnTo>
                  <a:lnTo>
                    <a:pt x="67" y="288"/>
                  </a:lnTo>
                  <a:lnTo>
                    <a:pt x="69" y="288"/>
                  </a:lnTo>
                  <a:lnTo>
                    <a:pt x="72" y="288"/>
                  </a:lnTo>
                  <a:lnTo>
                    <a:pt x="72" y="285"/>
                  </a:lnTo>
                  <a:lnTo>
                    <a:pt x="74" y="285"/>
                  </a:lnTo>
                  <a:lnTo>
                    <a:pt x="74" y="283"/>
                  </a:lnTo>
                  <a:lnTo>
                    <a:pt x="76" y="283"/>
                  </a:lnTo>
                  <a:lnTo>
                    <a:pt x="76" y="281"/>
                  </a:lnTo>
                  <a:lnTo>
                    <a:pt x="76" y="278"/>
                  </a:lnTo>
                  <a:lnTo>
                    <a:pt x="76" y="281"/>
                  </a:lnTo>
                  <a:lnTo>
                    <a:pt x="76" y="278"/>
                  </a:lnTo>
                  <a:lnTo>
                    <a:pt x="79" y="278"/>
                  </a:lnTo>
                  <a:lnTo>
                    <a:pt x="81" y="278"/>
                  </a:lnTo>
                  <a:lnTo>
                    <a:pt x="81" y="276"/>
                  </a:lnTo>
                  <a:lnTo>
                    <a:pt x="84" y="276"/>
                  </a:lnTo>
                  <a:lnTo>
                    <a:pt x="84" y="273"/>
                  </a:lnTo>
                  <a:lnTo>
                    <a:pt x="81" y="273"/>
                  </a:lnTo>
                  <a:lnTo>
                    <a:pt x="84" y="273"/>
                  </a:lnTo>
                  <a:lnTo>
                    <a:pt x="86" y="273"/>
                  </a:lnTo>
                  <a:lnTo>
                    <a:pt x="86" y="271"/>
                  </a:lnTo>
                  <a:lnTo>
                    <a:pt x="86" y="273"/>
                  </a:lnTo>
                  <a:close/>
                  <a:moveTo>
                    <a:pt x="183" y="86"/>
                  </a:moveTo>
                  <a:lnTo>
                    <a:pt x="183" y="83"/>
                  </a:lnTo>
                  <a:lnTo>
                    <a:pt x="183" y="86"/>
                  </a:lnTo>
                  <a:close/>
                  <a:moveTo>
                    <a:pt x="224" y="67"/>
                  </a:moveTo>
                  <a:lnTo>
                    <a:pt x="226" y="67"/>
                  </a:lnTo>
                  <a:lnTo>
                    <a:pt x="224" y="67"/>
                  </a:lnTo>
                  <a:lnTo>
                    <a:pt x="224" y="69"/>
                  </a:lnTo>
                  <a:lnTo>
                    <a:pt x="221" y="69"/>
                  </a:lnTo>
                  <a:lnTo>
                    <a:pt x="221" y="67"/>
                  </a:lnTo>
                  <a:lnTo>
                    <a:pt x="221" y="64"/>
                  </a:lnTo>
                  <a:lnTo>
                    <a:pt x="219" y="64"/>
                  </a:lnTo>
                  <a:lnTo>
                    <a:pt x="216" y="64"/>
                  </a:lnTo>
                  <a:lnTo>
                    <a:pt x="219" y="64"/>
                  </a:lnTo>
                  <a:lnTo>
                    <a:pt x="219" y="62"/>
                  </a:lnTo>
                  <a:lnTo>
                    <a:pt x="216" y="62"/>
                  </a:lnTo>
                  <a:lnTo>
                    <a:pt x="219" y="62"/>
                  </a:lnTo>
                  <a:lnTo>
                    <a:pt x="219" y="64"/>
                  </a:lnTo>
                  <a:lnTo>
                    <a:pt x="216" y="64"/>
                  </a:lnTo>
                  <a:lnTo>
                    <a:pt x="214" y="64"/>
                  </a:lnTo>
                  <a:lnTo>
                    <a:pt x="214" y="67"/>
                  </a:lnTo>
                  <a:lnTo>
                    <a:pt x="214" y="64"/>
                  </a:lnTo>
                  <a:lnTo>
                    <a:pt x="214" y="67"/>
                  </a:lnTo>
                  <a:lnTo>
                    <a:pt x="214" y="64"/>
                  </a:lnTo>
                  <a:lnTo>
                    <a:pt x="212" y="64"/>
                  </a:lnTo>
                  <a:lnTo>
                    <a:pt x="212" y="67"/>
                  </a:lnTo>
                  <a:lnTo>
                    <a:pt x="214" y="67"/>
                  </a:lnTo>
                  <a:lnTo>
                    <a:pt x="214" y="69"/>
                  </a:lnTo>
                  <a:lnTo>
                    <a:pt x="212" y="69"/>
                  </a:lnTo>
                  <a:lnTo>
                    <a:pt x="214" y="69"/>
                  </a:lnTo>
                  <a:lnTo>
                    <a:pt x="212" y="69"/>
                  </a:lnTo>
                  <a:lnTo>
                    <a:pt x="209" y="69"/>
                  </a:lnTo>
                  <a:lnTo>
                    <a:pt x="209" y="72"/>
                  </a:lnTo>
                  <a:lnTo>
                    <a:pt x="209" y="69"/>
                  </a:lnTo>
                  <a:lnTo>
                    <a:pt x="209" y="72"/>
                  </a:lnTo>
                  <a:lnTo>
                    <a:pt x="209" y="69"/>
                  </a:lnTo>
                  <a:lnTo>
                    <a:pt x="209" y="72"/>
                  </a:lnTo>
                  <a:lnTo>
                    <a:pt x="207" y="72"/>
                  </a:lnTo>
                  <a:lnTo>
                    <a:pt x="207" y="69"/>
                  </a:lnTo>
                  <a:lnTo>
                    <a:pt x="205" y="69"/>
                  </a:lnTo>
                  <a:lnTo>
                    <a:pt x="205" y="67"/>
                  </a:lnTo>
                  <a:lnTo>
                    <a:pt x="205" y="69"/>
                  </a:lnTo>
                  <a:lnTo>
                    <a:pt x="207" y="69"/>
                  </a:lnTo>
                  <a:lnTo>
                    <a:pt x="207" y="72"/>
                  </a:lnTo>
                  <a:lnTo>
                    <a:pt x="205" y="72"/>
                  </a:lnTo>
                  <a:lnTo>
                    <a:pt x="202" y="74"/>
                  </a:lnTo>
                  <a:lnTo>
                    <a:pt x="200" y="74"/>
                  </a:lnTo>
                  <a:lnTo>
                    <a:pt x="202" y="74"/>
                  </a:lnTo>
                  <a:lnTo>
                    <a:pt x="200" y="74"/>
                  </a:lnTo>
                  <a:lnTo>
                    <a:pt x="200" y="76"/>
                  </a:lnTo>
                  <a:lnTo>
                    <a:pt x="197" y="76"/>
                  </a:lnTo>
                  <a:lnTo>
                    <a:pt x="195" y="76"/>
                  </a:lnTo>
                  <a:lnTo>
                    <a:pt x="193" y="79"/>
                  </a:lnTo>
                  <a:lnTo>
                    <a:pt x="190" y="79"/>
                  </a:lnTo>
                  <a:lnTo>
                    <a:pt x="190" y="81"/>
                  </a:lnTo>
                  <a:lnTo>
                    <a:pt x="190" y="79"/>
                  </a:lnTo>
                  <a:lnTo>
                    <a:pt x="193" y="79"/>
                  </a:lnTo>
                  <a:lnTo>
                    <a:pt x="193" y="76"/>
                  </a:lnTo>
                  <a:lnTo>
                    <a:pt x="195" y="76"/>
                  </a:lnTo>
                  <a:lnTo>
                    <a:pt x="193" y="76"/>
                  </a:lnTo>
                  <a:lnTo>
                    <a:pt x="193" y="79"/>
                  </a:lnTo>
                  <a:lnTo>
                    <a:pt x="195" y="76"/>
                  </a:lnTo>
                  <a:lnTo>
                    <a:pt x="197" y="76"/>
                  </a:lnTo>
                  <a:lnTo>
                    <a:pt x="195" y="76"/>
                  </a:lnTo>
                  <a:lnTo>
                    <a:pt x="197" y="76"/>
                  </a:lnTo>
                  <a:lnTo>
                    <a:pt x="197" y="74"/>
                  </a:lnTo>
                  <a:lnTo>
                    <a:pt x="195" y="74"/>
                  </a:lnTo>
                  <a:lnTo>
                    <a:pt x="195" y="76"/>
                  </a:lnTo>
                  <a:lnTo>
                    <a:pt x="195" y="74"/>
                  </a:lnTo>
                  <a:lnTo>
                    <a:pt x="195" y="76"/>
                  </a:lnTo>
                  <a:lnTo>
                    <a:pt x="195" y="74"/>
                  </a:lnTo>
                  <a:lnTo>
                    <a:pt x="195" y="76"/>
                  </a:lnTo>
                  <a:lnTo>
                    <a:pt x="195" y="74"/>
                  </a:lnTo>
                  <a:lnTo>
                    <a:pt x="195" y="76"/>
                  </a:lnTo>
                  <a:lnTo>
                    <a:pt x="195" y="74"/>
                  </a:lnTo>
                  <a:lnTo>
                    <a:pt x="193" y="74"/>
                  </a:lnTo>
                  <a:lnTo>
                    <a:pt x="190" y="74"/>
                  </a:lnTo>
                  <a:lnTo>
                    <a:pt x="190" y="76"/>
                  </a:lnTo>
                  <a:lnTo>
                    <a:pt x="190" y="74"/>
                  </a:lnTo>
                  <a:lnTo>
                    <a:pt x="190" y="76"/>
                  </a:lnTo>
                  <a:lnTo>
                    <a:pt x="188" y="76"/>
                  </a:lnTo>
                  <a:lnTo>
                    <a:pt x="186" y="76"/>
                  </a:lnTo>
                  <a:lnTo>
                    <a:pt x="186" y="79"/>
                  </a:lnTo>
                  <a:lnTo>
                    <a:pt x="186" y="76"/>
                  </a:lnTo>
                  <a:lnTo>
                    <a:pt x="186" y="79"/>
                  </a:lnTo>
                  <a:lnTo>
                    <a:pt x="186" y="76"/>
                  </a:lnTo>
                  <a:lnTo>
                    <a:pt x="186" y="79"/>
                  </a:lnTo>
                  <a:lnTo>
                    <a:pt x="188" y="79"/>
                  </a:lnTo>
                  <a:lnTo>
                    <a:pt x="188" y="81"/>
                  </a:lnTo>
                  <a:lnTo>
                    <a:pt x="188" y="79"/>
                  </a:lnTo>
                  <a:lnTo>
                    <a:pt x="186" y="79"/>
                  </a:lnTo>
                  <a:lnTo>
                    <a:pt x="188" y="79"/>
                  </a:lnTo>
                  <a:lnTo>
                    <a:pt x="186" y="79"/>
                  </a:lnTo>
                  <a:lnTo>
                    <a:pt x="188" y="79"/>
                  </a:lnTo>
                  <a:lnTo>
                    <a:pt x="186" y="79"/>
                  </a:lnTo>
                  <a:lnTo>
                    <a:pt x="183" y="79"/>
                  </a:lnTo>
                  <a:lnTo>
                    <a:pt x="186" y="79"/>
                  </a:lnTo>
                  <a:lnTo>
                    <a:pt x="183" y="79"/>
                  </a:lnTo>
                  <a:lnTo>
                    <a:pt x="186" y="79"/>
                  </a:lnTo>
                  <a:lnTo>
                    <a:pt x="186" y="81"/>
                  </a:lnTo>
                  <a:lnTo>
                    <a:pt x="183" y="81"/>
                  </a:lnTo>
                  <a:lnTo>
                    <a:pt x="183" y="83"/>
                  </a:lnTo>
                  <a:lnTo>
                    <a:pt x="181" y="83"/>
                  </a:lnTo>
                  <a:lnTo>
                    <a:pt x="183" y="81"/>
                  </a:lnTo>
                  <a:lnTo>
                    <a:pt x="181" y="81"/>
                  </a:lnTo>
                  <a:lnTo>
                    <a:pt x="181" y="83"/>
                  </a:lnTo>
                  <a:lnTo>
                    <a:pt x="183" y="83"/>
                  </a:lnTo>
                  <a:lnTo>
                    <a:pt x="183" y="86"/>
                  </a:lnTo>
                  <a:lnTo>
                    <a:pt x="181" y="86"/>
                  </a:lnTo>
                  <a:lnTo>
                    <a:pt x="181" y="88"/>
                  </a:lnTo>
                  <a:lnTo>
                    <a:pt x="183" y="88"/>
                  </a:lnTo>
                  <a:lnTo>
                    <a:pt x="181" y="88"/>
                  </a:lnTo>
                  <a:lnTo>
                    <a:pt x="183" y="88"/>
                  </a:lnTo>
                  <a:lnTo>
                    <a:pt x="183" y="86"/>
                  </a:lnTo>
                  <a:lnTo>
                    <a:pt x="183" y="88"/>
                  </a:lnTo>
                  <a:lnTo>
                    <a:pt x="183" y="91"/>
                  </a:lnTo>
                  <a:lnTo>
                    <a:pt x="186" y="91"/>
                  </a:lnTo>
                  <a:lnTo>
                    <a:pt x="188" y="91"/>
                  </a:lnTo>
                  <a:lnTo>
                    <a:pt x="188" y="93"/>
                  </a:lnTo>
                  <a:lnTo>
                    <a:pt x="188" y="95"/>
                  </a:lnTo>
                  <a:lnTo>
                    <a:pt x="188" y="93"/>
                  </a:lnTo>
                  <a:lnTo>
                    <a:pt x="186" y="93"/>
                  </a:lnTo>
                  <a:lnTo>
                    <a:pt x="186" y="95"/>
                  </a:lnTo>
                  <a:lnTo>
                    <a:pt x="188" y="95"/>
                  </a:lnTo>
                  <a:lnTo>
                    <a:pt x="188" y="98"/>
                  </a:lnTo>
                  <a:lnTo>
                    <a:pt x="188" y="95"/>
                  </a:lnTo>
                  <a:lnTo>
                    <a:pt x="188" y="98"/>
                  </a:lnTo>
                  <a:lnTo>
                    <a:pt x="188" y="95"/>
                  </a:lnTo>
                  <a:lnTo>
                    <a:pt x="188" y="98"/>
                  </a:lnTo>
                  <a:lnTo>
                    <a:pt x="190" y="98"/>
                  </a:lnTo>
                  <a:lnTo>
                    <a:pt x="188" y="98"/>
                  </a:lnTo>
                  <a:lnTo>
                    <a:pt x="188" y="100"/>
                  </a:lnTo>
                  <a:lnTo>
                    <a:pt x="190" y="100"/>
                  </a:lnTo>
                  <a:lnTo>
                    <a:pt x="190" y="98"/>
                  </a:lnTo>
                  <a:lnTo>
                    <a:pt x="190" y="100"/>
                  </a:lnTo>
                  <a:lnTo>
                    <a:pt x="190" y="98"/>
                  </a:lnTo>
                  <a:lnTo>
                    <a:pt x="190" y="100"/>
                  </a:lnTo>
                  <a:lnTo>
                    <a:pt x="190" y="98"/>
                  </a:lnTo>
                  <a:lnTo>
                    <a:pt x="190" y="100"/>
                  </a:lnTo>
                  <a:lnTo>
                    <a:pt x="190" y="98"/>
                  </a:lnTo>
                  <a:lnTo>
                    <a:pt x="190" y="100"/>
                  </a:lnTo>
                  <a:lnTo>
                    <a:pt x="190" y="98"/>
                  </a:lnTo>
                  <a:lnTo>
                    <a:pt x="190" y="100"/>
                  </a:lnTo>
                  <a:lnTo>
                    <a:pt x="190" y="98"/>
                  </a:lnTo>
                  <a:lnTo>
                    <a:pt x="190" y="100"/>
                  </a:lnTo>
                  <a:lnTo>
                    <a:pt x="190" y="98"/>
                  </a:lnTo>
                  <a:lnTo>
                    <a:pt x="190" y="100"/>
                  </a:lnTo>
                  <a:lnTo>
                    <a:pt x="193" y="100"/>
                  </a:lnTo>
                  <a:lnTo>
                    <a:pt x="193" y="102"/>
                  </a:lnTo>
                  <a:lnTo>
                    <a:pt x="190" y="102"/>
                  </a:lnTo>
                  <a:lnTo>
                    <a:pt x="188" y="102"/>
                  </a:lnTo>
                  <a:lnTo>
                    <a:pt x="186" y="102"/>
                  </a:lnTo>
                  <a:lnTo>
                    <a:pt x="186" y="100"/>
                  </a:lnTo>
                  <a:lnTo>
                    <a:pt x="183" y="100"/>
                  </a:lnTo>
                  <a:lnTo>
                    <a:pt x="183" y="98"/>
                  </a:lnTo>
                  <a:lnTo>
                    <a:pt x="181" y="98"/>
                  </a:lnTo>
                  <a:lnTo>
                    <a:pt x="178" y="98"/>
                  </a:lnTo>
                  <a:lnTo>
                    <a:pt x="178" y="100"/>
                  </a:lnTo>
                  <a:lnTo>
                    <a:pt x="178" y="98"/>
                  </a:lnTo>
                  <a:lnTo>
                    <a:pt x="181" y="98"/>
                  </a:lnTo>
                  <a:lnTo>
                    <a:pt x="181" y="100"/>
                  </a:lnTo>
                  <a:lnTo>
                    <a:pt x="181" y="98"/>
                  </a:lnTo>
                  <a:lnTo>
                    <a:pt x="183" y="98"/>
                  </a:lnTo>
                  <a:lnTo>
                    <a:pt x="183" y="100"/>
                  </a:lnTo>
                  <a:lnTo>
                    <a:pt x="186" y="100"/>
                  </a:lnTo>
                  <a:lnTo>
                    <a:pt x="186" y="102"/>
                  </a:lnTo>
                  <a:lnTo>
                    <a:pt x="188" y="102"/>
                  </a:lnTo>
                  <a:lnTo>
                    <a:pt x="188" y="105"/>
                  </a:lnTo>
                  <a:lnTo>
                    <a:pt x="188" y="107"/>
                  </a:lnTo>
                  <a:lnTo>
                    <a:pt x="190" y="107"/>
                  </a:lnTo>
                  <a:lnTo>
                    <a:pt x="190" y="110"/>
                  </a:lnTo>
                  <a:lnTo>
                    <a:pt x="188" y="110"/>
                  </a:lnTo>
                  <a:lnTo>
                    <a:pt x="188" y="107"/>
                  </a:lnTo>
                  <a:lnTo>
                    <a:pt x="188" y="110"/>
                  </a:lnTo>
                  <a:lnTo>
                    <a:pt x="190" y="110"/>
                  </a:lnTo>
                  <a:lnTo>
                    <a:pt x="188" y="110"/>
                  </a:lnTo>
                  <a:lnTo>
                    <a:pt x="190" y="110"/>
                  </a:lnTo>
                  <a:lnTo>
                    <a:pt x="188" y="110"/>
                  </a:lnTo>
                  <a:lnTo>
                    <a:pt x="188" y="107"/>
                  </a:lnTo>
                  <a:lnTo>
                    <a:pt x="186" y="107"/>
                  </a:lnTo>
                  <a:lnTo>
                    <a:pt x="186" y="110"/>
                  </a:lnTo>
                  <a:lnTo>
                    <a:pt x="186" y="107"/>
                  </a:lnTo>
                  <a:lnTo>
                    <a:pt x="186" y="110"/>
                  </a:lnTo>
                  <a:lnTo>
                    <a:pt x="186" y="107"/>
                  </a:lnTo>
                  <a:lnTo>
                    <a:pt x="186" y="110"/>
                  </a:lnTo>
                  <a:lnTo>
                    <a:pt x="186" y="112"/>
                  </a:lnTo>
                  <a:lnTo>
                    <a:pt x="186" y="114"/>
                  </a:lnTo>
                  <a:lnTo>
                    <a:pt x="186" y="117"/>
                  </a:lnTo>
                  <a:lnTo>
                    <a:pt x="186" y="119"/>
                  </a:lnTo>
                  <a:lnTo>
                    <a:pt x="186" y="121"/>
                  </a:lnTo>
                  <a:lnTo>
                    <a:pt x="186" y="124"/>
                  </a:lnTo>
                  <a:lnTo>
                    <a:pt x="186" y="126"/>
                  </a:lnTo>
                  <a:lnTo>
                    <a:pt x="188" y="129"/>
                  </a:lnTo>
                  <a:lnTo>
                    <a:pt x="188" y="131"/>
                  </a:lnTo>
                  <a:lnTo>
                    <a:pt x="188" y="133"/>
                  </a:lnTo>
                  <a:lnTo>
                    <a:pt x="188" y="136"/>
                  </a:lnTo>
                  <a:lnTo>
                    <a:pt x="190" y="136"/>
                  </a:lnTo>
                  <a:lnTo>
                    <a:pt x="190" y="138"/>
                  </a:lnTo>
                  <a:lnTo>
                    <a:pt x="193" y="138"/>
                  </a:lnTo>
                  <a:lnTo>
                    <a:pt x="193" y="140"/>
                  </a:lnTo>
                  <a:lnTo>
                    <a:pt x="195" y="143"/>
                  </a:lnTo>
                  <a:lnTo>
                    <a:pt x="197" y="145"/>
                  </a:lnTo>
                  <a:lnTo>
                    <a:pt x="200" y="148"/>
                  </a:lnTo>
                  <a:lnTo>
                    <a:pt x="202" y="148"/>
                  </a:lnTo>
                  <a:lnTo>
                    <a:pt x="205" y="150"/>
                  </a:lnTo>
                  <a:lnTo>
                    <a:pt x="207" y="150"/>
                  </a:lnTo>
                  <a:lnTo>
                    <a:pt x="207" y="152"/>
                  </a:lnTo>
                  <a:lnTo>
                    <a:pt x="209" y="152"/>
                  </a:lnTo>
                  <a:lnTo>
                    <a:pt x="212" y="155"/>
                  </a:lnTo>
                  <a:lnTo>
                    <a:pt x="214" y="155"/>
                  </a:lnTo>
                  <a:lnTo>
                    <a:pt x="214" y="157"/>
                  </a:lnTo>
                  <a:lnTo>
                    <a:pt x="216" y="157"/>
                  </a:lnTo>
                  <a:lnTo>
                    <a:pt x="216" y="159"/>
                  </a:lnTo>
                  <a:lnTo>
                    <a:pt x="219" y="162"/>
                  </a:lnTo>
                  <a:lnTo>
                    <a:pt x="221" y="162"/>
                  </a:lnTo>
                  <a:lnTo>
                    <a:pt x="224" y="162"/>
                  </a:lnTo>
                  <a:lnTo>
                    <a:pt x="224" y="164"/>
                  </a:lnTo>
                  <a:lnTo>
                    <a:pt x="226" y="164"/>
                  </a:lnTo>
                  <a:lnTo>
                    <a:pt x="228" y="164"/>
                  </a:lnTo>
                  <a:lnTo>
                    <a:pt x="228" y="167"/>
                  </a:lnTo>
                  <a:lnTo>
                    <a:pt x="231" y="167"/>
                  </a:lnTo>
                  <a:lnTo>
                    <a:pt x="231" y="169"/>
                  </a:lnTo>
                  <a:lnTo>
                    <a:pt x="231" y="171"/>
                  </a:lnTo>
                  <a:lnTo>
                    <a:pt x="231" y="174"/>
                  </a:lnTo>
                  <a:lnTo>
                    <a:pt x="233" y="176"/>
                  </a:lnTo>
                  <a:lnTo>
                    <a:pt x="233" y="178"/>
                  </a:lnTo>
                  <a:lnTo>
                    <a:pt x="235" y="178"/>
                  </a:lnTo>
                  <a:lnTo>
                    <a:pt x="235" y="181"/>
                  </a:lnTo>
                  <a:lnTo>
                    <a:pt x="235" y="183"/>
                  </a:lnTo>
                  <a:lnTo>
                    <a:pt x="235" y="186"/>
                  </a:lnTo>
                  <a:lnTo>
                    <a:pt x="238" y="188"/>
                  </a:lnTo>
                  <a:lnTo>
                    <a:pt x="238" y="190"/>
                  </a:lnTo>
                  <a:lnTo>
                    <a:pt x="238" y="193"/>
                  </a:lnTo>
                  <a:lnTo>
                    <a:pt x="238" y="195"/>
                  </a:lnTo>
                  <a:lnTo>
                    <a:pt x="240" y="195"/>
                  </a:lnTo>
                  <a:lnTo>
                    <a:pt x="238" y="195"/>
                  </a:lnTo>
                  <a:lnTo>
                    <a:pt x="240" y="197"/>
                  </a:lnTo>
                  <a:lnTo>
                    <a:pt x="240" y="200"/>
                  </a:lnTo>
                  <a:lnTo>
                    <a:pt x="243" y="205"/>
                  </a:lnTo>
                  <a:lnTo>
                    <a:pt x="243" y="207"/>
                  </a:lnTo>
                  <a:lnTo>
                    <a:pt x="245" y="209"/>
                  </a:lnTo>
                  <a:lnTo>
                    <a:pt x="245" y="212"/>
                  </a:lnTo>
                  <a:lnTo>
                    <a:pt x="247" y="212"/>
                  </a:lnTo>
                  <a:lnTo>
                    <a:pt x="247" y="214"/>
                  </a:lnTo>
                  <a:lnTo>
                    <a:pt x="250" y="216"/>
                  </a:lnTo>
                  <a:lnTo>
                    <a:pt x="250" y="219"/>
                  </a:lnTo>
                  <a:lnTo>
                    <a:pt x="252" y="219"/>
                  </a:lnTo>
                  <a:lnTo>
                    <a:pt x="254" y="221"/>
                  </a:lnTo>
                  <a:lnTo>
                    <a:pt x="257" y="221"/>
                  </a:lnTo>
                  <a:lnTo>
                    <a:pt x="257" y="224"/>
                  </a:lnTo>
                  <a:lnTo>
                    <a:pt x="259" y="226"/>
                  </a:lnTo>
                  <a:lnTo>
                    <a:pt x="261" y="228"/>
                  </a:lnTo>
                  <a:lnTo>
                    <a:pt x="264" y="228"/>
                  </a:lnTo>
                  <a:lnTo>
                    <a:pt x="264" y="231"/>
                  </a:lnTo>
                  <a:lnTo>
                    <a:pt x="266" y="231"/>
                  </a:lnTo>
                  <a:lnTo>
                    <a:pt x="266" y="233"/>
                  </a:lnTo>
                  <a:lnTo>
                    <a:pt x="266" y="235"/>
                  </a:lnTo>
                  <a:lnTo>
                    <a:pt x="269" y="235"/>
                  </a:lnTo>
                  <a:lnTo>
                    <a:pt x="271" y="235"/>
                  </a:lnTo>
                  <a:lnTo>
                    <a:pt x="271" y="238"/>
                  </a:lnTo>
                  <a:lnTo>
                    <a:pt x="273" y="238"/>
                  </a:lnTo>
                  <a:lnTo>
                    <a:pt x="276" y="238"/>
                  </a:lnTo>
                  <a:lnTo>
                    <a:pt x="276" y="240"/>
                  </a:lnTo>
                  <a:lnTo>
                    <a:pt x="278" y="240"/>
                  </a:lnTo>
                  <a:lnTo>
                    <a:pt x="280" y="243"/>
                  </a:lnTo>
                  <a:lnTo>
                    <a:pt x="283" y="243"/>
                  </a:lnTo>
                  <a:lnTo>
                    <a:pt x="285" y="243"/>
                  </a:lnTo>
                  <a:lnTo>
                    <a:pt x="288" y="243"/>
                  </a:lnTo>
                  <a:lnTo>
                    <a:pt x="290" y="243"/>
                  </a:lnTo>
                  <a:lnTo>
                    <a:pt x="292" y="243"/>
                  </a:lnTo>
                  <a:lnTo>
                    <a:pt x="295" y="243"/>
                  </a:lnTo>
                  <a:lnTo>
                    <a:pt x="297" y="243"/>
                  </a:lnTo>
                  <a:lnTo>
                    <a:pt x="299" y="243"/>
                  </a:lnTo>
                  <a:lnTo>
                    <a:pt x="302" y="243"/>
                  </a:lnTo>
                  <a:lnTo>
                    <a:pt x="304" y="243"/>
                  </a:lnTo>
                  <a:lnTo>
                    <a:pt x="307" y="243"/>
                  </a:lnTo>
                  <a:lnTo>
                    <a:pt x="307" y="240"/>
                  </a:lnTo>
                  <a:lnTo>
                    <a:pt x="309" y="240"/>
                  </a:lnTo>
                  <a:lnTo>
                    <a:pt x="311" y="240"/>
                  </a:lnTo>
                  <a:lnTo>
                    <a:pt x="311" y="243"/>
                  </a:lnTo>
                  <a:lnTo>
                    <a:pt x="314" y="243"/>
                  </a:lnTo>
                  <a:lnTo>
                    <a:pt x="314" y="245"/>
                  </a:lnTo>
                  <a:lnTo>
                    <a:pt x="316" y="245"/>
                  </a:lnTo>
                  <a:lnTo>
                    <a:pt x="314" y="245"/>
                  </a:lnTo>
                  <a:lnTo>
                    <a:pt x="316" y="245"/>
                  </a:lnTo>
                  <a:lnTo>
                    <a:pt x="314" y="245"/>
                  </a:lnTo>
                  <a:lnTo>
                    <a:pt x="314" y="247"/>
                  </a:lnTo>
                  <a:lnTo>
                    <a:pt x="316" y="247"/>
                  </a:lnTo>
                  <a:lnTo>
                    <a:pt x="314" y="247"/>
                  </a:lnTo>
                  <a:lnTo>
                    <a:pt x="316" y="247"/>
                  </a:lnTo>
                  <a:lnTo>
                    <a:pt x="314" y="247"/>
                  </a:lnTo>
                  <a:lnTo>
                    <a:pt x="314" y="250"/>
                  </a:lnTo>
                  <a:lnTo>
                    <a:pt x="311" y="250"/>
                  </a:lnTo>
                  <a:lnTo>
                    <a:pt x="311" y="252"/>
                  </a:lnTo>
                  <a:lnTo>
                    <a:pt x="309" y="252"/>
                  </a:lnTo>
                  <a:lnTo>
                    <a:pt x="309" y="254"/>
                  </a:lnTo>
                  <a:lnTo>
                    <a:pt x="307" y="254"/>
                  </a:lnTo>
                  <a:lnTo>
                    <a:pt x="307" y="257"/>
                  </a:lnTo>
                  <a:lnTo>
                    <a:pt x="307" y="254"/>
                  </a:lnTo>
                  <a:lnTo>
                    <a:pt x="307" y="257"/>
                  </a:lnTo>
                  <a:lnTo>
                    <a:pt x="307" y="254"/>
                  </a:lnTo>
                  <a:lnTo>
                    <a:pt x="307" y="257"/>
                  </a:lnTo>
                  <a:lnTo>
                    <a:pt x="304" y="257"/>
                  </a:lnTo>
                  <a:lnTo>
                    <a:pt x="304" y="259"/>
                  </a:lnTo>
                  <a:lnTo>
                    <a:pt x="307" y="259"/>
                  </a:lnTo>
                  <a:lnTo>
                    <a:pt x="307" y="262"/>
                  </a:lnTo>
                  <a:lnTo>
                    <a:pt x="307" y="264"/>
                  </a:lnTo>
                  <a:lnTo>
                    <a:pt x="309" y="264"/>
                  </a:lnTo>
                  <a:lnTo>
                    <a:pt x="311" y="266"/>
                  </a:lnTo>
                  <a:lnTo>
                    <a:pt x="314" y="266"/>
                  </a:lnTo>
                  <a:lnTo>
                    <a:pt x="316" y="269"/>
                  </a:lnTo>
                  <a:lnTo>
                    <a:pt x="318" y="269"/>
                  </a:lnTo>
                  <a:lnTo>
                    <a:pt x="321" y="269"/>
                  </a:lnTo>
                  <a:lnTo>
                    <a:pt x="321" y="271"/>
                  </a:lnTo>
                  <a:lnTo>
                    <a:pt x="323" y="271"/>
                  </a:lnTo>
                  <a:lnTo>
                    <a:pt x="323" y="273"/>
                  </a:lnTo>
                  <a:lnTo>
                    <a:pt x="326" y="271"/>
                  </a:lnTo>
                  <a:lnTo>
                    <a:pt x="326" y="273"/>
                  </a:lnTo>
                  <a:lnTo>
                    <a:pt x="328" y="273"/>
                  </a:lnTo>
                  <a:lnTo>
                    <a:pt x="328" y="276"/>
                  </a:lnTo>
                  <a:lnTo>
                    <a:pt x="330" y="276"/>
                  </a:lnTo>
                  <a:lnTo>
                    <a:pt x="333" y="276"/>
                  </a:lnTo>
                  <a:lnTo>
                    <a:pt x="335" y="276"/>
                  </a:lnTo>
                  <a:lnTo>
                    <a:pt x="335" y="278"/>
                  </a:lnTo>
                  <a:lnTo>
                    <a:pt x="337" y="278"/>
                  </a:lnTo>
                  <a:lnTo>
                    <a:pt x="340" y="278"/>
                  </a:lnTo>
                  <a:lnTo>
                    <a:pt x="340" y="281"/>
                  </a:lnTo>
                  <a:lnTo>
                    <a:pt x="342" y="281"/>
                  </a:lnTo>
                  <a:lnTo>
                    <a:pt x="345" y="281"/>
                  </a:lnTo>
                  <a:lnTo>
                    <a:pt x="345" y="283"/>
                  </a:lnTo>
                  <a:lnTo>
                    <a:pt x="347" y="283"/>
                  </a:lnTo>
                  <a:lnTo>
                    <a:pt x="349" y="283"/>
                  </a:lnTo>
                  <a:lnTo>
                    <a:pt x="349" y="285"/>
                  </a:lnTo>
                  <a:lnTo>
                    <a:pt x="349" y="283"/>
                  </a:lnTo>
                  <a:lnTo>
                    <a:pt x="349" y="285"/>
                  </a:lnTo>
                  <a:lnTo>
                    <a:pt x="352" y="285"/>
                  </a:lnTo>
                  <a:lnTo>
                    <a:pt x="352" y="288"/>
                  </a:lnTo>
                  <a:lnTo>
                    <a:pt x="354" y="288"/>
                  </a:lnTo>
                  <a:lnTo>
                    <a:pt x="354" y="290"/>
                  </a:lnTo>
                  <a:lnTo>
                    <a:pt x="356" y="290"/>
                  </a:lnTo>
                  <a:lnTo>
                    <a:pt x="356" y="292"/>
                  </a:lnTo>
                  <a:lnTo>
                    <a:pt x="359" y="292"/>
                  </a:lnTo>
                  <a:lnTo>
                    <a:pt x="361" y="292"/>
                  </a:lnTo>
                  <a:lnTo>
                    <a:pt x="361" y="295"/>
                  </a:lnTo>
                  <a:lnTo>
                    <a:pt x="364" y="295"/>
                  </a:lnTo>
                  <a:lnTo>
                    <a:pt x="366" y="295"/>
                  </a:lnTo>
                  <a:lnTo>
                    <a:pt x="366" y="297"/>
                  </a:lnTo>
                  <a:lnTo>
                    <a:pt x="368" y="297"/>
                  </a:lnTo>
                  <a:lnTo>
                    <a:pt x="371" y="297"/>
                  </a:lnTo>
                  <a:lnTo>
                    <a:pt x="371" y="300"/>
                  </a:lnTo>
                  <a:lnTo>
                    <a:pt x="373" y="297"/>
                  </a:lnTo>
                  <a:lnTo>
                    <a:pt x="373" y="300"/>
                  </a:lnTo>
                  <a:lnTo>
                    <a:pt x="373" y="297"/>
                  </a:lnTo>
                  <a:lnTo>
                    <a:pt x="373" y="300"/>
                  </a:lnTo>
                  <a:lnTo>
                    <a:pt x="375" y="300"/>
                  </a:lnTo>
                  <a:lnTo>
                    <a:pt x="375" y="302"/>
                  </a:lnTo>
                  <a:lnTo>
                    <a:pt x="375" y="304"/>
                  </a:lnTo>
                  <a:lnTo>
                    <a:pt x="378" y="304"/>
                  </a:lnTo>
                  <a:lnTo>
                    <a:pt x="378" y="307"/>
                  </a:lnTo>
                  <a:lnTo>
                    <a:pt x="380" y="307"/>
                  </a:lnTo>
                  <a:lnTo>
                    <a:pt x="380" y="309"/>
                  </a:lnTo>
                  <a:lnTo>
                    <a:pt x="382" y="309"/>
                  </a:lnTo>
                  <a:lnTo>
                    <a:pt x="382" y="311"/>
                  </a:lnTo>
                  <a:lnTo>
                    <a:pt x="385" y="311"/>
                  </a:lnTo>
                  <a:lnTo>
                    <a:pt x="385" y="314"/>
                  </a:lnTo>
                  <a:lnTo>
                    <a:pt x="385" y="311"/>
                  </a:lnTo>
                  <a:lnTo>
                    <a:pt x="385" y="314"/>
                  </a:lnTo>
                  <a:lnTo>
                    <a:pt x="387" y="314"/>
                  </a:lnTo>
                  <a:lnTo>
                    <a:pt x="387" y="316"/>
                  </a:lnTo>
                  <a:lnTo>
                    <a:pt x="390" y="316"/>
                  </a:lnTo>
                  <a:lnTo>
                    <a:pt x="390" y="319"/>
                  </a:lnTo>
                  <a:lnTo>
                    <a:pt x="390" y="321"/>
                  </a:lnTo>
                  <a:lnTo>
                    <a:pt x="390" y="323"/>
                  </a:lnTo>
                  <a:lnTo>
                    <a:pt x="392" y="323"/>
                  </a:lnTo>
                  <a:lnTo>
                    <a:pt x="390" y="323"/>
                  </a:lnTo>
                  <a:lnTo>
                    <a:pt x="392" y="323"/>
                  </a:lnTo>
                  <a:lnTo>
                    <a:pt x="392" y="326"/>
                  </a:lnTo>
                  <a:lnTo>
                    <a:pt x="390" y="326"/>
                  </a:lnTo>
                  <a:lnTo>
                    <a:pt x="390" y="328"/>
                  </a:lnTo>
                  <a:lnTo>
                    <a:pt x="387" y="331"/>
                  </a:lnTo>
                  <a:lnTo>
                    <a:pt x="387" y="333"/>
                  </a:lnTo>
                  <a:lnTo>
                    <a:pt x="387" y="335"/>
                  </a:lnTo>
                  <a:lnTo>
                    <a:pt x="387" y="338"/>
                  </a:lnTo>
                  <a:lnTo>
                    <a:pt x="385" y="338"/>
                  </a:lnTo>
                  <a:lnTo>
                    <a:pt x="382" y="338"/>
                  </a:lnTo>
                  <a:lnTo>
                    <a:pt x="380" y="338"/>
                  </a:lnTo>
                  <a:lnTo>
                    <a:pt x="380" y="335"/>
                  </a:lnTo>
                  <a:lnTo>
                    <a:pt x="378" y="335"/>
                  </a:lnTo>
                  <a:lnTo>
                    <a:pt x="378" y="333"/>
                  </a:lnTo>
                  <a:lnTo>
                    <a:pt x="375" y="333"/>
                  </a:lnTo>
                  <a:lnTo>
                    <a:pt x="375" y="331"/>
                  </a:lnTo>
                  <a:lnTo>
                    <a:pt x="375" y="328"/>
                  </a:lnTo>
                  <a:lnTo>
                    <a:pt x="375" y="331"/>
                  </a:lnTo>
                  <a:lnTo>
                    <a:pt x="375" y="328"/>
                  </a:lnTo>
                  <a:lnTo>
                    <a:pt x="373" y="326"/>
                  </a:lnTo>
                  <a:lnTo>
                    <a:pt x="375" y="326"/>
                  </a:lnTo>
                  <a:lnTo>
                    <a:pt x="375" y="323"/>
                  </a:lnTo>
                  <a:lnTo>
                    <a:pt x="373" y="323"/>
                  </a:lnTo>
                  <a:lnTo>
                    <a:pt x="373" y="321"/>
                  </a:lnTo>
                  <a:lnTo>
                    <a:pt x="371" y="321"/>
                  </a:lnTo>
                  <a:lnTo>
                    <a:pt x="373" y="321"/>
                  </a:lnTo>
                  <a:lnTo>
                    <a:pt x="371" y="319"/>
                  </a:lnTo>
                  <a:lnTo>
                    <a:pt x="373" y="319"/>
                  </a:lnTo>
                  <a:lnTo>
                    <a:pt x="371" y="319"/>
                  </a:lnTo>
                  <a:lnTo>
                    <a:pt x="371" y="316"/>
                  </a:lnTo>
                  <a:lnTo>
                    <a:pt x="368" y="316"/>
                  </a:lnTo>
                  <a:lnTo>
                    <a:pt x="366" y="316"/>
                  </a:lnTo>
                  <a:lnTo>
                    <a:pt x="364" y="316"/>
                  </a:lnTo>
                  <a:lnTo>
                    <a:pt x="361" y="316"/>
                  </a:lnTo>
                  <a:lnTo>
                    <a:pt x="359" y="316"/>
                  </a:lnTo>
                  <a:lnTo>
                    <a:pt x="356" y="316"/>
                  </a:lnTo>
                  <a:lnTo>
                    <a:pt x="356" y="314"/>
                  </a:lnTo>
                  <a:lnTo>
                    <a:pt x="354" y="314"/>
                  </a:lnTo>
                  <a:lnTo>
                    <a:pt x="352" y="314"/>
                  </a:lnTo>
                  <a:lnTo>
                    <a:pt x="352" y="311"/>
                  </a:lnTo>
                  <a:lnTo>
                    <a:pt x="349" y="311"/>
                  </a:lnTo>
                  <a:lnTo>
                    <a:pt x="349" y="309"/>
                  </a:lnTo>
                  <a:lnTo>
                    <a:pt x="349" y="307"/>
                  </a:lnTo>
                  <a:lnTo>
                    <a:pt x="352" y="307"/>
                  </a:lnTo>
                  <a:lnTo>
                    <a:pt x="352" y="309"/>
                  </a:lnTo>
                  <a:lnTo>
                    <a:pt x="352" y="307"/>
                  </a:lnTo>
                  <a:lnTo>
                    <a:pt x="349" y="307"/>
                  </a:lnTo>
                  <a:lnTo>
                    <a:pt x="347" y="307"/>
                  </a:lnTo>
                  <a:lnTo>
                    <a:pt x="345" y="307"/>
                  </a:lnTo>
                  <a:lnTo>
                    <a:pt x="342" y="307"/>
                  </a:lnTo>
                  <a:lnTo>
                    <a:pt x="340" y="309"/>
                  </a:lnTo>
                  <a:lnTo>
                    <a:pt x="337" y="309"/>
                  </a:lnTo>
                  <a:lnTo>
                    <a:pt x="337" y="311"/>
                  </a:lnTo>
                  <a:lnTo>
                    <a:pt x="337" y="314"/>
                  </a:lnTo>
                  <a:lnTo>
                    <a:pt x="335" y="314"/>
                  </a:lnTo>
                  <a:lnTo>
                    <a:pt x="335" y="316"/>
                  </a:lnTo>
                  <a:lnTo>
                    <a:pt x="333" y="319"/>
                  </a:lnTo>
                  <a:lnTo>
                    <a:pt x="333" y="321"/>
                  </a:lnTo>
                  <a:lnTo>
                    <a:pt x="333" y="319"/>
                  </a:lnTo>
                  <a:lnTo>
                    <a:pt x="333" y="321"/>
                  </a:lnTo>
                  <a:lnTo>
                    <a:pt x="330" y="323"/>
                  </a:lnTo>
                  <a:lnTo>
                    <a:pt x="328" y="326"/>
                  </a:lnTo>
                  <a:lnTo>
                    <a:pt x="328" y="328"/>
                  </a:lnTo>
                  <a:lnTo>
                    <a:pt x="328" y="331"/>
                  </a:lnTo>
                  <a:lnTo>
                    <a:pt x="330" y="331"/>
                  </a:lnTo>
                  <a:lnTo>
                    <a:pt x="328" y="331"/>
                  </a:lnTo>
                  <a:lnTo>
                    <a:pt x="328" y="333"/>
                  </a:lnTo>
                  <a:lnTo>
                    <a:pt x="326" y="335"/>
                  </a:lnTo>
                  <a:lnTo>
                    <a:pt x="326" y="338"/>
                  </a:lnTo>
                  <a:lnTo>
                    <a:pt x="326" y="340"/>
                  </a:lnTo>
                  <a:lnTo>
                    <a:pt x="326" y="342"/>
                  </a:lnTo>
                  <a:lnTo>
                    <a:pt x="326" y="345"/>
                  </a:lnTo>
                  <a:lnTo>
                    <a:pt x="328" y="345"/>
                  </a:lnTo>
                  <a:lnTo>
                    <a:pt x="328" y="347"/>
                  </a:lnTo>
                  <a:lnTo>
                    <a:pt x="330" y="347"/>
                  </a:lnTo>
                  <a:lnTo>
                    <a:pt x="333" y="347"/>
                  </a:lnTo>
                  <a:lnTo>
                    <a:pt x="335" y="347"/>
                  </a:lnTo>
                  <a:lnTo>
                    <a:pt x="335" y="350"/>
                  </a:lnTo>
                  <a:lnTo>
                    <a:pt x="337" y="350"/>
                  </a:lnTo>
                  <a:lnTo>
                    <a:pt x="337" y="352"/>
                  </a:lnTo>
                  <a:lnTo>
                    <a:pt x="340" y="352"/>
                  </a:lnTo>
                  <a:lnTo>
                    <a:pt x="342" y="352"/>
                  </a:lnTo>
                  <a:lnTo>
                    <a:pt x="342" y="354"/>
                  </a:lnTo>
                  <a:lnTo>
                    <a:pt x="345" y="354"/>
                  </a:lnTo>
                  <a:lnTo>
                    <a:pt x="345" y="357"/>
                  </a:lnTo>
                  <a:lnTo>
                    <a:pt x="347" y="357"/>
                  </a:lnTo>
                  <a:lnTo>
                    <a:pt x="347" y="359"/>
                  </a:lnTo>
                  <a:lnTo>
                    <a:pt x="345" y="359"/>
                  </a:lnTo>
                  <a:lnTo>
                    <a:pt x="345" y="361"/>
                  </a:lnTo>
                  <a:lnTo>
                    <a:pt x="345" y="364"/>
                  </a:lnTo>
                  <a:lnTo>
                    <a:pt x="347" y="364"/>
                  </a:lnTo>
                  <a:lnTo>
                    <a:pt x="347" y="366"/>
                  </a:lnTo>
                  <a:lnTo>
                    <a:pt x="345" y="366"/>
                  </a:lnTo>
                  <a:lnTo>
                    <a:pt x="345" y="369"/>
                  </a:lnTo>
                  <a:lnTo>
                    <a:pt x="345" y="371"/>
                  </a:lnTo>
                  <a:lnTo>
                    <a:pt x="347" y="371"/>
                  </a:lnTo>
                  <a:lnTo>
                    <a:pt x="347" y="373"/>
                  </a:lnTo>
                  <a:lnTo>
                    <a:pt x="349" y="373"/>
                  </a:lnTo>
                  <a:lnTo>
                    <a:pt x="347" y="373"/>
                  </a:lnTo>
                  <a:lnTo>
                    <a:pt x="347" y="376"/>
                  </a:lnTo>
                  <a:lnTo>
                    <a:pt x="347" y="378"/>
                  </a:lnTo>
                  <a:lnTo>
                    <a:pt x="345" y="378"/>
                  </a:lnTo>
                  <a:lnTo>
                    <a:pt x="342" y="378"/>
                  </a:lnTo>
                  <a:lnTo>
                    <a:pt x="340" y="378"/>
                  </a:lnTo>
                  <a:lnTo>
                    <a:pt x="337" y="378"/>
                  </a:lnTo>
                  <a:lnTo>
                    <a:pt x="335" y="378"/>
                  </a:lnTo>
                  <a:lnTo>
                    <a:pt x="333" y="380"/>
                  </a:lnTo>
                  <a:lnTo>
                    <a:pt x="330" y="380"/>
                  </a:lnTo>
                  <a:lnTo>
                    <a:pt x="330" y="383"/>
                  </a:lnTo>
                  <a:lnTo>
                    <a:pt x="328" y="383"/>
                  </a:lnTo>
                  <a:lnTo>
                    <a:pt x="328" y="385"/>
                  </a:lnTo>
                  <a:lnTo>
                    <a:pt x="326" y="388"/>
                  </a:lnTo>
                  <a:lnTo>
                    <a:pt x="328" y="388"/>
                  </a:lnTo>
                  <a:lnTo>
                    <a:pt x="328" y="390"/>
                  </a:lnTo>
                  <a:lnTo>
                    <a:pt x="328" y="392"/>
                  </a:lnTo>
                  <a:lnTo>
                    <a:pt x="328" y="395"/>
                  </a:lnTo>
                  <a:lnTo>
                    <a:pt x="328" y="397"/>
                  </a:lnTo>
                  <a:lnTo>
                    <a:pt x="328" y="399"/>
                  </a:lnTo>
                  <a:lnTo>
                    <a:pt x="326" y="402"/>
                  </a:lnTo>
                  <a:lnTo>
                    <a:pt x="323" y="404"/>
                  </a:lnTo>
                  <a:lnTo>
                    <a:pt x="321" y="404"/>
                  </a:lnTo>
                  <a:lnTo>
                    <a:pt x="321" y="407"/>
                  </a:lnTo>
                  <a:lnTo>
                    <a:pt x="318" y="407"/>
                  </a:lnTo>
                  <a:lnTo>
                    <a:pt x="318" y="409"/>
                  </a:lnTo>
                  <a:lnTo>
                    <a:pt x="316" y="409"/>
                  </a:lnTo>
                  <a:lnTo>
                    <a:pt x="316" y="411"/>
                  </a:lnTo>
                  <a:lnTo>
                    <a:pt x="314" y="411"/>
                  </a:lnTo>
                  <a:lnTo>
                    <a:pt x="314" y="414"/>
                  </a:lnTo>
                  <a:lnTo>
                    <a:pt x="314" y="416"/>
                  </a:lnTo>
                  <a:lnTo>
                    <a:pt x="314" y="418"/>
                  </a:lnTo>
                  <a:lnTo>
                    <a:pt x="311" y="421"/>
                  </a:lnTo>
                  <a:lnTo>
                    <a:pt x="311" y="423"/>
                  </a:lnTo>
                  <a:lnTo>
                    <a:pt x="309" y="423"/>
                  </a:lnTo>
                  <a:lnTo>
                    <a:pt x="307" y="423"/>
                  </a:lnTo>
                  <a:lnTo>
                    <a:pt x="304" y="423"/>
                  </a:lnTo>
                  <a:lnTo>
                    <a:pt x="302" y="423"/>
                  </a:lnTo>
                  <a:lnTo>
                    <a:pt x="299" y="423"/>
                  </a:lnTo>
                  <a:lnTo>
                    <a:pt x="299" y="421"/>
                  </a:lnTo>
                  <a:lnTo>
                    <a:pt x="297" y="421"/>
                  </a:lnTo>
                  <a:lnTo>
                    <a:pt x="297" y="418"/>
                  </a:lnTo>
                  <a:lnTo>
                    <a:pt x="297" y="416"/>
                  </a:lnTo>
                  <a:lnTo>
                    <a:pt x="297" y="414"/>
                  </a:lnTo>
                  <a:lnTo>
                    <a:pt x="297" y="411"/>
                  </a:lnTo>
                  <a:lnTo>
                    <a:pt x="297" y="409"/>
                  </a:lnTo>
                  <a:lnTo>
                    <a:pt x="299" y="409"/>
                  </a:lnTo>
                  <a:lnTo>
                    <a:pt x="299" y="407"/>
                  </a:lnTo>
                  <a:lnTo>
                    <a:pt x="299" y="409"/>
                  </a:lnTo>
                  <a:lnTo>
                    <a:pt x="299" y="407"/>
                  </a:lnTo>
                  <a:lnTo>
                    <a:pt x="302" y="407"/>
                  </a:lnTo>
                  <a:lnTo>
                    <a:pt x="302" y="404"/>
                  </a:lnTo>
                  <a:lnTo>
                    <a:pt x="304" y="404"/>
                  </a:lnTo>
                  <a:lnTo>
                    <a:pt x="302" y="404"/>
                  </a:lnTo>
                  <a:lnTo>
                    <a:pt x="304" y="402"/>
                  </a:lnTo>
                  <a:lnTo>
                    <a:pt x="304" y="399"/>
                  </a:lnTo>
                  <a:lnTo>
                    <a:pt x="307" y="399"/>
                  </a:lnTo>
                  <a:lnTo>
                    <a:pt x="304" y="399"/>
                  </a:lnTo>
                  <a:lnTo>
                    <a:pt x="307" y="399"/>
                  </a:lnTo>
                  <a:lnTo>
                    <a:pt x="307" y="397"/>
                  </a:lnTo>
                  <a:lnTo>
                    <a:pt x="307" y="399"/>
                  </a:lnTo>
                  <a:lnTo>
                    <a:pt x="304" y="399"/>
                  </a:lnTo>
                  <a:lnTo>
                    <a:pt x="307" y="397"/>
                  </a:lnTo>
                  <a:lnTo>
                    <a:pt x="307" y="395"/>
                  </a:lnTo>
                  <a:lnTo>
                    <a:pt x="304" y="395"/>
                  </a:lnTo>
                  <a:lnTo>
                    <a:pt x="304" y="392"/>
                  </a:lnTo>
                  <a:lnTo>
                    <a:pt x="302" y="392"/>
                  </a:lnTo>
                  <a:lnTo>
                    <a:pt x="302" y="390"/>
                  </a:lnTo>
                  <a:lnTo>
                    <a:pt x="304" y="390"/>
                  </a:lnTo>
                  <a:lnTo>
                    <a:pt x="304" y="388"/>
                  </a:lnTo>
                  <a:lnTo>
                    <a:pt x="307" y="388"/>
                  </a:lnTo>
                  <a:lnTo>
                    <a:pt x="309" y="388"/>
                  </a:lnTo>
                  <a:lnTo>
                    <a:pt x="311" y="388"/>
                  </a:lnTo>
                  <a:lnTo>
                    <a:pt x="314" y="388"/>
                  </a:lnTo>
                  <a:lnTo>
                    <a:pt x="314" y="385"/>
                  </a:lnTo>
                  <a:lnTo>
                    <a:pt x="316" y="385"/>
                  </a:lnTo>
                  <a:lnTo>
                    <a:pt x="316" y="383"/>
                  </a:lnTo>
                  <a:lnTo>
                    <a:pt x="316" y="380"/>
                  </a:lnTo>
                  <a:lnTo>
                    <a:pt x="316" y="378"/>
                  </a:lnTo>
                  <a:lnTo>
                    <a:pt x="314" y="378"/>
                  </a:lnTo>
                  <a:lnTo>
                    <a:pt x="314" y="376"/>
                  </a:lnTo>
                  <a:lnTo>
                    <a:pt x="314" y="373"/>
                  </a:lnTo>
                  <a:lnTo>
                    <a:pt x="311" y="373"/>
                  </a:lnTo>
                  <a:lnTo>
                    <a:pt x="311" y="371"/>
                  </a:lnTo>
                  <a:lnTo>
                    <a:pt x="311" y="369"/>
                  </a:lnTo>
                  <a:lnTo>
                    <a:pt x="311" y="366"/>
                  </a:lnTo>
                  <a:lnTo>
                    <a:pt x="311" y="364"/>
                  </a:lnTo>
                  <a:lnTo>
                    <a:pt x="311" y="361"/>
                  </a:lnTo>
                  <a:lnTo>
                    <a:pt x="309" y="361"/>
                  </a:lnTo>
                  <a:lnTo>
                    <a:pt x="309" y="359"/>
                  </a:lnTo>
                  <a:lnTo>
                    <a:pt x="309" y="357"/>
                  </a:lnTo>
                  <a:lnTo>
                    <a:pt x="309" y="354"/>
                  </a:lnTo>
                  <a:lnTo>
                    <a:pt x="307" y="354"/>
                  </a:lnTo>
                  <a:lnTo>
                    <a:pt x="307" y="352"/>
                  </a:lnTo>
                  <a:lnTo>
                    <a:pt x="307" y="350"/>
                  </a:lnTo>
                  <a:lnTo>
                    <a:pt x="304" y="350"/>
                  </a:lnTo>
                  <a:lnTo>
                    <a:pt x="304" y="347"/>
                  </a:lnTo>
                  <a:lnTo>
                    <a:pt x="304" y="345"/>
                  </a:lnTo>
                  <a:lnTo>
                    <a:pt x="302" y="345"/>
                  </a:lnTo>
                  <a:lnTo>
                    <a:pt x="302" y="342"/>
                  </a:lnTo>
                  <a:lnTo>
                    <a:pt x="302" y="340"/>
                  </a:lnTo>
                  <a:lnTo>
                    <a:pt x="302" y="338"/>
                  </a:lnTo>
                  <a:lnTo>
                    <a:pt x="302" y="335"/>
                  </a:lnTo>
                  <a:lnTo>
                    <a:pt x="302" y="333"/>
                  </a:lnTo>
                  <a:lnTo>
                    <a:pt x="299" y="333"/>
                  </a:lnTo>
                  <a:lnTo>
                    <a:pt x="299" y="331"/>
                  </a:lnTo>
                  <a:lnTo>
                    <a:pt x="299" y="328"/>
                  </a:lnTo>
                  <a:lnTo>
                    <a:pt x="297" y="328"/>
                  </a:lnTo>
                  <a:lnTo>
                    <a:pt x="297" y="326"/>
                  </a:lnTo>
                  <a:lnTo>
                    <a:pt x="295" y="326"/>
                  </a:lnTo>
                  <a:lnTo>
                    <a:pt x="292" y="326"/>
                  </a:lnTo>
                  <a:lnTo>
                    <a:pt x="292" y="328"/>
                  </a:lnTo>
                  <a:lnTo>
                    <a:pt x="290" y="328"/>
                  </a:lnTo>
                  <a:lnTo>
                    <a:pt x="290" y="331"/>
                  </a:lnTo>
                  <a:lnTo>
                    <a:pt x="288" y="331"/>
                  </a:lnTo>
                  <a:lnTo>
                    <a:pt x="288" y="328"/>
                  </a:lnTo>
                  <a:lnTo>
                    <a:pt x="288" y="331"/>
                  </a:lnTo>
                  <a:lnTo>
                    <a:pt x="288" y="328"/>
                  </a:lnTo>
                  <a:lnTo>
                    <a:pt x="285" y="328"/>
                  </a:lnTo>
                  <a:lnTo>
                    <a:pt x="285" y="326"/>
                  </a:lnTo>
                  <a:lnTo>
                    <a:pt x="283" y="326"/>
                  </a:lnTo>
                  <a:lnTo>
                    <a:pt x="283" y="323"/>
                  </a:lnTo>
                  <a:lnTo>
                    <a:pt x="280" y="323"/>
                  </a:lnTo>
                  <a:lnTo>
                    <a:pt x="280" y="321"/>
                  </a:lnTo>
                  <a:lnTo>
                    <a:pt x="278" y="321"/>
                  </a:lnTo>
                  <a:lnTo>
                    <a:pt x="276" y="321"/>
                  </a:lnTo>
                  <a:lnTo>
                    <a:pt x="276" y="319"/>
                  </a:lnTo>
                  <a:lnTo>
                    <a:pt x="273" y="319"/>
                  </a:lnTo>
                  <a:lnTo>
                    <a:pt x="273" y="316"/>
                  </a:lnTo>
                  <a:lnTo>
                    <a:pt x="273" y="314"/>
                  </a:lnTo>
                  <a:lnTo>
                    <a:pt x="276" y="314"/>
                  </a:lnTo>
                  <a:lnTo>
                    <a:pt x="276" y="311"/>
                  </a:lnTo>
                  <a:lnTo>
                    <a:pt x="276" y="309"/>
                  </a:lnTo>
                  <a:lnTo>
                    <a:pt x="273" y="307"/>
                  </a:lnTo>
                  <a:lnTo>
                    <a:pt x="273" y="304"/>
                  </a:lnTo>
                  <a:lnTo>
                    <a:pt x="271" y="304"/>
                  </a:lnTo>
                  <a:lnTo>
                    <a:pt x="271" y="302"/>
                  </a:lnTo>
                  <a:lnTo>
                    <a:pt x="269" y="300"/>
                  </a:lnTo>
                  <a:lnTo>
                    <a:pt x="266" y="300"/>
                  </a:lnTo>
                  <a:lnTo>
                    <a:pt x="269" y="300"/>
                  </a:lnTo>
                  <a:lnTo>
                    <a:pt x="266" y="300"/>
                  </a:lnTo>
                  <a:lnTo>
                    <a:pt x="264" y="300"/>
                  </a:lnTo>
                  <a:lnTo>
                    <a:pt x="261" y="300"/>
                  </a:lnTo>
                  <a:lnTo>
                    <a:pt x="261" y="302"/>
                  </a:lnTo>
                  <a:lnTo>
                    <a:pt x="259" y="302"/>
                  </a:lnTo>
                  <a:lnTo>
                    <a:pt x="257" y="302"/>
                  </a:lnTo>
                  <a:lnTo>
                    <a:pt x="254" y="302"/>
                  </a:lnTo>
                  <a:lnTo>
                    <a:pt x="254" y="304"/>
                  </a:lnTo>
                  <a:lnTo>
                    <a:pt x="254" y="302"/>
                  </a:lnTo>
                  <a:lnTo>
                    <a:pt x="254" y="304"/>
                  </a:lnTo>
                  <a:lnTo>
                    <a:pt x="252" y="302"/>
                  </a:lnTo>
                  <a:lnTo>
                    <a:pt x="254" y="302"/>
                  </a:lnTo>
                  <a:lnTo>
                    <a:pt x="252" y="302"/>
                  </a:lnTo>
                  <a:lnTo>
                    <a:pt x="254" y="302"/>
                  </a:lnTo>
                  <a:lnTo>
                    <a:pt x="254" y="300"/>
                  </a:lnTo>
                  <a:lnTo>
                    <a:pt x="257" y="300"/>
                  </a:lnTo>
                  <a:lnTo>
                    <a:pt x="257" y="297"/>
                  </a:lnTo>
                  <a:lnTo>
                    <a:pt x="259" y="297"/>
                  </a:lnTo>
                  <a:lnTo>
                    <a:pt x="257" y="295"/>
                  </a:lnTo>
                  <a:lnTo>
                    <a:pt x="254" y="295"/>
                  </a:lnTo>
                  <a:lnTo>
                    <a:pt x="254" y="292"/>
                  </a:lnTo>
                  <a:lnTo>
                    <a:pt x="252" y="292"/>
                  </a:lnTo>
                  <a:lnTo>
                    <a:pt x="252" y="290"/>
                  </a:lnTo>
                  <a:lnTo>
                    <a:pt x="252" y="292"/>
                  </a:lnTo>
                  <a:lnTo>
                    <a:pt x="252" y="290"/>
                  </a:lnTo>
                  <a:lnTo>
                    <a:pt x="252" y="292"/>
                  </a:lnTo>
                  <a:lnTo>
                    <a:pt x="250" y="292"/>
                  </a:lnTo>
                  <a:lnTo>
                    <a:pt x="247" y="292"/>
                  </a:lnTo>
                  <a:lnTo>
                    <a:pt x="245" y="292"/>
                  </a:lnTo>
                  <a:lnTo>
                    <a:pt x="245" y="295"/>
                  </a:lnTo>
                  <a:lnTo>
                    <a:pt x="245" y="292"/>
                  </a:lnTo>
                  <a:lnTo>
                    <a:pt x="245" y="290"/>
                  </a:lnTo>
                  <a:lnTo>
                    <a:pt x="243" y="288"/>
                  </a:lnTo>
                  <a:lnTo>
                    <a:pt x="243" y="285"/>
                  </a:lnTo>
                  <a:lnTo>
                    <a:pt x="240" y="283"/>
                  </a:lnTo>
                  <a:lnTo>
                    <a:pt x="240" y="281"/>
                  </a:lnTo>
                  <a:lnTo>
                    <a:pt x="238" y="278"/>
                  </a:lnTo>
                  <a:lnTo>
                    <a:pt x="238" y="276"/>
                  </a:lnTo>
                  <a:lnTo>
                    <a:pt x="235" y="276"/>
                  </a:lnTo>
                  <a:lnTo>
                    <a:pt x="235" y="273"/>
                  </a:lnTo>
                  <a:lnTo>
                    <a:pt x="233" y="273"/>
                  </a:lnTo>
                  <a:lnTo>
                    <a:pt x="231" y="273"/>
                  </a:lnTo>
                  <a:lnTo>
                    <a:pt x="231" y="271"/>
                  </a:lnTo>
                  <a:lnTo>
                    <a:pt x="231" y="273"/>
                  </a:lnTo>
                  <a:lnTo>
                    <a:pt x="231" y="271"/>
                  </a:lnTo>
                  <a:lnTo>
                    <a:pt x="231" y="273"/>
                  </a:lnTo>
                  <a:lnTo>
                    <a:pt x="228" y="273"/>
                  </a:lnTo>
                  <a:lnTo>
                    <a:pt x="228" y="276"/>
                  </a:lnTo>
                  <a:lnTo>
                    <a:pt x="228" y="273"/>
                  </a:lnTo>
                  <a:lnTo>
                    <a:pt x="226" y="273"/>
                  </a:lnTo>
                  <a:lnTo>
                    <a:pt x="224" y="273"/>
                  </a:lnTo>
                  <a:lnTo>
                    <a:pt x="224" y="271"/>
                  </a:lnTo>
                  <a:lnTo>
                    <a:pt x="221" y="271"/>
                  </a:lnTo>
                  <a:lnTo>
                    <a:pt x="219" y="271"/>
                  </a:lnTo>
                  <a:lnTo>
                    <a:pt x="216" y="271"/>
                  </a:lnTo>
                  <a:lnTo>
                    <a:pt x="214" y="271"/>
                  </a:lnTo>
                  <a:lnTo>
                    <a:pt x="214" y="273"/>
                  </a:lnTo>
                  <a:lnTo>
                    <a:pt x="212" y="273"/>
                  </a:lnTo>
                  <a:lnTo>
                    <a:pt x="212" y="271"/>
                  </a:lnTo>
                  <a:lnTo>
                    <a:pt x="209" y="271"/>
                  </a:lnTo>
                  <a:lnTo>
                    <a:pt x="209" y="269"/>
                  </a:lnTo>
                  <a:lnTo>
                    <a:pt x="207" y="266"/>
                  </a:lnTo>
                  <a:lnTo>
                    <a:pt x="205" y="266"/>
                  </a:lnTo>
                  <a:lnTo>
                    <a:pt x="205" y="264"/>
                  </a:lnTo>
                  <a:lnTo>
                    <a:pt x="202" y="266"/>
                  </a:lnTo>
                  <a:lnTo>
                    <a:pt x="202" y="264"/>
                  </a:lnTo>
                  <a:lnTo>
                    <a:pt x="202" y="266"/>
                  </a:lnTo>
                  <a:lnTo>
                    <a:pt x="202" y="264"/>
                  </a:lnTo>
                  <a:lnTo>
                    <a:pt x="200" y="264"/>
                  </a:lnTo>
                  <a:lnTo>
                    <a:pt x="197" y="264"/>
                  </a:lnTo>
                  <a:lnTo>
                    <a:pt x="197" y="262"/>
                  </a:lnTo>
                  <a:lnTo>
                    <a:pt x="195" y="262"/>
                  </a:lnTo>
                  <a:lnTo>
                    <a:pt x="195" y="259"/>
                  </a:lnTo>
                  <a:lnTo>
                    <a:pt x="193" y="257"/>
                  </a:lnTo>
                  <a:lnTo>
                    <a:pt x="190" y="254"/>
                  </a:lnTo>
                  <a:lnTo>
                    <a:pt x="190" y="252"/>
                  </a:lnTo>
                  <a:lnTo>
                    <a:pt x="188" y="252"/>
                  </a:lnTo>
                  <a:lnTo>
                    <a:pt x="186" y="252"/>
                  </a:lnTo>
                  <a:lnTo>
                    <a:pt x="186" y="250"/>
                  </a:lnTo>
                  <a:lnTo>
                    <a:pt x="183" y="250"/>
                  </a:lnTo>
                  <a:lnTo>
                    <a:pt x="186" y="250"/>
                  </a:lnTo>
                  <a:lnTo>
                    <a:pt x="183" y="250"/>
                  </a:lnTo>
                  <a:lnTo>
                    <a:pt x="183" y="247"/>
                  </a:lnTo>
                  <a:lnTo>
                    <a:pt x="183" y="245"/>
                  </a:lnTo>
                  <a:lnTo>
                    <a:pt x="181" y="243"/>
                  </a:lnTo>
                  <a:lnTo>
                    <a:pt x="181" y="240"/>
                  </a:lnTo>
                  <a:lnTo>
                    <a:pt x="178" y="240"/>
                  </a:lnTo>
                  <a:lnTo>
                    <a:pt x="176" y="238"/>
                  </a:lnTo>
                  <a:lnTo>
                    <a:pt x="174" y="238"/>
                  </a:lnTo>
                  <a:lnTo>
                    <a:pt x="174" y="235"/>
                  </a:lnTo>
                  <a:lnTo>
                    <a:pt x="171" y="238"/>
                  </a:lnTo>
                  <a:lnTo>
                    <a:pt x="171" y="235"/>
                  </a:lnTo>
                  <a:lnTo>
                    <a:pt x="169" y="235"/>
                  </a:lnTo>
                  <a:lnTo>
                    <a:pt x="169" y="233"/>
                  </a:lnTo>
                  <a:lnTo>
                    <a:pt x="169" y="231"/>
                  </a:lnTo>
                  <a:lnTo>
                    <a:pt x="167" y="231"/>
                  </a:lnTo>
                  <a:lnTo>
                    <a:pt x="167" y="228"/>
                  </a:lnTo>
                  <a:lnTo>
                    <a:pt x="167" y="226"/>
                  </a:lnTo>
                  <a:lnTo>
                    <a:pt x="164" y="226"/>
                  </a:lnTo>
                  <a:lnTo>
                    <a:pt x="164" y="224"/>
                  </a:lnTo>
                  <a:lnTo>
                    <a:pt x="162" y="224"/>
                  </a:lnTo>
                  <a:lnTo>
                    <a:pt x="159" y="221"/>
                  </a:lnTo>
                  <a:lnTo>
                    <a:pt x="157" y="221"/>
                  </a:lnTo>
                  <a:lnTo>
                    <a:pt x="155" y="219"/>
                  </a:lnTo>
                  <a:lnTo>
                    <a:pt x="152" y="219"/>
                  </a:lnTo>
                  <a:lnTo>
                    <a:pt x="150" y="219"/>
                  </a:lnTo>
                  <a:lnTo>
                    <a:pt x="150" y="221"/>
                  </a:lnTo>
                  <a:lnTo>
                    <a:pt x="148" y="221"/>
                  </a:lnTo>
                  <a:lnTo>
                    <a:pt x="148" y="219"/>
                  </a:lnTo>
                  <a:lnTo>
                    <a:pt x="150" y="219"/>
                  </a:lnTo>
                  <a:lnTo>
                    <a:pt x="150" y="216"/>
                  </a:lnTo>
                  <a:lnTo>
                    <a:pt x="150" y="214"/>
                  </a:lnTo>
                  <a:lnTo>
                    <a:pt x="150" y="212"/>
                  </a:lnTo>
                  <a:lnTo>
                    <a:pt x="148" y="212"/>
                  </a:lnTo>
                  <a:lnTo>
                    <a:pt x="148" y="214"/>
                  </a:lnTo>
                  <a:lnTo>
                    <a:pt x="148" y="212"/>
                  </a:lnTo>
                  <a:lnTo>
                    <a:pt x="148" y="209"/>
                  </a:lnTo>
                  <a:lnTo>
                    <a:pt x="145" y="209"/>
                  </a:lnTo>
                  <a:lnTo>
                    <a:pt x="148" y="209"/>
                  </a:lnTo>
                  <a:lnTo>
                    <a:pt x="145" y="209"/>
                  </a:lnTo>
                  <a:lnTo>
                    <a:pt x="145" y="207"/>
                  </a:lnTo>
                  <a:lnTo>
                    <a:pt x="143" y="207"/>
                  </a:lnTo>
                  <a:lnTo>
                    <a:pt x="143" y="205"/>
                  </a:lnTo>
                  <a:lnTo>
                    <a:pt x="140" y="205"/>
                  </a:lnTo>
                  <a:lnTo>
                    <a:pt x="140" y="202"/>
                  </a:lnTo>
                  <a:lnTo>
                    <a:pt x="138" y="202"/>
                  </a:lnTo>
                  <a:lnTo>
                    <a:pt x="136" y="202"/>
                  </a:lnTo>
                  <a:lnTo>
                    <a:pt x="136" y="200"/>
                  </a:lnTo>
                  <a:lnTo>
                    <a:pt x="136" y="197"/>
                  </a:lnTo>
                  <a:lnTo>
                    <a:pt x="136" y="195"/>
                  </a:lnTo>
                  <a:lnTo>
                    <a:pt x="133" y="195"/>
                  </a:lnTo>
                  <a:lnTo>
                    <a:pt x="131" y="195"/>
                  </a:lnTo>
                  <a:lnTo>
                    <a:pt x="129" y="195"/>
                  </a:lnTo>
                  <a:lnTo>
                    <a:pt x="126" y="195"/>
                  </a:lnTo>
                  <a:lnTo>
                    <a:pt x="126" y="193"/>
                  </a:lnTo>
                  <a:lnTo>
                    <a:pt x="129" y="193"/>
                  </a:lnTo>
                  <a:lnTo>
                    <a:pt x="129" y="190"/>
                  </a:lnTo>
                  <a:lnTo>
                    <a:pt x="129" y="188"/>
                  </a:lnTo>
                  <a:lnTo>
                    <a:pt x="129" y="186"/>
                  </a:lnTo>
                  <a:lnTo>
                    <a:pt x="129" y="183"/>
                  </a:lnTo>
                  <a:lnTo>
                    <a:pt x="129" y="181"/>
                  </a:lnTo>
                  <a:lnTo>
                    <a:pt x="126" y="178"/>
                  </a:lnTo>
                  <a:lnTo>
                    <a:pt x="126" y="176"/>
                  </a:lnTo>
                  <a:lnTo>
                    <a:pt x="124" y="176"/>
                  </a:lnTo>
                  <a:lnTo>
                    <a:pt x="124" y="174"/>
                  </a:lnTo>
                  <a:lnTo>
                    <a:pt x="124" y="171"/>
                  </a:lnTo>
                  <a:lnTo>
                    <a:pt x="121" y="171"/>
                  </a:lnTo>
                  <a:lnTo>
                    <a:pt x="121" y="169"/>
                  </a:lnTo>
                  <a:lnTo>
                    <a:pt x="121" y="167"/>
                  </a:lnTo>
                  <a:lnTo>
                    <a:pt x="121" y="169"/>
                  </a:lnTo>
                  <a:lnTo>
                    <a:pt x="121" y="167"/>
                  </a:lnTo>
                  <a:lnTo>
                    <a:pt x="121" y="169"/>
                  </a:lnTo>
                  <a:lnTo>
                    <a:pt x="119" y="169"/>
                  </a:lnTo>
                  <a:lnTo>
                    <a:pt x="119" y="167"/>
                  </a:lnTo>
                  <a:lnTo>
                    <a:pt x="121" y="167"/>
                  </a:lnTo>
                  <a:lnTo>
                    <a:pt x="121" y="164"/>
                  </a:lnTo>
                  <a:lnTo>
                    <a:pt x="121" y="167"/>
                  </a:lnTo>
                  <a:lnTo>
                    <a:pt x="121" y="164"/>
                  </a:lnTo>
                  <a:lnTo>
                    <a:pt x="119" y="164"/>
                  </a:lnTo>
                  <a:lnTo>
                    <a:pt x="119" y="162"/>
                  </a:lnTo>
                  <a:lnTo>
                    <a:pt x="119" y="159"/>
                  </a:lnTo>
                  <a:lnTo>
                    <a:pt x="119" y="157"/>
                  </a:lnTo>
                  <a:lnTo>
                    <a:pt x="119" y="155"/>
                  </a:lnTo>
                  <a:lnTo>
                    <a:pt x="119" y="152"/>
                  </a:lnTo>
                  <a:lnTo>
                    <a:pt x="117" y="150"/>
                  </a:lnTo>
                  <a:lnTo>
                    <a:pt x="117" y="148"/>
                  </a:lnTo>
                  <a:lnTo>
                    <a:pt x="114" y="148"/>
                  </a:lnTo>
                  <a:lnTo>
                    <a:pt x="114" y="145"/>
                  </a:lnTo>
                  <a:lnTo>
                    <a:pt x="112" y="145"/>
                  </a:lnTo>
                  <a:lnTo>
                    <a:pt x="112" y="143"/>
                  </a:lnTo>
                  <a:lnTo>
                    <a:pt x="110" y="143"/>
                  </a:lnTo>
                  <a:lnTo>
                    <a:pt x="110" y="145"/>
                  </a:lnTo>
                  <a:lnTo>
                    <a:pt x="110" y="143"/>
                  </a:lnTo>
                  <a:lnTo>
                    <a:pt x="107" y="143"/>
                  </a:lnTo>
                  <a:lnTo>
                    <a:pt x="105" y="143"/>
                  </a:lnTo>
                  <a:lnTo>
                    <a:pt x="105" y="140"/>
                  </a:lnTo>
                  <a:lnTo>
                    <a:pt x="105" y="143"/>
                  </a:lnTo>
                  <a:lnTo>
                    <a:pt x="105" y="140"/>
                  </a:lnTo>
                  <a:lnTo>
                    <a:pt x="105" y="143"/>
                  </a:lnTo>
                  <a:lnTo>
                    <a:pt x="105" y="145"/>
                  </a:lnTo>
                  <a:lnTo>
                    <a:pt x="105" y="143"/>
                  </a:lnTo>
                  <a:lnTo>
                    <a:pt x="103" y="143"/>
                  </a:lnTo>
                  <a:lnTo>
                    <a:pt x="103" y="140"/>
                  </a:lnTo>
                  <a:lnTo>
                    <a:pt x="100" y="140"/>
                  </a:lnTo>
                  <a:lnTo>
                    <a:pt x="98" y="140"/>
                  </a:lnTo>
                  <a:lnTo>
                    <a:pt x="98" y="138"/>
                  </a:lnTo>
                  <a:lnTo>
                    <a:pt x="95" y="138"/>
                  </a:lnTo>
                  <a:lnTo>
                    <a:pt x="95" y="136"/>
                  </a:lnTo>
                  <a:lnTo>
                    <a:pt x="93" y="136"/>
                  </a:lnTo>
                  <a:lnTo>
                    <a:pt x="93" y="133"/>
                  </a:lnTo>
                  <a:lnTo>
                    <a:pt x="91" y="133"/>
                  </a:lnTo>
                  <a:lnTo>
                    <a:pt x="91" y="136"/>
                  </a:lnTo>
                  <a:lnTo>
                    <a:pt x="91" y="133"/>
                  </a:lnTo>
                  <a:lnTo>
                    <a:pt x="88" y="131"/>
                  </a:lnTo>
                  <a:lnTo>
                    <a:pt x="86" y="131"/>
                  </a:lnTo>
                  <a:lnTo>
                    <a:pt x="84" y="131"/>
                  </a:lnTo>
                  <a:lnTo>
                    <a:pt x="86" y="131"/>
                  </a:lnTo>
                  <a:lnTo>
                    <a:pt x="84" y="131"/>
                  </a:lnTo>
                  <a:lnTo>
                    <a:pt x="84" y="133"/>
                  </a:lnTo>
                  <a:lnTo>
                    <a:pt x="86" y="133"/>
                  </a:lnTo>
                  <a:lnTo>
                    <a:pt x="84" y="133"/>
                  </a:lnTo>
                  <a:lnTo>
                    <a:pt x="84" y="131"/>
                  </a:lnTo>
                  <a:lnTo>
                    <a:pt x="84" y="129"/>
                  </a:lnTo>
                  <a:lnTo>
                    <a:pt x="81" y="129"/>
                  </a:lnTo>
                  <a:lnTo>
                    <a:pt x="79" y="129"/>
                  </a:lnTo>
                  <a:lnTo>
                    <a:pt x="76" y="129"/>
                  </a:lnTo>
                  <a:lnTo>
                    <a:pt x="74" y="129"/>
                  </a:lnTo>
                  <a:lnTo>
                    <a:pt x="76" y="129"/>
                  </a:lnTo>
                  <a:lnTo>
                    <a:pt x="74" y="129"/>
                  </a:lnTo>
                  <a:lnTo>
                    <a:pt x="76" y="129"/>
                  </a:lnTo>
                  <a:lnTo>
                    <a:pt x="74" y="129"/>
                  </a:lnTo>
                  <a:lnTo>
                    <a:pt x="74" y="126"/>
                  </a:lnTo>
                  <a:lnTo>
                    <a:pt x="74" y="129"/>
                  </a:lnTo>
                  <a:lnTo>
                    <a:pt x="74" y="126"/>
                  </a:lnTo>
                  <a:lnTo>
                    <a:pt x="74" y="129"/>
                  </a:lnTo>
                  <a:lnTo>
                    <a:pt x="74" y="126"/>
                  </a:lnTo>
                  <a:lnTo>
                    <a:pt x="74" y="129"/>
                  </a:lnTo>
                  <a:lnTo>
                    <a:pt x="74" y="126"/>
                  </a:lnTo>
                  <a:lnTo>
                    <a:pt x="74" y="129"/>
                  </a:lnTo>
                  <a:lnTo>
                    <a:pt x="74" y="126"/>
                  </a:lnTo>
                  <a:lnTo>
                    <a:pt x="72" y="126"/>
                  </a:lnTo>
                  <a:lnTo>
                    <a:pt x="69" y="126"/>
                  </a:lnTo>
                  <a:lnTo>
                    <a:pt x="72" y="126"/>
                  </a:lnTo>
                  <a:lnTo>
                    <a:pt x="69" y="126"/>
                  </a:lnTo>
                  <a:lnTo>
                    <a:pt x="67" y="126"/>
                  </a:lnTo>
                  <a:lnTo>
                    <a:pt x="67" y="129"/>
                  </a:lnTo>
                  <a:lnTo>
                    <a:pt x="65" y="129"/>
                  </a:lnTo>
                  <a:lnTo>
                    <a:pt x="65" y="131"/>
                  </a:lnTo>
                  <a:lnTo>
                    <a:pt x="62" y="131"/>
                  </a:lnTo>
                  <a:lnTo>
                    <a:pt x="65" y="131"/>
                  </a:lnTo>
                  <a:lnTo>
                    <a:pt x="62" y="131"/>
                  </a:lnTo>
                  <a:lnTo>
                    <a:pt x="60" y="131"/>
                  </a:lnTo>
                  <a:lnTo>
                    <a:pt x="62" y="131"/>
                  </a:lnTo>
                  <a:lnTo>
                    <a:pt x="60" y="133"/>
                  </a:lnTo>
                  <a:lnTo>
                    <a:pt x="60" y="136"/>
                  </a:lnTo>
                  <a:lnTo>
                    <a:pt x="57" y="136"/>
                  </a:lnTo>
                  <a:lnTo>
                    <a:pt x="57" y="138"/>
                  </a:lnTo>
                  <a:lnTo>
                    <a:pt x="60" y="138"/>
                  </a:lnTo>
                  <a:lnTo>
                    <a:pt x="57" y="138"/>
                  </a:lnTo>
                  <a:lnTo>
                    <a:pt x="55" y="138"/>
                  </a:lnTo>
                  <a:lnTo>
                    <a:pt x="53" y="140"/>
                  </a:lnTo>
                  <a:lnTo>
                    <a:pt x="53" y="143"/>
                  </a:lnTo>
                  <a:lnTo>
                    <a:pt x="53" y="145"/>
                  </a:lnTo>
                  <a:lnTo>
                    <a:pt x="50" y="145"/>
                  </a:lnTo>
                  <a:lnTo>
                    <a:pt x="50" y="148"/>
                  </a:lnTo>
                  <a:lnTo>
                    <a:pt x="50" y="150"/>
                  </a:lnTo>
                  <a:lnTo>
                    <a:pt x="48" y="150"/>
                  </a:lnTo>
                  <a:lnTo>
                    <a:pt x="48" y="152"/>
                  </a:lnTo>
                  <a:lnTo>
                    <a:pt x="46" y="152"/>
                  </a:lnTo>
                  <a:lnTo>
                    <a:pt x="43" y="152"/>
                  </a:lnTo>
                  <a:lnTo>
                    <a:pt x="41" y="155"/>
                  </a:lnTo>
                  <a:lnTo>
                    <a:pt x="38" y="155"/>
                  </a:lnTo>
                  <a:lnTo>
                    <a:pt x="36" y="155"/>
                  </a:lnTo>
                  <a:lnTo>
                    <a:pt x="34" y="155"/>
                  </a:lnTo>
                  <a:lnTo>
                    <a:pt x="34" y="157"/>
                  </a:lnTo>
                  <a:lnTo>
                    <a:pt x="31" y="157"/>
                  </a:lnTo>
                  <a:lnTo>
                    <a:pt x="31" y="155"/>
                  </a:lnTo>
                  <a:lnTo>
                    <a:pt x="31" y="157"/>
                  </a:lnTo>
                  <a:lnTo>
                    <a:pt x="29" y="157"/>
                  </a:lnTo>
                  <a:lnTo>
                    <a:pt x="29" y="155"/>
                  </a:lnTo>
                  <a:lnTo>
                    <a:pt x="29" y="152"/>
                  </a:lnTo>
                  <a:lnTo>
                    <a:pt x="31" y="150"/>
                  </a:lnTo>
                  <a:lnTo>
                    <a:pt x="29" y="150"/>
                  </a:lnTo>
                  <a:lnTo>
                    <a:pt x="31" y="150"/>
                  </a:lnTo>
                  <a:lnTo>
                    <a:pt x="31" y="148"/>
                  </a:lnTo>
                  <a:lnTo>
                    <a:pt x="34" y="148"/>
                  </a:lnTo>
                  <a:lnTo>
                    <a:pt x="34" y="145"/>
                  </a:lnTo>
                  <a:lnTo>
                    <a:pt x="36" y="143"/>
                  </a:lnTo>
                  <a:lnTo>
                    <a:pt x="34" y="143"/>
                  </a:lnTo>
                  <a:lnTo>
                    <a:pt x="34" y="140"/>
                  </a:lnTo>
                  <a:lnTo>
                    <a:pt x="34" y="138"/>
                  </a:lnTo>
                  <a:lnTo>
                    <a:pt x="31" y="138"/>
                  </a:lnTo>
                  <a:lnTo>
                    <a:pt x="31" y="140"/>
                  </a:lnTo>
                  <a:lnTo>
                    <a:pt x="31" y="138"/>
                  </a:lnTo>
                  <a:lnTo>
                    <a:pt x="29" y="140"/>
                  </a:lnTo>
                  <a:lnTo>
                    <a:pt x="27" y="140"/>
                  </a:lnTo>
                  <a:lnTo>
                    <a:pt x="24" y="140"/>
                  </a:lnTo>
                  <a:lnTo>
                    <a:pt x="22" y="140"/>
                  </a:lnTo>
                  <a:lnTo>
                    <a:pt x="19" y="140"/>
                  </a:lnTo>
                  <a:lnTo>
                    <a:pt x="19" y="138"/>
                  </a:lnTo>
                  <a:lnTo>
                    <a:pt x="17" y="138"/>
                  </a:lnTo>
                  <a:lnTo>
                    <a:pt x="17" y="136"/>
                  </a:lnTo>
                  <a:lnTo>
                    <a:pt x="17" y="138"/>
                  </a:lnTo>
                  <a:lnTo>
                    <a:pt x="15" y="136"/>
                  </a:lnTo>
                  <a:lnTo>
                    <a:pt x="12" y="136"/>
                  </a:lnTo>
                  <a:lnTo>
                    <a:pt x="12" y="133"/>
                  </a:lnTo>
                  <a:lnTo>
                    <a:pt x="10" y="133"/>
                  </a:lnTo>
                  <a:lnTo>
                    <a:pt x="10" y="131"/>
                  </a:lnTo>
                  <a:lnTo>
                    <a:pt x="8" y="129"/>
                  </a:lnTo>
                  <a:lnTo>
                    <a:pt x="8" y="126"/>
                  </a:lnTo>
                  <a:lnTo>
                    <a:pt x="10" y="126"/>
                  </a:lnTo>
                  <a:lnTo>
                    <a:pt x="8" y="124"/>
                  </a:lnTo>
                  <a:lnTo>
                    <a:pt x="8" y="121"/>
                  </a:lnTo>
                  <a:lnTo>
                    <a:pt x="10" y="119"/>
                  </a:lnTo>
                  <a:lnTo>
                    <a:pt x="8" y="119"/>
                  </a:lnTo>
                  <a:lnTo>
                    <a:pt x="10" y="119"/>
                  </a:lnTo>
                  <a:lnTo>
                    <a:pt x="10" y="117"/>
                  </a:lnTo>
                  <a:lnTo>
                    <a:pt x="10" y="114"/>
                  </a:lnTo>
                  <a:lnTo>
                    <a:pt x="12" y="114"/>
                  </a:lnTo>
                  <a:lnTo>
                    <a:pt x="15" y="114"/>
                  </a:lnTo>
                  <a:lnTo>
                    <a:pt x="15" y="112"/>
                  </a:lnTo>
                  <a:lnTo>
                    <a:pt x="12" y="112"/>
                  </a:lnTo>
                  <a:lnTo>
                    <a:pt x="12" y="110"/>
                  </a:lnTo>
                  <a:lnTo>
                    <a:pt x="12" y="107"/>
                  </a:lnTo>
                  <a:lnTo>
                    <a:pt x="10" y="107"/>
                  </a:lnTo>
                  <a:lnTo>
                    <a:pt x="8" y="107"/>
                  </a:lnTo>
                  <a:lnTo>
                    <a:pt x="5" y="107"/>
                  </a:lnTo>
                  <a:lnTo>
                    <a:pt x="5" y="105"/>
                  </a:lnTo>
                  <a:lnTo>
                    <a:pt x="3" y="105"/>
                  </a:lnTo>
                  <a:lnTo>
                    <a:pt x="3" y="102"/>
                  </a:lnTo>
                  <a:lnTo>
                    <a:pt x="3" y="100"/>
                  </a:lnTo>
                  <a:lnTo>
                    <a:pt x="3" y="98"/>
                  </a:lnTo>
                  <a:lnTo>
                    <a:pt x="0" y="98"/>
                  </a:lnTo>
                  <a:lnTo>
                    <a:pt x="0" y="95"/>
                  </a:lnTo>
                  <a:lnTo>
                    <a:pt x="0" y="93"/>
                  </a:lnTo>
                  <a:lnTo>
                    <a:pt x="3" y="93"/>
                  </a:lnTo>
                  <a:lnTo>
                    <a:pt x="5" y="93"/>
                  </a:lnTo>
                  <a:lnTo>
                    <a:pt x="8" y="93"/>
                  </a:lnTo>
                  <a:lnTo>
                    <a:pt x="10" y="91"/>
                  </a:lnTo>
                  <a:lnTo>
                    <a:pt x="12" y="91"/>
                  </a:lnTo>
                  <a:lnTo>
                    <a:pt x="12" y="88"/>
                  </a:lnTo>
                  <a:lnTo>
                    <a:pt x="15" y="91"/>
                  </a:lnTo>
                  <a:lnTo>
                    <a:pt x="15" y="88"/>
                  </a:lnTo>
                  <a:lnTo>
                    <a:pt x="17" y="88"/>
                  </a:lnTo>
                  <a:lnTo>
                    <a:pt x="17" y="86"/>
                  </a:lnTo>
                  <a:lnTo>
                    <a:pt x="15" y="86"/>
                  </a:lnTo>
                  <a:lnTo>
                    <a:pt x="15" y="83"/>
                  </a:lnTo>
                  <a:lnTo>
                    <a:pt x="17" y="83"/>
                  </a:lnTo>
                  <a:lnTo>
                    <a:pt x="17" y="81"/>
                  </a:lnTo>
                  <a:lnTo>
                    <a:pt x="17" y="79"/>
                  </a:lnTo>
                  <a:lnTo>
                    <a:pt x="15" y="79"/>
                  </a:lnTo>
                  <a:lnTo>
                    <a:pt x="12" y="79"/>
                  </a:lnTo>
                  <a:lnTo>
                    <a:pt x="12" y="76"/>
                  </a:lnTo>
                  <a:lnTo>
                    <a:pt x="15" y="76"/>
                  </a:lnTo>
                  <a:lnTo>
                    <a:pt x="12" y="76"/>
                  </a:lnTo>
                  <a:lnTo>
                    <a:pt x="12" y="74"/>
                  </a:lnTo>
                  <a:lnTo>
                    <a:pt x="10" y="72"/>
                  </a:lnTo>
                  <a:lnTo>
                    <a:pt x="12" y="72"/>
                  </a:lnTo>
                  <a:lnTo>
                    <a:pt x="12" y="69"/>
                  </a:lnTo>
                  <a:lnTo>
                    <a:pt x="10" y="69"/>
                  </a:lnTo>
                  <a:lnTo>
                    <a:pt x="8" y="69"/>
                  </a:lnTo>
                  <a:lnTo>
                    <a:pt x="8" y="67"/>
                  </a:lnTo>
                  <a:lnTo>
                    <a:pt x="5" y="67"/>
                  </a:lnTo>
                  <a:lnTo>
                    <a:pt x="5" y="64"/>
                  </a:lnTo>
                  <a:lnTo>
                    <a:pt x="5" y="62"/>
                  </a:lnTo>
                  <a:lnTo>
                    <a:pt x="5" y="60"/>
                  </a:lnTo>
                  <a:lnTo>
                    <a:pt x="8" y="60"/>
                  </a:lnTo>
                  <a:lnTo>
                    <a:pt x="10" y="60"/>
                  </a:lnTo>
                  <a:lnTo>
                    <a:pt x="12" y="60"/>
                  </a:lnTo>
                  <a:lnTo>
                    <a:pt x="12" y="57"/>
                  </a:lnTo>
                  <a:lnTo>
                    <a:pt x="15" y="57"/>
                  </a:lnTo>
                  <a:lnTo>
                    <a:pt x="15" y="60"/>
                  </a:lnTo>
                  <a:lnTo>
                    <a:pt x="17" y="60"/>
                  </a:lnTo>
                  <a:lnTo>
                    <a:pt x="19" y="60"/>
                  </a:lnTo>
                  <a:lnTo>
                    <a:pt x="17" y="60"/>
                  </a:lnTo>
                  <a:lnTo>
                    <a:pt x="19" y="60"/>
                  </a:lnTo>
                  <a:lnTo>
                    <a:pt x="19" y="57"/>
                  </a:lnTo>
                  <a:lnTo>
                    <a:pt x="22" y="57"/>
                  </a:lnTo>
                  <a:lnTo>
                    <a:pt x="24" y="57"/>
                  </a:lnTo>
                  <a:lnTo>
                    <a:pt x="27" y="57"/>
                  </a:lnTo>
                  <a:lnTo>
                    <a:pt x="27" y="55"/>
                  </a:lnTo>
                  <a:lnTo>
                    <a:pt x="29" y="55"/>
                  </a:lnTo>
                  <a:lnTo>
                    <a:pt x="29" y="53"/>
                  </a:lnTo>
                  <a:lnTo>
                    <a:pt x="31" y="53"/>
                  </a:lnTo>
                  <a:lnTo>
                    <a:pt x="31" y="55"/>
                  </a:lnTo>
                  <a:lnTo>
                    <a:pt x="34" y="55"/>
                  </a:lnTo>
                  <a:lnTo>
                    <a:pt x="36" y="55"/>
                  </a:lnTo>
                  <a:lnTo>
                    <a:pt x="36" y="57"/>
                  </a:lnTo>
                  <a:lnTo>
                    <a:pt x="36" y="55"/>
                  </a:lnTo>
                  <a:lnTo>
                    <a:pt x="38" y="57"/>
                  </a:lnTo>
                  <a:lnTo>
                    <a:pt x="41" y="57"/>
                  </a:lnTo>
                  <a:lnTo>
                    <a:pt x="41" y="55"/>
                  </a:lnTo>
                  <a:lnTo>
                    <a:pt x="41" y="53"/>
                  </a:lnTo>
                  <a:lnTo>
                    <a:pt x="43" y="53"/>
                  </a:lnTo>
                  <a:lnTo>
                    <a:pt x="46" y="53"/>
                  </a:lnTo>
                  <a:lnTo>
                    <a:pt x="46" y="50"/>
                  </a:lnTo>
                  <a:lnTo>
                    <a:pt x="46" y="48"/>
                  </a:lnTo>
                  <a:lnTo>
                    <a:pt x="48" y="48"/>
                  </a:lnTo>
                  <a:lnTo>
                    <a:pt x="48" y="45"/>
                  </a:lnTo>
                  <a:lnTo>
                    <a:pt x="50" y="45"/>
                  </a:lnTo>
                  <a:lnTo>
                    <a:pt x="50" y="43"/>
                  </a:lnTo>
                  <a:lnTo>
                    <a:pt x="48" y="43"/>
                  </a:lnTo>
                  <a:lnTo>
                    <a:pt x="48" y="41"/>
                  </a:lnTo>
                  <a:lnTo>
                    <a:pt x="48" y="38"/>
                  </a:lnTo>
                  <a:lnTo>
                    <a:pt x="50" y="38"/>
                  </a:lnTo>
                  <a:lnTo>
                    <a:pt x="53" y="38"/>
                  </a:lnTo>
                  <a:lnTo>
                    <a:pt x="53" y="36"/>
                  </a:lnTo>
                  <a:lnTo>
                    <a:pt x="55" y="36"/>
                  </a:lnTo>
                  <a:lnTo>
                    <a:pt x="55" y="34"/>
                  </a:lnTo>
                  <a:lnTo>
                    <a:pt x="57" y="31"/>
                  </a:lnTo>
                  <a:lnTo>
                    <a:pt x="60" y="31"/>
                  </a:lnTo>
                  <a:lnTo>
                    <a:pt x="60" y="34"/>
                  </a:lnTo>
                  <a:lnTo>
                    <a:pt x="60" y="36"/>
                  </a:lnTo>
                  <a:lnTo>
                    <a:pt x="60" y="38"/>
                  </a:lnTo>
                  <a:lnTo>
                    <a:pt x="60" y="41"/>
                  </a:lnTo>
                  <a:lnTo>
                    <a:pt x="60" y="43"/>
                  </a:lnTo>
                  <a:lnTo>
                    <a:pt x="62" y="43"/>
                  </a:lnTo>
                  <a:lnTo>
                    <a:pt x="65" y="45"/>
                  </a:lnTo>
                  <a:lnTo>
                    <a:pt x="65" y="48"/>
                  </a:lnTo>
                  <a:lnTo>
                    <a:pt x="67" y="48"/>
                  </a:lnTo>
                  <a:lnTo>
                    <a:pt x="69" y="48"/>
                  </a:lnTo>
                  <a:lnTo>
                    <a:pt x="72" y="48"/>
                  </a:lnTo>
                  <a:lnTo>
                    <a:pt x="72" y="50"/>
                  </a:lnTo>
                  <a:lnTo>
                    <a:pt x="74" y="50"/>
                  </a:lnTo>
                  <a:lnTo>
                    <a:pt x="72" y="50"/>
                  </a:lnTo>
                  <a:lnTo>
                    <a:pt x="72" y="53"/>
                  </a:lnTo>
                  <a:lnTo>
                    <a:pt x="72" y="55"/>
                  </a:lnTo>
                  <a:lnTo>
                    <a:pt x="74" y="55"/>
                  </a:lnTo>
                  <a:lnTo>
                    <a:pt x="74" y="57"/>
                  </a:lnTo>
                  <a:lnTo>
                    <a:pt x="76" y="57"/>
                  </a:lnTo>
                  <a:lnTo>
                    <a:pt x="76" y="60"/>
                  </a:lnTo>
                  <a:lnTo>
                    <a:pt x="74" y="60"/>
                  </a:lnTo>
                  <a:lnTo>
                    <a:pt x="76" y="60"/>
                  </a:lnTo>
                  <a:lnTo>
                    <a:pt x="76" y="62"/>
                  </a:lnTo>
                  <a:lnTo>
                    <a:pt x="79" y="62"/>
                  </a:lnTo>
                  <a:lnTo>
                    <a:pt x="79" y="60"/>
                  </a:lnTo>
                  <a:lnTo>
                    <a:pt x="81" y="57"/>
                  </a:lnTo>
                  <a:lnTo>
                    <a:pt x="79" y="57"/>
                  </a:lnTo>
                  <a:lnTo>
                    <a:pt x="79" y="55"/>
                  </a:lnTo>
                  <a:lnTo>
                    <a:pt x="76" y="55"/>
                  </a:lnTo>
                  <a:lnTo>
                    <a:pt x="79" y="53"/>
                  </a:lnTo>
                  <a:lnTo>
                    <a:pt x="79" y="50"/>
                  </a:lnTo>
                  <a:lnTo>
                    <a:pt x="81" y="50"/>
                  </a:lnTo>
                  <a:lnTo>
                    <a:pt x="81" y="48"/>
                  </a:lnTo>
                  <a:lnTo>
                    <a:pt x="81" y="45"/>
                  </a:lnTo>
                  <a:lnTo>
                    <a:pt x="84" y="45"/>
                  </a:lnTo>
                  <a:lnTo>
                    <a:pt x="84" y="43"/>
                  </a:lnTo>
                  <a:lnTo>
                    <a:pt x="86" y="43"/>
                  </a:lnTo>
                  <a:lnTo>
                    <a:pt x="86" y="41"/>
                  </a:lnTo>
                  <a:lnTo>
                    <a:pt x="86" y="38"/>
                  </a:lnTo>
                  <a:lnTo>
                    <a:pt x="88" y="38"/>
                  </a:lnTo>
                  <a:lnTo>
                    <a:pt x="88" y="36"/>
                  </a:lnTo>
                  <a:lnTo>
                    <a:pt x="86" y="36"/>
                  </a:lnTo>
                  <a:lnTo>
                    <a:pt x="86" y="34"/>
                  </a:lnTo>
                  <a:lnTo>
                    <a:pt x="86" y="31"/>
                  </a:lnTo>
                  <a:lnTo>
                    <a:pt x="86" y="29"/>
                  </a:lnTo>
                  <a:lnTo>
                    <a:pt x="88" y="29"/>
                  </a:lnTo>
                  <a:lnTo>
                    <a:pt x="91" y="29"/>
                  </a:lnTo>
                  <a:lnTo>
                    <a:pt x="91" y="31"/>
                  </a:lnTo>
                  <a:lnTo>
                    <a:pt x="91" y="29"/>
                  </a:lnTo>
                  <a:lnTo>
                    <a:pt x="93" y="29"/>
                  </a:lnTo>
                  <a:lnTo>
                    <a:pt x="93" y="31"/>
                  </a:lnTo>
                  <a:lnTo>
                    <a:pt x="93" y="34"/>
                  </a:lnTo>
                  <a:lnTo>
                    <a:pt x="93" y="36"/>
                  </a:lnTo>
                  <a:lnTo>
                    <a:pt x="95" y="36"/>
                  </a:lnTo>
                  <a:lnTo>
                    <a:pt x="95" y="38"/>
                  </a:lnTo>
                  <a:lnTo>
                    <a:pt x="98" y="38"/>
                  </a:lnTo>
                  <a:lnTo>
                    <a:pt x="100" y="38"/>
                  </a:lnTo>
                  <a:lnTo>
                    <a:pt x="103" y="38"/>
                  </a:lnTo>
                  <a:lnTo>
                    <a:pt x="100" y="38"/>
                  </a:lnTo>
                  <a:lnTo>
                    <a:pt x="103" y="38"/>
                  </a:lnTo>
                  <a:lnTo>
                    <a:pt x="103" y="36"/>
                  </a:lnTo>
                  <a:lnTo>
                    <a:pt x="105" y="36"/>
                  </a:lnTo>
                  <a:lnTo>
                    <a:pt x="107" y="36"/>
                  </a:lnTo>
                  <a:lnTo>
                    <a:pt x="110" y="36"/>
                  </a:lnTo>
                  <a:lnTo>
                    <a:pt x="110" y="38"/>
                  </a:lnTo>
                  <a:lnTo>
                    <a:pt x="110" y="41"/>
                  </a:lnTo>
                  <a:lnTo>
                    <a:pt x="112" y="41"/>
                  </a:lnTo>
                  <a:lnTo>
                    <a:pt x="112" y="43"/>
                  </a:lnTo>
                  <a:lnTo>
                    <a:pt x="114" y="43"/>
                  </a:lnTo>
                  <a:lnTo>
                    <a:pt x="117" y="41"/>
                  </a:lnTo>
                  <a:lnTo>
                    <a:pt x="117" y="38"/>
                  </a:lnTo>
                  <a:lnTo>
                    <a:pt x="114" y="38"/>
                  </a:lnTo>
                  <a:lnTo>
                    <a:pt x="114" y="36"/>
                  </a:lnTo>
                  <a:lnTo>
                    <a:pt x="114" y="34"/>
                  </a:lnTo>
                  <a:lnTo>
                    <a:pt x="117" y="34"/>
                  </a:lnTo>
                  <a:lnTo>
                    <a:pt x="114" y="34"/>
                  </a:lnTo>
                  <a:lnTo>
                    <a:pt x="112" y="31"/>
                  </a:lnTo>
                  <a:lnTo>
                    <a:pt x="112" y="29"/>
                  </a:lnTo>
                  <a:lnTo>
                    <a:pt x="112" y="26"/>
                  </a:lnTo>
                  <a:lnTo>
                    <a:pt x="114" y="26"/>
                  </a:lnTo>
                  <a:lnTo>
                    <a:pt x="114" y="24"/>
                  </a:lnTo>
                  <a:lnTo>
                    <a:pt x="117" y="24"/>
                  </a:lnTo>
                  <a:lnTo>
                    <a:pt x="119" y="24"/>
                  </a:lnTo>
                  <a:lnTo>
                    <a:pt x="119" y="22"/>
                  </a:lnTo>
                  <a:lnTo>
                    <a:pt x="119" y="24"/>
                  </a:lnTo>
                  <a:lnTo>
                    <a:pt x="119" y="26"/>
                  </a:lnTo>
                  <a:lnTo>
                    <a:pt x="121" y="26"/>
                  </a:lnTo>
                  <a:lnTo>
                    <a:pt x="124" y="26"/>
                  </a:lnTo>
                  <a:lnTo>
                    <a:pt x="126" y="26"/>
                  </a:lnTo>
                  <a:lnTo>
                    <a:pt x="126" y="24"/>
                  </a:lnTo>
                  <a:lnTo>
                    <a:pt x="126" y="22"/>
                  </a:lnTo>
                  <a:lnTo>
                    <a:pt x="124" y="22"/>
                  </a:lnTo>
                  <a:lnTo>
                    <a:pt x="124" y="19"/>
                  </a:lnTo>
                  <a:lnTo>
                    <a:pt x="124" y="17"/>
                  </a:lnTo>
                  <a:lnTo>
                    <a:pt x="126" y="17"/>
                  </a:lnTo>
                  <a:lnTo>
                    <a:pt x="124" y="17"/>
                  </a:lnTo>
                  <a:lnTo>
                    <a:pt x="124" y="15"/>
                  </a:lnTo>
                  <a:lnTo>
                    <a:pt x="126" y="15"/>
                  </a:lnTo>
                  <a:lnTo>
                    <a:pt x="126" y="12"/>
                  </a:lnTo>
                  <a:lnTo>
                    <a:pt x="129" y="12"/>
                  </a:lnTo>
                  <a:lnTo>
                    <a:pt x="131" y="12"/>
                  </a:lnTo>
                  <a:lnTo>
                    <a:pt x="133" y="12"/>
                  </a:lnTo>
                  <a:lnTo>
                    <a:pt x="136" y="15"/>
                  </a:lnTo>
                  <a:lnTo>
                    <a:pt x="136" y="17"/>
                  </a:lnTo>
                  <a:lnTo>
                    <a:pt x="136" y="15"/>
                  </a:lnTo>
                  <a:lnTo>
                    <a:pt x="138" y="17"/>
                  </a:lnTo>
                  <a:lnTo>
                    <a:pt x="140" y="17"/>
                  </a:lnTo>
                  <a:lnTo>
                    <a:pt x="143" y="17"/>
                  </a:lnTo>
                  <a:lnTo>
                    <a:pt x="145" y="17"/>
                  </a:lnTo>
                  <a:lnTo>
                    <a:pt x="145" y="15"/>
                  </a:lnTo>
                  <a:lnTo>
                    <a:pt x="145" y="12"/>
                  </a:lnTo>
                  <a:lnTo>
                    <a:pt x="148" y="12"/>
                  </a:lnTo>
                  <a:lnTo>
                    <a:pt x="148" y="10"/>
                  </a:lnTo>
                  <a:lnTo>
                    <a:pt x="150" y="7"/>
                  </a:lnTo>
                  <a:lnTo>
                    <a:pt x="152" y="7"/>
                  </a:lnTo>
                  <a:lnTo>
                    <a:pt x="155" y="7"/>
                  </a:lnTo>
                  <a:lnTo>
                    <a:pt x="155" y="5"/>
                  </a:lnTo>
                  <a:lnTo>
                    <a:pt x="157" y="7"/>
                  </a:lnTo>
                  <a:lnTo>
                    <a:pt x="159" y="7"/>
                  </a:lnTo>
                  <a:lnTo>
                    <a:pt x="159" y="5"/>
                  </a:lnTo>
                  <a:lnTo>
                    <a:pt x="162" y="5"/>
                  </a:lnTo>
                  <a:lnTo>
                    <a:pt x="162" y="7"/>
                  </a:lnTo>
                  <a:lnTo>
                    <a:pt x="162" y="5"/>
                  </a:lnTo>
                  <a:lnTo>
                    <a:pt x="164" y="5"/>
                  </a:lnTo>
                  <a:lnTo>
                    <a:pt x="167" y="5"/>
                  </a:lnTo>
                  <a:lnTo>
                    <a:pt x="167" y="7"/>
                  </a:lnTo>
                  <a:lnTo>
                    <a:pt x="169" y="7"/>
                  </a:lnTo>
                  <a:lnTo>
                    <a:pt x="169" y="5"/>
                  </a:lnTo>
                  <a:lnTo>
                    <a:pt x="171" y="5"/>
                  </a:lnTo>
                  <a:lnTo>
                    <a:pt x="174" y="5"/>
                  </a:lnTo>
                  <a:lnTo>
                    <a:pt x="176" y="3"/>
                  </a:lnTo>
                  <a:lnTo>
                    <a:pt x="178" y="3"/>
                  </a:lnTo>
                  <a:lnTo>
                    <a:pt x="181" y="3"/>
                  </a:lnTo>
                  <a:lnTo>
                    <a:pt x="183" y="0"/>
                  </a:lnTo>
                  <a:lnTo>
                    <a:pt x="183" y="3"/>
                  </a:lnTo>
                  <a:lnTo>
                    <a:pt x="186" y="3"/>
                  </a:lnTo>
                  <a:lnTo>
                    <a:pt x="183" y="3"/>
                  </a:lnTo>
                  <a:lnTo>
                    <a:pt x="183" y="5"/>
                  </a:lnTo>
                  <a:lnTo>
                    <a:pt x="181" y="5"/>
                  </a:lnTo>
                  <a:lnTo>
                    <a:pt x="181" y="7"/>
                  </a:lnTo>
                  <a:lnTo>
                    <a:pt x="183" y="7"/>
                  </a:lnTo>
                  <a:lnTo>
                    <a:pt x="183" y="10"/>
                  </a:lnTo>
                  <a:lnTo>
                    <a:pt x="181" y="10"/>
                  </a:lnTo>
                  <a:lnTo>
                    <a:pt x="183" y="10"/>
                  </a:lnTo>
                  <a:lnTo>
                    <a:pt x="183" y="12"/>
                  </a:lnTo>
                  <a:lnTo>
                    <a:pt x="186" y="12"/>
                  </a:lnTo>
                  <a:lnTo>
                    <a:pt x="186" y="10"/>
                  </a:lnTo>
                  <a:lnTo>
                    <a:pt x="186" y="12"/>
                  </a:lnTo>
                  <a:lnTo>
                    <a:pt x="186" y="15"/>
                  </a:lnTo>
                  <a:lnTo>
                    <a:pt x="186" y="17"/>
                  </a:lnTo>
                  <a:lnTo>
                    <a:pt x="188" y="17"/>
                  </a:lnTo>
                  <a:lnTo>
                    <a:pt x="190" y="19"/>
                  </a:lnTo>
                  <a:lnTo>
                    <a:pt x="193" y="19"/>
                  </a:lnTo>
                  <a:lnTo>
                    <a:pt x="193" y="22"/>
                  </a:lnTo>
                  <a:lnTo>
                    <a:pt x="195" y="22"/>
                  </a:lnTo>
                  <a:lnTo>
                    <a:pt x="197" y="22"/>
                  </a:lnTo>
                  <a:lnTo>
                    <a:pt x="200" y="22"/>
                  </a:lnTo>
                  <a:lnTo>
                    <a:pt x="202" y="22"/>
                  </a:lnTo>
                  <a:lnTo>
                    <a:pt x="202" y="24"/>
                  </a:lnTo>
                  <a:lnTo>
                    <a:pt x="205" y="24"/>
                  </a:lnTo>
                  <a:lnTo>
                    <a:pt x="207" y="24"/>
                  </a:lnTo>
                  <a:lnTo>
                    <a:pt x="209" y="24"/>
                  </a:lnTo>
                  <a:lnTo>
                    <a:pt x="212" y="24"/>
                  </a:lnTo>
                  <a:lnTo>
                    <a:pt x="214" y="24"/>
                  </a:lnTo>
                  <a:lnTo>
                    <a:pt x="216" y="26"/>
                  </a:lnTo>
                  <a:lnTo>
                    <a:pt x="219" y="26"/>
                  </a:lnTo>
                  <a:lnTo>
                    <a:pt x="221" y="26"/>
                  </a:lnTo>
                  <a:lnTo>
                    <a:pt x="224" y="26"/>
                  </a:lnTo>
                  <a:lnTo>
                    <a:pt x="226" y="26"/>
                  </a:lnTo>
                  <a:lnTo>
                    <a:pt x="228" y="26"/>
                  </a:lnTo>
                  <a:lnTo>
                    <a:pt x="231" y="26"/>
                  </a:lnTo>
                  <a:lnTo>
                    <a:pt x="231" y="29"/>
                  </a:lnTo>
                  <a:lnTo>
                    <a:pt x="233" y="29"/>
                  </a:lnTo>
                  <a:lnTo>
                    <a:pt x="233" y="31"/>
                  </a:lnTo>
                  <a:lnTo>
                    <a:pt x="231" y="31"/>
                  </a:lnTo>
                  <a:lnTo>
                    <a:pt x="228" y="31"/>
                  </a:lnTo>
                  <a:lnTo>
                    <a:pt x="228" y="34"/>
                  </a:lnTo>
                  <a:lnTo>
                    <a:pt x="226" y="36"/>
                  </a:lnTo>
                  <a:lnTo>
                    <a:pt x="224" y="36"/>
                  </a:lnTo>
                  <a:lnTo>
                    <a:pt x="224" y="38"/>
                  </a:lnTo>
                  <a:lnTo>
                    <a:pt x="221" y="38"/>
                  </a:lnTo>
                  <a:lnTo>
                    <a:pt x="224" y="38"/>
                  </a:lnTo>
                  <a:lnTo>
                    <a:pt x="224" y="41"/>
                  </a:lnTo>
                  <a:lnTo>
                    <a:pt x="224" y="43"/>
                  </a:lnTo>
                  <a:lnTo>
                    <a:pt x="226" y="43"/>
                  </a:lnTo>
                  <a:lnTo>
                    <a:pt x="224" y="43"/>
                  </a:lnTo>
                  <a:lnTo>
                    <a:pt x="226" y="43"/>
                  </a:lnTo>
                  <a:lnTo>
                    <a:pt x="228" y="43"/>
                  </a:lnTo>
                  <a:lnTo>
                    <a:pt x="231" y="43"/>
                  </a:lnTo>
                  <a:lnTo>
                    <a:pt x="231" y="45"/>
                  </a:lnTo>
                  <a:lnTo>
                    <a:pt x="231" y="48"/>
                  </a:lnTo>
                  <a:lnTo>
                    <a:pt x="228" y="48"/>
                  </a:lnTo>
                  <a:lnTo>
                    <a:pt x="228" y="50"/>
                  </a:lnTo>
                  <a:lnTo>
                    <a:pt x="226" y="50"/>
                  </a:lnTo>
                  <a:lnTo>
                    <a:pt x="226" y="53"/>
                  </a:lnTo>
                  <a:lnTo>
                    <a:pt x="226" y="55"/>
                  </a:lnTo>
                  <a:lnTo>
                    <a:pt x="228" y="55"/>
                  </a:lnTo>
                  <a:lnTo>
                    <a:pt x="228" y="53"/>
                  </a:lnTo>
                  <a:lnTo>
                    <a:pt x="231" y="53"/>
                  </a:lnTo>
                  <a:lnTo>
                    <a:pt x="231" y="55"/>
                  </a:lnTo>
                  <a:lnTo>
                    <a:pt x="231" y="57"/>
                  </a:lnTo>
                  <a:lnTo>
                    <a:pt x="228" y="57"/>
                  </a:lnTo>
                  <a:lnTo>
                    <a:pt x="228" y="60"/>
                  </a:lnTo>
                  <a:lnTo>
                    <a:pt x="228" y="62"/>
                  </a:lnTo>
                  <a:lnTo>
                    <a:pt x="231" y="62"/>
                  </a:lnTo>
                  <a:lnTo>
                    <a:pt x="233" y="62"/>
                  </a:lnTo>
                  <a:lnTo>
                    <a:pt x="233" y="64"/>
                  </a:lnTo>
                  <a:lnTo>
                    <a:pt x="235" y="64"/>
                  </a:lnTo>
                  <a:lnTo>
                    <a:pt x="235" y="67"/>
                  </a:lnTo>
                  <a:lnTo>
                    <a:pt x="238" y="67"/>
                  </a:lnTo>
                  <a:lnTo>
                    <a:pt x="238" y="69"/>
                  </a:lnTo>
                  <a:lnTo>
                    <a:pt x="240" y="69"/>
                  </a:lnTo>
                  <a:lnTo>
                    <a:pt x="240" y="72"/>
                  </a:lnTo>
                  <a:lnTo>
                    <a:pt x="238" y="72"/>
                  </a:lnTo>
                  <a:lnTo>
                    <a:pt x="235" y="72"/>
                  </a:lnTo>
                  <a:lnTo>
                    <a:pt x="233" y="72"/>
                  </a:lnTo>
                  <a:lnTo>
                    <a:pt x="235" y="72"/>
                  </a:lnTo>
                  <a:lnTo>
                    <a:pt x="235" y="69"/>
                  </a:lnTo>
                  <a:lnTo>
                    <a:pt x="233" y="69"/>
                  </a:lnTo>
                  <a:lnTo>
                    <a:pt x="235" y="69"/>
                  </a:lnTo>
                  <a:lnTo>
                    <a:pt x="235" y="67"/>
                  </a:lnTo>
                  <a:lnTo>
                    <a:pt x="233" y="67"/>
                  </a:lnTo>
                  <a:lnTo>
                    <a:pt x="233" y="64"/>
                  </a:lnTo>
                  <a:lnTo>
                    <a:pt x="231" y="64"/>
                  </a:lnTo>
                  <a:lnTo>
                    <a:pt x="228" y="64"/>
                  </a:lnTo>
                  <a:lnTo>
                    <a:pt x="228" y="62"/>
                  </a:lnTo>
                  <a:lnTo>
                    <a:pt x="228" y="64"/>
                  </a:lnTo>
                  <a:lnTo>
                    <a:pt x="228" y="62"/>
                  </a:lnTo>
                  <a:lnTo>
                    <a:pt x="228" y="64"/>
                  </a:lnTo>
                  <a:lnTo>
                    <a:pt x="226" y="64"/>
                  </a:lnTo>
                  <a:lnTo>
                    <a:pt x="228" y="64"/>
                  </a:lnTo>
                  <a:lnTo>
                    <a:pt x="228" y="67"/>
                  </a:lnTo>
                  <a:lnTo>
                    <a:pt x="226" y="64"/>
                  </a:lnTo>
                  <a:lnTo>
                    <a:pt x="228" y="64"/>
                  </a:lnTo>
                  <a:lnTo>
                    <a:pt x="228" y="67"/>
                  </a:lnTo>
                  <a:lnTo>
                    <a:pt x="226" y="67"/>
                  </a:lnTo>
                  <a:lnTo>
                    <a:pt x="224" y="67"/>
                  </a:lnTo>
                  <a:close/>
                  <a:moveTo>
                    <a:pt x="224" y="67"/>
                  </a:moveTo>
                  <a:lnTo>
                    <a:pt x="221" y="67"/>
                  </a:lnTo>
                  <a:lnTo>
                    <a:pt x="224" y="67"/>
                  </a:lnTo>
                  <a:close/>
                  <a:moveTo>
                    <a:pt x="190" y="148"/>
                  </a:moveTo>
                  <a:lnTo>
                    <a:pt x="190" y="150"/>
                  </a:lnTo>
                  <a:lnTo>
                    <a:pt x="193" y="150"/>
                  </a:lnTo>
                  <a:lnTo>
                    <a:pt x="193" y="148"/>
                  </a:lnTo>
                  <a:lnTo>
                    <a:pt x="190" y="148"/>
                  </a:lnTo>
                  <a:close/>
                  <a:moveTo>
                    <a:pt x="190" y="243"/>
                  </a:moveTo>
                  <a:lnTo>
                    <a:pt x="193" y="243"/>
                  </a:lnTo>
                  <a:lnTo>
                    <a:pt x="190" y="24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3" name="Freeform 52480"/>
            <p:cNvSpPr>
              <a:spLocks noEditPoints="1"/>
            </p:cNvSpPr>
            <p:nvPr/>
          </p:nvSpPr>
          <p:spPr bwMode="auto">
            <a:xfrm>
              <a:off x="2459035" y="5021281"/>
              <a:ext cx="508000" cy="739777"/>
            </a:xfrm>
            <a:custGeom>
              <a:avLst/>
              <a:gdLst>
                <a:gd name="T0" fmla="*/ 142 w 320"/>
                <a:gd name="T1" fmla="*/ 464 h 466"/>
                <a:gd name="T2" fmla="*/ 125 w 320"/>
                <a:gd name="T3" fmla="*/ 409 h 466"/>
                <a:gd name="T4" fmla="*/ 123 w 320"/>
                <a:gd name="T5" fmla="*/ 407 h 466"/>
                <a:gd name="T6" fmla="*/ 135 w 320"/>
                <a:gd name="T7" fmla="*/ 357 h 466"/>
                <a:gd name="T8" fmla="*/ 135 w 320"/>
                <a:gd name="T9" fmla="*/ 357 h 466"/>
                <a:gd name="T10" fmla="*/ 220 w 320"/>
                <a:gd name="T11" fmla="*/ 335 h 466"/>
                <a:gd name="T12" fmla="*/ 220 w 320"/>
                <a:gd name="T13" fmla="*/ 333 h 466"/>
                <a:gd name="T14" fmla="*/ 216 w 320"/>
                <a:gd name="T15" fmla="*/ 328 h 466"/>
                <a:gd name="T16" fmla="*/ 208 w 320"/>
                <a:gd name="T17" fmla="*/ 328 h 466"/>
                <a:gd name="T18" fmla="*/ 161 w 320"/>
                <a:gd name="T19" fmla="*/ 324 h 466"/>
                <a:gd name="T20" fmla="*/ 4 w 320"/>
                <a:gd name="T21" fmla="*/ 307 h 466"/>
                <a:gd name="T22" fmla="*/ 4 w 320"/>
                <a:gd name="T23" fmla="*/ 312 h 466"/>
                <a:gd name="T24" fmla="*/ 2 w 320"/>
                <a:gd name="T25" fmla="*/ 302 h 466"/>
                <a:gd name="T26" fmla="*/ 2 w 320"/>
                <a:gd name="T27" fmla="*/ 302 h 466"/>
                <a:gd name="T28" fmla="*/ 197 w 320"/>
                <a:gd name="T29" fmla="*/ 240 h 466"/>
                <a:gd name="T30" fmla="*/ 185 w 320"/>
                <a:gd name="T31" fmla="*/ 233 h 466"/>
                <a:gd name="T32" fmla="*/ 171 w 320"/>
                <a:gd name="T33" fmla="*/ 231 h 466"/>
                <a:gd name="T34" fmla="*/ 47 w 320"/>
                <a:gd name="T35" fmla="*/ 224 h 466"/>
                <a:gd name="T36" fmla="*/ 154 w 320"/>
                <a:gd name="T37" fmla="*/ 226 h 466"/>
                <a:gd name="T38" fmla="*/ 45 w 320"/>
                <a:gd name="T39" fmla="*/ 217 h 466"/>
                <a:gd name="T40" fmla="*/ 0 w 320"/>
                <a:gd name="T41" fmla="*/ 221 h 466"/>
                <a:gd name="T42" fmla="*/ 0 w 320"/>
                <a:gd name="T43" fmla="*/ 217 h 466"/>
                <a:gd name="T44" fmla="*/ 38 w 320"/>
                <a:gd name="T45" fmla="*/ 212 h 466"/>
                <a:gd name="T46" fmla="*/ 33 w 320"/>
                <a:gd name="T47" fmla="*/ 209 h 466"/>
                <a:gd name="T48" fmla="*/ 40 w 320"/>
                <a:gd name="T49" fmla="*/ 209 h 466"/>
                <a:gd name="T50" fmla="*/ 38 w 320"/>
                <a:gd name="T51" fmla="*/ 207 h 466"/>
                <a:gd name="T52" fmla="*/ 38 w 320"/>
                <a:gd name="T53" fmla="*/ 209 h 466"/>
                <a:gd name="T54" fmla="*/ 38 w 320"/>
                <a:gd name="T55" fmla="*/ 207 h 466"/>
                <a:gd name="T56" fmla="*/ 35 w 320"/>
                <a:gd name="T57" fmla="*/ 205 h 466"/>
                <a:gd name="T58" fmla="*/ 95 w 320"/>
                <a:gd name="T59" fmla="*/ 162 h 466"/>
                <a:gd name="T60" fmla="*/ 66 w 320"/>
                <a:gd name="T61" fmla="*/ 160 h 466"/>
                <a:gd name="T62" fmla="*/ 87 w 320"/>
                <a:gd name="T63" fmla="*/ 160 h 466"/>
                <a:gd name="T64" fmla="*/ 59 w 320"/>
                <a:gd name="T65" fmla="*/ 145 h 466"/>
                <a:gd name="T66" fmla="*/ 73 w 320"/>
                <a:gd name="T67" fmla="*/ 136 h 466"/>
                <a:gd name="T68" fmla="*/ 71 w 320"/>
                <a:gd name="T69" fmla="*/ 141 h 466"/>
                <a:gd name="T70" fmla="*/ 66 w 320"/>
                <a:gd name="T71" fmla="*/ 141 h 466"/>
                <a:gd name="T72" fmla="*/ 64 w 320"/>
                <a:gd name="T73" fmla="*/ 138 h 466"/>
                <a:gd name="T74" fmla="*/ 71 w 320"/>
                <a:gd name="T75" fmla="*/ 136 h 466"/>
                <a:gd name="T76" fmla="*/ 50 w 320"/>
                <a:gd name="T77" fmla="*/ 126 h 466"/>
                <a:gd name="T78" fmla="*/ 54 w 320"/>
                <a:gd name="T79" fmla="*/ 110 h 466"/>
                <a:gd name="T80" fmla="*/ 52 w 320"/>
                <a:gd name="T81" fmla="*/ 81 h 466"/>
                <a:gd name="T82" fmla="*/ 140 w 320"/>
                <a:gd name="T83" fmla="*/ 41 h 466"/>
                <a:gd name="T84" fmla="*/ 137 w 320"/>
                <a:gd name="T85" fmla="*/ 43 h 466"/>
                <a:gd name="T86" fmla="*/ 133 w 320"/>
                <a:gd name="T87" fmla="*/ 38 h 466"/>
                <a:gd name="T88" fmla="*/ 140 w 320"/>
                <a:gd name="T89" fmla="*/ 38 h 466"/>
                <a:gd name="T90" fmla="*/ 140 w 320"/>
                <a:gd name="T91" fmla="*/ 38 h 466"/>
                <a:gd name="T92" fmla="*/ 140 w 320"/>
                <a:gd name="T93" fmla="*/ 38 h 466"/>
                <a:gd name="T94" fmla="*/ 137 w 320"/>
                <a:gd name="T95" fmla="*/ 34 h 466"/>
                <a:gd name="T96" fmla="*/ 133 w 320"/>
                <a:gd name="T97" fmla="*/ 24 h 466"/>
                <a:gd name="T98" fmla="*/ 133 w 320"/>
                <a:gd name="T99" fmla="*/ 24 h 466"/>
                <a:gd name="T100" fmla="*/ 135 w 320"/>
                <a:gd name="T101" fmla="*/ 22 h 466"/>
                <a:gd name="T102" fmla="*/ 133 w 320"/>
                <a:gd name="T103" fmla="*/ 17 h 466"/>
                <a:gd name="T104" fmla="*/ 133 w 320"/>
                <a:gd name="T105" fmla="*/ 17 h 466"/>
                <a:gd name="T106" fmla="*/ 137 w 320"/>
                <a:gd name="T107" fmla="*/ 15 h 466"/>
                <a:gd name="T108" fmla="*/ 137 w 320"/>
                <a:gd name="T109" fmla="*/ 15 h 466"/>
                <a:gd name="T110" fmla="*/ 137 w 320"/>
                <a:gd name="T111" fmla="*/ 15 h 466"/>
                <a:gd name="T112" fmla="*/ 137 w 320"/>
                <a:gd name="T113" fmla="*/ 15 h 466"/>
                <a:gd name="T114" fmla="*/ 166 w 320"/>
                <a:gd name="T115" fmla="*/ 3 h 466"/>
                <a:gd name="T116" fmla="*/ 163 w 320"/>
                <a:gd name="T117" fmla="*/ 3 h 466"/>
                <a:gd name="T118" fmla="*/ 166 w 320"/>
                <a:gd name="T119" fmla="*/ 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466">
                  <a:moveTo>
                    <a:pt x="142" y="464"/>
                  </a:moveTo>
                  <a:lnTo>
                    <a:pt x="144" y="464"/>
                  </a:lnTo>
                  <a:lnTo>
                    <a:pt x="144" y="466"/>
                  </a:lnTo>
                  <a:lnTo>
                    <a:pt x="142" y="466"/>
                  </a:lnTo>
                  <a:lnTo>
                    <a:pt x="140" y="464"/>
                  </a:lnTo>
                  <a:lnTo>
                    <a:pt x="142" y="464"/>
                  </a:lnTo>
                  <a:close/>
                  <a:moveTo>
                    <a:pt x="152" y="449"/>
                  </a:moveTo>
                  <a:lnTo>
                    <a:pt x="154" y="449"/>
                  </a:lnTo>
                  <a:lnTo>
                    <a:pt x="152" y="449"/>
                  </a:lnTo>
                  <a:close/>
                  <a:moveTo>
                    <a:pt x="123" y="407"/>
                  </a:moveTo>
                  <a:lnTo>
                    <a:pt x="125" y="407"/>
                  </a:lnTo>
                  <a:lnTo>
                    <a:pt x="125" y="409"/>
                  </a:lnTo>
                  <a:lnTo>
                    <a:pt x="125" y="411"/>
                  </a:lnTo>
                  <a:lnTo>
                    <a:pt x="123" y="411"/>
                  </a:lnTo>
                  <a:lnTo>
                    <a:pt x="123" y="409"/>
                  </a:lnTo>
                  <a:lnTo>
                    <a:pt x="121" y="409"/>
                  </a:lnTo>
                  <a:lnTo>
                    <a:pt x="121" y="407"/>
                  </a:lnTo>
                  <a:lnTo>
                    <a:pt x="123" y="407"/>
                  </a:lnTo>
                  <a:close/>
                  <a:moveTo>
                    <a:pt x="137" y="359"/>
                  </a:moveTo>
                  <a:lnTo>
                    <a:pt x="137" y="362"/>
                  </a:lnTo>
                  <a:lnTo>
                    <a:pt x="140" y="362"/>
                  </a:lnTo>
                  <a:lnTo>
                    <a:pt x="137" y="362"/>
                  </a:lnTo>
                  <a:lnTo>
                    <a:pt x="137" y="359"/>
                  </a:lnTo>
                  <a:close/>
                  <a:moveTo>
                    <a:pt x="135" y="357"/>
                  </a:moveTo>
                  <a:lnTo>
                    <a:pt x="135" y="359"/>
                  </a:lnTo>
                  <a:lnTo>
                    <a:pt x="135" y="357"/>
                  </a:lnTo>
                  <a:lnTo>
                    <a:pt x="135" y="359"/>
                  </a:lnTo>
                  <a:lnTo>
                    <a:pt x="133" y="359"/>
                  </a:lnTo>
                  <a:lnTo>
                    <a:pt x="133" y="357"/>
                  </a:lnTo>
                  <a:lnTo>
                    <a:pt x="135" y="357"/>
                  </a:lnTo>
                  <a:close/>
                  <a:moveTo>
                    <a:pt x="125" y="354"/>
                  </a:moveTo>
                  <a:lnTo>
                    <a:pt x="125" y="357"/>
                  </a:lnTo>
                  <a:lnTo>
                    <a:pt x="128" y="357"/>
                  </a:lnTo>
                  <a:lnTo>
                    <a:pt x="125" y="357"/>
                  </a:lnTo>
                  <a:lnTo>
                    <a:pt x="125" y="354"/>
                  </a:lnTo>
                  <a:close/>
                  <a:moveTo>
                    <a:pt x="220" y="335"/>
                  </a:moveTo>
                  <a:lnTo>
                    <a:pt x="223" y="335"/>
                  </a:lnTo>
                  <a:lnTo>
                    <a:pt x="223" y="338"/>
                  </a:lnTo>
                  <a:lnTo>
                    <a:pt x="220" y="338"/>
                  </a:lnTo>
                  <a:lnTo>
                    <a:pt x="220" y="335"/>
                  </a:lnTo>
                  <a:close/>
                  <a:moveTo>
                    <a:pt x="220" y="331"/>
                  </a:moveTo>
                  <a:lnTo>
                    <a:pt x="220" y="333"/>
                  </a:lnTo>
                  <a:lnTo>
                    <a:pt x="223" y="333"/>
                  </a:lnTo>
                  <a:lnTo>
                    <a:pt x="220" y="333"/>
                  </a:lnTo>
                  <a:lnTo>
                    <a:pt x="220" y="335"/>
                  </a:lnTo>
                  <a:lnTo>
                    <a:pt x="220" y="333"/>
                  </a:lnTo>
                  <a:lnTo>
                    <a:pt x="220" y="331"/>
                  </a:lnTo>
                  <a:close/>
                  <a:moveTo>
                    <a:pt x="216" y="328"/>
                  </a:moveTo>
                  <a:lnTo>
                    <a:pt x="218" y="328"/>
                  </a:lnTo>
                  <a:lnTo>
                    <a:pt x="218" y="331"/>
                  </a:lnTo>
                  <a:lnTo>
                    <a:pt x="216" y="331"/>
                  </a:lnTo>
                  <a:lnTo>
                    <a:pt x="216" y="328"/>
                  </a:lnTo>
                  <a:close/>
                  <a:moveTo>
                    <a:pt x="208" y="331"/>
                  </a:moveTo>
                  <a:lnTo>
                    <a:pt x="208" y="328"/>
                  </a:lnTo>
                  <a:lnTo>
                    <a:pt x="208" y="331"/>
                  </a:lnTo>
                  <a:close/>
                  <a:moveTo>
                    <a:pt x="225" y="326"/>
                  </a:moveTo>
                  <a:lnTo>
                    <a:pt x="225" y="328"/>
                  </a:lnTo>
                  <a:lnTo>
                    <a:pt x="225" y="326"/>
                  </a:lnTo>
                  <a:close/>
                  <a:moveTo>
                    <a:pt x="163" y="324"/>
                  </a:moveTo>
                  <a:lnTo>
                    <a:pt x="161" y="324"/>
                  </a:lnTo>
                  <a:lnTo>
                    <a:pt x="163" y="324"/>
                  </a:lnTo>
                  <a:close/>
                  <a:moveTo>
                    <a:pt x="230" y="319"/>
                  </a:moveTo>
                  <a:lnTo>
                    <a:pt x="230" y="321"/>
                  </a:lnTo>
                  <a:lnTo>
                    <a:pt x="230" y="319"/>
                  </a:lnTo>
                  <a:close/>
                  <a:moveTo>
                    <a:pt x="4" y="305"/>
                  </a:moveTo>
                  <a:lnTo>
                    <a:pt x="4" y="307"/>
                  </a:lnTo>
                  <a:lnTo>
                    <a:pt x="4" y="305"/>
                  </a:lnTo>
                  <a:lnTo>
                    <a:pt x="7" y="305"/>
                  </a:lnTo>
                  <a:lnTo>
                    <a:pt x="7" y="307"/>
                  </a:lnTo>
                  <a:lnTo>
                    <a:pt x="7" y="309"/>
                  </a:lnTo>
                  <a:lnTo>
                    <a:pt x="7" y="312"/>
                  </a:lnTo>
                  <a:lnTo>
                    <a:pt x="4" y="312"/>
                  </a:lnTo>
                  <a:lnTo>
                    <a:pt x="4" y="309"/>
                  </a:lnTo>
                  <a:lnTo>
                    <a:pt x="4" y="307"/>
                  </a:lnTo>
                  <a:lnTo>
                    <a:pt x="2" y="307"/>
                  </a:lnTo>
                  <a:lnTo>
                    <a:pt x="4" y="307"/>
                  </a:lnTo>
                  <a:lnTo>
                    <a:pt x="4" y="305"/>
                  </a:lnTo>
                  <a:close/>
                  <a:moveTo>
                    <a:pt x="2" y="302"/>
                  </a:moveTo>
                  <a:lnTo>
                    <a:pt x="2" y="305"/>
                  </a:lnTo>
                  <a:lnTo>
                    <a:pt x="2" y="307"/>
                  </a:lnTo>
                  <a:lnTo>
                    <a:pt x="0" y="307"/>
                  </a:lnTo>
                  <a:lnTo>
                    <a:pt x="0" y="305"/>
                  </a:lnTo>
                  <a:lnTo>
                    <a:pt x="0" y="302"/>
                  </a:lnTo>
                  <a:lnTo>
                    <a:pt x="2" y="302"/>
                  </a:lnTo>
                  <a:close/>
                  <a:moveTo>
                    <a:pt x="320" y="264"/>
                  </a:moveTo>
                  <a:lnTo>
                    <a:pt x="320" y="262"/>
                  </a:lnTo>
                  <a:lnTo>
                    <a:pt x="320" y="264"/>
                  </a:lnTo>
                  <a:close/>
                  <a:moveTo>
                    <a:pt x="197" y="240"/>
                  </a:moveTo>
                  <a:lnTo>
                    <a:pt x="199" y="240"/>
                  </a:lnTo>
                  <a:lnTo>
                    <a:pt x="197" y="240"/>
                  </a:lnTo>
                  <a:close/>
                  <a:moveTo>
                    <a:pt x="185" y="231"/>
                  </a:moveTo>
                  <a:lnTo>
                    <a:pt x="187" y="231"/>
                  </a:lnTo>
                  <a:lnTo>
                    <a:pt x="187" y="233"/>
                  </a:lnTo>
                  <a:lnTo>
                    <a:pt x="190" y="233"/>
                  </a:lnTo>
                  <a:lnTo>
                    <a:pt x="187" y="233"/>
                  </a:lnTo>
                  <a:lnTo>
                    <a:pt x="185" y="233"/>
                  </a:lnTo>
                  <a:lnTo>
                    <a:pt x="185" y="231"/>
                  </a:lnTo>
                  <a:close/>
                  <a:moveTo>
                    <a:pt x="190" y="231"/>
                  </a:moveTo>
                  <a:lnTo>
                    <a:pt x="192" y="231"/>
                  </a:lnTo>
                  <a:lnTo>
                    <a:pt x="190" y="231"/>
                  </a:lnTo>
                  <a:close/>
                  <a:moveTo>
                    <a:pt x="171" y="228"/>
                  </a:moveTo>
                  <a:lnTo>
                    <a:pt x="171" y="231"/>
                  </a:lnTo>
                  <a:lnTo>
                    <a:pt x="171" y="228"/>
                  </a:lnTo>
                  <a:close/>
                  <a:moveTo>
                    <a:pt x="50" y="226"/>
                  </a:moveTo>
                  <a:lnTo>
                    <a:pt x="47" y="226"/>
                  </a:lnTo>
                  <a:lnTo>
                    <a:pt x="50" y="226"/>
                  </a:lnTo>
                  <a:close/>
                  <a:moveTo>
                    <a:pt x="50" y="224"/>
                  </a:moveTo>
                  <a:lnTo>
                    <a:pt x="47" y="224"/>
                  </a:lnTo>
                  <a:lnTo>
                    <a:pt x="47" y="226"/>
                  </a:lnTo>
                  <a:lnTo>
                    <a:pt x="47" y="224"/>
                  </a:lnTo>
                  <a:lnTo>
                    <a:pt x="50" y="224"/>
                  </a:lnTo>
                  <a:close/>
                  <a:moveTo>
                    <a:pt x="156" y="224"/>
                  </a:moveTo>
                  <a:lnTo>
                    <a:pt x="156" y="226"/>
                  </a:lnTo>
                  <a:lnTo>
                    <a:pt x="154" y="226"/>
                  </a:lnTo>
                  <a:lnTo>
                    <a:pt x="154" y="224"/>
                  </a:lnTo>
                  <a:lnTo>
                    <a:pt x="156" y="224"/>
                  </a:lnTo>
                  <a:close/>
                  <a:moveTo>
                    <a:pt x="152" y="221"/>
                  </a:moveTo>
                  <a:lnTo>
                    <a:pt x="152" y="224"/>
                  </a:lnTo>
                  <a:lnTo>
                    <a:pt x="152" y="221"/>
                  </a:lnTo>
                  <a:close/>
                  <a:moveTo>
                    <a:pt x="45" y="217"/>
                  </a:moveTo>
                  <a:lnTo>
                    <a:pt x="42" y="217"/>
                  </a:lnTo>
                  <a:lnTo>
                    <a:pt x="45" y="217"/>
                  </a:lnTo>
                  <a:lnTo>
                    <a:pt x="42" y="217"/>
                  </a:lnTo>
                  <a:lnTo>
                    <a:pt x="45" y="217"/>
                  </a:lnTo>
                  <a:close/>
                  <a:moveTo>
                    <a:pt x="0" y="219"/>
                  </a:moveTo>
                  <a:lnTo>
                    <a:pt x="0" y="221"/>
                  </a:lnTo>
                  <a:lnTo>
                    <a:pt x="0" y="219"/>
                  </a:lnTo>
                  <a:lnTo>
                    <a:pt x="0" y="221"/>
                  </a:lnTo>
                  <a:lnTo>
                    <a:pt x="0" y="219"/>
                  </a:lnTo>
                  <a:lnTo>
                    <a:pt x="0" y="217"/>
                  </a:lnTo>
                  <a:lnTo>
                    <a:pt x="2" y="217"/>
                  </a:lnTo>
                  <a:lnTo>
                    <a:pt x="0" y="217"/>
                  </a:lnTo>
                  <a:lnTo>
                    <a:pt x="0" y="214"/>
                  </a:lnTo>
                  <a:lnTo>
                    <a:pt x="2" y="214"/>
                  </a:lnTo>
                  <a:lnTo>
                    <a:pt x="2" y="217"/>
                  </a:lnTo>
                  <a:lnTo>
                    <a:pt x="0" y="217"/>
                  </a:lnTo>
                  <a:lnTo>
                    <a:pt x="0" y="219"/>
                  </a:lnTo>
                  <a:close/>
                  <a:moveTo>
                    <a:pt x="38" y="212"/>
                  </a:moveTo>
                  <a:lnTo>
                    <a:pt x="38" y="209"/>
                  </a:lnTo>
                  <a:lnTo>
                    <a:pt x="38" y="212"/>
                  </a:lnTo>
                  <a:close/>
                  <a:moveTo>
                    <a:pt x="33" y="212"/>
                  </a:moveTo>
                  <a:lnTo>
                    <a:pt x="33" y="209"/>
                  </a:lnTo>
                  <a:lnTo>
                    <a:pt x="35" y="209"/>
                  </a:lnTo>
                  <a:lnTo>
                    <a:pt x="33" y="209"/>
                  </a:lnTo>
                  <a:lnTo>
                    <a:pt x="35" y="209"/>
                  </a:lnTo>
                  <a:lnTo>
                    <a:pt x="35" y="212"/>
                  </a:lnTo>
                  <a:lnTo>
                    <a:pt x="33" y="212"/>
                  </a:lnTo>
                  <a:close/>
                  <a:moveTo>
                    <a:pt x="40" y="209"/>
                  </a:moveTo>
                  <a:lnTo>
                    <a:pt x="40" y="212"/>
                  </a:lnTo>
                  <a:lnTo>
                    <a:pt x="40" y="209"/>
                  </a:lnTo>
                  <a:lnTo>
                    <a:pt x="40" y="212"/>
                  </a:lnTo>
                  <a:lnTo>
                    <a:pt x="40" y="209"/>
                  </a:lnTo>
                  <a:close/>
                  <a:moveTo>
                    <a:pt x="35" y="209"/>
                  </a:moveTo>
                  <a:lnTo>
                    <a:pt x="38" y="209"/>
                  </a:lnTo>
                  <a:lnTo>
                    <a:pt x="35" y="209"/>
                  </a:lnTo>
                  <a:close/>
                  <a:moveTo>
                    <a:pt x="38" y="207"/>
                  </a:moveTo>
                  <a:lnTo>
                    <a:pt x="40" y="207"/>
                  </a:lnTo>
                  <a:lnTo>
                    <a:pt x="38" y="207"/>
                  </a:lnTo>
                  <a:lnTo>
                    <a:pt x="40" y="209"/>
                  </a:lnTo>
                  <a:lnTo>
                    <a:pt x="38" y="209"/>
                  </a:lnTo>
                  <a:lnTo>
                    <a:pt x="40" y="209"/>
                  </a:lnTo>
                  <a:lnTo>
                    <a:pt x="38" y="209"/>
                  </a:lnTo>
                  <a:lnTo>
                    <a:pt x="38" y="207"/>
                  </a:lnTo>
                  <a:lnTo>
                    <a:pt x="38" y="209"/>
                  </a:lnTo>
                  <a:lnTo>
                    <a:pt x="38" y="207"/>
                  </a:lnTo>
                  <a:close/>
                  <a:moveTo>
                    <a:pt x="38" y="207"/>
                  </a:moveTo>
                  <a:lnTo>
                    <a:pt x="35" y="207"/>
                  </a:lnTo>
                  <a:lnTo>
                    <a:pt x="38" y="207"/>
                  </a:lnTo>
                  <a:lnTo>
                    <a:pt x="35" y="207"/>
                  </a:lnTo>
                  <a:lnTo>
                    <a:pt x="38" y="207"/>
                  </a:lnTo>
                  <a:close/>
                  <a:moveTo>
                    <a:pt x="35" y="207"/>
                  </a:moveTo>
                  <a:lnTo>
                    <a:pt x="38" y="207"/>
                  </a:lnTo>
                  <a:lnTo>
                    <a:pt x="35" y="207"/>
                  </a:lnTo>
                  <a:lnTo>
                    <a:pt x="35" y="205"/>
                  </a:lnTo>
                  <a:lnTo>
                    <a:pt x="35" y="207"/>
                  </a:lnTo>
                  <a:close/>
                  <a:moveTo>
                    <a:pt x="38" y="205"/>
                  </a:moveTo>
                  <a:lnTo>
                    <a:pt x="38" y="207"/>
                  </a:lnTo>
                  <a:lnTo>
                    <a:pt x="38" y="205"/>
                  </a:lnTo>
                  <a:close/>
                  <a:moveTo>
                    <a:pt x="95" y="164"/>
                  </a:moveTo>
                  <a:lnTo>
                    <a:pt x="95" y="162"/>
                  </a:lnTo>
                  <a:lnTo>
                    <a:pt x="92" y="162"/>
                  </a:lnTo>
                  <a:lnTo>
                    <a:pt x="95" y="162"/>
                  </a:lnTo>
                  <a:lnTo>
                    <a:pt x="95" y="164"/>
                  </a:lnTo>
                  <a:close/>
                  <a:moveTo>
                    <a:pt x="68" y="157"/>
                  </a:moveTo>
                  <a:lnTo>
                    <a:pt x="68" y="160"/>
                  </a:lnTo>
                  <a:lnTo>
                    <a:pt x="66" y="160"/>
                  </a:lnTo>
                  <a:lnTo>
                    <a:pt x="66" y="157"/>
                  </a:lnTo>
                  <a:lnTo>
                    <a:pt x="68" y="157"/>
                  </a:lnTo>
                  <a:close/>
                  <a:moveTo>
                    <a:pt x="87" y="157"/>
                  </a:moveTo>
                  <a:lnTo>
                    <a:pt x="87" y="160"/>
                  </a:lnTo>
                  <a:lnTo>
                    <a:pt x="90" y="160"/>
                  </a:lnTo>
                  <a:lnTo>
                    <a:pt x="87" y="160"/>
                  </a:lnTo>
                  <a:lnTo>
                    <a:pt x="85" y="160"/>
                  </a:lnTo>
                  <a:lnTo>
                    <a:pt x="85" y="157"/>
                  </a:lnTo>
                  <a:lnTo>
                    <a:pt x="87" y="157"/>
                  </a:lnTo>
                  <a:close/>
                  <a:moveTo>
                    <a:pt x="61" y="148"/>
                  </a:moveTo>
                  <a:lnTo>
                    <a:pt x="59" y="148"/>
                  </a:lnTo>
                  <a:lnTo>
                    <a:pt x="59" y="145"/>
                  </a:lnTo>
                  <a:lnTo>
                    <a:pt x="61" y="145"/>
                  </a:lnTo>
                  <a:lnTo>
                    <a:pt x="61" y="148"/>
                  </a:lnTo>
                  <a:close/>
                  <a:moveTo>
                    <a:pt x="76" y="136"/>
                  </a:moveTo>
                  <a:lnTo>
                    <a:pt x="76" y="133"/>
                  </a:lnTo>
                  <a:lnTo>
                    <a:pt x="76" y="136"/>
                  </a:lnTo>
                  <a:close/>
                  <a:moveTo>
                    <a:pt x="73" y="136"/>
                  </a:moveTo>
                  <a:lnTo>
                    <a:pt x="73" y="133"/>
                  </a:lnTo>
                  <a:lnTo>
                    <a:pt x="73" y="136"/>
                  </a:lnTo>
                  <a:close/>
                  <a:moveTo>
                    <a:pt x="73" y="136"/>
                  </a:moveTo>
                  <a:lnTo>
                    <a:pt x="73" y="138"/>
                  </a:lnTo>
                  <a:lnTo>
                    <a:pt x="71" y="138"/>
                  </a:lnTo>
                  <a:lnTo>
                    <a:pt x="71" y="141"/>
                  </a:lnTo>
                  <a:lnTo>
                    <a:pt x="73" y="141"/>
                  </a:lnTo>
                  <a:lnTo>
                    <a:pt x="73" y="143"/>
                  </a:lnTo>
                  <a:lnTo>
                    <a:pt x="71" y="143"/>
                  </a:lnTo>
                  <a:lnTo>
                    <a:pt x="68" y="143"/>
                  </a:lnTo>
                  <a:lnTo>
                    <a:pt x="68" y="141"/>
                  </a:lnTo>
                  <a:lnTo>
                    <a:pt x="66" y="141"/>
                  </a:lnTo>
                  <a:lnTo>
                    <a:pt x="64" y="141"/>
                  </a:lnTo>
                  <a:lnTo>
                    <a:pt x="61" y="141"/>
                  </a:lnTo>
                  <a:lnTo>
                    <a:pt x="61" y="138"/>
                  </a:lnTo>
                  <a:lnTo>
                    <a:pt x="61" y="136"/>
                  </a:lnTo>
                  <a:lnTo>
                    <a:pt x="64" y="136"/>
                  </a:lnTo>
                  <a:lnTo>
                    <a:pt x="64" y="138"/>
                  </a:lnTo>
                  <a:lnTo>
                    <a:pt x="66" y="138"/>
                  </a:lnTo>
                  <a:lnTo>
                    <a:pt x="66" y="136"/>
                  </a:lnTo>
                  <a:lnTo>
                    <a:pt x="68" y="136"/>
                  </a:lnTo>
                  <a:lnTo>
                    <a:pt x="68" y="138"/>
                  </a:lnTo>
                  <a:lnTo>
                    <a:pt x="68" y="136"/>
                  </a:lnTo>
                  <a:lnTo>
                    <a:pt x="71" y="136"/>
                  </a:lnTo>
                  <a:lnTo>
                    <a:pt x="71" y="133"/>
                  </a:lnTo>
                  <a:lnTo>
                    <a:pt x="73" y="133"/>
                  </a:lnTo>
                  <a:lnTo>
                    <a:pt x="73" y="136"/>
                  </a:lnTo>
                  <a:close/>
                  <a:moveTo>
                    <a:pt x="52" y="129"/>
                  </a:moveTo>
                  <a:lnTo>
                    <a:pt x="50" y="129"/>
                  </a:lnTo>
                  <a:lnTo>
                    <a:pt x="50" y="126"/>
                  </a:lnTo>
                  <a:lnTo>
                    <a:pt x="52" y="126"/>
                  </a:lnTo>
                  <a:lnTo>
                    <a:pt x="52" y="124"/>
                  </a:lnTo>
                  <a:lnTo>
                    <a:pt x="52" y="126"/>
                  </a:lnTo>
                  <a:lnTo>
                    <a:pt x="52" y="129"/>
                  </a:lnTo>
                  <a:close/>
                  <a:moveTo>
                    <a:pt x="54" y="107"/>
                  </a:moveTo>
                  <a:lnTo>
                    <a:pt x="54" y="110"/>
                  </a:lnTo>
                  <a:lnTo>
                    <a:pt x="54" y="107"/>
                  </a:lnTo>
                  <a:close/>
                  <a:moveTo>
                    <a:pt x="52" y="81"/>
                  </a:moveTo>
                  <a:lnTo>
                    <a:pt x="52" y="79"/>
                  </a:lnTo>
                  <a:lnTo>
                    <a:pt x="52" y="81"/>
                  </a:lnTo>
                  <a:lnTo>
                    <a:pt x="52" y="79"/>
                  </a:lnTo>
                  <a:lnTo>
                    <a:pt x="52" y="81"/>
                  </a:lnTo>
                  <a:close/>
                  <a:moveTo>
                    <a:pt x="140" y="38"/>
                  </a:moveTo>
                  <a:lnTo>
                    <a:pt x="142" y="38"/>
                  </a:lnTo>
                  <a:lnTo>
                    <a:pt x="140" y="38"/>
                  </a:lnTo>
                  <a:close/>
                  <a:moveTo>
                    <a:pt x="137" y="38"/>
                  </a:moveTo>
                  <a:lnTo>
                    <a:pt x="137" y="41"/>
                  </a:lnTo>
                  <a:lnTo>
                    <a:pt x="140" y="41"/>
                  </a:lnTo>
                  <a:lnTo>
                    <a:pt x="140" y="43"/>
                  </a:lnTo>
                  <a:lnTo>
                    <a:pt x="140" y="41"/>
                  </a:lnTo>
                  <a:lnTo>
                    <a:pt x="140" y="43"/>
                  </a:lnTo>
                  <a:lnTo>
                    <a:pt x="137" y="43"/>
                  </a:lnTo>
                  <a:lnTo>
                    <a:pt x="137" y="41"/>
                  </a:lnTo>
                  <a:lnTo>
                    <a:pt x="137" y="43"/>
                  </a:lnTo>
                  <a:lnTo>
                    <a:pt x="137" y="46"/>
                  </a:lnTo>
                  <a:lnTo>
                    <a:pt x="137" y="43"/>
                  </a:lnTo>
                  <a:lnTo>
                    <a:pt x="135" y="43"/>
                  </a:lnTo>
                  <a:lnTo>
                    <a:pt x="135" y="41"/>
                  </a:lnTo>
                  <a:lnTo>
                    <a:pt x="135" y="38"/>
                  </a:lnTo>
                  <a:lnTo>
                    <a:pt x="133" y="38"/>
                  </a:lnTo>
                  <a:lnTo>
                    <a:pt x="135" y="38"/>
                  </a:lnTo>
                  <a:lnTo>
                    <a:pt x="137" y="38"/>
                  </a:lnTo>
                  <a:close/>
                  <a:moveTo>
                    <a:pt x="142" y="38"/>
                  </a:moveTo>
                  <a:lnTo>
                    <a:pt x="140" y="38"/>
                  </a:lnTo>
                  <a:lnTo>
                    <a:pt x="140" y="41"/>
                  </a:lnTo>
                  <a:lnTo>
                    <a:pt x="140" y="38"/>
                  </a:lnTo>
                  <a:lnTo>
                    <a:pt x="140" y="41"/>
                  </a:lnTo>
                  <a:lnTo>
                    <a:pt x="137" y="41"/>
                  </a:lnTo>
                  <a:lnTo>
                    <a:pt x="137" y="38"/>
                  </a:lnTo>
                  <a:lnTo>
                    <a:pt x="140" y="38"/>
                  </a:lnTo>
                  <a:lnTo>
                    <a:pt x="137" y="38"/>
                  </a:lnTo>
                  <a:lnTo>
                    <a:pt x="140" y="38"/>
                  </a:lnTo>
                  <a:lnTo>
                    <a:pt x="142" y="38"/>
                  </a:lnTo>
                  <a:close/>
                  <a:moveTo>
                    <a:pt x="140" y="36"/>
                  </a:moveTo>
                  <a:lnTo>
                    <a:pt x="142" y="36"/>
                  </a:lnTo>
                  <a:lnTo>
                    <a:pt x="140" y="36"/>
                  </a:lnTo>
                  <a:lnTo>
                    <a:pt x="142" y="36"/>
                  </a:lnTo>
                  <a:lnTo>
                    <a:pt x="140" y="38"/>
                  </a:lnTo>
                  <a:lnTo>
                    <a:pt x="140" y="36"/>
                  </a:lnTo>
                  <a:close/>
                  <a:moveTo>
                    <a:pt x="137" y="34"/>
                  </a:moveTo>
                  <a:lnTo>
                    <a:pt x="135" y="34"/>
                  </a:lnTo>
                  <a:lnTo>
                    <a:pt x="137" y="34"/>
                  </a:lnTo>
                  <a:lnTo>
                    <a:pt x="135" y="34"/>
                  </a:lnTo>
                  <a:lnTo>
                    <a:pt x="137" y="34"/>
                  </a:lnTo>
                  <a:close/>
                  <a:moveTo>
                    <a:pt x="133" y="27"/>
                  </a:moveTo>
                  <a:lnTo>
                    <a:pt x="133" y="24"/>
                  </a:lnTo>
                  <a:lnTo>
                    <a:pt x="133" y="27"/>
                  </a:lnTo>
                  <a:close/>
                  <a:moveTo>
                    <a:pt x="133" y="24"/>
                  </a:moveTo>
                  <a:lnTo>
                    <a:pt x="135" y="24"/>
                  </a:lnTo>
                  <a:lnTo>
                    <a:pt x="133" y="24"/>
                  </a:lnTo>
                  <a:lnTo>
                    <a:pt x="133" y="27"/>
                  </a:lnTo>
                  <a:lnTo>
                    <a:pt x="135" y="27"/>
                  </a:lnTo>
                  <a:lnTo>
                    <a:pt x="133" y="27"/>
                  </a:lnTo>
                  <a:lnTo>
                    <a:pt x="133" y="24"/>
                  </a:lnTo>
                  <a:close/>
                  <a:moveTo>
                    <a:pt x="135" y="24"/>
                  </a:moveTo>
                  <a:lnTo>
                    <a:pt x="133" y="24"/>
                  </a:lnTo>
                  <a:lnTo>
                    <a:pt x="135" y="24"/>
                  </a:lnTo>
                  <a:close/>
                  <a:moveTo>
                    <a:pt x="130" y="22"/>
                  </a:moveTo>
                  <a:lnTo>
                    <a:pt x="130" y="24"/>
                  </a:lnTo>
                  <a:lnTo>
                    <a:pt x="130" y="22"/>
                  </a:lnTo>
                  <a:close/>
                  <a:moveTo>
                    <a:pt x="135" y="19"/>
                  </a:moveTo>
                  <a:lnTo>
                    <a:pt x="135" y="22"/>
                  </a:lnTo>
                  <a:lnTo>
                    <a:pt x="133" y="22"/>
                  </a:lnTo>
                  <a:lnTo>
                    <a:pt x="133" y="24"/>
                  </a:lnTo>
                  <a:lnTo>
                    <a:pt x="133" y="22"/>
                  </a:lnTo>
                  <a:lnTo>
                    <a:pt x="135" y="22"/>
                  </a:lnTo>
                  <a:lnTo>
                    <a:pt x="135" y="19"/>
                  </a:lnTo>
                  <a:close/>
                  <a:moveTo>
                    <a:pt x="133" y="17"/>
                  </a:moveTo>
                  <a:lnTo>
                    <a:pt x="133" y="19"/>
                  </a:lnTo>
                  <a:lnTo>
                    <a:pt x="130" y="19"/>
                  </a:lnTo>
                  <a:lnTo>
                    <a:pt x="130" y="17"/>
                  </a:lnTo>
                  <a:lnTo>
                    <a:pt x="130" y="19"/>
                  </a:lnTo>
                  <a:lnTo>
                    <a:pt x="130" y="17"/>
                  </a:lnTo>
                  <a:lnTo>
                    <a:pt x="133" y="17"/>
                  </a:lnTo>
                  <a:close/>
                  <a:moveTo>
                    <a:pt x="135" y="15"/>
                  </a:moveTo>
                  <a:lnTo>
                    <a:pt x="135" y="17"/>
                  </a:lnTo>
                  <a:lnTo>
                    <a:pt x="135" y="15"/>
                  </a:lnTo>
                  <a:close/>
                  <a:moveTo>
                    <a:pt x="137" y="15"/>
                  </a:moveTo>
                  <a:lnTo>
                    <a:pt x="137" y="17"/>
                  </a:lnTo>
                  <a:lnTo>
                    <a:pt x="137" y="15"/>
                  </a:lnTo>
                  <a:lnTo>
                    <a:pt x="137" y="17"/>
                  </a:lnTo>
                  <a:lnTo>
                    <a:pt x="135" y="17"/>
                  </a:lnTo>
                  <a:lnTo>
                    <a:pt x="135" y="19"/>
                  </a:lnTo>
                  <a:lnTo>
                    <a:pt x="135" y="17"/>
                  </a:lnTo>
                  <a:lnTo>
                    <a:pt x="135" y="15"/>
                  </a:lnTo>
                  <a:lnTo>
                    <a:pt x="137" y="15"/>
                  </a:lnTo>
                  <a:close/>
                  <a:moveTo>
                    <a:pt x="137" y="15"/>
                  </a:moveTo>
                  <a:lnTo>
                    <a:pt x="135" y="15"/>
                  </a:lnTo>
                  <a:lnTo>
                    <a:pt x="137" y="15"/>
                  </a:lnTo>
                  <a:lnTo>
                    <a:pt x="135" y="15"/>
                  </a:lnTo>
                  <a:lnTo>
                    <a:pt x="137" y="15"/>
                  </a:lnTo>
                  <a:close/>
                  <a:moveTo>
                    <a:pt x="137" y="15"/>
                  </a:moveTo>
                  <a:lnTo>
                    <a:pt x="135" y="15"/>
                  </a:lnTo>
                  <a:lnTo>
                    <a:pt x="137" y="15"/>
                  </a:lnTo>
                  <a:close/>
                  <a:moveTo>
                    <a:pt x="137" y="12"/>
                  </a:moveTo>
                  <a:lnTo>
                    <a:pt x="140" y="12"/>
                  </a:lnTo>
                  <a:lnTo>
                    <a:pt x="137" y="12"/>
                  </a:lnTo>
                  <a:lnTo>
                    <a:pt x="137" y="15"/>
                  </a:lnTo>
                  <a:lnTo>
                    <a:pt x="137" y="12"/>
                  </a:lnTo>
                  <a:close/>
                  <a:moveTo>
                    <a:pt x="140" y="12"/>
                  </a:moveTo>
                  <a:lnTo>
                    <a:pt x="137" y="12"/>
                  </a:lnTo>
                  <a:lnTo>
                    <a:pt x="140" y="12"/>
                  </a:lnTo>
                  <a:close/>
                  <a:moveTo>
                    <a:pt x="168" y="3"/>
                  </a:moveTo>
                  <a:lnTo>
                    <a:pt x="166" y="3"/>
                  </a:lnTo>
                  <a:lnTo>
                    <a:pt x="168" y="3"/>
                  </a:lnTo>
                  <a:close/>
                  <a:moveTo>
                    <a:pt x="163" y="3"/>
                  </a:moveTo>
                  <a:lnTo>
                    <a:pt x="161" y="3"/>
                  </a:lnTo>
                  <a:lnTo>
                    <a:pt x="163" y="3"/>
                  </a:lnTo>
                  <a:close/>
                  <a:moveTo>
                    <a:pt x="166" y="3"/>
                  </a:moveTo>
                  <a:lnTo>
                    <a:pt x="163" y="3"/>
                  </a:lnTo>
                  <a:lnTo>
                    <a:pt x="166" y="3"/>
                  </a:lnTo>
                  <a:close/>
                  <a:moveTo>
                    <a:pt x="166" y="0"/>
                  </a:moveTo>
                  <a:lnTo>
                    <a:pt x="168" y="0"/>
                  </a:lnTo>
                  <a:lnTo>
                    <a:pt x="166" y="3"/>
                  </a:lnTo>
                  <a:lnTo>
                    <a:pt x="168" y="3"/>
                  </a:lnTo>
                  <a:lnTo>
                    <a:pt x="166" y="3"/>
                  </a:lnTo>
                  <a:lnTo>
                    <a:pt x="16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4" name="Freeform 52481"/>
            <p:cNvSpPr>
              <a:spLocks noEditPoints="1"/>
            </p:cNvSpPr>
            <p:nvPr/>
          </p:nvSpPr>
          <p:spPr bwMode="auto">
            <a:xfrm>
              <a:off x="2511423" y="5021281"/>
              <a:ext cx="452438" cy="622303"/>
            </a:xfrm>
            <a:custGeom>
              <a:avLst/>
              <a:gdLst>
                <a:gd name="T0" fmla="*/ 197 w 285"/>
                <a:gd name="T1" fmla="*/ 392 h 392"/>
                <a:gd name="T2" fmla="*/ 107 w 285"/>
                <a:gd name="T3" fmla="*/ 362 h 392"/>
                <a:gd name="T4" fmla="*/ 107 w 285"/>
                <a:gd name="T5" fmla="*/ 362 h 392"/>
                <a:gd name="T6" fmla="*/ 104 w 285"/>
                <a:gd name="T7" fmla="*/ 359 h 392"/>
                <a:gd name="T8" fmla="*/ 194 w 285"/>
                <a:gd name="T9" fmla="*/ 326 h 392"/>
                <a:gd name="T10" fmla="*/ 194 w 285"/>
                <a:gd name="T11" fmla="*/ 326 h 392"/>
                <a:gd name="T12" fmla="*/ 192 w 285"/>
                <a:gd name="T13" fmla="*/ 326 h 392"/>
                <a:gd name="T14" fmla="*/ 285 w 285"/>
                <a:gd name="T15" fmla="*/ 255 h 392"/>
                <a:gd name="T16" fmla="*/ 285 w 285"/>
                <a:gd name="T17" fmla="*/ 255 h 392"/>
                <a:gd name="T18" fmla="*/ 138 w 285"/>
                <a:gd name="T19" fmla="*/ 228 h 392"/>
                <a:gd name="T20" fmla="*/ 14 w 285"/>
                <a:gd name="T21" fmla="*/ 221 h 392"/>
                <a:gd name="T22" fmla="*/ 14 w 285"/>
                <a:gd name="T23" fmla="*/ 221 h 392"/>
                <a:gd name="T24" fmla="*/ 9 w 285"/>
                <a:gd name="T25" fmla="*/ 219 h 392"/>
                <a:gd name="T26" fmla="*/ 9 w 285"/>
                <a:gd name="T27" fmla="*/ 212 h 392"/>
                <a:gd name="T28" fmla="*/ 9 w 285"/>
                <a:gd name="T29" fmla="*/ 212 h 392"/>
                <a:gd name="T30" fmla="*/ 0 w 285"/>
                <a:gd name="T31" fmla="*/ 209 h 392"/>
                <a:gd name="T32" fmla="*/ 100 w 285"/>
                <a:gd name="T33" fmla="*/ 46 h 392"/>
                <a:gd name="T34" fmla="*/ 100 w 285"/>
                <a:gd name="T35" fmla="*/ 46 h 392"/>
                <a:gd name="T36" fmla="*/ 104 w 285"/>
                <a:gd name="T37" fmla="*/ 46 h 392"/>
                <a:gd name="T38" fmla="*/ 104 w 285"/>
                <a:gd name="T39" fmla="*/ 43 h 392"/>
                <a:gd name="T40" fmla="*/ 104 w 285"/>
                <a:gd name="T41" fmla="*/ 43 h 392"/>
                <a:gd name="T42" fmla="*/ 100 w 285"/>
                <a:gd name="T43" fmla="*/ 36 h 392"/>
                <a:gd name="T44" fmla="*/ 109 w 285"/>
                <a:gd name="T45" fmla="*/ 36 h 392"/>
                <a:gd name="T46" fmla="*/ 109 w 285"/>
                <a:gd name="T47" fmla="*/ 36 h 392"/>
                <a:gd name="T48" fmla="*/ 97 w 285"/>
                <a:gd name="T49" fmla="*/ 36 h 392"/>
                <a:gd name="T50" fmla="*/ 102 w 285"/>
                <a:gd name="T51" fmla="*/ 34 h 392"/>
                <a:gd name="T52" fmla="*/ 102 w 285"/>
                <a:gd name="T53" fmla="*/ 34 h 392"/>
                <a:gd name="T54" fmla="*/ 100 w 285"/>
                <a:gd name="T55" fmla="*/ 31 h 392"/>
                <a:gd name="T56" fmla="*/ 102 w 285"/>
                <a:gd name="T57" fmla="*/ 31 h 392"/>
                <a:gd name="T58" fmla="*/ 102 w 285"/>
                <a:gd name="T59" fmla="*/ 31 h 392"/>
                <a:gd name="T60" fmla="*/ 97 w 285"/>
                <a:gd name="T61" fmla="*/ 24 h 392"/>
                <a:gd name="T62" fmla="*/ 95 w 285"/>
                <a:gd name="T63" fmla="*/ 24 h 392"/>
                <a:gd name="T64" fmla="*/ 95 w 285"/>
                <a:gd name="T65" fmla="*/ 22 h 392"/>
                <a:gd name="T66" fmla="*/ 95 w 285"/>
                <a:gd name="T67" fmla="*/ 24 h 392"/>
                <a:gd name="T68" fmla="*/ 97 w 285"/>
                <a:gd name="T69" fmla="*/ 17 h 392"/>
                <a:gd name="T70" fmla="*/ 102 w 285"/>
                <a:gd name="T71" fmla="*/ 15 h 392"/>
                <a:gd name="T72" fmla="*/ 102 w 285"/>
                <a:gd name="T73" fmla="*/ 15 h 392"/>
                <a:gd name="T74" fmla="*/ 102 w 285"/>
                <a:gd name="T75" fmla="*/ 15 h 392"/>
                <a:gd name="T76" fmla="*/ 104 w 285"/>
                <a:gd name="T77" fmla="*/ 15 h 392"/>
                <a:gd name="T78" fmla="*/ 104 w 285"/>
                <a:gd name="T79" fmla="*/ 15 h 392"/>
                <a:gd name="T80" fmla="*/ 102 w 285"/>
                <a:gd name="T81" fmla="*/ 15 h 392"/>
                <a:gd name="T82" fmla="*/ 104 w 285"/>
                <a:gd name="T83" fmla="*/ 15 h 392"/>
                <a:gd name="T84" fmla="*/ 104 w 285"/>
                <a:gd name="T85" fmla="*/ 15 h 392"/>
                <a:gd name="T86" fmla="*/ 104 w 285"/>
                <a:gd name="T87" fmla="*/ 12 h 392"/>
                <a:gd name="T88" fmla="*/ 107 w 285"/>
                <a:gd name="T89" fmla="*/ 12 h 392"/>
                <a:gd name="T90" fmla="*/ 107 w 285"/>
                <a:gd name="T91" fmla="*/ 12 h 392"/>
                <a:gd name="T92" fmla="*/ 107 w 285"/>
                <a:gd name="T93" fmla="*/ 12 h 392"/>
                <a:gd name="T94" fmla="*/ 104 w 285"/>
                <a:gd name="T95" fmla="*/ 15 h 392"/>
                <a:gd name="T96" fmla="*/ 107 w 285"/>
                <a:gd name="T97" fmla="*/ 12 h 392"/>
                <a:gd name="T98" fmla="*/ 107 w 285"/>
                <a:gd name="T99" fmla="*/ 12 h 392"/>
                <a:gd name="T100" fmla="*/ 109 w 285"/>
                <a:gd name="T101" fmla="*/ 12 h 392"/>
                <a:gd name="T102" fmla="*/ 109 w 285"/>
                <a:gd name="T103" fmla="*/ 12 h 392"/>
                <a:gd name="T104" fmla="*/ 107 w 285"/>
                <a:gd name="T105" fmla="*/ 12 h 392"/>
                <a:gd name="T106" fmla="*/ 107 w 285"/>
                <a:gd name="T107" fmla="*/ 12 h 392"/>
                <a:gd name="T108" fmla="*/ 107 w 285"/>
                <a:gd name="T109" fmla="*/ 10 h 392"/>
                <a:gd name="T110" fmla="*/ 130 w 285"/>
                <a:gd name="T111" fmla="*/ 3 h 392"/>
                <a:gd name="T112" fmla="*/ 130 w 285"/>
                <a:gd name="T113"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392">
                  <a:moveTo>
                    <a:pt x="197" y="390"/>
                  </a:moveTo>
                  <a:lnTo>
                    <a:pt x="197" y="392"/>
                  </a:lnTo>
                  <a:lnTo>
                    <a:pt x="197" y="390"/>
                  </a:lnTo>
                  <a:close/>
                  <a:moveTo>
                    <a:pt x="107" y="362"/>
                  </a:moveTo>
                  <a:lnTo>
                    <a:pt x="107" y="359"/>
                  </a:lnTo>
                  <a:lnTo>
                    <a:pt x="107" y="362"/>
                  </a:lnTo>
                  <a:close/>
                  <a:moveTo>
                    <a:pt x="107" y="359"/>
                  </a:moveTo>
                  <a:lnTo>
                    <a:pt x="104" y="359"/>
                  </a:lnTo>
                  <a:lnTo>
                    <a:pt x="107" y="359"/>
                  </a:lnTo>
                  <a:close/>
                  <a:moveTo>
                    <a:pt x="194" y="326"/>
                  </a:moveTo>
                  <a:lnTo>
                    <a:pt x="192" y="326"/>
                  </a:lnTo>
                  <a:lnTo>
                    <a:pt x="194" y="326"/>
                  </a:lnTo>
                  <a:close/>
                  <a:moveTo>
                    <a:pt x="194" y="326"/>
                  </a:moveTo>
                  <a:lnTo>
                    <a:pt x="192" y="326"/>
                  </a:lnTo>
                  <a:lnTo>
                    <a:pt x="194" y="326"/>
                  </a:lnTo>
                  <a:close/>
                  <a:moveTo>
                    <a:pt x="285" y="255"/>
                  </a:moveTo>
                  <a:lnTo>
                    <a:pt x="285" y="252"/>
                  </a:lnTo>
                  <a:lnTo>
                    <a:pt x="285" y="255"/>
                  </a:lnTo>
                  <a:close/>
                  <a:moveTo>
                    <a:pt x="140" y="228"/>
                  </a:moveTo>
                  <a:lnTo>
                    <a:pt x="138" y="228"/>
                  </a:lnTo>
                  <a:lnTo>
                    <a:pt x="140" y="228"/>
                  </a:lnTo>
                  <a:close/>
                  <a:moveTo>
                    <a:pt x="14" y="221"/>
                  </a:moveTo>
                  <a:lnTo>
                    <a:pt x="12" y="221"/>
                  </a:lnTo>
                  <a:lnTo>
                    <a:pt x="14" y="221"/>
                  </a:lnTo>
                  <a:close/>
                  <a:moveTo>
                    <a:pt x="12" y="219"/>
                  </a:moveTo>
                  <a:lnTo>
                    <a:pt x="9" y="219"/>
                  </a:lnTo>
                  <a:lnTo>
                    <a:pt x="12" y="219"/>
                  </a:lnTo>
                  <a:close/>
                  <a:moveTo>
                    <a:pt x="9" y="212"/>
                  </a:moveTo>
                  <a:lnTo>
                    <a:pt x="7" y="212"/>
                  </a:lnTo>
                  <a:lnTo>
                    <a:pt x="9" y="212"/>
                  </a:lnTo>
                  <a:close/>
                  <a:moveTo>
                    <a:pt x="0" y="207"/>
                  </a:moveTo>
                  <a:lnTo>
                    <a:pt x="0" y="209"/>
                  </a:lnTo>
                  <a:lnTo>
                    <a:pt x="0" y="207"/>
                  </a:lnTo>
                  <a:close/>
                  <a:moveTo>
                    <a:pt x="100" y="46"/>
                  </a:moveTo>
                  <a:lnTo>
                    <a:pt x="102" y="46"/>
                  </a:lnTo>
                  <a:lnTo>
                    <a:pt x="100" y="46"/>
                  </a:lnTo>
                  <a:close/>
                  <a:moveTo>
                    <a:pt x="104" y="43"/>
                  </a:moveTo>
                  <a:lnTo>
                    <a:pt x="104" y="46"/>
                  </a:lnTo>
                  <a:lnTo>
                    <a:pt x="104" y="43"/>
                  </a:lnTo>
                  <a:close/>
                  <a:moveTo>
                    <a:pt x="104" y="43"/>
                  </a:moveTo>
                  <a:lnTo>
                    <a:pt x="107" y="43"/>
                  </a:lnTo>
                  <a:lnTo>
                    <a:pt x="104" y="43"/>
                  </a:lnTo>
                  <a:close/>
                  <a:moveTo>
                    <a:pt x="100" y="38"/>
                  </a:moveTo>
                  <a:lnTo>
                    <a:pt x="100" y="36"/>
                  </a:lnTo>
                  <a:lnTo>
                    <a:pt x="100" y="38"/>
                  </a:lnTo>
                  <a:close/>
                  <a:moveTo>
                    <a:pt x="109" y="36"/>
                  </a:moveTo>
                  <a:lnTo>
                    <a:pt x="107" y="36"/>
                  </a:lnTo>
                  <a:lnTo>
                    <a:pt x="109" y="36"/>
                  </a:lnTo>
                  <a:close/>
                  <a:moveTo>
                    <a:pt x="100" y="36"/>
                  </a:moveTo>
                  <a:lnTo>
                    <a:pt x="97" y="36"/>
                  </a:lnTo>
                  <a:lnTo>
                    <a:pt x="100" y="36"/>
                  </a:lnTo>
                  <a:close/>
                  <a:moveTo>
                    <a:pt x="102" y="34"/>
                  </a:moveTo>
                  <a:lnTo>
                    <a:pt x="102" y="31"/>
                  </a:lnTo>
                  <a:lnTo>
                    <a:pt x="102" y="34"/>
                  </a:lnTo>
                  <a:close/>
                  <a:moveTo>
                    <a:pt x="102" y="31"/>
                  </a:moveTo>
                  <a:lnTo>
                    <a:pt x="100" y="31"/>
                  </a:lnTo>
                  <a:lnTo>
                    <a:pt x="102" y="31"/>
                  </a:lnTo>
                  <a:close/>
                  <a:moveTo>
                    <a:pt x="102" y="31"/>
                  </a:moveTo>
                  <a:lnTo>
                    <a:pt x="100" y="31"/>
                  </a:lnTo>
                  <a:lnTo>
                    <a:pt x="102" y="31"/>
                  </a:lnTo>
                  <a:close/>
                  <a:moveTo>
                    <a:pt x="100" y="24"/>
                  </a:moveTo>
                  <a:lnTo>
                    <a:pt x="97" y="24"/>
                  </a:lnTo>
                  <a:lnTo>
                    <a:pt x="100" y="24"/>
                  </a:lnTo>
                  <a:close/>
                  <a:moveTo>
                    <a:pt x="95" y="24"/>
                  </a:moveTo>
                  <a:lnTo>
                    <a:pt x="97" y="22"/>
                  </a:lnTo>
                  <a:lnTo>
                    <a:pt x="95" y="22"/>
                  </a:lnTo>
                  <a:lnTo>
                    <a:pt x="97" y="22"/>
                  </a:lnTo>
                  <a:lnTo>
                    <a:pt x="95" y="24"/>
                  </a:lnTo>
                  <a:close/>
                  <a:moveTo>
                    <a:pt x="97" y="19"/>
                  </a:moveTo>
                  <a:lnTo>
                    <a:pt x="97" y="17"/>
                  </a:lnTo>
                  <a:lnTo>
                    <a:pt x="97" y="19"/>
                  </a:lnTo>
                  <a:close/>
                  <a:moveTo>
                    <a:pt x="102" y="15"/>
                  </a:moveTo>
                  <a:lnTo>
                    <a:pt x="100" y="15"/>
                  </a:lnTo>
                  <a:lnTo>
                    <a:pt x="102" y="15"/>
                  </a:lnTo>
                  <a:close/>
                  <a:moveTo>
                    <a:pt x="100" y="15"/>
                  </a:moveTo>
                  <a:lnTo>
                    <a:pt x="102" y="15"/>
                  </a:lnTo>
                  <a:lnTo>
                    <a:pt x="100" y="15"/>
                  </a:lnTo>
                  <a:close/>
                  <a:moveTo>
                    <a:pt x="104" y="15"/>
                  </a:moveTo>
                  <a:lnTo>
                    <a:pt x="102" y="15"/>
                  </a:lnTo>
                  <a:lnTo>
                    <a:pt x="104" y="15"/>
                  </a:lnTo>
                  <a:close/>
                  <a:moveTo>
                    <a:pt x="104" y="15"/>
                  </a:moveTo>
                  <a:lnTo>
                    <a:pt x="102" y="15"/>
                  </a:lnTo>
                  <a:lnTo>
                    <a:pt x="104" y="15"/>
                  </a:lnTo>
                  <a:close/>
                  <a:moveTo>
                    <a:pt x="104" y="15"/>
                  </a:moveTo>
                  <a:lnTo>
                    <a:pt x="104" y="12"/>
                  </a:lnTo>
                  <a:lnTo>
                    <a:pt x="104" y="15"/>
                  </a:lnTo>
                  <a:close/>
                  <a:moveTo>
                    <a:pt x="104" y="15"/>
                  </a:moveTo>
                  <a:lnTo>
                    <a:pt x="104" y="12"/>
                  </a:lnTo>
                  <a:lnTo>
                    <a:pt x="104" y="15"/>
                  </a:lnTo>
                  <a:close/>
                  <a:moveTo>
                    <a:pt x="107" y="12"/>
                  </a:moveTo>
                  <a:lnTo>
                    <a:pt x="107" y="15"/>
                  </a:lnTo>
                  <a:lnTo>
                    <a:pt x="107" y="12"/>
                  </a:lnTo>
                  <a:lnTo>
                    <a:pt x="107" y="15"/>
                  </a:lnTo>
                  <a:lnTo>
                    <a:pt x="107" y="12"/>
                  </a:lnTo>
                  <a:close/>
                  <a:moveTo>
                    <a:pt x="104" y="12"/>
                  </a:moveTo>
                  <a:lnTo>
                    <a:pt x="104" y="15"/>
                  </a:lnTo>
                  <a:lnTo>
                    <a:pt x="104" y="12"/>
                  </a:lnTo>
                  <a:close/>
                  <a:moveTo>
                    <a:pt x="107" y="12"/>
                  </a:moveTo>
                  <a:lnTo>
                    <a:pt x="104" y="12"/>
                  </a:lnTo>
                  <a:lnTo>
                    <a:pt x="107" y="12"/>
                  </a:lnTo>
                  <a:close/>
                  <a:moveTo>
                    <a:pt x="109" y="10"/>
                  </a:moveTo>
                  <a:lnTo>
                    <a:pt x="109" y="12"/>
                  </a:lnTo>
                  <a:lnTo>
                    <a:pt x="109" y="10"/>
                  </a:lnTo>
                  <a:lnTo>
                    <a:pt x="109" y="12"/>
                  </a:lnTo>
                  <a:lnTo>
                    <a:pt x="109" y="10"/>
                  </a:lnTo>
                  <a:close/>
                  <a:moveTo>
                    <a:pt x="107" y="12"/>
                  </a:moveTo>
                  <a:lnTo>
                    <a:pt x="107" y="10"/>
                  </a:lnTo>
                  <a:lnTo>
                    <a:pt x="107" y="12"/>
                  </a:lnTo>
                  <a:close/>
                  <a:moveTo>
                    <a:pt x="107" y="12"/>
                  </a:moveTo>
                  <a:lnTo>
                    <a:pt x="107" y="10"/>
                  </a:lnTo>
                  <a:lnTo>
                    <a:pt x="107" y="12"/>
                  </a:lnTo>
                  <a:close/>
                  <a:moveTo>
                    <a:pt x="130" y="3"/>
                  </a:moveTo>
                  <a:lnTo>
                    <a:pt x="128" y="3"/>
                  </a:lnTo>
                  <a:lnTo>
                    <a:pt x="130" y="0"/>
                  </a:lnTo>
                  <a:lnTo>
                    <a:pt x="130"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5" name="Freeform 52483"/>
            <p:cNvSpPr>
              <a:spLocks/>
            </p:cNvSpPr>
            <p:nvPr/>
          </p:nvSpPr>
          <p:spPr bwMode="auto">
            <a:xfrm>
              <a:off x="1908174" y="4757754"/>
              <a:ext cx="11113" cy="7938"/>
            </a:xfrm>
            <a:custGeom>
              <a:avLst/>
              <a:gdLst>
                <a:gd name="T0" fmla="*/ 3 w 7"/>
                <a:gd name="T1" fmla="*/ 0 h 5"/>
                <a:gd name="T2" fmla="*/ 5 w 7"/>
                <a:gd name="T3" fmla="*/ 0 h 5"/>
                <a:gd name="T4" fmla="*/ 5 w 7"/>
                <a:gd name="T5" fmla="*/ 0 h 5"/>
                <a:gd name="T6" fmla="*/ 5 w 7"/>
                <a:gd name="T7" fmla="*/ 0 h 5"/>
                <a:gd name="T8" fmla="*/ 5 w 7"/>
                <a:gd name="T9" fmla="*/ 0 h 5"/>
                <a:gd name="T10" fmla="*/ 5 w 7"/>
                <a:gd name="T11" fmla="*/ 0 h 5"/>
                <a:gd name="T12" fmla="*/ 5 w 7"/>
                <a:gd name="T13" fmla="*/ 0 h 5"/>
                <a:gd name="T14" fmla="*/ 7 w 7"/>
                <a:gd name="T15" fmla="*/ 0 h 5"/>
                <a:gd name="T16" fmla="*/ 7 w 7"/>
                <a:gd name="T17" fmla="*/ 0 h 5"/>
                <a:gd name="T18" fmla="*/ 7 w 7"/>
                <a:gd name="T19" fmla="*/ 0 h 5"/>
                <a:gd name="T20" fmla="*/ 7 w 7"/>
                <a:gd name="T21" fmla="*/ 0 h 5"/>
                <a:gd name="T22" fmla="*/ 7 w 7"/>
                <a:gd name="T23" fmla="*/ 0 h 5"/>
                <a:gd name="T24" fmla="*/ 7 w 7"/>
                <a:gd name="T25" fmla="*/ 0 h 5"/>
                <a:gd name="T26" fmla="*/ 7 w 7"/>
                <a:gd name="T27" fmla="*/ 3 h 5"/>
                <a:gd name="T28" fmla="*/ 7 w 7"/>
                <a:gd name="T29" fmla="*/ 3 h 5"/>
                <a:gd name="T30" fmla="*/ 7 w 7"/>
                <a:gd name="T31" fmla="*/ 3 h 5"/>
                <a:gd name="T32" fmla="*/ 7 w 7"/>
                <a:gd name="T33" fmla="*/ 3 h 5"/>
                <a:gd name="T34" fmla="*/ 7 w 7"/>
                <a:gd name="T35" fmla="*/ 3 h 5"/>
                <a:gd name="T36" fmla="*/ 7 w 7"/>
                <a:gd name="T37" fmla="*/ 3 h 5"/>
                <a:gd name="T38" fmla="*/ 7 w 7"/>
                <a:gd name="T39" fmla="*/ 5 h 5"/>
                <a:gd name="T40" fmla="*/ 7 w 7"/>
                <a:gd name="T41" fmla="*/ 5 h 5"/>
                <a:gd name="T42" fmla="*/ 7 w 7"/>
                <a:gd name="T43" fmla="*/ 5 h 5"/>
                <a:gd name="T44" fmla="*/ 7 w 7"/>
                <a:gd name="T45" fmla="*/ 5 h 5"/>
                <a:gd name="T46" fmla="*/ 5 w 7"/>
                <a:gd name="T47" fmla="*/ 5 h 5"/>
                <a:gd name="T48" fmla="*/ 5 w 7"/>
                <a:gd name="T49" fmla="*/ 3 h 5"/>
                <a:gd name="T50" fmla="*/ 5 w 7"/>
                <a:gd name="T51" fmla="*/ 5 h 5"/>
                <a:gd name="T52" fmla="*/ 5 w 7"/>
                <a:gd name="T53" fmla="*/ 5 h 5"/>
                <a:gd name="T54" fmla="*/ 5 w 7"/>
                <a:gd name="T55" fmla="*/ 5 h 5"/>
                <a:gd name="T56" fmla="*/ 5 w 7"/>
                <a:gd name="T57" fmla="*/ 5 h 5"/>
                <a:gd name="T58" fmla="*/ 5 w 7"/>
                <a:gd name="T59" fmla="*/ 5 h 5"/>
                <a:gd name="T60" fmla="*/ 5 w 7"/>
                <a:gd name="T61" fmla="*/ 3 h 5"/>
                <a:gd name="T62" fmla="*/ 5 w 7"/>
                <a:gd name="T63" fmla="*/ 3 h 5"/>
                <a:gd name="T64" fmla="*/ 3 w 7"/>
                <a:gd name="T65" fmla="*/ 3 h 5"/>
                <a:gd name="T66" fmla="*/ 3 w 7"/>
                <a:gd name="T67" fmla="*/ 3 h 5"/>
                <a:gd name="T68" fmla="*/ 3 w 7"/>
                <a:gd name="T69" fmla="*/ 3 h 5"/>
                <a:gd name="T70" fmla="*/ 3 w 7"/>
                <a:gd name="T71" fmla="*/ 5 h 5"/>
                <a:gd name="T72" fmla="*/ 3 w 7"/>
                <a:gd name="T73" fmla="*/ 5 h 5"/>
                <a:gd name="T74" fmla="*/ 3 w 7"/>
                <a:gd name="T75" fmla="*/ 5 h 5"/>
                <a:gd name="T76" fmla="*/ 3 w 7"/>
                <a:gd name="T77" fmla="*/ 5 h 5"/>
                <a:gd name="T78" fmla="*/ 3 w 7"/>
                <a:gd name="T79" fmla="*/ 3 h 5"/>
                <a:gd name="T80" fmla="*/ 3 w 7"/>
                <a:gd name="T81" fmla="*/ 3 h 5"/>
                <a:gd name="T82" fmla="*/ 3 w 7"/>
                <a:gd name="T83" fmla="*/ 3 h 5"/>
                <a:gd name="T84" fmla="*/ 3 w 7"/>
                <a:gd name="T85" fmla="*/ 3 h 5"/>
                <a:gd name="T86" fmla="*/ 3 w 7"/>
                <a:gd name="T87" fmla="*/ 3 h 5"/>
                <a:gd name="T88" fmla="*/ 0 w 7"/>
                <a:gd name="T89" fmla="*/ 5 h 5"/>
                <a:gd name="T90" fmla="*/ 0 w 7"/>
                <a:gd name="T91" fmla="*/ 3 h 5"/>
                <a:gd name="T92" fmla="*/ 0 w 7"/>
                <a:gd name="T93" fmla="*/ 3 h 5"/>
                <a:gd name="T94" fmla="*/ 0 w 7"/>
                <a:gd name="T95" fmla="*/ 3 h 5"/>
                <a:gd name="T96" fmla="*/ 3 w 7"/>
                <a:gd name="T97" fmla="*/ 3 h 5"/>
                <a:gd name="T98" fmla="*/ 0 w 7"/>
                <a:gd name="T99" fmla="*/ 3 h 5"/>
                <a:gd name="T100" fmla="*/ 0 w 7"/>
                <a:gd name="T101" fmla="*/ 0 h 5"/>
                <a:gd name="T102" fmla="*/ 0 w 7"/>
                <a:gd name="T103" fmla="*/ 0 h 5"/>
                <a:gd name="T104" fmla="*/ 0 w 7"/>
                <a:gd name="T105" fmla="*/ 0 h 5"/>
                <a:gd name="T106" fmla="*/ 0 w 7"/>
                <a:gd name="T107" fmla="*/ 0 h 5"/>
                <a:gd name="T108" fmla="*/ 0 w 7"/>
                <a:gd name="T109" fmla="*/ 0 h 5"/>
                <a:gd name="T110" fmla="*/ 3 w 7"/>
                <a:gd name="T111" fmla="*/ 0 h 5"/>
                <a:gd name="T112" fmla="*/ 3 w 7"/>
                <a:gd name="T113" fmla="*/ 0 h 5"/>
                <a:gd name="T114" fmla="*/ 3 w 7"/>
                <a:gd name="T115" fmla="*/ 0 h 5"/>
                <a:gd name="T116" fmla="*/ 3 w 7"/>
                <a:gd name="T117" fmla="*/ 0 h 5"/>
                <a:gd name="T118" fmla="*/ 3 w 7"/>
                <a:gd name="T119" fmla="*/ 0 h 5"/>
                <a:gd name="T120" fmla="*/ 3 w 7"/>
                <a:gd name="T1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 h="5">
                  <a:moveTo>
                    <a:pt x="3" y="0"/>
                  </a:moveTo>
                  <a:lnTo>
                    <a:pt x="3" y="0"/>
                  </a:lnTo>
                  <a:lnTo>
                    <a:pt x="3"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3"/>
                  </a:lnTo>
                  <a:lnTo>
                    <a:pt x="7" y="0"/>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5"/>
                  </a:lnTo>
                  <a:lnTo>
                    <a:pt x="7" y="5"/>
                  </a:lnTo>
                  <a:lnTo>
                    <a:pt x="7" y="5"/>
                  </a:lnTo>
                  <a:lnTo>
                    <a:pt x="7" y="5"/>
                  </a:lnTo>
                  <a:lnTo>
                    <a:pt x="7" y="5"/>
                  </a:lnTo>
                  <a:lnTo>
                    <a:pt x="7" y="5"/>
                  </a:lnTo>
                  <a:lnTo>
                    <a:pt x="7" y="5"/>
                  </a:lnTo>
                  <a:lnTo>
                    <a:pt x="7" y="5"/>
                  </a:lnTo>
                  <a:lnTo>
                    <a:pt x="7" y="5"/>
                  </a:lnTo>
                  <a:lnTo>
                    <a:pt x="7" y="5"/>
                  </a:lnTo>
                  <a:lnTo>
                    <a:pt x="7" y="5"/>
                  </a:lnTo>
                  <a:lnTo>
                    <a:pt x="5" y="5"/>
                  </a:lnTo>
                  <a:lnTo>
                    <a:pt x="5" y="5"/>
                  </a:lnTo>
                  <a:lnTo>
                    <a:pt x="5" y="5"/>
                  </a:lnTo>
                  <a:lnTo>
                    <a:pt x="5" y="3"/>
                  </a:lnTo>
                  <a:lnTo>
                    <a:pt x="5" y="3"/>
                  </a:lnTo>
                  <a:lnTo>
                    <a:pt x="5" y="3"/>
                  </a:lnTo>
                  <a:lnTo>
                    <a:pt x="5" y="3"/>
                  </a:lnTo>
                  <a:lnTo>
                    <a:pt x="5" y="3"/>
                  </a:lnTo>
                  <a:lnTo>
                    <a:pt x="5" y="5"/>
                  </a:lnTo>
                  <a:lnTo>
                    <a:pt x="5" y="5"/>
                  </a:lnTo>
                  <a:lnTo>
                    <a:pt x="5" y="5"/>
                  </a:lnTo>
                  <a:lnTo>
                    <a:pt x="5" y="5"/>
                  </a:lnTo>
                  <a:lnTo>
                    <a:pt x="5" y="5"/>
                  </a:lnTo>
                  <a:lnTo>
                    <a:pt x="5" y="5"/>
                  </a:lnTo>
                  <a:lnTo>
                    <a:pt x="5" y="5"/>
                  </a:lnTo>
                  <a:lnTo>
                    <a:pt x="5" y="5"/>
                  </a:lnTo>
                  <a:lnTo>
                    <a:pt x="5" y="5"/>
                  </a:lnTo>
                  <a:lnTo>
                    <a:pt x="5" y="5"/>
                  </a:lnTo>
                  <a:lnTo>
                    <a:pt x="5" y="5"/>
                  </a:lnTo>
                  <a:lnTo>
                    <a:pt x="5" y="5"/>
                  </a:lnTo>
                  <a:lnTo>
                    <a:pt x="5" y="5"/>
                  </a:lnTo>
                  <a:lnTo>
                    <a:pt x="5" y="3"/>
                  </a:lnTo>
                  <a:lnTo>
                    <a:pt x="5" y="3"/>
                  </a:lnTo>
                  <a:lnTo>
                    <a:pt x="5" y="3"/>
                  </a:lnTo>
                  <a:lnTo>
                    <a:pt x="5" y="3"/>
                  </a:lnTo>
                  <a:lnTo>
                    <a:pt x="5" y="3"/>
                  </a:lnTo>
                  <a:lnTo>
                    <a:pt x="5" y="3"/>
                  </a:lnTo>
                  <a:lnTo>
                    <a:pt x="5" y="3"/>
                  </a:lnTo>
                  <a:lnTo>
                    <a:pt x="5" y="3"/>
                  </a:lnTo>
                  <a:lnTo>
                    <a:pt x="3" y="3"/>
                  </a:lnTo>
                  <a:lnTo>
                    <a:pt x="3" y="3"/>
                  </a:lnTo>
                  <a:lnTo>
                    <a:pt x="3" y="3"/>
                  </a:lnTo>
                  <a:lnTo>
                    <a:pt x="3" y="3"/>
                  </a:lnTo>
                  <a:lnTo>
                    <a:pt x="3" y="3"/>
                  </a:lnTo>
                  <a:lnTo>
                    <a:pt x="3" y="3"/>
                  </a:lnTo>
                  <a:lnTo>
                    <a:pt x="3" y="3"/>
                  </a:lnTo>
                  <a:lnTo>
                    <a:pt x="3" y="3"/>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0" y="5"/>
                  </a:lnTo>
                  <a:lnTo>
                    <a:pt x="0" y="3"/>
                  </a:lnTo>
                  <a:lnTo>
                    <a:pt x="0" y="3"/>
                  </a:lnTo>
                  <a:lnTo>
                    <a:pt x="0" y="3"/>
                  </a:lnTo>
                  <a:lnTo>
                    <a:pt x="0" y="3"/>
                  </a:lnTo>
                  <a:lnTo>
                    <a:pt x="0" y="3"/>
                  </a:lnTo>
                  <a:lnTo>
                    <a:pt x="0" y="3"/>
                  </a:lnTo>
                  <a:lnTo>
                    <a:pt x="0" y="3"/>
                  </a:lnTo>
                  <a:lnTo>
                    <a:pt x="0" y="3"/>
                  </a:lnTo>
                  <a:lnTo>
                    <a:pt x="0" y="3"/>
                  </a:lnTo>
                  <a:lnTo>
                    <a:pt x="0" y="3"/>
                  </a:lnTo>
                  <a:lnTo>
                    <a:pt x="0" y="3"/>
                  </a:lnTo>
                  <a:lnTo>
                    <a:pt x="3" y="3"/>
                  </a:lnTo>
                  <a:lnTo>
                    <a:pt x="0" y="3"/>
                  </a:lnTo>
                  <a:lnTo>
                    <a:pt x="0" y="3"/>
                  </a:lnTo>
                  <a:lnTo>
                    <a:pt x="0" y="3"/>
                  </a:lnTo>
                  <a:lnTo>
                    <a:pt x="0" y="3"/>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6" name="Freeform 52484"/>
            <p:cNvSpPr>
              <a:spLocks noEditPoints="1"/>
            </p:cNvSpPr>
            <p:nvPr/>
          </p:nvSpPr>
          <p:spPr bwMode="auto">
            <a:xfrm>
              <a:off x="1912935" y="4754579"/>
              <a:ext cx="14288" cy="11113"/>
            </a:xfrm>
            <a:custGeom>
              <a:avLst/>
              <a:gdLst>
                <a:gd name="T0" fmla="*/ 4 w 9"/>
                <a:gd name="T1" fmla="*/ 7 h 7"/>
                <a:gd name="T2" fmla="*/ 4 w 9"/>
                <a:gd name="T3" fmla="*/ 7 h 7"/>
                <a:gd name="T4" fmla="*/ 4 w 9"/>
                <a:gd name="T5" fmla="*/ 7 h 7"/>
                <a:gd name="T6" fmla="*/ 4 w 9"/>
                <a:gd name="T7" fmla="*/ 7 h 7"/>
                <a:gd name="T8" fmla="*/ 4 w 9"/>
                <a:gd name="T9" fmla="*/ 7 h 7"/>
                <a:gd name="T10" fmla="*/ 2 w 9"/>
                <a:gd name="T11" fmla="*/ 7 h 7"/>
                <a:gd name="T12" fmla="*/ 2 w 9"/>
                <a:gd name="T13" fmla="*/ 7 h 7"/>
                <a:gd name="T14" fmla="*/ 2 w 9"/>
                <a:gd name="T15" fmla="*/ 7 h 7"/>
                <a:gd name="T16" fmla="*/ 2 w 9"/>
                <a:gd name="T17" fmla="*/ 7 h 7"/>
                <a:gd name="T18" fmla="*/ 2 w 9"/>
                <a:gd name="T19" fmla="*/ 7 h 7"/>
                <a:gd name="T20" fmla="*/ 2 w 9"/>
                <a:gd name="T21" fmla="*/ 5 h 7"/>
                <a:gd name="T22" fmla="*/ 2 w 9"/>
                <a:gd name="T23" fmla="*/ 5 h 7"/>
                <a:gd name="T24" fmla="*/ 2 w 9"/>
                <a:gd name="T25" fmla="*/ 5 h 7"/>
                <a:gd name="T26" fmla="*/ 2 w 9"/>
                <a:gd name="T27" fmla="*/ 5 h 7"/>
                <a:gd name="T28" fmla="*/ 2 w 9"/>
                <a:gd name="T29" fmla="*/ 5 h 7"/>
                <a:gd name="T30" fmla="*/ 2 w 9"/>
                <a:gd name="T31" fmla="*/ 5 h 7"/>
                <a:gd name="T32" fmla="*/ 2 w 9"/>
                <a:gd name="T33" fmla="*/ 5 h 7"/>
                <a:gd name="T34" fmla="*/ 0 w 9"/>
                <a:gd name="T35" fmla="*/ 5 h 7"/>
                <a:gd name="T36" fmla="*/ 0 w 9"/>
                <a:gd name="T37" fmla="*/ 5 h 7"/>
                <a:gd name="T38" fmla="*/ 0 w 9"/>
                <a:gd name="T39" fmla="*/ 5 h 7"/>
                <a:gd name="T40" fmla="*/ 0 w 9"/>
                <a:gd name="T41" fmla="*/ 5 h 7"/>
                <a:gd name="T42" fmla="*/ 0 w 9"/>
                <a:gd name="T43" fmla="*/ 5 h 7"/>
                <a:gd name="T44" fmla="*/ 9 w 9"/>
                <a:gd name="T45" fmla="*/ 0 h 7"/>
                <a:gd name="T46" fmla="*/ 9 w 9"/>
                <a:gd name="T47" fmla="*/ 0 h 7"/>
                <a:gd name="T48" fmla="*/ 9 w 9"/>
                <a:gd name="T49" fmla="*/ 0 h 7"/>
                <a:gd name="T50" fmla="*/ 9 w 9"/>
                <a:gd name="T51" fmla="*/ 0 h 7"/>
                <a:gd name="T52" fmla="*/ 9 w 9"/>
                <a:gd name="T53" fmla="*/ 0 h 7"/>
                <a:gd name="T54" fmla="*/ 9 w 9"/>
                <a:gd name="T55" fmla="*/ 0 h 7"/>
                <a:gd name="T56" fmla="*/ 9 w 9"/>
                <a:gd name="T57" fmla="*/ 0 h 7"/>
                <a:gd name="T58" fmla="*/ 9 w 9"/>
                <a:gd name="T59" fmla="*/ 0 h 7"/>
                <a:gd name="T60" fmla="*/ 9 w 9"/>
                <a:gd name="T6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 h="7">
                  <a:moveTo>
                    <a:pt x="4" y="7"/>
                  </a:moveTo>
                  <a:lnTo>
                    <a:pt x="4" y="7"/>
                  </a:lnTo>
                  <a:lnTo>
                    <a:pt x="4" y="7"/>
                  </a:lnTo>
                  <a:lnTo>
                    <a:pt x="4" y="7"/>
                  </a:lnTo>
                  <a:lnTo>
                    <a:pt x="4" y="7"/>
                  </a:lnTo>
                  <a:close/>
                  <a:moveTo>
                    <a:pt x="2" y="7"/>
                  </a:moveTo>
                  <a:lnTo>
                    <a:pt x="2" y="7"/>
                  </a:lnTo>
                  <a:lnTo>
                    <a:pt x="2" y="7"/>
                  </a:lnTo>
                  <a:lnTo>
                    <a:pt x="2" y="7"/>
                  </a:lnTo>
                  <a:lnTo>
                    <a:pt x="2" y="7"/>
                  </a:lnTo>
                  <a:close/>
                  <a:moveTo>
                    <a:pt x="2" y="5"/>
                  </a:moveTo>
                  <a:lnTo>
                    <a:pt x="2" y="5"/>
                  </a:lnTo>
                  <a:lnTo>
                    <a:pt x="2" y="5"/>
                  </a:lnTo>
                  <a:lnTo>
                    <a:pt x="2" y="5"/>
                  </a:lnTo>
                  <a:lnTo>
                    <a:pt x="2" y="5"/>
                  </a:lnTo>
                  <a:lnTo>
                    <a:pt x="2" y="5"/>
                  </a:lnTo>
                  <a:lnTo>
                    <a:pt x="2" y="5"/>
                  </a:lnTo>
                  <a:close/>
                  <a:moveTo>
                    <a:pt x="0" y="5"/>
                  </a:moveTo>
                  <a:lnTo>
                    <a:pt x="0" y="5"/>
                  </a:lnTo>
                  <a:lnTo>
                    <a:pt x="0" y="5"/>
                  </a:lnTo>
                  <a:lnTo>
                    <a:pt x="0" y="5"/>
                  </a:lnTo>
                  <a:lnTo>
                    <a:pt x="0" y="5"/>
                  </a:lnTo>
                  <a:close/>
                  <a:moveTo>
                    <a:pt x="9" y="0"/>
                  </a:moveTo>
                  <a:lnTo>
                    <a:pt x="9" y="0"/>
                  </a:lnTo>
                  <a:lnTo>
                    <a:pt x="9" y="0"/>
                  </a:lnTo>
                  <a:lnTo>
                    <a:pt x="9" y="0"/>
                  </a:lnTo>
                  <a:close/>
                  <a:moveTo>
                    <a:pt x="9" y="0"/>
                  </a:moveTo>
                  <a:lnTo>
                    <a:pt x="9" y="0"/>
                  </a:lnTo>
                  <a:lnTo>
                    <a:pt x="9" y="0"/>
                  </a:lnTo>
                  <a:lnTo>
                    <a:pt x="9" y="0"/>
                  </a:lnTo>
                  <a:lnTo>
                    <a:pt x="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7" name="Freeform 52485"/>
            <p:cNvSpPr>
              <a:spLocks/>
            </p:cNvSpPr>
            <p:nvPr/>
          </p:nvSpPr>
          <p:spPr bwMode="auto">
            <a:xfrm>
              <a:off x="3125784" y="4056076"/>
              <a:ext cx="379413" cy="196850"/>
            </a:xfrm>
            <a:custGeom>
              <a:avLst/>
              <a:gdLst>
                <a:gd name="T0" fmla="*/ 2 w 239"/>
                <a:gd name="T1" fmla="*/ 67 h 124"/>
                <a:gd name="T2" fmla="*/ 12 w 239"/>
                <a:gd name="T3" fmla="*/ 55 h 124"/>
                <a:gd name="T4" fmla="*/ 16 w 239"/>
                <a:gd name="T5" fmla="*/ 41 h 124"/>
                <a:gd name="T6" fmla="*/ 19 w 239"/>
                <a:gd name="T7" fmla="*/ 38 h 124"/>
                <a:gd name="T8" fmla="*/ 19 w 239"/>
                <a:gd name="T9" fmla="*/ 38 h 124"/>
                <a:gd name="T10" fmla="*/ 21 w 239"/>
                <a:gd name="T11" fmla="*/ 29 h 124"/>
                <a:gd name="T12" fmla="*/ 35 w 239"/>
                <a:gd name="T13" fmla="*/ 24 h 124"/>
                <a:gd name="T14" fmla="*/ 52 w 239"/>
                <a:gd name="T15" fmla="*/ 17 h 124"/>
                <a:gd name="T16" fmla="*/ 61 w 239"/>
                <a:gd name="T17" fmla="*/ 29 h 124"/>
                <a:gd name="T18" fmla="*/ 71 w 239"/>
                <a:gd name="T19" fmla="*/ 41 h 124"/>
                <a:gd name="T20" fmla="*/ 80 w 239"/>
                <a:gd name="T21" fmla="*/ 53 h 124"/>
                <a:gd name="T22" fmla="*/ 95 w 239"/>
                <a:gd name="T23" fmla="*/ 57 h 124"/>
                <a:gd name="T24" fmla="*/ 87 w 239"/>
                <a:gd name="T25" fmla="*/ 62 h 124"/>
                <a:gd name="T26" fmla="*/ 87 w 239"/>
                <a:gd name="T27" fmla="*/ 62 h 124"/>
                <a:gd name="T28" fmla="*/ 102 w 239"/>
                <a:gd name="T29" fmla="*/ 55 h 124"/>
                <a:gd name="T30" fmla="*/ 106 w 239"/>
                <a:gd name="T31" fmla="*/ 64 h 124"/>
                <a:gd name="T32" fmla="*/ 106 w 239"/>
                <a:gd name="T33" fmla="*/ 60 h 124"/>
                <a:gd name="T34" fmla="*/ 102 w 239"/>
                <a:gd name="T35" fmla="*/ 55 h 124"/>
                <a:gd name="T36" fmla="*/ 109 w 239"/>
                <a:gd name="T37" fmla="*/ 48 h 124"/>
                <a:gd name="T38" fmla="*/ 111 w 239"/>
                <a:gd name="T39" fmla="*/ 34 h 124"/>
                <a:gd name="T40" fmla="*/ 111 w 239"/>
                <a:gd name="T41" fmla="*/ 15 h 124"/>
                <a:gd name="T42" fmla="*/ 118 w 239"/>
                <a:gd name="T43" fmla="*/ 7 h 124"/>
                <a:gd name="T44" fmla="*/ 133 w 239"/>
                <a:gd name="T45" fmla="*/ 3 h 124"/>
                <a:gd name="T46" fmla="*/ 144 w 239"/>
                <a:gd name="T47" fmla="*/ 0 h 124"/>
                <a:gd name="T48" fmla="*/ 156 w 239"/>
                <a:gd name="T49" fmla="*/ 10 h 124"/>
                <a:gd name="T50" fmla="*/ 166 w 239"/>
                <a:gd name="T51" fmla="*/ 12 h 124"/>
                <a:gd name="T52" fmla="*/ 170 w 239"/>
                <a:gd name="T53" fmla="*/ 19 h 124"/>
                <a:gd name="T54" fmla="*/ 178 w 239"/>
                <a:gd name="T55" fmla="*/ 26 h 124"/>
                <a:gd name="T56" fmla="*/ 192 w 239"/>
                <a:gd name="T57" fmla="*/ 26 h 124"/>
                <a:gd name="T58" fmla="*/ 201 w 239"/>
                <a:gd name="T59" fmla="*/ 26 h 124"/>
                <a:gd name="T60" fmla="*/ 216 w 239"/>
                <a:gd name="T61" fmla="*/ 29 h 124"/>
                <a:gd name="T62" fmla="*/ 225 w 239"/>
                <a:gd name="T63" fmla="*/ 38 h 124"/>
                <a:gd name="T64" fmla="*/ 223 w 239"/>
                <a:gd name="T65" fmla="*/ 53 h 124"/>
                <a:gd name="T66" fmla="*/ 223 w 239"/>
                <a:gd name="T67" fmla="*/ 62 h 124"/>
                <a:gd name="T68" fmla="*/ 230 w 239"/>
                <a:gd name="T69" fmla="*/ 64 h 124"/>
                <a:gd name="T70" fmla="*/ 232 w 239"/>
                <a:gd name="T71" fmla="*/ 76 h 124"/>
                <a:gd name="T72" fmla="*/ 237 w 239"/>
                <a:gd name="T73" fmla="*/ 83 h 124"/>
                <a:gd name="T74" fmla="*/ 239 w 239"/>
                <a:gd name="T75" fmla="*/ 95 h 124"/>
                <a:gd name="T76" fmla="*/ 230 w 239"/>
                <a:gd name="T77" fmla="*/ 105 h 124"/>
                <a:gd name="T78" fmla="*/ 218 w 239"/>
                <a:gd name="T79" fmla="*/ 112 h 124"/>
                <a:gd name="T80" fmla="*/ 208 w 239"/>
                <a:gd name="T81" fmla="*/ 119 h 124"/>
                <a:gd name="T82" fmla="*/ 197 w 239"/>
                <a:gd name="T83" fmla="*/ 119 h 124"/>
                <a:gd name="T84" fmla="*/ 187 w 239"/>
                <a:gd name="T85" fmla="*/ 124 h 124"/>
                <a:gd name="T86" fmla="*/ 173 w 239"/>
                <a:gd name="T87" fmla="*/ 114 h 124"/>
                <a:gd name="T88" fmla="*/ 161 w 239"/>
                <a:gd name="T89" fmla="*/ 107 h 124"/>
                <a:gd name="T90" fmla="*/ 152 w 239"/>
                <a:gd name="T91" fmla="*/ 100 h 124"/>
                <a:gd name="T92" fmla="*/ 140 w 239"/>
                <a:gd name="T93" fmla="*/ 98 h 124"/>
                <a:gd name="T94" fmla="*/ 133 w 239"/>
                <a:gd name="T95" fmla="*/ 91 h 124"/>
                <a:gd name="T96" fmla="*/ 130 w 239"/>
                <a:gd name="T97" fmla="*/ 83 h 124"/>
                <a:gd name="T98" fmla="*/ 121 w 239"/>
                <a:gd name="T99" fmla="*/ 88 h 124"/>
                <a:gd name="T100" fmla="*/ 109 w 239"/>
                <a:gd name="T101" fmla="*/ 91 h 124"/>
                <a:gd name="T102" fmla="*/ 102 w 239"/>
                <a:gd name="T103" fmla="*/ 91 h 124"/>
                <a:gd name="T104" fmla="*/ 85 w 239"/>
                <a:gd name="T105" fmla="*/ 88 h 124"/>
                <a:gd name="T106" fmla="*/ 73 w 239"/>
                <a:gd name="T107" fmla="*/ 91 h 124"/>
                <a:gd name="T108" fmla="*/ 61 w 239"/>
                <a:gd name="T109" fmla="*/ 88 h 124"/>
                <a:gd name="T110" fmla="*/ 45 w 239"/>
                <a:gd name="T111" fmla="*/ 86 h 124"/>
                <a:gd name="T112" fmla="*/ 28 w 239"/>
                <a:gd name="T113" fmla="*/ 88 h 124"/>
                <a:gd name="T114" fmla="*/ 14 w 239"/>
                <a:gd name="T115" fmla="*/ 95 h 124"/>
                <a:gd name="T116" fmla="*/ 7 w 239"/>
                <a:gd name="T117" fmla="*/ 100 h 124"/>
                <a:gd name="T118" fmla="*/ 0 w 239"/>
                <a:gd name="T119" fmla="*/ 9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9" h="124">
                  <a:moveTo>
                    <a:pt x="2" y="79"/>
                  </a:moveTo>
                  <a:lnTo>
                    <a:pt x="0" y="79"/>
                  </a:lnTo>
                  <a:lnTo>
                    <a:pt x="0" y="76"/>
                  </a:lnTo>
                  <a:lnTo>
                    <a:pt x="2" y="76"/>
                  </a:lnTo>
                  <a:lnTo>
                    <a:pt x="2" y="74"/>
                  </a:lnTo>
                  <a:lnTo>
                    <a:pt x="2" y="72"/>
                  </a:lnTo>
                  <a:lnTo>
                    <a:pt x="2" y="69"/>
                  </a:lnTo>
                  <a:lnTo>
                    <a:pt x="2" y="67"/>
                  </a:lnTo>
                  <a:lnTo>
                    <a:pt x="2" y="64"/>
                  </a:lnTo>
                  <a:lnTo>
                    <a:pt x="4" y="64"/>
                  </a:lnTo>
                  <a:lnTo>
                    <a:pt x="4" y="62"/>
                  </a:lnTo>
                  <a:lnTo>
                    <a:pt x="7" y="62"/>
                  </a:lnTo>
                  <a:lnTo>
                    <a:pt x="9" y="60"/>
                  </a:lnTo>
                  <a:lnTo>
                    <a:pt x="9" y="57"/>
                  </a:lnTo>
                  <a:lnTo>
                    <a:pt x="12" y="57"/>
                  </a:lnTo>
                  <a:lnTo>
                    <a:pt x="12" y="55"/>
                  </a:lnTo>
                  <a:lnTo>
                    <a:pt x="14" y="55"/>
                  </a:lnTo>
                  <a:lnTo>
                    <a:pt x="14" y="53"/>
                  </a:lnTo>
                  <a:lnTo>
                    <a:pt x="14" y="50"/>
                  </a:lnTo>
                  <a:lnTo>
                    <a:pt x="14" y="48"/>
                  </a:lnTo>
                  <a:lnTo>
                    <a:pt x="14" y="45"/>
                  </a:lnTo>
                  <a:lnTo>
                    <a:pt x="14" y="43"/>
                  </a:lnTo>
                  <a:lnTo>
                    <a:pt x="14" y="41"/>
                  </a:lnTo>
                  <a:lnTo>
                    <a:pt x="16" y="41"/>
                  </a:lnTo>
                  <a:lnTo>
                    <a:pt x="16" y="38"/>
                  </a:lnTo>
                  <a:lnTo>
                    <a:pt x="16" y="36"/>
                  </a:lnTo>
                  <a:lnTo>
                    <a:pt x="19" y="36"/>
                  </a:lnTo>
                  <a:lnTo>
                    <a:pt x="19" y="34"/>
                  </a:lnTo>
                  <a:lnTo>
                    <a:pt x="19" y="36"/>
                  </a:lnTo>
                  <a:lnTo>
                    <a:pt x="21" y="36"/>
                  </a:lnTo>
                  <a:lnTo>
                    <a:pt x="19" y="36"/>
                  </a:lnTo>
                  <a:lnTo>
                    <a:pt x="19" y="38"/>
                  </a:lnTo>
                  <a:lnTo>
                    <a:pt x="21" y="38"/>
                  </a:lnTo>
                  <a:lnTo>
                    <a:pt x="19" y="38"/>
                  </a:lnTo>
                  <a:lnTo>
                    <a:pt x="19" y="41"/>
                  </a:lnTo>
                  <a:lnTo>
                    <a:pt x="21" y="41"/>
                  </a:lnTo>
                  <a:lnTo>
                    <a:pt x="21" y="43"/>
                  </a:lnTo>
                  <a:lnTo>
                    <a:pt x="21" y="41"/>
                  </a:lnTo>
                  <a:lnTo>
                    <a:pt x="19" y="41"/>
                  </a:lnTo>
                  <a:lnTo>
                    <a:pt x="19" y="38"/>
                  </a:lnTo>
                  <a:lnTo>
                    <a:pt x="21" y="38"/>
                  </a:lnTo>
                  <a:lnTo>
                    <a:pt x="19" y="36"/>
                  </a:lnTo>
                  <a:lnTo>
                    <a:pt x="21" y="36"/>
                  </a:lnTo>
                  <a:lnTo>
                    <a:pt x="19" y="36"/>
                  </a:lnTo>
                  <a:lnTo>
                    <a:pt x="19" y="34"/>
                  </a:lnTo>
                  <a:lnTo>
                    <a:pt x="21" y="34"/>
                  </a:lnTo>
                  <a:lnTo>
                    <a:pt x="21" y="31"/>
                  </a:lnTo>
                  <a:lnTo>
                    <a:pt x="21" y="29"/>
                  </a:lnTo>
                  <a:lnTo>
                    <a:pt x="23" y="29"/>
                  </a:lnTo>
                  <a:lnTo>
                    <a:pt x="23" y="26"/>
                  </a:lnTo>
                  <a:lnTo>
                    <a:pt x="26" y="26"/>
                  </a:lnTo>
                  <a:lnTo>
                    <a:pt x="26" y="24"/>
                  </a:lnTo>
                  <a:lnTo>
                    <a:pt x="28" y="24"/>
                  </a:lnTo>
                  <a:lnTo>
                    <a:pt x="31" y="24"/>
                  </a:lnTo>
                  <a:lnTo>
                    <a:pt x="33" y="24"/>
                  </a:lnTo>
                  <a:lnTo>
                    <a:pt x="35" y="24"/>
                  </a:lnTo>
                  <a:lnTo>
                    <a:pt x="38" y="22"/>
                  </a:lnTo>
                  <a:lnTo>
                    <a:pt x="40" y="22"/>
                  </a:lnTo>
                  <a:lnTo>
                    <a:pt x="42" y="19"/>
                  </a:lnTo>
                  <a:lnTo>
                    <a:pt x="45" y="19"/>
                  </a:lnTo>
                  <a:lnTo>
                    <a:pt x="49" y="17"/>
                  </a:lnTo>
                  <a:lnTo>
                    <a:pt x="52" y="17"/>
                  </a:lnTo>
                  <a:lnTo>
                    <a:pt x="54" y="17"/>
                  </a:lnTo>
                  <a:lnTo>
                    <a:pt x="52" y="17"/>
                  </a:lnTo>
                  <a:lnTo>
                    <a:pt x="52" y="19"/>
                  </a:lnTo>
                  <a:lnTo>
                    <a:pt x="52" y="22"/>
                  </a:lnTo>
                  <a:lnTo>
                    <a:pt x="54" y="24"/>
                  </a:lnTo>
                  <a:lnTo>
                    <a:pt x="54" y="26"/>
                  </a:lnTo>
                  <a:lnTo>
                    <a:pt x="57" y="26"/>
                  </a:lnTo>
                  <a:lnTo>
                    <a:pt x="57" y="29"/>
                  </a:lnTo>
                  <a:lnTo>
                    <a:pt x="59" y="29"/>
                  </a:lnTo>
                  <a:lnTo>
                    <a:pt x="61" y="29"/>
                  </a:lnTo>
                  <a:lnTo>
                    <a:pt x="61" y="31"/>
                  </a:lnTo>
                  <a:lnTo>
                    <a:pt x="64" y="31"/>
                  </a:lnTo>
                  <a:lnTo>
                    <a:pt x="64" y="34"/>
                  </a:lnTo>
                  <a:lnTo>
                    <a:pt x="66" y="36"/>
                  </a:lnTo>
                  <a:lnTo>
                    <a:pt x="68" y="36"/>
                  </a:lnTo>
                  <a:lnTo>
                    <a:pt x="71" y="36"/>
                  </a:lnTo>
                  <a:lnTo>
                    <a:pt x="71" y="38"/>
                  </a:lnTo>
                  <a:lnTo>
                    <a:pt x="71" y="41"/>
                  </a:lnTo>
                  <a:lnTo>
                    <a:pt x="73" y="43"/>
                  </a:lnTo>
                  <a:lnTo>
                    <a:pt x="73" y="45"/>
                  </a:lnTo>
                  <a:lnTo>
                    <a:pt x="73" y="48"/>
                  </a:lnTo>
                  <a:lnTo>
                    <a:pt x="73" y="50"/>
                  </a:lnTo>
                  <a:lnTo>
                    <a:pt x="76" y="50"/>
                  </a:lnTo>
                  <a:lnTo>
                    <a:pt x="76" y="53"/>
                  </a:lnTo>
                  <a:lnTo>
                    <a:pt x="78" y="53"/>
                  </a:lnTo>
                  <a:lnTo>
                    <a:pt x="80" y="53"/>
                  </a:lnTo>
                  <a:lnTo>
                    <a:pt x="80" y="55"/>
                  </a:lnTo>
                  <a:lnTo>
                    <a:pt x="83" y="55"/>
                  </a:lnTo>
                  <a:lnTo>
                    <a:pt x="83" y="57"/>
                  </a:lnTo>
                  <a:lnTo>
                    <a:pt x="85" y="57"/>
                  </a:lnTo>
                  <a:lnTo>
                    <a:pt x="87" y="57"/>
                  </a:lnTo>
                  <a:lnTo>
                    <a:pt x="90" y="57"/>
                  </a:lnTo>
                  <a:lnTo>
                    <a:pt x="92" y="57"/>
                  </a:lnTo>
                  <a:lnTo>
                    <a:pt x="95" y="57"/>
                  </a:lnTo>
                  <a:lnTo>
                    <a:pt x="97" y="55"/>
                  </a:lnTo>
                  <a:lnTo>
                    <a:pt x="97" y="57"/>
                  </a:lnTo>
                  <a:lnTo>
                    <a:pt x="95" y="57"/>
                  </a:lnTo>
                  <a:lnTo>
                    <a:pt x="92" y="57"/>
                  </a:lnTo>
                  <a:lnTo>
                    <a:pt x="90" y="57"/>
                  </a:lnTo>
                  <a:lnTo>
                    <a:pt x="90" y="60"/>
                  </a:lnTo>
                  <a:lnTo>
                    <a:pt x="87" y="60"/>
                  </a:lnTo>
                  <a:lnTo>
                    <a:pt x="87" y="62"/>
                  </a:lnTo>
                  <a:lnTo>
                    <a:pt x="85" y="62"/>
                  </a:lnTo>
                  <a:lnTo>
                    <a:pt x="87" y="62"/>
                  </a:lnTo>
                  <a:lnTo>
                    <a:pt x="85" y="62"/>
                  </a:lnTo>
                  <a:lnTo>
                    <a:pt x="85" y="64"/>
                  </a:lnTo>
                  <a:lnTo>
                    <a:pt x="85" y="67"/>
                  </a:lnTo>
                  <a:lnTo>
                    <a:pt x="87" y="67"/>
                  </a:lnTo>
                  <a:lnTo>
                    <a:pt x="85" y="64"/>
                  </a:lnTo>
                  <a:lnTo>
                    <a:pt x="87" y="62"/>
                  </a:lnTo>
                  <a:lnTo>
                    <a:pt x="87" y="60"/>
                  </a:lnTo>
                  <a:lnTo>
                    <a:pt x="90" y="60"/>
                  </a:lnTo>
                  <a:lnTo>
                    <a:pt x="92" y="57"/>
                  </a:lnTo>
                  <a:lnTo>
                    <a:pt x="95" y="57"/>
                  </a:lnTo>
                  <a:lnTo>
                    <a:pt x="97" y="57"/>
                  </a:lnTo>
                  <a:lnTo>
                    <a:pt x="97" y="55"/>
                  </a:lnTo>
                  <a:lnTo>
                    <a:pt x="99" y="55"/>
                  </a:lnTo>
                  <a:lnTo>
                    <a:pt x="102" y="55"/>
                  </a:lnTo>
                  <a:lnTo>
                    <a:pt x="99" y="55"/>
                  </a:lnTo>
                  <a:lnTo>
                    <a:pt x="102" y="53"/>
                  </a:lnTo>
                  <a:lnTo>
                    <a:pt x="102" y="55"/>
                  </a:lnTo>
                  <a:lnTo>
                    <a:pt x="102" y="57"/>
                  </a:lnTo>
                  <a:lnTo>
                    <a:pt x="102" y="60"/>
                  </a:lnTo>
                  <a:lnTo>
                    <a:pt x="104" y="60"/>
                  </a:lnTo>
                  <a:lnTo>
                    <a:pt x="106" y="62"/>
                  </a:lnTo>
                  <a:lnTo>
                    <a:pt x="106" y="64"/>
                  </a:lnTo>
                  <a:lnTo>
                    <a:pt x="109" y="64"/>
                  </a:lnTo>
                  <a:lnTo>
                    <a:pt x="106" y="64"/>
                  </a:lnTo>
                  <a:lnTo>
                    <a:pt x="106" y="62"/>
                  </a:lnTo>
                  <a:lnTo>
                    <a:pt x="109" y="62"/>
                  </a:lnTo>
                  <a:lnTo>
                    <a:pt x="109" y="64"/>
                  </a:lnTo>
                  <a:lnTo>
                    <a:pt x="109" y="62"/>
                  </a:lnTo>
                  <a:lnTo>
                    <a:pt x="106" y="62"/>
                  </a:lnTo>
                  <a:lnTo>
                    <a:pt x="106" y="60"/>
                  </a:lnTo>
                  <a:lnTo>
                    <a:pt x="104" y="60"/>
                  </a:lnTo>
                  <a:lnTo>
                    <a:pt x="102" y="57"/>
                  </a:lnTo>
                  <a:lnTo>
                    <a:pt x="104" y="57"/>
                  </a:lnTo>
                  <a:lnTo>
                    <a:pt x="104" y="55"/>
                  </a:lnTo>
                  <a:lnTo>
                    <a:pt x="102" y="57"/>
                  </a:lnTo>
                  <a:lnTo>
                    <a:pt x="102" y="55"/>
                  </a:lnTo>
                  <a:lnTo>
                    <a:pt x="104" y="55"/>
                  </a:lnTo>
                  <a:lnTo>
                    <a:pt x="102" y="55"/>
                  </a:lnTo>
                  <a:lnTo>
                    <a:pt x="102" y="53"/>
                  </a:lnTo>
                  <a:lnTo>
                    <a:pt x="99" y="53"/>
                  </a:lnTo>
                  <a:lnTo>
                    <a:pt x="102" y="53"/>
                  </a:lnTo>
                  <a:lnTo>
                    <a:pt x="104" y="53"/>
                  </a:lnTo>
                  <a:lnTo>
                    <a:pt x="104" y="50"/>
                  </a:lnTo>
                  <a:lnTo>
                    <a:pt x="106" y="50"/>
                  </a:lnTo>
                  <a:lnTo>
                    <a:pt x="106" y="48"/>
                  </a:lnTo>
                  <a:lnTo>
                    <a:pt x="109" y="48"/>
                  </a:lnTo>
                  <a:lnTo>
                    <a:pt x="109" y="45"/>
                  </a:lnTo>
                  <a:lnTo>
                    <a:pt x="111" y="45"/>
                  </a:lnTo>
                  <a:lnTo>
                    <a:pt x="111" y="43"/>
                  </a:lnTo>
                  <a:lnTo>
                    <a:pt x="114" y="43"/>
                  </a:lnTo>
                  <a:lnTo>
                    <a:pt x="114" y="41"/>
                  </a:lnTo>
                  <a:lnTo>
                    <a:pt x="114" y="38"/>
                  </a:lnTo>
                  <a:lnTo>
                    <a:pt x="114" y="36"/>
                  </a:lnTo>
                  <a:lnTo>
                    <a:pt x="111" y="34"/>
                  </a:lnTo>
                  <a:lnTo>
                    <a:pt x="111" y="31"/>
                  </a:lnTo>
                  <a:lnTo>
                    <a:pt x="111" y="29"/>
                  </a:lnTo>
                  <a:lnTo>
                    <a:pt x="111" y="26"/>
                  </a:lnTo>
                  <a:lnTo>
                    <a:pt x="111" y="24"/>
                  </a:lnTo>
                  <a:lnTo>
                    <a:pt x="111" y="22"/>
                  </a:lnTo>
                  <a:lnTo>
                    <a:pt x="111" y="19"/>
                  </a:lnTo>
                  <a:lnTo>
                    <a:pt x="111" y="17"/>
                  </a:lnTo>
                  <a:lnTo>
                    <a:pt x="111" y="15"/>
                  </a:lnTo>
                  <a:lnTo>
                    <a:pt x="111" y="12"/>
                  </a:lnTo>
                  <a:lnTo>
                    <a:pt x="111" y="10"/>
                  </a:lnTo>
                  <a:lnTo>
                    <a:pt x="114" y="10"/>
                  </a:lnTo>
                  <a:lnTo>
                    <a:pt x="114" y="7"/>
                  </a:lnTo>
                  <a:lnTo>
                    <a:pt x="116" y="7"/>
                  </a:lnTo>
                  <a:lnTo>
                    <a:pt x="118" y="7"/>
                  </a:lnTo>
                  <a:lnTo>
                    <a:pt x="118" y="5"/>
                  </a:lnTo>
                  <a:lnTo>
                    <a:pt x="118" y="7"/>
                  </a:lnTo>
                  <a:lnTo>
                    <a:pt x="121" y="7"/>
                  </a:lnTo>
                  <a:lnTo>
                    <a:pt x="121" y="5"/>
                  </a:lnTo>
                  <a:lnTo>
                    <a:pt x="123" y="7"/>
                  </a:lnTo>
                  <a:lnTo>
                    <a:pt x="123" y="5"/>
                  </a:lnTo>
                  <a:lnTo>
                    <a:pt x="125" y="5"/>
                  </a:lnTo>
                  <a:lnTo>
                    <a:pt x="128" y="5"/>
                  </a:lnTo>
                  <a:lnTo>
                    <a:pt x="130" y="3"/>
                  </a:lnTo>
                  <a:lnTo>
                    <a:pt x="133" y="3"/>
                  </a:lnTo>
                  <a:lnTo>
                    <a:pt x="135" y="0"/>
                  </a:lnTo>
                  <a:lnTo>
                    <a:pt x="137" y="0"/>
                  </a:lnTo>
                  <a:lnTo>
                    <a:pt x="140" y="0"/>
                  </a:lnTo>
                  <a:lnTo>
                    <a:pt x="140" y="3"/>
                  </a:lnTo>
                  <a:lnTo>
                    <a:pt x="142" y="5"/>
                  </a:lnTo>
                  <a:lnTo>
                    <a:pt x="142" y="3"/>
                  </a:lnTo>
                  <a:lnTo>
                    <a:pt x="142" y="0"/>
                  </a:lnTo>
                  <a:lnTo>
                    <a:pt x="144" y="0"/>
                  </a:lnTo>
                  <a:lnTo>
                    <a:pt x="144" y="3"/>
                  </a:lnTo>
                  <a:lnTo>
                    <a:pt x="147" y="3"/>
                  </a:lnTo>
                  <a:lnTo>
                    <a:pt x="147" y="5"/>
                  </a:lnTo>
                  <a:lnTo>
                    <a:pt x="149" y="5"/>
                  </a:lnTo>
                  <a:lnTo>
                    <a:pt x="152" y="5"/>
                  </a:lnTo>
                  <a:lnTo>
                    <a:pt x="152" y="7"/>
                  </a:lnTo>
                  <a:lnTo>
                    <a:pt x="154" y="7"/>
                  </a:lnTo>
                  <a:lnTo>
                    <a:pt x="156" y="10"/>
                  </a:lnTo>
                  <a:lnTo>
                    <a:pt x="156" y="7"/>
                  </a:lnTo>
                  <a:lnTo>
                    <a:pt x="159" y="10"/>
                  </a:lnTo>
                  <a:lnTo>
                    <a:pt x="159" y="12"/>
                  </a:lnTo>
                  <a:lnTo>
                    <a:pt x="161" y="12"/>
                  </a:lnTo>
                  <a:lnTo>
                    <a:pt x="161" y="10"/>
                  </a:lnTo>
                  <a:lnTo>
                    <a:pt x="161" y="12"/>
                  </a:lnTo>
                  <a:lnTo>
                    <a:pt x="163" y="12"/>
                  </a:lnTo>
                  <a:lnTo>
                    <a:pt x="166" y="12"/>
                  </a:lnTo>
                  <a:lnTo>
                    <a:pt x="168" y="12"/>
                  </a:lnTo>
                  <a:lnTo>
                    <a:pt x="166" y="15"/>
                  </a:lnTo>
                  <a:lnTo>
                    <a:pt x="166" y="17"/>
                  </a:lnTo>
                  <a:lnTo>
                    <a:pt x="168" y="17"/>
                  </a:lnTo>
                  <a:lnTo>
                    <a:pt x="170" y="17"/>
                  </a:lnTo>
                  <a:lnTo>
                    <a:pt x="170" y="19"/>
                  </a:lnTo>
                  <a:lnTo>
                    <a:pt x="173" y="19"/>
                  </a:lnTo>
                  <a:lnTo>
                    <a:pt x="170" y="19"/>
                  </a:lnTo>
                  <a:lnTo>
                    <a:pt x="173" y="19"/>
                  </a:lnTo>
                  <a:lnTo>
                    <a:pt x="173" y="22"/>
                  </a:lnTo>
                  <a:lnTo>
                    <a:pt x="173" y="24"/>
                  </a:lnTo>
                  <a:lnTo>
                    <a:pt x="175" y="24"/>
                  </a:lnTo>
                  <a:lnTo>
                    <a:pt x="175" y="26"/>
                  </a:lnTo>
                  <a:lnTo>
                    <a:pt x="175" y="24"/>
                  </a:lnTo>
                  <a:lnTo>
                    <a:pt x="175" y="26"/>
                  </a:lnTo>
                  <a:lnTo>
                    <a:pt x="178" y="26"/>
                  </a:lnTo>
                  <a:lnTo>
                    <a:pt x="180" y="26"/>
                  </a:lnTo>
                  <a:lnTo>
                    <a:pt x="182" y="26"/>
                  </a:lnTo>
                  <a:lnTo>
                    <a:pt x="182" y="29"/>
                  </a:lnTo>
                  <a:lnTo>
                    <a:pt x="185" y="29"/>
                  </a:lnTo>
                  <a:lnTo>
                    <a:pt x="187" y="29"/>
                  </a:lnTo>
                  <a:lnTo>
                    <a:pt x="187" y="26"/>
                  </a:lnTo>
                  <a:lnTo>
                    <a:pt x="189" y="26"/>
                  </a:lnTo>
                  <a:lnTo>
                    <a:pt x="192" y="26"/>
                  </a:lnTo>
                  <a:lnTo>
                    <a:pt x="189" y="26"/>
                  </a:lnTo>
                  <a:lnTo>
                    <a:pt x="192" y="26"/>
                  </a:lnTo>
                  <a:lnTo>
                    <a:pt x="194" y="24"/>
                  </a:lnTo>
                  <a:lnTo>
                    <a:pt x="197" y="22"/>
                  </a:lnTo>
                  <a:lnTo>
                    <a:pt x="197" y="24"/>
                  </a:lnTo>
                  <a:lnTo>
                    <a:pt x="199" y="24"/>
                  </a:lnTo>
                  <a:lnTo>
                    <a:pt x="199" y="26"/>
                  </a:lnTo>
                  <a:lnTo>
                    <a:pt x="201" y="26"/>
                  </a:lnTo>
                  <a:lnTo>
                    <a:pt x="204" y="26"/>
                  </a:lnTo>
                  <a:lnTo>
                    <a:pt x="206" y="26"/>
                  </a:lnTo>
                  <a:lnTo>
                    <a:pt x="208" y="29"/>
                  </a:lnTo>
                  <a:lnTo>
                    <a:pt x="211" y="29"/>
                  </a:lnTo>
                  <a:lnTo>
                    <a:pt x="213" y="29"/>
                  </a:lnTo>
                  <a:lnTo>
                    <a:pt x="216" y="29"/>
                  </a:lnTo>
                  <a:lnTo>
                    <a:pt x="218" y="29"/>
                  </a:lnTo>
                  <a:lnTo>
                    <a:pt x="216" y="29"/>
                  </a:lnTo>
                  <a:lnTo>
                    <a:pt x="216" y="31"/>
                  </a:lnTo>
                  <a:lnTo>
                    <a:pt x="216" y="34"/>
                  </a:lnTo>
                  <a:lnTo>
                    <a:pt x="218" y="34"/>
                  </a:lnTo>
                  <a:lnTo>
                    <a:pt x="218" y="36"/>
                  </a:lnTo>
                  <a:lnTo>
                    <a:pt x="220" y="36"/>
                  </a:lnTo>
                  <a:lnTo>
                    <a:pt x="223" y="36"/>
                  </a:lnTo>
                  <a:lnTo>
                    <a:pt x="223" y="38"/>
                  </a:lnTo>
                  <a:lnTo>
                    <a:pt x="225" y="38"/>
                  </a:lnTo>
                  <a:lnTo>
                    <a:pt x="227" y="41"/>
                  </a:lnTo>
                  <a:lnTo>
                    <a:pt x="227" y="43"/>
                  </a:lnTo>
                  <a:lnTo>
                    <a:pt x="225" y="43"/>
                  </a:lnTo>
                  <a:lnTo>
                    <a:pt x="225" y="45"/>
                  </a:lnTo>
                  <a:lnTo>
                    <a:pt x="225" y="48"/>
                  </a:lnTo>
                  <a:lnTo>
                    <a:pt x="223" y="48"/>
                  </a:lnTo>
                  <a:lnTo>
                    <a:pt x="223" y="50"/>
                  </a:lnTo>
                  <a:lnTo>
                    <a:pt x="223" y="53"/>
                  </a:lnTo>
                  <a:lnTo>
                    <a:pt x="223" y="55"/>
                  </a:lnTo>
                  <a:lnTo>
                    <a:pt x="223" y="57"/>
                  </a:lnTo>
                  <a:lnTo>
                    <a:pt x="223" y="60"/>
                  </a:lnTo>
                  <a:lnTo>
                    <a:pt x="220" y="60"/>
                  </a:lnTo>
                  <a:lnTo>
                    <a:pt x="220" y="62"/>
                  </a:lnTo>
                  <a:lnTo>
                    <a:pt x="220" y="64"/>
                  </a:lnTo>
                  <a:lnTo>
                    <a:pt x="223" y="64"/>
                  </a:lnTo>
                  <a:lnTo>
                    <a:pt x="223" y="62"/>
                  </a:lnTo>
                  <a:lnTo>
                    <a:pt x="223" y="64"/>
                  </a:lnTo>
                  <a:lnTo>
                    <a:pt x="223" y="62"/>
                  </a:lnTo>
                  <a:lnTo>
                    <a:pt x="225" y="62"/>
                  </a:lnTo>
                  <a:lnTo>
                    <a:pt x="227" y="62"/>
                  </a:lnTo>
                  <a:lnTo>
                    <a:pt x="227" y="64"/>
                  </a:lnTo>
                  <a:lnTo>
                    <a:pt x="230" y="64"/>
                  </a:lnTo>
                  <a:lnTo>
                    <a:pt x="230" y="67"/>
                  </a:lnTo>
                  <a:lnTo>
                    <a:pt x="230" y="64"/>
                  </a:lnTo>
                  <a:lnTo>
                    <a:pt x="230" y="67"/>
                  </a:lnTo>
                  <a:lnTo>
                    <a:pt x="227" y="67"/>
                  </a:lnTo>
                  <a:lnTo>
                    <a:pt x="227" y="69"/>
                  </a:lnTo>
                  <a:lnTo>
                    <a:pt x="230" y="69"/>
                  </a:lnTo>
                  <a:lnTo>
                    <a:pt x="230" y="72"/>
                  </a:lnTo>
                  <a:lnTo>
                    <a:pt x="232" y="72"/>
                  </a:lnTo>
                  <a:lnTo>
                    <a:pt x="232" y="74"/>
                  </a:lnTo>
                  <a:lnTo>
                    <a:pt x="232" y="76"/>
                  </a:lnTo>
                  <a:lnTo>
                    <a:pt x="235" y="76"/>
                  </a:lnTo>
                  <a:lnTo>
                    <a:pt x="237" y="76"/>
                  </a:lnTo>
                  <a:lnTo>
                    <a:pt x="237" y="79"/>
                  </a:lnTo>
                  <a:lnTo>
                    <a:pt x="235" y="79"/>
                  </a:lnTo>
                  <a:lnTo>
                    <a:pt x="235" y="81"/>
                  </a:lnTo>
                  <a:lnTo>
                    <a:pt x="237" y="81"/>
                  </a:lnTo>
                  <a:lnTo>
                    <a:pt x="235" y="81"/>
                  </a:lnTo>
                  <a:lnTo>
                    <a:pt x="237" y="83"/>
                  </a:lnTo>
                  <a:lnTo>
                    <a:pt x="237" y="86"/>
                  </a:lnTo>
                  <a:lnTo>
                    <a:pt x="237" y="88"/>
                  </a:lnTo>
                  <a:lnTo>
                    <a:pt x="237" y="91"/>
                  </a:lnTo>
                  <a:lnTo>
                    <a:pt x="239" y="91"/>
                  </a:lnTo>
                  <a:lnTo>
                    <a:pt x="239" y="93"/>
                  </a:lnTo>
                  <a:lnTo>
                    <a:pt x="239" y="95"/>
                  </a:lnTo>
                  <a:lnTo>
                    <a:pt x="237" y="95"/>
                  </a:lnTo>
                  <a:lnTo>
                    <a:pt x="239" y="95"/>
                  </a:lnTo>
                  <a:lnTo>
                    <a:pt x="237" y="95"/>
                  </a:lnTo>
                  <a:lnTo>
                    <a:pt x="237" y="98"/>
                  </a:lnTo>
                  <a:lnTo>
                    <a:pt x="235" y="98"/>
                  </a:lnTo>
                  <a:lnTo>
                    <a:pt x="235" y="100"/>
                  </a:lnTo>
                  <a:lnTo>
                    <a:pt x="232" y="100"/>
                  </a:lnTo>
                  <a:lnTo>
                    <a:pt x="230" y="100"/>
                  </a:lnTo>
                  <a:lnTo>
                    <a:pt x="230" y="102"/>
                  </a:lnTo>
                  <a:lnTo>
                    <a:pt x="230" y="105"/>
                  </a:lnTo>
                  <a:lnTo>
                    <a:pt x="227" y="105"/>
                  </a:lnTo>
                  <a:lnTo>
                    <a:pt x="225" y="105"/>
                  </a:lnTo>
                  <a:lnTo>
                    <a:pt x="225" y="107"/>
                  </a:lnTo>
                  <a:lnTo>
                    <a:pt x="223" y="107"/>
                  </a:lnTo>
                  <a:lnTo>
                    <a:pt x="223" y="110"/>
                  </a:lnTo>
                  <a:lnTo>
                    <a:pt x="220" y="110"/>
                  </a:lnTo>
                  <a:lnTo>
                    <a:pt x="220" y="112"/>
                  </a:lnTo>
                  <a:lnTo>
                    <a:pt x="218" y="112"/>
                  </a:lnTo>
                  <a:lnTo>
                    <a:pt x="220" y="114"/>
                  </a:lnTo>
                  <a:lnTo>
                    <a:pt x="218" y="117"/>
                  </a:lnTo>
                  <a:lnTo>
                    <a:pt x="218" y="119"/>
                  </a:lnTo>
                  <a:lnTo>
                    <a:pt x="216" y="119"/>
                  </a:lnTo>
                  <a:lnTo>
                    <a:pt x="213" y="117"/>
                  </a:lnTo>
                  <a:lnTo>
                    <a:pt x="211" y="117"/>
                  </a:lnTo>
                  <a:lnTo>
                    <a:pt x="208" y="117"/>
                  </a:lnTo>
                  <a:lnTo>
                    <a:pt x="208" y="119"/>
                  </a:lnTo>
                  <a:lnTo>
                    <a:pt x="206" y="117"/>
                  </a:lnTo>
                  <a:lnTo>
                    <a:pt x="204" y="117"/>
                  </a:lnTo>
                  <a:lnTo>
                    <a:pt x="204" y="114"/>
                  </a:lnTo>
                  <a:lnTo>
                    <a:pt x="201" y="114"/>
                  </a:lnTo>
                  <a:lnTo>
                    <a:pt x="201" y="117"/>
                  </a:lnTo>
                  <a:lnTo>
                    <a:pt x="199" y="117"/>
                  </a:lnTo>
                  <a:lnTo>
                    <a:pt x="197" y="117"/>
                  </a:lnTo>
                  <a:lnTo>
                    <a:pt x="197" y="119"/>
                  </a:lnTo>
                  <a:lnTo>
                    <a:pt x="194" y="119"/>
                  </a:lnTo>
                  <a:lnTo>
                    <a:pt x="194" y="121"/>
                  </a:lnTo>
                  <a:lnTo>
                    <a:pt x="192" y="121"/>
                  </a:lnTo>
                  <a:lnTo>
                    <a:pt x="192" y="124"/>
                  </a:lnTo>
                  <a:lnTo>
                    <a:pt x="189" y="124"/>
                  </a:lnTo>
                  <a:lnTo>
                    <a:pt x="189" y="121"/>
                  </a:lnTo>
                  <a:lnTo>
                    <a:pt x="187" y="121"/>
                  </a:lnTo>
                  <a:lnTo>
                    <a:pt x="187" y="124"/>
                  </a:lnTo>
                  <a:lnTo>
                    <a:pt x="185" y="124"/>
                  </a:lnTo>
                  <a:lnTo>
                    <a:pt x="182" y="124"/>
                  </a:lnTo>
                  <a:lnTo>
                    <a:pt x="180" y="121"/>
                  </a:lnTo>
                  <a:lnTo>
                    <a:pt x="178" y="121"/>
                  </a:lnTo>
                  <a:lnTo>
                    <a:pt x="178" y="119"/>
                  </a:lnTo>
                  <a:lnTo>
                    <a:pt x="175" y="119"/>
                  </a:lnTo>
                  <a:lnTo>
                    <a:pt x="173" y="117"/>
                  </a:lnTo>
                  <a:lnTo>
                    <a:pt x="173" y="114"/>
                  </a:lnTo>
                  <a:lnTo>
                    <a:pt x="170" y="114"/>
                  </a:lnTo>
                  <a:lnTo>
                    <a:pt x="170" y="112"/>
                  </a:lnTo>
                  <a:lnTo>
                    <a:pt x="168" y="112"/>
                  </a:lnTo>
                  <a:lnTo>
                    <a:pt x="168" y="110"/>
                  </a:lnTo>
                  <a:lnTo>
                    <a:pt x="166" y="110"/>
                  </a:lnTo>
                  <a:lnTo>
                    <a:pt x="166" y="107"/>
                  </a:lnTo>
                  <a:lnTo>
                    <a:pt x="163" y="107"/>
                  </a:lnTo>
                  <a:lnTo>
                    <a:pt x="161" y="107"/>
                  </a:lnTo>
                  <a:lnTo>
                    <a:pt x="161" y="105"/>
                  </a:lnTo>
                  <a:lnTo>
                    <a:pt x="159" y="105"/>
                  </a:lnTo>
                  <a:lnTo>
                    <a:pt x="156" y="102"/>
                  </a:lnTo>
                  <a:lnTo>
                    <a:pt x="154" y="102"/>
                  </a:lnTo>
                  <a:lnTo>
                    <a:pt x="156" y="102"/>
                  </a:lnTo>
                  <a:lnTo>
                    <a:pt x="156" y="100"/>
                  </a:lnTo>
                  <a:lnTo>
                    <a:pt x="154" y="100"/>
                  </a:lnTo>
                  <a:lnTo>
                    <a:pt x="152" y="100"/>
                  </a:lnTo>
                  <a:lnTo>
                    <a:pt x="152" y="98"/>
                  </a:lnTo>
                  <a:lnTo>
                    <a:pt x="149" y="98"/>
                  </a:lnTo>
                  <a:lnTo>
                    <a:pt x="149" y="100"/>
                  </a:lnTo>
                  <a:lnTo>
                    <a:pt x="147" y="100"/>
                  </a:lnTo>
                  <a:lnTo>
                    <a:pt x="144" y="100"/>
                  </a:lnTo>
                  <a:lnTo>
                    <a:pt x="142" y="100"/>
                  </a:lnTo>
                  <a:lnTo>
                    <a:pt x="142" y="98"/>
                  </a:lnTo>
                  <a:lnTo>
                    <a:pt x="140" y="98"/>
                  </a:lnTo>
                  <a:lnTo>
                    <a:pt x="137" y="98"/>
                  </a:lnTo>
                  <a:lnTo>
                    <a:pt x="135" y="98"/>
                  </a:lnTo>
                  <a:lnTo>
                    <a:pt x="135" y="95"/>
                  </a:lnTo>
                  <a:lnTo>
                    <a:pt x="135" y="93"/>
                  </a:lnTo>
                  <a:lnTo>
                    <a:pt x="133" y="93"/>
                  </a:lnTo>
                  <a:lnTo>
                    <a:pt x="133" y="91"/>
                  </a:lnTo>
                  <a:lnTo>
                    <a:pt x="130" y="91"/>
                  </a:lnTo>
                  <a:lnTo>
                    <a:pt x="133" y="91"/>
                  </a:lnTo>
                  <a:lnTo>
                    <a:pt x="130" y="91"/>
                  </a:lnTo>
                  <a:lnTo>
                    <a:pt x="133" y="91"/>
                  </a:lnTo>
                  <a:lnTo>
                    <a:pt x="130" y="91"/>
                  </a:lnTo>
                  <a:lnTo>
                    <a:pt x="130" y="88"/>
                  </a:lnTo>
                  <a:lnTo>
                    <a:pt x="133" y="88"/>
                  </a:lnTo>
                  <a:lnTo>
                    <a:pt x="130" y="88"/>
                  </a:lnTo>
                  <a:lnTo>
                    <a:pt x="130" y="86"/>
                  </a:lnTo>
                  <a:lnTo>
                    <a:pt x="130" y="83"/>
                  </a:lnTo>
                  <a:lnTo>
                    <a:pt x="128" y="83"/>
                  </a:lnTo>
                  <a:lnTo>
                    <a:pt x="128" y="86"/>
                  </a:lnTo>
                  <a:lnTo>
                    <a:pt x="125" y="86"/>
                  </a:lnTo>
                  <a:lnTo>
                    <a:pt x="123" y="86"/>
                  </a:lnTo>
                  <a:lnTo>
                    <a:pt x="123" y="88"/>
                  </a:lnTo>
                  <a:lnTo>
                    <a:pt x="121" y="88"/>
                  </a:lnTo>
                  <a:lnTo>
                    <a:pt x="121" y="91"/>
                  </a:lnTo>
                  <a:lnTo>
                    <a:pt x="121" y="88"/>
                  </a:lnTo>
                  <a:lnTo>
                    <a:pt x="121" y="91"/>
                  </a:lnTo>
                  <a:lnTo>
                    <a:pt x="118" y="91"/>
                  </a:lnTo>
                  <a:lnTo>
                    <a:pt x="118" y="93"/>
                  </a:lnTo>
                  <a:lnTo>
                    <a:pt x="116" y="93"/>
                  </a:lnTo>
                  <a:lnTo>
                    <a:pt x="114" y="93"/>
                  </a:lnTo>
                  <a:lnTo>
                    <a:pt x="111" y="93"/>
                  </a:lnTo>
                  <a:lnTo>
                    <a:pt x="111" y="91"/>
                  </a:lnTo>
                  <a:lnTo>
                    <a:pt x="109" y="91"/>
                  </a:lnTo>
                  <a:lnTo>
                    <a:pt x="109" y="93"/>
                  </a:lnTo>
                  <a:lnTo>
                    <a:pt x="106" y="93"/>
                  </a:lnTo>
                  <a:lnTo>
                    <a:pt x="104" y="95"/>
                  </a:lnTo>
                  <a:lnTo>
                    <a:pt x="104" y="93"/>
                  </a:lnTo>
                  <a:lnTo>
                    <a:pt x="104" y="95"/>
                  </a:lnTo>
                  <a:lnTo>
                    <a:pt x="104" y="93"/>
                  </a:lnTo>
                  <a:lnTo>
                    <a:pt x="102" y="93"/>
                  </a:lnTo>
                  <a:lnTo>
                    <a:pt x="102" y="91"/>
                  </a:lnTo>
                  <a:lnTo>
                    <a:pt x="99" y="91"/>
                  </a:lnTo>
                  <a:lnTo>
                    <a:pt x="97" y="91"/>
                  </a:lnTo>
                  <a:lnTo>
                    <a:pt x="95" y="91"/>
                  </a:lnTo>
                  <a:lnTo>
                    <a:pt x="92" y="91"/>
                  </a:lnTo>
                  <a:lnTo>
                    <a:pt x="92" y="88"/>
                  </a:lnTo>
                  <a:lnTo>
                    <a:pt x="90" y="88"/>
                  </a:lnTo>
                  <a:lnTo>
                    <a:pt x="87" y="88"/>
                  </a:lnTo>
                  <a:lnTo>
                    <a:pt x="85" y="88"/>
                  </a:lnTo>
                  <a:lnTo>
                    <a:pt x="85" y="91"/>
                  </a:lnTo>
                  <a:lnTo>
                    <a:pt x="83" y="91"/>
                  </a:lnTo>
                  <a:lnTo>
                    <a:pt x="83" y="88"/>
                  </a:lnTo>
                  <a:lnTo>
                    <a:pt x="80" y="88"/>
                  </a:lnTo>
                  <a:lnTo>
                    <a:pt x="76" y="88"/>
                  </a:lnTo>
                  <a:lnTo>
                    <a:pt x="73" y="88"/>
                  </a:lnTo>
                  <a:lnTo>
                    <a:pt x="71" y="88"/>
                  </a:lnTo>
                  <a:lnTo>
                    <a:pt x="73" y="91"/>
                  </a:lnTo>
                  <a:lnTo>
                    <a:pt x="71" y="91"/>
                  </a:lnTo>
                  <a:lnTo>
                    <a:pt x="68" y="91"/>
                  </a:lnTo>
                  <a:lnTo>
                    <a:pt x="66" y="91"/>
                  </a:lnTo>
                  <a:lnTo>
                    <a:pt x="66" y="88"/>
                  </a:lnTo>
                  <a:lnTo>
                    <a:pt x="66" y="86"/>
                  </a:lnTo>
                  <a:lnTo>
                    <a:pt x="64" y="86"/>
                  </a:lnTo>
                  <a:lnTo>
                    <a:pt x="64" y="88"/>
                  </a:lnTo>
                  <a:lnTo>
                    <a:pt x="61" y="88"/>
                  </a:lnTo>
                  <a:lnTo>
                    <a:pt x="59" y="88"/>
                  </a:lnTo>
                  <a:lnTo>
                    <a:pt x="57" y="88"/>
                  </a:lnTo>
                  <a:lnTo>
                    <a:pt x="54" y="88"/>
                  </a:lnTo>
                  <a:lnTo>
                    <a:pt x="52" y="88"/>
                  </a:lnTo>
                  <a:lnTo>
                    <a:pt x="52" y="86"/>
                  </a:lnTo>
                  <a:lnTo>
                    <a:pt x="49" y="86"/>
                  </a:lnTo>
                  <a:lnTo>
                    <a:pt x="47" y="86"/>
                  </a:lnTo>
                  <a:lnTo>
                    <a:pt x="45" y="86"/>
                  </a:lnTo>
                  <a:lnTo>
                    <a:pt x="42" y="86"/>
                  </a:lnTo>
                  <a:lnTo>
                    <a:pt x="40" y="86"/>
                  </a:lnTo>
                  <a:lnTo>
                    <a:pt x="38" y="86"/>
                  </a:lnTo>
                  <a:lnTo>
                    <a:pt x="35" y="86"/>
                  </a:lnTo>
                  <a:lnTo>
                    <a:pt x="33" y="86"/>
                  </a:lnTo>
                  <a:lnTo>
                    <a:pt x="33" y="88"/>
                  </a:lnTo>
                  <a:lnTo>
                    <a:pt x="31" y="88"/>
                  </a:lnTo>
                  <a:lnTo>
                    <a:pt x="28" y="88"/>
                  </a:lnTo>
                  <a:lnTo>
                    <a:pt x="26" y="91"/>
                  </a:lnTo>
                  <a:lnTo>
                    <a:pt x="23" y="91"/>
                  </a:lnTo>
                  <a:lnTo>
                    <a:pt x="21" y="91"/>
                  </a:lnTo>
                  <a:lnTo>
                    <a:pt x="19" y="91"/>
                  </a:lnTo>
                  <a:lnTo>
                    <a:pt x="19" y="93"/>
                  </a:lnTo>
                  <a:lnTo>
                    <a:pt x="16" y="93"/>
                  </a:lnTo>
                  <a:lnTo>
                    <a:pt x="16" y="95"/>
                  </a:lnTo>
                  <a:lnTo>
                    <a:pt x="14" y="95"/>
                  </a:lnTo>
                  <a:lnTo>
                    <a:pt x="12" y="95"/>
                  </a:lnTo>
                  <a:lnTo>
                    <a:pt x="12" y="98"/>
                  </a:lnTo>
                  <a:lnTo>
                    <a:pt x="9" y="98"/>
                  </a:lnTo>
                  <a:lnTo>
                    <a:pt x="7" y="100"/>
                  </a:lnTo>
                  <a:lnTo>
                    <a:pt x="9" y="100"/>
                  </a:lnTo>
                  <a:lnTo>
                    <a:pt x="7" y="100"/>
                  </a:lnTo>
                  <a:lnTo>
                    <a:pt x="9" y="100"/>
                  </a:lnTo>
                  <a:lnTo>
                    <a:pt x="7" y="100"/>
                  </a:lnTo>
                  <a:lnTo>
                    <a:pt x="7" y="102"/>
                  </a:lnTo>
                  <a:lnTo>
                    <a:pt x="4" y="102"/>
                  </a:lnTo>
                  <a:lnTo>
                    <a:pt x="2" y="102"/>
                  </a:lnTo>
                  <a:lnTo>
                    <a:pt x="2" y="100"/>
                  </a:lnTo>
                  <a:lnTo>
                    <a:pt x="0" y="98"/>
                  </a:lnTo>
                  <a:lnTo>
                    <a:pt x="0" y="95"/>
                  </a:lnTo>
                  <a:lnTo>
                    <a:pt x="0" y="93"/>
                  </a:lnTo>
                  <a:lnTo>
                    <a:pt x="0" y="91"/>
                  </a:lnTo>
                  <a:lnTo>
                    <a:pt x="0" y="88"/>
                  </a:lnTo>
                  <a:lnTo>
                    <a:pt x="0" y="86"/>
                  </a:lnTo>
                  <a:lnTo>
                    <a:pt x="0" y="83"/>
                  </a:lnTo>
                  <a:lnTo>
                    <a:pt x="0" y="81"/>
                  </a:lnTo>
                  <a:lnTo>
                    <a:pt x="0" y="79"/>
                  </a:lnTo>
                  <a:lnTo>
                    <a:pt x="2" y="79"/>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8" name="Freeform 52486"/>
            <p:cNvSpPr>
              <a:spLocks noEditPoints="1"/>
            </p:cNvSpPr>
            <p:nvPr/>
          </p:nvSpPr>
          <p:spPr bwMode="auto">
            <a:xfrm>
              <a:off x="3279773" y="4140213"/>
              <a:ext cx="11113" cy="11113"/>
            </a:xfrm>
            <a:custGeom>
              <a:avLst/>
              <a:gdLst>
                <a:gd name="T0" fmla="*/ 7 w 7"/>
                <a:gd name="T1" fmla="*/ 7 h 7"/>
                <a:gd name="T2" fmla="*/ 7 w 7"/>
                <a:gd name="T3" fmla="*/ 7 h 7"/>
                <a:gd name="T4" fmla="*/ 7 w 7"/>
                <a:gd name="T5" fmla="*/ 7 h 7"/>
                <a:gd name="T6" fmla="*/ 7 w 7"/>
                <a:gd name="T7" fmla="*/ 7 h 7"/>
                <a:gd name="T8" fmla="*/ 7 w 7"/>
                <a:gd name="T9" fmla="*/ 7 h 7"/>
                <a:gd name="T10" fmla="*/ 7 w 7"/>
                <a:gd name="T11" fmla="*/ 7 h 7"/>
                <a:gd name="T12" fmla="*/ 5 w 7"/>
                <a:gd name="T13" fmla="*/ 7 h 7"/>
                <a:gd name="T14" fmla="*/ 7 w 7"/>
                <a:gd name="T15" fmla="*/ 7 h 7"/>
                <a:gd name="T16" fmla="*/ 7 w 7"/>
                <a:gd name="T17" fmla="*/ 7 h 7"/>
                <a:gd name="T18" fmla="*/ 7 w 7"/>
                <a:gd name="T19" fmla="*/ 7 h 7"/>
                <a:gd name="T20" fmla="*/ 7 w 7"/>
                <a:gd name="T21" fmla="*/ 7 h 7"/>
                <a:gd name="T22" fmla="*/ 7 w 7"/>
                <a:gd name="T23" fmla="*/ 7 h 7"/>
                <a:gd name="T24" fmla="*/ 5 w 7"/>
                <a:gd name="T25" fmla="*/ 0 h 7"/>
                <a:gd name="T26" fmla="*/ 5 w 7"/>
                <a:gd name="T27" fmla="*/ 0 h 7"/>
                <a:gd name="T28" fmla="*/ 5 w 7"/>
                <a:gd name="T29" fmla="*/ 0 h 7"/>
                <a:gd name="T30" fmla="*/ 5 w 7"/>
                <a:gd name="T31" fmla="*/ 0 h 7"/>
                <a:gd name="T32" fmla="*/ 5 w 7"/>
                <a:gd name="T33" fmla="*/ 0 h 7"/>
                <a:gd name="T34" fmla="*/ 5 w 7"/>
                <a:gd name="T35" fmla="*/ 0 h 7"/>
                <a:gd name="T36" fmla="*/ 5 w 7"/>
                <a:gd name="T37" fmla="*/ 0 h 7"/>
                <a:gd name="T38" fmla="*/ 5 w 7"/>
                <a:gd name="T39" fmla="*/ 0 h 7"/>
                <a:gd name="T40" fmla="*/ 5 w 7"/>
                <a:gd name="T41" fmla="*/ 0 h 7"/>
                <a:gd name="T42" fmla="*/ 2 w 7"/>
                <a:gd name="T43" fmla="*/ 0 h 7"/>
                <a:gd name="T44" fmla="*/ 2 w 7"/>
                <a:gd name="T45" fmla="*/ 0 h 7"/>
                <a:gd name="T46" fmla="*/ 2 w 7"/>
                <a:gd name="T47" fmla="*/ 0 h 7"/>
                <a:gd name="T48" fmla="*/ 2 w 7"/>
                <a:gd name="T49" fmla="*/ 0 h 7"/>
                <a:gd name="T50" fmla="*/ 2 w 7"/>
                <a:gd name="T51" fmla="*/ 0 h 7"/>
                <a:gd name="T52" fmla="*/ 2 w 7"/>
                <a:gd name="T53" fmla="*/ 0 h 7"/>
                <a:gd name="T54" fmla="*/ 2 w 7"/>
                <a:gd name="T55" fmla="*/ 0 h 7"/>
                <a:gd name="T56" fmla="*/ 2 w 7"/>
                <a:gd name="T57" fmla="*/ 0 h 7"/>
                <a:gd name="T58" fmla="*/ 2 w 7"/>
                <a:gd name="T59" fmla="*/ 0 h 7"/>
                <a:gd name="T60" fmla="*/ 2 w 7"/>
                <a:gd name="T61" fmla="*/ 0 h 7"/>
                <a:gd name="T62" fmla="*/ 5 w 7"/>
                <a:gd name="T63" fmla="*/ 0 h 7"/>
                <a:gd name="T64" fmla="*/ 5 w 7"/>
                <a:gd name="T65" fmla="*/ 0 h 7"/>
                <a:gd name="T66" fmla="*/ 5 w 7"/>
                <a:gd name="T67" fmla="*/ 0 h 7"/>
                <a:gd name="T68" fmla="*/ 5 w 7"/>
                <a:gd name="T69" fmla="*/ 0 h 7"/>
                <a:gd name="T70" fmla="*/ 5 w 7"/>
                <a:gd name="T71" fmla="*/ 0 h 7"/>
                <a:gd name="T72" fmla="*/ 2 w 7"/>
                <a:gd name="T73" fmla="*/ 2 h 7"/>
                <a:gd name="T74" fmla="*/ 2 w 7"/>
                <a:gd name="T75" fmla="*/ 2 h 7"/>
                <a:gd name="T76" fmla="*/ 2 w 7"/>
                <a:gd name="T77" fmla="*/ 2 h 7"/>
                <a:gd name="T78" fmla="*/ 2 w 7"/>
                <a:gd name="T79" fmla="*/ 2 h 7"/>
                <a:gd name="T80" fmla="*/ 2 w 7"/>
                <a:gd name="T81" fmla="*/ 2 h 7"/>
                <a:gd name="T82" fmla="*/ 2 w 7"/>
                <a:gd name="T83" fmla="*/ 2 h 7"/>
                <a:gd name="T84" fmla="*/ 2 w 7"/>
                <a:gd name="T85" fmla="*/ 2 h 7"/>
                <a:gd name="T86" fmla="*/ 2 w 7"/>
                <a:gd name="T87" fmla="*/ 2 h 7"/>
                <a:gd name="T88" fmla="*/ 2 w 7"/>
                <a:gd name="T89" fmla="*/ 2 h 7"/>
                <a:gd name="T90" fmla="*/ 2 w 7"/>
                <a:gd name="T91" fmla="*/ 2 h 7"/>
                <a:gd name="T92" fmla="*/ 0 w 7"/>
                <a:gd name="T93" fmla="*/ 2 h 7"/>
                <a:gd name="T94" fmla="*/ 0 w 7"/>
                <a:gd name="T95" fmla="*/ 2 h 7"/>
                <a:gd name="T96" fmla="*/ 0 w 7"/>
                <a:gd name="T97" fmla="*/ 2 h 7"/>
                <a:gd name="T98" fmla="*/ 0 w 7"/>
                <a:gd name="T99" fmla="*/ 2 h 7"/>
                <a:gd name="T100" fmla="*/ 0 w 7"/>
                <a:gd name="T101" fmla="*/ 2 h 7"/>
                <a:gd name="T102" fmla="*/ 0 w 7"/>
                <a:gd name="T103" fmla="*/ 2 h 7"/>
                <a:gd name="T104" fmla="*/ 0 w 7"/>
                <a:gd name="T105" fmla="*/ 2 h 7"/>
                <a:gd name="T106" fmla="*/ 2 w 7"/>
                <a:gd name="T107" fmla="*/ 2 h 7"/>
                <a:gd name="T108" fmla="*/ 2 w 7"/>
                <a:gd name="T109" fmla="*/ 2 h 7"/>
                <a:gd name="T110" fmla="*/ 2 w 7"/>
                <a:gd name="T111" fmla="*/ 0 h 7"/>
                <a:gd name="T112" fmla="*/ 2 w 7"/>
                <a:gd name="T113" fmla="*/ 0 h 7"/>
                <a:gd name="T114" fmla="*/ 2 w 7"/>
                <a:gd name="T115" fmla="*/ 0 h 7"/>
                <a:gd name="T116" fmla="*/ 2 w 7"/>
                <a:gd name="T117" fmla="*/ 0 h 7"/>
                <a:gd name="T118" fmla="*/ 2 w 7"/>
                <a:gd name="T119" fmla="*/ 0 h 7"/>
                <a:gd name="T120" fmla="*/ 2 w 7"/>
                <a:gd name="T1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 h="7">
                  <a:moveTo>
                    <a:pt x="7" y="7"/>
                  </a:moveTo>
                  <a:lnTo>
                    <a:pt x="7" y="7"/>
                  </a:lnTo>
                  <a:lnTo>
                    <a:pt x="7" y="7"/>
                  </a:lnTo>
                  <a:lnTo>
                    <a:pt x="7" y="7"/>
                  </a:lnTo>
                  <a:lnTo>
                    <a:pt x="7" y="7"/>
                  </a:lnTo>
                  <a:lnTo>
                    <a:pt x="7" y="7"/>
                  </a:lnTo>
                  <a:lnTo>
                    <a:pt x="5" y="7"/>
                  </a:lnTo>
                  <a:lnTo>
                    <a:pt x="7" y="7"/>
                  </a:lnTo>
                  <a:lnTo>
                    <a:pt x="7" y="7"/>
                  </a:lnTo>
                  <a:lnTo>
                    <a:pt x="7" y="7"/>
                  </a:lnTo>
                  <a:lnTo>
                    <a:pt x="7" y="7"/>
                  </a:lnTo>
                  <a:lnTo>
                    <a:pt x="7" y="7"/>
                  </a:lnTo>
                  <a:close/>
                  <a:moveTo>
                    <a:pt x="5" y="0"/>
                  </a:moveTo>
                  <a:lnTo>
                    <a:pt x="5" y="0"/>
                  </a:lnTo>
                  <a:lnTo>
                    <a:pt x="5" y="0"/>
                  </a:lnTo>
                  <a:lnTo>
                    <a:pt x="5" y="0"/>
                  </a:lnTo>
                  <a:lnTo>
                    <a:pt x="5" y="0"/>
                  </a:lnTo>
                  <a:lnTo>
                    <a:pt x="5" y="0"/>
                  </a:lnTo>
                  <a:lnTo>
                    <a:pt x="5" y="0"/>
                  </a:lnTo>
                  <a:lnTo>
                    <a:pt x="5" y="0"/>
                  </a:lnTo>
                  <a:lnTo>
                    <a:pt x="5" y="0"/>
                  </a:lnTo>
                  <a:close/>
                  <a:moveTo>
                    <a:pt x="2" y="0"/>
                  </a:moveTo>
                  <a:lnTo>
                    <a:pt x="2" y="0"/>
                  </a:lnTo>
                  <a:lnTo>
                    <a:pt x="2" y="0"/>
                  </a:lnTo>
                  <a:lnTo>
                    <a:pt x="2" y="0"/>
                  </a:lnTo>
                  <a:lnTo>
                    <a:pt x="2" y="0"/>
                  </a:lnTo>
                  <a:lnTo>
                    <a:pt x="2" y="0"/>
                  </a:lnTo>
                  <a:lnTo>
                    <a:pt x="2" y="0"/>
                  </a:lnTo>
                  <a:lnTo>
                    <a:pt x="2" y="0"/>
                  </a:lnTo>
                  <a:lnTo>
                    <a:pt x="2" y="0"/>
                  </a:lnTo>
                  <a:lnTo>
                    <a:pt x="2" y="0"/>
                  </a:lnTo>
                  <a:lnTo>
                    <a:pt x="5" y="0"/>
                  </a:lnTo>
                  <a:lnTo>
                    <a:pt x="5" y="0"/>
                  </a:lnTo>
                  <a:lnTo>
                    <a:pt x="5" y="0"/>
                  </a:lnTo>
                  <a:lnTo>
                    <a:pt x="5" y="0"/>
                  </a:lnTo>
                  <a:lnTo>
                    <a:pt x="5" y="0"/>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2" y="2"/>
                  </a:lnTo>
                  <a:lnTo>
                    <a:pt x="2" y="2"/>
                  </a:lnTo>
                  <a:lnTo>
                    <a:pt x="2" y="0"/>
                  </a:lnTo>
                  <a:lnTo>
                    <a:pt x="2" y="0"/>
                  </a:lnTo>
                  <a:lnTo>
                    <a:pt x="2" y="0"/>
                  </a:lnTo>
                  <a:lnTo>
                    <a:pt x="2" y="0"/>
                  </a:lnTo>
                  <a:lnTo>
                    <a:pt x="2"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9" name="Freeform 52487"/>
            <p:cNvSpPr>
              <a:spLocks/>
            </p:cNvSpPr>
            <p:nvPr/>
          </p:nvSpPr>
          <p:spPr bwMode="auto">
            <a:xfrm>
              <a:off x="2522535" y="4908567"/>
              <a:ext cx="7938" cy="15875"/>
            </a:xfrm>
            <a:custGeom>
              <a:avLst/>
              <a:gdLst>
                <a:gd name="T0" fmla="*/ 5 w 5"/>
                <a:gd name="T1" fmla="*/ 10 h 10"/>
                <a:gd name="T2" fmla="*/ 5 w 5"/>
                <a:gd name="T3" fmla="*/ 10 h 10"/>
                <a:gd name="T4" fmla="*/ 2 w 5"/>
                <a:gd name="T5" fmla="*/ 10 h 10"/>
                <a:gd name="T6" fmla="*/ 2 w 5"/>
                <a:gd name="T7" fmla="*/ 10 h 10"/>
                <a:gd name="T8" fmla="*/ 2 w 5"/>
                <a:gd name="T9" fmla="*/ 10 h 10"/>
                <a:gd name="T10" fmla="*/ 2 w 5"/>
                <a:gd name="T11" fmla="*/ 10 h 10"/>
                <a:gd name="T12" fmla="*/ 0 w 5"/>
                <a:gd name="T13" fmla="*/ 10 h 10"/>
                <a:gd name="T14" fmla="*/ 0 w 5"/>
                <a:gd name="T15" fmla="*/ 10 h 10"/>
                <a:gd name="T16" fmla="*/ 2 w 5"/>
                <a:gd name="T17" fmla="*/ 10 h 10"/>
                <a:gd name="T18" fmla="*/ 2 w 5"/>
                <a:gd name="T19" fmla="*/ 7 h 10"/>
                <a:gd name="T20" fmla="*/ 2 w 5"/>
                <a:gd name="T21" fmla="*/ 7 h 10"/>
                <a:gd name="T22" fmla="*/ 2 w 5"/>
                <a:gd name="T23" fmla="*/ 7 h 10"/>
                <a:gd name="T24" fmla="*/ 2 w 5"/>
                <a:gd name="T25" fmla="*/ 7 h 10"/>
                <a:gd name="T26" fmla="*/ 0 w 5"/>
                <a:gd name="T27" fmla="*/ 5 h 10"/>
                <a:gd name="T28" fmla="*/ 0 w 5"/>
                <a:gd name="T29" fmla="*/ 5 h 10"/>
                <a:gd name="T30" fmla="*/ 0 w 5"/>
                <a:gd name="T31" fmla="*/ 3 h 10"/>
                <a:gd name="T32" fmla="*/ 2 w 5"/>
                <a:gd name="T33" fmla="*/ 3 h 10"/>
                <a:gd name="T34" fmla="*/ 2 w 5"/>
                <a:gd name="T35" fmla="*/ 0 h 10"/>
                <a:gd name="T36" fmla="*/ 2 w 5"/>
                <a:gd name="T37" fmla="*/ 0 h 10"/>
                <a:gd name="T38" fmla="*/ 2 w 5"/>
                <a:gd name="T39" fmla="*/ 0 h 10"/>
                <a:gd name="T40" fmla="*/ 2 w 5"/>
                <a:gd name="T41" fmla="*/ 0 h 10"/>
                <a:gd name="T42" fmla="*/ 2 w 5"/>
                <a:gd name="T43" fmla="*/ 0 h 10"/>
                <a:gd name="T44" fmla="*/ 2 w 5"/>
                <a:gd name="T45" fmla="*/ 3 h 10"/>
                <a:gd name="T46" fmla="*/ 5 w 5"/>
                <a:gd name="T47" fmla="*/ 3 h 10"/>
                <a:gd name="T48" fmla="*/ 5 w 5"/>
                <a:gd name="T49" fmla="*/ 3 h 10"/>
                <a:gd name="T50" fmla="*/ 5 w 5"/>
                <a:gd name="T51" fmla="*/ 5 h 10"/>
                <a:gd name="T52" fmla="*/ 2 w 5"/>
                <a:gd name="T53" fmla="*/ 5 h 10"/>
                <a:gd name="T54" fmla="*/ 5 w 5"/>
                <a:gd name="T55" fmla="*/ 5 h 10"/>
                <a:gd name="T56" fmla="*/ 5 w 5"/>
                <a:gd name="T57" fmla="*/ 5 h 10"/>
                <a:gd name="T58" fmla="*/ 5 w 5"/>
                <a:gd name="T59" fmla="*/ 5 h 10"/>
                <a:gd name="T60" fmla="*/ 5 w 5"/>
                <a:gd name="T61" fmla="*/ 5 h 10"/>
                <a:gd name="T62" fmla="*/ 5 w 5"/>
                <a:gd name="T63" fmla="*/ 7 h 10"/>
                <a:gd name="T64" fmla="*/ 5 w 5"/>
                <a:gd name="T65" fmla="*/ 7 h 10"/>
                <a:gd name="T66" fmla="*/ 5 w 5"/>
                <a:gd name="T67" fmla="*/ 7 h 10"/>
                <a:gd name="T68" fmla="*/ 5 w 5"/>
                <a:gd name="T69" fmla="*/ 7 h 10"/>
                <a:gd name="T70" fmla="*/ 5 w 5"/>
                <a:gd name="T71" fmla="*/ 10 h 10"/>
                <a:gd name="T72" fmla="*/ 5 w 5"/>
                <a:gd name="T73" fmla="*/ 10 h 10"/>
                <a:gd name="T74" fmla="*/ 5 w 5"/>
                <a:gd name="T7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 h="10">
                  <a:moveTo>
                    <a:pt x="5" y="10"/>
                  </a:moveTo>
                  <a:lnTo>
                    <a:pt x="5" y="10"/>
                  </a:lnTo>
                  <a:lnTo>
                    <a:pt x="5" y="10"/>
                  </a:lnTo>
                  <a:lnTo>
                    <a:pt x="5" y="10"/>
                  </a:lnTo>
                  <a:lnTo>
                    <a:pt x="2" y="10"/>
                  </a:lnTo>
                  <a:lnTo>
                    <a:pt x="2" y="10"/>
                  </a:lnTo>
                  <a:lnTo>
                    <a:pt x="2" y="10"/>
                  </a:lnTo>
                  <a:lnTo>
                    <a:pt x="2" y="10"/>
                  </a:lnTo>
                  <a:lnTo>
                    <a:pt x="2" y="10"/>
                  </a:lnTo>
                  <a:lnTo>
                    <a:pt x="2" y="10"/>
                  </a:lnTo>
                  <a:lnTo>
                    <a:pt x="2" y="10"/>
                  </a:lnTo>
                  <a:lnTo>
                    <a:pt x="2" y="10"/>
                  </a:lnTo>
                  <a:lnTo>
                    <a:pt x="0" y="10"/>
                  </a:lnTo>
                  <a:lnTo>
                    <a:pt x="0" y="10"/>
                  </a:lnTo>
                  <a:lnTo>
                    <a:pt x="0" y="10"/>
                  </a:lnTo>
                  <a:lnTo>
                    <a:pt x="0" y="10"/>
                  </a:lnTo>
                  <a:lnTo>
                    <a:pt x="0" y="10"/>
                  </a:lnTo>
                  <a:lnTo>
                    <a:pt x="2" y="10"/>
                  </a:lnTo>
                  <a:lnTo>
                    <a:pt x="2" y="7"/>
                  </a:lnTo>
                  <a:lnTo>
                    <a:pt x="2" y="7"/>
                  </a:lnTo>
                  <a:lnTo>
                    <a:pt x="2" y="7"/>
                  </a:lnTo>
                  <a:lnTo>
                    <a:pt x="2" y="7"/>
                  </a:lnTo>
                  <a:lnTo>
                    <a:pt x="2" y="7"/>
                  </a:lnTo>
                  <a:lnTo>
                    <a:pt x="2" y="7"/>
                  </a:lnTo>
                  <a:lnTo>
                    <a:pt x="2" y="7"/>
                  </a:lnTo>
                  <a:lnTo>
                    <a:pt x="2" y="7"/>
                  </a:lnTo>
                  <a:lnTo>
                    <a:pt x="2" y="5"/>
                  </a:lnTo>
                  <a:lnTo>
                    <a:pt x="0" y="5"/>
                  </a:lnTo>
                  <a:lnTo>
                    <a:pt x="0" y="5"/>
                  </a:lnTo>
                  <a:lnTo>
                    <a:pt x="0" y="5"/>
                  </a:lnTo>
                  <a:lnTo>
                    <a:pt x="0" y="3"/>
                  </a:lnTo>
                  <a:lnTo>
                    <a:pt x="0" y="3"/>
                  </a:lnTo>
                  <a:lnTo>
                    <a:pt x="0" y="3"/>
                  </a:lnTo>
                  <a:lnTo>
                    <a:pt x="2" y="3"/>
                  </a:lnTo>
                  <a:lnTo>
                    <a:pt x="2" y="0"/>
                  </a:lnTo>
                  <a:lnTo>
                    <a:pt x="2" y="0"/>
                  </a:lnTo>
                  <a:lnTo>
                    <a:pt x="2" y="0"/>
                  </a:lnTo>
                  <a:lnTo>
                    <a:pt x="2" y="0"/>
                  </a:lnTo>
                  <a:lnTo>
                    <a:pt x="2" y="0"/>
                  </a:lnTo>
                  <a:lnTo>
                    <a:pt x="2" y="0"/>
                  </a:lnTo>
                  <a:lnTo>
                    <a:pt x="2" y="0"/>
                  </a:lnTo>
                  <a:lnTo>
                    <a:pt x="2" y="0"/>
                  </a:lnTo>
                  <a:lnTo>
                    <a:pt x="2" y="0"/>
                  </a:lnTo>
                  <a:lnTo>
                    <a:pt x="2" y="0"/>
                  </a:lnTo>
                  <a:lnTo>
                    <a:pt x="2" y="3"/>
                  </a:lnTo>
                  <a:lnTo>
                    <a:pt x="2" y="3"/>
                  </a:lnTo>
                  <a:lnTo>
                    <a:pt x="5" y="3"/>
                  </a:lnTo>
                  <a:lnTo>
                    <a:pt x="5" y="3"/>
                  </a:lnTo>
                  <a:lnTo>
                    <a:pt x="5" y="3"/>
                  </a:lnTo>
                  <a:lnTo>
                    <a:pt x="5" y="3"/>
                  </a:lnTo>
                  <a:lnTo>
                    <a:pt x="5" y="3"/>
                  </a:lnTo>
                  <a:lnTo>
                    <a:pt x="5" y="5"/>
                  </a:lnTo>
                  <a:lnTo>
                    <a:pt x="2" y="5"/>
                  </a:lnTo>
                  <a:lnTo>
                    <a:pt x="2" y="5"/>
                  </a:lnTo>
                  <a:lnTo>
                    <a:pt x="5" y="5"/>
                  </a:lnTo>
                  <a:lnTo>
                    <a:pt x="5" y="5"/>
                  </a:lnTo>
                  <a:lnTo>
                    <a:pt x="5" y="5"/>
                  </a:lnTo>
                  <a:lnTo>
                    <a:pt x="5" y="5"/>
                  </a:lnTo>
                  <a:lnTo>
                    <a:pt x="5" y="5"/>
                  </a:lnTo>
                  <a:lnTo>
                    <a:pt x="5" y="5"/>
                  </a:lnTo>
                  <a:lnTo>
                    <a:pt x="5" y="5"/>
                  </a:lnTo>
                  <a:lnTo>
                    <a:pt x="5" y="5"/>
                  </a:lnTo>
                  <a:lnTo>
                    <a:pt x="5" y="7"/>
                  </a:lnTo>
                  <a:lnTo>
                    <a:pt x="5" y="7"/>
                  </a:lnTo>
                  <a:lnTo>
                    <a:pt x="5" y="7"/>
                  </a:lnTo>
                  <a:lnTo>
                    <a:pt x="5" y="7"/>
                  </a:lnTo>
                  <a:lnTo>
                    <a:pt x="5" y="7"/>
                  </a:lnTo>
                  <a:lnTo>
                    <a:pt x="5" y="7"/>
                  </a:lnTo>
                  <a:lnTo>
                    <a:pt x="5" y="7"/>
                  </a:lnTo>
                  <a:lnTo>
                    <a:pt x="5" y="7"/>
                  </a:lnTo>
                  <a:lnTo>
                    <a:pt x="5" y="10"/>
                  </a:lnTo>
                  <a:lnTo>
                    <a:pt x="5" y="10"/>
                  </a:lnTo>
                  <a:lnTo>
                    <a:pt x="5" y="10"/>
                  </a:lnTo>
                  <a:lnTo>
                    <a:pt x="5" y="10"/>
                  </a:lnTo>
                  <a:lnTo>
                    <a:pt x="5" y="10"/>
                  </a:lnTo>
                  <a:lnTo>
                    <a:pt x="5" y="1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0" name="Freeform 52488"/>
            <p:cNvSpPr>
              <a:spLocks noEditPoints="1"/>
            </p:cNvSpPr>
            <p:nvPr/>
          </p:nvSpPr>
          <p:spPr bwMode="auto">
            <a:xfrm>
              <a:off x="3125784" y="4187840"/>
              <a:ext cx="304799" cy="207965"/>
            </a:xfrm>
            <a:custGeom>
              <a:avLst/>
              <a:gdLst>
                <a:gd name="T0" fmla="*/ 0 w 192"/>
                <a:gd name="T1" fmla="*/ 57 h 131"/>
                <a:gd name="T2" fmla="*/ 4 w 192"/>
                <a:gd name="T3" fmla="*/ 41 h 131"/>
                <a:gd name="T4" fmla="*/ 4 w 192"/>
                <a:gd name="T5" fmla="*/ 53 h 131"/>
                <a:gd name="T6" fmla="*/ 130 w 192"/>
                <a:gd name="T7" fmla="*/ 8 h 131"/>
                <a:gd name="T8" fmla="*/ 135 w 192"/>
                <a:gd name="T9" fmla="*/ 10 h 131"/>
                <a:gd name="T10" fmla="*/ 144 w 192"/>
                <a:gd name="T11" fmla="*/ 17 h 131"/>
                <a:gd name="T12" fmla="*/ 156 w 192"/>
                <a:gd name="T13" fmla="*/ 17 h 131"/>
                <a:gd name="T14" fmla="*/ 163 w 192"/>
                <a:gd name="T15" fmla="*/ 24 h 131"/>
                <a:gd name="T16" fmla="*/ 173 w 192"/>
                <a:gd name="T17" fmla="*/ 31 h 131"/>
                <a:gd name="T18" fmla="*/ 185 w 192"/>
                <a:gd name="T19" fmla="*/ 41 h 131"/>
                <a:gd name="T20" fmla="*/ 182 w 192"/>
                <a:gd name="T21" fmla="*/ 50 h 131"/>
                <a:gd name="T22" fmla="*/ 182 w 192"/>
                <a:gd name="T23" fmla="*/ 55 h 131"/>
                <a:gd name="T24" fmla="*/ 185 w 192"/>
                <a:gd name="T25" fmla="*/ 57 h 131"/>
                <a:gd name="T26" fmla="*/ 192 w 192"/>
                <a:gd name="T27" fmla="*/ 60 h 131"/>
                <a:gd name="T28" fmla="*/ 185 w 192"/>
                <a:gd name="T29" fmla="*/ 67 h 131"/>
                <a:gd name="T30" fmla="*/ 173 w 192"/>
                <a:gd name="T31" fmla="*/ 69 h 131"/>
                <a:gd name="T32" fmla="*/ 168 w 192"/>
                <a:gd name="T33" fmla="*/ 79 h 131"/>
                <a:gd name="T34" fmla="*/ 159 w 192"/>
                <a:gd name="T35" fmla="*/ 81 h 131"/>
                <a:gd name="T36" fmla="*/ 156 w 192"/>
                <a:gd name="T37" fmla="*/ 95 h 131"/>
                <a:gd name="T38" fmla="*/ 152 w 192"/>
                <a:gd name="T39" fmla="*/ 103 h 131"/>
                <a:gd name="T40" fmla="*/ 152 w 192"/>
                <a:gd name="T41" fmla="*/ 110 h 131"/>
                <a:gd name="T42" fmla="*/ 159 w 192"/>
                <a:gd name="T43" fmla="*/ 114 h 131"/>
                <a:gd name="T44" fmla="*/ 152 w 192"/>
                <a:gd name="T45" fmla="*/ 117 h 131"/>
                <a:gd name="T46" fmla="*/ 152 w 192"/>
                <a:gd name="T47" fmla="*/ 112 h 131"/>
                <a:gd name="T48" fmla="*/ 140 w 192"/>
                <a:gd name="T49" fmla="*/ 112 h 131"/>
                <a:gd name="T50" fmla="*/ 133 w 192"/>
                <a:gd name="T51" fmla="*/ 117 h 131"/>
                <a:gd name="T52" fmla="*/ 125 w 192"/>
                <a:gd name="T53" fmla="*/ 124 h 131"/>
                <a:gd name="T54" fmla="*/ 121 w 192"/>
                <a:gd name="T55" fmla="*/ 126 h 131"/>
                <a:gd name="T56" fmla="*/ 111 w 192"/>
                <a:gd name="T57" fmla="*/ 129 h 131"/>
                <a:gd name="T58" fmla="*/ 104 w 192"/>
                <a:gd name="T59" fmla="*/ 129 h 131"/>
                <a:gd name="T60" fmla="*/ 95 w 192"/>
                <a:gd name="T61" fmla="*/ 129 h 131"/>
                <a:gd name="T62" fmla="*/ 83 w 192"/>
                <a:gd name="T63" fmla="*/ 126 h 131"/>
                <a:gd name="T64" fmla="*/ 78 w 192"/>
                <a:gd name="T65" fmla="*/ 114 h 131"/>
                <a:gd name="T66" fmla="*/ 68 w 192"/>
                <a:gd name="T67" fmla="*/ 107 h 131"/>
                <a:gd name="T68" fmla="*/ 57 w 192"/>
                <a:gd name="T69" fmla="*/ 103 h 131"/>
                <a:gd name="T70" fmla="*/ 57 w 192"/>
                <a:gd name="T71" fmla="*/ 91 h 131"/>
                <a:gd name="T72" fmla="*/ 64 w 192"/>
                <a:gd name="T73" fmla="*/ 84 h 131"/>
                <a:gd name="T74" fmla="*/ 57 w 192"/>
                <a:gd name="T75" fmla="*/ 76 h 131"/>
                <a:gd name="T76" fmla="*/ 45 w 192"/>
                <a:gd name="T77" fmla="*/ 72 h 131"/>
                <a:gd name="T78" fmla="*/ 33 w 192"/>
                <a:gd name="T79" fmla="*/ 72 h 131"/>
                <a:gd name="T80" fmla="*/ 21 w 192"/>
                <a:gd name="T81" fmla="*/ 67 h 131"/>
                <a:gd name="T82" fmla="*/ 14 w 192"/>
                <a:gd name="T83" fmla="*/ 57 h 131"/>
                <a:gd name="T84" fmla="*/ 9 w 192"/>
                <a:gd name="T85" fmla="*/ 55 h 131"/>
                <a:gd name="T86" fmla="*/ 4 w 192"/>
                <a:gd name="T87" fmla="*/ 41 h 131"/>
                <a:gd name="T88" fmla="*/ 2 w 192"/>
                <a:gd name="T89" fmla="*/ 36 h 131"/>
                <a:gd name="T90" fmla="*/ 2 w 192"/>
                <a:gd name="T91" fmla="*/ 19 h 131"/>
                <a:gd name="T92" fmla="*/ 7 w 192"/>
                <a:gd name="T93" fmla="*/ 17 h 131"/>
                <a:gd name="T94" fmla="*/ 19 w 192"/>
                <a:gd name="T95" fmla="*/ 10 h 131"/>
                <a:gd name="T96" fmla="*/ 33 w 192"/>
                <a:gd name="T97" fmla="*/ 5 h 131"/>
                <a:gd name="T98" fmla="*/ 47 w 192"/>
                <a:gd name="T99" fmla="*/ 3 h 131"/>
                <a:gd name="T100" fmla="*/ 61 w 192"/>
                <a:gd name="T101" fmla="*/ 5 h 131"/>
                <a:gd name="T102" fmla="*/ 71 w 192"/>
                <a:gd name="T103" fmla="*/ 8 h 131"/>
                <a:gd name="T104" fmla="*/ 83 w 192"/>
                <a:gd name="T105" fmla="*/ 8 h 131"/>
                <a:gd name="T106" fmla="*/ 95 w 192"/>
                <a:gd name="T107" fmla="*/ 8 h 131"/>
                <a:gd name="T108" fmla="*/ 104 w 192"/>
                <a:gd name="T109" fmla="*/ 10 h 131"/>
                <a:gd name="T110" fmla="*/ 114 w 192"/>
                <a:gd name="T111" fmla="*/ 10 h 131"/>
                <a:gd name="T112" fmla="*/ 121 w 192"/>
                <a:gd name="T113"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 h="131">
                  <a:moveTo>
                    <a:pt x="4" y="53"/>
                  </a:moveTo>
                  <a:lnTo>
                    <a:pt x="4" y="55"/>
                  </a:lnTo>
                  <a:lnTo>
                    <a:pt x="2" y="55"/>
                  </a:lnTo>
                  <a:lnTo>
                    <a:pt x="2" y="57"/>
                  </a:lnTo>
                  <a:lnTo>
                    <a:pt x="2" y="60"/>
                  </a:lnTo>
                  <a:lnTo>
                    <a:pt x="0" y="60"/>
                  </a:lnTo>
                  <a:lnTo>
                    <a:pt x="0" y="57"/>
                  </a:lnTo>
                  <a:lnTo>
                    <a:pt x="2" y="55"/>
                  </a:lnTo>
                  <a:lnTo>
                    <a:pt x="2" y="53"/>
                  </a:lnTo>
                  <a:lnTo>
                    <a:pt x="4" y="50"/>
                  </a:lnTo>
                  <a:lnTo>
                    <a:pt x="4" y="48"/>
                  </a:lnTo>
                  <a:lnTo>
                    <a:pt x="4" y="46"/>
                  </a:lnTo>
                  <a:lnTo>
                    <a:pt x="4" y="43"/>
                  </a:lnTo>
                  <a:lnTo>
                    <a:pt x="4" y="41"/>
                  </a:lnTo>
                  <a:lnTo>
                    <a:pt x="4" y="38"/>
                  </a:lnTo>
                  <a:lnTo>
                    <a:pt x="4" y="41"/>
                  </a:lnTo>
                  <a:lnTo>
                    <a:pt x="4" y="43"/>
                  </a:lnTo>
                  <a:lnTo>
                    <a:pt x="4" y="46"/>
                  </a:lnTo>
                  <a:lnTo>
                    <a:pt x="4" y="48"/>
                  </a:lnTo>
                  <a:lnTo>
                    <a:pt x="4" y="50"/>
                  </a:lnTo>
                  <a:lnTo>
                    <a:pt x="4" y="53"/>
                  </a:lnTo>
                  <a:close/>
                  <a:moveTo>
                    <a:pt x="128" y="0"/>
                  </a:moveTo>
                  <a:lnTo>
                    <a:pt x="130" y="0"/>
                  </a:lnTo>
                  <a:lnTo>
                    <a:pt x="130" y="3"/>
                  </a:lnTo>
                  <a:lnTo>
                    <a:pt x="130" y="5"/>
                  </a:lnTo>
                  <a:lnTo>
                    <a:pt x="133" y="5"/>
                  </a:lnTo>
                  <a:lnTo>
                    <a:pt x="130" y="5"/>
                  </a:lnTo>
                  <a:lnTo>
                    <a:pt x="130" y="8"/>
                  </a:lnTo>
                  <a:lnTo>
                    <a:pt x="133" y="8"/>
                  </a:lnTo>
                  <a:lnTo>
                    <a:pt x="130" y="8"/>
                  </a:lnTo>
                  <a:lnTo>
                    <a:pt x="133" y="8"/>
                  </a:lnTo>
                  <a:lnTo>
                    <a:pt x="130" y="8"/>
                  </a:lnTo>
                  <a:lnTo>
                    <a:pt x="133" y="8"/>
                  </a:lnTo>
                  <a:lnTo>
                    <a:pt x="133" y="10"/>
                  </a:lnTo>
                  <a:lnTo>
                    <a:pt x="135" y="10"/>
                  </a:lnTo>
                  <a:lnTo>
                    <a:pt x="135" y="12"/>
                  </a:lnTo>
                  <a:lnTo>
                    <a:pt x="135" y="15"/>
                  </a:lnTo>
                  <a:lnTo>
                    <a:pt x="137" y="15"/>
                  </a:lnTo>
                  <a:lnTo>
                    <a:pt x="140" y="15"/>
                  </a:lnTo>
                  <a:lnTo>
                    <a:pt x="142" y="15"/>
                  </a:lnTo>
                  <a:lnTo>
                    <a:pt x="142" y="17"/>
                  </a:lnTo>
                  <a:lnTo>
                    <a:pt x="144" y="17"/>
                  </a:lnTo>
                  <a:lnTo>
                    <a:pt x="147" y="17"/>
                  </a:lnTo>
                  <a:lnTo>
                    <a:pt x="149" y="17"/>
                  </a:lnTo>
                  <a:lnTo>
                    <a:pt x="149" y="15"/>
                  </a:lnTo>
                  <a:lnTo>
                    <a:pt x="152" y="15"/>
                  </a:lnTo>
                  <a:lnTo>
                    <a:pt x="152" y="17"/>
                  </a:lnTo>
                  <a:lnTo>
                    <a:pt x="154" y="17"/>
                  </a:lnTo>
                  <a:lnTo>
                    <a:pt x="156" y="17"/>
                  </a:lnTo>
                  <a:lnTo>
                    <a:pt x="156" y="19"/>
                  </a:lnTo>
                  <a:lnTo>
                    <a:pt x="154" y="19"/>
                  </a:lnTo>
                  <a:lnTo>
                    <a:pt x="156" y="19"/>
                  </a:lnTo>
                  <a:lnTo>
                    <a:pt x="159" y="22"/>
                  </a:lnTo>
                  <a:lnTo>
                    <a:pt x="161" y="22"/>
                  </a:lnTo>
                  <a:lnTo>
                    <a:pt x="161" y="24"/>
                  </a:lnTo>
                  <a:lnTo>
                    <a:pt x="163" y="24"/>
                  </a:lnTo>
                  <a:lnTo>
                    <a:pt x="166" y="24"/>
                  </a:lnTo>
                  <a:lnTo>
                    <a:pt x="166" y="27"/>
                  </a:lnTo>
                  <a:lnTo>
                    <a:pt x="168" y="27"/>
                  </a:lnTo>
                  <a:lnTo>
                    <a:pt x="168" y="29"/>
                  </a:lnTo>
                  <a:lnTo>
                    <a:pt x="170" y="29"/>
                  </a:lnTo>
                  <a:lnTo>
                    <a:pt x="170" y="31"/>
                  </a:lnTo>
                  <a:lnTo>
                    <a:pt x="173" y="31"/>
                  </a:lnTo>
                  <a:lnTo>
                    <a:pt x="173" y="34"/>
                  </a:lnTo>
                  <a:lnTo>
                    <a:pt x="175" y="36"/>
                  </a:lnTo>
                  <a:lnTo>
                    <a:pt x="178" y="36"/>
                  </a:lnTo>
                  <a:lnTo>
                    <a:pt x="178" y="38"/>
                  </a:lnTo>
                  <a:lnTo>
                    <a:pt x="180" y="38"/>
                  </a:lnTo>
                  <a:lnTo>
                    <a:pt x="182" y="41"/>
                  </a:lnTo>
                  <a:lnTo>
                    <a:pt x="185" y="41"/>
                  </a:lnTo>
                  <a:lnTo>
                    <a:pt x="187" y="41"/>
                  </a:lnTo>
                  <a:lnTo>
                    <a:pt x="187" y="43"/>
                  </a:lnTo>
                  <a:lnTo>
                    <a:pt x="187" y="46"/>
                  </a:lnTo>
                  <a:lnTo>
                    <a:pt x="185" y="46"/>
                  </a:lnTo>
                  <a:lnTo>
                    <a:pt x="185" y="48"/>
                  </a:lnTo>
                  <a:lnTo>
                    <a:pt x="182" y="48"/>
                  </a:lnTo>
                  <a:lnTo>
                    <a:pt x="182" y="50"/>
                  </a:lnTo>
                  <a:lnTo>
                    <a:pt x="185" y="50"/>
                  </a:lnTo>
                  <a:lnTo>
                    <a:pt x="185" y="53"/>
                  </a:lnTo>
                  <a:lnTo>
                    <a:pt x="182" y="53"/>
                  </a:lnTo>
                  <a:lnTo>
                    <a:pt x="185" y="53"/>
                  </a:lnTo>
                  <a:lnTo>
                    <a:pt x="182" y="53"/>
                  </a:lnTo>
                  <a:lnTo>
                    <a:pt x="185" y="55"/>
                  </a:lnTo>
                  <a:lnTo>
                    <a:pt x="182" y="55"/>
                  </a:lnTo>
                  <a:lnTo>
                    <a:pt x="185" y="55"/>
                  </a:lnTo>
                  <a:lnTo>
                    <a:pt x="182" y="55"/>
                  </a:lnTo>
                  <a:lnTo>
                    <a:pt x="180" y="57"/>
                  </a:lnTo>
                  <a:lnTo>
                    <a:pt x="182" y="57"/>
                  </a:lnTo>
                  <a:lnTo>
                    <a:pt x="185" y="57"/>
                  </a:lnTo>
                  <a:lnTo>
                    <a:pt x="185" y="60"/>
                  </a:lnTo>
                  <a:lnTo>
                    <a:pt x="185" y="57"/>
                  </a:lnTo>
                  <a:lnTo>
                    <a:pt x="185" y="60"/>
                  </a:lnTo>
                  <a:lnTo>
                    <a:pt x="185" y="57"/>
                  </a:lnTo>
                  <a:lnTo>
                    <a:pt x="185" y="60"/>
                  </a:lnTo>
                  <a:lnTo>
                    <a:pt x="185" y="57"/>
                  </a:lnTo>
                  <a:lnTo>
                    <a:pt x="187" y="57"/>
                  </a:lnTo>
                  <a:lnTo>
                    <a:pt x="189" y="57"/>
                  </a:lnTo>
                  <a:lnTo>
                    <a:pt x="192" y="60"/>
                  </a:lnTo>
                  <a:lnTo>
                    <a:pt x="192" y="62"/>
                  </a:lnTo>
                  <a:lnTo>
                    <a:pt x="189" y="62"/>
                  </a:lnTo>
                  <a:lnTo>
                    <a:pt x="189" y="65"/>
                  </a:lnTo>
                  <a:lnTo>
                    <a:pt x="187" y="65"/>
                  </a:lnTo>
                  <a:lnTo>
                    <a:pt x="189" y="67"/>
                  </a:lnTo>
                  <a:lnTo>
                    <a:pt x="187" y="67"/>
                  </a:lnTo>
                  <a:lnTo>
                    <a:pt x="185" y="67"/>
                  </a:lnTo>
                  <a:lnTo>
                    <a:pt x="182" y="67"/>
                  </a:lnTo>
                  <a:lnTo>
                    <a:pt x="180" y="69"/>
                  </a:lnTo>
                  <a:lnTo>
                    <a:pt x="180" y="67"/>
                  </a:lnTo>
                  <a:lnTo>
                    <a:pt x="178" y="67"/>
                  </a:lnTo>
                  <a:lnTo>
                    <a:pt x="175" y="67"/>
                  </a:lnTo>
                  <a:lnTo>
                    <a:pt x="175" y="69"/>
                  </a:lnTo>
                  <a:lnTo>
                    <a:pt x="173" y="69"/>
                  </a:lnTo>
                  <a:lnTo>
                    <a:pt x="175" y="72"/>
                  </a:lnTo>
                  <a:lnTo>
                    <a:pt x="173" y="72"/>
                  </a:lnTo>
                  <a:lnTo>
                    <a:pt x="173" y="74"/>
                  </a:lnTo>
                  <a:lnTo>
                    <a:pt x="173" y="76"/>
                  </a:lnTo>
                  <a:lnTo>
                    <a:pt x="170" y="76"/>
                  </a:lnTo>
                  <a:lnTo>
                    <a:pt x="168" y="76"/>
                  </a:lnTo>
                  <a:lnTo>
                    <a:pt x="168" y="79"/>
                  </a:lnTo>
                  <a:lnTo>
                    <a:pt x="166" y="79"/>
                  </a:lnTo>
                  <a:lnTo>
                    <a:pt x="166" y="76"/>
                  </a:lnTo>
                  <a:lnTo>
                    <a:pt x="163" y="76"/>
                  </a:lnTo>
                  <a:lnTo>
                    <a:pt x="163" y="79"/>
                  </a:lnTo>
                  <a:lnTo>
                    <a:pt x="161" y="79"/>
                  </a:lnTo>
                  <a:lnTo>
                    <a:pt x="161" y="81"/>
                  </a:lnTo>
                  <a:lnTo>
                    <a:pt x="159" y="81"/>
                  </a:lnTo>
                  <a:lnTo>
                    <a:pt x="159" y="84"/>
                  </a:lnTo>
                  <a:lnTo>
                    <a:pt x="156" y="84"/>
                  </a:lnTo>
                  <a:lnTo>
                    <a:pt x="156" y="86"/>
                  </a:lnTo>
                  <a:lnTo>
                    <a:pt x="156" y="88"/>
                  </a:lnTo>
                  <a:lnTo>
                    <a:pt x="156" y="91"/>
                  </a:lnTo>
                  <a:lnTo>
                    <a:pt x="156" y="93"/>
                  </a:lnTo>
                  <a:lnTo>
                    <a:pt x="156" y="95"/>
                  </a:lnTo>
                  <a:lnTo>
                    <a:pt x="159" y="95"/>
                  </a:lnTo>
                  <a:lnTo>
                    <a:pt x="156" y="95"/>
                  </a:lnTo>
                  <a:lnTo>
                    <a:pt x="156" y="98"/>
                  </a:lnTo>
                  <a:lnTo>
                    <a:pt x="154" y="98"/>
                  </a:lnTo>
                  <a:lnTo>
                    <a:pt x="154" y="100"/>
                  </a:lnTo>
                  <a:lnTo>
                    <a:pt x="154" y="103"/>
                  </a:lnTo>
                  <a:lnTo>
                    <a:pt x="152" y="103"/>
                  </a:lnTo>
                  <a:lnTo>
                    <a:pt x="154" y="103"/>
                  </a:lnTo>
                  <a:lnTo>
                    <a:pt x="154" y="105"/>
                  </a:lnTo>
                  <a:lnTo>
                    <a:pt x="152" y="105"/>
                  </a:lnTo>
                  <a:lnTo>
                    <a:pt x="152" y="107"/>
                  </a:lnTo>
                  <a:lnTo>
                    <a:pt x="149" y="107"/>
                  </a:lnTo>
                  <a:lnTo>
                    <a:pt x="149" y="110"/>
                  </a:lnTo>
                  <a:lnTo>
                    <a:pt x="152" y="110"/>
                  </a:lnTo>
                  <a:lnTo>
                    <a:pt x="154" y="110"/>
                  </a:lnTo>
                  <a:lnTo>
                    <a:pt x="156" y="110"/>
                  </a:lnTo>
                  <a:lnTo>
                    <a:pt x="156" y="112"/>
                  </a:lnTo>
                  <a:lnTo>
                    <a:pt x="159" y="112"/>
                  </a:lnTo>
                  <a:lnTo>
                    <a:pt x="159" y="114"/>
                  </a:lnTo>
                  <a:lnTo>
                    <a:pt x="156" y="114"/>
                  </a:lnTo>
                  <a:lnTo>
                    <a:pt x="159" y="114"/>
                  </a:lnTo>
                  <a:lnTo>
                    <a:pt x="159" y="117"/>
                  </a:lnTo>
                  <a:lnTo>
                    <a:pt x="156" y="117"/>
                  </a:lnTo>
                  <a:lnTo>
                    <a:pt x="154" y="117"/>
                  </a:lnTo>
                  <a:lnTo>
                    <a:pt x="156" y="117"/>
                  </a:lnTo>
                  <a:lnTo>
                    <a:pt x="154" y="119"/>
                  </a:lnTo>
                  <a:lnTo>
                    <a:pt x="152" y="119"/>
                  </a:lnTo>
                  <a:lnTo>
                    <a:pt x="152" y="117"/>
                  </a:lnTo>
                  <a:lnTo>
                    <a:pt x="152" y="119"/>
                  </a:lnTo>
                  <a:lnTo>
                    <a:pt x="152" y="117"/>
                  </a:lnTo>
                  <a:lnTo>
                    <a:pt x="149" y="117"/>
                  </a:lnTo>
                  <a:lnTo>
                    <a:pt x="152" y="114"/>
                  </a:lnTo>
                  <a:lnTo>
                    <a:pt x="149" y="114"/>
                  </a:lnTo>
                  <a:lnTo>
                    <a:pt x="152" y="114"/>
                  </a:lnTo>
                  <a:lnTo>
                    <a:pt x="152" y="112"/>
                  </a:lnTo>
                  <a:lnTo>
                    <a:pt x="149" y="112"/>
                  </a:lnTo>
                  <a:lnTo>
                    <a:pt x="149" y="110"/>
                  </a:lnTo>
                  <a:lnTo>
                    <a:pt x="147" y="110"/>
                  </a:lnTo>
                  <a:lnTo>
                    <a:pt x="147" y="112"/>
                  </a:lnTo>
                  <a:lnTo>
                    <a:pt x="144" y="112"/>
                  </a:lnTo>
                  <a:lnTo>
                    <a:pt x="142" y="112"/>
                  </a:lnTo>
                  <a:lnTo>
                    <a:pt x="140" y="112"/>
                  </a:lnTo>
                  <a:lnTo>
                    <a:pt x="140" y="114"/>
                  </a:lnTo>
                  <a:lnTo>
                    <a:pt x="137" y="114"/>
                  </a:lnTo>
                  <a:lnTo>
                    <a:pt x="137" y="117"/>
                  </a:lnTo>
                  <a:lnTo>
                    <a:pt x="135" y="117"/>
                  </a:lnTo>
                  <a:lnTo>
                    <a:pt x="135" y="119"/>
                  </a:lnTo>
                  <a:lnTo>
                    <a:pt x="133" y="119"/>
                  </a:lnTo>
                  <a:lnTo>
                    <a:pt x="133" y="117"/>
                  </a:lnTo>
                  <a:lnTo>
                    <a:pt x="130" y="117"/>
                  </a:lnTo>
                  <a:lnTo>
                    <a:pt x="128" y="117"/>
                  </a:lnTo>
                  <a:lnTo>
                    <a:pt x="125" y="119"/>
                  </a:lnTo>
                  <a:lnTo>
                    <a:pt x="128" y="119"/>
                  </a:lnTo>
                  <a:lnTo>
                    <a:pt x="125" y="119"/>
                  </a:lnTo>
                  <a:lnTo>
                    <a:pt x="125" y="122"/>
                  </a:lnTo>
                  <a:lnTo>
                    <a:pt x="125" y="124"/>
                  </a:lnTo>
                  <a:lnTo>
                    <a:pt x="128" y="124"/>
                  </a:lnTo>
                  <a:lnTo>
                    <a:pt x="128" y="126"/>
                  </a:lnTo>
                  <a:lnTo>
                    <a:pt x="125" y="126"/>
                  </a:lnTo>
                  <a:lnTo>
                    <a:pt x="123" y="126"/>
                  </a:lnTo>
                  <a:lnTo>
                    <a:pt x="123" y="124"/>
                  </a:lnTo>
                  <a:lnTo>
                    <a:pt x="121" y="124"/>
                  </a:lnTo>
                  <a:lnTo>
                    <a:pt x="121" y="126"/>
                  </a:lnTo>
                  <a:lnTo>
                    <a:pt x="118" y="126"/>
                  </a:lnTo>
                  <a:lnTo>
                    <a:pt x="116" y="126"/>
                  </a:lnTo>
                  <a:lnTo>
                    <a:pt x="116" y="129"/>
                  </a:lnTo>
                  <a:lnTo>
                    <a:pt x="114" y="129"/>
                  </a:lnTo>
                  <a:lnTo>
                    <a:pt x="114" y="131"/>
                  </a:lnTo>
                  <a:lnTo>
                    <a:pt x="111" y="131"/>
                  </a:lnTo>
                  <a:lnTo>
                    <a:pt x="111" y="129"/>
                  </a:lnTo>
                  <a:lnTo>
                    <a:pt x="111" y="131"/>
                  </a:lnTo>
                  <a:lnTo>
                    <a:pt x="109" y="131"/>
                  </a:lnTo>
                  <a:lnTo>
                    <a:pt x="109" y="129"/>
                  </a:lnTo>
                  <a:lnTo>
                    <a:pt x="106" y="129"/>
                  </a:lnTo>
                  <a:lnTo>
                    <a:pt x="106" y="126"/>
                  </a:lnTo>
                  <a:lnTo>
                    <a:pt x="104" y="126"/>
                  </a:lnTo>
                  <a:lnTo>
                    <a:pt x="104" y="129"/>
                  </a:lnTo>
                  <a:lnTo>
                    <a:pt x="102" y="129"/>
                  </a:lnTo>
                  <a:lnTo>
                    <a:pt x="99" y="129"/>
                  </a:lnTo>
                  <a:lnTo>
                    <a:pt x="97" y="126"/>
                  </a:lnTo>
                  <a:lnTo>
                    <a:pt x="97" y="129"/>
                  </a:lnTo>
                  <a:lnTo>
                    <a:pt x="95" y="129"/>
                  </a:lnTo>
                  <a:lnTo>
                    <a:pt x="92" y="129"/>
                  </a:lnTo>
                  <a:lnTo>
                    <a:pt x="95" y="129"/>
                  </a:lnTo>
                  <a:lnTo>
                    <a:pt x="92" y="131"/>
                  </a:lnTo>
                  <a:lnTo>
                    <a:pt x="92" y="129"/>
                  </a:lnTo>
                  <a:lnTo>
                    <a:pt x="90" y="129"/>
                  </a:lnTo>
                  <a:lnTo>
                    <a:pt x="87" y="129"/>
                  </a:lnTo>
                  <a:lnTo>
                    <a:pt x="85" y="129"/>
                  </a:lnTo>
                  <a:lnTo>
                    <a:pt x="83" y="129"/>
                  </a:lnTo>
                  <a:lnTo>
                    <a:pt x="83" y="126"/>
                  </a:lnTo>
                  <a:lnTo>
                    <a:pt x="83" y="124"/>
                  </a:lnTo>
                  <a:lnTo>
                    <a:pt x="83" y="122"/>
                  </a:lnTo>
                  <a:lnTo>
                    <a:pt x="83" y="119"/>
                  </a:lnTo>
                  <a:lnTo>
                    <a:pt x="83" y="117"/>
                  </a:lnTo>
                  <a:lnTo>
                    <a:pt x="80" y="117"/>
                  </a:lnTo>
                  <a:lnTo>
                    <a:pt x="80" y="114"/>
                  </a:lnTo>
                  <a:lnTo>
                    <a:pt x="78" y="114"/>
                  </a:lnTo>
                  <a:lnTo>
                    <a:pt x="78" y="112"/>
                  </a:lnTo>
                  <a:lnTo>
                    <a:pt x="76" y="112"/>
                  </a:lnTo>
                  <a:lnTo>
                    <a:pt x="73" y="112"/>
                  </a:lnTo>
                  <a:lnTo>
                    <a:pt x="73" y="110"/>
                  </a:lnTo>
                  <a:lnTo>
                    <a:pt x="71" y="110"/>
                  </a:lnTo>
                  <a:lnTo>
                    <a:pt x="68" y="110"/>
                  </a:lnTo>
                  <a:lnTo>
                    <a:pt x="68" y="107"/>
                  </a:lnTo>
                  <a:lnTo>
                    <a:pt x="66" y="107"/>
                  </a:lnTo>
                  <a:lnTo>
                    <a:pt x="66" y="105"/>
                  </a:lnTo>
                  <a:lnTo>
                    <a:pt x="64" y="105"/>
                  </a:lnTo>
                  <a:lnTo>
                    <a:pt x="61" y="105"/>
                  </a:lnTo>
                  <a:lnTo>
                    <a:pt x="59" y="107"/>
                  </a:lnTo>
                  <a:lnTo>
                    <a:pt x="59" y="105"/>
                  </a:lnTo>
                  <a:lnTo>
                    <a:pt x="57" y="103"/>
                  </a:lnTo>
                  <a:lnTo>
                    <a:pt x="57" y="100"/>
                  </a:lnTo>
                  <a:lnTo>
                    <a:pt x="57" y="98"/>
                  </a:lnTo>
                  <a:lnTo>
                    <a:pt x="57" y="95"/>
                  </a:lnTo>
                  <a:lnTo>
                    <a:pt x="57" y="93"/>
                  </a:lnTo>
                  <a:lnTo>
                    <a:pt x="59" y="93"/>
                  </a:lnTo>
                  <a:lnTo>
                    <a:pt x="57" y="93"/>
                  </a:lnTo>
                  <a:lnTo>
                    <a:pt x="57" y="91"/>
                  </a:lnTo>
                  <a:lnTo>
                    <a:pt x="59" y="91"/>
                  </a:lnTo>
                  <a:lnTo>
                    <a:pt x="57" y="91"/>
                  </a:lnTo>
                  <a:lnTo>
                    <a:pt x="57" y="88"/>
                  </a:lnTo>
                  <a:lnTo>
                    <a:pt x="59" y="88"/>
                  </a:lnTo>
                  <a:lnTo>
                    <a:pt x="61" y="86"/>
                  </a:lnTo>
                  <a:lnTo>
                    <a:pt x="61" y="84"/>
                  </a:lnTo>
                  <a:lnTo>
                    <a:pt x="64" y="84"/>
                  </a:lnTo>
                  <a:lnTo>
                    <a:pt x="61" y="84"/>
                  </a:lnTo>
                  <a:lnTo>
                    <a:pt x="61" y="81"/>
                  </a:lnTo>
                  <a:lnTo>
                    <a:pt x="61" y="79"/>
                  </a:lnTo>
                  <a:lnTo>
                    <a:pt x="59" y="79"/>
                  </a:lnTo>
                  <a:lnTo>
                    <a:pt x="57" y="76"/>
                  </a:lnTo>
                  <a:lnTo>
                    <a:pt x="54" y="76"/>
                  </a:lnTo>
                  <a:lnTo>
                    <a:pt x="57" y="76"/>
                  </a:lnTo>
                  <a:lnTo>
                    <a:pt x="54" y="76"/>
                  </a:lnTo>
                  <a:lnTo>
                    <a:pt x="54" y="74"/>
                  </a:lnTo>
                  <a:lnTo>
                    <a:pt x="52" y="74"/>
                  </a:lnTo>
                  <a:lnTo>
                    <a:pt x="52" y="72"/>
                  </a:lnTo>
                  <a:lnTo>
                    <a:pt x="49" y="72"/>
                  </a:lnTo>
                  <a:lnTo>
                    <a:pt x="47" y="72"/>
                  </a:lnTo>
                  <a:lnTo>
                    <a:pt x="45" y="72"/>
                  </a:lnTo>
                  <a:lnTo>
                    <a:pt x="42" y="72"/>
                  </a:lnTo>
                  <a:lnTo>
                    <a:pt x="40" y="72"/>
                  </a:lnTo>
                  <a:lnTo>
                    <a:pt x="38" y="72"/>
                  </a:lnTo>
                  <a:lnTo>
                    <a:pt x="38" y="74"/>
                  </a:lnTo>
                  <a:lnTo>
                    <a:pt x="35" y="74"/>
                  </a:lnTo>
                  <a:lnTo>
                    <a:pt x="35" y="72"/>
                  </a:lnTo>
                  <a:lnTo>
                    <a:pt x="33" y="72"/>
                  </a:lnTo>
                  <a:lnTo>
                    <a:pt x="31" y="72"/>
                  </a:lnTo>
                  <a:lnTo>
                    <a:pt x="31" y="69"/>
                  </a:lnTo>
                  <a:lnTo>
                    <a:pt x="28" y="69"/>
                  </a:lnTo>
                  <a:lnTo>
                    <a:pt x="26" y="69"/>
                  </a:lnTo>
                  <a:lnTo>
                    <a:pt x="23" y="69"/>
                  </a:lnTo>
                  <a:lnTo>
                    <a:pt x="23" y="67"/>
                  </a:lnTo>
                  <a:lnTo>
                    <a:pt x="21" y="67"/>
                  </a:lnTo>
                  <a:lnTo>
                    <a:pt x="21" y="65"/>
                  </a:lnTo>
                  <a:lnTo>
                    <a:pt x="19" y="65"/>
                  </a:lnTo>
                  <a:lnTo>
                    <a:pt x="16" y="65"/>
                  </a:lnTo>
                  <a:lnTo>
                    <a:pt x="16" y="62"/>
                  </a:lnTo>
                  <a:lnTo>
                    <a:pt x="14" y="62"/>
                  </a:lnTo>
                  <a:lnTo>
                    <a:pt x="14" y="60"/>
                  </a:lnTo>
                  <a:lnTo>
                    <a:pt x="14" y="57"/>
                  </a:lnTo>
                  <a:lnTo>
                    <a:pt x="12" y="57"/>
                  </a:lnTo>
                  <a:lnTo>
                    <a:pt x="12" y="55"/>
                  </a:lnTo>
                  <a:lnTo>
                    <a:pt x="12" y="57"/>
                  </a:lnTo>
                  <a:lnTo>
                    <a:pt x="9" y="57"/>
                  </a:lnTo>
                  <a:lnTo>
                    <a:pt x="7" y="57"/>
                  </a:lnTo>
                  <a:lnTo>
                    <a:pt x="7" y="55"/>
                  </a:lnTo>
                  <a:lnTo>
                    <a:pt x="9" y="55"/>
                  </a:lnTo>
                  <a:lnTo>
                    <a:pt x="9" y="53"/>
                  </a:lnTo>
                  <a:lnTo>
                    <a:pt x="9" y="50"/>
                  </a:lnTo>
                  <a:lnTo>
                    <a:pt x="7" y="48"/>
                  </a:lnTo>
                  <a:lnTo>
                    <a:pt x="7" y="46"/>
                  </a:lnTo>
                  <a:lnTo>
                    <a:pt x="7" y="43"/>
                  </a:lnTo>
                  <a:lnTo>
                    <a:pt x="4" y="43"/>
                  </a:lnTo>
                  <a:lnTo>
                    <a:pt x="4" y="41"/>
                  </a:lnTo>
                  <a:lnTo>
                    <a:pt x="7" y="43"/>
                  </a:lnTo>
                  <a:lnTo>
                    <a:pt x="7" y="41"/>
                  </a:lnTo>
                  <a:lnTo>
                    <a:pt x="4" y="41"/>
                  </a:lnTo>
                  <a:lnTo>
                    <a:pt x="4" y="38"/>
                  </a:lnTo>
                  <a:lnTo>
                    <a:pt x="2" y="38"/>
                  </a:lnTo>
                  <a:lnTo>
                    <a:pt x="4" y="38"/>
                  </a:lnTo>
                  <a:lnTo>
                    <a:pt x="2" y="36"/>
                  </a:lnTo>
                  <a:lnTo>
                    <a:pt x="2" y="34"/>
                  </a:lnTo>
                  <a:lnTo>
                    <a:pt x="2" y="31"/>
                  </a:lnTo>
                  <a:lnTo>
                    <a:pt x="2" y="29"/>
                  </a:lnTo>
                  <a:lnTo>
                    <a:pt x="2" y="27"/>
                  </a:lnTo>
                  <a:lnTo>
                    <a:pt x="2" y="24"/>
                  </a:lnTo>
                  <a:lnTo>
                    <a:pt x="2" y="22"/>
                  </a:lnTo>
                  <a:lnTo>
                    <a:pt x="2" y="19"/>
                  </a:lnTo>
                  <a:lnTo>
                    <a:pt x="4" y="19"/>
                  </a:lnTo>
                  <a:lnTo>
                    <a:pt x="7" y="19"/>
                  </a:lnTo>
                  <a:lnTo>
                    <a:pt x="7" y="17"/>
                  </a:lnTo>
                  <a:lnTo>
                    <a:pt x="9" y="17"/>
                  </a:lnTo>
                  <a:lnTo>
                    <a:pt x="7" y="17"/>
                  </a:lnTo>
                  <a:lnTo>
                    <a:pt x="9" y="17"/>
                  </a:lnTo>
                  <a:lnTo>
                    <a:pt x="7" y="17"/>
                  </a:lnTo>
                  <a:lnTo>
                    <a:pt x="9" y="15"/>
                  </a:lnTo>
                  <a:lnTo>
                    <a:pt x="12" y="15"/>
                  </a:lnTo>
                  <a:lnTo>
                    <a:pt x="12" y="12"/>
                  </a:lnTo>
                  <a:lnTo>
                    <a:pt x="14" y="12"/>
                  </a:lnTo>
                  <a:lnTo>
                    <a:pt x="16" y="12"/>
                  </a:lnTo>
                  <a:lnTo>
                    <a:pt x="16" y="10"/>
                  </a:lnTo>
                  <a:lnTo>
                    <a:pt x="19" y="10"/>
                  </a:lnTo>
                  <a:lnTo>
                    <a:pt x="19" y="8"/>
                  </a:lnTo>
                  <a:lnTo>
                    <a:pt x="21" y="8"/>
                  </a:lnTo>
                  <a:lnTo>
                    <a:pt x="23" y="8"/>
                  </a:lnTo>
                  <a:lnTo>
                    <a:pt x="26" y="8"/>
                  </a:lnTo>
                  <a:lnTo>
                    <a:pt x="28" y="5"/>
                  </a:lnTo>
                  <a:lnTo>
                    <a:pt x="31" y="5"/>
                  </a:lnTo>
                  <a:lnTo>
                    <a:pt x="33" y="5"/>
                  </a:lnTo>
                  <a:lnTo>
                    <a:pt x="33" y="3"/>
                  </a:lnTo>
                  <a:lnTo>
                    <a:pt x="35" y="3"/>
                  </a:lnTo>
                  <a:lnTo>
                    <a:pt x="38" y="3"/>
                  </a:lnTo>
                  <a:lnTo>
                    <a:pt x="40" y="3"/>
                  </a:lnTo>
                  <a:lnTo>
                    <a:pt x="42" y="3"/>
                  </a:lnTo>
                  <a:lnTo>
                    <a:pt x="45" y="3"/>
                  </a:lnTo>
                  <a:lnTo>
                    <a:pt x="47" y="3"/>
                  </a:lnTo>
                  <a:lnTo>
                    <a:pt x="49" y="3"/>
                  </a:lnTo>
                  <a:lnTo>
                    <a:pt x="52" y="3"/>
                  </a:lnTo>
                  <a:lnTo>
                    <a:pt x="52" y="5"/>
                  </a:lnTo>
                  <a:lnTo>
                    <a:pt x="54" y="5"/>
                  </a:lnTo>
                  <a:lnTo>
                    <a:pt x="57" y="5"/>
                  </a:lnTo>
                  <a:lnTo>
                    <a:pt x="59" y="5"/>
                  </a:lnTo>
                  <a:lnTo>
                    <a:pt x="61" y="5"/>
                  </a:lnTo>
                  <a:lnTo>
                    <a:pt x="64" y="5"/>
                  </a:lnTo>
                  <a:lnTo>
                    <a:pt x="64" y="3"/>
                  </a:lnTo>
                  <a:lnTo>
                    <a:pt x="66" y="3"/>
                  </a:lnTo>
                  <a:lnTo>
                    <a:pt x="66" y="5"/>
                  </a:lnTo>
                  <a:lnTo>
                    <a:pt x="66" y="8"/>
                  </a:lnTo>
                  <a:lnTo>
                    <a:pt x="68" y="8"/>
                  </a:lnTo>
                  <a:lnTo>
                    <a:pt x="71" y="8"/>
                  </a:lnTo>
                  <a:lnTo>
                    <a:pt x="73" y="8"/>
                  </a:lnTo>
                  <a:lnTo>
                    <a:pt x="71" y="5"/>
                  </a:lnTo>
                  <a:lnTo>
                    <a:pt x="73" y="5"/>
                  </a:lnTo>
                  <a:lnTo>
                    <a:pt x="76" y="5"/>
                  </a:lnTo>
                  <a:lnTo>
                    <a:pt x="80" y="5"/>
                  </a:lnTo>
                  <a:lnTo>
                    <a:pt x="83" y="5"/>
                  </a:lnTo>
                  <a:lnTo>
                    <a:pt x="83" y="8"/>
                  </a:lnTo>
                  <a:lnTo>
                    <a:pt x="85" y="8"/>
                  </a:lnTo>
                  <a:lnTo>
                    <a:pt x="85" y="5"/>
                  </a:lnTo>
                  <a:lnTo>
                    <a:pt x="87" y="5"/>
                  </a:lnTo>
                  <a:lnTo>
                    <a:pt x="90" y="5"/>
                  </a:lnTo>
                  <a:lnTo>
                    <a:pt x="92" y="5"/>
                  </a:lnTo>
                  <a:lnTo>
                    <a:pt x="92" y="8"/>
                  </a:lnTo>
                  <a:lnTo>
                    <a:pt x="95" y="8"/>
                  </a:lnTo>
                  <a:lnTo>
                    <a:pt x="97" y="8"/>
                  </a:lnTo>
                  <a:lnTo>
                    <a:pt x="99" y="8"/>
                  </a:lnTo>
                  <a:lnTo>
                    <a:pt x="102" y="8"/>
                  </a:lnTo>
                  <a:lnTo>
                    <a:pt x="102" y="10"/>
                  </a:lnTo>
                  <a:lnTo>
                    <a:pt x="104" y="10"/>
                  </a:lnTo>
                  <a:lnTo>
                    <a:pt x="104" y="12"/>
                  </a:lnTo>
                  <a:lnTo>
                    <a:pt x="104" y="10"/>
                  </a:lnTo>
                  <a:lnTo>
                    <a:pt x="104" y="12"/>
                  </a:lnTo>
                  <a:lnTo>
                    <a:pt x="106" y="10"/>
                  </a:lnTo>
                  <a:lnTo>
                    <a:pt x="109" y="10"/>
                  </a:lnTo>
                  <a:lnTo>
                    <a:pt x="109" y="8"/>
                  </a:lnTo>
                  <a:lnTo>
                    <a:pt x="111" y="8"/>
                  </a:lnTo>
                  <a:lnTo>
                    <a:pt x="111" y="10"/>
                  </a:lnTo>
                  <a:lnTo>
                    <a:pt x="114" y="10"/>
                  </a:lnTo>
                  <a:lnTo>
                    <a:pt x="116" y="10"/>
                  </a:lnTo>
                  <a:lnTo>
                    <a:pt x="118" y="10"/>
                  </a:lnTo>
                  <a:lnTo>
                    <a:pt x="118" y="8"/>
                  </a:lnTo>
                  <a:lnTo>
                    <a:pt x="121" y="8"/>
                  </a:lnTo>
                  <a:lnTo>
                    <a:pt x="121" y="5"/>
                  </a:lnTo>
                  <a:lnTo>
                    <a:pt x="121" y="8"/>
                  </a:lnTo>
                  <a:lnTo>
                    <a:pt x="121" y="5"/>
                  </a:lnTo>
                  <a:lnTo>
                    <a:pt x="123" y="5"/>
                  </a:lnTo>
                  <a:lnTo>
                    <a:pt x="123" y="3"/>
                  </a:lnTo>
                  <a:lnTo>
                    <a:pt x="125" y="3"/>
                  </a:lnTo>
                  <a:lnTo>
                    <a:pt x="128" y="3"/>
                  </a:lnTo>
                  <a:lnTo>
                    <a:pt x="12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1" name="Freeform 52489"/>
            <p:cNvSpPr>
              <a:spLocks noEditPoints="1"/>
            </p:cNvSpPr>
            <p:nvPr/>
          </p:nvSpPr>
          <p:spPr bwMode="auto">
            <a:xfrm>
              <a:off x="3140073" y="4278328"/>
              <a:ext cx="7938" cy="7938"/>
            </a:xfrm>
            <a:custGeom>
              <a:avLst/>
              <a:gdLst>
                <a:gd name="T0" fmla="*/ 0 w 5"/>
                <a:gd name="T1" fmla="*/ 5 h 5"/>
                <a:gd name="T2" fmla="*/ 0 w 5"/>
                <a:gd name="T3" fmla="*/ 5 h 5"/>
                <a:gd name="T4" fmla="*/ 3 w 5"/>
                <a:gd name="T5" fmla="*/ 5 h 5"/>
                <a:gd name="T6" fmla="*/ 0 w 5"/>
                <a:gd name="T7" fmla="*/ 5 h 5"/>
                <a:gd name="T8" fmla="*/ 0 w 5"/>
                <a:gd name="T9" fmla="*/ 5 h 5"/>
                <a:gd name="T10" fmla="*/ 0 w 5"/>
                <a:gd name="T11" fmla="*/ 5 h 5"/>
                <a:gd name="T12" fmla="*/ 0 w 5"/>
                <a:gd name="T13" fmla="*/ 5 h 5"/>
                <a:gd name="T14" fmla="*/ 0 w 5"/>
                <a:gd name="T15" fmla="*/ 5 h 5"/>
                <a:gd name="T16" fmla="*/ 0 w 5"/>
                <a:gd name="T17" fmla="*/ 5 h 5"/>
                <a:gd name="T18" fmla="*/ 0 w 5"/>
                <a:gd name="T19" fmla="*/ 5 h 5"/>
                <a:gd name="T20" fmla="*/ 0 w 5"/>
                <a:gd name="T21" fmla="*/ 3 h 5"/>
                <a:gd name="T22" fmla="*/ 0 w 5"/>
                <a:gd name="T23" fmla="*/ 3 h 5"/>
                <a:gd name="T24" fmla="*/ 0 w 5"/>
                <a:gd name="T25" fmla="*/ 3 h 5"/>
                <a:gd name="T26" fmla="*/ 0 w 5"/>
                <a:gd name="T27" fmla="*/ 3 h 5"/>
                <a:gd name="T28" fmla="*/ 0 w 5"/>
                <a:gd name="T29" fmla="*/ 3 h 5"/>
                <a:gd name="T30" fmla="*/ 0 w 5"/>
                <a:gd name="T31" fmla="*/ 3 h 5"/>
                <a:gd name="T32" fmla="*/ 0 w 5"/>
                <a:gd name="T33" fmla="*/ 3 h 5"/>
                <a:gd name="T34" fmla="*/ 5 w 5"/>
                <a:gd name="T35" fmla="*/ 0 h 5"/>
                <a:gd name="T36" fmla="*/ 5 w 5"/>
                <a:gd name="T37" fmla="*/ 0 h 5"/>
                <a:gd name="T38" fmla="*/ 5 w 5"/>
                <a:gd name="T39" fmla="*/ 3 h 5"/>
                <a:gd name="T40" fmla="*/ 5 w 5"/>
                <a:gd name="T41" fmla="*/ 3 h 5"/>
                <a:gd name="T42" fmla="*/ 5 w 5"/>
                <a:gd name="T43" fmla="*/ 3 h 5"/>
                <a:gd name="T44" fmla="*/ 5 w 5"/>
                <a:gd name="T45" fmla="*/ 3 h 5"/>
                <a:gd name="T46" fmla="*/ 3 w 5"/>
                <a:gd name="T47" fmla="*/ 3 h 5"/>
                <a:gd name="T48" fmla="*/ 3 w 5"/>
                <a:gd name="T49" fmla="*/ 3 h 5"/>
                <a:gd name="T50" fmla="*/ 3 w 5"/>
                <a:gd name="T51" fmla="*/ 5 h 5"/>
                <a:gd name="T52" fmla="*/ 3 w 5"/>
                <a:gd name="T53" fmla="*/ 5 h 5"/>
                <a:gd name="T54" fmla="*/ 3 w 5"/>
                <a:gd name="T55" fmla="*/ 5 h 5"/>
                <a:gd name="T56" fmla="*/ 0 w 5"/>
                <a:gd name="T57" fmla="*/ 3 h 5"/>
                <a:gd name="T58" fmla="*/ 0 w 5"/>
                <a:gd name="T59" fmla="*/ 3 h 5"/>
                <a:gd name="T60" fmla="*/ 0 w 5"/>
                <a:gd name="T61" fmla="*/ 3 h 5"/>
                <a:gd name="T62" fmla="*/ 0 w 5"/>
                <a:gd name="T63" fmla="*/ 3 h 5"/>
                <a:gd name="T64" fmla="*/ 0 w 5"/>
                <a:gd name="T65" fmla="*/ 3 h 5"/>
                <a:gd name="T66" fmla="*/ 0 w 5"/>
                <a:gd name="T67" fmla="*/ 3 h 5"/>
                <a:gd name="T68" fmla="*/ 0 w 5"/>
                <a:gd name="T69" fmla="*/ 3 h 5"/>
                <a:gd name="T70" fmla="*/ 0 w 5"/>
                <a:gd name="T71" fmla="*/ 3 h 5"/>
                <a:gd name="T72" fmla="*/ 0 w 5"/>
                <a:gd name="T73" fmla="*/ 3 h 5"/>
                <a:gd name="T74" fmla="*/ 0 w 5"/>
                <a:gd name="T75" fmla="*/ 3 h 5"/>
                <a:gd name="T76" fmla="*/ 0 w 5"/>
                <a:gd name="T77" fmla="*/ 3 h 5"/>
                <a:gd name="T78" fmla="*/ 0 w 5"/>
                <a:gd name="T79" fmla="*/ 0 h 5"/>
                <a:gd name="T80" fmla="*/ 0 w 5"/>
                <a:gd name="T81" fmla="*/ 0 h 5"/>
                <a:gd name="T82" fmla="*/ 0 w 5"/>
                <a:gd name="T83" fmla="*/ 0 h 5"/>
                <a:gd name="T84" fmla="*/ 0 w 5"/>
                <a:gd name="T85" fmla="*/ 0 h 5"/>
                <a:gd name="T86" fmla="*/ 0 w 5"/>
                <a:gd name="T87" fmla="*/ 0 h 5"/>
                <a:gd name="T88" fmla="*/ 0 w 5"/>
                <a:gd name="T89" fmla="*/ 0 h 5"/>
                <a:gd name="T90" fmla="*/ 3 w 5"/>
                <a:gd name="T91" fmla="*/ 0 h 5"/>
                <a:gd name="T92" fmla="*/ 3 w 5"/>
                <a:gd name="T9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 h="5">
                  <a:moveTo>
                    <a:pt x="0" y="3"/>
                  </a:moveTo>
                  <a:lnTo>
                    <a:pt x="0" y="5"/>
                  </a:lnTo>
                  <a:lnTo>
                    <a:pt x="0" y="5"/>
                  </a:lnTo>
                  <a:lnTo>
                    <a:pt x="0" y="5"/>
                  </a:lnTo>
                  <a:lnTo>
                    <a:pt x="3" y="5"/>
                  </a:lnTo>
                  <a:lnTo>
                    <a:pt x="3"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3"/>
                  </a:lnTo>
                  <a:lnTo>
                    <a:pt x="0" y="3"/>
                  </a:lnTo>
                  <a:lnTo>
                    <a:pt x="0" y="3"/>
                  </a:lnTo>
                  <a:close/>
                  <a:moveTo>
                    <a:pt x="0" y="3"/>
                  </a:moveTo>
                  <a:lnTo>
                    <a:pt x="0" y="5"/>
                  </a:lnTo>
                  <a:lnTo>
                    <a:pt x="0" y="3"/>
                  </a:lnTo>
                  <a:lnTo>
                    <a:pt x="0" y="3"/>
                  </a:lnTo>
                  <a:lnTo>
                    <a:pt x="0" y="3"/>
                  </a:lnTo>
                  <a:lnTo>
                    <a:pt x="0" y="3"/>
                  </a:lnTo>
                  <a:lnTo>
                    <a:pt x="0" y="3"/>
                  </a:lnTo>
                  <a:lnTo>
                    <a:pt x="0" y="3"/>
                  </a:lnTo>
                  <a:lnTo>
                    <a:pt x="0" y="3"/>
                  </a:lnTo>
                  <a:lnTo>
                    <a:pt x="0" y="3"/>
                  </a:lnTo>
                  <a:lnTo>
                    <a:pt x="0" y="3"/>
                  </a:lnTo>
                  <a:close/>
                  <a:moveTo>
                    <a:pt x="3" y="0"/>
                  </a:moveTo>
                  <a:lnTo>
                    <a:pt x="5" y="0"/>
                  </a:lnTo>
                  <a:lnTo>
                    <a:pt x="5" y="0"/>
                  </a:lnTo>
                  <a:lnTo>
                    <a:pt x="5" y="0"/>
                  </a:lnTo>
                  <a:lnTo>
                    <a:pt x="5" y="0"/>
                  </a:lnTo>
                  <a:lnTo>
                    <a:pt x="5" y="3"/>
                  </a:lnTo>
                  <a:lnTo>
                    <a:pt x="5" y="3"/>
                  </a:lnTo>
                  <a:lnTo>
                    <a:pt x="5" y="3"/>
                  </a:lnTo>
                  <a:lnTo>
                    <a:pt x="5" y="3"/>
                  </a:lnTo>
                  <a:lnTo>
                    <a:pt x="5" y="3"/>
                  </a:lnTo>
                  <a:lnTo>
                    <a:pt x="5" y="3"/>
                  </a:lnTo>
                  <a:lnTo>
                    <a:pt x="5" y="3"/>
                  </a:lnTo>
                  <a:lnTo>
                    <a:pt x="3" y="3"/>
                  </a:lnTo>
                  <a:lnTo>
                    <a:pt x="3" y="3"/>
                  </a:lnTo>
                  <a:lnTo>
                    <a:pt x="3" y="3"/>
                  </a:lnTo>
                  <a:lnTo>
                    <a:pt x="3" y="3"/>
                  </a:lnTo>
                  <a:lnTo>
                    <a:pt x="3" y="5"/>
                  </a:lnTo>
                  <a:lnTo>
                    <a:pt x="3" y="5"/>
                  </a:lnTo>
                  <a:lnTo>
                    <a:pt x="3" y="5"/>
                  </a:lnTo>
                  <a:lnTo>
                    <a:pt x="3" y="5"/>
                  </a:lnTo>
                  <a:lnTo>
                    <a:pt x="3" y="5"/>
                  </a:lnTo>
                  <a:lnTo>
                    <a:pt x="3" y="5"/>
                  </a:lnTo>
                  <a:lnTo>
                    <a:pt x="0" y="5"/>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2" name="Freeform 52490"/>
            <p:cNvSpPr>
              <a:spLocks/>
            </p:cNvSpPr>
            <p:nvPr/>
          </p:nvSpPr>
          <p:spPr bwMode="auto">
            <a:xfrm>
              <a:off x="3132135" y="425292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3" name="Freeform 52491"/>
            <p:cNvSpPr>
              <a:spLocks/>
            </p:cNvSpPr>
            <p:nvPr/>
          </p:nvSpPr>
          <p:spPr bwMode="auto">
            <a:xfrm>
              <a:off x="2327273" y="4686317"/>
              <a:ext cx="41275" cy="57150"/>
            </a:xfrm>
            <a:custGeom>
              <a:avLst/>
              <a:gdLst>
                <a:gd name="T0" fmla="*/ 12 w 26"/>
                <a:gd name="T1" fmla="*/ 0 h 36"/>
                <a:gd name="T2" fmla="*/ 14 w 26"/>
                <a:gd name="T3" fmla="*/ 2 h 36"/>
                <a:gd name="T4" fmla="*/ 14 w 26"/>
                <a:gd name="T5" fmla="*/ 5 h 36"/>
                <a:gd name="T6" fmla="*/ 12 w 26"/>
                <a:gd name="T7" fmla="*/ 5 h 36"/>
                <a:gd name="T8" fmla="*/ 12 w 26"/>
                <a:gd name="T9" fmla="*/ 5 h 36"/>
                <a:gd name="T10" fmla="*/ 14 w 26"/>
                <a:gd name="T11" fmla="*/ 7 h 36"/>
                <a:gd name="T12" fmla="*/ 14 w 26"/>
                <a:gd name="T13" fmla="*/ 7 h 36"/>
                <a:gd name="T14" fmla="*/ 14 w 26"/>
                <a:gd name="T15" fmla="*/ 9 h 36"/>
                <a:gd name="T16" fmla="*/ 14 w 26"/>
                <a:gd name="T17" fmla="*/ 12 h 36"/>
                <a:gd name="T18" fmla="*/ 14 w 26"/>
                <a:gd name="T19" fmla="*/ 9 h 36"/>
                <a:gd name="T20" fmla="*/ 16 w 26"/>
                <a:gd name="T21" fmla="*/ 12 h 36"/>
                <a:gd name="T22" fmla="*/ 16 w 26"/>
                <a:gd name="T23" fmla="*/ 12 h 36"/>
                <a:gd name="T24" fmla="*/ 16 w 26"/>
                <a:gd name="T25" fmla="*/ 14 h 36"/>
                <a:gd name="T26" fmla="*/ 19 w 26"/>
                <a:gd name="T27" fmla="*/ 14 h 36"/>
                <a:gd name="T28" fmla="*/ 19 w 26"/>
                <a:gd name="T29" fmla="*/ 14 h 36"/>
                <a:gd name="T30" fmla="*/ 19 w 26"/>
                <a:gd name="T31" fmla="*/ 17 h 36"/>
                <a:gd name="T32" fmla="*/ 21 w 26"/>
                <a:gd name="T33" fmla="*/ 17 h 36"/>
                <a:gd name="T34" fmla="*/ 23 w 26"/>
                <a:gd name="T35" fmla="*/ 19 h 36"/>
                <a:gd name="T36" fmla="*/ 23 w 26"/>
                <a:gd name="T37" fmla="*/ 17 h 36"/>
                <a:gd name="T38" fmla="*/ 26 w 26"/>
                <a:gd name="T39" fmla="*/ 19 h 36"/>
                <a:gd name="T40" fmla="*/ 26 w 26"/>
                <a:gd name="T41" fmla="*/ 19 h 36"/>
                <a:gd name="T42" fmla="*/ 26 w 26"/>
                <a:gd name="T43" fmla="*/ 19 h 36"/>
                <a:gd name="T44" fmla="*/ 26 w 26"/>
                <a:gd name="T45" fmla="*/ 21 h 36"/>
                <a:gd name="T46" fmla="*/ 26 w 26"/>
                <a:gd name="T47" fmla="*/ 21 h 36"/>
                <a:gd name="T48" fmla="*/ 23 w 26"/>
                <a:gd name="T49" fmla="*/ 24 h 36"/>
                <a:gd name="T50" fmla="*/ 23 w 26"/>
                <a:gd name="T51" fmla="*/ 26 h 36"/>
                <a:gd name="T52" fmla="*/ 21 w 26"/>
                <a:gd name="T53" fmla="*/ 28 h 36"/>
                <a:gd name="T54" fmla="*/ 21 w 26"/>
                <a:gd name="T55" fmla="*/ 28 h 36"/>
                <a:gd name="T56" fmla="*/ 21 w 26"/>
                <a:gd name="T57" fmla="*/ 31 h 36"/>
                <a:gd name="T58" fmla="*/ 21 w 26"/>
                <a:gd name="T59" fmla="*/ 36 h 36"/>
                <a:gd name="T60" fmla="*/ 19 w 26"/>
                <a:gd name="T61" fmla="*/ 33 h 36"/>
                <a:gd name="T62" fmla="*/ 16 w 26"/>
                <a:gd name="T63" fmla="*/ 33 h 36"/>
                <a:gd name="T64" fmla="*/ 14 w 26"/>
                <a:gd name="T65" fmla="*/ 33 h 36"/>
                <a:gd name="T66" fmla="*/ 12 w 26"/>
                <a:gd name="T67" fmla="*/ 36 h 36"/>
                <a:gd name="T68" fmla="*/ 9 w 26"/>
                <a:gd name="T69" fmla="*/ 36 h 36"/>
                <a:gd name="T70" fmla="*/ 9 w 26"/>
                <a:gd name="T71" fmla="*/ 36 h 36"/>
                <a:gd name="T72" fmla="*/ 7 w 26"/>
                <a:gd name="T73" fmla="*/ 33 h 36"/>
                <a:gd name="T74" fmla="*/ 4 w 26"/>
                <a:gd name="T75" fmla="*/ 33 h 36"/>
                <a:gd name="T76" fmla="*/ 4 w 26"/>
                <a:gd name="T77" fmla="*/ 33 h 36"/>
                <a:gd name="T78" fmla="*/ 4 w 26"/>
                <a:gd name="T79" fmla="*/ 31 h 36"/>
                <a:gd name="T80" fmla="*/ 4 w 26"/>
                <a:gd name="T81" fmla="*/ 31 h 36"/>
                <a:gd name="T82" fmla="*/ 4 w 26"/>
                <a:gd name="T83" fmla="*/ 28 h 36"/>
                <a:gd name="T84" fmla="*/ 4 w 26"/>
                <a:gd name="T85" fmla="*/ 28 h 36"/>
                <a:gd name="T86" fmla="*/ 4 w 26"/>
                <a:gd name="T87" fmla="*/ 26 h 36"/>
                <a:gd name="T88" fmla="*/ 4 w 26"/>
                <a:gd name="T89" fmla="*/ 24 h 36"/>
                <a:gd name="T90" fmla="*/ 4 w 26"/>
                <a:gd name="T91" fmla="*/ 24 h 36"/>
                <a:gd name="T92" fmla="*/ 4 w 26"/>
                <a:gd name="T93" fmla="*/ 21 h 36"/>
                <a:gd name="T94" fmla="*/ 2 w 26"/>
                <a:gd name="T95" fmla="*/ 19 h 36"/>
                <a:gd name="T96" fmla="*/ 2 w 26"/>
                <a:gd name="T97" fmla="*/ 19 h 36"/>
                <a:gd name="T98" fmla="*/ 0 w 26"/>
                <a:gd name="T99" fmla="*/ 17 h 36"/>
                <a:gd name="T100" fmla="*/ 0 w 26"/>
                <a:gd name="T101" fmla="*/ 17 h 36"/>
                <a:gd name="T102" fmla="*/ 0 w 26"/>
                <a:gd name="T103" fmla="*/ 17 h 36"/>
                <a:gd name="T104" fmla="*/ 2 w 26"/>
                <a:gd name="T105" fmla="*/ 14 h 36"/>
                <a:gd name="T106" fmla="*/ 2 w 26"/>
                <a:gd name="T107" fmla="*/ 14 h 36"/>
                <a:gd name="T108" fmla="*/ 2 w 26"/>
                <a:gd name="T109" fmla="*/ 12 h 36"/>
                <a:gd name="T110" fmla="*/ 2 w 26"/>
                <a:gd name="T111" fmla="*/ 9 h 36"/>
                <a:gd name="T112" fmla="*/ 4 w 26"/>
                <a:gd name="T113" fmla="*/ 9 h 36"/>
                <a:gd name="T114" fmla="*/ 4 w 26"/>
                <a:gd name="T115" fmla="*/ 7 h 36"/>
                <a:gd name="T116" fmla="*/ 4 w 26"/>
                <a:gd name="T117" fmla="*/ 5 h 36"/>
                <a:gd name="T118" fmla="*/ 4 w 26"/>
                <a:gd name="T119" fmla="*/ 2 h 36"/>
                <a:gd name="T120" fmla="*/ 7 w 26"/>
                <a:gd name="T121" fmla="*/ 0 h 36"/>
                <a:gd name="T122" fmla="*/ 9 w 26"/>
                <a:gd name="T1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36">
                  <a:moveTo>
                    <a:pt x="9" y="0"/>
                  </a:moveTo>
                  <a:lnTo>
                    <a:pt x="9" y="0"/>
                  </a:lnTo>
                  <a:lnTo>
                    <a:pt x="12" y="0"/>
                  </a:lnTo>
                  <a:lnTo>
                    <a:pt x="12" y="0"/>
                  </a:lnTo>
                  <a:lnTo>
                    <a:pt x="12" y="0"/>
                  </a:lnTo>
                  <a:lnTo>
                    <a:pt x="12" y="0"/>
                  </a:lnTo>
                  <a:lnTo>
                    <a:pt x="12" y="0"/>
                  </a:lnTo>
                  <a:lnTo>
                    <a:pt x="12" y="0"/>
                  </a:lnTo>
                  <a:lnTo>
                    <a:pt x="12" y="2"/>
                  </a:lnTo>
                  <a:lnTo>
                    <a:pt x="12" y="2"/>
                  </a:lnTo>
                  <a:lnTo>
                    <a:pt x="12" y="2"/>
                  </a:lnTo>
                  <a:lnTo>
                    <a:pt x="14" y="2"/>
                  </a:lnTo>
                  <a:lnTo>
                    <a:pt x="14" y="2"/>
                  </a:lnTo>
                  <a:lnTo>
                    <a:pt x="14" y="2"/>
                  </a:lnTo>
                  <a:lnTo>
                    <a:pt x="14" y="2"/>
                  </a:lnTo>
                  <a:lnTo>
                    <a:pt x="14" y="2"/>
                  </a:lnTo>
                  <a:lnTo>
                    <a:pt x="14" y="2"/>
                  </a:lnTo>
                  <a:lnTo>
                    <a:pt x="14" y="2"/>
                  </a:lnTo>
                  <a:lnTo>
                    <a:pt x="14" y="2"/>
                  </a:lnTo>
                  <a:lnTo>
                    <a:pt x="14" y="2"/>
                  </a:lnTo>
                  <a:lnTo>
                    <a:pt x="14" y="2"/>
                  </a:lnTo>
                  <a:lnTo>
                    <a:pt x="14" y="2"/>
                  </a:lnTo>
                  <a:lnTo>
                    <a:pt x="14" y="5"/>
                  </a:lnTo>
                  <a:lnTo>
                    <a:pt x="14" y="5"/>
                  </a:lnTo>
                  <a:lnTo>
                    <a:pt x="14" y="5"/>
                  </a:lnTo>
                  <a:lnTo>
                    <a:pt x="14" y="5"/>
                  </a:lnTo>
                  <a:lnTo>
                    <a:pt x="14" y="5"/>
                  </a:lnTo>
                  <a:lnTo>
                    <a:pt x="14" y="5"/>
                  </a:lnTo>
                  <a:lnTo>
                    <a:pt x="14" y="5"/>
                  </a:lnTo>
                  <a:lnTo>
                    <a:pt x="14" y="5"/>
                  </a:lnTo>
                  <a:lnTo>
                    <a:pt x="12" y="5"/>
                  </a:lnTo>
                  <a:lnTo>
                    <a:pt x="12" y="5"/>
                  </a:lnTo>
                  <a:lnTo>
                    <a:pt x="14" y="5"/>
                  </a:lnTo>
                  <a:lnTo>
                    <a:pt x="12" y="5"/>
                  </a:lnTo>
                  <a:lnTo>
                    <a:pt x="12" y="5"/>
                  </a:lnTo>
                  <a:lnTo>
                    <a:pt x="14" y="5"/>
                  </a:lnTo>
                  <a:lnTo>
                    <a:pt x="14" y="5"/>
                  </a:lnTo>
                  <a:lnTo>
                    <a:pt x="14" y="5"/>
                  </a:lnTo>
                  <a:lnTo>
                    <a:pt x="12" y="5"/>
                  </a:lnTo>
                  <a:lnTo>
                    <a:pt x="12" y="5"/>
                  </a:lnTo>
                  <a:lnTo>
                    <a:pt x="12" y="5"/>
                  </a:lnTo>
                  <a:lnTo>
                    <a:pt x="12" y="7"/>
                  </a:lnTo>
                  <a:lnTo>
                    <a:pt x="12" y="7"/>
                  </a:lnTo>
                  <a:lnTo>
                    <a:pt x="12" y="5"/>
                  </a:lnTo>
                  <a:lnTo>
                    <a:pt x="14" y="5"/>
                  </a:lnTo>
                  <a:lnTo>
                    <a:pt x="14" y="7"/>
                  </a:lnTo>
                  <a:lnTo>
                    <a:pt x="14" y="7"/>
                  </a:lnTo>
                  <a:lnTo>
                    <a:pt x="14" y="7"/>
                  </a:lnTo>
                  <a:lnTo>
                    <a:pt x="14" y="7"/>
                  </a:lnTo>
                  <a:lnTo>
                    <a:pt x="14" y="7"/>
                  </a:lnTo>
                  <a:lnTo>
                    <a:pt x="14" y="7"/>
                  </a:lnTo>
                  <a:lnTo>
                    <a:pt x="14" y="7"/>
                  </a:lnTo>
                  <a:lnTo>
                    <a:pt x="14" y="7"/>
                  </a:lnTo>
                  <a:lnTo>
                    <a:pt x="14" y="7"/>
                  </a:lnTo>
                  <a:lnTo>
                    <a:pt x="14" y="7"/>
                  </a:lnTo>
                  <a:lnTo>
                    <a:pt x="14" y="7"/>
                  </a:lnTo>
                  <a:lnTo>
                    <a:pt x="14" y="9"/>
                  </a:lnTo>
                  <a:lnTo>
                    <a:pt x="14" y="9"/>
                  </a:lnTo>
                  <a:lnTo>
                    <a:pt x="14" y="9"/>
                  </a:lnTo>
                  <a:lnTo>
                    <a:pt x="14" y="9"/>
                  </a:lnTo>
                  <a:lnTo>
                    <a:pt x="14" y="9"/>
                  </a:lnTo>
                  <a:lnTo>
                    <a:pt x="14" y="9"/>
                  </a:lnTo>
                  <a:lnTo>
                    <a:pt x="14" y="9"/>
                  </a:lnTo>
                  <a:lnTo>
                    <a:pt x="14" y="9"/>
                  </a:lnTo>
                  <a:lnTo>
                    <a:pt x="14" y="9"/>
                  </a:lnTo>
                  <a:lnTo>
                    <a:pt x="14" y="9"/>
                  </a:lnTo>
                  <a:lnTo>
                    <a:pt x="14" y="9"/>
                  </a:lnTo>
                  <a:lnTo>
                    <a:pt x="14" y="9"/>
                  </a:lnTo>
                  <a:lnTo>
                    <a:pt x="14" y="9"/>
                  </a:lnTo>
                  <a:lnTo>
                    <a:pt x="14" y="9"/>
                  </a:lnTo>
                  <a:lnTo>
                    <a:pt x="14" y="12"/>
                  </a:lnTo>
                  <a:lnTo>
                    <a:pt x="14" y="12"/>
                  </a:lnTo>
                  <a:lnTo>
                    <a:pt x="14" y="12"/>
                  </a:lnTo>
                  <a:lnTo>
                    <a:pt x="14" y="12"/>
                  </a:lnTo>
                  <a:lnTo>
                    <a:pt x="14" y="12"/>
                  </a:lnTo>
                  <a:lnTo>
                    <a:pt x="14" y="12"/>
                  </a:lnTo>
                  <a:lnTo>
                    <a:pt x="14" y="12"/>
                  </a:lnTo>
                  <a:lnTo>
                    <a:pt x="14" y="9"/>
                  </a:lnTo>
                  <a:lnTo>
                    <a:pt x="14" y="9"/>
                  </a:lnTo>
                  <a:lnTo>
                    <a:pt x="14" y="9"/>
                  </a:lnTo>
                  <a:lnTo>
                    <a:pt x="14" y="9"/>
                  </a:lnTo>
                  <a:lnTo>
                    <a:pt x="14" y="9"/>
                  </a:lnTo>
                  <a:lnTo>
                    <a:pt x="14" y="9"/>
                  </a:lnTo>
                  <a:lnTo>
                    <a:pt x="14" y="9"/>
                  </a:lnTo>
                  <a:lnTo>
                    <a:pt x="16" y="9"/>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4"/>
                  </a:lnTo>
                  <a:lnTo>
                    <a:pt x="16" y="14"/>
                  </a:lnTo>
                  <a:lnTo>
                    <a:pt x="16" y="14"/>
                  </a:lnTo>
                  <a:lnTo>
                    <a:pt x="16" y="14"/>
                  </a:lnTo>
                  <a:lnTo>
                    <a:pt x="16" y="14"/>
                  </a:lnTo>
                  <a:lnTo>
                    <a:pt x="16" y="14"/>
                  </a:lnTo>
                  <a:lnTo>
                    <a:pt x="16" y="14"/>
                  </a:lnTo>
                  <a:lnTo>
                    <a:pt x="16" y="14"/>
                  </a:lnTo>
                  <a:lnTo>
                    <a:pt x="16" y="14"/>
                  </a:lnTo>
                  <a:lnTo>
                    <a:pt x="16" y="14"/>
                  </a:lnTo>
                  <a:lnTo>
                    <a:pt x="16" y="14"/>
                  </a:lnTo>
                  <a:lnTo>
                    <a:pt x="16"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7"/>
                  </a:lnTo>
                  <a:lnTo>
                    <a:pt x="19" y="17"/>
                  </a:lnTo>
                  <a:lnTo>
                    <a:pt x="19" y="17"/>
                  </a:lnTo>
                  <a:lnTo>
                    <a:pt x="19" y="17"/>
                  </a:lnTo>
                  <a:lnTo>
                    <a:pt x="19" y="17"/>
                  </a:lnTo>
                  <a:lnTo>
                    <a:pt x="19" y="17"/>
                  </a:lnTo>
                  <a:lnTo>
                    <a:pt x="19" y="17"/>
                  </a:lnTo>
                  <a:lnTo>
                    <a:pt x="21" y="17"/>
                  </a:lnTo>
                  <a:lnTo>
                    <a:pt x="21" y="17"/>
                  </a:lnTo>
                  <a:lnTo>
                    <a:pt x="21" y="17"/>
                  </a:lnTo>
                  <a:lnTo>
                    <a:pt x="21" y="17"/>
                  </a:lnTo>
                  <a:lnTo>
                    <a:pt x="21" y="17"/>
                  </a:lnTo>
                  <a:lnTo>
                    <a:pt x="21" y="17"/>
                  </a:lnTo>
                  <a:lnTo>
                    <a:pt x="21" y="17"/>
                  </a:lnTo>
                  <a:lnTo>
                    <a:pt x="21" y="17"/>
                  </a:lnTo>
                  <a:lnTo>
                    <a:pt x="21" y="17"/>
                  </a:lnTo>
                  <a:lnTo>
                    <a:pt x="21" y="17"/>
                  </a:lnTo>
                  <a:lnTo>
                    <a:pt x="21" y="17"/>
                  </a:lnTo>
                  <a:lnTo>
                    <a:pt x="23" y="17"/>
                  </a:lnTo>
                  <a:lnTo>
                    <a:pt x="23" y="17"/>
                  </a:lnTo>
                  <a:lnTo>
                    <a:pt x="23" y="19"/>
                  </a:lnTo>
                  <a:lnTo>
                    <a:pt x="23" y="19"/>
                  </a:lnTo>
                  <a:lnTo>
                    <a:pt x="23" y="19"/>
                  </a:lnTo>
                  <a:lnTo>
                    <a:pt x="23" y="17"/>
                  </a:lnTo>
                  <a:lnTo>
                    <a:pt x="23" y="17"/>
                  </a:lnTo>
                  <a:lnTo>
                    <a:pt x="23" y="19"/>
                  </a:lnTo>
                  <a:lnTo>
                    <a:pt x="23" y="19"/>
                  </a:lnTo>
                  <a:lnTo>
                    <a:pt x="23" y="17"/>
                  </a:lnTo>
                  <a:lnTo>
                    <a:pt x="23" y="17"/>
                  </a:lnTo>
                  <a:lnTo>
                    <a:pt x="26" y="17"/>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4"/>
                  </a:lnTo>
                  <a:lnTo>
                    <a:pt x="26" y="24"/>
                  </a:lnTo>
                  <a:lnTo>
                    <a:pt x="26" y="24"/>
                  </a:lnTo>
                  <a:lnTo>
                    <a:pt x="23" y="24"/>
                  </a:lnTo>
                  <a:lnTo>
                    <a:pt x="23" y="24"/>
                  </a:lnTo>
                  <a:lnTo>
                    <a:pt x="23" y="24"/>
                  </a:lnTo>
                  <a:lnTo>
                    <a:pt x="23" y="24"/>
                  </a:lnTo>
                  <a:lnTo>
                    <a:pt x="23" y="24"/>
                  </a:lnTo>
                  <a:lnTo>
                    <a:pt x="23" y="24"/>
                  </a:lnTo>
                  <a:lnTo>
                    <a:pt x="23" y="26"/>
                  </a:lnTo>
                  <a:lnTo>
                    <a:pt x="23" y="26"/>
                  </a:lnTo>
                  <a:lnTo>
                    <a:pt x="23" y="26"/>
                  </a:lnTo>
                  <a:lnTo>
                    <a:pt x="23" y="26"/>
                  </a:lnTo>
                  <a:lnTo>
                    <a:pt x="23" y="26"/>
                  </a:lnTo>
                  <a:lnTo>
                    <a:pt x="23" y="26"/>
                  </a:lnTo>
                  <a:lnTo>
                    <a:pt x="23" y="26"/>
                  </a:lnTo>
                  <a:lnTo>
                    <a:pt x="23" y="26"/>
                  </a:lnTo>
                  <a:lnTo>
                    <a:pt x="23" y="28"/>
                  </a:lnTo>
                  <a:lnTo>
                    <a:pt x="23"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31"/>
                  </a:lnTo>
                  <a:lnTo>
                    <a:pt x="21" y="31"/>
                  </a:lnTo>
                  <a:lnTo>
                    <a:pt x="21" y="31"/>
                  </a:lnTo>
                  <a:lnTo>
                    <a:pt x="21" y="31"/>
                  </a:lnTo>
                  <a:lnTo>
                    <a:pt x="21" y="31"/>
                  </a:lnTo>
                  <a:lnTo>
                    <a:pt x="21" y="31"/>
                  </a:lnTo>
                  <a:lnTo>
                    <a:pt x="21" y="31"/>
                  </a:lnTo>
                  <a:lnTo>
                    <a:pt x="21" y="33"/>
                  </a:lnTo>
                  <a:lnTo>
                    <a:pt x="21" y="33"/>
                  </a:lnTo>
                  <a:lnTo>
                    <a:pt x="21" y="33"/>
                  </a:lnTo>
                  <a:lnTo>
                    <a:pt x="21" y="36"/>
                  </a:lnTo>
                  <a:lnTo>
                    <a:pt x="21" y="36"/>
                  </a:lnTo>
                  <a:lnTo>
                    <a:pt x="21" y="36"/>
                  </a:lnTo>
                  <a:lnTo>
                    <a:pt x="21" y="36"/>
                  </a:lnTo>
                  <a:lnTo>
                    <a:pt x="21" y="36"/>
                  </a:lnTo>
                  <a:lnTo>
                    <a:pt x="19" y="36"/>
                  </a:lnTo>
                  <a:lnTo>
                    <a:pt x="19" y="33"/>
                  </a:lnTo>
                  <a:lnTo>
                    <a:pt x="19" y="33"/>
                  </a:lnTo>
                  <a:lnTo>
                    <a:pt x="19" y="33"/>
                  </a:lnTo>
                  <a:lnTo>
                    <a:pt x="19" y="33"/>
                  </a:lnTo>
                  <a:lnTo>
                    <a:pt x="19" y="33"/>
                  </a:lnTo>
                  <a:lnTo>
                    <a:pt x="19" y="33"/>
                  </a:lnTo>
                  <a:lnTo>
                    <a:pt x="19" y="33"/>
                  </a:lnTo>
                  <a:lnTo>
                    <a:pt x="19" y="33"/>
                  </a:lnTo>
                  <a:lnTo>
                    <a:pt x="16" y="33"/>
                  </a:lnTo>
                  <a:lnTo>
                    <a:pt x="16" y="33"/>
                  </a:lnTo>
                  <a:lnTo>
                    <a:pt x="16" y="33"/>
                  </a:lnTo>
                  <a:lnTo>
                    <a:pt x="16" y="33"/>
                  </a:lnTo>
                  <a:lnTo>
                    <a:pt x="14" y="33"/>
                  </a:lnTo>
                  <a:lnTo>
                    <a:pt x="14" y="33"/>
                  </a:lnTo>
                  <a:lnTo>
                    <a:pt x="14" y="33"/>
                  </a:lnTo>
                  <a:lnTo>
                    <a:pt x="14" y="33"/>
                  </a:lnTo>
                  <a:lnTo>
                    <a:pt x="14" y="33"/>
                  </a:lnTo>
                  <a:lnTo>
                    <a:pt x="14" y="33"/>
                  </a:lnTo>
                  <a:lnTo>
                    <a:pt x="14" y="33"/>
                  </a:lnTo>
                  <a:lnTo>
                    <a:pt x="14" y="33"/>
                  </a:lnTo>
                  <a:lnTo>
                    <a:pt x="14" y="33"/>
                  </a:lnTo>
                  <a:lnTo>
                    <a:pt x="14" y="33"/>
                  </a:lnTo>
                  <a:lnTo>
                    <a:pt x="14" y="33"/>
                  </a:lnTo>
                  <a:lnTo>
                    <a:pt x="14" y="33"/>
                  </a:lnTo>
                  <a:lnTo>
                    <a:pt x="14" y="33"/>
                  </a:lnTo>
                  <a:lnTo>
                    <a:pt x="12" y="33"/>
                  </a:lnTo>
                  <a:lnTo>
                    <a:pt x="12" y="36"/>
                  </a:lnTo>
                  <a:lnTo>
                    <a:pt x="12" y="36"/>
                  </a:lnTo>
                  <a:lnTo>
                    <a:pt x="12" y="36"/>
                  </a:lnTo>
                  <a:lnTo>
                    <a:pt x="12" y="36"/>
                  </a:lnTo>
                  <a:lnTo>
                    <a:pt x="12" y="36"/>
                  </a:lnTo>
                  <a:lnTo>
                    <a:pt x="12" y="36"/>
                  </a:lnTo>
                  <a:lnTo>
                    <a:pt x="12" y="36"/>
                  </a:lnTo>
                  <a:lnTo>
                    <a:pt x="12" y="36"/>
                  </a:lnTo>
                  <a:lnTo>
                    <a:pt x="9" y="36"/>
                  </a:lnTo>
                  <a:lnTo>
                    <a:pt x="9" y="36"/>
                  </a:lnTo>
                  <a:lnTo>
                    <a:pt x="9" y="36"/>
                  </a:lnTo>
                  <a:lnTo>
                    <a:pt x="9" y="36"/>
                  </a:lnTo>
                  <a:lnTo>
                    <a:pt x="9" y="36"/>
                  </a:lnTo>
                  <a:lnTo>
                    <a:pt x="9" y="36"/>
                  </a:lnTo>
                  <a:lnTo>
                    <a:pt x="9" y="36"/>
                  </a:lnTo>
                  <a:lnTo>
                    <a:pt x="9" y="36"/>
                  </a:lnTo>
                  <a:lnTo>
                    <a:pt x="9" y="36"/>
                  </a:lnTo>
                  <a:lnTo>
                    <a:pt x="9" y="36"/>
                  </a:lnTo>
                  <a:lnTo>
                    <a:pt x="9" y="36"/>
                  </a:lnTo>
                  <a:lnTo>
                    <a:pt x="9" y="36"/>
                  </a:lnTo>
                  <a:lnTo>
                    <a:pt x="9" y="36"/>
                  </a:lnTo>
                  <a:lnTo>
                    <a:pt x="9" y="36"/>
                  </a:lnTo>
                  <a:lnTo>
                    <a:pt x="7" y="36"/>
                  </a:lnTo>
                  <a:lnTo>
                    <a:pt x="7" y="36"/>
                  </a:lnTo>
                  <a:lnTo>
                    <a:pt x="7" y="33"/>
                  </a:lnTo>
                  <a:lnTo>
                    <a:pt x="7" y="33"/>
                  </a:lnTo>
                  <a:lnTo>
                    <a:pt x="7" y="33"/>
                  </a:lnTo>
                  <a:lnTo>
                    <a:pt x="7" y="33"/>
                  </a:lnTo>
                  <a:lnTo>
                    <a:pt x="7" y="33"/>
                  </a:lnTo>
                  <a:lnTo>
                    <a:pt x="7" y="33"/>
                  </a:lnTo>
                  <a:lnTo>
                    <a:pt x="7" y="33"/>
                  </a:lnTo>
                  <a:lnTo>
                    <a:pt x="4" y="33"/>
                  </a:lnTo>
                  <a:lnTo>
                    <a:pt x="4" y="33"/>
                  </a:lnTo>
                  <a:lnTo>
                    <a:pt x="4" y="33"/>
                  </a:lnTo>
                  <a:lnTo>
                    <a:pt x="4" y="33"/>
                  </a:lnTo>
                  <a:lnTo>
                    <a:pt x="4" y="33"/>
                  </a:lnTo>
                  <a:lnTo>
                    <a:pt x="4" y="33"/>
                  </a:lnTo>
                  <a:lnTo>
                    <a:pt x="4" y="33"/>
                  </a:lnTo>
                  <a:lnTo>
                    <a:pt x="4" y="33"/>
                  </a:lnTo>
                  <a:lnTo>
                    <a:pt x="4" y="33"/>
                  </a:lnTo>
                  <a:lnTo>
                    <a:pt x="4" y="33"/>
                  </a:lnTo>
                  <a:lnTo>
                    <a:pt x="4" y="33"/>
                  </a:lnTo>
                  <a:lnTo>
                    <a:pt x="4" y="33"/>
                  </a:lnTo>
                  <a:lnTo>
                    <a:pt x="4" y="33"/>
                  </a:lnTo>
                  <a:lnTo>
                    <a:pt x="4" y="31"/>
                  </a:lnTo>
                  <a:lnTo>
                    <a:pt x="4" y="31"/>
                  </a:lnTo>
                  <a:lnTo>
                    <a:pt x="4" y="31"/>
                  </a:lnTo>
                  <a:lnTo>
                    <a:pt x="4" y="31"/>
                  </a:lnTo>
                  <a:lnTo>
                    <a:pt x="4" y="31"/>
                  </a:lnTo>
                  <a:lnTo>
                    <a:pt x="4" y="31"/>
                  </a:lnTo>
                  <a:lnTo>
                    <a:pt x="2" y="31"/>
                  </a:lnTo>
                  <a:lnTo>
                    <a:pt x="2" y="31"/>
                  </a:lnTo>
                  <a:lnTo>
                    <a:pt x="2" y="31"/>
                  </a:lnTo>
                  <a:lnTo>
                    <a:pt x="2" y="31"/>
                  </a:lnTo>
                  <a:lnTo>
                    <a:pt x="4" y="31"/>
                  </a:lnTo>
                  <a:lnTo>
                    <a:pt x="4" y="31"/>
                  </a:lnTo>
                  <a:lnTo>
                    <a:pt x="4" y="31"/>
                  </a:lnTo>
                  <a:lnTo>
                    <a:pt x="4" y="31"/>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6"/>
                  </a:lnTo>
                  <a:lnTo>
                    <a:pt x="4" y="26"/>
                  </a:lnTo>
                  <a:lnTo>
                    <a:pt x="4" y="26"/>
                  </a:lnTo>
                  <a:lnTo>
                    <a:pt x="4" y="26"/>
                  </a:lnTo>
                  <a:lnTo>
                    <a:pt x="4" y="26"/>
                  </a:lnTo>
                  <a:lnTo>
                    <a:pt x="4" y="26"/>
                  </a:lnTo>
                  <a:lnTo>
                    <a:pt x="4" y="26"/>
                  </a:lnTo>
                  <a:lnTo>
                    <a:pt x="7" y="26"/>
                  </a:lnTo>
                  <a:lnTo>
                    <a:pt x="7" y="26"/>
                  </a:lnTo>
                  <a:lnTo>
                    <a:pt x="4" y="26"/>
                  </a:lnTo>
                  <a:lnTo>
                    <a:pt x="7" y="26"/>
                  </a:lnTo>
                  <a:lnTo>
                    <a:pt x="7" y="26"/>
                  </a:lnTo>
                  <a:lnTo>
                    <a:pt x="7" y="26"/>
                  </a:lnTo>
                  <a:lnTo>
                    <a:pt x="4" y="26"/>
                  </a:lnTo>
                  <a:lnTo>
                    <a:pt x="4" y="24"/>
                  </a:lnTo>
                  <a:lnTo>
                    <a:pt x="4" y="24"/>
                  </a:lnTo>
                  <a:lnTo>
                    <a:pt x="4" y="24"/>
                  </a:lnTo>
                  <a:lnTo>
                    <a:pt x="4" y="24"/>
                  </a:lnTo>
                  <a:lnTo>
                    <a:pt x="4" y="24"/>
                  </a:lnTo>
                  <a:lnTo>
                    <a:pt x="4" y="24"/>
                  </a:lnTo>
                  <a:lnTo>
                    <a:pt x="4" y="24"/>
                  </a:lnTo>
                  <a:lnTo>
                    <a:pt x="4" y="24"/>
                  </a:lnTo>
                  <a:lnTo>
                    <a:pt x="4" y="24"/>
                  </a:lnTo>
                  <a:lnTo>
                    <a:pt x="4" y="24"/>
                  </a:lnTo>
                  <a:lnTo>
                    <a:pt x="4" y="24"/>
                  </a:lnTo>
                  <a:lnTo>
                    <a:pt x="4" y="24"/>
                  </a:lnTo>
                  <a:lnTo>
                    <a:pt x="4" y="24"/>
                  </a:lnTo>
                  <a:lnTo>
                    <a:pt x="4" y="24"/>
                  </a:lnTo>
                  <a:lnTo>
                    <a:pt x="4" y="21"/>
                  </a:lnTo>
                  <a:lnTo>
                    <a:pt x="4" y="21"/>
                  </a:lnTo>
                  <a:lnTo>
                    <a:pt x="4" y="21"/>
                  </a:lnTo>
                  <a:lnTo>
                    <a:pt x="2" y="21"/>
                  </a:lnTo>
                  <a:lnTo>
                    <a:pt x="2" y="21"/>
                  </a:lnTo>
                  <a:lnTo>
                    <a:pt x="4" y="21"/>
                  </a:lnTo>
                  <a:lnTo>
                    <a:pt x="2" y="21"/>
                  </a:lnTo>
                  <a:lnTo>
                    <a:pt x="2" y="21"/>
                  </a:lnTo>
                  <a:lnTo>
                    <a:pt x="2" y="21"/>
                  </a:lnTo>
                  <a:lnTo>
                    <a:pt x="2" y="21"/>
                  </a:lnTo>
                  <a:lnTo>
                    <a:pt x="2" y="19"/>
                  </a:lnTo>
                  <a:lnTo>
                    <a:pt x="2" y="19"/>
                  </a:lnTo>
                  <a:lnTo>
                    <a:pt x="2" y="19"/>
                  </a:lnTo>
                  <a:lnTo>
                    <a:pt x="2" y="19"/>
                  </a:lnTo>
                  <a:lnTo>
                    <a:pt x="2" y="19"/>
                  </a:lnTo>
                  <a:lnTo>
                    <a:pt x="2" y="19"/>
                  </a:lnTo>
                  <a:lnTo>
                    <a:pt x="2" y="19"/>
                  </a:lnTo>
                  <a:lnTo>
                    <a:pt x="2" y="19"/>
                  </a:lnTo>
                  <a:lnTo>
                    <a:pt x="2" y="19"/>
                  </a:lnTo>
                  <a:lnTo>
                    <a:pt x="2" y="19"/>
                  </a:lnTo>
                  <a:lnTo>
                    <a:pt x="2" y="19"/>
                  </a:lnTo>
                  <a:lnTo>
                    <a:pt x="2" y="19"/>
                  </a:lnTo>
                  <a:lnTo>
                    <a:pt x="2" y="19"/>
                  </a:lnTo>
                  <a:lnTo>
                    <a:pt x="0" y="19"/>
                  </a:lnTo>
                  <a:lnTo>
                    <a:pt x="0" y="19"/>
                  </a:lnTo>
                  <a:lnTo>
                    <a:pt x="0" y="19"/>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4"/>
                  </a:lnTo>
                  <a:lnTo>
                    <a:pt x="0" y="14"/>
                  </a:lnTo>
                  <a:lnTo>
                    <a:pt x="0" y="14"/>
                  </a:lnTo>
                  <a:lnTo>
                    <a:pt x="0" y="14"/>
                  </a:lnTo>
                  <a:lnTo>
                    <a:pt x="0" y="14"/>
                  </a:lnTo>
                  <a:lnTo>
                    <a:pt x="2" y="14"/>
                  </a:lnTo>
                  <a:lnTo>
                    <a:pt x="2" y="14"/>
                  </a:lnTo>
                  <a:lnTo>
                    <a:pt x="2" y="14"/>
                  </a:lnTo>
                  <a:lnTo>
                    <a:pt x="2" y="14"/>
                  </a:lnTo>
                  <a:lnTo>
                    <a:pt x="2" y="14"/>
                  </a:lnTo>
                  <a:lnTo>
                    <a:pt x="2" y="14"/>
                  </a:lnTo>
                  <a:lnTo>
                    <a:pt x="2" y="14"/>
                  </a:lnTo>
                  <a:lnTo>
                    <a:pt x="2" y="14"/>
                  </a:lnTo>
                  <a:lnTo>
                    <a:pt x="2" y="14"/>
                  </a:lnTo>
                  <a:lnTo>
                    <a:pt x="2" y="14"/>
                  </a:lnTo>
                  <a:lnTo>
                    <a:pt x="2" y="14"/>
                  </a:lnTo>
                  <a:lnTo>
                    <a:pt x="0" y="14"/>
                  </a:lnTo>
                  <a:lnTo>
                    <a:pt x="0" y="14"/>
                  </a:lnTo>
                  <a:lnTo>
                    <a:pt x="0" y="14"/>
                  </a:lnTo>
                  <a:lnTo>
                    <a:pt x="0" y="14"/>
                  </a:lnTo>
                  <a:lnTo>
                    <a:pt x="0" y="14"/>
                  </a:lnTo>
                  <a:lnTo>
                    <a:pt x="0" y="14"/>
                  </a:lnTo>
                  <a:lnTo>
                    <a:pt x="0" y="12"/>
                  </a:lnTo>
                  <a:lnTo>
                    <a:pt x="2" y="12"/>
                  </a:lnTo>
                  <a:lnTo>
                    <a:pt x="2" y="12"/>
                  </a:lnTo>
                  <a:lnTo>
                    <a:pt x="2" y="12"/>
                  </a:lnTo>
                  <a:lnTo>
                    <a:pt x="2" y="12"/>
                  </a:lnTo>
                  <a:lnTo>
                    <a:pt x="2" y="12"/>
                  </a:lnTo>
                  <a:lnTo>
                    <a:pt x="2" y="12"/>
                  </a:lnTo>
                  <a:lnTo>
                    <a:pt x="2" y="9"/>
                  </a:lnTo>
                  <a:lnTo>
                    <a:pt x="2" y="9"/>
                  </a:lnTo>
                  <a:lnTo>
                    <a:pt x="2" y="9"/>
                  </a:lnTo>
                  <a:lnTo>
                    <a:pt x="2" y="9"/>
                  </a:lnTo>
                  <a:lnTo>
                    <a:pt x="2" y="9"/>
                  </a:lnTo>
                  <a:lnTo>
                    <a:pt x="2" y="9"/>
                  </a:lnTo>
                  <a:lnTo>
                    <a:pt x="2" y="9"/>
                  </a:lnTo>
                  <a:lnTo>
                    <a:pt x="2" y="9"/>
                  </a:lnTo>
                  <a:lnTo>
                    <a:pt x="2" y="9"/>
                  </a:lnTo>
                  <a:lnTo>
                    <a:pt x="4" y="9"/>
                  </a:lnTo>
                  <a:lnTo>
                    <a:pt x="4" y="9"/>
                  </a:lnTo>
                  <a:lnTo>
                    <a:pt x="2" y="9"/>
                  </a:lnTo>
                  <a:lnTo>
                    <a:pt x="2" y="9"/>
                  </a:lnTo>
                  <a:lnTo>
                    <a:pt x="2" y="9"/>
                  </a:lnTo>
                  <a:lnTo>
                    <a:pt x="2" y="7"/>
                  </a:lnTo>
                  <a:lnTo>
                    <a:pt x="2" y="7"/>
                  </a:lnTo>
                  <a:lnTo>
                    <a:pt x="4" y="7"/>
                  </a:lnTo>
                  <a:lnTo>
                    <a:pt x="4" y="7"/>
                  </a:lnTo>
                  <a:lnTo>
                    <a:pt x="4" y="7"/>
                  </a:lnTo>
                  <a:lnTo>
                    <a:pt x="4" y="7"/>
                  </a:lnTo>
                  <a:lnTo>
                    <a:pt x="4" y="7"/>
                  </a:lnTo>
                  <a:lnTo>
                    <a:pt x="4" y="7"/>
                  </a:lnTo>
                  <a:lnTo>
                    <a:pt x="4" y="7"/>
                  </a:lnTo>
                  <a:lnTo>
                    <a:pt x="4" y="5"/>
                  </a:lnTo>
                  <a:lnTo>
                    <a:pt x="4" y="5"/>
                  </a:lnTo>
                  <a:lnTo>
                    <a:pt x="4" y="5"/>
                  </a:lnTo>
                  <a:lnTo>
                    <a:pt x="4" y="5"/>
                  </a:lnTo>
                  <a:lnTo>
                    <a:pt x="4" y="5"/>
                  </a:lnTo>
                  <a:lnTo>
                    <a:pt x="4" y="5"/>
                  </a:lnTo>
                  <a:lnTo>
                    <a:pt x="4" y="5"/>
                  </a:lnTo>
                  <a:lnTo>
                    <a:pt x="4" y="5"/>
                  </a:lnTo>
                  <a:lnTo>
                    <a:pt x="4" y="5"/>
                  </a:lnTo>
                  <a:lnTo>
                    <a:pt x="4" y="5"/>
                  </a:lnTo>
                  <a:lnTo>
                    <a:pt x="4" y="2"/>
                  </a:lnTo>
                  <a:lnTo>
                    <a:pt x="4" y="2"/>
                  </a:lnTo>
                  <a:lnTo>
                    <a:pt x="7" y="2"/>
                  </a:lnTo>
                  <a:lnTo>
                    <a:pt x="7" y="2"/>
                  </a:lnTo>
                  <a:lnTo>
                    <a:pt x="7" y="2"/>
                  </a:lnTo>
                  <a:lnTo>
                    <a:pt x="7" y="2"/>
                  </a:lnTo>
                  <a:lnTo>
                    <a:pt x="7" y="2"/>
                  </a:lnTo>
                  <a:lnTo>
                    <a:pt x="7" y="0"/>
                  </a:lnTo>
                  <a:lnTo>
                    <a:pt x="7" y="0"/>
                  </a:lnTo>
                  <a:lnTo>
                    <a:pt x="7" y="0"/>
                  </a:lnTo>
                  <a:lnTo>
                    <a:pt x="7" y="0"/>
                  </a:lnTo>
                  <a:lnTo>
                    <a:pt x="7" y="0"/>
                  </a:lnTo>
                  <a:lnTo>
                    <a:pt x="9" y="0"/>
                  </a:lnTo>
                  <a:lnTo>
                    <a:pt x="9" y="0"/>
                  </a:lnTo>
                  <a:lnTo>
                    <a:pt x="9" y="0"/>
                  </a:lnTo>
                  <a:lnTo>
                    <a:pt x="9" y="0"/>
                  </a:lnTo>
                  <a:lnTo>
                    <a:pt x="9" y="0"/>
                  </a:lnTo>
                  <a:lnTo>
                    <a:pt x="9" y="0"/>
                  </a:lnTo>
                  <a:lnTo>
                    <a:pt x="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4" name="Freeform 52492"/>
            <p:cNvSpPr>
              <a:spLocks noEditPoints="1"/>
            </p:cNvSpPr>
            <p:nvPr/>
          </p:nvSpPr>
          <p:spPr bwMode="auto">
            <a:xfrm>
              <a:off x="2771773" y="5719783"/>
              <a:ext cx="17463" cy="19050"/>
            </a:xfrm>
            <a:custGeom>
              <a:avLst/>
              <a:gdLst>
                <a:gd name="T0" fmla="*/ 4 w 11"/>
                <a:gd name="T1" fmla="*/ 5 h 12"/>
                <a:gd name="T2" fmla="*/ 4 w 11"/>
                <a:gd name="T3" fmla="*/ 5 h 12"/>
                <a:gd name="T4" fmla="*/ 7 w 11"/>
                <a:gd name="T5" fmla="*/ 5 h 12"/>
                <a:gd name="T6" fmla="*/ 4 w 11"/>
                <a:gd name="T7" fmla="*/ 7 h 12"/>
                <a:gd name="T8" fmla="*/ 7 w 11"/>
                <a:gd name="T9" fmla="*/ 5 h 12"/>
                <a:gd name="T10" fmla="*/ 7 w 11"/>
                <a:gd name="T11" fmla="*/ 5 h 12"/>
                <a:gd name="T12" fmla="*/ 7 w 11"/>
                <a:gd name="T13" fmla="*/ 5 h 12"/>
                <a:gd name="T14" fmla="*/ 7 w 11"/>
                <a:gd name="T15" fmla="*/ 7 h 12"/>
                <a:gd name="T16" fmla="*/ 9 w 11"/>
                <a:gd name="T17" fmla="*/ 7 h 12"/>
                <a:gd name="T18" fmla="*/ 9 w 11"/>
                <a:gd name="T19" fmla="*/ 7 h 12"/>
                <a:gd name="T20" fmla="*/ 9 w 11"/>
                <a:gd name="T21" fmla="*/ 7 h 12"/>
                <a:gd name="T22" fmla="*/ 9 w 11"/>
                <a:gd name="T23" fmla="*/ 7 h 12"/>
                <a:gd name="T24" fmla="*/ 9 w 11"/>
                <a:gd name="T25" fmla="*/ 7 h 12"/>
                <a:gd name="T26" fmla="*/ 9 w 11"/>
                <a:gd name="T27" fmla="*/ 9 h 12"/>
                <a:gd name="T28" fmla="*/ 9 w 11"/>
                <a:gd name="T29" fmla="*/ 9 h 12"/>
                <a:gd name="T30" fmla="*/ 9 w 11"/>
                <a:gd name="T31" fmla="*/ 7 h 12"/>
                <a:gd name="T32" fmla="*/ 11 w 11"/>
                <a:gd name="T33" fmla="*/ 9 h 12"/>
                <a:gd name="T34" fmla="*/ 11 w 11"/>
                <a:gd name="T35" fmla="*/ 9 h 12"/>
                <a:gd name="T36" fmla="*/ 11 w 11"/>
                <a:gd name="T37" fmla="*/ 9 h 12"/>
                <a:gd name="T38" fmla="*/ 11 w 11"/>
                <a:gd name="T39" fmla="*/ 12 h 12"/>
                <a:gd name="T40" fmla="*/ 11 w 11"/>
                <a:gd name="T41" fmla="*/ 12 h 12"/>
                <a:gd name="T42" fmla="*/ 11 w 11"/>
                <a:gd name="T43" fmla="*/ 12 h 12"/>
                <a:gd name="T44" fmla="*/ 11 w 11"/>
                <a:gd name="T45" fmla="*/ 12 h 12"/>
                <a:gd name="T46" fmla="*/ 9 w 11"/>
                <a:gd name="T47" fmla="*/ 12 h 12"/>
                <a:gd name="T48" fmla="*/ 11 w 11"/>
                <a:gd name="T49" fmla="*/ 12 h 12"/>
                <a:gd name="T50" fmla="*/ 11 w 11"/>
                <a:gd name="T51" fmla="*/ 12 h 12"/>
                <a:gd name="T52" fmla="*/ 9 w 11"/>
                <a:gd name="T53" fmla="*/ 12 h 12"/>
                <a:gd name="T54" fmla="*/ 7 w 11"/>
                <a:gd name="T55" fmla="*/ 12 h 12"/>
                <a:gd name="T56" fmla="*/ 7 w 11"/>
                <a:gd name="T57" fmla="*/ 12 h 12"/>
                <a:gd name="T58" fmla="*/ 4 w 11"/>
                <a:gd name="T59" fmla="*/ 9 h 12"/>
                <a:gd name="T60" fmla="*/ 4 w 11"/>
                <a:gd name="T61" fmla="*/ 9 h 12"/>
                <a:gd name="T62" fmla="*/ 4 w 11"/>
                <a:gd name="T63" fmla="*/ 7 h 12"/>
                <a:gd name="T64" fmla="*/ 4 w 11"/>
                <a:gd name="T65" fmla="*/ 7 h 12"/>
                <a:gd name="T66" fmla="*/ 4 w 11"/>
                <a:gd name="T67" fmla="*/ 7 h 12"/>
                <a:gd name="T68" fmla="*/ 4 w 11"/>
                <a:gd name="T69" fmla="*/ 5 h 12"/>
                <a:gd name="T70" fmla="*/ 4 w 11"/>
                <a:gd name="T71" fmla="*/ 5 h 12"/>
                <a:gd name="T72" fmla="*/ 4 w 11"/>
                <a:gd name="T73" fmla="*/ 5 h 12"/>
                <a:gd name="T74" fmla="*/ 4 w 11"/>
                <a:gd name="T75" fmla="*/ 5 h 12"/>
                <a:gd name="T76" fmla="*/ 4 w 11"/>
                <a:gd name="T77" fmla="*/ 5 h 12"/>
                <a:gd name="T78" fmla="*/ 4 w 11"/>
                <a:gd name="T79" fmla="*/ 5 h 12"/>
                <a:gd name="T80" fmla="*/ 4 w 11"/>
                <a:gd name="T81" fmla="*/ 2 h 12"/>
                <a:gd name="T82" fmla="*/ 4 w 11"/>
                <a:gd name="T83" fmla="*/ 2 h 12"/>
                <a:gd name="T84" fmla="*/ 4 w 11"/>
                <a:gd name="T85" fmla="*/ 2 h 12"/>
                <a:gd name="T86" fmla="*/ 2 w 11"/>
                <a:gd name="T87" fmla="*/ 0 h 12"/>
                <a:gd name="T88" fmla="*/ 2 w 11"/>
                <a:gd name="T89" fmla="*/ 0 h 12"/>
                <a:gd name="T90" fmla="*/ 2 w 11"/>
                <a:gd name="T91" fmla="*/ 0 h 12"/>
                <a:gd name="T92" fmla="*/ 2 w 11"/>
                <a:gd name="T93" fmla="*/ 2 h 12"/>
                <a:gd name="T94" fmla="*/ 4 w 11"/>
                <a:gd name="T95" fmla="*/ 2 h 12"/>
                <a:gd name="T96" fmla="*/ 2 w 11"/>
                <a:gd name="T97" fmla="*/ 2 h 12"/>
                <a:gd name="T98" fmla="*/ 2 w 11"/>
                <a:gd name="T99" fmla="*/ 2 h 12"/>
                <a:gd name="T100" fmla="*/ 0 w 11"/>
                <a:gd name="T101" fmla="*/ 2 h 12"/>
                <a:gd name="T102" fmla="*/ 0 w 11"/>
                <a:gd name="T103" fmla="*/ 2 h 12"/>
                <a:gd name="T104" fmla="*/ 0 w 11"/>
                <a:gd name="T105" fmla="*/ 2 h 12"/>
                <a:gd name="T106" fmla="*/ 0 w 11"/>
                <a:gd name="T107" fmla="*/ 0 h 12"/>
                <a:gd name="T108" fmla="*/ 0 w 11"/>
                <a:gd name="T10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 h="12">
                  <a:moveTo>
                    <a:pt x="4" y="5"/>
                  </a:move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7" y="5"/>
                  </a:lnTo>
                  <a:lnTo>
                    <a:pt x="7" y="5"/>
                  </a:lnTo>
                  <a:lnTo>
                    <a:pt x="7" y="5"/>
                  </a:lnTo>
                  <a:lnTo>
                    <a:pt x="7" y="5"/>
                  </a:lnTo>
                  <a:lnTo>
                    <a:pt x="7" y="5"/>
                  </a:lnTo>
                  <a:lnTo>
                    <a:pt x="7" y="5"/>
                  </a:lnTo>
                  <a:lnTo>
                    <a:pt x="4" y="5"/>
                  </a:lnTo>
                  <a:lnTo>
                    <a:pt x="4" y="5"/>
                  </a:lnTo>
                  <a:lnTo>
                    <a:pt x="4" y="5"/>
                  </a:lnTo>
                  <a:lnTo>
                    <a:pt x="4" y="7"/>
                  </a:lnTo>
                  <a:lnTo>
                    <a:pt x="4" y="7"/>
                  </a:lnTo>
                  <a:lnTo>
                    <a:pt x="4" y="7"/>
                  </a:lnTo>
                  <a:lnTo>
                    <a:pt x="7" y="5"/>
                  </a:lnTo>
                  <a:lnTo>
                    <a:pt x="7" y="5"/>
                  </a:lnTo>
                  <a:lnTo>
                    <a:pt x="7" y="5"/>
                  </a:lnTo>
                  <a:lnTo>
                    <a:pt x="7" y="5"/>
                  </a:lnTo>
                  <a:lnTo>
                    <a:pt x="7" y="5"/>
                  </a:lnTo>
                  <a:lnTo>
                    <a:pt x="7" y="5"/>
                  </a:lnTo>
                  <a:lnTo>
                    <a:pt x="7" y="5"/>
                  </a:lnTo>
                  <a:lnTo>
                    <a:pt x="7" y="5"/>
                  </a:lnTo>
                  <a:lnTo>
                    <a:pt x="7" y="5"/>
                  </a:lnTo>
                  <a:lnTo>
                    <a:pt x="7" y="5"/>
                  </a:lnTo>
                  <a:lnTo>
                    <a:pt x="7" y="5"/>
                  </a:lnTo>
                  <a:lnTo>
                    <a:pt x="7" y="5"/>
                  </a:lnTo>
                  <a:lnTo>
                    <a:pt x="7" y="5"/>
                  </a:lnTo>
                  <a:lnTo>
                    <a:pt x="7" y="7"/>
                  </a:lnTo>
                  <a:lnTo>
                    <a:pt x="7" y="7"/>
                  </a:lnTo>
                  <a:lnTo>
                    <a:pt x="7" y="5"/>
                  </a:lnTo>
                  <a:lnTo>
                    <a:pt x="7" y="5"/>
                  </a:lnTo>
                  <a:lnTo>
                    <a:pt x="7" y="5"/>
                  </a:lnTo>
                  <a:lnTo>
                    <a:pt x="7" y="5"/>
                  </a:lnTo>
                  <a:lnTo>
                    <a:pt x="7" y="5"/>
                  </a:lnTo>
                  <a:lnTo>
                    <a:pt x="7" y="7"/>
                  </a:lnTo>
                  <a:lnTo>
                    <a:pt x="7" y="7"/>
                  </a:lnTo>
                  <a:lnTo>
                    <a:pt x="7" y="7"/>
                  </a:lnTo>
                  <a:lnTo>
                    <a:pt x="7" y="7"/>
                  </a:lnTo>
                  <a:lnTo>
                    <a:pt x="7" y="7"/>
                  </a:lnTo>
                  <a:lnTo>
                    <a:pt x="7" y="7"/>
                  </a:lnTo>
                  <a:lnTo>
                    <a:pt x="7" y="7"/>
                  </a:lnTo>
                  <a:lnTo>
                    <a:pt x="7"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9"/>
                  </a:lnTo>
                  <a:lnTo>
                    <a:pt x="9" y="7"/>
                  </a:lnTo>
                  <a:lnTo>
                    <a:pt x="9" y="7"/>
                  </a:lnTo>
                  <a:lnTo>
                    <a:pt x="9" y="7"/>
                  </a:lnTo>
                  <a:lnTo>
                    <a:pt x="9" y="7"/>
                  </a:lnTo>
                  <a:lnTo>
                    <a:pt x="9" y="7"/>
                  </a:lnTo>
                  <a:lnTo>
                    <a:pt x="9" y="9"/>
                  </a:lnTo>
                  <a:lnTo>
                    <a:pt x="9" y="9"/>
                  </a:lnTo>
                  <a:lnTo>
                    <a:pt x="9" y="9"/>
                  </a:lnTo>
                  <a:lnTo>
                    <a:pt x="9" y="9"/>
                  </a:lnTo>
                  <a:lnTo>
                    <a:pt x="9" y="9"/>
                  </a:lnTo>
                  <a:lnTo>
                    <a:pt x="9" y="9"/>
                  </a:lnTo>
                  <a:lnTo>
                    <a:pt x="9" y="9"/>
                  </a:lnTo>
                  <a:lnTo>
                    <a:pt x="9" y="9"/>
                  </a:lnTo>
                  <a:lnTo>
                    <a:pt x="9" y="9"/>
                  </a:lnTo>
                  <a:lnTo>
                    <a:pt x="9" y="9"/>
                  </a:lnTo>
                  <a:lnTo>
                    <a:pt x="9" y="9"/>
                  </a:lnTo>
                  <a:lnTo>
                    <a:pt x="9" y="9"/>
                  </a:lnTo>
                  <a:lnTo>
                    <a:pt x="9" y="9"/>
                  </a:lnTo>
                  <a:lnTo>
                    <a:pt x="9" y="9"/>
                  </a:lnTo>
                  <a:lnTo>
                    <a:pt x="9" y="7"/>
                  </a:lnTo>
                  <a:lnTo>
                    <a:pt x="9" y="7"/>
                  </a:lnTo>
                  <a:lnTo>
                    <a:pt x="9" y="7"/>
                  </a:lnTo>
                  <a:lnTo>
                    <a:pt x="9" y="7"/>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12"/>
                  </a:lnTo>
                  <a:lnTo>
                    <a:pt x="11" y="12"/>
                  </a:lnTo>
                  <a:lnTo>
                    <a:pt x="11" y="9"/>
                  </a:lnTo>
                  <a:lnTo>
                    <a:pt x="11" y="9"/>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9" y="12"/>
                  </a:lnTo>
                  <a:lnTo>
                    <a:pt x="9" y="12"/>
                  </a:lnTo>
                  <a:lnTo>
                    <a:pt x="9" y="12"/>
                  </a:lnTo>
                  <a:lnTo>
                    <a:pt x="9" y="12"/>
                  </a:lnTo>
                  <a:lnTo>
                    <a:pt x="9" y="12"/>
                  </a:lnTo>
                  <a:lnTo>
                    <a:pt x="9" y="12"/>
                  </a:lnTo>
                  <a:lnTo>
                    <a:pt x="9" y="12"/>
                  </a:lnTo>
                  <a:lnTo>
                    <a:pt x="9"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9" y="12"/>
                  </a:lnTo>
                  <a:lnTo>
                    <a:pt x="9" y="12"/>
                  </a:lnTo>
                  <a:lnTo>
                    <a:pt x="9" y="12"/>
                  </a:lnTo>
                  <a:lnTo>
                    <a:pt x="9" y="12"/>
                  </a:lnTo>
                  <a:lnTo>
                    <a:pt x="9" y="12"/>
                  </a:lnTo>
                  <a:lnTo>
                    <a:pt x="9"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4" y="9"/>
                  </a:lnTo>
                  <a:lnTo>
                    <a:pt x="4" y="9"/>
                  </a:lnTo>
                  <a:lnTo>
                    <a:pt x="4" y="9"/>
                  </a:lnTo>
                  <a:lnTo>
                    <a:pt x="4" y="9"/>
                  </a:lnTo>
                  <a:lnTo>
                    <a:pt x="4" y="9"/>
                  </a:lnTo>
                  <a:lnTo>
                    <a:pt x="4" y="9"/>
                  </a:lnTo>
                  <a:lnTo>
                    <a:pt x="4" y="9"/>
                  </a:lnTo>
                  <a:lnTo>
                    <a:pt x="4" y="9"/>
                  </a:lnTo>
                  <a:lnTo>
                    <a:pt x="4" y="9"/>
                  </a:lnTo>
                  <a:lnTo>
                    <a:pt x="4" y="9"/>
                  </a:lnTo>
                  <a:lnTo>
                    <a:pt x="4" y="9"/>
                  </a:lnTo>
                  <a:lnTo>
                    <a:pt x="4" y="9"/>
                  </a:lnTo>
                  <a:lnTo>
                    <a:pt x="4" y="9"/>
                  </a:lnTo>
                  <a:lnTo>
                    <a:pt x="4" y="9"/>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2"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close/>
                  <a:moveTo>
                    <a:pt x="4" y="2"/>
                  </a:moveTo>
                  <a:lnTo>
                    <a:pt x="4" y="2"/>
                  </a:lnTo>
                  <a:lnTo>
                    <a:pt x="4" y="2"/>
                  </a:lnTo>
                  <a:lnTo>
                    <a:pt x="4" y="2"/>
                  </a:lnTo>
                  <a:lnTo>
                    <a:pt x="4" y="2"/>
                  </a:lnTo>
                  <a:lnTo>
                    <a:pt x="4" y="2"/>
                  </a:lnTo>
                  <a:lnTo>
                    <a:pt x="4" y="2"/>
                  </a:lnTo>
                  <a:lnTo>
                    <a:pt x="4" y="2"/>
                  </a:lnTo>
                  <a:lnTo>
                    <a:pt x="4" y="2"/>
                  </a:lnTo>
                  <a:lnTo>
                    <a:pt x="4" y="2"/>
                  </a:lnTo>
                  <a:lnTo>
                    <a:pt x="4" y="2"/>
                  </a:lnTo>
                  <a:lnTo>
                    <a:pt x="4" y="2"/>
                  </a:lnTo>
                  <a:lnTo>
                    <a:pt x="2" y="2"/>
                  </a:lnTo>
                  <a:lnTo>
                    <a:pt x="4" y="2"/>
                  </a:lnTo>
                  <a:lnTo>
                    <a:pt x="4" y="2"/>
                  </a:lnTo>
                  <a:lnTo>
                    <a:pt x="4" y="2"/>
                  </a:lnTo>
                  <a:lnTo>
                    <a:pt x="4" y="2"/>
                  </a:lnTo>
                  <a:lnTo>
                    <a:pt x="4" y="2"/>
                  </a:lnTo>
                  <a:lnTo>
                    <a:pt x="4" y="2"/>
                  </a:lnTo>
                  <a:lnTo>
                    <a:pt x="4" y="2"/>
                  </a:lnTo>
                  <a:lnTo>
                    <a:pt x="4" y="2"/>
                  </a:lnTo>
                  <a:lnTo>
                    <a:pt x="4" y="2"/>
                  </a:lnTo>
                  <a:close/>
                  <a:moveTo>
                    <a:pt x="0" y="0"/>
                  </a:move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4" y="2"/>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5" name="Freeform 52493"/>
            <p:cNvSpPr>
              <a:spLocks noEditPoints="1"/>
            </p:cNvSpPr>
            <p:nvPr/>
          </p:nvSpPr>
          <p:spPr bwMode="auto">
            <a:xfrm>
              <a:off x="2774948" y="5722956"/>
              <a:ext cx="7938" cy="19050"/>
            </a:xfrm>
            <a:custGeom>
              <a:avLst/>
              <a:gdLst>
                <a:gd name="T0" fmla="*/ 5 w 5"/>
                <a:gd name="T1" fmla="*/ 12 h 12"/>
                <a:gd name="T2" fmla="*/ 5 w 5"/>
                <a:gd name="T3" fmla="*/ 12 h 12"/>
                <a:gd name="T4" fmla="*/ 5 w 5"/>
                <a:gd name="T5" fmla="*/ 12 h 12"/>
                <a:gd name="T6" fmla="*/ 5 w 5"/>
                <a:gd name="T7" fmla="*/ 10 h 12"/>
                <a:gd name="T8" fmla="*/ 5 w 5"/>
                <a:gd name="T9" fmla="*/ 10 h 12"/>
                <a:gd name="T10" fmla="*/ 5 w 5"/>
                <a:gd name="T11" fmla="*/ 10 h 12"/>
                <a:gd name="T12" fmla="*/ 5 w 5"/>
                <a:gd name="T13" fmla="*/ 12 h 12"/>
                <a:gd name="T14" fmla="*/ 5 w 5"/>
                <a:gd name="T15" fmla="*/ 3 h 12"/>
                <a:gd name="T16" fmla="*/ 5 w 5"/>
                <a:gd name="T17" fmla="*/ 3 h 12"/>
                <a:gd name="T18" fmla="*/ 5 w 5"/>
                <a:gd name="T19" fmla="*/ 3 h 12"/>
                <a:gd name="T20" fmla="*/ 5 w 5"/>
                <a:gd name="T21" fmla="*/ 3 h 12"/>
                <a:gd name="T22" fmla="*/ 5 w 5"/>
                <a:gd name="T23" fmla="*/ 3 h 12"/>
                <a:gd name="T24" fmla="*/ 5 w 5"/>
                <a:gd name="T25" fmla="*/ 3 h 12"/>
                <a:gd name="T26" fmla="*/ 5 w 5"/>
                <a:gd name="T27" fmla="*/ 3 h 12"/>
                <a:gd name="T28" fmla="*/ 2 w 5"/>
                <a:gd name="T29" fmla="*/ 0 h 12"/>
                <a:gd name="T30" fmla="*/ 2 w 5"/>
                <a:gd name="T31" fmla="*/ 0 h 12"/>
                <a:gd name="T32" fmla="*/ 0 w 5"/>
                <a:gd name="T33" fmla="*/ 0 h 12"/>
                <a:gd name="T34" fmla="*/ 0 w 5"/>
                <a:gd name="T35" fmla="*/ 0 h 12"/>
                <a:gd name="T36" fmla="*/ 0 w 5"/>
                <a:gd name="T37" fmla="*/ 0 h 12"/>
                <a:gd name="T38" fmla="*/ 0 w 5"/>
                <a:gd name="T39" fmla="*/ 0 h 12"/>
                <a:gd name="T40" fmla="*/ 0 w 5"/>
                <a:gd name="T41" fmla="*/ 0 h 12"/>
                <a:gd name="T42" fmla="*/ 0 w 5"/>
                <a:gd name="T43" fmla="*/ 0 h 12"/>
                <a:gd name="T44" fmla="*/ 2 w 5"/>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 h="12">
                  <a:moveTo>
                    <a:pt x="5" y="12"/>
                  </a:moveTo>
                  <a:lnTo>
                    <a:pt x="5" y="12"/>
                  </a:lnTo>
                  <a:lnTo>
                    <a:pt x="5" y="12"/>
                  </a:lnTo>
                  <a:lnTo>
                    <a:pt x="5" y="10"/>
                  </a:lnTo>
                  <a:lnTo>
                    <a:pt x="5" y="10"/>
                  </a:lnTo>
                  <a:lnTo>
                    <a:pt x="5" y="10"/>
                  </a:lnTo>
                  <a:lnTo>
                    <a:pt x="5" y="12"/>
                  </a:lnTo>
                  <a:close/>
                  <a:moveTo>
                    <a:pt x="5" y="3"/>
                  </a:moveTo>
                  <a:lnTo>
                    <a:pt x="5" y="3"/>
                  </a:lnTo>
                  <a:lnTo>
                    <a:pt x="5" y="3"/>
                  </a:lnTo>
                  <a:lnTo>
                    <a:pt x="5" y="3"/>
                  </a:lnTo>
                  <a:lnTo>
                    <a:pt x="5" y="3"/>
                  </a:lnTo>
                  <a:lnTo>
                    <a:pt x="5" y="3"/>
                  </a:lnTo>
                  <a:lnTo>
                    <a:pt x="5" y="3"/>
                  </a:lnTo>
                  <a:close/>
                  <a:moveTo>
                    <a:pt x="2" y="0"/>
                  </a:moveTo>
                  <a:lnTo>
                    <a:pt x="2" y="0"/>
                  </a:lnTo>
                  <a:lnTo>
                    <a:pt x="0" y="0"/>
                  </a:lnTo>
                  <a:lnTo>
                    <a:pt x="0" y="0"/>
                  </a:lnTo>
                  <a:lnTo>
                    <a:pt x="0" y="0"/>
                  </a:lnTo>
                  <a:lnTo>
                    <a:pt x="0" y="0"/>
                  </a:lnTo>
                  <a:lnTo>
                    <a:pt x="0" y="0"/>
                  </a:lnTo>
                  <a:lnTo>
                    <a:pt x="0"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6" name="Freeform 52494"/>
            <p:cNvSpPr>
              <a:spLocks/>
            </p:cNvSpPr>
            <p:nvPr/>
          </p:nvSpPr>
          <p:spPr bwMode="auto">
            <a:xfrm>
              <a:off x="3419473" y="4814905"/>
              <a:ext cx="187325" cy="230188"/>
            </a:xfrm>
            <a:custGeom>
              <a:avLst/>
              <a:gdLst>
                <a:gd name="T0" fmla="*/ 45 w 118"/>
                <a:gd name="T1" fmla="*/ 7 h 145"/>
                <a:gd name="T2" fmla="*/ 52 w 118"/>
                <a:gd name="T3" fmla="*/ 12 h 145"/>
                <a:gd name="T4" fmla="*/ 59 w 118"/>
                <a:gd name="T5" fmla="*/ 12 h 145"/>
                <a:gd name="T6" fmla="*/ 61 w 118"/>
                <a:gd name="T7" fmla="*/ 19 h 145"/>
                <a:gd name="T8" fmla="*/ 61 w 118"/>
                <a:gd name="T9" fmla="*/ 19 h 145"/>
                <a:gd name="T10" fmla="*/ 71 w 118"/>
                <a:gd name="T11" fmla="*/ 16 h 145"/>
                <a:gd name="T12" fmla="*/ 78 w 118"/>
                <a:gd name="T13" fmla="*/ 26 h 145"/>
                <a:gd name="T14" fmla="*/ 88 w 118"/>
                <a:gd name="T15" fmla="*/ 28 h 145"/>
                <a:gd name="T16" fmla="*/ 85 w 118"/>
                <a:gd name="T17" fmla="*/ 38 h 145"/>
                <a:gd name="T18" fmla="*/ 88 w 118"/>
                <a:gd name="T19" fmla="*/ 43 h 145"/>
                <a:gd name="T20" fmla="*/ 88 w 118"/>
                <a:gd name="T21" fmla="*/ 50 h 145"/>
                <a:gd name="T22" fmla="*/ 95 w 118"/>
                <a:gd name="T23" fmla="*/ 57 h 145"/>
                <a:gd name="T24" fmla="*/ 97 w 118"/>
                <a:gd name="T25" fmla="*/ 66 h 145"/>
                <a:gd name="T26" fmla="*/ 99 w 118"/>
                <a:gd name="T27" fmla="*/ 71 h 145"/>
                <a:gd name="T28" fmla="*/ 106 w 118"/>
                <a:gd name="T29" fmla="*/ 78 h 145"/>
                <a:gd name="T30" fmla="*/ 111 w 118"/>
                <a:gd name="T31" fmla="*/ 88 h 145"/>
                <a:gd name="T32" fmla="*/ 114 w 118"/>
                <a:gd name="T33" fmla="*/ 97 h 145"/>
                <a:gd name="T34" fmla="*/ 116 w 118"/>
                <a:gd name="T35" fmla="*/ 97 h 145"/>
                <a:gd name="T36" fmla="*/ 111 w 118"/>
                <a:gd name="T37" fmla="*/ 100 h 145"/>
                <a:gd name="T38" fmla="*/ 104 w 118"/>
                <a:gd name="T39" fmla="*/ 97 h 145"/>
                <a:gd name="T40" fmla="*/ 97 w 118"/>
                <a:gd name="T41" fmla="*/ 97 h 145"/>
                <a:gd name="T42" fmla="*/ 90 w 118"/>
                <a:gd name="T43" fmla="*/ 100 h 145"/>
                <a:gd name="T44" fmla="*/ 88 w 118"/>
                <a:gd name="T45" fmla="*/ 92 h 145"/>
                <a:gd name="T46" fmla="*/ 80 w 118"/>
                <a:gd name="T47" fmla="*/ 97 h 145"/>
                <a:gd name="T48" fmla="*/ 78 w 118"/>
                <a:gd name="T49" fmla="*/ 114 h 145"/>
                <a:gd name="T50" fmla="*/ 69 w 118"/>
                <a:gd name="T51" fmla="*/ 128 h 145"/>
                <a:gd name="T52" fmla="*/ 64 w 118"/>
                <a:gd name="T53" fmla="*/ 135 h 145"/>
                <a:gd name="T54" fmla="*/ 54 w 118"/>
                <a:gd name="T55" fmla="*/ 142 h 145"/>
                <a:gd name="T56" fmla="*/ 50 w 118"/>
                <a:gd name="T57" fmla="*/ 140 h 145"/>
                <a:gd name="T58" fmla="*/ 52 w 118"/>
                <a:gd name="T59" fmla="*/ 130 h 145"/>
                <a:gd name="T60" fmla="*/ 50 w 118"/>
                <a:gd name="T61" fmla="*/ 119 h 145"/>
                <a:gd name="T62" fmla="*/ 50 w 118"/>
                <a:gd name="T63" fmla="*/ 111 h 145"/>
                <a:gd name="T64" fmla="*/ 50 w 118"/>
                <a:gd name="T65" fmla="*/ 107 h 145"/>
                <a:gd name="T66" fmla="*/ 52 w 118"/>
                <a:gd name="T67" fmla="*/ 107 h 145"/>
                <a:gd name="T68" fmla="*/ 54 w 118"/>
                <a:gd name="T69" fmla="*/ 102 h 145"/>
                <a:gd name="T70" fmla="*/ 54 w 118"/>
                <a:gd name="T71" fmla="*/ 100 h 145"/>
                <a:gd name="T72" fmla="*/ 54 w 118"/>
                <a:gd name="T73" fmla="*/ 88 h 145"/>
                <a:gd name="T74" fmla="*/ 52 w 118"/>
                <a:gd name="T75" fmla="*/ 83 h 145"/>
                <a:gd name="T76" fmla="*/ 50 w 118"/>
                <a:gd name="T77" fmla="*/ 73 h 145"/>
                <a:gd name="T78" fmla="*/ 45 w 118"/>
                <a:gd name="T79" fmla="*/ 69 h 145"/>
                <a:gd name="T80" fmla="*/ 40 w 118"/>
                <a:gd name="T81" fmla="*/ 66 h 145"/>
                <a:gd name="T82" fmla="*/ 38 w 118"/>
                <a:gd name="T83" fmla="*/ 62 h 145"/>
                <a:gd name="T84" fmla="*/ 33 w 118"/>
                <a:gd name="T85" fmla="*/ 54 h 145"/>
                <a:gd name="T86" fmla="*/ 31 w 118"/>
                <a:gd name="T87" fmla="*/ 50 h 145"/>
                <a:gd name="T88" fmla="*/ 28 w 118"/>
                <a:gd name="T89" fmla="*/ 47 h 145"/>
                <a:gd name="T90" fmla="*/ 21 w 118"/>
                <a:gd name="T91" fmla="*/ 38 h 145"/>
                <a:gd name="T92" fmla="*/ 19 w 118"/>
                <a:gd name="T93" fmla="*/ 28 h 145"/>
                <a:gd name="T94" fmla="*/ 14 w 118"/>
                <a:gd name="T95" fmla="*/ 21 h 145"/>
                <a:gd name="T96" fmla="*/ 12 w 118"/>
                <a:gd name="T97" fmla="*/ 16 h 145"/>
                <a:gd name="T98" fmla="*/ 4 w 118"/>
                <a:gd name="T99" fmla="*/ 12 h 145"/>
                <a:gd name="T100" fmla="*/ 7 w 118"/>
                <a:gd name="T101" fmla="*/ 9 h 145"/>
                <a:gd name="T102" fmla="*/ 14 w 118"/>
                <a:gd name="T103" fmla="*/ 7 h 145"/>
                <a:gd name="T104" fmla="*/ 19 w 118"/>
                <a:gd name="T105" fmla="*/ 5 h 145"/>
                <a:gd name="T106" fmla="*/ 23 w 118"/>
                <a:gd name="T107" fmla="*/ 2 h 145"/>
                <a:gd name="T108" fmla="*/ 33 w 118"/>
                <a:gd name="T10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145">
                  <a:moveTo>
                    <a:pt x="35" y="2"/>
                  </a:moveTo>
                  <a:lnTo>
                    <a:pt x="38" y="2"/>
                  </a:lnTo>
                  <a:lnTo>
                    <a:pt x="40" y="2"/>
                  </a:lnTo>
                  <a:lnTo>
                    <a:pt x="40" y="5"/>
                  </a:lnTo>
                  <a:lnTo>
                    <a:pt x="42" y="5"/>
                  </a:lnTo>
                  <a:lnTo>
                    <a:pt x="42" y="7"/>
                  </a:lnTo>
                  <a:lnTo>
                    <a:pt x="45" y="7"/>
                  </a:lnTo>
                  <a:lnTo>
                    <a:pt x="45" y="9"/>
                  </a:lnTo>
                  <a:lnTo>
                    <a:pt x="47" y="9"/>
                  </a:lnTo>
                  <a:lnTo>
                    <a:pt x="50" y="9"/>
                  </a:lnTo>
                  <a:lnTo>
                    <a:pt x="50" y="12"/>
                  </a:lnTo>
                  <a:lnTo>
                    <a:pt x="50" y="14"/>
                  </a:lnTo>
                  <a:lnTo>
                    <a:pt x="50" y="12"/>
                  </a:lnTo>
                  <a:lnTo>
                    <a:pt x="52" y="12"/>
                  </a:lnTo>
                  <a:lnTo>
                    <a:pt x="52" y="14"/>
                  </a:lnTo>
                  <a:lnTo>
                    <a:pt x="54" y="14"/>
                  </a:lnTo>
                  <a:lnTo>
                    <a:pt x="57" y="14"/>
                  </a:lnTo>
                  <a:lnTo>
                    <a:pt x="57" y="12"/>
                  </a:lnTo>
                  <a:lnTo>
                    <a:pt x="57" y="14"/>
                  </a:lnTo>
                  <a:lnTo>
                    <a:pt x="57" y="12"/>
                  </a:lnTo>
                  <a:lnTo>
                    <a:pt x="59" y="12"/>
                  </a:lnTo>
                  <a:lnTo>
                    <a:pt x="59" y="14"/>
                  </a:lnTo>
                  <a:lnTo>
                    <a:pt x="57" y="16"/>
                  </a:lnTo>
                  <a:lnTo>
                    <a:pt x="57" y="19"/>
                  </a:lnTo>
                  <a:lnTo>
                    <a:pt x="57" y="16"/>
                  </a:lnTo>
                  <a:lnTo>
                    <a:pt x="59" y="16"/>
                  </a:lnTo>
                  <a:lnTo>
                    <a:pt x="61" y="16"/>
                  </a:lnTo>
                  <a:lnTo>
                    <a:pt x="61" y="19"/>
                  </a:lnTo>
                  <a:lnTo>
                    <a:pt x="59" y="19"/>
                  </a:lnTo>
                  <a:lnTo>
                    <a:pt x="61" y="19"/>
                  </a:lnTo>
                  <a:lnTo>
                    <a:pt x="61" y="21"/>
                  </a:lnTo>
                  <a:lnTo>
                    <a:pt x="64" y="21"/>
                  </a:lnTo>
                  <a:lnTo>
                    <a:pt x="61" y="21"/>
                  </a:lnTo>
                  <a:lnTo>
                    <a:pt x="64" y="19"/>
                  </a:lnTo>
                  <a:lnTo>
                    <a:pt x="61" y="19"/>
                  </a:lnTo>
                  <a:lnTo>
                    <a:pt x="64" y="19"/>
                  </a:lnTo>
                  <a:lnTo>
                    <a:pt x="64" y="16"/>
                  </a:lnTo>
                  <a:lnTo>
                    <a:pt x="66" y="16"/>
                  </a:lnTo>
                  <a:lnTo>
                    <a:pt x="69" y="16"/>
                  </a:lnTo>
                  <a:lnTo>
                    <a:pt x="69" y="19"/>
                  </a:lnTo>
                  <a:lnTo>
                    <a:pt x="71" y="19"/>
                  </a:lnTo>
                  <a:lnTo>
                    <a:pt x="71" y="16"/>
                  </a:lnTo>
                  <a:lnTo>
                    <a:pt x="71" y="19"/>
                  </a:lnTo>
                  <a:lnTo>
                    <a:pt x="73" y="19"/>
                  </a:lnTo>
                  <a:lnTo>
                    <a:pt x="76" y="19"/>
                  </a:lnTo>
                  <a:lnTo>
                    <a:pt x="73" y="21"/>
                  </a:lnTo>
                  <a:lnTo>
                    <a:pt x="73" y="24"/>
                  </a:lnTo>
                  <a:lnTo>
                    <a:pt x="76" y="24"/>
                  </a:lnTo>
                  <a:lnTo>
                    <a:pt x="78" y="26"/>
                  </a:lnTo>
                  <a:lnTo>
                    <a:pt x="80" y="26"/>
                  </a:lnTo>
                  <a:lnTo>
                    <a:pt x="83" y="26"/>
                  </a:lnTo>
                  <a:lnTo>
                    <a:pt x="83" y="24"/>
                  </a:lnTo>
                  <a:lnTo>
                    <a:pt x="85" y="24"/>
                  </a:lnTo>
                  <a:lnTo>
                    <a:pt x="85" y="26"/>
                  </a:lnTo>
                  <a:lnTo>
                    <a:pt x="85" y="31"/>
                  </a:lnTo>
                  <a:lnTo>
                    <a:pt x="88" y="28"/>
                  </a:lnTo>
                  <a:lnTo>
                    <a:pt x="88" y="31"/>
                  </a:lnTo>
                  <a:lnTo>
                    <a:pt x="85" y="31"/>
                  </a:lnTo>
                  <a:lnTo>
                    <a:pt x="85" y="33"/>
                  </a:lnTo>
                  <a:lnTo>
                    <a:pt x="88" y="33"/>
                  </a:lnTo>
                  <a:lnTo>
                    <a:pt x="88" y="35"/>
                  </a:lnTo>
                  <a:lnTo>
                    <a:pt x="88" y="38"/>
                  </a:lnTo>
                  <a:lnTo>
                    <a:pt x="85" y="38"/>
                  </a:lnTo>
                  <a:lnTo>
                    <a:pt x="88" y="38"/>
                  </a:lnTo>
                  <a:lnTo>
                    <a:pt x="88" y="40"/>
                  </a:lnTo>
                  <a:lnTo>
                    <a:pt x="85" y="40"/>
                  </a:lnTo>
                  <a:lnTo>
                    <a:pt x="88" y="40"/>
                  </a:lnTo>
                  <a:lnTo>
                    <a:pt x="88" y="43"/>
                  </a:lnTo>
                  <a:lnTo>
                    <a:pt x="85" y="43"/>
                  </a:lnTo>
                  <a:lnTo>
                    <a:pt x="88" y="43"/>
                  </a:lnTo>
                  <a:lnTo>
                    <a:pt x="85" y="43"/>
                  </a:lnTo>
                  <a:lnTo>
                    <a:pt x="85" y="45"/>
                  </a:lnTo>
                  <a:lnTo>
                    <a:pt x="83" y="45"/>
                  </a:lnTo>
                  <a:lnTo>
                    <a:pt x="85" y="47"/>
                  </a:lnTo>
                  <a:lnTo>
                    <a:pt x="85" y="50"/>
                  </a:lnTo>
                  <a:lnTo>
                    <a:pt x="85" y="52"/>
                  </a:lnTo>
                  <a:lnTo>
                    <a:pt x="88" y="50"/>
                  </a:lnTo>
                  <a:lnTo>
                    <a:pt x="88" y="52"/>
                  </a:lnTo>
                  <a:lnTo>
                    <a:pt x="90" y="52"/>
                  </a:lnTo>
                  <a:lnTo>
                    <a:pt x="90" y="50"/>
                  </a:lnTo>
                  <a:lnTo>
                    <a:pt x="90" y="54"/>
                  </a:lnTo>
                  <a:lnTo>
                    <a:pt x="92" y="54"/>
                  </a:lnTo>
                  <a:lnTo>
                    <a:pt x="92" y="57"/>
                  </a:lnTo>
                  <a:lnTo>
                    <a:pt x="95" y="57"/>
                  </a:lnTo>
                  <a:lnTo>
                    <a:pt x="95" y="54"/>
                  </a:lnTo>
                  <a:lnTo>
                    <a:pt x="97" y="54"/>
                  </a:lnTo>
                  <a:lnTo>
                    <a:pt x="99" y="54"/>
                  </a:lnTo>
                  <a:lnTo>
                    <a:pt x="99" y="59"/>
                  </a:lnTo>
                  <a:lnTo>
                    <a:pt x="97" y="59"/>
                  </a:lnTo>
                  <a:lnTo>
                    <a:pt x="99" y="66"/>
                  </a:lnTo>
                  <a:lnTo>
                    <a:pt x="97" y="66"/>
                  </a:lnTo>
                  <a:lnTo>
                    <a:pt x="95" y="66"/>
                  </a:lnTo>
                  <a:lnTo>
                    <a:pt x="97" y="66"/>
                  </a:lnTo>
                  <a:lnTo>
                    <a:pt x="97" y="69"/>
                  </a:lnTo>
                  <a:lnTo>
                    <a:pt x="97" y="66"/>
                  </a:lnTo>
                  <a:lnTo>
                    <a:pt x="99" y="66"/>
                  </a:lnTo>
                  <a:lnTo>
                    <a:pt x="99" y="69"/>
                  </a:lnTo>
                  <a:lnTo>
                    <a:pt x="99" y="71"/>
                  </a:lnTo>
                  <a:lnTo>
                    <a:pt x="99" y="73"/>
                  </a:lnTo>
                  <a:lnTo>
                    <a:pt x="97" y="73"/>
                  </a:lnTo>
                  <a:lnTo>
                    <a:pt x="99" y="73"/>
                  </a:lnTo>
                  <a:lnTo>
                    <a:pt x="102" y="76"/>
                  </a:lnTo>
                  <a:lnTo>
                    <a:pt x="104" y="76"/>
                  </a:lnTo>
                  <a:lnTo>
                    <a:pt x="104" y="78"/>
                  </a:lnTo>
                  <a:lnTo>
                    <a:pt x="106" y="78"/>
                  </a:lnTo>
                  <a:lnTo>
                    <a:pt x="109" y="78"/>
                  </a:lnTo>
                  <a:lnTo>
                    <a:pt x="109" y="81"/>
                  </a:lnTo>
                  <a:lnTo>
                    <a:pt x="111" y="78"/>
                  </a:lnTo>
                  <a:lnTo>
                    <a:pt x="111" y="81"/>
                  </a:lnTo>
                  <a:lnTo>
                    <a:pt x="111" y="83"/>
                  </a:lnTo>
                  <a:lnTo>
                    <a:pt x="111" y="85"/>
                  </a:lnTo>
                  <a:lnTo>
                    <a:pt x="111" y="88"/>
                  </a:lnTo>
                  <a:lnTo>
                    <a:pt x="111" y="90"/>
                  </a:lnTo>
                  <a:lnTo>
                    <a:pt x="111" y="92"/>
                  </a:lnTo>
                  <a:lnTo>
                    <a:pt x="109" y="92"/>
                  </a:lnTo>
                  <a:lnTo>
                    <a:pt x="109" y="95"/>
                  </a:lnTo>
                  <a:lnTo>
                    <a:pt x="111" y="95"/>
                  </a:lnTo>
                  <a:lnTo>
                    <a:pt x="111" y="97"/>
                  </a:lnTo>
                  <a:lnTo>
                    <a:pt x="114" y="97"/>
                  </a:lnTo>
                  <a:lnTo>
                    <a:pt x="111" y="97"/>
                  </a:lnTo>
                  <a:lnTo>
                    <a:pt x="114" y="97"/>
                  </a:lnTo>
                  <a:lnTo>
                    <a:pt x="114" y="100"/>
                  </a:lnTo>
                  <a:lnTo>
                    <a:pt x="116" y="100"/>
                  </a:lnTo>
                  <a:lnTo>
                    <a:pt x="116" y="97"/>
                  </a:lnTo>
                  <a:lnTo>
                    <a:pt x="116" y="100"/>
                  </a:lnTo>
                  <a:lnTo>
                    <a:pt x="116" y="97"/>
                  </a:lnTo>
                  <a:lnTo>
                    <a:pt x="116" y="100"/>
                  </a:lnTo>
                  <a:lnTo>
                    <a:pt x="118" y="100"/>
                  </a:lnTo>
                  <a:lnTo>
                    <a:pt x="116" y="102"/>
                  </a:lnTo>
                  <a:lnTo>
                    <a:pt x="116" y="100"/>
                  </a:lnTo>
                  <a:lnTo>
                    <a:pt x="114" y="100"/>
                  </a:lnTo>
                  <a:lnTo>
                    <a:pt x="114" y="102"/>
                  </a:lnTo>
                  <a:lnTo>
                    <a:pt x="111" y="100"/>
                  </a:lnTo>
                  <a:lnTo>
                    <a:pt x="111" y="102"/>
                  </a:lnTo>
                  <a:lnTo>
                    <a:pt x="111" y="100"/>
                  </a:lnTo>
                  <a:lnTo>
                    <a:pt x="109" y="102"/>
                  </a:lnTo>
                  <a:lnTo>
                    <a:pt x="106" y="100"/>
                  </a:lnTo>
                  <a:lnTo>
                    <a:pt x="104" y="100"/>
                  </a:lnTo>
                  <a:lnTo>
                    <a:pt x="106" y="100"/>
                  </a:lnTo>
                  <a:lnTo>
                    <a:pt x="104" y="97"/>
                  </a:lnTo>
                  <a:lnTo>
                    <a:pt x="102" y="100"/>
                  </a:lnTo>
                  <a:lnTo>
                    <a:pt x="102" y="97"/>
                  </a:lnTo>
                  <a:lnTo>
                    <a:pt x="102" y="102"/>
                  </a:lnTo>
                  <a:lnTo>
                    <a:pt x="99" y="102"/>
                  </a:lnTo>
                  <a:lnTo>
                    <a:pt x="97" y="100"/>
                  </a:lnTo>
                  <a:lnTo>
                    <a:pt x="95" y="97"/>
                  </a:lnTo>
                  <a:lnTo>
                    <a:pt x="97" y="97"/>
                  </a:lnTo>
                  <a:lnTo>
                    <a:pt x="95" y="95"/>
                  </a:lnTo>
                  <a:lnTo>
                    <a:pt x="92" y="97"/>
                  </a:lnTo>
                  <a:lnTo>
                    <a:pt x="92" y="100"/>
                  </a:lnTo>
                  <a:lnTo>
                    <a:pt x="92" y="97"/>
                  </a:lnTo>
                  <a:lnTo>
                    <a:pt x="90" y="95"/>
                  </a:lnTo>
                  <a:lnTo>
                    <a:pt x="90" y="97"/>
                  </a:lnTo>
                  <a:lnTo>
                    <a:pt x="90" y="100"/>
                  </a:lnTo>
                  <a:lnTo>
                    <a:pt x="88" y="100"/>
                  </a:lnTo>
                  <a:lnTo>
                    <a:pt x="88" y="102"/>
                  </a:lnTo>
                  <a:lnTo>
                    <a:pt x="85" y="100"/>
                  </a:lnTo>
                  <a:lnTo>
                    <a:pt x="88" y="100"/>
                  </a:lnTo>
                  <a:lnTo>
                    <a:pt x="88" y="97"/>
                  </a:lnTo>
                  <a:lnTo>
                    <a:pt x="88" y="95"/>
                  </a:lnTo>
                  <a:lnTo>
                    <a:pt x="88" y="92"/>
                  </a:lnTo>
                  <a:lnTo>
                    <a:pt x="85" y="92"/>
                  </a:lnTo>
                  <a:lnTo>
                    <a:pt x="85" y="95"/>
                  </a:lnTo>
                  <a:lnTo>
                    <a:pt x="83" y="95"/>
                  </a:lnTo>
                  <a:lnTo>
                    <a:pt x="80" y="95"/>
                  </a:lnTo>
                  <a:lnTo>
                    <a:pt x="78" y="95"/>
                  </a:lnTo>
                  <a:lnTo>
                    <a:pt x="78" y="97"/>
                  </a:lnTo>
                  <a:lnTo>
                    <a:pt x="80" y="97"/>
                  </a:lnTo>
                  <a:lnTo>
                    <a:pt x="78" y="97"/>
                  </a:lnTo>
                  <a:lnTo>
                    <a:pt x="78" y="100"/>
                  </a:lnTo>
                  <a:lnTo>
                    <a:pt x="78" y="102"/>
                  </a:lnTo>
                  <a:lnTo>
                    <a:pt x="78" y="104"/>
                  </a:lnTo>
                  <a:lnTo>
                    <a:pt x="78" y="107"/>
                  </a:lnTo>
                  <a:lnTo>
                    <a:pt x="80" y="109"/>
                  </a:lnTo>
                  <a:lnTo>
                    <a:pt x="78" y="114"/>
                  </a:lnTo>
                  <a:lnTo>
                    <a:pt x="80" y="116"/>
                  </a:lnTo>
                  <a:lnTo>
                    <a:pt x="78" y="119"/>
                  </a:lnTo>
                  <a:lnTo>
                    <a:pt x="73" y="119"/>
                  </a:lnTo>
                  <a:lnTo>
                    <a:pt x="71" y="121"/>
                  </a:lnTo>
                  <a:lnTo>
                    <a:pt x="71" y="123"/>
                  </a:lnTo>
                  <a:lnTo>
                    <a:pt x="73" y="126"/>
                  </a:lnTo>
                  <a:lnTo>
                    <a:pt x="69" y="128"/>
                  </a:lnTo>
                  <a:lnTo>
                    <a:pt x="66" y="130"/>
                  </a:lnTo>
                  <a:lnTo>
                    <a:pt x="64" y="133"/>
                  </a:lnTo>
                  <a:lnTo>
                    <a:pt x="64" y="130"/>
                  </a:lnTo>
                  <a:lnTo>
                    <a:pt x="64" y="133"/>
                  </a:lnTo>
                  <a:lnTo>
                    <a:pt x="61" y="133"/>
                  </a:lnTo>
                  <a:lnTo>
                    <a:pt x="61" y="135"/>
                  </a:lnTo>
                  <a:lnTo>
                    <a:pt x="64" y="135"/>
                  </a:lnTo>
                  <a:lnTo>
                    <a:pt x="64" y="138"/>
                  </a:lnTo>
                  <a:lnTo>
                    <a:pt x="61" y="140"/>
                  </a:lnTo>
                  <a:lnTo>
                    <a:pt x="64" y="142"/>
                  </a:lnTo>
                  <a:lnTo>
                    <a:pt x="61" y="142"/>
                  </a:lnTo>
                  <a:lnTo>
                    <a:pt x="59" y="142"/>
                  </a:lnTo>
                  <a:lnTo>
                    <a:pt x="57" y="140"/>
                  </a:lnTo>
                  <a:lnTo>
                    <a:pt x="54" y="142"/>
                  </a:lnTo>
                  <a:lnTo>
                    <a:pt x="54" y="145"/>
                  </a:lnTo>
                  <a:lnTo>
                    <a:pt x="52" y="145"/>
                  </a:lnTo>
                  <a:lnTo>
                    <a:pt x="52" y="142"/>
                  </a:lnTo>
                  <a:lnTo>
                    <a:pt x="52" y="140"/>
                  </a:lnTo>
                  <a:lnTo>
                    <a:pt x="52" y="138"/>
                  </a:lnTo>
                  <a:lnTo>
                    <a:pt x="52" y="140"/>
                  </a:lnTo>
                  <a:lnTo>
                    <a:pt x="50" y="140"/>
                  </a:lnTo>
                  <a:lnTo>
                    <a:pt x="50" y="138"/>
                  </a:lnTo>
                  <a:lnTo>
                    <a:pt x="50" y="135"/>
                  </a:lnTo>
                  <a:lnTo>
                    <a:pt x="50" y="138"/>
                  </a:lnTo>
                  <a:lnTo>
                    <a:pt x="52" y="138"/>
                  </a:lnTo>
                  <a:lnTo>
                    <a:pt x="52" y="135"/>
                  </a:lnTo>
                  <a:lnTo>
                    <a:pt x="52" y="133"/>
                  </a:lnTo>
                  <a:lnTo>
                    <a:pt x="52" y="130"/>
                  </a:lnTo>
                  <a:lnTo>
                    <a:pt x="52" y="128"/>
                  </a:lnTo>
                  <a:lnTo>
                    <a:pt x="52" y="130"/>
                  </a:lnTo>
                  <a:lnTo>
                    <a:pt x="50" y="128"/>
                  </a:lnTo>
                  <a:lnTo>
                    <a:pt x="50" y="126"/>
                  </a:lnTo>
                  <a:lnTo>
                    <a:pt x="50" y="123"/>
                  </a:lnTo>
                  <a:lnTo>
                    <a:pt x="50" y="121"/>
                  </a:lnTo>
                  <a:lnTo>
                    <a:pt x="50" y="119"/>
                  </a:lnTo>
                  <a:lnTo>
                    <a:pt x="50" y="116"/>
                  </a:lnTo>
                  <a:lnTo>
                    <a:pt x="50" y="114"/>
                  </a:lnTo>
                  <a:lnTo>
                    <a:pt x="52" y="114"/>
                  </a:lnTo>
                  <a:lnTo>
                    <a:pt x="50" y="114"/>
                  </a:lnTo>
                  <a:lnTo>
                    <a:pt x="50" y="111"/>
                  </a:lnTo>
                  <a:lnTo>
                    <a:pt x="52" y="111"/>
                  </a:lnTo>
                  <a:lnTo>
                    <a:pt x="50" y="111"/>
                  </a:lnTo>
                  <a:lnTo>
                    <a:pt x="52" y="111"/>
                  </a:lnTo>
                  <a:lnTo>
                    <a:pt x="50" y="111"/>
                  </a:lnTo>
                  <a:lnTo>
                    <a:pt x="50" y="109"/>
                  </a:lnTo>
                  <a:lnTo>
                    <a:pt x="52" y="111"/>
                  </a:lnTo>
                  <a:lnTo>
                    <a:pt x="52" y="109"/>
                  </a:lnTo>
                  <a:lnTo>
                    <a:pt x="50" y="109"/>
                  </a:lnTo>
                  <a:lnTo>
                    <a:pt x="50" y="107"/>
                  </a:lnTo>
                  <a:lnTo>
                    <a:pt x="52" y="107"/>
                  </a:lnTo>
                  <a:lnTo>
                    <a:pt x="50" y="107"/>
                  </a:lnTo>
                  <a:lnTo>
                    <a:pt x="52" y="107"/>
                  </a:lnTo>
                  <a:lnTo>
                    <a:pt x="52" y="104"/>
                  </a:lnTo>
                  <a:lnTo>
                    <a:pt x="52" y="107"/>
                  </a:lnTo>
                  <a:lnTo>
                    <a:pt x="52" y="104"/>
                  </a:lnTo>
                  <a:lnTo>
                    <a:pt x="52" y="107"/>
                  </a:lnTo>
                  <a:lnTo>
                    <a:pt x="52" y="104"/>
                  </a:lnTo>
                  <a:lnTo>
                    <a:pt x="54" y="104"/>
                  </a:lnTo>
                  <a:lnTo>
                    <a:pt x="52" y="104"/>
                  </a:lnTo>
                  <a:lnTo>
                    <a:pt x="52" y="102"/>
                  </a:lnTo>
                  <a:lnTo>
                    <a:pt x="52" y="104"/>
                  </a:lnTo>
                  <a:lnTo>
                    <a:pt x="52" y="102"/>
                  </a:lnTo>
                  <a:lnTo>
                    <a:pt x="54" y="102"/>
                  </a:lnTo>
                  <a:lnTo>
                    <a:pt x="52" y="102"/>
                  </a:lnTo>
                  <a:lnTo>
                    <a:pt x="54" y="102"/>
                  </a:lnTo>
                  <a:lnTo>
                    <a:pt x="52" y="102"/>
                  </a:lnTo>
                  <a:lnTo>
                    <a:pt x="54" y="102"/>
                  </a:lnTo>
                  <a:lnTo>
                    <a:pt x="52" y="102"/>
                  </a:lnTo>
                  <a:lnTo>
                    <a:pt x="54" y="102"/>
                  </a:lnTo>
                  <a:lnTo>
                    <a:pt x="54" y="100"/>
                  </a:lnTo>
                  <a:lnTo>
                    <a:pt x="54" y="97"/>
                  </a:lnTo>
                  <a:lnTo>
                    <a:pt x="54" y="95"/>
                  </a:lnTo>
                  <a:lnTo>
                    <a:pt x="54" y="92"/>
                  </a:lnTo>
                  <a:lnTo>
                    <a:pt x="54" y="95"/>
                  </a:lnTo>
                  <a:lnTo>
                    <a:pt x="54" y="92"/>
                  </a:lnTo>
                  <a:lnTo>
                    <a:pt x="54" y="90"/>
                  </a:lnTo>
                  <a:lnTo>
                    <a:pt x="54" y="88"/>
                  </a:lnTo>
                  <a:lnTo>
                    <a:pt x="54" y="85"/>
                  </a:lnTo>
                  <a:lnTo>
                    <a:pt x="54" y="88"/>
                  </a:lnTo>
                  <a:lnTo>
                    <a:pt x="54" y="85"/>
                  </a:lnTo>
                  <a:lnTo>
                    <a:pt x="52" y="85"/>
                  </a:lnTo>
                  <a:lnTo>
                    <a:pt x="54" y="85"/>
                  </a:lnTo>
                  <a:lnTo>
                    <a:pt x="52" y="85"/>
                  </a:lnTo>
                  <a:lnTo>
                    <a:pt x="52" y="83"/>
                  </a:lnTo>
                  <a:lnTo>
                    <a:pt x="52" y="81"/>
                  </a:lnTo>
                  <a:lnTo>
                    <a:pt x="52" y="83"/>
                  </a:lnTo>
                  <a:lnTo>
                    <a:pt x="52" y="81"/>
                  </a:lnTo>
                  <a:lnTo>
                    <a:pt x="50" y="81"/>
                  </a:lnTo>
                  <a:lnTo>
                    <a:pt x="50" y="78"/>
                  </a:lnTo>
                  <a:lnTo>
                    <a:pt x="50" y="76"/>
                  </a:lnTo>
                  <a:lnTo>
                    <a:pt x="50" y="73"/>
                  </a:lnTo>
                  <a:lnTo>
                    <a:pt x="50" y="76"/>
                  </a:lnTo>
                  <a:lnTo>
                    <a:pt x="50" y="73"/>
                  </a:lnTo>
                  <a:lnTo>
                    <a:pt x="50" y="71"/>
                  </a:lnTo>
                  <a:lnTo>
                    <a:pt x="47" y="71"/>
                  </a:lnTo>
                  <a:lnTo>
                    <a:pt x="47" y="69"/>
                  </a:lnTo>
                  <a:lnTo>
                    <a:pt x="45" y="71"/>
                  </a:lnTo>
                  <a:lnTo>
                    <a:pt x="45" y="69"/>
                  </a:lnTo>
                  <a:lnTo>
                    <a:pt x="42" y="69"/>
                  </a:lnTo>
                  <a:lnTo>
                    <a:pt x="42" y="66"/>
                  </a:lnTo>
                  <a:lnTo>
                    <a:pt x="40" y="66"/>
                  </a:lnTo>
                  <a:lnTo>
                    <a:pt x="42" y="66"/>
                  </a:lnTo>
                  <a:lnTo>
                    <a:pt x="40" y="66"/>
                  </a:lnTo>
                  <a:lnTo>
                    <a:pt x="40" y="64"/>
                  </a:lnTo>
                  <a:lnTo>
                    <a:pt x="40" y="66"/>
                  </a:lnTo>
                  <a:lnTo>
                    <a:pt x="40" y="64"/>
                  </a:lnTo>
                  <a:lnTo>
                    <a:pt x="40" y="62"/>
                  </a:lnTo>
                  <a:lnTo>
                    <a:pt x="38" y="62"/>
                  </a:lnTo>
                  <a:lnTo>
                    <a:pt x="40" y="62"/>
                  </a:lnTo>
                  <a:lnTo>
                    <a:pt x="38" y="62"/>
                  </a:lnTo>
                  <a:lnTo>
                    <a:pt x="38" y="59"/>
                  </a:lnTo>
                  <a:lnTo>
                    <a:pt x="38" y="62"/>
                  </a:lnTo>
                  <a:lnTo>
                    <a:pt x="38" y="59"/>
                  </a:lnTo>
                  <a:lnTo>
                    <a:pt x="38" y="57"/>
                  </a:lnTo>
                  <a:lnTo>
                    <a:pt x="35" y="57"/>
                  </a:lnTo>
                  <a:lnTo>
                    <a:pt x="35" y="59"/>
                  </a:lnTo>
                  <a:lnTo>
                    <a:pt x="35" y="57"/>
                  </a:lnTo>
                  <a:lnTo>
                    <a:pt x="33" y="57"/>
                  </a:lnTo>
                  <a:lnTo>
                    <a:pt x="33" y="54"/>
                  </a:lnTo>
                  <a:lnTo>
                    <a:pt x="33" y="52"/>
                  </a:lnTo>
                  <a:lnTo>
                    <a:pt x="31" y="52"/>
                  </a:lnTo>
                  <a:lnTo>
                    <a:pt x="33" y="52"/>
                  </a:lnTo>
                  <a:lnTo>
                    <a:pt x="33" y="50"/>
                  </a:lnTo>
                  <a:lnTo>
                    <a:pt x="31" y="50"/>
                  </a:lnTo>
                  <a:lnTo>
                    <a:pt x="33" y="50"/>
                  </a:lnTo>
                  <a:lnTo>
                    <a:pt x="31" y="50"/>
                  </a:lnTo>
                  <a:lnTo>
                    <a:pt x="31" y="47"/>
                  </a:lnTo>
                  <a:lnTo>
                    <a:pt x="31" y="50"/>
                  </a:lnTo>
                  <a:lnTo>
                    <a:pt x="31" y="47"/>
                  </a:lnTo>
                  <a:lnTo>
                    <a:pt x="31" y="50"/>
                  </a:lnTo>
                  <a:lnTo>
                    <a:pt x="31" y="47"/>
                  </a:lnTo>
                  <a:lnTo>
                    <a:pt x="28" y="50"/>
                  </a:lnTo>
                  <a:lnTo>
                    <a:pt x="28" y="47"/>
                  </a:lnTo>
                  <a:lnTo>
                    <a:pt x="28" y="45"/>
                  </a:lnTo>
                  <a:lnTo>
                    <a:pt x="26" y="45"/>
                  </a:lnTo>
                  <a:lnTo>
                    <a:pt x="26" y="43"/>
                  </a:lnTo>
                  <a:lnTo>
                    <a:pt x="23" y="43"/>
                  </a:lnTo>
                  <a:lnTo>
                    <a:pt x="23" y="40"/>
                  </a:lnTo>
                  <a:lnTo>
                    <a:pt x="23" y="38"/>
                  </a:lnTo>
                  <a:lnTo>
                    <a:pt x="21" y="38"/>
                  </a:lnTo>
                  <a:lnTo>
                    <a:pt x="23" y="38"/>
                  </a:lnTo>
                  <a:lnTo>
                    <a:pt x="23" y="35"/>
                  </a:lnTo>
                  <a:lnTo>
                    <a:pt x="21" y="35"/>
                  </a:lnTo>
                  <a:lnTo>
                    <a:pt x="21" y="33"/>
                  </a:lnTo>
                  <a:lnTo>
                    <a:pt x="21" y="31"/>
                  </a:lnTo>
                  <a:lnTo>
                    <a:pt x="21" y="28"/>
                  </a:lnTo>
                  <a:lnTo>
                    <a:pt x="19" y="28"/>
                  </a:lnTo>
                  <a:lnTo>
                    <a:pt x="19" y="26"/>
                  </a:lnTo>
                  <a:lnTo>
                    <a:pt x="19" y="24"/>
                  </a:lnTo>
                  <a:lnTo>
                    <a:pt x="16" y="24"/>
                  </a:lnTo>
                  <a:lnTo>
                    <a:pt x="19" y="24"/>
                  </a:lnTo>
                  <a:lnTo>
                    <a:pt x="16" y="24"/>
                  </a:lnTo>
                  <a:lnTo>
                    <a:pt x="16" y="21"/>
                  </a:lnTo>
                  <a:lnTo>
                    <a:pt x="14" y="21"/>
                  </a:lnTo>
                  <a:lnTo>
                    <a:pt x="14" y="19"/>
                  </a:lnTo>
                  <a:lnTo>
                    <a:pt x="14" y="16"/>
                  </a:lnTo>
                  <a:lnTo>
                    <a:pt x="14" y="19"/>
                  </a:lnTo>
                  <a:lnTo>
                    <a:pt x="12" y="19"/>
                  </a:lnTo>
                  <a:lnTo>
                    <a:pt x="12" y="16"/>
                  </a:lnTo>
                  <a:lnTo>
                    <a:pt x="14" y="16"/>
                  </a:lnTo>
                  <a:lnTo>
                    <a:pt x="12" y="16"/>
                  </a:lnTo>
                  <a:lnTo>
                    <a:pt x="12" y="14"/>
                  </a:lnTo>
                  <a:lnTo>
                    <a:pt x="12" y="16"/>
                  </a:lnTo>
                  <a:lnTo>
                    <a:pt x="9" y="16"/>
                  </a:lnTo>
                  <a:lnTo>
                    <a:pt x="9" y="14"/>
                  </a:lnTo>
                  <a:lnTo>
                    <a:pt x="7" y="14"/>
                  </a:lnTo>
                  <a:lnTo>
                    <a:pt x="7" y="12"/>
                  </a:lnTo>
                  <a:lnTo>
                    <a:pt x="4" y="12"/>
                  </a:lnTo>
                  <a:lnTo>
                    <a:pt x="2" y="12"/>
                  </a:lnTo>
                  <a:lnTo>
                    <a:pt x="0" y="12"/>
                  </a:lnTo>
                  <a:lnTo>
                    <a:pt x="2" y="9"/>
                  </a:lnTo>
                  <a:lnTo>
                    <a:pt x="2" y="7"/>
                  </a:lnTo>
                  <a:lnTo>
                    <a:pt x="4" y="7"/>
                  </a:lnTo>
                  <a:lnTo>
                    <a:pt x="4" y="9"/>
                  </a:lnTo>
                  <a:lnTo>
                    <a:pt x="7" y="9"/>
                  </a:lnTo>
                  <a:lnTo>
                    <a:pt x="7" y="7"/>
                  </a:lnTo>
                  <a:lnTo>
                    <a:pt x="4" y="7"/>
                  </a:lnTo>
                  <a:lnTo>
                    <a:pt x="4" y="5"/>
                  </a:lnTo>
                  <a:lnTo>
                    <a:pt x="7" y="5"/>
                  </a:lnTo>
                  <a:lnTo>
                    <a:pt x="9" y="5"/>
                  </a:lnTo>
                  <a:lnTo>
                    <a:pt x="12" y="7"/>
                  </a:lnTo>
                  <a:lnTo>
                    <a:pt x="14" y="7"/>
                  </a:lnTo>
                  <a:lnTo>
                    <a:pt x="14" y="5"/>
                  </a:lnTo>
                  <a:lnTo>
                    <a:pt x="16" y="5"/>
                  </a:lnTo>
                  <a:lnTo>
                    <a:pt x="16" y="2"/>
                  </a:lnTo>
                  <a:lnTo>
                    <a:pt x="16" y="5"/>
                  </a:lnTo>
                  <a:lnTo>
                    <a:pt x="16" y="7"/>
                  </a:lnTo>
                  <a:lnTo>
                    <a:pt x="19" y="7"/>
                  </a:lnTo>
                  <a:lnTo>
                    <a:pt x="19" y="5"/>
                  </a:lnTo>
                  <a:lnTo>
                    <a:pt x="19" y="7"/>
                  </a:lnTo>
                  <a:lnTo>
                    <a:pt x="19" y="5"/>
                  </a:lnTo>
                  <a:lnTo>
                    <a:pt x="21" y="5"/>
                  </a:lnTo>
                  <a:lnTo>
                    <a:pt x="21" y="7"/>
                  </a:lnTo>
                  <a:lnTo>
                    <a:pt x="23" y="7"/>
                  </a:lnTo>
                  <a:lnTo>
                    <a:pt x="23" y="5"/>
                  </a:lnTo>
                  <a:lnTo>
                    <a:pt x="23" y="2"/>
                  </a:lnTo>
                  <a:lnTo>
                    <a:pt x="26" y="2"/>
                  </a:lnTo>
                  <a:lnTo>
                    <a:pt x="26" y="5"/>
                  </a:lnTo>
                  <a:lnTo>
                    <a:pt x="28" y="5"/>
                  </a:lnTo>
                  <a:lnTo>
                    <a:pt x="28" y="2"/>
                  </a:lnTo>
                  <a:lnTo>
                    <a:pt x="31" y="2"/>
                  </a:lnTo>
                  <a:lnTo>
                    <a:pt x="33" y="2"/>
                  </a:lnTo>
                  <a:lnTo>
                    <a:pt x="33" y="0"/>
                  </a:lnTo>
                  <a:lnTo>
                    <a:pt x="33" y="2"/>
                  </a:lnTo>
                  <a:lnTo>
                    <a:pt x="35"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7" name="Freeform 52495"/>
            <p:cNvSpPr>
              <a:spLocks/>
            </p:cNvSpPr>
            <p:nvPr/>
          </p:nvSpPr>
          <p:spPr bwMode="auto">
            <a:xfrm>
              <a:off x="2412998" y="5168918"/>
              <a:ext cx="4763" cy="3175"/>
            </a:xfrm>
            <a:custGeom>
              <a:avLst/>
              <a:gdLst>
                <a:gd name="T0" fmla="*/ 3 w 3"/>
                <a:gd name="T1" fmla="*/ 0 h 2"/>
                <a:gd name="T2" fmla="*/ 3 w 3"/>
                <a:gd name="T3" fmla="*/ 0 h 2"/>
                <a:gd name="T4" fmla="*/ 3 w 3"/>
                <a:gd name="T5" fmla="*/ 0 h 2"/>
                <a:gd name="T6" fmla="*/ 3 w 3"/>
                <a:gd name="T7" fmla="*/ 0 h 2"/>
                <a:gd name="T8" fmla="*/ 3 w 3"/>
                <a:gd name="T9" fmla="*/ 2 h 2"/>
                <a:gd name="T10" fmla="*/ 3 w 3"/>
                <a:gd name="T11" fmla="*/ 2 h 2"/>
                <a:gd name="T12" fmla="*/ 3 w 3"/>
                <a:gd name="T13" fmla="*/ 2 h 2"/>
                <a:gd name="T14" fmla="*/ 3 w 3"/>
                <a:gd name="T15" fmla="*/ 2 h 2"/>
                <a:gd name="T16" fmla="*/ 3 w 3"/>
                <a:gd name="T17" fmla="*/ 2 h 2"/>
                <a:gd name="T18" fmla="*/ 3 w 3"/>
                <a:gd name="T19" fmla="*/ 2 h 2"/>
                <a:gd name="T20" fmla="*/ 3 w 3"/>
                <a:gd name="T21" fmla="*/ 2 h 2"/>
                <a:gd name="T22" fmla="*/ 3 w 3"/>
                <a:gd name="T23" fmla="*/ 2 h 2"/>
                <a:gd name="T24" fmla="*/ 0 w 3"/>
                <a:gd name="T25" fmla="*/ 2 h 2"/>
                <a:gd name="T26" fmla="*/ 0 w 3"/>
                <a:gd name="T27" fmla="*/ 2 h 2"/>
                <a:gd name="T28" fmla="*/ 0 w 3"/>
                <a:gd name="T29" fmla="*/ 2 h 2"/>
                <a:gd name="T30" fmla="*/ 0 w 3"/>
                <a:gd name="T31" fmla="*/ 2 h 2"/>
                <a:gd name="T32" fmla="*/ 3 w 3"/>
                <a:gd name="T33" fmla="*/ 0 h 2"/>
                <a:gd name="T34" fmla="*/ 3 w 3"/>
                <a:gd name="T35" fmla="*/ 0 h 2"/>
                <a:gd name="T36" fmla="*/ 3 w 3"/>
                <a:gd name="T37" fmla="*/ 0 h 2"/>
                <a:gd name="T38" fmla="*/ 3 w 3"/>
                <a:gd name="T39" fmla="*/ 0 h 2"/>
                <a:gd name="T40" fmla="*/ 3 w 3"/>
                <a:gd name="T41" fmla="*/ 0 h 2"/>
                <a:gd name="T42" fmla="*/ 3 w 3"/>
                <a:gd name="T43" fmla="*/ 0 h 2"/>
                <a:gd name="T44" fmla="*/ 3 w 3"/>
                <a:gd name="T45" fmla="*/ 0 h 2"/>
                <a:gd name="T46" fmla="*/ 3 w 3"/>
                <a:gd name="T47" fmla="*/ 0 h 2"/>
                <a:gd name="T48" fmla="*/ 3 w 3"/>
                <a:gd name="T49" fmla="*/ 0 h 2"/>
                <a:gd name="T50" fmla="*/ 3 w 3"/>
                <a:gd name="T5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2">
                  <a:moveTo>
                    <a:pt x="3" y="0"/>
                  </a:moveTo>
                  <a:lnTo>
                    <a:pt x="3" y="0"/>
                  </a:lnTo>
                  <a:lnTo>
                    <a:pt x="3" y="0"/>
                  </a:lnTo>
                  <a:lnTo>
                    <a:pt x="3" y="0"/>
                  </a:lnTo>
                  <a:lnTo>
                    <a:pt x="3" y="2"/>
                  </a:lnTo>
                  <a:lnTo>
                    <a:pt x="3" y="2"/>
                  </a:lnTo>
                  <a:lnTo>
                    <a:pt x="3" y="2"/>
                  </a:lnTo>
                  <a:lnTo>
                    <a:pt x="3" y="2"/>
                  </a:lnTo>
                  <a:lnTo>
                    <a:pt x="3" y="2"/>
                  </a:lnTo>
                  <a:lnTo>
                    <a:pt x="3" y="2"/>
                  </a:lnTo>
                  <a:lnTo>
                    <a:pt x="3" y="2"/>
                  </a:lnTo>
                  <a:lnTo>
                    <a:pt x="3" y="2"/>
                  </a:lnTo>
                  <a:lnTo>
                    <a:pt x="0" y="2"/>
                  </a:lnTo>
                  <a:lnTo>
                    <a:pt x="0" y="2"/>
                  </a:lnTo>
                  <a:lnTo>
                    <a:pt x="0" y="2"/>
                  </a:lnTo>
                  <a:lnTo>
                    <a:pt x="0" y="2"/>
                  </a:lnTo>
                  <a:lnTo>
                    <a:pt x="3" y="0"/>
                  </a:lnTo>
                  <a:lnTo>
                    <a:pt x="3" y="0"/>
                  </a:lnTo>
                  <a:lnTo>
                    <a:pt x="3" y="0"/>
                  </a:lnTo>
                  <a:lnTo>
                    <a:pt x="3" y="0"/>
                  </a:ln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8" name="Freeform 52496"/>
            <p:cNvSpPr>
              <a:spLocks/>
            </p:cNvSpPr>
            <p:nvPr/>
          </p:nvSpPr>
          <p:spPr bwMode="auto">
            <a:xfrm>
              <a:off x="2994022" y="5184793"/>
              <a:ext cx="96838" cy="123825"/>
            </a:xfrm>
            <a:custGeom>
              <a:avLst/>
              <a:gdLst>
                <a:gd name="T0" fmla="*/ 28 w 61"/>
                <a:gd name="T1" fmla="*/ 4 h 78"/>
                <a:gd name="T2" fmla="*/ 33 w 61"/>
                <a:gd name="T3" fmla="*/ 7 h 78"/>
                <a:gd name="T4" fmla="*/ 35 w 61"/>
                <a:gd name="T5" fmla="*/ 14 h 78"/>
                <a:gd name="T6" fmla="*/ 40 w 61"/>
                <a:gd name="T7" fmla="*/ 16 h 78"/>
                <a:gd name="T8" fmla="*/ 45 w 61"/>
                <a:gd name="T9" fmla="*/ 19 h 78"/>
                <a:gd name="T10" fmla="*/ 49 w 61"/>
                <a:gd name="T11" fmla="*/ 21 h 78"/>
                <a:gd name="T12" fmla="*/ 52 w 61"/>
                <a:gd name="T13" fmla="*/ 26 h 78"/>
                <a:gd name="T14" fmla="*/ 57 w 61"/>
                <a:gd name="T15" fmla="*/ 28 h 78"/>
                <a:gd name="T16" fmla="*/ 61 w 61"/>
                <a:gd name="T17" fmla="*/ 33 h 78"/>
                <a:gd name="T18" fmla="*/ 57 w 61"/>
                <a:gd name="T19" fmla="*/ 38 h 78"/>
                <a:gd name="T20" fmla="*/ 52 w 61"/>
                <a:gd name="T21" fmla="*/ 35 h 78"/>
                <a:gd name="T22" fmla="*/ 52 w 61"/>
                <a:gd name="T23" fmla="*/ 40 h 78"/>
                <a:gd name="T24" fmla="*/ 54 w 61"/>
                <a:gd name="T25" fmla="*/ 47 h 78"/>
                <a:gd name="T26" fmla="*/ 49 w 61"/>
                <a:gd name="T27" fmla="*/ 47 h 78"/>
                <a:gd name="T28" fmla="*/ 45 w 61"/>
                <a:gd name="T29" fmla="*/ 49 h 78"/>
                <a:gd name="T30" fmla="*/ 42 w 61"/>
                <a:gd name="T31" fmla="*/ 45 h 78"/>
                <a:gd name="T32" fmla="*/ 42 w 61"/>
                <a:gd name="T33" fmla="*/ 42 h 78"/>
                <a:gd name="T34" fmla="*/ 38 w 61"/>
                <a:gd name="T35" fmla="*/ 47 h 78"/>
                <a:gd name="T36" fmla="*/ 35 w 61"/>
                <a:gd name="T37" fmla="*/ 52 h 78"/>
                <a:gd name="T38" fmla="*/ 30 w 61"/>
                <a:gd name="T39" fmla="*/ 54 h 78"/>
                <a:gd name="T40" fmla="*/ 28 w 61"/>
                <a:gd name="T41" fmla="*/ 61 h 78"/>
                <a:gd name="T42" fmla="*/ 30 w 61"/>
                <a:gd name="T43" fmla="*/ 66 h 78"/>
                <a:gd name="T44" fmla="*/ 30 w 61"/>
                <a:gd name="T45" fmla="*/ 73 h 78"/>
                <a:gd name="T46" fmla="*/ 28 w 61"/>
                <a:gd name="T47" fmla="*/ 76 h 78"/>
                <a:gd name="T48" fmla="*/ 28 w 61"/>
                <a:gd name="T49" fmla="*/ 78 h 78"/>
                <a:gd name="T50" fmla="*/ 23 w 61"/>
                <a:gd name="T51" fmla="*/ 76 h 78"/>
                <a:gd name="T52" fmla="*/ 23 w 61"/>
                <a:gd name="T53" fmla="*/ 73 h 78"/>
                <a:gd name="T54" fmla="*/ 23 w 61"/>
                <a:gd name="T55" fmla="*/ 71 h 78"/>
                <a:gd name="T56" fmla="*/ 21 w 61"/>
                <a:gd name="T57" fmla="*/ 71 h 78"/>
                <a:gd name="T58" fmla="*/ 23 w 61"/>
                <a:gd name="T59" fmla="*/ 71 h 78"/>
                <a:gd name="T60" fmla="*/ 21 w 61"/>
                <a:gd name="T61" fmla="*/ 66 h 78"/>
                <a:gd name="T62" fmla="*/ 19 w 61"/>
                <a:gd name="T63" fmla="*/ 66 h 78"/>
                <a:gd name="T64" fmla="*/ 16 w 61"/>
                <a:gd name="T65" fmla="*/ 61 h 78"/>
                <a:gd name="T66" fmla="*/ 11 w 61"/>
                <a:gd name="T67" fmla="*/ 59 h 78"/>
                <a:gd name="T68" fmla="*/ 7 w 61"/>
                <a:gd name="T69" fmla="*/ 57 h 78"/>
                <a:gd name="T70" fmla="*/ 7 w 61"/>
                <a:gd name="T71" fmla="*/ 54 h 78"/>
                <a:gd name="T72" fmla="*/ 4 w 61"/>
                <a:gd name="T73" fmla="*/ 52 h 78"/>
                <a:gd name="T74" fmla="*/ 9 w 61"/>
                <a:gd name="T75" fmla="*/ 54 h 78"/>
                <a:gd name="T76" fmla="*/ 7 w 61"/>
                <a:gd name="T77" fmla="*/ 52 h 78"/>
                <a:gd name="T78" fmla="*/ 9 w 61"/>
                <a:gd name="T79" fmla="*/ 52 h 78"/>
                <a:gd name="T80" fmla="*/ 7 w 61"/>
                <a:gd name="T81" fmla="*/ 47 h 78"/>
                <a:gd name="T82" fmla="*/ 4 w 61"/>
                <a:gd name="T83" fmla="*/ 52 h 78"/>
                <a:gd name="T84" fmla="*/ 2 w 61"/>
                <a:gd name="T85" fmla="*/ 52 h 78"/>
                <a:gd name="T86" fmla="*/ 0 w 61"/>
                <a:gd name="T87" fmla="*/ 52 h 78"/>
                <a:gd name="T88" fmla="*/ 2 w 61"/>
                <a:gd name="T89" fmla="*/ 42 h 78"/>
                <a:gd name="T90" fmla="*/ 2 w 61"/>
                <a:gd name="T91" fmla="*/ 40 h 78"/>
                <a:gd name="T92" fmla="*/ 0 w 61"/>
                <a:gd name="T93" fmla="*/ 35 h 78"/>
                <a:gd name="T94" fmla="*/ 2 w 61"/>
                <a:gd name="T95" fmla="*/ 28 h 78"/>
                <a:gd name="T96" fmla="*/ 7 w 61"/>
                <a:gd name="T97" fmla="*/ 23 h 78"/>
                <a:gd name="T98" fmla="*/ 7 w 61"/>
                <a:gd name="T99" fmla="*/ 16 h 78"/>
                <a:gd name="T100" fmla="*/ 11 w 61"/>
                <a:gd name="T101" fmla="*/ 11 h 78"/>
                <a:gd name="T102" fmla="*/ 16 w 61"/>
                <a:gd name="T103" fmla="*/ 9 h 78"/>
                <a:gd name="T104" fmla="*/ 19 w 61"/>
                <a:gd name="T105" fmla="*/ 14 h 78"/>
                <a:gd name="T106" fmla="*/ 21 w 61"/>
                <a:gd name="T107" fmla="*/ 9 h 78"/>
                <a:gd name="T108" fmla="*/ 19 w 61"/>
                <a:gd name="T109" fmla="*/ 4 h 78"/>
                <a:gd name="T110" fmla="*/ 16 w 61"/>
                <a:gd name="T111" fmla="*/ 0 h 78"/>
                <a:gd name="T112" fmla="*/ 21 w 61"/>
                <a:gd name="T113"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78">
                  <a:moveTo>
                    <a:pt x="26" y="2"/>
                  </a:moveTo>
                  <a:lnTo>
                    <a:pt x="26" y="4"/>
                  </a:lnTo>
                  <a:lnTo>
                    <a:pt x="28" y="4"/>
                  </a:lnTo>
                  <a:lnTo>
                    <a:pt x="28" y="7"/>
                  </a:lnTo>
                  <a:lnTo>
                    <a:pt x="30" y="7"/>
                  </a:lnTo>
                  <a:lnTo>
                    <a:pt x="33" y="7"/>
                  </a:lnTo>
                  <a:lnTo>
                    <a:pt x="33" y="9"/>
                  </a:lnTo>
                  <a:lnTo>
                    <a:pt x="35" y="11"/>
                  </a:lnTo>
                  <a:lnTo>
                    <a:pt x="35" y="14"/>
                  </a:lnTo>
                  <a:lnTo>
                    <a:pt x="38" y="14"/>
                  </a:lnTo>
                  <a:lnTo>
                    <a:pt x="38" y="16"/>
                  </a:lnTo>
                  <a:lnTo>
                    <a:pt x="40" y="16"/>
                  </a:lnTo>
                  <a:lnTo>
                    <a:pt x="40" y="19"/>
                  </a:lnTo>
                  <a:lnTo>
                    <a:pt x="42" y="19"/>
                  </a:lnTo>
                  <a:lnTo>
                    <a:pt x="45" y="19"/>
                  </a:lnTo>
                  <a:lnTo>
                    <a:pt x="47" y="19"/>
                  </a:lnTo>
                  <a:lnTo>
                    <a:pt x="49" y="19"/>
                  </a:lnTo>
                  <a:lnTo>
                    <a:pt x="49" y="21"/>
                  </a:lnTo>
                  <a:lnTo>
                    <a:pt x="49" y="23"/>
                  </a:lnTo>
                  <a:lnTo>
                    <a:pt x="52" y="23"/>
                  </a:lnTo>
                  <a:lnTo>
                    <a:pt x="52" y="26"/>
                  </a:lnTo>
                  <a:lnTo>
                    <a:pt x="54" y="28"/>
                  </a:lnTo>
                  <a:lnTo>
                    <a:pt x="57" y="26"/>
                  </a:lnTo>
                  <a:lnTo>
                    <a:pt x="57" y="28"/>
                  </a:lnTo>
                  <a:lnTo>
                    <a:pt x="59" y="28"/>
                  </a:lnTo>
                  <a:lnTo>
                    <a:pt x="61" y="30"/>
                  </a:lnTo>
                  <a:lnTo>
                    <a:pt x="61" y="33"/>
                  </a:lnTo>
                  <a:lnTo>
                    <a:pt x="59" y="35"/>
                  </a:lnTo>
                  <a:lnTo>
                    <a:pt x="59" y="38"/>
                  </a:lnTo>
                  <a:lnTo>
                    <a:pt x="57" y="38"/>
                  </a:lnTo>
                  <a:lnTo>
                    <a:pt x="54" y="38"/>
                  </a:lnTo>
                  <a:lnTo>
                    <a:pt x="54" y="35"/>
                  </a:lnTo>
                  <a:lnTo>
                    <a:pt x="52" y="35"/>
                  </a:lnTo>
                  <a:lnTo>
                    <a:pt x="49" y="38"/>
                  </a:lnTo>
                  <a:lnTo>
                    <a:pt x="49" y="40"/>
                  </a:lnTo>
                  <a:lnTo>
                    <a:pt x="52" y="40"/>
                  </a:lnTo>
                  <a:lnTo>
                    <a:pt x="52" y="42"/>
                  </a:lnTo>
                  <a:lnTo>
                    <a:pt x="54" y="45"/>
                  </a:lnTo>
                  <a:lnTo>
                    <a:pt x="54" y="47"/>
                  </a:lnTo>
                  <a:lnTo>
                    <a:pt x="52" y="45"/>
                  </a:lnTo>
                  <a:lnTo>
                    <a:pt x="52" y="47"/>
                  </a:lnTo>
                  <a:lnTo>
                    <a:pt x="49" y="47"/>
                  </a:lnTo>
                  <a:lnTo>
                    <a:pt x="47" y="47"/>
                  </a:lnTo>
                  <a:lnTo>
                    <a:pt x="47" y="49"/>
                  </a:lnTo>
                  <a:lnTo>
                    <a:pt x="45" y="49"/>
                  </a:lnTo>
                  <a:lnTo>
                    <a:pt x="42" y="49"/>
                  </a:lnTo>
                  <a:lnTo>
                    <a:pt x="42" y="47"/>
                  </a:lnTo>
                  <a:lnTo>
                    <a:pt x="42" y="45"/>
                  </a:lnTo>
                  <a:lnTo>
                    <a:pt x="42" y="42"/>
                  </a:lnTo>
                  <a:lnTo>
                    <a:pt x="42" y="40"/>
                  </a:lnTo>
                  <a:lnTo>
                    <a:pt x="42" y="42"/>
                  </a:lnTo>
                  <a:lnTo>
                    <a:pt x="40" y="42"/>
                  </a:lnTo>
                  <a:lnTo>
                    <a:pt x="38" y="45"/>
                  </a:lnTo>
                  <a:lnTo>
                    <a:pt x="38" y="47"/>
                  </a:lnTo>
                  <a:lnTo>
                    <a:pt x="35" y="47"/>
                  </a:lnTo>
                  <a:lnTo>
                    <a:pt x="35" y="49"/>
                  </a:lnTo>
                  <a:lnTo>
                    <a:pt x="35" y="52"/>
                  </a:lnTo>
                  <a:lnTo>
                    <a:pt x="33" y="52"/>
                  </a:lnTo>
                  <a:lnTo>
                    <a:pt x="33" y="54"/>
                  </a:lnTo>
                  <a:lnTo>
                    <a:pt x="30" y="54"/>
                  </a:lnTo>
                  <a:lnTo>
                    <a:pt x="30" y="57"/>
                  </a:lnTo>
                  <a:lnTo>
                    <a:pt x="30" y="59"/>
                  </a:lnTo>
                  <a:lnTo>
                    <a:pt x="28" y="61"/>
                  </a:lnTo>
                  <a:lnTo>
                    <a:pt x="26" y="64"/>
                  </a:lnTo>
                  <a:lnTo>
                    <a:pt x="28" y="64"/>
                  </a:lnTo>
                  <a:lnTo>
                    <a:pt x="30" y="66"/>
                  </a:lnTo>
                  <a:lnTo>
                    <a:pt x="30" y="68"/>
                  </a:lnTo>
                  <a:lnTo>
                    <a:pt x="30" y="71"/>
                  </a:lnTo>
                  <a:lnTo>
                    <a:pt x="30" y="73"/>
                  </a:lnTo>
                  <a:lnTo>
                    <a:pt x="28" y="73"/>
                  </a:lnTo>
                  <a:lnTo>
                    <a:pt x="30" y="76"/>
                  </a:lnTo>
                  <a:lnTo>
                    <a:pt x="28" y="76"/>
                  </a:lnTo>
                  <a:lnTo>
                    <a:pt x="30" y="76"/>
                  </a:lnTo>
                  <a:lnTo>
                    <a:pt x="30" y="78"/>
                  </a:lnTo>
                  <a:lnTo>
                    <a:pt x="28" y="78"/>
                  </a:lnTo>
                  <a:lnTo>
                    <a:pt x="28" y="76"/>
                  </a:lnTo>
                  <a:lnTo>
                    <a:pt x="26" y="76"/>
                  </a:lnTo>
                  <a:lnTo>
                    <a:pt x="23" y="76"/>
                  </a:lnTo>
                  <a:lnTo>
                    <a:pt x="23" y="73"/>
                  </a:lnTo>
                  <a:lnTo>
                    <a:pt x="21" y="73"/>
                  </a:lnTo>
                  <a:lnTo>
                    <a:pt x="23" y="73"/>
                  </a:lnTo>
                  <a:lnTo>
                    <a:pt x="23" y="71"/>
                  </a:lnTo>
                  <a:lnTo>
                    <a:pt x="21" y="71"/>
                  </a:lnTo>
                  <a:lnTo>
                    <a:pt x="23" y="71"/>
                  </a:lnTo>
                  <a:lnTo>
                    <a:pt x="21" y="71"/>
                  </a:lnTo>
                  <a:lnTo>
                    <a:pt x="23" y="71"/>
                  </a:lnTo>
                  <a:lnTo>
                    <a:pt x="21" y="71"/>
                  </a:lnTo>
                  <a:lnTo>
                    <a:pt x="23" y="71"/>
                  </a:lnTo>
                  <a:lnTo>
                    <a:pt x="21" y="71"/>
                  </a:lnTo>
                  <a:lnTo>
                    <a:pt x="23" y="71"/>
                  </a:lnTo>
                  <a:lnTo>
                    <a:pt x="23" y="68"/>
                  </a:lnTo>
                  <a:lnTo>
                    <a:pt x="21" y="68"/>
                  </a:lnTo>
                  <a:lnTo>
                    <a:pt x="21" y="66"/>
                  </a:lnTo>
                  <a:lnTo>
                    <a:pt x="21" y="68"/>
                  </a:lnTo>
                  <a:lnTo>
                    <a:pt x="21" y="66"/>
                  </a:lnTo>
                  <a:lnTo>
                    <a:pt x="19" y="66"/>
                  </a:lnTo>
                  <a:lnTo>
                    <a:pt x="19" y="64"/>
                  </a:lnTo>
                  <a:lnTo>
                    <a:pt x="16" y="64"/>
                  </a:lnTo>
                  <a:lnTo>
                    <a:pt x="16" y="61"/>
                  </a:lnTo>
                  <a:lnTo>
                    <a:pt x="14" y="61"/>
                  </a:lnTo>
                  <a:lnTo>
                    <a:pt x="14" y="59"/>
                  </a:lnTo>
                  <a:lnTo>
                    <a:pt x="11" y="59"/>
                  </a:lnTo>
                  <a:lnTo>
                    <a:pt x="9" y="59"/>
                  </a:lnTo>
                  <a:lnTo>
                    <a:pt x="9" y="57"/>
                  </a:lnTo>
                  <a:lnTo>
                    <a:pt x="7" y="57"/>
                  </a:lnTo>
                  <a:lnTo>
                    <a:pt x="9" y="57"/>
                  </a:lnTo>
                  <a:lnTo>
                    <a:pt x="7" y="57"/>
                  </a:lnTo>
                  <a:lnTo>
                    <a:pt x="7" y="54"/>
                  </a:lnTo>
                  <a:lnTo>
                    <a:pt x="4" y="54"/>
                  </a:lnTo>
                  <a:lnTo>
                    <a:pt x="2" y="52"/>
                  </a:lnTo>
                  <a:lnTo>
                    <a:pt x="4" y="52"/>
                  </a:lnTo>
                  <a:lnTo>
                    <a:pt x="7" y="52"/>
                  </a:lnTo>
                  <a:lnTo>
                    <a:pt x="7" y="54"/>
                  </a:lnTo>
                  <a:lnTo>
                    <a:pt x="9" y="54"/>
                  </a:lnTo>
                  <a:lnTo>
                    <a:pt x="7" y="52"/>
                  </a:lnTo>
                  <a:lnTo>
                    <a:pt x="9" y="52"/>
                  </a:lnTo>
                  <a:lnTo>
                    <a:pt x="7" y="52"/>
                  </a:lnTo>
                  <a:lnTo>
                    <a:pt x="7" y="49"/>
                  </a:lnTo>
                  <a:lnTo>
                    <a:pt x="9" y="49"/>
                  </a:lnTo>
                  <a:lnTo>
                    <a:pt x="9" y="52"/>
                  </a:lnTo>
                  <a:lnTo>
                    <a:pt x="9" y="49"/>
                  </a:lnTo>
                  <a:lnTo>
                    <a:pt x="7" y="49"/>
                  </a:lnTo>
                  <a:lnTo>
                    <a:pt x="7" y="47"/>
                  </a:lnTo>
                  <a:lnTo>
                    <a:pt x="7" y="49"/>
                  </a:lnTo>
                  <a:lnTo>
                    <a:pt x="7" y="52"/>
                  </a:lnTo>
                  <a:lnTo>
                    <a:pt x="4" y="52"/>
                  </a:lnTo>
                  <a:lnTo>
                    <a:pt x="4" y="49"/>
                  </a:lnTo>
                  <a:lnTo>
                    <a:pt x="2" y="49"/>
                  </a:lnTo>
                  <a:lnTo>
                    <a:pt x="2" y="52"/>
                  </a:lnTo>
                  <a:lnTo>
                    <a:pt x="2" y="49"/>
                  </a:lnTo>
                  <a:lnTo>
                    <a:pt x="2" y="52"/>
                  </a:lnTo>
                  <a:lnTo>
                    <a:pt x="0" y="52"/>
                  </a:lnTo>
                  <a:lnTo>
                    <a:pt x="0" y="49"/>
                  </a:lnTo>
                  <a:lnTo>
                    <a:pt x="0" y="45"/>
                  </a:lnTo>
                  <a:lnTo>
                    <a:pt x="2" y="42"/>
                  </a:lnTo>
                  <a:lnTo>
                    <a:pt x="4" y="42"/>
                  </a:lnTo>
                  <a:lnTo>
                    <a:pt x="4" y="40"/>
                  </a:lnTo>
                  <a:lnTo>
                    <a:pt x="2" y="40"/>
                  </a:lnTo>
                  <a:lnTo>
                    <a:pt x="2" y="38"/>
                  </a:lnTo>
                  <a:lnTo>
                    <a:pt x="0" y="38"/>
                  </a:lnTo>
                  <a:lnTo>
                    <a:pt x="0" y="35"/>
                  </a:lnTo>
                  <a:lnTo>
                    <a:pt x="0" y="33"/>
                  </a:lnTo>
                  <a:lnTo>
                    <a:pt x="2" y="30"/>
                  </a:lnTo>
                  <a:lnTo>
                    <a:pt x="2" y="28"/>
                  </a:lnTo>
                  <a:lnTo>
                    <a:pt x="2" y="26"/>
                  </a:lnTo>
                  <a:lnTo>
                    <a:pt x="4" y="23"/>
                  </a:lnTo>
                  <a:lnTo>
                    <a:pt x="7" y="23"/>
                  </a:lnTo>
                  <a:lnTo>
                    <a:pt x="7" y="21"/>
                  </a:lnTo>
                  <a:lnTo>
                    <a:pt x="7" y="19"/>
                  </a:lnTo>
                  <a:lnTo>
                    <a:pt x="7" y="16"/>
                  </a:lnTo>
                  <a:lnTo>
                    <a:pt x="7" y="14"/>
                  </a:lnTo>
                  <a:lnTo>
                    <a:pt x="9" y="11"/>
                  </a:lnTo>
                  <a:lnTo>
                    <a:pt x="11" y="11"/>
                  </a:lnTo>
                  <a:lnTo>
                    <a:pt x="11" y="9"/>
                  </a:lnTo>
                  <a:lnTo>
                    <a:pt x="14" y="9"/>
                  </a:lnTo>
                  <a:lnTo>
                    <a:pt x="16" y="9"/>
                  </a:lnTo>
                  <a:lnTo>
                    <a:pt x="16" y="11"/>
                  </a:lnTo>
                  <a:lnTo>
                    <a:pt x="16" y="14"/>
                  </a:lnTo>
                  <a:lnTo>
                    <a:pt x="19" y="14"/>
                  </a:lnTo>
                  <a:lnTo>
                    <a:pt x="19" y="11"/>
                  </a:lnTo>
                  <a:lnTo>
                    <a:pt x="21" y="11"/>
                  </a:lnTo>
                  <a:lnTo>
                    <a:pt x="21" y="9"/>
                  </a:lnTo>
                  <a:lnTo>
                    <a:pt x="19" y="9"/>
                  </a:lnTo>
                  <a:lnTo>
                    <a:pt x="19" y="7"/>
                  </a:lnTo>
                  <a:lnTo>
                    <a:pt x="19" y="4"/>
                  </a:lnTo>
                  <a:lnTo>
                    <a:pt x="16" y="4"/>
                  </a:lnTo>
                  <a:lnTo>
                    <a:pt x="16" y="2"/>
                  </a:lnTo>
                  <a:lnTo>
                    <a:pt x="16" y="0"/>
                  </a:lnTo>
                  <a:lnTo>
                    <a:pt x="19" y="0"/>
                  </a:lnTo>
                  <a:lnTo>
                    <a:pt x="19" y="2"/>
                  </a:lnTo>
                  <a:lnTo>
                    <a:pt x="21" y="2"/>
                  </a:lnTo>
                  <a:lnTo>
                    <a:pt x="23" y="2"/>
                  </a:lnTo>
                  <a:lnTo>
                    <a:pt x="2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9" name="Freeform 52497"/>
            <p:cNvSpPr>
              <a:spLocks/>
            </p:cNvSpPr>
            <p:nvPr/>
          </p:nvSpPr>
          <p:spPr bwMode="auto">
            <a:xfrm>
              <a:off x="3011485" y="5278455"/>
              <a:ext cx="4763" cy="0"/>
            </a:xfrm>
            <a:custGeom>
              <a:avLst/>
              <a:gdLst>
                <a:gd name="T0" fmla="*/ 3 w 3"/>
                <a:gd name="T1" fmla="*/ 3 w 3"/>
                <a:gd name="T2" fmla="*/ 0 w 3"/>
                <a:gd name="T3" fmla="*/ 0 w 3"/>
                <a:gd name="T4" fmla="*/ 0 w 3"/>
                <a:gd name="T5" fmla="*/ 0 w 3"/>
                <a:gd name="T6" fmla="*/ 0 w 3"/>
                <a:gd name="T7" fmla="*/ 3 w 3"/>
                <a:gd name="T8"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3" y="0"/>
                  </a:moveTo>
                  <a:lnTo>
                    <a:pt x="3" y="0"/>
                  </a:lnTo>
                  <a:lnTo>
                    <a:pt x="0" y="0"/>
                  </a:lnTo>
                  <a:lnTo>
                    <a:pt x="0" y="0"/>
                  </a:lnTo>
                  <a:lnTo>
                    <a:pt x="0" y="0"/>
                  </a:lnTo>
                  <a:lnTo>
                    <a:pt x="0" y="0"/>
                  </a:lnTo>
                  <a:lnTo>
                    <a:pt x="0"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0" name="Freeform 52498"/>
            <p:cNvSpPr>
              <a:spLocks noEditPoints="1"/>
            </p:cNvSpPr>
            <p:nvPr/>
          </p:nvSpPr>
          <p:spPr bwMode="auto">
            <a:xfrm>
              <a:off x="2997198" y="5267344"/>
              <a:ext cx="30163" cy="30163"/>
            </a:xfrm>
            <a:custGeom>
              <a:avLst/>
              <a:gdLst>
                <a:gd name="T0" fmla="*/ 19 w 19"/>
                <a:gd name="T1" fmla="*/ 19 h 19"/>
                <a:gd name="T2" fmla="*/ 19 w 19"/>
                <a:gd name="T3" fmla="*/ 19 h 19"/>
                <a:gd name="T4" fmla="*/ 19 w 19"/>
                <a:gd name="T5" fmla="*/ 19 h 19"/>
                <a:gd name="T6" fmla="*/ 19 w 19"/>
                <a:gd name="T7" fmla="*/ 19 h 19"/>
                <a:gd name="T8" fmla="*/ 19 w 19"/>
                <a:gd name="T9" fmla="*/ 19 h 19"/>
                <a:gd name="T10" fmla="*/ 19 w 19"/>
                <a:gd name="T11" fmla="*/ 19 h 19"/>
                <a:gd name="T12" fmla="*/ 0 w 19"/>
                <a:gd name="T13" fmla="*/ 2 h 19"/>
                <a:gd name="T14" fmla="*/ 0 w 19"/>
                <a:gd name="T15" fmla="*/ 2 h 19"/>
                <a:gd name="T16" fmla="*/ 0 w 19"/>
                <a:gd name="T17" fmla="*/ 2 h 19"/>
                <a:gd name="T18" fmla="*/ 0 w 19"/>
                <a:gd name="T19" fmla="*/ 2 h 19"/>
                <a:gd name="T20" fmla="*/ 0 w 19"/>
                <a:gd name="T21" fmla="*/ 2 h 19"/>
                <a:gd name="T22" fmla="*/ 5 w 19"/>
                <a:gd name="T23" fmla="*/ 0 h 19"/>
                <a:gd name="T24" fmla="*/ 5 w 19"/>
                <a:gd name="T25" fmla="*/ 0 h 19"/>
                <a:gd name="T26" fmla="*/ 5 w 19"/>
                <a:gd name="T27" fmla="*/ 0 h 19"/>
                <a:gd name="T28" fmla="*/ 5 w 19"/>
                <a:gd name="T29" fmla="*/ 0 h 19"/>
                <a:gd name="T30" fmla="*/ 5 w 19"/>
                <a:gd name="T31" fmla="*/ 0 h 19"/>
                <a:gd name="T32" fmla="*/ 5 w 19"/>
                <a:gd name="T33" fmla="*/ 0 h 19"/>
                <a:gd name="T34" fmla="*/ 5 w 19"/>
                <a:gd name="T35" fmla="*/ 0 h 19"/>
                <a:gd name="T36" fmla="*/ 5 w 19"/>
                <a:gd name="T37" fmla="*/ 0 h 19"/>
                <a:gd name="T38" fmla="*/ 5 w 19"/>
                <a:gd name="T39" fmla="*/ 0 h 19"/>
                <a:gd name="T40" fmla="*/ 5 w 19"/>
                <a:gd name="T41" fmla="*/ 0 h 19"/>
                <a:gd name="T42" fmla="*/ 5 w 19"/>
                <a:gd name="T4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9"/>
                  </a:moveTo>
                  <a:lnTo>
                    <a:pt x="19" y="19"/>
                  </a:lnTo>
                  <a:lnTo>
                    <a:pt x="19" y="19"/>
                  </a:lnTo>
                  <a:lnTo>
                    <a:pt x="19" y="19"/>
                  </a:lnTo>
                  <a:lnTo>
                    <a:pt x="19" y="19"/>
                  </a:lnTo>
                  <a:lnTo>
                    <a:pt x="19" y="19"/>
                  </a:lnTo>
                  <a:close/>
                  <a:moveTo>
                    <a:pt x="0" y="2"/>
                  </a:moveTo>
                  <a:lnTo>
                    <a:pt x="0" y="2"/>
                  </a:lnTo>
                  <a:lnTo>
                    <a:pt x="0" y="2"/>
                  </a:lnTo>
                  <a:lnTo>
                    <a:pt x="0" y="2"/>
                  </a:lnTo>
                  <a:lnTo>
                    <a:pt x="0" y="2"/>
                  </a:lnTo>
                  <a:close/>
                  <a:moveTo>
                    <a:pt x="5" y="0"/>
                  </a:moveTo>
                  <a:lnTo>
                    <a:pt x="5" y="0"/>
                  </a:lnTo>
                  <a:lnTo>
                    <a:pt x="5" y="0"/>
                  </a:lnTo>
                  <a:lnTo>
                    <a:pt x="5" y="0"/>
                  </a:lnTo>
                  <a:lnTo>
                    <a:pt x="5" y="0"/>
                  </a:lnTo>
                  <a:lnTo>
                    <a:pt x="5" y="0"/>
                  </a:lnTo>
                  <a:lnTo>
                    <a:pt x="5" y="0"/>
                  </a:lnTo>
                  <a:lnTo>
                    <a:pt x="5" y="0"/>
                  </a:lnTo>
                  <a:lnTo>
                    <a:pt x="5" y="0"/>
                  </a:lnTo>
                  <a:lnTo>
                    <a:pt x="5" y="0"/>
                  </a:lnTo>
                  <a:lnTo>
                    <a:pt x="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1" name="Freeform 52499"/>
            <p:cNvSpPr>
              <a:spLocks noEditPoints="1"/>
            </p:cNvSpPr>
            <p:nvPr/>
          </p:nvSpPr>
          <p:spPr bwMode="auto">
            <a:xfrm>
              <a:off x="2201860" y="4429140"/>
              <a:ext cx="203200" cy="211138"/>
            </a:xfrm>
            <a:custGeom>
              <a:avLst/>
              <a:gdLst>
                <a:gd name="T0" fmla="*/ 17 w 128"/>
                <a:gd name="T1" fmla="*/ 105 h 133"/>
                <a:gd name="T2" fmla="*/ 26 w 128"/>
                <a:gd name="T3" fmla="*/ 105 h 133"/>
                <a:gd name="T4" fmla="*/ 19 w 128"/>
                <a:gd name="T5" fmla="*/ 112 h 133"/>
                <a:gd name="T6" fmla="*/ 0 w 128"/>
                <a:gd name="T7" fmla="*/ 105 h 133"/>
                <a:gd name="T8" fmla="*/ 29 w 128"/>
                <a:gd name="T9" fmla="*/ 103 h 133"/>
                <a:gd name="T10" fmla="*/ 50 w 128"/>
                <a:gd name="T11" fmla="*/ 84 h 133"/>
                <a:gd name="T12" fmla="*/ 50 w 128"/>
                <a:gd name="T13" fmla="*/ 84 h 133"/>
                <a:gd name="T14" fmla="*/ 29 w 128"/>
                <a:gd name="T15" fmla="*/ 103 h 133"/>
                <a:gd name="T16" fmla="*/ 12 w 128"/>
                <a:gd name="T17" fmla="*/ 100 h 133"/>
                <a:gd name="T18" fmla="*/ 12 w 128"/>
                <a:gd name="T19" fmla="*/ 93 h 133"/>
                <a:gd name="T20" fmla="*/ 12 w 128"/>
                <a:gd name="T21" fmla="*/ 98 h 133"/>
                <a:gd name="T22" fmla="*/ 24 w 128"/>
                <a:gd name="T23" fmla="*/ 100 h 133"/>
                <a:gd name="T24" fmla="*/ 26 w 128"/>
                <a:gd name="T25" fmla="*/ 93 h 133"/>
                <a:gd name="T26" fmla="*/ 24 w 128"/>
                <a:gd name="T27" fmla="*/ 91 h 133"/>
                <a:gd name="T28" fmla="*/ 17 w 128"/>
                <a:gd name="T29" fmla="*/ 86 h 133"/>
                <a:gd name="T30" fmla="*/ 24 w 128"/>
                <a:gd name="T31" fmla="*/ 74 h 133"/>
                <a:gd name="T32" fmla="*/ 34 w 128"/>
                <a:gd name="T33" fmla="*/ 81 h 133"/>
                <a:gd name="T34" fmla="*/ 34 w 128"/>
                <a:gd name="T35" fmla="*/ 88 h 133"/>
                <a:gd name="T36" fmla="*/ 67 w 128"/>
                <a:gd name="T37" fmla="*/ 74 h 133"/>
                <a:gd name="T38" fmla="*/ 55 w 128"/>
                <a:gd name="T39" fmla="*/ 81 h 133"/>
                <a:gd name="T40" fmla="*/ 53 w 128"/>
                <a:gd name="T41" fmla="*/ 74 h 133"/>
                <a:gd name="T42" fmla="*/ 36 w 128"/>
                <a:gd name="T43" fmla="*/ 88 h 133"/>
                <a:gd name="T44" fmla="*/ 50 w 128"/>
                <a:gd name="T45" fmla="*/ 86 h 133"/>
                <a:gd name="T46" fmla="*/ 60 w 128"/>
                <a:gd name="T47" fmla="*/ 84 h 133"/>
                <a:gd name="T48" fmla="*/ 62 w 128"/>
                <a:gd name="T49" fmla="*/ 81 h 133"/>
                <a:gd name="T50" fmla="*/ 60 w 128"/>
                <a:gd name="T51" fmla="*/ 72 h 133"/>
                <a:gd name="T52" fmla="*/ 41 w 128"/>
                <a:gd name="T53" fmla="*/ 76 h 133"/>
                <a:gd name="T54" fmla="*/ 34 w 128"/>
                <a:gd name="T55" fmla="*/ 79 h 133"/>
                <a:gd name="T56" fmla="*/ 26 w 128"/>
                <a:gd name="T57" fmla="*/ 74 h 133"/>
                <a:gd name="T58" fmla="*/ 43 w 128"/>
                <a:gd name="T59" fmla="*/ 50 h 133"/>
                <a:gd name="T60" fmla="*/ 50 w 128"/>
                <a:gd name="T61" fmla="*/ 53 h 133"/>
                <a:gd name="T62" fmla="*/ 62 w 128"/>
                <a:gd name="T63" fmla="*/ 53 h 133"/>
                <a:gd name="T64" fmla="*/ 69 w 128"/>
                <a:gd name="T65" fmla="*/ 46 h 133"/>
                <a:gd name="T66" fmla="*/ 79 w 128"/>
                <a:gd name="T67" fmla="*/ 31 h 133"/>
                <a:gd name="T68" fmla="*/ 67 w 128"/>
                <a:gd name="T69" fmla="*/ 24 h 133"/>
                <a:gd name="T70" fmla="*/ 57 w 128"/>
                <a:gd name="T71" fmla="*/ 29 h 133"/>
                <a:gd name="T72" fmla="*/ 60 w 128"/>
                <a:gd name="T73" fmla="*/ 43 h 133"/>
                <a:gd name="T74" fmla="*/ 57 w 128"/>
                <a:gd name="T75" fmla="*/ 50 h 133"/>
                <a:gd name="T76" fmla="*/ 50 w 128"/>
                <a:gd name="T77" fmla="*/ 53 h 133"/>
                <a:gd name="T78" fmla="*/ 43 w 128"/>
                <a:gd name="T79" fmla="*/ 38 h 133"/>
                <a:gd name="T80" fmla="*/ 50 w 128"/>
                <a:gd name="T81" fmla="*/ 29 h 133"/>
                <a:gd name="T82" fmla="*/ 69 w 128"/>
                <a:gd name="T83" fmla="*/ 15 h 133"/>
                <a:gd name="T84" fmla="*/ 86 w 128"/>
                <a:gd name="T85" fmla="*/ 3 h 133"/>
                <a:gd name="T86" fmla="*/ 114 w 128"/>
                <a:gd name="T87" fmla="*/ 0 h 133"/>
                <a:gd name="T88" fmla="*/ 126 w 128"/>
                <a:gd name="T89" fmla="*/ 10 h 133"/>
                <a:gd name="T90" fmla="*/ 124 w 128"/>
                <a:gd name="T91" fmla="*/ 31 h 133"/>
                <a:gd name="T92" fmla="*/ 112 w 128"/>
                <a:gd name="T93" fmla="*/ 48 h 133"/>
                <a:gd name="T94" fmla="*/ 121 w 128"/>
                <a:gd name="T95" fmla="*/ 62 h 133"/>
                <a:gd name="T96" fmla="*/ 114 w 128"/>
                <a:gd name="T97" fmla="*/ 76 h 133"/>
                <a:gd name="T98" fmla="*/ 100 w 128"/>
                <a:gd name="T99" fmla="*/ 81 h 133"/>
                <a:gd name="T100" fmla="*/ 86 w 128"/>
                <a:gd name="T101" fmla="*/ 84 h 133"/>
                <a:gd name="T102" fmla="*/ 95 w 128"/>
                <a:gd name="T103" fmla="*/ 100 h 133"/>
                <a:gd name="T104" fmla="*/ 91 w 128"/>
                <a:gd name="T105" fmla="*/ 117 h 133"/>
                <a:gd name="T106" fmla="*/ 88 w 128"/>
                <a:gd name="T107" fmla="*/ 126 h 133"/>
                <a:gd name="T108" fmla="*/ 79 w 128"/>
                <a:gd name="T109" fmla="*/ 131 h 133"/>
                <a:gd name="T110" fmla="*/ 83 w 128"/>
                <a:gd name="T111" fmla="*/ 117 h 133"/>
                <a:gd name="T112" fmla="*/ 67 w 128"/>
                <a:gd name="T113" fmla="*/ 107 h 133"/>
                <a:gd name="T114" fmla="*/ 53 w 128"/>
                <a:gd name="T115" fmla="*/ 103 h 133"/>
                <a:gd name="T116" fmla="*/ 43 w 128"/>
                <a:gd name="T117" fmla="*/ 100 h 133"/>
                <a:gd name="T118" fmla="*/ 34 w 128"/>
                <a:gd name="T119" fmla="*/ 103 h 133"/>
                <a:gd name="T120" fmla="*/ 34 w 128"/>
                <a:gd name="T121" fmla="*/ 8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33">
                  <a:moveTo>
                    <a:pt x="17" y="105"/>
                  </a:moveTo>
                  <a:lnTo>
                    <a:pt x="17" y="107"/>
                  </a:lnTo>
                  <a:lnTo>
                    <a:pt x="17" y="105"/>
                  </a:lnTo>
                  <a:lnTo>
                    <a:pt x="15" y="105"/>
                  </a:lnTo>
                  <a:lnTo>
                    <a:pt x="17" y="107"/>
                  </a:lnTo>
                  <a:lnTo>
                    <a:pt x="17" y="110"/>
                  </a:lnTo>
                  <a:lnTo>
                    <a:pt x="15" y="110"/>
                  </a:lnTo>
                  <a:lnTo>
                    <a:pt x="15" y="112"/>
                  </a:lnTo>
                  <a:lnTo>
                    <a:pt x="15" y="110"/>
                  </a:lnTo>
                  <a:lnTo>
                    <a:pt x="17" y="110"/>
                  </a:lnTo>
                  <a:lnTo>
                    <a:pt x="17" y="107"/>
                  </a:lnTo>
                  <a:lnTo>
                    <a:pt x="17" y="105"/>
                  </a:lnTo>
                  <a:lnTo>
                    <a:pt x="15" y="105"/>
                  </a:lnTo>
                  <a:lnTo>
                    <a:pt x="17" y="105"/>
                  </a:lnTo>
                  <a:lnTo>
                    <a:pt x="19" y="105"/>
                  </a:lnTo>
                  <a:lnTo>
                    <a:pt x="19" y="103"/>
                  </a:lnTo>
                  <a:lnTo>
                    <a:pt x="22" y="103"/>
                  </a:lnTo>
                  <a:lnTo>
                    <a:pt x="24" y="103"/>
                  </a:lnTo>
                  <a:lnTo>
                    <a:pt x="24" y="105"/>
                  </a:lnTo>
                  <a:lnTo>
                    <a:pt x="26" y="105"/>
                  </a:lnTo>
                  <a:lnTo>
                    <a:pt x="29" y="105"/>
                  </a:lnTo>
                  <a:lnTo>
                    <a:pt x="26" y="105"/>
                  </a:lnTo>
                  <a:lnTo>
                    <a:pt x="26" y="103"/>
                  </a:lnTo>
                  <a:lnTo>
                    <a:pt x="26" y="105"/>
                  </a:lnTo>
                  <a:lnTo>
                    <a:pt x="29" y="105"/>
                  </a:lnTo>
                  <a:lnTo>
                    <a:pt x="26" y="105"/>
                  </a:lnTo>
                  <a:lnTo>
                    <a:pt x="29" y="105"/>
                  </a:lnTo>
                  <a:lnTo>
                    <a:pt x="29" y="103"/>
                  </a:lnTo>
                  <a:lnTo>
                    <a:pt x="29" y="105"/>
                  </a:lnTo>
                  <a:lnTo>
                    <a:pt x="26" y="107"/>
                  </a:lnTo>
                  <a:lnTo>
                    <a:pt x="24" y="110"/>
                  </a:lnTo>
                  <a:lnTo>
                    <a:pt x="22" y="110"/>
                  </a:lnTo>
                  <a:lnTo>
                    <a:pt x="22" y="112"/>
                  </a:lnTo>
                  <a:lnTo>
                    <a:pt x="19" y="112"/>
                  </a:lnTo>
                  <a:lnTo>
                    <a:pt x="17" y="112"/>
                  </a:lnTo>
                  <a:lnTo>
                    <a:pt x="19" y="112"/>
                  </a:lnTo>
                  <a:lnTo>
                    <a:pt x="17" y="112"/>
                  </a:lnTo>
                  <a:lnTo>
                    <a:pt x="15" y="112"/>
                  </a:lnTo>
                  <a:lnTo>
                    <a:pt x="15" y="110"/>
                  </a:lnTo>
                  <a:lnTo>
                    <a:pt x="12" y="110"/>
                  </a:lnTo>
                  <a:lnTo>
                    <a:pt x="12" y="107"/>
                  </a:lnTo>
                  <a:lnTo>
                    <a:pt x="10" y="107"/>
                  </a:lnTo>
                  <a:lnTo>
                    <a:pt x="7" y="107"/>
                  </a:lnTo>
                  <a:lnTo>
                    <a:pt x="5" y="107"/>
                  </a:lnTo>
                  <a:lnTo>
                    <a:pt x="5" y="110"/>
                  </a:lnTo>
                  <a:lnTo>
                    <a:pt x="3" y="110"/>
                  </a:lnTo>
                  <a:lnTo>
                    <a:pt x="0" y="107"/>
                  </a:lnTo>
                  <a:lnTo>
                    <a:pt x="0" y="105"/>
                  </a:lnTo>
                  <a:lnTo>
                    <a:pt x="0" y="103"/>
                  </a:lnTo>
                  <a:lnTo>
                    <a:pt x="3" y="103"/>
                  </a:lnTo>
                  <a:lnTo>
                    <a:pt x="5" y="103"/>
                  </a:lnTo>
                  <a:lnTo>
                    <a:pt x="7" y="103"/>
                  </a:lnTo>
                  <a:lnTo>
                    <a:pt x="10" y="103"/>
                  </a:lnTo>
                  <a:lnTo>
                    <a:pt x="12" y="105"/>
                  </a:lnTo>
                  <a:lnTo>
                    <a:pt x="15" y="105"/>
                  </a:lnTo>
                  <a:lnTo>
                    <a:pt x="17" y="105"/>
                  </a:lnTo>
                  <a:close/>
                  <a:moveTo>
                    <a:pt x="31" y="103"/>
                  </a:moveTo>
                  <a:lnTo>
                    <a:pt x="29" y="103"/>
                  </a:lnTo>
                  <a:lnTo>
                    <a:pt x="29" y="100"/>
                  </a:lnTo>
                  <a:lnTo>
                    <a:pt x="29" y="103"/>
                  </a:lnTo>
                  <a:lnTo>
                    <a:pt x="31" y="103"/>
                  </a:lnTo>
                  <a:close/>
                  <a:moveTo>
                    <a:pt x="50" y="84"/>
                  </a:moveTo>
                  <a:lnTo>
                    <a:pt x="50" y="86"/>
                  </a:lnTo>
                  <a:lnTo>
                    <a:pt x="48" y="86"/>
                  </a:lnTo>
                  <a:lnTo>
                    <a:pt x="45" y="86"/>
                  </a:lnTo>
                  <a:lnTo>
                    <a:pt x="48" y="86"/>
                  </a:lnTo>
                  <a:lnTo>
                    <a:pt x="48" y="84"/>
                  </a:lnTo>
                  <a:lnTo>
                    <a:pt x="48" y="86"/>
                  </a:lnTo>
                  <a:lnTo>
                    <a:pt x="45" y="86"/>
                  </a:lnTo>
                  <a:lnTo>
                    <a:pt x="45" y="84"/>
                  </a:lnTo>
                  <a:lnTo>
                    <a:pt x="48" y="84"/>
                  </a:lnTo>
                  <a:lnTo>
                    <a:pt x="50" y="84"/>
                  </a:lnTo>
                  <a:lnTo>
                    <a:pt x="50" y="81"/>
                  </a:lnTo>
                  <a:lnTo>
                    <a:pt x="53" y="81"/>
                  </a:lnTo>
                  <a:lnTo>
                    <a:pt x="55" y="81"/>
                  </a:lnTo>
                  <a:lnTo>
                    <a:pt x="55" y="84"/>
                  </a:lnTo>
                  <a:lnTo>
                    <a:pt x="57" y="84"/>
                  </a:lnTo>
                  <a:lnTo>
                    <a:pt x="60" y="84"/>
                  </a:lnTo>
                  <a:lnTo>
                    <a:pt x="60" y="86"/>
                  </a:lnTo>
                  <a:lnTo>
                    <a:pt x="57" y="86"/>
                  </a:lnTo>
                  <a:lnTo>
                    <a:pt x="55" y="86"/>
                  </a:lnTo>
                  <a:lnTo>
                    <a:pt x="53" y="86"/>
                  </a:lnTo>
                  <a:lnTo>
                    <a:pt x="50" y="86"/>
                  </a:lnTo>
                  <a:lnTo>
                    <a:pt x="50" y="84"/>
                  </a:lnTo>
                  <a:close/>
                  <a:moveTo>
                    <a:pt x="26" y="88"/>
                  </a:moveTo>
                  <a:lnTo>
                    <a:pt x="26" y="91"/>
                  </a:lnTo>
                  <a:lnTo>
                    <a:pt x="29" y="91"/>
                  </a:lnTo>
                  <a:lnTo>
                    <a:pt x="26" y="91"/>
                  </a:lnTo>
                  <a:lnTo>
                    <a:pt x="29" y="91"/>
                  </a:lnTo>
                  <a:lnTo>
                    <a:pt x="29" y="93"/>
                  </a:lnTo>
                  <a:lnTo>
                    <a:pt x="29" y="95"/>
                  </a:lnTo>
                  <a:lnTo>
                    <a:pt x="29" y="98"/>
                  </a:lnTo>
                  <a:lnTo>
                    <a:pt x="26" y="98"/>
                  </a:lnTo>
                  <a:lnTo>
                    <a:pt x="29" y="98"/>
                  </a:lnTo>
                  <a:lnTo>
                    <a:pt x="29" y="100"/>
                  </a:lnTo>
                  <a:lnTo>
                    <a:pt x="29" y="103"/>
                  </a:lnTo>
                  <a:lnTo>
                    <a:pt x="26" y="103"/>
                  </a:lnTo>
                  <a:lnTo>
                    <a:pt x="24" y="103"/>
                  </a:lnTo>
                  <a:lnTo>
                    <a:pt x="24" y="100"/>
                  </a:lnTo>
                  <a:lnTo>
                    <a:pt x="22" y="100"/>
                  </a:lnTo>
                  <a:lnTo>
                    <a:pt x="19" y="100"/>
                  </a:lnTo>
                  <a:lnTo>
                    <a:pt x="19" y="103"/>
                  </a:lnTo>
                  <a:lnTo>
                    <a:pt x="17" y="103"/>
                  </a:lnTo>
                  <a:lnTo>
                    <a:pt x="15" y="103"/>
                  </a:lnTo>
                  <a:lnTo>
                    <a:pt x="12" y="103"/>
                  </a:lnTo>
                  <a:lnTo>
                    <a:pt x="12" y="100"/>
                  </a:lnTo>
                  <a:lnTo>
                    <a:pt x="12" y="98"/>
                  </a:lnTo>
                  <a:lnTo>
                    <a:pt x="12" y="100"/>
                  </a:lnTo>
                  <a:lnTo>
                    <a:pt x="10" y="100"/>
                  </a:lnTo>
                  <a:lnTo>
                    <a:pt x="7" y="100"/>
                  </a:lnTo>
                  <a:lnTo>
                    <a:pt x="5" y="98"/>
                  </a:lnTo>
                  <a:lnTo>
                    <a:pt x="3" y="98"/>
                  </a:lnTo>
                  <a:lnTo>
                    <a:pt x="3" y="95"/>
                  </a:lnTo>
                  <a:lnTo>
                    <a:pt x="5" y="95"/>
                  </a:lnTo>
                  <a:lnTo>
                    <a:pt x="5" y="93"/>
                  </a:lnTo>
                  <a:lnTo>
                    <a:pt x="7" y="93"/>
                  </a:lnTo>
                  <a:lnTo>
                    <a:pt x="10" y="93"/>
                  </a:lnTo>
                  <a:lnTo>
                    <a:pt x="12" y="93"/>
                  </a:lnTo>
                  <a:lnTo>
                    <a:pt x="15" y="93"/>
                  </a:lnTo>
                  <a:lnTo>
                    <a:pt x="12" y="93"/>
                  </a:lnTo>
                  <a:lnTo>
                    <a:pt x="15" y="93"/>
                  </a:lnTo>
                  <a:lnTo>
                    <a:pt x="17" y="93"/>
                  </a:lnTo>
                  <a:lnTo>
                    <a:pt x="19" y="93"/>
                  </a:lnTo>
                  <a:lnTo>
                    <a:pt x="19" y="95"/>
                  </a:lnTo>
                  <a:lnTo>
                    <a:pt x="17" y="95"/>
                  </a:lnTo>
                  <a:lnTo>
                    <a:pt x="15" y="95"/>
                  </a:lnTo>
                  <a:lnTo>
                    <a:pt x="12" y="95"/>
                  </a:lnTo>
                  <a:lnTo>
                    <a:pt x="10" y="95"/>
                  </a:lnTo>
                  <a:lnTo>
                    <a:pt x="10" y="93"/>
                  </a:lnTo>
                  <a:lnTo>
                    <a:pt x="10" y="95"/>
                  </a:lnTo>
                  <a:lnTo>
                    <a:pt x="12" y="95"/>
                  </a:lnTo>
                  <a:lnTo>
                    <a:pt x="12" y="98"/>
                  </a:lnTo>
                  <a:lnTo>
                    <a:pt x="12" y="95"/>
                  </a:lnTo>
                  <a:lnTo>
                    <a:pt x="15" y="95"/>
                  </a:lnTo>
                  <a:lnTo>
                    <a:pt x="17" y="95"/>
                  </a:lnTo>
                  <a:lnTo>
                    <a:pt x="19" y="95"/>
                  </a:lnTo>
                  <a:lnTo>
                    <a:pt x="22" y="95"/>
                  </a:lnTo>
                  <a:lnTo>
                    <a:pt x="22" y="98"/>
                  </a:lnTo>
                  <a:lnTo>
                    <a:pt x="22" y="100"/>
                  </a:lnTo>
                  <a:lnTo>
                    <a:pt x="22" y="98"/>
                  </a:lnTo>
                  <a:lnTo>
                    <a:pt x="22" y="95"/>
                  </a:lnTo>
                  <a:lnTo>
                    <a:pt x="22" y="98"/>
                  </a:lnTo>
                  <a:lnTo>
                    <a:pt x="24" y="98"/>
                  </a:lnTo>
                  <a:lnTo>
                    <a:pt x="24" y="100"/>
                  </a:lnTo>
                  <a:lnTo>
                    <a:pt x="26" y="100"/>
                  </a:lnTo>
                  <a:lnTo>
                    <a:pt x="29" y="100"/>
                  </a:lnTo>
                  <a:lnTo>
                    <a:pt x="29" y="98"/>
                  </a:lnTo>
                  <a:lnTo>
                    <a:pt x="26" y="98"/>
                  </a:lnTo>
                  <a:lnTo>
                    <a:pt x="26" y="95"/>
                  </a:lnTo>
                  <a:lnTo>
                    <a:pt x="24" y="95"/>
                  </a:lnTo>
                  <a:lnTo>
                    <a:pt x="22" y="95"/>
                  </a:lnTo>
                  <a:lnTo>
                    <a:pt x="22" y="93"/>
                  </a:lnTo>
                  <a:lnTo>
                    <a:pt x="24" y="93"/>
                  </a:lnTo>
                  <a:lnTo>
                    <a:pt x="26" y="93"/>
                  </a:lnTo>
                  <a:lnTo>
                    <a:pt x="26" y="91"/>
                  </a:lnTo>
                  <a:lnTo>
                    <a:pt x="26" y="93"/>
                  </a:lnTo>
                  <a:lnTo>
                    <a:pt x="26" y="91"/>
                  </a:lnTo>
                  <a:lnTo>
                    <a:pt x="26" y="93"/>
                  </a:lnTo>
                  <a:lnTo>
                    <a:pt x="26" y="91"/>
                  </a:lnTo>
                  <a:lnTo>
                    <a:pt x="26" y="93"/>
                  </a:lnTo>
                  <a:lnTo>
                    <a:pt x="26" y="91"/>
                  </a:lnTo>
                  <a:lnTo>
                    <a:pt x="24" y="91"/>
                  </a:lnTo>
                  <a:lnTo>
                    <a:pt x="26" y="91"/>
                  </a:lnTo>
                  <a:lnTo>
                    <a:pt x="29" y="91"/>
                  </a:lnTo>
                  <a:lnTo>
                    <a:pt x="26" y="91"/>
                  </a:lnTo>
                  <a:lnTo>
                    <a:pt x="26" y="88"/>
                  </a:lnTo>
                  <a:lnTo>
                    <a:pt x="24" y="88"/>
                  </a:lnTo>
                  <a:lnTo>
                    <a:pt x="24" y="91"/>
                  </a:lnTo>
                  <a:lnTo>
                    <a:pt x="22" y="91"/>
                  </a:lnTo>
                  <a:lnTo>
                    <a:pt x="22" y="93"/>
                  </a:lnTo>
                  <a:lnTo>
                    <a:pt x="19" y="91"/>
                  </a:lnTo>
                  <a:lnTo>
                    <a:pt x="17" y="91"/>
                  </a:lnTo>
                  <a:lnTo>
                    <a:pt x="17" y="88"/>
                  </a:lnTo>
                  <a:lnTo>
                    <a:pt x="15" y="88"/>
                  </a:lnTo>
                  <a:lnTo>
                    <a:pt x="17" y="88"/>
                  </a:lnTo>
                  <a:lnTo>
                    <a:pt x="15" y="88"/>
                  </a:lnTo>
                  <a:lnTo>
                    <a:pt x="12" y="88"/>
                  </a:lnTo>
                  <a:lnTo>
                    <a:pt x="12" y="86"/>
                  </a:lnTo>
                  <a:lnTo>
                    <a:pt x="15" y="86"/>
                  </a:lnTo>
                  <a:lnTo>
                    <a:pt x="17" y="86"/>
                  </a:lnTo>
                  <a:lnTo>
                    <a:pt x="17" y="84"/>
                  </a:lnTo>
                  <a:lnTo>
                    <a:pt x="17" y="81"/>
                  </a:lnTo>
                  <a:lnTo>
                    <a:pt x="19" y="81"/>
                  </a:lnTo>
                  <a:lnTo>
                    <a:pt x="22" y="81"/>
                  </a:lnTo>
                  <a:lnTo>
                    <a:pt x="24" y="81"/>
                  </a:lnTo>
                  <a:lnTo>
                    <a:pt x="24" y="79"/>
                  </a:lnTo>
                  <a:lnTo>
                    <a:pt x="22" y="79"/>
                  </a:lnTo>
                  <a:lnTo>
                    <a:pt x="24" y="79"/>
                  </a:lnTo>
                  <a:lnTo>
                    <a:pt x="24" y="76"/>
                  </a:lnTo>
                  <a:lnTo>
                    <a:pt x="22" y="76"/>
                  </a:lnTo>
                  <a:lnTo>
                    <a:pt x="22" y="74"/>
                  </a:lnTo>
                  <a:lnTo>
                    <a:pt x="24" y="74"/>
                  </a:lnTo>
                  <a:lnTo>
                    <a:pt x="22" y="74"/>
                  </a:lnTo>
                  <a:lnTo>
                    <a:pt x="24" y="74"/>
                  </a:lnTo>
                  <a:lnTo>
                    <a:pt x="24" y="76"/>
                  </a:lnTo>
                  <a:lnTo>
                    <a:pt x="22" y="76"/>
                  </a:lnTo>
                  <a:lnTo>
                    <a:pt x="24" y="76"/>
                  </a:lnTo>
                  <a:lnTo>
                    <a:pt x="26" y="76"/>
                  </a:lnTo>
                  <a:lnTo>
                    <a:pt x="29" y="79"/>
                  </a:lnTo>
                  <a:lnTo>
                    <a:pt x="31" y="79"/>
                  </a:lnTo>
                  <a:lnTo>
                    <a:pt x="34" y="79"/>
                  </a:lnTo>
                  <a:lnTo>
                    <a:pt x="34" y="81"/>
                  </a:lnTo>
                  <a:lnTo>
                    <a:pt x="36" y="81"/>
                  </a:lnTo>
                  <a:lnTo>
                    <a:pt x="34" y="81"/>
                  </a:lnTo>
                  <a:lnTo>
                    <a:pt x="31" y="81"/>
                  </a:lnTo>
                  <a:lnTo>
                    <a:pt x="31" y="84"/>
                  </a:lnTo>
                  <a:lnTo>
                    <a:pt x="29" y="84"/>
                  </a:lnTo>
                  <a:lnTo>
                    <a:pt x="26" y="81"/>
                  </a:lnTo>
                  <a:lnTo>
                    <a:pt x="24" y="81"/>
                  </a:lnTo>
                  <a:lnTo>
                    <a:pt x="24" y="84"/>
                  </a:lnTo>
                  <a:lnTo>
                    <a:pt x="26" y="84"/>
                  </a:lnTo>
                  <a:lnTo>
                    <a:pt x="29" y="84"/>
                  </a:lnTo>
                  <a:lnTo>
                    <a:pt x="29" y="86"/>
                  </a:lnTo>
                  <a:lnTo>
                    <a:pt x="31" y="86"/>
                  </a:lnTo>
                  <a:lnTo>
                    <a:pt x="31" y="88"/>
                  </a:lnTo>
                  <a:lnTo>
                    <a:pt x="34" y="88"/>
                  </a:lnTo>
                  <a:lnTo>
                    <a:pt x="34" y="86"/>
                  </a:lnTo>
                  <a:lnTo>
                    <a:pt x="36" y="88"/>
                  </a:lnTo>
                  <a:lnTo>
                    <a:pt x="34" y="88"/>
                  </a:lnTo>
                  <a:lnTo>
                    <a:pt x="31" y="91"/>
                  </a:lnTo>
                  <a:lnTo>
                    <a:pt x="29" y="91"/>
                  </a:lnTo>
                  <a:lnTo>
                    <a:pt x="29" y="88"/>
                  </a:lnTo>
                  <a:lnTo>
                    <a:pt x="26" y="88"/>
                  </a:lnTo>
                  <a:close/>
                  <a:moveTo>
                    <a:pt x="60" y="72"/>
                  </a:moveTo>
                  <a:lnTo>
                    <a:pt x="60" y="74"/>
                  </a:lnTo>
                  <a:lnTo>
                    <a:pt x="62" y="74"/>
                  </a:lnTo>
                  <a:lnTo>
                    <a:pt x="64" y="74"/>
                  </a:lnTo>
                  <a:lnTo>
                    <a:pt x="67" y="74"/>
                  </a:lnTo>
                  <a:lnTo>
                    <a:pt x="67" y="76"/>
                  </a:lnTo>
                  <a:lnTo>
                    <a:pt x="69" y="76"/>
                  </a:lnTo>
                  <a:lnTo>
                    <a:pt x="69" y="79"/>
                  </a:lnTo>
                  <a:lnTo>
                    <a:pt x="69" y="81"/>
                  </a:lnTo>
                  <a:lnTo>
                    <a:pt x="67" y="81"/>
                  </a:lnTo>
                  <a:lnTo>
                    <a:pt x="67" y="84"/>
                  </a:lnTo>
                  <a:lnTo>
                    <a:pt x="67" y="81"/>
                  </a:lnTo>
                  <a:lnTo>
                    <a:pt x="64" y="81"/>
                  </a:lnTo>
                  <a:lnTo>
                    <a:pt x="62" y="81"/>
                  </a:lnTo>
                  <a:lnTo>
                    <a:pt x="60" y="81"/>
                  </a:lnTo>
                  <a:lnTo>
                    <a:pt x="57" y="81"/>
                  </a:lnTo>
                  <a:lnTo>
                    <a:pt x="55" y="81"/>
                  </a:lnTo>
                  <a:lnTo>
                    <a:pt x="53" y="81"/>
                  </a:lnTo>
                  <a:lnTo>
                    <a:pt x="50" y="81"/>
                  </a:lnTo>
                  <a:lnTo>
                    <a:pt x="48" y="81"/>
                  </a:lnTo>
                  <a:lnTo>
                    <a:pt x="45" y="81"/>
                  </a:lnTo>
                  <a:lnTo>
                    <a:pt x="43" y="81"/>
                  </a:lnTo>
                  <a:lnTo>
                    <a:pt x="43" y="79"/>
                  </a:lnTo>
                  <a:lnTo>
                    <a:pt x="45" y="79"/>
                  </a:lnTo>
                  <a:lnTo>
                    <a:pt x="45" y="76"/>
                  </a:lnTo>
                  <a:lnTo>
                    <a:pt x="48" y="76"/>
                  </a:lnTo>
                  <a:lnTo>
                    <a:pt x="50" y="76"/>
                  </a:lnTo>
                  <a:lnTo>
                    <a:pt x="53" y="76"/>
                  </a:lnTo>
                  <a:lnTo>
                    <a:pt x="53" y="74"/>
                  </a:lnTo>
                  <a:lnTo>
                    <a:pt x="55" y="74"/>
                  </a:lnTo>
                  <a:lnTo>
                    <a:pt x="57" y="74"/>
                  </a:lnTo>
                  <a:lnTo>
                    <a:pt x="57" y="72"/>
                  </a:lnTo>
                  <a:lnTo>
                    <a:pt x="57" y="74"/>
                  </a:lnTo>
                  <a:lnTo>
                    <a:pt x="57" y="72"/>
                  </a:lnTo>
                  <a:lnTo>
                    <a:pt x="60" y="72"/>
                  </a:lnTo>
                  <a:close/>
                  <a:moveTo>
                    <a:pt x="67" y="41"/>
                  </a:moveTo>
                  <a:lnTo>
                    <a:pt x="67" y="38"/>
                  </a:lnTo>
                  <a:lnTo>
                    <a:pt x="64" y="38"/>
                  </a:lnTo>
                  <a:lnTo>
                    <a:pt x="67" y="38"/>
                  </a:lnTo>
                  <a:lnTo>
                    <a:pt x="67" y="41"/>
                  </a:lnTo>
                  <a:close/>
                  <a:moveTo>
                    <a:pt x="36" y="88"/>
                  </a:moveTo>
                  <a:lnTo>
                    <a:pt x="34" y="88"/>
                  </a:lnTo>
                  <a:lnTo>
                    <a:pt x="36" y="88"/>
                  </a:lnTo>
                  <a:lnTo>
                    <a:pt x="38" y="88"/>
                  </a:lnTo>
                  <a:lnTo>
                    <a:pt x="41" y="88"/>
                  </a:lnTo>
                  <a:lnTo>
                    <a:pt x="43" y="88"/>
                  </a:lnTo>
                  <a:lnTo>
                    <a:pt x="41" y="88"/>
                  </a:lnTo>
                  <a:lnTo>
                    <a:pt x="43" y="88"/>
                  </a:lnTo>
                  <a:lnTo>
                    <a:pt x="43" y="86"/>
                  </a:lnTo>
                  <a:lnTo>
                    <a:pt x="45" y="86"/>
                  </a:lnTo>
                  <a:lnTo>
                    <a:pt x="48" y="86"/>
                  </a:lnTo>
                  <a:lnTo>
                    <a:pt x="48" y="88"/>
                  </a:lnTo>
                  <a:lnTo>
                    <a:pt x="50" y="86"/>
                  </a:lnTo>
                  <a:lnTo>
                    <a:pt x="50" y="88"/>
                  </a:lnTo>
                  <a:lnTo>
                    <a:pt x="50" y="86"/>
                  </a:lnTo>
                  <a:lnTo>
                    <a:pt x="53" y="86"/>
                  </a:lnTo>
                  <a:lnTo>
                    <a:pt x="55" y="86"/>
                  </a:lnTo>
                  <a:lnTo>
                    <a:pt x="55" y="88"/>
                  </a:lnTo>
                  <a:lnTo>
                    <a:pt x="57" y="86"/>
                  </a:lnTo>
                  <a:lnTo>
                    <a:pt x="60" y="86"/>
                  </a:lnTo>
                  <a:lnTo>
                    <a:pt x="62" y="86"/>
                  </a:lnTo>
                  <a:lnTo>
                    <a:pt x="64" y="86"/>
                  </a:lnTo>
                  <a:lnTo>
                    <a:pt x="62" y="86"/>
                  </a:lnTo>
                  <a:lnTo>
                    <a:pt x="60" y="86"/>
                  </a:lnTo>
                  <a:lnTo>
                    <a:pt x="60" y="84"/>
                  </a:lnTo>
                  <a:lnTo>
                    <a:pt x="60" y="86"/>
                  </a:lnTo>
                  <a:lnTo>
                    <a:pt x="62" y="86"/>
                  </a:lnTo>
                  <a:lnTo>
                    <a:pt x="60" y="84"/>
                  </a:lnTo>
                  <a:lnTo>
                    <a:pt x="60" y="86"/>
                  </a:lnTo>
                  <a:lnTo>
                    <a:pt x="60" y="84"/>
                  </a:lnTo>
                  <a:lnTo>
                    <a:pt x="57" y="84"/>
                  </a:lnTo>
                  <a:lnTo>
                    <a:pt x="60" y="84"/>
                  </a:lnTo>
                  <a:lnTo>
                    <a:pt x="57" y="84"/>
                  </a:lnTo>
                  <a:lnTo>
                    <a:pt x="55" y="81"/>
                  </a:lnTo>
                  <a:lnTo>
                    <a:pt x="57" y="81"/>
                  </a:lnTo>
                  <a:lnTo>
                    <a:pt x="60" y="81"/>
                  </a:lnTo>
                  <a:lnTo>
                    <a:pt x="62" y="81"/>
                  </a:lnTo>
                  <a:lnTo>
                    <a:pt x="64" y="81"/>
                  </a:lnTo>
                  <a:lnTo>
                    <a:pt x="67" y="84"/>
                  </a:lnTo>
                  <a:lnTo>
                    <a:pt x="67" y="81"/>
                  </a:lnTo>
                  <a:lnTo>
                    <a:pt x="69" y="81"/>
                  </a:lnTo>
                  <a:lnTo>
                    <a:pt x="69" y="79"/>
                  </a:lnTo>
                  <a:lnTo>
                    <a:pt x="69" y="76"/>
                  </a:lnTo>
                  <a:lnTo>
                    <a:pt x="67" y="76"/>
                  </a:lnTo>
                  <a:lnTo>
                    <a:pt x="67" y="74"/>
                  </a:lnTo>
                  <a:lnTo>
                    <a:pt x="64" y="74"/>
                  </a:lnTo>
                  <a:lnTo>
                    <a:pt x="62" y="74"/>
                  </a:lnTo>
                  <a:lnTo>
                    <a:pt x="60" y="74"/>
                  </a:lnTo>
                  <a:lnTo>
                    <a:pt x="60" y="72"/>
                  </a:lnTo>
                  <a:lnTo>
                    <a:pt x="57" y="72"/>
                  </a:lnTo>
                  <a:lnTo>
                    <a:pt x="57" y="74"/>
                  </a:lnTo>
                  <a:lnTo>
                    <a:pt x="55" y="74"/>
                  </a:lnTo>
                  <a:lnTo>
                    <a:pt x="53" y="74"/>
                  </a:lnTo>
                  <a:lnTo>
                    <a:pt x="53" y="76"/>
                  </a:lnTo>
                  <a:lnTo>
                    <a:pt x="50" y="76"/>
                  </a:lnTo>
                  <a:lnTo>
                    <a:pt x="48" y="76"/>
                  </a:lnTo>
                  <a:lnTo>
                    <a:pt x="45" y="76"/>
                  </a:lnTo>
                  <a:lnTo>
                    <a:pt x="45" y="79"/>
                  </a:lnTo>
                  <a:lnTo>
                    <a:pt x="43" y="79"/>
                  </a:lnTo>
                  <a:lnTo>
                    <a:pt x="41" y="79"/>
                  </a:lnTo>
                  <a:lnTo>
                    <a:pt x="41" y="76"/>
                  </a:lnTo>
                  <a:lnTo>
                    <a:pt x="41" y="79"/>
                  </a:lnTo>
                  <a:lnTo>
                    <a:pt x="41" y="76"/>
                  </a:lnTo>
                  <a:lnTo>
                    <a:pt x="38" y="79"/>
                  </a:lnTo>
                  <a:lnTo>
                    <a:pt x="38" y="76"/>
                  </a:lnTo>
                  <a:lnTo>
                    <a:pt x="38" y="79"/>
                  </a:lnTo>
                  <a:lnTo>
                    <a:pt x="36" y="76"/>
                  </a:lnTo>
                  <a:lnTo>
                    <a:pt x="36" y="79"/>
                  </a:lnTo>
                  <a:lnTo>
                    <a:pt x="36" y="76"/>
                  </a:lnTo>
                  <a:lnTo>
                    <a:pt x="36" y="79"/>
                  </a:lnTo>
                  <a:lnTo>
                    <a:pt x="36" y="76"/>
                  </a:lnTo>
                  <a:lnTo>
                    <a:pt x="34" y="76"/>
                  </a:lnTo>
                  <a:lnTo>
                    <a:pt x="34" y="79"/>
                  </a:lnTo>
                  <a:lnTo>
                    <a:pt x="36" y="79"/>
                  </a:lnTo>
                  <a:lnTo>
                    <a:pt x="34" y="79"/>
                  </a:lnTo>
                  <a:lnTo>
                    <a:pt x="34" y="76"/>
                  </a:lnTo>
                  <a:lnTo>
                    <a:pt x="34" y="79"/>
                  </a:lnTo>
                  <a:lnTo>
                    <a:pt x="34" y="76"/>
                  </a:lnTo>
                  <a:lnTo>
                    <a:pt x="34" y="79"/>
                  </a:lnTo>
                  <a:lnTo>
                    <a:pt x="31" y="79"/>
                  </a:lnTo>
                  <a:lnTo>
                    <a:pt x="31" y="76"/>
                  </a:lnTo>
                  <a:lnTo>
                    <a:pt x="29" y="76"/>
                  </a:lnTo>
                  <a:lnTo>
                    <a:pt x="26" y="74"/>
                  </a:lnTo>
                  <a:lnTo>
                    <a:pt x="24" y="74"/>
                  </a:lnTo>
                  <a:lnTo>
                    <a:pt x="26" y="74"/>
                  </a:lnTo>
                  <a:lnTo>
                    <a:pt x="26" y="72"/>
                  </a:lnTo>
                  <a:lnTo>
                    <a:pt x="29" y="69"/>
                  </a:lnTo>
                  <a:lnTo>
                    <a:pt x="31" y="67"/>
                  </a:lnTo>
                  <a:lnTo>
                    <a:pt x="34" y="65"/>
                  </a:lnTo>
                  <a:lnTo>
                    <a:pt x="34" y="62"/>
                  </a:lnTo>
                  <a:lnTo>
                    <a:pt x="36" y="62"/>
                  </a:lnTo>
                  <a:lnTo>
                    <a:pt x="36" y="60"/>
                  </a:lnTo>
                  <a:lnTo>
                    <a:pt x="38" y="57"/>
                  </a:lnTo>
                  <a:lnTo>
                    <a:pt x="38" y="55"/>
                  </a:lnTo>
                  <a:lnTo>
                    <a:pt x="41" y="53"/>
                  </a:lnTo>
                  <a:lnTo>
                    <a:pt x="41" y="50"/>
                  </a:lnTo>
                  <a:lnTo>
                    <a:pt x="43" y="50"/>
                  </a:lnTo>
                  <a:lnTo>
                    <a:pt x="45" y="50"/>
                  </a:lnTo>
                  <a:lnTo>
                    <a:pt x="45" y="53"/>
                  </a:lnTo>
                  <a:lnTo>
                    <a:pt x="48" y="53"/>
                  </a:lnTo>
                  <a:lnTo>
                    <a:pt x="50" y="53"/>
                  </a:lnTo>
                  <a:lnTo>
                    <a:pt x="48" y="53"/>
                  </a:lnTo>
                  <a:lnTo>
                    <a:pt x="50" y="53"/>
                  </a:lnTo>
                  <a:lnTo>
                    <a:pt x="48" y="53"/>
                  </a:lnTo>
                  <a:lnTo>
                    <a:pt x="50" y="53"/>
                  </a:lnTo>
                  <a:lnTo>
                    <a:pt x="48" y="53"/>
                  </a:lnTo>
                  <a:lnTo>
                    <a:pt x="50" y="53"/>
                  </a:lnTo>
                  <a:lnTo>
                    <a:pt x="48" y="53"/>
                  </a:lnTo>
                  <a:lnTo>
                    <a:pt x="50" y="53"/>
                  </a:lnTo>
                  <a:lnTo>
                    <a:pt x="50" y="55"/>
                  </a:lnTo>
                  <a:lnTo>
                    <a:pt x="53" y="55"/>
                  </a:lnTo>
                  <a:lnTo>
                    <a:pt x="55" y="55"/>
                  </a:lnTo>
                  <a:lnTo>
                    <a:pt x="55" y="57"/>
                  </a:lnTo>
                  <a:lnTo>
                    <a:pt x="55" y="55"/>
                  </a:lnTo>
                  <a:lnTo>
                    <a:pt x="57" y="57"/>
                  </a:lnTo>
                  <a:lnTo>
                    <a:pt x="57" y="55"/>
                  </a:lnTo>
                  <a:lnTo>
                    <a:pt x="57" y="57"/>
                  </a:lnTo>
                  <a:lnTo>
                    <a:pt x="60" y="57"/>
                  </a:lnTo>
                  <a:lnTo>
                    <a:pt x="60" y="55"/>
                  </a:lnTo>
                  <a:lnTo>
                    <a:pt x="60" y="53"/>
                  </a:lnTo>
                  <a:lnTo>
                    <a:pt x="62" y="53"/>
                  </a:lnTo>
                  <a:lnTo>
                    <a:pt x="62" y="50"/>
                  </a:lnTo>
                  <a:lnTo>
                    <a:pt x="64" y="50"/>
                  </a:lnTo>
                  <a:lnTo>
                    <a:pt x="67" y="48"/>
                  </a:lnTo>
                  <a:lnTo>
                    <a:pt x="69" y="48"/>
                  </a:lnTo>
                  <a:lnTo>
                    <a:pt x="69" y="46"/>
                  </a:lnTo>
                  <a:lnTo>
                    <a:pt x="69" y="43"/>
                  </a:lnTo>
                  <a:lnTo>
                    <a:pt x="67" y="41"/>
                  </a:lnTo>
                  <a:lnTo>
                    <a:pt x="69" y="41"/>
                  </a:lnTo>
                  <a:lnTo>
                    <a:pt x="69" y="43"/>
                  </a:lnTo>
                  <a:lnTo>
                    <a:pt x="69" y="46"/>
                  </a:lnTo>
                  <a:lnTo>
                    <a:pt x="69" y="48"/>
                  </a:lnTo>
                  <a:lnTo>
                    <a:pt x="69" y="46"/>
                  </a:lnTo>
                  <a:lnTo>
                    <a:pt x="72" y="46"/>
                  </a:lnTo>
                  <a:lnTo>
                    <a:pt x="72" y="43"/>
                  </a:lnTo>
                  <a:lnTo>
                    <a:pt x="74" y="43"/>
                  </a:lnTo>
                  <a:lnTo>
                    <a:pt x="76" y="43"/>
                  </a:lnTo>
                  <a:lnTo>
                    <a:pt x="76" y="41"/>
                  </a:lnTo>
                  <a:lnTo>
                    <a:pt x="74" y="41"/>
                  </a:lnTo>
                  <a:lnTo>
                    <a:pt x="74" y="38"/>
                  </a:lnTo>
                  <a:lnTo>
                    <a:pt x="74" y="36"/>
                  </a:lnTo>
                  <a:lnTo>
                    <a:pt x="74" y="34"/>
                  </a:lnTo>
                  <a:lnTo>
                    <a:pt x="76" y="34"/>
                  </a:lnTo>
                  <a:lnTo>
                    <a:pt x="76" y="31"/>
                  </a:lnTo>
                  <a:lnTo>
                    <a:pt x="79" y="31"/>
                  </a:lnTo>
                  <a:lnTo>
                    <a:pt x="76" y="31"/>
                  </a:lnTo>
                  <a:lnTo>
                    <a:pt x="74" y="31"/>
                  </a:lnTo>
                  <a:lnTo>
                    <a:pt x="72" y="31"/>
                  </a:lnTo>
                  <a:lnTo>
                    <a:pt x="69" y="31"/>
                  </a:lnTo>
                  <a:lnTo>
                    <a:pt x="67" y="31"/>
                  </a:lnTo>
                  <a:lnTo>
                    <a:pt x="67" y="29"/>
                  </a:lnTo>
                  <a:lnTo>
                    <a:pt x="69" y="29"/>
                  </a:lnTo>
                  <a:lnTo>
                    <a:pt x="69" y="27"/>
                  </a:lnTo>
                  <a:lnTo>
                    <a:pt x="67" y="27"/>
                  </a:lnTo>
                  <a:lnTo>
                    <a:pt x="69" y="27"/>
                  </a:lnTo>
                  <a:lnTo>
                    <a:pt x="69" y="24"/>
                  </a:lnTo>
                  <a:lnTo>
                    <a:pt x="67" y="24"/>
                  </a:lnTo>
                  <a:lnTo>
                    <a:pt x="67" y="22"/>
                  </a:lnTo>
                  <a:lnTo>
                    <a:pt x="69" y="22"/>
                  </a:lnTo>
                  <a:lnTo>
                    <a:pt x="67" y="22"/>
                  </a:lnTo>
                  <a:lnTo>
                    <a:pt x="69" y="22"/>
                  </a:lnTo>
                  <a:lnTo>
                    <a:pt x="67" y="22"/>
                  </a:lnTo>
                  <a:lnTo>
                    <a:pt x="67" y="19"/>
                  </a:lnTo>
                  <a:lnTo>
                    <a:pt x="64" y="19"/>
                  </a:lnTo>
                  <a:lnTo>
                    <a:pt x="62" y="22"/>
                  </a:lnTo>
                  <a:lnTo>
                    <a:pt x="57" y="27"/>
                  </a:lnTo>
                  <a:lnTo>
                    <a:pt x="55" y="27"/>
                  </a:lnTo>
                  <a:lnTo>
                    <a:pt x="57" y="27"/>
                  </a:lnTo>
                  <a:lnTo>
                    <a:pt x="57" y="29"/>
                  </a:lnTo>
                  <a:lnTo>
                    <a:pt x="60" y="31"/>
                  </a:lnTo>
                  <a:lnTo>
                    <a:pt x="57" y="31"/>
                  </a:lnTo>
                  <a:lnTo>
                    <a:pt x="57" y="34"/>
                  </a:lnTo>
                  <a:lnTo>
                    <a:pt x="60" y="34"/>
                  </a:lnTo>
                  <a:lnTo>
                    <a:pt x="60" y="36"/>
                  </a:lnTo>
                  <a:lnTo>
                    <a:pt x="62" y="36"/>
                  </a:lnTo>
                  <a:lnTo>
                    <a:pt x="64" y="36"/>
                  </a:lnTo>
                  <a:lnTo>
                    <a:pt x="64" y="38"/>
                  </a:lnTo>
                  <a:lnTo>
                    <a:pt x="62" y="38"/>
                  </a:lnTo>
                  <a:lnTo>
                    <a:pt x="62" y="41"/>
                  </a:lnTo>
                  <a:lnTo>
                    <a:pt x="60" y="41"/>
                  </a:lnTo>
                  <a:lnTo>
                    <a:pt x="60" y="43"/>
                  </a:lnTo>
                  <a:lnTo>
                    <a:pt x="60" y="41"/>
                  </a:lnTo>
                  <a:lnTo>
                    <a:pt x="57" y="41"/>
                  </a:lnTo>
                  <a:lnTo>
                    <a:pt x="55" y="41"/>
                  </a:lnTo>
                  <a:lnTo>
                    <a:pt x="55" y="43"/>
                  </a:lnTo>
                  <a:lnTo>
                    <a:pt x="55" y="46"/>
                  </a:lnTo>
                  <a:lnTo>
                    <a:pt x="57" y="46"/>
                  </a:lnTo>
                  <a:lnTo>
                    <a:pt x="57" y="48"/>
                  </a:lnTo>
                  <a:lnTo>
                    <a:pt x="57" y="50"/>
                  </a:lnTo>
                  <a:lnTo>
                    <a:pt x="55" y="50"/>
                  </a:lnTo>
                  <a:lnTo>
                    <a:pt x="57" y="50"/>
                  </a:lnTo>
                  <a:lnTo>
                    <a:pt x="57" y="48"/>
                  </a:lnTo>
                  <a:lnTo>
                    <a:pt x="57" y="50"/>
                  </a:lnTo>
                  <a:lnTo>
                    <a:pt x="60" y="50"/>
                  </a:lnTo>
                  <a:lnTo>
                    <a:pt x="57" y="50"/>
                  </a:lnTo>
                  <a:lnTo>
                    <a:pt x="57" y="53"/>
                  </a:lnTo>
                  <a:lnTo>
                    <a:pt x="57" y="50"/>
                  </a:lnTo>
                  <a:lnTo>
                    <a:pt x="57" y="53"/>
                  </a:lnTo>
                  <a:lnTo>
                    <a:pt x="55" y="53"/>
                  </a:lnTo>
                  <a:lnTo>
                    <a:pt x="55" y="55"/>
                  </a:lnTo>
                  <a:lnTo>
                    <a:pt x="53" y="55"/>
                  </a:lnTo>
                  <a:lnTo>
                    <a:pt x="53" y="53"/>
                  </a:lnTo>
                  <a:lnTo>
                    <a:pt x="53" y="55"/>
                  </a:lnTo>
                  <a:lnTo>
                    <a:pt x="53" y="53"/>
                  </a:lnTo>
                  <a:lnTo>
                    <a:pt x="50" y="53"/>
                  </a:lnTo>
                  <a:lnTo>
                    <a:pt x="48" y="53"/>
                  </a:lnTo>
                  <a:lnTo>
                    <a:pt x="45" y="53"/>
                  </a:lnTo>
                  <a:lnTo>
                    <a:pt x="45" y="50"/>
                  </a:lnTo>
                  <a:lnTo>
                    <a:pt x="43" y="50"/>
                  </a:lnTo>
                  <a:lnTo>
                    <a:pt x="41" y="50"/>
                  </a:lnTo>
                  <a:lnTo>
                    <a:pt x="43" y="50"/>
                  </a:lnTo>
                  <a:lnTo>
                    <a:pt x="41" y="50"/>
                  </a:lnTo>
                  <a:lnTo>
                    <a:pt x="41" y="48"/>
                  </a:lnTo>
                  <a:lnTo>
                    <a:pt x="41" y="46"/>
                  </a:lnTo>
                  <a:lnTo>
                    <a:pt x="43" y="43"/>
                  </a:lnTo>
                  <a:lnTo>
                    <a:pt x="43" y="41"/>
                  </a:lnTo>
                  <a:lnTo>
                    <a:pt x="43" y="38"/>
                  </a:lnTo>
                  <a:lnTo>
                    <a:pt x="43" y="36"/>
                  </a:lnTo>
                  <a:lnTo>
                    <a:pt x="43" y="34"/>
                  </a:lnTo>
                  <a:lnTo>
                    <a:pt x="45" y="31"/>
                  </a:lnTo>
                  <a:lnTo>
                    <a:pt x="45" y="29"/>
                  </a:lnTo>
                  <a:lnTo>
                    <a:pt x="45" y="27"/>
                  </a:lnTo>
                  <a:lnTo>
                    <a:pt x="45" y="24"/>
                  </a:lnTo>
                  <a:lnTo>
                    <a:pt x="48" y="24"/>
                  </a:lnTo>
                  <a:lnTo>
                    <a:pt x="48" y="27"/>
                  </a:lnTo>
                  <a:lnTo>
                    <a:pt x="48" y="24"/>
                  </a:lnTo>
                  <a:lnTo>
                    <a:pt x="48" y="27"/>
                  </a:lnTo>
                  <a:lnTo>
                    <a:pt x="48" y="29"/>
                  </a:lnTo>
                  <a:lnTo>
                    <a:pt x="50" y="29"/>
                  </a:lnTo>
                  <a:lnTo>
                    <a:pt x="53" y="29"/>
                  </a:lnTo>
                  <a:lnTo>
                    <a:pt x="53" y="27"/>
                  </a:lnTo>
                  <a:lnTo>
                    <a:pt x="55" y="27"/>
                  </a:lnTo>
                  <a:lnTo>
                    <a:pt x="57" y="27"/>
                  </a:lnTo>
                  <a:lnTo>
                    <a:pt x="55" y="27"/>
                  </a:lnTo>
                  <a:lnTo>
                    <a:pt x="57" y="27"/>
                  </a:lnTo>
                  <a:lnTo>
                    <a:pt x="62" y="22"/>
                  </a:lnTo>
                  <a:lnTo>
                    <a:pt x="64" y="19"/>
                  </a:lnTo>
                  <a:lnTo>
                    <a:pt x="67" y="19"/>
                  </a:lnTo>
                  <a:lnTo>
                    <a:pt x="67" y="17"/>
                  </a:lnTo>
                  <a:lnTo>
                    <a:pt x="69" y="17"/>
                  </a:lnTo>
                  <a:lnTo>
                    <a:pt x="69" y="15"/>
                  </a:lnTo>
                  <a:lnTo>
                    <a:pt x="69" y="12"/>
                  </a:lnTo>
                  <a:lnTo>
                    <a:pt x="72" y="12"/>
                  </a:lnTo>
                  <a:lnTo>
                    <a:pt x="72" y="10"/>
                  </a:lnTo>
                  <a:lnTo>
                    <a:pt x="74" y="10"/>
                  </a:lnTo>
                  <a:lnTo>
                    <a:pt x="74" y="8"/>
                  </a:lnTo>
                  <a:lnTo>
                    <a:pt x="76" y="8"/>
                  </a:lnTo>
                  <a:lnTo>
                    <a:pt x="79" y="8"/>
                  </a:lnTo>
                  <a:lnTo>
                    <a:pt x="79" y="5"/>
                  </a:lnTo>
                  <a:lnTo>
                    <a:pt x="81" y="5"/>
                  </a:lnTo>
                  <a:lnTo>
                    <a:pt x="83" y="5"/>
                  </a:lnTo>
                  <a:lnTo>
                    <a:pt x="83" y="3"/>
                  </a:lnTo>
                  <a:lnTo>
                    <a:pt x="86" y="3"/>
                  </a:lnTo>
                  <a:lnTo>
                    <a:pt x="88" y="3"/>
                  </a:lnTo>
                  <a:lnTo>
                    <a:pt x="91" y="3"/>
                  </a:lnTo>
                  <a:lnTo>
                    <a:pt x="93" y="3"/>
                  </a:lnTo>
                  <a:lnTo>
                    <a:pt x="95" y="3"/>
                  </a:lnTo>
                  <a:lnTo>
                    <a:pt x="98" y="3"/>
                  </a:lnTo>
                  <a:lnTo>
                    <a:pt x="100" y="3"/>
                  </a:lnTo>
                  <a:lnTo>
                    <a:pt x="102" y="3"/>
                  </a:lnTo>
                  <a:lnTo>
                    <a:pt x="105" y="3"/>
                  </a:lnTo>
                  <a:lnTo>
                    <a:pt x="107" y="0"/>
                  </a:lnTo>
                  <a:lnTo>
                    <a:pt x="109" y="0"/>
                  </a:lnTo>
                  <a:lnTo>
                    <a:pt x="112" y="0"/>
                  </a:lnTo>
                  <a:lnTo>
                    <a:pt x="114" y="0"/>
                  </a:lnTo>
                  <a:lnTo>
                    <a:pt x="117" y="0"/>
                  </a:lnTo>
                  <a:lnTo>
                    <a:pt x="114" y="0"/>
                  </a:lnTo>
                  <a:lnTo>
                    <a:pt x="117" y="0"/>
                  </a:lnTo>
                  <a:lnTo>
                    <a:pt x="117" y="3"/>
                  </a:lnTo>
                  <a:lnTo>
                    <a:pt x="117" y="5"/>
                  </a:lnTo>
                  <a:lnTo>
                    <a:pt x="119" y="8"/>
                  </a:lnTo>
                  <a:lnTo>
                    <a:pt x="121" y="8"/>
                  </a:lnTo>
                  <a:lnTo>
                    <a:pt x="124" y="8"/>
                  </a:lnTo>
                  <a:lnTo>
                    <a:pt x="124" y="10"/>
                  </a:lnTo>
                  <a:lnTo>
                    <a:pt x="126" y="10"/>
                  </a:lnTo>
                  <a:lnTo>
                    <a:pt x="126" y="12"/>
                  </a:lnTo>
                  <a:lnTo>
                    <a:pt x="126" y="10"/>
                  </a:lnTo>
                  <a:lnTo>
                    <a:pt x="126" y="12"/>
                  </a:lnTo>
                  <a:lnTo>
                    <a:pt x="128" y="12"/>
                  </a:lnTo>
                  <a:lnTo>
                    <a:pt x="128" y="15"/>
                  </a:lnTo>
                  <a:lnTo>
                    <a:pt x="126" y="15"/>
                  </a:lnTo>
                  <a:lnTo>
                    <a:pt x="126" y="17"/>
                  </a:lnTo>
                  <a:lnTo>
                    <a:pt x="128" y="17"/>
                  </a:lnTo>
                  <a:lnTo>
                    <a:pt x="126" y="19"/>
                  </a:lnTo>
                  <a:lnTo>
                    <a:pt x="128" y="22"/>
                  </a:lnTo>
                  <a:lnTo>
                    <a:pt x="128" y="24"/>
                  </a:lnTo>
                  <a:lnTo>
                    <a:pt x="126" y="27"/>
                  </a:lnTo>
                  <a:lnTo>
                    <a:pt x="124" y="29"/>
                  </a:lnTo>
                  <a:lnTo>
                    <a:pt x="124" y="31"/>
                  </a:lnTo>
                  <a:lnTo>
                    <a:pt x="124" y="34"/>
                  </a:lnTo>
                  <a:lnTo>
                    <a:pt x="124" y="38"/>
                  </a:lnTo>
                  <a:lnTo>
                    <a:pt x="121" y="41"/>
                  </a:lnTo>
                  <a:lnTo>
                    <a:pt x="119" y="41"/>
                  </a:lnTo>
                  <a:lnTo>
                    <a:pt x="117" y="41"/>
                  </a:lnTo>
                  <a:lnTo>
                    <a:pt x="114" y="41"/>
                  </a:lnTo>
                  <a:lnTo>
                    <a:pt x="112" y="41"/>
                  </a:lnTo>
                  <a:lnTo>
                    <a:pt x="112" y="43"/>
                  </a:lnTo>
                  <a:lnTo>
                    <a:pt x="114" y="46"/>
                  </a:lnTo>
                  <a:lnTo>
                    <a:pt x="112" y="46"/>
                  </a:lnTo>
                  <a:lnTo>
                    <a:pt x="109" y="46"/>
                  </a:lnTo>
                  <a:lnTo>
                    <a:pt x="112" y="48"/>
                  </a:lnTo>
                  <a:lnTo>
                    <a:pt x="112" y="50"/>
                  </a:lnTo>
                  <a:lnTo>
                    <a:pt x="114" y="50"/>
                  </a:lnTo>
                  <a:lnTo>
                    <a:pt x="117" y="50"/>
                  </a:lnTo>
                  <a:lnTo>
                    <a:pt x="119" y="50"/>
                  </a:lnTo>
                  <a:lnTo>
                    <a:pt x="121" y="50"/>
                  </a:lnTo>
                  <a:lnTo>
                    <a:pt x="121" y="53"/>
                  </a:lnTo>
                  <a:lnTo>
                    <a:pt x="124" y="53"/>
                  </a:lnTo>
                  <a:lnTo>
                    <a:pt x="124" y="55"/>
                  </a:lnTo>
                  <a:lnTo>
                    <a:pt x="121" y="57"/>
                  </a:lnTo>
                  <a:lnTo>
                    <a:pt x="121" y="60"/>
                  </a:lnTo>
                  <a:lnTo>
                    <a:pt x="124" y="62"/>
                  </a:lnTo>
                  <a:lnTo>
                    <a:pt x="121" y="62"/>
                  </a:lnTo>
                  <a:lnTo>
                    <a:pt x="119" y="62"/>
                  </a:lnTo>
                  <a:lnTo>
                    <a:pt x="119" y="65"/>
                  </a:lnTo>
                  <a:lnTo>
                    <a:pt x="117" y="65"/>
                  </a:lnTo>
                  <a:lnTo>
                    <a:pt x="117" y="67"/>
                  </a:lnTo>
                  <a:lnTo>
                    <a:pt x="114" y="67"/>
                  </a:lnTo>
                  <a:lnTo>
                    <a:pt x="112" y="67"/>
                  </a:lnTo>
                  <a:lnTo>
                    <a:pt x="112" y="69"/>
                  </a:lnTo>
                  <a:lnTo>
                    <a:pt x="109" y="69"/>
                  </a:lnTo>
                  <a:lnTo>
                    <a:pt x="109" y="72"/>
                  </a:lnTo>
                  <a:lnTo>
                    <a:pt x="112" y="72"/>
                  </a:lnTo>
                  <a:lnTo>
                    <a:pt x="114" y="74"/>
                  </a:lnTo>
                  <a:lnTo>
                    <a:pt x="114" y="76"/>
                  </a:lnTo>
                  <a:lnTo>
                    <a:pt x="112" y="76"/>
                  </a:lnTo>
                  <a:lnTo>
                    <a:pt x="112" y="79"/>
                  </a:lnTo>
                  <a:lnTo>
                    <a:pt x="112" y="76"/>
                  </a:lnTo>
                  <a:lnTo>
                    <a:pt x="109" y="76"/>
                  </a:lnTo>
                  <a:lnTo>
                    <a:pt x="109" y="79"/>
                  </a:lnTo>
                  <a:lnTo>
                    <a:pt x="107" y="79"/>
                  </a:lnTo>
                  <a:lnTo>
                    <a:pt x="105" y="79"/>
                  </a:lnTo>
                  <a:lnTo>
                    <a:pt x="102" y="79"/>
                  </a:lnTo>
                  <a:lnTo>
                    <a:pt x="100" y="79"/>
                  </a:lnTo>
                  <a:lnTo>
                    <a:pt x="100" y="81"/>
                  </a:lnTo>
                  <a:lnTo>
                    <a:pt x="102" y="81"/>
                  </a:lnTo>
                  <a:lnTo>
                    <a:pt x="100" y="81"/>
                  </a:lnTo>
                  <a:lnTo>
                    <a:pt x="98" y="81"/>
                  </a:lnTo>
                  <a:lnTo>
                    <a:pt x="98" y="79"/>
                  </a:lnTo>
                  <a:lnTo>
                    <a:pt x="95" y="79"/>
                  </a:lnTo>
                  <a:lnTo>
                    <a:pt x="93" y="79"/>
                  </a:lnTo>
                  <a:lnTo>
                    <a:pt x="91" y="79"/>
                  </a:lnTo>
                  <a:lnTo>
                    <a:pt x="93" y="79"/>
                  </a:lnTo>
                  <a:lnTo>
                    <a:pt x="93" y="81"/>
                  </a:lnTo>
                  <a:lnTo>
                    <a:pt x="91" y="81"/>
                  </a:lnTo>
                  <a:lnTo>
                    <a:pt x="91" y="79"/>
                  </a:lnTo>
                  <a:lnTo>
                    <a:pt x="88" y="81"/>
                  </a:lnTo>
                  <a:lnTo>
                    <a:pt x="86" y="81"/>
                  </a:lnTo>
                  <a:lnTo>
                    <a:pt x="86" y="84"/>
                  </a:lnTo>
                  <a:lnTo>
                    <a:pt x="88" y="84"/>
                  </a:lnTo>
                  <a:lnTo>
                    <a:pt x="86" y="86"/>
                  </a:lnTo>
                  <a:lnTo>
                    <a:pt x="88" y="86"/>
                  </a:lnTo>
                  <a:lnTo>
                    <a:pt x="88" y="88"/>
                  </a:lnTo>
                  <a:lnTo>
                    <a:pt x="91" y="88"/>
                  </a:lnTo>
                  <a:lnTo>
                    <a:pt x="91" y="91"/>
                  </a:lnTo>
                  <a:lnTo>
                    <a:pt x="91" y="93"/>
                  </a:lnTo>
                  <a:lnTo>
                    <a:pt x="93" y="93"/>
                  </a:lnTo>
                  <a:lnTo>
                    <a:pt x="93" y="95"/>
                  </a:lnTo>
                  <a:lnTo>
                    <a:pt x="95" y="95"/>
                  </a:lnTo>
                  <a:lnTo>
                    <a:pt x="95" y="98"/>
                  </a:lnTo>
                  <a:lnTo>
                    <a:pt x="95" y="100"/>
                  </a:lnTo>
                  <a:lnTo>
                    <a:pt x="95" y="103"/>
                  </a:lnTo>
                  <a:lnTo>
                    <a:pt x="95" y="105"/>
                  </a:lnTo>
                  <a:lnTo>
                    <a:pt x="93" y="105"/>
                  </a:lnTo>
                  <a:lnTo>
                    <a:pt x="93" y="107"/>
                  </a:lnTo>
                  <a:lnTo>
                    <a:pt x="93" y="110"/>
                  </a:lnTo>
                  <a:lnTo>
                    <a:pt x="91" y="110"/>
                  </a:lnTo>
                  <a:lnTo>
                    <a:pt x="91" y="112"/>
                  </a:lnTo>
                  <a:lnTo>
                    <a:pt x="91" y="114"/>
                  </a:lnTo>
                  <a:lnTo>
                    <a:pt x="93" y="112"/>
                  </a:lnTo>
                  <a:lnTo>
                    <a:pt x="93" y="114"/>
                  </a:lnTo>
                  <a:lnTo>
                    <a:pt x="91" y="114"/>
                  </a:lnTo>
                  <a:lnTo>
                    <a:pt x="91" y="117"/>
                  </a:lnTo>
                  <a:lnTo>
                    <a:pt x="88" y="117"/>
                  </a:lnTo>
                  <a:lnTo>
                    <a:pt x="88" y="119"/>
                  </a:lnTo>
                  <a:lnTo>
                    <a:pt x="86" y="119"/>
                  </a:lnTo>
                  <a:lnTo>
                    <a:pt x="83" y="119"/>
                  </a:lnTo>
                  <a:lnTo>
                    <a:pt x="83" y="122"/>
                  </a:lnTo>
                  <a:lnTo>
                    <a:pt x="86" y="122"/>
                  </a:lnTo>
                  <a:lnTo>
                    <a:pt x="83" y="122"/>
                  </a:lnTo>
                  <a:lnTo>
                    <a:pt x="83" y="124"/>
                  </a:lnTo>
                  <a:lnTo>
                    <a:pt x="86" y="124"/>
                  </a:lnTo>
                  <a:lnTo>
                    <a:pt x="86" y="122"/>
                  </a:lnTo>
                  <a:lnTo>
                    <a:pt x="88" y="124"/>
                  </a:lnTo>
                  <a:lnTo>
                    <a:pt x="88" y="126"/>
                  </a:lnTo>
                  <a:lnTo>
                    <a:pt x="91" y="126"/>
                  </a:lnTo>
                  <a:lnTo>
                    <a:pt x="91" y="129"/>
                  </a:lnTo>
                  <a:lnTo>
                    <a:pt x="88" y="129"/>
                  </a:lnTo>
                  <a:lnTo>
                    <a:pt x="88" y="131"/>
                  </a:lnTo>
                  <a:lnTo>
                    <a:pt x="88" y="133"/>
                  </a:lnTo>
                  <a:lnTo>
                    <a:pt x="86" y="133"/>
                  </a:lnTo>
                  <a:lnTo>
                    <a:pt x="83" y="133"/>
                  </a:lnTo>
                  <a:lnTo>
                    <a:pt x="81" y="133"/>
                  </a:lnTo>
                  <a:lnTo>
                    <a:pt x="79" y="133"/>
                  </a:lnTo>
                  <a:lnTo>
                    <a:pt x="76" y="133"/>
                  </a:lnTo>
                  <a:lnTo>
                    <a:pt x="79" y="133"/>
                  </a:lnTo>
                  <a:lnTo>
                    <a:pt x="79" y="131"/>
                  </a:lnTo>
                  <a:lnTo>
                    <a:pt x="76" y="131"/>
                  </a:lnTo>
                  <a:lnTo>
                    <a:pt x="76" y="129"/>
                  </a:lnTo>
                  <a:lnTo>
                    <a:pt x="76" y="126"/>
                  </a:lnTo>
                  <a:lnTo>
                    <a:pt x="79" y="126"/>
                  </a:lnTo>
                  <a:lnTo>
                    <a:pt x="79" y="124"/>
                  </a:lnTo>
                  <a:lnTo>
                    <a:pt x="79" y="122"/>
                  </a:lnTo>
                  <a:lnTo>
                    <a:pt x="81" y="122"/>
                  </a:lnTo>
                  <a:lnTo>
                    <a:pt x="79" y="122"/>
                  </a:lnTo>
                  <a:lnTo>
                    <a:pt x="79" y="119"/>
                  </a:lnTo>
                  <a:lnTo>
                    <a:pt x="81" y="119"/>
                  </a:lnTo>
                  <a:lnTo>
                    <a:pt x="81" y="117"/>
                  </a:lnTo>
                  <a:lnTo>
                    <a:pt x="83" y="117"/>
                  </a:lnTo>
                  <a:lnTo>
                    <a:pt x="81" y="117"/>
                  </a:lnTo>
                  <a:lnTo>
                    <a:pt x="83" y="114"/>
                  </a:lnTo>
                  <a:lnTo>
                    <a:pt x="81" y="114"/>
                  </a:lnTo>
                  <a:lnTo>
                    <a:pt x="81" y="112"/>
                  </a:lnTo>
                  <a:lnTo>
                    <a:pt x="79" y="112"/>
                  </a:lnTo>
                  <a:lnTo>
                    <a:pt x="76" y="112"/>
                  </a:lnTo>
                  <a:lnTo>
                    <a:pt x="74" y="112"/>
                  </a:lnTo>
                  <a:lnTo>
                    <a:pt x="74" y="110"/>
                  </a:lnTo>
                  <a:lnTo>
                    <a:pt x="72" y="107"/>
                  </a:lnTo>
                  <a:lnTo>
                    <a:pt x="69" y="107"/>
                  </a:lnTo>
                  <a:lnTo>
                    <a:pt x="69" y="110"/>
                  </a:lnTo>
                  <a:lnTo>
                    <a:pt x="67" y="107"/>
                  </a:lnTo>
                  <a:lnTo>
                    <a:pt x="67" y="110"/>
                  </a:lnTo>
                  <a:lnTo>
                    <a:pt x="64" y="110"/>
                  </a:lnTo>
                  <a:lnTo>
                    <a:pt x="62" y="110"/>
                  </a:lnTo>
                  <a:lnTo>
                    <a:pt x="62" y="107"/>
                  </a:lnTo>
                  <a:lnTo>
                    <a:pt x="60" y="107"/>
                  </a:lnTo>
                  <a:lnTo>
                    <a:pt x="60" y="105"/>
                  </a:lnTo>
                  <a:lnTo>
                    <a:pt x="57" y="103"/>
                  </a:lnTo>
                  <a:lnTo>
                    <a:pt x="57" y="100"/>
                  </a:lnTo>
                  <a:lnTo>
                    <a:pt x="57" y="98"/>
                  </a:lnTo>
                  <a:lnTo>
                    <a:pt x="55" y="98"/>
                  </a:lnTo>
                  <a:lnTo>
                    <a:pt x="55" y="100"/>
                  </a:lnTo>
                  <a:lnTo>
                    <a:pt x="53" y="103"/>
                  </a:lnTo>
                  <a:lnTo>
                    <a:pt x="50" y="103"/>
                  </a:lnTo>
                  <a:lnTo>
                    <a:pt x="48" y="103"/>
                  </a:lnTo>
                  <a:lnTo>
                    <a:pt x="48" y="100"/>
                  </a:lnTo>
                  <a:lnTo>
                    <a:pt x="50" y="103"/>
                  </a:lnTo>
                  <a:lnTo>
                    <a:pt x="50" y="100"/>
                  </a:lnTo>
                  <a:lnTo>
                    <a:pt x="48" y="100"/>
                  </a:lnTo>
                  <a:lnTo>
                    <a:pt x="50" y="100"/>
                  </a:lnTo>
                  <a:lnTo>
                    <a:pt x="50" y="98"/>
                  </a:lnTo>
                  <a:lnTo>
                    <a:pt x="48" y="98"/>
                  </a:lnTo>
                  <a:lnTo>
                    <a:pt x="45" y="98"/>
                  </a:lnTo>
                  <a:lnTo>
                    <a:pt x="45" y="100"/>
                  </a:lnTo>
                  <a:lnTo>
                    <a:pt x="43" y="100"/>
                  </a:lnTo>
                  <a:lnTo>
                    <a:pt x="41" y="100"/>
                  </a:lnTo>
                  <a:lnTo>
                    <a:pt x="38" y="100"/>
                  </a:lnTo>
                  <a:lnTo>
                    <a:pt x="41" y="98"/>
                  </a:lnTo>
                  <a:lnTo>
                    <a:pt x="38" y="98"/>
                  </a:lnTo>
                  <a:lnTo>
                    <a:pt x="36" y="98"/>
                  </a:lnTo>
                  <a:lnTo>
                    <a:pt x="36" y="100"/>
                  </a:lnTo>
                  <a:lnTo>
                    <a:pt x="34" y="100"/>
                  </a:lnTo>
                  <a:lnTo>
                    <a:pt x="34" y="103"/>
                  </a:lnTo>
                  <a:lnTo>
                    <a:pt x="36" y="103"/>
                  </a:lnTo>
                  <a:lnTo>
                    <a:pt x="36" y="105"/>
                  </a:lnTo>
                  <a:lnTo>
                    <a:pt x="34" y="105"/>
                  </a:lnTo>
                  <a:lnTo>
                    <a:pt x="34" y="103"/>
                  </a:lnTo>
                  <a:lnTo>
                    <a:pt x="31" y="103"/>
                  </a:lnTo>
                  <a:lnTo>
                    <a:pt x="29" y="103"/>
                  </a:lnTo>
                  <a:lnTo>
                    <a:pt x="29" y="100"/>
                  </a:lnTo>
                  <a:lnTo>
                    <a:pt x="29" y="98"/>
                  </a:lnTo>
                  <a:lnTo>
                    <a:pt x="31" y="98"/>
                  </a:lnTo>
                  <a:lnTo>
                    <a:pt x="29" y="98"/>
                  </a:lnTo>
                  <a:lnTo>
                    <a:pt x="29" y="95"/>
                  </a:lnTo>
                  <a:lnTo>
                    <a:pt x="29" y="93"/>
                  </a:lnTo>
                  <a:lnTo>
                    <a:pt x="29" y="91"/>
                  </a:lnTo>
                  <a:lnTo>
                    <a:pt x="31" y="91"/>
                  </a:lnTo>
                  <a:lnTo>
                    <a:pt x="34" y="91"/>
                  </a:lnTo>
                  <a:lnTo>
                    <a:pt x="34" y="88"/>
                  </a:lnTo>
                  <a:lnTo>
                    <a:pt x="36" y="8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2" name="Freeform 52500"/>
            <p:cNvSpPr>
              <a:spLocks noEditPoints="1"/>
            </p:cNvSpPr>
            <p:nvPr/>
          </p:nvSpPr>
          <p:spPr bwMode="auto">
            <a:xfrm>
              <a:off x="2217735" y="4422791"/>
              <a:ext cx="150813" cy="150814"/>
            </a:xfrm>
            <a:custGeom>
              <a:avLst/>
              <a:gdLst>
                <a:gd name="T0" fmla="*/ 2 w 95"/>
                <a:gd name="T1" fmla="*/ 95 h 95"/>
                <a:gd name="T2" fmla="*/ 35 w 95"/>
                <a:gd name="T3" fmla="*/ 90 h 95"/>
                <a:gd name="T4" fmla="*/ 21 w 95"/>
                <a:gd name="T5" fmla="*/ 90 h 95"/>
                <a:gd name="T6" fmla="*/ 38 w 95"/>
                <a:gd name="T7" fmla="*/ 90 h 95"/>
                <a:gd name="T8" fmla="*/ 35 w 95"/>
                <a:gd name="T9" fmla="*/ 85 h 95"/>
                <a:gd name="T10" fmla="*/ 40 w 95"/>
                <a:gd name="T11" fmla="*/ 88 h 95"/>
                <a:gd name="T12" fmla="*/ 35 w 95"/>
                <a:gd name="T13" fmla="*/ 90 h 95"/>
                <a:gd name="T14" fmla="*/ 33 w 95"/>
                <a:gd name="T15" fmla="*/ 85 h 95"/>
                <a:gd name="T16" fmla="*/ 28 w 95"/>
                <a:gd name="T17" fmla="*/ 85 h 95"/>
                <a:gd name="T18" fmla="*/ 33 w 95"/>
                <a:gd name="T19" fmla="*/ 88 h 95"/>
                <a:gd name="T20" fmla="*/ 31 w 95"/>
                <a:gd name="T21" fmla="*/ 92 h 95"/>
                <a:gd name="T22" fmla="*/ 26 w 95"/>
                <a:gd name="T23" fmla="*/ 90 h 95"/>
                <a:gd name="T24" fmla="*/ 21 w 95"/>
                <a:gd name="T25" fmla="*/ 88 h 95"/>
                <a:gd name="T26" fmla="*/ 21 w 95"/>
                <a:gd name="T27" fmla="*/ 85 h 95"/>
                <a:gd name="T28" fmla="*/ 28 w 95"/>
                <a:gd name="T29" fmla="*/ 80 h 95"/>
                <a:gd name="T30" fmla="*/ 31 w 95"/>
                <a:gd name="T31" fmla="*/ 83 h 95"/>
                <a:gd name="T32" fmla="*/ 33 w 95"/>
                <a:gd name="T33" fmla="*/ 88 h 95"/>
                <a:gd name="T34" fmla="*/ 31 w 95"/>
                <a:gd name="T35" fmla="*/ 88 h 95"/>
                <a:gd name="T36" fmla="*/ 31 w 95"/>
                <a:gd name="T37" fmla="*/ 85 h 95"/>
                <a:gd name="T38" fmla="*/ 24 w 95"/>
                <a:gd name="T39" fmla="*/ 85 h 95"/>
                <a:gd name="T40" fmla="*/ 28 w 95"/>
                <a:gd name="T41" fmla="*/ 83 h 95"/>
                <a:gd name="T42" fmla="*/ 21 w 95"/>
                <a:gd name="T43" fmla="*/ 83 h 95"/>
                <a:gd name="T44" fmla="*/ 19 w 95"/>
                <a:gd name="T45" fmla="*/ 83 h 95"/>
                <a:gd name="T46" fmla="*/ 16 w 95"/>
                <a:gd name="T47" fmla="*/ 78 h 95"/>
                <a:gd name="T48" fmla="*/ 16 w 95"/>
                <a:gd name="T49" fmla="*/ 80 h 95"/>
                <a:gd name="T50" fmla="*/ 16 w 95"/>
                <a:gd name="T51" fmla="*/ 78 h 95"/>
                <a:gd name="T52" fmla="*/ 16 w 95"/>
                <a:gd name="T53" fmla="*/ 80 h 95"/>
                <a:gd name="T54" fmla="*/ 19 w 95"/>
                <a:gd name="T55" fmla="*/ 80 h 95"/>
                <a:gd name="T56" fmla="*/ 16 w 95"/>
                <a:gd name="T57" fmla="*/ 78 h 95"/>
                <a:gd name="T58" fmla="*/ 43 w 95"/>
                <a:gd name="T59" fmla="*/ 59 h 95"/>
                <a:gd name="T60" fmla="*/ 31 w 95"/>
                <a:gd name="T61" fmla="*/ 54 h 95"/>
                <a:gd name="T62" fmla="*/ 35 w 95"/>
                <a:gd name="T63" fmla="*/ 28 h 95"/>
                <a:gd name="T64" fmla="*/ 43 w 95"/>
                <a:gd name="T65" fmla="*/ 21 h 95"/>
                <a:gd name="T66" fmla="*/ 43 w 95"/>
                <a:gd name="T67" fmla="*/ 23 h 95"/>
                <a:gd name="T68" fmla="*/ 38 w 95"/>
                <a:gd name="T69" fmla="*/ 26 h 95"/>
                <a:gd name="T70" fmla="*/ 35 w 95"/>
                <a:gd name="T71" fmla="*/ 26 h 95"/>
                <a:gd name="T72" fmla="*/ 35 w 95"/>
                <a:gd name="T73" fmla="*/ 26 h 95"/>
                <a:gd name="T74" fmla="*/ 38 w 95"/>
                <a:gd name="T75" fmla="*/ 19 h 95"/>
                <a:gd name="T76" fmla="*/ 54 w 95"/>
                <a:gd name="T77" fmla="*/ 14 h 95"/>
                <a:gd name="T78" fmla="*/ 47 w 95"/>
                <a:gd name="T79" fmla="*/ 14 h 95"/>
                <a:gd name="T80" fmla="*/ 47 w 95"/>
                <a:gd name="T81" fmla="*/ 12 h 95"/>
                <a:gd name="T82" fmla="*/ 45 w 95"/>
                <a:gd name="T83" fmla="*/ 16 h 95"/>
                <a:gd name="T84" fmla="*/ 43 w 95"/>
                <a:gd name="T85" fmla="*/ 14 h 95"/>
                <a:gd name="T86" fmla="*/ 47 w 95"/>
                <a:gd name="T87" fmla="*/ 12 h 95"/>
                <a:gd name="T88" fmla="*/ 62 w 95"/>
                <a:gd name="T89" fmla="*/ 7 h 95"/>
                <a:gd name="T90" fmla="*/ 59 w 95"/>
                <a:gd name="T91" fmla="*/ 7 h 95"/>
                <a:gd name="T92" fmla="*/ 57 w 95"/>
                <a:gd name="T93" fmla="*/ 7 h 95"/>
                <a:gd name="T94" fmla="*/ 52 w 95"/>
                <a:gd name="T95" fmla="*/ 9 h 95"/>
                <a:gd name="T96" fmla="*/ 54 w 95"/>
                <a:gd name="T97" fmla="*/ 7 h 95"/>
                <a:gd name="T98" fmla="*/ 59 w 95"/>
                <a:gd name="T99" fmla="*/ 4 h 95"/>
                <a:gd name="T100" fmla="*/ 66 w 95"/>
                <a:gd name="T101" fmla="*/ 4 h 95"/>
                <a:gd name="T102" fmla="*/ 73 w 95"/>
                <a:gd name="T103" fmla="*/ 4 h 95"/>
                <a:gd name="T104" fmla="*/ 76 w 95"/>
                <a:gd name="T105" fmla="*/ 4 h 95"/>
                <a:gd name="T106" fmla="*/ 71 w 95"/>
                <a:gd name="T107" fmla="*/ 7 h 95"/>
                <a:gd name="T108" fmla="*/ 69 w 95"/>
                <a:gd name="T109" fmla="*/ 7 h 95"/>
                <a:gd name="T110" fmla="*/ 64 w 95"/>
                <a:gd name="T111" fmla="*/ 4 h 95"/>
                <a:gd name="T112" fmla="*/ 78 w 95"/>
                <a:gd name="T113" fmla="*/ 4 h 95"/>
                <a:gd name="T114" fmla="*/ 88 w 95"/>
                <a:gd name="T115" fmla="*/ 2 h 95"/>
                <a:gd name="T116" fmla="*/ 83 w 95"/>
                <a:gd name="T117" fmla="*/ 2 h 95"/>
                <a:gd name="T118" fmla="*/ 90 w 95"/>
                <a:gd name="T119" fmla="*/ 2 h 95"/>
                <a:gd name="T120" fmla="*/ 92 w 95"/>
                <a:gd name="T121"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95">
                  <a:moveTo>
                    <a:pt x="2" y="95"/>
                  </a:moveTo>
                  <a:lnTo>
                    <a:pt x="0" y="95"/>
                  </a:lnTo>
                  <a:lnTo>
                    <a:pt x="2" y="95"/>
                  </a:lnTo>
                  <a:lnTo>
                    <a:pt x="0" y="95"/>
                  </a:lnTo>
                  <a:lnTo>
                    <a:pt x="2" y="95"/>
                  </a:lnTo>
                  <a:close/>
                  <a:moveTo>
                    <a:pt x="35" y="90"/>
                  </a:moveTo>
                  <a:lnTo>
                    <a:pt x="38" y="90"/>
                  </a:lnTo>
                  <a:lnTo>
                    <a:pt x="35" y="90"/>
                  </a:lnTo>
                  <a:close/>
                  <a:moveTo>
                    <a:pt x="21" y="90"/>
                  </a:moveTo>
                  <a:lnTo>
                    <a:pt x="24" y="90"/>
                  </a:lnTo>
                  <a:lnTo>
                    <a:pt x="21" y="90"/>
                  </a:lnTo>
                  <a:close/>
                  <a:moveTo>
                    <a:pt x="38" y="90"/>
                  </a:moveTo>
                  <a:lnTo>
                    <a:pt x="40" y="90"/>
                  </a:lnTo>
                  <a:lnTo>
                    <a:pt x="38" y="90"/>
                  </a:lnTo>
                  <a:close/>
                  <a:moveTo>
                    <a:pt x="35" y="85"/>
                  </a:moveTo>
                  <a:lnTo>
                    <a:pt x="38" y="85"/>
                  </a:lnTo>
                  <a:lnTo>
                    <a:pt x="40" y="85"/>
                  </a:lnTo>
                  <a:lnTo>
                    <a:pt x="40" y="88"/>
                  </a:lnTo>
                  <a:lnTo>
                    <a:pt x="38" y="88"/>
                  </a:lnTo>
                  <a:lnTo>
                    <a:pt x="35" y="88"/>
                  </a:lnTo>
                  <a:lnTo>
                    <a:pt x="35" y="90"/>
                  </a:lnTo>
                  <a:lnTo>
                    <a:pt x="33" y="90"/>
                  </a:lnTo>
                  <a:lnTo>
                    <a:pt x="33" y="88"/>
                  </a:lnTo>
                  <a:lnTo>
                    <a:pt x="33" y="85"/>
                  </a:lnTo>
                  <a:lnTo>
                    <a:pt x="35" y="85"/>
                  </a:lnTo>
                  <a:close/>
                  <a:moveTo>
                    <a:pt x="26" y="85"/>
                  </a:moveTo>
                  <a:lnTo>
                    <a:pt x="28" y="85"/>
                  </a:lnTo>
                  <a:lnTo>
                    <a:pt x="31" y="85"/>
                  </a:lnTo>
                  <a:lnTo>
                    <a:pt x="31" y="88"/>
                  </a:lnTo>
                  <a:lnTo>
                    <a:pt x="33" y="88"/>
                  </a:lnTo>
                  <a:lnTo>
                    <a:pt x="33" y="90"/>
                  </a:lnTo>
                  <a:lnTo>
                    <a:pt x="31" y="90"/>
                  </a:lnTo>
                  <a:lnTo>
                    <a:pt x="31" y="92"/>
                  </a:lnTo>
                  <a:lnTo>
                    <a:pt x="28" y="92"/>
                  </a:lnTo>
                  <a:lnTo>
                    <a:pt x="28" y="90"/>
                  </a:lnTo>
                  <a:lnTo>
                    <a:pt x="26" y="90"/>
                  </a:lnTo>
                  <a:lnTo>
                    <a:pt x="24" y="90"/>
                  </a:lnTo>
                  <a:lnTo>
                    <a:pt x="21" y="90"/>
                  </a:lnTo>
                  <a:lnTo>
                    <a:pt x="21" y="88"/>
                  </a:lnTo>
                  <a:lnTo>
                    <a:pt x="19" y="88"/>
                  </a:lnTo>
                  <a:lnTo>
                    <a:pt x="21" y="88"/>
                  </a:lnTo>
                  <a:lnTo>
                    <a:pt x="21" y="85"/>
                  </a:lnTo>
                  <a:lnTo>
                    <a:pt x="24" y="85"/>
                  </a:lnTo>
                  <a:lnTo>
                    <a:pt x="26" y="85"/>
                  </a:lnTo>
                  <a:close/>
                  <a:moveTo>
                    <a:pt x="28" y="80"/>
                  </a:moveTo>
                  <a:lnTo>
                    <a:pt x="28" y="83"/>
                  </a:lnTo>
                  <a:lnTo>
                    <a:pt x="31" y="80"/>
                  </a:lnTo>
                  <a:lnTo>
                    <a:pt x="31" y="83"/>
                  </a:lnTo>
                  <a:lnTo>
                    <a:pt x="33" y="83"/>
                  </a:lnTo>
                  <a:lnTo>
                    <a:pt x="33" y="85"/>
                  </a:lnTo>
                  <a:lnTo>
                    <a:pt x="33" y="88"/>
                  </a:lnTo>
                  <a:lnTo>
                    <a:pt x="33" y="85"/>
                  </a:lnTo>
                  <a:lnTo>
                    <a:pt x="33" y="88"/>
                  </a:lnTo>
                  <a:lnTo>
                    <a:pt x="31" y="88"/>
                  </a:lnTo>
                  <a:lnTo>
                    <a:pt x="31" y="85"/>
                  </a:lnTo>
                  <a:lnTo>
                    <a:pt x="31" y="88"/>
                  </a:lnTo>
                  <a:lnTo>
                    <a:pt x="31" y="85"/>
                  </a:lnTo>
                  <a:lnTo>
                    <a:pt x="28" y="85"/>
                  </a:lnTo>
                  <a:lnTo>
                    <a:pt x="26" y="85"/>
                  </a:lnTo>
                  <a:lnTo>
                    <a:pt x="24" y="85"/>
                  </a:lnTo>
                  <a:lnTo>
                    <a:pt x="24" y="83"/>
                  </a:lnTo>
                  <a:lnTo>
                    <a:pt x="26" y="83"/>
                  </a:lnTo>
                  <a:lnTo>
                    <a:pt x="28" y="83"/>
                  </a:lnTo>
                  <a:lnTo>
                    <a:pt x="28" y="80"/>
                  </a:lnTo>
                  <a:close/>
                  <a:moveTo>
                    <a:pt x="19" y="80"/>
                  </a:moveTo>
                  <a:lnTo>
                    <a:pt x="21" y="83"/>
                  </a:lnTo>
                  <a:lnTo>
                    <a:pt x="24" y="83"/>
                  </a:lnTo>
                  <a:lnTo>
                    <a:pt x="21" y="83"/>
                  </a:lnTo>
                  <a:lnTo>
                    <a:pt x="19" y="83"/>
                  </a:lnTo>
                  <a:lnTo>
                    <a:pt x="19" y="80"/>
                  </a:lnTo>
                  <a:lnTo>
                    <a:pt x="16" y="80"/>
                  </a:lnTo>
                  <a:lnTo>
                    <a:pt x="16" y="78"/>
                  </a:lnTo>
                  <a:lnTo>
                    <a:pt x="14" y="78"/>
                  </a:lnTo>
                  <a:lnTo>
                    <a:pt x="16" y="78"/>
                  </a:lnTo>
                  <a:lnTo>
                    <a:pt x="16" y="80"/>
                  </a:lnTo>
                  <a:lnTo>
                    <a:pt x="14" y="80"/>
                  </a:lnTo>
                  <a:lnTo>
                    <a:pt x="14" y="78"/>
                  </a:lnTo>
                  <a:lnTo>
                    <a:pt x="16" y="78"/>
                  </a:lnTo>
                  <a:lnTo>
                    <a:pt x="16" y="80"/>
                  </a:lnTo>
                  <a:lnTo>
                    <a:pt x="16" y="78"/>
                  </a:lnTo>
                  <a:lnTo>
                    <a:pt x="16" y="80"/>
                  </a:lnTo>
                  <a:lnTo>
                    <a:pt x="19" y="80"/>
                  </a:lnTo>
                  <a:lnTo>
                    <a:pt x="19" y="83"/>
                  </a:lnTo>
                  <a:lnTo>
                    <a:pt x="19" y="80"/>
                  </a:lnTo>
                  <a:close/>
                  <a:moveTo>
                    <a:pt x="19" y="80"/>
                  </a:moveTo>
                  <a:lnTo>
                    <a:pt x="16" y="80"/>
                  </a:lnTo>
                  <a:lnTo>
                    <a:pt x="16" y="78"/>
                  </a:lnTo>
                  <a:lnTo>
                    <a:pt x="19" y="80"/>
                  </a:lnTo>
                  <a:close/>
                  <a:moveTo>
                    <a:pt x="45" y="59"/>
                  </a:moveTo>
                  <a:lnTo>
                    <a:pt x="43" y="59"/>
                  </a:lnTo>
                  <a:lnTo>
                    <a:pt x="45" y="59"/>
                  </a:lnTo>
                  <a:close/>
                  <a:moveTo>
                    <a:pt x="28" y="54"/>
                  </a:moveTo>
                  <a:lnTo>
                    <a:pt x="31" y="54"/>
                  </a:lnTo>
                  <a:lnTo>
                    <a:pt x="28" y="54"/>
                  </a:lnTo>
                  <a:close/>
                  <a:moveTo>
                    <a:pt x="33" y="28"/>
                  </a:moveTo>
                  <a:lnTo>
                    <a:pt x="35" y="28"/>
                  </a:lnTo>
                  <a:lnTo>
                    <a:pt x="33" y="28"/>
                  </a:lnTo>
                  <a:close/>
                  <a:moveTo>
                    <a:pt x="40" y="19"/>
                  </a:moveTo>
                  <a:lnTo>
                    <a:pt x="43" y="21"/>
                  </a:lnTo>
                  <a:lnTo>
                    <a:pt x="40" y="21"/>
                  </a:lnTo>
                  <a:lnTo>
                    <a:pt x="40" y="23"/>
                  </a:lnTo>
                  <a:lnTo>
                    <a:pt x="43" y="23"/>
                  </a:lnTo>
                  <a:lnTo>
                    <a:pt x="40" y="23"/>
                  </a:lnTo>
                  <a:lnTo>
                    <a:pt x="40" y="26"/>
                  </a:lnTo>
                  <a:lnTo>
                    <a:pt x="38" y="26"/>
                  </a:lnTo>
                  <a:lnTo>
                    <a:pt x="38" y="28"/>
                  </a:lnTo>
                  <a:lnTo>
                    <a:pt x="38" y="26"/>
                  </a:lnTo>
                  <a:lnTo>
                    <a:pt x="35" y="26"/>
                  </a:lnTo>
                  <a:lnTo>
                    <a:pt x="38" y="28"/>
                  </a:lnTo>
                  <a:lnTo>
                    <a:pt x="35" y="28"/>
                  </a:lnTo>
                  <a:lnTo>
                    <a:pt x="35" y="26"/>
                  </a:lnTo>
                  <a:lnTo>
                    <a:pt x="35" y="23"/>
                  </a:lnTo>
                  <a:lnTo>
                    <a:pt x="38" y="21"/>
                  </a:lnTo>
                  <a:lnTo>
                    <a:pt x="38" y="19"/>
                  </a:lnTo>
                  <a:lnTo>
                    <a:pt x="40" y="19"/>
                  </a:lnTo>
                  <a:close/>
                  <a:moveTo>
                    <a:pt x="52" y="14"/>
                  </a:moveTo>
                  <a:lnTo>
                    <a:pt x="54" y="14"/>
                  </a:lnTo>
                  <a:lnTo>
                    <a:pt x="52" y="14"/>
                  </a:lnTo>
                  <a:close/>
                  <a:moveTo>
                    <a:pt x="50" y="14"/>
                  </a:moveTo>
                  <a:lnTo>
                    <a:pt x="47" y="14"/>
                  </a:lnTo>
                  <a:lnTo>
                    <a:pt x="50" y="12"/>
                  </a:lnTo>
                  <a:lnTo>
                    <a:pt x="50" y="14"/>
                  </a:lnTo>
                  <a:close/>
                  <a:moveTo>
                    <a:pt x="47" y="12"/>
                  </a:moveTo>
                  <a:lnTo>
                    <a:pt x="47" y="14"/>
                  </a:lnTo>
                  <a:lnTo>
                    <a:pt x="45" y="14"/>
                  </a:lnTo>
                  <a:lnTo>
                    <a:pt x="45" y="16"/>
                  </a:lnTo>
                  <a:lnTo>
                    <a:pt x="43" y="16"/>
                  </a:lnTo>
                  <a:lnTo>
                    <a:pt x="40" y="16"/>
                  </a:lnTo>
                  <a:lnTo>
                    <a:pt x="43" y="14"/>
                  </a:lnTo>
                  <a:lnTo>
                    <a:pt x="45" y="14"/>
                  </a:lnTo>
                  <a:lnTo>
                    <a:pt x="45" y="12"/>
                  </a:lnTo>
                  <a:lnTo>
                    <a:pt x="47" y="12"/>
                  </a:lnTo>
                  <a:close/>
                  <a:moveTo>
                    <a:pt x="64" y="4"/>
                  </a:moveTo>
                  <a:lnTo>
                    <a:pt x="62" y="4"/>
                  </a:lnTo>
                  <a:lnTo>
                    <a:pt x="62" y="7"/>
                  </a:lnTo>
                  <a:lnTo>
                    <a:pt x="59" y="7"/>
                  </a:lnTo>
                  <a:lnTo>
                    <a:pt x="62" y="7"/>
                  </a:lnTo>
                  <a:lnTo>
                    <a:pt x="59" y="7"/>
                  </a:lnTo>
                  <a:lnTo>
                    <a:pt x="62" y="7"/>
                  </a:lnTo>
                  <a:lnTo>
                    <a:pt x="59" y="7"/>
                  </a:lnTo>
                  <a:lnTo>
                    <a:pt x="57" y="7"/>
                  </a:lnTo>
                  <a:lnTo>
                    <a:pt x="57" y="9"/>
                  </a:lnTo>
                  <a:lnTo>
                    <a:pt x="54" y="9"/>
                  </a:lnTo>
                  <a:lnTo>
                    <a:pt x="52" y="9"/>
                  </a:lnTo>
                  <a:lnTo>
                    <a:pt x="50" y="9"/>
                  </a:lnTo>
                  <a:lnTo>
                    <a:pt x="52" y="7"/>
                  </a:lnTo>
                  <a:lnTo>
                    <a:pt x="54" y="7"/>
                  </a:lnTo>
                  <a:lnTo>
                    <a:pt x="57" y="7"/>
                  </a:lnTo>
                  <a:lnTo>
                    <a:pt x="59" y="7"/>
                  </a:lnTo>
                  <a:lnTo>
                    <a:pt x="59" y="4"/>
                  </a:lnTo>
                  <a:lnTo>
                    <a:pt x="62" y="4"/>
                  </a:lnTo>
                  <a:lnTo>
                    <a:pt x="64" y="4"/>
                  </a:lnTo>
                  <a:close/>
                  <a:moveTo>
                    <a:pt x="66" y="4"/>
                  </a:moveTo>
                  <a:lnTo>
                    <a:pt x="69" y="4"/>
                  </a:lnTo>
                  <a:lnTo>
                    <a:pt x="71" y="4"/>
                  </a:lnTo>
                  <a:lnTo>
                    <a:pt x="73" y="4"/>
                  </a:lnTo>
                  <a:lnTo>
                    <a:pt x="76" y="4"/>
                  </a:lnTo>
                  <a:lnTo>
                    <a:pt x="78" y="4"/>
                  </a:lnTo>
                  <a:lnTo>
                    <a:pt x="76" y="4"/>
                  </a:lnTo>
                  <a:lnTo>
                    <a:pt x="73" y="4"/>
                  </a:lnTo>
                  <a:lnTo>
                    <a:pt x="71" y="4"/>
                  </a:lnTo>
                  <a:lnTo>
                    <a:pt x="71" y="7"/>
                  </a:lnTo>
                  <a:lnTo>
                    <a:pt x="71" y="4"/>
                  </a:lnTo>
                  <a:lnTo>
                    <a:pt x="69" y="4"/>
                  </a:lnTo>
                  <a:lnTo>
                    <a:pt x="69" y="7"/>
                  </a:lnTo>
                  <a:lnTo>
                    <a:pt x="66" y="7"/>
                  </a:lnTo>
                  <a:lnTo>
                    <a:pt x="66" y="4"/>
                  </a:lnTo>
                  <a:lnTo>
                    <a:pt x="64" y="4"/>
                  </a:lnTo>
                  <a:lnTo>
                    <a:pt x="66" y="4"/>
                  </a:lnTo>
                  <a:close/>
                  <a:moveTo>
                    <a:pt x="81" y="4"/>
                  </a:moveTo>
                  <a:lnTo>
                    <a:pt x="78" y="4"/>
                  </a:lnTo>
                  <a:lnTo>
                    <a:pt x="81" y="4"/>
                  </a:lnTo>
                  <a:close/>
                  <a:moveTo>
                    <a:pt x="90" y="2"/>
                  </a:moveTo>
                  <a:lnTo>
                    <a:pt x="88" y="2"/>
                  </a:lnTo>
                  <a:lnTo>
                    <a:pt x="85" y="4"/>
                  </a:lnTo>
                  <a:lnTo>
                    <a:pt x="83" y="4"/>
                  </a:lnTo>
                  <a:lnTo>
                    <a:pt x="83" y="2"/>
                  </a:lnTo>
                  <a:lnTo>
                    <a:pt x="85" y="2"/>
                  </a:lnTo>
                  <a:lnTo>
                    <a:pt x="88" y="2"/>
                  </a:lnTo>
                  <a:lnTo>
                    <a:pt x="90" y="2"/>
                  </a:lnTo>
                  <a:close/>
                  <a:moveTo>
                    <a:pt x="95" y="0"/>
                  </a:moveTo>
                  <a:lnTo>
                    <a:pt x="95" y="2"/>
                  </a:lnTo>
                  <a:lnTo>
                    <a:pt x="92" y="2"/>
                  </a:lnTo>
                  <a:lnTo>
                    <a:pt x="92" y="0"/>
                  </a:lnTo>
                  <a:lnTo>
                    <a:pt x="9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3" name="Freeform 52501"/>
            <p:cNvSpPr>
              <a:spLocks noEditPoints="1"/>
            </p:cNvSpPr>
            <p:nvPr/>
          </p:nvSpPr>
          <p:spPr bwMode="auto">
            <a:xfrm>
              <a:off x="2217735" y="4489466"/>
              <a:ext cx="93663" cy="90488"/>
            </a:xfrm>
            <a:custGeom>
              <a:avLst/>
              <a:gdLst>
                <a:gd name="T0" fmla="*/ 2 w 59"/>
                <a:gd name="T1" fmla="*/ 57 h 57"/>
                <a:gd name="T2" fmla="*/ 2 w 59"/>
                <a:gd name="T3" fmla="*/ 57 h 57"/>
                <a:gd name="T4" fmla="*/ 2 w 59"/>
                <a:gd name="T5" fmla="*/ 57 h 57"/>
                <a:gd name="T6" fmla="*/ 2 w 59"/>
                <a:gd name="T7" fmla="*/ 57 h 57"/>
                <a:gd name="T8" fmla="*/ 2 w 59"/>
                <a:gd name="T9" fmla="*/ 57 h 57"/>
                <a:gd name="T10" fmla="*/ 5 w 59"/>
                <a:gd name="T11" fmla="*/ 57 h 57"/>
                <a:gd name="T12" fmla="*/ 5 w 59"/>
                <a:gd name="T13" fmla="*/ 57 h 57"/>
                <a:gd name="T14" fmla="*/ 5 w 59"/>
                <a:gd name="T15" fmla="*/ 57 h 57"/>
                <a:gd name="T16" fmla="*/ 5 w 59"/>
                <a:gd name="T17" fmla="*/ 57 h 57"/>
                <a:gd name="T18" fmla="*/ 5 w 59"/>
                <a:gd name="T19" fmla="*/ 57 h 57"/>
                <a:gd name="T20" fmla="*/ 5 w 59"/>
                <a:gd name="T21" fmla="*/ 57 h 57"/>
                <a:gd name="T22" fmla="*/ 0 w 59"/>
                <a:gd name="T23" fmla="*/ 57 h 57"/>
                <a:gd name="T24" fmla="*/ 16 w 59"/>
                <a:gd name="T25" fmla="*/ 50 h 57"/>
                <a:gd name="T26" fmla="*/ 16 w 59"/>
                <a:gd name="T27" fmla="*/ 50 h 57"/>
                <a:gd name="T28" fmla="*/ 16 w 59"/>
                <a:gd name="T29" fmla="*/ 50 h 57"/>
                <a:gd name="T30" fmla="*/ 31 w 59"/>
                <a:gd name="T31" fmla="*/ 50 h 57"/>
                <a:gd name="T32" fmla="*/ 31 w 59"/>
                <a:gd name="T33" fmla="*/ 50 h 57"/>
                <a:gd name="T34" fmla="*/ 35 w 59"/>
                <a:gd name="T35" fmla="*/ 48 h 57"/>
                <a:gd name="T36" fmla="*/ 35 w 59"/>
                <a:gd name="T37" fmla="*/ 48 h 57"/>
                <a:gd name="T38" fmla="*/ 35 w 59"/>
                <a:gd name="T39" fmla="*/ 48 h 57"/>
                <a:gd name="T40" fmla="*/ 35 w 59"/>
                <a:gd name="T41" fmla="*/ 48 h 57"/>
                <a:gd name="T42" fmla="*/ 35 w 59"/>
                <a:gd name="T43" fmla="*/ 48 h 57"/>
                <a:gd name="T44" fmla="*/ 40 w 59"/>
                <a:gd name="T45" fmla="*/ 48 h 57"/>
                <a:gd name="T46" fmla="*/ 40 w 59"/>
                <a:gd name="T47" fmla="*/ 48 h 57"/>
                <a:gd name="T48" fmla="*/ 40 w 59"/>
                <a:gd name="T49" fmla="*/ 48 h 57"/>
                <a:gd name="T50" fmla="*/ 38 w 59"/>
                <a:gd name="T51" fmla="*/ 48 h 57"/>
                <a:gd name="T52" fmla="*/ 38 w 59"/>
                <a:gd name="T53" fmla="*/ 48 h 57"/>
                <a:gd name="T54" fmla="*/ 38 w 59"/>
                <a:gd name="T55" fmla="*/ 48 h 57"/>
                <a:gd name="T56" fmla="*/ 38 w 59"/>
                <a:gd name="T57" fmla="*/ 48 h 57"/>
                <a:gd name="T58" fmla="*/ 38 w 59"/>
                <a:gd name="T59" fmla="*/ 48 h 57"/>
                <a:gd name="T60" fmla="*/ 38 w 59"/>
                <a:gd name="T61" fmla="*/ 48 h 57"/>
                <a:gd name="T62" fmla="*/ 26 w 59"/>
                <a:gd name="T63" fmla="*/ 43 h 57"/>
                <a:gd name="T64" fmla="*/ 26 w 59"/>
                <a:gd name="T65" fmla="*/ 43 h 57"/>
                <a:gd name="T66" fmla="*/ 59 w 59"/>
                <a:gd name="T67" fmla="*/ 41 h 57"/>
                <a:gd name="T68" fmla="*/ 59 w 59"/>
                <a:gd name="T69" fmla="*/ 41 h 57"/>
                <a:gd name="T70" fmla="*/ 28 w 59"/>
                <a:gd name="T71" fmla="*/ 38 h 57"/>
                <a:gd name="T72" fmla="*/ 28 w 59"/>
                <a:gd name="T73" fmla="*/ 38 h 57"/>
                <a:gd name="T74" fmla="*/ 14 w 59"/>
                <a:gd name="T75" fmla="*/ 38 h 57"/>
                <a:gd name="T76" fmla="*/ 14 w 59"/>
                <a:gd name="T77" fmla="*/ 38 h 57"/>
                <a:gd name="T78" fmla="*/ 50 w 59"/>
                <a:gd name="T79" fmla="*/ 36 h 57"/>
                <a:gd name="T80" fmla="*/ 50 w 59"/>
                <a:gd name="T81" fmla="*/ 36 h 57"/>
                <a:gd name="T82" fmla="*/ 47 w 59"/>
                <a:gd name="T83" fmla="*/ 17 h 57"/>
                <a:gd name="T84" fmla="*/ 47 w 59"/>
                <a:gd name="T85" fmla="*/ 17 h 57"/>
                <a:gd name="T86" fmla="*/ 45 w 59"/>
                <a:gd name="T87" fmla="*/ 17 h 57"/>
                <a:gd name="T88" fmla="*/ 45 w 59"/>
                <a:gd name="T89" fmla="*/ 17 h 57"/>
                <a:gd name="T90" fmla="*/ 47 w 59"/>
                <a:gd name="T91" fmla="*/ 17 h 57"/>
                <a:gd name="T92" fmla="*/ 47 w 59"/>
                <a:gd name="T93" fmla="*/ 17 h 57"/>
                <a:gd name="T94" fmla="*/ 40 w 59"/>
                <a:gd name="T95" fmla="*/ 15 h 57"/>
                <a:gd name="T96" fmla="*/ 31 w 59"/>
                <a:gd name="T97" fmla="*/ 12 h 57"/>
                <a:gd name="T98" fmla="*/ 31 w 59"/>
                <a:gd name="T99" fmla="*/ 12 h 57"/>
                <a:gd name="T100" fmla="*/ 31 w 59"/>
                <a:gd name="T101" fmla="*/ 12 h 57"/>
                <a:gd name="T102" fmla="*/ 31 w 59"/>
                <a:gd name="T103" fmla="*/ 12 h 57"/>
                <a:gd name="T104" fmla="*/ 59 w 59"/>
                <a:gd name="T105" fmla="*/ 10 h 57"/>
                <a:gd name="T106" fmla="*/ 59 w 59"/>
                <a:gd name="T107" fmla="*/ 10 h 57"/>
                <a:gd name="T108" fmla="*/ 54 w 59"/>
                <a:gd name="T109" fmla="*/ 0 h 57"/>
                <a:gd name="T110" fmla="*/ 54 w 59"/>
                <a:gd name="T111" fmla="*/ 0 h 57"/>
                <a:gd name="T112" fmla="*/ 54 w 59"/>
                <a:gd name="T113" fmla="*/ 0 h 57"/>
                <a:gd name="T114" fmla="*/ 54 w 59"/>
                <a:gd name="T11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 h="57">
                  <a:moveTo>
                    <a:pt x="2" y="57"/>
                  </a:moveTo>
                  <a:lnTo>
                    <a:pt x="2" y="57"/>
                  </a:lnTo>
                  <a:lnTo>
                    <a:pt x="2" y="57"/>
                  </a:lnTo>
                  <a:lnTo>
                    <a:pt x="2" y="57"/>
                  </a:lnTo>
                  <a:lnTo>
                    <a:pt x="2" y="57"/>
                  </a:lnTo>
                  <a:close/>
                  <a:moveTo>
                    <a:pt x="2" y="57"/>
                  </a:moveTo>
                  <a:lnTo>
                    <a:pt x="2" y="57"/>
                  </a:lnTo>
                  <a:lnTo>
                    <a:pt x="2" y="57"/>
                  </a:lnTo>
                  <a:lnTo>
                    <a:pt x="2" y="57"/>
                  </a:lnTo>
                  <a:lnTo>
                    <a:pt x="2" y="57"/>
                  </a:lnTo>
                  <a:lnTo>
                    <a:pt x="2" y="57"/>
                  </a:lnTo>
                  <a:close/>
                  <a:moveTo>
                    <a:pt x="2" y="57"/>
                  </a:moveTo>
                  <a:lnTo>
                    <a:pt x="2" y="57"/>
                  </a:lnTo>
                  <a:lnTo>
                    <a:pt x="2" y="57"/>
                  </a:lnTo>
                  <a:lnTo>
                    <a:pt x="2" y="57"/>
                  </a:lnTo>
                  <a:lnTo>
                    <a:pt x="2" y="57"/>
                  </a:lnTo>
                  <a:close/>
                  <a:moveTo>
                    <a:pt x="5" y="57"/>
                  </a:moveTo>
                  <a:lnTo>
                    <a:pt x="5" y="57"/>
                  </a:lnTo>
                  <a:lnTo>
                    <a:pt x="5" y="57"/>
                  </a:lnTo>
                  <a:lnTo>
                    <a:pt x="5" y="57"/>
                  </a:lnTo>
                  <a:lnTo>
                    <a:pt x="5" y="57"/>
                  </a:lnTo>
                  <a:lnTo>
                    <a:pt x="5" y="57"/>
                  </a:lnTo>
                  <a:close/>
                  <a:moveTo>
                    <a:pt x="5" y="57"/>
                  </a:moveTo>
                  <a:lnTo>
                    <a:pt x="5" y="57"/>
                  </a:lnTo>
                  <a:lnTo>
                    <a:pt x="5" y="57"/>
                  </a:lnTo>
                  <a:lnTo>
                    <a:pt x="5" y="57"/>
                  </a:lnTo>
                  <a:lnTo>
                    <a:pt x="5" y="57"/>
                  </a:lnTo>
                  <a:lnTo>
                    <a:pt x="5" y="57"/>
                  </a:lnTo>
                  <a:lnTo>
                    <a:pt x="5" y="57"/>
                  </a:lnTo>
                  <a:lnTo>
                    <a:pt x="5" y="57"/>
                  </a:lnTo>
                  <a:lnTo>
                    <a:pt x="5" y="57"/>
                  </a:lnTo>
                  <a:lnTo>
                    <a:pt x="5" y="57"/>
                  </a:lnTo>
                  <a:lnTo>
                    <a:pt x="5" y="57"/>
                  </a:lnTo>
                  <a:close/>
                  <a:moveTo>
                    <a:pt x="0" y="57"/>
                  </a:moveTo>
                  <a:lnTo>
                    <a:pt x="2" y="57"/>
                  </a:lnTo>
                  <a:lnTo>
                    <a:pt x="0" y="57"/>
                  </a:lnTo>
                  <a:lnTo>
                    <a:pt x="0" y="57"/>
                  </a:lnTo>
                  <a:lnTo>
                    <a:pt x="0" y="57"/>
                  </a:lnTo>
                  <a:close/>
                  <a:moveTo>
                    <a:pt x="16" y="50"/>
                  </a:moveTo>
                  <a:lnTo>
                    <a:pt x="16" y="50"/>
                  </a:lnTo>
                  <a:lnTo>
                    <a:pt x="16" y="50"/>
                  </a:lnTo>
                  <a:lnTo>
                    <a:pt x="16" y="50"/>
                  </a:lnTo>
                  <a:close/>
                  <a:moveTo>
                    <a:pt x="16" y="50"/>
                  </a:moveTo>
                  <a:lnTo>
                    <a:pt x="16" y="50"/>
                  </a:lnTo>
                  <a:lnTo>
                    <a:pt x="16" y="50"/>
                  </a:lnTo>
                  <a:lnTo>
                    <a:pt x="16" y="50"/>
                  </a:lnTo>
                  <a:close/>
                  <a:moveTo>
                    <a:pt x="31" y="50"/>
                  </a:moveTo>
                  <a:lnTo>
                    <a:pt x="31" y="50"/>
                  </a:lnTo>
                  <a:lnTo>
                    <a:pt x="31" y="50"/>
                  </a:lnTo>
                  <a:lnTo>
                    <a:pt x="31" y="50"/>
                  </a:lnTo>
                  <a:lnTo>
                    <a:pt x="31" y="50"/>
                  </a:lnTo>
                  <a:lnTo>
                    <a:pt x="31" y="50"/>
                  </a:lnTo>
                  <a:lnTo>
                    <a:pt x="31" y="50"/>
                  </a:lnTo>
                  <a:close/>
                  <a:moveTo>
                    <a:pt x="35" y="48"/>
                  </a:moveTo>
                  <a:lnTo>
                    <a:pt x="35" y="48"/>
                  </a:lnTo>
                  <a:lnTo>
                    <a:pt x="35" y="48"/>
                  </a:lnTo>
                  <a:lnTo>
                    <a:pt x="35" y="48"/>
                  </a:lnTo>
                  <a:lnTo>
                    <a:pt x="35" y="48"/>
                  </a:lnTo>
                  <a:lnTo>
                    <a:pt x="35" y="48"/>
                  </a:lnTo>
                  <a:lnTo>
                    <a:pt x="35" y="48"/>
                  </a:lnTo>
                  <a:lnTo>
                    <a:pt x="35" y="48"/>
                  </a:lnTo>
                  <a:lnTo>
                    <a:pt x="35" y="48"/>
                  </a:lnTo>
                  <a:close/>
                  <a:moveTo>
                    <a:pt x="35" y="48"/>
                  </a:moveTo>
                  <a:lnTo>
                    <a:pt x="35" y="48"/>
                  </a:lnTo>
                  <a:lnTo>
                    <a:pt x="35" y="48"/>
                  </a:lnTo>
                  <a:lnTo>
                    <a:pt x="35" y="48"/>
                  </a:lnTo>
                  <a:lnTo>
                    <a:pt x="35" y="48"/>
                  </a:lnTo>
                  <a:lnTo>
                    <a:pt x="35" y="48"/>
                  </a:lnTo>
                  <a:close/>
                  <a:moveTo>
                    <a:pt x="40" y="48"/>
                  </a:moveTo>
                  <a:lnTo>
                    <a:pt x="40" y="48"/>
                  </a:lnTo>
                  <a:lnTo>
                    <a:pt x="40" y="48"/>
                  </a:lnTo>
                  <a:lnTo>
                    <a:pt x="40" y="48"/>
                  </a:lnTo>
                  <a:lnTo>
                    <a:pt x="40" y="48"/>
                  </a:lnTo>
                  <a:lnTo>
                    <a:pt x="40" y="48"/>
                  </a:lnTo>
                  <a:lnTo>
                    <a:pt x="40" y="48"/>
                  </a:lnTo>
                  <a:close/>
                  <a:moveTo>
                    <a:pt x="38" y="48"/>
                  </a:moveTo>
                  <a:lnTo>
                    <a:pt x="38" y="48"/>
                  </a:lnTo>
                  <a:lnTo>
                    <a:pt x="38" y="48"/>
                  </a:lnTo>
                  <a:lnTo>
                    <a:pt x="38" y="48"/>
                  </a:lnTo>
                  <a:lnTo>
                    <a:pt x="38" y="48"/>
                  </a:lnTo>
                  <a:close/>
                  <a:moveTo>
                    <a:pt x="38" y="48"/>
                  </a:moveTo>
                  <a:lnTo>
                    <a:pt x="38" y="48"/>
                  </a:lnTo>
                  <a:lnTo>
                    <a:pt x="38" y="48"/>
                  </a:lnTo>
                  <a:lnTo>
                    <a:pt x="38" y="48"/>
                  </a:lnTo>
                  <a:lnTo>
                    <a:pt x="38" y="48"/>
                  </a:lnTo>
                  <a:lnTo>
                    <a:pt x="38" y="48"/>
                  </a:lnTo>
                  <a:lnTo>
                    <a:pt x="38" y="48"/>
                  </a:lnTo>
                  <a:lnTo>
                    <a:pt x="38" y="48"/>
                  </a:lnTo>
                  <a:close/>
                  <a:moveTo>
                    <a:pt x="38" y="48"/>
                  </a:moveTo>
                  <a:lnTo>
                    <a:pt x="38" y="48"/>
                  </a:lnTo>
                  <a:lnTo>
                    <a:pt x="38" y="48"/>
                  </a:lnTo>
                  <a:lnTo>
                    <a:pt x="38" y="48"/>
                  </a:lnTo>
                  <a:lnTo>
                    <a:pt x="38" y="48"/>
                  </a:lnTo>
                  <a:lnTo>
                    <a:pt x="38" y="48"/>
                  </a:lnTo>
                  <a:lnTo>
                    <a:pt x="38" y="48"/>
                  </a:lnTo>
                  <a:close/>
                  <a:moveTo>
                    <a:pt x="26" y="43"/>
                  </a:moveTo>
                  <a:lnTo>
                    <a:pt x="26" y="43"/>
                  </a:lnTo>
                  <a:lnTo>
                    <a:pt x="26" y="43"/>
                  </a:lnTo>
                  <a:lnTo>
                    <a:pt x="26" y="43"/>
                  </a:lnTo>
                  <a:lnTo>
                    <a:pt x="26" y="43"/>
                  </a:lnTo>
                  <a:close/>
                  <a:moveTo>
                    <a:pt x="59" y="41"/>
                  </a:moveTo>
                  <a:lnTo>
                    <a:pt x="59" y="41"/>
                  </a:lnTo>
                  <a:lnTo>
                    <a:pt x="59" y="41"/>
                  </a:lnTo>
                  <a:lnTo>
                    <a:pt x="59" y="41"/>
                  </a:lnTo>
                  <a:lnTo>
                    <a:pt x="59" y="41"/>
                  </a:lnTo>
                  <a:lnTo>
                    <a:pt x="59" y="41"/>
                  </a:lnTo>
                  <a:lnTo>
                    <a:pt x="59" y="41"/>
                  </a:lnTo>
                  <a:close/>
                  <a:moveTo>
                    <a:pt x="28" y="38"/>
                  </a:moveTo>
                  <a:lnTo>
                    <a:pt x="28" y="38"/>
                  </a:lnTo>
                  <a:lnTo>
                    <a:pt x="28" y="38"/>
                  </a:lnTo>
                  <a:lnTo>
                    <a:pt x="28" y="38"/>
                  </a:lnTo>
                  <a:lnTo>
                    <a:pt x="28" y="38"/>
                  </a:lnTo>
                  <a:lnTo>
                    <a:pt x="28" y="38"/>
                  </a:lnTo>
                  <a:close/>
                  <a:moveTo>
                    <a:pt x="14" y="38"/>
                  </a:moveTo>
                  <a:lnTo>
                    <a:pt x="14" y="38"/>
                  </a:lnTo>
                  <a:lnTo>
                    <a:pt x="14" y="38"/>
                  </a:lnTo>
                  <a:lnTo>
                    <a:pt x="14" y="38"/>
                  </a:lnTo>
                  <a:close/>
                  <a:moveTo>
                    <a:pt x="50" y="36"/>
                  </a:moveTo>
                  <a:lnTo>
                    <a:pt x="50" y="36"/>
                  </a:lnTo>
                  <a:lnTo>
                    <a:pt x="50" y="36"/>
                  </a:lnTo>
                  <a:lnTo>
                    <a:pt x="50" y="36"/>
                  </a:lnTo>
                  <a:lnTo>
                    <a:pt x="50" y="36"/>
                  </a:lnTo>
                  <a:lnTo>
                    <a:pt x="50" y="36"/>
                  </a:lnTo>
                  <a:lnTo>
                    <a:pt x="50" y="36"/>
                  </a:lnTo>
                  <a:close/>
                  <a:moveTo>
                    <a:pt x="47" y="17"/>
                  </a:moveTo>
                  <a:lnTo>
                    <a:pt x="47" y="17"/>
                  </a:lnTo>
                  <a:lnTo>
                    <a:pt x="47" y="17"/>
                  </a:lnTo>
                  <a:lnTo>
                    <a:pt x="47" y="17"/>
                  </a:lnTo>
                  <a:lnTo>
                    <a:pt x="47" y="17"/>
                  </a:lnTo>
                  <a:lnTo>
                    <a:pt x="47" y="17"/>
                  </a:lnTo>
                  <a:close/>
                  <a:moveTo>
                    <a:pt x="45" y="17"/>
                  </a:moveTo>
                  <a:lnTo>
                    <a:pt x="45" y="17"/>
                  </a:lnTo>
                  <a:lnTo>
                    <a:pt x="45" y="17"/>
                  </a:lnTo>
                  <a:lnTo>
                    <a:pt x="45" y="17"/>
                  </a:lnTo>
                  <a:lnTo>
                    <a:pt x="45" y="17"/>
                  </a:lnTo>
                  <a:close/>
                  <a:moveTo>
                    <a:pt x="47" y="17"/>
                  </a:moveTo>
                  <a:lnTo>
                    <a:pt x="47" y="17"/>
                  </a:lnTo>
                  <a:lnTo>
                    <a:pt x="47" y="17"/>
                  </a:lnTo>
                  <a:lnTo>
                    <a:pt x="47" y="17"/>
                  </a:lnTo>
                  <a:lnTo>
                    <a:pt x="47" y="17"/>
                  </a:lnTo>
                  <a:lnTo>
                    <a:pt x="47" y="17"/>
                  </a:lnTo>
                  <a:close/>
                  <a:moveTo>
                    <a:pt x="40" y="15"/>
                  </a:moveTo>
                  <a:lnTo>
                    <a:pt x="40" y="15"/>
                  </a:lnTo>
                  <a:lnTo>
                    <a:pt x="40" y="15"/>
                  </a:lnTo>
                  <a:lnTo>
                    <a:pt x="40" y="15"/>
                  </a:lnTo>
                  <a:lnTo>
                    <a:pt x="40" y="15"/>
                  </a:lnTo>
                  <a:close/>
                  <a:moveTo>
                    <a:pt x="31" y="12"/>
                  </a:moveTo>
                  <a:lnTo>
                    <a:pt x="31" y="12"/>
                  </a:lnTo>
                  <a:lnTo>
                    <a:pt x="31" y="12"/>
                  </a:lnTo>
                  <a:lnTo>
                    <a:pt x="31" y="12"/>
                  </a:lnTo>
                  <a:lnTo>
                    <a:pt x="31" y="12"/>
                  </a:lnTo>
                  <a:close/>
                  <a:moveTo>
                    <a:pt x="31" y="12"/>
                  </a:moveTo>
                  <a:lnTo>
                    <a:pt x="31" y="12"/>
                  </a:lnTo>
                  <a:lnTo>
                    <a:pt x="31" y="12"/>
                  </a:lnTo>
                  <a:lnTo>
                    <a:pt x="31" y="12"/>
                  </a:lnTo>
                  <a:lnTo>
                    <a:pt x="31" y="12"/>
                  </a:lnTo>
                  <a:lnTo>
                    <a:pt x="31" y="12"/>
                  </a:lnTo>
                  <a:lnTo>
                    <a:pt x="31" y="12"/>
                  </a:lnTo>
                  <a:close/>
                  <a:moveTo>
                    <a:pt x="59" y="10"/>
                  </a:moveTo>
                  <a:lnTo>
                    <a:pt x="57" y="10"/>
                  </a:lnTo>
                  <a:lnTo>
                    <a:pt x="59" y="10"/>
                  </a:lnTo>
                  <a:lnTo>
                    <a:pt x="59" y="10"/>
                  </a:lnTo>
                  <a:lnTo>
                    <a:pt x="59" y="10"/>
                  </a:lnTo>
                  <a:lnTo>
                    <a:pt x="59" y="10"/>
                  </a:lnTo>
                  <a:close/>
                  <a:moveTo>
                    <a:pt x="54" y="0"/>
                  </a:moveTo>
                  <a:lnTo>
                    <a:pt x="54" y="0"/>
                  </a:lnTo>
                  <a:lnTo>
                    <a:pt x="54" y="0"/>
                  </a:lnTo>
                  <a:lnTo>
                    <a:pt x="54" y="0"/>
                  </a:lnTo>
                  <a:lnTo>
                    <a:pt x="54" y="0"/>
                  </a:lnTo>
                  <a:lnTo>
                    <a:pt x="54" y="0"/>
                  </a:lnTo>
                  <a:close/>
                  <a:moveTo>
                    <a:pt x="54" y="0"/>
                  </a:moveTo>
                  <a:lnTo>
                    <a:pt x="54" y="0"/>
                  </a:lnTo>
                  <a:lnTo>
                    <a:pt x="54" y="0"/>
                  </a:lnTo>
                  <a:lnTo>
                    <a:pt x="54" y="0"/>
                  </a:lnTo>
                  <a:lnTo>
                    <a:pt x="5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4" name="Freeform 52502"/>
            <p:cNvSpPr>
              <a:spLocks noEditPoints="1"/>
            </p:cNvSpPr>
            <p:nvPr/>
          </p:nvSpPr>
          <p:spPr bwMode="auto">
            <a:xfrm>
              <a:off x="2955922" y="1939935"/>
              <a:ext cx="496888" cy="347664"/>
            </a:xfrm>
            <a:custGeom>
              <a:avLst/>
              <a:gdLst>
                <a:gd name="T0" fmla="*/ 192 w 313"/>
                <a:gd name="T1" fmla="*/ 174 h 219"/>
                <a:gd name="T2" fmla="*/ 211 w 313"/>
                <a:gd name="T3" fmla="*/ 183 h 219"/>
                <a:gd name="T4" fmla="*/ 197 w 313"/>
                <a:gd name="T5" fmla="*/ 200 h 219"/>
                <a:gd name="T6" fmla="*/ 166 w 313"/>
                <a:gd name="T7" fmla="*/ 217 h 219"/>
                <a:gd name="T8" fmla="*/ 161 w 313"/>
                <a:gd name="T9" fmla="*/ 202 h 219"/>
                <a:gd name="T10" fmla="*/ 173 w 313"/>
                <a:gd name="T11" fmla="*/ 198 h 219"/>
                <a:gd name="T12" fmla="*/ 164 w 313"/>
                <a:gd name="T13" fmla="*/ 195 h 219"/>
                <a:gd name="T14" fmla="*/ 164 w 313"/>
                <a:gd name="T15" fmla="*/ 188 h 219"/>
                <a:gd name="T16" fmla="*/ 156 w 313"/>
                <a:gd name="T17" fmla="*/ 195 h 219"/>
                <a:gd name="T18" fmla="*/ 140 w 313"/>
                <a:gd name="T19" fmla="*/ 200 h 219"/>
                <a:gd name="T20" fmla="*/ 104 w 313"/>
                <a:gd name="T21" fmla="*/ 202 h 219"/>
                <a:gd name="T22" fmla="*/ 119 w 313"/>
                <a:gd name="T23" fmla="*/ 181 h 219"/>
                <a:gd name="T24" fmla="*/ 109 w 313"/>
                <a:gd name="T25" fmla="*/ 169 h 219"/>
                <a:gd name="T26" fmla="*/ 130 w 313"/>
                <a:gd name="T27" fmla="*/ 155 h 219"/>
                <a:gd name="T28" fmla="*/ 168 w 313"/>
                <a:gd name="T29" fmla="*/ 153 h 219"/>
                <a:gd name="T30" fmla="*/ 175 w 313"/>
                <a:gd name="T31" fmla="*/ 29 h 219"/>
                <a:gd name="T32" fmla="*/ 185 w 313"/>
                <a:gd name="T33" fmla="*/ 27 h 219"/>
                <a:gd name="T34" fmla="*/ 197 w 313"/>
                <a:gd name="T35" fmla="*/ 24 h 219"/>
                <a:gd name="T36" fmla="*/ 202 w 313"/>
                <a:gd name="T37" fmla="*/ 17 h 219"/>
                <a:gd name="T38" fmla="*/ 216 w 313"/>
                <a:gd name="T39" fmla="*/ 15 h 219"/>
                <a:gd name="T40" fmla="*/ 223 w 313"/>
                <a:gd name="T41" fmla="*/ 12 h 219"/>
                <a:gd name="T42" fmla="*/ 232 w 313"/>
                <a:gd name="T43" fmla="*/ 17 h 219"/>
                <a:gd name="T44" fmla="*/ 249 w 313"/>
                <a:gd name="T45" fmla="*/ 19 h 219"/>
                <a:gd name="T46" fmla="*/ 268 w 313"/>
                <a:gd name="T47" fmla="*/ 24 h 219"/>
                <a:gd name="T48" fmla="*/ 301 w 313"/>
                <a:gd name="T49" fmla="*/ 27 h 219"/>
                <a:gd name="T50" fmla="*/ 308 w 313"/>
                <a:gd name="T51" fmla="*/ 48 h 219"/>
                <a:gd name="T52" fmla="*/ 277 w 313"/>
                <a:gd name="T53" fmla="*/ 60 h 219"/>
                <a:gd name="T54" fmla="*/ 247 w 313"/>
                <a:gd name="T55" fmla="*/ 79 h 219"/>
                <a:gd name="T56" fmla="*/ 206 w 313"/>
                <a:gd name="T57" fmla="*/ 88 h 219"/>
                <a:gd name="T58" fmla="*/ 166 w 313"/>
                <a:gd name="T59" fmla="*/ 81 h 219"/>
                <a:gd name="T60" fmla="*/ 145 w 313"/>
                <a:gd name="T61" fmla="*/ 79 h 219"/>
                <a:gd name="T62" fmla="*/ 100 w 313"/>
                <a:gd name="T63" fmla="*/ 77 h 219"/>
                <a:gd name="T64" fmla="*/ 66 w 313"/>
                <a:gd name="T65" fmla="*/ 62 h 219"/>
                <a:gd name="T66" fmla="*/ 97 w 313"/>
                <a:gd name="T67" fmla="*/ 65 h 219"/>
                <a:gd name="T68" fmla="*/ 97 w 313"/>
                <a:gd name="T69" fmla="*/ 62 h 219"/>
                <a:gd name="T70" fmla="*/ 128 w 313"/>
                <a:gd name="T71" fmla="*/ 58 h 219"/>
                <a:gd name="T72" fmla="*/ 123 w 313"/>
                <a:gd name="T73" fmla="*/ 48 h 219"/>
                <a:gd name="T74" fmla="*/ 85 w 313"/>
                <a:gd name="T75" fmla="*/ 50 h 219"/>
                <a:gd name="T76" fmla="*/ 57 w 313"/>
                <a:gd name="T77" fmla="*/ 53 h 219"/>
                <a:gd name="T78" fmla="*/ 35 w 313"/>
                <a:gd name="T79" fmla="*/ 55 h 219"/>
                <a:gd name="T80" fmla="*/ 24 w 313"/>
                <a:gd name="T81" fmla="*/ 50 h 219"/>
                <a:gd name="T82" fmla="*/ 31 w 313"/>
                <a:gd name="T83" fmla="*/ 38 h 219"/>
                <a:gd name="T84" fmla="*/ 35 w 313"/>
                <a:gd name="T85" fmla="*/ 34 h 219"/>
                <a:gd name="T86" fmla="*/ 14 w 313"/>
                <a:gd name="T87" fmla="*/ 31 h 219"/>
                <a:gd name="T88" fmla="*/ 7 w 313"/>
                <a:gd name="T89" fmla="*/ 24 h 219"/>
                <a:gd name="T90" fmla="*/ 28 w 313"/>
                <a:gd name="T91" fmla="*/ 24 h 219"/>
                <a:gd name="T92" fmla="*/ 45 w 313"/>
                <a:gd name="T93" fmla="*/ 27 h 219"/>
                <a:gd name="T94" fmla="*/ 52 w 313"/>
                <a:gd name="T95" fmla="*/ 24 h 219"/>
                <a:gd name="T96" fmla="*/ 57 w 313"/>
                <a:gd name="T97" fmla="*/ 17 h 219"/>
                <a:gd name="T98" fmla="*/ 66 w 313"/>
                <a:gd name="T99" fmla="*/ 15 h 219"/>
                <a:gd name="T100" fmla="*/ 59 w 313"/>
                <a:gd name="T101" fmla="*/ 3 h 219"/>
                <a:gd name="T102" fmla="*/ 78 w 313"/>
                <a:gd name="T103" fmla="*/ 8 h 219"/>
                <a:gd name="T104" fmla="*/ 100 w 313"/>
                <a:gd name="T105" fmla="*/ 15 h 219"/>
                <a:gd name="T106" fmla="*/ 121 w 313"/>
                <a:gd name="T107" fmla="*/ 22 h 219"/>
                <a:gd name="T108" fmla="*/ 128 w 313"/>
                <a:gd name="T109" fmla="*/ 27 h 219"/>
                <a:gd name="T110" fmla="*/ 147 w 313"/>
                <a:gd name="T111" fmla="*/ 36 h 219"/>
                <a:gd name="T112" fmla="*/ 154 w 313"/>
                <a:gd name="T113" fmla="*/ 29 h 219"/>
                <a:gd name="T114" fmla="*/ 154 w 313"/>
                <a:gd name="T115" fmla="*/ 12 h 219"/>
                <a:gd name="T116" fmla="*/ 168 w 313"/>
                <a:gd name="T117" fmla="*/ 5 h 219"/>
                <a:gd name="T118" fmla="*/ 180 w 313"/>
                <a:gd name="T119" fmla="*/ 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3" h="219">
                  <a:moveTo>
                    <a:pt x="171" y="155"/>
                  </a:moveTo>
                  <a:lnTo>
                    <a:pt x="173" y="155"/>
                  </a:lnTo>
                  <a:lnTo>
                    <a:pt x="175" y="155"/>
                  </a:lnTo>
                  <a:lnTo>
                    <a:pt x="178" y="155"/>
                  </a:lnTo>
                  <a:lnTo>
                    <a:pt x="178" y="157"/>
                  </a:lnTo>
                  <a:lnTo>
                    <a:pt x="180" y="160"/>
                  </a:lnTo>
                  <a:lnTo>
                    <a:pt x="178" y="160"/>
                  </a:lnTo>
                  <a:lnTo>
                    <a:pt x="178" y="162"/>
                  </a:lnTo>
                  <a:lnTo>
                    <a:pt x="175" y="162"/>
                  </a:lnTo>
                  <a:lnTo>
                    <a:pt x="178" y="164"/>
                  </a:lnTo>
                  <a:lnTo>
                    <a:pt x="180" y="167"/>
                  </a:lnTo>
                  <a:lnTo>
                    <a:pt x="183" y="167"/>
                  </a:lnTo>
                  <a:lnTo>
                    <a:pt x="183" y="169"/>
                  </a:lnTo>
                  <a:lnTo>
                    <a:pt x="183" y="172"/>
                  </a:lnTo>
                  <a:lnTo>
                    <a:pt x="185" y="172"/>
                  </a:lnTo>
                  <a:lnTo>
                    <a:pt x="187" y="172"/>
                  </a:lnTo>
                  <a:lnTo>
                    <a:pt x="190" y="174"/>
                  </a:lnTo>
                  <a:lnTo>
                    <a:pt x="192" y="174"/>
                  </a:lnTo>
                  <a:lnTo>
                    <a:pt x="194" y="176"/>
                  </a:lnTo>
                  <a:lnTo>
                    <a:pt x="197" y="174"/>
                  </a:lnTo>
                  <a:lnTo>
                    <a:pt x="199" y="174"/>
                  </a:lnTo>
                  <a:lnTo>
                    <a:pt x="202" y="174"/>
                  </a:lnTo>
                  <a:lnTo>
                    <a:pt x="204" y="174"/>
                  </a:lnTo>
                  <a:lnTo>
                    <a:pt x="206" y="174"/>
                  </a:lnTo>
                  <a:lnTo>
                    <a:pt x="211" y="174"/>
                  </a:lnTo>
                  <a:lnTo>
                    <a:pt x="213" y="174"/>
                  </a:lnTo>
                  <a:lnTo>
                    <a:pt x="216" y="174"/>
                  </a:lnTo>
                  <a:lnTo>
                    <a:pt x="216" y="176"/>
                  </a:lnTo>
                  <a:lnTo>
                    <a:pt x="213" y="176"/>
                  </a:lnTo>
                  <a:lnTo>
                    <a:pt x="216" y="176"/>
                  </a:lnTo>
                  <a:lnTo>
                    <a:pt x="218" y="176"/>
                  </a:lnTo>
                  <a:lnTo>
                    <a:pt x="216" y="176"/>
                  </a:lnTo>
                  <a:lnTo>
                    <a:pt x="213" y="179"/>
                  </a:lnTo>
                  <a:lnTo>
                    <a:pt x="211" y="179"/>
                  </a:lnTo>
                  <a:lnTo>
                    <a:pt x="211" y="181"/>
                  </a:lnTo>
                  <a:lnTo>
                    <a:pt x="211" y="183"/>
                  </a:lnTo>
                  <a:lnTo>
                    <a:pt x="209" y="183"/>
                  </a:lnTo>
                  <a:lnTo>
                    <a:pt x="211" y="183"/>
                  </a:lnTo>
                  <a:lnTo>
                    <a:pt x="211" y="186"/>
                  </a:lnTo>
                  <a:lnTo>
                    <a:pt x="213" y="186"/>
                  </a:lnTo>
                  <a:lnTo>
                    <a:pt x="213" y="188"/>
                  </a:lnTo>
                  <a:lnTo>
                    <a:pt x="211" y="188"/>
                  </a:lnTo>
                  <a:lnTo>
                    <a:pt x="211" y="191"/>
                  </a:lnTo>
                  <a:lnTo>
                    <a:pt x="209" y="191"/>
                  </a:lnTo>
                  <a:lnTo>
                    <a:pt x="206" y="191"/>
                  </a:lnTo>
                  <a:lnTo>
                    <a:pt x="206" y="193"/>
                  </a:lnTo>
                  <a:lnTo>
                    <a:pt x="204" y="193"/>
                  </a:lnTo>
                  <a:lnTo>
                    <a:pt x="206" y="193"/>
                  </a:lnTo>
                  <a:lnTo>
                    <a:pt x="206" y="195"/>
                  </a:lnTo>
                  <a:lnTo>
                    <a:pt x="204" y="195"/>
                  </a:lnTo>
                  <a:lnTo>
                    <a:pt x="202" y="195"/>
                  </a:lnTo>
                  <a:lnTo>
                    <a:pt x="202" y="198"/>
                  </a:lnTo>
                  <a:lnTo>
                    <a:pt x="199" y="200"/>
                  </a:lnTo>
                  <a:lnTo>
                    <a:pt x="197" y="200"/>
                  </a:lnTo>
                  <a:lnTo>
                    <a:pt x="194" y="202"/>
                  </a:lnTo>
                  <a:lnTo>
                    <a:pt x="192" y="205"/>
                  </a:lnTo>
                  <a:lnTo>
                    <a:pt x="190" y="205"/>
                  </a:lnTo>
                  <a:lnTo>
                    <a:pt x="190" y="207"/>
                  </a:lnTo>
                  <a:lnTo>
                    <a:pt x="187" y="207"/>
                  </a:lnTo>
                  <a:lnTo>
                    <a:pt x="185" y="207"/>
                  </a:lnTo>
                  <a:lnTo>
                    <a:pt x="185" y="210"/>
                  </a:lnTo>
                  <a:lnTo>
                    <a:pt x="183" y="210"/>
                  </a:lnTo>
                  <a:lnTo>
                    <a:pt x="180" y="210"/>
                  </a:lnTo>
                  <a:lnTo>
                    <a:pt x="180" y="212"/>
                  </a:lnTo>
                  <a:lnTo>
                    <a:pt x="178" y="212"/>
                  </a:lnTo>
                  <a:lnTo>
                    <a:pt x="175" y="212"/>
                  </a:lnTo>
                  <a:lnTo>
                    <a:pt x="175" y="214"/>
                  </a:lnTo>
                  <a:lnTo>
                    <a:pt x="173" y="214"/>
                  </a:lnTo>
                  <a:lnTo>
                    <a:pt x="173" y="217"/>
                  </a:lnTo>
                  <a:lnTo>
                    <a:pt x="171" y="217"/>
                  </a:lnTo>
                  <a:lnTo>
                    <a:pt x="168" y="217"/>
                  </a:lnTo>
                  <a:lnTo>
                    <a:pt x="166" y="217"/>
                  </a:lnTo>
                  <a:lnTo>
                    <a:pt x="164" y="219"/>
                  </a:lnTo>
                  <a:lnTo>
                    <a:pt x="161" y="219"/>
                  </a:lnTo>
                  <a:lnTo>
                    <a:pt x="159" y="219"/>
                  </a:lnTo>
                  <a:lnTo>
                    <a:pt x="159" y="217"/>
                  </a:lnTo>
                  <a:lnTo>
                    <a:pt x="161" y="214"/>
                  </a:lnTo>
                  <a:lnTo>
                    <a:pt x="164" y="214"/>
                  </a:lnTo>
                  <a:lnTo>
                    <a:pt x="164" y="212"/>
                  </a:lnTo>
                  <a:lnTo>
                    <a:pt x="164" y="210"/>
                  </a:lnTo>
                  <a:lnTo>
                    <a:pt x="161" y="210"/>
                  </a:lnTo>
                  <a:lnTo>
                    <a:pt x="159" y="210"/>
                  </a:lnTo>
                  <a:lnTo>
                    <a:pt x="161" y="210"/>
                  </a:lnTo>
                  <a:lnTo>
                    <a:pt x="161" y="207"/>
                  </a:lnTo>
                  <a:lnTo>
                    <a:pt x="164" y="207"/>
                  </a:lnTo>
                  <a:lnTo>
                    <a:pt x="166" y="207"/>
                  </a:lnTo>
                  <a:lnTo>
                    <a:pt x="166" y="205"/>
                  </a:lnTo>
                  <a:lnTo>
                    <a:pt x="166" y="202"/>
                  </a:lnTo>
                  <a:lnTo>
                    <a:pt x="164" y="202"/>
                  </a:lnTo>
                  <a:lnTo>
                    <a:pt x="161" y="202"/>
                  </a:lnTo>
                  <a:lnTo>
                    <a:pt x="161" y="200"/>
                  </a:lnTo>
                  <a:lnTo>
                    <a:pt x="164" y="200"/>
                  </a:lnTo>
                  <a:lnTo>
                    <a:pt x="164" y="202"/>
                  </a:lnTo>
                  <a:lnTo>
                    <a:pt x="166" y="202"/>
                  </a:lnTo>
                  <a:lnTo>
                    <a:pt x="164" y="202"/>
                  </a:lnTo>
                  <a:lnTo>
                    <a:pt x="166" y="202"/>
                  </a:lnTo>
                  <a:lnTo>
                    <a:pt x="168" y="202"/>
                  </a:lnTo>
                  <a:lnTo>
                    <a:pt x="171" y="200"/>
                  </a:lnTo>
                  <a:lnTo>
                    <a:pt x="173" y="200"/>
                  </a:lnTo>
                  <a:lnTo>
                    <a:pt x="175" y="200"/>
                  </a:lnTo>
                  <a:lnTo>
                    <a:pt x="173" y="200"/>
                  </a:lnTo>
                  <a:lnTo>
                    <a:pt x="175" y="200"/>
                  </a:lnTo>
                  <a:lnTo>
                    <a:pt x="173" y="200"/>
                  </a:lnTo>
                  <a:lnTo>
                    <a:pt x="173" y="198"/>
                  </a:lnTo>
                  <a:lnTo>
                    <a:pt x="175" y="198"/>
                  </a:lnTo>
                  <a:lnTo>
                    <a:pt x="173" y="198"/>
                  </a:lnTo>
                  <a:lnTo>
                    <a:pt x="175" y="198"/>
                  </a:lnTo>
                  <a:lnTo>
                    <a:pt x="173" y="198"/>
                  </a:lnTo>
                  <a:lnTo>
                    <a:pt x="171" y="198"/>
                  </a:lnTo>
                  <a:lnTo>
                    <a:pt x="168" y="198"/>
                  </a:lnTo>
                  <a:lnTo>
                    <a:pt x="166" y="198"/>
                  </a:lnTo>
                  <a:lnTo>
                    <a:pt x="164" y="198"/>
                  </a:lnTo>
                  <a:lnTo>
                    <a:pt x="164" y="200"/>
                  </a:lnTo>
                  <a:lnTo>
                    <a:pt x="161" y="200"/>
                  </a:lnTo>
                  <a:lnTo>
                    <a:pt x="164" y="200"/>
                  </a:lnTo>
                  <a:lnTo>
                    <a:pt x="161" y="200"/>
                  </a:lnTo>
                  <a:lnTo>
                    <a:pt x="161" y="198"/>
                  </a:lnTo>
                  <a:lnTo>
                    <a:pt x="164" y="195"/>
                  </a:lnTo>
                  <a:lnTo>
                    <a:pt x="161" y="195"/>
                  </a:lnTo>
                  <a:lnTo>
                    <a:pt x="161" y="198"/>
                  </a:lnTo>
                  <a:lnTo>
                    <a:pt x="161" y="195"/>
                  </a:lnTo>
                  <a:lnTo>
                    <a:pt x="164" y="195"/>
                  </a:lnTo>
                  <a:lnTo>
                    <a:pt x="161" y="195"/>
                  </a:lnTo>
                  <a:lnTo>
                    <a:pt x="164" y="195"/>
                  </a:lnTo>
                  <a:lnTo>
                    <a:pt x="161" y="195"/>
                  </a:lnTo>
                  <a:lnTo>
                    <a:pt x="164" y="195"/>
                  </a:lnTo>
                  <a:lnTo>
                    <a:pt x="164" y="193"/>
                  </a:lnTo>
                  <a:lnTo>
                    <a:pt x="166" y="193"/>
                  </a:lnTo>
                  <a:lnTo>
                    <a:pt x="168" y="193"/>
                  </a:lnTo>
                  <a:lnTo>
                    <a:pt x="168" y="191"/>
                  </a:lnTo>
                  <a:lnTo>
                    <a:pt x="171" y="191"/>
                  </a:lnTo>
                  <a:lnTo>
                    <a:pt x="168" y="191"/>
                  </a:lnTo>
                  <a:lnTo>
                    <a:pt x="166" y="193"/>
                  </a:lnTo>
                  <a:lnTo>
                    <a:pt x="164" y="193"/>
                  </a:lnTo>
                  <a:lnTo>
                    <a:pt x="164" y="191"/>
                  </a:lnTo>
                  <a:lnTo>
                    <a:pt x="164" y="188"/>
                  </a:lnTo>
                  <a:lnTo>
                    <a:pt x="166" y="188"/>
                  </a:lnTo>
                  <a:lnTo>
                    <a:pt x="164" y="188"/>
                  </a:lnTo>
                  <a:lnTo>
                    <a:pt x="166" y="188"/>
                  </a:lnTo>
                  <a:lnTo>
                    <a:pt x="166" y="186"/>
                  </a:lnTo>
                  <a:lnTo>
                    <a:pt x="166" y="188"/>
                  </a:lnTo>
                  <a:lnTo>
                    <a:pt x="164" y="188"/>
                  </a:lnTo>
                  <a:lnTo>
                    <a:pt x="166" y="188"/>
                  </a:lnTo>
                  <a:lnTo>
                    <a:pt x="164" y="188"/>
                  </a:lnTo>
                  <a:lnTo>
                    <a:pt x="164" y="191"/>
                  </a:lnTo>
                  <a:lnTo>
                    <a:pt x="164" y="193"/>
                  </a:lnTo>
                  <a:lnTo>
                    <a:pt x="164" y="195"/>
                  </a:lnTo>
                  <a:lnTo>
                    <a:pt x="161" y="195"/>
                  </a:lnTo>
                  <a:lnTo>
                    <a:pt x="159" y="195"/>
                  </a:lnTo>
                  <a:lnTo>
                    <a:pt x="161" y="195"/>
                  </a:lnTo>
                  <a:lnTo>
                    <a:pt x="159" y="195"/>
                  </a:lnTo>
                  <a:lnTo>
                    <a:pt x="161" y="195"/>
                  </a:lnTo>
                  <a:lnTo>
                    <a:pt x="159" y="195"/>
                  </a:lnTo>
                  <a:lnTo>
                    <a:pt x="156" y="195"/>
                  </a:lnTo>
                  <a:lnTo>
                    <a:pt x="156" y="193"/>
                  </a:lnTo>
                  <a:lnTo>
                    <a:pt x="154" y="193"/>
                  </a:lnTo>
                  <a:lnTo>
                    <a:pt x="156" y="193"/>
                  </a:lnTo>
                  <a:lnTo>
                    <a:pt x="154" y="193"/>
                  </a:lnTo>
                  <a:lnTo>
                    <a:pt x="156" y="193"/>
                  </a:lnTo>
                  <a:lnTo>
                    <a:pt x="154" y="193"/>
                  </a:lnTo>
                  <a:lnTo>
                    <a:pt x="156" y="193"/>
                  </a:lnTo>
                  <a:lnTo>
                    <a:pt x="156" y="195"/>
                  </a:lnTo>
                  <a:lnTo>
                    <a:pt x="154" y="195"/>
                  </a:lnTo>
                  <a:lnTo>
                    <a:pt x="152" y="195"/>
                  </a:lnTo>
                  <a:lnTo>
                    <a:pt x="154" y="195"/>
                  </a:lnTo>
                  <a:lnTo>
                    <a:pt x="152" y="195"/>
                  </a:lnTo>
                  <a:lnTo>
                    <a:pt x="149" y="195"/>
                  </a:lnTo>
                  <a:lnTo>
                    <a:pt x="152" y="195"/>
                  </a:lnTo>
                  <a:lnTo>
                    <a:pt x="154" y="195"/>
                  </a:lnTo>
                  <a:lnTo>
                    <a:pt x="154" y="198"/>
                  </a:lnTo>
                  <a:lnTo>
                    <a:pt x="152" y="198"/>
                  </a:lnTo>
                  <a:lnTo>
                    <a:pt x="149" y="198"/>
                  </a:lnTo>
                  <a:lnTo>
                    <a:pt x="147" y="198"/>
                  </a:lnTo>
                  <a:lnTo>
                    <a:pt x="145" y="200"/>
                  </a:lnTo>
                  <a:lnTo>
                    <a:pt x="142" y="200"/>
                  </a:lnTo>
                  <a:lnTo>
                    <a:pt x="140" y="200"/>
                  </a:lnTo>
                  <a:lnTo>
                    <a:pt x="142" y="200"/>
                  </a:lnTo>
                  <a:lnTo>
                    <a:pt x="140" y="200"/>
                  </a:lnTo>
                  <a:lnTo>
                    <a:pt x="142" y="200"/>
                  </a:lnTo>
                  <a:lnTo>
                    <a:pt x="140" y="200"/>
                  </a:lnTo>
                  <a:lnTo>
                    <a:pt x="142" y="200"/>
                  </a:lnTo>
                  <a:lnTo>
                    <a:pt x="140" y="202"/>
                  </a:lnTo>
                  <a:lnTo>
                    <a:pt x="135" y="202"/>
                  </a:lnTo>
                  <a:lnTo>
                    <a:pt x="133" y="202"/>
                  </a:lnTo>
                  <a:lnTo>
                    <a:pt x="126" y="202"/>
                  </a:lnTo>
                  <a:lnTo>
                    <a:pt x="123" y="202"/>
                  </a:lnTo>
                  <a:lnTo>
                    <a:pt x="121" y="205"/>
                  </a:lnTo>
                  <a:lnTo>
                    <a:pt x="119" y="205"/>
                  </a:lnTo>
                  <a:lnTo>
                    <a:pt x="116" y="205"/>
                  </a:lnTo>
                  <a:lnTo>
                    <a:pt x="114" y="205"/>
                  </a:lnTo>
                  <a:lnTo>
                    <a:pt x="111" y="207"/>
                  </a:lnTo>
                  <a:lnTo>
                    <a:pt x="109" y="207"/>
                  </a:lnTo>
                  <a:lnTo>
                    <a:pt x="107" y="207"/>
                  </a:lnTo>
                  <a:lnTo>
                    <a:pt x="104" y="207"/>
                  </a:lnTo>
                  <a:lnTo>
                    <a:pt x="102" y="207"/>
                  </a:lnTo>
                  <a:lnTo>
                    <a:pt x="102" y="205"/>
                  </a:lnTo>
                  <a:lnTo>
                    <a:pt x="102" y="202"/>
                  </a:lnTo>
                  <a:lnTo>
                    <a:pt x="104" y="202"/>
                  </a:lnTo>
                  <a:lnTo>
                    <a:pt x="102" y="202"/>
                  </a:lnTo>
                  <a:lnTo>
                    <a:pt x="102" y="200"/>
                  </a:lnTo>
                  <a:lnTo>
                    <a:pt x="104" y="200"/>
                  </a:lnTo>
                  <a:lnTo>
                    <a:pt x="102" y="200"/>
                  </a:lnTo>
                  <a:lnTo>
                    <a:pt x="104" y="200"/>
                  </a:lnTo>
                  <a:lnTo>
                    <a:pt x="104" y="198"/>
                  </a:lnTo>
                  <a:lnTo>
                    <a:pt x="102" y="198"/>
                  </a:lnTo>
                  <a:lnTo>
                    <a:pt x="104" y="198"/>
                  </a:lnTo>
                  <a:lnTo>
                    <a:pt x="107" y="198"/>
                  </a:lnTo>
                  <a:lnTo>
                    <a:pt x="109" y="198"/>
                  </a:lnTo>
                  <a:lnTo>
                    <a:pt x="111" y="195"/>
                  </a:lnTo>
                  <a:lnTo>
                    <a:pt x="114" y="195"/>
                  </a:lnTo>
                  <a:lnTo>
                    <a:pt x="114" y="193"/>
                  </a:lnTo>
                  <a:lnTo>
                    <a:pt x="114" y="191"/>
                  </a:lnTo>
                  <a:lnTo>
                    <a:pt x="114" y="188"/>
                  </a:lnTo>
                  <a:lnTo>
                    <a:pt x="116" y="186"/>
                  </a:lnTo>
                  <a:lnTo>
                    <a:pt x="119" y="183"/>
                  </a:lnTo>
                  <a:lnTo>
                    <a:pt x="119" y="181"/>
                  </a:lnTo>
                  <a:lnTo>
                    <a:pt x="121" y="181"/>
                  </a:lnTo>
                  <a:lnTo>
                    <a:pt x="123" y="181"/>
                  </a:lnTo>
                  <a:lnTo>
                    <a:pt x="123" y="179"/>
                  </a:lnTo>
                  <a:lnTo>
                    <a:pt x="123" y="176"/>
                  </a:lnTo>
                  <a:lnTo>
                    <a:pt x="123" y="179"/>
                  </a:lnTo>
                  <a:lnTo>
                    <a:pt x="123" y="176"/>
                  </a:lnTo>
                  <a:lnTo>
                    <a:pt x="126" y="176"/>
                  </a:lnTo>
                  <a:lnTo>
                    <a:pt x="126" y="174"/>
                  </a:lnTo>
                  <a:lnTo>
                    <a:pt x="123" y="174"/>
                  </a:lnTo>
                  <a:lnTo>
                    <a:pt x="126" y="174"/>
                  </a:lnTo>
                  <a:lnTo>
                    <a:pt x="123" y="174"/>
                  </a:lnTo>
                  <a:lnTo>
                    <a:pt x="121" y="174"/>
                  </a:lnTo>
                  <a:lnTo>
                    <a:pt x="121" y="172"/>
                  </a:lnTo>
                  <a:lnTo>
                    <a:pt x="116" y="172"/>
                  </a:lnTo>
                  <a:lnTo>
                    <a:pt x="114" y="172"/>
                  </a:lnTo>
                  <a:lnTo>
                    <a:pt x="114" y="169"/>
                  </a:lnTo>
                  <a:lnTo>
                    <a:pt x="111" y="169"/>
                  </a:lnTo>
                  <a:lnTo>
                    <a:pt x="109" y="169"/>
                  </a:lnTo>
                  <a:lnTo>
                    <a:pt x="107" y="167"/>
                  </a:lnTo>
                  <a:lnTo>
                    <a:pt x="104" y="167"/>
                  </a:lnTo>
                  <a:lnTo>
                    <a:pt x="104" y="164"/>
                  </a:lnTo>
                  <a:lnTo>
                    <a:pt x="102" y="164"/>
                  </a:lnTo>
                  <a:lnTo>
                    <a:pt x="102" y="162"/>
                  </a:lnTo>
                  <a:lnTo>
                    <a:pt x="104" y="162"/>
                  </a:lnTo>
                  <a:lnTo>
                    <a:pt x="107" y="162"/>
                  </a:lnTo>
                  <a:lnTo>
                    <a:pt x="107" y="160"/>
                  </a:lnTo>
                  <a:lnTo>
                    <a:pt x="109" y="160"/>
                  </a:lnTo>
                  <a:lnTo>
                    <a:pt x="111" y="160"/>
                  </a:lnTo>
                  <a:lnTo>
                    <a:pt x="114" y="160"/>
                  </a:lnTo>
                  <a:lnTo>
                    <a:pt x="116" y="160"/>
                  </a:lnTo>
                  <a:lnTo>
                    <a:pt x="119" y="157"/>
                  </a:lnTo>
                  <a:lnTo>
                    <a:pt x="121" y="157"/>
                  </a:lnTo>
                  <a:lnTo>
                    <a:pt x="123" y="157"/>
                  </a:lnTo>
                  <a:lnTo>
                    <a:pt x="126" y="157"/>
                  </a:lnTo>
                  <a:lnTo>
                    <a:pt x="128" y="157"/>
                  </a:lnTo>
                  <a:lnTo>
                    <a:pt x="130" y="155"/>
                  </a:lnTo>
                  <a:lnTo>
                    <a:pt x="133" y="155"/>
                  </a:lnTo>
                  <a:lnTo>
                    <a:pt x="140" y="157"/>
                  </a:lnTo>
                  <a:lnTo>
                    <a:pt x="142" y="157"/>
                  </a:lnTo>
                  <a:lnTo>
                    <a:pt x="145" y="157"/>
                  </a:lnTo>
                  <a:lnTo>
                    <a:pt x="147" y="157"/>
                  </a:lnTo>
                  <a:lnTo>
                    <a:pt x="149" y="157"/>
                  </a:lnTo>
                  <a:lnTo>
                    <a:pt x="149" y="155"/>
                  </a:lnTo>
                  <a:lnTo>
                    <a:pt x="149" y="157"/>
                  </a:lnTo>
                  <a:lnTo>
                    <a:pt x="149" y="155"/>
                  </a:lnTo>
                  <a:lnTo>
                    <a:pt x="152" y="155"/>
                  </a:lnTo>
                  <a:lnTo>
                    <a:pt x="152" y="157"/>
                  </a:lnTo>
                  <a:lnTo>
                    <a:pt x="154" y="155"/>
                  </a:lnTo>
                  <a:lnTo>
                    <a:pt x="156" y="155"/>
                  </a:lnTo>
                  <a:lnTo>
                    <a:pt x="159" y="155"/>
                  </a:lnTo>
                  <a:lnTo>
                    <a:pt x="161" y="155"/>
                  </a:lnTo>
                  <a:lnTo>
                    <a:pt x="164" y="153"/>
                  </a:lnTo>
                  <a:lnTo>
                    <a:pt x="166" y="153"/>
                  </a:lnTo>
                  <a:lnTo>
                    <a:pt x="168" y="153"/>
                  </a:lnTo>
                  <a:lnTo>
                    <a:pt x="171" y="153"/>
                  </a:lnTo>
                  <a:lnTo>
                    <a:pt x="171" y="155"/>
                  </a:lnTo>
                  <a:close/>
                  <a:moveTo>
                    <a:pt x="183" y="15"/>
                  </a:moveTo>
                  <a:lnTo>
                    <a:pt x="185" y="15"/>
                  </a:lnTo>
                  <a:lnTo>
                    <a:pt x="185" y="17"/>
                  </a:lnTo>
                  <a:lnTo>
                    <a:pt x="183" y="17"/>
                  </a:lnTo>
                  <a:lnTo>
                    <a:pt x="183" y="19"/>
                  </a:lnTo>
                  <a:lnTo>
                    <a:pt x="183" y="17"/>
                  </a:lnTo>
                  <a:lnTo>
                    <a:pt x="180" y="19"/>
                  </a:lnTo>
                  <a:lnTo>
                    <a:pt x="178" y="19"/>
                  </a:lnTo>
                  <a:lnTo>
                    <a:pt x="175" y="19"/>
                  </a:lnTo>
                  <a:lnTo>
                    <a:pt x="175" y="22"/>
                  </a:lnTo>
                  <a:lnTo>
                    <a:pt x="175" y="24"/>
                  </a:lnTo>
                  <a:lnTo>
                    <a:pt x="173" y="24"/>
                  </a:lnTo>
                  <a:lnTo>
                    <a:pt x="173" y="27"/>
                  </a:lnTo>
                  <a:lnTo>
                    <a:pt x="175" y="27"/>
                  </a:lnTo>
                  <a:lnTo>
                    <a:pt x="178" y="27"/>
                  </a:lnTo>
                  <a:lnTo>
                    <a:pt x="175" y="29"/>
                  </a:lnTo>
                  <a:lnTo>
                    <a:pt x="178" y="29"/>
                  </a:lnTo>
                  <a:lnTo>
                    <a:pt x="178" y="27"/>
                  </a:lnTo>
                  <a:lnTo>
                    <a:pt x="178" y="29"/>
                  </a:lnTo>
                  <a:lnTo>
                    <a:pt x="180" y="29"/>
                  </a:lnTo>
                  <a:lnTo>
                    <a:pt x="180" y="27"/>
                  </a:lnTo>
                  <a:lnTo>
                    <a:pt x="178" y="27"/>
                  </a:lnTo>
                  <a:lnTo>
                    <a:pt x="178" y="24"/>
                  </a:lnTo>
                  <a:lnTo>
                    <a:pt x="175" y="24"/>
                  </a:lnTo>
                  <a:lnTo>
                    <a:pt x="178" y="24"/>
                  </a:lnTo>
                  <a:lnTo>
                    <a:pt x="180" y="24"/>
                  </a:lnTo>
                  <a:lnTo>
                    <a:pt x="183" y="27"/>
                  </a:lnTo>
                  <a:lnTo>
                    <a:pt x="183" y="24"/>
                  </a:lnTo>
                  <a:lnTo>
                    <a:pt x="180" y="24"/>
                  </a:lnTo>
                  <a:lnTo>
                    <a:pt x="183" y="24"/>
                  </a:lnTo>
                  <a:lnTo>
                    <a:pt x="180" y="24"/>
                  </a:lnTo>
                  <a:lnTo>
                    <a:pt x="183" y="24"/>
                  </a:lnTo>
                  <a:lnTo>
                    <a:pt x="185" y="24"/>
                  </a:lnTo>
                  <a:lnTo>
                    <a:pt x="185" y="27"/>
                  </a:lnTo>
                  <a:lnTo>
                    <a:pt x="187" y="27"/>
                  </a:lnTo>
                  <a:lnTo>
                    <a:pt x="190" y="27"/>
                  </a:lnTo>
                  <a:lnTo>
                    <a:pt x="187" y="27"/>
                  </a:lnTo>
                  <a:lnTo>
                    <a:pt x="187" y="24"/>
                  </a:lnTo>
                  <a:lnTo>
                    <a:pt x="185" y="24"/>
                  </a:lnTo>
                  <a:lnTo>
                    <a:pt x="185" y="22"/>
                  </a:lnTo>
                  <a:lnTo>
                    <a:pt x="185" y="24"/>
                  </a:lnTo>
                  <a:lnTo>
                    <a:pt x="187" y="22"/>
                  </a:lnTo>
                  <a:lnTo>
                    <a:pt x="190" y="22"/>
                  </a:lnTo>
                  <a:lnTo>
                    <a:pt x="190" y="24"/>
                  </a:lnTo>
                  <a:lnTo>
                    <a:pt x="190" y="27"/>
                  </a:lnTo>
                  <a:lnTo>
                    <a:pt x="192" y="27"/>
                  </a:lnTo>
                  <a:lnTo>
                    <a:pt x="190" y="27"/>
                  </a:lnTo>
                  <a:lnTo>
                    <a:pt x="192" y="29"/>
                  </a:lnTo>
                  <a:lnTo>
                    <a:pt x="194" y="29"/>
                  </a:lnTo>
                  <a:lnTo>
                    <a:pt x="194" y="27"/>
                  </a:lnTo>
                  <a:lnTo>
                    <a:pt x="194" y="24"/>
                  </a:lnTo>
                  <a:lnTo>
                    <a:pt x="197" y="24"/>
                  </a:lnTo>
                  <a:lnTo>
                    <a:pt x="199" y="24"/>
                  </a:lnTo>
                  <a:lnTo>
                    <a:pt x="202" y="24"/>
                  </a:lnTo>
                  <a:lnTo>
                    <a:pt x="199" y="24"/>
                  </a:lnTo>
                  <a:lnTo>
                    <a:pt x="199" y="22"/>
                  </a:lnTo>
                  <a:lnTo>
                    <a:pt x="197" y="22"/>
                  </a:lnTo>
                  <a:lnTo>
                    <a:pt x="197" y="19"/>
                  </a:lnTo>
                  <a:lnTo>
                    <a:pt x="199" y="19"/>
                  </a:lnTo>
                  <a:lnTo>
                    <a:pt x="202" y="19"/>
                  </a:lnTo>
                  <a:lnTo>
                    <a:pt x="199" y="19"/>
                  </a:lnTo>
                  <a:lnTo>
                    <a:pt x="197" y="19"/>
                  </a:lnTo>
                  <a:lnTo>
                    <a:pt x="199" y="19"/>
                  </a:lnTo>
                  <a:lnTo>
                    <a:pt x="199" y="17"/>
                  </a:lnTo>
                  <a:lnTo>
                    <a:pt x="197" y="17"/>
                  </a:lnTo>
                  <a:lnTo>
                    <a:pt x="199" y="17"/>
                  </a:lnTo>
                  <a:lnTo>
                    <a:pt x="202" y="17"/>
                  </a:lnTo>
                  <a:lnTo>
                    <a:pt x="202" y="19"/>
                  </a:lnTo>
                  <a:lnTo>
                    <a:pt x="204" y="19"/>
                  </a:lnTo>
                  <a:lnTo>
                    <a:pt x="202" y="17"/>
                  </a:lnTo>
                  <a:lnTo>
                    <a:pt x="204" y="17"/>
                  </a:lnTo>
                  <a:lnTo>
                    <a:pt x="206" y="17"/>
                  </a:lnTo>
                  <a:lnTo>
                    <a:pt x="206" y="19"/>
                  </a:lnTo>
                  <a:lnTo>
                    <a:pt x="209" y="19"/>
                  </a:lnTo>
                  <a:lnTo>
                    <a:pt x="209" y="17"/>
                  </a:lnTo>
                  <a:lnTo>
                    <a:pt x="206" y="17"/>
                  </a:lnTo>
                  <a:lnTo>
                    <a:pt x="204" y="17"/>
                  </a:lnTo>
                  <a:lnTo>
                    <a:pt x="206" y="17"/>
                  </a:lnTo>
                  <a:lnTo>
                    <a:pt x="206" y="15"/>
                  </a:lnTo>
                  <a:lnTo>
                    <a:pt x="209" y="17"/>
                  </a:lnTo>
                  <a:lnTo>
                    <a:pt x="211" y="17"/>
                  </a:lnTo>
                  <a:lnTo>
                    <a:pt x="213" y="19"/>
                  </a:lnTo>
                  <a:lnTo>
                    <a:pt x="216" y="19"/>
                  </a:lnTo>
                  <a:lnTo>
                    <a:pt x="216" y="17"/>
                  </a:lnTo>
                  <a:lnTo>
                    <a:pt x="213" y="17"/>
                  </a:lnTo>
                  <a:lnTo>
                    <a:pt x="211" y="17"/>
                  </a:lnTo>
                  <a:lnTo>
                    <a:pt x="213" y="15"/>
                  </a:lnTo>
                  <a:lnTo>
                    <a:pt x="216" y="15"/>
                  </a:lnTo>
                  <a:lnTo>
                    <a:pt x="216" y="17"/>
                  </a:lnTo>
                  <a:lnTo>
                    <a:pt x="218" y="17"/>
                  </a:lnTo>
                  <a:lnTo>
                    <a:pt x="221" y="17"/>
                  </a:lnTo>
                  <a:lnTo>
                    <a:pt x="218" y="17"/>
                  </a:lnTo>
                  <a:lnTo>
                    <a:pt x="218" y="15"/>
                  </a:lnTo>
                  <a:lnTo>
                    <a:pt x="216" y="15"/>
                  </a:lnTo>
                  <a:lnTo>
                    <a:pt x="218" y="15"/>
                  </a:lnTo>
                  <a:lnTo>
                    <a:pt x="221" y="15"/>
                  </a:lnTo>
                  <a:lnTo>
                    <a:pt x="218" y="15"/>
                  </a:lnTo>
                  <a:lnTo>
                    <a:pt x="213" y="15"/>
                  </a:lnTo>
                  <a:lnTo>
                    <a:pt x="213" y="12"/>
                  </a:lnTo>
                  <a:lnTo>
                    <a:pt x="211" y="12"/>
                  </a:lnTo>
                  <a:lnTo>
                    <a:pt x="213" y="12"/>
                  </a:lnTo>
                  <a:lnTo>
                    <a:pt x="216" y="12"/>
                  </a:lnTo>
                  <a:lnTo>
                    <a:pt x="216" y="10"/>
                  </a:lnTo>
                  <a:lnTo>
                    <a:pt x="216" y="12"/>
                  </a:lnTo>
                  <a:lnTo>
                    <a:pt x="221" y="12"/>
                  </a:lnTo>
                  <a:lnTo>
                    <a:pt x="223" y="12"/>
                  </a:lnTo>
                  <a:lnTo>
                    <a:pt x="225" y="12"/>
                  </a:lnTo>
                  <a:lnTo>
                    <a:pt x="225" y="15"/>
                  </a:lnTo>
                  <a:lnTo>
                    <a:pt x="228" y="15"/>
                  </a:lnTo>
                  <a:lnTo>
                    <a:pt x="225" y="15"/>
                  </a:lnTo>
                  <a:lnTo>
                    <a:pt x="223" y="15"/>
                  </a:lnTo>
                  <a:lnTo>
                    <a:pt x="223" y="17"/>
                  </a:lnTo>
                  <a:lnTo>
                    <a:pt x="221" y="17"/>
                  </a:lnTo>
                  <a:lnTo>
                    <a:pt x="223" y="17"/>
                  </a:lnTo>
                  <a:lnTo>
                    <a:pt x="221" y="17"/>
                  </a:lnTo>
                  <a:lnTo>
                    <a:pt x="221" y="19"/>
                  </a:lnTo>
                  <a:lnTo>
                    <a:pt x="223" y="19"/>
                  </a:lnTo>
                  <a:lnTo>
                    <a:pt x="223" y="17"/>
                  </a:lnTo>
                  <a:lnTo>
                    <a:pt x="225" y="17"/>
                  </a:lnTo>
                  <a:lnTo>
                    <a:pt x="228" y="17"/>
                  </a:lnTo>
                  <a:lnTo>
                    <a:pt x="225" y="17"/>
                  </a:lnTo>
                  <a:lnTo>
                    <a:pt x="228" y="17"/>
                  </a:lnTo>
                  <a:lnTo>
                    <a:pt x="230" y="17"/>
                  </a:lnTo>
                  <a:lnTo>
                    <a:pt x="232" y="17"/>
                  </a:lnTo>
                  <a:lnTo>
                    <a:pt x="232" y="15"/>
                  </a:lnTo>
                  <a:lnTo>
                    <a:pt x="232" y="12"/>
                  </a:lnTo>
                  <a:lnTo>
                    <a:pt x="235" y="12"/>
                  </a:lnTo>
                  <a:lnTo>
                    <a:pt x="235" y="15"/>
                  </a:lnTo>
                  <a:lnTo>
                    <a:pt x="235" y="17"/>
                  </a:lnTo>
                  <a:lnTo>
                    <a:pt x="232" y="19"/>
                  </a:lnTo>
                  <a:lnTo>
                    <a:pt x="235" y="19"/>
                  </a:lnTo>
                  <a:lnTo>
                    <a:pt x="237" y="19"/>
                  </a:lnTo>
                  <a:lnTo>
                    <a:pt x="240" y="19"/>
                  </a:lnTo>
                  <a:lnTo>
                    <a:pt x="242" y="19"/>
                  </a:lnTo>
                  <a:lnTo>
                    <a:pt x="244" y="17"/>
                  </a:lnTo>
                  <a:lnTo>
                    <a:pt x="247" y="17"/>
                  </a:lnTo>
                  <a:lnTo>
                    <a:pt x="249" y="17"/>
                  </a:lnTo>
                  <a:lnTo>
                    <a:pt x="251" y="17"/>
                  </a:lnTo>
                  <a:lnTo>
                    <a:pt x="249" y="17"/>
                  </a:lnTo>
                  <a:lnTo>
                    <a:pt x="249" y="19"/>
                  </a:lnTo>
                  <a:lnTo>
                    <a:pt x="247" y="19"/>
                  </a:lnTo>
                  <a:lnTo>
                    <a:pt x="249" y="19"/>
                  </a:lnTo>
                  <a:lnTo>
                    <a:pt x="251" y="19"/>
                  </a:lnTo>
                  <a:lnTo>
                    <a:pt x="254" y="22"/>
                  </a:lnTo>
                  <a:lnTo>
                    <a:pt x="254" y="19"/>
                  </a:lnTo>
                  <a:lnTo>
                    <a:pt x="256" y="19"/>
                  </a:lnTo>
                  <a:lnTo>
                    <a:pt x="256" y="22"/>
                  </a:lnTo>
                  <a:lnTo>
                    <a:pt x="259" y="22"/>
                  </a:lnTo>
                  <a:lnTo>
                    <a:pt x="259" y="24"/>
                  </a:lnTo>
                  <a:lnTo>
                    <a:pt x="261" y="24"/>
                  </a:lnTo>
                  <a:lnTo>
                    <a:pt x="261" y="22"/>
                  </a:lnTo>
                  <a:lnTo>
                    <a:pt x="263" y="22"/>
                  </a:lnTo>
                  <a:lnTo>
                    <a:pt x="266" y="22"/>
                  </a:lnTo>
                  <a:lnTo>
                    <a:pt x="268" y="22"/>
                  </a:lnTo>
                  <a:lnTo>
                    <a:pt x="266" y="22"/>
                  </a:lnTo>
                  <a:lnTo>
                    <a:pt x="268" y="24"/>
                  </a:lnTo>
                  <a:lnTo>
                    <a:pt x="266" y="24"/>
                  </a:lnTo>
                  <a:lnTo>
                    <a:pt x="263" y="24"/>
                  </a:lnTo>
                  <a:lnTo>
                    <a:pt x="266" y="24"/>
                  </a:lnTo>
                  <a:lnTo>
                    <a:pt x="268" y="24"/>
                  </a:lnTo>
                  <a:lnTo>
                    <a:pt x="270" y="24"/>
                  </a:lnTo>
                  <a:lnTo>
                    <a:pt x="268" y="24"/>
                  </a:lnTo>
                  <a:lnTo>
                    <a:pt x="268" y="27"/>
                  </a:lnTo>
                  <a:lnTo>
                    <a:pt x="268" y="24"/>
                  </a:lnTo>
                  <a:lnTo>
                    <a:pt x="270" y="24"/>
                  </a:lnTo>
                  <a:lnTo>
                    <a:pt x="273" y="24"/>
                  </a:lnTo>
                  <a:lnTo>
                    <a:pt x="275" y="24"/>
                  </a:lnTo>
                  <a:lnTo>
                    <a:pt x="277" y="24"/>
                  </a:lnTo>
                  <a:lnTo>
                    <a:pt x="280" y="24"/>
                  </a:lnTo>
                  <a:lnTo>
                    <a:pt x="282" y="24"/>
                  </a:lnTo>
                  <a:lnTo>
                    <a:pt x="285" y="24"/>
                  </a:lnTo>
                  <a:lnTo>
                    <a:pt x="287" y="24"/>
                  </a:lnTo>
                  <a:lnTo>
                    <a:pt x="289" y="24"/>
                  </a:lnTo>
                  <a:lnTo>
                    <a:pt x="292" y="24"/>
                  </a:lnTo>
                  <a:lnTo>
                    <a:pt x="294" y="24"/>
                  </a:lnTo>
                  <a:lnTo>
                    <a:pt x="296" y="27"/>
                  </a:lnTo>
                  <a:lnTo>
                    <a:pt x="299" y="27"/>
                  </a:lnTo>
                  <a:lnTo>
                    <a:pt x="301" y="27"/>
                  </a:lnTo>
                  <a:lnTo>
                    <a:pt x="301" y="29"/>
                  </a:lnTo>
                  <a:lnTo>
                    <a:pt x="304" y="29"/>
                  </a:lnTo>
                  <a:lnTo>
                    <a:pt x="304" y="31"/>
                  </a:lnTo>
                  <a:lnTo>
                    <a:pt x="308" y="31"/>
                  </a:lnTo>
                  <a:lnTo>
                    <a:pt x="311" y="31"/>
                  </a:lnTo>
                  <a:lnTo>
                    <a:pt x="313" y="31"/>
                  </a:lnTo>
                  <a:lnTo>
                    <a:pt x="313" y="34"/>
                  </a:lnTo>
                  <a:lnTo>
                    <a:pt x="311" y="34"/>
                  </a:lnTo>
                  <a:lnTo>
                    <a:pt x="308" y="34"/>
                  </a:lnTo>
                  <a:lnTo>
                    <a:pt x="308" y="36"/>
                  </a:lnTo>
                  <a:lnTo>
                    <a:pt x="308" y="38"/>
                  </a:lnTo>
                  <a:lnTo>
                    <a:pt x="311" y="38"/>
                  </a:lnTo>
                  <a:lnTo>
                    <a:pt x="308" y="38"/>
                  </a:lnTo>
                  <a:lnTo>
                    <a:pt x="308" y="41"/>
                  </a:lnTo>
                  <a:lnTo>
                    <a:pt x="311" y="43"/>
                  </a:lnTo>
                  <a:lnTo>
                    <a:pt x="311" y="46"/>
                  </a:lnTo>
                  <a:lnTo>
                    <a:pt x="311" y="48"/>
                  </a:lnTo>
                  <a:lnTo>
                    <a:pt x="308" y="48"/>
                  </a:lnTo>
                  <a:lnTo>
                    <a:pt x="306" y="48"/>
                  </a:lnTo>
                  <a:lnTo>
                    <a:pt x="306" y="50"/>
                  </a:lnTo>
                  <a:lnTo>
                    <a:pt x="304" y="50"/>
                  </a:lnTo>
                  <a:lnTo>
                    <a:pt x="301" y="50"/>
                  </a:lnTo>
                  <a:lnTo>
                    <a:pt x="299" y="50"/>
                  </a:lnTo>
                  <a:lnTo>
                    <a:pt x="299" y="53"/>
                  </a:lnTo>
                  <a:lnTo>
                    <a:pt x="299" y="50"/>
                  </a:lnTo>
                  <a:lnTo>
                    <a:pt x="296" y="53"/>
                  </a:lnTo>
                  <a:lnTo>
                    <a:pt x="296" y="50"/>
                  </a:lnTo>
                  <a:lnTo>
                    <a:pt x="294" y="53"/>
                  </a:lnTo>
                  <a:lnTo>
                    <a:pt x="292" y="55"/>
                  </a:lnTo>
                  <a:lnTo>
                    <a:pt x="289" y="55"/>
                  </a:lnTo>
                  <a:lnTo>
                    <a:pt x="289" y="58"/>
                  </a:lnTo>
                  <a:lnTo>
                    <a:pt x="287" y="58"/>
                  </a:lnTo>
                  <a:lnTo>
                    <a:pt x="285" y="58"/>
                  </a:lnTo>
                  <a:lnTo>
                    <a:pt x="282" y="60"/>
                  </a:lnTo>
                  <a:lnTo>
                    <a:pt x="280" y="60"/>
                  </a:lnTo>
                  <a:lnTo>
                    <a:pt x="277" y="60"/>
                  </a:lnTo>
                  <a:lnTo>
                    <a:pt x="275" y="62"/>
                  </a:lnTo>
                  <a:lnTo>
                    <a:pt x="273" y="62"/>
                  </a:lnTo>
                  <a:lnTo>
                    <a:pt x="266" y="65"/>
                  </a:lnTo>
                  <a:lnTo>
                    <a:pt x="263" y="65"/>
                  </a:lnTo>
                  <a:lnTo>
                    <a:pt x="261" y="67"/>
                  </a:lnTo>
                  <a:lnTo>
                    <a:pt x="263" y="67"/>
                  </a:lnTo>
                  <a:lnTo>
                    <a:pt x="263" y="69"/>
                  </a:lnTo>
                  <a:lnTo>
                    <a:pt x="266" y="69"/>
                  </a:lnTo>
                  <a:lnTo>
                    <a:pt x="266" y="72"/>
                  </a:lnTo>
                  <a:lnTo>
                    <a:pt x="263" y="72"/>
                  </a:lnTo>
                  <a:lnTo>
                    <a:pt x="263" y="74"/>
                  </a:lnTo>
                  <a:lnTo>
                    <a:pt x="261" y="74"/>
                  </a:lnTo>
                  <a:lnTo>
                    <a:pt x="259" y="74"/>
                  </a:lnTo>
                  <a:lnTo>
                    <a:pt x="256" y="77"/>
                  </a:lnTo>
                  <a:lnTo>
                    <a:pt x="254" y="77"/>
                  </a:lnTo>
                  <a:lnTo>
                    <a:pt x="251" y="79"/>
                  </a:lnTo>
                  <a:lnTo>
                    <a:pt x="249" y="79"/>
                  </a:lnTo>
                  <a:lnTo>
                    <a:pt x="247" y="79"/>
                  </a:lnTo>
                  <a:lnTo>
                    <a:pt x="244" y="79"/>
                  </a:lnTo>
                  <a:lnTo>
                    <a:pt x="242" y="79"/>
                  </a:lnTo>
                  <a:lnTo>
                    <a:pt x="240" y="79"/>
                  </a:lnTo>
                  <a:lnTo>
                    <a:pt x="237" y="79"/>
                  </a:lnTo>
                  <a:lnTo>
                    <a:pt x="235" y="79"/>
                  </a:lnTo>
                  <a:lnTo>
                    <a:pt x="232" y="79"/>
                  </a:lnTo>
                  <a:lnTo>
                    <a:pt x="230" y="81"/>
                  </a:lnTo>
                  <a:lnTo>
                    <a:pt x="228" y="81"/>
                  </a:lnTo>
                  <a:lnTo>
                    <a:pt x="225" y="81"/>
                  </a:lnTo>
                  <a:lnTo>
                    <a:pt x="223" y="81"/>
                  </a:lnTo>
                  <a:lnTo>
                    <a:pt x="221" y="81"/>
                  </a:lnTo>
                  <a:lnTo>
                    <a:pt x="218" y="81"/>
                  </a:lnTo>
                  <a:lnTo>
                    <a:pt x="216" y="84"/>
                  </a:lnTo>
                  <a:lnTo>
                    <a:pt x="213" y="84"/>
                  </a:lnTo>
                  <a:lnTo>
                    <a:pt x="211" y="84"/>
                  </a:lnTo>
                  <a:lnTo>
                    <a:pt x="209" y="86"/>
                  </a:lnTo>
                  <a:lnTo>
                    <a:pt x="209" y="88"/>
                  </a:lnTo>
                  <a:lnTo>
                    <a:pt x="206" y="88"/>
                  </a:lnTo>
                  <a:lnTo>
                    <a:pt x="202" y="88"/>
                  </a:lnTo>
                  <a:lnTo>
                    <a:pt x="199" y="91"/>
                  </a:lnTo>
                  <a:lnTo>
                    <a:pt x="192" y="91"/>
                  </a:lnTo>
                  <a:lnTo>
                    <a:pt x="192" y="88"/>
                  </a:lnTo>
                  <a:lnTo>
                    <a:pt x="185" y="88"/>
                  </a:lnTo>
                  <a:lnTo>
                    <a:pt x="183" y="88"/>
                  </a:lnTo>
                  <a:lnTo>
                    <a:pt x="180" y="88"/>
                  </a:lnTo>
                  <a:lnTo>
                    <a:pt x="178" y="88"/>
                  </a:lnTo>
                  <a:lnTo>
                    <a:pt x="178" y="86"/>
                  </a:lnTo>
                  <a:lnTo>
                    <a:pt x="175" y="86"/>
                  </a:lnTo>
                  <a:lnTo>
                    <a:pt x="173" y="86"/>
                  </a:lnTo>
                  <a:lnTo>
                    <a:pt x="171" y="86"/>
                  </a:lnTo>
                  <a:lnTo>
                    <a:pt x="168" y="86"/>
                  </a:lnTo>
                  <a:lnTo>
                    <a:pt x="166" y="86"/>
                  </a:lnTo>
                  <a:lnTo>
                    <a:pt x="166" y="84"/>
                  </a:lnTo>
                  <a:lnTo>
                    <a:pt x="164" y="84"/>
                  </a:lnTo>
                  <a:lnTo>
                    <a:pt x="164" y="81"/>
                  </a:lnTo>
                  <a:lnTo>
                    <a:pt x="166" y="81"/>
                  </a:lnTo>
                  <a:lnTo>
                    <a:pt x="166" y="79"/>
                  </a:lnTo>
                  <a:lnTo>
                    <a:pt x="168" y="79"/>
                  </a:lnTo>
                  <a:lnTo>
                    <a:pt x="171" y="79"/>
                  </a:lnTo>
                  <a:lnTo>
                    <a:pt x="168" y="79"/>
                  </a:lnTo>
                  <a:lnTo>
                    <a:pt x="171" y="79"/>
                  </a:lnTo>
                  <a:lnTo>
                    <a:pt x="168" y="79"/>
                  </a:lnTo>
                  <a:lnTo>
                    <a:pt x="166" y="79"/>
                  </a:lnTo>
                  <a:lnTo>
                    <a:pt x="166" y="77"/>
                  </a:lnTo>
                  <a:lnTo>
                    <a:pt x="164" y="77"/>
                  </a:lnTo>
                  <a:lnTo>
                    <a:pt x="161" y="77"/>
                  </a:lnTo>
                  <a:lnTo>
                    <a:pt x="159" y="77"/>
                  </a:lnTo>
                  <a:lnTo>
                    <a:pt x="156" y="77"/>
                  </a:lnTo>
                  <a:lnTo>
                    <a:pt x="154" y="77"/>
                  </a:lnTo>
                  <a:lnTo>
                    <a:pt x="152" y="77"/>
                  </a:lnTo>
                  <a:lnTo>
                    <a:pt x="149" y="77"/>
                  </a:lnTo>
                  <a:lnTo>
                    <a:pt x="147" y="77"/>
                  </a:lnTo>
                  <a:lnTo>
                    <a:pt x="147" y="79"/>
                  </a:lnTo>
                  <a:lnTo>
                    <a:pt x="145" y="79"/>
                  </a:lnTo>
                  <a:lnTo>
                    <a:pt x="140" y="79"/>
                  </a:lnTo>
                  <a:lnTo>
                    <a:pt x="138" y="79"/>
                  </a:lnTo>
                  <a:lnTo>
                    <a:pt x="135" y="81"/>
                  </a:lnTo>
                  <a:lnTo>
                    <a:pt x="133" y="81"/>
                  </a:lnTo>
                  <a:lnTo>
                    <a:pt x="133" y="79"/>
                  </a:lnTo>
                  <a:lnTo>
                    <a:pt x="130" y="79"/>
                  </a:lnTo>
                  <a:lnTo>
                    <a:pt x="128" y="79"/>
                  </a:lnTo>
                  <a:lnTo>
                    <a:pt x="126" y="79"/>
                  </a:lnTo>
                  <a:lnTo>
                    <a:pt x="123" y="79"/>
                  </a:lnTo>
                  <a:lnTo>
                    <a:pt x="121" y="79"/>
                  </a:lnTo>
                  <a:lnTo>
                    <a:pt x="119" y="79"/>
                  </a:lnTo>
                  <a:lnTo>
                    <a:pt x="114" y="79"/>
                  </a:lnTo>
                  <a:lnTo>
                    <a:pt x="111" y="79"/>
                  </a:lnTo>
                  <a:lnTo>
                    <a:pt x="109" y="79"/>
                  </a:lnTo>
                  <a:lnTo>
                    <a:pt x="107" y="79"/>
                  </a:lnTo>
                  <a:lnTo>
                    <a:pt x="102" y="79"/>
                  </a:lnTo>
                  <a:lnTo>
                    <a:pt x="100" y="79"/>
                  </a:lnTo>
                  <a:lnTo>
                    <a:pt x="100" y="77"/>
                  </a:lnTo>
                  <a:lnTo>
                    <a:pt x="97" y="77"/>
                  </a:lnTo>
                  <a:lnTo>
                    <a:pt x="97" y="74"/>
                  </a:lnTo>
                  <a:lnTo>
                    <a:pt x="95" y="74"/>
                  </a:lnTo>
                  <a:lnTo>
                    <a:pt x="92" y="74"/>
                  </a:lnTo>
                  <a:lnTo>
                    <a:pt x="90" y="74"/>
                  </a:lnTo>
                  <a:lnTo>
                    <a:pt x="88" y="74"/>
                  </a:lnTo>
                  <a:lnTo>
                    <a:pt x="85" y="74"/>
                  </a:lnTo>
                  <a:lnTo>
                    <a:pt x="83" y="74"/>
                  </a:lnTo>
                  <a:lnTo>
                    <a:pt x="81" y="72"/>
                  </a:lnTo>
                  <a:lnTo>
                    <a:pt x="78" y="72"/>
                  </a:lnTo>
                  <a:lnTo>
                    <a:pt x="76" y="72"/>
                  </a:lnTo>
                  <a:lnTo>
                    <a:pt x="73" y="72"/>
                  </a:lnTo>
                  <a:lnTo>
                    <a:pt x="73" y="69"/>
                  </a:lnTo>
                  <a:lnTo>
                    <a:pt x="71" y="69"/>
                  </a:lnTo>
                  <a:lnTo>
                    <a:pt x="69" y="67"/>
                  </a:lnTo>
                  <a:lnTo>
                    <a:pt x="66" y="67"/>
                  </a:lnTo>
                  <a:lnTo>
                    <a:pt x="64" y="62"/>
                  </a:lnTo>
                  <a:lnTo>
                    <a:pt x="66" y="62"/>
                  </a:lnTo>
                  <a:lnTo>
                    <a:pt x="69" y="62"/>
                  </a:lnTo>
                  <a:lnTo>
                    <a:pt x="71" y="62"/>
                  </a:lnTo>
                  <a:lnTo>
                    <a:pt x="73" y="62"/>
                  </a:lnTo>
                  <a:lnTo>
                    <a:pt x="76" y="60"/>
                  </a:lnTo>
                  <a:lnTo>
                    <a:pt x="76" y="62"/>
                  </a:lnTo>
                  <a:lnTo>
                    <a:pt x="78" y="62"/>
                  </a:lnTo>
                  <a:lnTo>
                    <a:pt x="78" y="60"/>
                  </a:lnTo>
                  <a:lnTo>
                    <a:pt x="81" y="62"/>
                  </a:lnTo>
                  <a:lnTo>
                    <a:pt x="83" y="62"/>
                  </a:lnTo>
                  <a:lnTo>
                    <a:pt x="85" y="62"/>
                  </a:lnTo>
                  <a:lnTo>
                    <a:pt x="85" y="65"/>
                  </a:lnTo>
                  <a:lnTo>
                    <a:pt x="88" y="65"/>
                  </a:lnTo>
                  <a:lnTo>
                    <a:pt x="90" y="65"/>
                  </a:lnTo>
                  <a:lnTo>
                    <a:pt x="92" y="65"/>
                  </a:lnTo>
                  <a:lnTo>
                    <a:pt x="90" y="65"/>
                  </a:lnTo>
                  <a:lnTo>
                    <a:pt x="92" y="65"/>
                  </a:lnTo>
                  <a:lnTo>
                    <a:pt x="95" y="65"/>
                  </a:lnTo>
                  <a:lnTo>
                    <a:pt x="97" y="65"/>
                  </a:lnTo>
                  <a:lnTo>
                    <a:pt x="100" y="65"/>
                  </a:lnTo>
                  <a:lnTo>
                    <a:pt x="102" y="65"/>
                  </a:lnTo>
                  <a:lnTo>
                    <a:pt x="104" y="65"/>
                  </a:lnTo>
                  <a:lnTo>
                    <a:pt x="107" y="67"/>
                  </a:lnTo>
                  <a:lnTo>
                    <a:pt x="109" y="67"/>
                  </a:lnTo>
                  <a:lnTo>
                    <a:pt x="111" y="67"/>
                  </a:lnTo>
                  <a:lnTo>
                    <a:pt x="114" y="67"/>
                  </a:lnTo>
                  <a:lnTo>
                    <a:pt x="116" y="67"/>
                  </a:lnTo>
                  <a:lnTo>
                    <a:pt x="116" y="65"/>
                  </a:lnTo>
                  <a:lnTo>
                    <a:pt x="114" y="65"/>
                  </a:lnTo>
                  <a:lnTo>
                    <a:pt x="111" y="65"/>
                  </a:lnTo>
                  <a:lnTo>
                    <a:pt x="109" y="65"/>
                  </a:lnTo>
                  <a:lnTo>
                    <a:pt x="107" y="65"/>
                  </a:lnTo>
                  <a:lnTo>
                    <a:pt x="107" y="62"/>
                  </a:lnTo>
                  <a:lnTo>
                    <a:pt x="104" y="62"/>
                  </a:lnTo>
                  <a:lnTo>
                    <a:pt x="102" y="62"/>
                  </a:lnTo>
                  <a:lnTo>
                    <a:pt x="100" y="62"/>
                  </a:lnTo>
                  <a:lnTo>
                    <a:pt x="97" y="62"/>
                  </a:lnTo>
                  <a:lnTo>
                    <a:pt x="95" y="62"/>
                  </a:lnTo>
                  <a:lnTo>
                    <a:pt x="92" y="60"/>
                  </a:lnTo>
                  <a:lnTo>
                    <a:pt x="90" y="58"/>
                  </a:lnTo>
                  <a:lnTo>
                    <a:pt x="92" y="58"/>
                  </a:lnTo>
                  <a:lnTo>
                    <a:pt x="100" y="58"/>
                  </a:lnTo>
                  <a:lnTo>
                    <a:pt x="102" y="58"/>
                  </a:lnTo>
                  <a:lnTo>
                    <a:pt x="107" y="58"/>
                  </a:lnTo>
                  <a:lnTo>
                    <a:pt x="109" y="55"/>
                  </a:lnTo>
                  <a:lnTo>
                    <a:pt x="111" y="55"/>
                  </a:lnTo>
                  <a:lnTo>
                    <a:pt x="114" y="55"/>
                  </a:lnTo>
                  <a:lnTo>
                    <a:pt x="116" y="55"/>
                  </a:lnTo>
                  <a:lnTo>
                    <a:pt x="119" y="55"/>
                  </a:lnTo>
                  <a:lnTo>
                    <a:pt x="121" y="55"/>
                  </a:lnTo>
                  <a:lnTo>
                    <a:pt x="123" y="55"/>
                  </a:lnTo>
                  <a:lnTo>
                    <a:pt x="123" y="58"/>
                  </a:lnTo>
                  <a:lnTo>
                    <a:pt x="126" y="55"/>
                  </a:lnTo>
                  <a:lnTo>
                    <a:pt x="126" y="58"/>
                  </a:lnTo>
                  <a:lnTo>
                    <a:pt x="128" y="58"/>
                  </a:lnTo>
                  <a:lnTo>
                    <a:pt x="128" y="55"/>
                  </a:lnTo>
                  <a:lnTo>
                    <a:pt x="130" y="55"/>
                  </a:lnTo>
                  <a:lnTo>
                    <a:pt x="135" y="55"/>
                  </a:lnTo>
                  <a:lnTo>
                    <a:pt x="135" y="53"/>
                  </a:lnTo>
                  <a:lnTo>
                    <a:pt x="133" y="53"/>
                  </a:lnTo>
                  <a:lnTo>
                    <a:pt x="130" y="53"/>
                  </a:lnTo>
                  <a:lnTo>
                    <a:pt x="130" y="50"/>
                  </a:lnTo>
                  <a:lnTo>
                    <a:pt x="133" y="50"/>
                  </a:lnTo>
                  <a:lnTo>
                    <a:pt x="130" y="50"/>
                  </a:lnTo>
                  <a:lnTo>
                    <a:pt x="128" y="50"/>
                  </a:lnTo>
                  <a:lnTo>
                    <a:pt x="128" y="53"/>
                  </a:lnTo>
                  <a:lnTo>
                    <a:pt x="128" y="50"/>
                  </a:lnTo>
                  <a:lnTo>
                    <a:pt x="126" y="50"/>
                  </a:lnTo>
                  <a:lnTo>
                    <a:pt x="128" y="50"/>
                  </a:lnTo>
                  <a:lnTo>
                    <a:pt x="130" y="48"/>
                  </a:lnTo>
                  <a:lnTo>
                    <a:pt x="128" y="48"/>
                  </a:lnTo>
                  <a:lnTo>
                    <a:pt x="126" y="48"/>
                  </a:lnTo>
                  <a:lnTo>
                    <a:pt x="123" y="48"/>
                  </a:lnTo>
                  <a:lnTo>
                    <a:pt x="121" y="48"/>
                  </a:lnTo>
                  <a:lnTo>
                    <a:pt x="119" y="48"/>
                  </a:lnTo>
                  <a:lnTo>
                    <a:pt x="116" y="48"/>
                  </a:lnTo>
                  <a:lnTo>
                    <a:pt x="116" y="50"/>
                  </a:lnTo>
                  <a:lnTo>
                    <a:pt x="114" y="48"/>
                  </a:lnTo>
                  <a:lnTo>
                    <a:pt x="114" y="50"/>
                  </a:lnTo>
                  <a:lnTo>
                    <a:pt x="111" y="50"/>
                  </a:lnTo>
                  <a:lnTo>
                    <a:pt x="109" y="50"/>
                  </a:lnTo>
                  <a:lnTo>
                    <a:pt x="107" y="50"/>
                  </a:lnTo>
                  <a:lnTo>
                    <a:pt x="104" y="50"/>
                  </a:lnTo>
                  <a:lnTo>
                    <a:pt x="102" y="50"/>
                  </a:lnTo>
                  <a:lnTo>
                    <a:pt x="100" y="50"/>
                  </a:lnTo>
                  <a:lnTo>
                    <a:pt x="97" y="50"/>
                  </a:lnTo>
                  <a:lnTo>
                    <a:pt x="95" y="50"/>
                  </a:lnTo>
                  <a:lnTo>
                    <a:pt x="92" y="50"/>
                  </a:lnTo>
                  <a:lnTo>
                    <a:pt x="90" y="50"/>
                  </a:lnTo>
                  <a:lnTo>
                    <a:pt x="88" y="50"/>
                  </a:lnTo>
                  <a:lnTo>
                    <a:pt x="85" y="50"/>
                  </a:lnTo>
                  <a:lnTo>
                    <a:pt x="83" y="50"/>
                  </a:lnTo>
                  <a:lnTo>
                    <a:pt x="81" y="53"/>
                  </a:lnTo>
                  <a:lnTo>
                    <a:pt x="78" y="53"/>
                  </a:lnTo>
                  <a:lnTo>
                    <a:pt x="76" y="53"/>
                  </a:lnTo>
                  <a:lnTo>
                    <a:pt x="73" y="53"/>
                  </a:lnTo>
                  <a:lnTo>
                    <a:pt x="71" y="53"/>
                  </a:lnTo>
                  <a:lnTo>
                    <a:pt x="69" y="53"/>
                  </a:lnTo>
                  <a:lnTo>
                    <a:pt x="66" y="53"/>
                  </a:lnTo>
                  <a:lnTo>
                    <a:pt x="64" y="53"/>
                  </a:lnTo>
                  <a:lnTo>
                    <a:pt x="62" y="53"/>
                  </a:lnTo>
                  <a:lnTo>
                    <a:pt x="59" y="53"/>
                  </a:lnTo>
                  <a:lnTo>
                    <a:pt x="59" y="55"/>
                  </a:lnTo>
                  <a:lnTo>
                    <a:pt x="57" y="55"/>
                  </a:lnTo>
                  <a:lnTo>
                    <a:pt x="59" y="55"/>
                  </a:lnTo>
                  <a:lnTo>
                    <a:pt x="57" y="55"/>
                  </a:lnTo>
                  <a:lnTo>
                    <a:pt x="59" y="55"/>
                  </a:lnTo>
                  <a:lnTo>
                    <a:pt x="57" y="55"/>
                  </a:lnTo>
                  <a:lnTo>
                    <a:pt x="57" y="53"/>
                  </a:lnTo>
                  <a:lnTo>
                    <a:pt x="59" y="53"/>
                  </a:lnTo>
                  <a:lnTo>
                    <a:pt x="57" y="53"/>
                  </a:lnTo>
                  <a:lnTo>
                    <a:pt x="59" y="53"/>
                  </a:lnTo>
                  <a:lnTo>
                    <a:pt x="57" y="53"/>
                  </a:lnTo>
                  <a:lnTo>
                    <a:pt x="54" y="53"/>
                  </a:lnTo>
                  <a:lnTo>
                    <a:pt x="52" y="53"/>
                  </a:lnTo>
                  <a:lnTo>
                    <a:pt x="50" y="53"/>
                  </a:lnTo>
                  <a:lnTo>
                    <a:pt x="47" y="53"/>
                  </a:lnTo>
                  <a:lnTo>
                    <a:pt x="45" y="53"/>
                  </a:lnTo>
                  <a:lnTo>
                    <a:pt x="43" y="53"/>
                  </a:lnTo>
                  <a:lnTo>
                    <a:pt x="43" y="50"/>
                  </a:lnTo>
                  <a:lnTo>
                    <a:pt x="43" y="53"/>
                  </a:lnTo>
                  <a:lnTo>
                    <a:pt x="40" y="53"/>
                  </a:lnTo>
                  <a:lnTo>
                    <a:pt x="38" y="53"/>
                  </a:lnTo>
                  <a:lnTo>
                    <a:pt x="35" y="53"/>
                  </a:lnTo>
                  <a:lnTo>
                    <a:pt x="38" y="53"/>
                  </a:lnTo>
                  <a:lnTo>
                    <a:pt x="38" y="55"/>
                  </a:lnTo>
                  <a:lnTo>
                    <a:pt x="35" y="55"/>
                  </a:lnTo>
                  <a:lnTo>
                    <a:pt x="33" y="55"/>
                  </a:lnTo>
                  <a:lnTo>
                    <a:pt x="33" y="53"/>
                  </a:lnTo>
                  <a:lnTo>
                    <a:pt x="35" y="53"/>
                  </a:lnTo>
                  <a:lnTo>
                    <a:pt x="33" y="53"/>
                  </a:lnTo>
                  <a:lnTo>
                    <a:pt x="35" y="53"/>
                  </a:lnTo>
                  <a:lnTo>
                    <a:pt x="33" y="53"/>
                  </a:lnTo>
                  <a:lnTo>
                    <a:pt x="33" y="50"/>
                  </a:lnTo>
                  <a:lnTo>
                    <a:pt x="31" y="50"/>
                  </a:lnTo>
                  <a:lnTo>
                    <a:pt x="28" y="48"/>
                  </a:lnTo>
                  <a:lnTo>
                    <a:pt x="28" y="50"/>
                  </a:lnTo>
                  <a:lnTo>
                    <a:pt x="26" y="50"/>
                  </a:lnTo>
                  <a:lnTo>
                    <a:pt x="28" y="50"/>
                  </a:lnTo>
                  <a:lnTo>
                    <a:pt x="31" y="50"/>
                  </a:lnTo>
                  <a:lnTo>
                    <a:pt x="28" y="50"/>
                  </a:lnTo>
                  <a:lnTo>
                    <a:pt x="26" y="50"/>
                  </a:lnTo>
                  <a:lnTo>
                    <a:pt x="24" y="50"/>
                  </a:lnTo>
                  <a:lnTo>
                    <a:pt x="26" y="50"/>
                  </a:lnTo>
                  <a:lnTo>
                    <a:pt x="24" y="50"/>
                  </a:lnTo>
                  <a:lnTo>
                    <a:pt x="24" y="48"/>
                  </a:lnTo>
                  <a:lnTo>
                    <a:pt x="21" y="48"/>
                  </a:lnTo>
                  <a:lnTo>
                    <a:pt x="19" y="48"/>
                  </a:lnTo>
                  <a:lnTo>
                    <a:pt x="16" y="48"/>
                  </a:lnTo>
                  <a:lnTo>
                    <a:pt x="16" y="46"/>
                  </a:lnTo>
                  <a:lnTo>
                    <a:pt x="16" y="43"/>
                  </a:lnTo>
                  <a:lnTo>
                    <a:pt x="14" y="43"/>
                  </a:lnTo>
                  <a:lnTo>
                    <a:pt x="12" y="43"/>
                  </a:lnTo>
                  <a:lnTo>
                    <a:pt x="14" y="43"/>
                  </a:lnTo>
                  <a:lnTo>
                    <a:pt x="14" y="41"/>
                  </a:lnTo>
                  <a:lnTo>
                    <a:pt x="16" y="41"/>
                  </a:lnTo>
                  <a:lnTo>
                    <a:pt x="19" y="41"/>
                  </a:lnTo>
                  <a:lnTo>
                    <a:pt x="21" y="41"/>
                  </a:lnTo>
                  <a:lnTo>
                    <a:pt x="21" y="38"/>
                  </a:lnTo>
                  <a:lnTo>
                    <a:pt x="24" y="38"/>
                  </a:lnTo>
                  <a:lnTo>
                    <a:pt x="26" y="38"/>
                  </a:lnTo>
                  <a:lnTo>
                    <a:pt x="28" y="38"/>
                  </a:lnTo>
                  <a:lnTo>
                    <a:pt x="31" y="38"/>
                  </a:lnTo>
                  <a:lnTo>
                    <a:pt x="28" y="38"/>
                  </a:lnTo>
                  <a:lnTo>
                    <a:pt x="31" y="38"/>
                  </a:lnTo>
                  <a:lnTo>
                    <a:pt x="31" y="36"/>
                  </a:lnTo>
                  <a:lnTo>
                    <a:pt x="28" y="36"/>
                  </a:lnTo>
                  <a:lnTo>
                    <a:pt x="28" y="38"/>
                  </a:lnTo>
                  <a:lnTo>
                    <a:pt x="26" y="38"/>
                  </a:lnTo>
                  <a:lnTo>
                    <a:pt x="28" y="38"/>
                  </a:lnTo>
                  <a:lnTo>
                    <a:pt x="28" y="36"/>
                  </a:lnTo>
                  <a:lnTo>
                    <a:pt x="31" y="36"/>
                  </a:lnTo>
                  <a:lnTo>
                    <a:pt x="28" y="36"/>
                  </a:lnTo>
                  <a:lnTo>
                    <a:pt x="31" y="36"/>
                  </a:lnTo>
                  <a:lnTo>
                    <a:pt x="33" y="36"/>
                  </a:lnTo>
                  <a:lnTo>
                    <a:pt x="33" y="38"/>
                  </a:lnTo>
                  <a:lnTo>
                    <a:pt x="35" y="38"/>
                  </a:lnTo>
                  <a:lnTo>
                    <a:pt x="35" y="36"/>
                  </a:lnTo>
                  <a:lnTo>
                    <a:pt x="33" y="36"/>
                  </a:lnTo>
                  <a:lnTo>
                    <a:pt x="33" y="34"/>
                  </a:lnTo>
                  <a:lnTo>
                    <a:pt x="35" y="34"/>
                  </a:lnTo>
                  <a:lnTo>
                    <a:pt x="38" y="34"/>
                  </a:lnTo>
                  <a:lnTo>
                    <a:pt x="40" y="34"/>
                  </a:lnTo>
                  <a:lnTo>
                    <a:pt x="40" y="31"/>
                  </a:lnTo>
                  <a:lnTo>
                    <a:pt x="38" y="34"/>
                  </a:lnTo>
                  <a:lnTo>
                    <a:pt x="35" y="34"/>
                  </a:lnTo>
                  <a:lnTo>
                    <a:pt x="33" y="34"/>
                  </a:lnTo>
                  <a:lnTo>
                    <a:pt x="31" y="34"/>
                  </a:lnTo>
                  <a:lnTo>
                    <a:pt x="33" y="34"/>
                  </a:lnTo>
                  <a:lnTo>
                    <a:pt x="31" y="34"/>
                  </a:lnTo>
                  <a:lnTo>
                    <a:pt x="28" y="34"/>
                  </a:lnTo>
                  <a:lnTo>
                    <a:pt x="26" y="34"/>
                  </a:lnTo>
                  <a:lnTo>
                    <a:pt x="24" y="34"/>
                  </a:lnTo>
                  <a:lnTo>
                    <a:pt x="21" y="34"/>
                  </a:lnTo>
                  <a:lnTo>
                    <a:pt x="19" y="34"/>
                  </a:lnTo>
                  <a:lnTo>
                    <a:pt x="16" y="34"/>
                  </a:lnTo>
                  <a:lnTo>
                    <a:pt x="16" y="31"/>
                  </a:lnTo>
                  <a:lnTo>
                    <a:pt x="16" y="34"/>
                  </a:lnTo>
                  <a:lnTo>
                    <a:pt x="14" y="31"/>
                  </a:lnTo>
                  <a:lnTo>
                    <a:pt x="14" y="34"/>
                  </a:lnTo>
                  <a:lnTo>
                    <a:pt x="14" y="31"/>
                  </a:lnTo>
                  <a:lnTo>
                    <a:pt x="14" y="34"/>
                  </a:lnTo>
                  <a:lnTo>
                    <a:pt x="12" y="34"/>
                  </a:lnTo>
                  <a:lnTo>
                    <a:pt x="12" y="31"/>
                  </a:lnTo>
                  <a:lnTo>
                    <a:pt x="12" y="29"/>
                  </a:lnTo>
                  <a:lnTo>
                    <a:pt x="9" y="29"/>
                  </a:lnTo>
                  <a:lnTo>
                    <a:pt x="9" y="27"/>
                  </a:lnTo>
                  <a:lnTo>
                    <a:pt x="7" y="27"/>
                  </a:lnTo>
                  <a:lnTo>
                    <a:pt x="7" y="29"/>
                  </a:lnTo>
                  <a:lnTo>
                    <a:pt x="7" y="27"/>
                  </a:lnTo>
                  <a:lnTo>
                    <a:pt x="5" y="27"/>
                  </a:lnTo>
                  <a:lnTo>
                    <a:pt x="2" y="27"/>
                  </a:lnTo>
                  <a:lnTo>
                    <a:pt x="0" y="27"/>
                  </a:lnTo>
                  <a:lnTo>
                    <a:pt x="2" y="27"/>
                  </a:lnTo>
                  <a:lnTo>
                    <a:pt x="2" y="24"/>
                  </a:lnTo>
                  <a:lnTo>
                    <a:pt x="5" y="24"/>
                  </a:lnTo>
                  <a:lnTo>
                    <a:pt x="7" y="24"/>
                  </a:lnTo>
                  <a:lnTo>
                    <a:pt x="7" y="22"/>
                  </a:lnTo>
                  <a:lnTo>
                    <a:pt x="7" y="24"/>
                  </a:lnTo>
                  <a:lnTo>
                    <a:pt x="9" y="24"/>
                  </a:lnTo>
                  <a:lnTo>
                    <a:pt x="12" y="24"/>
                  </a:lnTo>
                  <a:lnTo>
                    <a:pt x="14" y="24"/>
                  </a:lnTo>
                  <a:lnTo>
                    <a:pt x="16" y="24"/>
                  </a:lnTo>
                  <a:lnTo>
                    <a:pt x="19" y="24"/>
                  </a:lnTo>
                  <a:lnTo>
                    <a:pt x="21" y="24"/>
                  </a:lnTo>
                  <a:lnTo>
                    <a:pt x="19" y="24"/>
                  </a:lnTo>
                  <a:lnTo>
                    <a:pt x="19" y="22"/>
                  </a:lnTo>
                  <a:lnTo>
                    <a:pt x="21" y="22"/>
                  </a:lnTo>
                  <a:lnTo>
                    <a:pt x="21" y="24"/>
                  </a:lnTo>
                  <a:lnTo>
                    <a:pt x="24" y="24"/>
                  </a:lnTo>
                  <a:lnTo>
                    <a:pt x="21" y="24"/>
                  </a:lnTo>
                  <a:lnTo>
                    <a:pt x="24" y="22"/>
                  </a:lnTo>
                  <a:lnTo>
                    <a:pt x="24" y="24"/>
                  </a:lnTo>
                  <a:lnTo>
                    <a:pt x="26" y="24"/>
                  </a:lnTo>
                  <a:lnTo>
                    <a:pt x="28" y="24"/>
                  </a:lnTo>
                  <a:lnTo>
                    <a:pt x="31" y="24"/>
                  </a:lnTo>
                  <a:lnTo>
                    <a:pt x="28" y="24"/>
                  </a:lnTo>
                  <a:lnTo>
                    <a:pt x="31" y="24"/>
                  </a:lnTo>
                  <a:lnTo>
                    <a:pt x="33" y="24"/>
                  </a:lnTo>
                  <a:lnTo>
                    <a:pt x="31" y="24"/>
                  </a:lnTo>
                  <a:lnTo>
                    <a:pt x="33" y="24"/>
                  </a:lnTo>
                  <a:lnTo>
                    <a:pt x="35" y="24"/>
                  </a:lnTo>
                  <a:lnTo>
                    <a:pt x="33" y="22"/>
                  </a:lnTo>
                  <a:lnTo>
                    <a:pt x="31" y="22"/>
                  </a:lnTo>
                  <a:lnTo>
                    <a:pt x="33" y="22"/>
                  </a:lnTo>
                  <a:lnTo>
                    <a:pt x="35" y="22"/>
                  </a:lnTo>
                  <a:lnTo>
                    <a:pt x="38" y="24"/>
                  </a:lnTo>
                  <a:lnTo>
                    <a:pt x="40" y="24"/>
                  </a:lnTo>
                  <a:lnTo>
                    <a:pt x="38" y="24"/>
                  </a:lnTo>
                  <a:lnTo>
                    <a:pt x="40" y="24"/>
                  </a:lnTo>
                  <a:lnTo>
                    <a:pt x="40" y="27"/>
                  </a:lnTo>
                  <a:lnTo>
                    <a:pt x="43" y="27"/>
                  </a:lnTo>
                  <a:lnTo>
                    <a:pt x="45" y="27"/>
                  </a:lnTo>
                  <a:lnTo>
                    <a:pt x="45" y="29"/>
                  </a:lnTo>
                  <a:lnTo>
                    <a:pt x="47" y="29"/>
                  </a:lnTo>
                  <a:lnTo>
                    <a:pt x="50" y="29"/>
                  </a:lnTo>
                  <a:lnTo>
                    <a:pt x="52" y="29"/>
                  </a:lnTo>
                  <a:lnTo>
                    <a:pt x="54" y="29"/>
                  </a:lnTo>
                  <a:lnTo>
                    <a:pt x="57" y="29"/>
                  </a:lnTo>
                  <a:lnTo>
                    <a:pt x="54" y="29"/>
                  </a:lnTo>
                  <a:lnTo>
                    <a:pt x="54" y="27"/>
                  </a:lnTo>
                  <a:lnTo>
                    <a:pt x="57" y="27"/>
                  </a:lnTo>
                  <a:lnTo>
                    <a:pt x="54" y="27"/>
                  </a:lnTo>
                  <a:lnTo>
                    <a:pt x="57" y="27"/>
                  </a:lnTo>
                  <a:lnTo>
                    <a:pt x="59" y="27"/>
                  </a:lnTo>
                  <a:lnTo>
                    <a:pt x="62" y="27"/>
                  </a:lnTo>
                  <a:lnTo>
                    <a:pt x="62" y="24"/>
                  </a:lnTo>
                  <a:lnTo>
                    <a:pt x="59" y="24"/>
                  </a:lnTo>
                  <a:lnTo>
                    <a:pt x="57" y="24"/>
                  </a:lnTo>
                  <a:lnTo>
                    <a:pt x="54" y="24"/>
                  </a:lnTo>
                  <a:lnTo>
                    <a:pt x="52" y="24"/>
                  </a:lnTo>
                  <a:lnTo>
                    <a:pt x="50" y="24"/>
                  </a:lnTo>
                  <a:lnTo>
                    <a:pt x="47" y="22"/>
                  </a:lnTo>
                  <a:lnTo>
                    <a:pt x="50" y="22"/>
                  </a:lnTo>
                  <a:lnTo>
                    <a:pt x="47" y="22"/>
                  </a:lnTo>
                  <a:lnTo>
                    <a:pt x="47" y="19"/>
                  </a:lnTo>
                  <a:lnTo>
                    <a:pt x="45" y="19"/>
                  </a:lnTo>
                  <a:lnTo>
                    <a:pt x="43" y="17"/>
                  </a:lnTo>
                  <a:lnTo>
                    <a:pt x="45" y="17"/>
                  </a:lnTo>
                  <a:lnTo>
                    <a:pt x="45" y="15"/>
                  </a:lnTo>
                  <a:lnTo>
                    <a:pt x="43" y="15"/>
                  </a:lnTo>
                  <a:lnTo>
                    <a:pt x="43" y="12"/>
                  </a:lnTo>
                  <a:lnTo>
                    <a:pt x="45" y="12"/>
                  </a:lnTo>
                  <a:lnTo>
                    <a:pt x="47" y="12"/>
                  </a:lnTo>
                  <a:lnTo>
                    <a:pt x="50" y="12"/>
                  </a:lnTo>
                  <a:lnTo>
                    <a:pt x="52" y="15"/>
                  </a:lnTo>
                  <a:lnTo>
                    <a:pt x="54" y="15"/>
                  </a:lnTo>
                  <a:lnTo>
                    <a:pt x="54" y="17"/>
                  </a:lnTo>
                  <a:lnTo>
                    <a:pt x="57" y="17"/>
                  </a:lnTo>
                  <a:lnTo>
                    <a:pt x="57" y="19"/>
                  </a:lnTo>
                  <a:lnTo>
                    <a:pt x="59" y="19"/>
                  </a:lnTo>
                  <a:lnTo>
                    <a:pt x="62" y="19"/>
                  </a:lnTo>
                  <a:lnTo>
                    <a:pt x="62" y="22"/>
                  </a:lnTo>
                  <a:lnTo>
                    <a:pt x="64" y="22"/>
                  </a:lnTo>
                  <a:lnTo>
                    <a:pt x="66" y="22"/>
                  </a:lnTo>
                  <a:lnTo>
                    <a:pt x="69" y="22"/>
                  </a:lnTo>
                  <a:lnTo>
                    <a:pt x="69" y="19"/>
                  </a:lnTo>
                  <a:lnTo>
                    <a:pt x="66" y="19"/>
                  </a:lnTo>
                  <a:lnTo>
                    <a:pt x="64" y="19"/>
                  </a:lnTo>
                  <a:lnTo>
                    <a:pt x="66" y="17"/>
                  </a:lnTo>
                  <a:lnTo>
                    <a:pt x="69" y="17"/>
                  </a:lnTo>
                  <a:lnTo>
                    <a:pt x="66" y="17"/>
                  </a:lnTo>
                  <a:lnTo>
                    <a:pt x="66" y="15"/>
                  </a:lnTo>
                  <a:lnTo>
                    <a:pt x="69" y="15"/>
                  </a:lnTo>
                  <a:lnTo>
                    <a:pt x="66" y="15"/>
                  </a:lnTo>
                  <a:lnTo>
                    <a:pt x="69" y="15"/>
                  </a:lnTo>
                  <a:lnTo>
                    <a:pt x="66" y="15"/>
                  </a:lnTo>
                  <a:lnTo>
                    <a:pt x="69" y="12"/>
                  </a:lnTo>
                  <a:lnTo>
                    <a:pt x="71" y="12"/>
                  </a:lnTo>
                  <a:lnTo>
                    <a:pt x="69" y="12"/>
                  </a:lnTo>
                  <a:lnTo>
                    <a:pt x="66" y="12"/>
                  </a:lnTo>
                  <a:lnTo>
                    <a:pt x="69" y="12"/>
                  </a:lnTo>
                  <a:lnTo>
                    <a:pt x="71" y="12"/>
                  </a:lnTo>
                  <a:lnTo>
                    <a:pt x="69" y="10"/>
                  </a:lnTo>
                  <a:lnTo>
                    <a:pt x="71" y="10"/>
                  </a:lnTo>
                  <a:lnTo>
                    <a:pt x="73" y="10"/>
                  </a:lnTo>
                  <a:lnTo>
                    <a:pt x="71" y="10"/>
                  </a:lnTo>
                  <a:lnTo>
                    <a:pt x="66" y="10"/>
                  </a:lnTo>
                  <a:lnTo>
                    <a:pt x="64" y="10"/>
                  </a:lnTo>
                  <a:lnTo>
                    <a:pt x="62" y="10"/>
                  </a:lnTo>
                  <a:lnTo>
                    <a:pt x="59" y="10"/>
                  </a:lnTo>
                  <a:lnTo>
                    <a:pt x="57" y="10"/>
                  </a:lnTo>
                  <a:lnTo>
                    <a:pt x="57" y="8"/>
                  </a:lnTo>
                  <a:lnTo>
                    <a:pt x="57" y="5"/>
                  </a:lnTo>
                  <a:lnTo>
                    <a:pt x="59" y="3"/>
                  </a:lnTo>
                  <a:lnTo>
                    <a:pt x="59" y="5"/>
                  </a:lnTo>
                  <a:lnTo>
                    <a:pt x="62" y="5"/>
                  </a:lnTo>
                  <a:lnTo>
                    <a:pt x="64" y="5"/>
                  </a:lnTo>
                  <a:lnTo>
                    <a:pt x="66" y="8"/>
                  </a:lnTo>
                  <a:lnTo>
                    <a:pt x="66" y="5"/>
                  </a:lnTo>
                  <a:lnTo>
                    <a:pt x="64" y="5"/>
                  </a:lnTo>
                  <a:lnTo>
                    <a:pt x="62" y="5"/>
                  </a:lnTo>
                  <a:lnTo>
                    <a:pt x="62" y="3"/>
                  </a:lnTo>
                  <a:lnTo>
                    <a:pt x="62" y="0"/>
                  </a:lnTo>
                  <a:lnTo>
                    <a:pt x="64" y="3"/>
                  </a:lnTo>
                  <a:lnTo>
                    <a:pt x="66" y="3"/>
                  </a:lnTo>
                  <a:lnTo>
                    <a:pt x="69" y="3"/>
                  </a:lnTo>
                  <a:lnTo>
                    <a:pt x="69" y="5"/>
                  </a:lnTo>
                  <a:lnTo>
                    <a:pt x="71" y="5"/>
                  </a:lnTo>
                  <a:lnTo>
                    <a:pt x="73" y="5"/>
                  </a:lnTo>
                  <a:lnTo>
                    <a:pt x="76" y="5"/>
                  </a:lnTo>
                  <a:lnTo>
                    <a:pt x="76" y="8"/>
                  </a:lnTo>
                  <a:lnTo>
                    <a:pt x="78" y="8"/>
                  </a:lnTo>
                  <a:lnTo>
                    <a:pt x="78" y="10"/>
                  </a:lnTo>
                  <a:lnTo>
                    <a:pt x="81" y="8"/>
                  </a:lnTo>
                  <a:lnTo>
                    <a:pt x="83" y="8"/>
                  </a:lnTo>
                  <a:lnTo>
                    <a:pt x="85" y="8"/>
                  </a:lnTo>
                  <a:lnTo>
                    <a:pt x="88" y="8"/>
                  </a:lnTo>
                  <a:lnTo>
                    <a:pt x="88" y="10"/>
                  </a:lnTo>
                  <a:lnTo>
                    <a:pt x="90" y="10"/>
                  </a:lnTo>
                  <a:lnTo>
                    <a:pt x="88" y="10"/>
                  </a:lnTo>
                  <a:lnTo>
                    <a:pt x="90" y="12"/>
                  </a:lnTo>
                  <a:lnTo>
                    <a:pt x="92" y="12"/>
                  </a:lnTo>
                  <a:lnTo>
                    <a:pt x="92" y="15"/>
                  </a:lnTo>
                  <a:lnTo>
                    <a:pt x="92" y="17"/>
                  </a:lnTo>
                  <a:lnTo>
                    <a:pt x="95" y="17"/>
                  </a:lnTo>
                  <a:lnTo>
                    <a:pt x="92" y="17"/>
                  </a:lnTo>
                  <a:lnTo>
                    <a:pt x="95" y="17"/>
                  </a:lnTo>
                  <a:lnTo>
                    <a:pt x="97" y="17"/>
                  </a:lnTo>
                  <a:lnTo>
                    <a:pt x="97" y="15"/>
                  </a:lnTo>
                  <a:lnTo>
                    <a:pt x="100" y="15"/>
                  </a:lnTo>
                  <a:lnTo>
                    <a:pt x="102" y="15"/>
                  </a:lnTo>
                  <a:lnTo>
                    <a:pt x="102" y="17"/>
                  </a:lnTo>
                  <a:lnTo>
                    <a:pt x="102" y="19"/>
                  </a:lnTo>
                  <a:lnTo>
                    <a:pt x="102" y="22"/>
                  </a:lnTo>
                  <a:lnTo>
                    <a:pt x="104" y="22"/>
                  </a:lnTo>
                  <a:lnTo>
                    <a:pt x="107" y="22"/>
                  </a:lnTo>
                  <a:lnTo>
                    <a:pt x="109" y="22"/>
                  </a:lnTo>
                  <a:lnTo>
                    <a:pt x="107" y="22"/>
                  </a:lnTo>
                  <a:lnTo>
                    <a:pt x="109" y="22"/>
                  </a:lnTo>
                  <a:lnTo>
                    <a:pt x="107" y="22"/>
                  </a:lnTo>
                  <a:lnTo>
                    <a:pt x="109" y="22"/>
                  </a:lnTo>
                  <a:lnTo>
                    <a:pt x="111" y="22"/>
                  </a:lnTo>
                  <a:lnTo>
                    <a:pt x="114" y="22"/>
                  </a:lnTo>
                  <a:lnTo>
                    <a:pt x="114" y="19"/>
                  </a:lnTo>
                  <a:lnTo>
                    <a:pt x="116" y="19"/>
                  </a:lnTo>
                  <a:lnTo>
                    <a:pt x="119" y="19"/>
                  </a:lnTo>
                  <a:lnTo>
                    <a:pt x="119" y="22"/>
                  </a:lnTo>
                  <a:lnTo>
                    <a:pt x="121" y="22"/>
                  </a:lnTo>
                  <a:lnTo>
                    <a:pt x="121" y="19"/>
                  </a:lnTo>
                  <a:lnTo>
                    <a:pt x="123" y="17"/>
                  </a:lnTo>
                  <a:lnTo>
                    <a:pt x="126" y="19"/>
                  </a:lnTo>
                  <a:lnTo>
                    <a:pt x="128" y="19"/>
                  </a:lnTo>
                  <a:lnTo>
                    <a:pt x="128" y="22"/>
                  </a:lnTo>
                  <a:lnTo>
                    <a:pt x="130" y="22"/>
                  </a:lnTo>
                  <a:lnTo>
                    <a:pt x="130" y="19"/>
                  </a:lnTo>
                  <a:lnTo>
                    <a:pt x="130" y="17"/>
                  </a:lnTo>
                  <a:lnTo>
                    <a:pt x="133" y="17"/>
                  </a:lnTo>
                  <a:lnTo>
                    <a:pt x="135" y="17"/>
                  </a:lnTo>
                  <a:lnTo>
                    <a:pt x="135" y="19"/>
                  </a:lnTo>
                  <a:lnTo>
                    <a:pt x="138" y="19"/>
                  </a:lnTo>
                  <a:lnTo>
                    <a:pt x="135" y="19"/>
                  </a:lnTo>
                  <a:lnTo>
                    <a:pt x="135" y="22"/>
                  </a:lnTo>
                  <a:lnTo>
                    <a:pt x="133" y="24"/>
                  </a:lnTo>
                  <a:lnTo>
                    <a:pt x="130" y="24"/>
                  </a:lnTo>
                  <a:lnTo>
                    <a:pt x="130" y="27"/>
                  </a:lnTo>
                  <a:lnTo>
                    <a:pt x="128" y="27"/>
                  </a:lnTo>
                  <a:lnTo>
                    <a:pt x="126" y="27"/>
                  </a:lnTo>
                  <a:lnTo>
                    <a:pt x="126" y="29"/>
                  </a:lnTo>
                  <a:lnTo>
                    <a:pt x="128" y="29"/>
                  </a:lnTo>
                  <a:lnTo>
                    <a:pt x="130" y="29"/>
                  </a:lnTo>
                  <a:lnTo>
                    <a:pt x="130" y="27"/>
                  </a:lnTo>
                  <a:lnTo>
                    <a:pt x="133" y="27"/>
                  </a:lnTo>
                  <a:lnTo>
                    <a:pt x="135" y="27"/>
                  </a:lnTo>
                  <a:lnTo>
                    <a:pt x="138" y="27"/>
                  </a:lnTo>
                  <a:lnTo>
                    <a:pt x="138" y="29"/>
                  </a:lnTo>
                  <a:lnTo>
                    <a:pt x="140" y="29"/>
                  </a:lnTo>
                  <a:lnTo>
                    <a:pt x="142" y="29"/>
                  </a:lnTo>
                  <a:lnTo>
                    <a:pt x="145" y="29"/>
                  </a:lnTo>
                  <a:lnTo>
                    <a:pt x="145" y="31"/>
                  </a:lnTo>
                  <a:lnTo>
                    <a:pt x="145" y="34"/>
                  </a:lnTo>
                  <a:lnTo>
                    <a:pt x="147" y="34"/>
                  </a:lnTo>
                  <a:lnTo>
                    <a:pt x="147" y="36"/>
                  </a:lnTo>
                  <a:lnTo>
                    <a:pt x="149" y="36"/>
                  </a:lnTo>
                  <a:lnTo>
                    <a:pt x="147" y="36"/>
                  </a:lnTo>
                  <a:lnTo>
                    <a:pt x="149" y="36"/>
                  </a:lnTo>
                  <a:lnTo>
                    <a:pt x="152" y="36"/>
                  </a:lnTo>
                  <a:lnTo>
                    <a:pt x="152" y="34"/>
                  </a:lnTo>
                  <a:lnTo>
                    <a:pt x="154" y="34"/>
                  </a:lnTo>
                  <a:lnTo>
                    <a:pt x="154" y="36"/>
                  </a:lnTo>
                  <a:lnTo>
                    <a:pt x="156" y="36"/>
                  </a:lnTo>
                  <a:lnTo>
                    <a:pt x="156" y="34"/>
                  </a:lnTo>
                  <a:lnTo>
                    <a:pt x="154" y="34"/>
                  </a:lnTo>
                  <a:lnTo>
                    <a:pt x="154" y="31"/>
                  </a:lnTo>
                  <a:lnTo>
                    <a:pt x="156" y="31"/>
                  </a:lnTo>
                  <a:lnTo>
                    <a:pt x="156" y="34"/>
                  </a:lnTo>
                  <a:lnTo>
                    <a:pt x="159" y="34"/>
                  </a:lnTo>
                  <a:lnTo>
                    <a:pt x="159" y="31"/>
                  </a:lnTo>
                  <a:lnTo>
                    <a:pt x="156" y="31"/>
                  </a:lnTo>
                  <a:lnTo>
                    <a:pt x="154" y="31"/>
                  </a:lnTo>
                  <a:lnTo>
                    <a:pt x="156" y="31"/>
                  </a:lnTo>
                  <a:lnTo>
                    <a:pt x="156" y="29"/>
                  </a:lnTo>
                  <a:lnTo>
                    <a:pt x="154" y="29"/>
                  </a:lnTo>
                  <a:lnTo>
                    <a:pt x="152" y="29"/>
                  </a:lnTo>
                  <a:lnTo>
                    <a:pt x="154" y="29"/>
                  </a:lnTo>
                  <a:lnTo>
                    <a:pt x="154" y="27"/>
                  </a:lnTo>
                  <a:lnTo>
                    <a:pt x="154" y="24"/>
                  </a:lnTo>
                  <a:lnTo>
                    <a:pt x="156" y="22"/>
                  </a:lnTo>
                  <a:lnTo>
                    <a:pt x="159" y="22"/>
                  </a:lnTo>
                  <a:lnTo>
                    <a:pt x="156" y="22"/>
                  </a:lnTo>
                  <a:lnTo>
                    <a:pt x="156" y="19"/>
                  </a:lnTo>
                  <a:lnTo>
                    <a:pt x="156" y="17"/>
                  </a:lnTo>
                  <a:lnTo>
                    <a:pt x="159" y="17"/>
                  </a:lnTo>
                  <a:lnTo>
                    <a:pt x="161" y="17"/>
                  </a:lnTo>
                  <a:lnTo>
                    <a:pt x="159" y="17"/>
                  </a:lnTo>
                  <a:lnTo>
                    <a:pt x="161" y="17"/>
                  </a:lnTo>
                  <a:lnTo>
                    <a:pt x="161" y="15"/>
                  </a:lnTo>
                  <a:lnTo>
                    <a:pt x="159" y="15"/>
                  </a:lnTo>
                  <a:lnTo>
                    <a:pt x="156" y="15"/>
                  </a:lnTo>
                  <a:lnTo>
                    <a:pt x="154" y="15"/>
                  </a:lnTo>
                  <a:lnTo>
                    <a:pt x="154" y="12"/>
                  </a:lnTo>
                  <a:lnTo>
                    <a:pt x="152" y="12"/>
                  </a:lnTo>
                  <a:lnTo>
                    <a:pt x="152" y="10"/>
                  </a:lnTo>
                  <a:lnTo>
                    <a:pt x="154" y="8"/>
                  </a:lnTo>
                  <a:lnTo>
                    <a:pt x="156" y="8"/>
                  </a:lnTo>
                  <a:lnTo>
                    <a:pt x="159" y="8"/>
                  </a:lnTo>
                  <a:lnTo>
                    <a:pt x="161" y="8"/>
                  </a:lnTo>
                  <a:lnTo>
                    <a:pt x="161" y="10"/>
                  </a:lnTo>
                  <a:lnTo>
                    <a:pt x="161" y="12"/>
                  </a:lnTo>
                  <a:lnTo>
                    <a:pt x="164" y="12"/>
                  </a:lnTo>
                  <a:lnTo>
                    <a:pt x="164" y="15"/>
                  </a:lnTo>
                  <a:lnTo>
                    <a:pt x="166" y="15"/>
                  </a:lnTo>
                  <a:lnTo>
                    <a:pt x="166" y="12"/>
                  </a:lnTo>
                  <a:lnTo>
                    <a:pt x="164" y="12"/>
                  </a:lnTo>
                  <a:lnTo>
                    <a:pt x="166" y="12"/>
                  </a:lnTo>
                  <a:lnTo>
                    <a:pt x="166" y="10"/>
                  </a:lnTo>
                  <a:lnTo>
                    <a:pt x="168" y="10"/>
                  </a:lnTo>
                  <a:lnTo>
                    <a:pt x="168" y="8"/>
                  </a:lnTo>
                  <a:lnTo>
                    <a:pt x="168" y="5"/>
                  </a:lnTo>
                  <a:lnTo>
                    <a:pt x="166" y="5"/>
                  </a:lnTo>
                  <a:lnTo>
                    <a:pt x="166" y="3"/>
                  </a:lnTo>
                  <a:lnTo>
                    <a:pt x="166" y="0"/>
                  </a:lnTo>
                  <a:lnTo>
                    <a:pt x="168" y="0"/>
                  </a:lnTo>
                  <a:lnTo>
                    <a:pt x="168" y="3"/>
                  </a:lnTo>
                  <a:lnTo>
                    <a:pt x="171" y="3"/>
                  </a:lnTo>
                  <a:lnTo>
                    <a:pt x="173" y="3"/>
                  </a:lnTo>
                  <a:lnTo>
                    <a:pt x="173" y="5"/>
                  </a:lnTo>
                  <a:lnTo>
                    <a:pt x="175" y="5"/>
                  </a:lnTo>
                  <a:lnTo>
                    <a:pt x="178" y="5"/>
                  </a:lnTo>
                  <a:lnTo>
                    <a:pt x="180" y="5"/>
                  </a:lnTo>
                  <a:lnTo>
                    <a:pt x="183" y="5"/>
                  </a:lnTo>
                  <a:lnTo>
                    <a:pt x="185" y="8"/>
                  </a:lnTo>
                  <a:lnTo>
                    <a:pt x="183" y="8"/>
                  </a:lnTo>
                  <a:lnTo>
                    <a:pt x="183" y="10"/>
                  </a:lnTo>
                  <a:lnTo>
                    <a:pt x="180" y="10"/>
                  </a:lnTo>
                  <a:lnTo>
                    <a:pt x="178" y="10"/>
                  </a:lnTo>
                  <a:lnTo>
                    <a:pt x="180" y="10"/>
                  </a:lnTo>
                  <a:lnTo>
                    <a:pt x="183" y="10"/>
                  </a:lnTo>
                  <a:lnTo>
                    <a:pt x="180" y="10"/>
                  </a:lnTo>
                  <a:lnTo>
                    <a:pt x="180" y="12"/>
                  </a:lnTo>
                  <a:lnTo>
                    <a:pt x="178" y="12"/>
                  </a:lnTo>
                  <a:lnTo>
                    <a:pt x="180" y="12"/>
                  </a:lnTo>
                  <a:lnTo>
                    <a:pt x="178" y="12"/>
                  </a:lnTo>
                  <a:lnTo>
                    <a:pt x="180" y="12"/>
                  </a:lnTo>
                  <a:lnTo>
                    <a:pt x="183" y="12"/>
                  </a:lnTo>
                  <a:lnTo>
                    <a:pt x="185" y="12"/>
                  </a:lnTo>
                  <a:lnTo>
                    <a:pt x="185" y="15"/>
                  </a:lnTo>
                  <a:lnTo>
                    <a:pt x="183" y="15"/>
                  </a:lnTo>
                  <a:lnTo>
                    <a:pt x="185" y="15"/>
                  </a:lnTo>
                  <a:lnTo>
                    <a:pt x="183" y="1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5" name="Freeform 52505"/>
            <p:cNvSpPr>
              <a:spLocks noEditPoints="1"/>
            </p:cNvSpPr>
            <p:nvPr/>
          </p:nvSpPr>
          <p:spPr bwMode="auto">
            <a:xfrm>
              <a:off x="1550986" y="1963747"/>
              <a:ext cx="2230437" cy="1897068"/>
            </a:xfrm>
            <a:custGeom>
              <a:avLst/>
              <a:gdLst>
                <a:gd name="T0" fmla="*/ 479 w 1405"/>
                <a:gd name="T1" fmla="*/ 1188 h 1195"/>
                <a:gd name="T2" fmla="*/ 486 w 1405"/>
                <a:gd name="T3" fmla="*/ 1178 h 1195"/>
                <a:gd name="T4" fmla="*/ 785 w 1405"/>
                <a:gd name="T5" fmla="*/ 758 h 1195"/>
                <a:gd name="T6" fmla="*/ 783 w 1405"/>
                <a:gd name="T7" fmla="*/ 758 h 1195"/>
                <a:gd name="T8" fmla="*/ 780 w 1405"/>
                <a:gd name="T9" fmla="*/ 760 h 1195"/>
                <a:gd name="T10" fmla="*/ 776 w 1405"/>
                <a:gd name="T11" fmla="*/ 753 h 1195"/>
                <a:gd name="T12" fmla="*/ 785 w 1405"/>
                <a:gd name="T13" fmla="*/ 748 h 1195"/>
                <a:gd name="T14" fmla="*/ 795 w 1405"/>
                <a:gd name="T15" fmla="*/ 746 h 1195"/>
                <a:gd name="T16" fmla="*/ 826 w 1405"/>
                <a:gd name="T17" fmla="*/ 710 h 1195"/>
                <a:gd name="T18" fmla="*/ 814 w 1405"/>
                <a:gd name="T19" fmla="*/ 720 h 1195"/>
                <a:gd name="T20" fmla="*/ 823 w 1405"/>
                <a:gd name="T21" fmla="*/ 703 h 1195"/>
                <a:gd name="T22" fmla="*/ 923 w 1405"/>
                <a:gd name="T23" fmla="*/ 672 h 1195"/>
                <a:gd name="T24" fmla="*/ 894 w 1405"/>
                <a:gd name="T25" fmla="*/ 677 h 1195"/>
                <a:gd name="T26" fmla="*/ 906 w 1405"/>
                <a:gd name="T27" fmla="*/ 672 h 1195"/>
                <a:gd name="T28" fmla="*/ 909 w 1405"/>
                <a:gd name="T29" fmla="*/ 670 h 1195"/>
                <a:gd name="T30" fmla="*/ 916 w 1405"/>
                <a:gd name="T31" fmla="*/ 667 h 1195"/>
                <a:gd name="T32" fmla="*/ 949 w 1405"/>
                <a:gd name="T33" fmla="*/ 658 h 1195"/>
                <a:gd name="T34" fmla="*/ 925 w 1405"/>
                <a:gd name="T35" fmla="*/ 663 h 1195"/>
                <a:gd name="T36" fmla="*/ 930 w 1405"/>
                <a:gd name="T37" fmla="*/ 653 h 1195"/>
                <a:gd name="T38" fmla="*/ 980 w 1405"/>
                <a:gd name="T39" fmla="*/ 651 h 1195"/>
                <a:gd name="T40" fmla="*/ 949 w 1405"/>
                <a:gd name="T41" fmla="*/ 639 h 1195"/>
                <a:gd name="T42" fmla="*/ 961 w 1405"/>
                <a:gd name="T43" fmla="*/ 648 h 1195"/>
                <a:gd name="T44" fmla="*/ 944 w 1405"/>
                <a:gd name="T45" fmla="*/ 641 h 1195"/>
                <a:gd name="T46" fmla="*/ 1075 w 1405"/>
                <a:gd name="T47" fmla="*/ 632 h 1195"/>
                <a:gd name="T48" fmla="*/ 1063 w 1405"/>
                <a:gd name="T49" fmla="*/ 632 h 1195"/>
                <a:gd name="T50" fmla="*/ 1063 w 1405"/>
                <a:gd name="T51" fmla="*/ 627 h 1195"/>
                <a:gd name="T52" fmla="*/ 1072 w 1405"/>
                <a:gd name="T53" fmla="*/ 622 h 1195"/>
                <a:gd name="T54" fmla="*/ 1084 w 1405"/>
                <a:gd name="T55" fmla="*/ 613 h 1195"/>
                <a:gd name="T56" fmla="*/ 1089 w 1405"/>
                <a:gd name="T57" fmla="*/ 625 h 1195"/>
                <a:gd name="T58" fmla="*/ 35 w 1405"/>
                <a:gd name="T59" fmla="*/ 594 h 1195"/>
                <a:gd name="T60" fmla="*/ 2 w 1405"/>
                <a:gd name="T61" fmla="*/ 606 h 1195"/>
                <a:gd name="T62" fmla="*/ 24 w 1405"/>
                <a:gd name="T63" fmla="*/ 589 h 1195"/>
                <a:gd name="T64" fmla="*/ 1153 w 1405"/>
                <a:gd name="T65" fmla="*/ 587 h 1195"/>
                <a:gd name="T66" fmla="*/ 1158 w 1405"/>
                <a:gd name="T67" fmla="*/ 594 h 1195"/>
                <a:gd name="T68" fmla="*/ 1153 w 1405"/>
                <a:gd name="T69" fmla="*/ 596 h 1195"/>
                <a:gd name="T70" fmla="*/ 1141 w 1405"/>
                <a:gd name="T71" fmla="*/ 594 h 1195"/>
                <a:gd name="T72" fmla="*/ 1136 w 1405"/>
                <a:gd name="T73" fmla="*/ 589 h 1195"/>
                <a:gd name="T74" fmla="*/ 1146 w 1405"/>
                <a:gd name="T75" fmla="*/ 587 h 1195"/>
                <a:gd name="T76" fmla="*/ 923 w 1405"/>
                <a:gd name="T77" fmla="*/ 380 h 1195"/>
                <a:gd name="T78" fmla="*/ 1015 w 1405"/>
                <a:gd name="T79" fmla="*/ 119 h 1195"/>
                <a:gd name="T80" fmla="*/ 1032 w 1405"/>
                <a:gd name="T81" fmla="*/ 130 h 1195"/>
                <a:gd name="T82" fmla="*/ 992 w 1405"/>
                <a:gd name="T83" fmla="*/ 140 h 1195"/>
                <a:gd name="T84" fmla="*/ 982 w 1405"/>
                <a:gd name="T85" fmla="*/ 133 h 1195"/>
                <a:gd name="T86" fmla="*/ 977 w 1405"/>
                <a:gd name="T87" fmla="*/ 121 h 1195"/>
                <a:gd name="T88" fmla="*/ 1193 w 1405"/>
                <a:gd name="T89" fmla="*/ 107 h 1195"/>
                <a:gd name="T90" fmla="*/ 1181 w 1405"/>
                <a:gd name="T91" fmla="*/ 104 h 1195"/>
                <a:gd name="T92" fmla="*/ 659 w 1405"/>
                <a:gd name="T93" fmla="*/ 104 h 1195"/>
                <a:gd name="T94" fmla="*/ 669 w 1405"/>
                <a:gd name="T95" fmla="*/ 116 h 1195"/>
                <a:gd name="T96" fmla="*/ 690 w 1405"/>
                <a:gd name="T97" fmla="*/ 128 h 1195"/>
                <a:gd name="T98" fmla="*/ 688 w 1405"/>
                <a:gd name="T99" fmla="*/ 135 h 1195"/>
                <a:gd name="T100" fmla="*/ 664 w 1405"/>
                <a:gd name="T101" fmla="*/ 123 h 1195"/>
                <a:gd name="T102" fmla="*/ 648 w 1405"/>
                <a:gd name="T103" fmla="*/ 102 h 1195"/>
                <a:gd name="T104" fmla="*/ 1269 w 1405"/>
                <a:gd name="T105" fmla="*/ 95 h 1195"/>
                <a:gd name="T106" fmla="*/ 1253 w 1405"/>
                <a:gd name="T107" fmla="*/ 95 h 1195"/>
                <a:gd name="T108" fmla="*/ 1217 w 1405"/>
                <a:gd name="T109" fmla="*/ 97 h 1195"/>
                <a:gd name="T110" fmla="*/ 968 w 1405"/>
                <a:gd name="T111" fmla="*/ 81 h 1195"/>
                <a:gd name="T112" fmla="*/ 968 w 1405"/>
                <a:gd name="T113" fmla="*/ 88 h 1195"/>
                <a:gd name="T114" fmla="*/ 1402 w 1405"/>
                <a:gd name="T115" fmla="*/ 9 h 1195"/>
                <a:gd name="T116" fmla="*/ 1364 w 1405"/>
                <a:gd name="T117" fmla="*/ 14 h 1195"/>
                <a:gd name="T118" fmla="*/ 1338 w 1405"/>
                <a:gd name="T119" fmla="*/ 12 h 1195"/>
                <a:gd name="T120" fmla="*/ 1378 w 1405"/>
                <a:gd name="T121" fmla="*/ 0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05" h="1195">
                  <a:moveTo>
                    <a:pt x="486" y="1180"/>
                  </a:moveTo>
                  <a:lnTo>
                    <a:pt x="489" y="1178"/>
                  </a:lnTo>
                  <a:lnTo>
                    <a:pt x="489" y="1180"/>
                  </a:lnTo>
                  <a:lnTo>
                    <a:pt x="489" y="1183"/>
                  </a:lnTo>
                  <a:lnTo>
                    <a:pt x="489" y="1185"/>
                  </a:lnTo>
                  <a:lnTo>
                    <a:pt x="489" y="1188"/>
                  </a:lnTo>
                  <a:lnTo>
                    <a:pt x="489" y="1190"/>
                  </a:lnTo>
                  <a:lnTo>
                    <a:pt x="489" y="1192"/>
                  </a:lnTo>
                  <a:lnTo>
                    <a:pt x="486" y="1192"/>
                  </a:lnTo>
                  <a:lnTo>
                    <a:pt x="486" y="1190"/>
                  </a:lnTo>
                  <a:lnTo>
                    <a:pt x="486" y="1192"/>
                  </a:lnTo>
                  <a:lnTo>
                    <a:pt x="484" y="1192"/>
                  </a:lnTo>
                  <a:lnTo>
                    <a:pt x="482" y="1195"/>
                  </a:lnTo>
                  <a:lnTo>
                    <a:pt x="482" y="1192"/>
                  </a:lnTo>
                  <a:lnTo>
                    <a:pt x="479" y="1192"/>
                  </a:lnTo>
                  <a:lnTo>
                    <a:pt x="479" y="1190"/>
                  </a:lnTo>
                  <a:lnTo>
                    <a:pt x="477" y="1190"/>
                  </a:lnTo>
                  <a:lnTo>
                    <a:pt x="477" y="1188"/>
                  </a:lnTo>
                  <a:lnTo>
                    <a:pt x="479" y="1188"/>
                  </a:lnTo>
                  <a:lnTo>
                    <a:pt x="482" y="1188"/>
                  </a:lnTo>
                  <a:lnTo>
                    <a:pt x="479" y="1188"/>
                  </a:lnTo>
                  <a:lnTo>
                    <a:pt x="479" y="1185"/>
                  </a:lnTo>
                  <a:lnTo>
                    <a:pt x="482" y="1185"/>
                  </a:lnTo>
                  <a:lnTo>
                    <a:pt x="479" y="1185"/>
                  </a:lnTo>
                  <a:lnTo>
                    <a:pt x="482" y="1185"/>
                  </a:lnTo>
                  <a:lnTo>
                    <a:pt x="479" y="1185"/>
                  </a:lnTo>
                  <a:lnTo>
                    <a:pt x="482" y="1185"/>
                  </a:lnTo>
                  <a:lnTo>
                    <a:pt x="482" y="1183"/>
                  </a:lnTo>
                  <a:lnTo>
                    <a:pt x="484" y="1183"/>
                  </a:lnTo>
                  <a:lnTo>
                    <a:pt x="484" y="1185"/>
                  </a:lnTo>
                  <a:lnTo>
                    <a:pt x="484" y="1183"/>
                  </a:lnTo>
                  <a:lnTo>
                    <a:pt x="484" y="1180"/>
                  </a:lnTo>
                  <a:lnTo>
                    <a:pt x="486" y="1180"/>
                  </a:lnTo>
                  <a:lnTo>
                    <a:pt x="484" y="1180"/>
                  </a:lnTo>
                  <a:lnTo>
                    <a:pt x="486" y="1180"/>
                  </a:lnTo>
                  <a:lnTo>
                    <a:pt x="484" y="1180"/>
                  </a:lnTo>
                  <a:lnTo>
                    <a:pt x="486" y="1180"/>
                  </a:lnTo>
                  <a:lnTo>
                    <a:pt x="486" y="1178"/>
                  </a:lnTo>
                  <a:lnTo>
                    <a:pt x="486" y="1180"/>
                  </a:lnTo>
                  <a:close/>
                  <a:moveTo>
                    <a:pt x="802" y="746"/>
                  </a:moveTo>
                  <a:lnTo>
                    <a:pt x="799" y="746"/>
                  </a:lnTo>
                  <a:lnTo>
                    <a:pt x="802" y="746"/>
                  </a:lnTo>
                  <a:lnTo>
                    <a:pt x="799" y="746"/>
                  </a:lnTo>
                  <a:lnTo>
                    <a:pt x="799" y="748"/>
                  </a:lnTo>
                  <a:lnTo>
                    <a:pt x="797" y="750"/>
                  </a:lnTo>
                  <a:lnTo>
                    <a:pt x="795" y="750"/>
                  </a:lnTo>
                  <a:lnTo>
                    <a:pt x="792" y="750"/>
                  </a:lnTo>
                  <a:lnTo>
                    <a:pt x="792" y="753"/>
                  </a:lnTo>
                  <a:lnTo>
                    <a:pt x="795" y="750"/>
                  </a:lnTo>
                  <a:lnTo>
                    <a:pt x="795" y="753"/>
                  </a:lnTo>
                  <a:lnTo>
                    <a:pt x="792" y="753"/>
                  </a:lnTo>
                  <a:lnTo>
                    <a:pt x="790" y="755"/>
                  </a:lnTo>
                  <a:lnTo>
                    <a:pt x="788" y="755"/>
                  </a:lnTo>
                  <a:lnTo>
                    <a:pt x="788" y="758"/>
                  </a:lnTo>
                  <a:lnTo>
                    <a:pt x="785" y="758"/>
                  </a:lnTo>
                  <a:lnTo>
                    <a:pt x="788" y="758"/>
                  </a:lnTo>
                  <a:lnTo>
                    <a:pt x="785" y="758"/>
                  </a:lnTo>
                  <a:lnTo>
                    <a:pt x="785" y="755"/>
                  </a:lnTo>
                  <a:lnTo>
                    <a:pt x="788" y="753"/>
                  </a:lnTo>
                  <a:lnTo>
                    <a:pt x="785" y="753"/>
                  </a:lnTo>
                  <a:lnTo>
                    <a:pt x="785" y="755"/>
                  </a:lnTo>
                  <a:lnTo>
                    <a:pt x="785" y="753"/>
                  </a:lnTo>
                  <a:lnTo>
                    <a:pt x="785" y="755"/>
                  </a:lnTo>
                  <a:lnTo>
                    <a:pt x="785" y="758"/>
                  </a:lnTo>
                  <a:lnTo>
                    <a:pt x="783" y="755"/>
                  </a:lnTo>
                  <a:lnTo>
                    <a:pt x="785" y="755"/>
                  </a:lnTo>
                  <a:lnTo>
                    <a:pt x="783" y="755"/>
                  </a:lnTo>
                  <a:lnTo>
                    <a:pt x="783" y="758"/>
                  </a:lnTo>
                  <a:lnTo>
                    <a:pt x="783" y="755"/>
                  </a:lnTo>
                  <a:lnTo>
                    <a:pt x="783" y="758"/>
                  </a:lnTo>
                  <a:lnTo>
                    <a:pt x="783" y="755"/>
                  </a:lnTo>
                  <a:lnTo>
                    <a:pt x="783" y="758"/>
                  </a:lnTo>
                  <a:lnTo>
                    <a:pt x="785" y="758"/>
                  </a:lnTo>
                  <a:lnTo>
                    <a:pt x="783" y="758"/>
                  </a:lnTo>
                  <a:lnTo>
                    <a:pt x="785" y="758"/>
                  </a:lnTo>
                  <a:lnTo>
                    <a:pt x="783" y="758"/>
                  </a:lnTo>
                  <a:lnTo>
                    <a:pt x="785" y="758"/>
                  </a:lnTo>
                  <a:lnTo>
                    <a:pt x="783" y="758"/>
                  </a:lnTo>
                  <a:lnTo>
                    <a:pt x="783" y="760"/>
                  </a:lnTo>
                  <a:lnTo>
                    <a:pt x="783" y="758"/>
                  </a:lnTo>
                  <a:lnTo>
                    <a:pt x="783" y="760"/>
                  </a:lnTo>
                  <a:lnTo>
                    <a:pt x="783" y="758"/>
                  </a:lnTo>
                  <a:lnTo>
                    <a:pt x="780" y="758"/>
                  </a:lnTo>
                  <a:lnTo>
                    <a:pt x="780" y="760"/>
                  </a:lnTo>
                  <a:lnTo>
                    <a:pt x="780" y="758"/>
                  </a:lnTo>
                  <a:lnTo>
                    <a:pt x="780" y="760"/>
                  </a:lnTo>
                  <a:lnTo>
                    <a:pt x="780" y="758"/>
                  </a:lnTo>
                  <a:lnTo>
                    <a:pt x="780" y="760"/>
                  </a:lnTo>
                  <a:lnTo>
                    <a:pt x="780" y="758"/>
                  </a:lnTo>
                  <a:lnTo>
                    <a:pt x="778" y="760"/>
                  </a:lnTo>
                  <a:lnTo>
                    <a:pt x="780" y="760"/>
                  </a:lnTo>
                  <a:lnTo>
                    <a:pt x="778" y="760"/>
                  </a:lnTo>
                  <a:lnTo>
                    <a:pt x="780" y="760"/>
                  </a:lnTo>
                  <a:lnTo>
                    <a:pt x="778" y="760"/>
                  </a:lnTo>
                  <a:lnTo>
                    <a:pt x="780" y="760"/>
                  </a:lnTo>
                  <a:lnTo>
                    <a:pt x="778" y="760"/>
                  </a:lnTo>
                  <a:lnTo>
                    <a:pt x="776" y="762"/>
                  </a:lnTo>
                  <a:lnTo>
                    <a:pt x="776" y="760"/>
                  </a:lnTo>
                  <a:lnTo>
                    <a:pt x="776" y="762"/>
                  </a:lnTo>
                  <a:lnTo>
                    <a:pt x="773" y="762"/>
                  </a:lnTo>
                  <a:lnTo>
                    <a:pt x="773" y="760"/>
                  </a:lnTo>
                  <a:lnTo>
                    <a:pt x="773" y="762"/>
                  </a:lnTo>
                  <a:lnTo>
                    <a:pt x="771" y="762"/>
                  </a:lnTo>
                  <a:lnTo>
                    <a:pt x="769" y="762"/>
                  </a:lnTo>
                  <a:lnTo>
                    <a:pt x="769" y="760"/>
                  </a:lnTo>
                  <a:lnTo>
                    <a:pt x="771" y="758"/>
                  </a:lnTo>
                  <a:lnTo>
                    <a:pt x="773" y="758"/>
                  </a:lnTo>
                  <a:lnTo>
                    <a:pt x="771" y="758"/>
                  </a:lnTo>
                  <a:lnTo>
                    <a:pt x="773" y="758"/>
                  </a:lnTo>
                  <a:lnTo>
                    <a:pt x="773" y="755"/>
                  </a:lnTo>
                  <a:lnTo>
                    <a:pt x="771" y="755"/>
                  </a:lnTo>
                  <a:lnTo>
                    <a:pt x="771" y="753"/>
                  </a:lnTo>
                  <a:lnTo>
                    <a:pt x="773" y="753"/>
                  </a:lnTo>
                  <a:lnTo>
                    <a:pt x="776" y="753"/>
                  </a:lnTo>
                  <a:lnTo>
                    <a:pt x="776" y="755"/>
                  </a:lnTo>
                  <a:lnTo>
                    <a:pt x="776" y="753"/>
                  </a:lnTo>
                  <a:lnTo>
                    <a:pt x="776" y="755"/>
                  </a:lnTo>
                  <a:lnTo>
                    <a:pt x="776" y="753"/>
                  </a:lnTo>
                  <a:lnTo>
                    <a:pt x="776" y="750"/>
                  </a:lnTo>
                  <a:lnTo>
                    <a:pt x="773" y="750"/>
                  </a:lnTo>
                  <a:lnTo>
                    <a:pt x="776" y="750"/>
                  </a:lnTo>
                  <a:lnTo>
                    <a:pt x="778" y="750"/>
                  </a:lnTo>
                  <a:lnTo>
                    <a:pt x="778" y="748"/>
                  </a:lnTo>
                  <a:lnTo>
                    <a:pt x="780" y="750"/>
                  </a:lnTo>
                  <a:lnTo>
                    <a:pt x="780" y="748"/>
                  </a:lnTo>
                  <a:lnTo>
                    <a:pt x="778" y="748"/>
                  </a:lnTo>
                  <a:lnTo>
                    <a:pt x="780" y="748"/>
                  </a:lnTo>
                  <a:lnTo>
                    <a:pt x="783" y="748"/>
                  </a:lnTo>
                  <a:lnTo>
                    <a:pt x="785" y="748"/>
                  </a:lnTo>
                  <a:lnTo>
                    <a:pt x="783" y="748"/>
                  </a:lnTo>
                  <a:lnTo>
                    <a:pt x="783" y="750"/>
                  </a:lnTo>
                  <a:lnTo>
                    <a:pt x="785" y="750"/>
                  </a:lnTo>
                  <a:lnTo>
                    <a:pt x="785" y="748"/>
                  </a:lnTo>
                  <a:lnTo>
                    <a:pt x="785" y="746"/>
                  </a:lnTo>
                  <a:lnTo>
                    <a:pt x="785" y="748"/>
                  </a:lnTo>
                  <a:lnTo>
                    <a:pt x="788" y="748"/>
                  </a:lnTo>
                  <a:lnTo>
                    <a:pt x="785" y="748"/>
                  </a:lnTo>
                  <a:lnTo>
                    <a:pt x="788" y="748"/>
                  </a:lnTo>
                  <a:lnTo>
                    <a:pt x="790" y="748"/>
                  </a:lnTo>
                  <a:lnTo>
                    <a:pt x="788" y="748"/>
                  </a:lnTo>
                  <a:lnTo>
                    <a:pt x="790" y="748"/>
                  </a:lnTo>
                  <a:lnTo>
                    <a:pt x="790" y="750"/>
                  </a:lnTo>
                  <a:lnTo>
                    <a:pt x="788" y="750"/>
                  </a:lnTo>
                  <a:lnTo>
                    <a:pt x="790" y="750"/>
                  </a:lnTo>
                  <a:lnTo>
                    <a:pt x="790" y="748"/>
                  </a:lnTo>
                  <a:lnTo>
                    <a:pt x="790" y="746"/>
                  </a:lnTo>
                  <a:lnTo>
                    <a:pt x="792" y="746"/>
                  </a:lnTo>
                  <a:lnTo>
                    <a:pt x="790" y="746"/>
                  </a:lnTo>
                  <a:lnTo>
                    <a:pt x="792" y="746"/>
                  </a:lnTo>
                  <a:lnTo>
                    <a:pt x="795" y="746"/>
                  </a:lnTo>
                  <a:lnTo>
                    <a:pt x="795" y="748"/>
                  </a:lnTo>
                  <a:lnTo>
                    <a:pt x="795" y="746"/>
                  </a:lnTo>
                  <a:lnTo>
                    <a:pt x="795" y="748"/>
                  </a:lnTo>
                  <a:lnTo>
                    <a:pt x="795" y="746"/>
                  </a:lnTo>
                  <a:lnTo>
                    <a:pt x="797" y="746"/>
                  </a:lnTo>
                  <a:lnTo>
                    <a:pt x="799" y="746"/>
                  </a:lnTo>
                  <a:lnTo>
                    <a:pt x="802" y="746"/>
                  </a:lnTo>
                  <a:close/>
                  <a:moveTo>
                    <a:pt x="833" y="696"/>
                  </a:moveTo>
                  <a:lnTo>
                    <a:pt x="833" y="698"/>
                  </a:lnTo>
                  <a:lnTo>
                    <a:pt x="833" y="701"/>
                  </a:lnTo>
                  <a:lnTo>
                    <a:pt x="830" y="701"/>
                  </a:lnTo>
                  <a:lnTo>
                    <a:pt x="830" y="703"/>
                  </a:lnTo>
                  <a:lnTo>
                    <a:pt x="830" y="705"/>
                  </a:lnTo>
                  <a:lnTo>
                    <a:pt x="828" y="705"/>
                  </a:lnTo>
                  <a:lnTo>
                    <a:pt x="828" y="708"/>
                  </a:lnTo>
                  <a:lnTo>
                    <a:pt x="826" y="708"/>
                  </a:lnTo>
                  <a:lnTo>
                    <a:pt x="826" y="710"/>
                  </a:lnTo>
                  <a:lnTo>
                    <a:pt x="826" y="708"/>
                  </a:lnTo>
                  <a:lnTo>
                    <a:pt x="826" y="710"/>
                  </a:lnTo>
                  <a:lnTo>
                    <a:pt x="823" y="710"/>
                  </a:lnTo>
                  <a:lnTo>
                    <a:pt x="826" y="710"/>
                  </a:lnTo>
                  <a:lnTo>
                    <a:pt x="823" y="710"/>
                  </a:lnTo>
                  <a:lnTo>
                    <a:pt x="826" y="710"/>
                  </a:lnTo>
                  <a:lnTo>
                    <a:pt x="823" y="710"/>
                  </a:lnTo>
                  <a:lnTo>
                    <a:pt x="823" y="712"/>
                  </a:lnTo>
                  <a:lnTo>
                    <a:pt x="821" y="712"/>
                  </a:lnTo>
                  <a:lnTo>
                    <a:pt x="821" y="715"/>
                  </a:lnTo>
                  <a:lnTo>
                    <a:pt x="821" y="712"/>
                  </a:lnTo>
                  <a:lnTo>
                    <a:pt x="821" y="715"/>
                  </a:lnTo>
                  <a:lnTo>
                    <a:pt x="818" y="715"/>
                  </a:lnTo>
                  <a:lnTo>
                    <a:pt x="821" y="715"/>
                  </a:lnTo>
                  <a:lnTo>
                    <a:pt x="818" y="715"/>
                  </a:lnTo>
                  <a:lnTo>
                    <a:pt x="816" y="715"/>
                  </a:lnTo>
                  <a:lnTo>
                    <a:pt x="816" y="717"/>
                  </a:lnTo>
                  <a:lnTo>
                    <a:pt x="816" y="715"/>
                  </a:lnTo>
                  <a:lnTo>
                    <a:pt x="814" y="715"/>
                  </a:lnTo>
                  <a:lnTo>
                    <a:pt x="811" y="715"/>
                  </a:lnTo>
                  <a:lnTo>
                    <a:pt x="814" y="715"/>
                  </a:lnTo>
                  <a:lnTo>
                    <a:pt x="814" y="717"/>
                  </a:lnTo>
                  <a:lnTo>
                    <a:pt x="814" y="720"/>
                  </a:lnTo>
                  <a:lnTo>
                    <a:pt x="811" y="720"/>
                  </a:lnTo>
                  <a:lnTo>
                    <a:pt x="811" y="722"/>
                  </a:lnTo>
                  <a:lnTo>
                    <a:pt x="809" y="722"/>
                  </a:lnTo>
                  <a:lnTo>
                    <a:pt x="809" y="720"/>
                  </a:lnTo>
                  <a:lnTo>
                    <a:pt x="809" y="717"/>
                  </a:lnTo>
                  <a:lnTo>
                    <a:pt x="809" y="715"/>
                  </a:lnTo>
                  <a:lnTo>
                    <a:pt x="809" y="712"/>
                  </a:lnTo>
                  <a:lnTo>
                    <a:pt x="811" y="712"/>
                  </a:lnTo>
                  <a:lnTo>
                    <a:pt x="811" y="710"/>
                  </a:lnTo>
                  <a:lnTo>
                    <a:pt x="814" y="710"/>
                  </a:lnTo>
                  <a:lnTo>
                    <a:pt x="814" y="708"/>
                  </a:lnTo>
                  <a:lnTo>
                    <a:pt x="816" y="708"/>
                  </a:lnTo>
                  <a:lnTo>
                    <a:pt x="816" y="705"/>
                  </a:lnTo>
                  <a:lnTo>
                    <a:pt x="818" y="705"/>
                  </a:lnTo>
                  <a:lnTo>
                    <a:pt x="821" y="705"/>
                  </a:lnTo>
                  <a:lnTo>
                    <a:pt x="818" y="705"/>
                  </a:lnTo>
                  <a:lnTo>
                    <a:pt x="821" y="705"/>
                  </a:lnTo>
                  <a:lnTo>
                    <a:pt x="821" y="703"/>
                  </a:lnTo>
                  <a:lnTo>
                    <a:pt x="823" y="703"/>
                  </a:lnTo>
                  <a:lnTo>
                    <a:pt x="823" y="701"/>
                  </a:lnTo>
                  <a:lnTo>
                    <a:pt x="823" y="698"/>
                  </a:lnTo>
                  <a:lnTo>
                    <a:pt x="823" y="701"/>
                  </a:lnTo>
                  <a:lnTo>
                    <a:pt x="823" y="698"/>
                  </a:lnTo>
                  <a:lnTo>
                    <a:pt x="826" y="698"/>
                  </a:lnTo>
                  <a:lnTo>
                    <a:pt x="828" y="698"/>
                  </a:lnTo>
                  <a:lnTo>
                    <a:pt x="828" y="696"/>
                  </a:lnTo>
                  <a:lnTo>
                    <a:pt x="830" y="696"/>
                  </a:lnTo>
                  <a:lnTo>
                    <a:pt x="833" y="696"/>
                  </a:lnTo>
                  <a:close/>
                  <a:moveTo>
                    <a:pt x="918" y="663"/>
                  </a:moveTo>
                  <a:lnTo>
                    <a:pt x="920" y="663"/>
                  </a:lnTo>
                  <a:lnTo>
                    <a:pt x="920" y="665"/>
                  </a:lnTo>
                  <a:lnTo>
                    <a:pt x="923" y="665"/>
                  </a:lnTo>
                  <a:lnTo>
                    <a:pt x="925" y="665"/>
                  </a:lnTo>
                  <a:lnTo>
                    <a:pt x="928" y="667"/>
                  </a:lnTo>
                  <a:lnTo>
                    <a:pt x="928" y="670"/>
                  </a:lnTo>
                  <a:lnTo>
                    <a:pt x="928" y="672"/>
                  </a:lnTo>
                  <a:lnTo>
                    <a:pt x="925" y="672"/>
                  </a:lnTo>
                  <a:lnTo>
                    <a:pt x="923" y="672"/>
                  </a:lnTo>
                  <a:lnTo>
                    <a:pt x="923" y="674"/>
                  </a:lnTo>
                  <a:lnTo>
                    <a:pt x="920" y="674"/>
                  </a:lnTo>
                  <a:lnTo>
                    <a:pt x="918" y="674"/>
                  </a:lnTo>
                  <a:lnTo>
                    <a:pt x="918" y="677"/>
                  </a:lnTo>
                  <a:lnTo>
                    <a:pt x="920" y="677"/>
                  </a:lnTo>
                  <a:lnTo>
                    <a:pt x="920" y="679"/>
                  </a:lnTo>
                  <a:lnTo>
                    <a:pt x="918" y="682"/>
                  </a:lnTo>
                  <a:lnTo>
                    <a:pt x="916" y="682"/>
                  </a:lnTo>
                  <a:lnTo>
                    <a:pt x="913" y="682"/>
                  </a:lnTo>
                  <a:lnTo>
                    <a:pt x="911" y="682"/>
                  </a:lnTo>
                  <a:lnTo>
                    <a:pt x="909" y="682"/>
                  </a:lnTo>
                  <a:lnTo>
                    <a:pt x="906" y="684"/>
                  </a:lnTo>
                  <a:lnTo>
                    <a:pt x="904" y="684"/>
                  </a:lnTo>
                  <a:lnTo>
                    <a:pt x="901" y="684"/>
                  </a:lnTo>
                  <a:lnTo>
                    <a:pt x="899" y="684"/>
                  </a:lnTo>
                  <a:lnTo>
                    <a:pt x="897" y="682"/>
                  </a:lnTo>
                  <a:lnTo>
                    <a:pt x="894" y="682"/>
                  </a:lnTo>
                  <a:lnTo>
                    <a:pt x="894" y="679"/>
                  </a:lnTo>
                  <a:lnTo>
                    <a:pt x="894" y="677"/>
                  </a:lnTo>
                  <a:lnTo>
                    <a:pt x="897" y="677"/>
                  </a:lnTo>
                  <a:lnTo>
                    <a:pt x="897" y="679"/>
                  </a:lnTo>
                  <a:lnTo>
                    <a:pt x="897" y="677"/>
                  </a:lnTo>
                  <a:lnTo>
                    <a:pt x="899" y="677"/>
                  </a:lnTo>
                  <a:lnTo>
                    <a:pt x="901" y="677"/>
                  </a:lnTo>
                  <a:lnTo>
                    <a:pt x="901" y="679"/>
                  </a:lnTo>
                  <a:lnTo>
                    <a:pt x="904" y="679"/>
                  </a:lnTo>
                  <a:lnTo>
                    <a:pt x="906" y="677"/>
                  </a:lnTo>
                  <a:lnTo>
                    <a:pt x="904" y="677"/>
                  </a:lnTo>
                  <a:lnTo>
                    <a:pt x="901" y="677"/>
                  </a:lnTo>
                  <a:lnTo>
                    <a:pt x="901" y="674"/>
                  </a:lnTo>
                  <a:lnTo>
                    <a:pt x="899" y="674"/>
                  </a:lnTo>
                  <a:lnTo>
                    <a:pt x="899" y="672"/>
                  </a:lnTo>
                  <a:lnTo>
                    <a:pt x="901" y="672"/>
                  </a:lnTo>
                  <a:lnTo>
                    <a:pt x="901" y="674"/>
                  </a:lnTo>
                  <a:lnTo>
                    <a:pt x="901" y="672"/>
                  </a:lnTo>
                  <a:lnTo>
                    <a:pt x="904" y="674"/>
                  </a:lnTo>
                  <a:lnTo>
                    <a:pt x="906" y="674"/>
                  </a:lnTo>
                  <a:lnTo>
                    <a:pt x="906" y="672"/>
                  </a:lnTo>
                  <a:lnTo>
                    <a:pt x="909" y="672"/>
                  </a:lnTo>
                  <a:lnTo>
                    <a:pt x="909" y="674"/>
                  </a:lnTo>
                  <a:lnTo>
                    <a:pt x="909" y="672"/>
                  </a:lnTo>
                  <a:lnTo>
                    <a:pt x="909" y="674"/>
                  </a:lnTo>
                  <a:lnTo>
                    <a:pt x="911" y="672"/>
                  </a:lnTo>
                  <a:lnTo>
                    <a:pt x="911" y="674"/>
                  </a:lnTo>
                  <a:lnTo>
                    <a:pt x="913" y="674"/>
                  </a:lnTo>
                  <a:lnTo>
                    <a:pt x="913" y="672"/>
                  </a:lnTo>
                  <a:lnTo>
                    <a:pt x="911" y="672"/>
                  </a:lnTo>
                  <a:lnTo>
                    <a:pt x="909" y="672"/>
                  </a:lnTo>
                  <a:lnTo>
                    <a:pt x="906" y="672"/>
                  </a:lnTo>
                  <a:lnTo>
                    <a:pt x="904" y="672"/>
                  </a:lnTo>
                  <a:lnTo>
                    <a:pt x="904" y="670"/>
                  </a:lnTo>
                  <a:lnTo>
                    <a:pt x="904" y="667"/>
                  </a:lnTo>
                  <a:lnTo>
                    <a:pt x="906" y="667"/>
                  </a:lnTo>
                  <a:lnTo>
                    <a:pt x="906" y="670"/>
                  </a:lnTo>
                  <a:lnTo>
                    <a:pt x="909" y="670"/>
                  </a:lnTo>
                  <a:lnTo>
                    <a:pt x="909" y="667"/>
                  </a:lnTo>
                  <a:lnTo>
                    <a:pt x="909" y="670"/>
                  </a:lnTo>
                  <a:lnTo>
                    <a:pt x="911" y="670"/>
                  </a:lnTo>
                  <a:lnTo>
                    <a:pt x="911" y="667"/>
                  </a:lnTo>
                  <a:lnTo>
                    <a:pt x="913" y="667"/>
                  </a:lnTo>
                  <a:lnTo>
                    <a:pt x="916" y="667"/>
                  </a:lnTo>
                  <a:lnTo>
                    <a:pt x="913" y="670"/>
                  </a:lnTo>
                  <a:lnTo>
                    <a:pt x="916" y="670"/>
                  </a:lnTo>
                  <a:lnTo>
                    <a:pt x="913" y="670"/>
                  </a:lnTo>
                  <a:lnTo>
                    <a:pt x="916" y="670"/>
                  </a:lnTo>
                  <a:lnTo>
                    <a:pt x="913" y="670"/>
                  </a:lnTo>
                  <a:lnTo>
                    <a:pt x="916" y="670"/>
                  </a:lnTo>
                  <a:lnTo>
                    <a:pt x="916" y="672"/>
                  </a:lnTo>
                  <a:lnTo>
                    <a:pt x="916" y="674"/>
                  </a:lnTo>
                  <a:lnTo>
                    <a:pt x="918" y="674"/>
                  </a:lnTo>
                  <a:lnTo>
                    <a:pt x="916" y="674"/>
                  </a:lnTo>
                  <a:lnTo>
                    <a:pt x="916" y="672"/>
                  </a:lnTo>
                  <a:lnTo>
                    <a:pt x="916" y="670"/>
                  </a:lnTo>
                  <a:lnTo>
                    <a:pt x="918" y="670"/>
                  </a:lnTo>
                  <a:lnTo>
                    <a:pt x="918" y="667"/>
                  </a:lnTo>
                  <a:lnTo>
                    <a:pt x="916" y="667"/>
                  </a:lnTo>
                  <a:lnTo>
                    <a:pt x="916" y="665"/>
                  </a:lnTo>
                  <a:lnTo>
                    <a:pt x="916" y="663"/>
                  </a:lnTo>
                  <a:lnTo>
                    <a:pt x="918" y="663"/>
                  </a:lnTo>
                  <a:close/>
                  <a:moveTo>
                    <a:pt x="932" y="651"/>
                  </a:moveTo>
                  <a:lnTo>
                    <a:pt x="935" y="651"/>
                  </a:lnTo>
                  <a:lnTo>
                    <a:pt x="937" y="651"/>
                  </a:lnTo>
                  <a:lnTo>
                    <a:pt x="935" y="653"/>
                  </a:lnTo>
                  <a:lnTo>
                    <a:pt x="937" y="653"/>
                  </a:lnTo>
                  <a:lnTo>
                    <a:pt x="937" y="655"/>
                  </a:lnTo>
                  <a:lnTo>
                    <a:pt x="939" y="655"/>
                  </a:lnTo>
                  <a:lnTo>
                    <a:pt x="939" y="653"/>
                  </a:lnTo>
                  <a:lnTo>
                    <a:pt x="942" y="653"/>
                  </a:lnTo>
                  <a:lnTo>
                    <a:pt x="944" y="653"/>
                  </a:lnTo>
                  <a:lnTo>
                    <a:pt x="944" y="655"/>
                  </a:lnTo>
                  <a:lnTo>
                    <a:pt x="947" y="655"/>
                  </a:lnTo>
                  <a:lnTo>
                    <a:pt x="947" y="653"/>
                  </a:lnTo>
                  <a:lnTo>
                    <a:pt x="947" y="655"/>
                  </a:lnTo>
                  <a:lnTo>
                    <a:pt x="949" y="655"/>
                  </a:lnTo>
                  <a:lnTo>
                    <a:pt x="949" y="658"/>
                  </a:lnTo>
                  <a:lnTo>
                    <a:pt x="947" y="658"/>
                  </a:lnTo>
                  <a:lnTo>
                    <a:pt x="944" y="658"/>
                  </a:lnTo>
                  <a:lnTo>
                    <a:pt x="942" y="658"/>
                  </a:lnTo>
                  <a:lnTo>
                    <a:pt x="942" y="660"/>
                  </a:lnTo>
                  <a:lnTo>
                    <a:pt x="942" y="663"/>
                  </a:lnTo>
                  <a:lnTo>
                    <a:pt x="939" y="663"/>
                  </a:lnTo>
                  <a:lnTo>
                    <a:pt x="939" y="665"/>
                  </a:lnTo>
                  <a:lnTo>
                    <a:pt x="937" y="665"/>
                  </a:lnTo>
                  <a:lnTo>
                    <a:pt x="939" y="665"/>
                  </a:lnTo>
                  <a:lnTo>
                    <a:pt x="937" y="665"/>
                  </a:lnTo>
                  <a:lnTo>
                    <a:pt x="937" y="667"/>
                  </a:lnTo>
                  <a:lnTo>
                    <a:pt x="935" y="667"/>
                  </a:lnTo>
                  <a:lnTo>
                    <a:pt x="932" y="667"/>
                  </a:lnTo>
                  <a:lnTo>
                    <a:pt x="930" y="667"/>
                  </a:lnTo>
                  <a:lnTo>
                    <a:pt x="928" y="667"/>
                  </a:lnTo>
                  <a:lnTo>
                    <a:pt x="928" y="665"/>
                  </a:lnTo>
                  <a:lnTo>
                    <a:pt x="925" y="665"/>
                  </a:lnTo>
                  <a:lnTo>
                    <a:pt x="923" y="663"/>
                  </a:lnTo>
                  <a:lnTo>
                    <a:pt x="925" y="663"/>
                  </a:lnTo>
                  <a:lnTo>
                    <a:pt x="923" y="663"/>
                  </a:lnTo>
                  <a:lnTo>
                    <a:pt x="920" y="663"/>
                  </a:lnTo>
                  <a:lnTo>
                    <a:pt x="920" y="660"/>
                  </a:lnTo>
                  <a:lnTo>
                    <a:pt x="918" y="660"/>
                  </a:lnTo>
                  <a:lnTo>
                    <a:pt x="916" y="660"/>
                  </a:lnTo>
                  <a:lnTo>
                    <a:pt x="918" y="658"/>
                  </a:lnTo>
                  <a:lnTo>
                    <a:pt x="920" y="658"/>
                  </a:lnTo>
                  <a:lnTo>
                    <a:pt x="923" y="658"/>
                  </a:lnTo>
                  <a:lnTo>
                    <a:pt x="920" y="658"/>
                  </a:lnTo>
                  <a:lnTo>
                    <a:pt x="920" y="655"/>
                  </a:lnTo>
                  <a:lnTo>
                    <a:pt x="920" y="653"/>
                  </a:lnTo>
                  <a:lnTo>
                    <a:pt x="923" y="653"/>
                  </a:lnTo>
                  <a:lnTo>
                    <a:pt x="925" y="653"/>
                  </a:lnTo>
                  <a:lnTo>
                    <a:pt x="925" y="655"/>
                  </a:lnTo>
                  <a:lnTo>
                    <a:pt x="925" y="653"/>
                  </a:lnTo>
                  <a:lnTo>
                    <a:pt x="928" y="653"/>
                  </a:lnTo>
                  <a:lnTo>
                    <a:pt x="928" y="655"/>
                  </a:lnTo>
                  <a:lnTo>
                    <a:pt x="928" y="653"/>
                  </a:lnTo>
                  <a:lnTo>
                    <a:pt x="930" y="653"/>
                  </a:lnTo>
                  <a:lnTo>
                    <a:pt x="930" y="655"/>
                  </a:lnTo>
                  <a:lnTo>
                    <a:pt x="930" y="653"/>
                  </a:lnTo>
                  <a:lnTo>
                    <a:pt x="928" y="653"/>
                  </a:lnTo>
                  <a:lnTo>
                    <a:pt x="928" y="651"/>
                  </a:lnTo>
                  <a:lnTo>
                    <a:pt x="930" y="651"/>
                  </a:lnTo>
                  <a:lnTo>
                    <a:pt x="932" y="651"/>
                  </a:lnTo>
                  <a:lnTo>
                    <a:pt x="935" y="651"/>
                  </a:lnTo>
                  <a:lnTo>
                    <a:pt x="932" y="651"/>
                  </a:lnTo>
                  <a:close/>
                  <a:moveTo>
                    <a:pt x="982" y="641"/>
                  </a:moveTo>
                  <a:lnTo>
                    <a:pt x="985" y="641"/>
                  </a:lnTo>
                  <a:lnTo>
                    <a:pt x="987" y="644"/>
                  </a:lnTo>
                  <a:lnTo>
                    <a:pt x="985" y="646"/>
                  </a:lnTo>
                  <a:lnTo>
                    <a:pt x="985" y="648"/>
                  </a:lnTo>
                  <a:lnTo>
                    <a:pt x="985" y="651"/>
                  </a:lnTo>
                  <a:lnTo>
                    <a:pt x="987" y="651"/>
                  </a:lnTo>
                  <a:lnTo>
                    <a:pt x="987" y="653"/>
                  </a:lnTo>
                  <a:lnTo>
                    <a:pt x="985" y="653"/>
                  </a:lnTo>
                  <a:lnTo>
                    <a:pt x="982" y="653"/>
                  </a:lnTo>
                  <a:lnTo>
                    <a:pt x="980" y="651"/>
                  </a:lnTo>
                  <a:lnTo>
                    <a:pt x="980" y="653"/>
                  </a:lnTo>
                  <a:lnTo>
                    <a:pt x="977" y="653"/>
                  </a:lnTo>
                  <a:lnTo>
                    <a:pt x="977" y="651"/>
                  </a:lnTo>
                  <a:lnTo>
                    <a:pt x="977" y="648"/>
                  </a:lnTo>
                  <a:lnTo>
                    <a:pt x="977" y="651"/>
                  </a:lnTo>
                  <a:lnTo>
                    <a:pt x="975" y="651"/>
                  </a:lnTo>
                  <a:lnTo>
                    <a:pt x="975" y="653"/>
                  </a:lnTo>
                  <a:lnTo>
                    <a:pt x="973" y="653"/>
                  </a:lnTo>
                  <a:lnTo>
                    <a:pt x="973" y="651"/>
                  </a:lnTo>
                  <a:lnTo>
                    <a:pt x="973" y="648"/>
                  </a:lnTo>
                  <a:lnTo>
                    <a:pt x="973" y="646"/>
                  </a:lnTo>
                  <a:lnTo>
                    <a:pt x="973" y="644"/>
                  </a:lnTo>
                  <a:lnTo>
                    <a:pt x="975" y="644"/>
                  </a:lnTo>
                  <a:lnTo>
                    <a:pt x="977" y="644"/>
                  </a:lnTo>
                  <a:lnTo>
                    <a:pt x="977" y="641"/>
                  </a:lnTo>
                  <a:lnTo>
                    <a:pt x="980" y="641"/>
                  </a:lnTo>
                  <a:lnTo>
                    <a:pt x="982" y="641"/>
                  </a:lnTo>
                  <a:close/>
                  <a:moveTo>
                    <a:pt x="947" y="639"/>
                  </a:moveTo>
                  <a:lnTo>
                    <a:pt x="949" y="639"/>
                  </a:lnTo>
                  <a:lnTo>
                    <a:pt x="949" y="641"/>
                  </a:lnTo>
                  <a:lnTo>
                    <a:pt x="951" y="641"/>
                  </a:lnTo>
                  <a:lnTo>
                    <a:pt x="951" y="644"/>
                  </a:lnTo>
                  <a:lnTo>
                    <a:pt x="951" y="646"/>
                  </a:lnTo>
                  <a:lnTo>
                    <a:pt x="954" y="646"/>
                  </a:lnTo>
                  <a:lnTo>
                    <a:pt x="954" y="644"/>
                  </a:lnTo>
                  <a:lnTo>
                    <a:pt x="956" y="644"/>
                  </a:lnTo>
                  <a:lnTo>
                    <a:pt x="956" y="646"/>
                  </a:lnTo>
                  <a:lnTo>
                    <a:pt x="958" y="646"/>
                  </a:lnTo>
                  <a:lnTo>
                    <a:pt x="958" y="648"/>
                  </a:lnTo>
                  <a:lnTo>
                    <a:pt x="958" y="646"/>
                  </a:lnTo>
                  <a:lnTo>
                    <a:pt x="958" y="648"/>
                  </a:lnTo>
                  <a:lnTo>
                    <a:pt x="958" y="646"/>
                  </a:lnTo>
                  <a:lnTo>
                    <a:pt x="961" y="646"/>
                  </a:lnTo>
                  <a:lnTo>
                    <a:pt x="961" y="648"/>
                  </a:lnTo>
                  <a:lnTo>
                    <a:pt x="958" y="648"/>
                  </a:lnTo>
                  <a:lnTo>
                    <a:pt x="961" y="648"/>
                  </a:lnTo>
                  <a:lnTo>
                    <a:pt x="963" y="648"/>
                  </a:lnTo>
                  <a:lnTo>
                    <a:pt x="961" y="648"/>
                  </a:lnTo>
                  <a:lnTo>
                    <a:pt x="963" y="648"/>
                  </a:lnTo>
                  <a:lnTo>
                    <a:pt x="963" y="651"/>
                  </a:lnTo>
                  <a:lnTo>
                    <a:pt x="961" y="651"/>
                  </a:lnTo>
                  <a:lnTo>
                    <a:pt x="958" y="651"/>
                  </a:lnTo>
                  <a:lnTo>
                    <a:pt x="961" y="651"/>
                  </a:lnTo>
                  <a:lnTo>
                    <a:pt x="958" y="651"/>
                  </a:lnTo>
                  <a:lnTo>
                    <a:pt x="958" y="653"/>
                  </a:lnTo>
                  <a:lnTo>
                    <a:pt x="956" y="653"/>
                  </a:lnTo>
                  <a:lnTo>
                    <a:pt x="954" y="653"/>
                  </a:lnTo>
                  <a:lnTo>
                    <a:pt x="951" y="653"/>
                  </a:lnTo>
                  <a:lnTo>
                    <a:pt x="951" y="651"/>
                  </a:lnTo>
                  <a:lnTo>
                    <a:pt x="949" y="651"/>
                  </a:lnTo>
                  <a:lnTo>
                    <a:pt x="949" y="648"/>
                  </a:lnTo>
                  <a:lnTo>
                    <a:pt x="951" y="648"/>
                  </a:lnTo>
                  <a:lnTo>
                    <a:pt x="949" y="648"/>
                  </a:lnTo>
                  <a:lnTo>
                    <a:pt x="949" y="646"/>
                  </a:lnTo>
                  <a:lnTo>
                    <a:pt x="947" y="644"/>
                  </a:lnTo>
                  <a:lnTo>
                    <a:pt x="944" y="644"/>
                  </a:lnTo>
                  <a:lnTo>
                    <a:pt x="944" y="641"/>
                  </a:lnTo>
                  <a:lnTo>
                    <a:pt x="947" y="641"/>
                  </a:lnTo>
                  <a:lnTo>
                    <a:pt x="944" y="641"/>
                  </a:lnTo>
                  <a:lnTo>
                    <a:pt x="944" y="639"/>
                  </a:lnTo>
                  <a:lnTo>
                    <a:pt x="947" y="639"/>
                  </a:lnTo>
                  <a:close/>
                  <a:moveTo>
                    <a:pt x="1072" y="617"/>
                  </a:moveTo>
                  <a:lnTo>
                    <a:pt x="1075" y="617"/>
                  </a:lnTo>
                  <a:lnTo>
                    <a:pt x="1075" y="620"/>
                  </a:lnTo>
                  <a:lnTo>
                    <a:pt x="1077" y="617"/>
                  </a:lnTo>
                  <a:lnTo>
                    <a:pt x="1077" y="620"/>
                  </a:lnTo>
                  <a:lnTo>
                    <a:pt x="1077" y="622"/>
                  </a:lnTo>
                  <a:lnTo>
                    <a:pt x="1077" y="625"/>
                  </a:lnTo>
                  <a:lnTo>
                    <a:pt x="1079" y="625"/>
                  </a:lnTo>
                  <a:lnTo>
                    <a:pt x="1079" y="627"/>
                  </a:lnTo>
                  <a:lnTo>
                    <a:pt x="1079" y="629"/>
                  </a:lnTo>
                  <a:lnTo>
                    <a:pt x="1077" y="629"/>
                  </a:lnTo>
                  <a:lnTo>
                    <a:pt x="1077" y="632"/>
                  </a:lnTo>
                  <a:lnTo>
                    <a:pt x="1075" y="632"/>
                  </a:lnTo>
                  <a:lnTo>
                    <a:pt x="1072" y="632"/>
                  </a:lnTo>
                  <a:lnTo>
                    <a:pt x="1075" y="632"/>
                  </a:lnTo>
                  <a:lnTo>
                    <a:pt x="1075" y="634"/>
                  </a:lnTo>
                  <a:lnTo>
                    <a:pt x="1072" y="634"/>
                  </a:lnTo>
                  <a:lnTo>
                    <a:pt x="1070" y="634"/>
                  </a:lnTo>
                  <a:lnTo>
                    <a:pt x="1068" y="634"/>
                  </a:lnTo>
                  <a:lnTo>
                    <a:pt x="1068" y="636"/>
                  </a:lnTo>
                  <a:lnTo>
                    <a:pt x="1070" y="636"/>
                  </a:lnTo>
                  <a:lnTo>
                    <a:pt x="1068" y="636"/>
                  </a:lnTo>
                  <a:lnTo>
                    <a:pt x="1070" y="636"/>
                  </a:lnTo>
                  <a:lnTo>
                    <a:pt x="1068" y="636"/>
                  </a:lnTo>
                  <a:lnTo>
                    <a:pt x="1068" y="639"/>
                  </a:lnTo>
                  <a:lnTo>
                    <a:pt x="1065" y="639"/>
                  </a:lnTo>
                  <a:lnTo>
                    <a:pt x="1063" y="639"/>
                  </a:lnTo>
                  <a:lnTo>
                    <a:pt x="1060" y="639"/>
                  </a:lnTo>
                  <a:lnTo>
                    <a:pt x="1060" y="636"/>
                  </a:lnTo>
                  <a:lnTo>
                    <a:pt x="1060" y="634"/>
                  </a:lnTo>
                  <a:lnTo>
                    <a:pt x="1063" y="634"/>
                  </a:lnTo>
                  <a:lnTo>
                    <a:pt x="1060" y="634"/>
                  </a:lnTo>
                  <a:lnTo>
                    <a:pt x="1063" y="634"/>
                  </a:lnTo>
                  <a:lnTo>
                    <a:pt x="1063" y="632"/>
                  </a:lnTo>
                  <a:lnTo>
                    <a:pt x="1060" y="632"/>
                  </a:lnTo>
                  <a:lnTo>
                    <a:pt x="1060" y="634"/>
                  </a:lnTo>
                  <a:lnTo>
                    <a:pt x="1058" y="636"/>
                  </a:lnTo>
                  <a:lnTo>
                    <a:pt x="1058" y="634"/>
                  </a:lnTo>
                  <a:lnTo>
                    <a:pt x="1056" y="634"/>
                  </a:lnTo>
                  <a:lnTo>
                    <a:pt x="1056" y="632"/>
                  </a:lnTo>
                  <a:lnTo>
                    <a:pt x="1053" y="632"/>
                  </a:lnTo>
                  <a:lnTo>
                    <a:pt x="1053" y="629"/>
                  </a:lnTo>
                  <a:lnTo>
                    <a:pt x="1053" y="632"/>
                  </a:lnTo>
                  <a:lnTo>
                    <a:pt x="1056" y="632"/>
                  </a:lnTo>
                  <a:lnTo>
                    <a:pt x="1053" y="629"/>
                  </a:lnTo>
                  <a:lnTo>
                    <a:pt x="1056" y="627"/>
                  </a:lnTo>
                  <a:lnTo>
                    <a:pt x="1056" y="629"/>
                  </a:lnTo>
                  <a:lnTo>
                    <a:pt x="1056" y="627"/>
                  </a:lnTo>
                  <a:lnTo>
                    <a:pt x="1058" y="627"/>
                  </a:lnTo>
                  <a:lnTo>
                    <a:pt x="1058" y="625"/>
                  </a:lnTo>
                  <a:lnTo>
                    <a:pt x="1060" y="625"/>
                  </a:lnTo>
                  <a:lnTo>
                    <a:pt x="1063" y="625"/>
                  </a:lnTo>
                  <a:lnTo>
                    <a:pt x="1063" y="627"/>
                  </a:lnTo>
                  <a:lnTo>
                    <a:pt x="1063" y="625"/>
                  </a:lnTo>
                  <a:lnTo>
                    <a:pt x="1065" y="625"/>
                  </a:lnTo>
                  <a:lnTo>
                    <a:pt x="1063" y="625"/>
                  </a:lnTo>
                  <a:lnTo>
                    <a:pt x="1063" y="622"/>
                  </a:lnTo>
                  <a:lnTo>
                    <a:pt x="1065" y="622"/>
                  </a:lnTo>
                  <a:lnTo>
                    <a:pt x="1065" y="625"/>
                  </a:lnTo>
                  <a:lnTo>
                    <a:pt x="1068" y="625"/>
                  </a:lnTo>
                  <a:lnTo>
                    <a:pt x="1068" y="627"/>
                  </a:lnTo>
                  <a:lnTo>
                    <a:pt x="1065" y="627"/>
                  </a:lnTo>
                  <a:lnTo>
                    <a:pt x="1068" y="627"/>
                  </a:lnTo>
                  <a:lnTo>
                    <a:pt x="1068" y="625"/>
                  </a:lnTo>
                  <a:lnTo>
                    <a:pt x="1070" y="625"/>
                  </a:lnTo>
                  <a:lnTo>
                    <a:pt x="1068" y="625"/>
                  </a:lnTo>
                  <a:lnTo>
                    <a:pt x="1068" y="622"/>
                  </a:lnTo>
                  <a:lnTo>
                    <a:pt x="1070" y="622"/>
                  </a:lnTo>
                  <a:lnTo>
                    <a:pt x="1070" y="625"/>
                  </a:lnTo>
                  <a:lnTo>
                    <a:pt x="1070" y="622"/>
                  </a:lnTo>
                  <a:lnTo>
                    <a:pt x="1072" y="625"/>
                  </a:lnTo>
                  <a:lnTo>
                    <a:pt x="1072" y="622"/>
                  </a:lnTo>
                  <a:lnTo>
                    <a:pt x="1070" y="622"/>
                  </a:lnTo>
                  <a:lnTo>
                    <a:pt x="1072" y="622"/>
                  </a:lnTo>
                  <a:lnTo>
                    <a:pt x="1075" y="622"/>
                  </a:lnTo>
                  <a:lnTo>
                    <a:pt x="1075" y="625"/>
                  </a:lnTo>
                  <a:lnTo>
                    <a:pt x="1075" y="622"/>
                  </a:lnTo>
                  <a:lnTo>
                    <a:pt x="1072" y="622"/>
                  </a:lnTo>
                  <a:lnTo>
                    <a:pt x="1075" y="622"/>
                  </a:lnTo>
                  <a:lnTo>
                    <a:pt x="1075" y="620"/>
                  </a:lnTo>
                  <a:lnTo>
                    <a:pt x="1072" y="620"/>
                  </a:lnTo>
                  <a:lnTo>
                    <a:pt x="1075" y="620"/>
                  </a:lnTo>
                  <a:lnTo>
                    <a:pt x="1072" y="620"/>
                  </a:lnTo>
                  <a:lnTo>
                    <a:pt x="1070" y="620"/>
                  </a:lnTo>
                  <a:lnTo>
                    <a:pt x="1072" y="620"/>
                  </a:lnTo>
                  <a:lnTo>
                    <a:pt x="1070" y="620"/>
                  </a:lnTo>
                  <a:lnTo>
                    <a:pt x="1070" y="617"/>
                  </a:lnTo>
                  <a:lnTo>
                    <a:pt x="1072" y="617"/>
                  </a:lnTo>
                  <a:close/>
                  <a:moveTo>
                    <a:pt x="1082" y="610"/>
                  </a:moveTo>
                  <a:lnTo>
                    <a:pt x="1084" y="610"/>
                  </a:lnTo>
                  <a:lnTo>
                    <a:pt x="1084" y="613"/>
                  </a:lnTo>
                  <a:lnTo>
                    <a:pt x="1087" y="613"/>
                  </a:lnTo>
                  <a:lnTo>
                    <a:pt x="1084" y="613"/>
                  </a:lnTo>
                  <a:lnTo>
                    <a:pt x="1084" y="615"/>
                  </a:lnTo>
                  <a:lnTo>
                    <a:pt x="1084" y="613"/>
                  </a:lnTo>
                  <a:lnTo>
                    <a:pt x="1087" y="613"/>
                  </a:lnTo>
                  <a:lnTo>
                    <a:pt x="1089" y="613"/>
                  </a:lnTo>
                  <a:lnTo>
                    <a:pt x="1091" y="613"/>
                  </a:lnTo>
                  <a:lnTo>
                    <a:pt x="1091" y="615"/>
                  </a:lnTo>
                  <a:lnTo>
                    <a:pt x="1094" y="615"/>
                  </a:lnTo>
                  <a:lnTo>
                    <a:pt x="1094" y="617"/>
                  </a:lnTo>
                  <a:lnTo>
                    <a:pt x="1096" y="617"/>
                  </a:lnTo>
                  <a:lnTo>
                    <a:pt x="1094" y="617"/>
                  </a:lnTo>
                  <a:lnTo>
                    <a:pt x="1096" y="617"/>
                  </a:lnTo>
                  <a:lnTo>
                    <a:pt x="1096" y="620"/>
                  </a:lnTo>
                  <a:lnTo>
                    <a:pt x="1094" y="620"/>
                  </a:lnTo>
                  <a:lnTo>
                    <a:pt x="1094" y="622"/>
                  </a:lnTo>
                  <a:lnTo>
                    <a:pt x="1091" y="622"/>
                  </a:lnTo>
                  <a:lnTo>
                    <a:pt x="1091" y="625"/>
                  </a:lnTo>
                  <a:lnTo>
                    <a:pt x="1089" y="625"/>
                  </a:lnTo>
                  <a:lnTo>
                    <a:pt x="1087" y="625"/>
                  </a:lnTo>
                  <a:lnTo>
                    <a:pt x="1084" y="625"/>
                  </a:lnTo>
                  <a:lnTo>
                    <a:pt x="1082" y="625"/>
                  </a:lnTo>
                  <a:lnTo>
                    <a:pt x="1082" y="622"/>
                  </a:lnTo>
                  <a:lnTo>
                    <a:pt x="1082" y="620"/>
                  </a:lnTo>
                  <a:lnTo>
                    <a:pt x="1079" y="620"/>
                  </a:lnTo>
                  <a:lnTo>
                    <a:pt x="1077" y="620"/>
                  </a:lnTo>
                  <a:lnTo>
                    <a:pt x="1079" y="620"/>
                  </a:lnTo>
                  <a:lnTo>
                    <a:pt x="1079" y="617"/>
                  </a:lnTo>
                  <a:lnTo>
                    <a:pt x="1082" y="615"/>
                  </a:lnTo>
                  <a:lnTo>
                    <a:pt x="1079" y="615"/>
                  </a:lnTo>
                  <a:lnTo>
                    <a:pt x="1079" y="613"/>
                  </a:lnTo>
                  <a:lnTo>
                    <a:pt x="1079" y="610"/>
                  </a:lnTo>
                  <a:lnTo>
                    <a:pt x="1082" y="610"/>
                  </a:lnTo>
                  <a:close/>
                  <a:moveTo>
                    <a:pt x="38" y="587"/>
                  </a:moveTo>
                  <a:lnTo>
                    <a:pt x="38" y="589"/>
                  </a:lnTo>
                  <a:lnTo>
                    <a:pt x="35" y="589"/>
                  </a:lnTo>
                  <a:lnTo>
                    <a:pt x="35" y="591"/>
                  </a:lnTo>
                  <a:lnTo>
                    <a:pt x="35" y="594"/>
                  </a:lnTo>
                  <a:lnTo>
                    <a:pt x="35" y="596"/>
                  </a:lnTo>
                  <a:lnTo>
                    <a:pt x="33" y="596"/>
                  </a:lnTo>
                  <a:lnTo>
                    <a:pt x="31" y="596"/>
                  </a:lnTo>
                  <a:lnTo>
                    <a:pt x="28" y="596"/>
                  </a:lnTo>
                  <a:lnTo>
                    <a:pt x="26" y="596"/>
                  </a:lnTo>
                  <a:lnTo>
                    <a:pt x="24" y="596"/>
                  </a:lnTo>
                  <a:lnTo>
                    <a:pt x="24" y="598"/>
                  </a:lnTo>
                  <a:lnTo>
                    <a:pt x="24" y="596"/>
                  </a:lnTo>
                  <a:lnTo>
                    <a:pt x="21" y="598"/>
                  </a:lnTo>
                  <a:lnTo>
                    <a:pt x="19" y="598"/>
                  </a:lnTo>
                  <a:lnTo>
                    <a:pt x="16" y="598"/>
                  </a:lnTo>
                  <a:lnTo>
                    <a:pt x="14" y="598"/>
                  </a:lnTo>
                  <a:lnTo>
                    <a:pt x="12" y="601"/>
                  </a:lnTo>
                  <a:lnTo>
                    <a:pt x="12" y="603"/>
                  </a:lnTo>
                  <a:lnTo>
                    <a:pt x="9" y="603"/>
                  </a:lnTo>
                  <a:lnTo>
                    <a:pt x="7" y="603"/>
                  </a:lnTo>
                  <a:lnTo>
                    <a:pt x="7" y="606"/>
                  </a:lnTo>
                  <a:lnTo>
                    <a:pt x="5" y="606"/>
                  </a:lnTo>
                  <a:lnTo>
                    <a:pt x="2" y="606"/>
                  </a:lnTo>
                  <a:lnTo>
                    <a:pt x="0" y="603"/>
                  </a:lnTo>
                  <a:lnTo>
                    <a:pt x="2" y="603"/>
                  </a:lnTo>
                  <a:lnTo>
                    <a:pt x="5" y="603"/>
                  </a:lnTo>
                  <a:lnTo>
                    <a:pt x="5" y="601"/>
                  </a:lnTo>
                  <a:lnTo>
                    <a:pt x="7" y="601"/>
                  </a:lnTo>
                  <a:lnTo>
                    <a:pt x="7" y="598"/>
                  </a:lnTo>
                  <a:lnTo>
                    <a:pt x="9" y="598"/>
                  </a:lnTo>
                  <a:lnTo>
                    <a:pt x="12" y="598"/>
                  </a:lnTo>
                  <a:lnTo>
                    <a:pt x="14" y="598"/>
                  </a:lnTo>
                  <a:lnTo>
                    <a:pt x="14" y="596"/>
                  </a:lnTo>
                  <a:lnTo>
                    <a:pt x="12" y="596"/>
                  </a:lnTo>
                  <a:lnTo>
                    <a:pt x="14" y="596"/>
                  </a:lnTo>
                  <a:lnTo>
                    <a:pt x="16" y="596"/>
                  </a:lnTo>
                  <a:lnTo>
                    <a:pt x="19" y="596"/>
                  </a:lnTo>
                  <a:lnTo>
                    <a:pt x="21" y="596"/>
                  </a:lnTo>
                  <a:lnTo>
                    <a:pt x="21" y="594"/>
                  </a:lnTo>
                  <a:lnTo>
                    <a:pt x="21" y="591"/>
                  </a:lnTo>
                  <a:lnTo>
                    <a:pt x="24" y="591"/>
                  </a:lnTo>
                  <a:lnTo>
                    <a:pt x="24" y="589"/>
                  </a:lnTo>
                  <a:lnTo>
                    <a:pt x="26" y="589"/>
                  </a:lnTo>
                  <a:lnTo>
                    <a:pt x="28" y="589"/>
                  </a:lnTo>
                  <a:lnTo>
                    <a:pt x="28" y="587"/>
                  </a:lnTo>
                  <a:lnTo>
                    <a:pt x="31" y="587"/>
                  </a:lnTo>
                  <a:lnTo>
                    <a:pt x="33" y="587"/>
                  </a:lnTo>
                  <a:lnTo>
                    <a:pt x="35" y="587"/>
                  </a:lnTo>
                  <a:lnTo>
                    <a:pt x="38" y="587"/>
                  </a:lnTo>
                  <a:close/>
                  <a:moveTo>
                    <a:pt x="1146" y="587"/>
                  </a:moveTo>
                  <a:lnTo>
                    <a:pt x="1148" y="587"/>
                  </a:lnTo>
                  <a:lnTo>
                    <a:pt x="1151" y="587"/>
                  </a:lnTo>
                  <a:lnTo>
                    <a:pt x="1151" y="584"/>
                  </a:lnTo>
                  <a:lnTo>
                    <a:pt x="1151" y="587"/>
                  </a:lnTo>
                  <a:lnTo>
                    <a:pt x="1151" y="584"/>
                  </a:lnTo>
                  <a:lnTo>
                    <a:pt x="1151" y="587"/>
                  </a:lnTo>
                  <a:lnTo>
                    <a:pt x="1151" y="589"/>
                  </a:lnTo>
                  <a:lnTo>
                    <a:pt x="1148" y="589"/>
                  </a:lnTo>
                  <a:lnTo>
                    <a:pt x="1151" y="589"/>
                  </a:lnTo>
                  <a:lnTo>
                    <a:pt x="1153" y="589"/>
                  </a:lnTo>
                  <a:lnTo>
                    <a:pt x="1153" y="587"/>
                  </a:lnTo>
                  <a:lnTo>
                    <a:pt x="1153" y="589"/>
                  </a:lnTo>
                  <a:lnTo>
                    <a:pt x="1151" y="589"/>
                  </a:lnTo>
                  <a:lnTo>
                    <a:pt x="1153" y="589"/>
                  </a:lnTo>
                  <a:lnTo>
                    <a:pt x="1155" y="589"/>
                  </a:lnTo>
                  <a:lnTo>
                    <a:pt x="1155" y="587"/>
                  </a:lnTo>
                  <a:lnTo>
                    <a:pt x="1155" y="589"/>
                  </a:lnTo>
                  <a:lnTo>
                    <a:pt x="1155" y="587"/>
                  </a:lnTo>
                  <a:lnTo>
                    <a:pt x="1158" y="587"/>
                  </a:lnTo>
                  <a:lnTo>
                    <a:pt x="1158" y="589"/>
                  </a:lnTo>
                  <a:lnTo>
                    <a:pt x="1158" y="591"/>
                  </a:lnTo>
                  <a:lnTo>
                    <a:pt x="1155" y="591"/>
                  </a:lnTo>
                  <a:lnTo>
                    <a:pt x="1153" y="591"/>
                  </a:lnTo>
                  <a:lnTo>
                    <a:pt x="1153" y="594"/>
                  </a:lnTo>
                  <a:lnTo>
                    <a:pt x="1155" y="594"/>
                  </a:lnTo>
                  <a:lnTo>
                    <a:pt x="1153" y="594"/>
                  </a:lnTo>
                  <a:lnTo>
                    <a:pt x="1153" y="596"/>
                  </a:lnTo>
                  <a:lnTo>
                    <a:pt x="1155" y="596"/>
                  </a:lnTo>
                  <a:lnTo>
                    <a:pt x="1158" y="596"/>
                  </a:lnTo>
                  <a:lnTo>
                    <a:pt x="1158" y="594"/>
                  </a:lnTo>
                  <a:lnTo>
                    <a:pt x="1158" y="596"/>
                  </a:lnTo>
                  <a:lnTo>
                    <a:pt x="1160" y="596"/>
                  </a:lnTo>
                  <a:lnTo>
                    <a:pt x="1160" y="594"/>
                  </a:lnTo>
                  <a:lnTo>
                    <a:pt x="1162" y="594"/>
                  </a:lnTo>
                  <a:lnTo>
                    <a:pt x="1162" y="591"/>
                  </a:lnTo>
                  <a:lnTo>
                    <a:pt x="1165" y="591"/>
                  </a:lnTo>
                  <a:lnTo>
                    <a:pt x="1165" y="594"/>
                  </a:lnTo>
                  <a:lnTo>
                    <a:pt x="1162" y="594"/>
                  </a:lnTo>
                  <a:lnTo>
                    <a:pt x="1162" y="596"/>
                  </a:lnTo>
                  <a:lnTo>
                    <a:pt x="1160" y="596"/>
                  </a:lnTo>
                  <a:lnTo>
                    <a:pt x="1162" y="596"/>
                  </a:lnTo>
                  <a:lnTo>
                    <a:pt x="1160" y="596"/>
                  </a:lnTo>
                  <a:lnTo>
                    <a:pt x="1158" y="596"/>
                  </a:lnTo>
                  <a:lnTo>
                    <a:pt x="1158" y="598"/>
                  </a:lnTo>
                  <a:lnTo>
                    <a:pt x="1158" y="596"/>
                  </a:lnTo>
                  <a:lnTo>
                    <a:pt x="1155" y="596"/>
                  </a:lnTo>
                  <a:lnTo>
                    <a:pt x="1155" y="598"/>
                  </a:lnTo>
                  <a:lnTo>
                    <a:pt x="1153" y="598"/>
                  </a:lnTo>
                  <a:lnTo>
                    <a:pt x="1153" y="596"/>
                  </a:lnTo>
                  <a:lnTo>
                    <a:pt x="1151" y="596"/>
                  </a:lnTo>
                  <a:lnTo>
                    <a:pt x="1151" y="598"/>
                  </a:lnTo>
                  <a:lnTo>
                    <a:pt x="1151" y="596"/>
                  </a:lnTo>
                  <a:lnTo>
                    <a:pt x="1148" y="596"/>
                  </a:lnTo>
                  <a:lnTo>
                    <a:pt x="1148" y="598"/>
                  </a:lnTo>
                  <a:lnTo>
                    <a:pt x="1146" y="598"/>
                  </a:lnTo>
                  <a:lnTo>
                    <a:pt x="1148" y="598"/>
                  </a:lnTo>
                  <a:lnTo>
                    <a:pt x="1146" y="598"/>
                  </a:lnTo>
                  <a:lnTo>
                    <a:pt x="1144" y="598"/>
                  </a:lnTo>
                  <a:lnTo>
                    <a:pt x="1146" y="598"/>
                  </a:lnTo>
                  <a:lnTo>
                    <a:pt x="1144" y="601"/>
                  </a:lnTo>
                  <a:lnTo>
                    <a:pt x="1141" y="598"/>
                  </a:lnTo>
                  <a:lnTo>
                    <a:pt x="1139" y="598"/>
                  </a:lnTo>
                  <a:lnTo>
                    <a:pt x="1141" y="596"/>
                  </a:lnTo>
                  <a:lnTo>
                    <a:pt x="1139" y="596"/>
                  </a:lnTo>
                  <a:lnTo>
                    <a:pt x="1136" y="596"/>
                  </a:lnTo>
                  <a:lnTo>
                    <a:pt x="1139" y="596"/>
                  </a:lnTo>
                  <a:lnTo>
                    <a:pt x="1141" y="596"/>
                  </a:lnTo>
                  <a:lnTo>
                    <a:pt x="1141" y="594"/>
                  </a:lnTo>
                  <a:lnTo>
                    <a:pt x="1144" y="594"/>
                  </a:lnTo>
                  <a:lnTo>
                    <a:pt x="1141" y="594"/>
                  </a:lnTo>
                  <a:lnTo>
                    <a:pt x="1144" y="594"/>
                  </a:lnTo>
                  <a:lnTo>
                    <a:pt x="1141" y="594"/>
                  </a:lnTo>
                  <a:lnTo>
                    <a:pt x="1139" y="594"/>
                  </a:lnTo>
                  <a:lnTo>
                    <a:pt x="1136" y="594"/>
                  </a:lnTo>
                  <a:lnTo>
                    <a:pt x="1134" y="594"/>
                  </a:lnTo>
                  <a:lnTo>
                    <a:pt x="1132" y="594"/>
                  </a:lnTo>
                  <a:lnTo>
                    <a:pt x="1134" y="594"/>
                  </a:lnTo>
                  <a:lnTo>
                    <a:pt x="1132" y="594"/>
                  </a:lnTo>
                  <a:lnTo>
                    <a:pt x="1134" y="591"/>
                  </a:lnTo>
                  <a:lnTo>
                    <a:pt x="1134" y="589"/>
                  </a:lnTo>
                  <a:lnTo>
                    <a:pt x="1136" y="589"/>
                  </a:lnTo>
                  <a:lnTo>
                    <a:pt x="1134" y="589"/>
                  </a:lnTo>
                  <a:lnTo>
                    <a:pt x="1136" y="589"/>
                  </a:lnTo>
                  <a:lnTo>
                    <a:pt x="1139" y="589"/>
                  </a:lnTo>
                  <a:lnTo>
                    <a:pt x="1136" y="589"/>
                  </a:lnTo>
                  <a:lnTo>
                    <a:pt x="1139" y="589"/>
                  </a:lnTo>
                  <a:lnTo>
                    <a:pt x="1136" y="589"/>
                  </a:lnTo>
                  <a:lnTo>
                    <a:pt x="1139" y="589"/>
                  </a:lnTo>
                  <a:lnTo>
                    <a:pt x="1139" y="591"/>
                  </a:lnTo>
                  <a:lnTo>
                    <a:pt x="1139" y="589"/>
                  </a:lnTo>
                  <a:lnTo>
                    <a:pt x="1139" y="591"/>
                  </a:lnTo>
                  <a:lnTo>
                    <a:pt x="1139" y="589"/>
                  </a:lnTo>
                  <a:lnTo>
                    <a:pt x="1141" y="589"/>
                  </a:lnTo>
                  <a:lnTo>
                    <a:pt x="1144" y="589"/>
                  </a:lnTo>
                  <a:lnTo>
                    <a:pt x="1146" y="589"/>
                  </a:lnTo>
                  <a:lnTo>
                    <a:pt x="1146" y="591"/>
                  </a:lnTo>
                  <a:lnTo>
                    <a:pt x="1148" y="591"/>
                  </a:lnTo>
                  <a:lnTo>
                    <a:pt x="1148" y="589"/>
                  </a:lnTo>
                  <a:lnTo>
                    <a:pt x="1146" y="589"/>
                  </a:lnTo>
                  <a:lnTo>
                    <a:pt x="1144" y="589"/>
                  </a:lnTo>
                  <a:lnTo>
                    <a:pt x="1144" y="587"/>
                  </a:lnTo>
                  <a:lnTo>
                    <a:pt x="1141" y="587"/>
                  </a:lnTo>
                  <a:lnTo>
                    <a:pt x="1144" y="587"/>
                  </a:lnTo>
                  <a:lnTo>
                    <a:pt x="1146" y="587"/>
                  </a:lnTo>
                  <a:lnTo>
                    <a:pt x="1146" y="584"/>
                  </a:lnTo>
                  <a:lnTo>
                    <a:pt x="1146" y="587"/>
                  </a:lnTo>
                  <a:lnTo>
                    <a:pt x="1148" y="587"/>
                  </a:lnTo>
                  <a:lnTo>
                    <a:pt x="1146" y="587"/>
                  </a:lnTo>
                  <a:close/>
                  <a:moveTo>
                    <a:pt x="932" y="380"/>
                  </a:moveTo>
                  <a:lnTo>
                    <a:pt x="935" y="382"/>
                  </a:lnTo>
                  <a:lnTo>
                    <a:pt x="935" y="385"/>
                  </a:lnTo>
                  <a:lnTo>
                    <a:pt x="935" y="387"/>
                  </a:lnTo>
                  <a:lnTo>
                    <a:pt x="932" y="387"/>
                  </a:lnTo>
                  <a:lnTo>
                    <a:pt x="932" y="389"/>
                  </a:lnTo>
                  <a:lnTo>
                    <a:pt x="930" y="389"/>
                  </a:lnTo>
                  <a:lnTo>
                    <a:pt x="928" y="389"/>
                  </a:lnTo>
                  <a:lnTo>
                    <a:pt x="925" y="387"/>
                  </a:lnTo>
                  <a:lnTo>
                    <a:pt x="923" y="387"/>
                  </a:lnTo>
                  <a:lnTo>
                    <a:pt x="923" y="385"/>
                  </a:lnTo>
                  <a:lnTo>
                    <a:pt x="920" y="385"/>
                  </a:lnTo>
                  <a:lnTo>
                    <a:pt x="920" y="382"/>
                  </a:lnTo>
                  <a:lnTo>
                    <a:pt x="918" y="382"/>
                  </a:lnTo>
                  <a:lnTo>
                    <a:pt x="920" y="382"/>
                  </a:lnTo>
                  <a:lnTo>
                    <a:pt x="920" y="380"/>
                  </a:lnTo>
                  <a:lnTo>
                    <a:pt x="923" y="380"/>
                  </a:lnTo>
                  <a:lnTo>
                    <a:pt x="925" y="380"/>
                  </a:lnTo>
                  <a:lnTo>
                    <a:pt x="928" y="380"/>
                  </a:lnTo>
                  <a:lnTo>
                    <a:pt x="930" y="380"/>
                  </a:lnTo>
                  <a:lnTo>
                    <a:pt x="932" y="380"/>
                  </a:lnTo>
                  <a:close/>
                  <a:moveTo>
                    <a:pt x="996" y="116"/>
                  </a:moveTo>
                  <a:lnTo>
                    <a:pt x="996" y="114"/>
                  </a:lnTo>
                  <a:lnTo>
                    <a:pt x="999" y="114"/>
                  </a:lnTo>
                  <a:lnTo>
                    <a:pt x="996" y="114"/>
                  </a:lnTo>
                  <a:lnTo>
                    <a:pt x="999" y="114"/>
                  </a:lnTo>
                  <a:lnTo>
                    <a:pt x="999" y="111"/>
                  </a:lnTo>
                  <a:lnTo>
                    <a:pt x="1001" y="114"/>
                  </a:lnTo>
                  <a:lnTo>
                    <a:pt x="1004" y="114"/>
                  </a:lnTo>
                  <a:lnTo>
                    <a:pt x="1006" y="116"/>
                  </a:lnTo>
                  <a:lnTo>
                    <a:pt x="1008" y="119"/>
                  </a:lnTo>
                  <a:lnTo>
                    <a:pt x="1011" y="119"/>
                  </a:lnTo>
                  <a:lnTo>
                    <a:pt x="1013" y="119"/>
                  </a:lnTo>
                  <a:lnTo>
                    <a:pt x="1013" y="116"/>
                  </a:lnTo>
                  <a:lnTo>
                    <a:pt x="1015" y="116"/>
                  </a:lnTo>
                  <a:lnTo>
                    <a:pt x="1015" y="119"/>
                  </a:lnTo>
                  <a:lnTo>
                    <a:pt x="1018" y="119"/>
                  </a:lnTo>
                  <a:lnTo>
                    <a:pt x="1018" y="116"/>
                  </a:lnTo>
                  <a:lnTo>
                    <a:pt x="1015" y="116"/>
                  </a:lnTo>
                  <a:lnTo>
                    <a:pt x="1018" y="116"/>
                  </a:lnTo>
                  <a:lnTo>
                    <a:pt x="1015" y="116"/>
                  </a:lnTo>
                  <a:lnTo>
                    <a:pt x="1018" y="116"/>
                  </a:lnTo>
                  <a:lnTo>
                    <a:pt x="1020" y="116"/>
                  </a:lnTo>
                  <a:lnTo>
                    <a:pt x="1023" y="116"/>
                  </a:lnTo>
                  <a:lnTo>
                    <a:pt x="1025" y="116"/>
                  </a:lnTo>
                  <a:lnTo>
                    <a:pt x="1025" y="119"/>
                  </a:lnTo>
                  <a:lnTo>
                    <a:pt x="1025" y="121"/>
                  </a:lnTo>
                  <a:lnTo>
                    <a:pt x="1027" y="121"/>
                  </a:lnTo>
                  <a:lnTo>
                    <a:pt x="1030" y="123"/>
                  </a:lnTo>
                  <a:lnTo>
                    <a:pt x="1030" y="126"/>
                  </a:lnTo>
                  <a:lnTo>
                    <a:pt x="1030" y="128"/>
                  </a:lnTo>
                  <a:lnTo>
                    <a:pt x="1032" y="128"/>
                  </a:lnTo>
                  <a:lnTo>
                    <a:pt x="1030" y="128"/>
                  </a:lnTo>
                  <a:lnTo>
                    <a:pt x="1032" y="128"/>
                  </a:lnTo>
                  <a:lnTo>
                    <a:pt x="1032" y="130"/>
                  </a:lnTo>
                  <a:lnTo>
                    <a:pt x="1032" y="133"/>
                  </a:lnTo>
                  <a:lnTo>
                    <a:pt x="1030" y="135"/>
                  </a:lnTo>
                  <a:lnTo>
                    <a:pt x="1030" y="138"/>
                  </a:lnTo>
                  <a:lnTo>
                    <a:pt x="1027" y="138"/>
                  </a:lnTo>
                  <a:lnTo>
                    <a:pt x="1023" y="138"/>
                  </a:lnTo>
                  <a:lnTo>
                    <a:pt x="1020" y="138"/>
                  </a:lnTo>
                  <a:lnTo>
                    <a:pt x="1018" y="138"/>
                  </a:lnTo>
                  <a:lnTo>
                    <a:pt x="1015" y="138"/>
                  </a:lnTo>
                  <a:lnTo>
                    <a:pt x="1013" y="138"/>
                  </a:lnTo>
                  <a:lnTo>
                    <a:pt x="1011" y="138"/>
                  </a:lnTo>
                  <a:lnTo>
                    <a:pt x="1008" y="138"/>
                  </a:lnTo>
                  <a:lnTo>
                    <a:pt x="1006" y="140"/>
                  </a:lnTo>
                  <a:lnTo>
                    <a:pt x="1004" y="140"/>
                  </a:lnTo>
                  <a:lnTo>
                    <a:pt x="999" y="140"/>
                  </a:lnTo>
                  <a:lnTo>
                    <a:pt x="996" y="140"/>
                  </a:lnTo>
                  <a:lnTo>
                    <a:pt x="994" y="140"/>
                  </a:lnTo>
                  <a:lnTo>
                    <a:pt x="994" y="142"/>
                  </a:lnTo>
                  <a:lnTo>
                    <a:pt x="992" y="142"/>
                  </a:lnTo>
                  <a:lnTo>
                    <a:pt x="992" y="140"/>
                  </a:lnTo>
                  <a:lnTo>
                    <a:pt x="989" y="140"/>
                  </a:lnTo>
                  <a:lnTo>
                    <a:pt x="987" y="140"/>
                  </a:lnTo>
                  <a:lnTo>
                    <a:pt x="985" y="140"/>
                  </a:lnTo>
                  <a:lnTo>
                    <a:pt x="982" y="140"/>
                  </a:lnTo>
                  <a:lnTo>
                    <a:pt x="985" y="140"/>
                  </a:lnTo>
                  <a:lnTo>
                    <a:pt x="985" y="138"/>
                  </a:lnTo>
                  <a:lnTo>
                    <a:pt x="982" y="138"/>
                  </a:lnTo>
                  <a:lnTo>
                    <a:pt x="985" y="138"/>
                  </a:lnTo>
                  <a:lnTo>
                    <a:pt x="985" y="135"/>
                  </a:lnTo>
                  <a:lnTo>
                    <a:pt x="982" y="135"/>
                  </a:lnTo>
                  <a:lnTo>
                    <a:pt x="980" y="135"/>
                  </a:lnTo>
                  <a:lnTo>
                    <a:pt x="980" y="133"/>
                  </a:lnTo>
                  <a:lnTo>
                    <a:pt x="980" y="135"/>
                  </a:lnTo>
                  <a:lnTo>
                    <a:pt x="980" y="133"/>
                  </a:lnTo>
                  <a:lnTo>
                    <a:pt x="982" y="133"/>
                  </a:lnTo>
                  <a:lnTo>
                    <a:pt x="985" y="133"/>
                  </a:lnTo>
                  <a:lnTo>
                    <a:pt x="987" y="133"/>
                  </a:lnTo>
                  <a:lnTo>
                    <a:pt x="985" y="133"/>
                  </a:lnTo>
                  <a:lnTo>
                    <a:pt x="982" y="133"/>
                  </a:lnTo>
                  <a:lnTo>
                    <a:pt x="985" y="133"/>
                  </a:lnTo>
                  <a:lnTo>
                    <a:pt x="982" y="133"/>
                  </a:lnTo>
                  <a:lnTo>
                    <a:pt x="980" y="133"/>
                  </a:lnTo>
                  <a:lnTo>
                    <a:pt x="982" y="133"/>
                  </a:lnTo>
                  <a:lnTo>
                    <a:pt x="982" y="130"/>
                  </a:lnTo>
                  <a:lnTo>
                    <a:pt x="982" y="128"/>
                  </a:lnTo>
                  <a:lnTo>
                    <a:pt x="980" y="128"/>
                  </a:lnTo>
                  <a:lnTo>
                    <a:pt x="980" y="126"/>
                  </a:lnTo>
                  <a:lnTo>
                    <a:pt x="977" y="126"/>
                  </a:lnTo>
                  <a:lnTo>
                    <a:pt x="975" y="126"/>
                  </a:lnTo>
                  <a:lnTo>
                    <a:pt x="973" y="123"/>
                  </a:lnTo>
                  <a:lnTo>
                    <a:pt x="970" y="123"/>
                  </a:lnTo>
                  <a:lnTo>
                    <a:pt x="968" y="123"/>
                  </a:lnTo>
                  <a:lnTo>
                    <a:pt x="966" y="123"/>
                  </a:lnTo>
                  <a:lnTo>
                    <a:pt x="966" y="121"/>
                  </a:lnTo>
                  <a:lnTo>
                    <a:pt x="968" y="121"/>
                  </a:lnTo>
                  <a:lnTo>
                    <a:pt x="973" y="121"/>
                  </a:lnTo>
                  <a:lnTo>
                    <a:pt x="975" y="121"/>
                  </a:lnTo>
                  <a:lnTo>
                    <a:pt x="977" y="121"/>
                  </a:lnTo>
                  <a:lnTo>
                    <a:pt x="977" y="119"/>
                  </a:lnTo>
                  <a:lnTo>
                    <a:pt x="977" y="121"/>
                  </a:lnTo>
                  <a:lnTo>
                    <a:pt x="977" y="119"/>
                  </a:lnTo>
                  <a:lnTo>
                    <a:pt x="980" y="119"/>
                  </a:lnTo>
                  <a:lnTo>
                    <a:pt x="982" y="119"/>
                  </a:lnTo>
                  <a:lnTo>
                    <a:pt x="985" y="119"/>
                  </a:lnTo>
                  <a:lnTo>
                    <a:pt x="987" y="119"/>
                  </a:lnTo>
                  <a:lnTo>
                    <a:pt x="989" y="119"/>
                  </a:lnTo>
                  <a:lnTo>
                    <a:pt x="987" y="119"/>
                  </a:lnTo>
                  <a:lnTo>
                    <a:pt x="989" y="119"/>
                  </a:lnTo>
                  <a:lnTo>
                    <a:pt x="992" y="119"/>
                  </a:lnTo>
                  <a:lnTo>
                    <a:pt x="994" y="119"/>
                  </a:lnTo>
                  <a:lnTo>
                    <a:pt x="994" y="116"/>
                  </a:lnTo>
                  <a:lnTo>
                    <a:pt x="996" y="116"/>
                  </a:lnTo>
                  <a:close/>
                  <a:moveTo>
                    <a:pt x="1184" y="104"/>
                  </a:moveTo>
                  <a:lnTo>
                    <a:pt x="1186" y="107"/>
                  </a:lnTo>
                  <a:lnTo>
                    <a:pt x="1189" y="107"/>
                  </a:lnTo>
                  <a:lnTo>
                    <a:pt x="1191" y="107"/>
                  </a:lnTo>
                  <a:lnTo>
                    <a:pt x="1193" y="107"/>
                  </a:lnTo>
                  <a:lnTo>
                    <a:pt x="1191" y="107"/>
                  </a:lnTo>
                  <a:lnTo>
                    <a:pt x="1191" y="109"/>
                  </a:lnTo>
                  <a:lnTo>
                    <a:pt x="1189" y="111"/>
                  </a:lnTo>
                  <a:lnTo>
                    <a:pt x="1186" y="111"/>
                  </a:lnTo>
                  <a:lnTo>
                    <a:pt x="1184" y="111"/>
                  </a:lnTo>
                  <a:lnTo>
                    <a:pt x="1181" y="111"/>
                  </a:lnTo>
                  <a:lnTo>
                    <a:pt x="1181" y="109"/>
                  </a:lnTo>
                  <a:lnTo>
                    <a:pt x="1179" y="109"/>
                  </a:lnTo>
                  <a:lnTo>
                    <a:pt x="1177" y="109"/>
                  </a:lnTo>
                  <a:lnTo>
                    <a:pt x="1174" y="107"/>
                  </a:lnTo>
                  <a:lnTo>
                    <a:pt x="1172" y="104"/>
                  </a:lnTo>
                  <a:lnTo>
                    <a:pt x="1170" y="104"/>
                  </a:lnTo>
                  <a:lnTo>
                    <a:pt x="1170" y="102"/>
                  </a:lnTo>
                  <a:lnTo>
                    <a:pt x="1172" y="100"/>
                  </a:lnTo>
                  <a:lnTo>
                    <a:pt x="1174" y="100"/>
                  </a:lnTo>
                  <a:lnTo>
                    <a:pt x="1177" y="100"/>
                  </a:lnTo>
                  <a:lnTo>
                    <a:pt x="1179" y="100"/>
                  </a:lnTo>
                  <a:lnTo>
                    <a:pt x="1179" y="102"/>
                  </a:lnTo>
                  <a:lnTo>
                    <a:pt x="1181" y="104"/>
                  </a:lnTo>
                  <a:lnTo>
                    <a:pt x="1184" y="104"/>
                  </a:lnTo>
                  <a:close/>
                  <a:moveTo>
                    <a:pt x="648" y="95"/>
                  </a:moveTo>
                  <a:lnTo>
                    <a:pt x="650" y="95"/>
                  </a:lnTo>
                  <a:lnTo>
                    <a:pt x="652" y="95"/>
                  </a:lnTo>
                  <a:lnTo>
                    <a:pt x="652" y="97"/>
                  </a:lnTo>
                  <a:lnTo>
                    <a:pt x="655" y="97"/>
                  </a:lnTo>
                  <a:lnTo>
                    <a:pt x="657" y="97"/>
                  </a:lnTo>
                  <a:lnTo>
                    <a:pt x="659" y="97"/>
                  </a:lnTo>
                  <a:lnTo>
                    <a:pt x="659" y="100"/>
                  </a:lnTo>
                  <a:lnTo>
                    <a:pt x="662" y="100"/>
                  </a:lnTo>
                  <a:lnTo>
                    <a:pt x="662" y="102"/>
                  </a:lnTo>
                  <a:lnTo>
                    <a:pt x="662" y="100"/>
                  </a:lnTo>
                  <a:lnTo>
                    <a:pt x="659" y="100"/>
                  </a:lnTo>
                  <a:lnTo>
                    <a:pt x="662" y="100"/>
                  </a:lnTo>
                  <a:lnTo>
                    <a:pt x="659" y="100"/>
                  </a:lnTo>
                  <a:lnTo>
                    <a:pt x="662" y="100"/>
                  </a:lnTo>
                  <a:lnTo>
                    <a:pt x="662" y="102"/>
                  </a:lnTo>
                  <a:lnTo>
                    <a:pt x="659" y="102"/>
                  </a:lnTo>
                  <a:lnTo>
                    <a:pt x="659" y="104"/>
                  </a:lnTo>
                  <a:lnTo>
                    <a:pt x="662" y="104"/>
                  </a:lnTo>
                  <a:lnTo>
                    <a:pt x="664" y="104"/>
                  </a:lnTo>
                  <a:lnTo>
                    <a:pt x="662" y="104"/>
                  </a:lnTo>
                  <a:lnTo>
                    <a:pt x="662" y="102"/>
                  </a:lnTo>
                  <a:lnTo>
                    <a:pt x="664" y="104"/>
                  </a:lnTo>
                  <a:lnTo>
                    <a:pt x="667" y="104"/>
                  </a:lnTo>
                  <a:lnTo>
                    <a:pt x="669" y="107"/>
                  </a:lnTo>
                  <a:lnTo>
                    <a:pt x="667" y="107"/>
                  </a:lnTo>
                  <a:lnTo>
                    <a:pt x="664" y="109"/>
                  </a:lnTo>
                  <a:lnTo>
                    <a:pt x="664" y="107"/>
                  </a:lnTo>
                  <a:lnTo>
                    <a:pt x="664" y="109"/>
                  </a:lnTo>
                  <a:lnTo>
                    <a:pt x="664" y="111"/>
                  </a:lnTo>
                  <a:lnTo>
                    <a:pt x="667" y="111"/>
                  </a:lnTo>
                  <a:lnTo>
                    <a:pt x="669" y="111"/>
                  </a:lnTo>
                  <a:lnTo>
                    <a:pt x="667" y="111"/>
                  </a:lnTo>
                  <a:lnTo>
                    <a:pt x="667" y="114"/>
                  </a:lnTo>
                  <a:lnTo>
                    <a:pt x="669" y="114"/>
                  </a:lnTo>
                  <a:lnTo>
                    <a:pt x="671" y="114"/>
                  </a:lnTo>
                  <a:lnTo>
                    <a:pt x="669" y="116"/>
                  </a:lnTo>
                  <a:lnTo>
                    <a:pt x="671" y="116"/>
                  </a:lnTo>
                  <a:lnTo>
                    <a:pt x="674" y="119"/>
                  </a:lnTo>
                  <a:lnTo>
                    <a:pt x="671" y="119"/>
                  </a:lnTo>
                  <a:lnTo>
                    <a:pt x="669" y="119"/>
                  </a:lnTo>
                  <a:lnTo>
                    <a:pt x="671" y="119"/>
                  </a:lnTo>
                  <a:lnTo>
                    <a:pt x="674" y="119"/>
                  </a:lnTo>
                  <a:lnTo>
                    <a:pt x="676" y="119"/>
                  </a:lnTo>
                  <a:lnTo>
                    <a:pt x="678" y="119"/>
                  </a:lnTo>
                  <a:lnTo>
                    <a:pt x="676" y="119"/>
                  </a:lnTo>
                  <a:lnTo>
                    <a:pt x="678" y="121"/>
                  </a:lnTo>
                  <a:lnTo>
                    <a:pt x="681" y="123"/>
                  </a:lnTo>
                  <a:lnTo>
                    <a:pt x="683" y="123"/>
                  </a:lnTo>
                  <a:lnTo>
                    <a:pt x="683" y="126"/>
                  </a:lnTo>
                  <a:lnTo>
                    <a:pt x="686" y="126"/>
                  </a:lnTo>
                  <a:lnTo>
                    <a:pt x="688" y="126"/>
                  </a:lnTo>
                  <a:lnTo>
                    <a:pt x="690" y="126"/>
                  </a:lnTo>
                  <a:lnTo>
                    <a:pt x="693" y="126"/>
                  </a:lnTo>
                  <a:lnTo>
                    <a:pt x="690" y="126"/>
                  </a:lnTo>
                  <a:lnTo>
                    <a:pt x="690" y="128"/>
                  </a:lnTo>
                  <a:lnTo>
                    <a:pt x="693" y="128"/>
                  </a:lnTo>
                  <a:lnTo>
                    <a:pt x="693" y="130"/>
                  </a:lnTo>
                  <a:lnTo>
                    <a:pt x="695" y="133"/>
                  </a:lnTo>
                  <a:lnTo>
                    <a:pt x="695" y="135"/>
                  </a:lnTo>
                  <a:lnTo>
                    <a:pt x="697" y="135"/>
                  </a:lnTo>
                  <a:lnTo>
                    <a:pt x="697" y="138"/>
                  </a:lnTo>
                  <a:lnTo>
                    <a:pt x="700" y="138"/>
                  </a:lnTo>
                  <a:lnTo>
                    <a:pt x="700" y="140"/>
                  </a:lnTo>
                  <a:lnTo>
                    <a:pt x="700" y="142"/>
                  </a:lnTo>
                  <a:lnTo>
                    <a:pt x="700" y="140"/>
                  </a:lnTo>
                  <a:lnTo>
                    <a:pt x="697" y="140"/>
                  </a:lnTo>
                  <a:lnTo>
                    <a:pt x="695" y="140"/>
                  </a:lnTo>
                  <a:lnTo>
                    <a:pt x="693" y="140"/>
                  </a:lnTo>
                  <a:lnTo>
                    <a:pt x="690" y="140"/>
                  </a:lnTo>
                  <a:lnTo>
                    <a:pt x="690" y="138"/>
                  </a:lnTo>
                  <a:lnTo>
                    <a:pt x="688" y="138"/>
                  </a:lnTo>
                  <a:lnTo>
                    <a:pt x="690" y="138"/>
                  </a:lnTo>
                  <a:lnTo>
                    <a:pt x="690" y="135"/>
                  </a:lnTo>
                  <a:lnTo>
                    <a:pt x="688" y="135"/>
                  </a:lnTo>
                  <a:lnTo>
                    <a:pt x="688" y="133"/>
                  </a:lnTo>
                  <a:lnTo>
                    <a:pt x="686" y="133"/>
                  </a:lnTo>
                  <a:lnTo>
                    <a:pt x="683" y="133"/>
                  </a:lnTo>
                  <a:lnTo>
                    <a:pt x="683" y="130"/>
                  </a:lnTo>
                  <a:lnTo>
                    <a:pt x="681" y="130"/>
                  </a:lnTo>
                  <a:lnTo>
                    <a:pt x="681" y="128"/>
                  </a:lnTo>
                  <a:lnTo>
                    <a:pt x="678" y="128"/>
                  </a:lnTo>
                  <a:lnTo>
                    <a:pt x="676" y="128"/>
                  </a:lnTo>
                  <a:lnTo>
                    <a:pt x="676" y="126"/>
                  </a:lnTo>
                  <a:lnTo>
                    <a:pt x="674" y="126"/>
                  </a:lnTo>
                  <a:lnTo>
                    <a:pt x="671" y="126"/>
                  </a:lnTo>
                  <a:lnTo>
                    <a:pt x="669" y="126"/>
                  </a:lnTo>
                  <a:lnTo>
                    <a:pt x="671" y="126"/>
                  </a:lnTo>
                  <a:lnTo>
                    <a:pt x="671" y="123"/>
                  </a:lnTo>
                  <a:lnTo>
                    <a:pt x="669" y="123"/>
                  </a:lnTo>
                  <a:lnTo>
                    <a:pt x="669" y="126"/>
                  </a:lnTo>
                  <a:lnTo>
                    <a:pt x="667" y="126"/>
                  </a:lnTo>
                  <a:lnTo>
                    <a:pt x="664" y="126"/>
                  </a:lnTo>
                  <a:lnTo>
                    <a:pt x="664" y="123"/>
                  </a:lnTo>
                  <a:lnTo>
                    <a:pt x="664" y="121"/>
                  </a:lnTo>
                  <a:lnTo>
                    <a:pt x="662" y="121"/>
                  </a:lnTo>
                  <a:lnTo>
                    <a:pt x="662" y="119"/>
                  </a:lnTo>
                  <a:lnTo>
                    <a:pt x="659" y="116"/>
                  </a:lnTo>
                  <a:lnTo>
                    <a:pt x="659" y="114"/>
                  </a:lnTo>
                  <a:lnTo>
                    <a:pt x="657" y="114"/>
                  </a:lnTo>
                  <a:lnTo>
                    <a:pt x="657" y="111"/>
                  </a:lnTo>
                  <a:lnTo>
                    <a:pt x="655" y="111"/>
                  </a:lnTo>
                  <a:lnTo>
                    <a:pt x="655" y="109"/>
                  </a:lnTo>
                  <a:lnTo>
                    <a:pt x="652" y="109"/>
                  </a:lnTo>
                  <a:lnTo>
                    <a:pt x="655" y="109"/>
                  </a:lnTo>
                  <a:lnTo>
                    <a:pt x="652" y="109"/>
                  </a:lnTo>
                  <a:lnTo>
                    <a:pt x="652" y="107"/>
                  </a:lnTo>
                  <a:lnTo>
                    <a:pt x="650" y="107"/>
                  </a:lnTo>
                  <a:lnTo>
                    <a:pt x="650" y="104"/>
                  </a:lnTo>
                  <a:lnTo>
                    <a:pt x="648" y="104"/>
                  </a:lnTo>
                  <a:lnTo>
                    <a:pt x="645" y="104"/>
                  </a:lnTo>
                  <a:lnTo>
                    <a:pt x="645" y="102"/>
                  </a:lnTo>
                  <a:lnTo>
                    <a:pt x="648" y="102"/>
                  </a:lnTo>
                  <a:lnTo>
                    <a:pt x="648" y="100"/>
                  </a:lnTo>
                  <a:lnTo>
                    <a:pt x="648" y="97"/>
                  </a:lnTo>
                  <a:lnTo>
                    <a:pt x="645" y="95"/>
                  </a:lnTo>
                  <a:lnTo>
                    <a:pt x="648" y="95"/>
                  </a:lnTo>
                  <a:close/>
                  <a:moveTo>
                    <a:pt x="1238" y="90"/>
                  </a:moveTo>
                  <a:lnTo>
                    <a:pt x="1241" y="90"/>
                  </a:lnTo>
                  <a:lnTo>
                    <a:pt x="1243" y="90"/>
                  </a:lnTo>
                  <a:lnTo>
                    <a:pt x="1246" y="90"/>
                  </a:lnTo>
                  <a:lnTo>
                    <a:pt x="1248" y="90"/>
                  </a:lnTo>
                  <a:lnTo>
                    <a:pt x="1250" y="90"/>
                  </a:lnTo>
                  <a:lnTo>
                    <a:pt x="1253" y="90"/>
                  </a:lnTo>
                  <a:lnTo>
                    <a:pt x="1255" y="90"/>
                  </a:lnTo>
                  <a:lnTo>
                    <a:pt x="1255" y="92"/>
                  </a:lnTo>
                  <a:lnTo>
                    <a:pt x="1255" y="95"/>
                  </a:lnTo>
                  <a:lnTo>
                    <a:pt x="1257" y="95"/>
                  </a:lnTo>
                  <a:lnTo>
                    <a:pt x="1260" y="95"/>
                  </a:lnTo>
                  <a:lnTo>
                    <a:pt x="1262" y="95"/>
                  </a:lnTo>
                  <a:lnTo>
                    <a:pt x="1265" y="95"/>
                  </a:lnTo>
                  <a:lnTo>
                    <a:pt x="1269" y="95"/>
                  </a:lnTo>
                  <a:lnTo>
                    <a:pt x="1272" y="95"/>
                  </a:lnTo>
                  <a:lnTo>
                    <a:pt x="1274" y="95"/>
                  </a:lnTo>
                  <a:lnTo>
                    <a:pt x="1276" y="92"/>
                  </a:lnTo>
                  <a:lnTo>
                    <a:pt x="1276" y="95"/>
                  </a:lnTo>
                  <a:lnTo>
                    <a:pt x="1279" y="95"/>
                  </a:lnTo>
                  <a:lnTo>
                    <a:pt x="1276" y="95"/>
                  </a:lnTo>
                  <a:lnTo>
                    <a:pt x="1274" y="95"/>
                  </a:lnTo>
                  <a:lnTo>
                    <a:pt x="1272" y="95"/>
                  </a:lnTo>
                  <a:lnTo>
                    <a:pt x="1269" y="97"/>
                  </a:lnTo>
                  <a:lnTo>
                    <a:pt x="1267" y="97"/>
                  </a:lnTo>
                  <a:lnTo>
                    <a:pt x="1267" y="100"/>
                  </a:lnTo>
                  <a:lnTo>
                    <a:pt x="1265" y="100"/>
                  </a:lnTo>
                  <a:lnTo>
                    <a:pt x="1265" y="97"/>
                  </a:lnTo>
                  <a:lnTo>
                    <a:pt x="1262" y="97"/>
                  </a:lnTo>
                  <a:lnTo>
                    <a:pt x="1260" y="97"/>
                  </a:lnTo>
                  <a:lnTo>
                    <a:pt x="1257" y="97"/>
                  </a:lnTo>
                  <a:lnTo>
                    <a:pt x="1257" y="95"/>
                  </a:lnTo>
                  <a:lnTo>
                    <a:pt x="1255" y="95"/>
                  </a:lnTo>
                  <a:lnTo>
                    <a:pt x="1253" y="95"/>
                  </a:lnTo>
                  <a:lnTo>
                    <a:pt x="1250" y="95"/>
                  </a:lnTo>
                  <a:lnTo>
                    <a:pt x="1248" y="95"/>
                  </a:lnTo>
                  <a:lnTo>
                    <a:pt x="1246" y="95"/>
                  </a:lnTo>
                  <a:lnTo>
                    <a:pt x="1243" y="95"/>
                  </a:lnTo>
                  <a:lnTo>
                    <a:pt x="1243" y="97"/>
                  </a:lnTo>
                  <a:lnTo>
                    <a:pt x="1243" y="95"/>
                  </a:lnTo>
                  <a:lnTo>
                    <a:pt x="1241" y="95"/>
                  </a:lnTo>
                  <a:lnTo>
                    <a:pt x="1238" y="95"/>
                  </a:lnTo>
                  <a:lnTo>
                    <a:pt x="1236" y="97"/>
                  </a:lnTo>
                  <a:lnTo>
                    <a:pt x="1234" y="97"/>
                  </a:lnTo>
                  <a:lnTo>
                    <a:pt x="1231" y="97"/>
                  </a:lnTo>
                  <a:lnTo>
                    <a:pt x="1229" y="97"/>
                  </a:lnTo>
                  <a:lnTo>
                    <a:pt x="1229" y="100"/>
                  </a:lnTo>
                  <a:lnTo>
                    <a:pt x="1227" y="100"/>
                  </a:lnTo>
                  <a:lnTo>
                    <a:pt x="1224" y="100"/>
                  </a:lnTo>
                  <a:lnTo>
                    <a:pt x="1222" y="100"/>
                  </a:lnTo>
                  <a:lnTo>
                    <a:pt x="1219" y="100"/>
                  </a:lnTo>
                  <a:lnTo>
                    <a:pt x="1219" y="97"/>
                  </a:lnTo>
                  <a:lnTo>
                    <a:pt x="1217" y="97"/>
                  </a:lnTo>
                  <a:lnTo>
                    <a:pt x="1219" y="97"/>
                  </a:lnTo>
                  <a:lnTo>
                    <a:pt x="1217" y="97"/>
                  </a:lnTo>
                  <a:lnTo>
                    <a:pt x="1219" y="97"/>
                  </a:lnTo>
                  <a:lnTo>
                    <a:pt x="1222" y="97"/>
                  </a:lnTo>
                  <a:lnTo>
                    <a:pt x="1224" y="97"/>
                  </a:lnTo>
                  <a:lnTo>
                    <a:pt x="1227" y="95"/>
                  </a:lnTo>
                  <a:lnTo>
                    <a:pt x="1229" y="95"/>
                  </a:lnTo>
                  <a:lnTo>
                    <a:pt x="1231" y="95"/>
                  </a:lnTo>
                  <a:lnTo>
                    <a:pt x="1236" y="92"/>
                  </a:lnTo>
                  <a:lnTo>
                    <a:pt x="1238" y="92"/>
                  </a:lnTo>
                  <a:lnTo>
                    <a:pt x="1238" y="90"/>
                  </a:lnTo>
                  <a:lnTo>
                    <a:pt x="1236" y="90"/>
                  </a:lnTo>
                  <a:lnTo>
                    <a:pt x="1238" y="92"/>
                  </a:lnTo>
                  <a:lnTo>
                    <a:pt x="1236" y="92"/>
                  </a:lnTo>
                  <a:lnTo>
                    <a:pt x="1238" y="92"/>
                  </a:lnTo>
                  <a:lnTo>
                    <a:pt x="1236" y="92"/>
                  </a:lnTo>
                  <a:lnTo>
                    <a:pt x="1236" y="90"/>
                  </a:lnTo>
                  <a:lnTo>
                    <a:pt x="1238" y="90"/>
                  </a:lnTo>
                  <a:close/>
                  <a:moveTo>
                    <a:pt x="968" y="81"/>
                  </a:moveTo>
                  <a:lnTo>
                    <a:pt x="970" y="81"/>
                  </a:lnTo>
                  <a:lnTo>
                    <a:pt x="973" y="81"/>
                  </a:lnTo>
                  <a:lnTo>
                    <a:pt x="975" y="81"/>
                  </a:lnTo>
                  <a:lnTo>
                    <a:pt x="973" y="81"/>
                  </a:lnTo>
                  <a:lnTo>
                    <a:pt x="975" y="81"/>
                  </a:lnTo>
                  <a:lnTo>
                    <a:pt x="977" y="81"/>
                  </a:lnTo>
                  <a:lnTo>
                    <a:pt x="982" y="83"/>
                  </a:lnTo>
                  <a:lnTo>
                    <a:pt x="985" y="83"/>
                  </a:lnTo>
                  <a:lnTo>
                    <a:pt x="987" y="83"/>
                  </a:lnTo>
                  <a:lnTo>
                    <a:pt x="985" y="85"/>
                  </a:lnTo>
                  <a:lnTo>
                    <a:pt x="982" y="85"/>
                  </a:lnTo>
                  <a:lnTo>
                    <a:pt x="980" y="88"/>
                  </a:lnTo>
                  <a:lnTo>
                    <a:pt x="977" y="85"/>
                  </a:lnTo>
                  <a:lnTo>
                    <a:pt x="975" y="88"/>
                  </a:lnTo>
                  <a:lnTo>
                    <a:pt x="973" y="88"/>
                  </a:lnTo>
                  <a:lnTo>
                    <a:pt x="970" y="88"/>
                  </a:lnTo>
                  <a:lnTo>
                    <a:pt x="968" y="88"/>
                  </a:lnTo>
                  <a:lnTo>
                    <a:pt x="970" y="88"/>
                  </a:lnTo>
                  <a:lnTo>
                    <a:pt x="968" y="88"/>
                  </a:lnTo>
                  <a:lnTo>
                    <a:pt x="970" y="88"/>
                  </a:lnTo>
                  <a:lnTo>
                    <a:pt x="968" y="88"/>
                  </a:lnTo>
                  <a:lnTo>
                    <a:pt x="966" y="88"/>
                  </a:lnTo>
                  <a:lnTo>
                    <a:pt x="963" y="85"/>
                  </a:lnTo>
                  <a:lnTo>
                    <a:pt x="966" y="85"/>
                  </a:lnTo>
                  <a:lnTo>
                    <a:pt x="963" y="85"/>
                  </a:lnTo>
                  <a:lnTo>
                    <a:pt x="963" y="83"/>
                  </a:lnTo>
                  <a:lnTo>
                    <a:pt x="966" y="83"/>
                  </a:lnTo>
                  <a:lnTo>
                    <a:pt x="966" y="81"/>
                  </a:lnTo>
                  <a:lnTo>
                    <a:pt x="963" y="81"/>
                  </a:lnTo>
                  <a:lnTo>
                    <a:pt x="966" y="81"/>
                  </a:lnTo>
                  <a:lnTo>
                    <a:pt x="968" y="81"/>
                  </a:lnTo>
                  <a:close/>
                  <a:moveTo>
                    <a:pt x="1402" y="4"/>
                  </a:moveTo>
                  <a:lnTo>
                    <a:pt x="1405" y="4"/>
                  </a:lnTo>
                  <a:lnTo>
                    <a:pt x="1405" y="7"/>
                  </a:lnTo>
                  <a:lnTo>
                    <a:pt x="1402" y="7"/>
                  </a:lnTo>
                  <a:lnTo>
                    <a:pt x="1405" y="7"/>
                  </a:lnTo>
                  <a:lnTo>
                    <a:pt x="1405" y="9"/>
                  </a:lnTo>
                  <a:lnTo>
                    <a:pt x="1402" y="9"/>
                  </a:lnTo>
                  <a:lnTo>
                    <a:pt x="1400" y="9"/>
                  </a:lnTo>
                  <a:lnTo>
                    <a:pt x="1400" y="12"/>
                  </a:lnTo>
                  <a:lnTo>
                    <a:pt x="1402" y="12"/>
                  </a:lnTo>
                  <a:lnTo>
                    <a:pt x="1400" y="12"/>
                  </a:lnTo>
                  <a:lnTo>
                    <a:pt x="1397" y="12"/>
                  </a:lnTo>
                  <a:lnTo>
                    <a:pt x="1395" y="12"/>
                  </a:lnTo>
                  <a:lnTo>
                    <a:pt x="1393" y="12"/>
                  </a:lnTo>
                  <a:lnTo>
                    <a:pt x="1390" y="12"/>
                  </a:lnTo>
                  <a:lnTo>
                    <a:pt x="1388" y="12"/>
                  </a:lnTo>
                  <a:lnTo>
                    <a:pt x="1386" y="12"/>
                  </a:lnTo>
                  <a:lnTo>
                    <a:pt x="1383" y="12"/>
                  </a:lnTo>
                  <a:lnTo>
                    <a:pt x="1381" y="12"/>
                  </a:lnTo>
                  <a:lnTo>
                    <a:pt x="1378" y="12"/>
                  </a:lnTo>
                  <a:lnTo>
                    <a:pt x="1378" y="14"/>
                  </a:lnTo>
                  <a:lnTo>
                    <a:pt x="1376" y="14"/>
                  </a:lnTo>
                  <a:lnTo>
                    <a:pt x="1371" y="14"/>
                  </a:lnTo>
                  <a:lnTo>
                    <a:pt x="1369" y="14"/>
                  </a:lnTo>
                  <a:lnTo>
                    <a:pt x="1367" y="14"/>
                  </a:lnTo>
                  <a:lnTo>
                    <a:pt x="1364" y="14"/>
                  </a:lnTo>
                  <a:lnTo>
                    <a:pt x="1362" y="14"/>
                  </a:lnTo>
                  <a:lnTo>
                    <a:pt x="1359" y="14"/>
                  </a:lnTo>
                  <a:lnTo>
                    <a:pt x="1359" y="16"/>
                  </a:lnTo>
                  <a:lnTo>
                    <a:pt x="1357" y="16"/>
                  </a:lnTo>
                  <a:lnTo>
                    <a:pt x="1355" y="16"/>
                  </a:lnTo>
                  <a:lnTo>
                    <a:pt x="1350" y="16"/>
                  </a:lnTo>
                  <a:lnTo>
                    <a:pt x="1348" y="16"/>
                  </a:lnTo>
                  <a:lnTo>
                    <a:pt x="1348" y="19"/>
                  </a:lnTo>
                  <a:lnTo>
                    <a:pt x="1345" y="19"/>
                  </a:lnTo>
                  <a:lnTo>
                    <a:pt x="1343" y="19"/>
                  </a:lnTo>
                  <a:lnTo>
                    <a:pt x="1343" y="16"/>
                  </a:lnTo>
                  <a:lnTo>
                    <a:pt x="1340" y="16"/>
                  </a:lnTo>
                  <a:lnTo>
                    <a:pt x="1338" y="16"/>
                  </a:lnTo>
                  <a:lnTo>
                    <a:pt x="1336" y="16"/>
                  </a:lnTo>
                  <a:lnTo>
                    <a:pt x="1336" y="14"/>
                  </a:lnTo>
                  <a:lnTo>
                    <a:pt x="1338" y="14"/>
                  </a:lnTo>
                  <a:lnTo>
                    <a:pt x="1336" y="14"/>
                  </a:lnTo>
                  <a:lnTo>
                    <a:pt x="1338" y="14"/>
                  </a:lnTo>
                  <a:lnTo>
                    <a:pt x="1338" y="12"/>
                  </a:lnTo>
                  <a:lnTo>
                    <a:pt x="1340" y="12"/>
                  </a:lnTo>
                  <a:lnTo>
                    <a:pt x="1340" y="9"/>
                  </a:lnTo>
                  <a:lnTo>
                    <a:pt x="1343" y="9"/>
                  </a:lnTo>
                  <a:lnTo>
                    <a:pt x="1345" y="9"/>
                  </a:lnTo>
                  <a:lnTo>
                    <a:pt x="1345" y="7"/>
                  </a:lnTo>
                  <a:lnTo>
                    <a:pt x="1348" y="7"/>
                  </a:lnTo>
                  <a:lnTo>
                    <a:pt x="1350" y="7"/>
                  </a:lnTo>
                  <a:lnTo>
                    <a:pt x="1352" y="7"/>
                  </a:lnTo>
                  <a:lnTo>
                    <a:pt x="1355" y="4"/>
                  </a:lnTo>
                  <a:lnTo>
                    <a:pt x="1357" y="4"/>
                  </a:lnTo>
                  <a:lnTo>
                    <a:pt x="1359" y="4"/>
                  </a:lnTo>
                  <a:lnTo>
                    <a:pt x="1359" y="2"/>
                  </a:lnTo>
                  <a:lnTo>
                    <a:pt x="1362" y="2"/>
                  </a:lnTo>
                  <a:lnTo>
                    <a:pt x="1364" y="2"/>
                  </a:lnTo>
                  <a:lnTo>
                    <a:pt x="1367" y="2"/>
                  </a:lnTo>
                  <a:lnTo>
                    <a:pt x="1371" y="2"/>
                  </a:lnTo>
                  <a:lnTo>
                    <a:pt x="1374" y="0"/>
                  </a:lnTo>
                  <a:lnTo>
                    <a:pt x="1376" y="0"/>
                  </a:lnTo>
                  <a:lnTo>
                    <a:pt x="1378" y="0"/>
                  </a:lnTo>
                  <a:lnTo>
                    <a:pt x="1381" y="0"/>
                  </a:lnTo>
                  <a:lnTo>
                    <a:pt x="1383" y="0"/>
                  </a:lnTo>
                  <a:lnTo>
                    <a:pt x="1386" y="0"/>
                  </a:lnTo>
                  <a:lnTo>
                    <a:pt x="1388" y="0"/>
                  </a:lnTo>
                  <a:lnTo>
                    <a:pt x="1390" y="0"/>
                  </a:lnTo>
                  <a:lnTo>
                    <a:pt x="1393" y="0"/>
                  </a:lnTo>
                  <a:lnTo>
                    <a:pt x="1395" y="2"/>
                  </a:lnTo>
                  <a:lnTo>
                    <a:pt x="1397" y="2"/>
                  </a:lnTo>
                  <a:lnTo>
                    <a:pt x="1397" y="4"/>
                  </a:lnTo>
                  <a:lnTo>
                    <a:pt x="1402" y="4"/>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6" name="Freeform 52524"/>
            <p:cNvSpPr>
              <a:spLocks noEditPoints="1"/>
            </p:cNvSpPr>
            <p:nvPr/>
          </p:nvSpPr>
          <p:spPr bwMode="auto">
            <a:xfrm>
              <a:off x="2266948" y="1989145"/>
              <a:ext cx="1385887" cy="2074869"/>
            </a:xfrm>
            <a:custGeom>
              <a:avLst/>
              <a:gdLst>
                <a:gd name="T0" fmla="*/ 28 w 873"/>
                <a:gd name="T1" fmla="*/ 1081 h 1307"/>
                <a:gd name="T2" fmla="*/ 220 w 873"/>
                <a:gd name="T3" fmla="*/ 932 h 1307"/>
                <a:gd name="T4" fmla="*/ 261 w 873"/>
                <a:gd name="T5" fmla="*/ 872 h 1307"/>
                <a:gd name="T6" fmla="*/ 356 w 873"/>
                <a:gd name="T7" fmla="*/ 723 h 1307"/>
                <a:gd name="T8" fmla="*/ 377 w 873"/>
                <a:gd name="T9" fmla="*/ 732 h 1307"/>
                <a:gd name="T10" fmla="*/ 353 w 873"/>
                <a:gd name="T11" fmla="*/ 704 h 1307"/>
                <a:gd name="T12" fmla="*/ 434 w 873"/>
                <a:gd name="T13" fmla="*/ 689 h 1307"/>
                <a:gd name="T14" fmla="*/ 436 w 873"/>
                <a:gd name="T15" fmla="*/ 668 h 1307"/>
                <a:gd name="T16" fmla="*/ 598 w 873"/>
                <a:gd name="T17" fmla="*/ 618 h 1307"/>
                <a:gd name="T18" fmla="*/ 619 w 873"/>
                <a:gd name="T19" fmla="*/ 592 h 1307"/>
                <a:gd name="T20" fmla="*/ 809 w 873"/>
                <a:gd name="T21" fmla="*/ 639 h 1307"/>
                <a:gd name="T22" fmla="*/ 745 w 873"/>
                <a:gd name="T23" fmla="*/ 644 h 1307"/>
                <a:gd name="T24" fmla="*/ 384 w 873"/>
                <a:gd name="T25" fmla="*/ 815 h 1307"/>
                <a:gd name="T26" fmla="*/ 225 w 873"/>
                <a:gd name="T27" fmla="*/ 1250 h 1307"/>
                <a:gd name="T28" fmla="*/ 192 w 873"/>
                <a:gd name="T29" fmla="*/ 1219 h 1307"/>
                <a:gd name="T30" fmla="*/ 161 w 873"/>
                <a:gd name="T31" fmla="*/ 1257 h 1307"/>
                <a:gd name="T32" fmla="*/ 92 w 873"/>
                <a:gd name="T33" fmla="*/ 1305 h 1307"/>
                <a:gd name="T34" fmla="*/ 42 w 873"/>
                <a:gd name="T35" fmla="*/ 1257 h 1307"/>
                <a:gd name="T36" fmla="*/ 42 w 873"/>
                <a:gd name="T37" fmla="*/ 1224 h 1307"/>
                <a:gd name="T38" fmla="*/ 50 w 873"/>
                <a:gd name="T39" fmla="*/ 1198 h 1307"/>
                <a:gd name="T40" fmla="*/ 33 w 873"/>
                <a:gd name="T41" fmla="*/ 1191 h 1307"/>
                <a:gd name="T42" fmla="*/ 23 w 873"/>
                <a:gd name="T43" fmla="*/ 1167 h 1307"/>
                <a:gd name="T44" fmla="*/ 61 w 873"/>
                <a:gd name="T45" fmla="*/ 1143 h 1307"/>
                <a:gd name="T46" fmla="*/ 40 w 873"/>
                <a:gd name="T47" fmla="*/ 1138 h 1307"/>
                <a:gd name="T48" fmla="*/ 16 w 873"/>
                <a:gd name="T49" fmla="*/ 1115 h 1307"/>
                <a:gd name="T50" fmla="*/ 26 w 873"/>
                <a:gd name="T51" fmla="*/ 1091 h 1307"/>
                <a:gd name="T52" fmla="*/ 80 w 873"/>
                <a:gd name="T53" fmla="*/ 1086 h 1307"/>
                <a:gd name="T54" fmla="*/ 97 w 873"/>
                <a:gd name="T55" fmla="*/ 1060 h 1307"/>
                <a:gd name="T56" fmla="*/ 114 w 873"/>
                <a:gd name="T57" fmla="*/ 1039 h 1307"/>
                <a:gd name="T58" fmla="*/ 154 w 873"/>
                <a:gd name="T59" fmla="*/ 1017 h 1307"/>
                <a:gd name="T60" fmla="*/ 225 w 873"/>
                <a:gd name="T61" fmla="*/ 991 h 1307"/>
                <a:gd name="T62" fmla="*/ 168 w 873"/>
                <a:gd name="T63" fmla="*/ 991 h 1307"/>
                <a:gd name="T64" fmla="*/ 213 w 873"/>
                <a:gd name="T65" fmla="*/ 951 h 1307"/>
                <a:gd name="T66" fmla="*/ 258 w 873"/>
                <a:gd name="T67" fmla="*/ 934 h 1307"/>
                <a:gd name="T68" fmla="*/ 256 w 873"/>
                <a:gd name="T69" fmla="*/ 920 h 1307"/>
                <a:gd name="T70" fmla="*/ 265 w 873"/>
                <a:gd name="T71" fmla="*/ 889 h 1307"/>
                <a:gd name="T72" fmla="*/ 289 w 873"/>
                <a:gd name="T73" fmla="*/ 853 h 1307"/>
                <a:gd name="T74" fmla="*/ 301 w 873"/>
                <a:gd name="T75" fmla="*/ 825 h 1307"/>
                <a:gd name="T76" fmla="*/ 348 w 873"/>
                <a:gd name="T77" fmla="*/ 799 h 1307"/>
                <a:gd name="T78" fmla="*/ 356 w 873"/>
                <a:gd name="T79" fmla="*/ 780 h 1307"/>
                <a:gd name="T80" fmla="*/ 358 w 873"/>
                <a:gd name="T81" fmla="*/ 756 h 1307"/>
                <a:gd name="T82" fmla="*/ 391 w 873"/>
                <a:gd name="T83" fmla="*/ 749 h 1307"/>
                <a:gd name="T84" fmla="*/ 398 w 873"/>
                <a:gd name="T85" fmla="*/ 725 h 1307"/>
                <a:gd name="T86" fmla="*/ 462 w 873"/>
                <a:gd name="T87" fmla="*/ 680 h 1307"/>
                <a:gd name="T88" fmla="*/ 500 w 873"/>
                <a:gd name="T89" fmla="*/ 658 h 1307"/>
                <a:gd name="T90" fmla="*/ 569 w 873"/>
                <a:gd name="T91" fmla="*/ 649 h 1307"/>
                <a:gd name="T92" fmla="*/ 602 w 873"/>
                <a:gd name="T93" fmla="*/ 632 h 1307"/>
                <a:gd name="T94" fmla="*/ 662 w 873"/>
                <a:gd name="T95" fmla="*/ 597 h 1307"/>
                <a:gd name="T96" fmla="*/ 681 w 873"/>
                <a:gd name="T97" fmla="*/ 616 h 1307"/>
                <a:gd name="T98" fmla="*/ 733 w 873"/>
                <a:gd name="T99" fmla="*/ 611 h 1307"/>
                <a:gd name="T100" fmla="*/ 785 w 873"/>
                <a:gd name="T101" fmla="*/ 590 h 1307"/>
                <a:gd name="T102" fmla="*/ 814 w 873"/>
                <a:gd name="T103" fmla="*/ 594 h 1307"/>
                <a:gd name="T104" fmla="*/ 405 w 873"/>
                <a:gd name="T105" fmla="*/ 145 h 1307"/>
                <a:gd name="T106" fmla="*/ 365 w 873"/>
                <a:gd name="T107" fmla="*/ 117 h 1307"/>
                <a:gd name="T108" fmla="*/ 329 w 873"/>
                <a:gd name="T109" fmla="*/ 95 h 1307"/>
                <a:gd name="T110" fmla="*/ 254 w 873"/>
                <a:gd name="T111" fmla="*/ 100 h 1307"/>
                <a:gd name="T112" fmla="*/ 206 w 873"/>
                <a:gd name="T113" fmla="*/ 48 h 1307"/>
                <a:gd name="T114" fmla="*/ 273 w 873"/>
                <a:gd name="T115" fmla="*/ 19 h 1307"/>
                <a:gd name="T116" fmla="*/ 320 w 873"/>
                <a:gd name="T117" fmla="*/ 24 h 1307"/>
                <a:gd name="T118" fmla="*/ 408 w 873"/>
                <a:gd name="T119" fmla="*/ 12 h 1307"/>
                <a:gd name="T120" fmla="*/ 555 w 873"/>
                <a:gd name="T121" fmla="*/ 86 h 1307"/>
                <a:gd name="T122" fmla="*/ 429 w 873"/>
                <a:gd name="T123" fmla="*/ 176 h 1307"/>
                <a:gd name="T124" fmla="*/ 375 w 873"/>
                <a:gd name="T125" fmla="*/ 202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3" h="1307">
                  <a:moveTo>
                    <a:pt x="16" y="1191"/>
                  </a:moveTo>
                  <a:lnTo>
                    <a:pt x="16" y="1193"/>
                  </a:lnTo>
                  <a:lnTo>
                    <a:pt x="16" y="1191"/>
                  </a:lnTo>
                  <a:lnTo>
                    <a:pt x="16" y="1193"/>
                  </a:lnTo>
                  <a:lnTo>
                    <a:pt x="14" y="1191"/>
                  </a:lnTo>
                  <a:lnTo>
                    <a:pt x="14" y="1193"/>
                  </a:lnTo>
                  <a:lnTo>
                    <a:pt x="14" y="1191"/>
                  </a:lnTo>
                  <a:lnTo>
                    <a:pt x="16" y="1191"/>
                  </a:lnTo>
                  <a:lnTo>
                    <a:pt x="14" y="1191"/>
                  </a:lnTo>
                  <a:lnTo>
                    <a:pt x="16" y="1191"/>
                  </a:lnTo>
                  <a:lnTo>
                    <a:pt x="14" y="1191"/>
                  </a:lnTo>
                  <a:lnTo>
                    <a:pt x="16" y="1191"/>
                  </a:lnTo>
                  <a:lnTo>
                    <a:pt x="14" y="1191"/>
                  </a:lnTo>
                  <a:lnTo>
                    <a:pt x="16" y="1191"/>
                  </a:lnTo>
                  <a:lnTo>
                    <a:pt x="16" y="1188"/>
                  </a:lnTo>
                  <a:lnTo>
                    <a:pt x="16" y="1191"/>
                  </a:lnTo>
                  <a:lnTo>
                    <a:pt x="16" y="1188"/>
                  </a:lnTo>
                  <a:lnTo>
                    <a:pt x="16" y="1191"/>
                  </a:lnTo>
                  <a:lnTo>
                    <a:pt x="16" y="1188"/>
                  </a:lnTo>
                  <a:lnTo>
                    <a:pt x="16" y="1191"/>
                  </a:lnTo>
                  <a:lnTo>
                    <a:pt x="14" y="1191"/>
                  </a:lnTo>
                  <a:lnTo>
                    <a:pt x="16" y="1191"/>
                  </a:lnTo>
                  <a:lnTo>
                    <a:pt x="14" y="1191"/>
                  </a:lnTo>
                  <a:lnTo>
                    <a:pt x="14" y="1188"/>
                  </a:lnTo>
                  <a:lnTo>
                    <a:pt x="14" y="1191"/>
                  </a:lnTo>
                  <a:lnTo>
                    <a:pt x="14" y="1188"/>
                  </a:lnTo>
                  <a:lnTo>
                    <a:pt x="14" y="1186"/>
                  </a:lnTo>
                  <a:lnTo>
                    <a:pt x="14" y="1188"/>
                  </a:lnTo>
                  <a:lnTo>
                    <a:pt x="12" y="1188"/>
                  </a:lnTo>
                  <a:lnTo>
                    <a:pt x="14" y="1188"/>
                  </a:lnTo>
                  <a:lnTo>
                    <a:pt x="12" y="1188"/>
                  </a:lnTo>
                  <a:lnTo>
                    <a:pt x="12" y="1186"/>
                  </a:lnTo>
                  <a:lnTo>
                    <a:pt x="12" y="1183"/>
                  </a:lnTo>
                  <a:lnTo>
                    <a:pt x="12" y="1186"/>
                  </a:lnTo>
                  <a:lnTo>
                    <a:pt x="12" y="1183"/>
                  </a:lnTo>
                  <a:lnTo>
                    <a:pt x="14" y="1183"/>
                  </a:lnTo>
                  <a:lnTo>
                    <a:pt x="14" y="1186"/>
                  </a:lnTo>
                  <a:lnTo>
                    <a:pt x="14" y="1183"/>
                  </a:lnTo>
                  <a:lnTo>
                    <a:pt x="14" y="1186"/>
                  </a:lnTo>
                  <a:lnTo>
                    <a:pt x="14" y="1183"/>
                  </a:lnTo>
                  <a:lnTo>
                    <a:pt x="14" y="1186"/>
                  </a:lnTo>
                  <a:lnTo>
                    <a:pt x="14" y="1183"/>
                  </a:lnTo>
                  <a:lnTo>
                    <a:pt x="14" y="1186"/>
                  </a:lnTo>
                  <a:lnTo>
                    <a:pt x="14" y="1183"/>
                  </a:lnTo>
                  <a:lnTo>
                    <a:pt x="14" y="1186"/>
                  </a:lnTo>
                  <a:lnTo>
                    <a:pt x="16" y="1186"/>
                  </a:lnTo>
                  <a:lnTo>
                    <a:pt x="14" y="1186"/>
                  </a:lnTo>
                  <a:lnTo>
                    <a:pt x="14" y="1183"/>
                  </a:lnTo>
                  <a:lnTo>
                    <a:pt x="14" y="1181"/>
                  </a:lnTo>
                  <a:lnTo>
                    <a:pt x="12" y="1181"/>
                  </a:lnTo>
                  <a:lnTo>
                    <a:pt x="12" y="1179"/>
                  </a:lnTo>
                  <a:lnTo>
                    <a:pt x="14" y="1179"/>
                  </a:lnTo>
                  <a:lnTo>
                    <a:pt x="12" y="1179"/>
                  </a:lnTo>
                  <a:lnTo>
                    <a:pt x="14" y="1179"/>
                  </a:lnTo>
                  <a:lnTo>
                    <a:pt x="12" y="1179"/>
                  </a:lnTo>
                  <a:lnTo>
                    <a:pt x="12" y="1176"/>
                  </a:lnTo>
                  <a:lnTo>
                    <a:pt x="14" y="1176"/>
                  </a:lnTo>
                  <a:lnTo>
                    <a:pt x="14" y="1179"/>
                  </a:lnTo>
                  <a:lnTo>
                    <a:pt x="16" y="1179"/>
                  </a:lnTo>
                  <a:lnTo>
                    <a:pt x="16" y="1181"/>
                  </a:lnTo>
                  <a:lnTo>
                    <a:pt x="19" y="1181"/>
                  </a:lnTo>
                  <a:lnTo>
                    <a:pt x="16" y="1181"/>
                  </a:lnTo>
                  <a:lnTo>
                    <a:pt x="19" y="1181"/>
                  </a:lnTo>
                  <a:lnTo>
                    <a:pt x="16" y="1181"/>
                  </a:lnTo>
                  <a:lnTo>
                    <a:pt x="16" y="1179"/>
                  </a:lnTo>
                  <a:lnTo>
                    <a:pt x="19" y="1179"/>
                  </a:lnTo>
                  <a:lnTo>
                    <a:pt x="19" y="1181"/>
                  </a:lnTo>
                  <a:lnTo>
                    <a:pt x="19" y="1183"/>
                  </a:lnTo>
                  <a:lnTo>
                    <a:pt x="19" y="1181"/>
                  </a:lnTo>
                  <a:lnTo>
                    <a:pt x="16" y="1181"/>
                  </a:lnTo>
                  <a:lnTo>
                    <a:pt x="16" y="1183"/>
                  </a:lnTo>
                  <a:lnTo>
                    <a:pt x="19" y="1183"/>
                  </a:lnTo>
                  <a:lnTo>
                    <a:pt x="19" y="1186"/>
                  </a:lnTo>
                  <a:lnTo>
                    <a:pt x="16" y="1186"/>
                  </a:lnTo>
                  <a:lnTo>
                    <a:pt x="19" y="1186"/>
                  </a:lnTo>
                  <a:lnTo>
                    <a:pt x="19" y="1188"/>
                  </a:lnTo>
                  <a:lnTo>
                    <a:pt x="19" y="1191"/>
                  </a:lnTo>
                  <a:lnTo>
                    <a:pt x="16" y="1191"/>
                  </a:lnTo>
                  <a:lnTo>
                    <a:pt x="19" y="1191"/>
                  </a:lnTo>
                  <a:lnTo>
                    <a:pt x="16" y="1191"/>
                  </a:lnTo>
                  <a:close/>
                  <a:moveTo>
                    <a:pt x="7" y="1157"/>
                  </a:moveTo>
                  <a:lnTo>
                    <a:pt x="9" y="1157"/>
                  </a:lnTo>
                  <a:lnTo>
                    <a:pt x="7" y="1157"/>
                  </a:lnTo>
                  <a:lnTo>
                    <a:pt x="9" y="1157"/>
                  </a:lnTo>
                  <a:lnTo>
                    <a:pt x="7" y="1157"/>
                  </a:lnTo>
                  <a:close/>
                  <a:moveTo>
                    <a:pt x="7" y="1138"/>
                  </a:moveTo>
                  <a:lnTo>
                    <a:pt x="7" y="1141"/>
                  </a:lnTo>
                  <a:lnTo>
                    <a:pt x="7" y="1138"/>
                  </a:lnTo>
                  <a:close/>
                  <a:moveTo>
                    <a:pt x="7" y="1141"/>
                  </a:moveTo>
                  <a:lnTo>
                    <a:pt x="7" y="1138"/>
                  </a:lnTo>
                  <a:lnTo>
                    <a:pt x="9" y="1138"/>
                  </a:lnTo>
                  <a:lnTo>
                    <a:pt x="9" y="1136"/>
                  </a:lnTo>
                  <a:lnTo>
                    <a:pt x="9" y="1138"/>
                  </a:lnTo>
                  <a:lnTo>
                    <a:pt x="9" y="1141"/>
                  </a:lnTo>
                  <a:lnTo>
                    <a:pt x="12" y="1141"/>
                  </a:lnTo>
                  <a:lnTo>
                    <a:pt x="12" y="1138"/>
                  </a:lnTo>
                  <a:lnTo>
                    <a:pt x="9" y="1138"/>
                  </a:lnTo>
                  <a:lnTo>
                    <a:pt x="12" y="1138"/>
                  </a:lnTo>
                  <a:lnTo>
                    <a:pt x="9" y="1138"/>
                  </a:lnTo>
                  <a:lnTo>
                    <a:pt x="12" y="1138"/>
                  </a:lnTo>
                  <a:lnTo>
                    <a:pt x="9" y="1136"/>
                  </a:lnTo>
                  <a:lnTo>
                    <a:pt x="12" y="1136"/>
                  </a:lnTo>
                  <a:lnTo>
                    <a:pt x="12" y="1138"/>
                  </a:lnTo>
                  <a:lnTo>
                    <a:pt x="12" y="1141"/>
                  </a:lnTo>
                  <a:lnTo>
                    <a:pt x="12" y="1138"/>
                  </a:lnTo>
                  <a:lnTo>
                    <a:pt x="12" y="1136"/>
                  </a:lnTo>
                  <a:lnTo>
                    <a:pt x="12" y="1138"/>
                  </a:lnTo>
                  <a:lnTo>
                    <a:pt x="14" y="1138"/>
                  </a:lnTo>
                  <a:lnTo>
                    <a:pt x="12" y="1136"/>
                  </a:lnTo>
                  <a:lnTo>
                    <a:pt x="14" y="1136"/>
                  </a:lnTo>
                  <a:lnTo>
                    <a:pt x="14" y="1138"/>
                  </a:lnTo>
                  <a:lnTo>
                    <a:pt x="14" y="1141"/>
                  </a:lnTo>
                  <a:lnTo>
                    <a:pt x="14" y="1143"/>
                  </a:lnTo>
                  <a:lnTo>
                    <a:pt x="12" y="1143"/>
                  </a:lnTo>
                  <a:lnTo>
                    <a:pt x="12" y="1141"/>
                  </a:lnTo>
                  <a:lnTo>
                    <a:pt x="12" y="1143"/>
                  </a:lnTo>
                  <a:lnTo>
                    <a:pt x="12" y="1141"/>
                  </a:lnTo>
                  <a:lnTo>
                    <a:pt x="9" y="1141"/>
                  </a:lnTo>
                  <a:lnTo>
                    <a:pt x="12" y="1141"/>
                  </a:lnTo>
                  <a:lnTo>
                    <a:pt x="12" y="1143"/>
                  </a:lnTo>
                  <a:lnTo>
                    <a:pt x="9" y="1143"/>
                  </a:lnTo>
                  <a:lnTo>
                    <a:pt x="9" y="1145"/>
                  </a:lnTo>
                  <a:lnTo>
                    <a:pt x="7" y="1143"/>
                  </a:lnTo>
                  <a:lnTo>
                    <a:pt x="7" y="1145"/>
                  </a:lnTo>
                  <a:lnTo>
                    <a:pt x="7" y="1143"/>
                  </a:lnTo>
                  <a:lnTo>
                    <a:pt x="7" y="1145"/>
                  </a:lnTo>
                  <a:lnTo>
                    <a:pt x="7" y="1143"/>
                  </a:lnTo>
                  <a:lnTo>
                    <a:pt x="7" y="1145"/>
                  </a:lnTo>
                  <a:lnTo>
                    <a:pt x="7" y="1143"/>
                  </a:lnTo>
                  <a:lnTo>
                    <a:pt x="7" y="1145"/>
                  </a:lnTo>
                  <a:lnTo>
                    <a:pt x="7" y="1143"/>
                  </a:lnTo>
                  <a:lnTo>
                    <a:pt x="4" y="1145"/>
                  </a:lnTo>
                  <a:lnTo>
                    <a:pt x="4" y="1143"/>
                  </a:lnTo>
                  <a:lnTo>
                    <a:pt x="4" y="1141"/>
                  </a:lnTo>
                  <a:lnTo>
                    <a:pt x="7" y="1141"/>
                  </a:lnTo>
                  <a:lnTo>
                    <a:pt x="7" y="1143"/>
                  </a:lnTo>
                  <a:lnTo>
                    <a:pt x="7" y="1141"/>
                  </a:lnTo>
                  <a:lnTo>
                    <a:pt x="7" y="1143"/>
                  </a:lnTo>
                  <a:lnTo>
                    <a:pt x="9" y="1143"/>
                  </a:lnTo>
                  <a:lnTo>
                    <a:pt x="7" y="1143"/>
                  </a:lnTo>
                  <a:lnTo>
                    <a:pt x="9" y="1143"/>
                  </a:lnTo>
                  <a:lnTo>
                    <a:pt x="9" y="1141"/>
                  </a:lnTo>
                  <a:lnTo>
                    <a:pt x="7" y="1141"/>
                  </a:lnTo>
                  <a:lnTo>
                    <a:pt x="9" y="1141"/>
                  </a:lnTo>
                  <a:lnTo>
                    <a:pt x="7" y="1141"/>
                  </a:lnTo>
                  <a:lnTo>
                    <a:pt x="9" y="1141"/>
                  </a:lnTo>
                  <a:lnTo>
                    <a:pt x="7" y="1138"/>
                  </a:lnTo>
                  <a:lnTo>
                    <a:pt x="7" y="1141"/>
                  </a:lnTo>
                  <a:close/>
                  <a:moveTo>
                    <a:pt x="4" y="1136"/>
                  </a:moveTo>
                  <a:lnTo>
                    <a:pt x="7" y="1136"/>
                  </a:lnTo>
                  <a:lnTo>
                    <a:pt x="4" y="1136"/>
                  </a:lnTo>
                  <a:close/>
                  <a:moveTo>
                    <a:pt x="2" y="1131"/>
                  </a:moveTo>
                  <a:lnTo>
                    <a:pt x="0" y="1131"/>
                  </a:lnTo>
                  <a:lnTo>
                    <a:pt x="2" y="1131"/>
                  </a:lnTo>
                  <a:close/>
                  <a:moveTo>
                    <a:pt x="28" y="1079"/>
                  </a:moveTo>
                  <a:lnTo>
                    <a:pt x="31" y="1079"/>
                  </a:lnTo>
                  <a:lnTo>
                    <a:pt x="31" y="1081"/>
                  </a:lnTo>
                  <a:lnTo>
                    <a:pt x="28" y="1079"/>
                  </a:lnTo>
                  <a:lnTo>
                    <a:pt x="28" y="1081"/>
                  </a:lnTo>
                  <a:lnTo>
                    <a:pt x="28" y="1079"/>
                  </a:lnTo>
                  <a:lnTo>
                    <a:pt x="28" y="1081"/>
                  </a:lnTo>
                  <a:lnTo>
                    <a:pt x="28" y="1079"/>
                  </a:lnTo>
                  <a:lnTo>
                    <a:pt x="28" y="1081"/>
                  </a:lnTo>
                  <a:lnTo>
                    <a:pt x="28" y="1079"/>
                  </a:lnTo>
                  <a:lnTo>
                    <a:pt x="26" y="1079"/>
                  </a:lnTo>
                  <a:lnTo>
                    <a:pt x="28" y="1079"/>
                  </a:lnTo>
                  <a:lnTo>
                    <a:pt x="26" y="1079"/>
                  </a:lnTo>
                  <a:lnTo>
                    <a:pt x="28" y="1079"/>
                  </a:lnTo>
                  <a:lnTo>
                    <a:pt x="31" y="1079"/>
                  </a:lnTo>
                  <a:lnTo>
                    <a:pt x="28" y="1079"/>
                  </a:lnTo>
                  <a:close/>
                  <a:moveTo>
                    <a:pt x="109" y="1022"/>
                  </a:moveTo>
                  <a:lnTo>
                    <a:pt x="109" y="1024"/>
                  </a:lnTo>
                  <a:lnTo>
                    <a:pt x="109" y="1022"/>
                  </a:lnTo>
                  <a:lnTo>
                    <a:pt x="106" y="1024"/>
                  </a:lnTo>
                  <a:lnTo>
                    <a:pt x="106" y="1022"/>
                  </a:lnTo>
                  <a:lnTo>
                    <a:pt x="106" y="1024"/>
                  </a:lnTo>
                  <a:lnTo>
                    <a:pt x="106" y="1022"/>
                  </a:lnTo>
                  <a:lnTo>
                    <a:pt x="109" y="1022"/>
                  </a:lnTo>
                  <a:close/>
                  <a:moveTo>
                    <a:pt x="111" y="1012"/>
                  </a:moveTo>
                  <a:lnTo>
                    <a:pt x="114" y="1012"/>
                  </a:lnTo>
                  <a:lnTo>
                    <a:pt x="111" y="1012"/>
                  </a:lnTo>
                  <a:lnTo>
                    <a:pt x="114" y="1012"/>
                  </a:lnTo>
                  <a:lnTo>
                    <a:pt x="111" y="1012"/>
                  </a:lnTo>
                  <a:lnTo>
                    <a:pt x="114" y="1012"/>
                  </a:lnTo>
                  <a:lnTo>
                    <a:pt x="116" y="1012"/>
                  </a:lnTo>
                  <a:lnTo>
                    <a:pt x="118" y="1012"/>
                  </a:lnTo>
                  <a:lnTo>
                    <a:pt x="116" y="1012"/>
                  </a:lnTo>
                  <a:lnTo>
                    <a:pt x="118" y="1015"/>
                  </a:lnTo>
                  <a:lnTo>
                    <a:pt x="118" y="1017"/>
                  </a:lnTo>
                  <a:lnTo>
                    <a:pt x="121" y="1017"/>
                  </a:lnTo>
                  <a:lnTo>
                    <a:pt x="118" y="1017"/>
                  </a:lnTo>
                  <a:lnTo>
                    <a:pt x="121" y="1017"/>
                  </a:lnTo>
                  <a:lnTo>
                    <a:pt x="118" y="1017"/>
                  </a:lnTo>
                  <a:lnTo>
                    <a:pt x="121" y="1017"/>
                  </a:lnTo>
                  <a:lnTo>
                    <a:pt x="118" y="1017"/>
                  </a:lnTo>
                  <a:lnTo>
                    <a:pt x="118" y="1020"/>
                  </a:lnTo>
                  <a:lnTo>
                    <a:pt x="116" y="1020"/>
                  </a:lnTo>
                  <a:lnTo>
                    <a:pt x="116" y="1022"/>
                  </a:lnTo>
                  <a:lnTo>
                    <a:pt x="114" y="1020"/>
                  </a:lnTo>
                  <a:lnTo>
                    <a:pt x="114" y="1022"/>
                  </a:lnTo>
                  <a:lnTo>
                    <a:pt x="116" y="1022"/>
                  </a:lnTo>
                  <a:lnTo>
                    <a:pt x="114" y="1022"/>
                  </a:lnTo>
                  <a:lnTo>
                    <a:pt x="116" y="1022"/>
                  </a:lnTo>
                  <a:lnTo>
                    <a:pt x="114" y="1022"/>
                  </a:lnTo>
                  <a:lnTo>
                    <a:pt x="111" y="1022"/>
                  </a:lnTo>
                  <a:lnTo>
                    <a:pt x="114" y="1022"/>
                  </a:lnTo>
                  <a:lnTo>
                    <a:pt x="111" y="1022"/>
                  </a:lnTo>
                  <a:lnTo>
                    <a:pt x="114" y="1022"/>
                  </a:lnTo>
                  <a:lnTo>
                    <a:pt x="114" y="1020"/>
                  </a:lnTo>
                  <a:lnTo>
                    <a:pt x="114" y="1022"/>
                  </a:lnTo>
                  <a:lnTo>
                    <a:pt x="111" y="1022"/>
                  </a:lnTo>
                  <a:lnTo>
                    <a:pt x="111" y="1020"/>
                  </a:lnTo>
                  <a:lnTo>
                    <a:pt x="109" y="1020"/>
                  </a:lnTo>
                  <a:lnTo>
                    <a:pt x="111" y="1020"/>
                  </a:lnTo>
                  <a:lnTo>
                    <a:pt x="109" y="1020"/>
                  </a:lnTo>
                  <a:lnTo>
                    <a:pt x="106" y="1020"/>
                  </a:lnTo>
                  <a:lnTo>
                    <a:pt x="109" y="1020"/>
                  </a:lnTo>
                  <a:lnTo>
                    <a:pt x="106" y="1020"/>
                  </a:lnTo>
                  <a:lnTo>
                    <a:pt x="109" y="1020"/>
                  </a:lnTo>
                  <a:lnTo>
                    <a:pt x="109" y="1017"/>
                  </a:lnTo>
                  <a:lnTo>
                    <a:pt x="109" y="1020"/>
                  </a:lnTo>
                  <a:lnTo>
                    <a:pt x="106" y="1020"/>
                  </a:lnTo>
                  <a:lnTo>
                    <a:pt x="106" y="1017"/>
                  </a:lnTo>
                  <a:lnTo>
                    <a:pt x="104" y="1017"/>
                  </a:lnTo>
                  <a:lnTo>
                    <a:pt x="106" y="1017"/>
                  </a:lnTo>
                  <a:lnTo>
                    <a:pt x="104" y="1017"/>
                  </a:lnTo>
                  <a:lnTo>
                    <a:pt x="106" y="1017"/>
                  </a:lnTo>
                  <a:lnTo>
                    <a:pt x="106" y="1015"/>
                  </a:lnTo>
                  <a:lnTo>
                    <a:pt x="109" y="1015"/>
                  </a:lnTo>
                  <a:lnTo>
                    <a:pt x="106" y="1015"/>
                  </a:lnTo>
                  <a:lnTo>
                    <a:pt x="109" y="1015"/>
                  </a:lnTo>
                  <a:lnTo>
                    <a:pt x="111" y="1015"/>
                  </a:lnTo>
                  <a:lnTo>
                    <a:pt x="109" y="1015"/>
                  </a:lnTo>
                  <a:lnTo>
                    <a:pt x="111" y="1015"/>
                  </a:lnTo>
                  <a:lnTo>
                    <a:pt x="111" y="1012"/>
                  </a:lnTo>
                  <a:close/>
                  <a:moveTo>
                    <a:pt x="140" y="1003"/>
                  </a:moveTo>
                  <a:lnTo>
                    <a:pt x="142" y="1003"/>
                  </a:lnTo>
                  <a:lnTo>
                    <a:pt x="140" y="1003"/>
                  </a:lnTo>
                  <a:lnTo>
                    <a:pt x="142" y="1003"/>
                  </a:lnTo>
                  <a:lnTo>
                    <a:pt x="144" y="1003"/>
                  </a:lnTo>
                  <a:lnTo>
                    <a:pt x="147" y="1003"/>
                  </a:lnTo>
                  <a:lnTo>
                    <a:pt x="144" y="1003"/>
                  </a:lnTo>
                  <a:lnTo>
                    <a:pt x="147" y="1003"/>
                  </a:lnTo>
                  <a:lnTo>
                    <a:pt x="144" y="1003"/>
                  </a:lnTo>
                  <a:lnTo>
                    <a:pt x="144" y="1005"/>
                  </a:lnTo>
                  <a:lnTo>
                    <a:pt x="144" y="1008"/>
                  </a:lnTo>
                  <a:lnTo>
                    <a:pt x="144" y="1005"/>
                  </a:lnTo>
                  <a:lnTo>
                    <a:pt x="147" y="1005"/>
                  </a:lnTo>
                  <a:lnTo>
                    <a:pt x="147" y="1008"/>
                  </a:lnTo>
                  <a:lnTo>
                    <a:pt x="147" y="1005"/>
                  </a:lnTo>
                  <a:lnTo>
                    <a:pt x="149" y="1005"/>
                  </a:lnTo>
                  <a:lnTo>
                    <a:pt x="147" y="1005"/>
                  </a:lnTo>
                  <a:lnTo>
                    <a:pt x="149" y="1005"/>
                  </a:lnTo>
                  <a:lnTo>
                    <a:pt x="152" y="1008"/>
                  </a:lnTo>
                  <a:lnTo>
                    <a:pt x="149" y="1008"/>
                  </a:lnTo>
                  <a:lnTo>
                    <a:pt x="152" y="1008"/>
                  </a:lnTo>
                  <a:lnTo>
                    <a:pt x="152" y="1010"/>
                  </a:lnTo>
                  <a:lnTo>
                    <a:pt x="149" y="1010"/>
                  </a:lnTo>
                  <a:lnTo>
                    <a:pt x="147" y="1010"/>
                  </a:lnTo>
                  <a:lnTo>
                    <a:pt x="149" y="1010"/>
                  </a:lnTo>
                  <a:lnTo>
                    <a:pt x="147" y="1010"/>
                  </a:lnTo>
                  <a:lnTo>
                    <a:pt x="144" y="1010"/>
                  </a:lnTo>
                  <a:lnTo>
                    <a:pt x="144" y="1012"/>
                  </a:lnTo>
                  <a:lnTo>
                    <a:pt x="142" y="1012"/>
                  </a:lnTo>
                  <a:lnTo>
                    <a:pt x="140" y="1012"/>
                  </a:lnTo>
                  <a:lnTo>
                    <a:pt x="137" y="1012"/>
                  </a:lnTo>
                  <a:lnTo>
                    <a:pt x="135" y="1012"/>
                  </a:lnTo>
                  <a:lnTo>
                    <a:pt x="133" y="1012"/>
                  </a:lnTo>
                  <a:lnTo>
                    <a:pt x="133" y="1015"/>
                  </a:lnTo>
                  <a:lnTo>
                    <a:pt x="130" y="1015"/>
                  </a:lnTo>
                  <a:lnTo>
                    <a:pt x="128" y="1015"/>
                  </a:lnTo>
                  <a:lnTo>
                    <a:pt x="125" y="1015"/>
                  </a:lnTo>
                  <a:lnTo>
                    <a:pt x="123" y="1015"/>
                  </a:lnTo>
                  <a:lnTo>
                    <a:pt x="125" y="1015"/>
                  </a:lnTo>
                  <a:lnTo>
                    <a:pt x="123" y="1015"/>
                  </a:lnTo>
                  <a:lnTo>
                    <a:pt x="123" y="1012"/>
                  </a:lnTo>
                  <a:lnTo>
                    <a:pt x="125" y="1010"/>
                  </a:lnTo>
                  <a:lnTo>
                    <a:pt x="123" y="1010"/>
                  </a:lnTo>
                  <a:lnTo>
                    <a:pt x="123" y="1012"/>
                  </a:lnTo>
                  <a:lnTo>
                    <a:pt x="121" y="1012"/>
                  </a:lnTo>
                  <a:lnTo>
                    <a:pt x="123" y="1012"/>
                  </a:lnTo>
                  <a:lnTo>
                    <a:pt x="123" y="1010"/>
                  </a:lnTo>
                  <a:lnTo>
                    <a:pt x="125" y="1010"/>
                  </a:lnTo>
                  <a:lnTo>
                    <a:pt x="125" y="1008"/>
                  </a:lnTo>
                  <a:lnTo>
                    <a:pt x="128" y="1008"/>
                  </a:lnTo>
                  <a:lnTo>
                    <a:pt x="130" y="1008"/>
                  </a:lnTo>
                  <a:lnTo>
                    <a:pt x="133" y="1008"/>
                  </a:lnTo>
                  <a:lnTo>
                    <a:pt x="135" y="1008"/>
                  </a:lnTo>
                  <a:lnTo>
                    <a:pt x="137" y="1008"/>
                  </a:lnTo>
                  <a:lnTo>
                    <a:pt x="135" y="1008"/>
                  </a:lnTo>
                  <a:lnTo>
                    <a:pt x="133" y="1008"/>
                  </a:lnTo>
                  <a:lnTo>
                    <a:pt x="135" y="1008"/>
                  </a:lnTo>
                  <a:lnTo>
                    <a:pt x="133" y="1008"/>
                  </a:lnTo>
                  <a:lnTo>
                    <a:pt x="133" y="1005"/>
                  </a:lnTo>
                  <a:lnTo>
                    <a:pt x="133" y="1008"/>
                  </a:lnTo>
                  <a:lnTo>
                    <a:pt x="133" y="1005"/>
                  </a:lnTo>
                  <a:lnTo>
                    <a:pt x="130" y="1005"/>
                  </a:lnTo>
                  <a:lnTo>
                    <a:pt x="133" y="1005"/>
                  </a:lnTo>
                  <a:lnTo>
                    <a:pt x="135" y="1005"/>
                  </a:lnTo>
                  <a:lnTo>
                    <a:pt x="133" y="1005"/>
                  </a:lnTo>
                  <a:lnTo>
                    <a:pt x="135" y="1005"/>
                  </a:lnTo>
                  <a:lnTo>
                    <a:pt x="137" y="1003"/>
                  </a:lnTo>
                  <a:lnTo>
                    <a:pt x="135" y="1003"/>
                  </a:lnTo>
                  <a:lnTo>
                    <a:pt x="137" y="1003"/>
                  </a:lnTo>
                  <a:lnTo>
                    <a:pt x="140" y="1003"/>
                  </a:lnTo>
                  <a:lnTo>
                    <a:pt x="137" y="1003"/>
                  </a:lnTo>
                  <a:lnTo>
                    <a:pt x="140" y="1003"/>
                  </a:lnTo>
                  <a:close/>
                  <a:moveTo>
                    <a:pt x="128" y="991"/>
                  </a:moveTo>
                  <a:lnTo>
                    <a:pt x="128" y="993"/>
                  </a:lnTo>
                  <a:lnTo>
                    <a:pt x="128" y="991"/>
                  </a:lnTo>
                  <a:lnTo>
                    <a:pt x="128" y="993"/>
                  </a:lnTo>
                  <a:lnTo>
                    <a:pt x="128" y="991"/>
                  </a:lnTo>
                  <a:close/>
                  <a:moveTo>
                    <a:pt x="199" y="936"/>
                  </a:moveTo>
                  <a:lnTo>
                    <a:pt x="199" y="934"/>
                  </a:lnTo>
                  <a:lnTo>
                    <a:pt x="199" y="936"/>
                  </a:lnTo>
                  <a:lnTo>
                    <a:pt x="199" y="934"/>
                  </a:lnTo>
                  <a:lnTo>
                    <a:pt x="201" y="934"/>
                  </a:lnTo>
                  <a:lnTo>
                    <a:pt x="199" y="936"/>
                  </a:lnTo>
                  <a:close/>
                  <a:moveTo>
                    <a:pt x="216" y="929"/>
                  </a:moveTo>
                  <a:lnTo>
                    <a:pt x="218" y="929"/>
                  </a:lnTo>
                  <a:lnTo>
                    <a:pt x="218" y="932"/>
                  </a:lnTo>
                  <a:lnTo>
                    <a:pt x="220" y="932"/>
                  </a:lnTo>
                  <a:lnTo>
                    <a:pt x="218" y="932"/>
                  </a:lnTo>
                  <a:lnTo>
                    <a:pt x="220" y="932"/>
                  </a:lnTo>
                  <a:lnTo>
                    <a:pt x="218" y="932"/>
                  </a:lnTo>
                  <a:lnTo>
                    <a:pt x="220" y="932"/>
                  </a:lnTo>
                  <a:lnTo>
                    <a:pt x="218" y="932"/>
                  </a:lnTo>
                  <a:lnTo>
                    <a:pt x="220" y="932"/>
                  </a:lnTo>
                  <a:lnTo>
                    <a:pt x="218" y="932"/>
                  </a:lnTo>
                  <a:lnTo>
                    <a:pt x="220" y="932"/>
                  </a:lnTo>
                  <a:lnTo>
                    <a:pt x="220" y="934"/>
                  </a:lnTo>
                  <a:lnTo>
                    <a:pt x="223" y="932"/>
                  </a:lnTo>
                  <a:lnTo>
                    <a:pt x="223" y="934"/>
                  </a:lnTo>
                  <a:lnTo>
                    <a:pt x="220" y="934"/>
                  </a:lnTo>
                  <a:lnTo>
                    <a:pt x="220" y="936"/>
                  </a:lnTo>
                  <a:lnTo>
                    <a:pt x="218" y="936"/>
                  </a:lnTo>
                  <a:lnTo>
                    <a:pt x="216" y="936"/>
                  </a:lnTo>
                  <a:lnTo>
                    <a:pt x="213" y="936"/>
                  </a:lnTo>
                  <a:lnTo>
                    <a:pt x="216" y="936"/>
                  </a:lnTo>
                  <a:lnTo>
                    <a:pt x="213" y="936"/>
                  </a:lnTo>
                  <a:lnTo>
                    <a:pt x="213" y="939"/>
                  </a:lnTo>
                  <a:lnTo>
                    <a:pt x="213" y="936"/>
                  </a:lnTo>
                  <a:lnTo>
                    <a:pt x="213" y="939"/>
                  </a:lnTo>
                  <a:lnTo>
                    <a:pt x="213" y="936"/>
                  </a:lnTo>
                  <a:lnTo>
                    <a:pt x="216" y="936"/>
                  </a:lnTo>
                  <a:lnTo>
                    <a:pt x="213" y="936"/>
                  </a:lnTo>
                  <a:lnTo>
                    <a:pt x="213" y="934"/>
                  </a:lnTo>
                  <a:lnTo>
                    <a:pt x="213" y="936"/>
                  </a:lnTo>
                  <a:lnTo>
                    <a:pt x="213" y="934"/>
                  </a:lnTo>
                  <a:lnTo>
                    <a:pt x="216" y="934"/>
                  </a:lnTo>
                  <a:lnTo>
                    <a:pt x="216" y="932"/>
                  </a:lnTo>
                  <a:lnTo>
                    <a:pt x="216" y="934"/>
                  </a:lnTo>
                  <a:lnTo>
                    <a:pt x="213" y="934"/>
                  </a:lnTo>
                  <a:lnTo>
                    <a:pt x="211" y="934"/>
                  </a:lnTo>
                  <a:lnTo>
                    <a:pt x="211" y="936"/>
                  </a:lnTo>
                  <a:lnTo>
                    <a:pt x="208" y="936"/>
                  </a:lnTo>
                  <a:lnTo>
                    <a:pt x="208" y="934"/>
                  </a:lnTo>
                  <a:lnTo>
                    <a:pt x="211" y="934"/>
                  </a:lnTo>
                  <a:lnTo>
                    <a:pt x="208" y="934"/>
                  </a:lnTo>
                  <a:lnTo>
                    <a:pt x="208" y="936"/>
                  </a:lnTo>
                  <a:lnTo>
                    <a:pt x="206" y="936"/>
                  </a:lnTo>
                  <a:lnTo>
                    <a:pt x="208" y="934"/>
                  </a:lnTo>
                  <a:lnTo>
                    <a:pt x="211" y="934"/>
                  </a:lnTo>
                  <a:lnTo>
                    <a:pt x="211" y="932"/>
                  </a:lnTo>
                  <a:lnTo>
                    <a:pt x="213" y="932"/>
                  </a:lnTo>
                  <a:lnTo>
                    <a:pt x="216" y="932"/>
                  </a:lnTo>
                  <a:lnTo>
                    <a:pt x="216" y="929"/>
                  </a:lnTo>
                  <a:lnTo>
                    <a:pt x="218" y="929"/>
                  </a:lnTo>
                  <a:lnTo>
                    <a:pt x="216" y="929"/>
                  </a:lnTo>
                  <a:close/>
                  <a:moveTo>
                    <a:pt x="208" y="927"/>
                  </a:moveTo>
                  <a:lnTo>
                    <a:pt x="208" y="929"/>
                  </a:lnTo>
                  <a:lnTo>
                    <a:pt x="211" y="929"/>
                  </a:lnTo>
                  <a:lnTo>
                    <a:pt x="208" y="929"/>
                  </a:lnTo>
                  <a:lnTo>
                    <a:pt x="211" y="929"/>
                  </a:lnTo>
                  <a:lnTo>
                    <a:pt x="208" y="929"/>
                  </a:lnTo>
                  <a:lnTo>
                    <a:pt x="206" y="929"/>
                  </a:lnTo>
                  <a:lnTo>
                    <a:pt x="208" y="929"/>
                  </a:lnTo>
                  <a:lnTo>
                    <a:pt x="206" y="929"/>
                  </a:lnTo>
                  <a:lnTo>
                    <a:pt x="206" y="932"/>
                  </a:lnTo>
                  <a:lnTo>
                    <a:pt x="206" y="929"/>
                  </a:lnTo>
                  <a:lnTo>
                    <a:pt x="204" y="929"/>
                  </a:lnTo>
                  <a:lnTo>
                    <a:pt x="206" y="929"/>
                  </a:lnTo>
                  <a:lnTo>
                    <a:pt x="204" y="929"/>
                  </a:lnTo>
                  <a:lnTo>
                    <a:pt x="206" y="929"/>
                  </a:lnTo>
                  <a:lnTo>
                    <a:pt x="204" y="929"/>
                  </a:lnTo>
                  <a:lnTo>
                    <a:pt x="206" y="929"/>
                  </a:lnTo>
                  <a:lnTo>
                    <a:pt x="204" y="929"/>
                  </a:lnTo>
                  <a:lnTo>
                    <a:pt x="206" y="929"/>
                  </a:lnTo>
                  <a:lnTo>
                    <a:pt x="208" y="927"/>
                  </a:lnTo>
                  <a:lnTo>
                    <a:pt x="206" y="927"/>
                  </a:lnTo>
                  <a:lnTo>
                    <a:pt x="208" y="927"/>
                  </a:lnTo>
                  <a:lnTo>
                    <a:pt x="208" y="929"/>
                  </a:lnTo>
                  <a:lnTo>
                    <a:pt x="208" y="927"/>
                  </a:lnTo>
                  <a:close/>
                  <a:moveTo>
                    <a:pt x="211" y="927"/>
                  </a:moveTo>
                  <a:lnTo>
                    <a:pt x="213" y="927"/>
                  </a:lnTo>
                  <a:lnTo>
                    <a:pt x="211" y="927"/>
                  </a:lnTo>
                  <a:lnTo>
                    <a:pt x="213" y="927"/>
                  </a:lnTo>
                  <a:lnTo>
                    <a:pt x="211" y="927"/>
                  </a:lnTo>
                  <a:close/>
                  <a:moveTo>
                    <a:pt x="242" y="889"/>
                  </a:moveTo>
                  <a:lnTo>
                    <a:pt x="242" y="887"/>
                  </a:lnTo>
                  <a:lnTo>
                    <a:pt x="242" y="889"/>
                  </a:lnTo>
                  <a:lnTo>
                    <a:pt x="242" y="887"/>
                  </a:lnTo>
                  <a:lnTo>
                    <a:pt x="242" y="889"/>
                  </a:lnTo>
                  <a:lnTo>
                    <a:pt x="244" y="889"/>
                  </a:lnTo>
                  <a:lnTo>
                    <a:pt x="244" y="887"/>
                  </a:lnTo>
                  <a:lnTo>
                    <a:pt x="242" y="887"/>
                  </a:lnTo>
                  <a:lnTo>
                    <a:pt x="242" y="889"/>
                  </a:lnTo>
                  <a:lnTo>
                    <a:pt x="242" y="887"/>
                  </a:lnTo>
                  <a:lnTo>
                    <a:pt x="244" y="887"/>
                  </a:lnTo>
                  <a:lnTo>
                    <a:pt x="244" y="889"/>
                  </a:lnTo>
                  <a:lnTo>
                    <a:pt x="246" y="889"/>
                  </a:lnTo>
                  <a:lnTo>
                    <a:pt x="244" y="889"/>
                  </a:lnTo>
                  <a:lnTo>
                    <a:pt x="246" y="889"/>
                  </a:lnTo>
                  <a:lnTo>
                    <a:pt x="244" y="889"/>
                  </a:lnTo>
                  <a:lnTo>
                    <a:pt x="246" y="889"/>
                  </a:lnTo>
                  <a:lnTo>
                    <a:pt x="246" y="891"/>
                  </a:lnTo>
                  <a:lnTo>
                    <a:pt x="246" y="889"/>
                  </a:lnTo>
                  <a:lnTo>
                    <a:pt x="246" y="891"/>
                  </a:lnTo>
                  <a:lnTo>
                    <a:pt x="244" y="891"/>
                  </a:lnTo>
                  <a:lnTo>
                    <a:pt x="244" y="894"/>
                  </a:lnTo>
                  <a:lnTo>
                    <a:pt x="242" y="894"/>
                  </a:lnTo>
                  <a:lnTo>
                    <a:pt x="239" y="894"/>
                  </a:lnTo>
                  <a:lnTo>
                    <a:pt x="242" y="894"/>
                  </a:lnTo>
                  <a:lnTo>
                    <a:pt x="239" y="894"/>
                  </a:lnTo>
                  <a:lnTo>
                    <a:pt x="242" y="894"/>
                  </a:lnTo>
                  <a:lnTo>
                    <a:pt x="239" y="894"/>
                  </a:lnTo>
                  <a:lnTo>
                    <a:pt x="237" y="894"/>
                  </a:lnTo>
                  <a:lnTo>
                    <a:pt x="237" y="891"/>
                  </a:lnTo>
                  <a:lnTo>
                    <a:pt x="239" y="889"/>
                  </a:lnTo>
                  <a:lnTo>
                    <a:pt x="242" y="887"/>
                  </a:lnTo>
                  <a:lnTo>
                    <a:pt x="242" y="889"/>
                  </a:lnTo>
                  <a:close/>
                  <a:moveTo>
                    <a:pt x="239" y="879"/>
                  </a:moveTo>
                  <a:lnTo>
                    <a:pt x="237" y="879"/>
                  </a:lnTo>
                  <a:lnTo>
                    <a:pt x="239" y="879"/>
                  </a:lnTo>
                  <a:lnTo>
                    <a:pt x="237" y="879"/>
                  </a:lnTo>
                  <a:lnTo>
                    <a:pt x="239" y="879"/>
                  </a:lnTo>
                  <a:close/>
                  <a:moveTo>
                    <a:pt x="239" y="879"/>
                  </a:moveTo>
                  <a:lnTo>
                    <a:pt x="239" y="877"/>
                  </a:lnTo>
                  <a:lnTo>
                    <a:pt x="239" y="879"/>
                  </a:lnTo>
                  <a:close/>
                  <a:moveTo>
                    <a:pt x="251" y="877"/>
                  </a:moveTo>
                  <a:lnTo>
                    <a:pt x="249" y="877"/>
                  </a:lnTo>
                  <a:lnTo>
                    <a:pt x="249" y="875"/>
                  </a:lnTo>
                  <a:lnTo>
                    <a:pt x="249" y="877"/>
                  </a:lnTo>
                  <a:lnTo>
                    <a:pt x="249" y="875"/>
                  </a:lnTo>
                  <a:lnTo>
                    <a:pt x="251" y="875"/>
                  </a:lnTo>
                  <a:lnTo>
                    <a:pt x="251" y="877"/>
                  </a:lnTo>
                  <a:close/>
                  <a:moveTo>
                    <a:pt x="251" y="875"/>
                  </a:moveTo>
                  <a:lnTo>
                    <a:pt x="251" y="877"/>
                  </a:lnTo>
                  <a:lnTo>
                    <a:pt x="251" y="875"/>
                  </a:lnTo>
                  <a:close/>
                  <a:moveTo>
                    <a:pt x="258" y="870"/>
                  </a:moveTo>
                  <a:lnTo>
                    <a:pt x="256" y="870"/>
                  </a:lnTo>
                  <a:lnTo>
                    <a:pt x="256" y="872"/>
                  </a:lnTo>
                  <a:lnTo>
                    <a:pt x="254" y="872"/>
                  </a:lnTo>
                  <a:lnTo>
                    <a:pt x="254" y="870"/>
                  </a:lnTo>
                  <a:lnTo>
                    <a:pt x="254" y="872"/>
                  </a:lnTo>
                  <a:lnTo>
                    <a:pt x="256" y="872"/>
                  </a:lnTo>
                  <a:lnTo>
                    <a:pt x="256" y="870"/>
                  </a:lnTo>
                  <a:lnTo>
                    <a:pt x="258" y="870"/>
                  </a:lnTo>
                  <a:close/>
                  <a:moveTo>
                    <a:pt x="265" y="872"/>
                  </a:moveTo>
                  <a:lnTo>
                    <a:pt x="268" y="872"/>
                  </a:lnTo>
                  <a:lnTo>
                    <a:pt x="268" y="870"/>
                  </a:lnTo>
                  <a:lnTo>
                    <a:pt x="270" y="870"/>
                  </a:lnTo>
                  <a:lnTo>
                    <a:pt x="273" y="870"/>
                  </a:lnTo>
                  <a:lnTo>
                    <a:pt x="275" y="870"/>
                  </a:lnTo>
                  <a:lnTo>
                    <a:pt x="275" y="872"/>
                  </a:lnTo>
                  <a:lnTo>
                    <a:pt x="273" y="872"/>
                  </a:lnTo>
                  <a:lnTo>
                    <a:pt x="270" y="872"/>
                  </a:lnTo>
                  <a:lnTo>
                    <a:pt x="268" y="872"/>
                  </a:lnTo>
                  <a:lnTo>
                    <a:pt x="268" y="875"/>
                  </a:lnTo>
                  <a:lnTo>
                    <a:pt x="265" y="875"/>
                  </a:lnTo>
                  <a:lnTo>
                    <a:pt x="265" y="877"/>
                  </a:lnTo>
                  <a:lnTo>
                    <a:pt x="263" y="877"/>
                  </a:lnTo>
                  <a:lnTo>
                    <a:pt x="261" y="877"/>
                  </a:lnTo>
                  <a:lnTo>
                    <a:pt x="261" y="879"/>
                  </a:lnTo>
                  <a:lnTo>
                    <a:pt x="258" y="879"/>
                  </a:lnTo>
                  <a:lnTo>
                    <a:pt x="261" y="879"/>
                  </a:lnTo>
                  <a:lnTo>
                    <a:pt x="261" y="877"/>
                  </a:lnTo>
                  <a:lnTo>
                    <a:pt x="263" y="877"/>
                  </a:lnTo>
                  <a:lnTo>
                    <a:pt x="261" y="877"/>
                  </a:lnTo>
                  <a:lnTo>
                    <a:pt x="258" y="877"/>
                  </a:lnTo>
                  <a:lnTo>
                    <a:pt x="261" y="877"/>
                  </a:lnTo>
                  <a:lnTo>
                    <a:pt x="258" y="877"/>
                  </a:lnTo>
                  <a:lnTo>
                    <a:pt x="258" y="875"/>
                  </a:lnTo>
                  <a:lnTo>
                    <a:pt x="258" y="877"/>
                  </a:lnTo>
                  <a:lnTo>
                    <a:pt x="258" y="875"/>
                  </a:lnTo>
                  <a:lnTo>
                    <a:pt x="261" y="875"/>
                  </a:lnTo>
                  <a:lnTo>
                    <a:pt x="258" y="875"/>
                  </a:lnTo>
                  <a:lnTo>
                    <a:pt x="261" y="875"/>
                  </a:lnTo>
                  <a:lnTo>
                    <a:pt x="261" y="872"/>
                  </a:lnTo>
                  <a:lnTo>
                    <a:pt x="263" y="872"/>
                  </a:lnTo>
                  <a:lnTo>
                    <a:pt x="263" y="870"/>
                  </a:lnTo>
                  <a:lnTo>
                    <a:pt x="265" y="870"/>
                  </a:lnTo>
                  <a:lnTo>
                    <a:pt x="268" y="870"/>
                  </a:lnTo>
                  <a:lnTo>
                    <a:pt x="265" y="870"/>
                  </a:lnTo>
                  <a:lnTo>
                    <a:pt x="265" y="872"/>
                  </a:lnTo>
                  <a:close/>
                  <a:moveTo>
                    <a:pt x="263" y="851"/>
                  </a:moveTo>
                  <a:lnTo>
                    <a:pt x="263" y="848"/>
                  </a:lnTo>
                  <a:lnTo>
                    <a:pt x="263" y="851"/>
                  </a:lnTo>
                  <a:close/>
                  <a:moveTo>
                    <a:pt x="258" y="848"/>
                  </a:moveTo>
                  <a:lnTo>
                    <a:pt x="258" y="851"/>
                  </a:lnTo>
                  <a:lnTo>
                    <a:pt x="256" y="851"/>
                  </a:lnTo>
                  <a:lnTo>
                    <a:pt x="258" y="851"/>
                  </a:lnTo>
                  <a:lnTo>
                    <a:pt x="256" y="851"/>
                  </a:lnTo>
                  <a:lnTo>
                    <a:pt x="256" y="848"/>
                  </a:lnTo>
                  <a:lnTo>
                    <a:pt x="258" y="848"/>
                  </a:lnTo>
                  <a:close/>
                  <a:moveTo>
                    <a:pt x="251" y="837"/>
                  </a:moveTo>
                  <a:lnTo>
                    <a:pt x="254" y="839"/>
                  </a:lnTo>
                  <a:lnTo>
                    <a:pt x="254" y="837"/>
                  </a:lnTo>
                  <a:lnTo>
                    <a:pt x="254" y="839"/>
                  </a:lnTo>
                  <a:lnTo>
                    <a:pt x="251" y="839"/>
                  </a:lnTo>
                  <a:lnTo>
                    <a:pt x="251" y="837"/>
                  </a:lnTo>
                  <a:close/>
                  <a:moveTo>
                    <a:pt x="270" y="837"/>
                  </a:moveTo>
                  <a:lnTo>
                    <a:pt x="270" y="839"/>
                  </a:lnTo>
                  <a:lnTo>
                    <a:pt x="270" y="837"/>
                  </a:lnTo>
                  <a:close/>
                  <a:moveTo>
                    <a:pt x="334" y="746"/>
                  </a:moveTo>
                  <a:lnTo>
                    <a:pt x="334" y="749"/>
                  </a:lnTo>
                  <a:lnTo>
                    <a:pt x="332" y="749"/>
                  </a:lnTo>
                  <a:lnTo>
                    <a:pt x="332" y="746"/>
                  </a:lnTo>
                  <a:lnTo>
                    <a:pt x="332" y="749"/>
                  </a:lnTo>
                  <a:lnTo>
                    <a:pt x="332" y="746"/>
                  </a:lnTo>
                  <a:lnTo>
                    <a:pt x="334" y="746"/>
                  </a:lnTo>
                  <a:close/>
                  <a:moveTo>
                    <a:pt x="315" y="737"/>
                  </a:moveTo>
                  <a:lnTo>
                    <a:pt x="318" y="737"/>
                  </a:lnTo>
                  <a:lnTo>
                    <a:pt x="320" y="739"/>
                  </a:lnTo>
                  <a:lnTo>
                    <a:pt x="320" y="742"/>
                  </a:lnTo>
                  <a:lnTo>
                    <a:pt x="318" y="742"/>
                  </a:lnTo>
                  <a:lnTo>
                    <a:pt x="315" y="742"/>
                  </a:lnTo>
                  <a:lnTo>
                    <a:pt x="315" y="739"/>
                  </a:lnTo>
                  <a:lnTo>
                    <a:pt x="315" y="742"/>
                  </a:lnTo>
                  <a:lnTo>
                    <a:pt x="315" y="744"/>
                  </a:lnTo>
                  <a:lnTo>
                    <a:pt x="313" y="744"/>
                  </a:lnTo>
                  <a:lnTo>
                    <a:pt x="315" y="744"/>
                  </a:lnTo>
                  <a:lnTo>
                    <a:pt x="313" y="744"/>
                  </a:lnTo>
                  <a:lnTo>
                    <a:pt x="313" y="746"/>
                  </a:lnTo>
                  <a:lnTo>
                    <a:pt x="313" y="744"/>
                  </a:lnTo>
                  <a:lnTo>
                    <a:pt x="313" y="746"/>
                  </a:lnTo>
                  <a:lnTo>
                    <a:pt x="313" y="744"/>
                  </a:lnTo>
                  <a:lnTo>
                    <a:pt x="313" y="746"/>
                  </a:lnTo>
                  <a:lnTo>
                    <a:pt x="311" y="746"/>
                  </a:lnTo>
                  <a:lnTo>
                    <a:pt x="311" y="744"/>
                  </a:lnTo>
                  <a:lnTo>
                    <a:pt x="311" y="746"/>
                  </a:lnTo>
                  <a:lnTo>
                    <a:pt x="308" y="746"/>
                  </a:lnTo>
                  <a:lnTo>
                    <a:pt x="306" y="746"/>
                  </a:lnTo>
                  <a:lnTo>
                    <a:pt x="303" y="746"/>
                  </a:lnTo>
                  <a:lnTo>
                    <a:pt x="303" y="749"/>
                  </a:lnTo>
                  <a:lnTo>
                    <a:pt x="303" y="746"/>
                  </a:lnTo>
                  <a:lnTo>
                    <a:pt x="306" y="746"/>
                  </a:lnTo>
                  <a:lnTo>
                    <a:pt x="303" y="749"/>
                  </a:lnTo>
                  <a:lnTo>
                    <a:pt x="306" y="749"/>
                  </a:lnTo>
                  <a:lnTo>
                    <a:pt x="306" y="751"/>
                  </a:lnTo>
                  <a:lnTo>
                    <a:pt x="306" y="749"/>
                  </a:lnTo>
                  <a:lnTo>
                    <a:pt x="303" y="749"/>
                  </a:lnTo>
                  <a:lnTo>
                    <a:pt x="303" y="751"/>
                  </a:lnTo>
                  <a:lnTo>
                    <a:pt x="303" y="749"/>
                  </a:lnTo>
                  <a:lnTo>
                    <a:pt x="303" y="751"/>
                  </a:lnTo>
                  <a:lnTo>
                    <a:pt x="303" y="749"/>
                  </a:lnTo>
                  <a:lnTo>
                    <a:pt x="303" y="751"/>
                  </a:lnTo>
                  <a:lnTo>
                    <a:pt x="303" y="749"/>
                  </a:lnTo>
                  <a:lnTo>
                    <a:pt x="301" y="749"/>
                  </a:lnTo>
                  <a:lnTo>
                    <a:pt x="303" y="749"/>
                  </a:lnTo>
                  <a:lnTo>
                    <a:pt x="301" y="749"/>
                  </a:lnTo>
                  <a:lnTo>
                    <a:pt x="301" y="751"/>
                  </a:lnTo>
                  <a:lnTo>
                    <a:pt x="299" y="751"/>
                  </a:lnTo>
                  <a:lnTo>
                    <a:pt x="299" y="749"/>
                  </a:lnTo>
                  <a:lnTo>
                    <a:pt x="296" y="749"/>
                  </a:lnTo>
                  <a:lnTo>
                    <a:pt x="296" y="751"/>
                  </a:lnTo>
                  <a:lnTo>
                    <a:pt x="296" y="753"/>
                  </a:lnTo>
                  <a:lnTo>
                    <a:pt x="296" y="751"/>
                  </a:lnTo>
                  <a:lnTo>
                    <a:pt x="294" y="753"/>
                  </a:lnTo>
                  <a:lnTo>
                    <a:pt x="296" y="753"/>
                  </a:lnTo>
                  <a:lnTo>
                    <a:pt x="294" y="753"/>
                  </a:lnTo>
                  <a:lnTo>
                    <a:pt x="294" y="751"/>
                  </a:lnTo>
                  <a:lnTo>
                    <a:pt x="294" y="749"/>
                  </a:lnTo>
                  <a:lnTo>
                    <a:pt x="296" y="749"/>
                  </a:lnTo>
                  <a:lnTo>
                    <a:pt x="294" y="749"/>
                  </a:lnTo>
                  <a:lnTo>
                    <a:pt x="296" y="749"/>
                  </a:lnTo>
                  <a:lnTo>
                    <a:pt x="296" y="746"/>
                  </a:lnTo>
                  <a:lnTo>
                    <a:pt x="299" y="746"/>
                  </a:lnTo>
                  <a:lnTo>
                    <a:pt x="296" y="746"/>
                  </a:lnTo>
                  <a:lnTo>
                    <a:pt x="299" y="746"/>
                  </a:lnTo>
                  <a:lnTo>
                    <a:pt x="296" y="746"/>
                  </a:lnTo>
                  <a:lnTo>
                    <a:pt x="296" y="749"/>
                  </a:lnTo>
                  <a:lnTo>
                    <a:pt x="294" y="749"/>
                  </a:lnTo>
                  <a:lnTo>
                    <a:pt x="294" y="746"/>
                  </a:lnTo>
                  <a:lnTo>
                    <a:pt x="296" y="746"/>
                  </a:lnTo>
                  <a:lnTo>
                    <a:pt x="294" y="746"/>
                  </a:lnTo>
                  <a:lnTo>
                    <a:pt x="294" y="744"/>
                  </a:lnTo>
                  <a:lnTo>
                    <a:pt x="294" y="746"/>
                  </a:lnTo>
                  <a:lnTo>
                    <a:pt x="294" y="744"/>
                  </a:lnTo>
                  <a:lnTo>
                    <a:pt x="296" y="744"/>
                  </a:lnTo>
                  <a:lnTo>
                    <a:pt x="299" y="744"/>
                  </a:lnTo>
                  <a:lnTo>
                    <a:pt x="299" y="742"/>
                  </a:lnTo>
                  <a:lnTo>
                    <a:pt x="299" y="744"/>
                  </a:lnTo>
                  <a:lnTo>
                    <a:pt x="299" y="742"/>
                  </a:lnTo>
                  <a:lnTo>
                    <a:pt x="296" y="742"/>
                  </a:lnTo>
                  <a:lnTo>
                    <a:pt x="294" y="742"/>
                  </a:lnTo>
                  <a:lnTo>
                    <a:pt x="296" y="742"/>
                  </a:lnTo>
                  <a:lnTo>
                    <a:pt x="296" y="739"/>
                  </a:lnTo>
                  <a:lnTo>
                    <a:pt x="299" y="739"/>
                  </a:lnTo>
                  <a:lnTo>
                    <a:pt x="301" y="739"/>
                  </a:lnTo>
                  <a:lnTo>
                    <a:pt x="303" y="739"/>
                  </a:lnTo>
                  <a:lnTo>
                    <a:pt x="306" y="739"/>
                  </a:lnTo>
                  <a:lnTo>
                    <a:pt x="306" y="737"/>
                  </a:lnTo>
                  <a:lnTo>
                    <a:pt x="308" y="737"/>
                  </a:lnTo>
                  <a:lnTo>
                    <a:pt x="311" y="737"/>
                  </a:lnTo>
                  <a:lnTo>
                    <a:pt x="311" y="739"/>
                  </a:lnTo>
                  <a:lnTo>
                    <a:pt x="311" y="742"/>
                  </a:lnTo>
                  <a:lnTo>
                    <a:pt x="313" y="742"/>
                  </a:lnTo>
                  <a:lnTo>
                    <a:pt x="313" y="739"/>
                  </a:lnTo>
                  <a:lnTo>
                    <a:pt x="315" y="739"/>
                  </a:lnTo>
                  <a:lnTo>
                    <a:pt x="313" y="739"/>
                  </a:lnTo>
                  <a:lnTo>
                    <a:pt x="313" y="737"/>
                  </a:lnTo>
                  <a:lnTo>
                    <a:pt x="313" y="739"/>
                  </a:lnTo>
                  <a:lnTo>
                    <a:pt x="313" y="737"/>
                  </a:lnTo>
                  <a:lnTo>
                    <a:pt x="315" y="737"/>
                  </a:lnTo>
                  <a:close/>
                  <a:moveTo>
                    <a:pt x="351" y="701"/>
                  </a:moveTo>
                  <a:lnTo>
                    <a:pt x="353" y="701"/>
                  </a:lnTo>
                  <a:lnTo>
                    <a:pt x="353" y="704"/>
                  </a:lnTo>
                  <a:lnTo>
                    <a:pt x="351" y="701"/>
                  </a:lnTo>
                  <a:close/>
                  <a:moveTo>
                    <a:pt x="348" y="739"/>
                  </a:moveTo>
                  <a:lnTo>
                    <a:pt x="346" y="739"/>
                  </a:lnTo>
                  <a:lnTo>
                    <a:pt x="344" y="739"/>
                  </a:lnTo>
                  <a:lnTo>
                    <a:pt x="346" y="739"/>
                  </a:lnTo>
                  <a:lnTo>
                    <a:pt x="346" y="742"/>
                  </a:lnTo>
                  <a:lnTo>
                    <a:pt x="344" y="742"/>
                  </a:lnTo>
                  <a:lnTo>
                    <a:pt x="344" y="739"/>
                  </a:lnTo>
                  <a:lnTo>
                    <a:pt x="344" y="737"/>
                  </a:lnTo>
                  <a:lnTo>
                    <a:pt x="346" y="737"/>
                  </a:lnTo>
                  <a:lnTo>
                    <a:pt x="346" y="734"/>
                  </a:lnTo>
                  <a:lnTo>
                    <a:pt x="348" y="734"/>
                  </a:lnTo>
                  <a:lnTo>
                    <a:pt x="346" y="734"/>
                  </a:lnTo>
                  <a:lnTo>
                    <a:pt x="346" y="732"/>
                  </a:lnTo>
                  <a:lnTo>
                    <a:pt x="348" y="732"/>
                  </a:lnTo>
                  <a:lnTo>
                    <a:pt x="351" y="732"/>
                  </a:lnTo>
                  <a:lnTo>
                    <a:pt x="351" y="730"/>
                  </a:lnTo>
                  <a:lnTo>
                    <a:pt x="353" y="730"/>
                  </a:lnTo>
                  <a:lnTo>
                    <a:pt x="356" y="730"/>
                  </a:lnTo>
                  <a:lnTo>
                    <a:pt x="358" y="730"/>
                  </a:lnTo>
                  <a:lnTo>
                    <a:pt x="356" y="730"/>
                  </a:lnTo>
                  <a:lnTo>
                    <a:pt x="353" y="730"/>
                  </a:lnTo>
                  <a:lnTo>
                    <a:pt x="351" y="730"/>
                  </a:lnTo>
                  <a:lnTo>
                    <a:pt x="351" y="727"/>
                  </a:lnTo>
                  <a:lnTo>
                    <a:pt x="353" y="727"/>
                  </a:lnTo>
                  <a:lnTo>
                    <a:pt x="356" y="727"/>
                  </a:lnTo>
                  <a:lnTo>
                    <a:pt x="353" y="727"/>
                  </a:lnTo>
                  <a:lnTo>
                    <a:pt x="353" y="725"/>
                  </a:lnTo>
                  <a:lnTo>
                    <a:pt x="351" y="725"/>
                  </a:lnTo>
                  <a:lnTo>
                    <a:pt x="348" y="725"/>
                  </a:lnTo>
                  <a:lnTo>
                    <a:pt x="351" y="725"/>
                  </a:lnTo>
                  <a:lnTo>
                    <a:pt x="351" y="723"/>
                  </a:lnTo>
                  <a:lnTo>
                    <a:pt x="353" y="723"/>
                  </a:lnTo>
                  <a:lnTo>
                    <a:pt x="356" y="723"/>
                  </a:lnTo>
                  <a:lnTo>
                    <a:pt x="353" y="723"/>
                  </a:lnTo>
                  <a:lnTo>
                    <a:pt x="356" y="723"/>
                  </a:lnTo>
                  <a:lnTo>
                    <a:pt x="356" y="720"/>
                  </a:lnTo>
                  <a:lnTo>
                    <a:pt x="358" y="720"/>
                  </a:lnTo>
                  <a:lnTo>
                    <a:pt x="358" y="723"/>
                  </a:lnTo>
                  <a:lnTo>
                    <a:pt x="358" y="720"/>
                  </a:lnTo>
                  <a:lnTo>
                    <a:pt x="358" y="723"/>
                  </a:lnTo>
                  <a:lnTo>
                    <a:pt x="360" y="723"/>
                  </a:lnTo>
                  <a:lnTo>
                    <a:pt x="358" y="720"/>
                  </a:lnTo>
                  <a:lnTo>
                    <a:pt x="360" y="720"/>
                  </a:lnTo>
                  <a:lnTo>
                    <a:pt x="363" y="720"/>
                  </a:lnTo>
                  <a:lnTo>
                    <a:pt x="365" y="720"/>
                  </a:lnTo>
                  <a:lnTo>
                    <a:pt x="363" y="720"/>
                  </a:lnTo>
                  <a:lnTo>
                    <a:pt x="360" y="720"/>
                  </a:lnTo>
                  <a:lnTo>
                    <a:pt x="360" y="718"/>
                  </a:lnTo>
                  <a:lnTo>
                    <a:pt x="358" y="718"/>
                  </a:lnTo>
                  <a:lnTo>
                    <a:pt x="360" y="718"/>
                  </a:lnTo>
                  <a:lnTo>
                    <a:pt x="358" y="718"/>
                  </a:lnTo>
                  <a:lnTo>
                    <a:pt x="360" y="718"/>
                  </a:lnTo>
                  <a:lnTo>
                    <a:pt x="358" y="718"/>
                  </a:lnTo>
                  <a:lnTo>
                    <a:pt x="360" y="718"/>
                  </a:lnTo>
                  <a:lnTo>
                    <a:pt x="358" y="718"/>
                  </a:lnTo>
                  <a:lnTo>
                    <a:pt x="358" y="715"/>
                  </a:lnTo>
                  <a:lnTo>
                    <a:pt x="358" y="713"/>
                  </a:lnTo>
                  <a:lnTo>
                    <a:pt x="358" y="715"/>
                  </a:lnTo>
                  <a:lnTo>
                    <a:pt x="358" y="713"/>
                  </a:lnTo>
                  <a:lnTo>
                    <a:pt x="358" y="715"/>
                  </a:lnTo>
                  <a:lnTo>
                    <a:pt x="360" y="715"/>
                  </a:lnTo>
                  <a:lnTo>
                    <a:pt x="363" y="715"/>
                  </a:lnTo>
                  <a:lnTo>
                    <a:pt x="363" y="713"/>
                  </a:lnTo>
                  <a:lnTo>
                    <a:pt x="365" y="713"/>
                  </a:lnTo>
                  <a:lnTo>
                    <a:pt x="365" y="715"/>
                  </a:lnTo>
                  <a:lnTo>
                    <a:pt x="367" y="715"/>
                  </a:lnTo>
                  <a:lnTo>
                    <a:pt x="365" y="715"/>
                  </a:lnTo>
                  <a:lnTo>
                    <a:pt x="365" y="713"/>
                  </a:lnTo>
                  <a:lnTo>
                    <a:pt x="363" y="713"/>
                  </a:lnTo>
                  <a:lnTo>
                    <a:pt x="360" y="713"/>
                  </a:lnTo>
                  <a:lnTo>
                    <a:pt x="360" y="715"/>
                  </a:lnTo>
                  <a:lnTo>
                    <a:pt x="360" y="713"/>
                  </a:lnTo>
                  <a:lnTo>
                    <a:pt x="358" y="713"/>
                  </a:lnTo>
                  <a:lnTo>
                    <a:pt x="358" y="711"/>
                  </a:lnTo>
                  <a:lnTo>
                    <a:pt x="360" y="711"/>
                  </a:lnTo>
                  <a:lnTo>
                    <a:pt x="358" y="711"/>
                  </a:lnTo>
                  <a:lnTo>
                    <a:pt x="358" y="708"/>
                  </a:lnTo>
                  <a:lnTo>
                    <a:pt x="360" y="708"/>
                  </a:lnTo>
                  <a:lnTo>
                    <a:pt x="360" y="711"/>
                  </a:lnTo>
                  <a:lnTo>
                    <a:pt x="363" y="711"/>
                  </a:lnTo>
                  <a:lnTo>
                    <a:pt x="360" y="711"/>
                  </a:lnTo>
                  <a:lnTo>
                    <a:pt x="360" y="708"/>
                  </a:lnTo>
                  <a:lnTo>
                    <a:pt x="363" y="708"/>
                  </a:lnTo>
                  <a:lnTo>
                    <a:pt x="365" y="708"/>
                  </a:lnTo>
                  <a:lnTo>
                    <a:pt x="363" y="708"/>
                  </a:lnTo>
                  <a:lnTo>
                    <a:pt x="363" y="706"/>
                  </a:lnTo>
                  <a:lnTo>
                    <a:pt x="365" y="706"/>
                  </a:lnTo>
                  <a:lnTo>
                    <a:pt x="363" y="706"/>
                  </a:lnTo>
                  <a:lnTo>
                    <a:pt x="363" y="704"/>
                  </a:lnTo>
                  <a:lnTo>
                    <a:pt x="365" y="704"/>
                  </a:lnTo>
                  <a:lnTo>
                    <a:pt x="365" y="701"/>
                  </a:lnTo>
                  <a:lnTo>
                    <a:pt x="367" y="701"/>
                  </a:lnTo>
                  <a:lnTo>
                    <a:pt x="367" y="699"/>
                  </a:lnTo>
                  <a:lnTo>
                    <a:pt x="367" y="701"/>
                  </a:lnTo>
                  <a:lnTo>
                    <a:pt x="367" y="699"/>
                  </a:lnTo>
                  <a:lnTo>
                    <a:pt x="367" y="701"/>
                  </a:lnTo>
                  <a:lnTo>
                    <a:pt x="370" y="701"/>
                  </a:lnTo>
                  <a:lnTo>
                    <a:pt x="372" y="701"/>
                  </a:lnTo>
                  <a:lnTo>
                    <a:pt x="375" y="701"/>
                  </a:lnTo>
                  <a:lnTo>
                    <a:pt x="375" y="704"/>
                  </a:lnTo>
                  <a:lnTo>
                    <a:pt x="375" y="706"/>
                  </a:lnTo>
                  <a:lnTo>
                    <a:pt x="375" y="708"/>
                  </a:lnTo>
                  <a:lnTo>
                    <a:pt x="372" y="708"/>
                  </a:lnTo>
                  <a:lnTo>
                    <a:pt x="372" y="711"/>
                  </a:lnTo>
                  <a:lnTo>
                    <a:pt x="372" y="713"/>
                  </a:lnTo>
                  <a:lnTo>
                    <a:pt x="370" y="713"/>
                  </a:lnTo>
                  <a:lnTo>
                    <a:pt x="372" y="713"/>
                  </a:lnTo>
                  <a:lnTo>
                    <a:pt x="372" y="711"/>
                  </a:lnTo>
                  <a:lnTo>
                    <a:pt x="375" y="711"/>
                  </a:lnTo>
                  <a:lnTo>
                    <a:pt x="377" y="711"/>
                  </a:lnTo>
                  <a:lnTo>
                    <a:pt x="377" y="713"/>
                  </a:lnTo>
                  <a:lnTo>
                    <a:pt x="377" y="715"/>
                  </a:lnTo>
                  <a:lnTo>
                    <a:pt x="375" y="715"/>
                  </a:lnTo>
                  <a:lnTo>
                    <a:pt x="375" y="718"/>
                  </a:lnTo>
                  <a:lnTo>
                    <a:pt x="372" y="718"/>
                  </a:lnTo>
                  <a:lnTo>
                    <a:pt x="370" y="720"/>
                  </a:lnTo>
                  <a:lnTo>
                    <a:pt x="370" y="723"/>
                  </a:lnTo>
                  <a:lnTo>
                    <a:pt x="370" y="725"/>
                  </a:lnTo>
                  <a:lnTo>
                    <a:pt x="367" y="725"/>
                  </a:lnTo>
                  <a:lnTo>
                    <a:pt x="370" y="725"/>
                  </a:lnTo>
                  <a:lnTo>
                    <a:pt x="370" y="723"/>
                  </a:lnTo>
                  <a:lnTo>
                    <a:pt x="370" y="720"/>
                  </a:lnTo>
                  <a:lnTo>
                    <a:pt x="372" y="720"/>
                  </a:lnTo>
                  <a:lnTo>
                    <a:pt x="375" y="720"/>
                  </a:lnTo>
                  <a:lnTo>
                    <a:pt x="372" y="720"/>
                  </a:lnTo>
                  <a:lnTo>
                    <a:pt x="375" y="720"/>
                  </a:lnTo>
                  <a:lnTo>
                    <a:pt x="375" y="718"/>
                  </a:lnTo>
                  <a:lnTo>
                    <a:pt x="377" y="718"/>
                  </a:lnTo>
                  <a:lnTo>
                    <a:pt x="379" y="718"/>
                  </a:lnTo>
                  <a:lnTo>
                    <a:pt x="379" y="720"/>
                  </a:lnTo>
                  <a:lnTo>
                    <a:pt x="379" y="718"/>
                  </a:lnTo>
                  <a:lnTo>
                    <a:pt x="377" y="718"/>
                  </a:lnTo>
                  <a:lnTo>
                    <a:pt x="377" y="715"/>
                  </a:lnTo>
                  <a:lnTo>
                    <a:pt x="379" y="715"/>
                  </a:lnTo>
                  <a:lnTo>
                    <a:pt x="377" y="715"/>
                  </a:lnTo>
                  <a:lnTo>
                    <a:pt x="379" y="715"/>
                  </a:lnTo>
                  <a:lnTo>
                    <a:pt x="379" y="713"/>
                  </a:lnTo>
                  <a:lnTo>
                    <a:pt x="382" y="713"/>
                  </a:lnTo>
                  <a:lnTo>
                    <a:pt x="384" y="713"/>
                  </a:lnTo>
                  <a:lnTo>
                    <a:pt x="386" y="713"/>
                  </a:lnTo>
                  <a:lnTo>
                    <a:pt x="384" y="713"/>
                  </a:lnTo>
                  <a:lnTo>
                    <a:pt x="382" y="713"/>
                  </a:lnTo>
                  <a:lnTo>
                    <a:pt x="382" y="711"/>
                  </a:lnTo>
                  <a:lnTo>
                    <a:pt x="379" y="711"/>
                  </a:lnTo>
                  <a:lnTo>
                    <a:pt x="379" y="708"/>
                  </a:lnTo>
                  <a:lnTo>
                    <a:pt x="382" y="708"/>
                  </a:lnTo>
                  <a:lnTo>
                    <a:pt x="382" y="706"/>
                  </a:lnTo>
                  <a:lnTo>
                    <a:pt x="384" y="706"/>
                  </a:lnTo>
                  <a:lnTo>
                    <a:pt x="386" y="706"/>
                  </a:lnTo>
                  <a:lnTo>
                    <a:pt x="386" y="708"/>
                  </a:lnTo>
                  <a:lnTo>
                    <a:pt x="389" y="708"/>
                  </a:lnTo>
                  <a:lnTo>
                    <a:pt x="386" y="708"/>
                  </a:lnTo>
                  <a:lnTo>
                    <a:pt x="386" y="706"/>
                  </a:lnTo>
                  <a:lnTo>
                    <a:pt x="384" y="706"/>
                  </a:lnTo>
                  <a:lnTo>
                    <a:pt x="384" y="704"/>
                  </a:lnTo>
                  <a:lnTo>
                    <a:pt x="386" y="704"/>
                  </a:lnTo>
                  <a:lnTo>
                    <a:pt x="386" y="706"/>
                  </a:lnTo>
                  <a:lnTo>
                    <a:pt x="389" y="706"/>
                  </a:lnTo>
                  <a:lnTo>
                    <a:pt x="391" y="706"/>
                  </a:lnTo>
                  <a:lnTo>
                    <a:pt x="394" y="706"/>
                  </a:lnTo>
                  <a:lnTo>
                    <a:pt x="394" y="708"/>
                  </a:lnTo>
                  <a:lnTo>
                    <a:pt x="396" y="708"/>
                  </a:lnTo>
                  <a:lnTo>
                    <a:pt x="394" y="708"/>
                  </a:lnTo>
                  <a:lnTo>
                    <a:pt x="394" y="711"/>
                  </a:lnTo>
                  <a:lnTo>
                    <a:pt x="396" y="711"/>
                  </a:lnTo>
                  <a:lnTo>
                    <a:pt x="394" y="711"/>
                  </a:lnTo>
                  <a:lnTo>
                    <a:pt x="396" y="711"/>
                  </a:lnTo>
                  <a:lnTo>
                    <a:pt x="396" y="713"/>
                  </a:lnTo>
                  <a:lnTo>
                    <a:pt x="396" y="715"/>
                  </a:lnTo>
                  <a:lnTo>
                    <a:pt x="394" y="715"/>
                  </a:lnTo>
                  <a:lnTo>
                    <a:pt x="396" y="715"/>
                  </a:lnTo>
                  <a:lnTo>
                    <a:pt x="396" y="713"/>
                  </a:lnTo>
                  <a:lnTo>
                    <a:pt x="396" y="715"/>
                  </a:lnTo>
                  <a:lnTo>
                    <a:pt x="394" y="718"/>
                  </a:lnTo>
                  <a:lnTo>
                    <a:pt x="396" y="718"/>
                  </a:lnTo>
                  <a:lnTo>
                    <a:pt x="394" y="718"/>
                  </a:lnTo>
                  <a:lnTo>
                    <a:pt x="396" y="718"/>
                  </a:lnTo>
                  <a:lnTo>
                    <a:pt x="396" y="720"/>
                  </a:lnTo>
                  <a:lnTo>
                    <a:pt x="394" y="720"/>
                  </a:lnTo>
                  <a:lnTo>
                    <a:pt x="394" y="723"/>
                  </a:lnTo>
                  <a:lnTo>
                    <a:pt x="394" y="720"/>
                  </a:lnTo>
                  <a:lnTo>
                    <a:pt x="394" y="723"/>
                  </a:lnTo>
                  <a:lnTo>
                    <a:pt x="394" y="725"/>
                  </a:lnTo>
                  <a:lnTo>
                    <a:pt x="391" y="725"/>
                  </a:lnTo>
                  <a:lnTo>
                    <a:pt x="389" y="723"/>
                  </a:lnTo>
                  <a:lnTo>
                    <a:pt x="389" y="725"/>
                  </a:lnTo>
                  <a:lnTo>
                    <a:pt x="386" y="725"/>
                  </a:lnTo>
                  <a:lnTo>
                    <a:pt x="384" y="725"/>
                  </a:lnTo>
                  <a:lnTo>
                    <a:pt x="382" y="725"/>
                  </a:lnTo>
                  <a:lnTo>
                    <a:pt x="379" y="725"/>
                  </a:lnTo>
                  <a:lnTo>
                    <a:pt x="379" y="727"/>
                  </a:lnTo>
                  <a:lnTo>
                    <a:pt x="382" y="727"/>
                  </a:lnTo>
                  <a:lnTo>
                    <a:pt x="379" y="727"/>
                  </a:lnTo>
                  <a:lnTo>
                    <a:pt x="379" y="730"/>
                  </a:lnTo>
                  <a:lnTo>
                    <a:pt x="377" y="730"/>
                  </a:lnTo>
                  <a:lnTo>
                    <a:pt x="377" y="732"/>
                  </a:lnTo>
                  <a:lnTo>
                    <a:pt x="375" y="732"/>
                  </a:lnTo>
                  <a:lnTo>
                    <a:pt x="377" y="734"/>
                  </a:lnTo>
                  <a:lnTo>
                    <a:pt x="375" y="734"/>
                  </a:lnTo>
                  <a:lnTo>
                    <a:pt x="372" y="734"/>
                  </a:lnTo>
                  <a:lnTo>
                    <a:pt x="372" y="732"/>
                  </a:lnTo>
                  <a:lnTo>
                    <a:pt x="372" y="730"/>
                  </a:lnTo>
                  <a:lnTo>
                    <a:pt x="372" y="727"/>
                  </a:lnTo>
                  <a:lnTo>
                    <a:pt x="372" y="730"/>
                  </a:lnTo>
                  <a:lnTo>
                    <a:pt x="372" y="732"/>
                  </a:lnTo>
                  <a:lnTo>
                    <a:pt x="370" y="734"/>
                  </a:lnTo>
                  <a:lnTo>
                    <a:pt x="370" y="732"/>
                  </a:lnTo>
                  <a:lnTo>
                    <a:pt x="370" y="734"/>
                  </a:lnTo>
                  <a:lnTo>
                    <a:pt x="370" y="732"/>
                  </a:lnTo>
                  <a:lnTo>
                    <a:pt x="367" y="732"/>
                  </a:lnTo>
                  <a:lnTo>
                    <a:pt x="367" y="734"/>
                  </a:lnTo>
                  <a:lnTo>
                    <a:pt x="370" y="734"/>
                  </a:lnTo>
                  <a:lnTo>
                    <a:pt x="367" y="734"/>
                  </a:lnTo>
                  <a:lnTo>
                    <a:pt x="365" y="734"/>
                  </a:lnTo>
                  <a:lnTo>
                    <a:pt x="367" y="734"/>
                  </a:lnTo>
                  <a:lnTo>
                    <a:pt x="365" y="734"/>
                  </a:lnTo>
                  <a:lnTo>
                    <a:pt x="367" y="734"/>
                  </a:lnTo>
                  <a:lnTo>
                    <a:pt x="370" y="734"/>
                  </a:lnTo>
                  <a:lnTo>
                    <a:pt x="367" y="734"/>
                  </a:lnTo>
                  <a:lnTo>
                    <a:pt x="367" y="737"/>
                  </a:lnTo>
                  <a:lnTo>
                    <a:pt x="365" y="737"/>
                  </a:lnTo>
                  <a:lnTo>
                    <a:pt x="367" y="737"/>
                  </a:lnTo>
                  <a:lnTo>
                    <a:pt x="365" y="737"/>
                  </a:lnTo>
                  <a:lnTo>
                    <a:pt x="365" y="739"/>
                  </a:lnTo>
                  <a:lnTo>
                    <a:pt x="363" y="739"/>
                  </a:lnTo>
                  <a:lnTo>
                    <a:pt x="363" y="737"/>
                  </a:lnTo>
                  <a:lnTo>
                    <a:pt x="360" y="737"/>
                  </a:lnTo>
                  <a:lnTo>
                    <a:pt x="358" y="737"/>
                  </a:lnTo>
                  <a:lnTo>
                    <a:pt x="360" y="737"/>
                  </a:lnTo>
                  <a:lnTo>
                    <a:pt x="358" y="737"/>
                  </a:lnTo>
                  <a:lnTo>
                    <a:pt x="356" y="737"/>
                  </a:lnTo>
                  <a:lnTo>
                    <a:pt x="358" y="737"/>
                  </a:lnTo>
                  <a:lnTo>
                    <a:pt x="356" y="737"/>
                  </a:lnTo>
                  <a:lnTo>
                    <a:pt x="353" y="737"/>
                  </a:lnTo>
                  <a:lnTo>
                    <a:pt x="356" y="734"/>
                  </a:lnTo>
                  <a:lnTo>
                    <a:pt x="356" y="737"/>
                  </a:lnTo>
                  <a:lnTo>
                    <a:pt x="356" y="734"/>
                  </a:lnTo>
                  <a:lnTo>
                    <a:pt x="356" y="737"/>
                  </a:lnTo>
                  <a:lnTo>
                    <a:pt x="356" y="734"/>
                  </a:lnTo>
                  <a:lnTo>
                    <a:pt x="358" y="734"/>
                  </a:lnTo>
                  <a:lnTo>
                    <a:pt x="358" y="732"/>
                  </a:lnTo>
                  <a:lnTo>
                    <a:pt x="360" y="732"/>
                  </a:lnTo>
                  <a:lnTo>
                    <a:pt x="360" y="730"/>
                  </a:lnTo>
                  <a:lnTo>
                    <a:pt x="363" y="730"/>
                  </a:lnTo>
                  <a:lnTo>
                    <a:pt x="363" y="727"/>
                  </a:lnTo>
                  <a:lnTo>
                    <a:pt x="360" y="727"/>
                  </a:lnTo>
                  <a:lnTo>
                    <a:pt x="363" y="727"/>
                  </a:lnTo>
                  <a:lnTo>
                    <a:pt x="360" y="730"/>
                  </a:lnTo>
                  <a:lnTo>
                    <a:pt x="358" y="730"/>
                  </a:lnTo>
                  <a:lnTo>
                    <a:pt x="358" y="732"/>
                  </a:lnTo>
                  <a:lnTo>
                    <a:pt x="356" y="732"/>
                  </a:lnTo>
                  <a:lnTo>
                    <a:pt x="356" y="734"/>
                  </a:lnTo>
                  <a:lnTo>
                    <a:pt x="353" y="734"/>
                  </a:lnTo>
                  <a:lnTo>
                    <a:pt x="351" y="734"/>
                  </a:lnTo>
                  <a:lnTo>
                    <a:pt x="348" y="734"/>
                  </a:lnTo>
                  <a:lnTo>
                    <a:pt x="351" y="734"/>
                  </a:lnTo>
                  <a:lnTo>
                    <a:pt x="351" y="737"/>
                  </a:lnTo>
                  <a:lnTo>
                    <a:pt x="348" y="739"/>
                  </a:lnTo>
                  <a:lnTo>
                    <a:pt x="348" y="737"/>
                  </a:lnTo>
                  <a:lnTo>
                    <a:pt x="348" y="739"/>
                  </a:lnTo>
                  <a:lnTo>
                    <a:pt x="348" y="737"/>
                  </a:lnTo>
                  <a:lnTo>
                    <a:pt x="348" y="739"/>
                  </a:lnTo>
                  <a:close/>
                  <a:moveTo>
                    <a:pt x="327" y="713"/>
                  </a:moveTo>
                  <a:lnTo>
                    <a:pt x="325" y="713"/>
                  </a:lnTo>
                  <a:lnTo>
                    <a:pt x="327" y="713"/>
                  </a:lnTo>
                  <a:lnTo>
                    <a:pt x="325" y="713"/>
                  </a:lnTo>
                  <a:lnTo>
                    <a:pt x="325" y="711"/>
                  </a:lnTo>
                  <a:lnTo>
                    <a:pt x="327" y="711"/>
                  </a:lnTo>
                  <a:lnTo>
                    <a:pt x="329" y="711"/>
                  </a:lnTo>
                  <a:lnTo>
                    <a:pt x="329" y="708"/>
                  </a:lnTo>
                  <a:lnTo>
                    <a:pt x="327" y="708"/>
                  </a:lnTo>
                  <a:lnTo>
                    <a:pt x="329" y="708"/>
                  </a:lnTo>
                  <a:lnTo>
                    <a:pt x="329" y="711"/>
                  </a:lnTo>
                  <a:lnTo>
                    <a:pt x="329" y="713"/>
                  </a:lnTo>
                  <a:lnTo>
                    <a:pt x="332" y="713"/>
                  </a:lnTo>
                  <a:lnTo>
                    <a:pt x="329" y="713"/>
                  </a:lnTo>
                  <a:lnTo>
                    <a:pt x="329" y="715"/>
                  </a:lnTo>
                  <a:lnTo>
                    <a:pt x="332" y="715"/>
                  </a:lnTo>
                  <a:lnTo>
                    <a:pt x="332" y="713"/>
                  </a:lnTo>
                  <a:lnTo>
                    <a:pt x="329" y="713"/>
                  </a:lnTo>
                  <a:lnTo>
                    <a:pt x="332" y="713"/>
                  </a:lnTo>
                  <a:lnTo>
                    <a:pt x="332" y="711"/>
                  </a:lnTo>
                  <a:lnTo>
                    <a:pt x="332" y="708"/>
                  </a:lnTo>
                  <a:lnTo>
                    <a:pt x="334" y="708"/>
                  </a:lnTo>
                  <a:lnTo>
                    <a:pt x="334" y="711"/>
                  </a:lnTo>
                  <a:lnTo>
                    <a:pt x="334" y="713"/>
                  </a:lnTo>
                  <a:lnTo>
                    <a:pt x="334" y="711"/>
                  </a:lnTo>
                  <a:lnTo>
                    <a:pt x="334" y="713"/>
                  </a:lnTo>
                  <a:lnTo>
                    <a:pt x="337" y="713"/>
                  </a:lnTo>
                  <a:lnTo>
                    <a:pt x="337" y="711"/>
                  </a:lnTo>
                  <a:lnTo>
                    <a:pt x="339" y="711"/>
                  </a:lnTo>
                  <a:lnTo>
                    <a:pt x="341" y="711"/>
                  </a:lnTo>
                  <a:lnTo>
                    <a:pt x="339" y="711"/>
                  </a:lnTo>
                  <a:lnTo>
                    <a:pt x="339" y="713"/>
                  </a:lnTo>
                  <a:lnTo>
                    <a:pt x="339" y="711"/>
                  </a:lnTo>
                  <a:lnTo>
                    <a:pt x="339" y="713"/>
                  </a:lnTo>
                  <a:lnTo>
                    <a:pt x="341" y="713"/>
                  </a:lnTo>
                  <a:lnTo>
                    <a:pt x="341" y="711"/>
                  </a:lnTo>
                  <a:lnTo>
                    <a:pt x="341" y="713"/>
                  </a:lnTo>
                  <a:lnTo>
                    <a:pt x="341" y="711"/>
                  </a:lnTo>
                  <a:lnTo>
                    <a:pt x="344" y="711"/>
                  </a:lnTo>
                  <a:lnTo>
                    <a:pt x="341" y="711"/>
                  </a:lnTo>
                  <a:lnTo>
                    <a:pt x="341" y="708"/>
                  </a:lnTo>
                  <a:lnTo>
                    <a:pt x="344" y="708"/>
                  </a:lnTo>
                  <a:lnTo>
                    <a:pt x="341" y="708"/>
                  </a:lnTo>
                  <a:lnTo>
                    <a:pt x="341" y="706"/>
                  </a:lnTo>
                  <a:lnTo>
                    <a:pt x="344" y="706"/>
                  </a:lnTo>
                  <a:lnTo>
                    <a:pt x="344" y="708"/>
                  </a:lnTo>
                  <a:lnTo>
                    <a:pt x="344" y="711"/>
                  </a:lnTo>
                  <a:lnTo>
                    <a:pt x="346" y="711"/>
                  </a:lnTo>
                  <a:lnTo>
                    <a:pt x="344" y="711"/>
                  </a:lnTo>
                  <a:lnTo>
                    <a:pt x="344" y="708"/>
                  </a:lnTo>
                  <a:lnTo>
                    <a:pt x="346" y="708"/>
                  </a:lnTo>
                  <a:lnTo>
                    <a:pt x="344" y="708"/>
                  </a:lnTo>
                  <a:lnTo>
                    <a:pt x="346" y="708"/>
                  </a:lnTo>
                  <a:lnTo>
                    <a:pt x="344" y="706"/>
                  </a:lnTo>
                  <a:lnTo>
                    <a:pt x="346" y="706"/>
                  </a:lnTo>
                  <a:lnTo>
                    <a:pt x="346" y="708"/>
                  </a:lnTo>
                  <a:lnTo>
                    <a:pt x="348" y="708"/>
                  </a:lnTo>
                  <a:lnTo>
                    <a:pt x="348" y="706"/>
                  </a:lnTo>
                  <a:lnTo>
                    <a:pt x="346" y="706"/>
                  </a:lnTo>
                  <a:lnTo>
                    <a:pt x="346" y="704"/>
                  </a:lnTo>
                  <a:lnTo>
                    <a:pt x="346" y="706"/>
                  </a:lnTo>
                  <a:lnTo>
                    <a:pt x="344" y="706"/>
                  </a:lnTo>
                  <a:lnTo>
                    <a:pt x="344" y="704"/>
                  </a:lnTo>
                  <a:lnTo>
                    <a:pt x="346" y="704"/>
                  </a:lnTo>
                  <a:lnTo>
                    <a:pt x="344" y="704"/>
                  </a:lnTo>
                  <a:lnTo>
                    <a:pt x="346" y="704"/>
                  </a:lnTo>
                  <a:lnTo>
                    <a:pt x="346" y="701"/>
                  </a:lnTo>
                  <a:lnTo>
                    <a:pt x="344" y="701"/>
                  </a:lnTo>
                  <a:lnTo>
                    <a:pt x="344" y="699"/>
                  </a:lnTo>
                  <a:lnTo>
                    <a:pt x="346" y="699"/>
                  </a:lnTo>
                  <a:lnTo>
                    <a:pt x="346" y="696"/>
                  </a:lnTo>
                  <a:lnTo>
                    <a:pt x="348" y="696"/>
                  </a:lnTo>
                  <a:lnTo>
                    <a:pt x="351" y="696"/>
                  </a:lnTo>
                  <a:lnTo>
                    <a:pt x="348" y="699"/>
                  </a:lnTo>
                  <a:lnTo>
                    <a:pt x="351" y="699"/>
                  </a:lnTo>
                  <a:lnTo>
                    <a:pt x="348" y="699"/>
                  </a:lnTo>
                  <a:lnTo>
                    <a:pt x="351" y="699"/>
                  </a:lnTo>
                  <a:lnTo>
                    <a:pt x="348" y="699"/>
                  </a:lnTo>
                  <a:lnTo>
                    <a:pt x="351" y="699"/>
                  </a:lnTo>
                  <a:lnTo>
                    <a:pt x="348" y="699"/>
                  </a:lnTo>
                  <a:lnTo>
                    <a:pt x="351" y="699"/>
                  </a:lnTo>
                  <a:lnTo>
                    <a:pt x="348" y="699"/>
                  </a:lnTo>
                  <a:lnTo>
                    <a:pt x="348" y="701"/>
                  </a:lnTo>
                  <a:lnTo>
                    <a:pt x="346" y="701"/>
                  </a:lnTo>
                  <a:lnTo>
                    <a:pt x="348" y="701"/>
                  </a:lnTo>
                  <a:lnTo>
                    <a:pt x="351" y="701"/>
                  </a:lnTo>
                  <a:lnTo>
                    <a:pt x="348" y="701"/>
                  </a:lnTo>
                  <a:lnTo>
                    <a:pt x="351" y="701"/>
                  </a:lnTo>
                  <a:lnTo>
                    <a:pt x="348" y="701"/>
                  </a:lnTo>
                  <a:lnTo>
                    <a:pt x="351" y="701"/>
                  </a:lnTo>
                  <a:lnTo>
                    <a:pt x="348" y="701"/>
                  </a:lnTo>
                  <a:lnTo>
                    <a:pt x="351" y="701"/>
                  </a:lnTo>
                  <a:lnTo>
                    <a:pt x="348" y="701"/>
                  </a:lnTo>
                  <a:lnTo>
                    <a:pt x="348" y="704"/>
                  </a:lnTo>
                  <a:lnTo>
                    <a:pt x="351" y="701"/>
                  </a:lnTo>
                  <a:lnTo>
                    <a:pt x="351" y="704"/>
                  </a:lnTo>
                  <a:lnTo>
                    <a:pt x="353" y="704"/>
                  </a:lnTo>
                  <a:lnTo>
                    <a:pt x="353" y="706"/>
                  </a:lnTo>
                  <a:lnTo>
                    <a:pt x="353" y="708"/>
                  </a:lnTo>
                  <a:lnTo>
                    <a:pt x="353" y="706"/>
                  </a:lnTo>
                  <a:lnTo>
                    <a:pt x="353" y="708"/>
                  </a:lnTo>
                  <a:lnTo>
                    <a:pt x="351" y="708"/>
                  </a:lnTo>
                  <a:lnTo>
                    <a:pt x="353" y="708"/>
                  </a:lnTo>
                  <a:lnTo>
                    <a:pt x="351" y="708"/>
                  </a:lnTo>
                  <a:lnTo>
                    <a:pt x="353" y="708"/>
                  </a:lnTo>
                  <a:lnTo>
                    <a:pt x="353" y="706"/>
                  </a:lnTo>
                  <a:lnTo>
                    <a:pt x="353" y="708"/>
                  </a:lnTo>
                  <a:lnTo>
                    <a:pt x="353" y="706"/>
                  </a:lnTo>
                  <a:lnTo>
                    <a:pt x="356" y="706"/>
                  </a:lnTo>
                  <a:lnTo>
                    <a:pt x="356" y="708"/>
                  </a:lnTo>
                  <a:lnTo>
                    <a:pt x="356" y="711"/>
                  </a:lnTo>
                  <a:lnTo>
                    <a:pt x="356" y="708"/>
                  </a:lnTo>
                  <a:lnTo>
                    <a:pt x="356" y="711"/>
                  </a:lnTo>
                  <a:lnTo>
                    <a:pt x="353" y="711"/>
                  </a:lnTo>
                  <a:lnTo>
                    <a:pt x="353" y="713"/>
                  </a:lnTo>
                  <a:lnTo>
                    <a:pt x="356" y="713"/>
                  </a:lnTo>
                  <a:lnTo>
                    <a:pt x="358" y="713"/>
                  </a:lnTo>
                  <a:lnTo>
                    <a:pt x="358" y="715"/>
                  </a:lnTo>
                  <a:lnTo>
                    <a:pt x="358" y="718"/>
                  </a:lnTo>
                  <a:lnTo>
                    <a:pt x="356" y="718"/>
                  </a:lnTo>
                  <a:lnTo>
                    <a:pt x="353" y="718"/>
                  </a:lnTo>
                  <a:lnTo>
                    <a:pt x="353" y="720"/>
                  </a:lnTo>
                  <a:lnTo>
                    <a:pt x="351" y="720"/>
                  </a:lnTo>
                  <a:lnTo>
                    <a:pt x="348" y="720"/>
                  </a:lnTo>
                  <a:lnTo>
                    <a:pt x="346" y="723"/>
                  </a:lnTo>
                  <a:lnTo>
                    <a:pt x="344" y="723"/>
                  </a:lnTo>
                  <a:lnTo>
                    <a:pt x="341" y="723"/>
                  </a:lnTo>
                  <a:lnTo>
                    <a:pt x="339" y="723"/>
                  </a:lnTo>
                  <a:lnTo>
                    <a:pt x="339" y="720"/>
                  </a:lnTo>
                  <a:lnTo>
                    <a:pt x="339" y="723"/>
                  </a:lnTo>
                  <a:lnTo>
                    <a:pt x="339" y="720"/>
                  </a:lnTo>
                  <a:lnTo>
                    <a:pt x="337" y="720"/>
                  </a:lnTo>
                  <a:lnTo>
                    <a:pt x="339" y="720"/>
                  </a:lnTo>
                  <a:lnTo>
                    <a:pt x="337" y="720"/>
                  </a:lnTo>
                  <a:lnTo>
                    <a:pt x="339" y="718"/>
                  </a:lnTo>
                  <a:lnTo>
                    <a:pt x="339" y="720"/>
                  </a:lnTo>
                  <a:lnTo>
                    <a:pt x="339" y="718"/>
                  </a:lnTo>
                  <a:lnTo>
                    <a:pt x="341" y="718"/>
                  </a:lnTo>
                  <a:lnTo>
                    <a:pt x="344" y="718"/>
                  </a:lnTo>
                  <a:lnTo>
                    <a:pt x="341" y="718"/>
                  </a:lnTo>
                  <a:lnTo>
                    <a:pt x="344" y="718"/>
                  </a:lnTo>
                  <a:lnTo>
                    <a:pt x="346" y="718"/>
                  </a:lnTo>
                  <a:lnTo>
                    <a:pt x="344" y="718"/>
                  </a:lnTo>
                  <a:lnTo>
                    <a:pt x="346" y="718"/>
                  </a:lnTo>
                  <a:lnTo>
                    <a:pt x="344" y="718"/>
                  </a:lnTo>
                  <a:lnTo>
                    <a:pt x="346" y="718"/>
                  </a:lnTo>
                  <a:lnTo>
                    <a:pt x="346" y="715"/>
                  </a:lnTo>
                  <a:lnTo>
                    <a:pt x="348" y="715"/>
                  </a:lnTo>
                  <a:lnTo>
                    <a:pt x="348" y="713"/>
                  </a:lnTo>
                  <a:lnTo>
                    <a:pt x="346" y="713"/>
                  </a:lnTo>
                  <a:lnTo>
                    <a:pt x="344" y="713"/>
                  </a:lnTo>
                  <a:lnTo>
                    <a:pt x="346" y="713"/>
                  </a:lnTo>
                  <a:lnTo>
                    <a:pt x="346" y="715"/>
                  </a:lnTo>
                  <a:lnTo>
                    <a:pt x="346" y="713"/>
                  </a:lnTo>
                  <a:lnTo>
                    <a:pt x="346" y="715"/>
                  </a:lnTo>
                  <a:lnTo>
                    <a:pt x="344" y="715"/>
                  </a:lnTo>
                  <a:lnTo>
                    <a:pt x="341" y="715"/>
                  </a:lnTo>
                  <a:lnTo>
                    <a:pt x="344" y="715"/>
                  </a:lnTo>
                  <a:lnTo>
                    <a:pt x="341" y="715"/>
                  </a:lnTo>
                  <a:lnTo>
                    <a:pt x="344" y="715"/>
                  </a:lnTo>
                  <a:lnTo>
                    <a:pt x="344" y="713"/>
                  </a:lnTo>
                  <a:lnTo>
                    <a:pt x="341" y="713"/>
                  </a:lnTo>
                  <a:lnTo>
                    <a:pt x="344" y="713"/>
                  </a:lnTo>
                  <a:lnTo>
                    <a:pt x="341" y="715"/>
                  </a:lnTo>
                  <a:lnTo>
                    <a:pt x="341" y="718"/>
                  </a:lnTo>
                  <a:lnTo>
                    <a:pt x="339" y="718"/>
                  </a:lnTo>
                  <a:lnTo>
                    <a:pt x="339" y="715"/>
                  </a:lnTo>
                  <a:lnTo>
                    <a:pt x="339" y="718"/>
                  </a:lnTo>
                  <a:lnTo>
                    <a:pt x="339" y="715"/>
                  </a:lnTo>
                  <a:lnTo>
                    <a:pt x="339" y="718"/>
                  </a:lnTo>
                  <a:lnTo>
                    <a:pt x="337" y="718"/>
                  </a:lnTo>
                  <a:lnTo>
                    <a:pt x="337" y="715"/>
                  </a:lnTo>
                  <a:lnTo>
                    <a:pt x="339" y="715"/>
                  </a:lnTo>
                  <a:lnTo>
                    <a:pt x="337" y="715"/>
                  </a:lnTo>
                  <a:lnTo>
                    <a:pt x="337" y="718"/>
                  </a:lnTo>
                  <a:lnTo>
                    <a:pt x="337" y="715"/>
                  </a:lnTo>
                  <a:lnTo>
                    <a:pt x="337" y="718"/>
                  </a:lnTo>
                  <a:lnTo>
                    <a:pt x="337" y="715"/>
                  </a:lnTo>
                  <a:lnTo>
                    <a:pt x="337" y="718"/>
                  </a:lnTo>
                  <a:lnTo>
                    <a:pt x="334" y="718"/>
                  </a:lnTo>
                  <a:lnTo>
                    <a:pt x="334" y="715"/>
                  </a:lnTo>
                  <a:lnTo>
                    <a:pt x="332" y="715"/>
                  </a:lnTo>
                  <a:lnTo>
                    <a:pt x="334" y="715"/>
                  </a:lnTo>
                  <a:lnTo>
                    <a:pt x="334" y="718"/>
                  </a:lnTo>
                  <a:lnTo>
                    <a:pt x="332" y="718"/>
                  </a:lnTo>
                  <a:lnTo>
                    <a:pt x="334" y="718"/>
                  </a:lnTo>
                  <a:lnTo>
                    <a:pt x="332" y="718"/>
                  </a:lnTo>
                  <a:lnTo>
                    <a:pt x="332" y="720"/>
                  </a:lnTo>
                  <a:lnTo>
                    <a:pt x="329" y="720"/>
                  </a:lnTo>
                  <a:lnTo>
                    <a:pt x="332" y="720"/>
                  </a:lnTo>
                  <a:lnTo>
                    <a:pt x="329" y="720"/>
                  </a:lnTo>
                  <a:lnTo>
                    <a:pt x="327" y="723"/>
                  </a:lnTo>
                  <a:lnTo>
                    <a:pt x="327" y="720"/>
                  </a:lnTo>
                  <a:lnTo>
                    <a:pt x="327" y="723"/>
                  </a:lnTo>
                  <a:lnTo>
                    <a:pt x="327" y="720"/>
                  </a:lnTo>
                  <a:lnTo>
                    <a:pt x="327" y="723"/>
                  </a:lnTo>
                  <a:lnTo>
                    <a:pt x="325" y="723"/>
                  </a:lnTo>
                  <a:lnTo>
                    <a:pt x="325" y="720"/>
                  </a:lnTo>
                  <a:lnTo>
                    <a:pt x="325" y="723"/>
                  </a:lnTo>
                  <a:lnTo>
                    <a:pt x="325" y="720"/>
                  </a:lnTo>
                  <a:lnTo>
                    <a:pt x="325" y="723"/>
                  </a:lnTo>
                  <a:lnTo>
                    <a:pt x="325" y="720"/>
                  </a:lnTo>
                  <a:lnTo>
                    <a:pt x="325" y="718"/>
                  </a:lnTo>
                  <a:lnTo>
                    <a:pt x="325" y="720"/>
                  </a:lnTo>
                  <a:lnTo>
                    <a:pt x="325" y="718"/>
                  </a:lnTo>
                  <a:lnTo>
                    <a:pt x="322" y="718"/>
                  </a:lnTo>
                  <a:lnTo>
                    <a:pt x="325" y="718"/>
                  </a:lnTo>
                  <a:lnTo>
                    <a:pt x="322" y="718"/>
                  </a:lnTo>
                  <a:lnTo>
                    <a:pt x="322" y="715"/>
                  </a:lnTo>
                  <a:lnTo>
                    <a:pt x="325" y="715"/>
                  </a:lnTo>
                  <a:lnTo>
                    <a:pt x="327" y="715"/>
                  </a:lnTo>
                  <a:lnTo>
                    <a:pt x="325" y="715"/>
                  </a:lnTo>
                  <a:lnTo>
                    <a:pt x="327" y="715"/>
                  </a:lnTo>
                  <a:lnTo>
                    <a:pt x="327" y="713"/>
                  </a:lnTo>
                  <a:lnTo>
                    <a:pt x="327" y="715"/>
                  </a:lnTo>
                  <a:lnTo>
                    <a:pt x="327" y="713"/>
                  </a:lnTo>
                  <a:lnTo>
                    <a:pt x="329" y="713"/>
                  </a:lnTo>
                  <a:lnTo>
                    <a:pt x="329" y="715"/>
                  </a:lnTo>
                  <a:lnTo>
                    <a:pt x="329" y="713"/>
                  </a:lnTo>
                  <a:lnTo>
                    <a:pt x="327" y="713"/>
                  </a:lnTo>
                  <a:close/>
                  <a:moveTo>
                    <a:pt x="441" y="673"/>
                  </a:moveTo>
                  <a:lnTo>
                    <a:pt x="439" y="673"/>
                  </a:lnTo>
                  <a:lnTo>
                    <a:pt x="441" y="673"/>
                  </a:lnTo>
                  <a:lnTo>
                    <a:pt x="441" y="675"/>
                  </a:lnTo>
                  <a:lnTo>
                    <a:pt x="443" y="675"/>
                  </a:lnTo>
                  <a:lnTo>
                    <a:pt x="443" y="673"/>
                  </a:lnTo>
                  <a:lnTo>
                    <a:pt x="446" y="673"/>
                  </a:lnTo>
                  <a:lnTo>
                    <a:pt x="446" y="675"/>
                  </a:lnTo>
                  <a:lnTo>
                    <a:pt x="443" y="675"/>
                  </a:lnTo>
                  <a:lnTo>
                    <a:pt x="446" y="675"/>
                  </a:lnTo>
                  <a:lnTo>
                    <a:pt x="443" y="675"/>
                  </a:lnTo>
                  <a:lnTo>
                    <a:pt x="446" y="675"/>
                  </a:lnTo>
                  <a:lnTo>
                    <a:pt x="443" y="675"/>
                  </a:lnTo>
                  <a:lnTo>
                    <a:pt x="446" y="675"/>
                  </a:lnTo>
                  <a:lnTo>
                    <a:pt x="443" y="677"/>
                  </a:lnTo>
                  <a:lnTo>
                    <a:pt x="446" y="677"/>
                  </a:lnTo>
                  <a:lnTo>
                    <a:pt x="443" y="677"/>
                  </a:lnTo>
                  <a:lnTo>
                    <a:pt x="441" y="677"/>
                  </a:lnTo>
                  <a:lnTo>
                    <a:pt x="441" y="680"/>
                  </a:lnTo>
                  <a:lnTo>
                    <a:pt x="439" y="680"/>
                  </a:lnTo>
                  <a:lnTo>
                    <a:pt x="441" y="680"/>
                  </a:lnTo>
                  <a:lnTo>
                    <a:pt x="439" y="680"/>
                  </a:lnTo>
                  <a:lnTo>
                    <a:pt x="441" y="680"/>
                  </a:lnTo>
                  <a:lnTo>
                    <a:pt x="441" y="682"/>
                  </a:lnTo>
                  <a:lnTo>
                    <a:pt x="439" y="682"/>
                  </a:lnTo>
                  <a:lnTo>
                    <a:pt x="441" y="682"/>
                  </a:lnTo>
                  <a:lnTo>
                    <a:pt x="441" y="685"/>
                  </a:lnTo>
                  <a:lnTo>
                    <a:pt x="439" y="685"/>
                  </a:lnTo>
                  <a:lnTo>
                    <a:pt x="439" y="687"/>
                  </a:lnTo>
                  <a:lnTo>
                    <a:pt x="439" y="685"/>
                  </a:lnTo>
                  <a:lnTo>
                    <a:pt x="441" y="685"/>
                  </a:lnTo>
                  <a:lnTo>
                    <a:pt x="441" y="687"/>
                  </a:lnTo>
                  <a:lnTo>
                    <a:pt x="443" y="687"/>
                  </a:lnTo>
                  <a:lnTo>
                    <a:pt x="441" y="687"/>
                  </a:lnTo>
                  <a:lnTo>
                    <a:pt x="441" y="689"/>
                  </a:lnTo>
                  <a:lnTo>
                    <a:pt x="441" y="687"/>
                  </a:lnTo>
                  <a:lnTo>
                    <a:pt x="441" y="689"/>
                  </a:lnTo>
                  <a:lnTo>
                    <a:pt x="439" y="689"/>
                  </a:lnTo>
                  <a:lnTo>
                    <a:pt x="436" y="689"/>
                  </a:lnTo>
                  <a:lnTo>
                    <a:pt x="434" y="689"/>
                  </a:lnTo>
                  <a:lnTo>
                    <a:pt x="432" y="689"/>
                  </a:lnTo>
                  <a:lnTo>
                    <a:pt x="429" y="689"/>
                  </a:lnTo>
                  <a:lnTo>
                    <a:pt x="427" y="689"/>
                  </a:lnTo>
                  <a:lnTo>
                    <a:pt x="424" y="689"/>
                  </a:lnTo>
                  <a:lnTo>
                    <a:pt x="427" y="689"/>
                  </a:lnTo>
                  <a:lnTo>
                    <a:pt x="427" y="687"/>
                  </a:lnTo>
                  <a:lnTo>
                    <a:pt x="424" y="687"/>
                  </a:lnTo>
                  <a:lnTo>
                    <a:pt x="422" y="689"/>
                  </a:lnTo>
                  <a:lnTo>
                    <a:pt x="424" y="689"/>
                  </a:lnTo>
                  <a:lnTo>
                    <a:pt x="422" y="689"/>
                  </a:lnTo>
                  <a:lnTo>
                    <a:pt x="420" y="689"/>
                  </a:lnTo>
                  <a:lnTo>
                    <a:pt x="420" y="692"/>
                  </a:lnTo>
                  <a:lnTo>
                    <a:pt x="417" y="692"/>
                  </a:lnTo>
                  <a:lnTo>
                    <a:pt x="417" y="694"/>
                  </a:lnTo>
                  <a:lnTo>
                    <a:pt x="415" y="694"/>
                  </a:lnTo>
                  <a:lnTo>
                    <a:pt x="417" y="694"/>
                  </a:lnTo>
                  <a:lnTo>
                    <a:pt x="415" y="694"/>
                  </a:lnTo>
                  <a:lnTo>
                    <a:pt x="415" y="696"/>
                  </a:lnTo>
                  <a:lnTo>
                    <a:pt x="417" y="694"/>
                  </a:lnTo>
                  <a:lnTo>
                    <a:pt x="417" y="696"/>
                  </a:lnTo>
                  <a:lnTo>
                    <a:pt x="415" y="696"/>
                  </a:lnTo>
                  <a:lnTo>
                    <a:pt x="415" y="699"/>
                  </a:lnTo>
                  <a:lnTo>
                    <a:pt x="413" y="699"/>
                  </a:lnTo>
                  <a:lnTo>
                    <a:pt x="410" y="699"/>
                  </a:lnTo>
                  <a:lnTo>
                    <a:pt x="410" y="696"/>
                  </a:lnTo>
                  <a:lnTo>
                    <a:pt x="410" y="694"/>
                  </a:lnTo>
                  <a:lnTo>
                    <a:pt x="413" y="694"/>
                  </a:lnTo>
                  <a:lnTo>
                    <a:pt x="415" y="694"/>
                  </a:lnTo>
                  <a:lnTo>
                    <a:pt x="413" y="694"/>
                  </a:lnTo>
                  <a:lnTo>
                    <a:pt x="410" y="694"/>
                  </a:lnTo>
                  <a:lnTo>
                    <a:pt x="408" y="694"/>
                  </a:lnTo>
                  <a:lnTo>
                    <a:pt x="405" y="694"/>
                  </a:lnTo>
                  <a:lnTo>
                    <a:pt x="405" y="696"/>
                  </a:lnTo>
                  <a:lnTo>
                    <a:pt x="403" y="696"/>
                  </a:lnTo>
                  <a:lnTo>
                    <a:pt x="403" y="694"/>
                  </a:lnTo>
                  <a:lnTo>
                    <a:pt x="403" y="692"/>
                  </a:lnTo>
                  <a:lnTo>
                    <a:pt x="405" y="692"/>
                  </a:lnTo>
                  <a:lnTo>
                    <a:pt x="408" y="692"/>
                  </a:lnTo>
                  <a:lnTo>
                    <a:pt x="405" y="692"/>
                  </a:lnTo>
                  <a:lnTo>
                    <a:pt x="408" y="689"/>
                  </a:lnTo>
                  <a:lnTo>
                    <a:pt x="410" y="689"/>
                  </a:lnTo>
                  <a:lnTo>
                    <a:pt x="413" y="689"/>
                  </a:lnTo>
                  <a:lnTo>
                    <a:pt x="415" y="687"/>
                  </a:lnTo>
                  <a:lnTo>
                    <a:pt x="413" y="687"/>
                  </a:lnTo>
                  <a:lnTo>
                    <a:pt x="415" y="687"/>
                  </a:lnTo>
                  <a:lnTo>
                    <a:pt x="417" y="687"/>
                  </a:lnTo>
                  <a:lnTo>
                    <a:pt x="415" y="687"/>
                  </a:lnTo>
                  <a:lnTo>
                    <a:pt x="413" y="687"/>
                  </a:lnTo>
                  <a:lnTo>
                    <a:pt x="410" y="687"/>
                  </a:lnTo>
                  <a:lnTo>
                    <a:pt x="408" y="687"/>
                  </a:lnTo>
                  <a:lnTo>
                    <a:pt x="405" y="687"/>
                  </a:lnTo>
                  <a:lnTo>
                    <a:pt x="408" y="687"/>
                  </a:lnTo>
                  <a:lnTo>
                    <a:pt x="408" y="685"/>
                  </a:lnTo>
                  <a:lnTo>
                    <a:pt x="405" y="685"/>
                  </a:lnTo>
                  <a:lnTo>
                    <a:pt x="408" y="685"/>
                  </a:lnTo>
                  <a:lnTo>
                    <a:pt x="410" y="685"/>
                  </a:lnTo>
                  <a:lnTo>
                    <a:pt x="413" y="685"/>
                  </a:lnTo>
                  <a:lnTo>
                    <a:pt x="415" y="685"/>
                  </a:lnTo>
                  <a:lnTo>
                    <a:pt x="413" y="685"/>
                  </a:lnTo>
                  <a:lnTo>
                    <a:pt x="413" y="682"/>
                  </a:lnTo>
                  <a:lnTo>
                    <a:pt x="415" y="682"/>
                  </a:lnTo>
                  <a:lnTo>
                    <a:pt x="413" y="682"/>
                  </a:lnTo>
                  <a:lnTo>
                    <a:pt x="410" y="682"/>
                  </a:lnTo>
                  <a:lnTo>
                    <a:pt x="413" y="682"/>
                  </a:lnTo>
                  <a:lnTo>
                    <a:pt x="410" y="682"/>
                  </a:lnTo>
                  <a:lnTo>
                    <a:pt x="408" y="682"/>
                  </a:lnTo>
                  <a:lnTo>
                    <a:pt x="410" y="680"/>
                  </a:lnTo>
                  <a:lnTo>
                    <a:pt x="408" y="680"/>
                  </a:lnTo>
                  <a:lnTo>
                    <a:pt x="405" y="680"/>
                  </a:lnTo>
                  <a:lnTo>
                    <a:pt x="408" y="680"/>
                  </a:lnTo>
                  <a:lnTo>
                    <a:pt x="410" y="680"/>
                  </a:lnTo>
                  <a:lnTo>
                    <a:pt x="413" y="680"/>
                  </a:lnTo>
                  <a:lnTo>
                    <a:pt x="415" y="680"/>
                  </a:lnTo>
                  <a:lnTo>
                    <a:pt x="413" y="680"/>
                  </a:lnTo>
                  <a:lnTo>
                    <a:pt x="415" y="677"/>
                  </a:lnTo>
                  <a:lnTo>
                    <a:pt x="413" y="677"/>
                  </a:lnTo>
                  <a:lnTo>
                    <a:pt x="413" y="680"/>
                  </a:lnTo>
                  <a:lnTo>
                    <a:pt x="413" y="677"/>
                  </a:lnTo>
                  <a:lnTo>
                    <a:pt x="410" y="677"/>
                  </a:lnTo>
                  <a:lnTo>
                    <a:pt x="413" y="677"/>
                  </a:lnTo>
                  <a:lnTo>
                    <a:pt x="415" y="677"/>
                  </a:lnTo>
                  <a:lnTo>
                    <a:pt x="413" y="677"/>
                  </a:lnTo>
                  <a:lnTo>
                    <a:pt x="410" y="677"/>
                  </a:lnTo>
                  <a:lnTo>
                    <a:pt x="408" y="677"/>
                  </a:lnTo>
                  <a:lnTo>
                    <a:pt x="405" y="677"/>
                  </a:lnTo>
                  <a:lnTo>
                    <a:pt x="405" y="675"/>
                  </a:lnTo>
                  <a:lnTo>
                    <a:pt x="405" y="677"/>
                  </a:lnTo>
                  <a:lnTo>
                    <a:pt x="408" y="675"/>
                  </a:lnTo>
                  <a:lnTo>
                    <a:pt x="410" y="675"/>
                  </a:lnTo>
                  <a:lnTo>
                    <a:pt x="413" y="675"/>
                  </a:lnTo>
                  <a:lnTo>
                    <a:pt x="415" y="675"/>
                  </a:lnTo>
                  <a:lnTo>
                    <a:pt x="413" y="675"/>
                  </a:lnTo>
                  <a:lnTo>
                    <a:pt x="415" y="675"/>
                  </a:lnTo>
                  <a:lnTo>
                    <a:pt x="415" y="673"/>
                  </a:lnTo>
                  <a:lnTo>
                    <a:pt x="415" y="675"/>
                  </a:lnTo>
                  <a:lnTo>
                    <a:pt x="415" y="673"/>
                  </a:lnTo>
                  <a:lnTo>
                    <a:pt x="415" y="675"/>
                  </a:lnTo>
                  <a:lnTo>
                    <a:pt x="417" y="675"/>
                  </a:lnTo>
                  <a:lnTo>
                    <a:pt x="417" y="673"/>
                  </a:lnTo>
                  <a:lnTo>
                    <a:pt x="417" y="675"/>
                  </a:lnTo>
                  <a:lnTo>
                    <a:pt x="420" y="675"/>
                  </a:lnTo>
                  <a:lnTo>
                    <a:pt x="422" y="675"/>
                  </a:lnTo>
                  <a:lnTo>
                    <a:pt x="422" y="677"/>
                  </a:lnTo>
                  <a:lnTo>
                    <a:pt x="422" y="675"/>
                  </a:lnTo>
                  <a:lnTo>
                    <a:pt x="420" y="675"/>
                  </a:lnTo>
                  <a:lnTo>
                    <a:pt x="420" y="673"/>
                  </a:lnTo>
                  <a:lnTo>
                    <a:pt x="420" y="675"/>
                  </a:lnTo>
                  <a:lnTo>
                    <a:pt x="422" y="675"/>
                  </a:lnTo>
                  <a:lnTo>
                    <a:pt x="422" y="673"/>
                  </a:lnTo>
                  <a:lnTo>
                    <a:pt x="424" y="673"/>
                  </a:lnTo>
                  <a:lnTo>
                    <a:pt x="427" y="673"/>
                  </a:lnTo>
                  <a:lnTo>
                    <a:pt x="424" y="673"/>
                  </a:lnTo>
                  <a:lnTo>
                    <a:pt x="422" y="673"/>
                  </a:lnTo>
                  <a:lnTo>
                    <a:pt x="420" y="673"/>
                  </a:lnTo>
                  <a:lnTo>
                    <a:pt x="417" y="673"/>
                  </a:lnTo>
                  <a:lnTo>
                    <a:pt x="417" y="670"/>
                  </a:lnTo>
                  <a:lnTo>
                    <a:pt x="415" y="668"/>
                  </a:lnTo>
                  <a:lnTo>
                    <a:pt x="417" y="668"/>
                  </a:lnTo>
                  <a:lnTo>
                    <a:pt x="417" y="670"/>
                  </a:lnTo>
                  <a:lnTo>
                    <a:pt x="420" y="670"/>
                  </a:lnTo>
                  <a:lnTo>
                    <a:pt x="420" y="673"/>
                  </a:lnTo>
                  <a:lnTo>
                    <a:pt x="422" y="670"/>
                  </a:lnTo>
                  <a:lnTo>
                    <a:pt x="420" y="670"/>
                  </a:lnTo>
                  <a:lnTo>
                    <a:pt x="422" y="670"/>
                  </a:lnTo>
                  <a:lnTo>
                    <a:pt x="422" y="668"/>
                  </a:lnTo>
                  <a:lnTo>
                    <a:pt x="420" y="668"/>
                  </a:lnTo>
                  <a:lnTo>
                    <a:pt x="420" y="666"/>
                  </a:lnTo>
                  <a:lnTo>
                    <a:pt x="422" y="666"/>
                  </a:lnTo>
                  <a:lnTo>
                    <a:pt x="422" y="668"/>
                  </a:lnTo>
                  <a:lnTo>
                    <a:pt x="424" y="668"/>
                  </a:lnTo>
                  <a:lnTo>
                    <a:pt x="427" y="668"/>
                  </a:lnTo>
                  <a:lnTo>
                    <a:pt x="424" y="670"/>
                  </a:lnTo>
                  <a:lnTo>
                    <a:pt x="427" y="670"/>
                  </a:lnTo>
                  <a:lnTo>
                    <a:pt x="427" y="668"/>
                  </a:lnTo>
                  <a:lnTo>
                    <a:pt x="427" y="670"/>
                  </a:lnTo>
                  <a:lnTo>
                    <a:pt x="429" y="670"/>
                  </a:lnTo>
                  <a:lnTo>
                    <a:pt x="432" y="670"/>
                  </a:lnTo>
                  <a:lnTo>
                    <a:pt x="429" y="670"/>
                  </a:lnTo>
                  <a:lnTo>
                    <a:pt x="429" y="668"/>
                  </a:lnTo>
                  <a:lnTo>
                    <a:pt x="427" y="668"/>
                  </a:lnTo>
                  <a:lnTo>
                    <a:pt x="427" y="666"/>
                  </a:lnTo>
                  <a:lnTo>
                    <a:pt x="424" y="666"/>
                  </a:lnTo>
                  <a:lnTo>
                    <a:pt x="424" y="663"/>
                  </a:lnTo>
                  <a:lnTo>
                    <a:pt x="427" y="663"/>
                  </a:lnTo>
                  <a:lnTo>
                    <a:pt x="424" y="663"/>
                  </a:lnTo>
                  <a:lnTo>
                    <a:pt x="427" y="663"/>
                  </a:lnTo>
                  <a:lnTo>
                    <a:pt x="427" y="666"/>
                  </a:lnTo>
                  <a:lnTo>
                    <a:pt x="429" y="666"/>
                  </a:lnTo>
                  <a:lnTo>
                    <a:pt x="429" y="668"/>
                  </a:lnTo>
                  <a:lnTo>
                    <a:pt x="432" y="668"/>
                  </a:lnTo>
                  <a:lnTo>
                    <a:pt x="429" y="668"/>
                  </a:lnTo>
                  <a:lnTo>
                    <a:pt x="432" y="668"/>
                  </a:lnTo>
                  <a:lnTo>
                    <a:pt x="432" y="670"/>
                  </a:lnTo>
                  <a:lnTo>
                    <a:pt x="432" y="668"/>
                  </a:lnTo>
                  <a:lnTo>
                    <a:pt x="434" y="668"/>
                  </a:lnTo>
                  <a:lnTo>
                    <a:pt x="432" y="668"/>
                  </a:lnTo>
                  <a:lnTo>
                    <a:pt x="432" y="666"/>
                  </a:lnTo>
                  <a:lnTo>
                    <a:pt x="432" y="663"/>
                  </a:lnTo>
                  <a:lnTo>
                    <a:pt x="429" y="663"/>
                  </a:lnTo>
                  <a:lnTo>
                    <a:pt x="432" y="663"/>
                  </a:lnTo>
                  <a:lnTo>
                    <a:pt x="434" y="663"/>
                  </a:lnTo>
                  <a:lnTo>
                    <a:pt x="434" y="666"/>
                  </a:lnTo>
                  <a:lnTo>
                    <a:pt x="436" y="668"/>
                  </a:lnTo>
                  <a:lnTo>
                    <a:pt x="436" y="666"/>
                  </a:lnTo>
                  <a:lnTo>
                    <a:pt x="439" y="666"/>
                  </a:lnTo>
                  <a:lnTo>
                    <a:pt x="439" y="663"/>
                  </a:lnTo>
                  <a:lnTo>
                    <a:pt x="436" y="663"/>
                  </a:lnTo>
                  <a:lnTo>
                    <a:pt x="439" y="663"/>
                  </a:lnTo>
                  <a:lnTo>
                    <a:pt x="439" y="666"/>
                  </a:lnTo>
                  <a:lnTo>
                    <a:pt x="441" y="666"/>
                  </a:lnTo>
                  <a:lnTo>
                    <a:pt x="439" y="666"/>
                  </a:lnTo>
                  <a:lnTo>
                    <a:pt x="439" y="668"/>
                  </a:lnTo>
                  <a:lnTo>
                    <a:pt x="441" y="668"/>
                  </a:lnTo>
                  <a:lnTo>
                    <a:pt x="439" y="668"/>
                  </a:lnTo>
                  <a:lnTo>
                    <a:pt x="439" y="670"/>
                  </a:lnTo>
                  <a:lnTo>
                    <a:pt x="436" y="670"/>
                  </a:lnTo>
                  <a:lnTo>
                    <a:pt x="439" y="670"/>
                  </a:lnTo>
                  <a:lnTo>
                    <a:pt x="436" y="670"/>
                  </a:lnTo>
                  <a:lnTo>
                    <a:pt x="436" y="673"/>
                  </a:lnTo>
                  <a:lnTo>
                    <a:pt x="436" y="670"/>
                  </a:lnTo>
                  <a:lnTo>
                    <a:pt x="436" y="673"/>
                  </a:lnTo>
                  <a:lnTo>
                    <a:pt x="439" y="673"/>
                  </a:lnTo>
                  <a:lnTo>
                    <a:pt x="439" y="670"/>
                  </a:lnTo>
                  <a:lnTo>
                    <a:pt x="439" y="668"/>
                  </a:lnTo>
                  <a:lnTo>
                    <a:pt x="441" y="668"/>
                  </a:lnTo>
                  <a:lnTo>
                    <a:pt x="443" y="668"/>
                  </a:lnTo>
                  <a:lnTo>
                    <a:pt x="443" y="670"/>
                  </a:lnTo>
                  <a:lnTo>
                    <a:pt x="446" y="670"/>
                  </a:lnTo>
                  <a:lnTo>
                    <a:pt x="443" y="670"/>
                  </a:lnTo>
                  <a:lnTo>
                    <a:pt x="443" y="673"/>
                  </a:lnTo>
                  <a:lnTo>
                    <a:pt x="441" y="673"/>
                  </a:lnTo>
                  <a:close/>
                  <a:moveTo>
                    <a:pt x="847" y="647"/>
                  </a:moveTo>
                  <a:lnTo>
                    <a:pt x="849" y="647"/>
                  </a:lnTo>
                  <a:lnTo>
                    <a:pt x="849" y="649"/>
                  </a:lnTo>
                  <a:lnTo>
                    <a:pt x="847" y="649"/>
                  </a:lnTo>
                  <a:lnTo>
                    <a:pt x="844" y="649"/>
                  </a:lnTo>
                  <a:lnTo>
                    <a:pt x="847" y="649"/>
                  </a:lnTo>
                  <a:lnTo>
                    <a:pt x="849" y="649"/>
                  </a:lnTo>
                  <a:lnTo>
                    <a:pt x="851" y="649"/>
                  </a:lnTo>
                  <a:lnTo>
                    <a:pt x="851" y="651"/>
                  </a:lnTo>
                  <a:lnTo>
                    <a:pt x="851" y="649"/>
                  </a:lnTo>
                  <a:lnTo>
                    <a:pt x="851" y="651"/>
                  </a:lnTo>
                  <a:lnTo>
                    <a:pt x="851" y="654"/>
                  </a:lnTo>
                  <a:lnTo>
                    <a:pt x="851" y="651"/>
                  </a:lnTo>
                  <a:lnTo>
                    <a:pt x="851" y="654"/>
                  </a:lnTo>
                  <a:lnTo>
                    <a:pt x="851" y="656"/>
                  </a:lnTo>
                  <a:lnTo>
                    <a:pt x="851" y="658"/>
                  </a:lnTo>
                  <a:lnTo>
                    <a:pt x="849" y="658"/>
                  </a:lnTo>
                  <a:lnTo>
                    <a:pt x="851" y="658"/>
                  </a:lnTo>
                  <a:lnTo>
                    <a:pt x="854" y="658"/>
                  </a:lnTo>
                  <a:lnTo>
                    <a:pt x="851" y="656"/>
                  </a:lnTo>
                  <a:lnTo>
                    <a:pt x="854" y="656"/>
                  </a:lnTo>
                  <a:lnTo>
                    <a:pt x="851" y="656"/>
                  </a:lnTo>
                  <a:lnTo>
                    <a:pt x="854" y="656"/>
                  </a:lnTo>
                  <a:lnTo>
                    <a:pt x="854" y="654"/>
                  </a:lnTo>
                  <a:lnTo>
                    <a:pt x="851" y="654"/>
                  </a:lnTo>
                  <a:lnTo>
                    <a:pt x="854" y="654"/>
                  </a:lnTo>
                  <a:lnTo>
                    <a:pt x="851" y="654"/>
                  </a:lnTo>
                  <a:lnTo>
                    <a:pt x="854" y="654"/>
                  </a:lnTo>
                  <a:lnTo>
                    <a:pt x="854" y="651"/>
                  </a:lnTo>
                  <a:lnTo>
                    <a:pt x="851" y="651"/>
                  </a:lnTo>
                  <a:lnTo>
                    <a:pt x="854" y="651"/>
                  </a:lnTo>
                  <a:lnTo>
                    <a:pt x="854" y="649"/>
                  </a:lnTo>
                  <a:lnTo>
                    <a:pt x="854" y="651"/>
                  </a:lnTo>
                  <a:lnTo>
                    <a:pt x="854" y="649"/>
                  </a:lnTo>
                  <a:lnTo>
                    <a:pt x="856" y="649"/>
                  </a:lnTo>
                  <a:lnTo>
                    <a:pt x="854" y="649"/>
                  </a:lnTo>
                  <a:lnTo>
                    <a:pt x="856" y="649"/>
                  </a:lnTo>
                  <a:lnTo>
                    <a:pt x="856" y="651"/>
                  </a:lnTo>
                  <a:lnTo>
                    <a:pt x="854" y="651"/>
                  </a:lnTo>
                  <a:lnTo>
                    <a:pt x="856" y="651"/>
                  </a:lnTo>
                  <a:lnTo>
                    <a:pt x="859" y="651"/>
                  </a:lnTo>
                  <a:lnTo>
                    <a:pt x="856" y="651"/>
                  </a:lnTo>
                  <a:lnTo>
                    <a:pt x="859" y="649"/>
                  </a:lnTo>
                  <a:lnTo>
                    <a:pt x="859" y="651"/>
                  </a:lnTo>
                  <a:lnTo>
                    <a:pt x="861" y="651"/>
                  </a:lnTo>
                  <a:lnTo>
                    <a:pt x="859" y="651"/>
                  </a:lnTo>
                  <a:lnTo>
                    <a:pt x="861" y="651"/>
                  </a:lnTo>
                  <a:lnTo>
                    <a:pt x="859" y="651"/>
                  </a:lnTo>
                  <a:lnTo>
                    <a:pt x="861" y="651"/>
                  </a:lnTo>
                  <a:lnTo>
                    <a:pt x="863" y="651"/>
                  </a:lnTo>
                  <a:lnTo>
                    <a:pt x="861" y="651"/>
                  </a:lnTo>
                  <a:lnTo>
                    <a:pt x="861" y="654"/>
                  </a:lnTo>
                  <a:lnTo>
                    <a:pt x="859" y="654"/>
                  </a:lnTo>
                  <a:lnTo>
                    <a:pt x="861" y="654"/>
                  </a:lnTo>
                  <a:lnTo>
                    <a:pt x="863" y="654"/>
                  </a:lnTo>
                  <a:lnTo>
                    <a:pt x="863" y="651"/>
                  </a:lnTo>
                  <a:lnTo>
                    <a:pt x="863" y="654"/>
                  </a:lnTo>
                  <a:lnTo>
                    <a:pt x="863" y="651"/>
                  </a:lnTo>
                  <a:lnTo>
                    <a:pt x="866" y="651"/>
                  </a:lnTo>
                  <a:lnTo>
                    <a:pt x="863" y="651"/>
                  </a:lnTo>
                  <a:lnTo>
                    <a:pt x="866" y="651"/>
                  </a:lnTo>
                  <a:lnTo>
                    <a:pt x="866" y="654"/>
                  </a:lnTo>
                  <a:lnTo>
                    <a:pt x="868" y="654"/>
                  </a:lnTo>
                  <a:lnTo>
                    <a:pt x="868" y="656"/>
                  </a:lnTo>
                  <a:lnTo>
                    <a:pt x="868" y="658"/>
                  </a:lnTo>
                  <a:lnTo>
                    <a:pt x="870" y="658"/>
                  </a:lnTo>
                  <a:lnTo>
                    <a:pt x="868" y="658"/>
                  </a:lnTo>
                  <a:lnTo>
                    <a:pt x="868" y="661"/>
                  </a:lnTo>
                  <a:lnTo>
                    <a:pt x="870" y="661"/>
                  </a:lnTo>
                  <a:lnTo>
                    <a:pt x="870" y="663"/>
                  </a:lnTo>
                  <a:lnTo>
                    <a:pt x="870" y="666"/>
                  </a:lnTo>
                  <a:lnTo>
                    <a:pt x="868" y="666"/>
                  </a:lnTo>
                  <a:lnTo>
                    <a:pt x="866" y="666"/>
                  </a:lnTo>
                  <a:lnTo>
                    <a:pt x="866" y="668"/>
                  </a:lnTo>
                  <a:lnTo>
                    <a:pt x="863" y="668"/>
                  </a:lnTo>
                  <a:lnTo>
                    <a:pt x="859" y="666"/>
                  </a:lnTo>
                  <a:lnTo>
                    <a:pt x="856" y="666"/>
                  </a:lnTo>
                  <a:lnTo>
                    <a:pt x="851" y="663"/>
                  </a:lnTo>
                  <a:lnTo>
                    <a:pt x="849" y="661"/>
                  </a:lnTo>
                  <a:lnTo>
                    <a:pt x="847" y="661"/>
                  </a:lnTo>
                  <a:lnTo>
                    <a:pt x="844" y="658"/>
                  </a:lnTo>
                  <a:lnTo>
                    <a:pt x="842" y="658"/>
                  </a:lnTo>
                  <a:lnTo>
                    <a:pt x="842" y="656"/>
                  </a:lnTo>
                  <a:lnTo>
                    <a:pt x="842" y="654"/>
                  </a:lnTo>
                  <a:lnTo>
                    <a:pt x="844" y="654"/>
                  </a:lnTo>
                  <a:lnTo>
                    <a:pt x="844" y="651"/>
                  </a:lnTo>
                  <a:lnTo>
                    <a:pt x="844" y="649"/>
                  </a:lnTo>
                  <a:lnTo>
                    <a:pt x="842" y="649"/>
                  </a:lnTo>
                  <a:lnTo>
                    <a:pt x="844" y="649"/>
                  </a:lnTo>
                  <a:lnTo>
                    <a:pt x="844" y="647"/>
                  </a:lnTo>
                  <a:lnTo>
                    <a:pt x="844" y="649"/>
                  </a:lnTo>
                  <a:lnTo>
                    <a:pt x="844" y="647"/>
                  </a:lnTo>
                  <a:lnTo>
                    <a:pt x="842" y="647"/>
                  </a:lnTo>
                  <a:lnTo>
                    <a:pt x="844" y="647"/>
                  </a:lnTo>
                  <a:lnTo>
                    <a:pt x="842" y="647"/>
                  </a:lnTo>
                  <a:lnTo>
                    <a:pt x="844" y="647"/>
                  </a:lnTo>
                  <a:lnTo>
                    <a:pt x="847" y="647"/>
                  </a:lnTo>
                  <a:lnTo>
                    <a:pt x="849" y="647"/>
                  </a:lnTo>
                  <a:lnTo>
                    <a:pt x="847" y="647"/>
                  </a:lnTo>
                  <a:close/>
                  <a:moveTo>
                    <a:pt x="837" y="649"/>
                  </a:moveTo>
                  <a:lnTo>
                    <a:pt x="835" y="649"/>
                  </a:lnTo>
                  <a:lnTo>
                    <a:pt x="835" y="651"/>
                  </a:lnTo>
                  <a:lnTo>
                    <a:pt x="837" y="649"/>
                  </a:lnTo>
                  <a:lnTo>
                    <a:pt x="840" y="649"/>
                  </a:lnTo>
                  <a:lnTo>
                    <a:pt x="840" y="651"/>
                  </a:lnTo>
                  <a:lnTo>
                    <a:pt x="840" y="649"/>
                  </a:lnTo>
                  <a:lnTo>
                    <a:pt x="842" y="649"/>
                  </a:lnTo>
                  <a:lnTo>
                    <a:pt x="842" y="651"/>
                  </a:lnTo>
                  <a:lnTo>
                    <a:pt x="840" y="651"/>
                  </a:lnTo>
                  <a:lnTo>
                    <a:pt x="837" y="651"/>
                  </a:lnTo>
                  <a:lnTo>
                    <a:pt x="835" y="654"/>
                  </a:lnTo>
                  <a:lnTo>
                    <a:pt x="832" y="654"/>
                  </a:lnTo>
                  <a:lnTo>
                    <a:pt x="830" y="654"/>
                  </a:lnTo>
                  <a:lnTo>
                    <a:pt x="828" y="654"/>
                  </a:lnTo>
                  <a:lnTo>
                    <a:pt x="830" y="654"/>
                  </a:lnTo>
                  <a:lnTo>
                    <a:pt x="830" y="651"/>
                  </a:lnTo>
                  <a:lnTo>
                    <a:pt x="832" y="651"/>
                  </a:lnTo>
                  <a:lnTo>
                    <a:pt x="832" y="649"/>
                  </a:lnTo>
                  <a:lnTo>
                    <a:pt x="832" y="647"/>
                  </a:lnTo>
                  <a:lnTo>
                    <a:pt x="832" y="644"/>
                  </a:lnTo>
                  <a:lnTo>
                    <a:pt x="835" y="644"/>
                  </a:lnTo>
                  <a:lnTo>
                    <a:pt x="837" y="644"/>
                  </a:lnTo>
                  <a:lnTo>
                    <a:pt x="837" y="647"/>
                  </a:lnTo>
                  <a:lnTo>
                    <a:pt x="837" y="649"/>
                  </a:lnTo>
                  <a:lnTo>
                    <a:pt x="840" y="649"/>
                  </a:lnTo>
                  <a:lnTo>
                    <a:pt x="837" y="649"/>
                  </a:lnTo>
                  <a:close/>
                  <a:moveTo>
                    <a:pt x="590" y="618"/>
                  </a:moveTo>
                  <a:lnTo>
                    <a:pt x="593" y="618"/>
                  </a:lnTo>
                  <a:lnTo>
                    <a:pt x="593" y="616"/>
                  </a:lnTo>
                  <a:lnTo>
                    <a:pt x="593" y="618"/>
                  </a:lnTo>
                  <a:lnTo>
                    <a:pt x="595" y="616"/>
                  </a:lnTo>
                  <a:lnTo>
                    <a:pt x="595" y="618"/>
                  </a:lnTo>
                  <a:lnTo>
                    <a:pt x="595" y="616"/>
                  </a:lnTo>
                  <a:lnTo>
                    <a:pt x="598" y="616"/>
                  </a:lnTo>
                  <a:lnTo>
                    <a:pt x="598" y="618"/>
                  </a:lnTo>
                  <a:lnTo>
                    <a:pt x="598" y="620"/>
                  </a:lnTo>
                  <a:lnTo>
                    <a:pt x="598" y="618"/>
                  </a:lnTo>
                  <a:lnTo>
                    <a:pt x="598" y="616"/>
                  </a:lnTo>
                  <a:lnTo>
                    <a:pt x="600" y="616"/>
                  </a:lnTo>
                  <a:lnTo>
                    <a:pt x="600" y="618"/>
                  </a:lnTo>
                  <a:lnTo>
                    <a:pt x="600" y="620"/>
                  </a:lnTo>
                  <a:lnTo>
                    <a:pt x="602" y="620"/>
                  </a:lnTo>
                  <a:lnTo>
                    <a:pt x="600" y="620"/>
                  </a:lnTo>
                  <a:lnTo>
                    <a:pt x="602" y="620"/>
                  </a:lnTo>
                  <a:lnTo>
                    <a:pt x="602" y="618"/>
                  </a:lnTo>
                  <a:lnTo>
                    <a:pt x="602" y="620"/>
                  </a:lnTo>
                  <a:lnTo>
                    <a:pt x="602" y="618"/>
                  </a:lnTo>
                  <a:lnTo>
                    <a:pt x="602" y="620"/>
                  </a:lnTo>
                  <a:lnTo>
                    <a:pt x="605" y="620"/>
                  </a:lnTo>
                  <a:lnTo>
                    <a:pt x="602" y="620"/>
                  </a:lnTo>
                  <a:lnTo>
                    <a:pt x="605" y="620"/>
                  </a:lnTo>
                  <a:lnTo>
                    <a:pt x="607" y="620"/>
                  </a:lnTo>
                  <a:lnTo>
                    <a:pt x="605" y="620"/>
                  </a:lnTo>
                  <a:lnTo>
                    <a:pt x="605" y="623"/>
                  </a:lnTo>
                  <a:lnTo>
                    <a:pt x="605" y="620"/>
                  </a:lnTo>
                  <a:lnTo>
                    <a:pt x="607" y="620"/>
                  </a:lnTo>
                  <a:lnTo>
                    <a:pt x="607" y="623"/>
                  </a:lnTo>
                  <a:lnTo>
                    <a:pt x="607" y="625"/>
                  </a:lnTo>
                  <a:lnTo>
                    <a:pt x="605" y="625"/>
                  </a:lnTo>
                  <a:lnTo>
                    <a:pt x="602" y="625"/>
                  </a:lnTo>
                  <a:lnTo>
                    <a:pt x="600" y="625"/>
                  </a:lnTo>
                  <a:lnTo>
                    <a:pt x="598" y="625"/>
                  </a:lnTo>
                  <a:lnTo>
                    <a:pt x="595" y="625"/>
                  </a:lnTo>
                  <a:lnTo>
                    <a:pt x="595" y="623"/>
                  </a:lnTo>
                  <a:lnTo>
                    <a:pt x="593" y="623"/>
                  </a:lnTo>
                  <a:lnTo>
                    <a:pt x="590" y="623"/>
                  </a:lnTo>
                  <a:lnTo>
                    <a:pt x="588" y="623"/>
                  </a:lnTo>
                  <a:lnTo>
                    <a:pt x="588" y="620"/>
                  </a:lnTo>
                  <a:lnTo>
                    <a:pt x="586" y="620"/>
                  </a:lnTo>
                  <a:lnTo>
                    <a:pt x="586" y="618"/>
                  </a:lnTo>
                  <a:lnTo>
                    <a:pt x="588" y="618"/>
                  </a:lnTo>
                  <a:lnTo>
                    <a:pt x="590" y="618"/>
                  </a:lnTo>
                  <a:lnTo>
                    <a:pt x="590" y="620"/>
                  </a:lnTo>
                  <a:lnTo>
                    <a:pt x="590" y="618"/>
                  </a:lnTo>
                  <a:lnTo>
                    <a:pt x="588" y="618"/>
                  </a:lnTo>
                  <a:lnTo>
                    <a:pt x="590" y="618"/>
                  </a:lnTo>
                  <a:close/>
                  <a:moveTo>
                    <a:pt x="579" y="609"/>
                  </a:moveTo>
                  <a:lnTo>
                    <a:pt x="581" y="609"/>
                  </a:lnTo>
                  <a:lnTo>
                    <a:pt x="581" y="606"/>
                  </a:lnTo>
                  <a:lnTo>
                    <a:pt x="583" y="606"/>
                  </a:lnTo>
                  <a:lnTo>
                    <a:pt x="581" y="606"/>
                  </a:lnTo>
                  <a:lnTo>
                    <a:pt x="581" y="604"/>
                  </a:lnTo>
                  <a:lnTo>
                    <a:pt x="583" y="604"/>
                  </a:lnTo>
                  <a:lnTo>
                    <a:pt x="586" y="604"/>
                  </a:lnTo>
                  <a:lnTo>
                    <a:pt x="583" y="604"/>
                  </a:lnTo>
                  <a:lnTo>
                    <a:pt x="581" y="604"/>
                  </a:lnTo>
                  <a:lnTo>
                    <a:pt x="579" y="604"/>
                  </a:lnTo>
                  <a:lnTo>
                    <a:pt x="576" y="604"/>
                  </a:lnTo>
                  <a:lnTo>
                    <a:pt x="574" y="604"/>
                  </a:lnTo>
                  <a:lnTo>
                    <a:pt x="574" y="601"/>
                  </a:lnTo>
                  <a:lnTo>
                    <a:pt x="576" y="604"/>
                  </a:lnTo>
                  <a:lnTo>
                    <a:pt x="576" y="601"/>
                  </a:lnTo>
                  <a:lnTo>
                    <a:pt x="574" y="601"/>
                  </a:lnTo>
                  <a:lnTo>
                    <a:pt x="572" y="601"/>
                  </a:lnTo>
                  <a:lnTo>
                    <a:pt x="574" y="601"/>
                  </a:lnTo>
                  <a:lnTo>
                    <a:pt x="572" y="601"/>
                  </a:lnTo>
                  <a:lnTo>
                    <a:pt x="572" y="599"/>
                  </a:lnTo>
                  <a:lnTo>
                    <a:pt x="574" y="599"/>
                  </a:lnTo>
                  <a:lnTo>
                    <a:pt x="574" y="601"/>
                  </a:lnTo>
                  <a:lnTo>
                    <a:pt x="576" y="601"/>
                  </a:lnTo>
                  <a:lnTo>
                    <a:pt x="579" y="601"/>
                  </a:lnTo>
                  <a:lnTo>
                    <a:pt x="581" y="601"/>
                  </a:lnTo>
                  <a:lnTo>
                    <a:pt x="583" y="601"/>
                  </a:lnTo>
                  <a:lnTo>
                    <a:pt x="581" y="601"/>
                  </a:lnTo>
                  <a:lnTo>
                    <a:pt x="581" y="599"/>
                  </a:lnTo>
                  <a:lnTo>
                    <a:pt x="583" y="599"/>
                  </a:lnTo>
                  <a:lnTo>
                    <a:pt x="583" y="601"/>
                  </a:lnTo>
                  <a:lnTo>
                    <a:pt x="586" y="601"/>
                  </a:lnTo>
                  <a:lnTo>
                    <a:pt x="588" y="601"/>
                  </a:lnTo>
                  <a:lnTo>
                    <a:pt x="586" y="601"/>
                  </a:lnTo>
                  <a:lnTo>
                    <a:pt x="586" y="599"/>
                  </a:lnTo>
                  <a:lnTo>
                    <a:pt x="588" y="599"/>
                  </a:lnTo>
                  <a:lnTo>
                    <a:pt x="586" y="599"/>
                  </a:lnTo>
                  <a:lnTo>
                    <a:pt x="586" y="597"/>
                  </a:lnTo>
                  <a:lnTo>
                    <a:pt x="588" y="597"/>
                  </a:lnTo>
                  <a:lnTo>
                    <a:pt x="586" y="597"/>
                  </a:lnTo>
                  <a:lnTo>
                    <a:pt x="588" y="597"/>
                  </a:lnTo>
                  <a:lnTo>
                    <a:pt x="588" y="599"/>
                  </a:lnTo>
                  <a:lnTo>
                    <a:pt x="590" y="599"/>
                  </a:lnTo>
                  <a:lnTo>
                    <a:pt x="590" y="597"/>
                  </a:lnTo>
                  <a:lnTo>
                    <a:pt x="593" y="597"/>
                  </a:lnTo>
                  <a:lnTo>
                    <a:pt x="595" y="597"/>
                  </a:lnTo>
                  <a:lnTo>
                    <a:pt x="595" y="599"/>
                  </a:lnTo>
                  <a:lnTo>
                    <a:pt x="593" y="599"/>
                  </a:lnTo>
                  <a:lnTo>
                    <a:pt x="595" y="599"/>
                  </a:lnTo>
                  <a:lnTo>
                    <a:pt x="593" y="599"/>
                  </a:lnTo>
                  <a:lnTo>
                    <a:pt x="593" y="601"/>
                  </a:lnTo>
                  <a:lnTo>
                    <a:pt x="595" y="601"/>
                  </a:lnTo>
                  <a:lnTo>
                    <a:pt x="593" y="601"/>
                  </a:lnTo>
                  <a:lnTo>
                    <a:pt x="595" y="601"/>
                  </a:lnTo>
                  <a:lnTo>
                    <a:pt x="598" y="599"/>
                  </a:lnTo>
                  <a:lnTo>
                    <a:pt x="598" y="601"/>
                  </a:lnTo>
                  <a:lnTo>
                    <a:pt x="600" y="601"/>
                  </a:lnTo>
                  <a:lnTo>
                    <a:pt x="602" y="601"/>
                  </a:lnTo>
                  <a:lnTo>
                    <a:pt x="602" y="599"/>
                  </a:lnTo>
                  <a:lnTo>
                    <a:pt x="600" y="599"/>
                  </a:lnTo>
                  <a:lnTo>
                    <a:pt x="600" y="597"/>
                  </a:lnTo>
                  <a:lnTo>
                    <a:pt x="598" y="597"/>
                  </a:lnTo>
                  <a:lnTo>
                    <a:pt x="600" y="597"/>
                  </a:lnTo>
                  <a:lnTo>
                    <a:pt x="598" y="597"/>
                  </a:lnTo>
                  <a:lnTo>
                    <a:pt x="600" y="597"/>
                  </a:lnTo>
                  <a:lnTo>
                    <a:pt x="598" y="597"/>
                  </a:lnTo>
                  <a:lnTo>
                    <a:pt x="598" y="594"/>
                  </a:lnTo>
                  <a:lnTo>
                    <a:pt x="600" y="594"/>
                  </a:lnTo>
                  <a:lnTo>
                    <a:pt x="602" y="594"/>
                  </a:lnTo>
                  <a:lnTo>
                    <a:pt x="600" y="594"/>
                  </a:lnTo>
                  <a:lnTo>
                    <a:pt x="600" y="597"/>
                  </a:lnTo>
                  <a:lnTo>
                    <a:pt x="602" y="594"/>
                  </a:lnTo>
                  <a:lnTo>
                    <a:pt x="602" y="597"/>
                  </a:lnTo>
                  <a:lnTo>
                    <a:pt x="605" y="597"/>
                  </a:lnTo>
                  <a:lnTo>
                    <a:pt x="602" y="599"/>
                  </a:lnTo>
                  <a:lnTo>
                    <a:pt x="605" y="599"/>
                  </a:lnTo>
                  <a:lnTo>
                    <a:pt x="607" y="599"/>
                  </a:lnTo>
                  <a:lnTo>
                    <a:pt x="607" y="601"/>
                  </a:lnTo>
                  <a:lnTo>
                    <a:pt x="607" y="599"/>
                  </a:lnTo>
                  <a:lnTo>
                    <a:pt x="609" y="599"/>
                  </a:lnTo>
                  <a:lnTo>
                    <a:pt x="607" y="597"/>
                  </a:lnTo>
                  <a:lnTo>
                    <a:pt x="609" y="597"/>
                  </a:lnTo>
                  <a:lnTo>
                    <a:pt x="612" y="597"/>
                  </a:lnTo>
                  <a:lnTo>
                    <a:pt x="609" y="597"/>
                  </a:lnTo>
                  <a:lnTo>
                    <a:pt x="612" y="597"/>
                  </a:lnTo>
                  <a:lnTo>
                    <a:pt x="612" y="594"/>
                  </a:lnTo>
                  <a:lnTo>
                    <a:pt x="614" y="594"/>
                  </a:lnTo>
                  <a:lnTo>
                    <a:pt x="612" y="594"/>
                  </a:lnTo>
                  <a:lnTo>
                    <a:pt x="609" y="594"/>
                  </a:lnTo>
                  <a:lnTo>
                    <a:pt x="609" y="592"/>
                  </a:lnTo>
                  <a:lnTo>
                    <a:pt x="607" y="592"/>
                  </a:lnTo>
                  <a:lnTo>
                    <a:pt x="609" y="592"/>
                  </a:lnTo>
                  <a:lnTo>
                    <a:pt x="612" y="592"/>
                  </a:lnTo>
                  <a:lnTo>
                    <a:pt x="609" y="592"/>
                  </a:lnTo>
                  <a:lnTo>
                    <a:pt x="609" y="590"/>
                  </a:lnTo>
                  <a:lnTo>
                    <a:pt x="612" y="592"/>
                  </a:lnTo>
                  <a:lnTo>
                    <a:pt x="614" y="592"/>
                  </a:lnTo>
                  <a:lnTo>
                    <a:pt x="614" y="590"/>
                  </a:lnTo>
                  <a:lnTo>
                    <a:pt x="612" y="590"/>
                  </a:lnTo>
                  <a:lnTo>
                    <a:pt x="614" y="590"/>
                  </a:lnTo>
                  <a:lnTo>
                    <a:pt x="614" y="592"/>
                  </a:lnTo>
                  <a:lnTo>
                    <a:pt x="617" y="592"/>
                  </a:lnTo>
                  <a:lnTo>
                    <a:pt x="617" y="594"/>
                  </a:lnTo>
                  <a:lnTo>
                    <a:pt x="617" y="592"/>
                  </a:lnTo>
                  <a:lnTo>
                    <a:pt x="619" y="592"/>
                  </a:lnTo>
                  <a:lnTo>
                    <a:pt x="617" y="592"/>
                  </a:lnTo>
                  <a:lnTo>
                    <a:pt x="619" y="592"/>
                  </a:lnTo>
                  <a:lnTo>
                    <a:pt x="617" y="590"/>
                  </a:lnTo>
                  <a:lnTo>
                    <a:pt x="619" y="590"/>
                  </a:lnTo>
                  <a:lnTo>
                    <a:pt x="617" y="590"/>
                  </a:lnTo>
                  <a:lnTo>
                    <a:pt x="617" y="587"/>
                  </a:lnTo>
                  <a:lnTo>
                    <a:pt x="619" y="587"/>
                  </a:lnTo>
                  <a:lnTo>
                    <a:pt x="617" y="587"/>
                  </a:lnTo>
                  <a:lnTo>
                    <a:pt x="619" y="587"/>
                  </a:lnTo>
                  <a:lnTo>
                    <a:pt x="619" y="590"/>
                  </a:lnTo>
                  <a:lnTo>
                    <a:pt x="621" y="590"/>
                  </a:lnTo>
                  <a:lnTo>
                    <a:pt x="624" y="590"/>
                  </a:lnTo>
                  <a:lnTo>
                    <a:pt x="624" y="592"/>
                  </a:lnTo>
                  <a:lnTo>
                    <a:pt x="621" y="592"/>
                  </a:lnTo>
                  <a:lnTo>
                    <a:pt x="624" y="592"/>
                  </a:lnTo>
                  <a:lnTo>
                    <a:pt x="621" y="592"/>
                  </a:lnTo>
                  <a:lnTo>
                    <a:pt x="619" y="592"/>
                  </a:lnTo>
                  <a:lnTo>
                    <a:pt x="621" y="592"/>
                  </a:lnTo>
                  <a:lnTo>
                    <a:pt x="621" y="594"/>
                  </a:lnTo>
                  <a:lnTo>
                    <a:pt x="621" y="597"/>
                  </a:lnTo>
                  <a:lnTo>
                    <a:pt x="619" y="597"/>
                  </a:lnTo>
                  <a:lnTo>
                    <a:pt x="619" y="594"/>
                  </a:lnTo>
                  <a:lnTo>
                    <a:pt x="617" y="594"/>
                  </a:lnTo>
                  <a:lnTo>
                    <a:pt x="619" y="594"/>
                  </a:lnTo>
                  <a:lnTo>
                    <a:pt x="619" y="597"/>
                  </a:lnTo>
                  <a:lnTo>
                    <a:pt x="617" y="597"/>
                  </a:lnTo>
                  <a:lnTo>
                    <a:pt x="617" y="599"/>
                  </a:lnTo>
                  <a:lnTo>
                    <a:pt x="614" y="599"/>
                  </a:lnTo>
                  <a:lnTo>
                    <a:pt x="612" y="599"/>
                  </a:lnTo>
                  <a:lnTo>
                    <a:pt x="612" y="597"/>
                  </a:lnTo>
                  <a:lnTo>
                    <a:pt x="612" y="599"/>
                  </a:lnTo>
                  <a:lnTo>
                    <a:pt x="614" y="599"/>
                  </a:lnTo>
                  <a:lnTo>
                    <a:pt x="612" y="601"/>
                  </a:lnTo>
                  <a:lnTo>
                    <a:pt x="609" y="601"/>
                  </a:lnTo>
                  <a:lnTo>
                    <a:pt x="612" y="601"/>
                  </a:lnTo>
                  <a:lnTo>
                    <a:pt x="612" y="604"/>
                  </a:lnTo>
                  <a:lnTo>
                    <a:pt x="609" y="604"/>
                  </a:lnTo>
                  <a:lnTo>
                    <a:pt x="612" y="604"/>
                  </a:lnTo>
                  <a:lnTo>
                    <a:pt x="609" y="604"/>
                  </a:lnTo>
                  <a:lnTo>
                    <a:pt x="609" y="606"/>
                  </a:lnTo>
                  <a:lnTo>
                    <a:pt x="609" y="604"/>
                  </a:lnTo>
                  <a:lnTo>
                    <a:pt x="607" y="604"/>
                  </a:lnTo>
                  <a:lnTo>
                    <a:pt x="607" y="606"/>
                  </a:lnTo>
                  <a:lnTo>
                    <a:pt x="605" y="606"/>
                  </a:lnTo>
                  <a:lnTo>
                    <a:pt x="605" y="604"/>
                  </a:lnTo>
                  <a:lnTo>
                    <a:pt x="605" y="606"/>
                  </a:lnTo>
                  <a:lnTo>
                    <a:pt x="602" y="606"/>
                  </a:lnTo>
                  <a:lnTo>
                    <a:pt x="605" y="606"/>
                  </a:lnTo>
                  <a:lnTo>
                    <a:pt x="605" y="609"/>
                  </a:lnTo>
                  <a:lnTo>
                    <a:pt x="602" y="609"/>
                  </a:lnTo>
                  <a:lnTo>
                    <a:pt x="600" y="609"/>
                  </a:lnTo>
                  <a:lnTo>
                    <a:pt x="600" y="606"/>
                  </a:lnTo>
                  <a:lnTo>
                    <a:pt x="598" y="606"/>
                  </a:lnTo>
                  <a:lnTo>
                    <a:pt x="598" y="609"/>
                  </a:lnTo>
                  <a:lnTo>
                    <a:pt x="598" y="606"/>
                  </a:lnTo>
                  <a:lnTo>
                    <a:pt x="598" y="609"/>
                  </a:lnTo>
                  <a:lnTo>
                    <a:pt x="598" y="606"/>
                  </a:lnTo>
                  <a:lnTo>
                    <a:pt x="595" y="606"/>
                  </a:lnTo>
                  <a:lnTo>
                    <a:pt x="595" y="609"/>
                  </a:lnTo>
                  <a:lnTo>
                    <a:pt x="593" y="609"/>
                  </a:lnTo>
                  <a:lnTo>
                    <a:pt x="593" y="611"/>
                  </a:lnTo>
                  <a:lnTo>
                    <a:pt x="593" y="609"/>
                  </a:lnTo>
                  <a:lnTo>
                    <a:pt x="590" y="611"/>
                  </a:lnTo>
                  <a:lnTo>
                    <a:pt x="590" y="609"/>
                  </a:lnTo>
                  <a:lnTo>
                    <a:pt x="590" y="611"/>
                  </a:lnTo>
                  <a:lnTo>
                    <a:pt x="588" y="611"/>
                  </a:lnTo>
                  <a:lnTo>
                    <a:pt x="588" y="609"/>
                  </a:lnTo>
                  <a:lnTo>
                    <a:pt x="586" y="609"/>
                  </a:lnTo>
                  <a:lnTo>
                    <a:pt x="586" y="611"/>
                  </a:lnTo>
                  <a:lnTo>
                    <a:pt x="586" y="609"/>
                  </a:lnTo>
                  <a:lnTo>
                    <a:pt x="586" y="611"/>
                  </a:lnTo>
                  <a:lnTo>
                    <a:pt x="583" y="611"/>
                  </a:lnTo>
                  <a:lnTo>
                    <a:pt x="583" y="609"/>
                  </a:lnTo>
                  <a:lnTo>
                    <a:pt x="583" y="606"/>
                  </a:lnTo>
                  <a:lnTo>
                    <a:pt x="583" y="609"/>
                  </a:lnTo>
                  <a:lnTo>
                    <a:pt x="583" y="611"/>
                  </a:lnTo>
                  <a:lnTo>
                    <a:pt x="581" y="611"/>
                  </a:lnTo>
                  <a:lnTo>
                    <a:pt x="579" y="611"/>
                  </a:lnTo>
                  <a:lnTo>
                    <a:pt x="581" y="611"/>
                  </a:lnTo>
                  <a:lnTo>
                    <a:pt x="579" y="611"/>
                  </a:lnTo>
                  <a:lnTo>
                    <a:pt x="576" y="611"/>
                  </a:lnTo>
                  <a:lnTo>
                    <a:pt x="579" y="611"/>
                  </a:lnTo>
                  <a:lnTo>
                    <a:pt x="579" y="609"/>
                  </a:lnTo>
                  <a:close/>
                  <a:moveTo>
                    <a:pt x="851" y="606"/>
                  </a:moveTo>
                  <a:lnTo>
                    <a:pt x="849" y="606"/>
                  </a:lnTo>
                  <a:lnTo>
                    <a:pt x="851" y="606"/>
                  </a:lnTo>
                  <a:lnTo>
                    <a:pt x="854" y="606"/>
                  </a:lnTo>
                  <a:lnTo>
                    <a:pt x="851" y="606"/>
                  </a:lnTo>
                  <a:lnTo>
                    <a:pt x="854" y="606"/>
                  </a:lnTo>
                  <a:lnTo>
                    <a:pt x="856" y="606"/>
                  </a:lnTo>
                  <a:lnTo>
                    <a:pt x="859" y="606"/>
                  </a:lnTo>
                  <a:lnTo>
                    <a:pt x="859" y="609"/>
                  </a:lnTo>
                  <a:lnTo>
                    <a:pt x="856" y="609"/>
                  </a:lnTo>
                  <a:lnTo>
                    <a:pt x="859" y="609"/>
                  </a:lnTo>
                  <a:lnTo>
                    <a:pt x="859" y="611"/>
                  </a:lnTo>
                  <a:lnTo>
                    <a:pt x="861" y="611"/>
                  </a:lnTo>
                  <a:lnTo>
                    <a:pt x="863" y="611"/>
                  </a:lnTo>
                  <a:lnTo>
                    <a:pt x="861" y="613"/>
                  </a:lnTo>
                  <a:lnTo>
                    <a:pt x="863" y="613"/>
                  </a:lnTo>
                  <a:lnTo>
                    <a:pt x="861" y="613"/>
                  </a:lnTo>
                  <a:lnTo>
                    <a:pt x="863" y="613"/>
                  </a:lnTo>
                  <a:lnTo>
                    <a:pt x="866" y="613"/>
                  </a:lnTo>
                  <a:lnTo>
                    <a:pt x="868" y="613"/>
                  </a:lnTo>
                  <a:lnTo>
                    <a:pt x="870" y="613"/>
                  </a:lnTo>
                  <a:lnTo>
                    <a:pt x="870" y="616"/>
                  </a:lnTo>
                  <a:lnTo>
                    <a:pt x="873" y="616"/>
                  </a:lnTo>
                  <a:lnTo>
                    <a:pt x="873" y="618"/>
                  </a:lnTo>
                  <a:lnTo>
                    <a:pt x="873" y="620"/>
                  </a:lnTo>
                  <a:lnTo>
                    <a:pt x="873" y="623"/>
                  </a:lnTo>
                  <a:lnTo>
                    <a:pt x="870" y="623"/>
                  </a:lnTo>
                  <a:lnTo>
                    <a:pt x="868" y="623"/>
                  </a:lnTo>
                  <a:lnTo>
                    <a:pt x="866" y="623"/>
                  </a:lnTo>
                  <a:lnTo>
                    <a:pt x="863" y="625"/>
                  </a:lnTo>
                  <a:lnTo>
                    <a:pt x="863" y="623"/>
                  </a:lnTo>
                  <a:lnTo>
                    <a:pt x="863" y="625"/>
                  </a:lnTo>
                  <a:lnTo>
                    <a:pt x="863" y="623"/>
                  </a:lnTo>
                  <a:lnTo>
                    <a:pt x="863" y="625"/>
                  </a:lnTo>
                  <a:lnTo>
                    <a:pt x="861" y="625"/>
                  </a:lnTo>
                  <a:lnTo>
                    <a:pt x="859" y="625"/>
                  </a:lnTo>
                  <a:lnTo>
                    <a:pt x="856" y="625"/>
                  </a:lnTo>
                  <a:lnTo>
                    <a:pt x="854" y="625"/>
                  </a:lnTo>
                  <a:lnTo>
                    <a:pt x="854" y="628"/>
                  </a:lnTo>
                  <a:lnTo>
                    <a:pt x="851" y="628"/>
                  </a:lnTo>
                  <a:lnTo>
                    <a:pt x="849" y="628"/>
                  </a:lnTo>
                  <a:lnTo>
                    <a:pt x="849" y="630"/>
                  </a:lnTo>
                  <a:lnTo>
                    <a:pt x="849" y="632"/>
                  </a:lnTo>
                  <a:lnTo>
                    <a:pt x="847" y="632"/>
                  </a:lnTo>
                  <a:lnTo>
                    <a:pt x="844" y="632"/>
                  </a:lnTo>
                  <a:lnTo>
                    <a:pt x="842" y="632"/>
                  </a:lnTo>
                  <a:lnTo>
                    <a:pt x="842" y="635"/>
                  </a:lnTo>
                  <a:lnTo>
                    <a:pt x="844" y="635"/>
                  </a:lnTo>
                  <a:lnTo>
                    <a:pt x="842" y="635"/>
                  </a:lnTo>
                  <a:lnTo>
                    <a:pt x="840" y="635"/>
                  </a:lnTo>
                  <a:lnTo>
                    <a:pt x="837" y="635"/>
                  </a:lnTo>
                  <a:lnTo>
                    <a:pt x="835" y="635"/>
                  </a:lnTo>
                  <a:lnTo>
                    <a:pt x="832" y="635"/>
                  </a:lnTo>
                  <a:lnTo>
                    <a:pt x="830" y="635"/>
                  </a:lnTo>
                  <a:lnTo>
                    <a:pt x="828" y="635"/>
                  </a:lnTo>
                  <a:lnTo>
                    <a:pt x="825" y="635"/>
                  </a:lnTo>
                  <a:lnTo>
                    <a:pt x="823" y="635"/>
                  </a:lnTo>
                  <a:lnTo>
                    <a:pt x="821" y="635"/>
                  </a:lnTo>
                  <a:lnTo>
                    <a:pt x="821" y="632"/>
                  </a:lnTo>
                  <a:lnTo>
                    <a:pt x="821" y="635"/>
                  </a:lnTo>
                  <a:lnTo>
                    <a:pt x="818" y="635"/>
                  </a:lnTo>
                  <a:lnTo>
                    <a:pt x="818" y="632"/>
                  </a:lnTo>
                  <a:lnTo>
                    <a:pt x="816" y="632"/>
                  </a:lnTo>
                  <a:lnTo>
                    <a:pt x="814" y="632"/>
                  </a:lnTo>
                  <a:lnTo>
                    <a:pt x="811" y="632"/>
                  </a:lnTo>
                  <a:lnTo>
                    <a:pt x="809" y="632"/>
                  </a:lnTo>
                  <a:lnTo>
                    <a:pt x="806" y="632"/>
                  </a:lnTo>
                  <a:lnTo>
                    <a:pt x="804" y="632"/>
                  </a:lnTo>
                  <a:lnTo>
                    <a:pt x="804" y="630"/>
                  </a:lnTo>
                  <a:lnTo>
                    <a:pt x="802" y="630"/>
                  </a:lnTo>
                  <a:lnTo>
                    <a:pt x="799" y="630"/>
                  </a:lnTo>
                  <a:lnTo>
                    <a:pt x="797" y="630"/>
                  </a:lnTo>
                  <a:lnTo>
                    <a:pt x="795" y="630"/>
                  </a:lnTo>
                  <a:lnTo>
                    <a:pt x="792" y="630"/>
                  </a:lnTo>
                  <a:lnTo>
                    <a:pt x="795" y="630"/>
                  </a:lnTo>
                  <a:lnTo>
                    <a:pt x="797" y="630"/>
                  </a:lnTo>
                  <a:lnTo>
                    <a:pt x="795" y="630"/>
                  </a:lnTo>
                  <a:lnTo>
                    <a:pt x="795" y="632"/>
                  </a:lnTo>
                  <a:lnTo>
                    <a:pt x="792" y="632"/>
                  </a:lnTo>
                  <a:lnTo>
                    <a:pt x="795" y="632"/>
                  </a:lnTo>
                  <a:lnTo>
                    <a:pt x="795" y="635"/>
                  </a:lnTo>
                  <a:lnTo>
                    <a:pt x="795" y="632"/>
                  </a:lnTo>
                  <a:lnTo>
                    <a:pt x="797" y="632"/>
                  </a:lnTo>
                  <a:lnTo>
                    <a:pt x="799" y="632"/>
                  </a:lnTo>
                  <a:lnTo>
                    <a:pt x="799" y="635"/>
                  </a:lnTo>
                  <a:lnTo>
                    <a:pt x="797" y="635"/>
                  </a:lnTo>
                  <a:lnTo>
                    <a:pt x="799" y="635"/>
                  </a:lnTo>
                  <a:lnTo>
                    <a:pt x="802" y="635"/>
                  </a:lnTo>
                  <a:lnTo>
                    <a:pt x="804" y="635"/>
                  </a:lnTo>
                  <a:lnTo>
                    <a:pt x="806" y="635"/>
                  </a:lnTo>
                  <a:lnTo>
                    <a:pt x="806" y="637"/>
                  </a:lnTo>
                  <a:lnTo>
                    <a:pt x="809" y="637"/>
                  </a:lnTo>
                  <a:lnTo>
                    <a:pt x="809" y="635"/>
                  </a:lnTo>
                  <a:lnTo>
                    <a:pt x="809" y="637"/>
                  </a:lnTo>
                  <a:lnTo>
                    <a:pt x="811" y="637"/>
                  </a:lnTo>
                  <a:lnTo>
                    <a:pt x="809" y="637"/>
                  </a:lnTo>
                  <a:lnTo>
                    <a:pt x="809" y="639"/>
                  </a:lnTo>
                  <a:lnTo>
                    <a:pt x="811" y="639"/>
                  </a:lnTo>
                  <a:lnTo>
                    <a:pt x="811" y="637"/>
                  </a:lnTo>
                  <a:lnTo>
                    <a:pt x="811" y="639"/>
                  </a:lnTo>
                  <a:lnTo>
                    <a:pt x="814" y="639"/>
                  </a:lnTo>
                  <a:lnTo>
                    <a:pt x="814" y="637"/>
                  </a:lnTo>
                  <a:lnTo>
                    <a:pt x="814" y="639"/>
                  </a:lnTo>
                  <a:lnTo>
                    <a:pt x="816" y="639"/>
                  </a:lnTo>
                  <a:lnTo>
                    <a:pt x="816" y="637"/>
                  </a:lnTo>
                  <a:lnTo>
                    <a:pt x="816" y="639"/>
                  </a:lnTo>
                  <a:lnTo>
                    <a:pt x="818" y="639"/>
                  </a:lnTo>
                  <a:lnTo>
                    <a:pt x="821" y="639"/>
                  </a:lnTo>
                  <a:lnTo>
                    <a:pt x="823" y="639"/>
                  </a:lnTo>
                  <a:lnTo>
                    <a:pt x="821" y="639"/>
                  </a:lnTo>
                  <a:lnTo>
                    <a:pt x="823" y="639"/>
                  </a:lnTo>
                  <a:lnTo>
                    <a:pt x="825" y="639"/>
                  </a:lnTo>
                  <a:lnTo>
                    <a:pt x="825" y="642"/>
                  </a:lnTo>
                  <a:lnTo>
                    <a:pt x="828" y="642"/>
                  </a:lnTo>
                  <a:lnTo>
                    <a:pt x="825" y="642"/>
                  </a:lnTo>
                  <a:lnTo>
                    <a:pt x="828" y="642"/>
                  </a:lnTo>
                  <a:lnTo>
                    <a:pt x="825" y="642"/>
                  </a:lnTo>
                  <a:lnTo>
                    <a:pt x="825" y="644"/>
                  </a:lnTo>
                  <a:lnTo>
                    <a:pt x="823" y="644"/>
                  </a:lnTo>
                  <a:lnTo>
                    <a:pt x="821" y="644"/>
                  </a:lnTo>
                  <a:lnTo>
                    <a:pt x="818" y="647"/>
                  </a:lnTo>
                  <a:lnTo>
                    <a:pt x="821" y="647"/>
                  </a:lnTo>
                  <a:lnTo>
                    <a:pt x="818" y="647"/>
                  </a:lnTo>
                  <a:lnTo>
                    <a:pt x="816" y="647"/>
                  </a:lnTo>
                  <a:lnTo>
                    <a:pt x="818" y="647"/>
                  </a:lnTo>
                  <a:lnTo>
                    <a:pt x="818" y="649"/>
                  </a:lnTo>
                  <a:lnTo>
                    <a:pt x="818" y="647"/>
                  </a:lnTo>
                  <a:lnTo>
                    <a:pt x="818" y="649"/>
                  </a:lnTo>
                  <a:lnTo>
                    <a:pt x="818" y="647"/>
                  </a:lnTo>
                  <a:lnTo>
                    <a:pt x="821" y="647"/>
                  </a:lnTo>
                  <a:lnTo>
                    <a:pt x="821" y="644"/>
                  </a:lnTo>
                  <a:lnTo>
                    <a:pt x="823" y="644"/>
                  </a:lnTo>
                  <a:lnTo>
                    <a:pt x="825" y="644"/>
                  </a:lnTo>
                  <a:lnTo>
                    <a:pt x="823" y="644"/>
                  </a:lnTo>
                  <a:lnTo>
                    <a:pt x="825" y="644"/>
                  </a:lnTo>
                  <a:lnTo>
                    <a:pt x="823" y="644"/>
                  </a:lnTo>
                  <a:lnTo>
                    <a:pt x="825" y="644"/>
                  </a:lnTo>
                  <a:lnTo>
                    <a:pt x="828" y="644"/>
                  </a:lnTo>
                  <a:lnTo>
                    <a:pt x="830" y="644"/>
                  </a:lnTo>
                  <a:lnTo>
                    <a:pt x="830" y="647"/>
                  </a:lnTo>
                  <a:lnTo>
                    <a:pt x="830" y="649"/>
                  </a:lnTo>
                  <a:lnTo>
                    <a:pt x="830" y="651"/>
                  </a:lnTo>
                  <a:lnTo>
                    <a:pt x="828" y="651"/>
                  </a:lnTo>
                  <a:lnTo>
                    <a:pt x="828" y="654"/>
                  </a:lnTo>
                  <a:lnTo>
                    <a:pt x="825" y="654"/>
                  </a:lnTo>
                  <a:lnTo>
                    <a:pt x="828" y="654"/>
                  </a:lnTo>
                  <a:lnTo>
                    <a:pt x="825" y="654"/>
                  </a:lnTo>
                  <a:lnTo>
                    <a:pt x="825" y="656"/>
                  </a:lnTo>
                  <a:lnTo>
                    <a:pt x="823" y="656"/>
                  </a:lnTo>
                  <a:lnTo>
                    <a:pt x="821" y="656"/>
                  </a:lnTo>
                  <a:lnTo>
                    <a:pt x="818" y="656"/>
                  </a:lnTo>
                  <a:lnTo>
                    <a:pt x="818" y="658"/>
                  </a:lnTo>
                  <a:lnTo>
                    <a:pt x="818" y="656"/>
                  </a:lnTo>
                  <a:lnTo>
                    <a:pt x="821" y="656"/>
                  </a:lnTo>
                  <a:lnTo>
                    <a:pt x="821" y="658"/>
                  </a:lnTo>
                  <a:lnTo>
                    <a:pt x="821" y="656"/>
                  </a:lnTo>
                  <a:lnTo>
                    <a:pt x="823" y="658"/>
                  </a:lnTo>
                  <a:lnTo>
                    <a:pt x="823" y="656"/>
                  </a:lnTo>
                  <a:lnTo>
                    <a:pt x="823" y="658"/>
                  </a:lnTo>
                  <a:lnTo>
                    <a:pt x="821" y="658"/>
                  </a:lnTo>
                  <a:lnTo>
                    <a:pt x="821" y="661"/>
                  </a:lnTo>
                  <a:lnTo>
                    <a:pt x="821" y="658"/>
                  </a:lnTo>
                  <a:lnTo>
                    <a:pt x="821" y="661"/>
                  </a:lnTo>
                  <a:lnTo>
                    <a:pt x="823" y="661"/>
                  </a:lnTo>
                  <a:lnTo>
                    <a:pt x="823" y="658"/>
                  </a:lnTo>
                  <a:lnTo>
                    <a:pt x="825" y="656"/>
                  </a:lnTo>
                  <a:lnTo>
                    <a:pt x="828" y="656"/>
                  </a:lnTo>
                  <a:lnTo>
                    <a:pt x="828" y="654"/>
                  </a:lnTo>
                  <a:lnTo>
                    <a:pt x="830" y="654"/>
                  </a:lnTo>
                  <a:lnTo>
                    <a:pt x="832" y="654"/>
                  </a:lnTo>
                  <a:lnTo>
                    <a:pt x="835" y="654"/>
                  </a:lnTo>
                  <a:lnTo>
                    <a:pt x="835" y="656"/>
                  </a:lnTo>
                  <a:lnTo>
                    <a:pt x="835" y="654"/>
                  </a:lnTo>
                  <a:lnTo>
                    <a:pt x="837" y="654"/>
                  </a:lnTo>
                  <a:lnTo>
                    <a:pt x="840" y="654"/>
                  </a:lnTo>
                  <a:lnTo>
                    <a:pt x="840" y="651"/>
                  </a:lnTo>
                  <a:lnTo>
                    <a:pt x="840" y="654"/>
                  </a:lnTo>
                  <a:lnTo>
                    <a:pt x="840" y="651"/>
                  </a:lnTo>
                  <a:lnTo>
                    <a:pt x="840" y="654"/>
                  </a:lnTo>
                  <a:lnTo>
                    <a:pt x="840" y="656"/>
                  </a:lnTo>
                  <a:lnTo>
                    <a:pt x="837" y="656"/>
                  </a:lnTo>
                  <a:lnTo>
                    <a:pt x="835" y="656"/>
                  </a:lnTo>
                  <a:lnTo>
                    <a:pt x="837" y="656"/>
                  </a:lnTo>
                  <a:lnTo>
                    <a:pt x="840" y="656"/>
                  </a:lnTo>
                  <a:lnTo>
                    <a:pt x="842" y="656"/>
                  </a:lnTo>
                  <a:lnTo>
                    <a:pt x="840" y="656"/>
                  </a:lnTo>
                  <a:lnTo>
                    <a:pt x="842" y="656"/>
                  </a:lnTo>
                  <a:lnTo>
                    <a:pt x="842" y="658"/>
                  </a:lnTo>
                  <a:lnTo>
                    <a:pt x="842" y="661"/>
                  </a:lnTo>
                  <a:lnTo>
                    <a:pt x="844" y="663"/>
                  </a:lnTo>
                  <a:lnTo>
                    <a:pt x="844" y="666"/>
                  </a:lnTo>
                  <a:lnTo>
                    <a:pt x="844" y="668"/>
                  </a:lnTo>
                  <a:lnTo>
                    <a:pt x="842" y="668"/>
                  </a:lnTo>
                  <a:lnTo>
                    <a:pt x="842" y="670"/>
                  </a:lnTo>
                  <a:lnTo>
                    <a:pt x="840" y="673"/>
                  </a:lnTo>
                  <a:lnTo>
                    <a:pt x="840" y="675"/>
                  </a:lnTo>
                  <a:lnTo>
                    <a:pt x="837" y="675"/>
                  </a:lnTo>
                  <a:lnTo>
                    <a:pt x="835" y="675"/>
                  </a:lnTo>
                  <a:lnTo>
                    <a:pt x="835" y="673"/>
                  </a:lnTo>
                  <a:lnTo>
                    <a:pt x="832" y="673"/>
                  </a:lnTo>
                  <a:lnTo>
                    <a:pt x="832" y="675"/>
                  </a:lnTo>
                  <a:lnTo>
                    <a:pt x="830" y="675"/>
                  </a:lnTo>
                  <a:lnTo>
                    <a:pt x="828" y="677"/>
                  </a:lnTo>
                  <a:lnTo>
                    <a:pt x="825" y="680"/>
                  </a:lnTo>
                  <a:lnTo>
                    <a:pt x="823" y="680"/>
                  </a:lnTo>
                  <a:lnTo>
                    <a:pt x="821" y="680"/>
                  </a:lnTo>
                  <a:lnTo>
                    <a:pt x="818" y="680"/>
                  </a:lnTo>
                  <a:lnTo>
                    <a:pt x="816" y="680"/>
                  </a:lnTo>
                  <a:lnTo>
                    <a:pt x="816" y="682"/>
                  </a:lnTo>
                  <a:lnTo>
                    <a:pt x="814" y="682"/>
                  </a:lnTo>
                  <a:lnTo>
                    <a:pt x="814" y="685"/>
                  </a:lnTo>
                  <a:lnTo>
                    <a:pt x="816" y="685"/>
                  </a:lnTo>
                  <a:lnTo>
                    <a:pt x="816" y="687"/>
                  </a:lnTo>
                  <a:lnTo>
                    <a:pt x="814" y="687"/>
                  </a:lnTo>
                  <a:lnTo>
                    <a:pt x="814" y="689"/>
                  </a:lnTo>
                  <a:lnTo>
                    <a:pt x="814" y="692"/>
                  </a:lnTo>
                  <a:lnTo>
                    <a:pt x="811" y="694"/>
                  </a:lnTo>
                  <a:lnTo>
                    <a:pt x="809" y="694"/>
                  </a:lnTo>
                  <a:lnTo>
                    <a:pt x="809" y="696"/>
                  </a:lnTo>
                  <a:lnTo>
                    <a:pt x="806" y="696"/>
                  </a:lnTo>
                  <a:lnTo>
                    <a:pt x="804" y="696"/>
                  </a:lnTo>
                  <a:lnTo>
                    <a:pt x="802" y="694"/>
                  </a:lnTo>
                  <a:lnTo>
                    <a:pt x="799" y="694"/>
                  </a:lnTo>
                  <a:lnTo>
                    <a:pt x="799" y="692"/>
                  </a:lnTo>
                  <a:lnTo>
                    <a:pt x="799" y="689"/>
                  </a:lnTo>
                  <a:lnTo>
                    <a:pt x="799" y="687"/>
                  </a:lnTo>
                  <a:lnTo>
                    <a:pt x="799" y="685"/>
                  </a:lnTo>
                  <a:lnTo>
                    <a:pt x="806" y="680"/>
                  </a:lnTo>
                  <a:lnTo>
                    <a:pt x="811" y="675"/>
                  </a:lnTo>
                  <a:lnTo>
                    <a:pt x="814" y="675"/>
                  </a:lnTo>
                  <a:lnTo>
                    <a:pt x="816" y="670"/>
                  </a:lnTo>
                  <a:lnTo>
                    <a:pt x="814" y="663"/>
                  </a:lnTo>
                  <a:lnTo>
                    <a:pt x="809" y="658"/>
                  </a:lnTo>
                  <a:lnTo>
                    <a:pt x="804" y="656"/>
                  </a:lnTo>
                  <a:lnTo>
                    <a:pt x="792" y="651"/>
                  </a:lnTo>
                  <a:lnTo>
                    <a:pt x="787" y="651"/>
                  </a:lnTo>
                  <a:lnTo>
                    <a:pt x="785" y="649"/>
                  </a:lnTo>
                  <a:lnTo>
                    <a:pt x="783" y="649"/>
                  </a:lnTo>
                  <a:lnTo>
                    <a:pt x="785" y="647"/>
                  </a:lnTo>
                  <a:lnTo>
                    <a:pt x="783" y="647"/>
                  </a:lnTo>
                  <a:lnTo>
                    <a:pt x="778" y="644"/>
                  </a:lnTo>
                  <a:lnTo>
                    <a:pt x="776" y="642"/>
                  </a:lnTo>
                  <a:lnTo>
                    <a:pt x="773" y="639"/>
                  </a:lnTo>
                  <a:lnTo>
                    <a:pt x="771" y="639"/>
                  </a:lnTo>
                  <a:lnTo>
                    <a:pt x="771" y="637"/>
                  </a:lnTo>
                  <a:lnTo>
                    <a:pt x="771" y="635"/>
                  </a:lnTo>
                  <a:lnTo>
                    <a:pt x="768" y="635"/>
                  </a:lnTo>
                  <a:lnTo>
                    <a:pt x="766" y="635"/>
                  </a:lnTo>
                  <a:lnTo>
                    <a:pt x="764" y="635"/>
                  </a:lnTo>
                  <a:lnTo>
                    <a:pt x="761" y="635"/>
                  </a:lnTo>
                  <a:lnTo>
                    <a:pt x="759" y="635"/>
                  </a:lnTo>
                  <a:lnTo>
                    <a:pt x="757" y="635"/>
                  </a:lnTo>
                  <a:lnTo>
                    <a:pt x="757" y="637"/>
                  </a:lnTo>
                  <a:lnTo>
                    <a:pt x="754" y="637"/>
                  </a:lnTo>
                  <a:lnTo>
                    <a:pt x="752" y="639"/>
                  </a:lnTo>
                  <a:lnTo>
                    <a:pt x="749" y="639"/>
                  </a:lnTo>
                  <a:lnTo>
                    <a:pt x="749" y="642"/>
                  </a:lnTo>
                  <a:lnTo>
                    <a:pt x="747" y="642"/>
                  </a:lnTo>
                  <a:lnTo>
                    <a:pt x="745" y="642"/>
                  </a:lnTo>
                  <a:lnTo>
                    <a:pt x="745" y="644"/>
                  </a:lnTo>
                  <a:lnTo>
                    <a:pt x="742" y="644"/>
                  </a:lnTo>
                  <a:lnTo>
                    <a:pt x="740" y="644"/>
                  </a:lnTo>
                  <a:lnTo>
                    <a:pt x="738" y="644"/>
                  </a:lnTo>
                  <a:lnTo>
                    <a:pt x="738" y="642"/>
                  </a:lnTo>
                  <a:lnTo>
                    <a:pt x="738" y="644"/>
                  </a:lnTo>
                  <a:lnTo>
                    <a:pt x="735" y="644"/>
                  </a:lnTo>
                  <a:lnTo>
                    <a:pt x="735" y="642"/>
                  </a:lnTo>
                  <a:lnTo>
                    <a:pt x="733" y="642"/>
                  </a:lnTo>
                  <a:lnTo>
                    <a:pt x="730" y="642"/>
                  </a:lnTo>
                  <a:lnTo>
                    <a:pt x="728" y="642"/>
                  </a:lnTo>
                  <a:lnTo>
                    <a:pt x="726" y="642"/>
                  </a:lnTo>
                  <a:lnTo>
                    <a:pt x="723" y="642"/>
                  </a:lnTo>
                  <a:lnTo>
                    <a:pt x="721" y="642"/>
                  </a:lnTo>
                  <a:lnTo>
                    <a:pt x="721" y="644"/>
                  </a:lnTo>
                  <a:lnTo>
                    <a:pt x="721" y="647"/>
                  </a:lnTo>
                  <a:lnTo>
                    <a:pt x="719" y="647"/>
                  </a:lnTo>
                  <a:lnTo>
                    <a:pt x="719" y="649"/>
                  </a:lnTo>
                  <a:lnTo>
                    <a:pt x="716" y="649"/>
                  </a:lnTo>
                  <a:lnTo>
                    <a:pt x="714" y="651"/>
                  </a:lnTo>
                  <a:lnTo>
                    <a:pt x="714" y="654"/>
                  </a:lnTo>
                  <a:lnTo>
                    <a:pt x="711" y="654"/>
                  </a:lnTo>
                  <a:lnTo>
                    <a:pt x="711" y="656"/>
                  </a:lnTo>
                  <a:lnTo>
                    <a:pt x="709" y="656"/>
                  </a:lnTo>
                  <a:lnTo>
                    <a:pt x="707" y="656"/>
                  </a:lnTo>
                  <a:lnTo>
                    <a:pt x="704" y="656"/>
                  </a:lnTo>
                  <a:lnTo>
                    <a:pt x="704" y="658"/>
                  </a:lnTo>
                  <a:lnTo>
                    <a:pt x="702" y="658"/>
                  </a:lnTo>
                  <a:lnTo>
                    <a:pt x="704" y="661"/>
                  </a:lnTo>
                  <a:lnTo>
                    <a:pt x="704" y="663"/>
                  </a:lnTo>
                  <a:lnTo>
                    <a:pt x="704" y="666"/>
                  </a:lnTo>
                  <a:lnTo>
                    <a:pt x="702" y="666"/>
                  </a:lnTo>
                  <a:lnTo>
                    <a:pt x="702" y="668"/>
                  </a:lnTo>
                  <a:lnTo>
                    <a:pt x="702" y="670"/>
                  </a:lnTo>
                  <a:lnTo>
                    <a:pt x="700" y="670"/>
                  </a:lnTo>
                  <a:lnTo>
                    <a:pt x="700" y="673"/>
                  </a:lnTo>
                  <a:lnTo>
                    <a:pt x="700" y="675"/>
                  </a:lnTo>
                  <a:lnTo>
                    <a:pt x="702" y="675"/>
                  </a:lnTo>
                  <a:lnTo>
                    <a:pt x="700" y="675"/>
                  </a:lnTo>
                  <a:lnTo>
                    <a:pt x="700" y="677"/>
                  </a:lnTo>
                  <a:lnTo>
                    <a:pt x="700" y="680"/>
                  </a:lnTo>
                  <a:lnTo>
                    <a:pt x="697" y="680"/>
                  </a:lnTo>
                  <a:lnTo>
                    <a:pt x="697" y="682"/>
                  </a:lnTo>
                  <a:lnTo>
                    <a:pt x="697" y="685"/>
                  </a:lnTo>
                  <a:lnTo>
                    <a:pt x="697" y="687"/>
                  </a:lnTo>
                  <a:lnTo>
                    <a:pt x="697" y="689"/>
                  </a:lnTo>
                  <a:lnTo>
                    <a:pt x="697" y="692"/>
                  </a:lnTo>
                  <a:lnTo>
                    <a:pt x="697" y="694"/>
                  </a:lnTo>
                  <a:lnTo>
                    <a:pt x="697" y="696"/>
                  </a:lnTo>
                  <a:lnTo>
                    <a:pt x="700" y="696"/>
                  </a:lnTo>
                  <a:lnTo>
                    <a:pt x="700" y="699"/>
                  </a:lnTo>
                  <a:lnTo>
                    <a:pt x="697" y="699"/>
                  </a:lnTo>
                  <a:lnTo>
                    <a:pt x="697" y="701"/>
                  </a:lnTo>
                  <a:lnTo>
                    <a:pt x="695" y="701"/>
                  </a:lnTo>
                  <a:lnTo>
                    <a:pt x="695" y="704"/>
                  </a:lnTo>
                  <a:lnTo>
                    <a:pt x="693" y="706"/>
                  </a:lnTo>
                  <a:lnTo>
                    <a:pt x="690" y="706"/>
                  </a:lnTo>
                  <a:lnTo>
                    <a:pt x="690" y="704"/>
                  </a:lnTo>
                  <a:lnTo>
                    <a:pt x="688" y="704"/>
                  </a:lnTo>
                  <a:lnTo>
                    <a:pt x="685" y="704"/>
                  </a:lnTo>
                  <a:lnTo>
                    <a:pt x="688" y="706"/>
                  </a:lnTo>
                  <a:lnTo>
                    <a:pt x="685" y="706"/>
                  </a:lnTo>
                  <a:lnTo>
                    <a:pt x="683" y="706"/>
                  </a:lnTo>
                  <a:lnTo>
                    <a:pt x="681" y="708"/>
                  </a:lnTo>
                  <a:lnTo>
                    <a:pt x="681" y="711"/>
                  </a:lnTo>
                  <a:lnTo>
                    <a:pt x="678" y="711"/>
                  </a:lnTo>
                  <a:lnTo>
                    <a:pt x="678" y="713"/>
                  </a:lnTo>
                  <a:lnTo>
                    <a:pt x="678" y="715"/>
                  </a:lnTo>
                  <a:lnTo>
                    <a:pt x="676" y="715"/>
                  </a:lnTo>
                  <a:lnTo>
                    <a:pt x="678" y="715"/>
                  </a:lnTo>
                  <a:lnTo>
                    <a:pt x="676" y="718"/>
                  </a:lnTo>
                  <a:lnTo>
                    <a:pt x="678" y="718"/>
                  </a:lnTo>
                  <a:lnTo>
                    <a:pt x="678" y="720"/>
                  </a:lnTo>
                  <a:lnTo>
                    <a:pt x="676" y="720"/>
                  </a:lnTo>
                  <a:lnTo>
                    <a:pt x="674" y="720"/>
                  </a:lnTo>
                  <a:lnTo>
                    <a:pt x="671" y="720"/>
                  </a:lnTo>
                  <a:lnTo>
                    <a:pt x="671" y="723"/>
                  </a:lnTo>
                  <a:lnTo>
                    <a:pt x="671" y="725"/>
                  </a:lnTo>
                  <a:lnTo>
                    <a:pt x="669" y="725"/>
                  </a:lnTo>
                  <a:lnTo>
                    <a:pt x="669" y="723"/>
                  </a:lnTo>
                  <a:lnTo>
                    <a:pt x="666" y="720"/>
                  </a:lnTo>
                  <a:lnTo>
                    <a:pt x="664" y="718"/>
                  </a:lnTo>
                  <a:lnTo>
                    <a:pt x="662" y="718"/>
                  </a:lnTo>
                  <a:lnTo>
                    <a:pt x="650" y="715"/>
                  </a:lnTo>
                  <a:lnTo>
                    <a:pt x="647" y="713"/>
                  </a:lnTo>
                  <a:lnTo>
                    <a:pt x="645" y="713"/>
                  </a:lnTo>
                  <a:lnTo>
                    <a:pt x="645" y="711"/>
                  </a:lnTo>
                  <a:lnTo>
                    <a:pt x="643" y="711"/>
                  </a:lnTo>
                  <a:lnTo>
                    <a:pt x="640" y="708"/>
                  </a:lnTo>
                  <a:lnTo>
                    <a:pt x="636" y="708"/>
                  </a:lnTo>
                  <a:lnTo>
                    <a:pt x="633" y="708"/>
                  </a:lnTo>
                  <a:lnTo>
                    <a:pt x="631" y="713"/>
                  </a:lnTo>
                  <a:lnTo>
                    <a:pt x="631" y="715"/>
                  </a:lnTo>
                  <a:lnTo>
                    <a:pt x="621" y="715"/>
                  </a:lnTo>
                  <a:lnTo>
                    <a:pt x="617" y="718"/>
                  </a:lnTo>
                  <a:lnTo>
                    <a:pt x="614" y="720"/>
                  </a:lnTo>
                  <a:lnTo>
                    <a:pt x="612" y="720"/>
                  </a:lnTo>
                  <a:lnTo>
                    <a:pt x="609" y="715"/>
                  </a:lnTo>
                  <a:lnTo>
                    <a:pt x="600" y="718"/>
                  </a:lnTo>
                  <a:lnTo>
                    <a:pt x="593" y="713"/>
                  </a:lnTo>
                  <a:lnTo>
                    <a:pt x="588" y="715"/>
                  </a:lnTo>
                  <a:lnTo>
                    <a:pt x="586" y="708"/>
                  </a:lnTo>
                  <a:lnTo>
                    <a:pt x="581" y="704"/>
                  </a:lnTo>
                  <a:lnTo>
                    <a:pt x="581" y="701"/>
                  </a:lnTo>
                  <a:lnTo>
                    <a:pt x="576" y="696"/>
                  </a:lnTo>
                  <a:lnTo>
                    <a:pt x="574" y="694"/>
                  </a:lnTo>
                  <a:lnTo>
                    <a:pt x="567" y="687"/>
                  </a:lnTo>
                  <a:lnTo>
                    <a:pt x="562" y="682"/>
                  </a:lnTo>
                  <a:lnTo>
                    <a:pt x="550" y="680"/>
                  </a:lnTo>
                  <a:lnTo>
                    <a:pt x="545" y="682"/>
                  </a:lnTo>
                  <a:lnTo>
                    <a:pt x="541" y="685"/>
                  </a:lnTo>
                  <a:lnTo>
                    <a:pt x="541" y="687"/>
                  </a:lnTo>
                  <a:lnTo>
                    <a:pt x="543" y="689"/>
                  </a:lnTo>
                  <a:lnTo>
                    <a:pt x="543" y="692"/>
                  </a:lnTo>
                  <a:lnTo>
                    <a:pt x="545" y="692"/>
                  </a:lnTo>
                  <a:lnTo>
                    <a:pt x="543" y="696"/>
                  </a:lnTo>
                  <a:lnTo>
                    <a:pt x="534" y="692"/>
                  </a:lnTo>
                  <a:lnTo>
                    <a:pt x="531" y="692"/>
                  </a:lnTo>
                  <a:lnTo>
                    <a:pt x="526" y="694"/>
                  </a:lnTo>
                  <a:lnTo>
                    <a:pt x="524" y="694"/>
                  </a:lnTo>
                  <a:lnTo>
                    <a:pt x="512" y="696"/>
                  </a:lnTo>
                  <a:lnTo>
                    <a:pt x="510" y="696"/>
                  </a:lnTo>
                  <a:lnTo>
                    <a:pt x="519" y="704"/>
                  </a:lnTo>
                  <a:lnTo>
                    <a:pt x="519" y="711"/>
                  </a:lnTo>
                  <a:lnTo>
                    <a:pt x="515" y="718"/>
                  </a:lnTo>
                  <a:lnTo>
                    <a:pt x="510" y="723"/>
                  </a:lnTo>
                  <a:lnTo>
                    <a:pt x="507" y="725"/>
                  </a:lnTo>
                  <a:lnTo>
                    <a:pt x="510" y="725"/>
                  </a:lnTo>
                  <a:lnTo>
                    <a:pt x="510" y="727"/>
                  </a:lnTo>
                  <a:lnTo>
                    <a:pt x="517" y="727"/>
                  </a:lnTo>
                  <a:lnTo>
                    <a:pt x="507" y="734"/>
                  </a:lnTo>
                  <a:lnTo>
                    <a:pt x="505" y="737"/>
                  </a:lnTo>
                  <a:lnTo>
                    <a:pt x="474" y="727"/>
                  </a:lnTo>
                  <a:lnTo>
                    <a:pt x="462" y="727"/>
                  </a:lnTo>
                  <a:lnTo>
                    <a:pt x="455" y="723"/>
                  </a:lnTo>
                  <a:lnTo>
                    <a:pt x="446" y="725"/>
                  </a:lnTo>
                  <a:lnTo>
                    <a:pt x="446" y="732"/>
                  </a:lnTo>
                  <a:lnTo>
                    <a:pt x="448" y="744"/>
                  </a:lnTo>
                  <a:lnTo>
                    <a:pt x="446" y="749"/>
                  </a:lnTo>
                  <a:lnTo>
                    <a:pt x="441" y="753"/>
                  </a:lnTo>
                  <a:lnTo>
                    <a:pt x="441" y="758"/>
                  </a:lnTo>
                  <a:lnTo>
                    <a:pt x="439" y="758"/>
                  </a:lnTo>
                  <a:lnTo>
                    <a:pt x="434" y="756"/>
                  </a:lnTo>
                  <a:lnTo>
                    <a:pt x="432" y="753"/>
                  </a:lnTo>
                  <a:lnTo>
                    <a:pt x="427" y="753"/>
                  </a:lnTo>
                  <a:lnTo>
                    <a:pt x="420" y="749"/>
                  </a:lnTo>
                  <a:lnTo>
                    <a:pt x="415" y="753"/>
                  </a:lnTo>
                  <a:lnTo>
                    <a:pt x="410" y="756"/>
                  </a:lnTo>
                  <a:lnTo>
                    <a:pt x="403" y="761"/>
                  </a:lnTo>
                  <a:lnTo>
                    <a:pt x="401" y="761"/>
                  </a:lnTo>
                  <a:lnTo>
                    <a:pt x="398" y="770"/>
                  </a:lnTo>
                  <a:lnTo>
                    <a:pt x="396" y="777"/>
                  </a:lnTo>
                  <a:lnTo>
                    <a:pt x="394" y="780"/>
                  </a:lnTo>
                  <a:lnTo>
                    <a:pt x="391" y="782"/>
                  </a:lnTo>
                  <a:lnTo>
                    <a:pt x="391" y="784"/>
                  </a:lnTo>
                  <a:lnTo>
                    <a:pt x="382" y="784"/>
                  </a:lnTo>
                  <a:lnTo>
                    <a:pt x="382" y="787"/>
                  </a:lnTo>
                  <a:lnTo>
                    <a:pt x="379" y="789"/>
                  </a:lnTo>
                  <a:lnTo>
                    <a:pt x="384" y="796"/>
                  </a:lnTo>
                  <a:lnTo>
                    <a:pt x="389" y="801"/>
                  </a:lnTo>
                  <a:lnTo>
                    <a:pt x="389" y="803"/>
                  </a:lnTo>
                  <a:lnTo>
                    <a:pt x="389" y="813"/>
                  </a:lnTo>
                  <a:lnTo>
                    <a:pt x="386" y="815"/>
                  </a:lnTo>
                  <a:lnTo>
                    <a:pt x="384" y="815"/>
                  </a:lnTo>
                  <a:lnTo>
                    <a:pt x="379" y="818"/>
                  </a:lnTo>
                  <a:lnTo>
                    <a:pt x="377" y="820"/>
                  </a:lnTo>
                  <a:lnTo>
                    <a:pt x="365" y="837"/>
                  </a:lnTo>
                  <a:lnTo>
                    <a:pt x="358" y="841"/>
                  </a:lnTo>
                  <a:lnTo>
                    <a:pt x="356" y="844"/>
                  </a:lnTo>
                  <a:lnTo>
                    <a:pt x="358" y="851"/>
                  </a:lnTo>
                  <a:lnTo>
                    <a:pt x="358" y="853"/>
                  </a:lnTo>
                  <a:lnTo>
                    <a:pt x="360" y="856"/>
                  </a:lnTo>
                  <a:lnTo>
                    <a:pt x="356" y="858"/>
                  </a:lnTo>
                  <a:lnTo>
                    <a:pt x="346" y="863"/>
                  </a:lnTo>
                  <a:lnTo>
                    <a:pt x="344" y="863"/>
                  </a:lnTo>
                  <a:lnTo>
                    <a:pt x="339" y="863"/>
                  </a:lnTo>
                  <a:lnTo>
                    <a:pt x="329" y="863"/>
                  </a:lnTo>
                  <a:lnTo>
                    <a:pt x="327" y="863"/>
                  </a:lnTo>
                  <a:lnTo>
                    <a:pt x="329" y="867"/>
                  </a:lnTo>
                  <a:lnTo>
                    <a:pt x="329" y="872"/>
                  </a:lnTo>
                  <a:lnTo>
                    <a:pt x="329" y="877"/>
                  </a:lnTo>
                  <a:lnTo>
                    <a:pt x="332" y="882"/>
                  </a:lnTo>
                  <a:lnTo>
                    <a:pt x="329" y="889"/>
                  </a:lnTo>
                  <a:lnTo>
                    <a:pt x="327" y="898"/>
                  </a:lnTo>
                  <a:lnTo>
                    <a:pt x="327" y="908"/>
                  </a:lnTo>
                  <a:lnTo>
                    <a:pt x="327" y="910"/>
                  </a:lnTo>
                  <a:lnTo>
                    <a:pt x="322" y="915"/>
                  </a:lnTo>
                  <a:lnTo>
                    <a:pt x="322" y="922"/>
                  </a:lnTo>
                  <a:lnTo>
                    <a:pt x="320" y="922"/>
                  </a:lnTo>
                  <a:lnTo>
                    <a:pt x="315" y="929"/>
                  </a:lnTo>
                  <a:lnTo>
                    <a:pt x="313" y="932"/>
                  </a:lnTo>
                  <a:lnTo>
                    <a:pt x="308" y="936"/>
                  </a:lnTo>
                  <a:lnTo>
                    <a:pt x="306" y="944"/>
                  </a:lnTo>
                  <a:lnTo>
                    <a:pt x="303" y="944"/>
                  </a:lnTo>
                  <a:lnTo>
                    <a:pt x="301" y="948"/>
                  </a:lnTo>
                  <a:lnTo>
                    <a:pt x="301" y="951"/>
                  </a:lnTo>
                  <a:lnTo>
                    <a:pt x="299" y="951"/>
                  </a:lnTo>
                  <a:lnTo>
                    <a:pt x="306" y="953"/>
                  </a:lnTo>
                  <a:lnTo>
                    <a:pt x="308" y="955"/>
                  </a:lnTo>
                  <a:lnTo>
                    <a:pt x="311" y="955"/>
                  </a:lnTo>
                  <a:lnTo>
                    <a:pt x="313" y="955"/>
                  </a:lnTo>
                  <a:lnTo>
                    <a:pt x="313" y="958"/>
                  </a:lnTo>
                  <a:lnTo>
                    <a:pt x="315" y="958"/>
                  </a:lnTo>
                  <a:lnTo>
                    <a:pt x="315" y="960"/>
                  </a:lnTo>
                  <a:lnTo>
                    <a:pt x="315" y="972"/>
                  </a:lnTo>
                  <a:lnTo>
                    <a:pt x="315" y="974"/>
                  </a:lnTo>
                  <a:lnTo>
                    <a:pt x="311" y="982"/>
                  </a:lnTo>
                  <a:lnTo>
                    <a:pt x="311" y="984"/>
                  </a:lnTo>
                  <a:lnTo>
                    <a:pt x="301" y="982"/>
                  </a:lnTo>
                  <a:lnTo>
                    <a:pt x="299" y="982"/>
                  </a:lnTo>
                  <a:lnTo>
                    <a:pt x="294" y="979"/>
                  </a:lnTo>
                  <a:lnTo>
                    <a:pt x="284" y="979"/>
                  </a:lnTo>
                  <a:lnTo>
                    <a:pt x="282" y="979"/>
                  </a:lnTo>
                  <a:lnTo>
                    <a:pt x="275" y="982"/>
                  </a:lnTo>
                  <a:lnTo>
                    <a:pt x="270" y="984"/>
                  </a:lnTo>
                  <a:lnTo>
                    <a:pt x="268" y="984"/>
                  </a:lnTo>
                  <a:lnTo>
                    <a:pt x="265" y="989"/>
                  </a:lnTo>
                  <a:lnTo>
                    <a:pt x="261" y="991"/>
                  </a:lnTo>
                  <a:lnTo>
                    <a:pt x="256" y="1001"/>
                  </a:lnTo>
                  <a:lnTo>
                    <a:pt x="254" y="1001"/>
                  </a:lnTo>
                  <a:lnTo>
                    <a:pt x="254" y="1003"/>
                  </a:lnTo>
                  <a:lnTo>
                    <a:pt x="249" y="1005"/>
                  </a:lnTo>
                  <a:lnTo>
                    <a:pt x="251" y="1012"/>
                  </a:lnTo>
                  <a:lnTo>
                    <a:pt x="246" y="1020"/>
                  </a:lnTo>
                  <a:lnTo>
                    <a:pt x="244" y="1022"/>
                  </a:lnTo>
                  <a:lnTo>
                    <a:pt x="244" y="1024"/>
                  </a:lnTo>
                  <a:lnTo>
                    <a:pt x="244" y="1027"/>
                  </a:lnTo>
                  <a:lnTo>
                    <a:pt x="246" y="1029"/>
                  </a:lnTo>
                  <a:lnTo>
                    <a:pt x="251" y="1036"/>
                  </a:lnTo>
                  <a:lnTo>
                    <a:pt x="251" y="1039"/>
                  </a:lnTo>
                  <a:lnTo>
                    <a:pt x="246" y="1043"/>
                  </a:lnTo>
                  <a:lnTo>
                    <a:pt x="249" y="1050"/>
                  </a:lnTo>
                  <a:lnTo>
                    <a:pt x="249" y="1053"/>
                  </a:lnTo>
                  <a:lnTo>
                    <a:pt x="246" y="1060"/>
                  </a:lnTo>
                  <a:lnTo>
                    <a:pt x="254" y="1074"/>
                  </a:lnTo>
                  <a:lnTo>
                    <a:pt x="254" y="1077"/>
                  </a:lnTo>
                  <a:lnTo>
                    <a:pt x="254" y="1079"/>
                  </a:lnTo>
                  <a:lnTo>
                    <a:pt x="254" y="1081"/>
                  </a:lnTo>
                  <a:lnTo>
                    <a:pt x="254" y="1088"/>
                  </a:lnTo>
                  <a:lnTo>
                    <a:pt x="251" y="1093"/>
                  </a:lnTo>
                  <a:lnTo>
                    <a:pt x="249" y="1105"/>
                  </a:lnTo>
                  <a:lnTo>
                    <a:pt x="249" y="1107"/>
                  </a:lnTo>
                  <a:lnTo>
                    <a:pt x="254" y="1112"/>
                  </a:lnTo>
                  <a:lnTo>
                    <a:pt x="256" y="1115"/>
                  </a:lnTo>
                  <a:lnTo>
                    <a:pt x="258" y="1117"/>
                  </a:lnTo>
                  <a:lnTo>
                    <a:pt x="263" y="1117"/>
                  </a:lnTo>
                  <a:lnTo>
                    <a:pt x="265" y="1119"/>
                  </a:lnTo>
                  <a:lnTo>
                    <a:pt x="268" y="1122"/>
                  </a:lnTo>
                  <a:lnTo>
                    <a:pt x="270" y="1124"/>
                  </a:lnTo>
                  <a:lnTo>
                    <a:pt x="273" y="1129"/>
                  </a:lnTo>
                  <a:lnTo>
                    <a:pt x="273" y="1131"/>
                  </a:lnTo>
                  <a:lnTo>
                    <a:pt x="270" y="1136"/>
                  </a:lnTo>
                  <a:lnTo>
                    <a:pt x="268" y="1138"/>
                  </a:lnTo>
                  <a:lnTo>
                    <a:pt x="268" y="1143"/>
                  </a:lnTo>
                  <a:lnTo>
                    <a:pt x="265" y="1145"/>
                  </a:lnTo>
                  <a:lnTo>
                    <a:pt x="261" y="1145"/>
                  </a:lnTo>
                  <a:lnTo>
                    <a:pt x="258" y="1145"/>
                  </a:lnTo>
                  <a:lnTo>
                    <a:pt x="251" y="1145"/>
                  </a:lnTo>
                  <a:lnTo>
                    <a:pt x="254" y="1150"/>
                  </a:lnTo>
                  <a:lnTo>
                    <a:pt x="256" y="1153"/>
                  </a:lnTo>
                  <a:lnTo>
                    <a:pt x="256" y="1155"/>
                  </a:lnTo>
                  <a:lnTo>
                    <a:pt x="258" y="1162"/>
                  </a:lnTo>
                  <a:lnTo>
                    <a:pt x="261" y="1167"/>
                  </a:lnTo>
                  <a:lnTo>
                    <a:pt x="261" y="1169"/>
                  </a:lnTo>
                  <a:lnTo>
                    <a:pt x="263" y="1172"/>
                  </a:lnTo>
                  <a:lnTo>
                    <a:pt x="265" y="1174"/>
                  </a:lnTo>
                  <a:lnTo>
                    <a:pt x="265" y="1179"/>
                  </a:lnTo>
                  <a:lnTo>
                    <a:pt x="263" y="1181"/>
                  </a:lnTo>
                  <a:lnTo>
                    <a:pt x="261" y="1183"/>
                  </a:lnTo>
                  <a:lnTo>
                    <a:pt x="261" y="1186"/>
                  </a:lnTo>
                  <a:lnTo>
                    <a:pt x="261" y="1188"/>
                  </a:lnTo>
                  <a:lnTo>
                    <a:pt x="263" y="1188"/>
                  </a:lnTo>
                  <a:lnTo>
                    <a:pt x="263" y="1191"/>
                  </a:lnTo>
                  <a:lnTo>
                    <a:pt x="261" y="1193"/>
                  </a:lnTo>
                  <a:lnTo>
                    <a:pt x="261" y="1195"/>
                  </a:lnTo>
                  <a:lnTo>
                    <a:pt x="261" y="1198"/>
                  </a:lnTo>
                  <a:lnTo>
                    <a:pt x="258" y="1198"/>
                  </a:lnTo>
                  <a:lnTo>
                    <a:pt x="258" y="1200"/>
                  </a:lnTo>
                  <a:lnTo>
                    <a:pt x="256" y="1200"/>
                  </a:lnTo>
                  <a:lnTo>
                    <a:pt x="256" y="1202"/>
                  </a:lnTo>
                  <a:lnTo>
                    <a:pt x="254" y="1202"/>
                  </a:lnTo>
                  <a:lnTo>
                    <a:pt x="251" y="1205"/>
                  </a:lnTo>
                  <a:lnTo>
                    <a:pt x="251" y="1207"/>
                  </a:lnTo>
                  <a:lnTo>
                    <a:pt x="249" y="1207"/>
                  </a:lnTo>
                  <a:lnTo>
                    <a:pt x="246" y="1207"/>
                  </a:lnTo>
                  <a:lnTo>
                    <a:pt x="244" y="1207"/>
                  </a:lnTo>
                  <a:lnTo>
                    <a:pt x="244" y="1205"/>
                  </a:lnTo>
                  <a:lnTo>
                    <a:pt x="244" y="1207"/>
                  </a:lnTo>
                  <a:lnTo>
                    <a:pt x="242" y="1207"/>
                  </a:lnTo>
                  <a:lnTo>
                    <a:pt x="239" y="1210"/>
                  </a:lnTo>
                  <a:lnTo>
                    <a:pt x="242" y="1210"/>
                  </a:lnTo>
                  <a:lnTo>
                    <a:pt x="242" y="1212"/>
                  </a:lnTo>
                  <a:lnTo>
                    <a:pt x="242" y="1214"/>
                  </a:lnTo>
                  <a:lnTo>
                    <a:pt x="242" y="1217"/>
                  </a:lnTo>
                  <a:lnTo>
                    <a:pt x="239" y="1219"/>
                  </a:lnTo>
                  <a:lnTo>
                    <a:pt x="237" y="1219"/>
                  </a:lnTo>
                  <a:lnTo>
                    <a:pt x="235" y="1219"/>
                  </a:lnTo>
                  <a:lnTo>
                    <a:pt x="235" y="1221"/>
                  </a:lnTo>
                  <a:lnTo>
                    <a:pt x="235" y="1226"/>
                  </a:lnTo>
                  <a:lnTo>
                    <a:pt x="237" y="1226"/>
                  </a:lnTo>
                  <a:lnTo>
                    <a:pt x="237" y="1229"/>
                  </a:lnTo>
                  <a:lnTo>
                    <a:pt x="237" y="1231"/>
                  </a:lnTo>
                  <a:lnTo>
                    <a:pt x="237" y="1233"/>
                  </a:lnTo>
                  <a:lnTo>
                    <a:pt x="239" y="1236"/>
                  </a:lnTo>
                  <a:lnTo>
                    <a:pt x="239" y="1240"/>
                  </a:lnTo>
                  <a:lnTo>
                    <a:pt x="237" y="1243"/>
                  </a:lnTo>
                  <a:lnTo>
                    <a:pt x="237" y="1245"/>
                  </a:lnTo>
                  <a:lnTo>
                    <a:pt x="237" y="1248"/>
                  </a:lnTo>
                  <a:lnTo>
                    <a:pt x="237" y="1250"/>
                  </a:lnTo>
                  <a:lnTo>
                    <a:pt x="235" y="1252"/>
                  </a:lnTo>
                  <a:lnTo>
                    <a:pt x="235" y="1255"/>
                  </a:lnTo>
                  <a:lnTo>
                    <a:pt x="235" y="1257"/>
                  </a:lnTo>
                  <a:lnTo>
                    <a:pt x="232" y="1257"/>
                  </a:lnTo>
                  <a:lnTo>
                    <a:pt x="235" y="1257"/>
                  </a:lnTo>
                  <a:lnTo>
                    <a:pt x="232" y="1257"/>
                  </a:lnTo>
                  <a:lnTo>
                    <a:pt x="232" y="1259"/>
                  </a:lnTo>
                  <a:lnTo>
                    <a:pt x="232" y="1257"/>
                  </a:lnTo>
                  <a:lnTo>
                    <a:pt x="232" y="1259"/>
                  </a:lnTo>
                  <a:lnTo>
                    <a:pt x="230" y="1259"/>
                  </a:lnTo>
                  <a:lnTo>
                    <a:pt x="227" y="1259"/>
                  </a:lnTo>
                  <a:lnTo>
                    <a:pt x="227" y="1257"/>
                  </a:lnTo>
                  <a:lnTo>
                    <a:pt x="227" y="1255"/>
                  </a:lnTo>
                  <a:lnTo>
                    <a:pt x="227" y="1252"/>
                  </a:lnTo>
                  <a:lnTo>
                    <a:pt x="225" y="1252"/>
                  </a:lnTo>
                  <a:lnTo>
                    <a:pt x="227" y="1252"/>
                  </a:lnTo>
                  <a:lnTo>
                    <a:pt x="225" y="1252"/>
                  </a:lnTo>
                  <a:lnTo>
                    <a:pt x="225" y="1250"/>
                  </a:lnTo>
                  <a:lnTo>
                    <a:pt x="225" y="1248"/>
                  </a:lnTo>
                  <a:lnTo>
                    <a:pt x="223" y="1248"/>
                  </a:lnTo>
                  <a:lnTo>
                    <a:pt x="220" y="1248"/>
                  </a:lnTo>
                  <a:lnTo>
                    <a:pt x="218" y="1248"/>
                  </a:lnTo>
                  <a:lnTo>
                    <a:pt x="218" y="1245"/>
                  </a:lnTo>
                  <a:lnTo>
                    <a:pt x="218" y="1243"/>
                  </a:lnTo>
                  <a:lnTo>
                    <a:pt x="216" y="1243"/>
                  </a:lnTo>
                  <a:lnTo>
                    <a:pt x="218" y="1243"/>
                  </a:lnTo>
                  <a:lnTo>
                    <a:pt x="216" y="1243"/>
                  </a:lnTo>
                  <a:lnTo>
                    <a:pt x="218" y="1243"/>
                  </a:lnTo>
                  <a:lnTo>
                    <a:pt x="218" y="1245"/>
                  </a:lnTo>
                  <a:lnTo>
                    <a:pt x="216" y="1245"/>
                  </a:lnTo>
                  <a:lnTo>
                    <a:pt x="218" y="1245"/>
                  </a:lnTo>
                  <a:lnTo>
                    <a:pt x="216" y="1245"/>
                  </a:lnTo>
                  <a:lnTo>
                    <a:pt x="216" y="1248"/>
                  </a:lnTo>
                  <a:lnTo>
                    <a:pt x="216" y="1245"/>
                  </a:lnTo>
                  <a:lnTo>
                    <a:pt x="216" y="1243"/>
                  </a:lnTo>
                  <a:lnTo>
                    <a:pt x="213" y="1243"/>
                  </a:lnTo>
                  <a:lnTo>
                    <a:pt x="216" y="1243"/>
                  </a:lnTo>
                  <a:lnTo>
                    <a:pt x="216" y="1245"/>
                  </a:lnTo>
                  <a:lnTo>
                    <a:pt x="216" y="1248"/>
                  </a:lnTo>
                  <a:lnTo>
                    <a:pt x="213" y="1248"/>
                  </a:lnTo>
                  <a:lnTo>
                    <a:pt x="213" y="1245"/>
                  </a:lnTo>
                  <a:lnTo>
                    <a:pt x="213" y="1248"/>
                  </a:lnTo>
                  <a:lnTo>
                    <a:pt x="213" y="1245"/>
                  </a:lnTo>
                  <a:lnTo>
                    <a:pt x="213" y="1248"/>
                  </a:lnTo>
                  <a:lnTo>
                    <a:pt x="213" y="1245"/>
                  </a:lnTo>
                  <a:lnTo>
                    <a:pt x="211" y="1245"/>
                  </a:lnTo>
                  <a:lnTo>
                    <a:pt x="213" y="1245"/>
                  </a:lnTo>
                  <a:lnTo>
                    <a:pt x="211" y="1245"/>
                  </a:lnTo>
                  <a:lnTo>
                    <a:pt x="211" y="1243"/>
                  </a:lnTo>
                  <a:lnTo>
                    <a:pt x="213" y="1243"/>
                  </a:lnTo>
                  <a:lnTo>
                    <a:pt x="211" y="1243"/>
                  </a:lnTo>
                  <a:lnTo>
                    <a:pt x="211" y="1245"/>
                  </a:lnTo>
                  <a:lnTo>
                    <a:pt x="211" y="1243"/>
                  </a:lnTo>
                  <a:lnTo>
                    <a:pt x="211" y="1245"/>
                  </a:lnTo>
                  <a:lnTo>
                    <a:pt x="211" y="1243"/>
                  </a:lnTo>
                  <a:lnTo>
                    <a:pt x="211" y="1245"/>
                  </a:lnTo>
                  <a:lnTo>
                    <a:pt x="208" y="1245"/>
                  </a:lnTo>
                  <a:lnTo>
                    <a:pt x="208" y="1243"/>
                  </a:lnTo>
                  <a:lnTo>
                    <a:pt x="208" y="1245"/>
                  </a:lnTo>
                  <a:lnTo>
                    <a:pt x="208" y="1243"/>
                  </a:lnTo>
                  <a:lnTo>
                    <a:pt x="206" y="1243"/>
                  </a:lnTo>
                  <a:lnTo>
                    <a:pt x="206" y="1245"/>
                  </a:lnTo>
                  <a:lnTo>
                    <a:pt x="206" y="1243"/>
                  </a:lnTo>
                  <a:lnTo>
                    <a:pt x="204" y="1243"/>
                  </a:lnTo>
                  <a:lnTo>
                    <a:pt x="206" y="1243"/>
                  </a:lnTo>
                  <a:lnTo>
                    <a:pt x="204" y="1243"/>
                  </a:lnTo>
                  <a:lnTo>
                    <a:pt x="204" y="1240"/>
                  </a:lnTo>
                  <a:lnTo>
                    <a:pt x="204" y="1238"/>
                  </a:lnTo>
                  <a:lnTo>
                    <a:pt x="204" y="1240"/>
                  </a:lnTo>
                  <a:lnTo>
                    <a:pt x="204" y="1238"/>
                  </a:lnTo>
                  <a:lnTo>
                    <a:pt x="204" y="1240"/>
                  </a:lnTo>
                  <a:lnTo>
                    <a:pt x="201" y="1240"/>
                  </a:lnTo>
                  <a:lnTo>
                    <a:pt x="204" y="1238"/>
                  </a:lnTo>
                  <a:lnTo>
                    <a:pt x="204" y="1236"/>
                  </a:lnTo>
                  <a:lnTo>
                    <a:pt x="206" y="1236"/>
                  </a:lnTo>
                  <a:lnTo>
                    <a:pt x="204" y="1236"/>
                  </a:lnTo>
                  <a:lnTo>
                    <a:pt x="204" y="1238"/>
                  </a:lnTo>
                  <a:lnTo>
                    <a:pt x="204" y="1236"/>
                  </a:lnTo>
                  <a:lnTo>
                    <a:pt x="204" y="1238"/>
                  </a:lnTo>
                  <a:lnTo>
                    <a:pt x="204" y="1236"/>
                  </a:lnTo>
                  <a:lnTo>
                    <a:pt x="204" y="1238"/>
                  </a:lnTo>
                  <a:lnTo>
                    <a:pt x="201" y="1238"/>
                  </a:lnTo>
                  <a:lnTo>
                    <a:pt x="204" y="1236"/>
                  </a:lnTo>
                  <a:lnTo>
                    <a:pt x="201" y="1236"/>
                  </a:lnTo>
                  <a:lnTo>
                    <a:pt x="204" y="1236"/>
                  </a:lnTo>
                  <a:lnTo>
                    <a:pt x="201" y="1236"/>
                  </a:lnTo>
                  <a:lnTo>
                    <a:pt x="201" y="1238"/>
                  </a:lnTo>
                  <a:lnTo>
                    <a:pt x="201" y="1236"/>
                  </a:lnTo>
                  <a:lnTo>
                    <a:pt x="201" y="1233"/>
                  </a:lnTo>
                  <a:lnTo>
                    <a:pt x="201" y="1236"/>
                  </a:lnTo>
                  <a:lnTo>
                    <a:pt x="201" y="1233"/>
                  </a:lnTo>
                  <a:lnTo>
                    <a:pt x="199" y="1233"/>
                  </a:lnTo>
                  <a:lnTo>
                    <a:pt x="199" y="1231"/>
                  </a:lnTo>
                  <a:lnTo>
                    <a:pt x="201" y="1231"/>
                  </a:lnTo>
                  <a:lnTo>
                    <a:pt x="199" y="1231"/>
                  </a:lnTo>
                  <a:lnTo>
                    <a:pt x="199" y="1229"/>
                  </a:lnTo>
                  <a:lnTo>
                    <a:pt x="201" y="1226"/>
                  </a:lnTo>
                  <a:lnTo>
                    <a:pt x="199" y="1226"/>
                  </a:lnTo>
                  <a:lnTo>
                    <a:pt x="201" y="1226"/>
                  </a:lnTo>
                  <a:lnTo>
                    <a:pt x="201" y="1229"/>
                  </a:lnTo>
                  <a:lnTo>
                    <a:pt x="201" y="1231"/>
                  </a:lnTo>
                  <a:lnTo>
                    <a:pt x="199" y="1231"/>
                  </a:lnTo>
                  <a:lnTo>
                    <a:pt x="201" y="1231"/>
                  </a:lnTo>
                  <a:lnTo>
                    <a:pt x="201" y="1229"/>
                  </a:lnTo>
                  <a:lnTo>
                    <a:pt x="201" y="1226"/>
                  </a:lnTo>
                  <a:lnTo>
                    <a:pt x="201" y="1224"/>
                  </a:lnTo>
                  <a:lnTo>
                    <a:pt x="199" y="1224"/>
                  </a:lnTo>
                  <a:lnTo>
                    <a:pt x="201" y="1224"/>
                  </a:lnTo>
                  <a:lnTo>
                    <a:pt x="201" y="1221"/>
                  </a:lnTo>
                  <a:lnTo>
                    <a:pt x="199" y="1221"/>
                  </a:lnTo>
                  <a:lnTo>
                    <a:pt x="201" y="1221"/>
                  </a:lnTo>
                  <a:lnTo>
                    <a:pt x="199" y="1221"/>
                  </a:lnTo>
                  <a:lnTo>
                    <a:pt x="201" y="1221"/>
                  </a:lnTo>
                  <a:lnTo>
                    <a:pt x="199" y="1221"/>
                  </a:lnTo>
                  <a:lnTo>
                    <a:pt x="199" y="1219"/>
                  </a:lnTo>
                  <a:lnTo>
                    <a:pt x="199" y="1217"/>
                  </a:lnTo>
                  <a:lnTo>
                    <a:pt x="199" y="1214"/>
                  </a:lnTo>
                  <a:lnTo>
                    <a:pt x="197" y="1214"/>
                  </a:lnTo>
                  <a:lnTo>
                    <a:pt x="199" y="1214"/>
                  </a:lnTo>
                  <a:lnTo>
                    <a:pt x="197" y="1214"/>
                  </a:lnTo>
                  <a:lnTo>
                    <a:pt x="199" y="1214"/>
                  </a:lnTo>
                  <a:lnTo>
                    <a:pt x="197" y="1212"/>
                  </a:lnTo>
                  <a:lnTo>
                    <a:pt x="199" y="1212"/>
                  </a:lnTo>
                  <a:lnTo>
                    <a:pt x="199" y="1210"/>
                  </a:lnTo>
                  <a:lnTo>
                    <a:pt x="199" y="1207"/>
                  </a:lnTo>
                  <a:lnTo>
                    <a:pt x="201" y="1207"/>
                  </a:lnTo>
                  <a:lnTo>
                    <a:pt x="201" y="1210"/>
                  </a:lnTo>
                  <a:lnTo>
                    <a:pt x="201" y="1212"/>
                  </a:lnTo>
                  <a:lnTo>
                    <a:pt x="201" y="1214"/>
                  </a:lnTo>
                  <a:lnTo>
                    <a:pt x="204" y="1214"/>
                  </a:lnTo>
                  <a:lnTo>
                    <a:pt x="201" y="1214"/>
                  </a:lnTo>
                  <a:lnTo>
                    <a:pt x="201" y="1217"/>
                  </a:lnTo>
                  <a:lnTo>
                    <a:pt x="201" y="1214"/>
                  </a:lnTo>
                  <a:lnTo>
                    <a:pt x="204" y="1214"/>
                  </a:lnTo>
                  <a:lnTo>
                    <a:pt x="201" y="1214"/>
                  </a:lnTo>
                  <a:lnTo>
                    <a:pt x="204" y="1214"/>
                  </a:lnTo>
                  <a:lnTo>
                    <a:pt x="201" y="1214"/>
                  </a:lnTo>
                  <a:lnTo>
                    <a:pt x="204" y="1214"/>
                  </a:lnTo>
                  <a:lnTo>
                    <a:pt x="204" y="1212"/>
                  </a:lnTo>
                  <a:lnTo>
                    <a:pt x="204" y="1210"/>
                  </a:lnTo>
                  <a:lnTo>
                    <a:pt x="204" y="1207"/>
                  </a:lnTo>
                  <a:lnTo>
                    <a:pt x="204" y="1205"/>
                  </a:lnTo>
                  <a:lnTo>
                    <a:pt x="201" y="1205"/>
                  </a:lnTo>
                  <a:lnTo>
                    <a:pt x="201" y="1207"/>
                  </a:lnTo>
                  <a:lnTo>
                    <a:pt x="201" y="1205"/>
                  </a:lnTo>
                  <a:lnTo>
                    <a:pt x="199" y="1205"/>
                  </a:lnTo>
                  <a:lnTo>
                    <a:pt x="199" y="1207"/>
                  </a:lnTo>
                  <a:lnTo>
                    <a:pt x="199" y="1205"/>
                  </a:lnTo>
                  <a:lnTo>
                    <a:pt x="199" y="1207"/>
                  </a:lnTo>
                  <a:lnTo>
                    <a:pt x="197" y="1207"/>
                  </a:lnTo>
                  <a:lnTo>
                    <a:pt x="194" y="1207"/>
                  </a:lnTo>
                  <a:lnTo>
                    <a:pt x="197" y="1207"/>
                  </a:lnTo>
                  <a:lnTo>
                    <a:pt x="194" y="1207"/>
                  </a:lnTo>
                  <a:lnTo>
                    <a:pt x="194" y="1210"/>
                  </a:lnTo>
                  <a:lnTo>
                    <a:pt x="197" y="1210"/>
                  </a:lnTo>
                  <a:lnTo>
                    <a:pt x="194" y="1210"/>
                  </a:lnTo>
                  <a:lnTo>
                    <a:pt x="194" y="1212"/>
                  </a:lnTo>
                  <a:lnTo>
                    <a:pt x="194" y="1214"/>
                  </a:lnTo>
                  <a:lnTo>
                    <a:pt x="197" y="1212"/>
                  </a:lnTo>
                  <a:lnTo>
                    <a:pt x="197" y="1214"/>
                  </a:lnTo>
                  <a:lnTo>
                    <a:pt x="197" y="1217"/>
                  </a:lnTo>
                  <a:lnTo>
                    <a:pt x="197" y="1219"/>
                  </a:lnTo>
                  <a:lnTo>
                    <a:pt x="199" y="1219"/>
                  </a:lnTo>
                  <a:lnTo>
                    <a:pt x="197" y="1219"/>
                  </a:lnTo>
                  <a:lnTo>
                    <a:pt x="199" y="1219"/>
                  </a:lnTo>
                  <a:lnTo>
                    <a:pt x="197" y="1219"/>
                  </a:lnTo>
                  <a:lnTo>
                    <a:pt x="199" y="1219"/>
                  </a:lnTo>
                  <a:lnTo>
                    <a:pt x="199" y="1221"/>
                  </a:lnTo>
                  <a:lnTo>
                    <a:pt x="199" y="1224"/>
                  </a:lnTo>
                  <a:lnTo>
                    <a:pt x="197" y="1224"/>
                  </a:lnTo>
                  <a:lnTo>
                    <a:pt x="197" y="1226"/>
                  </a:lnTo>
                  <a:lnTo>
                    <a:pt x="194" y="1226"/>
                  </a:lnTo>
                  <a:lnTo>
                    <a:pt x="192" y="1226"/>
                  </a:lnTo>
                  <a:lnTo>
                    <a:pt x="192" y="1224"/>
                  </a:lnTo>
                  <a:lnTo>
                    <a:pt x="192" y="1221"/>
                  </a:lnTo>
                  <a:lnTo>
                    <a:pt x="194" y="1221"/>
                  </a:lnTo>
                  <a:lnTo>
                    <a:pt x="192" y="1221"/>
                  </a:lnTo>
                  <a:lnTo>
                    <a:pt x="194" y="1221"/>
                  </a:lnTo>
                  <a:lnTo>
                    <a:pt x="192" y="1219"/>
                  </a:lnTo>
                  <a:lnTo>
                    <a:pt x="194" y="1219"/>
                  </a:lnTo>
                  <a:lnTo>
                    <a:pt x="192" y="1219"/>
                  </a:lnTo>
                  <a:lnTo>
                    <a:pt x="192" y="1217"/>
                  </a:lnTo>
                  <a:lnTo>
                    <a:pt x="189" y="1217"/>
                  </a:lnTo>
                  <a:lnTo>
                    <a:pt x="189" y="1214"/>
                  </a:lnTo>
                  <a:lnTo>
                    <a:pt x="187" y="1214"/>
                  </a:lnTo>
                  <a:lnTo>
                    <a:pt x="185" y="1214"/>
                  </a:lnTo>
                  <a:lnTo>
                    <a:pt x="187" y="1214"/>
                  </a:lnTo>
                  <a:lnTo>
                    <a:pt x="185" y="1214"/>
                  </a:lnTo>
                  <a:lnTo>
                    <a:pt x="182" y="1214"/>
                  </a:lnTo>
                  <a:lnTo>
                    <a:pt x="180" y="1214"/>
                  </a:lnTo>
                  <a:lnTo>
                    <a:pt x="178" y="1214"/>
                  </a:lnTo>
                  <a:lnTo>
                    <a:pt x="178" y="1212"/>
                  </a:lnTo>
                  <a:lnTo>
                    <a:pt x="178" y="1214"/>
                  </a:lnTo>
                  <a:lnTo>
                    <a:pt x="180" y="1214"/>
                  </a:lnTo>
                  <a:lnTo>
                    <a:pt x="182" y="1214"/>
                  </a:lnTo>
                  <a:lnTo>
                    <a:pt x="185" y="1214"/>
                  </a:lnTo>
                  <a:lnTo>
                    <a:pt x="187" y="1214"/>
                  </a:lnTo>
                  <a:lnTo>
                    <a:pt x="187" y="1217"/>
                  </a:lnTo>
                  <a:lnTo>
                    <a:pt x="189" y="1217"/>
                  </a:lnTo>
                  <a:lnTo>
                    <a:pt x="192" y="1217"/>
                  </a:lnTo>
                  <a:lnTo>
                    <a:pt x="192" y="1219"/>
                  </a:lnTo>
                  <a:lnTo>
                    <a:pt x="192" y="1221"/>
                  </a:lnTo>
                  <a:lnTo>
                    <a:pt x="192" y="1224"/>
                  </a:lnTo>
                  <a:lnTo>
                    <a:pt x="192" y="1226"/>
                  </a:lnTo>
                  <a:lnTo>
                    <a:pt x="189" y="1226"/>
                  </a:lnTo>
                  <a:lnTo>
                    <a:pt x="189" y="1224"/>
                  </a:lnTo>
                  <a:lnTo>
                    <a:pt x="187" y="1224"/>
                  </a:lnTo>
                  <a:lnTo>
                    <a:pt x="187" y="1226"/>
                  </a:lnTo>
                  <a:lnTo>
                    <a:pt x="189" y="1226"/>
                  </a:lnTo>
                  <a:lnTo>
                    <a:pt x="187" y="1226"/>
                  </a:lnTo>
                  <a:lnTo>
                    <a:pt x="189" y="1226"/>
                  </a:lnTo>
                  <a:lnTo>
                    <a:pt x="189" y="1229"/>
                  </a:lnTo>
                  <a:lnTo>
                    <a:pt x="192" y="1229"/>
                  </a:lnTo>
                  <a:lnTo>
                    <a:pt x="192" y="1231"/>
                  </a:lnTo>
                  <a:lnTo>
                    <a:pt x="192" y="1229"/>
                  </a:lnTo>
                  <a:lnTo>
                    <a:pt x="192" y="1231"/>
                  </a:lnTo>
                  <a:lnTo>
                    <a:pt x="192" y="1229"/>
                  </a:lnTo>
                  <a:lnTo>
                    <a:pt x="194" y="1229"/>
                  </a:lnTo>
                  <a:lnTo>
                    <a:pt x="194" y="1231"/>
                  </a:lnTo>
                  <a:lnTo>
                    <a:pt x="194" y="1229"/>
                  </a:lnTo>
                  <a:lnTo>
                    <a:pt x="194" y="1231"/>
                  </a:lnTo>
                  <a:lnTo>
                    <a:pt x="194" y="1233"/>
                  </a:lnTo>
                  <a:lnTo>
                    <a:pt x="194" y="1236"/>
                  </a:lnTo>
                  <a:lnTo>
                    <a:pt x="197" y="1236"/>
                  </a:lnTo>
                  <a:lnTo>
                    <a:pt x="197" y="1238"/>
                  </a:lnTo>
                  <a:lnTo>
                    <a:pt x="194" y="1238"/>
                  </a:lnTo>
                  <a:lnTo>
                    <a:pt x="194" y="1240"/>
                  </a:lnTo>
                  <a:lnTo>
                    <a:pt x="194" y="1238"/>
                  </a:lnTo>
                  <a:lnTo>
                    <a:pt x="192" y="1238"/>
                  </a:lnTo>
                  <a:lnTo>
                    <a:pt x="192" y="1240"/>
                  </a:lnTo>
                  <a:lnTo>
                    <a:pt x="194" y="1240"/>
                  </a:lnTo>
                  <a:lnTo>
                    <a:pt x="194" y="1243"/>
                  </a:lnTo>
                  <a:lnTo>
                    <a:pt x="194" y="1240"/>
                  </a:lnTo>
                  <a:lnTo>
                    <a:pt x="194" y="1243"/>
                  </a:lnTo>
                  <a:lnTo>
                    <a:pt x="194" y="1245"/>
                  </a:lnTo>
                  <a:lnTo>
                    <a:pt x="194" y="1243"/>
                  </a:lnTo>
                  <a:lnTo>
                    <a:pt x="194" y="1245"/>
                  </a:lnTo>
                  <a:lnTo>
                    <a:pt x="192" y="1245"/>
                  </a:lnTo>
                  <a:lnTo>
                    <a:pt x="189" y="1243"/>
                  </a:lnTo>
                  <a:lnTo>
                    <a:pt x="192" y="1243"/>
                  </a:lnTo>
                  <a:lnTo>
                    <a:pt x="189" y="1243"/>
                  </a:lnTo>
                  <a:lnTo>
                    <a:pt x="192" y="1243"/>
                  </a:lnTo>
                  <a:lnTo>
                    <a:pt x="192" y="1240"/>
                  </a:lnTo>
                  <a:lnTo>
                    <a:pt x="192" y="1238"/>
                  </a:lnTo>
                  <a:lnTo>
                    <a:pt x="192" y="1240"/>
                  </a:lnTo>
                  <a:lnTo>
                    <a:pt x="192" y="1238"/>
                  </a:lnTo>
                  <a:lnTo>
                    <a:pt x="192" y="1240"/>
                  </a:lnTo>
                  <a:lnTo>
                    <a:pt x="189" y="1240"/>
                  </a:lnTo>
                  <a:lnTo>
                    <a:pt x="192" y="1240"/>
                  </a:lnTo>
                  <a:lnTo>
                    <a:pt x="189" y="1243"/>
                  </a:lnTo>
                  <a:lnTo>
                    <a:pt x="189" y="1245"/>
                  </a:lnTo>
                  <a:lnTo>
                    <a:pt x="189" y="1248"/>
                  </a:lnTo>
                  <a:lnTo>
                    <a:pt x="189" y="1245"/>
                  </a:lnTo>
                  <a:lnTo>
                    <a:pt x="187" y="1245"/>
                  </a:lnTo>
                  <a:lnTo>
                    <a:pt x="187" y="1248"/>
                  </a:lnTo>
                  <a:lnTo>
                    <a:pt x="189" y="1248"/>
                  </a:lnTo>
                  <a:lnTo>
                    <a:pt x="187" y="1248"/>
                  </a:lnTo>
                  <a:lnTo>
                    <a:pt x="189" y="1248"/>
                  </a:lnTo>
                  <a:lnTo>
                    <a:pt x="189" y="1250"/>
                  </a:lnTo>
                  <a:lnTo>
                    <a:pt x="187" y="1250"/>
                  </a:lnTo>
                  <a:lnTo>
                    <a:pt x="187" y="1248"/>
                  </a:lnTo>
                  <a:lnTo>
                    <a:pt x="187" y="1250"/>
                  </a:lnTo>
                  <a:lnTo>
                    <a:pt x="187" y="1252"/>
                  </a:lnTo>
                  <a:lnTo>
                    <a:pt x="187" y="1250"/>
                  </a:lnTo>
                  <a:lnTo>
                    <a:pt x="187" y="1248"/>
                  </a:lnTo>
                  <a:lnTo>
                    <a:pt x="185" y="1248"/>
                  </a:lnTo>
                  <a:lnTo>
                    <a:pt x="187" y="1248"/>
                  </a:lnTo>
                  <a:lnTo>
                    <a:pt x="185" y="1248"/>
                  </a:lnTo>
                  <a:lnTo>
                    <a:pt x="187" y="1248"/>
                  </a:lnTo>
                  <a:lnTo>
                    <a:pt x="185" y="1248"/>
                  </a:lnTo>
                  <a:lnTo>
                    <a:pt x="187" y="1248"/>
                  </a:lnTo>
                  <a:lnTo>
                    <a:pt x="187" y="1250"/>
                  </a:lnTo>
                  <a:lnTo>
                    <a:pt x="185" y="1250"/>
                  </a:lnTo>
                  <a:lnTo>
                    <a:pt x="185" y="1248"/>
                  </a:lnTo>
                  <a:lnTo>
                    <a:pt x="185" y="1250"/>
                  </a:lnTo>
                  <a:lnTo>
                    <a:pt x="187" y="1250"/>
                  </a:lnTo>
                  <a:lnTo>
                    <a:pt x="187" y="1252"/>
                  </a:lnTo>
                  <a:lnTo>
                    <a:pt x="185" y="1252"/>
                  </a:lnTo>
                  <a:lnTo>
                    <a:pt x="182" y="1252"/>
                  </a:lnTo>
                  <a:lnTo>
                    <a:pt x="185" y="1252"/>
                  </a:lnTo>
                  <a:lnTo>
                    <a:pt x="182" y="1252"/>
                  </a:lnTo>
                  <a:lnTo>
                    <a:pt x="180" y="1252"/>
                  </a:lnTo>
                  <a:lnTo>
                    <a:pt x="180" y="1250"/>
                  </a:lnTo>
                  <a:lnTo>
                    <a:pt x="180" y="1252"/>
                  </a:lnTo>
                  <a:lnTo>
                    <a:pt x="180" y="1250"/>
                  </a:lnTo>
                  <a:lnTo>
                    <a:pt x="180" y="1252"/>
                  </a:lnTo>
                  <a:lnTo>
                    <a:pt x="180" y="1255"/>
                  </a:lnTo>
                  <a:lnTo>
                    <a:pt x="178" y="1255"/>
                  </a:lnTo>
                  <a:lnTo>
                    <a:pt x="175" y="1255"/>
                  </a:lnTo>
                  <a:lnTo>
                    <a:pt x="173" y="1255"/>
                  </a:lnTo>
                  <a:lnTo>
                    <a:pt x="175" y="1255"/>
                  </a:lnTo>
                  <a:lnTo>
                    <a:pt x="173" y="1255"/>
                  </a:lnTo>
                  <a:lnTo>
                    <a:pt x="173" y="1252"/>
                  </a:lnTo>
                  <a:lnTo>
                    <a:pt x="173" y="1250"/>
                  </a:lnTo>
                  <a:lnTo>
                    <a:pt x="173" y="1248"/>
                  </a:lnTo>
                  <a:lnTo>
                    <a:pt x="173" y="1250"/>
                  </a:lnTo>
                  <a:lnTo>
                    <a:pt x="171" y="1250"/>
                  </a:lnTo>
                  <a:lnTo>
                    <a:pt x="171" y="1252"/>
                  </a:lnTo>
                  <a:lnTo>
                    <a:pt x="171" y="1250"/>
                  </a:lnTo>
                  <a:lnTo>
                    <a:pt x="168" y="1250"/>
                  </a:lnTo>
                  <a:lnTo>
                    <a:pt x="171" y="1250"/>
                  </a:lnTo>
                  <a:lnTo>
                    <a:pt x="168" y="1250"/>
                  </a:lnTo>
                  <a:lnTo>
                    <a:pt x="168" y="1248"/>
                  </a:lnTo>
                  <a:lnTo>
                    <a:pt x="171" y="1248"/>
                  </a:lnTo>
                  <a:lnTo>
                    <a:pt x="168" y="1248"/>
                  </a:lnTo>
                  <a:lnTo>
                    <a:pt x="168" y="1250"/>
                  </a:lnTo>
                  <a:lnTo>
                    <a:pt x="166" y="1250"/>
                  </a:lnTo>
                  <a:lnTo>
                    <a:pt x="166" y="1248"/>
                  </a:lnTo>
                  <a:lnTo>
                    <a:pt x="168" y="1248"/>
                  </a:lnTo>
                  <a:lnTo>
                    <a:pt x="166" y="1248"/>
                  </a:lnTo>
                  <a:lnTo>
                    <a:pt x="166" y="1245"/>
                  </a:lnTo>
                  <a:lnTo>
                    <a:pt x="166" y="1248"/>
                  </a:lnTo>
                  <a:lnTo>
                    <a:pt x="163" y="1248"/>
                  </a:lnTo>
                  <a:lnTo>
                    <a:pt x="166" y="1248"/>
                  </a:lnTo>
                  <a:lnTo>
                    <a:pt x="166" y="1250"/>
                  </a:lnTo>
                  <a:lnTo>
                    <a:pt x="168" y="1250"/>
                  </a:lnTo>
                  <a:lnTo>
                    <a:pt x="166" y="1250"/>
                  </a:lnTo>
                  <a:lnTo>
                    <a:pt x="168" y="1250"/>
                  </a:lnTo>
                  <a:lnTo>
                    <a:pt x="168" y="1252"/>
                  </a:lnTo>
                  <a:lnTo>
                    <a:pt x="171" y="1252"/>
                  </a:lnTo>
                  <a:lnTo>
                    <a:pt x="171" y="1255"/>
                  </a:lnTo>
                  <a:lnTo>
                    <a:pt x="171" y="1252"/>
                  </a:lnTo>
                  <a:lnTo>
                    <a:pt x="168" y="1252"/>
                  </a:lnTo>
                  <a:lnTo>
                    <a:pt x="168" y="1255"/>
                  </a:lnTo>
                  <a:lnTo>
                    <a:pt x="166" y="1255"/>
                  </a:lnTo>
                  <a:lnTo>
                    <a:pt x="166" y="1257"/>
                  </a:lnTo>
                  <a:lnTo>
                    <a:pt x="166" y="1255"/>
                  </a:lnTo>
                  <a:lnTo>
                    <a:pt x="166" y="1257"/>
                  </a:lnTo>
                  <a:lnTo>
                    <a:pt x="163" y="1257"/>
                  </a:lnTo>
                  <a:lnTo>
                    <a:pt x="161" y="1257"/>
                  </a:lnTo>
                  <a:lnTo>
                    <a:pt x="163" y="1257"/>
                  </a:lnTo>
                  <a:lnTo>
                    <a:pt x="161" y="1257"/>
                  </a:lnTo>
                  <a:lnTo>
                    <a:pt x="163" y="1257"/>
                  </a:lnTo>
                  <a:lnTo>
                    <a:pt x="163" y="1259"/>
                  </a:lnTo>
                  <a:lnTo>
                    <a:pt x="163" y="1257"/>
                  </a:lnTo>
                  <a:lnTo>
                    <a:pt x="163" y="1259"/>
                  </a:lnTo>
                  <a:lnTo>
                    <a:pt x="166" y="1259"/>
                  </a:lnTo>
                  <a:lnTo>
                    <a:pt x="163" y="1259"/>
                  </a:lnTo>
                  <a:lnTo>
                    <a:pt x="166" y="1259"/>
                  </a:lnTo>
                  <a:lnTo>
                    <a:pt x="163" y="1259"/>
                  </a:lnTo>
                  <a:lnTo>
                    <a:pt x="161" y="1259"/>
                  </a:lnTo>
                  <a:lnTo>
                    <a:pt x="161" y="1257"/>
                  </a:lnTo>
                  <a:lnTo>
                    <a:pt x="161" y="1259"/>
                  </a:lnTo>
                  <a:lnTo>
                    <a:pt x="161" y="1257"/>
                  </a:lnTo>
                  <a:lnTo>
                    <a:pt x="161" y="1259"/>
                  </a:lnTo>
                  <a:lnTo>
                    <a:pt x="159" y="1259"/>
                  </a:lnTo>
                  <a:lnTo>
                    <a:pt x="159" y="1262"/>
                  </a:lnTo>
                  <a:lnTo>
                    <a:pt x="156" y="1259"/>
                  </a:lnTo>
                  <a:lnTo>
                    <a:pt x="156" y="1262"/>
                  </a:lnTo>
                  <a:lnTo>
                    <a:pt x="159" y="1262"/>
                  </a:lnTo>
                  <a:lnTo>
                    <a:pt x="161" y="1262"/>
                  </a:lnTo>
                  <a:lnTo>
                    <a:pt x="159" y="1262"/>
                  </a:lnTo>
                  <a:lnTo>
                    <a:pt x="159" y="1264"/>
                  </a:lnTo>
                  <a:lnTo>
                    <a:pt x="161" y="1264"/>
                  </a:lnTo>
                  <a:lnTo>
                    <a:pt x="159" y="1264"/>
                  </a:lnTo>
                  <a:lnTo>
                    <a:pt x="159" y="1267"/>
                  </a:lnTo>
                  <a:lnTo>
                    <a:pt x="159" y="1264"/>
                  </a:lnTo>
                  <a:lnTo>
                    <a:pt x="159" y="1267"/>
                  </a:lnTo>
                  <a:lnTo>
                    <a:pt x="156" y="1267"/>
                  </a:lnTo>
                  <a:lnTo>
                    <a:pt x="154" y="1267"/>
                  </a:lnTo>
                  <a:lnTo>
                    <a:pt x="152" y="1267"/>
                  </a:lnTo>
                  <a:lnTo>
                    <a:pt x="149" y="1267"/>
                  </a:lnTo>
                  <a:lnTo>
                    <a:pt x="147" y="1267"/>
                  </a:lnTo>
                  <a:lnTo>
                    <a:pt x="147" y="1269"/>
                  </a:lnTo>
                  <a:lnTo>
                    <a:pt x="147" y="1267"/>
                  </a:lnTo>
                  <a:lnTo>
                    <a:pt x="149" y="1267"/>
                  </a:lnTo>
                  <a:lnTo>
                    <a:pt x="149" y="1269"/>
                  </a:lnTo>
                  <a:lnTo>
                    <a:pt x="149" y="1267"/>
                  </a:lnTo>
                  <a:lnTo>
                    <a:pt x="149" y="1269"/>
                  </a:lnTo>
                  <a:lnTo>
                    <a:pt x="152" y="1269"/>
                  </a:lnTo>
                  <a:lnTo>
                    <a:pt x="152" y="1267"/>
                  </a:lnTo>
                  <a:lnTo>
                    <a:pt x="152" y="1269"/>
                  </a:lnTo>
                  <a:lnTo>
                    <a:pt x="149" y="1267"/>
                  </a:lnTo>
                  <a:lnTo>
                    <a:pt x="152" y="1267"/>
                  </a:lnTo>
                  <a:lnTo>
                    <a:pt x="154" y="1267"/>
                  </a:lnTo>
                  <a:lnTo>
                    <a:pt x="152" y="1269"/>
                  </a:lnTo>
                  <a:lnTo>
                    <a:pt x="154" y="1269"/>
                  </a:lnTo>
                  <a:lnTo>
                    <a:pt x="154" y="1267"/>
                  </a:lnTo>
                  <a:lnTo>
                    <a:pt x="154" y="1269"/>
                  </a:lnTo>
                  <a:lnTo>
                    <a:pt x="152" y="1269"/>
                  </a:lnTo>
                  <a:lnTo>
                    <a:pt x="149" y="1269"/>
                  </a:lnTo>
                  <a:lnTo>
                    <a:pt x="152" y="1269"/>
                  </a:lnTo>
                  <a:lnTo>
                    <a:pt x="154" y="1269"/>
                  </a:lnTo>
                  <a:lnTo>
                    <a:pt x="154" y="1271"/>
                  </a:lnTo>
                  <a:lnTo>
                    <a:pt x="152" y="1271"/>
                  </a:lnTo>
                  <a:lnTo>
                    <a:pt x="149" y="1271"/>
                  </a:lnTo>
                  <a:lnTo>
                    <a:pt x="149" y="1274"/>
                  </a:lnTo>
                  <a:lnTo>
                    <a:pt x="147" y="1274"/>
                  </a:lnTo>
                  <a:lnTo>
                    <a:pt x="147" y="1276"/>
                  </a:lnTo>
                  <a:lnTo>
                    <a:pt x="144" y="1276"/>
                  </a:lnTo>
                  <a:lnTo>
                    <a:pt x="147" y="1276"/>
                  </a:lnTo>
                  <a:lnTo>
                    <a:pt x="147" y="1274"/>
                  </a:lnTo>
                  <a:lnTo>
                    <a:pt x="144" y="1274"/>
                  </a:lnTo>
                  <a:lnTo>
                    <a:pt x="144" y="1276"/>
                  </a:lnTo>
                  <a:lnTo>
                    <a:pt x="144" y="1274"/>
                  </a:lnTo>
                  <a:lnTo>
                    <a:pt x="144" y="1276"/>
                  </a:lnTo>
                  <a:lnTo>
                    <a:pt x="147" y="1276"/>
                  </a:lnTo>
                  <a:lnTo>
                    <a:pt x="144" y="1276"/>
                  </a:lnTo>
                  <a:lnTo>
                    <a:pt x="147" y="1276"/>
                  </a:lnTo>
                  <a:lnTo>
                    <a:pt x="144" y="1276"/>
                  </a:lnTo>
                  <a:lnTo>
                    <a:pt x="144" y="1278"/>
                  </a:lnTo>
                  <a:lnTo>
                    <a:pt x="142" y="1278"/>
                  </a:lnTo>
                  <a:lnTo>
                    <a:pt x="142" y="1281"/>
                  </a:lnTo>
                  <a:lnTo>
                    <a:pt x="140" y="1281"/>
                  </a:lnTo>
                  <a:lnTo>
                    <a:pt x="137" y="1281"/>
                  </a:lnTo>
                  <a:lnTo>
                    <a:pt x="137" y="1283"/>
                  </a:lnTo>
                  <a:lnTo>
                    <a:pt x="137" y="1281"/>
                  </a:lnTo>
                  <a:lnTo>
                    <a:pt x="137" y="1283"/>
                  </a:lnTo>
                  <a:lnTo>
                    <a:pt x="140" y="1283"/>
                  </a:lnTo>
                  <a:lnTo>
                    <a:pt x="137" y="1283"/>
                  </a:lnTo>
                  <a:lnTo>
                    <a:pt x="137" y="1286"/>
                  </a:lnTo>
                  <a:lnTo>
                    <a:pt x="137" y="1283"/>
                  </a:lnTo>
                  <a:lnTo>
                    <a:pt x="137" y="1286"/>
                  </a:lnTo>
                  <a:lnTo>
                    <a:pt x="135" y="1286"/>
                  </a:lnTo>
                  <a:lnTo>
                    <a:pt x="137" y="1286"/>
                  </a:lnTo>
                  <a:lnTo>
                    <a:pt x="135" y="1286"/>
                  </a:lnTo>
                  <a:lnTo>
                    <a:pt x="137" y="1286"/>
                  </a:lnTo>
                  <a:lnTo>
                    <a:pt x="135" y="1286"/>
                  </a:lnTo>
                  <a:lnTo>
                    <a:pt x="135" y="1288"/>
                  </a:lnTo>
                  <a:lnTo>
                    <a:pt x="133" y="1288"/>
                  </a:lnTo>
                  <a:lnTo>
                    <a:pt x="135" y="1288"/>
                  </a:lnTo>
                  <a:lnTo>
                    <a:pt x="133" y="1288"/>
                  </a:lnTo>
                  <a:lnTo>
                    <a:pt x="133" y="1290"/>
                  </a:lnTo>
                  <a:lnTo>
                    <a:pt x="130" y="1290"/>
                  </a:lnTo>
                  <a:lnTo>
                    <a:pt x="130" y="1293"/>
                  </a:lnTo>
                  <a:lnTo>
                    <a:pt x="128" y="1293"/>
                  </a:lnTo>
                  <a:lnTo>
                    <a:pt x="130" y="1293"/>
                  </a:lnTo>
                  <a:lnTo>
                    <a:pt x="128" y="1293"/>
                  </a:lnTo>
                  <a:lnTo>
                    <a:pt x="128" y="1290"/>
                  </a:lnTo>
                  <a:lnTo>
                    <a:pt x="128" y="1293"/>
                  </a:lnTo>
                  <a:lnTo>
                    <a:pt x="128" y="1290"/>
                  </a:lnTo>
                  <a:lnTo>
                    <a:pt x="125" y="1293"/>
                  </a:lnTo>
                  <a:lnTo>
                    <a:pt x="128" y="1293"/>
                  </a:lnTo>
                  <a:lnTo>
                    <a:pt x="125" y="1293"/>
                  </a:lnTo>
                  <a:lnTo>
                    <a:pt x="123" y="1293"/>
                  </a:lnTo>
                  <a:lnTo>
                    <a:pt x="125" y="1293"/>
                  </a:lnTo>
                  <a:lnTo>
                    <a:pt x="125" y="1295"/>
                  </a:lnTo>
                  <a:lnTo>
                    <a:pt x="125" y="1293"/>
                  </a:lnTo>
                  <a:lnTo>
                    <a:pt x="125" y="1295"/>
                  </a:lnTo>
                  <a:lnTo>
                    <a:pt x="123" y="1295"/>
                  </a:lnTo>
                  <a:lnTo>
                    <a:pt x="121" y="1295"/>
                  </a:lnTo>
                  <a:lnTo>
                    <a:pt x="123" y="1295"/>
                  </a:lnTo>
                  <a:lnTo>
                    <a:pt x="121" y="1295"/>
                  </a:lnTo>
                  <a:lnTo>
                    <a:pt x="123" y="1295"/>
                  </a:lnTo>
                  <a:lnTo>
                    <a:pt x="123" y="1297"/>
                  </a:lnTo>
                  <a:lnTo>
                    <a:pt x="123" y="1295"/>
                  </a:lnTo>
                  <a:lnTo>
                    <a:pt x="123" y="1297"/>
                  </a:lnTo>
                  <a:lnTo>
                    <a:pt x="121" y="1297"/>
                  </a:lnTo>
                  <a:lnTo>
                    <a:pt x="123" y="1297"/>
                  </a:lnTo>
                  <a:lnTo>
                    <a:pt x="121" y="1297"/>
                  </a:lnTo>
                  <a:lnTo>
                    <a:pt x="123" y="1297"/>
                  </a:lnTo>
                  <a:lnTo>
                    <a:pt x="121" y="1297"/>
                  </a:lnTo>
                  <a:lnTo>
                    <a:pt x="121" y="1300"/>
                  </a:lnTo>
                  <a:lnTo>
                    <a:pt x="118" y="1300"/>
                  </a:lnTo>
                  <a:lnTo>
                    <a:pt x="121" y="1300"/>
                  </a:lnTo>
                  <a:lnTo>
                    <a:pt x="118" y="1300"/>
                  </a:lnTo>
                  <a:lnTo>
                    <a:pt x="121" y="1300"/>
                  </a:lnTo>
                  <a:lnTo>
                    <a:pt x="118" y="1300"/>
                  </a:lnTo>
                  <a:lnTo>
                    <a:pt x="121" y="1300"/>
                  </a:lnTo>
                  <a:lnTo>
                    <a:pt x="118" y="1300"/>
                  </a:lnTo>
                  <a:lnTo>
                    <a:pt x="118" y="1297"/>
                  </a:lnTo>
                  <a:lnTo>
                    <a:pt x="121" y="1297"/>
                  </a:lnTo>
                  <a:lnTo>
                    <a:pt x="118" y="1297"/>
                  </a:lnTo>
                  <a:lnTo>
                    <a:pt x="118" y="1300"/>
                  </a:lnTo>
                  <a:lnTo>
                    <a:pt x="116" y="1300"/>
                  </a:lnTo>
                  <a:lnTo>
                    <a:pt x="114" y="1300"/>
                  </a:lnTo>
                  <a:lnTo>
                    <a:pt x="116" y="1300"/>
                  </a:lnTo>
                  <a:lnTo>
                    <a:pt x="114" y="1300"/>
                  </a:lnTo>
                  <a:lnTo>
                    <a:pt x="116" y="1300"/>
                  </a:lnTo>
                  <a:lnTo>
                    <a:pt x="116" y="1297"/>
                  </a:lnTo>
                  <a:lnTo>
                    <a:pt x="114" y="1297"/>
                  </a:lnTo>
                  <a:lnTo>
                    <a:pt x="114" y="1300"/>
                  </a:lnTo>
                  <a:lnTo>
                    <a:pt x="114" y="1297"/>
                  </a:lnTo>
                  <a:lnTo>
                    <a:pt x="116" y="1297"/>
                  </a:lnTo>
                  <a:lnTo>
                    <a:pt x="116" y="1295"/>
                  </a:lnTo>
                  <a:lnTo>
                    <a:pt x="114" y="1295"/>
                  </a:lnTo>
                  <a:lnTo>
                    <a:pt x="114" y="1293"/>
                  </a:lnTo>
                  <a:lnTo>
                    <a:pt x="114" y="1295"/>
                  </a:lnTo>
                  <a:lnTo>
                    <a:pt x="114" y="1297"/>
                  </a:lnTo>
                  <a:lnTo>
                    <a:pt x="114" y="1295"/>
                  </a:lnTo>
                  <a:lnTo>
                    <a:pt x="114" y="1297"/>
                  </a:lnTo>
                  <a:lnTo>
                    <a:pt x="114" y="1300"/>
                  </a:lnTo>
                  <a:lnTo>
                    <a:pt x="114" y="1297"/>
                  </a:lnTo>
                  <a:lnTo>
                    <a:pt x="111" y="1297"/>
                  </a:lnTo>
                  <a:lnTo>
                    <a:pt x="111" y="1300"/>
                  </a:lnTo>
                  <a:lnTo>
                    <a:pt x="114" y="1300"/>
                  </a:lnTo>
                  <a:lnTo>
                    <a:pt x="111" y="1300"/>
                  </a:lnTo>
                  <a:lnTo>
                    <a:pt x="111" y="1302"/>
                  </a:lnTo>
                  <a:lnTo>
                    <a:pt x="111" y="1300"/>
                  </a:lnTo>
                  <a:lnTo>
                    <a:pt x="111" y="1302"/>
                  </a:lnTo>
                  <a:lnTo>
                    <a:pt x="109" y="1302"/>
                  </a:lnTo>
                  <a:lnTo>
                    <a:pt x="106" y="1302"/>
                  </a:lnTo>
                  <a:lnTo>
                    <a:pt x="104" y="1302"/>
                  </a:lnTo>
                  <a:lnTo>
                    <a:pt x="102" y="1302"/>
                  </a:lnTo>
                  <a:lnTo>
                    <a:pt x="104" y="1302"/>
                  </a:lnTo>
                  <a:lnTo>
                    <a:pt x="102" y="1302"/>
                  </a:lnTo>
                  <a:lnTo>
                    <a:pt x="102" y="1305"/>
                  </a:lnTo>
                  <a:lnTo>
                    <a:pt x="99" y="1305"/>
                  </a:lnTo>
                  <a:lnTo>
                    <a:pt x="102" y="1305"/>
                  </a:lnTo>
                  <a:lnTo>
                    <a:pt x="99" y="1305"/>
                  </a:lnTo>
                  <a:lnTo>
                    <a:pt x="102" y="1305"/>
                  </a:lnTo>
                  <a:lnTo>
                    <a:pt x="99" y="1305"/>
                  </a:lnTo>
                  <a:lnTo>
                    <a:pt x="97" y="1305"/>
                  </a:lnTo>
                  <a:lnTo>
                    <a:pt x="97" y="1307"/>
                  </a:lnTo>
                  <a:lnTo>
                    <a:pt x="97" y="1305"/>
                  </a:lnTo>
                  <a:lnTo>
                    <a:pt x="95" y="1305"/>
                  </a:lnTo>
                  <a:lnTo>
                    <a:pt x="92" y="1305"/>
                  </a:lnTo>
                  <a:lnTo>
                    <a:pt x="95" y="1305"/>
                  </a:lnTo>
                  <a:lnTo>
                    <a:pt x="92" y="1305"/>
                  </a:lnTo>
                  <a:lnTo>
                    <a:pt x="95" y="1305"/>
                  </a:lnTo>
                  <a:lnTo>
                    <a:pt x="92" y="1305"/>
                  </a:lnTo>
                  <a:lnTo>
                    <a:pt x="95" y="1305"/>
                  </a:lnTo>
                  <a:lnTo>
                    <a:pt x="92" y="1305"/>
                  </a:lnTo>
                  <a:lnTo>
                    <a:pt x="90" y="1305"/>
                  </a:lnTo>
                  <a:lnTo>
                    <a:pt x="90" y="1302"/>
                  </a:lnTo>
                  <a:lnTo>
                    <a:pt x="90" y="1305"/>
                  </a:lnTo>
                  <a:lnTo>
                    <a:pt x="90" y="1302"/>
                  </a:lnTo>
                  <a:lnTo>
                    <a:pt x="87" y="1302"/>
                  </a:lnTo>
                  <a:lnTo>
                    <a:pt x="87" y="1305"/>
                  </a:lnTo>
                  <a:lnTo>
                    <a:pt x="87" y="1302"/>
                  </a:lnTo>
                  <a:lnTo>
                    <a:pt x="87" y="1305"/>
                  </a:lnTo>
                  <a:lnTo>
                    <a:pt x="85" y="1305"/>
                  </a:lnTo>
                  <a:lnTo>
                    <a:pt x="87" y="1305"/>
                  </a:lnTo>
                  <a:lnTo>
                    <a:pt x="85" y="1305"/>
                  </a:lnTo>
                  <a:lnTo>
                    <a:pt x="85" y="1302"/>
                  </a:lnTo>
                  <a:lnTo>
                    <a:pt x="87" y="1302"/>
                  </a:lnTo>
                  <a:lnTo>
                    <a:pt x="85" y="1302"/>
                  </a:lnTo>
                  <a:lnTo>
                    <a:pt x="85" y="1305"/>
                  </a:lnTo>
                  <a:lnTo>
                    <a:pt x="85" y="1302"/>
                  </a:lnTo>
                  <a:lnTo>
                    <a:pt x="85" y="1305"/>
                  </a:lnTo>
                  <a:lnTo>
                    <a:pt x="83" y="1305"/>
                  </a:lnTo>
                  <a:lnTo>
                    <a:pt x="85" y="1305"/>
                  </a:lnTo>
                  <a:lnTo>
                    <a:pt x="83" y="1305"/>
                  </a:lnTo>
                  <a:lnTo>
                    <a:pt x="83" y="1307"/>
                  </a:lnTo>
                  <a:lnTo>
                    <a:pt x="80" y="1307"/>
                  </a:lnTo>
                  <a:lnTo>
                    <a:pt x="80" y="1305"/>
                  </a:lnTo>
                  <a:lnTo>
                    <a:pt x="83" y="1305"/>
                  </a:lnTo>
                  <a:lnTo>
                    <a:pt x="83" y="1302"/>
                  </a:lnTo>
                  <a:lnTo>
                    <a:pt x="85" y="1302"/>
                  </a:lnTo>
                  <a:lnTo>
                    <a:pt x="83" y="1302"/>
                  </a:lnTo>
                  <a:lnTo>
                    <a:pt x="85" y="1302"/>
                  </a:lnTo>
                  <a:lnTo>
                    <a:pt x="83" y="1302"/>
                  </a:lnTo>
                  <a:lnTo>
                    <a:pt x="80" y="1302"/>
                  </a:lnTo>
                  <a:lnTo>
                    <a:pt x="80" y="1305"/>
                  </a:lnTo>
                  <a:lnTo>
                    <a:pt x="78" y="1305"/>
                  </a:lnTo>
                  <a:lnTo>
                    <a:pt x="80" y="1305"/>
                  </a:lnTo>
                  <a:lnTo>
                    <a:pt x="78" y="1305"/>
                  </a:lnTo>
                  <a:lnTo>
                    <a:pt x="80" y="1305"/>
                  </a:lnTo>
                  <a:lnTo>
                    <a:pt x="78" y="1305"/>
                  </a:lnTo>
                  <a:lnTo>
                    <a:pt x="78" y="1302"/>
                  </a:lnTo>
                  <a:lnTo>
                    <a:pt x="80" y="1302"/>
                  </a:lnTo>
                  <a:lnTo>
                    <a:pt x="80" y="1300"/>
                  </a:lnTo>
                  <a:lnTo>
                    <a:pt x="80" y="1302"/>
                  </a:lnTo>
                  <a:lnTo>
                    <a:pt x="78" y="1302"/>
                  </a:lnTo>
                  <a:lnTo>
                    <a:pt x="78" y="1300"/>
                  </a:lnTo>
                  <a:lnTo>
                    <a:pt x="78" y="1302"/>
                  </a:lnTo>
                  <a:lnTo>
                    <a:pt x="76" y="1302"/>
                  </a:lnTo>
                  <a:lnTo>
                    <a:pt x="78" y="1302"/>
                  </a:lnTo>
                  <a:lnTo>
                    <a:pt x="76" y="1302"/>
                  </a:lnTo>
                  <a:lnTo>
                    <a:pt x="73" y="1302"/>
                  </a:lnTo>
                  <a:lnTo>
                    <a:pt x="73" y="1300"/>
                  </a:lnTo>
                  <a:lnTo>
                    <a:pt x="73" y="1302"/>
                  </a:lnTo>
                  <a:lnTo>
                    <a:pt x="73" y="1300"/>
                  </a:lnTo>
                  <a:lnTo>
                    <a:pt x="73" y="1302"/>
                  </a:lnTo>
                  <a:lnTo>
                    <a:pt x="71" y="1302"/>
                  </a:lnTo>
                  <a:lnTo>
                    <a:pt x="73" y="1302"/>
                  </a:lnTo>
                  <a:lnTo>
                    <a:pt x="71" y="1302"/>
                  </a:lnTo>
                  <a:lnTo>
                    <a:pt x="68" y="1302"/>
                  </a:lnTo>
                  <a:lnTo>
                    <a:pt x="66" y="1302"/>
                  </a:lnTo>
                  <a:lnTo>
                    <a:pt x="66" y="1300"/>
                  </a:lnTo>
                  <a:lnTo>
                    <a:pt x="64" y="1300"/>
                  </a:lnTo>
                  <a:lnTo>
                    <a:pt x="66" y="1300"/>
                  </a:lnTo>
                  <a:lnTo>
                    <a:pt x="66" y="1297"/>
                  </a:lnTo>
                  <a:lnTo>
                    <a:pt x="68" y="1297"/>
                  </a:lnTo>
                  <a:lnTo>
                    <a:pt x="68" y="1295"/>
                  </a:lnTo>
                  <a:lnTo>
                    <a:pt x="71" y="1295"/>
                  </a:lnTo>
                  <a:lnTo>
                    <a:pt x="71" y="1293"/>
                  </a:lnTo>
                  <a:lnTo>
                    <a:pt x="73" y="1293"/>
                  </a:lnTo>
                  <a:lnTo>
                    <a:pt x="76" y="1293"/>
                  </a:lnTo>
                  <a:lnTo>
                    <a:pt x="76" y="1290"/>
                  </a:lnTo>
                  <a:lnTo>
                    <a:pt x="78" y="1290"/>
                  </a:lnTo>
                  <a:lnTo>
                    <a:pt x="76" y="1290"/>
                  </a:lnTo>
                  <a:lnTo>
                    <a:pt x="76" y="1293"/>
                  </a:lnTo>
                  <a:lnTo>
                    <a:pt x="73" y="1293"/>
                  </a:lnTo>
                  <a:lnTo>
                    <a:pt x="71" y="1293"/>
                  </a:lnTo>
                  <a:lnTo>
                    <a:pt x="71" y="1295"/>
                  </a:lnTo>
                  <a:lnTo>
                    <a:pt x="71" y="1293"/>
                  </a:lnTo>
                  <a:lnTo>
                    <a:pt x="68" y="1293"/>
                  </a:lnTo>
                  <a:lnTo>
                    <a:pt x="68" y="1290"/>
                  </a:lnTo>
                  <a:lnTo>
                    <a:pt x="68" y="1293"/>
                  </a:lnTo>
                  <a:lnTo>
                    <a:pt x="66" y="1293"/>
                  </a:lnTo>
                  <a:lnTo>
                    <a:pt x="64" y="1293"/>
                  </a:lnTo>
                  <a:lnTo>
                    <a:pt x="61" y="1293"/>
                  </a:lnTo>
                  <a:lnTo>
                    <a:pt x="59" y="1293"/>
                  </a:lnTo>
                  <a:lnTo>
                    <a:pt x="59" y="1290"/>
                  </a:lnTo>
                  <a:lnTo>
                    <a:pt x="57" y="1290"/>
                  </a:lnTo>
                  <a:lnTo>
                    <a:pt x="59" y="1288"/>
                  </a:lnTo>
                  <a:lnTo>
                    <a:pt x="57" y="1288"/>
                  </a:lnTo>
                  <a:lnTo>
                    <a:pt x="57" y="1290"/>
                  </a:lnTo>
                  <a:lnTo>
                    <a:pt x="57" y="1288"/>
                  </a:lnTo>
                  <a:lnTo>
                    <a:pt x="54" y="1288"/>
                  </a:lnTo>
                  <a:lnTo>
                    <a:pt x="52" y="1288"/>
                  </a:lnTo>
                  <a:lnTo>
                    <a:pt x="50" y="1288"/>
                  </a:lnTo>
                  <a:lnTo>
                    <a:pt x="50" y="1286"/>
                  </a:lnTo>
                  <a:lnTo>
                    <a:pt x="47" y="1286"/>
                  </a:lnTo>
                  <a:lnTo>
                    <a:pt x="47" y="1283"/>
                  </a:lnTo>
                  <a:lnTo>
                    <a:pt x="47" y="1281"/>
                  </a:lnTo>
                  <a:lnTo>
                    <a:pt x="47" y="1283"/>
                  </a:lnTo>
                  <a:lnTo>
                    <a:pt x="47" y="1286"/>
                  </a:lnTo>
                  <a:lnTo>
                    <a:pt x="45" y="1283"/>
                  </a:lnTo>
                  <a:lnTo>
                    <a:pt x="45" y="1286"/>
                  </a:lnTo>
                  <a:lnTo>
                    <a:pt x="45" y="1283"/>
                  </a:lnTo>
                  <a:lnTo>
                    <a:pt x="45" y="1281"/>
                  </a:lnTo>
                  <a:lnTo>
                    <a:pt x="45" y="1283"/>
                  </a:lnTo>
                  <a:lnTo>
                    <a:pt x="45" y="1281"/>
                  </a:lnTo>
                  <a:lnTo>
                    <a:pt x="45" y="1283"/>
                  </a:lnTo>
                  <a:lnTo>
                    <a:pt x="42" y="1283"/>
                  </a:lnTo>
                  <a:lnTo>
                    <a:pt x="45" y="1283"/>
                  </a:lnTo>
                  <a:lnTo>
                    <a:pt x="42" y="1283"/>
                  </a:lnTo>
                  <a:lnTo>
                    <a:pt x="42" y="1281"/>
                  </a:lnTo>
                  <a:lnTo>
                    <a:pt x="45" y="1281"/>
                  </a:lnTo>
                  <a:lnTo>
                    <a:pt x="47" y="1281"/>
                  </a:lnTo>
                  <a:lnTo>
                    <a:pt x="45" y="1281"/>
                  </a:lnTo>
                  <a:lnTo>
                    <a:pt x="42" y="1281"/>
                  </a:lnTo>
                  <a:lnTo>
                    <a:pt x="40" y="1281"/>
                  </a:lnTo>
                  <a:lnTo>
                    <a:pt x="40" y="1278"/>
                  </a:lnTo>
                  <a:lnTo>
                    <a:pt x="38" y="1278"/>
                  </a:lnTo>
                  <a:lnTo>
                    <a:pt x="35" y="1278"/>
                  </a:lnTo>
                  <a:lnTo>
                    <a:pt x="35" y="1276"/>
                  </a:lnTo>
                  <a:lnTo>
                    <a:pt x="35" y="1274"/>
                  </a:lnTo>
                  <a:lnTo>
                    <a:pt x="33" y="1274"/>
                  </a:lnTo>
                  <a:lnTo>
                    <a:pt x="33" y="1271"/>
                  </a:lnTo>
                  <a:lnTo>
                    <a:pt x="31" y="1271"/>
                  </a:lnTo>
                  <a:lnTo>
                    <a:pt x="33" y="1271"/>
                  </a:lnTo>
                  <a:lnTo>
                    <a:pt x="31" y="1269"/>
                  </a:lnTo>
                  <a:lnTo>
                    <a:pt x="33" y="1269"/>
                  </a:lnTo>
                  <a:lnTo>
                    <a:pt x="31" y="1269"/>
                  </a:lnTo>
                  <a:lnTo>
                    <a:pt x="31" y="1267"/>
                  </a:lnTo>
                  <a:lnTo>
                    <a:pt x="31" y="1264"/>
                  </a:lnTo>
                  <a:lnTo>
                    <a:pt x="33" y="1264"/>
                  </a:lnTo>
                  <a:lnTo>
                    <a:pt x="31" y="1264"/>
                  </a:lnTo>
                  <a:lnTo>
                    <a:pt x="31" y="1262"/>
                  </a:lnTo>
                  <a:lnTo>
                    <a:pt x="33" y="1262"/>
                  </a:lnTo>
                  <a:lnTo>
                    <a:pt x="33" y="1259"/>
                  </a:lnTo>
                  <a:lnTo>
                    <a:pt x="33" y="1257"/>
                  </a:lnTo>
                  <a:lnTo>
                    <a:pt x="33" y="1255"/>
                  </a:lnTo>
                  <a:lnTo>
                    <a:pt x="33" y="1257"/>
                  </a:lnTo>
                  <a:lnTo>
                    <a:pt x="35" y="1257"/>
                  </a:lnTo>
                  <a:lnTo>
                    <a:pt x="33" y="1257"/>
                  </a:lnTo>
                  <a:lnTo>
                    <a:pt x="35" y="1257"/>
                  </a:lnTo>
                  <a:lnTo>
                    <a:pt x="33" y="1259"/>
                  </a:lnTo>
                  <a:lnTo>
                    <a:pt x="35" y="1259"/>
                  </a:lnTo>
                  <a:lnTo>
                    <a:pt x="35" y="1257"/>
                  </a:lnTo>
                  <a:lnTo>
                    <a:pt x="35" y="1255"/>
                  </a:lnTo>
                  <a:lnTo>
                    <a:pt x="33" y="1255"/>
                  </a:lnTo>
                  <a:lnTo>
                    <a:pt x="33" y="1252"/>
                  </a:lnTo>
                  <a:lnTo>
                    <a:pt x="35" y="1252"/>
                  </a:lnTo>
                  <a:lnTo>
                    <a:pt x="35" y="1255"/>
                  </a:lnTo>
                  <a:lnTo>
                    <a:pt x="35" y="1252"/>
                  </a:lnTo>
                  <a:lnTo>
                    <a:pt x="38" y="1255"/>
                  </a:lnTo>
                  <a:lnTo>
                    <a:pt x="40" y="1255"/>
                  </a:lnTo>
                  <a:lnTo>
                    <a:pt x="38" y="1257"/>
                  </a:lnTo>
                  <a:lnTo>
                    <a:pt x="38" y="1255"/>
                  </a:lnTo>
                  <a:lnTo>
                    <a:pt x="38" y="1257"/>
                  </a:lnTo>
                  <a:lnTo>
                    <a:pt x="38" y="1259"/>
                  </a:lnTo>
                  <a:lnTo>
                    <a:pt x="38" y="1262"/>
                  </a:lnTo>
                  <a:lnTo>
                    <a:pt x="38" y="1259"/>
                  </a:lnTo>
                  <a:lnTo>
                    <a:pt x="40" y="1259"/>
                  </a:lnTo>
                  <a:lnTo>
                    <a:pt x="40" y="1257"/>
                  </a:lnTo>
                  <a:lnTo>
                    <a:pt x="42" y="1257"/>
                  </a:lnTo>
                  <a:lnTo>
                    <a:pt x="42" y="1255"/>
                  </a:lnTo>
                  <a:lnTo>
                    <a:pt x="45" y="1255"/>
                  </a:lnTo>
                  <a:lnTo>
                    <a:pt x="45" y="1257"/>
                  </a:lnTo>
                  <a:lnTo>
                    <a:pt x="45" y="1255"/>
                  </a:lnTo>
                  <a:lnTo>
                    <a:pt x="45" y="1257"/>
                  </a:lnTo>
                  <a:lnTo>
                    <a:pt x="45" y="1255"/>
                  </a:lnTo>
                  <a:lnTo>
                    <a:pt x="45" y="1257"/>
                  </a:lnTo>
                  <a:lnTo>
                    <a:pt x="47" y="1257"/>
                  </a:lnTo>
                  <a:lnTo>
                    <a:pt x="45" y="1257"/>
                  </a:lnTo>
                  <a:lnTo>
                    <a:pt x="45" y="1259"/>
                  </a:lnTo>
                  <a:lnTo>
                    <a:pt x="47" y="1259"/>
                  </a:lnTo>
                  <a:lnTo>
                    <a:pt x="50" y="1259"/>
                  </a:lnTo>
                  <a:lnTo>
                    <a:pt x="50" y="1262"/>
                  </a:lnTo>
                  <a:lnTo>
                    <a:pt x="52" y="1262"/>
                  </a:lnTo>
                  <a:lnTo>
                    <a:pt x="54" y="1262"/>
                  </a:lnTo>
                  <a:lnTo>
                    <a:pt x="57" y="1262"/>
                  </a:lnTo>
                  <a:lnTo>
                    <a:pt x="54" y="1262"/>
                  </a:lnTo>
                  <a:lnTo>
                    <a:pt x="52" y="1262"/>
                  </a:lnTo>
                  <a:lnTo>
                    <a:pt x="52" y="1259"/>
                  </a:lnTo>
                  <a:lnTo>
                    <a:pt x="50" y="1259"/>
                  </a:lnTo>
                  <a:lnTo>
                    <a:pt x="50" y="1257"/>
                  </a:lnTo>
                  <a:lnTo>
                    <a:pt x="52" y="1257"/>
                  </a:lnTo>
                  <a:lnTo>
                    <a:pt x="52" y="1255"/>
                  </a:lnTo>
                  <a:lnTo>
                    <a:pt x="54" y="1255"/>
                  </a:lnTo>
                  <a:lnTo>
                    <a:pt x="57" y="1255"/>
                  </a:lnTo>
                  <a:lnTo>
                    <a:pt x="57" y="1252"/>
                  </a:lnTo>
                  <a:lnTo>
                    <a:pt x="59" y="1252"/>
                  </a:lnTo>
                  <a:lnTo>
                    <a:pt x="61" y="1252"/>
                  </a:lnTo>
                  <a:lnTo>
                    <a:pt x="64" y="1252"/>
                  </a:lnTo>
                  <a:lnTo>
                    <a:pt x="66" y="1252"/>
                  </a:lnTo>
                  <a:lnTo>
                    <a:pt x="66" y="1250"/>
                  </a:lnTo>
                  <a:lnTo>
                    <a:pt x="68" y="1250"/>
                  </a:lnTo>
                  <a:lnTo>
                    <a:pt x="66" y="1250"/>
                  </a:lnTo>
                  <a:lnTo>
                    <a:pt x="64" y="1250"/>
                  </a:lnTo>
                  <a:lnTo>
                    <a:pt x="64" y="1252"/>
                  </a:lnTo>
                  <a:lnTo>
                    <a:pt x="61" y="1252"/>
                  </a:lnTo>
                  <a:lnTo>
                    <a:pt x="59" y="1252"/>
                  </a:lnTo>
                  <a:lnTo>
                    <a:pt x="57" y="1252"/>
                  </a:lnTo>
                  <a:lnTo>
                    <a:pt x="54" y="1252"/>
                  </a:lnTo>
                  <a:lnTo>
                    <a:pt x="54" y="1255"/>
                  </a:lnTo>
                  <a:lnTo>
                    <a:pt x="52" y="1255"/>
                  </a:lnTo>
                  <a:lnTo>
                    <a:pt x="50" y="1257"/>
                  </a:lnTo>
                  <a:lnTo>
                    <a:pt x="50" y="1259"/>
                  </a:lnTo>
                  <a:lnTo>
                    <a:pt x="50" y="1257"/>
                  </a:lnTo>
                  <a:lnTo>
                    <a:pt x="47" y="1257"/>
                  </a:lnTo>
                  <a:lnTo>
                    <a:pt x="47" y="1255"/>
                  </a:lnTo>
                  <a:lnTo>
                    <a:pt x="50" y="1252"/>
                  </a:lnTo>
                  <a:lnTo>
                    <a:pt x="50" y="1255"/>
                  </a:lnTo>
                  <a:lnTo>
                    <a:pt x="50" y="1252"/>
                  </a:lnTo>
                  <a:lnTo>
                    <a:pt x="47" y="1252"/>
                  </a:lnTo>
                  <a:lnTo>
                    <a:pt x="45" y="1252"/>
                  </a:lnTo>
                  <a:lnTo>
                    <a:pt x="45" y="1250"/>
                  </a:lnTo>
                  <a:lnTo>
                    <a:pt x="42" y="1250"/>
                  </a:lnTo>
                  <a:lnTo>
                    <a:pt x="42" y="1248"/>
                  </a:lnTo>
                  <a:lnTo>
                    <a:pt x="45" y="1248"/>
                  </a:lnTo>
                  <a:lnTo>
                    <a:pt x="47" y="1248"/>
                  </a:lnTo>
                  <a:lnTo>
                    <a:pt x="50" y="1248"/>
                  </a:lnTo>
                  <a:lnTo>
                    <a:pt x="50" y="1245"/>
                  </a:lnTo>
                  <a:lnTo>
                    <a:pt x="50" y="1248"/>
                  </a:lnTo>
                  <a:lnTo>
                    <a:pt x="50" y="1245"/>
                  </a:lnTo>
                  <a:lnTo>
                    <a:pt x="52" y="1245"/>
                  </a:lnTo>
                  <a:lnTo>
                    <a:pt x="50" y="1245"/>
                  </a:lnTo>
                  <a:lnTo>
                    <a:pt x="47" y="1245"/>
                  </a:lnTo>
                  <a:lnTo>
                    <a:pt x="50" y="1245"/>
                  </a:lnTo>
                  <a:lnTo>
                    <a:pt x="50" y="1243"/>
                  </a:lnTo>
                  <a:lnTo>
                    <a:pt x="52" y="1243"/>
                  </a:lnTo>
                  <a:lnTo>
                    <a:pt x="52" y="1240"/>
                  </a:lnTo>
                  <a:lnTo>
                    <a:pt x="54" y="1240"/>
                  </a:lnTo>
                  <a:lnTo>
                    <a:pt x="54" y="1238"/>
                  </a:lnTo>
                  <a:lnTo>
                    <a:pt x="57" y="1238"/>
                  </a:lnTo>
                  <a:lnTo>
                    <a:pt x="59" y="1238"/>
                  </a:lnTo>
                  <a:lnTo>
                    <a:pt x="61" y="1238"/>
                  </a:lnTo>
                  <a:lnTo>
                    <a:pt x="61" y="1236"/>
                  </a:lnTo>
                  <a:lnTo>
                    <a:pt x="64" y="1236"/>
                  </a:lnTo>
                  <a:lnTo>
                    <a:pt x="66" y="1236"/>
                  </a:lnTo>
                  <a:lnTo>
                    <a:pt x="64" y="1236"/>
                  </a:lnTo>
                  <a:lnTo>
                    <a:pt x="61" y="1236"/>
                  </a:lnTo>
                  <a:lnTo>
                    <a:pt x="59" y="1236"/>
                  </a:lnTo>
                  <a:lnTo>
                    <a:pt x="59" y="1238"/>
                  </a:lnTo>
                  <a:lnTo>
                    <a:pt x="57" y="1238"/>
                  </a:lnTo>
                  <a:lnTo>
                    <a:pt x="54" y="1238"/>
                  </a:lnTo>
                  <a:lnTo>
                    <a:pt x="52" y="1238"/>
                  </a:lnTo>
                  <a:lnTo>
                    <a:pt x="52" y="1240"/>
                  </a:lnTo>
                  <a:lnTo>
                    <a:pt x="52" y="1238"/>
                  </a:lnTo>
                  <a:lnTo>
                    <a:pt x="50" y="1238"/>
                  </a:lnTo>
                  <a:lnTo>
                    <a:pt x="52" y="1238"/>
                  </a:lnTo>
                  <a:lnTo>
                    <a:pt x="54" y="1238"/>
                  </a:lnTo>
                  <a:lnTo>
                    <a:pt x="54" y="1236"/>
                  </a:lnTo>
                  <a:lnTo>
                    <a:pt x="54" y="1238"/>
                  </a:lnTo>
                  <a:lnTo>
                    <a:pt x="57" y="1238"/>
                  </a:lnTo>
                  <a:lnTo>
                    <a:pt x="57" y="1236"/>
                  </a:lnTo>
                  <a:lnTo>
                    <a:pt x="54" y="1236"/>
                  </a:lnTo>
                  <a:lnTo>
                    <a:pt x="54" y="1233"/>
                  </a:lnTo>
                  <a:lnTo>
                    <a:pt x="54" y="1236"/>
                  </a:lnTo>
                  <a:lnTo>
                    <a:pt x="52" y="1236"/>
                  </a:lnTo>
                  <a:lnTo>
                    <a:pt x="54" y="1236"/>
                  </a:lnTo>
                  <a:lnTo>
                    <a:pt x="52" y="1236"/>
                  </a:lnTo>
                  <a:lnTo>
                    <a:pt x="52" y="1238"/>
                  </a:lnTo>
                  <a:lnTo>
                    <a:pt x="52" y="1236"/>
                  </a:lnTo>
                  <a:lnTo>
                    <a:pt x="50" y="1236"/>
                  </a:lnTo>
                  <a:lnTo>
                    <a:pt x="50" y="1233"/>
                  </a:lnTo>
                  <a:lnTo>
                    <a:pt x="50" y="1236"/>
                  </a:lnTo>
                  <a:lnTo>
                    <a:pt x="47" y="1236"/>
                  </a:lnTo>
                  <a:lnTo>
                    <a:pt x="47" y="1233"/>
                  </a:lnTo>
                  <a:lnTo>
                    <a:pt x="50" y="1233"/>
                  </a:lnTo>
                  <a:lnTo>
                    <a:pt x="52" y="1233"/>
                  </a:lnTo>
                  <a:lnTo>
                    <a:pt x="52" y="1231"/>
                  </a:lnTo>
                  <a:lnTo>
                    <a:pt x="54" y="1231"/>
                  </a:lnTo>
                  <a:lnTo>
                    <a:pt x="54" y="1229"/>
                  </a:lnTo>
                  <a:lnTo>
                    <a:pt x="54" y="1226"/>
                  </a:lnTo>
                  <a:lnTo>
                    <a:pt x="57" y="1226"/>
                  </a:lnTo>
                  <a:lnTo>
                    <a:pt x="59" y="1226"/>
                  </a:lnTo>
                  <a:lnTo>
                    <a:pt x="61" y="1224"/>
                  </a:lnTo>
                  <a:lnTo>
                    <a:pt x="64" y="1224"/>
                  </a:lnTo>
                  <a:lnTo>
                    <a:pt x="66" y="1224"/>
                  </a:lnTo>
                  <a:lnTo>
                    <a:pt x="64" y="1224"/>
                  </a:lnTo>
                  <a:lnTo>
                    <a:pt x="61" y="1224"/>
                  </a:lnTo>
                  <a:lnTo>
                    <a:pt x="59" y="1224"/>
                  </a:lnTo>
                  <a:lnTo>
                    <a:pt x="59" y="1226"/>
                  </a:lnTo>
                  <a:lnTo>
                    <a:pt x="57" y="1226"/>
                  </a:lnTo>
                  <a:lnTo>
                    <a:pt x="57" y="1224"/>
                  </a:lnTo>
                  <a:lnTo>
                    <a:pt x="57" y="1221"/>
                  </a:lnTo>
                  <a:lnTo>
                    <a:pt x="57" y="1219"/>
                  </a:lnTo>
                  <a:lnTo>
                    <a:pt x="59" y="1219"/>
                  </a:lnTo>
                  <a:lnTo>
                    <a:pt x="57" y="1219"/>
                  </a:lnTo>
                  <a:lnTo>
                    <a:pt x="57" y="1221"/>
                  </a:lnTo>
                  <a:lnTo>
                    <a:pt x="57" y="1224"/>
                  </a:lnTo>
                  <a:lnTo>
                    <a:pt x="57" y="1226"/>
                  </a:lnTo>
                  <a:lnTo>
                    <a:pt x="54" y="1226"/>
                  </a:lnTo>
                  <a:lnTo>
                    <a:pt x="54" y="1229"/>
                  </a:lnTo>
                  <a:lnTo>
                    <a:pt x="52" y="1229"/>
                  </a:lnTo>
                  <a:lnTo>
                    <a:pt x="52" y="1231"/>
                  </a:lnTo>
                  <a:lnTo>
                    <a:pt x="50" y="1231"/>
                  </a:lnTo>
                  <a:lnTo>
                    <a:pt x="52" y="1231"/>
                  </a:lnTo>
                  <a:lnTo>
                    <a:pt x="50" y="1231"/>
                  </a:lnTo>
                  <a:lnTo>
                    <a:pt x="52" y="1231"/>
                  </a:lnTo>
                  <a:lnTo>
                    <a:pt x="50" y="1231"/>
                  </a:lnTo>
                  <a:lnTo>
                    <a:pt x="50" y="1233"/>
                  </a:lnTo>
                  <a:lnTo>
                    <a:pt x="47" y="1233"/>
                  </a:lnTo>
                  <a:lnTo>
                    <a:pt x="47" y="1231"/>
                  </a:lnTo>
                  <a:lnTo>
                    <a:pt x="47" y="1233"/>
                  </a:lnTo>
                  <a:lnTo>
                    <a:pt x="47" y="1231"/>
                  </a:lnTo>
                  <a:lnTo>
                    <a:pt x="47" y="1233"/>
                  </a:lnTo>
                  <a:lnTo>
                    <a:pt x="45" y="1233"/>
                  </a:lnTo>
                  <a:lnTo>
                    <a:pt x="47" y="1236"/>
                  </a:lnTo>
                  <a:lnTo>
                    <a:pt x="45" y="1236"/>
                  </a:lnTo>
                  <a:lnTo>
                    <a:pt x="45" y="1233"/>
                  </a:lnTo>
                  <a:lnTo>
                    <a:pt x="45" y="1231"/>
                  </a:lnTo>
                  <a:lnTo>
                    <a:pt x="45" y="1229"/>
                  </a:lnTo>
                  <a:lnTo>
                    <a:pt x="45" y="1231"/>
                  </a:lnTo>
                  <a:lnTo>
                    <a:pt x="47" y="1229"/>
                  </a:lnTo>
                  <a:lnTo>
                    <a:pt x="47" y="1231"/>
                  </a:lnTo>
                  <a:lnTo>
                    <a:pt x="47" y="1229"/>
                  </a:lnTo>
                  <a:lnTo>
                    <a:pt x="50" y="1229"/>
                  </a:lnTo>
                  <a:lnTo>
                    <a:pt x="52" y="1229"/>
                  </a:lnTo>
                  <a:lnTo>
                    <a:pt x="54" y="1229"/>
                  </a:lnTo>
                  <a:lnTo>
                    <a:pt x="52" y="1229"/>
                  </a:lnTo>
                  <a:lnTo>
                    <a:pt x="50" y="1229"/>
                  </a:lnTo>
                  <a:lnTo>
                    <a:pt x="47" y="1229"/>
                  </a:lnTo>
                  <a:lnTo>
                    <a:pt x="45" y="1229"/>
                  </a:lnTo>
                  <a:lnTo>
                    <a:pt x="42" y="1229"/>
                  </a:lnTo>
                  <a:lnTo>
                    <a:pt x="42" y="1226"/>
                  </a:lnTo>
                  <a:lnTo>
                    <a:pt x="42" y="1224"/>
                  </a:lnTo>
                  <a:lnTo>
                    <a:pt x="42" y="1226"/>
                  </a:lnTo>
                  <a:lnTo>
                    <a:pt x="40" y="1226"/>
                  </a:lnTo>
                  <a:lnTo>
                    <a:pt x="42" y="1229"/>
                  </a:lnTo>
                  <a:lnTo>
                    <a:pt x="40" y="1229"/>
                  </a:lnTo>
                  <a:lnTo>
                    <a:pt x="40" y="1231"/>
                  </a:lnTo>
                  <a:lnTo>
                    <a:pt x="38" y="1231"/>
                  </a:lnTo>
                  <a:lnTo>
                    <a:pt x="38" y="1229"/>
                  </a:lnTo>
                  <a:lnTo>
                    <a:pt x="38" y="1231"/>
                  </a:lnTo>
                  <a:lnTo>
                    <a:pt x="35" y="1231"/>
                  </a:lnTo>
                  <a:lnTo>
                    <a:pt x="35" y="1233"/>
                  </a:lnTo>
                  <a:lnTo>
                    <a:pt x="38" y="1233"/>
                  </a:lnTo>
                  <a:lnTo>
                    <a:pt x="38" y="1231"/>
                  </a:lnTo>
                  <a:lnTo>
                    <a:pt x="40" y="1231"/>
                  </a:lnTo>
                  <a:lnTo>
                    <a:pt x="42" y="1231"/>
                  </a:lnTo>
                  <a:lnTo>
                    <a:pt x="42" y="1233"/>
                  </a:lnTo>
                  <a:lnTo>
                    <a:pt x="42" y="1236"/>
                  </a:lnTo>
                  <a:lnTo>
                    <a:pt x="40" y="1236"/>
                  </a:lnTo>
                  <a:lnTo>
                    <a:pt x="38" y="1236"/>
                  </a:lnTo>
                  <a:lnTo>
                    <a:pt x="38" y="1238"/>
                  </a:lnTo>
                  <a:lnTo>
                    <a:pt x="35" y="1238"/>
                  </a:lnTo>
                  <a:lnTo>
                    <a:pt x="35" y="1240"/>
                  </a:lnTo>
                  <a:lnTo>
                    <a:pt x="35" y="1238"/>
                  </a:lnTo>
                  <a:lnTo>
                    <a:pt x="35" y="1240"/>
                  </a:lnTo>
                  <a:lnTo>
                    <a:pt x="35" y="1238"/>
                  </a:lnTo>
                  <a:lnTo>
                    <a:pt x="35" y="1240"/>
                  </a:lnTo>
                  <a:lnTo>
                    <a:pt x="35" y="1238"/>
                  </a:lnTo>
                  <a:lnTo>
                    <a:pt x="35" y="1236"/>
                  </a:lnTo>
                  <a:lnTo>
                    <a:pt x="35" y="1233"/>
                  </a:lnTo>
                  <a:lnTo>
                    <a:pt x="35" y="1231"/>
                  </a:lnTo>
                  <a:lnTo>
                    <a:pt x="33" y="1231"/>
                  </a:lnTo>
                  <a:lnTo>
                    <a:pt x="35" y="1231"/>
                  </a:lnTo>
                  <a:lnTo>
                    <a:pt x="33" y="1231"/>
                  </a:lnTo>
                  <a:lnTo>
                    <a:pt x="35" y="1233"/>
                  </a:lnTo>
                  <a:lnTo>
                    <a:pt x="33" y="1233"/>
                  </a:lnTo>
                  <a:lnTo>
                    <a:pt x="35" y="1233"/>
                  </a:lnTo>
                  <a:lnTo>
                    <a:pt x="33" y="1233"/>
                  </a:lnTo>
                  <a:lnTo>
                    <a:pt x="33" y="1236"/>
                  </a:lnTo>
                  <a:lnTo>
                    <a:pt x="33" y="1238"/>
                  </a:lnTo>
                  <a:lnTo>
                    <a:pt x="31" y="1238"/>
                  </a:lnTo>
                  <a:lnTo>
                    <a:pt x="33" y="1238"/>
                  </a:lnTo>
                  <a:lnTo>
                    <a:pt x="31" y="1238"/>
                  </a:lnTo>
                  <a:lnTo>
                    <a:pt x="28" y="1238"/>
                  </a:lnTo>
                  <a:lnTo>
                    <a:pt x="28" y="1236"/>
                  </a:lnTo>
                  <a:lnTo>
                    <a:pt x="28" y="1238"/>
                  </a:lnTo>
                  <a:lnTo>
                    <a:pt x="26" y="1238"/>
                  </a:lnTo>
                  <a:lnTo>
                    <a:pt x="26" y="1236"/>
                  </a:lnTo>
                  <a:lnTo>
                    <a:pt x="28" y="1236"/>
                  </a:lnTo>
                  <a:lnTo>
                    <a:pt x="26" y="1236"/>
                  </a:lnTo>
                  <a:lnTo>
                    <a:pt x="26" y="1233"/>
                  </a:lnTo>
                  <a:lnTo>
                    <a:pt x="28" y="1233"/>
                  </a:lnTo>
                  <a:lnTo>
                    <a:pt x="26" y="1233"/>
                  </a:lnTo>
                  <a:lnTo>
                    <a:pt x="26" y="1231"/>
                  </a:lnTo>
                  <a:lnTo>
                    <a:pt x="26" y="1233"/>
                  </a:lnTo>
                  <a:lnTo>
                    <a:pt x="26" y="1236"/>
                  </a:lnTo>
                  <a:lnTo>
                    <a:pt x="26" y="1238"/>
                  </a:lnTo>
                  <a:lnTo>
                    <a:pt x="26" y="1236"/>
                  </a:lnTo>
                  <a:lnTo>
                    <a:pt x="23" y="1236"/>
                  </a:lnTo>
                  <a:lnTo>
                    <a:pt x="23" y="1233"/>
                  </a:lnTo>
                  <a:lnTo>
                    <a:pt x="23" y="1231"/>
                  </a:lnTo>
                  <a:lnTo>
                    <a:pt x="21" y="1231"/>
                  </a:lnTo>
                  <a:lnTo>
                    <a:pt x="23" y="1231"/>
                  </a:lnTo>
                  <a:lnTo>
                    <a:pt x="21" y="1231"/>
                  </a:lnTo>
                  <a:lnTo>
                    <a:pt x="21" y="1229"/>
                  </a:lnTo>
                  <a:lnTo>
                    <a:pt x="21" y="1226"/>
                  </a:lnTo>
                  <a:lnTo>
                    <a:pt x="23" y="1226"/>
                  </a:lnTo>
                  <a:lnTo>
                    <a:pt x="21" y="1226"/>
                  </a:lnTo>
                  <a:lnTo>
                    <a:pt x="21" y="1224"/>
                  </a:lnTo>
                  <a:lnTo>
                    <a:pt x="23" y="1224"/>
                  </a:lnTo>
                  <a:lnTo>
                    <a:pt x="23" y="1221"/>
                  </a:lnTo>
                  <a:lnTo>
                    <a:pt x="26" y="1221"/>
                  </a:lnTo>
                  <a:lnTo>
                    <a:pt x="26" y="1219"/>
                  </a:lnTo>
                  <a:lnTo>
                    <a:pt x="28" y="1219"/>
                  </a:lnTo>
                  <a:lnTo>
                    <a:pt x="28" y="1221"/>
                  </a:lnTo>
                  <a:lnTo>
                    <a:pt x="28" y="1219"/>
                  </a:lnTo>
                  <a:lnTo>
                    <a:pt x="28" y="1221"/>
                  </a:lnTo>
                  <a:lnTo>
                    <a:pt x="31" y="1221"/>
                  </a:lnTo>
                  <a:lnTo>
                    <a:pt x="28" y="1219"/>
                  </a:lnTo>
                  <a:lnTo>
                    <a:pt x="28" y="1217"/>
                  </a:lnTo>
                  <a:lnTo>
                    <a:pt x="31" y="1217"/>
                  </a:lnTo>
                  <a:lnTo>
                    <a:pt x="31" y="1214"/>
                  </a:lnTo>
                  <a:lnTo>
                    <a:pt x="31" y="1217"/>
                  </a:lnTo>
                  <a:lnTo>
                    <a:pt x="31" y="1219"/>
                  </a:lnTo>
                  <a:lnTo>
                    <a:pt x="31" y="1221"/>
                  </a:lnTo>
                  <a:lnTo>
                    <a:pt x="31" y="1224"/>
                  </a:lnTo>
                  <a:lnTo>
                    <a:pt x="31" y="1226"/>
                  </a:lnTo>
                  <a:lnTo>
                    <a:pt x="28" y="1226"/>
                  </a:lnTo>
                  <a:lnTo>
                    <a:pt x="28" y="1224"/>
                  </a:lnTo>
                  <a:lnTo>
                    <a:pt x="28" y="1226"/>
                  </a:lnTo>
                  <a:lnTo>
                    <a:pt x="28" y="1229"/>
                  </a:lnTo>
                  <a:lnTo>
                    <a:pt x="28" y="1226"/>
                  </a:lnTo>
                  <a:lnTo>
                    <a:pt x="31" y="1226"/>
                  </a:lnTo>
                  <a:lnTo>
                    <a:pt x="33" y="1226"/>
                  </a:lnTo>
                  <a:lnTo>
                    <a:pt x="31" y="1226"/>
                  </a:lnTo>
                  <a:lnTo>
                    <a:pt x="33" y="1226"/>
                  </a:lnTo>
                  <a:lnTo>
                    <a:pt x="31" y="1224"/>
                  </a:lnTo>
                  <a:lnTo>
                    <a:pt x="33" y="1224"/>
                  </a:lnTo>
                  <a:lnTo>
                    <a:pt x="33" y="1221"/>
                  </a:lnTo>
                  <a:lnTo>
                    <a:pt x="33" y="1219"/>
                  </a:lnTo>
                  <a:lnTo>
                    <a:pt x="33" y="1217"/>
                  </a:lnTo>
                  <a:lnTo>
                    <a:pt x="35" y="1217"/>
                  </a:lnTo>
                  <a:lnTo>
                    <a:pt x="35" y="1219"/>
                  </a:lnTo>
                  <a:lnTo>
                    <a:pt x="38" y="1219"/>
                  </a:lnTo>
                  <a:lnTo>
                    <a:pt x="40" y="1219"/>
                  </a:lnTo>
                  <a:lnTo>
                    <a:pt x="40" y="1221"/>
                  </a:lnTo>
                  <a:lnTo>
                    <a:pt x="38" y="1221"/>
                  </a:lnTo>
                  <a:lnTo>
                    <a:pt x="40" y="1221"/>
                  </a:lnTo>
                  <a:lnTo>
                    <a:pt x="40" y="1219"/>
                  </a:lnTo>
                  <a:lnTo>
                    <a:pt x="42" y="1219"/>
                  </a:lnTo>
                  <a:lnTo>
                    <a:pt x="45" y="1219"/>
                  </a:lnTo>
                  <a:lnTo>
                    <a:pt x="42" y="1219"/>
                  </a:lnTo>
                  <a:lnTo>
                    <a:pt x="45" y="1219"/>
                  </a:lnTo>
                  <a:lnTo>
                    <a:pt x="45" y="1217"/>
                  </a:lnTo>
                  <a:lnTo>
                    <a:pt x="42" y="1219"/>
                  </a:lnTo>
                  <a:lnTo>
                    <a:pt x="40" y="1219"/>
                  </a:lnTo>
                  <a:lnTo>
                    <a:pt x="40" y="1217"/>
                  </a:lnTo>
                  <a:lnTo>
                    <a:pt x="42" y="1217"/>
                  </a:lnTo>
                  <a:lnTo>
                    <a:pt x="42" y="1214"/>
                  </a:lnTo>
                  <a:lnTo>
                    <a:pt x="45" y="1214"/>
                  </a:lnTo>
                  <a:lnTo>
                    <a:pt x="45" y="1212"/>
                  </a:lnTo>
                  <a:lnTo>
                    <a:pt x="45" y="1214"/>
                  </a:lnTo>
                  <a:lnTo>
                    <a:pt x="47" y="1214"/>
                  </a:lnTo>
                  <a:lnTo>
                    <a:pt x="50" y="1214"/>
                  </a:lnTo>
                  <a:lnTo>
                    <a:pt x="52" y="1214"/>
                  </a:lnTo>
                  <a:lnTo>
                    <a:pt x="52" y="1212"/>
                  </a:lnTo>
                  <a:lnTo>
                    <a:pt x="54" y="1212"/>
                  </a:lnTo>
                  <a:lnTo>
                    <a:pt x="54" y="1210"/>
                  </a:lnTo>
                  <a:lnTo>
                    <a:pt x="57" y="1210"/>
                  </a:lnTo>
                  <a:lnTo>
                    <a:pt x="59" y="1210"/>
                  </a:lnTo>
                  <a:lnTo>
                    <a:pt x="59" y="1207"/>
                  </a:lnTo>
                  <a:lnTo>
                    <a:pt x="57" y="1207"/>
                  </a:lnTo>
                  <a:lnTo>
                    <a:pt x="57" y="1210"/>
                  </a:lnTo>
                  <a:lnTo>
                    <a:pt x="54" y="1210"/>
                  </a:lnTo>
                  <a:lnTo>
                    <a:pt x="52" y="1210"/>
                  </a:lnTo>
                  <a:lnTo>
                    <a:pt x="52" y="1212"/>
                  </a:lnTo>
                  <a:lnTo>
                    <a:pt x="50" y="1212"/>
                  </a:lnTo>
                  <a:lnTo>
                    <a:pt x="50" y="1214"/>
                  </a:lnTo>
                  <a:lnTo>
                    <a:pt x="50" y="1212"/>
                  </a:lnTo>
                  <a:lnTo>
                    <a:pt x="50" y="1214"/>
                  </a:lnTo>
                  <a:lnTo>
                    <a:pt x="47" y="1214"/>
                  </a:lnTo>
                  <a:lnTo>
                    <a:pt x="47" y="1212"/>
                  </a:lnTo>
                  <a:lnTo>
                    <a:pt x="45" y="1212"/>
                  </a:lnTo>
                  <a:lnTo>
                    <a:pt x="47" y="1212"/>
                  </a:lnTo>
                  <a:lnTo>
                    <a:pt x="47" y="1210"/>
                  </a:lnTo>
                  <a:lnTo>
                    <a:pt x="47" y="1207"/>
                  </a:lnTo>
                  <a:lnTo>
                    <a:pt x="45" y="1207"/>
                  </a:lnTo>
                  <a:lnTo>
                    <a:pt x="45" y="1210"/>
                  </a:lnTo>
                  <a:lnTo>
                    <a:pt x="45" y="1212"/>
                  </a:lnTo>
                  <a:lnTo>
                    <a:pt x="42" y="1212"/>
                  </a:lnTo>
                  <a:lnTo>
                    <a:pt x="40" y="1212"/>
                  </a:lnTo>
                  <a:lnTo>
                    <a:pt x="40" y="1210"/>
                  </a:lnTo>
                  <a:lnTo>
                    <a:pt x="38" y="1210"/>
                  </a:lnTo>
                  <a:lnTo>
                    <a:pt x="35" y="1210"/>
                  </a:lnTo>
                  <a:lnTo>
                    <a:pt x="38" y="1210"/>
                  </a:lnTo>
                  <a:lnTo>
                    <a:pt x="38" y="1207"/>
                  </a:lnTo>
                  <a:lnTo>
                    <a:pt x="40" y="1207"/>
                  </a:lnTo>
                  <a:lnTo>
                    <a:pt x="40" y="1205"/>
                  </a:lnTo>
                  <a:lnTo>
                    <a:pt x="42" y="1205"/>
                  </a:lnTo>
                  <a:lnTo>
                    <a:pt x="42" y="1202"/>
                  </a:lnTo>
                  <a:lnTo>
                    <a:pt x="45" y="1202"/>
                  </a:lnTo>
                  <a:lnTo>
                    <a:pt x="47" y="1202"/>
                  </a:lnTo>
                  <a:lnTo>
                    <a:pt x="47" y="1200"/>
                  </a:lnTo>
                  <a:lnTo>
                    <a:pt x="47" y="1198"/>
                  </a:lnTo>
                  <a:lnTo>
                    <a:pt x="50" y="1198"/>
                  </a:lnTo>
                  <a:lnTo>
                    <a:pt x="50" y="1195"/>
                  </a:lnTo>
                  <a:lnTo>
                    <a:pt x="52" y="1195"/>
                  </a:lnTo>
                  <a:lnTo>
                    <a:pt x="54" y="1195"/>
                  </a:lnTo>
                  <a:lnTo>
                    <a:pt x="57" y="1195"/>
                  </a:lnTo>
                  <a:lnTo>
                    <a:pt x="57" y="1193"/>
                  </a:lnTo>
                  <a:lnTo>
                    <a:pt x="57" y="1191"/>
                  </a:lnTo>
                  <a:lnTo>
                    <a:pt x="57" y="1193"/>
                  </a:lnTo>
                  <a:lnTo>
                    <a:pt x="54" y="1193"/>
                  </a:lnTo>
                  <a:lnTo>
                    <a:pt x="54" y="1195"/>
                  </a:lnTo>
                  <a:lnTo>
                    <a:pt x="52" y="1195"/>
                  </a:lnTo>
                  <a:lnTo>
                    <a:pt x="52" y="1193"/>
                  </a:lnTo>
                  <a:lnTo>
                    <a:pt x="50" y="1193"/>
                  </a:lnTo>
                  <a:lnTo>
                    <a:pt x="50" y="1191"/>
                  </a:lnTo>
                  <a:lnTo>
                    <a:pt x="50" y="1188"/>
                  </a:lnTo>
                  <a:lnTo>
                    <a:pt x="52" y="1188"/>
                  </a:lnTo>
                  <a:lnTo>
                    <a:pt x="54" y="1188"/>
                  </a:lnTo>
                  <a:lnTo>
                    <a:pt x="52" y="1188"/>
                  </a:lnTo>
                  <a:lnTo>
                    <a:pt x="54" y="1188"/>
                  </a:lnTo>
                  <a:lnTo>
                    <a:pt x="54" y="1186"/>
                  </a:lnTo>
                  <a:lnTo>
                    <a:pt x="54" y="1183"/>
                  </a:lnTo>
                  <a:lnTo>
                    <a:pt x="57" y="1183"/>
                  </a:lnTo>
                  <a:lnTo>
                    <a:pt x="59" y="1183"/>
                  </a:lnTo>
                  <a:lnTo>
                    <a:pt x="59" y="1181"/>
                  </a:lnTo>
                  <a:lnTo>
                    <a:pt x="59" y="1183"/>
                  </a:lnTo>
                  <a:lnTo>
                    <a:pt x="59" y="1181"/>
                  </a:lnTo>
                  <a:lnTo>
                    <a:pt x="61" y="1181"/>
                  </a:lnTo>
                  <a:lnTo>
                    <a:pt x="64" y="1181"/>
                  </a:lnTo>
                  <a:lnTo>
                    <a:pt x="64" y="1179"/>
                  </a:lnTo>
                  <a:lnTo>
                    <a:pt x="66" y="1179"/>
                  </a:lnTo>
                  <a:lnTo>
                    <a:pt x="66" y="1176"/>
                  </a:lnTo>
                  <a:lnTo>
                    <a:pt x="66" y="1179"/>
                  </a:lnTo>
                  <a:lnTo>
                    <a:pt x="68" y="1179"/>
                  </a:lnTo>
                  <a:lnTo>
                    <a:pt x="68" y="1181"/>
                  </a:lnTo>
                  <a:lnTo>
                    <a:pt x="68" y="1183"/>
                  </a:lnTo>
                  <a:lnTo>
                    <a:pt x="66" y="1183"/>
                  </a:lnTo>
                  <a:lnTo>
                    <a:pt x="66" y="1186"/>
                  </a:lnTo>
                  <a:lnTo>
                    <a:pt x="66" y="1188"/>
                  </a:lnTo>
                  <a:lnTo>
                    <a:pt x="66" y="1191"/>
                  </a:lnTo>
                  <a:lnTo>
                    <a:pt x="64" y="1191"/>
                  </a:lnTo>
                  <a:lnTo>
                    <a:pt x="64" y="1193"/>
                  </a:lnTo>
                  <a:lnTo>
                    <a:pt x="64" y="1195"/>
                  </a:lnTo>
                  <a:lnTo>
                    <a:pt x="64" y="1198"/>
                  </a:lnTo>
                  <a:lnTo>
                    <a:pt x="64" y="1195"/>
                  </a:lnTo>
                  <a:lnTo>
                    <a:pt x="66" y="1195"/>
                  </a:lnTo>
                  <a:lnTo>
                    <a:pt x="66" y="1193"/>
                  </a:lnTo>
                  <a:lnTo>
                    <a:pt x="66" y="1191"/>
                  </a:lnTo>
                  <a:lnTo>
                    <a:pt x="66" y="1188"/>
                  </a:lnTo>
                  <a:lnTo>
                    <a:pt x="66" y="1186"/>
                  </a:lnTo>
                  <a:lnTo>
                    <a:pt x="68" y="1186"/>
                  </a:lnTo>
                  <a:lnTo>
                    <a:pt x="68" y="1183"/>
                  </a:lnTo>
                  <a:lnTo>
                    <a:pt x="68" y="1181"/>
                  </a:lnTo>
                  <a:lnTo>
                    <a:pt x="68" y="1179"/>
                  </a:lnTo>
                  <a:lnTo>
                    <a:pt x="71" y="1181"/>
                  </a:lnTo>
                  <a:lnTo>
                    <a:pt x="71" y="1179"/>
                  </a:lnTo>
                  <a:lnTo>
                    <a:pt x="71" y="1176"/>
                  </a:lnTo>
                  <a:lnTo>
                    <a:pt x="73" y="1176"/>
                  </a:lnTo>
                  <a:lnTo>
                    <a:pt x="76" y="1176"/>
                  </a:lnTo>
                  <a:lnTo>
                    <a:pt x="78" y="1176"/>
                  </a:lnTo>
                  <a:lnTo>
                    <a:pt x="78" y="1174"/>
                  </a:lnTo>
                  <a:lnTo>
                    <a:pt x="80" y="1174"/>
                  </a:lnTo>
                  <a:lnTo>
                    <a:pt x="80" y="1176"/>
                  </a:lnTo>
                  <a:lnTo>
                    <a:pt x="83" y="1176"/>
                  </a:lnTo>
                  <a:lnTo>
                    <a:pt x="83" y="1174"/>
                  </a:lnTo>
                  <a:lnTo>
                    <a:pt x="85" y="1174"/>
                  </a:lnTo>
                  <a:lnTo>
                    <a:pt x="83" y="1174"/>
                  </a:lnTo>
                  <a:lnTo>
                    <a:pt x="80" y="1174"/>
                  </a:lnTo>
                  <a:lnTo>
                    <a:pt x="78" y="1174"/>
                  </a:lnTo>
                  <a:lnTo>
                    <a:pt x="78" y="1172"/>
                  </a:lnTo>
                  <a:lnTo>
                    <a:pt x="80" y="1172"/>
                  </a:lnTo>
                  <a:lnTo>
                    <a:pt x="80" y="1169"/>
                  </a:lnTo>
                  <a:lnTo>
                    <a:pt x="78" y="1172"/>
                  </a:lnTo>
                  <a:lnTo>
                    <a:pt x="78" y="1169"/>
                  </a:lnTo>
                  <a:lnTo>
                    <a:pt x="76" y="1169"/>
                  </a:lnTo>
                  <a:lnTo>
                    <a:pt x="76" y="1172"/>
                  </a:lnTo>
                  <a:lnTo>
                    <a:pt x="78" y="1172"/>
                  </a:lnTo>
                  <a:lnTo>
                    <a:pt x="76" y="1172"/>
                  </a:lnTo>
                  <a:lnTo>
                    <a:pt x="78" y="1172"/>
                  </a:lnTo>
                  <a:lnTo>
                    <a:pt x="76" y="1172"/>
                  </a:lnTo>
                  <a:lnTo>
                    <a:pt x="78" y="1174"/>
                  </a:lnTo>
                  <a:lnTo>
                    <a:pt x="76" y="1174"/>
                  </a:lnTo>
                  <a:lnTo>
                    <a:pt x="73" y="1174"/>
                  </a:lnTo>
                  <a:lnTo>
                    <a:pt x="73" y="1176"/>
                  </a:lnTo>
                  <a:lnTo>
                    <a:pt x="71" y="1176"/>
                  </a:lnTo>
                  <a:lnTo>
                    <a:pt x="71" y="1179"/>
                  </a:lnTo>
                  <a:lnTo>
                    <a:pt x="68" y="1179"/>
                  </a:lnTo>
                  <a:lnTo>
                    <a:pt x="68" y="1176"/>
                  </a:lnTo>
                  <a:lnTo>
                    <a:pt x="68" y="1174"/>
                  </a:lnTo>
                  <a:lnTo>
                    <a:pt x="71" y="1174"/>
                  </a:lnTo>
                  <a:lnTo>
                    <a:pt x="71" y="1172"/>
                  </a:lnTo>
                  <a:lnTo>
                    <a:pt x="71" y="1174"/>
                  </a:lnTo>
                  <a:lnTo>
                    <a:pt x="68" y="1174"/>
                  </a:lnTo>
                  <a:lnTo>
                    <a:pt x="66" y="1176"/>
                  </a:lnTo>
                  <a:lnTo>
                    <a:pt x="64" y="1176"/>
                  </a:lnTo>
                  <a:lnTo>
                    <a:pt x="61" y="1176"/>
                  </a:lnTo>
                  <a:lnTo>
                    <a:pt x="61" y="1179"/>
                  </a:lnTo>
                  <a:lnTo>
                    <a:pt x="59" y="1179"/>
                  </a:lnTo>
                  <a:lnTo>
                    <a:pt x="57" y="1179"/>
                  </a:lnTo>
                  <a:lnTo>
                    <a:pt x="54" y="1179"/>
                  </a:lnTo>
                  <a:lnTo>
                    <a:pt x="54" y="1176"/>
                  </a:lnTo>
                  <a:lnTo>
                    <a:pt x="54" y="1179"/>
                  </a:lnTo>
                  <a:lnTo>
                    <a:pt x="57" y="1179"/>
                  </a:lnTo>
                  <a:lnTo>
                    <a:pt x="57" y="1181"/>
                  </a:lnTo>
                  <a:lnTo>
                    <a:pt x="54" y="1181"/>
                  </a:lnTo>
                  <a:lnTo>
                    <a:pt x="54" y="1179"/>
                  </a:lnTo>
                  <a:lnTo>
                    <a:pt x="54" y="1181"/>
                  </a:lnTo>
                  <a:lnTo>
                    <a:pt x="52" y="1181"/>
                  </a:lnTo>
                  <a:lnTo>
                    <a:pt x="54" y="1181"/>
                  </a:lnTo>
                  <a:lnTo>
                    <a:pt x="54" y="1183"/>
                  </a:lnTo>
                  <a:lnTo>
                    <a:pt x="52" y="1183"/>
                  </a:lnTo>
                  <a:lnTo>
                    <a:pt x="52" y="1186"/>
                  </a:lnTo>
                  <a:lnTo>
                    <a:pt x="54" y="1186"/>
                  </a:lnTo>
                  <a:lnTo>
                    <a:pt x="52" y="1186"/>
                  </a:lnTo>
                  <a:lnTo>
                    <a:pt x="52" y="1188"/>
                  </a:lnTo>
                  <a:lnTo>
                    <a:pt x="52" y="1186"/>
                  </a:lnTo>
                  <a:lnTo>
                    <a:pt x="52" y="1188"/>
                  </a:lnTo>
                  <a:lnTo>
                    <a:pt x="50" y="1186"/>
                  </a:lnTo>
                  <a:lnTo>
                    <a:pt x="50" y="1188"/>
                  </a:lnTo>
                  <a:lnTo>
                    <a:pt x="50" y="1186"/>
                  </a:lnTo>
                  <a:lnTo>
                    <a:pt x="47" y="1186"/>
                  </a:lnTo>
                  <a:lnTo>
                    <a:pt x="47" y="1188"/>
                  </a:lnTo>
                  <a:lnTo>
                    <a:pt x="45" y="1188"/>
                  </a:lnTo>
                  <a:lnTo>
                    <a:pt x="45" y="1191"/>
                  </a:lnTo>
                  <a:lnTo>
                    <a:pt x="45" y="1193"/>
                  </a:lnTo>
                  <a:lnTo>
                    <a:pt x="45" y="1191"/>
                  </a:lnTo>
                  <a:lnTo>
                    <a:pt x="45" y="1193"/>
                  </a:lnTo>
                  <a:lnTo>
                    <a:pt x="42" y="1193"/>
                  </a:lnTo>
                  <a:lnTo>
                    <a:pt x="45" y="1193"/>
                  </a:lnTo>
                  <a:lnTo>
                    <a:pt x="42" y="1193"/>
                  </a:lnTo>
                  <a:lnTo>
                    <a:pt x="45" y="1195"/>
                  </a:lnTo>
                  <a:lnTo>
                    <a:pt x="45" y="1198"/>
                  </a:lnTo>
                  <a:lnTo>
                    <a:pt x="42" y="1200"/>
                  </a:lnTo>
                  <a:lnTo>
                    <a:pt x="40" y="1202"/>
                  </a:lnTo>
                  <a:lnTo>
                    <a:pt x="40" y="1200"/>
                  </a:lnTo>
                  <a:lnTo>
                    <a:pt x="40" y="1202"/>
                  </a:lnTo>
                  <a:lnTo>
                    <a:pt x="38" y="1202"/>
                  </a:lnTo>
                  <a:lnTo>
                    <a:pt x="38" y="1200"/>
                  </a:lnTo>
                  <a:lnTo>
                    <a:pt x="40" y="1200"/>
                  </a:lnTo>
                  <a:lnTo>
                    <a:pt x="38" y="1200"/>
                  </a:lnTo>
                  <a:lnTo>
                    <a:pt x="38" y="1198"/>
                  </a:lnTo>
                  <a:lnTo>
                    <a:pt x="38" y="1195"/>
                  </a:lnTo>
                  <a:lnTo>
                    <a:pt x="38" y="1198"/>
                  </a:lnTo>
                  <a:lnTo>
                    <a:pt x="40" y="1198"/>
                  </a:lnTo>
                  <a:lnTo>
                    <a:pt x="40" y="1195"/>
                  </a:lnTo>
                  <a:lnTo>
                    <a:pt x="42" y="1195"/>
                  </a:lnTo>
                  <a:lnTo>
                    <a:pt x="40" y="1195"/>
                  </a:lnTo>
                  <a:lnTo>
                    <a:pt x="40" y="1198"/>
                  </a:lnTo>
                  <a:lnTo>
                    <a:pt x="38" y="1198"/>
                  </a:lnTo>
                  <a:lnTo>
                    <a:pt x="38" y="1195"/>
                  </a:lnTo>
                  <a:lnTo>
                    <a:pt x="38" y="1193"/>
                  </a:lnTo>
                  <a:lnTo>
                    <a:pt x="38" y="1195"/>
                  </a:lnTo>
                  <a:lnTo>
                    <a:pt x="38" y="1193"/>
                  </a:lnTo>
                  <a:lnTo>
                    <a:pt x="40" y="1193"/>
                  </a:lnTo>
                  <a:lnTo>
                    <a:pt x="38" y="1193"/>
                  </a:lnTo>
                  <a:lnTo>
                    <a:pt x="38" y="1191"/>
                  </a:lnTo>
                  <a:lnTo>
                    <a:pt x="40" y="1191"/>
                  </a:lnTo>
                  <a:lnTo>
                    <a:pt x="38" y="1191"/>
                  </a:lnTo>
                  <a:lnTo>
                    <a:pt x="35" y="1191"/>
                  </a:lnTo>
                  <a:lnTo>
                    <a:pt x="38" y="1191"/>
                  </a:lnTo>
                  <a:lnTo>
                    <a:pt x="35" y="1193"/>
                  </a:lnTo>
                  <a:lnTo>
                    <a:pt x="38" y="1193"/>
                  </a:lnTo>
                  <a:lnTo>
                    <a:pt x="35" y="1193"/>
                  </a:lnTo>
                  <a:lnTo>
                    <a:pt x="33" y="1193"/>
                  </a:lnTo>
                  <a:lnTo>
                    <a:pt x="33" y="1191"/>
                  </a:lnTo>
                  <a:lnTo>
                    <a:pt x="35" y="1191"/>
                  </a:lnTo>
                  <a:lnTo>
                    <a:pt x="35" y="1188"/>
                  </a:lnTo>
                  <a:lnTo>
                    <a:pt x="38" y="1188"/>
                  </a:lnTo>
                  <a:lnTo>
                    <a:pt x="35" y="1188"/>
                  </a:lnTo>
                  <a:lnTo>
                    <a:pt x="35" y="1186"/>
                  </a:lnTo>
                  <a:lnTo>
                    <a:pt x="33" y="1188"/>
                  </a:lnTo>
                  <a:lnTo>
                    <a:pt x="33" y="1186"/>
                  </a:lnTo>
                  <a:lnTo>
                    <a:pt x="35" y="1186"/>
                  </a:lnTo>
                  <a:lnTo>
                    <a:pt x="35" y="1183"/>
                  </a:lnTo>
                  <a:lnTo>
                    <a:pt x="35" y="1186"/>
                  </a:lnTo>
                  <a:lnTo>
                    <a:pt x="35" y="1183"/>
                  </a:lnTo>
                  <a:lnTo>
                    <a:pt x="35" y="1181"/>
                  </a:lnTo>
                  <a:lnTo>
                    <a:pt x="38" y="1181"/>
                  </a:lnTo>
                  <a:lnTo>
                    <a:pt x="40" y="1181"/>
                  </a:lnTo>
                  <a:lnTo>
                    <a:pt x="40" y="1179"/>
                  </a:lnTo>
                  <a:lnTo>
                    <a:pt x="38" y="1179"/>
                  </a:lnTo>
                  <a:lnTo>
                    <a:pt x="38" y="1181"/>
                  </a:lnTo>
                  <a:lnTo>
                    <a:pt x="35" y="1181"/>
                  </a:lnTo>
                  <a:lnTo>
                    <a:pt x="35" y="1183"/>
                  </a:lnTo>
                  <a:lnTo>
                    <a:pt x="33" y="1186"/>
                  </a:lnTo>
                  <a:lnTo>
                    <a:pt x="33" y="1188"/>
                  </a:lnTo>
                  <a:lnTo>
                    <a:pt x="31" y="1191"/>
                  </a:lnTo>
                  <a:lnTo>
                    <a:pt x="33" y="1188"/>
                  </a:lnTo>
                  <a:lnTo>
                    <a:pt x="31" y="1191"/>
                  </a:lnTo>
                  <a:lnTo>
                    <a:pt x="28" y="1191"/>
                  </a:lnTo>
                  <a:lnTo>
                    <a:pt x="28" y="1193"/>
                  </a:lnTo>
                  <a:lnTo>
                    <a:pt x="26" y="1193"/>
                  </a:lnTo>
                  <a:lnTo>
                    <a:pt x="28" y="1193"/>
                  </a:lnTo>
                  <a:lnTo>
                    <a:pt x="26" y="1193"/>
                  </a:lnTo>
                  <a:lnTo>
                    <a:pt x="26" y="1191"/>
                  </a:lnTo>
                  <a:lnTo>
                    <a:pt x="26" y="1193"/>
                  </a:lnTo>
                  <a:lnTo>
                    <a:pt x="28" y="1193"/>
                  </a:lnTo>
                  <a:lnTo>
                    <a:pt x="26" y="1191"/>
                  </a:lnTo>
                  <a:lnTo>
                    <a:pt x="28" y="1191"/>
                  </a:lnTo>
                  <a:lnTo>
                    <a:pt x="26" y="1191"/>
                  </a:lnTo>
                  <a:lnTo>
                    <a:pt x="23" y="1191"/>
                  </a:lnTo>
                  <a:lnTo>
                    <a:pt x="26" y="1191"/>
                  </a:lnTo>
                  <a:lnTo>
                    <a:pt x="23" y="1191"/>
                  </a:lnTo>
                  <a:lnTo>
                    <a:pt x="26" y="1191"/>
                  </a:lnTo>
                  <a:lnTo>
                    <a:pt x="26" y="1188"/>
                  </a:lnTo>
                  <a:lnTo>
                    <a:pt x="26" y="1191"/>
                  </a:lnTo>
                  <a:lnTo>
                    <a:pt x="26" y="1188"/>
                  </a:lnTo>
                  <a:lnTo>
                    <a:pt x="23" y="1188"/>
                  </a:lnTo>
                  <a:lnTo>
                    <a:pt x="23" y="1191"/>
                  </a:lnTo>
                  <a:lnTo>
                    <a:pt x="21" y="1191"/>
                  </a:lnTo>
                  <a:lnTo>
                    <a:pt x="21" y="1188"/>
                  </a:lnTo>
                  <a:lnTo>
                    <a:pt x="23" y="1188"/>
                  </a:lnTo>
                  <a:lnTo>
                    <a:pt x="23" y="1186"/>
                  </a:lnTo>
                  <a:lnTo>
                    <a:pt x="26" y="1186"/>
                  </a:lnTo>
                  <a:lnTo>
                    <a:pt x="23" y="1186"/>
                  </a:lnTo>
                  <a:lnTo>
                    <a:pt x="23" y="1188"/>
                  </a:lnTo>
                  <a:lnTo>
                    <a:pt x="21" y="1188"/>
                  </a:lnTo>
                  <a:lnTo>
                    <a:pt x="21" y="1186"/>
                  </a:lnTo>
                  <a:lnTo>
                    <a:pt x="21" y="1183"/>
                  </a:lnTo>
                  <a:lnTo>
                    <a:pt x="23" y="1183"/>
                  </a:lnTo>
                  <a:lnTo>
                    <a:pt x="21" y="1183"/>
                  </a:lnTo>
                  <a:lnTo>
                    <a:pt x="21" y="1181"/>
                  </a:lnTo>
                  <a:lnTo>
                    <a:pt x="21" y="1183"/>
                  </a:lnTo>
                  <a:lnTo>
                    <a:pt x="19" y="1183"/>
                  </a:lnTo>
                  <a:lnTo>
                    <a:pt x="19" y="1181"/>
                  </a:lnTo>
                  <a:lnTo>
                    <a:pt x="21" y="1181"/>
                  </a:lnTo>
                  <a:lnTo>
                    <a:pt x="19" y="1181"/>
                  </a:lnTo>
                  <a:lnTo>
                    <a:pt x="21" y="1181"/>
                  </a:lnTo>
                  <a:lnTo>
                    <a:pt x="21" y="1179"/>
                  </a:lnTo>
                  <a:lnTo>
                    <a:pt x="23" y="1179"/>
                  </a:lnTo>
                  <a:lnTo>
                    <a:pt x="23" y="1181"/>
                  </a:lnTo>
                  <a:lnTo>
                    <a:pt x="26" y="1181"/>
                  </a:lnTo>
                  <a:lnTo>
                    <a:pt x="23" y="1181"/>
                  </a:lnTo>
                  <a:lnTo>
                    <a:pt x="23" y="1179"/>
                  </a:lnTo>
                  <a:lnTo>
                    <a:pt x="23" y="1176"/>
                  </a:lnTo>
                  <a:lnTo>
                    <a:pt x="21" y="1174"/>
                  </a:lnTo>
                  <a:lnTo>
                    <a:pt x="23" y="1174"/>
                  </a:lnTo>
                  <a:lnTo>
                    <a:pt x="23" y="1172"/>
                  </a:lnTo>
                  <a:lnTo>
                    <a:pt x="23" y="1174"/>
                  </a:lnTo>
                  <a:lnTo>
                    <a:pt x="23" y="1172"/>
                  </a:lnTo>
                  <a:lnTo>
                    <a:pt x="23" y="1174"/>
                  </a:lnTo>
                  <a:lnTo>
                    <a:pt x="26" y="1174"/>
                  </a:lnTo>
                  <a:lnTo>
                    <a:pt x="28" y="1174"/>
                  </a:lnTo>
                  <a:lnTo>
                    <a:pt x="28" y="1176"/>
                  </a:lnTo>
                  <a:lnTo>
                    <a:pt x="28" y="1179"/>
                  </a:lnTo>
                  <a:lnTo>
                    <a:pt x="28" y="1176"/>
                  </a:lnTo>
                  <a:lnTo>
                    <a:pt x="31" y="1176"/>
                  </a:lnTo>
                  <a:lnTo>
                    <a:pt x="31" y="1179"/>
                  </a:lnTo>
                  <a:lnTo>
                    <a:pt x="33" y="1179"/>
                  </a:lnTo>
                  <a:lnTo>
                    <a:pt x="35" y="1179"/>
                  </a:lnTo>
                  <a:lnTo>
                    <a:pt x="35" y="1176"/>
                  </a:lnTo>
                  <a:lnTo>
                    <a:pt x="38" y="1176"/>
                  </a:lnTo>
                  <a:lnTo>
                    <a:pt x="38" y="1174"/>
                  </a:lnTo>
                  <a:lnTo>
                    <a:pt x="38" y="1172"/>
                  </a:lnTo>
                  <a:lnTo>
                    <a:pt x="38" y="1169"/>
                  </a:lnTo>
                  <a:lnTo>
                    <a:pt x="38" y="1167"/>
                  </a:lnTo>
                  <a:lnTo>
                    <a:pt x="38" y="1164"/>
                  </a:lnTo>
                  <a:lnTo>
                    <a:pt x="40" y="1162"/>
                  </a:lnTo>
                  <a:lnTo>
                    <a:pt x="38" y="1162"/>
                  </a:lnTo>
                  <a:lnTo>
                    <a:pt x="38" y="1164"/>
                  </a:lnTo>
                  <a:lnTo>
                    <a:pt x="38" y="1162"/>
                  </a:lnTo>
                  <a:lnTo>
                    <a:pt x="35" y="1162"/>
                  </a:lnTo>
                  <a:lnTo>
                    <a:pt x="38" y="1162"/>
                  </a:lnTo>
                  <a:lnTo>
                    <a:pt x="38" y="1160"/>
                  </a:lnTo>
                  <a:lnTo>
                    <a:pt x="35" y="1160"/>
                  </a:lnTo>
                  <a:lnTo>
                    <a:pt x="35" y="1162"/>
                  </a:lnTo>
                  <a:lnTo>
                    <a:pt x="33" y="1162"/>
                  </a:lnTo>
                  <a:lnTo>
                    <a:pt x="33" y="1164"/>
                  </a:lnTo>
                  <a:lnTo>
                    <a:pt x="33" y="1162"/>
                  </a:lnTo>
                  <a:lnTo>
                    <a:pt x="33" y="1164"/>
                  </a:lnTo>
                  <a:lnTo>
                    <a:pt x="33" y="1162"/>
                  </a:lnTo>
                  <a:lnTo>
                    <a:pt x="33" y="1164"/>
                  </a:lnTo>
                  <a:lnTo>
                    <a:pt x="33" y="1167"/>
                  </a:lnTo>
                  <a:lnTo>
                    <a:pt x="31" y="1167"/>
                  </a:lnTo>
                  <a:lnTo>
                    <a:pt x="28" y="1167"/>
                  </a:lnTo>
                  <a:lnTo>
                    <a:pt x="28" y="1169"/>
                  </a:lnTo>
                  <a:lnTo>
                    <a:pt x="26" y="1169"/>
                  </a:lnTo>
                  <a:lnTo>
                    <a:pt x="28" y="1169"/>
                  </a:lnTo>
                  <a:lnTo>
                    <a:pt x="26" y="1169"/>
                  </a:lnTo>
                  <a:lnTo>
                    <a:pt x="26" y="1172"/>
                  </a:lnTo>
                  <a:lnTo>
                    <a:pt x="23" y="1172"/>
                  </a:lnTo>
                  <a:lnTo>
                    <a:pt x="21" y="1172"/>
                  </a:lnTo>
                  <a:lnTo>
                    <a:pt x="21" y="1169"/>
                  </a:lnTo>
                  <a:lnTo>
                    <a:pt x="21" y="1172"/>
                  </a:lnTo>
                  <a:lnTo>
                    <a:pt x="21" y="1169"/>
                  </a:lnTo>
                  <a:lnTo>
                    <a:pt x="19" y="1169"/>
                  </a:lnTo>
                  <a:lnTo>
                    <a:pt x="16" y="1169"/>
                  </a:lnTo>
                  <a:lnTo>
                    <a:pt x="16" y="1167"/>
                  </a:lnTo>
                  <a:lnTo>
                    <a:pt x="14" y="1167"/>
                  </a:lnTo>
                  <a:lnTo>
                    <a:pt x="14" y="1164"/>
                  </a:lnTo>
                  <a:lnTo>
                    <a:pt x="12" y="1164"/>
                  </a:lnTo>
                  <a:lnTo>
                    <a:pt x="9" y="1162"/>
                  </a:lnTo>
                  <a:lnTo>
                    <a:pt x="12" y="1164"/>
                  </a:lnTo>
                  <a:lnTo>
                    <a:pt x="9" y="1164"/>
                  </a:lnTo>
                  <a:lnTo>
                    <a:pt x="9" y="1162"/>
                  </a:lnTo>
                  <a:lnTo>
                    <a:pt x="12" y="1162"/>
                  </a:lnTo>
                  <a:lnTo>
                    <a:pt x="9" y="1162"/>
                  </a:lnTo>
                  <a:lnTo>
                    <a:pt x="12" y="1162"/>
                  </a:lnTo>
                  <a:lnTo>
                    <a:pt x="9" y="1162"/>
                  </a:lnTo>
                  <a:lnTo>
                    <a:pt x="9" y="1160"/>
                  </a:lnTo>
                  <a:lnTo>
                    <a:pt x="9" y="1162"/>
                  </a:lnTo>
                  <a:lnTo>
                    <a:pt x="12" y="1162"/>
                  </a:lnTo>
                  <a:lnTo>
                    <a:pt x="9" y="1162"/>
                  </a:lnTo>
                  <a:lnTo>
                    <a:pt x="9" y="1160"/>
                  </a:lnTo>
                  <a:lnTo>
                    <a:pt x="12" y="1162"/>
                  </a:lnTo>
                  <a:lnTo>
                    <a:pt x="14" y="1162"/>
                  </a:lnTo>
                  <a:lnTo>
                    <a:pt x="16" y="1162"/>
                  </a:lnTo>
                  <a:lnTo>
                    <a:pt x="16" y="1164"/>
                  </a:lnTo>
                  <a:lnTo>
                    <a:pt x="16" y="1167"/>
                  </a:lnTo>
                  <a:lnTo>
                    <a:pt x="19" y="1167"/>
                  </a:lnTo>
                  <a:lnTo>
                    <a:pt x="16" y="1167"/>
                  </a:lnTo>
                  <a:lnTo>
                    <a:pt x="16" y="1164"/>
                  </a:lnTo>
                  <a:lnTo>
                    <a:pt x="16" y="1162"/>
                  </a:lnTo>
                  <a:lnTo>
                    <a:pt x="16" y="1164"/>
                  </a:lnTo>
                  <a:lnTo>
                    <a:pt x="19" y="1167"/>
                  </a:lnTo>
                  <a:lnTo>
                    <a:pt x="21" y="1167"/>
                  </a:lnTo>
                  <a:lnTo>
                    <a:pt x="21" y="1169"/>
                  </a:lnTo>
                  <a:lnTo>
                    <a:pt x="21" y="1167"/>
                  </a:lnTo>
                  <a:lnTo>
                    <a:pt x="19" y="1167"/>
                  </a:lnTo>
                  <a:lnTo>
                    <a:pt x="16" y="1164"/>
                  </a:lnTo>
                  <a:lnTo>
                    <a:pt x="19" y="1164"/>
                  </a:lnTo>
                  <a:lnTo>
                    <a:pt x="16" y="1164"/>
                  </a:lnTo>
                  <a:lnTo>
                    <a:pt x="19" y="1164"/>
                  </a:lnTo>
                  <a:lnTo>
                    <a:pt x="16" y="1164"/>
                  </a:lnTo>
                  <a:lnTo>
                    <a:pt x="19" y="1164"/>
                  </a:lnTo>
                  <a:lnTo>
                    <a:pt x="21" y="1164"/>
                  </a:lnTo>
                  <a:lnTo>
                    <a:pt x="21" y="1167"/>
                  </a:lnTo>
                  <a:lnTo>
                    <a:pt x="23" y="1167"/>
                  </a:lnTo>
                  <a:lnTo>
                    <a:pt x="21" y="1167"/>
                  </a:lnTo>
                  <a:lnTo>
                    <a:pt x="21" y="1164"/>
                  </a:lnTo>
                  <a:lnTo>
                    <a:pt x="19" y="1164"/>
                  </a:lnTo>
                  <a:lnTo>
                    <a:pt x="19" y="1162"/>
                  </a:lnTo>
                  <a:lnTo>
                    <a:pt x="16" y="1162"/>
                  </a:lnTo>
                  <a:lnTo>
                    <a:pt x="14" y="1160"/>
                  </a:lnTo>
                  <a:lnTo>
                    <a:pt x="16" y="1160"/>
                  </a:lnTo>
                  <a:lnTo>
                    <a:pt x="14" y="1160"/>
                  </a:lnTo>
                  <a:lnTo>
                    <a:pt x="16" y="1160"/>
                  </a:lnTo>
                  <a:lnTo>
                    <a:pt x="14" y="1160"/>
                  </a:lnTo>
                  <a:lnTo>
                    <a:pt x="16" y="1160"/>
                  </a:lnTo>
                  <a:lnTo>
                    <a:pt x="14" y="1160"/>
                  </a:lnTo>
                  <a:lnTo>
                    <a:pt x="12" y="1160"/>
                  </a:lnTo>
                  <a:lnTo>
                    <a:pt x="12" y="1157"/>
                  </a:lnTo>
                  <a:lnTo>
                    <a:pt x="14" y="1157"/>
                  </a:lnTo>
                  <a:lnTo>
                    <a:pt x="12" y="1157"/>
                  </a:lnTo>
                  <a:lnTo>
                    <a:pt x="14" y="1157"/>
                  </a:lnTo>
                  <a:lnTo>
                    <a:pt x="16" y="1157"/>
                  </a:lnTo>
                  <a:lnTo>
                    <a:pt x="16" y="1160"/>
                  </a:lnTo>
                  <a:lnTo>
                    <a:pt x="16" y="1157"/>
                  </a:lnTo>
                  <a:lnTo>
                    <a:pt x="16" y="1160"/>
                  </a:lnTo>
                  <a:lnTo>
                    <a:pt x="19" y="1160"/>
                  </a:lnTo>
                  <a:lnTo>
                    <a:pt x="21" y="1160"/>
                  </a:lnTo>
                  <a:lnTo>
                    <a:pt x="23" y="1160"/>
                  </a:lnTo>
                  <a:lnTo>
                    <a:pt x="23" y="1162"/>
                  </a:lnTo>
                  <a:lnTo>
                    <a:pt x="26" y="1162"/>
                  </a:lnTo>
                  <a:lnTo>
                    <a:pt x="26" y="1164"/>
                  </a:lnTo>
                  <a:lnTo>
                    <a:pt x="26" y="1167"/>
                  </a:lnTo>
                  <a:lnTo>
                    <a:pt x="26" y="1164"/>
                  </a:lnTo>
                  <a:lnTo>
                    <a:pt x="28" y="1164"/>
                  </a:lnTo>
                  <a:lnTo>
                    <a:pt x="28" y="1167"/>
                  </a:lnTo>
                  <a:lnTo>
                    <a:pt x="28" y="1164"/>
                  </a:lnTo>
                  <a:lnTo>
                    <a:pt x="26" y="1164"/>
                  </a:lnTo>
                  <a:lnTo>
                    <a:pt x="26" y="1162"/>
                  </a:lnTo>
                  <a:lnTo>
                    <a:pt x="26" y="1164"/>
                  </a:lnTo>
                  <a:lnTo>
                    <a:pt x="28" y="1164"/>
                  </a:lnTo>
                  <a:lnTo>
                    <a:pt x="28" y="1162"/>
                  </a:lnTo>
                  <a:lnTo>
                    <a:pt x="26" y="1162"/>
                  </a:lnTo>
                  <a:lnTo>
                    <a:pt x="26" y="1160"/>
                  </a:lnTo>
                  <a:lnTo>
                    <a:pt x="26" y="1162"/>
                  </a:lnTo>
                  <a:lnTo>
                    <a:pt x="26" y="1160"/>
                  </a:lnTo>
                  <a:lnTo>
                    <a:pt x="23" y="1160"/>
                  </a:lnTo>
                  <a:lnTo>
                    <a:pt x="23" y="1157"/>
                  </a:lnTo>
                  <a:lnTo>
                    <a:pt x="26" y="1157"/>
                  </a:lnTo>
                  <a:lnTo>
                    <a:pt x="23" y="1157"/>
                  </a:lnTo>
                  <a:lnTo>
                    <a:pt x="26" y="1157"/>
                  </a:lnTo>
                  <a:lnTo>
                    <a:pt x="23" y="1157"/>
                  </a:lnTo>
                  <a:lnTo>
                    <a:pt x="26" y="1157"/>
                  </a:lnTo>
                  <a:lnTo>
                    <a:pt x="26" y="1155"/>
                  </a:lnTo>
                  <a:lnTo>
                    <a:pt x="28" y="1155"/>
                  </a:lnTo>
                  <a:lnTo>
                    <a:pt x="28" y="1153"/>
                  </a:lnTo>
                  <a:lnTo>
                    <a:pt x="31" y="1155"/>
                  </a:lnTo>
                  <a:lnTo>
                    <a:pt x="33" y="1155"/>
                  </a:lnTo>
                  <a:lnTo>
                    <a:pt x="33" y="1153"/>
                  </a:lnTo>
                  <a:lnTo>
                    <a:pt x="33" y="1155"/>
                  </a:lnTo>
                  <a:lnTo>
                    <a:pt x="31" y="1155"/>
                  </a:lnTo>
                  <a:lnTo>
                    <a:pt x="31" y="1153"/>
                  </a:lnTo>
                  <a:lnTo>
                    <a:pt x="28" y="1153"/>
                  </a:lnTo>
                  <a:lnTo>
                    <a:pt x="31" y="1153"/>
                  </a:lnTo>
                  <a:lnTo>
                    <a:pt x="28" y="1153"/>
                  </a:lnTo>
                  <a:lnTo>
                    <a:pt x="26" y="1153"/>
                  </a:lnTo>
                  <a:lnTo>
                    <a:pt x="26" y="1155"/>
                  </a:lnTo>
                  <a:lnTo>
                    <a:pt x="26" y="1157"/>
                  </a:lnTo>
                  <a:lnTo>
                    <a:pt x="23" y="1157"/>
                  </a:lnTo>
                  <a:lnTo>
                    <a:pt x="23" y="1155"/>
                  </a:lnTo>
                  <a:lnTo>
                    <a:pt x="23" y="1157"/>
                  </a:lnTo>
                  <a:lnTo>
                    <a:pt x="23" y="1155"/>
                  </a:lnTo>
                  <a:lnTo>
                    <a:pt x="21" y="1155"/>
                  </a:lnTo>
                  <a:lnTo>
                    <a:pt x="21" y="1157"/>
                  </a:lnTo>
                  <a:lnTo>
                    <a:pt x="21" y="1155"/>
                  </a:lnTo>
                  <a:lnTo>
                    <a:pt x="21" y="1157"/>
                  </a:lnTo>
                  <a:lnTo>
                    <a:pt x="23" y="1157"/>
                  </a:lnTo>
                  <a:lnTo>
                    <a:pt x="21" y="1157"/>
                  </a:lnTo>
                  <a:lnTo>
                    <a:pt x="21" y="1155"/>
                  </a:lnTo>
                  <a:lnTo>
                    <a:pt x="21" y="1157"/>
                  </a:lnTo>
                  <a:lnTo>
                    <a:pt x="19" y="1157"/>
                  </a:lnTo>
                  <a:lnTo>
                    <a:pt x="21" y="1157"/>
                  </a:lnTo>
                  <a:lnTo>
                    <a:pt x="19" y="1157"/>
                  </a:lnTo>
                  <a:lnTo>
                    <a:pt x="19" y="1155"/>
                  </a:lnTo>
                  <a:lnTo>
                    <a:pt x="19" y="1157"/>
                  </a:lnTo>
                  <a:lnTo>
                    <a:pt x="19" y="1155"/>
                  </a:lnTo>
                  <a:lnTo>
                    <a:pt x="19" y="1157"/>
                  </a:lnTo>
                  <a:lnTo>
                    <a:pt x="19" y="1155"/>
                  </a:lnTo>
                  <a:lnTo>
                    <a:pt x="19" y="1157"/>
                  </a:lnTo>
                  <a:lnTo>
                    <a:pt x="19" y="1155"/>
                  </a:lnTo>
                  <a:lnTo>
                    <a:pt x="19" y="1157"/>
                  </a:lnTo>
                  <a:lnTo>
                    <a:pt x="19" y="1155"/>
                  </a:lnTo>
                  <a:lnTo>
                    <a:pt x="19" y="1157"/>
                  </a:lnTo>
                  <a:lnTo>
                    <a:pt x="16" y="1155"/>
                  </a:lnTo>
                  <a:lnTo>
                    <a:pt x="16" y="1157"/>
                  </a:lnTo>
                  <a:lnTo>
                    <a:pt x="16" y="1155"/>
                  </a:lnTo>
                  <a:lnTo>
                    <a:pt x="16" y="1153"/>
                  </a:lnTo>
                  <a:lnTo>
                    <a:pt x="14" y="1153"/>
                  </a:lnTo>
                  <a:lnTo>
                    <a:pt x="16" y="1153"/>
                  </a:lnTo>
                  <a:lnTo>
                    <a:pt x="14" y="1153"/>
                  </a:lnTo>
                  <a:lnTo>
                    <a:pt x="14" y="1150"/>
                  </a:lnTo>
                  <a:lnTo>
                    <a:pt x="14" y="1148"/>
                  </a:lnTo>
                  <a:lnTo>
                    <a:pt x="14" y="1150"/>
                  </a:lnTo>
                  <a:lnTo>
                    <a:pt x="14" y="1148"/>
                  </a:lnTo>
                  <a:lnTo>
                    <a:pt x="16" y="1150"/>
                  </a:lnTo>
                  <a:lnTo>
                    <a:pt x="19" y="1150"/>
                  </a:lnTo>
                  <a:lnTo>
                    <a:pt x="16" y="1150"/>
                  </a:lnTo>
                  <a:lnTo>
                    <a:pt x="19" y="1150"/>
                  </a:lnTo>
                  <a:lnTo>
                    <a:pt x="19" y="1153"/>
                  </a:lnTo>
                  <a:lnTo>
                    <a:pt x="16" y="1153"/>
                  </a:lnTo>
                  <a:lnTo>
                    <a:pt x="19" y="1153"/>
                  </a:lnTo>
                  <a:lnTo>
                    <a:pt x="16" y="1153"/>
                  </a:lnTo>
                  <a:lnTo>
                    <a:pt x="19" y="1153"/>
                  </a:lnTo>
                  <a:lnTo>
                    <a:pt x="16" y="1155"/>
                  </a:lnTo>
                  <a:lnTo>
                    <a:pt x="19" y="1155"/>
                  </a:lnTo>
                  <a:lnTo>
                    <a:pt x="19" y="1153"/>
                  </a:lnTo>
                  <a:lnTo>
                    <a:pt x="19" y="1150"/>
                  </a:lnTo>
                  <a:lnTo>
                    <a:pt x="19" y="1148"/>
                  </a:lnTo>
                  <a:lnTo>
                    <a:pt x="21" y="1148"/>
                  </a:lnTo>
                  <a:lnTo>
                    <a:pt x="19" y="1148"/>
                  </a:lnTo>
                  <a:lnTo>
                    <a:pt x="21" y="1148"/>
                  </a:lnTo>
                  <a:lnTo>
                    <a:pt x="19" y="1148"/>
                  </a:lnTo>
                  <a:lnTo>
                    <a:pt x="16" y="1148"/>
                  </a:lnTo>
                  <a:lnTo>
                    <a:pt x="14" y="1148"/>
                  </a:lnTo>
                  <a:lnTo>
                    <a:pt x="14" y="1145"/>
                  </a:lnTo>
                  <a:lnTo>
                    <a:pt x="16" y="1145"/>
                  </a:lnTo>
                  <a:lnTo>
                    <a:pt x="14" y="1145"/>
                  </a:lnTo>
                  <a:lnTo>
                    <a:pt x="16" y="1145"/>
                  </a:lnTo>
                  <a:lnTo>
                    <a:pt x="14" y="1143"/>
                  </a:lnTo>
                  <a:lnTo>
                    <a:pt x="16" y="1143"/>
                  </a:lnTo>
                  <a:lnTo>
                    <a:pt x="19" y="1143"/>
                  </a:lnTo>
                  <a:lnTo>
                    <a:pt x="21" y="1143"/>
                  </a:lnTo>
                  <a:lnTo>
                    <a:pt x="23" y="1143"/>
                  </a:lnTo>
                  <a:lnTo>
                    <a:pt x="23" y="1145"/>
                  </a:lnTo>
                  <a:lnTo>
                    <a:pt x="26" y="1145"/>
                  </a:lnTo>
                  <a:lnTo>
                    <a:pt x="28" y="1145"/>
                  </a:lnTo>
                  <a:lnTo>
                    <a:pt x="28" y="1148"/>
                  </a:lnTo>
                  <a:lnTo>
                    <a:pt x="31" y="1148"/>
                  </a:lnTo>
                  <a:lnTo>
                    <a:pt x="31" y="1145"/>
                  </a:lnTo>
                  <a:lnTo>
                    <a:pt x="31" y="1143"/>
                  </a:lnTo>
                  <a:lnTo>
                    <a:pt x="33" y="1143"/>
                  </a:lnTo>
                  <a:lnTo>
                    <a:pt x="35" y="1143"/>
                  </a:lnTo>
                  <a:lnTo>
                    <a:pt x="33" y="1143"/>
                  </a:lnTo>
                  <a:lnTo>
                    <a:pt x="35" y="1143"/>
                  </a:lnTo>
                  <a:lnTo>
                    <a:pt x="35" y="1141"/>
                  </a:lnTo>
                  <a:lnTo>
                    <a:pt x="35" y="1143"/>
                  </a:lnTo>
                  <a:lnTo>
                    <a:pt x="35" y="1141"/>
                  </a:lnTo>
                  <a:lnTo>
                    <a:pt x="38" y="1141"/>
                  </a:lnTo>
                  <a:lnTo>
                    <a:pt x="38" y="1143"/>
                  </a:lnTo>
                  <a:lnTo>
                    <a:pt x="38" y="1141"/>
                  </a:lnTo>
                  <a:lnTo>
                    <a:pt x="40" y="1141"/>
                  </a:lnTo>
                  <a:lnTo>
                    <a:pt x="40" y="1143"/>
                  </a:lnTo>
                  <a:lnTo>
                    <a:pt x="40" y="1145"/>
                  </a:lnTo>
                  <a:lnTo>
                    <a:pt x="40" y="1143"/>
                  </a:lnTo>
                  <a:lnTo>
                    <a:pt x="42" y="1143"/>
                  </a:lnTo>
                  <a:lnTo>
                    <a:pt x="42" y="1141"/>
                  </a:lnTo>
                  <a:lnTo>
                    <a:pt x="42" y="1143"/>
                  </a:lnTo>
                  <a:lnTo>
                    <a:pt x="42" y="1141"/>
                  </a:lnTo>
                  <a:lnTo>
                    <a:pt x="45" y="1141"/>
                  </a:lnTo>
                  <a:lnTo>
                    <a:pt x="47" y="1141"/>
                  </a:lnTo>
                  <a:lnTo>
                    <a:pt x="50" y="1141"/>
                  </a:lnTo>
                  <a:lnTo>
                    <a:pt x="52" y="1141"/>
                  </a:lnTo>
                  <a:lnTo>
                    <a:pt x="54" y="1141"/>
                  </a:lnTo>
                  <a:lnTo>
                    <a:pt x="57" y="1141"/>
                  </a:lnTo>
                  <a:lnTo>
                    <a:pt x="57" y="1143"/>
                  </a:lnTo>
                  <a:lnTo>
                    <a:pt x="57" y="1145"/>
                  </a:lnTo>
                  <a:lnTo>
                    <a:pt x="59" y="1143"/>
                  </a:lnTo>
                  <a:lnTo>
                    <a:pt x="61" y="1143"/>
                  </a:lnTo>
                  <a:lnTo>
                    <a:pt x="59" y="1145"/>
                  </a:lnTo>
                  <a:lnTo>
                    <a:pt x="59" y="1148"/>
                  </a:lnTo>
                  <a:lnTo>
                    <a:pt x="59" y="1145"/>
                  </a:lnTo>
                  <a:lnTo>
                    <a:pt x="59" y="1148"/>
                  </a:lnTo>
                  <a:lnTo>
                    <a:pt x="61" y="1148"/>
                  </a:lnTo>
                  <a:lnTo>
                    <a:pt x="61" y="1145"/>
                  </a:lnTo>
                  <a:lnTo>
                    <a:pt x="59" y="1145"/>
                  </a:lnTo>
                  <a:lnTo>
                    <a:pt x="61" y="1145"/>
                  </a:lnTo>
                  <a:lnTo>
                    <a:pt x="61" y="1143"/>
                  </a:lnTo>
                  <a:lnTo>
                    <a:pt x="64" y="1143"/>
                  </a:lnTo>
                  <a:lnTo>
                    <a:pt x="64" y="1141"/>
                  </a:lnTo>
                  <a:lnTo>
                    <a:pt x="66" y="1141"/>
                  </a:lnTo>
                  <a:lnTo>
                    <a:pt x="66" y="1143"/>
                  </a:lnTo>
                  <a:lnTo>
                    <a:pt x="66" y="1141"/>
                  </a:lnTo>
                  <a:lnTo>
                    <a:pt x="66" y="1138"/>
                  </a:lnTo>
                  <a:lnTo>
                    <a:pt x="68" y="1138"/>
                  </a:lnTo>
                  <a:lnTo>
                    <a:pt x="71" y="1138"/>
                  </a:lnTo>
                  <a:lnTo>
                    <a:pt x="73" y="1138"/>
                  </a:lnTo>
                  <a:lnTo>
                    <a:pt x="76" y="1138"/>
                  </a:lnTo>
                  <a:lnTo>
                    <a:pt x="76" y="1141"/>
                  </a:lnTo>
                  <a:lnTo>
                    <a:pt x="76" y="1143"/>
                  </a:lnTo>
                  <a:lnTo>
                    <a:pt x="78" y="1143"/>
                  </a:lnTo>
                  <a:lnTo>
                    <a:pt x="80" y="1143"/>
                  </a:lnTo>
                  <a:lnTo>
                    <a:pt x="80" y="1145"/>
                  </a:lnTo>
                  <a:lnTo>
                    <a:pt x="80" y="1148"/>
                  </a:lnTo>
                  <a:lnTo>
                    <a:pt x="78" y="1148"/>
                  </a:lnTo>
                  <a:lnTo>
                    <a:pt x="78" y="1150"/>
                  </a:lnTo>
                  <a:lnTo>
                    <a:pt x="76" y="1150"/>
                  </a:lnTo>
                  <a:lnTo>
                    <a:pt x="76" y="1153"/>
                  </a:lnTo>
                  <a:lnTo>
                    <a:pt x="76" y="1150"/>
                  </a:lnTo>
                  <a:lnTo>
                    <a:pt x="78" y="1150"/>
                  </a:lnTo>
                  <a:lnTo>
                    <a:pt x="80" y="1150"/>
                  </a:lnTo>
                  <a:lnTo>
                    <a:pt x="80" y="1148"/>
                  </a:lnTo>
                  <a:lnTo>
                    <a:pt x="83" y="1148"/>
                  </a:lnTo>
                  <a:lnTo>
                    <a:pt x="83" y="1150"/>
                  </a:lnTo>
                  <a:lnTo>
                    <a:pt x="85" y="1150"/>
                  </a:lnTo>
                  <a:lnTo>
                    <a:pt x="85" y="1153"/>
                  </a:lnTo>
                  <a:lnTo>
                    <a:pt x="83" y="1155"/>
                  </a:lnTo>
                  <a:lnTo>
                    <a:pt x="85" y="1155"/>
                  </a:lnTo>
                  <a:lnTo>
                    <a:pt x="85" y="1153"/>
                  </a:lnTo>
                  <a:lnTo>
                    <a:pt x="85" y="1150"/>
                  </a:lnTo>
                  <a:lnTo>
                    <a:pt x="83" y="1150"/>
                  </a:lnTo>
                  <a:lnTo>
                    <a:pt x="83" y="1148"/>
                  </a:lnTo>
                  <a:lnTo>
                    <a:pt x="80" y="1145"/>
                  </a:lnTo>
                  <a:lnTo>
                    <a:pt x="83" y="1145"/>
                  </a:lnTo>
                  <a:lnTo>
                    <a:pt x="80" y="1145"/>
                  </a:lnTo>
                  <a:lnTo>
                    <a:pt x="80" y="1143"/>
                  </a:lnTo>
                  <a:lnTo>
                    <a:pt x="80" y="1141"/>
                  </a:lnTo>
                  <a:lnTo>
                    <a:pt x="83" y="1141"/>
                  </a:lnTo>
                  <a:lnTo>
                    <a:pt x="85" y="1141"/>
                  </a:lnTo>
                  <a:lnTo>
                    <a:pt x="87" y="1141"/>
                  </a:lnTo>
                  <a:lnTo>
                    <a:pt x="87" y="1138"/>
                  </a:lnTo>
                  <a:lnTo>
                    <a:pt x="90" y="1138"/>
                  </a:lnTo>
                  <a:lnTo>
                    <a:pt x="90" y="1141"/>
                  </a:lnTo>
                  <a:lnTo>
                    <a:pt x="92" y="1141"/>
                  </a:lnTo>
                  <a:lnTo>
                    <a:pt x="95" y="1141"/>
                  </a:lnTo>
                  <a:lnTo>
                    <a:pt x="92" y="1141"/>
                  </a:lnTo>
                  <a:lnTo>
                    <a:pt x="92" y="1138"/>
                  </a:lnTo>
                  <a:lnTo>
                    <a:pt x="95" y="1138"/>
                  </a:lnTo>
                  <a:lnTo>
                    <a:pt x="97" y="1136"/>
                  </a:lnTo>
                  <a:lnTo>
                    <a:pt x="99" y="1136"/>
                  </a:lnTo>
                  <a:lnTo>
                    <a:pt x="102" y="1136"/>
                  </a:lnTo>
                  <a:lnTo>
                    <a:pt x="104" y="1136"/>
                  </a:lnTo>
                  <a:lnTo>
                    <a:pt x="104" y="1134"/>
                  </a:lnTo>
                  <a:lnTo>
                    <a:pt x="102" y="1134"/>
                  </a:lnTo>
                  <a:lnTo>
                    <a:pt x="102" y="1136"/>
                  </a:lnTo>
                  <a:lnTo>
                    <a:pt x="99" y="1136"/>
                  </a:lnTo>
                  <a:lnTo>
                    <a:pt x="97" y="1136"/>
                  </a:lnTo>
                  <a:lnTo>
                    <a:pt x="95" y="1136"/>
                  </a:lnTo>
                  <a:lnTo>
                    <a:pt x="92" y="1136"/>
                  </a:lnTo>
                  <a:lnTo>
                    <a:pt x="92" y="1134"/>
                  </a:lnTo>
                  <a:lnTo>
                    <a:pt x="92" y="1131"/>
                  </a:lnTo>
                  <a:lnTo>
                    <a:pt x="90" y="1131"/>
                  </a:lnTo>
                  <a:lnTo>
                    <a:pt x="92" y="1131"/>
                  </a:lnTo>
                  <a:lnTo>
                    <a:pt x="92" y="1129"/>
                  </a:lnTo>
                  <a:lnTo>
                    <a:pt x="92" y="1126"/>
                  </a:lnTo>
                  <a:lnTo>
                    <a:pt x="95" y="1126"/>
                  </a:lnTo>
                  <a:lnTo>
                    <a:pt x="95" y="1124"/>
                  </a:lnTo>
                  <a:lnTo>
                    <a:pt x="97" y="1124"/>
                  </a:lnTo>
                  <a:lnTo>
                    <a:pt x="97" y="1122"/>
                  </a:lnTo>
                  <a:lnTo>
                    <a:pt x="99" y="1122"/>
                  </a:lnTo>
                  <a:lnTo>
                    <a:pt x="99" y="1119"/>
                  </a:lnTo>
                  <a:lnTo>
                    <a:pt x="99" y="1122"/>
                  </a:lnTo>
                  <a:lnTo>
                    <a:pt x="97" y="1122"/>
                  </a:lnTo>
                  <a:lnTo>
                    <a:pt x="95" y="1124"/>
                  </a:lnTo>
                  <a:lnTo>
                    <a:pt x="92" y="1126"/>
                  </a:lnTo>
                  <a:lnTo>
                    <a:pt x="90" y="1126"/>
                  </a:lnTo>
                  <a:lnTo>
                    <a:pt x="92" y="1129"/>
                  </a:lnTo>
                  <a:lnTo>
                    <a:pt x="90" y="1129"/>
                  </a:lnTo>
                  <a:lnTo>
                    <a:pt x="90" y="1131"/>
                  </a:lnTo>
                  <a:lnTo>
                    <a:pt x="87" y="1131"/>
                  </a:lnTo>
                  <a:lnTo>
                    <a:pt x="90" y="1131"/>
                  </a:lnTo>
                  <a:lnTo>
                    <a:pt x="90" y="1134"/>
                  </a:lnTo>
                  <a:lnTo>
                    <a:pt x="92" y="1136"/>
                  </a:lnTo>
                  <a:lnTo>
                    <a:pt x="92" y="1138"/>
                  </a:lnTo>
                  <a:lnTo>
                    <a:pt x="90" y="1138"/>
                  </a:lnTo>
                  <a:lnTo>
                    <a:pt x="87" y="1138"/>
                  </a:lnTo>
                  <a:lnTo>
                    <a:pt x="85" y="1138"/>
                  </a:lnTo>
                  <a:lnTo>
                    <a:pt x="83" y="1141"/>
                  </a:lnTo>
                  <a:lnTo>
                    <a:pt x="80" y="1141"/>
                  </a:lnTo>
                  <a:lnTo>
                    <a:pt x="78" y="1141"/>
                  </a:lnTo>
                  <a:lnTo>
                    <a:pt x="78" y="1138"/>
                  </a:lnTo>
                  <a:lnTo>
                    <a:pt x="80" y="1138"/>
                  </a:lnTo>
                  <a:lnTo>
                    <a:pt x="80" y="1136"/>
                  </a:lnTo>
                  <a:lnTo>
                    <a:pt x="83" y="1136"/>
                  </a:lnTo>
                  <a:lnTo>
                    <a:pt x="85" y="1136"/>
                  </a:lnTo>
                  <a:lnTo>
                    <a:pt x="83" y="1136"/>
                  </a:lnTo>
                  <a:lnTo>
                    <a:pt x="83" y="1134"/>
                  </a:lnTo>
                  <a:lnTo>
                    <a:pt x="85" y="1134"/>
                  </a:lnTo>
                  <a:lnTo>
                    <a:pt x="83" y="1134"/>
                  </a:lnTo>
                  <a:lnTo>
                    <a:pt x="83" y="1136"/>
                  </a:lnTo>
                  <a:lnTo>
                    <a:pt x="80" y="1136"/>
                  </a:lnTo>
                  <a:lnTo>
                    <a:pt x="80" y="1138"/>
                  </a:lnTo>
                  <a:lnTo>
                    <a:pt x="78" y="1138"/>
                  </a:lnTo>
                  <a:lnTo>
                    <a:pt x="76" y="1138"/>
                  </a:lnTo>
                  <a:lnTo>
                    <a:pt x="76" y="1136"/>
                  </a:lnTo>
                  <a:lnTo>
                    <a:pt x="73" y="1136"/>
                  </a:lnTo>
                  <a:lnTo>
                    <a:pt x="73" y="1138"/>
                  </a:lnTo>
                  <a:lnTo>
                    <a:pt x="71" y="1138"/>
                  </a:lnTo>
                  <a:lnTo>
                    <a:pt x="71" y="1136"/>
                  </a:lnTo>
                  <a:lnTo>
                    <a:pt x="68" y="1136"/>
                  </a:lnTo>
                  <a:lnTo>
                    <a:pt x="66" y="1136"/>
                  </a:lnTo>
                  <a:lnTo>
                    <a:pt x="66" y="1134"/>
                  </a:lnTo>
                  <a:lnTo>
                    <a:pt x="68" y="1134"/>
                  </a:lnTo>
                  <a:lnTo>
                    <a:pt x="68" y="1131"/>
                  </a:lnTo>
                  <a:lnTo>
                    <a:pt x="71" y="1129"/>
                  </a:lnTo>
                  <a:lnTo>
                    <a:pt x="71" y="1126"/>
                  </a:lnTo>
                  <a:lnTo>
                    <a:pt x="71" y="1124"/>
                  </a:lnTo>
                  <a:lnTo>
                    <a:pt x="71" y="1126"/>
                  </a:lnTo>
                  <a:lnTo>
                    <a:pt x="71" y="1129"/>
                  </a:lnTo>
                  <a:lnTo>
                    <a:pt x="68" y="1129"/>
                  </a:lnTo>
                  <a:lnTo>
                    <a:pt x="68" y="1131"/>
                  </a:lnTo>
                  <a:lnTo>
                    <a:pt x="66" y="1134"/>
                  </a:lnTo>
                  <a:lnTo>
                    <a:pt x="66" y="1131"/>
                  </a:lnTo>
                  <a:lnTo>
                    <a:pt x="64" y="1131"/>
                  </a:lnTo>
                  <a:lnTo>
                    <a:pt x="64" y="1134"/>
                  </a:lnTo>
                  <a:lnTo>
                    <a:pt x="64" y="1131"/>
                  </a:lnTo>
                  <a:lnTo>
                    <a:pt x="64" y="1134"/>
                  </a:lnTo>
                  <a:lnTo>
                    <a:pt x="66" y="1134"/>
                  </a:lnTo>
                  <a:lnTo>
                    <a:pt x="64" y="1134"/>
                  </a:lnTo>
                  <a:lnTo>
                    <a:pt x="64" y="1136"/>
                  </a:lnTo>
                  <a:lnTo>
                    <a:pt x="66" y="1136"/>
                  </a:lnTo>
                  <a:lnTo>
                    <a:pt x="64" y="1136"/>
                  </a:lnTo>
                  <a:lnTo>
                    <a:pt x="64" y="1138"/>
                  </a:lnTo>
                  <a:lnTo>
                    <a:pt x="64" y="1141"/>
                  </a:lnTo>
                  <a:lnTo>
                    <a:pt x="61" y="1141"/>
                  </a:lnTo>
                  <a:lnTo>
                    <a:pt x="59" y="1141"/>
                  </a:lnTo>
                  <a:lnTo>
                    <a:pt x="57" y="1141"/>
                  </a:lnTo>
                  <a:lnTo>
                    <a:pt x="54" y="1138"/>
                  </a:lnTo>
                  <a:lnTo>
                    <a:pt x="54" y="1136"/>
                  </a:lnTo>
                  <a:lnTo>
                    <a:pt x="54" y="1138"/>
                  </a:lnTo>
                  <a:lnTo>
                    <a:pt x="52" y="1138"/>
                  </a:lnTo>
                  <a:lnTo>
                    <a:pt x="50" y="1138"/>
                  </a:lnTo>
                  <a:lnTo>
                    <a:pt x="47" y="1138"/>
                  </a:lnTo>
                  <a:lnTo>
                    <a:pt x="50" y="1138"/>
                  </a:lnTo>
                  <a:lnTo>
                    <a:pt x="50" y="1136"/>
                  </a:lnTo>
                  <a:lnTo>
                    <a:pt x="47" y="1136"/>
                  </a:lnTo>
                  <a:lnTo>
                    <a:pt x="47" y="1138"/>
                  </a:lnTo>
                  <a:lnTo>
                    <a:pt x="45" y="1138"/>
                  </a:lnTo>
                  <a:lnTo>
                    <a:pt x="42" y="1138"/>
                  </a:lnTo>
                  <a:lnTo>
                    <a:pt x="40" y="1138"/>
                  </a:lnTo>
                  <a:lnTo>
                    <a:pt x="40" y="1136"/>
                  </a:lnTo>
                  <a:lnTo>
                    <a:pt x="40" y="1138"/>
                  </a:lnTo>
                  <a:lnTo>
                    <a:pt x="38" y="1138"/>
                  </a:lnTo>
                  <a:lnTo>
                    <a:pt x="38" y="1141"/>
                  </a:lnTo>
                  <a:lnTo>
                    <a:pt x="35" y="1138"/>
                  </a:lnTo>
                  <a:lnTo>
                    <a:pt x="35" y="1141"/>
                  </a:lnTo>
                  <a:lnTo>
                    <a:pt x="35" y="1138"/>
                  </a:lnTo>
                  <a:lnTo>
                    <a:pt x="33" y="1138"/>
                  </a:lnTo>
                  <a:lnTo>
                    <a:pt x="33" y="1141"/>
                  </a:lnTo>
                  <a:lnTo>
                    <a:pt x="31" y="1141"/>
                  </a:lnTo>
                  <a:lnTo>
                    <a:pt x="31" y="1143"/>
                  </a:lnTo>
                  <a:lnTo>
                    <a:pt x="28" y="1143"/>
                  </a:lnTo>
                  <a:lnTo>
                    <a:pt x="26" y="1143"/>
                  </a:lnTo>
                  <a:lnTo>
                    <a:pt x="26" y="1141"/>
                  </a:lnTo>
                  <a:lnTo>
                    <a:pt x="23" y="1141"/>
                  </a:lnTo>
                  <a:lnTo>
                    <a:pt x="21" y="1141"/>
                  </a:lnTo>
                  <a:lnTo>
                    <a:pt x="23" y="1141"/>
                  </a:lnTo>
                  <a:lnTo>
                    <a:pt x="21" y="1141"/>
                  </a:lnTo>
                  <a:lnTo>
                    <a:pt x="21" y="1138"/>
                  </a:lnTo>
                  <a:lnTo>
                    <a:pt x="21" y="1141"/>
                  </a:lnTo>
                  <a:lnTo>
                    <a:pt x="19" y="1141"/>
                  </a:lnTo>
                  <a:lnTo>
                    <a:pt x="19" y="1138"/>
                  </a:lnTo>
                  <a:lnTo>
                    <a:pt x="16" y="1138"/>
                  </a:lnTo>
                  <a:lnTo>
                    <a:pt x="16" y="1136"/>
                  </a:lnTo>
                  <a:lnTo>
                    <a:pt x="19" y="1136"/>
                  </a:lnTo>
                  <a:lnTo>
                    <a:pt x="21" y="1136"/>
                  </a:lnTo>
                  <a:lnTo>
                    <a:pt x="21" y="1138"/>
                  </a:lnTo>
                  <a:lnTo>
                    <a:pt x="23" y="1138"/>
                  </a:lnTo>
                  <a:lnTo>
                    <a:pt x="21" y="1136"/>
                  </a:lnTo>
                  <a:lnTo>
                    <a:pt x="23" y="1136"/>
                  </a:lnTo>
                  <a:lnTo>
                    <a:pt x="21" y="1136"/>
                  </a:lnTo>
                  <a:lnTo>
                    <a:pt x="23" y="1136"/>
                  </a:lnTo>
                  <a:lnTo>
                    <a:pt x="23" y="1138"/>
                  </a:lnTo>
                  <a:lnTo>
                    <a:pt x="23" y="1136"/>
                  </a:lnTo>
                  <a:lnTo>
                    <a:pt x="21" y="1136"/>
                  </a:lnTo>
                  <a:lnTo>
                    <a:pt x="19" y="1136"/>
                  </a:lnTo>
                  <a:lnTo>
                    <a:pt x="16" y="1136"/>
                  </a:lnTo>
                  <a:lnTo>
                    <a:pt x="14" y="1136"/>
                  </a:lnTo>
                  <a:lnTo>
                    <a:pt x="14" y="1134"/>
                  </a:lnTo>
                  <a:lnTo>
                    <a:pt x="16" y="1134"/>
                  </a:lnTo>
                  <a:lnTo>
                    <a:pt x="14" y="1134"/>
                  </a:lnTo>
                  <a:lnTo>
                    <a:pt x="14" y="1131"/>
                  </a:lnTo>
                  <a:lnTo>
                    <a:pt x="14" y="1134"/>
                  </a:lnTo>
                  <a:lnTo>
                    <a:pt x="12" y="1134"/>
                  </a:lnTo>
                  <a:lnTo>
                    <a:pt x="14" y="1134"/>
                  </a:lnTo>
                  <a:lnTo>
                    <a:pt x="14" y="1131"/>
                  </a:lnTo>
                  <a:lnTo>
                    <a:pt x="16" y="1131"/>
                  </a:lnTo>
                  <a:lnTo>
                    <a:pt x="14" y="1131"/>
                  </a:lnTo>
                  <a:lnTo>
                    <a:pt x="16" y="1131"/>
                  </a:lnTo>
                  <a:lnTo>
                    <a:pt x="19" y="1131"/>
                  </a:lnTo>
                  <a:lnTo>
                    <a:pt x="19" y="1129"/>
                  </a:lnTo>
                  <a:lnTo>
                    <a:pt x="19" y="1131"/>
                  </a:lnTo>
                  <a:lnTo>
                    <a:pt x="21" y="1131"/>
                  </a:lnTo>
                  <a:lnTo>
                    <a:pt x="21" y="1129"/>
                  </a:lnTo>
                  <a:lnTo>
                    <a:pt x="23" y="1129"/>
                  </a:lnTo>
                  <a:lnTo>
                    <a:pt x="26" y="1129"/>
                  </a:lnTo>
                  <a:lnTo>
                    <a:pt x="26" y="1131"/>
                  </a:lnTo>
                  <a:lnTo>
                    <a:pt x="26" y="1129"/>
                  </a:lnTo>
                  <a:lnTo>
                    <a:pt x="26" y="1131"/>
                  </a:lnTo>
                  <a:lnTo>
                    <a:pt x="26" y="1129"/>
                  </a:lnTo>
                  <a:lnTo>
                    <a:pt x="23" y="1129"/>
                  </a:lnTo>
                  <a:lnTo>
                    <a:pt x="26" y="1129"/>
                  </a:lnTo>
                  <a:lnTo>
                    <a:pt x="23" y="1129"/>
                  </a:lnTo>
                  <a:lnTo>
                    <a:pt x="26" y="1129"/>
                  </a:lnTo>
                  <a:lnTo>
                    <a:pt x="26" y="1126"/>
                  </a:lnTo>
                  <a:lnTo>
                    <a:pt x="28" y="1126"/>
                  </a:lnTo>
                  <a:lnTo>
                    <a:pt x="26" y="1126"/>
                  </a:lnTo>
                  <a:lnTo>
                    <a:pt x="28" y="1126"/>
                  </a:lnTo>
                  <a:lnTo>
                    <a:pt x="31" y="1126"/>
                  </a:lnTo>
                  <a:lnTo>
                    <a:pt x="33" y="1126"/>
                  </a:lnTo>
                  <a:lnTo>
                    <a:pt x="35" y="1126"/>
                  </a:lnTo>
                  <a:lnTo>
                    <a:pt x="35" y="1129"/>
                  </a:lnTo>
                  <a:lnTo>
                    <a:pt x="35" y="1126"/>
                  </a:lnTo>
                  <a:lnTo>
                    <a:pt x="33" y="1126"/>
                  </a:lnTo>
                  <a:lnTo>
                    <a:pt x="31" y="1126"/>
                  </a:lnTo>
                  <a:lnTo>
                    <a:pt x="28" y="1126"/>
                  </a:lnTo>
                  <a:lnTo>
                    <a:pt x="26" y="1126"/>
                  </a:lnTo>
                  <a:lnTo>
                    <a:pt x="23" y="1126"/>
                  </a:lnTo>
                  <a:lnTo>
                    <a:pt x="23" y="1129"/>
                  </a:lnTo>
                  <a:lnTo>
                    <a:pt x="23" y="1126"/>
                  </a:lnTo>
                  <a:lnTo>
                    <a:pt x="21" y="1129"/>
                  </a:lnTo>
                  <a:lnTo>
                    <a:pt x="21" y="1126"/>
                  </a:lnTo>
                  <a:lnTo>
                    <a:pt x="21" y="1129"/>
                  </a:lnTo>
                  <a:lnTo>
                    <a:pt x="19" y="1129"/>
                  </a:lnTo>
                  <a:lnTo>
                    <a:pt x="16" y="1129"/>
                  </a:lnTo>
                  <a:lnTo>
                    <a:pt x="14" y="1129"/>
                  </a:lnTo>
                  <a:lnTo>
                    <a:pt x="14" y="1126"/>
                  </a:lnTo>
                  <a:lnTo>
                    <a:pt x="16" y="1126"/>
                  </a:lnTo>
                  <a:lnTo>
                    <a:pt x="16" y="1124"/>
                  </a:lnTo>
                  <a:lnTo>
                    <a:pt x="19" y="1124"/>
                  </a:lnTo>
                  <a:lnTo>
                    <a:pt x="16" y="1124"/>
                  </a:lnTo>
                  <a:lnTo>
                    <a:pt x="14" y="1124"/>
                  </a:lnTo>
                  <a:lnTo>
                    <a:pt x="14" y="1126"/>
                  </a:lnTo>
                  <a:lnTo>
                    <a:pt x="14" y="1124"/>
                  </a:lnTo>
                  <a:lnTo>
                    <a:pt x="16" y="1124"/>
                  </a:lnTo>
                  <a:lnTo>
                    <a:pt x="16" y="1122"/>
                  </a:lnTo>
                  <a:lnTo>
                    <a:pt x="19" y="1122"/>
                  </a:lnTo>
                  <a:lnTo>
                    <a:pt x="21" y="1122"/>
                  </a:lnTo>
                  <a:lnTo>
                    <a:pt x="23" y="1122"/>
                  </a:lnTo>
                  <a:lnTo>
                    <a:pt x="26" y="1122"/>
                  </a:lnTo>
                  <a:lnTo>
                    <a:pt x="23" y="1122"/>
                  </a:lnTo>
                  <a:lnTo>
                    <a:pt x="26" y="1122"/>
                  </a:lnTo>
                  <a:lnTo>
                    <a:pt x="28" y="1122"/>
                  </a:lnTo>
                  <a:lnTo>
                    <a:pt x="28" y="1124"/>
                  </a:lnTo>
                  <a:lnTo>
                    <a:pt x="31" y="1124"/>
                  </a:lnTo>
                  <a:lnTo>
                    <a:pt x="33" y="1124"/>
                  </a:lnTo>
                  <a:lnTo>
                    <a:pt x="33" y="1122"/>
                  </a:lnTo>
                  <a:lnTo>
                    <a:pt x="35" y="1122"/>
                  </a:lnTo>
                  <a:lnTo>
                    <a:pt x="38" y="1122"/>
                  </a:lnTo>
                  <a:lnTo>
                    <a:pt x="35" y="1122"/>
                  </a:lnTo>
                  <a:lnTo>
                    <a:pt x="38" y="1122"/>
                  </a:lnTo>
                  <a:lnTo>
                    <a:pt x="38" y="1119"/>
                  </a:lnTo>
                  <a:lnTo>
                    <a:pt x="38" y="1122"/>
                  </a:lnTo>
                  <a:lnTo>
                    <a:pt x="40" y="1122"/>
                  </a:lnTo>
                  <a:lnTo>
                    <a:pt x="42" y="1122"/>
                  </a:lnTo>
                  <a:lnTo>
                    <a:pt x="40" y="1122"/>
                  </a:lnTo>
                  <a:lnTo>
                    <a:pt x="40" y="1119"/>
                  </a:lnTo>
                  <a:lnTo>
                    <a:pt x="38" y="1119"/>
                  </a:lnTo>
                  <a:lnTo>
                    <a:pt x="35" y="1119"/>
                  </a:lnTo>
                  <a:lnTo>
                    <a:pt x="35" y="1122"/>
                  </a:lnTo>
                  <a:lnTo>
                    <a:pt x="33" y="1122"/>
                  </a:lnTo>
                  <a:lnTo>
                    <a:pt x="31" y="1122"/>
                  </a:lnTo>
                  <a:lnTo>
                    <a:pt x="28" y="1122"/>
                  </a:lnTo>
                  <a:lnTo>
                    <a:pt x="31" y="1122"/>
                  </a:lnTo>
                  <a:lnTo>
                    <a:pt x="28" y="1122"/>
                  </a:lnTo>
                  <a:lnTo>
                    <a:pt x="31" y="1122"/>
                  </a:lnTo>
                  <a:lnTo>
                    <a:pt x="31" y="1119"/>
                  </a:lnTo>
                  <a:lnTo>
                    <a:pt x="28" y="1119"/>
                  </a:lnTo>
                  <a:lnTo>
                    <a:pt x="28" y="1122"/>
                  </a:lnTo>
                  <a:lnTo>
                    <a:pt x="26" y="1122"/>
                  </a:lnTo>
                  <a:lnTo>
                    <a:pt x="23" y="1122"/>
                  </a:lnTo>
                  <a:lnTo>
                    <a:pt x="23" y="1119"/>
                  </a:lnTo>
                  <a:lnTo>
                    <a:pt x="21" y="1119"/>
                  </a:lnTo>
                  <a:lnTo>
                    <a:pt x="19" y="1119"/>
                  </a:lnTo>
                  <a:lnTo>
                    <a:pt x="19" y="1117"/>
                  </a:lnTo>
                  <a:lnTo>
                    <a:pt x="19" y="1119"/>
                  </a:lnTo>
                  <a:lnTo>
                    <a:pt x="19" y="1117"/>
                  </a:lnTo>
                  <a:lnTo>
                    <a:pt x="21" y="1117"/>
                  </a:lnTo>
                  <a:lnTo>
                    <a:pt x="23" y="1117"/>
                  </a:lnTo>
                  <a:lnTo>
                    <a:pt x="26" y="1117"/>
                  </a:lnTo>
                  <a:lnTo>
                    <a:pt x="23" y="1117"/>
                  </a:lnTo>
                  <a:lnTo>
                    <a:pt x="21" y="1117"/>
                  </a:lnTo>
                  <a:lnTo>
                    <a:pt x="23" y="1117"/>
                  </a:lnTo>
                  <a:lnTo>
                    <a:pt x="21" y="1117"/>
                  </a:lnTo>
                  <a:lnTo>
                    <a:pt x="21" y="1115"/>
                  </a:lnTo>
                  <a:lnTo>
                    <a:pt x="19" y="1115"/>
                  </a:lnTo>
                  <a:lnTo>
                    <a:pt x="21" y="1115"/>
                  </a:lnTo>
                  <a:lnTo>
                    <a:pt x="19" y="1115"/>
                  </a:lnTo>
                  <a:lnTo>
                    <a:pt x="21" y="1115"/>
                  </a:lnTo>
                  <a:lnTo>
                    <a:pt x="23" y="1115"/>
                  </a:lnTo>
                  <a:lnTo>
                    <a:pt x="26" y="1115"/>
                  </a:lnTo>
                  <a:lnTo>
                    <a:pt x="26" y="1117"/>
                  </a:lnTo>
                  <a:lnTo>
                    <a:pt x="28" y="1117"/>
                  </a:lnTo>
                  <a:lnTo>
                    <a:pt x="28" y="1115"/>
                  </a:lnTo>
                  <a:lnTo>
                    <a:pt x="26" y="1115"/>
                  </a:lnTo>
                  <a:lnTo>
                    <a:pt x="23" y="1115"/>
                  </a:lnTo>
                  <a:lnTo>
                    <a:pt x="21" y="1115"/>
                  </a:lnTo>
                  <a:lnTo>
                    <a:pt x="19" y="1115"/>
                  </a:lnTo>
                  <a:lnTo>
                    <a:pt x="16" y="1115"/>
                  </a:lnTo>
                  <a:lnTo>
                    <a:pt x="14" y="1115"/>
                  </a:lnTo>
                  <a:lnTo>
                    <a:pt x="16" y="1115"/>
                  </a:lnTo>
                  <a:lnTo>
                    <a:pt x="14" y="1115"/>
                  </a:lnTo>
                  <a:lnTo>
                    <a:pt x="14" y="1117"/>
                  </a:lnTo>
                  <a:lnTo>
                    <a:pt x="14" y="1115"/>
                  </a:lnTo>
                  <a:lnTo>
                    <a:pt x="16" y="1115"/>
                  </a:lnTo>
                  <a:lnTo>
                    <a:pt x="19" y="1115"/>
                  </a:lnTo>
                  <a:lnTo>
                    <a:pt x="21" y="1115"/>
                  </a:lnTo>
                  <a:lnTo>
                    <a:pt x="23" y="1115"/>
                  </a:lnTo>
                  <a:lnTo>
                    <a:pt x="23" y="1112"/>
                  </a:lnTo>
                  <a:lnTo>
                    <a:pt x="26" y="1112"/>
                  </a:lnTo>
                  <a:lnTo>
                    <a:pt x="28" y="1112"/>
                  </a:lnTo>
                  <a:lnTo>
                    <a:pt x="26" y="1112"/>
                  </a:lnTo>
                  <a:lnTo>
                    <a:pt x="23" y="1112"/>
                  </a:lnTo>
                  <a:lnTo>
                    <a:pt x="26" y="1112"/>
                  </a:lnTo>
                  <a:lnTo>
                    <a:pt x="23" y="1112"/>
                  </a:lnTo>
                  <a:lnTo>
                    <a:pt x="21" y="1112"/>
                  </a:lnTo>
                  <a:lnTo>
                    <a:pt x="21" y="1115"/>
                  </a:lnTo>
                  <a:lnTo>
                    <a:pt x="21" y="1112"/>
                  </a:lnTo>
                  <a:lnTo>
                    <a:pt x="19" y="1112"/>
                  </a:lnTo>
                  <a:lnTo>
                    <a:pt x="16" y="1112"/>
                  </a:lnTo>
                  <a:lnTo>
                    <a:pt x="14" y="1112"/>
                  </a:lnTo>
                  <a:lnTo>
                    <a:pt x="14" y="1110"/>
                  </a:lnTo>
                  <a:lnTo>
                    <a:pt x="12" y="1110"/>
                  </a:lnTo>
                  <a:lnTo>
                    <a:pt x="14" y="1110"/>
                  </a:lnTo>
                  <a:lnTo>
                    <a:pt x="12" y="1110"/>
                  </a:lnTo>
                  <a:lnTo>
                    <a:pt x="12" y="1107"/>
                  </a:lnTo>
                  <a:lnTo>
                    <a:pt x="14" y="1107"/>
                  </a:lnTo>
                  <a:lnTo>
                    <a:pt x="14" y="1105"/>
                  </a:lnTo>
                  <a:lnTo>
                    <a:pt x="16" y="1105"/>
                  </a:lnTo>
                  <a:lnTo>
                    <a:pt x="16" y="1107"/>
                  </a:lnTo>
                  <a:lnTo>
                    <a:pt x="16" y="1110"/>
                  </a:lnTo>
                  <a:lnTo>
                    <a:pt x="19" y="1110"/>
                  </a:lnTo>
                  <a:lnTo>
                    <a:pt x="19" y="1107"/>
                  </a:lnTo>
                  <a:lnTo>
                    <a:pt x="19" y="1110"/>
                  </a:lnTo>
                  <a:lnTo>
                    <a:pt x="19" y="1107"/>
                  </a:lnTo>
                  <a:lnTo>
                    <a:pt x="21" y="1107"/>
                  </a:lnTo>
                  <a:lnTo>
                    <a:pt x="19" y="1107"/>
                  </a:lnTo>
                  <a:lnTo>
                    <a:pt x="19" y="1105"/>
                  </a:lnTo>
                  <a:lnTo>
                    <a:pt x="21" y="1105"/>
                  </a:lnTo>
                  <a:lnTo>
                    <a:pt x="23" y="1105"/>
                  </a:lnTo>
                  <a:lnTo>
                    <a:pt x="21" y="1105"/>
                  </a:lnTo>
                  <a:lnTo>
                    <a:pt x="19" y="1105"/>
                  </a:lnTo>
                  <a:lnTo>
                    <a:pt x="16" y="1105"/>
                  </a:lnTo>
                  <a:lnTo>
                    <a:pt x="19" y="1105"/>
                  </a:lnTo>
                  <a:lnTo>
                    <a:pt x="19" y="1103"/>
                  </a:lnTo>
                  <a:lnTo>
                    <a:pt x="21" y="1103"/>
                  </a:lnTo>
                  <a:lnTo>
                    <a:pt x="23" y="1103"/>
                  </a:lnTo>
                  <a:lnTo>
                    <a:pt x="23" y="1100"/>
                  </a:lnTo>
                  <a:lnTo>
                    <a:pt x="26" y="1100"/>
                  </a:lnTo>
                  <a:lnTo>
                    <a:pt x="23" y="1100"/>
                  </a:lnTo>
                  <a:lnTo>
                    <a:pt x="26" y="1100"/>
                  </a:lnTo>
                  <a:lnTo>
                    <a:pt x="23" y="1100"/>
                  </a:lnTo>
                  <a:lnTo>
                    <a:pt x="21" y="1100"/>
                  </a:lnTo>
                  <a:lnTo>
                    <a:pt x="23" y="1098"/>
                  </a:lnTo>
                  <a:lnTo>
                    <a:pt x="26" y="1098"/>
                  </a:lnTo>
                  <a:lnTo>
                    <a:pt x="26" y="1100"/>
                  </a:lnTo>
                  <a:lnTo>
                    <a:pt x="23" y="1100"/>
                  </a:lnTo>
                  <a:lnTo>
                    <a:pt x="26" y="1100"/>
                  </a:lnTo>
                  <a:lnTo>
                    <a:pt x="26" y="1098"/>
                  </a:lnTo>
                  <a:lnTo>
                    <a:pt x="28" y="1098"/>
                  </a:lnTo>
                  <a:lnTo>
                    <a:pt x="31" y="1098"/>
                  </a:lnTo>
                  <a:lnTo>
                    <a:pt x="33" y="1098"/>
                  </a:lnTo>
                  <a:lnTo>
                    <a:pt x="35" y="1098"/>
                  </a:lnTo>
                  <a:lnTo>
                    <a:pt x="38" y="1100"/>
                  </a:lnTo>
                  <a:lnTo>
                    <a:pt x="40" y="1100"/>
                  </a:lnTo>
                  <a:lnTo>
                    <a:pt x="38" y="1100"/>
                  </a:lnTo>
                  <a:lnTo>
                    <a:pt x="38" y="1103"/>
                  </a:lnTo>
                  <a:lnTo>
                    <a:pt x="35" y="1103"/>
                  </a:lnTo>
                  <a:lnTo>
                    <a:pt x="38" y="1103"/>
                  </a:lnTo>
                  <a:lnTo>
                    <a:pt x="40" y="1103"/>
                  </a:lnTo>
                  <a:lnTo>
                    <a:pt x="42" y="1100"/>
                  </a:lnTo>
                  <a:lnTo>
                    <a:pt x="45" y="1100"/>
                  </a:lnTo>
                  <a:lnTo>
                    <a:pt x="47" y="1100"/>
                  </a:lnTo>
                  <a:lnTo>
                    <a:pt x="47" y="1103"/>
                  </a:lnTo>
                  <a:lnTo>
                    <a:pt x="45" y="1103"/>
                  </a:lnTo>
                  <a:lnTo>
                    <a:pt x="45" y="1105"/>
                  </a:lnTo>
                  <a:lnTo>
                    <a:pt x="45" y="1107"/>
                  </a:lnTo>
                  <a:lnTo>
                    <a:pt x="45" y="1105"/>
                  </a:lnTo>
                  <a:lnTo>
                    <a:pt x="47" y="1105"/>
                  </a:lnTo>
                  <a:lnTo>
                    <a:pt x="47" y="1103"/>
                  </a:lnTo>
                  <a:lnTo>
                    <a:pt x="47" y="1100"/>
                  </a:lnTo>
                  <a:lnTo>
                    <a:pt x="47" y="1103"/>
                  </a:lnTo>
                  <a:lnTo>
                    <a:pt x="50" y="1103"/>
                  </a:lnTo>
                  <a:lnTo>
                    <a:pt x="50" y="1105"/>
                  </a:lnTo>
                  <a:lnTo>
                    <a:pt x="52" y="1105"/>
                  </a:lnTo>
                  <a:lnTo>
                    <a:pt x="54" y="1105"/>
                  </a:lnTo>
                  <a:lnTo>
                    <a:pt x="52" y="1105"/>
                  </a:lnTo>
                  <a:lnTo>
                    <a:pt x="52" y="1103"/>
                  </a:lnTo>
                  <a:lnTo>
                    <a:pt x="50" y="1103"/>
                  </a:lnTo>
                  <a:lnTo>
                    <a:pt x="50" y="1100"/>
                  </a:lnTo>
                  <a:lnTo>
                    <a:pt x="50" y="1103"/>
                  </a:lnTo>
                  <a:lnTo>
                    <a:pt x="52" y="1103"/>
                  </a:lnTo>
                  <a:lnTo>
                    <a:pt x="54" y="1103"/>
                  </a:lnTo>
                  <a:lnTo>
                    <a:pt x="54" y="1100"/>
                  </a:lnTo>
                  <a:lnTo>
                    <a:pt x="57" y="1100"/>
                  </a:lnTo>
                  <a:lnTo>
                    <a:pt x="57" y="1103"/>
                  </a:lnTo>
                  <a:lnTo>
                    <a:pt x="59" y="1103"/>
                  </a:lnTo>
                  <a:lnTo>
                    <a:pt x="61" y="1103"/>
                  </a:lnTo>
                  <a:lnTo>
                    <a:pt x="64" y="1103"/>
                  </a:lnTo>
                  <a:lnTo>
                    <a:pt x="66" y="1103"/>
                  </a:lnTo>
                  <a:lnTo>
                    <a:pt x="66" y="1100"/>
                  </a:lnTo>
                  <a:lnTo>
                    <a:pt x="68" y="1100"/>
                  </a:lnTo>
                  <a:lnTo>
                    <a:pt x="71" y="1100"/>
                  </a:lnTo>
                  <a:lnTo>
                    <a:pt x="73" y="1100"/>
                  </a:lnTo>
                  <a:lnTo>
                    <a:pt x="73" y="1103"/>
                  </a:lnTo>
                  <a:lnTo>
                    <a:pt x="73" y="1100"/>
                  </a:lnTo>
                  <a:lnTo>
                    <a:pt x="76" y="1100"/>
                  </a:lnTo>
                  <a:lnTo>
                    <a:pt x="73" y="1100"/>
                  </a:lnTo>
                  <a:lnTo>
                    <a:pt x="71" y="1100"/>
                  </a:lnTo>
                  <a:lnTo>
                    <a:pt x="71" y="1098"/>
                  </a:lnTo>
                  <a:lnTo>
                    <a:pt x="68" y="1098"/>
                  </a:lnTo>
                  <a:lnTo>
                    <a:pt x="68" y="1100"/>
                  </a:lnTo>
                  <a:lnTo>
                    <a:pt x="68" y="1098"/>
                  </a:lnTo>
                  <a:lnTo>
                    <a:pt x="66" y="1100"/>
                  </a:lnTo>
                  <a:lnTo>
                    <a:pt x="64" y="1100"/>
                  </a:lnTo>
                  <a:lnTo>
                    <a:pt x="64" y="1103"/>
                  </a:lnTo>
                  <a:lnTo>
                    <a:pt x="61" y="1103"/>
                  </a:lnTo>
                  <a:lnTo>
                    <a:pt x="59" y="1103"/>
                  </a:lnTo>
                  <a:lnTo>
                    <a:pt x="59" y="1100"/>
                  </a:lnTo>
                  <a:lnTo>
                    <a:pt x="57" y="1100"/>
                  </a:lnTo>
                  <a:lnTo>
                    <a:pt x="54" y="1100"/>
                  </a:lnTo>
                  <a:lnTo>
                    <a:pt x="52" y="1100"/>
                  </a:lnTo>
                  <a:lnTo>
                    <a:pt x="50" y="1100"/>
                  </a:lnTo>
                  <a:lnTo>
                    <a:pt x="47" y="1100"/>
                  </a:lnTo>
                  <a:lnTo>
                    <a:pt x="45" y="1100"/>
                  </a:lnTo>
                  <a:lnTo>
                    <a:pt x="42" y="1100"/>
                  </a:lnTo>
                  <a:lnTo>
                    <a:pt x="40" y="1100"/>
                  </a:lnTo>
                  <a:lnTo>
                    <a:pt x="38" y="1100"/>
                  </a:lnTo>
                  <a:lnTo>
                    <a:pt x="38" y="1098"/>
                  </a:lnTo>
                  <a:lnTo>
                    <a:pt x="40" y="1098"/>
                  </a:lnTo>
                  <a:lnTo>
                    <a:pt x="42" y="1098"/>
                  </a:lnTo>
                  <a:lnTo>
                    <a:pt x="45" y="1098"/>
                  </a:lnTo>
                  <a:lnTo>
                    <a:pt x="47" y="1098"/>
                  </a:lnTo>
                  <a:lnTo>
                    <a:pt x="45" y="1098"/>
                  </a:lnTo>
                  <a:lnTo>
                    <a:pt x="42" y="1098"/>
                  </a:lnTo>
                  <a:lnTo>
                    <a:pt x="40" y="1098"/>
                  </a:lnTo>
                  <a:lnTo>
                    <a:pt x="38" y="1098"/>
                  </a:lnTo>
                  <a:lnTo>
                    <a:pt x="35" y="1098"/>
                  </a:lnTo>
                  <a:lnTo>
                    <a:pt x="33" y="1098"/>
                  </a:lnTo>
                  <a:lnTo>
                    <a:pt x="31" y="1098"/>
                  </a:lnTo>
                  <a:lnTo>
                    <a:pt x="31" y="1096"/>
                  </a:lnTo>
                  <a:lnTo>
                    <a:pt x="31" y="1098"/>
                  </a:lnTo>
                  <a:lnTo>
                    <a:pt x="28" y="1098"/>
                  </a:lnTo>
                  <a:lnTo>
                    <a:pt x="28" y="1096"/>
                  </a:lnTo>
                  <a:lnTo>
                    <a:pt x="26" y="1098"/>
                  </a:lnTo>
                  <a:lnTo>
                    <a:pt x="23" y="1098"/>
                  </a:lnTo>
                  <a:lnTo>
                    <a:pt x="21" y="1098"/>
                  </a:lnTo>
                  <a:lnTo>
                    <a:pt x="19" y="1098"/>
                  </a:lnTo>
                  <a:lnTo>
                    <a:pt x="19" y="1096"/>
                  </a:lnTo>
                  <a:lnTo>
                    <a:pt x="19" y="1093"/>
                  </a:lnTo>
                  <a:lnTo>
                    <a:pt x="21" y="1093"/>
                  </a:lnTo>
                  <a:lnTo>
                    <a:pt x="21" y="1096"/>
                  </a:lnTo>
                  <a:lnTo>
                    <a:pt x="21" y="1093"/>
                  </a:lnTo>
                  <a:lnTo>
                    <a:pt x="21" y="1096"/>
                  </a:lnTo>
                  <a:lnTo>
                    <a:pt x="21" y="1093"/>
                  </a:lnTo>
                  <a:lnTo>
                    <a:pt x="21" y="1096"/>
                  </a:lnTo>
                  <a:lnTo>
                    <a:pt x="23" y="1096"/>
                  </a:lnTo>
                  <a:lnTo>
                    <a:pt x="23" y="1093"/>
                  </a:lnTo>
                  <a:lnTo>
                    <a:pt x="21" y="1093"/>
                  </a:lnTo>
                  <a:lnTo>
                    <a:pt x="23" y="1093"/>
                  </a:lnTo>
                  <a:lnTo>
                    <a:pt x="26" y="1093"/>
                  </a:lnTo>
                  <a:lnTo>
                    <a:pt x="23" y="1093"/>
                  </a:lnTo>
                  <a:lnTo>
                    <a:pt x="26" y="1093"/>
                  </a:lnTo>
                  <a:lnTo>
                    <a:pt x="26" y="1091"/>
                  </a:lnTo>
                  <a:lnTo>
                    <a:pt x="26" y="1093"/>
                  </a:lnTo>
                  <a:lnTo>
                    <a:pt x="28" y="1093"/>
                  </a:lnTo>
                  <a:lnTo>
                    <a:pt x="28" y="1091"/>
                  </a:lnTo>
                  <a:lnTo>
                    <a:pt x="26" y="1091"/>
                  </a:lnTo>
                  <a:lnTo>
                    <a:pt x="23" y="1088"/>
                  </a:lnTo>
                  <a:lnTo>
                    <a:pt x="21" y="1088"/>
                  </a:lnTo>
                  <a:lnTo>
                    <a:pt x="19" y="1088"/>
                  </a:lnTo>
                  <a:lnTo>
                    <a:pt x="16" y="1088"/>
                  </a:lnTo>
                  <a:lnTo>
                    <a:pt x="19" y="1088"/>
                  </a:lnTo>
                  <a:lnTo>
                    <a:pt x="19" y="1086"/>
                  </a:lnTo>
                  <a:lnTo>
                    <a:pt x="16" y="1086"/>
                  </a:lnTo>
                  <a:lnTo>
                    <a:pt x="19" y="1086"/>
                  </a:lnTo>
                  <a:lnTo>
                    <a:pt x="16" y="1084"/>
                  </a:lnTo>
                  <a:lnTo>
                    <a:pt x="16" y="1086"/>
                  </a:lnTo>
                  <a:lnTo>
                    <a:pt x="16" y="1084"/>
                  </a:lnTo>
                  <a:lnTo>
                    <a:pt x="16" y="1081"/>
                  </a:lnTo>
                  <a:lnTo>
                    <a:pt x="19" y="1081"/>
                  </a:lnTo>
                  <a:lnTo>
                    <a:pt x="19" y="1084"/>
                  </a:lnTo>
                  <a:lnTo>
                    <a:pt x="19" y="1081"/>
                  </a:lnTo>
                  <a:lnTo>
                    <a:pt x="21" y="1084"/>
                  </a:lnTo>
                  <a:lnTo>
                    <a:pt x="21" y="1081"/>
                  </a:lnTo>
                  <a:lnTo>
                    <a:pt x="19" y="1081"/>
                  </a:lnTo>
                  <a:lnTo>
                    <a:pt x="21" y="1081"/>
                  </a:lnTo>
                  <a:lnTo>
                    <a:pt x="21" y="1084"/>
                  </a:lnTo>
                  <a:lnTo>
                    <a:pt x="23" y="1084"/>
                  </a:lnTo>
                  <a:lnTo>
                    <a:pt x="23" y="1086"/>
                  </a:lnTo>
                  <a:lnTo>
                    <a:pt x="26" y="1086"/>
                  </a:lnTo>
                  <a:lnTo>
                    <a:pt x="26" y="1088"/>
                  </a:lnTo>
                  <a:lnTo>
                    <a:pt x="28" y="1088"/>
                  </a:lnTo>
                  <a:lnTo>
                    <a:pt x="28" y="1091"/>
                  </a:lnTo>
                  <a:lnTo>
                    <a:pt x="31" y="1091"/>
                  </a:lnTo>
                  <a:lnTo>
                    <a:pt x="28" y="1091"/>
                  </a:lnTo>
                  <a:lnTo>
                    <a:pt x="31" y="1091"/>
                  </a:lnTo>
                  <a:lnTo>
                    <a:pt x="31" y="1093"/>
                  </a:lnTo>
                  <a:lnTo>
                    <a:pt x="28" y="1093"/>
                  </a:lnTo>
                  <a:lnTo>
                    <a:pt x="31" y="1093"/>
                  </a:lnTo>
                  <a:lnTo>
                    <a:pt x="31" y="1091"/>
                  </a:lnTo>
                  <a:lnTo>
                    <a:pt x="31" y="1088"/>
                  </a:lnTo>
                  <a:lnTo>
                    <a:pt x="33" y="1088"/>
                  </a:lnTo>
                  <a:lnTo>
                    <a:pt x="33" y="1091"/>
                  </a:lnTo>
                  <a:lnTo>
                    <a:pt x="35" y="1091"/>
                  </a:lnTo>
                  <a:lnTo>
                    <a:pt x="33" y="1091"/>
                  </a:lnTo>
                  <a:lnTo>
                    <a:pt x="35" y="1088"/>
                  </a:lnTo>
                  <a:lnTo>
                    <a:pt x="33" y="1088"/>
                  </a:lnTo>
                  <a:lnTo>
                    <a:pt x="31" y="1088"/>
                  </a:lnTo>
                  <a:lnTo>
                    <a:pt x="33" y="1088"/>
                  </a:lnTo>
                  <a:lnTo>
                    <a:pt x="31" y="1088"/>
                  </a:lnTo>
                  <a:lnTo>
                    <a:pt x="28" y="1088"/>
                  </a:lnTo>
                  <a:lnTo>
                    <a:pt x="28" y="1086"/>
                  </a:lnTo>
                  <a:lnTo>
                    <a:pt x="26" y="1086"/>
                  </a:lnTo>
                  <a:lnTo>
                    <a:pt x="28" y="1086"/>
                  </a:lnTo>
                  <a:lnTo>
                    <a:pt x="28" y="1084"/>
                  </a:lnTo>
                  <a:lnTo>
                    <a:pt x="31" y="1084"/>
                  </a:lnTo>
                  <a:lnTo>
                    <a:pt x="31" y="1081"/>
                  </a:lnTo>
                  <a:lnTo>
                    <a:pt x="31" y="1084"/>
                  </a:lnTo>
                  <a:lnTo>
                    <a:pt x="33" y="1084"/>
                  </a:lnTo>
                  <a:lnTo>
                    <a:pt x="35" y="1084"/>
                  </a:lnTo>
                  <a:lnTo>
                    <a:pt x="35" y="1086"/>
                  </a:lnTo>
                  <a:lnTo>
                    <a:pt x="38" y="1088"/>
                  </a:lnTo>
                  <a:lnTo>
                    <a:pt x="38" y="1086"/>
                  </a:lnTo>
                  <a:lnTo>
                    <a:pt x="35" y="1084"/>
                  </a:lnTo>
                  <a:lnTo>
                    <a:pt x="38" y="1084"/>
                  </a:lnTo>
                  <a:lnTo>
                    <a:pt x="40" y="1084"/>
                  </a:lnTo>
                  <a:lnTo>
                    <a:pt x="40" y="1081"/>
                  </a:lnTo>
                  <a:lnTo>
                    <a:pt x="42" y="1081"/>
                  </a:lnTo>
                  <a:lnTo>
                    <a:pt x="45" y="1084"/>
                  </a:lnTo>
                  <a:lnTo>
                    <a:pt x="45" y="1086"/>
                  </a:lnTo>
                  <a:lnTo>
                    <a:pt x="45" y="1088"/>
                  </a:lnTo>
                  <a:lnTo>
                    <a:pt x="42" y="1088"/>
                  </a:lnTo>
                  <a:lnTo>
                    <a:pt x="42" y="1091"/>
                  </a:lnTo>
                  <a:lnTo>
                    <a:pt x="42" y="1093"/>
                  </a:lnTo>
                  <a:lnTo>
                    <a:pt x="42" y="1091"/>
                  </a:lnTo>
                  <a:lnTo>
                    <a:pt x="45" y="1091"/>
                  </a:lnTo>
                  <a:lnTo>
                    <a:pt x="45" y="1088"/>
                  </a:lnTo>
                  <a:lnTo>
                    <a:pt x="45" y="1086"/>
                  </a:lnTo>
                  <a:lnTo>
                    <a:pt x="47" y="1086"/>
                  </a:lnTo>
                  <a:lnTo>
                    <a:pt x="50" y="1088"/>
                  </a:lnTo>
                  <a:lnTo>
                    <a:pt x="50" y="1091"/>
                  </a:lnTo>
                  <a:lnTo>
                    <a:pt x="50" y="1088"/>
                  </a:lnTo>
                  <a:lnTo>
                    <a:pt x="52" y="1088"/>
                  </a:lnTo>
                  <a:lnTo>
                    <a:pt x="54" y="1088"/>
                  </a:lnTo>
                  <a:lnTo>
                    <a:pt x="57" y="1088"/>
                  </a:lnTo>
                  <a:lnTo>
                    <a:pt x="57" y="1091"/>
                  </a:lnTo>
                  <a:lnTo>
                    <a:pt x="57" y="1088"/>
                  </a:lnTo>
                  <a:lnTo>
                    <a:pt x="54" y="1088"/>
                  </a:lnTo>
                  <a:lnTo>
                    <a:pt x="52" y="1088"/>
                  </a:lnTo>
                  <a:lnTo>
                    <a:pt x="52" y="1086"/>
                  </a:lnTo>
                  <a:lnTo>
                    <a:pt x="50" y="1086"/>
                  </a:lnTo>
                  <a:lnTo>
                    <a:pt x="47" y="1084"/>
                  </a:lnTo>
                  <a:lnTo>
                    <a:pt x="45" y="1081"/>
                  </a:lnTo>
                  <a:lnTo>
                    <a:pt x="47" y="1081"/>
                  </a:lnTo>
                  <a:lnTo>
                    <a:pt x="50" y="1081"/>
                  </a:lnTo>
                  <a:lnTo>
                    <a:pt x="50" y="1084"/>
                  </a:lnTo>
                  <a:lnTo>
                    <a:pt x="52" y="1081"/>
                  </a:lnTo>
                  <a:lnTo>
                    <a:pt x="50" y="1081"/>
                  </a:lnTo>
                  <a:lnTo>
                    <a:pt x="47" y="1081"/>
                  </a:lnTo>
                  <a:lnTo>
                    <a:pt x="47" y="1079"/>
                  </a:lnTo>
                  <a:lnTo>
                    <a:pt x="45" y="1079"/>
                  </a:lnTo>
                  <a:lnTo>
                    <a:pt x="47" y="1079"/>
                  </a:lnTo>
                  <a:lnTo>
                    <a:pt x="50" y="1077"/>
                  </a:lnTo>
                  <a:lnTo>
                    <a:pt x="52" y="1077"/>
                  </a:lnTo>
                  <a:lnTo>
                    <a:pt x="52" y="1074"/>
                  </a:lnTo>
                  <a:lnTo>
                    <a:pt x="54" y="1074"/>
                  </a:lnTo>
                  <a:lnTo>
                    <a:pt x="57" y="1074"/>
                  </a:lnTo>
                  <a:lnTo>
                    <a:pt x="57" y="1072"/>
                  </a:lnTo>
                  <a:lnTo>
                    <a:pt x="59" y="1072"/>
                  </a:lnTo>
                  <a:lnTo>
                    <a:pt x="59" y="1074"/>
                  </a:lnTo>
                  <a:lnTo>
                    <a:pt x="59" y="1077"/>
                  </a:lnTo>
                  <a:lnTo>
                    <a:pt x="61" y="1077"/>
                  </a:lnTo>
                  <a:lnTo>
                    <a:pt x="61" y="1079"/>
                  </a:lnTo>
                  <a:lnTo>
                    <a:pt x="61" y="1081"/>
                  </a:lnTo>
                  <a:lnTo>
                    <a:pt x="64" y="1081"/>
                  </a:lnTo>
                  <a:lnTo>
                    <a:pt x="61" y="1081"/>
                  </a:lnTo>
                  <a:lnTo>
                    <a:pt x="64" y="1081"/>
                  </a:lnTo>
                  <a:lnTo>
                    <a:pt x="64" y="1084"/>
                  </a:lnTo>
                  <a:lnTo>
                    <a:pt x="66" y="1084"/>
                  </a:lnTo>
                  <a:lnTo>
                    <a:pt x="66" y="1086"/>
                  </a:lnTo>
                  <a:lnTo>
                    <a:pt x="64" y="1086"/>
                  </a:lnTo>
                  <a:lnTo>
                    <a:pt x="64" y="1088"/>
                  </a:lnTo>
                  <a:lnTo>
                    <a:pt x="66" y="1086"/>
                  </a:lnTo>
                  <a:lnTo>
                    <a:pt x="66" y="1084"/>
                  </a:lnTo>
                  <a:lnTo>
                    <a:pt x="66" y="1081"/>
                  </a:lnTo>
                  <a:lnTo>
                    <a:pt x="68" y="1081"/>
                  </a:lnTo>
                  <a:lnTo>
                    <a:pt x="68" y="1084"/>
                  </a:lnTo>
                  <a:lnTo>
                    <a:pt x="68" y="1081"/>
                  </a:lnTo>
                  <a:lnTo>
                    <a:pt x="66" y="1081"/>
                  </a:lnTo>
                  <a:lnTo>
                    <a:pt x="64" y="1081"/>
                  </a:lnTo>
                  <a:lnTo>
                    <a:pt x="64" y="1079"/>
                  </a:lnTo>
                  <a:lnTo>
                    <a:pt x="61" y="1079"/>
                  </a:lnTo>
                  <a:lnTo>
                    <a:pt x="61" y="1077"/>
                  </a:lnTo>
                  <a:lnTo>
                    <a:pt x="61" y="1074"/>
                  </a:lnTo>
                  <a:lnTo>
                    <a:pt x="59" y="1074"/>
                  </a:lnTo>
                  <a:lnTo>
                    <a:pt x="61" y="1072"/>
                  </a:lnTo>
                  <a:lnTo>
                    <a:pt x="64" y="1072"/>
                  </a:lnTo>
                  <a:lnTo>
                    <a:pt x="66" y="1072"/>
                  </a:lnTo>
                  <a:lnTo>
                    <a:pt x="66" y="1074"/>
                  </a:lnTo>
                  <a:lnTo>
                    <a:pt x="66" y="1072"/>
                  </a:lnTo>
                  <a:lnTo>
                    <a:pt x="64" y="1072"/>
                  </a:lnTo>
                  <a:lnTo>
                    <a:pt x="66" y="1069"/>
                  </a:lnTo>
                  <a:lnTo>
                    <a:pt x="68" y="1069"/>
                  </a:lnTo>
                  <a:lnTo>
                    <a:pt x="71" y="1069"/>
                  </a:lnTo>
                  <a:lnTo>
                    <a:pt x="73" y="1069"/>
                  </a:lnTo>
                  <a:lnTo>
                    <a:pt x="76" y="1069"/>
                  </a:lnTo>
                  <a:lnTo>
                    <a:pt x="78" y="1072"/>
                  </a:lnTo>
                  <a:lnTo>
                    <a:pt x="76" y="1072"/>
                  </a:lnTo>
                  <a:lnTo>
                    <a:pt x="76" y="1074"/>
                  </a:lnTo>
                  <a:lnTo>
                    <a:pt x="78" y="1074"/>
                  </a:lnTo>
                  <a:lnTo>
                    <a:pt x="78" y="1077"/>
                  </a:lnTo>
                  <a:lnTo>
                    <a:pt x="80" y="1077"/>
                  </a:lnTo>
                  <a:lnTo>
                    <a:pt x="80" y="1079"/>
                  </a:lnTo>
                  <a:lnTo>
                    <a:pt x="80" y="1081"/>
                  </a:lnTo>
                  <a:lnTo>
                    <a:pt x="80" y="1084"/>
                  </a:lnTo>
                  <a:lnTo>
                    <a:pt x="78" y="1084"/>
                  </a:lnTo>
                  <a:lnTo>
                    <a:pt x="78" y="1086"/>
                  </a:lnTo>
                  <a:lnTo>
                    <a:pt x="76" y="1088"/>
                  </a:lnTo>
                  <a:lnTo>
                    <a:pt x="78" y="1088"/>
                  </a:lnTo>
                  <a:lnTo>
                    <a:pt x="80" y="1088"/>
                  </a:lnTo>
                  <a:lnTo>
                    <a:pt x="83" y="1088"/>
                  </a:lnTo>
                  <a:lnTo>
                    <a:pt x="83" y="1086"/>
                  </a:lnTo>
                  <a:lnTo>
                    <a:pt x="85" y="1086"/>
                  </a:lnTo>
                  <a:lnTo>
                    <a:pt x="85" y="1088"/>
                  </a:lnTo>
                  <a:lnTo>
                    <a:pt x="87" y="1088"/>
                  </a:lnTo>
                  <a:lnTo>
                    <a:pt x="85" y="1086"/>
                  </a:lnTo>
                  <a:lnTo>
                    <a:pt x="83" y="1086"/>
                  </a:lnTo>
                  <a:lnTo>
                    <a:pt x="83" y="1088"/>
                  </a:lnTo>
                  <a:lnTo>
                    <a:pt x="80" y="1088"/>
                  </a:lnTo>
                  <a:lnTo>
                    <a:pt x="80" y="1086"/>
                  </a:lnTo>
                  <a:lnTo>
                    <a:pt x="78" y="1086"/>
                  </a:lnTo>
                  <a:lnTo>
                    <a:pt x="80" y="1086"/>
                  </a:lnTo>
                  <a:lnTo>
                    <a:pt x="80" y="1084"/>
                  </a:lnTo>
                  <a:lnTo>
                    <a:pt x="80" y="1081"/>
                  </a:lnTo>
                  <a:lnTo>
                    <a:pt x="80" y="1079"/>
                  </a:lnTo>
                  <a:lnTo>
                    <a:pt x="83" y="1079"/>
                  </a:lnTo>
                  <a:lnTo>
                    <a:pt x="85" y="1079"/>
                  </a:lnTo>
                  <a:lnTo>
                    <a:pt x="87" y="1079"/>
                  </a:lnTo>
                  <a:lnTo>
                    <a:pt x="87" y="1077"/>
                  </a:lnTo>
                  <a:lnTo>
                    <a:pt x="90" y="1077"/>
                  </a:lnTo>
                  <a:lnTo>
                    <a:pt x="90" y="1079"/>
                  </a:lnTo>
                  <a:lnTo>
                    <a:pt x="90" y="1077"/>
                  </a:lnTo>
                  <a:lnTo>
                    <a:pt x="90" y="1079"/>
                  </a:lnTo>
                  <a:lnTo>
                    <a:pt x="92" y="1079"/>
                  </a:lnTo>
                  <a:lnTo>
                    <a:pt x="92" y="1081"/>
                  </a:lnTo>
                  <a:lnTo>
                    <a:pt x="95" y="1081"/>
                  </a:lnTo>
                  <a:lnTo>
                    <a:pt x="95" y="1079"/>
                  </a:lnTo>
                  <a:lnTo>
                    <a:pt x="92" y="1079"/>
                  </a:lnTo>
                  <a:lnTo>
                    <a:pt x="95" y="1079"/>
                  </a:lnTo>
                  <a:lnTo>
                    <a:pt x="92" y="1079"/>
                  </a:lnTo>
                  <a:lnTo>
                    <a:pt x="92" y="1077"/>
                  </a:lnTo>
                  <a:lnTo>
                    <a:pt x="90" y="1077"/>
                  </a:lnTo>
                  <a:lnTo>
                    <a:pt x="87" y="1077"/>
                  </a:lnTo>
                  <a:lnTo>
                    <a:pt x="85" y="1077"/>
                  </a:lnTo>
                  <a:lnTo>
                    <a:pt x="83" y="1077"/>
                  </a:lnTo>
                  <a:lnTo>
                    <a:pt x="80" y="1077"/>
                  </a:lnTo>
                  <a:lnTo>
                    <a:pt x="78" y="1077"/>
                  </a:lnTo>
                  <a:lnTo>
                    <a:pt x="78" y="1074"/>
                  </a:lnTo>
                  <a:lnTo>
                    <a:pt x="78" y="1072"/>
                  </a:lnTo>
                  <a:lnTo>
                    <a:pt x="80" y="1072"/>
                  </a:lnTo>
                  <a:lnTo>
                    <a:pt x="78" y="1072"/>
                  </a:lnTo>
                  <a:lnTo>
                    <a:pt x="78" y="1069"/>
                  </a:lnTo>
                  <a:lnTo>
                    <a:pt x="76" y="1069"/>
                  </a:lnTo>
                  <a:lnTo>
                    <a:pt x="76" y="1067"/>
                  </a:lnTo>
                  <a:lnTo>
                    <a:pt x="73" y="1067"/>
                  </a:lnTo>
                  <a:lnTo>
                    <a:pt x="71" y="1067"/>
                  </a:lnTo>
                  <a:lnTo>
                    <a:pt x="68" y="1067"/>
                  </a:lnTo>
                  <a:lnTo>
                    <a:pt x="66" y="1067"/>
                  </a:lnTo>
                  <a:lnTo>
                    <a:pt x="68" y="1067"/>
                  </a:lnTo>
                  <a:lnTo>
                    <a:pt x="66" y="1067"/>
                  </a:lnTo>
                  <a:lnTo>
                    <a:pt x="66" y="1069"/>
                  </a:lnTo>
                  <a:lnTo>
                    <a:pt x="64" y="1069"/>
                  </a:lnTo>
                  <a:lnTo>
                    <a:pt x="61" y="1069"/>
                  </a:lnTo>
                  <a:lnTo>
                    <a:pt x="59" y="1069"/>
                  </a:lnTo>
                  <a:lnTo>
                    <a:pt x="57" y="1069"/>
                  </a:lnTo>
                  <a:lnTo>
                    <a:pt x="57" y="1072"/>
                  </a:lnTo>
                  <a:lnTo>
                    <a:pt x="54" y="1072"/>
                  </a:lnTo>
                  <a:lnTo>
                    <a:pt x="52" y="1072"/>
                  </a:lnTo>
                  <a:lnTo>
                    <a:pt x="50" y="1072"/>
                  </a:lnTo>
                  <a:lnTo>
                    <a:pt x="50" y="1069"/>
                  </a:lnTo>
                  <a:lnTo>
                    <a:pt x="52" y="1069"/>
                  </a:lnTo>
                  <a:lnTo>
                    <a:pt x="54" y="1069"/>
                  </a:lnTo>
                  <a:lnTo>
                    <a:pt x="57" y="1069"/>
                  </a:lnTo>
                  <a:lnTo>
                    <a:pt x="59" y="1069"/>
                  </a:lnTo>
                  <a:lnTo>
                    <a:pt x="59" y="1067"/>
                  </a:lnTo>
                  <a:lnTo>
                    <a:pt x="57" y="1067"/>
                  </a:lnTo>
                  <a:lnTo>
                    <a:pt x="54" y="1069"/>
                  </a:lnTo>
                  <a:lnTo>
                    <a:pt x="54" y="1067"/>
                  </a:lnTo>
                  <a:lnTo>
                    <a:pt x="52" y="1067"/>
                  </a:lnTo>
                  <a:lnTo>
                    <a:pt x="50" y="1067"/>
                  </a:lnTo>
                  <a:lnTo>
                    <a:pt x="52" y="1067"/>
                  </a:lnTo>
                  <a:lnTo>
                    <a:pt x="50" y="1067"/>
                  </a:lnTo>
                  <a:lnTo>
                    <a:pt x="52" y="1067"/>
                  </a:lnTo>
                  <a:lnTo>
                    <a:pt x="50" y="1069"/>
                  </a:lnTo>
                  <a:lnTo>
                    <a:pt x="50" y="1067"/>
                  </a:lnTo>
                  <a:lnTo>
                    <a:pt x="52" y="1067"/>
                  </a:lnTo>
                  <a:lnTo>
                    <a:pt x="54" y="1067"/>
                  </a:lnTo>
                  <a:lnTo>
                    <a:pt x="57" y="1067"/>
                  </a:lnTo>
                  <a:lnTo>
                    <a:pt x="59" y="1067"/>
                  </a:lnTo>
                  <a:lnTo>
                    <a:pt x="61" y="1067"/>
                  </a:lnTo>
                  <a:lnTo>
                    <a:pt x="61" y="1065"/>
                  </a:lnTo>
                  <a:lnTo>
                    <a:pt x="64" y="1065"/>
                  </a:lnTo>
                  <a:lnTo>
                    <a:pt x="64" y="1067"/>
                  </a:lnTo>
                  <a:lnTo>
                    <a:pt x="64" y="1065"/>
                  </a:lnTo>
                  <a:lnTo>
                    <a:pt x="64" y="1067"/>
                  </a:lnTo>
                  <a:lnTo>
                    <a:pt x="66" y="1067"/>
                  </a:lnTo>
                  <a:lnTo>
                    <a:pt x="66" y="1065"/>
                  </a:lnTo>
                  <a:lnTo>
                    <a:pt x="66" y="1067"/>
                  </a:lnTo>
                  <a:lnTo>
                    <a:pt x="66" y="1065"/>
                  </a:lnTo>
                  <a:lnTo>
                    <a:pt x="68" y="1065"/>
                  </a:lnTo>
                  <a:lnTo>
                    <a:pt x="66" y="1065"/>
                  </a:lnTo>
                  <a:lnTo>
                    <a:pt x="64" y="1065"/>
                  </a:lnTo>
                  <a:lnTo>
                    <a:pt x="61" y="1065"/>
                  </a:lnTo>
                  <a:lnTo>
                    <a:pt x="64" y="1065"/>
                  </a:lnTo>
                  <a:lnTo>
                    <a:pt x="66" y="1065"/>
                  </a:lnTo>
                  <a:lnTo>
                    <a:pt x="64" y="1065"/>
                  </a:lnTo>
                  <a:lnTo>
                    <a:pt x="61" y="1065"/>
                  </a:lnTo>
                  <a:lnTo>
                    <a:pt x="59" y="1065"/>
                  </a:lnTo>
                  <a:lnTo>
                    <a:pt x="57" y="1065"/>
                  </a:lnTo>
                  <a:lnTo>
                    <a:pt x="54" y="1065"/>
                  </a:lnTo>
                  <a:lnTo>
                    <a:pt x="57" y="1065"/>
                  </a:lnTo>
                  <a:lnTo>
                    <a:pt x="57" y="1062"/>
                  </a:lnTo>
                  <a:lnTo>
                    <a:pt x="54" y="1062"/>
                  </a:lnTo>
                  <a:lnTo>
                    <a:pt x="57" y="1060"/>
                  </a:lnTo>
                  <a:lnTo>
                    <a:pt x="59" y="1060"/>
                  </a:lnTo>
                  <a:lnTo>
                    <a:pt x="61" y="1060"/>
                  </a:lnTo>
                  <a:lnTo>
                    <a:pt x="61" y="1062"/>
                  </a:lnTo>
                  <a:lnTo>
                    <a:pt x="61" y="1060"/>
                  </a:lnTo>
                  <a:lnTo>
                    <a:pt x="64" y="1060"/>
                  </a:lnTo>
                  <a:lnTo>
                    <a:pt x="66" y="1060"/>
                  </a:lnTo>
                  <a:lnTo>
                    <a:pt x="66" y="1062"/>
                  </a:lnTo>
                  <a:lnTo>
                    <a:pt x="68" y="1062"/>
                  </a:lnTo>
                  <a:lnTo>
                    <a:pt x="66" y="1062"/>
                  </a:lnTo>
                  <a:lnTo>
                    <a:pt x="68" y="1062"/>
                  </a:lnTo>
                  <a:lnTo>
                    <a:pt x="68" y="1060"/>
                  </a:lnTo>
                  <a:lnTo>
                    <a:pt x="66" y="1060"/>
                  </a:lnTo>
                  <a:lnTo>
                    <a:pt x="68" y="1060"/>
                  </a:lnTo>
                  <a:lnTo>
                    <a:pt x="68" y="1058"/>
                  </a:lnTo>
                  <a:lnTo>
                    <a:pt x="68" y="1060"/>
                  </a:lnTo>
                  <a:lnTo>
                    <a:pt x="68" y="1058"/>
                  </a:lnTo>
                  <a:lnTo>
                    <a:pt x="71" y="1058"/>
                  </a:lnTo>
                  <a:lnTo>
                    <a:pt x="73" y="1058"/>
                  </a:lnTo>
                  <a:lnTo>
                    <a:pt x="76" y="1060"/>
                  </a:lnTo>
                  <a:lnTo>
                    <a:pt x="78" y="1060"/>
                  </a:lnTo>
                  <a:lnTo>
                    <a:pt x="78" y="1062"/>
                  </a:lnTo>
                  <a:lnTo>
                    <a:pt x="78" y="1060"/>
                  </a:lnTo>
                  <a:lnTo>
                    <a:pt x="78" y="1058"/>
                  </a:lnTo>
                  <a:lnTo>
                    <a:pt x="76" y="1058"/>
                  </a:lnTo>
                  <a:lnTo>
                    <a:pt x="78" y="1058"/>
                  </a:lnTo>
                  <a:lnTo>
                    <a:pt x="76" y="1058"/>
                  </a:lnTo>
                  <a:lnTo>
                    <a:pt x="78" y="1058"/>
                  </a:lnTo>
                  <a:lnTo>
                    <a:pt x="80" y="1058"/>
                  </a:lnTo>
                  <a:lnTo>
                    <a:pt x="83" y="1058"/>
                  </a:lnTo>
                  <a:lnTo>
                    <a:pt x="83" y="1060"/>
                  </a:lnTo>
                  <a:lnTo>
                    <a:pt x="83" y="1062"/>
                  </a:lnTo>
                  <a:lnTo>
                    <a:pt x="85" y="1062"/>
                  </a:lnTo>
                  <a:lnTo>
                    <a:pt x="83" y="1062"/>
                  </a:lnTo>
                  <a:lnTo>
                    <a:pt x="83" y="1065"/>
                  </a:lnTo>
                  <a:lnTo>
                    <a:pt x="85" y="1065"/>
                  </a:lnTo>
                  <a:lnTo>
                    <a:pt x="85" y="1062"/>
                  </a:lnTo>
                  <a:lnTo>
                    <a:pt x="85" y="1060"/>
                  </a:lnTo>
                  <a:lnTo>
                    <a:pt x="85" y="1058"/>
                  </a:lnTo>
                  <a:lnTo>
                    <a:pt x="85" y="1060"/>
                  </a:lnTo>
                  <a:lnTo>
                    <a:pt x="87" y="1060"/>
                  </a:lnTo>
                  <a:lnTo>
                    <a:pt x="90" y="1060"/>
                  </a:lnTo>
                  <a:lnTo>
                    <a:pt x="92" y="1060"/>
                  </a:lnTo>
                  <a:lnTo>
                    <a:pt x="92" y="1062"/>
                  </a:lnTo>
                  <a:lnTo>
                    <a:pt x="95" y="1062"/>
                  </a:lnTo>
                  <a:lnTo>
                    <a:pt x="95" y="1065"/>
                  </a:lnTo>
                  <a:lnTo>
                    <a:pt x="95" y="1062"/>
                  </a:lnTo>
                  <a:lnTo>
                    <a:pt x="97" y="1065"/>
                  </a:lnTo>
                  <a:lnTo>
                    <a:pt x="97" y="1067"/>
                  </a:lnTo>
                  <a:lnTo>
                    <a:pt x="99" y="1067"/>
                  </a:lnTo>
                  <a:lnTo>
                    <a:pt x="99" y="1065"/>
                  </a:lnTo>
                  <a:lnTo>
                    <a:pt x="99" y="1062"/>
                  </a:lnTo>
                  <a:lnTo>
                    <a:pt x="102" y="1062"/>
                  </a:lnTo>
                  <a:lnTo>
                    <a:pt x="104" y="1062"/>
                  </a:lnTo>
                  <a:lnTo>
                    <a:pt x="102" y="1062"/>
                  </a:lnTo>
                  <a:lnTo>
                    <a:pt x="104" y="1062"/>
                  </a:lnTo>
                  <a:lnTo>
                    <a:pt x="106" y="1062"/>
                  </a:lnTo>
                  <a:lnTo>
                    <a:pt x="104" y="1062"/>
                  </a:lnTo>
                  <a:lnTo>
                    <a:pt x="102" y="1062"/>
                  </a:lnTo>
                  <a:lnTo>
                    <a:pt x="99" y="1062"/>
                  </a:lnTo>
                  <a:lnTo>
                    <a:pt x="97" y="1062"/>
                  </a:lnTo>
                  <a:lnTo>
                    <a:pt x="95" y="1062"/>
                  </a:lnTo>
                  <a:lnTo>
                    <a:pt x="95" y="1060"/>
                  </a:lnTo>
                  <a:lnTo>
                    <a:pt x="92" y="1060"/>
                  </a:lnTo>
                  <a:lnTo>
                    <a:pt x="92" y="1058"/>
                  </a:lnTo>
                  <a:lnTo>
                    <a:pt x="95" y="1058"/>
                  </a:lnTo>
                  <a:lnTo>
                    <a:pt x="97" y="1058"/>
                  </a:lnTo>
                  <a:lnTo>
                    <a:pt x="97" y="1060"/>
                  </a:lnTo>
                  <a:lnTo>
                    <a:pt x="97" y="1062"/>
                  </a:lnTo>
                  <a:lnTo>
                    <a:pt x="97" y="1060"/>
                  </a:lnTo>
                  <a:lnTo>
                    <a:pt x="97" y="1062"/>
                  </a:lnTo>
                  <a:lnTo>
                    <a:pt x="97" y="1060"/>
                  </a:lnTo>
                  <a:lnTo>
                    <a:pt x="97" y="1058"/>
                  </a:lnTo>
                  <a:lnTo>
                    <a:pt x="97" y="1055"/>
                  </a:lnTo>
                  <a:lnTo>
                    <a:pt x="99" y="1055"/>
                  </a:lnTo>
                  <a:lnTo>
                    <a:pt x="102" y="1055"/>
                  </a:lnTo>
                  <a:lnTo>
                    <a:pt x="104" y="1055"/>
                  </a:lnTo>
                  <a:lnTo>
                    <a:pt x="104" y="1053"/>
                  </a:lnTo>
                  <a:lnTo>
                    <a:pt x="106" y="1053"/>
                  </a:lnTo>
                  <a:lnTo>
                    <a:pt x="109" y="1053"/>
                  </a:lnTo>
                  <a:lnTo>
                    <a:pt x="111" y="1053"/>
                  </a:lnTo>
                  <a:lnTo>
                    <a:pt x="114" y="1053"/>
                  </a:lnTo>
                  <a:lnTo>
                    <a:pt x="116" y="1055"/>
                  </a:lnTo>
                  <a:lnTo>
                    <a:pt x="118" y="1055"/>
                  </a:lnTo>
                  <a:lnTo>
                    <a:pt x="116" y="1055"/>
                  </a:lnTo>
                  <a:lnTo>
                    <a:pt x="116" y="1053"/>
                  </a:lnTo>
                  <a:lnTo>
                    <a:pt x="114" y="1053"/>
                  </a:lnTo>
                  <a:lnTo>
                    <a:pt x="114" y="1050"/>
                  </a:lnTo>
                  <a:lnTo>
                    <a:pt x="116" y="1050"/>
                  </a:lnTo>
                  <a:lnTo>
                    <a:pt x="114" y="1050"/>
                  </a:lnTo>
                  <a:lnTo>
                    <a:pt x="111" y="1050"/>
                  </a:lnTo>
                  <a:lnTo>
                    <a:pt x="109" y="1050"/>
                  </a:lnTo>
                  <a:lnTo>
                    <a:pt x="106" y="1053"/>
                  </a:lnTo>
                  <a:lnTo>
                    <a:pt x="104" y="1053"/>
                  </a:lnTo>
                  <a:lnTo>
                    <a:pt x="102" y="1053"/>
                  </a:lnTo>
                  <a:lnTo>
                    <a:pt x="102" y="1055"/>
                  </a:lnTo>
                  <a:lnTo>
                    <a:pt x="99" y="1055"/>
                  </a:lnTo>
                  <a:lnTo>
                    <a:pt x="97" y="1055"/>
                  </a:lnTo>
                  <a:lnTo>
                    <a:pt x="95" y="1055"/>
                  </a:lnTo>
                  <a:lnTo>
                    <a:pt x="92" y="1055"/>
                  </a:lnTo>
                  <a:lnTo>
                    <a:pt x="95" y="1055"/>
                  </a:lnTo>
                  <a:lnTo>
                    <a:pt x="92" y="1055"/>
                  </a:lnTo>
                  <a:lnTo>
                    <a:pt x="95" y="1055"/>
                  </a:lnTo>
                  <a:lnTo>
                    <a:pt x="92" y="1055"/>
                  </a:lnTo>
                  <a:lnTo>
                    <a:pt x="92" y="1053"/>
                  </a:lnTo>
                  <a:lnTo>
                    <a:pt x="95" y="1053"/>
                  </a:lnTo>
                  <a:lnTo>
                    <a:pt x="92" y="1053"/>
                  </a:lnTo>
                  <a:lnTo>
                    <a:pt x="95" y="1053"/>
                  </a:lnTo>
                  <a:lnTo>
                    <a:pt x="92" y="1053"/>
                  </a:lnTo>
                  <a:lnTo>
                    <a:pt x="95" y="1053"/>
                  </a:lnTo>
                  <a:lnTo>
                    <a:pt x="95" y="1050"/>
                  </a:lnTo>
                  <a:lnTo>
                    <a:pt x="97" y="1050"/>
                  </a:lnTo>
                  <a:lnTo>
                    <a:pt x="99" y="1050"/>
                  </a:lnTo>
                  <a:lnTo>
                    <a:pt x="102" y="1050"/>
                  </a:lnTo>
                  <a:lnTo>
                    <a:pt x="104" y="1050"/>
                  </a:lnTo>
                  <a:lnTo>
                    <a:pt x="102" y="1050"/>
                  </a:lnTo>
                  <a:lnTo>
                    <a:pt x="99" y="1050"/>
                  </a:lnTo>
                  <a:lnTo>
                    <a:pt x="97" y="1050"/>
                  </a:lnTo>
                  <a:lnTo>
                    <a:pt x="95" y="1050"/>
                  </a:lnTo>
                  <a:lnTo>
                    <a:pt x="92" y="1053"/>
                  </a:lnTo>
                  <a:lnTo>
                    <a:pt x="90" y="1053"/>
                  </a:lnTo>
                  <a:lnTo>
                    <a:pt x="87" y="1053"/>
                  </a:lnTo>
                  <a:lnTo>
                    <a:pt x="85" y="1053"/>
                  </a:lnTo>
                  <a:lnTo>
                    <a:pt x="83" y="1053"/>
                  </a:lnTo>
                  <a:lnTo>
                    <a:pt x="80" y="1053"/>
                  </a:lnTo>
                  <a:lnTo>
                    <a:pt x="78" y="1053"/>
                  </a:lnTo>
                  <a:lnTo>
                    <a:pt x="80" y="1053"/>
                  </a:lnTo>
                  <a:lnTo>
                    <a:pt x="78" y="1053"/>
                  </a:lnTo>
                  <a:lnTo>
                    <a:pt x="80" y="1053"/>
                  </a:lnTo>
                  <a:lnTo>
                    <a:pt x="78" y="1053"/>
                  </a:lnTo>
                  <a:lnTo>
                    <a:pt x="80" y="1053"/>
                  </a:lnTo>
                  <a:lnTo>
                    <a:pt x="80" y="1050"/>
                  </a:lnTo>
                  <a:lnTo>
                    <a:pt x="78" y="1050"/>
                  </a:lnTo>
                  <a:lnTo>
                    <a:pt x="80" y="1050"/>
                  </a:lnTo>
                  <a:lnTo>
                    <a:pt x="78" y="1050"/>
                  </a:lnTo>
                  <a:lnTo>
                    <a:pt x="80" y="1050"/>
                  </a:lnTo>
                  <a:lnTo>
                    <a:pt x="78" y="1050"/>
                  </a:lnTo>
                  <a:lnTo>
                    <a:pt x="80" y="1050"/>
                  </a:lnTo>
                  <a:lnTo>
                    <a:pt x="80" y="1048"/>
                  </a:lnTo>
                  <a:lnTo>
                    <a:pt x="83" y="1048"/>
                  </a:lnTo>
                  <a:lnTo>
                    <a:pt x="85" y="1048"/>
                  </a:lnTo>
                  <a:lnTo>
                    <a:pt x="85" y="1050"/>
                  </a:lnTo>
                  <a:lnTo>
                    <a:pt x="87" y="1050"/>
                  </a:lnTo>
                  <a:lnTo>
                    <a:pt x="87" y="1048"/>
                  </a:lnTo>
                  <a:lnTo>
                    <a:pt x="87" y="1050"/>
                  </a:lnTo>
                  <a:lnTo>
                    <a:pt x="87" y="1048"/>
                  </a:lnTo>
                  <a:lnTo>
                    <a:pt x="85" y="1048"/>
                  </a:lnTo>
                  <a:lnTo>
                    <a:pt x="87" y="1048"/>
                  </a:lnTo>
                  <a:lnTo>
                    <a:pt x="85" y="1048"/>
                  </a:lnTo>
                  <a:lnTo>
                    <a:pt x="85" y="1046"/>
                  </a:lnTo>
                  <a:lnTo>
                    <a:pt x="83" y="1048"/>
                  </a:lnTo>
                  <a:lnTo>
                    <a:pt x="80" y="1048"/>
                  </a:lnTo>
                  <a:lnTo>
                    <a:pt x="80" y="1046"/>
                  </a:lnTo>
                  <a:lnTo>
                    <a:pt x="80" y="1048"/>
                  </a:lnTo>
                  <a:lnTo>
                    <a:pt x="80" y="1046"/>
                  </a:lnTo>
                  <a:lnTo>
                    <a:pt x="78" y="1046"/>
                  </a:lnTo>
                  <a:lnTo>
                    <a:pt x="78" y="1043"/>
                  </a:lnTo>
                  <a:lnTo>
                    <a:pt x="78" y="1046"/>
                  </a:lnTo>
                  <a:lnTo>
                    <a:pt x="78" y="1043"/>
                  </a:lnTo>
                  <a:lnTo>
                    <a:pt x="76" y="1043"/>
                  </a:lnTo>
                  <a:lnTo>
                    <a:pt x="78" y="1043"/>
                  </a:lnTo>
                  <a:lnTo>
                    <a:pt x="76" y="1043"/>
                  </a:lnTo>
                  <a:lnTo>
                    <a:pt x="78" y="1043"/>
                  </a:lnTo>
                  <a:lnTo>
                    <a:pt x="78" y="1041"/>
                  </a:lnTo>
                  <a:lnTo>
                    <a:pt x="78" y="1043"/>
                  </a:lnTo>
                  <a:lnTo>
                    <a:pt x="78" y="1041"/>
                  </a:lnTo>
                  <a:lnTo>
                    <a:pt x="80" y="1041"/>
                  </a:lnTo>
                  <a:lnTo>
                    <a:pt x="78" y="1041"/>
                  </a:lnTo>
                  <a:lnTo>
                    <a:pt x="80" y="1041"/>
                  </a:lnTo>
                  <a:lnTo>
                    <a:pt x="83" y="1041"/>
                  </a:lnTo>
                  <a:lnTo>
                    <a:pt x="80" y="1041"/>
                  </a:lnTo>
                  <a:lnTo>
                    <a:pt x="83" y="1041"/>
                  </a:lnTo>
                  <a:lnTo>
                    <a:pt x="83" y="1039"/>
                  </a:lnTo>
                  <a:lnTo>
                    <a:pt x="85" y="1039"/>
                  </a:lnTo>
                  <a:lnTo>
                    <a:pt x="87" y="1039"/>
                  </a:lnTo>
                  <a:lnTo>
                    <a:pt x="90" y="1039"/>
                  </a:lnTo>
                  <a:lnTo>
                    <a:pt x="92" y="1039"/>
                  </a:lnTo>
                  <a:lnTo>
                    <a:pt x="90" y="1039"/>
                  </a:lnTo>
                  <a:lnTo>
                    <a:pt x="90" y="1041"/>
                  </a:lnTo>
                  <a:lnTo>
                    <a:pt x="92" y="1041"/>
                  </a:lnTo>
                  <a:lnTo>
                    <a:pt x="95" y="1041"/>
                  </a:lnTo>
                  <a:lnTo>
                    <a:pt x="95" y="1043"/>
                  </a:lnTo>
                  <a:lnTo>
                    <a:pt x="97" y="1043"/>
                  </a:lnTo>
                  <a:lnTo>
                    <a:pt x="99" y="1043"/>
                  </a:lnTo>
                  <a:lnTo>
                    <a:pt x="99" y="1041"/>
                  </a:lnTo>
                  <a:lnTo>
                    <a:pt x="102" y="1041"/>
                  </a:lnTo>
                  <a:lnTo>
                    <a:pt x="104" y="1041"/>
                  </a:lnTo>
                  <a:lnTo>
                    <a:pt x="106" y="1041"/>
                  </a:lnTo>
                  <a:lnTo>
                    <a:pt x="104" y="1041"/>
                  </a:lnTo>
                  <a:lnTo>
                    <a:pt x="104" y="1043"/>
                  </a:lnTo>
                  <a:lnTo>
                    <a:pt x="102" y="1043"/>
                  </a:lnTo>
                  <a:lnTo>
                    <a:pt x="104" y="1043"/>
                  </a:lnTo>
                  <a:lnTo>
                    <a:pt x="106" y="1041"/>
                  </a:lnTo>
                  <a:lnTo>
                    <a:pt x="109" y="1041"/>
                  </a:lnTo>
                  <a:lnTo>
                    <a:pt x="111" y="1041"/>
                  </a:lnTo>
                  <a:lnTo>
                    <a:pt x="114" y="1041"/>
                  </a:lnTo>
                  <a:lnTo>
                    <a:pt x="116" y="1041"/>
                  </a:lnTo>
                  <a:lnTo>
                    <a:pt x="116" y="1043"/>
                  </a:lnTo>
                  <a:lnTo>
                    <a:pt x="116" y="1046"/>
                  </a:lnTo>
                  <a:lnTo>
                    <a:pt x="116" y="1048"/>
                  </a:lnTo>
                  <a:lnTo>
                    <a:pt x="118" y="1048"/>
                  </a:lnTo>
                  <a:lnTo>
                    <a:pt x="118" y="1050"/>
                  </a:lnTo>
                  <a:lnTo>
                    <a:pt x="121" y="1050"/>
                  </a:lnTo>
                  <a:lnTo>
                    <a:pt x="123" y="1050"/>
                  </a:lnTo>
                  <a:lnTo>
                    <a:pt x="125" y="1050"/>
                  </a:lnTo>
                  <a:lnTo>
                    <a:pt x="125" y="1053"/>
                  </a:lnTo>
                  <a:lnTo>
                    <a:pt x="128" y="1053"/>
                  </a:lnTo>
                  <a:lnTo>
                    <a:pt x="130" y="1053"/>
                  </a:lnTo>
                  <a:lnTo>
                    <a:pt x="130" y="1055"/>
                  </a:lnTo>
                  <a:lnTo>
                    <a:pt x="130" y="1058"/>
                  </a:lnTo>
                  <a:lnTo>
                    <a:pt x="130" y="1055"/>
                  </a:lnTo>
                  <a:lnTo>
                    <a:pt x="130" y="1053"/>
                  </a:lnTo>
                  <a:lnTo>
                    <a:pt x="128" y="1053"/>
                  </a:lnTo>
                  <a:lnTo>
                    <a:pt x="128" y="1050"/>
                  </a:lnTo>
                  <a:lnTo>
                    <a:pt x="125" y="1050"/>
                  </a:lnTo>
                  <a:lnTo>
                    <a:pt x="123" y="1050"/>
                  </a:lnTo>
                  <a:lnTo>
                    <a:pt x="123" y="1048"/>
                  </a:lnTo>
                  <a:lnTo>
                    <a:pt x="121" y="1048"/>
                  </a:lnTo>
                  <a:lnTo>
                    <a:pt x="118" y="1048"/>
                  </a:lnTo>
                  <a:lnTo>
                    <a:pt x="118" y="1046"/>
                  </a:lnTo>
                  <a:lnTo>
                    <a:pt x="118" y="1043"/>
                  </a:lnTo>
                  <a:lnTo>
                    <a:pt x="118" y="1041"/>
                  </a:lnTo>
                  <a:lnTo>
                    <a:pt x="116" y="1041"/>
                  </a:lnTo>
                  <a:lnTo>
                    <a:pt x="114" y="1041"/>
                  </a:lnTo>
                  <a:lnTo>
                    <a:pt x="114" y="1039"/>
                  </a:lnTo>
                  <a:lnTo>
                    <a:pt x="111" y="1039"/>
                  </a:lnTo>
                  <a:lnTo>
                    <a:pt x="114" y="1039"/>
                  </a:lnTo>
                  <a:lnTo>
                    <a:pt x="114" y="1036"/>
                  </a:lnTo>
                  <a:lnTo>
                    <a:pt x="111" y="1036"/>
                  </a:lnTo>
                  <a:lnTo>
                    <a:pt x="111" y="1039"/>
                  </a:lnTo>
                  <a:lnTo>
                    <a:pt x="111" y="1036"/>
                  </a:lnTo>
                  <a:lnTo>
                    <a:pt x="114" y="1036"/>
                  </a:lnTo>
                  <a:lnTo>
                    <a:pt x="114" y="1039"/>
                  </a:lnTo>
                  <a:lnTo>
                    <a:pt x="111" y="1039"/>
                  </a:lnTo>
                  <a:lnTo>
                    <a:pt x="114" y="1039"/>
                  </a:lnTo>
                  <a:lnTo>
                    <a:pt x="111" y="1039"/>
                  </a:lnTo>
                  <a:lnTo>
                    <a:pt x="109" y="1039"/>
                  </a:lnTo>
                  <a:lnTo>
                    <a:pt x="109" y="1036"/>
                  </a:lnTo>
                  <a:lnTo>
                    <a:pt x="111" y="1036"/>
                  </a:lnTo>
                  <a:lnTo>
                    <a:pt x="111" y="1034"/>
                  </a:lnTo>
                  <a:lnTo>
                    <a:pt x="114" y="1034"/>
                  </a:lnTo>
                  <a:lnTo>
                    <a:pt x="116" y="1031"/>
                  </a:lnTo>
                  <a:lnTo>
                    <a:pt x="116" y="1034"/>
                  </a:lnTo>
                  <a:lnTo>
                    <a:pt x="118" y="1034"/>
                  </a:lnTo>
                  <a:lnTo>
                    <a:pt x="116" y="1034"/>
                  </a:lnTo>
                  <a:lnTo>
                    <a:pt x="118" y="1034"/>
                  </a:lnTo>
                  <a:lnTo>
                    <a:pt x="116" y="1036"/>
                  </a:lnTo>
                  <a:lnTo>
                    <a:pt x="118" y="1036"/>
                  </a:lnTo>
                  <a:lnTo>
                    <a:pt x="118" y="1039"/>
                  </a:lnTo>
                  <a:lnTo>
                    <a:pt x="121" y="1039"/>
                  </a:lnTo>
                  <a:lnTo>
                    <a:pt x="121" y="1041"/>
                  </a:lnTo>
                  <a:lnTo>
                    <a:pt x="121" y="1039"/>
                  </a:lnTo>
                  <a:lnTo>
                    <a:pt x="123" y="1039"/>
                  </a:lnTo>
                  <a:lnTo>
                    <a:pt x="123" y="1041"/>
                  </a:lnTo>
                  <a:lnTo>
                    <a:pt x="123" y="1043"/>
                  </a:lnTo>
                  <a:lnTo>
                    <a:pt x="123" y="1046"/>
                  </a:lnTo>
                  <a:lnTo>
                    <a:pt x="125" y="1046"/>
                  </a:lnTo>
                  <a:lnTo>
                    <a:pt x="128" y="1046"/>
                  </a:lnTo>
                  <a:lnTo>
                    <a:pt x="128" y="1048"/>
                  </a:lnTo>
                  <a:lnTo>
                    <a:pt x="130" y="1048"/>
                  </a:lnTo>
                  <a:lnTo>
                    <a:pt x="130" y="1046"/>
                  </a:lnTo>
                  <a:lnTo>
                    <a:pt x="128" y="1046"/>
                  </a:lnTo>
                  <a:lnTo>
                    <a:pt x="128" y="1043"/>
                  </a:lnTo>
                  <a:lnTo>
                    <a:pt x="125" y="1043"/>
                  </a:lnTo>
                  <a:lnTo>
                    <a:pt x="128" y="1046"/>
                  </a:lnTo>
                  <a:lnTo>
                    <a:pt x="130" y="1046"/>
                  </a:lnTo>
                  <a:lnTo>
                    <a:pt x="133" y="1046"/>
                  </a:lnTo>
                  <a:lnTo>
                    <a:pt x="133" y="1048"/>
                  </a:lnTo>
                  <a:lnTo>
                    <a:pt x="135" y="1048"/>
                  </a:lnTo>
                  <a:lnTo>
                    <a:pt x="133" y="1048"/>
                  </a:lnTo>
                  <a:lnTo>
                    <a:pt x="133" y="1046"/>
                  </a:lnTo>
                  <a:lnTo>
                    <a:pt x="130" y="1046"/>
                  </a:lnTo>
                  <a:lnTo>
                    <a:pt x="130" y="1043"/>
                  </a:lnTo>
                  <a:lnTo>
                    <a:pt x="128" y="1043"/>
                  </a:lnTo>
                  <a:lnTo>
                    <a:pt x="128" y="1041"/>
                  </a:lnTo>
                  <a:lnTo>
                    <a:pt x="125" y="1041"/>
                  </a:lnTo>
                  <a:lnTo>
                    <a:pt x="128" y="1041"/>
                  </a:lnTo>
                  <a:lnTo>
                    <a:pt x="130" y="1041"/>
                  </a:lnTo>
                  <a:lnTo>
                    <a:pt x="133" y="1041"/>
                  </a:lnTo>
                  <a:lnTo>
                    <a:pt x="135" y="1041"/>
                  </a:lnTo>
                  <a:lnTo>
                    <a:pt x="135" y="1039"/>
                  </a:lnTo>
                  <a:lnTo>
                    <a:pt x="133" y="1039"/>
                  </a:lnTo>
                  <a:lnTo>
                    <a:pt x="130" y="1039"/>
                  </a:lnTo>
                  <a:lnTo>
                    <a:pt x="130" y="1041"/>
                  </a:lnTo>
                  <a:lnTo>
                    <a:pt x="128" y="1041"/>
                  </a:lnTo>
                  <a:lnTo>
                    <a:pt x="128" y="1039"/>
                  </a:lnTo>
                  <a:lnTo>
                    <a:pt x="130" y="1039"/>
                  </a:lnTo>
                  <a:lnTo>
                    <a:pt x="133" y="1039"/>
                  </a:lnTo>
                  <a:lnTo>
                    <a:pt x="133" y="1036"/>
                  </a:lnTo>
                  <a:lnTo>
                    <a:pt x="133" y="1039"/>
                  </a:lnTo>
                  <a:lnTo>
                    <a:pt x="130" y="1039"/>
                  </a:lnTo>
                  <a:lnTo>
                    <a:pt x="128" y="1039"/>
                  </a:lnTo>
                  <a:lnTo>
                    <a:pt x="125" y="1041"/>
                  </a:lnTo>
                  <a:lnTo>
                    <a:pt x="123" y="1039"/>
                  </a:lnTo>
                  <a:lnTo>
                    <a:pt x="125" y="1039"/>
                  </a:lnTo>
                  <a:lnTo>
                    <a:pt x="128" y="1039"/>
                  </a:lnTo>
                  <a:lnTo>
                    <a:pt x="128" y="1036"/>
                  </a:lnTo>
                  <a:lnTo>
                    <a:pt x="128" y="1039"/>
                  </a:lnTo>
                  <a:lnTo>
                    <a:pt x="125" y="1039"/>
                  </a:lnTo>
                  <a:lnTo>
                    <a:pt x="123" y="1039"/>
                  </a:lnTo>
                  <a:lnTo>
                    <a:pt x="121" y="1039"/>
                  </a:lnTo>
                  <a:lnTo>
                    <a:pt x="121" y="1036"/>
                  </a:lnTo>
                  <a:lnTo>
                    <a:pt x="121" y="1034"/>
                  </a:lnTo>
                  <a:lnTo>
                    <a:pt x="118" y="1034"/>
                  </a:lnTo>
                  <a:lnTo>
                    <a:pt x="118" y="1031"/>
                  </a:lnTo>
                  <a:lnTo>
                    <a:pt x="121" y="1031"/>
                  </a:lnTo>
                  <a:lnTo>
                    <a:pt x="121" y="1034"/>
                  </a:lnTo>
                  <a:lnTo>
                    <a:pt x="123" y="1034"/>
                  </a:lnTo>
                  <a:lnTo>
                    <a:pt x="123" y="1031"/>
                  </a:lnTo>
                  <a:lnTo>
                    <a:pt x="121" y="1031"/>
                  </a:lnTo>
                  <a:lnTo>
                    <a:pt x="123" y="1031"/>
                  </a:lnTo>
                  <a:lnTo>
                    <a:pt x="125" y="1031"/>
                  </a:lnTo>
                  <a:lnTo>
                    <a:pt x="128" y="1031"/>
                  </a:lnTo>
                  <a:lnTo>
                    <a:pt x="130" y="1031"/>
                  </a:lnTo>
                  <a:lnTo>
                    <a:pt x="133" y="1031"/>
                  </a:lnTo>
                  <a:lnTo>
                    <a:pt x="133" y="1034"/>
                  </a:lnTo>
                  <a:lnTo>
                    <a:pt x="133" y="1031"/>
                  </a:lnTo>
                  <a:lnTo>
                    <a:pt x="130" y="1031"/>
                  </a:lnTo>
                  <a:lnTo>
                    <a:pt x="133" y="1031"/>
                  </a:lnTo>
                  <a:lnTo>
                    <a:pt x="130" y="1031"/>
                  </a:lnTo>
                  <a:lnTo>
                    <a:pt x="133" y="1031"/>
                  </a:lnTo>
                  <a:lnTo>
                    <a:pt x="130" y="1031"/>
                  </a:lnTo>
                  <a:lnTo>
                    <a:pt x="130" y="1029"/>
                  </a:lnTo>
                  <a:lnTo>
                    <a:pt x="133" y="1029"/>
                  </a:lnTo>
                  <a:lnTo>
                    <a:pt x="135" y="1029"/>
                  </a:lnTo>
                  <a:lnTo>
                    <a:pt x="137" y="1029"/>
                  </a:lnTo>
                  <a:lnTo>
                    <a:pt x="140" y="1029"/>
                  </a:lnTo>
                  <a:lnTo>
                    <a:pt x="140" y="1027"/>
                  </a:lnTo>
                  <a:lnTo>
                    <a:pt x="142" y="1027"/>
                  </a:lnTo>
                  <a:lnTo>
                    <a:pt x="142" y="1029"/>
                  </a:lnTo>
                  <a:lnTo>
                    <a:pt x="142" y="1027"/>
                  </a:lnTo>
                  <a:lnTo>
                    <a:pt x="144" y="1027"/>
                  </a:lnTo>
                  <a:lnTo>
                    <a:pt x="142" y="1027"/>
                  </a:lnTo>
                  <a:lnTo>
                    <a:pt x="140" y="1027"/>
                  </a:lnTo>
                  <a:lnTo>
                    <a:pt x="137" y="1029"/>
                  </a:lnTo>
                  <a:lnTo>
                    <a:pt x="135" y="1029"/>
                  </a:lnTo>
                  <a:lnTo>
                    <a:pt x="135" y="1027"/>
                  </a:lnTo>
                  <a:lnTo>
                    <a:pt x="135" y="1029"/>
                  </a:lnTo>
                  <a:lnTo>
                    <a:pt x="133" y="1029"/>
                  </a:lnTo>
                  <a:lnTo>
                    <a:pt x="133" y="1027"/>
                  </a:lnTo>
                  <a:lnTo>
                    <a:pt x="130" y="1024"/>
                  </a:lnTo>
                  <a:lnTo>
                    <a:pt x="128" y="1024"/>
                  </a:lnTo>
                  <a:lnTo>
                    <a:pt x="130" y="1024"/>
                  </a:lnTo>
                  <a:lnTo>
                    <a:pt x="128" y="1024"/>
                  </a:lnTo>
                  <a:lnTo>
                    <a:pt x="130" y="1022"/>
                  </a:lnTo>
                  <a:lnTo>
                    <a:pt x="133" y="1022"/>
                  </a:lnTo>
                  <a:lnTo>
                    <a:pt x="135" y="1022"/>
                  </a:lnTo>
                  <a:lnTo>
                    <a:pt x="135" y="1020"/>
                  </a:lnTo>
                  <a:lnTo>
                    <a:pt x="137" y="1020"/>
                  </a:lnTo>
                  <a:lnTo>
                    <a:pt x="140" y="1020"/>
                  </a:lnTo>
                  <a:lnTo>
                    <a:pt x="137" y="1020"/>
                  </a:lnTo>
                  <a:lnTo>
                    <a:pt x="135" y="1020"/>
                  </a:lnTo>
                  <a:lnTo>
                    <a:pt x="137" y="1020"/>
                  </a:lnTo>
                  <a:lnTo>
                    <a:pt x="135" y="1020"/>
                  </a:lnTo>
                  <a:lnTo>
                    <a:pt x="135" y="1017"/>
                  </a:lnTo>
                  <a:lnTo>
                    <a:pt x="135" y="1015"/>
                  </a:lnTo>
                  <a:lnTo>
                    <a:pt x="137" y="1015"/>
                  </a:lnTo>
                  <a:lnTo>
                    <a:pt x="140" y="1015"/>
                  </a:lnTo>
                  <a:lnTo>
                    <a:pt x="142" y="1015"/>
                  </a:lnTo>
                  <a:lnTo>
                    <a:pt x="142" y="1017"/>
                  </a:lnTo>
                  <a:lnTo>
                    <a:pt x="142" y="1015"/>
                  </a:lnTo>
                  <a:lnTo>
                    <a:pt x="142" y="1017"/>
                  </a:lnTo>
                  <a:lnTo>
                    <a:pt x="142" y="1015"/>
                  </a:lnTo>
                  <a:lnTo>
                    <a:pt x="142" y="1017"/>
                  </a:lnTo>
                  <a:lnTo>
                    <a:pt x="142" y="1015"/>
                  </a:lnTo>
                  <a:lnTo>
                    <a:pt x="144" y="1015"/>
                  </a:lnTo>
                  <a:lnTo>
                    <a:pt x="144" y="1017"/>
                  </a:lnTo>
                  <a:lnTo>
                    <a:pt x="147" y="1017"/>
                  </a:lnTo>
                  <a:lnTo>
                    <a:pt x="147" y="1015"/>
                  </a:lnTo>
                  <a:lnTo>
                    <a:pt x="144" y="1015"/>
                  </a:lnTo>
                  <a:lnTo>
                    <a:pt x="147" y="1015"/>
                  </a:lnTo>
                  <a:lnTo>
                    <a:pt x="144" y="1015"/>
                  </a:lnTo>
                  <a:lnTo>
                    <a:pt x="147" y="1015"/>
                  </a:lnTo>
                  <a:lnTo>
                    <a:pt x="144" y="1015"/>
                  </a:lnTo>
                  <a:lnTo>
                    <a:pt x="147" y="1015"/>
                  </a:lnTo>
                  <a:lnTo>
                    <a:pt x="144" y="1012"/>
                  </a:lnTo>
                  <a:lnTo>
                    <a:pt x="147" y="1012"/>
                  </a:lnTo>
                  <a:lnTo>
                    <a:pt x="147" y="1015"/>
                  </a:lnTo>
                  <a:lnTo>
                    <a:pt x="149" y="1015"/>
                  </a:lnTo>
                  <a:lnTo>
                    <a:pt x="149" y="1017"/>
                  </a:lnTo>
                  <a:lnTo>
                    <a:pt x="152" y="1017"/>
                  </a:lnTo>
                  <a:lnTo>
                    <a:pt x="152" y="1020"/>
                  </a:lnTo>
                  <a:lnTo>
                    <a:pt x="149" y="1020"/>
                  </a:lnTo>
                  <a:lnTo>
                    <a:pt x="149" y="1022"/>
                  </a:lnTo>
                  <a:lnTo>
                    <a:pt x="152" y="1022"/>
                  </a:lnTo>
                  <a:lnTo>
                    <a:pt x="152" y="1020"/>
                  </a:lnTo>
                  <a:lnTo>
                    <a:pt x="154" y="1020"/>
                  </a:lnTo>
                  <a:lnTo>
                    <a:pt x="156" y="1020"/>
                  </a:lnTo>
                  <a:lnTo>
                    <a:pt x="159" y="1020"/>
                  </a:lnTo>
                  <a:lnTo>
                    <a:pt x="159" y="1017"/>
                  </a:lnTo>
                  <a:lnTo>
                    <a:pt x="161" y="1017"/>
                  </a:lnTo>
                  <a:lnTo>
                    <a:pt x="159" y="1017"/>
                  </a:lnTo>
                  <a:lnTo>
                    <a:pt x="156" y="1017"/>
                  </a:lnTo>
                  <a:lnTo>
                    <a:pt x="154" y="1017"/>
                  </a:lnTo>
                  <a:lnTo>
                    <a:pt x="154" y="1020"/>
                  </a:lnTo>
                  <a:lnTo>
                    <a:pt x="154" y="1017"/>
                  </a:lnTo>
                  <a:lnTo>
                    <a:pt x="152" y="1017"/>
                  </a:lnTo>
                  <a:lnTo>
                    <a:pt x="152" y="1015"/>
                  </a:lnTo>
                  <a:lnTo>
                    <a:pt x="154" y="1015"/>
                  </a:lnTo>
                  <a:lnTo>
                    <a:pt x="156" y="1015"/>
                  </a:lnTo>
                  <a:lnTo>
                    <a:pt x="159" y="1015"/>
                  </a:lnTo>
                  <a:lnTo>
                    <a:pt x="159" y="1012"/>
                  </a:lnTo>
                  <a:lnTo>
                    <a:pt x="161" y="1012"/>
                  </a:lnTo>
                  <a:lnTo>
                    <a:pt x="163" y="1012"/>
                  </a:lnTo>
                  <a:lnTo>
                    <a:pt x="161" y="1012"/>
                  </a:lnTo>
                  <a:lnTo>
                    <a:pt x="159" y="1012"/>
                  </a:lnTo>
                  <a:lnTo>
                    <a:pt x="156" y="1012"/>
                  </a:lnTo>
                  <a:lnTo>
                    <a:pt x="154" y="1012"/>
                  </a:lnTo>
                  <a:lnTo>
                    <a:pt x="156" y="1012"/>
                  </a:lnTo>
                  <a:lnTo>
                    <a:pt x="154" y="1012"/>
                  </a:lnTo>
                  <a:lnTo>
                    <a:pt x="156" y="1012"/>
                  </a:lnTo>
                  <a:lnTo>
                    <a:pt x="154" y="1012"/>
                  </a:lnTo>
                  <a:lnTo>
                    <a:pt x="156" y="1012"/>
                  </a:lnTo>
                  <a:lnTo>
                    <a:pt x="154" y="1012"/>
                  </a:lnTo>
                  <a:lnTo>
                    <a:pt x="156" y="1012"/>
                  </a:lnTo>
                  <a:lnTo>
                    <a:pt x="156" y="1015"/>
                  </a:lnTo>
                  <a:lnTo>
                    <a:pt x="156" y="1012"/>
                  </a:lnTo>
                  <a:lnTo>
                    <a:pt x="154" y="1015"/>
                  </a:lnTo>
                  <a:lnTo>
                    <a:pt x="154" y="1012"/>
                  </a:lnTo>
                  <a:lnTo>
                    <a:pt x="152" y="1012"/>
                  </a:lnTo>
                  <a:lnTo>
                    <a:pt x="152" y="1010"/>
                  </a:lnTo>
                  <a:lnTo>
                    <a:pt x="154" y="1010"/>
                  </a:lnTo>
                  <a:lnTo>
                    <a:pt x="154" y="1012"/>
                  </a:lnTo>
                  <a:lnTo>
                    <a:pt x="154" y="1010"/>
                  </a:lnTo>
                  <a:lnTo>
                    <a:pt x="156" y="1010"/>
                  </a:lnTo>
                  <a:lnTo>
                    <a:pt x="156" y="1008"/>
                  </a:lnTo>
                  <a:lnTo>
                    <a:pt x="159" y="1008"/>
                  </a:lnTo>
                  <a:lnTo>
                    <a:pt x="156" y="1008"/>
                  </a:lnTo>
                  <a:lnTo>
                    <a:pt x="159" y="1008"/>
                  </a:lnTo>
                  <a:lnTo>
                    <a:pt x="159" y="1010"/>
                  </a:lnTo>
                  <a:lnTo>
                    <a:pt x="161" y="1010"/>
                  </a:lnTo>
                  <a:lnTo>
                    <a:pt x="159" y="1010"/>
                  </a:lnTo>
                  <a:lnTo>
                    <a:pt x="161" y="1010"/>
                  </a:lnTo>
                  <a:lnTo>
                    <a:pt x="161" y="1008"/>
                  </a:lnTo>
                  <a:lnTo>
                    <a:pt x="163" y="1008"/>
                  </a:lnTo>
                  <a:lnTo>
                    <a:pt x="166" y="1010"/>
                  </a:lnTo>
                  <a:lnTo>
                    <a:pt x="166" y="1008"/>
                  </a:lnTo>
                  <a:lnTo>
                    <a:pt x="163" y="1008"/>
                  </a:lnTo>
                  <a:lnTo>
                    <a:pt x="166" y="1008"/>
                  </a:lnTo>
                  <a:lnTo>
                    <a:pt x="163" y="1008"/>
                  </a:lnTo>
                  <a:lnTo>
                    <a:pt x="163" y="1005"/>
                  </a:lnTo>
                  <a:lnTo>
                    <a:pt x="163" y="1008"/>
                  </a:lnTo>
                  <a:lnTo>
                    <a:pt x="161" y="1008"/>
                  </a:lnTo>
                  <a:lnTo>
                    <a:pt x="163" y="1005"/>
                  </a:lnTo>
                  <a:lnTo>
                    <a:pt x="166" y="1005"/>
                  </a:lnTo>
                  <a:lnTo>
                    <a:pt x="168" y="1005"/>
                  </a:lnTo>
                  <a:lnTo>
                    <a:pt x="168" y="1003"/>
                  </a:lnTo>
                  <a:lnTo>
                    <a:pt x="171" y="1003"/>
                  </a:lnTo>
                  <a:lnTo>
                    <a:pt x="171" y="1005"/>
                  </a:lnTo>
                  <a:lnTo>
                    <a:pt x="171" y="1008"/>
                  </a:lnTo>
                  <a:lnTo>
                    <a:pt x="173" y="1008"/>
                  </a:lnTo>
                  <a:lnTo>
                    <a:pt x="173" y="1010"/>
                  </a:lnTo>
                  <a:lnTo>
                    <a:pt x="173" y="1012"/>
                  </a:lnTo>
                  <a:lnTo>
                    <a:pt x="175" y="1012"/>
                  </a:lnTo>
                  <a:lnTo>
                    <a:pt x="178" y="1012"/>
                  </a:lnTo>
                  <a:lnTo>
                    <a:pt x="178" y="1015"/>
                  </a:lnTo>
                  <a:lnTo>
                    <a:pt x="178" y="1017"/>
                  </a:lnTo>
                  <a:lnTo>
                    <a:pt x="175" y="1020"/>
                  </a:lnTo>
                  <a:lnTo>
                    <a:pt x="173" y="1020"/>
                  </a:lnTo>
                  <a:lnTo>
                    <a:pt x="173" y="1022"/>
                  </a:lnTo>
                  <a:lnTo>
                    <a:pt x="175" y="1022"/>
                  </a:lnTo>
                  <a:lnTo>
                    <a:pt x="175" y="1020"/>
                  </a:lnTo>
                  <a:lnTo>
                    <a:pt x="178" y="1020"/>
                  </a:lnTo>
                  <a:lnTo>
                    <a:pt x="180" y="1020"/>
                  </a:lnTo>
                  <a:lnTo>
                    <a:pt x="182" y="1020"/>
                  </a:lnTo>
                  <a:lnTo>
                    <a:pt x="182" y="1022"/>
                  </a:lnTo>
                  <a:lnTo>
                    <a:pt x="182" y="1020"/>
                  </a:lnTo>
                  <a:lnTo>
                    <a:pt x="182" y="1022"/>
                  </a:lnTo>
                  <a:lnTo>
                    <a:pt x="185" y="1022"/>
                  </a:lnTo>
                  <a:lnTo>
                    <a:pt x="185" y="1020"/>
                  </a:lnTo>
                  <a:lnTo>
                    <a:pt x="187" y="1020"/>
                  </a:lnTo>
                  <a:lnTo>
                    <a:pt x="187" y="1022"/>
                  </a:lnTo>
                  <a:lnTo>
                    <a:pt x="187" y="1020"/>
                  </a:lnTo>
                  <a:lnTo>
                    <a:pt x="185" y="1020"/>
                  </a:lnTo>
                  <a:lnTo>
                    <a:pt x="182" y="1020"/>
                  </a:lnTo>
                  <a:lnTo>
                    <a:pt x="182" y="1017"/>
                  </a:lnTo>
                  <a:lnTo>
                    <a:pt x="180" y="1017"/>
                  </a:lnTo>
                  <a:lnTo>
                    <a:pt x="182" y="1017"/>
                  </a:lnTo>
                  <a:lnTo>
                    <a:pt x="182" y="1015"/>
                  </a:lnTo>
                  <a:lnTo>
                    <a:pt x="185" y="1015"/>
                  </a:lnTo>
                  <a:lnTo>
                    <a:pt x="187" y="1015"/>
                  </a:lnTo>
                  <a:lnTo>
                    <a:pt x="189" y="1015"/>
                  </a:lnTo>
                  <a:lnTo>
                    <a:pt x="192" y="1015"/>
                  </a:lnTo>
                  <a:lnTo>
                    <a:pt x="194" y="1012"/>
                  </a:lnTo>
                  <a:lnTo>
                    <a:pt x="194" y="1015"/>
                  </a:lnTo>
                  <a:lnTo>
                    <a:pt x="197" y="1015"/>
                  </a:lnTo>
                  <a:lnTo>
                    <a:pt x="199" y="1015"/>
                  </a:lnTo>
                  <a:lnTo>
                    <a:pt x="201" y="1015"/>
                  </a:lnTo>
                  <a:lnTo>
                    <a:pt x="204" y="1015"/>
                  </a:lnTo>
                  <a:lnTo>
                    <a:pt x="206" y="1015"/>
                  </a:lnTo>
                  <a:lnTo>
                    <a:pt x="208" y="1015"/>
                  </a:lnTo>
                  <a:lnTo>
                    <a:pt x="211" y="1015"/>
                  </a:lnTo>
                  <a:lnTo>
                    <a:pt x="208" y="1015"/>
                  </a:lnTo>
                  <a:lnTo>
                    <a:pt x="208" y="1012"/>
                  </a:lnTo>
                  <a:lnTo>
                    <a:pt x="208" y="1015"/>
                  </a:lnTo>
                  <a:lnTo>
                    <a:pt x="208" y="1012"/>
                  </a:lnTo>
                  <a:lnTo>
                    <a:pt x="206" y="1012"/>
                  </a:lnTo>
                  <a:lnTo>
                    <a:pt x="204" y="1012"/>
                  </a:lnTo>
                  <a:lnTo>
                    <a:pt x="204" y="1010"/>
                  </a:lnTo>
                  <a:lnTo>
                    <a:pt x="206" y="1010"/>
                  </a:lnTo>
                  <a:lnTo>
                    <a:pt x="206" y="1008"/>
                  </a:lnTo>
                  <a:lnTo>
                    <a:pt x="206" y="1010"/>
                  </a:lnTo>
                  <a:lnTo>
                    <a:pt x="206" y="1008"/>
                  </a:lnTo>
                  <a:lnTo>
                    <a:pt x="206" y="1010"/>
                  </a:lnTo>
                  <a:lnTo>
                    <a:pt x="206" y="1008"/>
                  </a:lnTo>
                  <a:lnTo>
                    <a:pt x="206" y="1010"/>
                  </a:lnTo>
                  <a:lnTo>
                    <a:pt x="206" y="1008"/>
                  </a:lnTo>
                  <a:lnTo>
                    <a:pt x="208" y="1008"/>
                  </a:lnTo>
                  <a:lnTo>
                    <a:pt x="206" y="1008"/>
                  </a:lnTo>
                  <a:lnTo>
                    <a:pt x="208" y="1008"/>
                  </a:lnTo>
                  <a:lnTo>
                    <a:pt x="206" y="1008"/>
                  </a:lnTo>
                  <a:lnTo>
                    <a:pt x="208" y="1005"/>
                  </a:lnTo>
                  <a:lnTo>
                    <a:pt x="206" y="1005"/>
                  </a:lnTo>
                  <a:lnTo>
                    <a:pt x="206" y="1008"/>
                  </a:lnTo>
                  <a:lnTo>
                    <a:pt x="204" y="1008"/>
                  </a:lnTo>
                  <a:lnTo>
                    <a:pt x="201" y="1008"/>
                  </a:lnTo>
                  <a:lnTo>
                    <a:pt x="201" y="1010"/>
                  </a:lnTo>
                  <a:lnTo>
                    <a:pt x="199" y="1010"/>
                  </a:lnTo>
                  <a:lnTo>
                    <a:pt x="199" y="1008"/>
                  </a:lnTo>
                  <a:lnTo>
                    <a:pt x="201" y="1008"/>
                  </a:lnTo>
                  <a:lnTo>
                    <a:pt x="201" y="1005"/>
                  </a:lnTo>
                  <a:lnTo>
                    <a:pt x="204" y="1005"/>
                  </a:lnTo>
                  <a:lnTo>
                    <a:pt x="204" y="1003"/>
                  </a:lnTo>
                  <a:lnTo>
                    <a:pt x="206" y="1003"/>
                  </a:lnTo>
                  <a:lnTo>
                    <a:pt x="208" y="1003"/>
                  </a:lnTo>
                  <a:lnTo>
                    <a:pt x="208" y="1001"/>
                  </a:lnTo>
                  <a:lnTo>
                    <a:pt x="211" y="1001"/>
                  </a:lnTo>
                  <a:lnTo>
                    <a:pt x="211" y="998"/>
                  </a:lnTo>
                  <a:lnTo>
                    <a:pt x="211" y="1001"/>
                  </a:lnTo>
                  <a:lnTo>
                    <a:pt x="213" y="998"/>
                  </a:lnTo>
                  <a:lnTo>
                    <a:pt x="213" y="1001"/>
                  </a:lnTo>
                  <a:lnTo>
                    <a:pt x="216" y="1001"/>
                  </a:lnTo>
                  <a:lnTo>
                    <a:pt x="213" y="1001"/>
                  </a:lnTo>
                  <a:lnTo>
                    <a:pt x="216" y="1001"/>
                  </a:lnTo>
                  <a:lnTo>
                    <a:pt x="216" y="998"/>
                  </a:lnTo>
                  <a:lnTo>
                    <a:pt x="218" y="998"/>
                  </a:lnTo>
                  <a:lnTo>
                    <a:pt x="218" y="1001"/>
                  </a:lnTo>
                  <a:lnTo>
                    <a:pt x="218" y="998"/>
                  </a:lnTo>
                  <a:lnTo>
                    <a:pt x="218" y="996"/>
                  </a:lnTo>
                  <a:lnTo>
                    <a:pt x="220" y="996"/>
                  </a:lnTo>
                  <a:lnTo>
                    <a:pt x="220" y="998"/>
                  </a:lnTo>
                  <a:lnTo>
                    <a:pt x="223" y="998"/>
                  </a:lnTo>
                  <a:lnTo>
                    <a:pt x="220" y="998"/>
                  </a:lnTo>
                  <a:lnTo>
                    <a:pt x="223" y="998"/>
                  </a:lnTo>
                  <a:lnTo>
                    <a:pt x="223" y="996"/>
                  </a:lnTo>
                  <a:lnTo>
                    <a:pt x="225" y="996"/>
                  </a:lnTo>
                  <a:lnTo>
                    <a:pt x="227" y="993"/>
                  </a:lnTo>
                  <a:lnTo>
                    <a:pt x="227" y="996"/>
                  </a:lnTo>
                  <a:lnTo>
                    <a:pt x="227" y="993"/>
                  </a:lnTo>
                  <a:lnTo>
                    <a:pt x="225" y="993"/>
                  </a:lnTo>
                  <a:lnTo>
                    <a:pt x="225" y="991"/>
                  </a:lnTo>
                  <a:lnTo>
                    <a:pt x="225" y="993"/>
                  </a:lnTo>
                  <a:lnTo>
                    <a:pt x="223" y="993"/>
                  </a:lnTo>
                  <a:lnTo>
                    <a:pt x="220" y="993"/>
                  </a:lnTo>
                  <a:lnTo>
                    <a:pt x="223" y="993"/>
                  </a:lnTo>
                  <a:lnTo>
                    <a:pt x="223" y="991"/>
                  </a:lnTo>
                  <a:lnTo>
                    <a:pt x="220" y="991"/>
                  </a:lnTo>
                  <a:lnTo>
                    <a:pt x="223" y="991"/>
                  </a:lnTo>
                  <a:lnTo>
                    <a:pt x="225" y="991"/>
                  </a:lnTo>
                  <a:lnTo>
                    <a:pt x="225" y="989"/>
                  </a:lnTo>
                  <a:lnTo>
                    <a:pt x="223" y="989"/>
                  </a:lnTo>
                  <a:lnTo>
                    <a:pt x="225" y="989"/>
                  </a:lnTo>
                  <a:lnTo>
                    <a:pt x="223" y="989"/>
                  </a:lnTo>
                  <a:lnTo>
                    <a:pt x="225" y="989"/>
                  </a:lnTo>
                  <a:lnTo>
                    <a:pt x="223" y="986"/>
                  </a:lnTo>
                  <a:lnTo>
                    <a:pt x="225" y="986"/>
                  </a:lnTo>
                  <a:lnTo>
                    <a:pt x="223" y="986"/>
                  </a:lnTo>
                  <a:lnTo>
                    <a:pt x="223" y="989"/>
                  </a:lnTo>
                  <a:lnTo>
                    <a:pt x="223" y="991"/>
                  </a:lnTo>
                  <a:lnTo>
                    <a:pt x="220" y="991"/>
                  </a:lnTo>
                  <a:lnTo>
                    <a:pt x="218" y="991"/>
                  </a:lnTo>
                  <a:lnTo>
                    <a:pt x="216" y="993"/>
                  </a:lnTo>
                  <a:lnTo>
                    <a:pt x="213" y="991"/>
                  </a:lnTo>
                  <a:lnTo>
                    <a:pt x="213" y="989"/>
                  </a:lnTo>
                  <a:lnTo>
                    <a:pt x="216" y="989"/>
                  </a:lnTo>
                  <a:lnTo>
                    <a:pt x="218" y="989"/>
                  </a:lnTo>
                  <a:lnTo>
                    <a:pt x="218" y="986"/>
                  </a:lnTo>
                  <a:lnTo>
                    <a:pt x="220" y="986"/>
                  </a:lnTo>
                  <a:lnTo>
                    <a:pt x="220" y="984"/>
                  </a:lnTo>
                  <a:lnTo>
                    <a:pt x="223" y="984"/>
                  </a:lnTo>
                  <a:lnTo>
                    <a:pt x="223" y="986"/>
                  </a:lnTo>
                  <a:lnTo>
                    <a:pt x="223" y="984"/>
                  </a:lnTo>
                  <a:lnTo>
                    <a:pt x="225" y="986"/>
                  </a:lnTo>
                  <a:lnTo>
                    <a:pt x="225" y="984"/>
                  </a:lnTo>
                  <a:lnTo>
                    <a:pt x="227" y="984"/>
                  </a:lnTo>
                  <a:lnTo>
                    <a:pt x="227" y="982"/>
                  </a:lnTo>
                  <a:lnTo>
                    <a:pt x="227" y="984"/>
                  </a:lnTo>
                  <a:lnTo>
                    <a:pt x="227" y="982"/>
                  </a:lnTo>
                  <a:lnTo>
                    <a:pt x="227" y="984"/>
                  </a:lnTo>
                  <a:lnTo>
                    <a:pt x="227" y="982"/>
                  </a:lnTo>
                  <a:lnTo>
                    <a:pt x="225" y="982"/>
                  </a:lnTo>
                  <a:lnTo>
                    <a:pt x="227" y="982"/>
                  </a:lnTo>
                  <a:lnTo>
                    <a:pt x="225" y="982"/>
                  </a:lnTo>
                  <a:lnTo>
                    <a:pt x="223" y="982"/>
                  </a:lnTo>
                  <a:lnTo>
                    <a:pt x="225" y="982"/>
                  </a:lnTo>
                  <a:lnTo>
                    <a:pt x="223" y="982"/>
                  </a:lnTo>
                  <a:lnTo>
                    <a:pt x="225" y="982"/>
                  </a:lnTo>
                  <a:lnTo>
                    <a:pt x="223" y="982"/>
                  </a:lnTo>
                  <a:lnTo>
                    <a:pt x="220" y="982"/>
                  </a:lnTo>
                  <a:lnTo>
                    <a:pt x="220" y="979"/>
                  </a:lnTo>
                  <a:lnTo>
                    <a:pt x="223" y="979"/>
                  </a:lnTo>
                  <a:lnTo>
                    <a:pt x="223" y="977"/>
                  </a:lnTo>
                  <a:lnTo>
                    <a:pt x="223" y="979"/>
                  </a:lnTo>
                  <a:lnTo>
                    <a:pt x="223" y="977"/>
                  </a:lnTo>
                  <a:lnTo>
                    <a:pt x="225" y="977"/>
                  </a:lnTo>
                  <a:lnTo>
                    <a:pt x="223" y="977"/>
                  </a:lnTo>
                  <a:lnTo>
                    <a:pt x="223" y="979"/>
                  </a:lnTo>
                  <a:lnTo>
                    <a:pt x="220" y="979"/>
                  </a:lnTo>
                  <a:lnTo>
                    <a:pt x="218" y="979"/>
                  </a:lnTo>
                  <a:lnTo>
                    <a:pt x="218" y="982"/>
                  </a:lnTo>
                  <a:lnTo>
                    <a:pt x="218" y="984"/>
                  </a:lnTo>
                  <a:lnTo>
                    <a:pt x="216" y="984"/>
                  </a:lnTo>
                  <a:lnTo>
                    <a:pt x="213" y="984"/>
                  </a:lnTo>
                  <a:lnTo>
                    <a:pt x="213" y="986"/>
                  </a:lnTo>
                  <a:lnTo>
                    <a:pt x="211" y="986"/>
                  </a:lnTo>
                  <a:lnTo>
                    <a:pt x="211" y="989"/>
                  </a:lnTo>
                  <a:lnTo>
                    <a:pt x="208" y="989"/>
                  </a:lnTo>
                  <a:lnTo>
                    <a:pt x="206" y="991"/>
                  </a:lnTo>
                  <a:lnTo>
                    <a:pt x="204" y="991"/>
                  </a:lnTo>
                  <a:lnTo>
                    <a:pt x="201" y="991"/>
                  </a:lnTo>
                  <a:lnTo>
                    <a:pt x="199" y="993"/>
                  </a:lnTo>
                  <a:lnTo>
                    <a:pt x="201" y="993"/>
                  </a:lnTo>
                  <a:lnTo>
                    <a:pt x="204" y="991"/>
                  </a:lnTo>
                  <a:lnTo>
                    <a:pt x="206" y="991"/>
                  </a:lnTo>
                  <a:lnTo>
                    <a:pt x="208" y="991"/>
                  </a:lnTo>
                  <a:lnTo>
                    <a:pt x="208" y="989"/>
                  </a:lnTo>
                  <a:lnTo>
                    <a:pt x="211" y="989"/>
                  </a:lnTo>
                  <a:lnTo>
                    <a:pt x="213" y="989"/>
                  </a:lnTo>
                  <a:lnTo>
                    <a:pt x="213" y="991"/>
                  </a:lnTo>
                  <a:lnTo>
                    <a:pt x="213" y="993"/>
                  </a:lnTo>
                  <a:lnTo>
                    <a:pt x="211" y="993"/>
                  </a:lnTo>
                  <a:lnTo>
                    <a:pt x="211" y="996"/>
                  </a:lnTo>
                  <a:lnTo>
                    <a:pt x="211" y="998"/>
                  </a:lnTo>
                  <a:lnTo>
                    <a:pt x="208" y="998"/>
                  </a:lnTo>
                  <a:lnTo>
                    <a:pt x="206" y="998"/>
                  </a:lnTo>
                  <a:lnTo>
                    <a:pt x="206" y="1001"/>
                  </a:lnTo>
                  <a:lnTo>
                    <a:pt x="204" y="1001"/>
                  </a:lnTo>
                  <a:lnTo>
                    <a:pt x="201" y="1001"/>
                  </a:lnTo>
                  <a:lnTo>
                    <a:pt x="199" y="1001"/>
                  </a:lnTo>
                  <a:lnTo>
                    <a:pt x="199" y="1003"/>
                  </a:lnTo>
                  <a:lnTo>
                    <a:pt x="197" y="1003"/>
                  </a:lnTo>
                  <a:lnTo>
                    <a:pt x="197" y="1005"/>
                  </a:lnTo>
                  <a:lnTo>
                    <a:pt x="194" y="1005"/>
                  </a:lnTo>
                  <a:lnTo>
                    <a:pt x="192" y="1005"/>
                  </a:lnTo>
                  <a:lnTo>
                    <a:pt x="194" y="1005"/>
                  </a:lnTo>
                  <a:lnTo>
                    <a:pt x="192" y="1005"/>
                  </a:lnTo>
                  <a:lnTo>
                    <a:pt x="192" y="1008"/>
                  </a:lnTo>
                  <a:lnTo>
                    <a:pt x="189" y="1008"/>
                  </a:lnTo>
                  <a:lnTo>
                    <a:pt x="187" y="1008"/>
                  </a:lnTo>
                  <a:lnTo>
                    <a:pt x="185" y="1008"/>
                  </a:lnTo>
                  <a:lnTo>
                    <a:pt x="185" y="1010"/>
                  </a:lnTo>
                  <a:lnTo>
                    <a:pt x="182" y="1010"/>
                  </a:lnTo>
                  <a:lnTo>
                    <a:pt x="182" y="1012"/>
                  </a:lnTo>
                  <a:lnTo>
                    <a:pt x="180" y="1012"/>
                  </a:lnTo>
                  <a:lnTo>
                    <a:pt x="178" y="1012"/>
                  </a:lnTo>
                  <a:lnTo>
                    <a:pt x="178" y="1010"/>
                  </a:lnTo>
                  <a:lnTo>
                    <a:pt x="175" y="1010"/>
                  </a:lnTo>
                  <a:lnTo>
                    <a:pt x="175" y="1008"/>
                  </a:lnTo>
                  <a:lnTo>
                    <a:pt x="175" y="1005"/>
                  </a:lnTo>
                  <a:lnTo>
                    <a:pt x="173" y="1005"/>
                  </a:lnTo>
                  <a:lnTo>
                    <a:pt x="173" y="1003"/>
                  </a:lnTo>
                  <a:lnTo>
                    <a:pt x="173" y="1001"/>
                  </a:lnTo>
                  <a:lnTo>
                    <a:pt x="175" y="1001"/>
                  </a:lnTo>
                  <a:lnTo>
                    <a:pt x="173" y="1001"/>
                  </a:lnTo>
                  <a:lnTo>
                    <a:pt x="175" y="1001"/>
                  </a:lnTo>
                  <a:lnTo>
                    <a:pt x="178" y="1001"/>
                  </a:lnTo>
                  <a:lnTo>
                    <a:pt x="178" y="998"/>
                  </a:lnTo>
                  <a:lnTo>
                    <a:pt x="178" y="1001"/>
                  </a:lnTo>
                  <a:lnTo>
                    <a:pt x="178" y="998"/>
                  </a:lnTo>
                  <a:lnTo>
                    <a:pt x="178" y="1001"/>
                  </a:lnTo>
                  <a:lnTo>
                    <a:pt x="180" y="998"/>
                  </a:lnTo>
                  <a:lnTo>
                    <a:pt x="182" y="998"/>
                  </a:lnTo>
                  <a:lnTo>
                    <a:pt x="180" y="998"/>
                  </a:lnTo>
                  <a:lnTo>
                    <a:pt x="182" y="998"/>
                  </a:lnTo>
                  <a:lnTo>
                    <a:pt x="180" y="998"/>
                  </a:lnTo>
                  <a:lnTo>
                    <a:pt x="180" y="996"/>
                  </a:lnTo>
                  <a:lnTo>
                    <a:pt x="182" y="996"/>
                  </a:lnTo>
                  <a:lnTo>
                    <a:pt x="180" y="996"/>
                  </a:lnTo>
                  <a:lnTo>
                    <a:pt x="178" y="996"/>
                  </a:lnTo>
                  <a:lnTo>
                    <a:pt x="178" y="998"/>
                  </a:lnTo>
                  <a:lnTo>
                    <a:pt x="175" y="998"/>
                  </a:lnTo>
                  <a:lnTo>
                    <a:pt x="173" y="998"/>
                  </a:lnTo>
                  <a:lnTo>
                    <a:pt x="173" y="1001"/>
                  </a:lnTo>
                  <a:lnTo>
                    <a:pt x="171" y="1001"/>
                  </a:lnTo>
                  <a:lnTo>
                    <a:pt x="168" y="1001"/>
                  </a:lnTo>
                  <a:lnTo>
                    <a:pt x="166" y="1001"/>
                  </a:lnTo>
                  <a:lnTo>
                    <a:pt x="166" y="1003"/>
                  </a:lnTo>
                  <a:lnTo>
                    <a:pt x="163" y="1003"/>
                  </a:lnTo>
                  <a:lnTo>
                    <a:pt x="166" y="1003"/>
                  </a:lnTo>
                  <a:lnTo>
                    <a:pt x="163" y="1003"/>
                  </a:lnTo>
                  <a:lnTo>
                    <a:pt x="163" y="1001"/>
                  </a:lnTo>
                  <a:lnTo>
                    <a:pt x="166" y="1001"/>
                  </a:lnTo>
                  <a:lnTo>
                    <a:pt x="163" y="1001"/>
                  </a:lnTo>
                  <a:lnTo>
                    <a:pt x="166" y="1001"/>
                  </a:lnTo>
                  <a:lnTo>
                    <a:pt x="163" y="1001"/>
                  </a:lnTo>
                  <a:lnTo>
                    <a:pt x="166" y="1001"/>
                  </a:lnTo>
                  <a:lnTo>
                    <a:pt x="163" y="1001"/>
                  </a:lnTo>
                  <a:lnTo>
                    <a:pt x="166" y="1001"/>
                  </a:lnTo>
                  <a:lnTo>
                    <a:pt x="163" y="1001"/>
                  </a:lnTo>
                  <a:lnTo>
                    <a:pt x="166" y="1001"/>
                  </a:lnTo>
                  <a:lnTo>
                    <a:pt x="163" y="1001"/>
                  </a:lnTo>
                  <a:lnTo>
                    <a:pt x="163" y="998"/>
                  </a:lnTo>
                  <a:lnTo>
                    <a:pt x="163" y="1001"/>
                  </a:lnTo>
                  <a:lnTo>
                    <a:pt x="163" y="998"/>
                  </a:lnTo>
                  <a:lnTo>
                    <a:pt x="166" y="998"/>
                  </a:lnTo>
                  <a:lnTo>
                    <a:pt x="168" y="998"/>
                  </a:lnTo>
                  <a:lnTo>
                    <a:pt x="168" y="996"/>
                  </a:lnTo>
                  <a:lnTo>
                    <a:pt x="171" y="998"/>
                  </a:lnTo>
                  <a:lnTo>
                    <a:pt x="171" y="996"/>
                  </a:lnTo>
                  <a:lnTo>
                    <a:pt x="173" y="996"/>
                  </a:lnTo>
                  <a:lnTo>
                    <a:pt x="171" y="996"/>
                  </a:lnTo>
                  <a:lnTo>
                    <a:pt x="168" y="996"/>
                  </a:lnTo>
                  <a:lnTo>
                    <a:pt x="166" y="996"/>
                  </a:lnTo>
                  <a:lnTo>
                    <a:pt x="163" y="996"/>
                  </a:lnTo>
                  <a:lnTo>
                    <a:pt x="166" y="996"/>
                  </a:lnTo>
                  <a:lnTo>
                    <a:pt x="166" y="993"/>
                  </a:lnTo>
                  <a:lnTo>
                    <a:pt x="168" y="993"/>
                  </a:lnTo>
                  <a:lnTo>
                    <a:pt x="166" y="993"/>
                  </a:lnTo>
                  <a:lnTo>
                    <a:pt x="168" y="993"/>
                  </a:lnTo>
                  <a:lnTo>
                    <a:pt x="168" y="991"/>
                  </a:lnTo>
                  <a:lnTo>
                    <a:pt x="171" y="991"/>
                  </a:lnTo>
                  <a:lnTo>
                    <a:pt x="168" y="991"/>
                  </a:lnTo>
                  <a:lnTo>
                    <a:pt x="171" y="991"/>
                  </a:lnTo>
                  <a:lnTo>
                    <a:pt x="173" y="991"/>
                  </a:lnTo>
                  <a:lnTo>
                    <a:pt x="173" y="993"/>
                  </a:lnTo>
                  <a:lnTo>
                    <a:pt x="173" y="991"/>
                  </a:lnTo>
                  <a:lnTo>
                    <a:pt x="173" y="993"/>
                  </a:lnTo>
                  <a:lnTo>
                    <a:pt x="173" y="991"/>
                  </a:lnTo>
                  <a:lnTo>
                    <a:pt x="171" y="993"/>
                  </a:lnTo>
                  <a:lnTo>
                    <a:pt x="168" y="993"/>
                  </a:lnTo>
                  <a:lnTo>
                    <a:pt x="171" y="993"/>
                  </a:lnTo>
                  <a:lnTo>
                    <a:pt x="173" y="993"/>
                  </a:lnTo>
                  <a:lnTo>
                    <a:pt x="173" y="991"/>
                  </a:lnTo>
                  <a:lnTo>
                    <a:pt x="175" y="991"/>
                  </a:lnTo>
                  <a:lnTo>
                    <a:pt x="173" y="991"/>
                  </a:lnTo>
                  <a:lnTo>
                    <a:pt x="175" y="991"/>
                  </a:lnTo>
                  <a:lnTo>
                    <a:pt x="173" y="991"/>
                  </a:lnTo>
                  <a:lnTo>
                    <a:pt x="173" y="989"/>
                  </a:lnTo>
                  <a:lnTo>
                    <a:pt x="175" y="989"/>
                  </a:lnTo>
                  <a:lnTo>
                    <a:pt x="178" y="989"/>
                  </a:lnTo>
                  <a:lnTo>
                    <a:pt x="175" y="991"/>
                  </a:lnTo>
                  <a:lnTo>
                    <a:pt x="178" y="991"/>
                  </a:lnTo>
                  <a:lnTo>
                    <a:pt x="178" y="989"/>
                  </a:lnTo>
                  <a:lnTo>
                    <a:pt x="180" y="989"/>
                  </a:lnTo>
                  <a:lnTo>
                    <a:pt x="182" y="989"/>
                  </a:lnTo>
                  <a:lnTo>
                    <a:pt x="182" y="986"/>
                  </a:lnTo>
                  <a:lnTo>
                    <a:pt x="185" y="986"/>
                  </a:lnTo>
                  <a:lnTo>
                    <a:pt x="185" y="989"/>
                  </a:lnTo>
                  <a:lnTo>
                    <a:pt x="187" y="989"/>
                  </a:lnTo>
                  <a:lnTo>
                    <a:pt x="187" y="986"/>
                  </a:lnTo>
                  <a:lnTo>
                    <a:pt x="185" y="986"/>
                  </a:lnTo>
                  <a:lnTo>
                    <a:pt x="187" y="986"/>
                  </a:lnTo>
                  <a:lnTo>
                    <a:pt x="185" y="986"/>
                  </a:lnTo>
                  <a:lnTo>
                    <a:pt x="182" y="986"/>
                  </a:lnTo>
                  <a:lnTo>
                    <a:pt x="182" y="989"/>
                  </a:lnTo>
                  <a:lnTo>
                    <a:pt x="180" y="989"/>
                  </a:lnTo>
                  <a:lnTo>
                    <a:pt x="180" y="986"/>
                  </a:lnTo>
                  <a:lnTo>
                    <a:pt x="180" y="989"/>
                  </a:lnTo>
                  <a:lnTo>
                    <a:pt x="178" y="989"/>
                  </a:lnTo>
                  <a:lnTo>
                    <a:pt x="180" y="989"/>
                  </a:lnTo>
                  <a:lnTo>
                    <a:pt x="178" y="989"/>
                  </a:lnTo>
                  <a:lnTo>
                    <a:pt x="175" y="989"/>
                  </a:lnTo>
                  <a:lnTo>
                    <a:pt x="178" y="989"/>
                  </a:lnTo>
                  <a:lnTo>
                    <a:pt x="178" y="986"/>
                  </a:lnTo>
                  <a:lnTo>
                    <a:pt x="180" y="986"/>
                  </a:lnTo>
                  <a:lnTo>
                    <a:pt x="182" y="986"/>
                  </a:lnTo>
                  <a:lnTo>
                    <a:pt x="180" y="986"/>
                  </a:lnTo>
                  <a:lnTo>
                    <a:pt x="182" y="986"/>
                  </a:lnTo>
                  <a:lnTo>
                    <a:pt x="182" y="984"/>
                  </a:lnTo>
                  <a:lnTo>
                    <a:pt x="182" y="986"/>
                  </a:lnTo>
                  <a:lnTo>
                    <a:pt x="180" y="986"/>
                  </a:lnTo>
                  <a:lnTo>
                    <a:pt x="182" y="986"/>
                  </a:lnTo>
                  <a:lnTo>
                    <a:pt x="182" y="984"/>
                  </a:lnTo>
                  <a:lnTo>
                    <a:pt x="180" y="986"/>
                  </a:lnTo>
                  <a:lnTo>
                    <a:pt x="180" y="984"/>
                  </a:lnTo>
                  <a:lnTo>
                    <a:pt x="180" y="986"/>
                  </a:lnTo>
                  <a:lnTo>
                    <a:pt x="178" y="986"/>
                  </a:lnTo>
                  <a:lnTo>
                    <a:pt x="178" y="984"/>
                  </a:lnTo>
                  <a:lnTo>
                    <a:pt x="180" y="984"/>
                  </a:lnTo>
                  <a:lnTo>
                    <a:pt x="178" y="984"/>
                  </a:lnTo>
                  <a:lnTo>
                    <a:pt x="180" y="984"/>
                  </a:lnTo>
                  <a:lnTo>
                    <a:pt x="178" y="984"/>
                  </a:lnTo>
                  <a:lnTo>
                    <a:pt x="180" y="984"/>
                  </a:lnTo>
                  <a:lnTo>
                    <a:pt x="178" y="984"/>
                  </a:lnTo>
                  <a:lnTo>
                    <a:pt x="178" y="982"/>
                  </a:lnTo>
                  <a:lnTo>
                    <a:pt x="180" y="982"/>
                  </a:lnTo>
                  <a:lnTo>
                    <a:pt x="180" y="984"/>
                  </a:lnTo>
                  <a:lnTo>
                    <a:pt x="180" y="982"/>
                  </a:lnTo>
                  <a:lnTo>
                    <a:pt x="178" y="982"/>
                  </a:lnTo>
                  <a:lnTo>
                    <a:pt x="180" y="982"/>
                  </a:lnTo>
                  <a:lnTo>
                    <a:pt x="182" y="982"/>
                  </a:lnTo>
                  <a:lnTo>
                    <a:pt x="180" y="982"/>
                  </a:lnTo>
                  <a:lnTo>
                    <a:pt x="180" y="979"/>
                  </a:lnTo>
                  <a:lnTo>
                    <a:pt x="180" y="982"/>
                  </a:lnTo>
                  <a:lnTo>
                    <a:pt x="180" y="979"/>
                  </a:lnTo>
                  <a:lnTo>
                    <a:pt x="180" y="977"/>
                  </a:lnTo>
                  <a:lnTo>
                    <a:pt x="182" y="977"/>
                  </a:lnTo>
                  <a:lnTo>
                    <a:pt x="182" y="979"/>
                  </a:lnTo>
                  <a:lnTo>
                    <a:pt x="185" y="979"/>
                  </a:lnTo>
                  <a:lnTo>
                    <a:pt x="187" y="979"/>
                  </a:lnTo>
                  <a:lnTo>
                    <a:pt x="187" y="977"/>
                  </a:lnTo>
                  <a:lnTo>
                    <a:pt x="185" y="977"/>
                  </a:lnTo>
                  <a:lnTo>
                    <a:pt x="182" y="977"/>
                  </a:lnTo>
                  <a:lnTo>
                    <a:pt x="185" y="974"/>
                  </a:lnTo>
                  <a:lnTo>
                    <a:pt x="187" y="974"/>
                  </a:lnTo>
                  <a:lnTo>
                    <a:pt x="185" y="974"/>
                  </a:lnTo>
                  <a:lnTo>
                    <a:pt x="187" y="974"/>
                  </a:lnTo>
                  <a:lnTo>
                    <a:pt x="185" y="974"/>
                  </a:lnTo>
                  <a:lnTo>
                    <a:pt x="187" y="974"/>
                  </a:lnTo>
                  <a:lnTo>
                    <a:pt x="185" y="974"/>
                  </a:lnTo>
                  <a:lnTo>
                    <a:pt x="185" y="972"/>
                  </a:lnTo>
                  <a:lnTo>
                    <a:pt x="187" y="972"/>
                  </a:lnTo>
                  <a:lnTo>
                    <a:pt x="189" y="972"/>
                  </a:lnTo>
                  <a:lnTo>
                    <a:pt x="187" y="972"/>
                  </a:lnTo>
                  <a:lnTo>
                    <a:pt x="189" y="972"/>
                  </a:lnTo>
                  <a:lnTo>
                    <a:pt x="192" y="972"/>
                  </a:lnTo>
                  <a:lnTo>
                    <a:pt x="189" y="974"/>
                  </a:lnTo>
                  <a:lnTo>
                    <a:pt x="192" y="974"/>
                  </a:lnTo>
                  <a:lnTo>
                    <a:pt x="189" y="974"/>
                  </a:lnTo>
                  <a:lnTo>
                    <a:pt x="192" y="974"/>
                  </a:lnTo>
                  <a:lnTo>
                    <a:pt x="192" y="972"/>
                  </a:lnTo>
                  <a:lnTo>
                    <a:pt x="189" y="972"/>
                  </a:lnTo>
                  <a:lnTo>
                    <a:pt x="187" y="972"/>
                  </a:lnTo>
                  <a:lnTo>
                    <a:pt x="187" y="970"/>
                  </a:lnTo>
                  <a:lnTo>
                    <a:pt x="189" y="970"/>
                  </a:lnTo>
                  <a:lnTo>
                    <a:pt x="189" y="967"/>
                  </a:lnTo>
                  <a:lnTo>
                    <a:pt x="192" y="967"/>
                  </a:lnTo>
                  <a:lnTo>
                    <a:pt x="192" y="970"/>
                  </a:lnTo>
                  <a:lnTo>
                    <a:pt x="192" y="967"/>
                  </a:lnTo>
                  <a:lnTo>
                    <a:pt x="194" y="967"/>
                  </a:lnTo>
                  <a:lnTo>
                    <a:pt x="194" y="965"/>
                  </a:lnTo>
                  <a:lnTo>
                    <a:pt x="197" y="965"/>
                  </a:lnTo>
                  <a:lnTo>
                    <a:pt x="194" y="965"/>
                  </a:lnTo>
                  <a:lnTo>
                    <a:pt x="194" y="963"/>
                  </a:lnTo>
                  <a:lnTo>
                    <a:pt x="194" y="965"/>
                  </a:lnTo>
                  <a:lnTo>
                    <a:pt x="197" y="965"/>
                  </a:lnTo>
                  <a:lnTo>
                    <a:pt x="197" y="963"/>
                  </a:lnTo>
                  <a:lnTo>
                    <a:pt x="199" y="963"/>
                  </a:lnTo>
                  <a:lnTo>
                    <a:pt x="199" y="965"/>
                  </a:lnTo>
                  <a:lnTo>
                    <a:pt x="201" y="965"/>
                  </a:lnTo>
                  <a:lnTo>
                    <a:pt x="201" y="963"/>
                  </a:lnTo>
                  <a:lnTo>
                    <a:pt x="199" y="963"/>
                  </a:lnTo>
                  <a:lnTo>
                    <a:pt x="197" y="963"/>
                  </a:lnTo>
                  <a:lnTo>
                    <a:pt x="199" y="963"/>
                  </a:lnTo>
                  <a:lnTo>
                    <a:pt x="197" y="960"/>
                  </a:lnTo>
                  <a:lnTo>
                    <a:pt x="197" y="963"/>
                  </a:lnTo>
                  <a:lnTo>
                    <a:pt x="194" y="963"/>
                  </a:lnTo>
                  <a:lnTo>
                    <a:pt x="194" y="960"/>
                  </a:lnTo>
                  <a:lnTo>
                    <a:pt x="197" y="960"/>
                  </a:lnTo>
                  <a:lnTo>
                    <a:pt x="199" y="960"/>
                  </a:lnTo>
                  <a:lnTo>
                    <a:pt x="199" y="963"/>
                  </a:lnTo>
                  <a:lnTo>
                    <a:pt x="199" y="960"/>
                  </a:lnTo>
                  <a:lnTo>
                    <a:pt x="197" y="960"/>
                  </a:lnTo>
                  <a:lnTo>
                    <a:pt x="197" y="958"/>
                  </a:lnTo>
                  <a:lnTo>
                    <a:pt x="197" y="960"/>
                  </a:lnTo>
                  <a:lnTo>
                    <a:pt x="199" y="960"/>
                  </a:lnTo>
                  <a:lnTo>
                    <a:pt x="199" y="958"/>
                  </a:lnTo>
                  <a:lnTo>
                    <a:pt x="199" y="960"/>
                  </a:lnTo>
                  <a:lnTo>
                    <a:pt x="201" y="960"/>
                  </a:lnTo>
                  <a:lnTo>
                    <a:pt x="204" y="960"/>
                  </a:lnTo>
                  <a:lnTo>
                    <a:pt x="204" y="963"/>
                  </a:lnTo>
                  <a:lnTo>
                    <a:pt x="206" y="963"/>
                  </a:lnTo>
                  <a:lnTo>
                    <a:pt x="204" y="960"/>
                  </a:lnTo>
                  <a:lnTo>
                    <a:pt x="206" y="960"/>
                  </a:lnTo>
                  <a:lnTo>
                    <a:pt x="204" y="960"/>
                  </a:lnTo>
                  <a:lnTo>
                    <a:pt x="206" y="960"/>
                  </a:lnTo>
                  <a:lnTo>
                    <a:pt x="204" y="960"/>
                  </a:lnTo>
                  <a:lnTo>
                    <a:pt x="204" y="958"/>
                  </a:lnTo>
                  <a:lnTo>
                    <a:pt x="204" y="960"/>
                  </a:lnTo>
                  <a:lnTo>
                    <a:pt x="201" y="960"/>
                  </a:lnTo>
                  <a:lnTo>
                    <a:pt x="201" y="958"/>
                  </a:lnTo>
                  <a:lnTo>
                    <a:pt x="204" y="958"/>
                  </a:lnTo>
                  <a:lnTo>
                    <a:pt x="204" y="955"/>
                  </a:lnTo>
                  <a:lnTo>
                    <a:pt x="206" y="955"/>
                  </a:lnTo>
                  <a:lnTo>
                    <a:pt x="208" y="955"/>
                  </a:lnTo>
                  <a:lnTo>
                    <a:pt x="208" y="958"/>
                  </a:lnTo>
                  <a:lnTo>
                    <a:pt x="208" y="955"/>
                  </a:lnTo>
                  <a:lnTo>
                    <a:pt x="211" y="955"/>
                  </a:lnTo>
                  <a:lnTo>
                    <a:pt x="211" y="953"/>
                  </a:lnTo>
                  <a:lnTo>
                    <a:pt x="208" y="953"/>
                  </a:lnTo>
                  <a:lnTo>
                    <a:pt x="208" y="951"/>
                  </a:lnTo>
                  <a:lnTo>
                    <a:pt x="211" y="951"/>
                  </a:lnTo>
                  <a:lnTo>
                    <a:pt x="213" y="951"/>
                  </a:lnTo>
                  <a:lnTo>
                    <a:pt x="213" y="953"/>
                  </a:lnTo>
                  <a:lnTo>
                    <a:pt x="213" y="951"/>
                  </a:lnTo>
                  <a:lnTo>
                    <a:pt x="216" y="951"/>
                  </a:lnTo>
                  <a:lnTo>
                    <a:pt x="216" y="953"/>
                  </a:lnTo>
                  <a:lnTo>
                    <a:pt x="213" y="953"/>
                  </a:lnTo>
                  <a:lnTo>
                    <a:pt x="216" y="953"/>
                  </a:lnTo>
                  <a:lnTo>
                    <a:pt x="213" y="953"/>
                  </a:lnTo>
                  <a:lnTo>
                    <a:pt x="213" y="955"/>
                  </a:lnTo>
                  <a:lnTo>
                    <a:pt x="216" y="955"/>
                  </a:lnTo>
                  <a:lnTo>
                    <a:pt x="216" y="953"/>
                  </a:lnTo>
                  <a:lnTo>
                    <a:pt x="216" y="955"/>
                  </a:lnTo>
                  <a:lnTo>
                    <a:pt x="218" y="955"/>
                  </a:lnTo>
                  <a:lnTo>
                    <a:pt x="218" y="958"/>
                  </a:lnTo>
                  <a:lnTo>
                    <a:pt x="218" y="960"/>
                  </a:lnTo>
                  <a:lnTo>
                    <a:pt x="218" y="958"/>
                  </a:lnTo>
                  <a:lnTo>
                    <a:pt x="218" y="960"/>
                  </a:lnTo>
                  <a:lnTo>
                    <a:pt x="218" y="958"/>
                  </a:lnTo>
                  <a:lnTo>
                    <a:pt x="220" y="958"/>
                  </a:lnTo>
                  <a:lnTo>
                    <a:pt x="223" y="958"/>
                  </a:lnTo>
                  <a:lnTo>
                    <a:pt x="220" y="958"/>
                  </a:lnTo>
                  <a:lnTo>
                    <a:pt x="220" y="960"/>
                  </a:lnTo>
                  <a:lnTo>
                    <a:pt x="223" y="958"/>
                  </a:lnTo>
                  <a:lnTo>
                    <a:pt x="223" y="960"/>
                  </a:lnTo>
                  <a:lnTo>
                    <a:pt x="223" y="958"/>
                  </a:lnTo>
                  <a:lnTo>
                    <a:pt x="220" y="958"/>
                  </a:lnTo>
                  <a:lnTo>
                    <a:pt x="223" y="958"/>
                  </a:lnTo>
                  <a:lnTo>
                    <a:pt x="223" y="960"/>
                  </a:lnTo>
                  <a:lnTo>
                    <a:pt x="223" y="963"/>
                  </a:lnTo>
                  <a:lnTo>
                    <a:pt x="220" y="963"/>
                  </a:lnTo>
                  <a:lnTo>
                    <a:pt x="220" y="965"/>
                  </a:lnTo>
                  <a:lnTo>
                    <a:pt x="218" y="965"/>
                  </a:lnTo>
                  <a:lnTo>
                    <a:pt x="218" y="967"/>
                  </a:lnTo>
                  <a:lnTo>
                    <a:pt x="220" y="965"/>
                  </a:lnTo>
                  <a:lnTo>
                    <a:pt x="220" y="963"/>
                  </a:lnTo>
                  <a:lnTo>
                    <a:pt x="223" y="963"/>
                  </a:lnTo>
                  <a:lnTo>
                    <a:pt x="223" y="960"/>
                  </a:lnTo>
                  <a:lnTo>
                    <a:pt x="225" y="960"/>
                  </a:lnTo>
                  <a:lnTo>
                    <a:pt x="225" y="963"/>
                  </a:lnTo>
                  <a:lnTo>
                    <a:pt x="225" y="960"/>
                  </a:lnTo>
                  <a:lnTo>
                    <a:pt x="223" y="960"/>
                  </a:lnTo>
                  <a:lnTo>
                    <a:pt x="225" y="960"/>
                  </a:lnTo>
                  <a:lnTo>
                    <a:pt x="225" y="958"/>
                  </a:lnTo>
                  <a:lnTo>
                    <a:pt x="225" y="960"/>
                  </a:lnTo>
                  <a:lnTo>
                    <a:pt x="225" y="958"/>
                  </a:lnTo>
                  <a:lnTo>
                    <a:pt x="225" y="960"/>
                  </a:lnTo>
                  <a:lnTo>
                    <a:pt x="227" y="960"/>
                  </a:lnTo>
                  <a:lnTo>
                    <a:pt x="227" y="958"/>
                  </a:lnTo>
                  <a:lnTo>
                    <a:pt x="230" y="958"/>
                  </a:lnTo>
                  <a:lnTo>
                    <a:pt x="227" y="958"/>
                  </a:lnTo>
                  <a:lnTo>
                    <a:pt x="230" y="958"/>
                  </a:lnTo>
                  <a:lnTo>
                    <a:pt x="232" y="958"/>
                  </a:lnTo>
                  <a:lnTo>
                    <a:pt x="235" y="958"/>
                  </a:lnTo>
                  <a:lnTo>
                    <a:pt x="237" y="958"/>
                  </a:lnTo>
                  <a:lnTo>
                    <a:pt x="237" y="960"/>
                  </a:lnTo>
                  <a:lnTo>
                    <a:pt x="239" y="958"/>
                  </a:lnTo>
                  <a:lnTo>
                    <a:pt x="242" y="958"/>
                  </a:lnTo>
                  <a:lnTo>
                    <a:pt x="242" y="955"/>
                  </a:lnTo>
                  <a:lnTo>
                    <a:pt x="244" y="955"/>
                  </a:lnTo>
                  <a:lnTo>
                    <a:pt x="242" y="955"/>
                  </a:lnTo>
                  <a:lnTo>
                    <a:pt x="242" y="958"/>
                  </a:lnTo>
                  <a:lnTo>
                    <a:pt x="239" y="958"/>
                  </a:lnTo>
                  <a:lnTo>
                    <a:pt x="237" y="958"/>
                  </a:lnTo>
                  <a:lnTo>
                    <a:pt x="235" y="958"/>
                  </a:lnTo>
                  <a:lnTo>
                    <a:pt x="232" y="958"/>
                  </a:lnTo>
                  <a:lnTo>
                    <a:pt x="230" y="958"/>
                  </a:lnTo>
                  <a:lnTo>
                    <a:pt x="227" y="958"/>
                  </a:lnTo>
                  <a:lnTo>
                    <a:pt x="225" y="958"/>
                  </a:lnTo>
                  <a:lnTo>
                    <a:pt x="227" y="958"/>
                  </a:lnTo>
                  <a:lnTo>
                    <a:pt x="225" y="958"/>
                  </a:lnTo>
                  <a:lnTo>
                    <a:pt x="225" y="955"/>
                  </a:lnTo>
                  <a:lnTo>
                    <a:pt x="227" y="955"/>
                  </a:lnTo>
                  <a:lnTo>
                    <a:pt x="225" y="955"/>
                  </a:lnTo>
                  <a:lnTo>
                    <a:pt x="227" y="955"/>
                  </a:lnTo>
                  <a:lnTo>
                    <a:pt x="230" y="955"/>
                  </a:lnTo>
                  <a:lnTo>
                    <a:pt x="230" y="953"/>
                  </a:lnTo>
                  <a:lnTo>
                    <a:pt x="230" y="955"/>
                  </a:lnTo>
                  <a:lnTo>
                    <a:pt x="230" y="953"/>
                  </a:lnTo>
                  <a:lnTo>
                    <a:pt x="227" y="953"/>
                  </a:lnTo>
                  <a:lnTo>
                    <a:pt x="230" y="953"/>
                  </a:lnTo>
                  <a:lnTo>
                    <a:pt x="227" y="953"/>
                  </a:lnTo>
                  <a:lnTo>
                    <a:pt x="225" y="953"/>
                  </a:lnTo>
                  <a:lnTo>
                    <a:pt x="223" y="953"/>
                  </a:lnTo>
                  <a:lnTo>
                    <a:pt x="223" y="951"/>
                  </a:lnTo>
                  <a:lnTo>
                    <a:pt x="225" y="951"/>
                  </a:lnTo>
                  <a:lnTo>
                    <a:pt x="223" y="951"/>
                  </a:lnTo>
                  <a:lnTo>
                    <a:pt x="225" y="951"/>
                  </a:lnTo>
                  <a:lnTo>
                    <a:pt x="223" y="948"/>
                  </a:lnTo>
                  <a:lnTo>
                    <a:pt x="225" y="948"/>
                  </a:lnTo>
                  <a:lnTo>
                    <a:pt x="225" y="951"/>
                  </a:lnTo>
                  <a:lnTo>
                    <a:pt x="225" y="948"/>
                  </a:lnTo>
                  <a:lnTo>
                    <a:pt x="225" y="951"/>
                  </a:lnTo>
                  <a:lnTo>
                    <a:pt x="227" y="951"/>
                  </a:lnTo>
                  <a:lnTo>
                    <a:pt x="227" y="953"/>
                  </a:lnTo>
                  <a:lnTo>
                    <a:pt x="227" y="951"/>
                  </a:lnTo>
                  <a:lnTo>
                    <a:pt x="227" y="953"/>
                  </a:lnTo>
                  <a:lnTo>
                    <a:pt x="230" y="953"/>
                  </a:lnTo>
                  <a:lnTo>
                    <a:pt x="232" y="953"/>
                  </a:lnTo>
                  <a:lnTo>
                    <a:pt x="232" y="951"/>
                  </a:lnTo>
                  <a:lnTo>
                    <a:pt x="235" y="951"/>
                  </a:lnTo>
                  <a:lnTo>
                    <a:pt x="237" y="951"/>
                  </a:lnTo>
                  <a:lnTo>
                    <a:pt x="235" y="951"/>
                  </a:lnTo>
                  <a:lnTo>
                    <a:pt x="232" y="951"/>
                  </a:lnTo>
                  <a:lnTo>
                    <a:pt x="232" y="948"/>
                  </a:lnTo>
                  <a:lnTo>
                    <a:pt x="230" y="948"/>
                  </a:lnTo>
                  <a:lnTo>
                    <a:pt x="230" y="951"/>
                  </a:lnTo>
                  <a:lnTo>
                    <a:pt x="232" y="951"/>
                  </a:lnTo>
                  <a:lnTo>
                    <a:pt x="230" y="951"/>
                  </a:lnTo>
                  <a:lnTo>
                    <a:pt x="230" y="953"/>
                  </a:lnTo>
                  <a:lnTo>
                    <a:pt x="230" y="951"/>
                  </a:lnTo>
                  <a:lnTo>
                    <a:pt x="230" y="953"/>
                  </a:lnTo>
                  <a:lnTo>
                    <a:pt x="227" y="953"/>
                  </a:lnTo>
                  <a:lnTo>
                    <a:pt x="227" y="951"/>
                  </a:lnTo>
                  <a:lnTo>
                    <a:pt x="225" y="951"/>
                  </a:lnTo>
                  <a:lnTo>
                    <a:pt x="225" y="948"/>
                  </a:lnTo>
                  <a:lnTo>
                    <a:pt x="225" y="951"/>
                  </a:lnTo>
                  <a:lnTo>
                    <a:pt x="225" y="948"/>
                  </a:lnTo>
                  <a:lnTo>
                    <a:pt x="225" y="946"/>
                  </a:lnTo>
                  <a:lnTo>
                    <a:pt x="225" y="944"/>
                  </a:lnTo>
                  <a:lnTo>
                    <a:pt x="227" y="944"/>
                  </a:lnTo>
                  <a:lnTo>
                    <a:pt x="230" y="944"/>
                  </a:lnTo>
                  <a:lnTo>
                    <a:pt x="230" y="941"/>
                  </a:lnTo>
                  <a:lnTo>
                    <a:pt x="232" y="941"/>
                  </a:lnTo>
                  <a:lnTo>
                    <a:pt x="232" y="944"/>
                  </a:lnTo>
                  <a:lnTo>
                    <a:pt x="232" y="941"/>
                  </a:lnTo>
                  <a:lnTo>
                    <a:pt x="230" y="941"/>
                  </a:lnTo>
                  <a:lnTo>
                    <a:pt x="232" y="941"/>
                  </a:lnTo>
                  <a:lnTo>
                    <a:pt x="235" y="941"/>
                  </a:lnTo>
                  <a:lnTo>
                    <a:pt x="232" y="941"/>
                  </a:lnTo>
                  <a:lnTo>
                    <a:pt x="235" y="941"/>
                  </a:lnTo>
                  <a:lnTo>
                    <a:pt x="235" y="939"/>
                  </a:lnTo>
                  <a:lnTo>
                    <a:pt x="237" y="939"/>
                  </a:lnTo>
                  <a:lnTo>
                    <a:pt x="237" y="941"/>
                  </a:lnTo>
                  <a:lnTo>
                    <a:pt x="235" y="941"/>
                  </a:lnTo>
                  <a:lnTo>
                    <a:pt x="237" y="941"/>
                  </a:lnTo>
                  <a:lnTo>
                    <a:pt x="239" y="941"/>
                  </a:lnTo>
                  <a:lnTo>
                    <a:pt x="239" y="939"/>
                  </a:lnTo>
                  <a:lnTo>
                    <a:pt x="237" y="939"/>
                  </a:lnTo>
                  <a:lnTo>
                    <a:pt x="235" y="939"/>
                  </a:lnTo>
                  <a:lnTo>
                    <a:pt x="232" y="939"/>
                  </a:lnTo>
                  <a:lnTo>
                    <a:pt x="235" y="936"/>
                  </a:lnTo>
                  <a:lnTo>
                    <a:pt x="237" y="936"/>
                  </a:lnTo>
                  <a:lnTo>
                    <a:pt x="239" y="936"/>
                  </a:lnTo>
                  <a:lnTo>
                    <a:pt x="237" y="936"/>
                  </a:lnTo>
                  <a:lnTo>
                    <a:pt x="239" y="936"/>
                  </a:lnTo>
                  <a:lnTo>
                    <a:pt x="237" y="936"/>
                  </a:lnTo>
                  <a:lnTo>
                    <a:pt x="235" y="936"/>
                  </a:lnTo>
                  <a:lnTo>
                    <a:pt x="232" y="936"/>
                  </a:lnTo>
                  <a:lnTo>
                    <a:pt x="235" y="936"/>
                  </a:lnTo>
                  <a:lnTo>
                    <a:pt x="235" y="934"/>
                  </a:lnTo>
                  <a:lnTo>
                    <a:pt x="237" y="934"/>
                  </a:lnTo>
                  <a:lnTo>
                    <a:pt x="239" y="934"/>
                  </a:lnTo>
                  <a:lnTo>
                    <a:pt x="239" y="932"/>
                  </a:lnTo>
                  <a:lnTo>
                    <a:pt x="239" y="934"/>
                  </a:lnTo>
                  <a:lnTo>
                    <a:pt x="239" y="932"/>
                  </a:lnTo>
                  <a:lnTo>
                    <a:pt x="242" y="932"/>
                  </a:lnTo>
                  <a:lnTo>
                    <a:pt x="244" y="932"/>
                  </a:lnTo>
                  <a:lnTo>
                    <a:pt x="246" y="932"/>
                  </a:lnTo>
                  <a:lnTo>
                    <a:pt x="246" y="929"/>
                  </a:lnTo>
                  <a:lnTo>
                    <a:pt x="249" y="929"/>
                  </a:lnTo>
                  <a:lnTo>
                    <a:pt x="251" y="929"/>
                  </a:lnTo>
                  <a:lnTo>
                    <a:pt x="251" y="932"/>
                  </a:lnTo>
                  <a:lnTo>
                    <a:pt x="254" y="932"/>
                  </a:lnTo>
                  <a:lnTo>
                    <a:pt x="256" y="932"/>
                  </a:lnTo>
                  <a:lnTo>
                    <a:pt x="258" y="932"/>
                  </a:lnTo>
                  <a:lnTo>
                    <a:pt x="258" y="934"/>
                  </a:lnTo>
                  <a:lnTo>
                    <a:pt x="261" y="934"/>
                  </a:lnTo>
                  <a:lnTo>
                    <a:pt x="258" y="934"/>
                  </a:lnTo>
                  <a:lnTo>
                    <a:pt x="258" y="932"/>
                  </a:lnTo>
                  <a:lnTo>
                    <a:pt x="256" y="932"/>
                  </a:lnTo>
                  <a:lnTo>
                    <a:pt x="254" y="932"/>
                  </a:lnTo>
                  <a:lnTo>
                    <a:pt x="251" y="932"/>
                  </a:lnTo>
                  <a:lnTo>
                    <a:pt x="251" y="929"/>
                  </a:lnTo>
                  <a:lnTo>
                    <a:pt x="249" y="929"/>
                  </a:lnTo>
                  <a:lnTo>
                    <a:pt x="246" y="929"/>
                  </a:lnTo>
                  <a:lnTo>
                    <a:pt x="244" y="932"/>
                  </a:lnTo>
                  <a:lnTo>
                    <a:pt x="242" y="932"/>
                  </a:lnTo>
                  <a:lnTo>
                    <a:pt x="239" y="932"/>
                  </a:lnTo>
                  <a:lnTo>
                    <a:pt x="237" y="934"/>
                  </a:lnTo>
                  <a:lnTo>
                    <a:pt x="235" y="934"/>
                  </a:lnTo>
                  <a:lnTo>
                    <a:pt x="232" y="934"/>
                  </a:lnTo>
                  <a:lnTo>
                    <a:pt x="232" y="936"/>
                  </a:lnTo>
                  <a:lnTo>
                    <a:pt x="230" y="939"/>
                  </a:lnTo>
                  <a:lnTo>
                    <a:pt x="227" y="939"/>
                  </a:lnTo>
                  <a:lnTo>
                    <a:pt x="225" y="939"/>
                  </a:lnTo>
                  <a:lnTo>
                    <a:pt x="227" y="939"/>
                  </a:lnTo>
                  <a:lnTo>
                    <a:pt x="227" y="941"/>
                  </a:lnTo>
                  <a:lnTo>
                    <a:pt x="225" y="941"/>
                  </a:lnTo>
                  <a:lnTo>
                    <a:pt x="223" y="941"/>
                  </a:lnTo>
                  <a:lnTo>
                    <a:pt x="220" y="944"/>
                  </a:lnTo>
                  <a:lnTo>
                    <a:pt x="218" y="944"/>
                  </a:lnTo>
                  <a:lnTo>
                    <a:pt x="220" y="944"/>
                  </a:lnTo>
                  <a:lnTo>
                    <a:pt x="220" y="941"/>
                  </a:lnTo>
                  <a:lnTo>
                    <a:pt x="220" y="944"/>
                  </a:lnTo>
                  <a:lnTo>
                    <a:pt x="218" y="944"/>
                  </a:lnTo>
                  <a:lnTo>
                    <a:pt x="218" y="941"/>
                  </a:lnTo>
                  <a:lnTo>
                    <a:pt x="220" y="941"/>
                  </a:lnTo>
                  <a:lnTo>
                    <a:pt x="223" y="941"/>
                  </a:lnTo>
                  <a:lnTo>
                    <a:pt x="225" y="941"/>
                  </a:lnTo>
                  <a:lnTo>
                    <a:pt x="225" y="939"/>
                  </a:lnTo>
                  <a:lnTo>
                    <a:pt x="223" y="939"/>
                  </a:lnTo>
                  <a:lnTo>
                    <a:pt x="220" y="939"/>
                  </a:lnTo>
                  <a:lnTo>
                    <a:pt x="223" y="939"/>
                  </a:lnTo>
                  <a:lnTo>
                    <a:pt x="220" y="939"/>
                  </a:lnTo>
                  <a:lnTo>
                    <a:pt x="220" y="936"/>
                  </a:lnTo>
                  <a:lnTo>
                    <a:pt x="223" y="936"/>
                  </a:lnTo>
                  <a:lnTo>
                    <a:pt x="220" y="936"/>
                  </a:lnTo>
                  <a:lnTo>
                    <a:pt x="220" y="934"/>
                  </a:lnTo>
                  <a:lnTo>
                    <a:pt x="223" y="934"/>
                  </a:lnTo>
                  <a:lnTo>
                    <a:pt x="225" y="934"/>
                  </a:lnTo>
                  <a:lnTo>
                    <a:pt x="225" y="932"/>
                  </a:lnTo>
                  <a:lnTo>
                    <a:pt x="227" y="932"/>
                  </a:lnTo>
                  <a:lnTo>
                    <a:pt x="227" y="934"/>
                  </a:lnTo>
                  <a:lnTo>
                    <a:pt x="230" y="934"/>
                  </a:lnTo>
                  <a:lnTo>
                    <a:pt x="230" y="932"/>
                  </a:lnTo>
                  <a:lnTo>
                    <a:pt x="230" y="934"/>
                  </a:lnTo>
                  <a:lnTo>
                    <a:pt x="232" y="934"/>
                  </a:lnTo>
                  <a:lnTo>
                    <a:pt x="230" y="934"/>
                  </a:lnTo>
                  <a:lnTo>
                    <a:pt x="230" y="932"/>
                  </a:lnTo>
                  <a:lnTo>
                    <a:pt x="232" y="932"/>
                  </a:lnTo>
                  <a:lnTo>
                    <a:pt x="230" y="932"/>
                  </a:lnTo>
                  <a:lnTo>
                    <a:pt x="230" y="934"/>
                  </a:lnTo>
                  <a:lnTo>
                    <a:pt x="230" y="932"/>
                  </a:lnTo>
                  <a:lnTo>
                    <a:pt x="227" y="932"/>
                  </a:lnTo>
                  <a:lnTo>
                    <a:pt x="230" y="929"/>
                  </a:lnTo>
                  <a:lnTo>
                    <a:pt x="230" y="932"/>
                  </a:lnTo>
                  <a:lnTo>
                    <a:pt x="230" y="929"/>
                  </a:lnTo>
                  <a:lnTo>
                    <a:pt x="232" y="929"/>
                  </a:lnTo>
                  <a:lnTo>
                    <a:pt x="232" y="932"/>
                  </a:lnTo>
                  <a:lnTo>
                    <a:pt x="232" y="929"/>
                  </a:lnTo>
                  <a:lnTo>
                    <a:pt x="235" y="929"/>
                  </a:lnTo>
                  <a:lnTo>
                    <a:pt x="237" y="929"/>
                  </a:lnTo>
                  <a:lnTo>
                    <a:pt x="235" y="929"/>
                  </a:lnTo>
                  <a:lnTo>
                    <a:pt x="232" y="929"/>
                  </a:lnTo>
                  <a:lnTo>
                    <a:pt x="232" y="927"/>
                  </a:lnTo>
                  <a:lnTo>
                    <a:pt x="235" y="927"/>
                  </a:lnTo>
                  <a:lnTo>
                    <a:pt x="237" y="927"/>
                  </a:lnTo>
                  <a:lnTo>
                    <a:pt x="237" y="929"/>
                  </a:lnTo>
                  <a:lnTo>
                    <a:pt x="237" y="927"/>
                  </a:lnTo>
                  <a:lnTo>
                    <a:pt x="239" y="927"/>
                  </a:lnTo>
                  <a:lnTo>
                    <a:pt x="239" y="925"/>
                  </a:lnTo>
                  <a:lnTo>
                    <a:pt x="242" y="925"/>
                  </a:lnTo>
                  <a:lnTo>
                    <a:pt x="244" y="925"/>
                  </a:lnTo>
                  <a:lnTo>
                    <a:pt x="242" y="925"/>
                  </a:lnTo>
                  <a:lnTo>
                    <a:pt x="244" y="925"/>
                  </a:lnTo>
                  <a:lnTo>
                    <a:pt x="242" y="925"/>
                  </a:lnTo>
                  <a:lnTo>
                    <a:pt x="239" y="925"/>
                  </a:lnTo>
                  <a:lnTo>
                    <a:pt x="239" y="927"/>
                  </a:lnTo>
                  <a:lnTo>
                    <a:pt x="237" y="927"/>
                  </a:lnTo>
                  <a:lnTo>
                    <a:pt x="237" y="925"/>
                  </a:lnTo>
                  <a:lnTo>
                    <a:pt x="239" y="925"/>
                  </a:lnTo>
                  <a:lnTo>
                    <a:pt x="239" y="922"/>
                  </a:lnTo>
                  <a:lnTo>
                    <a:pt x="242" y="920"/>
                  </a:lnTo>
                  <a:lnTo>
                    <a:pt x="244" y="920"/>
                  </a:lnTo>
                  <a:lnTo>
                    <a:pt x="244" y="917"/>
                  </a:lnTo>
                  <a:lnTo>
                    <a:pt x="246" y="920"/>
                  </a:lnTo>
                  <a:lnTo>
                    <a:pt x="244" y="920"/>
                  </a:lnTo>
                  <a:lnTo>
                    <a:pt x="246" y="920"/>
                  </a:lnTo>
                  <a:lnTo>
                    <a:pt x="244" y="920"/>
                  </a:lnTo>
                  <a:lnTo>
                    <a:pt x="244" y="922"/>
                  </a:lnTo>
                  <a:lnTo>
                    <a:pt x="246" y="922"/>
                  </a:lnTo>
                  <a:lnTo>
                    <a:pt x="244" y="922"/>
                  </a:lnTo>
                  <a:lnTo>
                    <a:pt x="246" y="922"/>
                  </a:lnTo>
                  <a:lnTo>
                    <a:pt x="246" y="925"/>
                  </a:lnTo>
                  <a:lnTo>
                    <a:pt x="246" y="922"/>
                  </a:lnTo>
                  <a:lnTo>
                    <a:pt x="246" y="920"/>
                  </a:lnTo>
                  <a:lnTo>
                    <a:pt x="246" y="922"/>
                  </a:lnTo>
                  <a:lnTo>
                    <a:pt x="249" y="922"/>
                  </a:lnTo>
                  <a:lnTo>
                    <a:pt x="249" y="920"/>
                  </a:lnTo>
                  <a:lnTo>
                    <a:pt x="251" y="920"/>
                  </a:lnTo>
                  <a:lnTo>
                    <a:pt x="249" y="920"/>
                  </a:lnTo>
                  <a:lnTo>
                    <a:pt x="249" y="917"/>
                  </a:lnTo>
                  <a:lnTo>
                    <a:pt x="251" y="915"/>
                  </a:lnTo>
                  <a:lnTo>
                    <a:pt x="254" y="917"/>
                  </a:lnTo>
                  <a:lnTo>
                    <a:pt x="254" y="920"/>
                  </a:lnTo>
                  <a:lnTo>
                    <a:pt x="254" y="922"/>
                  </a:lnTo>
                  <a:lnTo>
                    <a:pt x="251" y="922"/>
                  </a:lnTo>
                  <a:lnTo>
                    <a:pt x="254" y="922"/>
                  </a:lnTo>
                  <a:lnTo>
                    <a:pt x="256" y="922"/>
                  </a:lnTo>
                  <a:lnTo>
                    <a:pt x="254" y="922"/>
                  </a:lnTo>
                  <a:lnTo>
                    <a:pt x="254" y="925"/>
                  </a:lnTo>
                  <a:lnTo>
                    <a:pt x="251" y="925"/>
                  </a:lnTo>
                  <a:lnTo>
                    <a:pt x="249" y="925"/>
                  </a:lnTo>
                  <a:lnTo>
                    <a:pt x="246" y="925"/>
                  </a:lnTo>
                  <a:lnTo>
                    <a:pt x="244" y="925"/>
                  </a:lnTo>
                  <a:lnTo>
                    <a:pt x="246" y="925"/>
                  </a:lnTo>
                  <a:lnTo>
                    <a:pt x="249" y="925"/>
                  </a:lnTo>
                  <a:lnTo>
                    <a:pt x="251" y="925"/>
                  </a:lnTo>
                  <a:lnTo>
                    <a:pt x="249" y="925"/>
                  </a:lnTo>
                  <a:lnTo>
                    <a:pt x="251" y="925"/>
                  </a:lnTo>
                  <a:lnTo>
                    <a:pt x="254" y="925"/>
                  </a:lnTo>
                  <a:lnTo>
                    <a:pt x="256" y="925"/>
                  </a:lnTo>
                  <a:lnTo>
                    <a:pt x="256" y="922"/>
                  </a:lnTo>
                  <a:lnTo>
                    <a:pt x="258" y="922"/>
                  </a:lnTo>
                  <a:lnTo>
                    <a:pt x="258" y="925"/>
                  </a:lnTo>
                  <a:lnTo>
                    <a:pt x="258" y="922"/>
                  </a:lnTo>
                  <a:lnTo>
                    <a:pt x="261" y="922"/>
                  </a:lnTo>
                  <a:lnTo>
                    <a:pt x="261" y="925"/>
                  </a:lnTo>
                  <a:lnTo>
                    <a:pt x="261" y="922"/>
                  </a:lnTo>
                  <a:lnTo>
                    <a:pt x="258" y="922"/>
                  </a:lnTo>
                  <a:lnTo>
                    <a:pt x="261" y="922"/>
                  </a:lnTo>
                  <a:lnTo>
                    <a:pt x="261" y="920"/>
                  </a:lnTo>
                  <a:lnTo>
                    <a:pt x="261" y="922"/>
                  </a:lnTo>
                  <a:lnTo>
                    <a:pt x="263" y="920"/>
                  </a:lnTo>
                  <a:lnTo>
                    <a:pt x="265" y="920"/>
                  </a:lnTo>
                  <a:lnTo>
                    <a:pt x="265" y="917"/>
                  </a:lnTo>
                  <a:lnTo>
                    <a:pt x="268" y="917"/>
                  </a:lnTo>
                  <a:lnTo>
                    <a:pt x="270" y="917"/>
                  </a:lnTo>
                  <a:lnTo>
                    <a:pt x="270" y="915"/>
                  </a:lnTo>
                  <a:lnTo>
                    <a:pt x="273" y="915"/>
                  </a:lnTo>
                  <a:lnTo>
                    <a:pt x="273" y="913"/>
                  </a:lnTo>
                  <a:lnTo>
                    <a:pt x="275" y="913"/>
                  </a:lnTo>
                  <a:lnTo>
                    <a:pt x="275" y="910"/>
                  </a:lnTo>
                  <a:lnTo>
                    <a:pt x="277" y="910"/>
                  </a:lnTo>
                  <a:lnTo>
                    <a:pt x="275" y="910"/>
                  </a:lnTo>
                  <a:lnTo>
                    <a:pt x="275" y="908"/>
                  </a:lnTo>
                  <a:lnTo>
                    <a:pt x="275" y="910"/>
                  </a:lnTo>
                  <a:lnTo>
                    <a:pt x="273" y="910"/>
                  </a:lnTo>
                  <a:lnTo>
                    <a:pt x="273" y="913"/>
                  </a:lnTo>
                  <a:lnTo>
                    <a:pt x="270" y="913"/>
                  </a:lnTo>
                  <a:lnTo>
                    <a:pt x="270" y="915"/>
                  </a:lnTo>
                  <a:lnTo>
                    <a:pt x="268" y="915"/>
                  </a:lnTo>
                  <a:lnTo>
                    <a:pt x="268" y="917"/>
                  </a:lnTo>
                  <a:lnTo>
                    <a:pt x="265" y="917"/>
                  </a:lnTo>
                  <a:lnTo>
                    <a:pt x="263" y="917"/>
                  </a:lnTo>
                  <a:lnTo>
                    <a:pt x="263" y="920"/>
                  </a:lnTo>
                  <a:lnTo>
                    <a:pt x="261" y="920"/>
                  </a:lnTo>
                  <a:lnTo>
                    <a:pt x="258" y="920"/>
                  </a:lnTo>
                  <a:lnTo>
                    <a:pt x="256" y="920"/>
                  </a:lnTo>
                  <a:lnTo>
                    <a:pt x="256" y="917"/>
                  </a:lnTo>
                  <a:lnTo>
                    <a:pt x="258" y="917"/>
                  </a:lnTo>
                  <a:lnTo>
                    <a:pt x="261" y="917"/>
                  </a:lnTo>
                  <a:lnTo>
                    <a:pt x="261" y="915"/>
                  </a:lnTo>
                  <a:lnTo>
                    <a:pt x="258" y="915"/>
                  </a:lnTo>
                  <a:lnTo>
                    <a:pt x="256" y="915"/>
                  </a:lnTo>
                  <a:lnTo>
                    <a:pt x="258" y="915"/>
                  </a:lnTo>
                  <a:lnTo>
                    <a:pt x="258" y="913"/>
                  </a:lnTo>
                  <a:lnTo>
                    <a:pt x="261" y="913"/>
                  </a:lnTo>
                  <a:lnTo>
                    <a:pt x="258" y="913"/>
                  </a:lnTo>
                  <a:lnTo>
                    <a:pt x="256" y="913"/>
                  </a:lnTo>
                  <a:lnTo>
                    <a:pt x="258" y="913"/>
                  </a:lnTo>
                  <a:lnTo>
                    <a:pt x="256" y="913"/>
                  </a:lnTo>
                  <a:lnTo>
                    <a:pt x="254" y="913"/>
                  </a:lnTo>
                  <a:lnTo>
                    <a:pt x="256" y="913"/>
                  </a:lnTo>
                  <a:lnTo>
                    <a:pt x="254" y="913"/>
                  </a:lnTo>
                  <a:lnTo>
                    <a:pt x="254" y="915"/>
                  </a:lnTo>
                  <a:lnTo>
                    <a:pt x="254" y="913"/>
                  </a:lnTo>
                  <a:lnTo>
                    <a:pt x="256" y="913"/>
                  </a:lnTo>
                  <a:lnTo>
                    <a:pt x="256" y="910"/>
                  </a:lnTo>
                  <a:lnTo>
                    <a:pt x="258" y="910"/>
                  </a:lnTo>
                  <a:lnTo>
                    <a:pt x="261" y="910"/>
                  </a:lnTo>
                  <a:lnTo>
                    <a:pt x="261" y="908"/>
                  </a:lnTo>
                  <a:lnTo>
                    <a:pt x="258" y="910"/>
                  </a:lnTo>
                  <a:lnTo>
                    <a:pt x="258" y="908"/>
                  </a:lnTo>
                  <a:lnTo>
                    <a:pt x="261" y="908"/>
                  </a:lnTo>
                  <a:lnTo>
                    <a:pt x="258" y="908"/>
                  </a:lnTo>
                  <a:lnTo>
                    <a:pt x="261" y="908"/>
                  </a:lnTo>
                  <a:lnTo>
                    <a:pt x="258" y="908"/>
                  </a:lnTo>
                  <a:lnTo>
                    <a:pt x="256" y="908"/>
                  </a:lnTo>
                  <a:lnTo>
                    <a:pt x="256" y="910"/>
                  </a:lnTo>
                  <a:lnTo>
                    <a:pt x="254" y="910"/>
                  </a:lnTo>
                  <a:lnTo>
                    <a:pt x="251" y="910"/>
                  </a:lnTo>
                  <a:lnTo>
                    <a:pt x="254" y="910"/>
                  </a:lnTo>
                  <a:lnTo>
                    <a:pt x="254" y="913"/>
                  </a:lnTo>
                  <a:lnTo>
                    <a:pt x="251" y="913"/>
                  </a:lnTo>
                  <a:lnTo>
                    <a:pt x="251" y="915"/>
                  </a:lnTo>
                  <a:lnTo>
                    <a:pt x="249" y="915"/>
                  </a:lnTo>
                  <a:lnTo>
                    <a:pt x="246" y="915"/>
                  </a:lnTo>
                  <a:lnTo>
                    <a:pt x="249" y="915"/>
                  </a:lnTo>
                  <a:lnTo>
                    <a:pt x="246" y="915"/>
                  </a:lnTo>
                  <a:lnTo>
                    <a:pt x="249" y="915"/>
                  </a:lnTo>
                  <a:lnTo>
                    <a:pt x="249" y="913"/>
                  </a:lnTo>
                  <a:lnTo>
                    <a:pt x="249" y="910"/>
                  </a:lnTo>
                  <a:lnTo>
                    <a:pt x="246" y="910"/>
                  </a:lnTo>
                  <a:lnTo>
                    <a:pt x="249" y="910"/>
                  </a:lnTo>
                  <a:lnTo>
                    <a:pt x="246" y="910"/>
                  </a:lnTo>
                  <a:lnTo>
                    <a:pt x="249" y="910"/>
                  </a:lnTo>
                  <a:lnTo>
                    <a:pt x="249" y="908"/>
                  </a:lnTo>
                  <a:lnTo>
                    <a:pt x="251" y="908"/>
                  </a:lnTo>
                  <a:lnTo>
                    <a:pt x="251" y="906"/>
                  </a:lnTo>
                  <a:lnTo>
                    <a:pt x="251" y="908"/>
                  </a:lnTo>
                  <a:lnTo>
                    <a:pt x="251" y="906"/>
                  </a:lnTo>
                  <a:lnTo>
                    <a:pt x="254" y="906"/>
                  </a:lnTo>
                  <a:lnTo>
                    <a:pt x="251" y="908"/>
                  </a:lnTo>
                  <a:lnTo>
                    <a:pt x="254" y="908"/>
                  </a:lnTo>
                  <a:lnTo>
                    <a:pt x="254" y="906"/>
                  </a:lnTo>
                  <a:lnTo>
                    <a:pt x="251" y="906"/>
                  </a:lnTo>
                  <a:lnTo>
                    <a:pt x="249" y="906"/>
                  </a:lnTo>
                  <a:lnTo>
                    <a:pt x="251" y="906"/>
                  </a:lnTo>
                  <a:lnTo>
                    <a:pt x="251" y="903"/>
                  </a:lnTo>
                  <a:lnTo>
                    <a:pt x="254" y="903"/>
                  </a:lnTo>
                  <a:lnTo>
                    <a:pt x="256" y="903"/>
                  </a:lnTo>
                  <a:lnTo>
                    <a:pt x="256" y="901"/>
                  </a:lnTo>
                  <a:lnTo>
                    <a:pt x="254" y="901"/>
                  </a:lnTo>
                  <a:lnTo>
                    <a:pt x="256" y="901"/>
                  </a:lnTo>
                  <a:lnTo>
                    <a:pt x="254" y="901"/>
                  </a:lnTo>
                  <a:lnTo>
                    <a:pt x="256" y="901"/>
                  </a:lnTo>
                  <a:lnTo>
                    <a:pt x="254" y="901"/>
                  </a:lnTo>
                  <a:lnTo>
                    <a:pt x="254" y="898"/>
                  </a:lnTo>
                  <a:lnTo>
                    <a:pt x="254" y="901"/>
                  </a:lnTo>
                  <a:lnTo>
                    <a:pt x="251" y="901"/>
                  </a:lnTo>
                  <a:lnTo>
                    <a:pt x="251" y="903"/>
                  </a:lnTo>
                  <a:lnTo>
                    <a:pt x="251" y="901"/>
                  </a:lnTo>
                  <a:lnTo>
                    <a:pt x="251" y="903"/>
                  </a:lnTo>
                  <a:lnTo>
                    <a:pt x="251" y="901"/>
                  </a:lnTo>
                  <a:lnTo>
                    <a:pt x="254" y="901"/>
                  </a:lnTo>
                  <a:lnTo>
                    <a:pt x="251" y="898"/>
                  </a:lnTo>
                  <a:lnTo>
                    <a:pt x="254" y="898"/>
                  </a:lnTo>
                  <a:lnTo>
                    <a:pt x="254" y="896"/>
                  </a:lnTo>
                  <a:lnTo>
                    <a:pt x="254" y="898"/>
                  </a:lnTo>
                  <a:lnTo>
                    <a:pt x="254" y="896"/>
                  </a:lnTo>
                  <a:lnTo>
                    <a:pt x="251" y="896"/>
                  </a:lnTo>
                  <a:lnTo>
                    <a:pt x="254" y="896"/>
                  </a:lnTo>
                  <a:lnTo>
                    <a:pt x="251" y="896"/>
                  </a:lnTo>
                  <a:lnTo>
                    <a:pt x="254" y="896"/>
                  </a:lnTo>
                  <a:lnTo>
                    <a:pt x="254" y="894"/>
                  </a:lnTo>
                  <a:lnTo>
                    <a:pt x="254" y="896"/>
                  </a:lnTo>
                  <a:lnTo>
                    <a:pt x="256" y="896"/>
                  </a:lnTo>
                  <a:lnTo>
                    <a:pt x="256" y="898"/>
                  </a:lnTo>
                  <a:lnTo>
                    <a:pt x="258" y="898"/>
                  </a:lnTo>
                  <a:lnTo>
                    <a:pt x="258" y="901"/>
                  </a:lnTo>
                  <a:lnTo>
                    <a:pt x="261" y="901"/>
                  </a:lnTo>
                  <a:lnTo>
                    <a:pt x="258" y="903"/>
                  </a:lnTo>
                  <a:lnTo>
                    <a:pt x="258" y="906"/>
                  </a:lnTo>
                  <a:lnTo>
                    <a:pt x="258" y="903"/>
                  </a:lnTo>
                  <a:lnTo>
                    <a:pt x="261" y="903"/>
                  </a:lnTo>
                  <a:lnTo>
                    <a:pt x="261" y="906"/>
                  </a:lnTo>
                  <a:lnTo>
                    <a:pt x="261" y="903"/>
                  </a:lnTo>
                  <a:lnTo>
                    <a:pt x="261" y="901"/>
                  </a:lnTo>
                  <a:lnTo>
                    <a:pt x="261" y="903"/>
                  </a:lnTo>
                  <a:lnTo>
                    <a:pt x="261" y="901"/>
                  </a:lnTo>
                  <a:lnTo>
                    <a:pt x="261" y="903"/>
                  </a:lnTo>
                  <a:lnTo>
                    <a:pt x="261" y="901"/>
                  </a:lnTo>
                  <a:lnTo>
                    <a:pt x="261" y="903"/>
                  </a:lnTo>
                  <a:lnTo>
                    <a:pt x="263" y="903"/>
                  </a:lnTo>
                  <a:lnTo>
                    <a:pt x="261" y="903"/>
                  </a:lnTo>
                  <a:lnTo>
                    <a:pt x="263" y="903"/>
                  </a:lnTo>
                  <a:lnTo>
                    <a:pt x="263" y="906"/>
                  </a:lnTo>
                  <a:lnTo>
                    <a:pt x="263" y="903"/>
                  </a:lnTo>
                  <a:lnTo>
                    <a:pt x="265" y="903"/>
                  </a:lnTo>
                  <a:lnTo>
                    <a:pt x="265" y="906"/>
                  </a:lnTo>
                  <a:lnTo>
                    <a:pt x="268" y="906"/>
                  </a:lnTo>
                  <a:lnTo>
                    <a:pt x="268" y="908"/>
                  </a:lnTo>
                  <a:lnTo>
                    <a:pt x="268" y="906"/>
                  </a:lnTo>
                  <a:lnTo>
                    <a:pt x="265" y="906"/>
                  </a:lnTo>
                  <a:lnTo>
                    <a:pt x="265" y="903"/>
                  </a:lnTo>
                  <a:lnTo>
                    <a:pt x="268" y="903"/>
                  </a:lnTo>
                  <a:lnTo>
                    <a:pt x="270" y="901"/>
                  </a:lnTo>
                  <a:lnTo>
                    <a:pt x="270" y="903"/>
                  </a:lnTo>
                  <a:lnTo>
                    <a:pt x="270" y="901"/>
                  </a:lnTo>
                  <a:lnTo>
                    <a:pt x="270" y="903"/>
                  </a:lnTo>
                  <a:lnTo>
                    <a:pt x="270" y="901"/>
                  </a:lnTo>
                  <a:lnTo>
                    <a:pt x="268" y="901"/>
                  </a:lnTo>
                  <a:lnTo>
                    <a:pt x="265" y="901"/>
                  </a:lnTo>
                  <a:lnTo>
                    <a:pt x="265" y="903"/>
                  </a:lnTo>
                  <a:lnTo>
                    <a:pt x="265" y="901"/>
                  </a:lnTo>
                  <a:lnTo>
                    <a:pt x="263" y="901"/>
                  </a:lnTo>
                  <a:lnTo>
                    <a:pt x="263" y="898"/>
                  </a:lnTo>
                  <a:lnTo>
                    <a:pt x="265" y="898"/>
                  </a:lnTo>
                  <a:lnTo>
                    <a:pt x="263" y="898"/>
                  </a:lnTo>
                  <a:lnTo>
                    <a:pt x="263" y="896"/>
                  </a:lnTo>
                  <a:lnTo>
                    <a:pt x="263" y="894"/>
                  </a:lnTo>
                  <a:lnTo>
                    <a:pt x="263" y="896"/>
                  </a:lnTo>
                  <a:lnTo>
                    <a:pt x="263" y="898"/>
                  </a:lnTo>
                  <a:lnTo>
                    <a:pt x="261" y="898"/>
                  </a:lnTo>
                  <a:lnTo>
                    <a:pt x="261" y="896"/>
                  </a:lnTo>
                  <a:lnTo>
                    <a:pt x="263" y="896"/>
                  </a:lnTo>
                  <a:lnTo>
                    <a:pt x="261" y="896"/>
                  </a:lnTo>
                  <a:lnTo>
                    <a:pt x="261" y="898"/>
                  </a:lnTo>
                  <a:lnTo>
                    <a:pt x="258" y="898"/>
                  </a:lnTo>
                  <a:lnTo>
                    <a:pt x="258" y="896"/>
                  </a:lnTo>
                  <a:lnTo>
                    <a:pt x="258" y="894"/>
                  </a:lnTo>
                  <a:lnTo>
                    <a:pt x="258" y="896"/>
                  </a:lnTo>
                  <a:lnTo>
                    <a:pt x="256" y="896"/>
                  </a:lnTo>
                  <a:lnTo>
                    <a:pt x="256" y="894"/>
                  </a:lnTo>
                  <a:lnTo>
                    <a:pt x="256" y="891"/>
                  </a:lnTo>
                  <a:lnTo>
                    <a:pt x="258" y="891"/>
                  </a:lnTo>
                  <a:lnTo>
                    <a:pt x="258" y="889"/>
                  </a:lnTo>
                  <a:lnTo>
                    <a:pt x="261" y="887"/>
                  </a:lnTo>
                  <a:lnTo>
                    <a:pt x="263" y="887"/>
                  </a:lnTo>
                  <a:lnTo>
                    <a:pt x="263" y="889"/>
                  </a:lnTo>
                  <a:lnTo>
                    <a:pt x="265" y="889"/>
                  </a:lnTo>
                  <a:lnTo>
                    <a:pt x="265" y="891"/>
                  </a:lnTo>
                  <a:lnTo>
                    <a:pt x="265" y="889"/>
                  </a:lnTo>
                  <a:lnTo>
                    <a:pt x="265" y="891"/>
                  </a:lnTo>
                  <a:lnTo>
                    <a:pt x="265" y="889"/>
                  </a:lnTo>
                  <a:lnTo>
                    <a:pt x="265" y="891"/>
                  </a:lnTo>
                  <a:lnTo>
                    <a:pt x="268" y="891"/>
                  </a:lnTo>
                  <a:lnTo>
                    <a:pt x="270" y="891"/>
                  </a:lnTo>
                  <a:lnTo>
                    <a:pt x="268" y="891"/>
                  </a:lnTo>
                  <a:lnTo>
                    <a:pt x="265" y="891"/>
                  </a:lnTo>
                  <a:lnTo>
                    <a:pt x="265" y="889"/>
                  </a:lnTo>
                  <a:lnTo>
                    <a:pt x="268" y="889"/>
                  </a:lnTo>
                  <a:lnTo>
                    <a:pt x="265" y="889"/>
                  </a:lnTo>
                  <a:lnTo>
                    <a:pt x="265" y="887"/>
                  </a:lnTo>
                  <a:lnTo>
                    <a:pt x="265" y="889"/>
                  </a:lnTo>
                  <a:lnTo>
                    <a:pt x="265" y="887"/>
                  </a:lnTo>
                  <a:lnTo>
                    <a:pt x="263" y="887"/>
                  </a:lnTo>
                  <a:lnTo>
                    <a:pt x="263" y="884"/>
                  </a:lnTo>
                  <a:lnTo>
                    <a:pt x="265" y="884"/>
                  </a:lnTo>
                  <a:lnTo>
                    <a:pt x="265" y="882"/>
                  </a:lnTo>
                  <a:lnTo>
                    <a:pt x="268" y="882"/>
                  </a:lnTo>
                  <a:lnTo>
                    <a:pt x="268" y="884"/>
                  </a:lnTo>
                  <a:lnTo>
                    <a:pt x="268" y="882"/>
                  </a:lnTo>
                  <a:lnTo>
                    <a:pt x="268" y="879"/>
                  </a:lnTo>
                  <a:lnTo>
                    <a:pt x="268" y="882"/>
                  </a:lnTo>
                  <a:lnTo>
                    <a:pt x="265" y="882"/>
                  </a:lnTo>
                  <a:lnTo>
                    <a:pt x="265" y="879"/>
                  </a:lnTo>
                  <a:lnTo>
                    <a:pt x="265" y="877"/>
                  </a:lnTo>
                  <a:lnTo>
                    <a:pt x="265" y="875"/>
                  </a:lnTo>
                  <a:lnTo>
                    <a:pt x="268" y="875"/>
                  </a:lnTo>
                  <a:lnTo>
                    <a:pt x="270" y="875"/>
                  </a:lnTo>
                  <a:lnTo>
                    <a:pt x="270" y="872"/>
                  </a:lnTo>
                  <a:lnTo>
                    <a:pt x="273" y="872"/>
                  </a:lnTo>
                  <a:lnTo>
                    <a:pt x="273" y="875"/>
                  </a:lnTo>
                  <a:lnTo>
                    <a:pt x="275" y="875"/>
                  </a:lnTo>
                  <a:lnTo>
                    <a:pt x="277" y="875"/>
                  </a:lnTo>
                  <a:lnTo>
                    <a:pt x="280" y="875"/>
                  </a:lnTo>
                  <a:lnTo>
                    <a:pt x="280" y="877"/>
                  </a:lnTo>
                  <a:lnTo>
                    <a:pt x="282" y="877"/>
                  </a:lnTo>
                  <a:lnTo>
                    <a:pt x="282" y="879"/>
                  </a:lnTo>
                  <a:lnTo>
                    <a:pt x="284" y="879"/>
                  </a:lnTo>
                  <a:lnTo>
                    <a:pt x="284" y="882"/>
                  </a:lnTo>
                  <a:lnTo>
                    <a:pt x="284" y="884"/>
                  </a:lnTo>
                  <a:lnTo>
                    <a:pt x="284" y="882"/>
                  </a:lnTo>
                  <a:lnTo>
                    <a:pt x="284" y="879"/>
                  </a:lnTo>
                  <a:lnTo>
                    <a:pt x="282" y="879"/>
                  </a:lnTo>
                  <a:lnTo>
                    <a:pt x="282" y="877"/>
                  </a:lnTo>
                  <a:lnTo>
                    <a:pt x="282" y="875"/>
                  </a:lnTo>
                  <a:lnTo>
                    <a:pt x="280" y="875"/>
                  </a:lnTo>
                  <a:lnTo>
                    <a:pt x="277" y="875"/>
                  </a:lnTo>
                  <a:lnTo>
                    <a:pt x="277" y="872"/>
                  </a:lnTo>
                  <a:lnTo>
                    <a:pt x="275" y="872"/>
                  </a:lnTo>
                  <a:lnTo>
                    <a:pt x="275" y="870"/>
                  </a:lnTo>
                  <a:lnTo>
                    <a:pt x="275" y="867"/>
                  </a:lnTo>
                  <a:lnTo>
                    <a:pt x="277" y="867"/>
                  </a:lnTo>
                  <a:lnTo>
                    <a:pt x="280" y="867"/>
                  </a:lnTo>
                  <a:lnTo>
                    <a:pt x="277" y="867"/>
                  </a:lnTo>
                  <a:lnTo>
                    <a:pt x="275" y="867"/>
                  </a:lnTo>
                  <a:lnTo>
                    <a:pt x="273" y="867"/>
                  </a:lnTo>
                  <a:lnTo>
                    <a:pt x="270" y="867"/>
                  </a:lnTo>
                  <a:lnTo>
                    <a:pt x="268" y="870"/>
                  </a:lnTo>
                  <a:lnTo>
                    <a:pt x="265" y="870"/>
                  </a:lnTo>
                  <a:lnTo>
                    <a:pt x="268" y="870"/>
                  </a:lnTo>
                  <a:lnTo>
                    <a:pt x="265" y="870"/>
                  </a:lnTo>
                  <a:lnTo>
                    <a:pt x="268" y="870"/>
                  </a:lnTo>
                  <a:lnTo>
                    <a:pt x="268" y="867"/>
                  </a:lnTo>
                  <a:lnTo>
                    <a:pt x="273" y="867"/>
                  </a:lnTo>
                  <a:lnTo>
                    <a:pt x="270" y="867"/>
                  </a:lnTo>
                  <a:lnTo>
                    <a:pt x="268" y="867"/>
                  </a:lnTo>
                  <a:lnTo>
                    <a:pt x="265" y="870"/>
                  </a:lnTo>
                  <a:lnTo>
                    <a:pt x="268" y="870"/>
                  </a:lnTo>
                  <a:lnTo>
                    <a:pt x="268" y="867"/>
                  </a:lnTo>
                  <a:lnTo>
                    <a:pt x="270" y="867"/>
                  </a:lnTo>
                  <a:lnTo>
                    <a:pt x="268" y="867"/>
                  </a:lnTo>
                  <a:lnTo>
                    <a:pt x="268" y="865"/>
                  </a:lnTo>
                  <a:lnTo>
                    <a:pt x="270" y="865"/>
                  </a:lnTo>
                  <a:lnTo>
                    <a:pt x="273" y="865"/>
                  </a:lnTo>
                  <a:lnTo>
                    <a:pt x="273" y="863"/>
                  </a:lnTo>
                  <a:lnTo>
                    <a:pt x="275" y="863"/>
                  </a:lnTo>
                  <a:lnTo>
                    <a:pt x="277" y="863"/>
                  </a:lnTo>
                  <a:lnTo>
                    <a:pt x="280" y="863"/>
                  </a:lnTo>
                  <a:lnTo>
                    <a:pt x="282" y="863"/>
                  </a:lnTo>
                  <a:lnTo>
                    <a:pt x="282" y="860"/>
                  </a:lnTo>
                  <a:lnTo>
                    <a:pt x="284" y="860"/>
                  </a:lnTo>
                  <a:lnTo>
                    <a:pt x="287" y="860"/>
                  </a:lnTo>
                  <a:lnTo>
                    <a:pt x="287" y="858"/>
                  </a:lnTo>
                  <a:lnTo>
                    <a:pt x="289" y="858"/>
                  </a:lnTo>
                  <a:lnTo>
                    <a:pt x="292" y="858"/>
                  </a:lnTo>
                  <a:lnTo>
                    <a:pt x="294" y="858"/>
                  </a:lnTo>
                  <a:lnTo>
                    <a:pt x="296" y="858"/>
                  </a:lnTo>
                  <a:lnTo>
                    <a:pt x="296" y="860"/>
                  </a:lnTo>
                  <a:lnTo>
                    <a:pt x="294" y="860"/>
                  </a:lnTo>
                  <a:lnTo>
                    <a:pt x="296" y="860"/>
                  </a:lnTo>
                  <a:lnTo>
                    <a:pt x="299" y="860"/>
                  </a:lnTo>
                  <a:lnTo>
                    <a:pt x="296" y="860"/>
                  </a:lnTo>
                  <a:lnTo>
                    <a:pt x="296" y="863"/>
                  </a:lnTo>
                  <a:lnTo>
                    <a:pt x="296" y="865"/>
                  </a:lnTo>
                  <a:lnTo>
                    <a:pt x="296" y="863"/>
                  </a:lnTo>
                  <a:lnTo>
                    <a:pt x="299" y="863"/>
                  </a:lnTo>
                  <a:lnTo>
                    <a:pt x="301" y="863"/>
                  </a:lnTo>
                  <a:lnTo>
                    <a:pt x="303" y="860"/>
                  </a:lnTo>
                  <a:lnTo>
                    <a:pt x="303" y="863"/>
                  </a:lnTo>
                  <a:lnTo>
                    <a:pt x="303" y="865"/>
                  </a:lnTo>
                  <a:lnTo>
                    <a:pt x="303" y="863"/>
                  </a:lnTo>
                  <a:lnTo>
                    <a:pt x="306" y="863"/>
                  </a:lnTo>
                  <a:lnTo>
                    <a:pt x="303" y="860"/>
                  </a:lnTo>
                  <a:lnTo>
                    <a:pt x="301" y="860"/>
                  </a:lnTo>
                  <a:lnTo>
                    <a:pt x="299" y="860"/>
                  </a:lnTo>
                  <a:lnTo>
                    <a:pt x="299" y="858"/>
                  </a:lnTo>
                  <a:lnTo>
                    <a:pt x="296" y="858"/>
                  </a:lnTo>
                  <a:lnTo>
                    <a:pt x="299" y="858"/>
                  </a:lnTo>
                  <a:lnTo>
                    <a:pt x="301" y="858"/>
                  </a:lnTo>
                  <a:lnTo>
                    <a:pt x="303" y="858"/>
                  </a:lnTo>
                  <a:lnTo>
                    <a:pt x="306" y="858"/>
                  </a:lnTo>
                  <a:lnTo>
                    <a:pt x="303" y="858"/>
                  </a:lnTo>
                  <a:lnTo>
                    <a:pt x="303" y="860"/>
                  </a:lnTo>
                  <a:lnTo>
                    <a:pt x="306" y="858"/>
                  </a:lnTo>
                  <a:lnTo>
                    <a:pt x="308" y="858"/>
                  </a:lnTo>
                  <a:lnTo>
                    <a:pt x="311" y="858"/>
                  </a:lnTo>
                  <a:lnTo>
                    <a:pt x="311" y="856"/>
                  </a:lnTo>
                  <a:lnTo>
                    <a:pt x="313" y="856"/>
                  </a:lnTo>
                  <a:lnTo>
                    <a:pt x="313" y="853"/>
                  </a:lnTo>
                  <a:lnTo>
                    <a:pt x="315" y="853"/>
                  </a:lnTo>
                  <a:lnTo>
                    <a:pt x="318" y="853"/>
                  </a:lnTo>
                  <a:lnTo>
                    <a:pt x="315" y="853"/>
                  </a:lnTo>
                  <a:lnTo>
                    <a:pt x="315" y="851"/>
                  </a:lnTo>
                  <a:lnTo>
                    <a:pt x="315" y="853"/>
                  </a:lnTo>
                  <a:lnTo>
                    <a:pt x="313" y="853"/>
                  </a:lnTo>
                  <a:lnTo>
                    <a:pt x="311" y="853"/>
                  </a:lnTo>
                  <a:lnTo>
                    <a:pt x="308" y="853"/>
                  </a:lnTo>
                  <a:lnTo>
                    <a:pt x="308" y="856"/>
                  </a:lnTo>
                  <a:lnTo>
                    <a:pt x="306" y="856"/>
                  </a:lnTo>
                  <a:lnTo>
                    <a:pt x="303" y="856"/>
                  </a:lnTo>
                  <a:lnTo>
                    <a:pt x="301" y="856"/>
                  </a:lnTo>
                  <a:lnTo>
                    <a:pt x="303" y="856"/>
                  </a:lnTo>
                  <a:lnTo>
                    <a:pt x="301" y="856"/>
                  </a:lnTo>
                  <a:lnTo>
                    <a:pt x="303" y="856"/>
                  </a:lnTo>
                  <a:lnTo>
                    <a:pt x="301" y="856"/>
                  </a:lnTo>
                  <a:lnTo>
                    <a:pt x="301" y="858"/>
                  </a:lnTo>
                  <a:lnTo>
                    <a:pt x="301" y="856"/>
                  </a:lnTo>
                  <a:lnTo>
                    <a:pt x="301" y="858"/>
                  </a:lnTo>
                  <a:lnTo>
                    <a:pt x="299" y="858"/>
                  </a:lnTo>
                  <a:lnTo>
                    <a:pt x="296" y="858"/>
                  </a:lnTo>
                  <a:lnTo>
                    <a:pt x="296" y="856"/>
                  </a:lnTo>
                  <a:lnTo>
                    <a:pt x="299" y="856"/>
                  </a:lnTo>
                  <a:lnTo>
                    <a:pt x="296" y="856"/>
                  </a:lnTo>
                  <a:lnTo>
                    <a:pt x="294" y="856"/>
                  </a:lnTo>
                  <a:lnTo>
                    <a:pt x="294" y="858"/>
                  </a:lnTo>
                  <a:lnTo>
                    <a:pt x="292" y="858"/>
                  </a:lnTo>
                  <a:lnTo>
                    <a:pt x="289" y="858"/>
                  </a:lnTo>
                  <a:lnTo>
                    <a:pt x="287" y="858"/>
                  </a:lnTo>
                  <a:lnTo>
                    <a:pt x="284" y="858"/>
                  </a:lnTo>
                  <a:lnTo>
                    <a:pt x="284" y="860"/>
                  </a:lnTo>
                  <a:lnTo>
                    <a:pt x="284" y="858"/>
                  </a:lnTo>
                  <a:lnTo>
                    <a:pt x="284" y="860"/>
                  </a:lnTo>
                  <a:lnTo>
                    <a:pt x="282" y="860"/>
                  </a:lnTo>
                  <a:lnTo>
                    <a:pt x="280" y="860"/>
                  </a:lnTo>
                  <a:lnTo>
                    <a:pt x="277" y="860"/>
                  </a:lnTo>
                  <a:lnTo>
                    <a:pt x="280" y="860"/>
                  </a:lnTo>
                  <a:lnTo>
                    <a:pt x="280" y="858"/>
                  </a:lnTo>
                  <a:lnTo>
                    <a:pt x="282" y="858"/>
                  </a:lnTo>
                  <a:lnTo>
                    <a:pt x="284" y="856"/>
                  </a:lnTo>
                  <a:lnTo>
                    <a:pt x="282" y="856"/>
                  </a:lnTo>
                  <a:lnTo>
                    <a:pt x="282" y="858"/>
                  </a:lnTo>
                  <a:lnTo>
                    <a:pt x="282" y="856"/>
                  </a:lnTo>
                  <a:lnTo>
                    <a:pt x="282" y="858"/>
                  </a:lnTo>
                  <a:lnTo>
                    <a:pt x="282" y="856"/>
                  </a:lnTo>
                  <a:lnTo>
                    <a:pt x="282" y="858"/>
                  </a:lnTo>
                  <a:lnTo>
                    <a:pt x="282" y="856"/>
                  </a:lnTo>
                  <a:lnTo>
                    <a:pt x="282" y="858"/>
                  </a:lnTo>
                  <a:lnTo>
                    <a:pt x="282" y="856"/>
                  </a:lnTo>
                  <a:lnTo>
                    <a:pt x="284" y="856"/>
                  </a:lnTo>
                  <a:lnTo>
                    <a:pt x="287" y="856"/>
                  </a:lnTo>
                  <a:lnTo>
                    <a:pt x="289" y="853"/>
                  </a:lnTo>
                  <a:lnTo>
                    <a:pt x="292" y="853"/>
                  </a:lnTo>
                  <a:lnTo>
                    <a:pt x="294" y="853"/>
                  </a:lnTo>
                  <a:lnTo>
                    <a:pt x="296" y="853"/>
                  </a:lnTo>
                  <a:lnTo>
                    <a:pt x="294" y="853"/>
                  </a:lnTo>
                  <a:lnTo>
                    <a:pt x="292" y="853"/>
                  </a:lnTo>
                  <a:lnTo>
                    <a:pt x="294" y="851"/>
                  </a:lnTo>
                  <a:lnTo>
                    <a:pt x="292" y="851"/>
                  </a:lnTo>
                  <a:lnTo>
                    <a:pt x="294" y="851"/>
                  </a:lnTo>
                  <a:lnTo>
                    <a:pt x="292" y="851"/>
                  </a:lnTo>
                  <a:lnTo>
                    <a:pt x="292" y="853"/>
                  </a:lnTo>
                  <a:lnTo>
                    <a:pt x="289" y="853"/>
                  </a:lnTo>
                  <a:lnTo>
                    <a:pt x="284" y="853"/>
                  </a:lnTo>
                  <a:lnTo>
                    <a:pt x="282" y="853"/>
                  </a:lnTo>
                  <a:lnTo>
                    <a:pt x="280" y="853"/>
                  </a:lnTo>
                  <a:lnTo>
                    <a:pt x="277" y="853"/>
                  </a:lnTo>
                  <a:lnTo>
                    <a:pt x="277" y="851"/>
                  </a:lnTo>
                  <a:lnTo>
                    <a:pt x="277" y="853"/>
                  </a:lnTo>
                  <a:lnTo>
                    <a:pt x="277" y="851"/>
                  </a:lnTo>
                  <a:lnTo>
                    <a:pt x="280" y="851"/>
                  </a:lnTo>
                  <a:lnTo>
                    <a:pt x="282" y="848"/>
                  </a:lnTo>
                  <a:lnTo>
                    <a:pt x="282" y="846"/>
                  </a:lnTo>
                  <a:lnTo>
                    <a:pt x="280" y="846"/>
                  </a:lnTo>
                  <a:lnTo>
                    <a:pt x="280" y="844"/>
                  </a:lnTo>
                  <a:lnTo>
                    <a:pt x="280" y="846"/>
                  </a:lnTo>
                  <a:lnTo>
                    <a:pt x="282" y="846"/>
                  </a:lnTo>
                  <a:lnTo>
                    <a:pt x="284" y="844"/>
                  </a:lnTo>
                  <a:lnTo>
                    <a:pt x="282" y="844"/>
                  </a:lnTo>
                  <a:lnTo>
                    <a:pt x="280" y="844"/>
                  </a:lnTo>
                  <a:lnTo>
                    <a:pt x="282" y="844"/>
                  </a:lnTo>
                  <a:lnTo>
                    <a:pt x="280" y="844"/>
                  </a:lnTo>
                  <a:lnTo>
                    <a:pt x="277" y="844"/>
                  </a:lnTo>
                  <a:lnTo>
                    <a:pt x="280" y="841"/>
                  </a:lnTo>
                  <a:lnTo>
                    <a:pt x="277" y="841"/>
                  </a:lnTo>
                  <a:lnTo>
                    <a:pt x="280" y="841"/>
                  </a:lnTo>
                  <a:lnTo>
                    <a:pt x="282" y="841"/>
                  </a:lnTo>
                  <a:lnTo>
                    <a:pt x="282" y="839"/>
                  </a:lnTo>
                  <a:lnTo>
                    <a:pt x="282" y="841"/>
                  </a:lnTo>
                  <a:lnTo>
                    <a:pt x="284" y="841"/>
                  </a:lnTo>
                  <a:lnTo>
                    <a:pt x="284" y="844"/>
                  </a:lnTo>
                  <a:lnTo>
                    <a:pt x="287" y="844"/>
                  </a:lnTo>
                  <a:lnTo>
                    <a:pt x="284" y="844"/>
                  </a:lnTo>
                  <a:lnTo>
                    <a:pt x="287" y="844"/>
                  </a:lnTo>
                  <a:lnTo>
                    <a:pt x="284" y="844"/>
                  </a:lnTo>
                  <a:lnTo>
                    <a:pt x="287" y="844"/>
                  </a:lnTo>
                  <a:lnTo>
                    <a:pt x="284" y="846"/>
                  </a:lnTo>
                  <a:lnTo>
                    <a:pt x="287" y="846"/>
                  </a:lnTo>
                  <a:lnTo>
                    <a:pt x="289" y="846"/>
                  </a:lnTo>
                  <a:lnTo>
                    <a:pt x="289" y="844"/>
                  </a:lnTo>
                  <a:lnTo>
                    <a:pt x="292" y="844"/>
                  </a:lnTo>
                  <a:lnTo>
                    <a:pt x="289" y="844"/>
                  </a:lnTo>
                  <a:lnTo>
                    <a:pt x="292" y="844"/>
                  </a:lnTo>
                  <a:lnTo>
                    <a:pt x="289" y="844"/>
                  </a:lnTo>
                  <a:lnTo>
                    <a:pt x="287" y="846"/>
                  </a:lnTo>
                  <a:lnTo>
                    <a:pt x="287" y="844"/>
                  </a:lnTo>
                  <a:lnTo>
                    <a:pt x="287" y="841"/>
                  </a:lnTo>
                  <a:lnTo>
                    <a:pt x="289" y="841"/>
                  </a:lnTo>
                  <a:lnTo>
                    <a:pt x="292" y="841"/>
                  </a:lnTo>
                  <a:lnTo>
                    <a:pt x="292" y="839"/>
                  </a:lnTo>
                  <a:lnTo>
                    <a:pt x="294" y="841"/>
                  </a:lnTo>
                  <a:lnTo>
                    <a:pt x="296" y="841"/>
                  </a:lnTo>
                  <a:lnTo>
                    <a:pt x="299" y="841"/>
                  </a:lnTo>
                  <a:lnTo>
                    <a:pt x="296" y="839"/>
                  </a:lnTo>
                  <a:lnTo>
                    <a:pt x="294" y="839"/>
                  </a:lnTo>
                  <a:lnTo>
                    <a:pt x="296" y="839"/>
                  </a:lnTo>
                  <a:lnTo>
                    <a:pt x="296" y="837"/>
                  </a:lnTo>
                  <a:lnTo>
                    <a:pt x="299" y="837"/>
                  </a:lnTo>
                  <a:lnTo>
                    <a:pt x="301" y="837"/>
                  </a:lnTo>
                  <a:lnTo>
                    <a:pt x="299" y="837"/>
                  </a:lnTo>
                  <a:lnTo>
                    <a:pt x="296" y="837"/>
                  </a:lnTo>
                  <a:lnTo>
                    <a:pt x="294" y="837"/>
                  </a:lnTo>
                  <a:lnTo>
                    <a:pt x="294" y="839"/>
                  </a:lnTo>
                  <a:lnTo>
                    <a:pt x="292" y="839"/>
                  </a:lnTo>
                  <a:lnTo>
                    <a:pt x="289" y="839"/>
                  </a:lnTo>
                  <a:lnTo>
                    <a:pt x="287" y="839"/>
                  </a:lnTo>
                  <a:lnTo>
                    <a:pt x="284" y="839"/>
                  </a:lnTo>
                  <a:lnTo>
                    <a:pt x="284" y="837"/>
                  </a:lnTo>
                  <a:lnTo>
                    <a:pt x="287" y="837"/>
                  </a:lnTo>
                  <a:lnTo>
                    <a:pt x="284" y="837"/>
                  </a:lnTo>
                  <a:lnTo>
                    <a:pt x="287" y="837"/>
                  </a:lnTo>
                  <a:lnTo>
                    <a:pt x="289" y="837"/>
                  </a:lnTo>
                  <a:lnTo>
                    <a:pt x="287" y="837"/>
                  </a:lnTo>
                  <a:lnTo>
                    <a:pt x="289" y="837"/>
                  </a:lnTo>
                  <a:lnTo>
                    <a:pt x="287" y="837"/>
                  </a:lnTo>
                  <a:lnTo>
                    <a:pt x="287" y="834"/>
                  </a:lnTo>
                  <a:lnTo>
                    <a:pt x="289" y="834"/>
                  </a:lnTo>
                  <a:lnTo>
                    <a:pt x="287" y="834"/>
                  </a:lnTo>
                  <a:lnTo>
                    <a:pt x="284" y="834"/>
                  </a:lnTo>
                  <a:lnTo>
                    <a:pt x="284" y="837"/>
                  </a:lnTo>
                  <a:lnTo>
                    <a:pt x="284" y="834"/>
                  </a:lnTo>
                  <a:lnTo>
                    <a:pt x="282" y="834"/>
                  </a:lnTo>
                  <a:lnTo>
                    <a:pt x="284" y="834"/>
                  </a:lnTo>
                  <a:lnTo>
                    <a:pt x="284" y="832"/>
                  </a:lnTo>
                  <a:lnTo>
                    <a:pt x="284" y="834"/>
                  </a:lnTo>
                  <a:lnTo>
                    <a:pt x="287" y="834"/>
                  </a:lnTo>
                  <a:lnTo>
                    <a:pt x="289" y="834"/>
                  </a:lnTo>
                  <a:lnTo>
                    <a:pt x="292" y="834"/>
                  </a:lnTo>
                  <a:lnTo>
                    <a:pt x="294" y="834"/>
                  </a:lnTo>
                  <a:lnTo>
                    <a:pt x="296" y="834"/>
                  </a:lnTo>
                  <a:lnTo>
                    <a:pt x="294" y="834"/>
                  </a:lnTo>
                  <a:lnTo>
                    <a:pt x="296" y="834"/>
                  </a:lnTo>
                  <a:lnTo>
                    <a:pt x="294" y="834"/>
                  </a:lnTo>
                  <a:lnTo>
                    <a:pt x="294" y="832"/>
                  </a:lnTo>
                  <a:lnTo>
                    <a:pt x="292" y="832"/>
                  </a:lnTo>
                  <a:lnTo>
                    <a:pt x="289" y="832"/>
                  </a:lnTo>
                  <a:lnTo>
                    <a:pt x="287" y="832"/>
                  </a:lnTo>
                  <a:lnTo>
                    <a:pt x="287" y="829"/>
                  </a:lnTo>
                  <a:lnTo>
                    <a:pt x="284" y="829"/>
                  </a:lnTo>
                  <a:lnTo>
                    <a:pt x="287" y="829"/>
                  </a:lnTo>
                  <a:lnTo>
                    <a:pt x="284" y="829"/>
                  </a:lnTo>
                  <a:lnTo>
                    <a:pt x="284" y="832"/>
                  </a:lnTo>
                  <a:lnTo>
                    <a:pt x="284" y="829"/>
                  </a:lnTo>
                  <a:lnTo>
                    <a:pt x="287" y="829"/>
                  </a:lnTo>
                  <a:lnTo>
                    <a:pt x="289" y="829"/>
                  </a:lnTo>
                  <a:lnTo>
                    <a:pt x="292" y="829"/>
                  </a:lnTo>
                  <a:lnTo>
                    <a:pt x="294" y="829"/>
                  </a:lnTo>
                  <a:lnTo>
                    <a:pt x="294" y="832"/>
                  </a:lnTo>
                  <a:lnTo>
                    <a:pt x="294" y="829"/>
                  </a:lnTo>
                  <a:lnTo>
                    <a:pt x="294" y="832"/>
                  </a:lnTo>
                  <a:lnTo>
                    <a:pt x="296" y="832"/>
                  </a:lnTo>
                  <a:lnTo>
                    <a:pt x="299" y="832"/>
                  </a:lnTo>
                  <a:lnTo>
                    <a:pt x="301" y="832"/>
                  </a:lnTo>
                  <a:lnTo>
                    <a:pt x="301" y="829"/>
                  </a:lnTo>
                  <a:lnTo>
                    <a:pt x="303" y="829"/>
                  </a:lnTo>
                  <a:lnTo>
                    <a:pt x="306" y="829"/>
                  </a:lnTo>
                  <a:lnTo>
                    <a:pt x="308" y="829"/>
                  </a:lnTo>
                  <a:lnTo>
                    <a:pt x="306" y="829"/>
                  </a:lnTo>
                  <a:lnTo>
                    <a:pt x="303" y="829"/>
                  </a:lnTo>
                  <a:lnTo>
                    <a:pt x="301" y="829"/>
                  </a:lnTo>
                  <a:lnTo>
                    <a:pt x="299" y="829"/>
                  </a:lnTo>
                  <a:lnTo>
                    <a:pt x="299" y="832"/>
                  </a:lnTo>
                  <a:lnTo>
                    <a:pt x="296" y="832"/>
                  </a:lnTo>
                  <a:lnTo>
                    <a:pt x="296" y="829"/>
                  </a:lnTo>
                  <a:lnTo>
                    <a:pt x="294" y="829"/>
                  </a:lnTo>
                  <a:lnTo>
                    <a:pt x="296" y="829"/>
                  </a:lnTo>
                  <a:lnTo>
                    <a:pt x="296" y="827"/>
                  </a:lnTo>
                  <a:lnTo>
                    <a:pt x="299" y="827"/>
                  </a:lnTo>
                  <a:lnTo>
                    <a:pt x="301" y="827"/>
                  </a:lnTo>
                  <a:lnTo>
                    <a:pt x="301" y="829"/>
                  </a:lnTo>
                  <a:lnTo>
                    <a:pt x="303" y="829"/>
                  </a:lnTo>
                  <a:lnTo>
                    <a:pt x="303" y="827"/>
                  </a:lnTo>
                  <a:lnTo>
                    <a:pt x="301" y="827"/>
                  </a:lnTo>
                  <a:lnTo>
                    <a:pt x="299" y="827"/>
                  </a:lnTo>
                  <a:lnTo>
                    <a:pt x="296" y="827"/>
                  </a:lnTo>
                  <a:lnTo>
                    <a:pt x="294" y="827"/>
                  </a:lnTo>
                  <a:lnTo>
                    <a:pt x="294" y="825"/>
                  </a:lnTo>
                  <a:lnTo>
                    <a:pt x="296" y="825"/>
                  </a:lnTo>
                  <a:lnTo>
                    <a:pt x="299" y="825"/>
                  </a:lnTo>
                  <a:lnTo>
                    <a:pt x="301" y="825"/>
                  </a:lnTo>
                  <a:lnTo>
                    <a:pt x="303" y="825"/>
                  </a:lnTo>
                  <a:lnTo>
                    <a:pt x="303" y="827"/>
                  </a:lnTo>
                  <a:lnTo>
                    <a:pt x="306" y="825"/>
                  </a:lnTo>
                  <a:lnTo>
                    <a:pt x="308" y="827"/>
                  </a:lnTo>
                  <a:lnTo>
                    <a:pt x="308" y="825"/>
                  </a:lnTo>
                  <a:lnTo>
                    <a:pt x="311" y="827"/>
                  </a:lnTo>
                  <a:lnTo>
                    <a:pt x="311" y="825"/>
                  </a:lnTo>
                  <a:lnTo>
                    <a:pt x="308" y="825"/>
                  </a:lnTo>
                  <a:lnTo>
                    <a:pt x="306" y="825"/>
                  </a:lnTo>
                  <a:lnTo>
                    <a:pt x="303" y="825"/>
                  </a:lnTo>
                  <a:lnTo>
                    <a:pt x="301" y="825"/>
                  </a:lnTo>
                  <a:lnTo>
                    <a:pt x="303" y="825"/>
                  </a:lnTo>
                  <a:lnTo>
                    <a:pt x="303" y="822"/>
                  </a:lnTo>
                  <a:lnTo>
                    <a:pt x="301" y="822"/>
                  </a:lnTo>
                  <a:lnTo>
                    <a:pt x="301" y="825"/>
                  </a:lnTo>
                  <a:lnTo>
                    <a:pt x="299" y="825"/>
                  </a:lnTo>
                  <a:lnTo>
                    <a:pt x="301" y="825"/>
                  </a:lnTo>
                  <a:lnTo>
                    <a:pt x="301" y="822"/>
                  </a:lnTo>
                  <a:lnTo>
                    <a:pt x="299" y="820"/>
                  </a:lnTo>
                  <a:lnTo>
                    <a:pt x="296" y="820"/>
                  </a:lnTo>
                  <a:lnTo>
                    <a:pt x="296" y="818"/>
                  </a:lnTo>
                  <a:lnTo>
                    <a:pt x="294" y="818"/>
                  </a:lnTo>
                  <a:lnTo>
                    <a:pt x="296" y="818"/>
                  </a:lnTo>
                  <a:lnTo>
                    <a:pt x="294" y="818"/>
                  </a:lnTo>
                  <a:lnTo>
                    <a:pt x="296" y="818"/>
                  </a:lnTo>
                  <a:lnTo>
                    <a:pt x="299" y="818"/>
                  </a:lnTo>
                  <a:lnTo>
                    <a:pt x="301" y="818"/>
                  </a:lnTo>
                  <a:lnTo>
                    <a:pt x="303" y="818"/>
                  </a:lnTo>
                  <a:lnTo>
                    <a:pt x="303" y="815"/>
                  </a:lnTo>
                  <a:lnTo>
                    <a:pt x="301" y="815"/>
                  </a:lnTo>
                  <a:lnTo>
                    <a:pt x="303" y="815"/>
                  </a:lnTo>
                  <a:lnTo>
                    <a:pt x="306" y="815"/>
                  </a:lnTo>
                  <a:lnTo>
                    <a:pt x="308" y="815"/>
                  </a:lnTo>
                  <a:lnTo>
                    <a:pt x="308" y="813"/>
                  </a:lnTo>
                  <a:lnTo>
                    <a:pt x="311" y="813"/>
                  </a:lnTo>
                  <a:lnTo>
                    <a:pt x="311" y="815"/>
                  </a:lnTo>
                  <a:lnTo>
                    <a:pt x="308" y="815"/>
                  </a:lnTo>
                  <a:lnTo>
                    <a:pt x="308" y="818"/>
                  </a:lnTo>
                  <a:lnTo>
                    <a:pt x="311" y="815"/>
                  </a:lnTo>
                  <a:lnTo>
                    <a:pt x="311" y="818"/>
                  </a:lnTo>
                  <a:lnTo>
                    <a:pt x="311" y="815"/>
                  </a:lnTo>
                  <a:lnTo>
                    <a:pt x="313" y="815"/>
                  </a:lnTo>
                  <a:lnTo>
                    <a:pt x="311" y="815"/>
                  </a:lnTo>
                  <a:lnTo>
                    <a:pt x="313" y="815"/>
                  </a:lnTo>
                  <a:lnTo>
                    <a:pt x="313" y="813"/>
                  </a:lnTo>
                  <a:lnTo>
                    <a:pt x="311" y="813"/>
                  </a:lnTo>
                  <a:lnTo>
                    <a:pt x="311" y="810"/>
                  </a:lnTo>
                  <a:lnTo>
                    <a:pt x="311" y="813"/>
                  </a:lnTo>
                  <a:lnTo>
                    <a:pt x="311" y="810"/>
                  </a:lnTo>
                  <a:lnTo>
                    <a:pt x="313" y="810"/>
                  </a:lnTo>
                  <a:lnTo>
                    <a:pt x="313" y="813"/>
                  </a:lnTo>
                  <a:lnTo>
                    <a:pt x="313" y="810"/>
                  </a:lnTo>
                  <a:lnTo>
                    <a:pt x="315" y="813"/>
                  </a:lnTo>
                  <a:lnTo>
                    <a:pt x="315" y="815"/>
                  </a:lnTo>
                  <a:lnTo>
                    <a:pt x="315" y="813"/>
                  </a:lnTo>
                  <a:lnTo>
                    <a:pt x="315" y="815"/>
                  </a:lnTo>
                  <a:lnTo>
                    <a:pt x="318" y="815"/>
                  </a:lnTo>
                  <a:lnTo>
                    <a:pt x="318" y="813"/>
                  </a:lnTo>
                  <a:lnTo>
                    <a:pt x="320" y="813"/>
                  </a:lnTo>
                  <a:lnTo>
                    <a:pt x="320" y="810"/>
                  </a:lnTo>
                  <a:lnTo>
                    <a:pt x="318" y="810"/>
                  </a:lnTo>
                  <a:lnTo>
                    <a:pt x="320" y="810"/>
                  </a:lnTo>
                  <a:lnTo>
                    <a:pt x="322" y="810"/>
                  </a:lnTo>
                  <a:lnTo>
                    <a:pt x="325" y="808"/>
                  </a:lnTo>
                  <a:lnTo>
                    <a:pt x="325" y="810"/>
                  </a:lnTo>
                  <a:lnTo>
                    <a:pt x="327" y="810"/>
                  </a:lnTo>
                  <a:lnTo>
                    <a:pt x="329" y="810"/>
                  </a:lnTo>
                  <a:lnTo>
                    <a:pt x="329" y="813"/>
                  </a:lnTo>
                  <a:lnTo>
                    <a:pt x="332" y="813"/>
                  </a:lnTo>
                  <a:lnTo>
                    <a:pt x="329" y="813"/>
                  </a:lnTo>
                  <a:lnTo>
                    <a:pt x="329" y="810"/>
                  </a:lnTo>
                  <a:lnTo>
                    <a:pt x="327" y="810"/>
                  </a:lnTo>
                  <a:lnTo>
                    <a:pt x="325" y="810"/>
                  </a:lnTo>
                  <a:lnTo>
                    <a:pt x="325" y="808"/>
                  </a:lnTo>
                  <a:lnTo>
                    <a:pt x="322" y="810"/>
                  </a:lnTo>
                  <a:lnTo>
                    <a:pt x="320" y="810"/>
                  </a:lnTo>
                  <a:lnTo>
                    <a:pt x="322" y="810"/>
                  </a:lnTo>
                  <a:lnTo>
                    <a:pt x="320" y="810"/>
                  </a:lnTo>
                  <a:lnTo>
                    <a:pt x="320" y="808"/>
                  </a:lnTo>
                  <a:lnTo>
                    <a:pt x="320" y="810"/>
                  </a:lnTo>
                  <a:lnTo>
                    <a:pt x="320" y="808"/>
                  </a:lnTo>
                  <a:lnTo>
                    <a:pt x="320" y="810"/>
                  </a:lnTo>
                  <a:lnTo>
                    <a:pt x="318" y="808"/>
                  </a:lnTo>
                  <a:lnTo>
                    <a:pt x="320" y="808"/>
                  </a:lnTo>
                  <a:lnTo>
                    <a:pt x="320" y="806"/>
                  </a:lnTo>
                  <a:lnTo>
                    <a:pt x="322" y="806"/>
                  </a:lnTo>
                  <a:lnTo>
                    <a:pt x="320" y="806"/>
                  </a:lnTo>
                  <a:lnTo>
                    <a:pt x="322" y="806"/>
                  </a:lnTo>
                  <a:lnTo>
                    <a:pt x="322" y="803"/>
                  </a:lnTo>
                  <a:lnTo>
                    <a:pt x="325" y="803"/>
                  </a:lnTo>
                  <a:lnTo>
                    <a:pt x="327" y="803"/>
                  </a:lnTo>
                  <a:lnTo>
                    <a:pt x="325" y="803"/>
                  </a:lnTo>
                  <a:lnTo>
                    <a:pt x="327" y="803"/>
                  </a:lnTo>
                  <a:lnTo>
                    <a:pt x="329" y="803"/>
                  </a:lnTo>
                  <a:lnTo>
                    <a:pt x="332" y="803"/>
                  </a:lnTo>
                  <a:lnTo>
                    <a:pt x="334" y="803"/>
                  </a:lnTo>
                  <a:lnTo>
                    <a:pt x="332" y="803"/>
                  </a:lnTo>
                  <a:lnTo>
                    <a:pt x="329" y="803"/>
                  </a:lnTo>
                  <a:lnTo>
                    <a:pt x="327" y="803"/>
                  </a:lnTo>
                  <a:lnTo>
                    <a:pt x="325" y="803"/>
                  </a:lnTo>
                  <a:lnTo>
                    <a:pt x="322" y="803"/>
                  </a:lnTo>
                  <a:lnTo>
                    <a:pt x="322" y="801"/>
                  </a:lnTo>
                  <a:lnTo>
                    <a:pt x="325" y="801"/>
                  </a:lnTo>
                  <a:lnTo>
                    <a:pt x="327" y="801"/>
                  </a:lnTo>
                  <a:lnTo>
                    <a:pt x="329" y="801"/>
                  </a:lnTo>
                  <a:lnTo>
                    <a:pt x="332" y="801"/>
                  </a:lnTo>
                  <a:lnTo>
                    <a:pt x="329" y="801"/>
                  </a:lnTo>
                  <a:lnTo>
                    <a:pt x="327" y="803"/>
                  </a:lnTo>
                  <a:lnTo>
                    <a:pt x="329" y="801"/>
                  </a:lnTo>
                  <a:lnTo>
                    <a:pt x="332" y="801"/>
                  </a:lnTo>
                  <a:lnTo>
                    <a:pt x="334" y="801"/>
                  </a:lnTo>
                  <a:lnTo>
                    <a:pt x="332" y="801"/>
                  </a:lnTo>
                  <a:lnTo>
                    <a:pt x="332" y="803"/>
                  </a:lnTo>
                  <a:lnTo>
                    <a:pt x="334" y="801"/>
                  </a:lnTo>
                  <a:lnTo>
                    <a:pt x="334" y="803"/>
                  </a:lnTo>
                  <a:lnTo>
                    <a:pt x="334" y="801"/>
                  </a:lnTo>
                  <a:lnTo>
                    <a:pt x="337" y="801"/>
                  </a:lnTo>
                  <a:lnTo>
                    <a:pt x="334" y="801"/>
                  </a:lnTo>
                  <a:lnTo>
                    <a:pt x="337" y="801"/>
                  </a:lnTo>
                  <a:lnTo>
                    <a:pt x="339" y="801"/>
                  </a:lnTo>
                  <a:lnTo>
                    <a:pt x="341" y="801"/>
                  </a:lnTo>
                  <a:lnTo>
                    <a:pt x="344" y="801"/>
                  </a:lnTo>
                  <a:lnTo>
                    <a:pt x="341" y="801"/>
                  </a:lnTo>
                  <a:lnTo>
                    <a:pt x="341" y="803"/>
                  </a:lnTo>
                  <a:lnTo>
                    <a:pt x="344" y="803"/>
                  </a:lnTo>
                  <a:lnTo>
                    <a:pt x="341" y="803"/>
                  </a:lnTo>
                  <a:lnTo>
                    <a:pt x="339" y="803"/>
                  </a:lnTo>
                  <a:lnTo>
                    <a:pt x="339" y="806"/>
                  </a:lnTo>
                  <a:lnTo>
                    <a:pt x="341" y="806"/>
                  </a:lnTo>
                  <a:lnTo>
                    <a:pt x="341" y="808"/>
                  </a:lnTo>
                  <a:lnTo>
                    <a:pt x="344" y="808"/>
                  </a:lnTo>
                  <a:lnTo>
                    <a:pt x="344" y="806"/>
                  </a:lnTo>
                  <a:lnTo>
                    <a:pt x="341" y="806"/>
                  </a:lnTo>
                  <a:lnTo>
                    <a:pt x="341" y="803"/>
                  </a:lnTo>
                  <a:lnTo>
                    <a:pt x="344" y="803"/>
                  </a:lnTo>
                  <a:lnTo>
                    <a:pt x="344" y="801"/>
                  </a:lnTo>
                  <a:lnTo>
                    <a:pt x="346" y="801"/>
                  </a:lnTo>
                  <a:lnTo>
                    <a:pt x="348" y="801"/>
                  </a:lnTo>
                  <a:lnTo>
                    <a:pt x="348" y="803"/>
                  </a:lnTo>
                  <a:lnTo>
                    <a:pt x="348" y="801"/>
                  </a:lnTo>
                  <a:lnTo>
                    <a:pt x="351" y="801"/>
                  </a:lnTo>
                  <a:lnTo>
                    <a:pt x="351" y="803"/>
                  </a:lnTo>
                  <a:lnTo>
                    <a:pt x="353" y="803"/>
                  </a:lnTo>
                  <a:lnTo>
                    <a:pt x="356" y="803"/>
                  </a:lnTo>
                  <a:lnTo>
                    <a:pt x="358" y="803"/>
                  </a:lnTo>
                  <a:lnTo>
                    <a:pt x="358" y="806"/>
                  </a:lnTo>
                  <a:lnTo>
                    <a:pt x="356" y="806"/>
                  </a:lnTo>
                  <a:lnTo>
                    <a:pt x="356" y="808"/>
                  </a:lnTo>
                  <a:lnTo>
                    <a:pt x="358" y="806"/>
                  </a:lnTo>
                  <a:lnTo>
                    <a:pt x="358" y="808"/>
                  </a:lnTo>
                  <a:lnTo>
                    <a:pt x="356" y="808"/>
                  </a:lnTo>
                  <a:lnTo>
                    <a:pt x="358" y="808"/>
                  </a:lnTo>
                  <a:lnTo>
                    <a:pt x="356" y="808"/>
                  </a:lnTo>
                  <a:lnTo>
                    <a:pt x="356" y="810"/>
                  </a:lnTo>
                  <a:lnTo>
                    <a:pt x="358" y="808"/>
                  </a:lnTo>
                  <a:lnTo>
                    <a:pt x="358" y="806"/>
                  </a:lnTo>
                  <a:lnTo>
                    <a:pt x="360" y="806"/>
                  </a:lnTo>
                  <a:lnTo>
                    <a:pt x="358" y="803"/>
                  </a:lnTo>
                  <a:lnTo>
                    <a:pt x="360" y="803"/>
                  </a:lnTo>
                  <a:lnTo>
                    <a:pt x="358" y="803"/>
                  </a:lnTo>
                  <a:lnTo>
                    <a:pt x="358" y="801"/>
                  </a:lnTo>
                  <a:lnTo>
                    <a:pt x="356" y="801"/>
                  </a:lnTo>
                  <a:lnTo>
                    <a:pt x="358" y="801"/>
                  </a:lnTo>
                  <a:lnTo>
                    <a:pt x="356" y="801"/>
                  </a:lnTo>
                  <a:lnTo>
                    <a:pt x="358" y="801"/>
                  </a:lnTo>
                  <a:lnTo>
                    <a:pt x="358" y="799"/>
                  </a:lnTo>
                  <a:lnTo>
                    <a:pt x="356" y="799"/>
                  </a:lnTo>
                  <a:lnTo>
                    <a:pt x="356" y="801"/>
                  </a:lnTo>
                  <a:lnTo>
                    <a:pt x="353" y="801"/>
                  </a:lnTo>
                  <a:lnTo>
                    <a:pt x="351" y="801"/>
                  </a:lnTo>
                  <a:lnTo>
                    <a:pt x="353" y="801"/>
                  </a:lnTo>
                  <a:lnTo>
                    <a:pt x="356" y="801"/>
                  </a:lnTo>
                  <a:lnTo>
                    <a:pt x="356" y="799"/>
                  </a:lnTo>
                  <a:lnTo>
                    <a:pt x="353" y="799"/>
                  </a:lnTo>
                  <a:lnTo>
                    <a:pt x="351" y="799"/>
                  </a:lnTo>
                  <a:lnTo>
                    <a:pt x="348" y="799"/>
                  </a:lnTo>
                  <a:lnTo>
                    <a:pt x="348" y="801"/>
                  </a:lnTo>
                  <a:lnTo>
                    <a:pt x="348" y="799"/>
                  </a:lnTo>
                  <a:lnTo>
                    <a:pt x="346" y="799"/>
                  </a:lnTo>
                  <a:lnTo>
                    <a:pt x="344" y="799"/>
                  </a:lnTo>
                  <a:lnTo>
                    <a:pt x="346" y="799"/>
                  </a:lnTo>
                  <a:lnTo>
                    <a:pt x="348" y="799"/>
                  </a:lnTo>
                  <a:lnTo>
                    <a:pt x="348" y="796"/>
                  </a:lnTo>
                  <a:lnTo>
                    <a:pt x="348" y="799"/>
                  </a:lnTo>
                  <a:lnTo>
                    <a:pt x="348" y="796"/>
                  </a:lnTo>
                  <a:lnTo>
                    <a:pt x="346" y="796"/>
                  </a:lnTo>
                  <a:lnTo>
                    <a:pt x="344" y="796"/>
                  </a:lnTo>
                  <a:lnTo>
                    <a:pt x="344" y="799"/>
                  </a:lnTo>
                  <a:lnTo>
                    <a:pt x="344" y="796"/>
                  </a:lnTo>
                  <a:lnTo>
                    <a:pt x="344" y="799"/>
                  </a:lnTo>
                  <a:lnTo>
                    <a:pt x="341" y="799"/>
                  </a:lnTo>
                  <a:lnTo>
                    <a:pt x="339" y="796"/>
                  </a:lnTo>
                  <a:lnTo>
                    <a:pt x="339" y="799"/>
                  </a:lnTo>
                  <a:lnTo>
                    <a:pt x="337" y="799"/>
                  </a:lnTo>
                  <a:lnTo>
                    <a:pt x="339" y="799"/>
                  </a:lnTo>
                  <a:lnTo>
                    <a:pt x="337" y="799"/>
                  </a:lnTo>
                  <a:lnTo>
                    <a:pt x="334" y="801"/>
                  </a:lnTo>
                  <a:lnTo>
                    <a:pt x="332" y="801"/>
                  </a:lnTo>
                  <a:lnTo>
                    <a:pt x="334" y="801"/>
                  </a:lnTo>
                  <a:lnTo>
                    <a:pt x="334" y="799"/>
                  </a:lnTo>
                  <a:lnTo>
                    <a:pt x="334" y="796"/>
                  </a:lnTo>
                  <a:lnTo>
                    <a:pt x="332" y="799"/>
                  </a:lnTo>
                  <a:lnTo>
                    <a:pt x="329" y="799"/>
                  </a:lnTo>
                  <a:lnTo>
                    <a:pt x="332" y="799"/>
                  </a:lnTo>
                  <a:lnTo>
                    <a:pt x="329" y="799"/>
                  </a:lnTo>
                  <a:lnTo>
                    <a:pt x="327" y="799"/>
                  </a:lnTo>
                  <a:lnTo>
                    <a:pt x="325" y="799"/>
                  </a:lnTo>
                  <a:lnTo>
                    <a:pt x="322" y="799"/>
                  </a:lnTo>
                  <a:lnTo>
                    <a:pt x="320" y="801"/>
                  </a:lnTo>
                  <a:lnTo>
                    <a:pt x="320" y="799"/>
                  </a:lnTo>
                  <a:lnTo>
                    <a:pt x="322" y="799"/>
                  </a:lnTo>
                  <a:lnTo>
                    <a:pt x="320" y="799"/>
                  </a:lnTo>
                  <a:lnTo>
                    <a:pt x="322" y="799"/>
                  </a:lnTo>
                  <a:lnTo>
                    <a:pt x="325" y="799"/>
                  </a:lnTo>
                  <a:lnTo>
                    <a:pt x="325" y="796"/>
                  </a:lnTo>
                  <a:lnTo>
                    <a:pt x="322" y="796"/>
                  </a:lnTo>
                  <a:lnTo>
                    <a:pt x="322" y="799"/>
                  </a:lnTo>
                  <a:lnTo>
                    <a:pt x="322" y="796"/>
                  </a:lnTo>
                  <a:lnTo>
                    <a:pt x="325" y="796"/>
                  </a:lnTo>
                  <a:lnTo>
                    <a:pt x="322" y="796"/>
                  </a:lnTo>
                  <a:lnTo>
                    <a:pt x="325" y="796"/>
                  </a:lnTo>
                  <a:lnTo>
                    <a:pt x="327" y="796"/>
                  </a:lnTo>
                  <a:lnTo>
                    <a:pt x="327" y="794"/>
                  </a:lnTo>
                  <a:lnTo>
                    <a:pt x="329" y="794"/>
                  </a:lnTo>
                  <a:lnTo>
                    <a:pt x="329" y="791"/>
                  </a:lnTo>
                  <a:lnTo>
                    <a:pt x="329" y="794"/>
                  </a:lnTo>
                  <a:lnTo>
                    <a:pt x="329" y="791"/>
                  </a:lnTo>
                  <a:lnTo>
                    <a:pt x="332" y="791"/>
                  </a:lnTo>
                  <a:lnTo>
                    <a:pt x="329" y="791"/>
                  </a:lnTo>
                  <a:lnTo>
                    <a:pt x="332" y="791"/>
                  </a:lnTo>
                  <a:lnTo>
                    <a:pt x="332" y="789"/>
                  </a:lnTo>
                  <a:lnTo>
                    <a:pt x="332" y="791"/>
                  </a:lnTo>
                  <a:lnTo>
                    <a:pt x="332" y="789"/>
                  </a:lnTo>
                  <a:lnTo>
                    <a:pt x="334" y="789"/>
                  </a:lnTo>
                  <a:lnTo>
                    <a:pt x="337" y="789"/>
                  </a:lnTo>
                  <a:lnTo>
                    <a:pt x="334" y="789"/>
                  </a:lnTo>
                  <a:lnTo>
                    <a:pt x="337" y="789"/>
                  </a:lnTo>
                  <a:lnTo>
                    <a:pt x="334" y="789"/>
                  </a:lnTo>
                  <a:lnTo>
                    <a:pt x="337" y="789"/>
                  </a:lnTo>
                  <a:lnTo>
                    <a:pt x="339" y="789"/>
                  </a:lnTo>
                  <a:lnTo>
                    <a:pt x="339" y="791"/>
                  </a:lnTo>
                  <a:lnTo>
                    <a:pt x="337" y="791"/>
                  </a:lnTo>
                  <a:lnTo>
                    <a:pt x="339" y="791"/>
                  </a:lnTo>
                  <a:lnTo>
                    <a:pt x="339" y="789"/>
                  </a:lnTo>
                  <a:lnTo>
                    <a:pt x="341" y="789"/>
                  </a:lnTo>
                  <a:lnTo>
                    <a:pt x="344" y="789"/>
                  </a:lnTo>
                  <a:lnTo>
                    <a:pt x="346" y="789"/>
                  </a:lnTo>
                  <a:lnTo>
                    <a:pt x="344" y="789"/>
                  </a:lnTo>
                  <a:lnTo>
                    <a:pt x="341" y="789"/>
                  </a:lnTo>
                  <a:lnTo>
                    <a:pt x="339" y="789"/>
                  </a:lnTo>
                  <a:lnTo>
                    <a:pt x="337" y="787"/>
                  </a:lnTo>
                  <a:lnTo>
                    <a:pt x="337" y="789"/>
                  </a:lnTo>
                  <a:lnTo>
                    <a:pt x="334" y="789"/>
                  </a:lnTo>
                  <a:lnTo>
                    <a:pt x="332" y="787"/>
                  </a:lnTo>
                  <a:lnTo>
                    <a:pt x="334" y="787"/>
                  </a:lnTo>
                  <a:lnTo>
                    <a:pt x="332" y="787"/>
                  </a:lnTo>
                  <a:lnTo>
                    <a:pt x="334" y="787"/>
                  </a:lnTo>
                  <a:lnTo>
                    <a:pt x="334" y="784"/>
                  </a:lnTo>
                  <a:lnTo>
                    <a:pt x="337" y="784"/>
                  </a:lnTo>
                  <a:lnTo>
                    <a:pt x="334" y="784"/>
                  </a:lnTo>
                  <a:lnTo>
                    <a:pt x="337" y="784"/>
                  </a:lnTo>
                  <a:lnTo>
                    <a:pt x="334" y="784"/>
                  </a:lnTo>
                  <a:lnTo>
                    <a:pt x="337" y="784"/>
                  </a:lnTo>
                  <a:lnTo>
                    <a:pt x="339" y="784"/>
                  </a:lnTo>
                  <a:lnTo>
                    <a:pt x="339" y="782"/>
                  </a:lnTo>
                  <a:lnTo>
                    <a:pt x="341" y="782"/>
                  </a:lnTo>
                  <a:lnTo>
                    <a:pt x="344" y="780"/>
                  </a:lnTo>
                  <a:lnTo>
                    <a:pt x="346" y="780"/>
                  </a:lnTo>
                  <a:lnTo>
                    <a:pt x="346" y="782"/>
                  </a:lnTo>
                  <a:lnTo>
                    <a:pt x="348" y="782"/>
                  </a:lnTo>
                  <a:lnTo>
                    <a:pt x="346" y="784"/>
                  </a:lnTo>
                  <a:lnTo>
                    <a:pt x="346" y="782"/>
                  </a:lnTo>
                  <a:lnTo>
                    <a:pt x="346" y="784"/>
                  </a:lnTo>
                  <a:lnTo>
                    <a:pt x="346" y="782"/>
                  </a:lnTo>
                  <a:lnTo>
                    <a:pt x="344" y="782"/>
                  </a:lnTo>
                  <a:lnTo>
                    <a:pt x="344" y="784"/>
                  </a:lnTo>
                  <a:lnTo>
                    <a:pt x="346" y="784"/>
                  </a:lnTo>
                  <a:lnTo>
                    <a:pt x="344" y="784"/>
                  </a:lnTo>
                  <a:lnTo>
                    <a:pt x="344" y="787"/>
                  </a:lnTo>
                  <a:lnTo>
                    <a:pt x="341" y="787"/>
                  </a:lnTo>
                  <a:lnTo>
                    <a:pt x="344" y="787"/>
                  </a:lnTo>
                  <a:lnTo>
                    <a:pt x="344" y="784"/>
                  </a:lnTo>
                  <a:lnTo>
                    <a:pt x="346" y="784"/>
                  </a:lnTo>
                  <a:lnTo>
                    <a:pt x="348" y="784"/>
                  </a:lnTo>
                  <a:lnTo>
                    <a:pt x="351" y="784"/>
                  </a:lnTo>
                  <a:lnTo>
                    <a:pt x="351" y="787"/>
                  </a:lnTo>
                  <a:lnTo>
                    <a:pt x="348" y="787"/>
                  </a:lnTo>
                  <a:lnTo>
                    <a:pt x="348" y="789"/>
                  </a:lnTo>
                  <a:lnTo>
                    <a:pt x="351" y="787"/>
                  </a:lnTo>
                  <a:lnTo>
                    <a:pt x="353" y="787"/>
                  </a:lnTo>
                  <a:lnTo>
                    <a:pt x="353" y="784"/>
                  </a:lnTo>
                  <a:lnTo>
                    <a:pt x="353" y="787"/>
                  </a:lnTo>
                  <a:lnTo>
                    <a:pt x="353" y="784"/>
                  </a:lnTo>
                  <a:lnTo>
                    <a:pt x="356" y="784"/>
                  </a:lnTo>
                  <a:lnTo>
                    <a:pt x="356" y="787"/>
                  </a:lnTo>
                  <a:lnTo>
                    <a:pt x="356" y="784"/>
                  </a:lnTo>
                  <a:lnTo>
                    <a:pt x="356" y="787"/>
                  </a:lnTo>
                  <a:lnTo>
                    <a:pt x="356" y="784"/>
                  </a:lnTo>
                  <a:lnTo>
                    <a:pt x="356" y="787"/>
                  </a:lnTo>
                  <a:lnTo>
                    <a:pt x="358" y="787"/>
                  </a:lnTo>
                  <a:lnTo>
                    <a:pt x="360" y="787"/>
                  </a:lnTo>
                  <a:lnTo>
                    <a:pt x="360" y="789"/>
                  </a:lnTo>
                  <a:lnTo>
                    <a:pt x="360" y="791"/>
                  </a:lnTo>
                  <a:lnTo>
                    <a:pt x="363" y="791"/>
                  </a:lnTo>
                  <a:lnTo>
                    <a:pt x="360" y="791"/>
                  </a:lnTo>
                  <a:lnTo>
                    <a:pt x="363" y="794"/>
                  </a:lnTo>
                  <a:lnTo>
                    <a:pt x="365" y="794"/>
                  </a:lnTo>
                  <a:lnTo>
                    <a:pt x="363" y="794"/>
                  </a:lnTo>
                  <a:lnTo>
                    <a:pt x="363" y="791"/>
                  </a:lnTo>
                  <a:lnTo>
                    <a:pt x="365" y="791"/>
                  </a:lnTo>
                  <a:lnTo>
                    <a:pt x="365" y="789"/>
                  </a:lnTo>
                  <a:lnTo>
                    <a:pt x="365" y="791"/>
                  </a:lnTo>
                  <a:lnTo>
                    <a:pt x="363" y="791"/>
                  </a:lnTo>
                  <a:lnTo>
                    <a:pt x="363" y="789"/>
                  </a:lnTo>
                  <a:lnTo>
                    <a:pt x="360" y="789"/>
                  </a:lnTo>
                  <a:lnTo>
                    <a:pt x="360" y="787"/>
                  </a:lnTo>
                  <a:lnTo>
                    <a:pt x="363" y="787"/>
                  </a:lnTo>
                  <a:lnTo>
                    <a:pt x="360" y="787"/>
                  </a:lnTo>
                  <a:lnTo>
                    <a:pt x="363" y="787"/>
                  </a:lnTo>
                  <a:lnTo>
                    <a:pt x="363" y="784"/>
                  </a:lnTo>
                  <a:lnTo>
                    <a:pt x="365" y="784"/>
                  </a:lnTo>
                  <a:lnTo>
                    <a:pt x="365" y="782"/>
                  </a:lnTo>
                  <a:lnTo>
                    <a:pt x="367" y="782"/>
                  </a:lnTo>
                  <a:lnTo>
                    <a:pt x="370" y="782"/>
                  </a:lnTo>
                  <a:lnTo>
                    <a:pt x="372" y="782"/>
                  </a:lnTo>
                  <a:lnTo>
                    <a:pt x="372" y="780"/>
                  </a:lnTo>
                  <a:lnTo>
                    <a:pt x="370" y="780"/>
                  </a:lnTo>
                  <a:lnTo>
                    <a:pt x="370" y="782"/>
                  </a:lnTo>
                  <a:lnTo>
                    <a:pt x="367" y="782"/>
                  </a:lnTo>
                  <a:lnTo>
                    <a:pt x="365" y="782"/>
                  </a:lnTo>
                  <a:lnTo>
                    <a:pt x="363" y="782"/>
                  </a:lnTo>
                  <a:lnTo>
                    <a:pt x="363" y="784"/>
                  </a:lnTo>
                  <a:lnTo>
                    <a:pt x="360" y="784"/>
                  </a:lnTo>
                  <a:lnTo>
                    <a:pt x="358" y="784"/>
                  </a:lnTo>
                  <a:lnTo>
                    <a:pt x="356" y="784"/>
                  </a:lnTo>
                  <a:lnTo>
                    <a:pt x="353" y="784"/>
                  </a:lnTo>
                  <a:lnTo>
                    <a:pt x="353" y="782"/>
                  </a:lnTo>
                  <a:lnTo>
                    <a:pt x="351" y="782"/>
                  </a:lnTo>
                  <a:lnTo>
                    <a:pt x="351" y="780"/>
                  </a:lnTo>
                  <a:lnTo>
                    <a:pt x="353" y="780"/>
                  </a:lnTo>
                  <a:lnTo>
                    <a:pt x="356" y="780"/>
                  </a:lnTo>
                  <a:lnTo>
                    <a:pt x="358" y="780"/>
                  </a:lnTo>
                  <a:lnTo>
                    <a:pt x="356" y="780"/>
                  </a:lnTo>
                  <a:lnTo>
                    <a:pt x="353" y="777"/>
                  </a:lnTo>
                  <a:lnTo>
                    <a:pt x="351" y="777"/>
                  </a:lnTo>
                  <a:lnTo>
                    <a:pt x="348" y="777"/>
                  </a:lnTo>
                  <a:lnTo>
                    <a:pt x="351" y="777"/>
                  </a:lnTo>
                  <a:lnTo>
                    <a:pt x="351" y="775"/>
                  </a:lnTo>
                  <a:lnTo>
                    <a:pt x="353" y="775"/>
                  </a:lnTo>
                  <a:lnTo>
                    <a:pt x="356" y="775"/>
                  </a:lnTo>
                  <a:lnTo>
                    <a:pt x="353" y="775"/>
                  </a:lnTo>
                  <a:lnTo>
                    <a:pt x="351" y="775"/>
                  </a:lnTo>
                  <a:lnTo>
                    <a:pt x="353" y="772"/>
                  </a:lnTo>
                  <a:lnTo>
                    <a:pt x="356" y="772"/>
                  </a:lnTo>
                  <a:lnTo>
                    <a:pt x="358" y="772"/>
                  </a:lnTo>
                  <a:lnTo>
                    <a:pt x="358" y="775"/>
                  </a:lnTo>
                  <a:lnTo>
                    <a:pt x="360" y="775"/>
                  </a:lnTo>
                  <a:lnTo>
                    <a:pt x="360" y="772"/>
                  </a:lnTo>
                  <a:lnTo>
                    <a:pt x="363" y="772"/>
                  </a:lnTo>
                  <a:lnTo>
                    <a:pt x="363" y="775"/>
                  </a:lnTo>
                  <a:lnTo>
                    <a:pt x="365" y="775"/>
                  </a:lnTo>
                  <a:lnTo>
                    <a:pt x="363" y="775"/>
                  </a:lnTo>
                  <a:lnTo>
                    <a:pt x="363" y="772"/>
                  </a:lnTo>
                  <a:lnTo>
                    <a:pt x="360" y="772"/>
                  </a:lnTo>
                  <a:lnTo>
                    <a:pt x="358" y="772"/>
                  </a:lnTo>
                  <a:lnTo>
                    <a:pt x="358" y="770"/>
                  </a:lnTo>
                  <a:lnTo>
                    <a:pt x="360" y="770"/>
                  </a:lnTo>
                  <a:lnTo>
                    <a:pt x="363" y="770"/>
                  </a:lnTo>
                  <a:lnTo>
                    <a:pt x="365" y="770"/>
                  </a:lnTo>
                  <a:lnTo>
                    <a:pt x="365" y="772"/>
                  </a:lnTo>
                  <a:lnTo>
                    <a:pt x="367" y="772"/>
                  </a:lnTo>
                  <a:lnTo>
                    <a:pt x="370" y="775"/>
                  </a:lnTo>
                  <a:lnTo>
                    <a:pt x="372" y="775"/>
                  </a:lnTo>
                  <a:lnTo>
                    <a:pt x="370" y="775"/>
                  </a:lnTo>
                  <a:lnTo>
                    <a:pt x="372" y="775"/>
                  </a:lnTo>
                  <a:lnTo>
                    <a:pt x="372" y="772"/>
                  </a:lnTo>
                  <a:lnTo>
                    <a:pt x="370" y="775"/>
                  </a:lnTo>
                  <a:lnTo>
                    <a:pt x="370" y="772"/>
                  </a:lnTo>
                  <a:lnTo>
                    <a:pt x="367" y="772"/>
                  </a:lnTo>
                  <a:lnTo>
                    <a:pt x="367" y="770"/>
                  </a:lnTo>
                  <a:lnTo>
                    <a:pt x="365" y="770"/>
                  </a:lnTo>
                  <a:lnTo>
                    <a:pt x="363" y="770"/>
                  </a:lnTo>
                  <a:lnTo>
                    <a:pt x="360" y="768"/>
                  </a:lnTo>
                  <a:lnTo>
                    <a:pt x="358" y="768"/>
                  </a:lnTo>
                  <a:lnTo>
                    <a:pt x="358" y="765"/>
                  </a:lnTo>
                  <a:lnTo>
                    <a:pt x="358" y="768"/>
                  </a:lnTo>
                  <a:lnTo>
                    <a:pt x="358" y="765"/>
                  </a:lnTo>
                  <a:lnTo>
                    <a:pt x="358" y="763"/>
                  </a:lnTo>
                  <a:lnTo>
                    <a:pt x="358" y="765"/>
                  </a:lnTo>
                  <a:lnTo>
                    <a:pt x="356" y="765"/>
                  </a:lnTo>
                  <a:lnTo>
                    <a:pt x="356" y="763"/>
                  </a:lnTo>
                  <a:lnTo>
                    <a:pt x="356" y="765"/>
                  </a:lnTo>
                  <a:lnTo>
                    <a:pt x="356" y="768"/>
                  </a:lnTo>
                  <a:lnTo>
                    <a:pt x="353" y="768"/>
                  </a:lnTo>
                  <a:lnTo>
                    <a:pt x="353" y="770"/>
                  </a:lnTo>
                  <a:lnTo>
                    <a:pt x="351" y="770"/>
                  </a:lnTo>
                  <a:lnTo>
                    <a:pt x="351" y="772"/>
                  </a:lnTo>
                  <a:lnTo>
                    <a:pt x="348" y="772"/>
                  </a:lnTo>
                  <a:lnTo>
                    <a:pt x="348" y="775"/>
                  </a:lnTo>
                  <a:lnTo>
                    <a:pt x="346" y="775"/>
                  </a:lnTo>
                  <a:lnTo>
                    <a:pt x="346" y="772"/>
                  </a:lnTo>
                  <a:lnTo>
                    <a:pt x="346" y="775"/>
                  </a:lnTo>
                  <a:lnTo>
                    <a:pt x="344" y="775"/>
                  </a:lnTo>
                  <a:lnTo>
                    <a:pt x="341" y="775"/>
                  </a:lnTo>
                  <a:lnTo>
                    <a:pt x="341" y="777"/>
                  </a:lnTo>
                  <a:lnTo>
                    <a:pt x="339" y="777"/>
                  </a:lnTo>
                  <a:lnTo>
                    <a:pt x="337" y="777"/>
                  </a:lnTo>
                  <a:lnTo>
                    <a:pt x="337" y="775"/>
                  </a:lnTo>
                  <a:lnTo>
                    <a:pt x="337" y="777"/>
                  </a:lnTo>
                  <a:lnTo>
                    <a:pt x="337" y="775"/>
                  </a:lnTo>
                  <a:lnTo>
                    <a:pt x="334" y="775"/>
                  </a:lnTo>
                  <a:lnTo>
                    <a:pt x="337" y="775"/>
                  </a:lnTo>
                  <a:lnTo>
                    <a:pt x="339" y="775"/>
                  </a:lnTo>
                  <a:lnTo>
                    <a:pt x="339" y="772"/>
                  </a:lnTo>
                  <a:lnTo>
                    <a:pt x="337" y="772"/>
                  </a:lnTo>
                  <a:lnTo>
                    <a:pt x="339" y="772"/>
                  </a:lnTo>
                  <a:lnTo>
                    <a:pt x="341" y="772"/>
                  </a:lnTo>
                  <a:lnTo>
                    <a:pt x="344" y="770"/>
                  </a:lnTo>
                  <a:lnTo>
                    <a:pt x="344" y="772"/>
                  </a:lnTo>
                  <a:lnTo>
                    <a:pt x="346" y="772"/>
                  </a:lnTo>
                  <a:lnTo>
                    <a:pt x="346" y="770"/>
                  </a:lnTo>
                  <a:lnTo>
                    <a:pt x="348" y="770"/>
                  </a:lnTo>
                  <a:lnTo>
                    <a:pt x="346" y="770"/>
                  </a:lnTo>
                  <a:lnTo>
                    <a:pt x="344" y="770"/>
                  </a:lnTo>
                  <a:lnTo>
                    <a:pt x="344" y="768"/>
                  </a:lnTo>
                  <a:lnTo>
                    <a:pt x="344" y="770"/>
                  </a:lnTo>
                  <a:lnTo>
                    <a:pt x="341" y="770"/>
                  </a:lnTo>
                  <a:lnTo>
                    <a:pt x="344" y="770"/>
                  </a:lnTo>
                  <a:lnTo>
                    <a:pt x="341" y="770"/>
                  </a:lnTo>
                  <a:lnTo>
                    <a:pt x="339" y="770"/>
                  </a:lnTo>
                  <a:lnTo>
                    <a:pt x="337" y="770"/>
                  </a:lnTo>
                  <a:lnTo>
                    <a:pt x="339" y="770"/>
                  </a:lnTo>
                  <a:lnTo>
                    <a:pt x="339" y="768"/>
                  </a:lnTo>
                  <a:lnTo>
                    <a:pt x="339" y="770"/>
                  </a:lnTo>
                  <a:lnTo>
                    <a:pt x="339" y="768"/>
                  </a:lnTo>
                  <a:lnTo>
                    <a:pt x="337" y="768"/>
                  </a:lnTo>
                  <a:lnTo>
                    <a:pt x="339" y="768"/>
                  </a:lnTo>
                  <a:lnTo>
                    <a:pt x="337" y="768"/>
                  </a:lnTo>
                  <a:lnTo>
                    <a:pt x="339" y="768"/>
                  </a:lnTo>
                  <a:lnTo>
                    <a:pt x="337" y="768"/>
                  </a:lnTo>
                  <a:lnTo>
                    <a:pt x="334" y="768"/>
                  </a:lnTo>
                  <a:lnTo>
                    <a:pt x="337" y="768"/>
                  </a:lnTo>
                  <a:lnTo>
                    <a:pt x="334" y="768"/>
                  </a:lnTo>
                  <a:lnTo>
                    <a:pt x="337" y="768"/>
                  </a:lnTo>
                  <a:lnTo>
                    <a:pt x="337" y="765"/>
                  </a:lnTo>
                  <a:lnTo>
                    <a:pt x="337" y="768"/>
                  </a:lnTo>
                  <a:lnTo>
                    <a:pt x="337" y="765"/>
                  </a:lnTo>
                  <a:lnTo>
                    <a:pt x="339" y="765"/>
                  </a:lnTo>
                  <a:lnTo>
                    <a:pt x="341" y="765"/>
                  </a:lnTo>
                  <a:lnTo>
                    <a:pt x="344" y="765"/>
                  </a:lnTo>
                  <a:lnTo>
                    <a:pt x="346" y="765"/>
                  </a:lnTo>
                  <a:lnTo>
                    <a:pt x="346" y="763"/>
                  </a:lnTo>
                  <a:lnTo>
                    <a:pt x="344" y="765"/>
                  </a:lnTo>
                  <a:lnTo>
                    <a:pt x="341" y="765"/>
                  </a:lnTo>
                  <a:lnTo>
                    <a:pt x="339" y="765"/>
                  </a:lnTo>
                  <a:lnTo>
                    <a:pt x="339" y="763"/>
                  </a:lnTo>
                  <a:lnTo>
                    <a:pt x="341" y="763"/>
                  </a:lnTo>
                  <a:lnTo>
                    <a:pt x="344" y="763"/>
                  </a:lnTo>
                  <a:lnTo>
                    <a:pt x="346" y="763"/>
                  </a:lnTo>
                  <a:lnTo>
                    <a:pt x="348" y="763"/>
                  </a:lnTo>
                  <a:lnTo>
                    <a:pt x="351" y="763"/>
                  </a:lnTo>
                  <a:lnTo>
                    <a:pt x="351" y="765"/>
                  </a:lnTo>
                  <a:lnTo>
                    <a:pt x="348" y="765"/>
                  </a:lnTo>
                  <a:lnTo>
                    <a:pt x="351" y="765"/>
                  </a:lnTo>
                  <a:lnTo>
                    <a:pt x="353" y="763"/>
                  </a:lnTo>
                  <a:lnTo>
                    <a:pt x="353" y="761"/>
                  </a:lnTo>
                  <a:lnTo>
                    <a:pt x="356" y="761"/>
                  </a:lnTo>
                  <a:lnTo>
                    <a:pt x="356" y="763"/>
                  </a:lnTo>
                  <a:lnTo>
                    <a:pt x="356" y="761"/>
                  </a:lnTo>
                  <a:lnTo>
                    <a:pt x="358" y="761"/>
                  </a:lnTo>
                  <a:lnTo>
                    <a:pt x="360" y="761"/>
                  </a:lnTo>
                  <a:lnTo>
                    <a:pt x="363" y="761"/>
                  </a:lnTo>
                  <a:lnTo>
                    <a:pt x="365" y="761"/>
                  </a:lnTo>
                  <a:lnTo>
                    <a:pt x="365" y="758"/>
                  </a:lnTo>
                  <a:lnTo>
                    <a:pt x="367" y="758"/>
                  </a:lnTo>
                  <a:lnTo>
                    <a:pt x="370" y="758"/>
                  </a:lnTo>
                  <a:lnTo>
                    <a:pt x="370" y="761"/>
                  </a:lnTo>
                  <a:lnTo>
                    <a:pt x="372" y="761"/>
                  </a:lnTo>
                  <a:lnTo>
                    <a:pt x="372" y="763"/>
                  </a:lnTo>
                  <a:lnTo>
                    <a:pt x="372" y="761"/>
                  </a:lnTo>
                  <a:lnTo>
                    <a:pt x="372" y="763"/>
                  </a:lnTo>
                  <a:lnTo>
                    <a:pt x="372" y="761"/>
                  </a:lnTo>
                  <a:lnTo>
                    <a:pt x="375" y="758"/>
                  </a:lnTo>
                  <a:lnTo>
                    <a:pt x="372" y="758"/>
                  </a:lnTo>
                  <a:lnTo>
                    <a:pt x="375" y="758"/>
                  </a:lnTo>
                  <a:lnTo>
                    <a:pt x="377" y="758"/>
                  </a:lnTo>
                  <a:lnTo>
                    <a:pt x="377" y="756"/>
                  </a:lnTo>
                  <a:lnTo>
                    <a:pt x="375" y="756"/>
                  </a:lnTo>
                  <a:lnTo>
                    <a:pt x="377" y="756"/>
                  </a:lnTo>
                  <a:lnTo>
                    <a:pt x="375" y="756"/>
                  </a:lnTo>
                  <a:lnTo>
                    <a:pt x="372" y="753"/>
                  </a:lnTo>
                  <a:lnTo>
                    <a:pt x="370" y="753"/>
                  </a:lnTo>
                  <a:lnTo>
                    <a:pt x="367" y="753"/>
                  </a:lnTo>
                  <a:lnTo>
                    <a:pt x="370" y="753"/>
                  </a:lnTo>
                  <a:lnTo>
                    <a:pt x="370" y="756"/>
                  </a:lnTo>
                  <a:lnTo>
                    <a:pt x="367" y="756"/>
                  </a:lnTo>
                  <a:lnTo>
                    <a:pt x="367" y="753"/>
                  </a:lnTo>
                  <a:lnTo>
                    <a:pt x="365" y="753"/>
                  </a:lnTo>
                  <a:lnTo>
                    <a:pt x="363" y="753"/>
                  </a:lnTo>
                  <a:lnTo>
                    <a:pt x="363" y="751"/>
                  </a:lnTo>
                  <a:lnTo>
                    <a:pt x="360" y="751"/>
                  </a:lnTo>
                  <a:lnTo>
                    <a:pt x="360" y="753"/>
                  </a:lnTo>
                  <a:lnTo>
                    <a:pt x="358" y="753"/>
                  </a:lnTo>
                  <a:lnTo>
                    <a:pt x="358" y="756"/>
                  </a:lnTo>
                  <a:lnTo>
                    <a:pt x="358" y="753"/>
                  </a:lnTo>
                  <a:lnTo>
                    <a:pt x="358" y="756"/>
                  </a:lnTo>
                  <a:lnTo>
                    <a:pt x="356" y="756"/>
                  </a:lnTo>
                  <a:lnTo>
                    <a:pt x="353" y="756"/>
                  </a:lnTo>
                  <a:lnTo>
                    <a:pt x="353" y="753"/>
                  </a:lnTo>
                  <a:lnTo>
                    <a:pt x="356" y="753"/>
                  </a:lnTo>
                  <a:lnTo>
                    <a:pt x="353" y="753"/>
                  </a:lnTo>
                  <a:lnTo>
                    <a:pt x="356" y="753"/>
                  </a:lnTo>
                  <a:lnTo>
                    <a:pt x="353" y="753"/>
                  </a:lnTo>
                  <a:lnTo>
                    <a:pt x="356" y="753"/>
                  </a:lnTo>
                  <a:lnTo>
                    <a:pt x="353" y="751"/>
                  </a:lnTo>
                  <a:lnTo>
                    <a:pt x="356" y="751"/>
                  </a:lnTo>
                  <a:lnTo>
                    <a:pt x="358" y="749"/>
                  </a:lnTo>
                  <a:lnTo>
                    <a:pt x="356" y="749"/>
                  </a:lnTo>
                  <a:lnTo>
                    <a:pt x="358" y="749"/>
                  </a:lnTo>
                  <a:lnTo>
                    <a:pt x="360" y="749"/>
                  </a:lnTo>
                  <a:lnTo>
                    <a:pt x="360" y="746"/>
                  </a:lnTo>
                  <a:lnTo>
                    <a:pt x="360" y="749"/>
                  </a:lnTo>
                  <a:lnTo>
                    <a:pt x="360" y="751"/>
                  </a:lnTo>
                  <a:lnTo>
                    <a:pt x="360" y="749"/>
                  </a:lnTo>
                  <a:lnTo>
                    <a:pt x="363" y="749"/>
                  </a:lnTo>
                  <a:lnTo>
                    <a:pt x="360" y="749"/>
                  </a:lnTo>
                  <a:lnTo>
                    <a:pt x="363" y="749"/>
                  </a:lnTo>
                  <a:lnTo>
                    <a:pt x="365" y="749"/>
                  </a:lnTo>
                  <a:lnTo>
                    <a:pt x="365" y="746"/>
                  </a:lnTo>
                  <a:lnTo>
                    <a:pt x="363" y="746"/>
                  </a:lnTo>
                  <a:lnTo>
                    <a:pt x="365" y="746"/>
                  </a:lnTo>
                  <a:lnTo>
                    <a:pt x="363" y="746"/>
                  </a:lnTo>
                  <a:lnTo>
                    <a:pt x="365" y="746"/>
                  </a:lnTo>
                  <a:lnTo>
                    <a:pt x="363" y="746"/>
                  </a:lnTo>
                  <a:lnTo>
                    <a:pt x="365" y="746"/>
                  </a:lnTo>
                  <a:lnTo>
                    <a:pt x="367" y="746"/>
                  </a:lnTo>
                  <a:lnTo>
                    <a:pt x="367" y="749"/>
                  </a:lnTo>
                  <a:lnTo>
                    <a:pt x="365" y="749"/>
                  </a:lnTo>
                  <a:lnTo>
                    <a:pt x="367" y="749"/>
                  </a:lnTo>
                  <a:lnTo>
                    <a:pt x="367" y="751"/>
                  </a:lnTo>
                  <a:lnTo>
                    <a:pt x="365" y="751"/>
                  </a:lnTo>
                  <a:lnTo>
                    <a:pt x="363" y="751"/>
                  </a:lnTo>
                  <a:lnTo>
                    <a:pt x="365" y="751"/>
                  </a:lnTo>
                  <a:lnTo>
                    <a:pt x="363" y="751"/>
                  </a:lnTo>
                  <a:lnTo>
                    <a:pt x="363" y="753"/>
                  </a:lnTo>
                  <a:lnTo>
                    <a:pt x="365" y="753"/>
                  </a:lnTo>
                  <a:lnTo>
                    <a:pt x="365" y="751"/>
                  </a:lnTo>
                  <a:lnTo>
                    <a:pt x="367" y="751"/>
                  </a:lnTo>
                  <a:lnTo>
                    <a:pt x="370" y="751"/>
                  </a:lnTo>
                  <a:lnTo>
                    <a:pt x="370" y="749"/>
                  </a:lnTo>
                  <a:lnTo>
                    <a:pt x="370" y="751"/>
                  </a:lnTo>
                  <a:lnTo>
                    <a:pt x="372" y="751"/>
                  </a:lnTo>
                  <a:lnTo>
                    <a:pt x="372" y="749"/>
                  </a:lnTo>
                  <a:lnTo>
                    <a:pt x="375" y="749"/>
                  </a:lnTo>
                  <a:lnTo>
                    <a:pt x="375" y="746"/>
                  </a:lnTo>
                  <a:lnTo>
                    <a:pt x="372" y="749"/>
                  </a:lnTo>
                  <a:lnTo>
                    <a:pt x="372" y="746"/>
                  </a:lnTo>
                  <a:lnTo>
                    <a:pt x="372" y="744"/>
                  </a:lnTo>
                  <a:lnTo>
                    <a:pt x="372" y="746"/>
                  </a:lnTo>
                  <a:lnTo>
                    <a:pt x="375" y="746"/>
                  </a:lnTo>
                  <a:lnTo>
                    <a:pt x="375" y="744"/>
                  </a:lnTo>
                  <a:lnTo>
                    <a:pt x="375" y="746"/>
                  </a:lnTo>
                  <a:lnTo>
                    <a:pt x="375" y="744"/>
                  </a:lnTo>
                  <a:lnTo>
                    <a:pt x="375" y="742"/>
                  </a:lnTo>
                  <a:lnTo>
                    <a:pt x="377" y="742"/>
                  </a:lnTo>
                  <a:lnTo>
                    <a:pt x="379" y="742"/>
                  </a:lnTo>
                  <a:lnTo>
                    <a:pt x="379" y="744"/>
                  </a:lnTo>
                  <a:lnTo>
                    <a:pt x="382" y="744"/>
                  </a:lnTo>
                  <a:lnTo>
                    <a:pt x="379" y="744"/>
                  </a:lnTo>
                  <a:lnTo>
                    <a:pt x="379" y="746"/>
                  </a:lnTo>
                  <a:lnTo>
                    <a:pt x="377" y="746"/>
                  </a:lnTo>
                  <a:lnTo>
                    <a:pt x="379" y="746"/>
                  </a:lnTo>
                  <a:lnTo>
                    <a:pt x="379" y="744"/>
                  </a:lnTo>
                  <a:lnTo>
                    <a:pt x="379" y="746"/>
                  </a:lnTo>
                  <a:lnTo>
                    <a:pt x="382" y="746"/>
                  </a:lnTo>
                  <a:lnTo>
                    <a:pt x="382" y="749"/>
                  </a:lnTo>
                  <a:lnTo>
                    <a:pt x="379" y="749"/>
                  </a:lnTo>
                  <a:lnTo>
                    <a:pt x="382" y="749"/>
                  </a:lnTo>
                  <a:lnTo>
                    <a:pt x="379" y="749"/>
                  </a:lnTo>
                  <a:lnTo>
                    <a:pt x="379" y="751"/>
                  </a:lnTo>
                  <a:lnTo>
                    <a:pt x="379" y="753"/>
                  </a:lnTo>
                  <a:lnTo>
                    <a:pt x="379" y="756"/>
                  </a:lnTo>
                  <a:lnTo>
                    <a:pt x="382" y="756"/>
                  </a:lnTo>
                  <a:lnTo>
                    <a:pt x="382" y="758"/>
                  </a:lnTo>
                  <a:lnTo>
                    <a:pt x="384" y="758"/>
                  </a:lnTo>
                  <a:lnTo>
                    <a:pt x="384" y="761"/>
                  </a:lnTo>
                  <a:lnTo>
                    <a:pt x="384" y="763"/>
                  </a:lnTo>
                  <a:lnTo>
                    <a:pt x="386" y="763"/>
                  </a:lnTo>
                  <a:lnTo>
                    <a:pt x="386" y="765"/>
                  </a:lnTo>
                  <a:lnTo>
                    <a:pt x="389" y="765"/>
                  </a:lnTo>
                  <a:lnTo>
                    <a:pt x="391" y="765"/>
                  </a:lnTo>
                  <a:lnTo>
                    <a:pt x="391" y="768"/>
                  </a:lnTo>
                  <a:lnTo>
                    <a:pt x="394" y="768"/>
                  </a:lnTo>
                  <a:lnTo>
                    <a:pt x="391" y="768"/>
                  </a:lnTo>
                  <a:lnTo>
                    <a:pt x="391" y="765"/>
                  </a:lnTo>
                  <a:lnTo>
                    <a:pt x="389" y="765"/>
                  </a:lnTo>
                  <a:lnTo>
                    <a:pt x="389" y="763"/>
                  </a:lnTo>
                  <a:lnTo>
                    <a:pt x="386" y="763"/>
                  </a:lnTo>
                  <a:lnTo>
                    <a:pt x="384" y="763"/>
                  </a:lnTo>
                  <a:lnTo>
                    <a:pt x="384" y="761"/>
                  </a:lnTo>
                  <a:lnTo>
                    <a:pt x="386" y="761"/>
                  </a:lnTo>
                  <a:lnTo>
                    <a:pt x="386" y="758"/>
                  </a:lnTo>
                  <a:lnTo>
                    <a:pt x="384" y="758"/>
                  </a:lnTo>
                  <a:lnTo>
                    <a:pt x="386" y="758"/>
                  </a:lnTo>
                  <a:lnTo>
                    <a:pt x="384" y="756"/>
                  </a:lnTo>
                  <a:lnTo>
                    <a:pt x="382" y="756"/>
                  </a:lnTo>
                  <a:lnTo>
                    <a:pt x="384" y="756"/>
                  </a:lnTo>
                  <a:lnTo>
                    <a:pt x="384" y="753"/>
                  </a:lnTo>
                  <a:lnTo>
                    <a:pt x="384" y="756"/>
                  </a:lnTo>
                  <a:lnTo>
                    <a:pt x="386" y="756"/>
                  </a:lnTo>
                  <a:lnTo>
                    <a:pt x="386" y="758"/>
                  </a:lnTo>
                  <a:lnTo>
                    <a:pt x="389" y="758"/>
                  </a:lnTo>
                  <a:lnTo>
                    <a:pt x="389" y="761"/>
                  </a:lnTo>
                  <a:lnTo>
                    <a:pt x="391" y="761"/>
                  </a:lnTo>
                  <a:lnTo>
                    <a:pt x="391" y="758"/>
                  </a:lnTo>
                  <a:lnTo>
                    <a:pt x="391" y="761"/>
                  </a:lnTo>
                  <a:lnTo>
                    <a:pt x="391" y="758"/>
                  </a:lnTo>
                  <a:lnTo>
                    <a:pt x="389" y="761"/>
                  </a:lnTo>
                  <a:lnTo>
                    <a:pt x="389" y="758"/>
                  </a:lnTo>
                  <a:lnTo>
                    <a:pt x="386" y="756"/>
                  </a:lnTo>
                  <a:lnTo>
                    <a:pt x="389" y="756"/>
                  </a:lnTo>
                  <a:lnTo>
                    <a:pt x="386" y="756"/>
                  </a:lnTo>
                  <a:lnTo>
                    <a:pt x="389" y="756"/>
                  </a:lnTo>
                  <a:lnTo>
                    <a:pt x="391" y="756"/>
                  </a:lnTo>
                  <a:lnTo>
                    <a:pt x="391" y="758"/>
                  </a:lnTo>
                  <a:lnTo>
                    <a:pt x="394" y="758"/>
                  </a:lnTo>
                  <a:lnTo>
                    <a:pt x="391" y="758"/>
                  </a:lnTo>
                  <a:lnTo>
                    <a:pt x="394" y="758"/>
                  </a:lnTo>
                  <a:lnTo>
                    <a:pt x="391" y="758"/>
                  </a:lnTo>
                  <a:lnTo>
                    <a:pt x="394" y="758"/>
                  </a:lnTo>
                  <a:lnTo>
                    <a:pt x="391" y="758"/>
                  </a:lnTo>
                  <a:lnTo>
                    <a:pt x="391" y="756"/>
                  </a:lnTo>
                  <a:lnTo>
                    <a:pt x="394" y="756"/>
                  </a:lnTo>
                  <a:lnTo>
                    <a:pt x="391" y="756"/>
                  </a:lnTo>
                  <a:lnTo>
                    <a:pt x="391" y="753"/>
                  </a:lnTo>
                  <a:lnTo>
                    <a:pt x="389" y="753"/>
                  </a:lnTo>
                  <a:lnTo>
                    <a:pt x="389" y="756"/>
                  </a:lnTo>
                  <a:lnTo>
                    <a:pt x="389" y="753"/>
                  </a:lnTo>
                  <a:lnTo>
                    <a:pt x="389" y="751"/>
                  </a:lnTo>
                  <a:lnTo>
                    <a:pt x="391" y="751"/>
                  </a:lnTo>
                  <a:lnTo>
                    <a:pt x="391" y="749"/>
                  </a:lnTo>
                  <a:lnTo>
                    <a:pt x="394" y="749"/>
                  </a:lnTo>
                  <a:lnTo>
                    <a:pt x="394" y="751"/>
                  </a:lnTo>
                  <a:lnTo>
                    <a:pt x="396" y="751"/>
                  </a:lnTo>
                  <a:lnTo>
                    <a:pt x="398" y="751"/>
                  </a:lnTo>
                  <a:lnTo>
                    <a:pt x="398" y="753"/>
                  </a:lnTo>
                  <a:lnTo>
                    <a:pt x="398" y="751"/>
                  </a:lnTo>
                  <a:lnTo>
                    <a:pt x="401" y="751"/>
                  </a:lnTo>
                  <a:lnTo>
                    <a:pt x="398" y="751"/>
                  </a:lnTo>
                  <a:lnTo>
                    <a:pt x="396" y="751"/>
                  </a:lnTo>
                  <a:lnTo>
                    <a:pt x="394" y="751"/>
                  </a:lnTo>
                  <a:lnTo>
                    <a:pt x="394" y="749"/>
                  </a:lnTo>
                  <a:lnTo>
                    <a:pt x="391" y="749"/>
                  </a:lnTo>
                  <a:lnTo>
                    <a:pt x="391" y="751"/>
                  </a:lnTo>
                  <a:lnTo>
                    <a:pt x="389" y="751"/>
                  </a:lnTo>
                  <a:lnTo>
                    <a:pt x="386" y="751"/>
                  </a:lnTo>
                  <a:lnTo>
                    <a:pt x="386" y="749"/>
                  </a:lnTo>
                  <a:lnTo>
                    <a:pt x="384" y="749"/>
                  </a:lnTo>
                  <a:lnTo>
                    <a:pt x="386" y="749"/>
                  </a:lnTo>
                  <a:lnTo>
                    <a:pt x="384" y="749"/>
                  </a:lnTo>
                  <a:lnTo>
                    <a:pt x="386" y="749"/>
                  </a:lnTo>
                  <a:lnTo>
                    <a:pt x="389" y="749"/>
                  </a:lnTo>
                  <a:lnTo>
                    <a:pt x="386" y="749"/>
                  </a:lnTo>
                  <a:lnTo>
                    <a:pt x="389" y="749"/>
                  </a:lnTo>
                  <a:lnTo>
                    <a:pt x="389" y="746"/>
                  </a:lnTo>
                  <a:lnTo>
                    <a:pt x="389" y="749"/>
                  </a:lnTo>
                  <a:lnTo>
                    <a:pt x="391" y="749"/>
                  </a:lnTo>
                  <a:lnTo>
                    <a:pt x="389" y="749"/>
                  </a:lnTo>
                  <a:lnTo>
                    <a:pt x="389" y="746"/>
                  </a:lnTo>
                  <a:lnTo>
                    <a:pt x="391" y="746"/>
                  </a:lnTo>
                  <a:lnTo>
                    <a:pt x="389" y="746"/>
                  </a:lnTo>
                  <a:lnTo>
                    <a:pt x="391" y="746"/>
                  </a:lnTo>
                  <a:lnTo>
                    <a:pt x="394" y="746"/>
                  </a:lnTo>
                  <a:lnTo>
                    <a:pt x="391" y="746"/>
                  </a:lnTo>
                  <a:lnTo>
                    <a:pt x="394" y="746"/>
                  </a:lnTo>
                  <a:lnTo>
                    <a:pt x="391" y="746"/>
                  </a:lnTo>
                  <a:lnTo>
                    <a:pt x="391" y="744"/>
                  </a:lnTo>
                  <a:lnTo>
                    <a:pt x="389" y="744"/>
                  </a:lnTo>
                  <a:lnTo>
                    <a:pt x="391" y="744"/>
                  </a:lnTo>
                  <a:lnTo>
                    <a:pt x="391" y="746"/>
                  </a:lnTo>
                  <a:lnTo>
                    <a:pt x="394" y="746"/>
                  </a:lnTo>
                  <a:lnTo>
                    <a:pt x="396" y="746"/>
                  </a:lnTo>
                  <a:lnTo>
                    <a:pt x="394" y="746"/>
                  </a:lnTo>
                  <a:lnTo>
                    <a:pt x="394" y="744"/>
                  </a:lnTo>
                  <a:lnTo>
                    <a:pt x="391" y="744"/>
                  </a:lnTo>
                  <a:lnTo>
                    <a:pt x="394" y="742"/>
                  </a:lnTo>
                  <a:lnTo>
                    <a:pt x="391" y="742"/>
                  </a:lnTo>
                  <a:lnTo>
                    <a:pt x="391" y="744"/>
                  </a:lnTo>
                  <a:lnTo>
                    <a:pt x="389" y="744"/>
                  </a:lnTo>
                  <a:lnTo>
                    <a:pt x="386" y="744"/>
                  </a:lnTo>
                  <a:lnTo>
                    <a:pt x="384" y="744"/>
                  </a:lnTo>
                  <a:lnTo>
                    <a:pt x="382" y="744"/>
                  </a:lnTo>
                  <a:lnTo>
                    <a:pt x="384" y="744"/>
                  </a:lnTo>
                  <a:lnTo>
                    <a:pt x="386" y="744"/>
                  </a:lnTo>
                  <a:lnTo>
                    <a:pt x="386" y="742"/>
                  </a:lnTo>
                  <a:lnTo>
                    <a:pt x="389" y="742"/>
                  </a:lnTo>
                  <a:lnTo>
                    <a:pt x="386" y="742"/>
                  </a:lnTo>
                  <a:lnTo>
                    <a:pt x="384" y="742"/>
                  </a:lnTo>
                  <a:lnTo>
                    <a:pt x="382" y="739"/>
                  </a:lnTo>
                  <a:lnTo>
                    <a:pt x="382" y="737"/>
                  </a:lnTo>
                  <a:lnTo>
                    <a:pt x="384" y="739"/>
                  </a:lnTo>
                  <a:lnTo>
                    <a:pt x="384" y="737"/>
                  </a:lnTo>
                  <a:lnTo>
                    <a:pt x="386" y="737"/>
                  </a:lnTo>
                  <a:lnTo>
                    <a:pt x="384" y="737"/>
                  </a:lnTo>
                  <a:lnTo>
                    <a:pt x="384" y="739"/>
                  </a:lnTo>
                  <a:lnTo>
                    <a:pt x="386" y="739"/>
                  </a:lnTo>
                  <a:lnTo>
                    <a:pt x="389" y="739"/>
                  </a:lnTo>
                  <a:lnTo>
                    <a:pt x="391" y="739"/>
                  </a:lnTo>
                  <a:lnTo>
                    <a:pt x="389" y="739"/>
                  </a:lnTo>
                  <a:lnTo>
                    <a:pt x="391" y="739"/>
                  </a:lnTo>
                  <a:lnTo>
                    <a:pt x="394" y="739"/>
                  </a:lnTo>
                  <a:lnTo>
                    <a:pt x="394" y="742"/>
                  </a:lnTo>
                  <a:lnTo>
                    <a:pt x="396" y="742"/>
                  </a:lnTo>
                  <a:lnTo>
                    <a:pt x="396" y="744"/>
                  </a:lnTo>
                  <a:lnTo>
                    <a:pt x="398" y="746"/>
                  </a:lnTo>
                  <a:lnTo>
                    <a:pt x="401" y="746"/>
                  </a:lnTo>
                  <a:lnTo>
                    <a:pt x="403" y="749"/>
                  </a:lnTo>
                  <a:lnTo>
                    <a:pt x="403" y="746"/>
                  </a:lnTo>
                  <a:lnTo>
                    <a:pt x="401" y="746"/>
                  </a:lnTo>
                  <a:lnTo>
                    <a:pt x="398" y="744"/>
                  </a:lnTo>
                  <a:lnTo>
                    <a:pt x="396" y="742"/>
                  </a:lnTo>
                  <a:lnTo>
                    <a:pt x="398" y="742"/>
                  </a:lnTo>
                  <a:lnTo>
                    <a:pt x="396" y="742"/>
                  </a:lnTo>
                  <a:lnTo>
                    <a:pt x="396" y="739"/>
                  </a:lnTo>
                  <a:lnTo>
                    <a:pt x="394" y="739"/>
                  </a:lnTo>
                  <a:lnTo>
                    <a:pt x="391" y="739"/>
                  </a:lnTo>
                  <a:lnTo>
                    <a:pt x="389" y="739"/>
                  </a:lnTo>
                  <a:lnTo>
                    <a:pt x="389" y="737"/>
                  </a:lnTo>
                  <a:lnTo>
                    <a:pt x="386" y="737"/>
                  </a:lnTo>
                  <a:lnTo>
                    <a:pt x="386" y="734"/>
                  </a:lnTo>
                  <a:lnTo>
                    <a:pt x="389" y="734"/>
                  </a:lnTo>
                  <a:lnTo>
                    <a:pt x="391" y="734"/>
                  </a:lnTo>
                  <a:lnTo>
                    <a:pt x="391" y="732"/>
                  </a:lnTo>
                  <a:lnTo>
                    <a:pt x="394" y="732"/>
                  </a:lnTo>
                  <a:lnTo>
                    <a:pt x="396" y="732"/>
                  </a:lnTo>
                  <a:lnTo>
                    <a:pt x="398" y="732"/>
                  </a:lnTo>
                  <a:lnTo>
                    <a:pt x="401" y="732"/>
                  </a:lnTo>
                  <a:lnTo>
                    <a:pt x="403" y="732"/>
                  </a:lnTo>
                  <a:lnTo>
                    <a:pt x="403" y="734"/>
                  </a:lnTo>
                  <a:lnTo>
                    <a:pt x="403" y="732"/>
                  </a:lnTo>
                  <a:lnTo>
                    <a:pt x="403" y="734"/>
                  </a:lnTo>
                  <a:lnTo>
                    <a:pt x="405" y="734"/>
                  </a:lnTo>
                  <a:lnTo>
                    <a:pt x="405" y="737"/>
                  </a:lnTo>
                  <a:lnTo>
                    <a:pt x="403" y="737"/>
                  </a:lnTo>
                  <a:lnTo>
                    <a:pt x="405" y="737"/>
                  </a:lnTo>
                  <a:lnTo>
                    <a:pt x="408" y="737"/>
                  </a:lnTo>
                  <a:lnTo>
                    <a:pt x="410" y="737"/>
                  </a:lnTo>
                  <a:lnTo>
                    <a:pt x="410" y="734"/>
                  </a:lnTo>
                  <a:lnTo>
                    <a:pt x="413" y="734"/>
                  </a:lnTo>
                  <a:lnTo>
                    <a:pt x="415" y="734"/>
                  </a:lnTo>
                  <a:lnTo>
                    <a:pt x="417" y="734"/>
                  </a:lnTo>
                  <a:lnTo>
                    <a:pt x="417" y="737"/>
                  </a:lnTo>
                  <a:lnTo>
                    <a:pt x="417" y="739"/>
                  </a:lnTo>
                  <a:lnTo>
                    <a:pt x="420" y="739"/>
                  </a:lnTo>
                  <a:lnTo>
                    <a:pt x="420" y="742"/>
                  </a:lnTo>
                  <a:lnTo>
                    <a:pt x="420" y="744"/>
                  </a:lnTo>
                  <a:lnTo>
                    <a:pt x="420" y="746"/>
                  </a:lnTo>
                  <a:lnTo>
                    <a:pt x="422" y="744"/>
                  </a:lnTo>
                  <a:lnTo>
                    <a:pt x="420" y="744"/>
                  </a:lnTo>
                  <a:lnTo>
                    <a:pt x="422" y="744"/>
                  </a:lnTo>
                  <a:lnTo>
                    <a:pt x="422" y="742"/>
                  </a:lnTo>
                  <a:lnTo>
                    <a:pt x="422" y="739"/>
                  </a:lnTo>
                  <a:lnTo>
                    <a:pt x="420" y="739"/>
                  </a:lnTo>
                  <a:lnTo>
                    <a:pt x="417" y="739"/>
                  </a:lnTo>
                  <a:lnTo>
                    <a:pt x="417" y="737"/>
                  </a:lnTo>
                  <a:lnTo>
                    <a:pt x="420" y="737"/>
                  </a:lnTo>
                  <a:lnTo>
                    <a:pt x="417" y="737"/>
                  </a:lnTo>
                  <a:lnTo>
                    <a:pt x="417" y="734"/>
                  </a:lnTo>
                  <a:lnTo>
                    <a:pt x="420" y="732"/>
                  </a:lnTo>
                  <a:lnTo>
                    <a:pt x="422" y="732"/>
                  </a:lnTo>
                  <a:lnTo>
                    <a:pt x="424" y="732"/>
                  </a:lnTo>
                  <a:lnTo>
                    <a:pt x="424" y="734"/>
                  </a:lnTo>
                  <a:lnTo>
                    <a:pt x="427" y="734"/>
                  </a:lnTo>
                  <a:lnTo>
                    <a:pt x="429" y="734"/>
                  </a:lnTo>
                  <a:lnTo>
                    <a:pt x="427" y="734"/>
                  </a:lnTo>
                  <a:lnTo>
                    <a:pt x="424" y="734"/>
                  </a:lnTo>
                  <a:lnTo>
                    <a:pt x="424" y="732"/>
                  </a:lnTo>
                  <a:lnTo>
                    <a:pt x="422" y="732"/>
                  </a:lnTo>
                  <a:lnTo>
                    <a:pt x="422" y="730"/>
                  </a:lnTo>
                  <a:lnTo>
                    <a:pt x="424" y="730"/>
                  </a:lnTo>
                  <a:lnTo>
                    <a:pt x="427" y="730"/>
                  </a:lnTo>
                  <a:lnTo>
                    <a:pt x="429" y="730"/>
                  </a:lnTo>
                  <a:lnTo>
                    <a:pt x="432" y="730"/>
                  </a:lnTo>
                  <a:lnTo>
                    <a:pt x="432" y="732"/>
                  </a:lnTo>
                  <a:lnTo>
                    <a:pt x="434" y="732"/>
                  </a:lnTo>
                  <a:lnTo>
                    <a:pt x="436" y="732"/>
                  </a:lnTo>
                  <a:lnTo>
                    <a:pt x="439" y="732"/>
                  </a:lnTo>
                  <a:lnTo>
                    <a:pt x="436" y="732"/>
                  </a:lnTo>
                  <a:lnTo>
                    <a:pt x="434" y="732"/>
                  </a:lnTo>
                  <a:lnTo>
                    <a:pt x="434" y="730"/>
                  </a:lnTo>
                  <a:lnTo>
                    <a:pt x="434" y="732"/>
                  </a:lnTo>
                  <a:lnTo>
                    <a:pt x="432" y="732"/>
                  </a:lnTo>
                  <a:lnTo>
                    <a:pt x="432" y="730"/>
                  </a:lnTo>
                  <a:lnTo>
                    <a:pt x="434" y="730"/>
                  </a:lnTo>
                  <a:lnTo>
                    <a:pt x="432" y="730"/>
                  </a:lnTo>
                  <a:lnTo>
                    <a:pt x="429" y="730"/>
                  </a:lnTo>
                  <a:lnTo>
                    <a:pt x="427" y="730"/>
                  </a:lnTo>
                  <a:lnTo>
                    <a:pt x="424" y="730"/>
                  </a:lnTo>
                  <a:lnTo>
                    <a:pt x="424" y="727"/>
                  </a:lnTo>
                  <a:lnTo>
                    <a:pt x="427" y="727"/>
                  </a:lnTo>
                  <a:lnTo>
                    <a:pt x="429" y="727"/>
                  </a:lnTo>
                  <a:lnTo>
                    <a:pt x="429" y="725"/>
                  </a:lnTo>
                  <a:lnTo>
                    <a:pt x="427" y="725"/>
                  </a:lnTo>
                  <a:lnTo>
                    <a:pt x="424" y="725"/>
                  </a:lnTo>
                  <a:lnTo>
                    <a:pt x="424" y="727"/>
                  </a:lnTo>
                  <a:lnTo>
                    <a:pt x="422" y="727"/>
                  </a:lnTo>
                  <a:lnTo>
                    <a:pt x="420" y="727"/>
                  </a:lnTo>
                  <a:lnTo>
                    <a:pt x="420" y="730"/>
                  </a:lnTo>
                  <a:lnTo>
                    <a:pt x="417" y="730"/>
                  </a:lnTo>
                  <a:lnTo>
                    <a:pt x="415" y="730"/>
                  </a:lnTo>
                  <a:lnTo>
                    <a:pt x="413" y="730"/>
                  </a:lnTo>
                  <a:lnTo>
                    <a:pt x="410" y="730"/>
                  </a:lnTo>
                  <a:lnTo>
                    <a:pt x="413" y="730"/>
                  </a:lnTo>
                  <a:lnTo>
                    <a:pt x="413" y="727"/>
                  </a:lnTo>
                  <a:lnTo>
                    <a:pt x="410" y="727"/>
                  </a:lnTo>
                  <a:lnTo>
                    <a:pt x="408" y="727"/>
                  </a:lnTo>
                  <a:lnTo>
                    <a:pt x="405" y="730"/>
                  </a:lnTo>
                  <a:lnTo>
                    <a:pt x="403" y="730"/>
                  </a:lnTo>
                  <a:lnTo>
                    <a:pt x="401" y="730"/>
                  </a:lnTo>
                  <a:lnTo>
                    <a:pt x="398" y="730"/>
                  </a:lnTo>
                  <a:lnTo>
                    <a:pt x="396" y="730"/>
                  </a:lnTo>
                  <a:lnTo>
                    <a:pt x="394" y="730"/>
                  </a:lnTo>
                  <a:lnTo>
                    <a:pt x="394" y="727"/>
                  </a:lnTo>
                  <a:lnTo>
                    <a:pt x="391" y="727"/>
                  </a:lnTo>
                  <a:lnTo>
                    <a:pt x="391" y="725"/>
                  </a:lnTo>
                  <a:lnTo>
                    <a:pt x="394" y="725"/>
                  </a:lnTo>
                  <a:lnTo>
                    <a:pt x="391" y="725"/>
                  </a:lnTo>
                  <a:lnTo>
                    <a:pt x="394" y="725"/>
                  </a:lnTo>
                  <a:lnTo>
                    <a:pt x="396" y="725"/>
                  </a:lnTo>
                  <a:lnTo>
                    <a:pt x="398" y="725"/>
                  </a:lnTo>
                  <a:lnTo>
                    <a:pt x="398" y="723"/>
                  </a:lnTo>
                  <a:lnTo>
                    <a:pt x="398" y="725"/>
                  </a:lnTo>
                  <a:lnTo>
                    <a:pt x="396" y="723"/>
                  </a:lnTo>
                  <a:lnTo>
                    <a:pt x="396" y="720"/>
                  </a:lnTo>
                  <a:lnTo>
                    <a:pt x="398" y="720"/>
                  </a:lnTo>
                  <a:lnTo>
                    <a:pt x="398" y="718"/>
                  </a:lnTo>
                  <a:lnTo>
                    <a:pt x="401" y="718"/>
                  </a:lnTo>
                  <a:lnTo>
                    <a:pt x="403" y="718"/>
                  </a:lnTo>
                  <a:lnTo>
                    <a:pt x="405" y="718"/>
                  </a:lnTo>
                  <a:lnTo>
                    <a:pt x="408" y="715"/>
                  </a:lnTo>
                  <a:lnTo>
                    <a:pt x="410" y="715"/>
                  </a:lnTo>
                  <a:lnTo>
                    <a:pt x="413" y="718"/>
                  </a:lnTo>
                  <a:lnTo>
                    <a:pt x="413" y="715"/>
                  </a:lnTo>
                  <a:lnTo>
                    <a:pt x="415" y="715"/>
                  </a:lnTo>
                  <a:lnTo>
                    <a:pt x="417" y="713"/>
                  </a:lnTo>
                  <a:lnTo>
                    <a:pt x="420" y="713"/>
                  </a:lnTo>
                  <a:lnTo>
                    <a:pt x="420" y="715"/>
                  </a:lnTo>
                  <a:lnTo>
                    <a:pt x="422" y="713"/>
                  </a:lnTo>
                  <a:lnTo>
                    <a:pt x="422" y="715"/>
                  </a:lnTo>
                  <a:lnTo>
                    <a:pt x="424" y="715"/>
                  </a:lnTo>
                  <a:lnTo>
                    <a:pt x="424" y="718"/>
                  </a:lnTo>
                  <a:lnTo>
                    <a:pt x="424" y="715"/>
                  </a:lnTo>
                  <a:lnTo>
                    <a:pt x="424" y="718"/>
                  </a:lnTo>
                  <a:lnTo>
                    <a:pt x="427" y="718"/>
                  </a:lnTo>
                  <a:lnTo>
                    <a:pt x="429" y="718"/>
                  </a:lnTo>
                  <a:lnTo>
                    <a:pt x="429" y="715"/>
                  </a:lnTo>
                  <a:lnTo>
                    <a:pt x="432" y="718"/>
                  </a:lnTo>
                  <a:lnTo>
                    <a:pt x="429" y="715"/>
                  </a:lnTo>
                  <a:lnTo>
                    <a:pt x="427" y="715"/>
                  </a:lnTo>
                  <a:lnTo>
                    <a:pt x="427" y="718"/>
                  </a:lnTo>
                  <a:lnTo>
                    <a:pt x="424" y="715"/>
                  </a:lnTo>
                  <a:lnTo>
                    <a:pt x="424" y="713"/>
                  </a:lnTo>
                  <a:lnTo>
                    <a:pt x="422" y="713"/>
                  </a:lnTo>
                  <a:lnTo>
                    <a:pt x="420" y="713"/>
                  </a:lnTo>
                  <a:lnTo>
                    <a:pt x="417" y="713"/>
                  </a:lnTo>
                  <a:lnTo>
                    <a:pt x="417" y="711"/>
                  </a:lnTo>
                  <a:lnTo>
                    <a:pt x="420" y="711"/>
                  </a:lnTo>
                  <a:lnTo>
                    <a:pt x="422" y="711"/>
                  </a:lnTo>
                  <a:lnTo>
                    <a:pt x="424" y="708"/>
                  </a:lnTo>
                  <a:lnTo>
                    <a:pt x="427" y="708"/>
                  </a:lnTo>
                  <a:lnTo>
                    <a:pt x="427" y="711"/>
                  </a:lnTo>
                  <a:lnTo>
                    <a:pt x="429" y="711"/>
                  </a:lnTo>
                  <a:lnTo>
                    <a:pt x="432" y="711"/>
                  </a:lnTo>
                  <a:lnTo>
                    <a:pt x="434" y="711"/>
                  </a:lnTo>
                  <a:lnTo>
                    <a:pt x="434" y="713"/>
                  </a:lnTo>
                  <a:lnTo>
                    <a:pt x="436" y="713"/>
                  </a:lnTo>
                  <a:lnTo>
                    <a:pt x="436" y="711"/>
                  </a:lnTo>
                  <a:lnTo>
                    <a:pt x="434" y="711"/>
                  </a:lnTo>
                  <a:lnTo>
                    <a:pt x="432" y="711"/>
                  </a:lnTo>
                  <a:lnTo>
                    <a:pt x="429" y="711"/>
                  </a:lnTo>
                  <a:lnTo>
                    <a:pt x="429" y="708"/>
                  </a:lnTo>
                  <a:lnTo>
                    <a:pt x="427" y="708"/>
                  </a:lnTo>
                  <a:lnTo>
                    <a:pt x="424" y="708"/>
                  </a:lnTo>
                  <a:lnTo>
                    <a:pt x="427" y="708"/>
                  </a:lnTo>
                  <a:lnTo>
                    <a:pt x="427" y="706"/>
                  </a:lnTo>
                  <a:lnTo>
                    <a:pt x="429" y="706"/>
                  </a:lnTo>
                  <a:lnTo>
                    <a:pt x="429" y="704"/>
                  </a:lnTo>
                  <a:lnTo>
                    <a:pt x="432" y="704"/>
                  </a:lnTo>
                  <a:lnTo>
                    <a:pt x="434" y="704"/>
                  </a:lnTo>
                  <a:lnTo>
                    <a:pt x="434" y="706"/>
                  </a:lnTo>
                  <a:lnTo>
                    <a:pt x="432" y="706"/>
                  </a:lnTo>
                  <a:lnTo>
                    <a:pt x="434" y="706"/>
                  </a:lnTo>
                  <a:lnTo>
                    <a:pt x="436" y="706"/>
                  </a:lnTo>
                  <a:lnTo>
                    <a:pt x="439" y="706"/>
                  </a:lnTo>
                  <a:lnTo>
                    <a:pt x="436" y="706"/>
                  </a:lnTo>
                  <a:lnTo>
                    <a:pt x="436" y="704"/>
                  </a:lnTo>
                  <a:lnTo>
                    <a:pt x="434" y="704"/>
                  </a:lnTo>
                  <a:lnTo>
                    <a:pt x="434" y="701"/>
                  </a:lnTo>
                  <a:lnTo>
                    <a:pt x="432" y="701"/>
                  </a:lnTo>
                  <a:lnTo>
                    <a:pt x="432" y="704"/>
                  </a:lnTo>
                  <a:lnTo>
                    <a:pt x="429" y="704"/>
                  </a:lnTo>
                  <a:lnTo>
                    <a:pt x="427" y="704"/>
                  </a:lnTo>
                  <a:lnTo>
                    <a:pt x="424" y="704"/>
                  </a:lnTo>
                  <a:lnTo>
                    <a:pt x="424" y="701"/>
                  </a:lnTo>
                  <a:lnTo>
                    <a:pt x="427" y="701"/>
                  </a:lnTo>
                  <a:lnTo>
                    <a:pt x="427" y="699"/>
                  </a:lnTo>
                  <a:lnTo>
                    <a:pt x="424" y="699"/>
                  </a:lnTo>
                  <a:lnTo>
                    <a:pt x="427" y="699"/>
                  </a:lnTo>
                  <a:lnTo>
                    <a:pt x="427" y="696"/>
                  </a:lnTo>
                  <a:lnTo>
                    <a:pt x="429" y="696"/>
                  </a:lnTo>
                  <a:lnTo>
                    <a:pt x="429" y="694"/>
                  </a:lnTo>
                  <a:lnTo>
                    <a:pt x="432" y="694"/>
                  </a:lnTo>
                  <a:lnTo>
                    <a:pt x="432" y="692"/>
                  </a:lnTo>
                  <a:lnTo>
                    <a:pt x="429" y="694"/>
                  </a:lnTo>
                  <a:lnTo>
                    <a:pt x="432" y="692"/>
                  </a:lnTo>
                  <a:lnTo>
                    <a:pt x="434" y="692"/>
                  </a:lnTo>
                  <a:lnTo>
                    <a:pt x="436" y="692"/>
                  </a:lnTo>
                  <a:lnTo>
                    <a:pt x="439" y="692"/>
                  </a:lnTo>
                  <a:lnTo>
                    <a:pt x="439" y="689"/>
                  </a:lnTo>
                  <a:lnTo>
                    <a:pt x="441" y="689"/>
                  </a:lnTo>
                  <a:lnTo>
                    <a:pt x="443" y="689"/>
                  </a:lnTo>
                  <a:lnTo>
                    <a:pt x="443" y="692"/>
                  </a:lnTo>
                  <a:lnTo>
                    <a:pt x="443" y="689"/>
                  </a:lnTo>
                  <a:lnTo>
                    <a:pt x="446" y="689"/>
                  </a:lnTo>
                  <a:lnTo>
                    <a:pt x="446" y="692"/>
                  </a:lnTo>
                  <a:lnTo>
                    <a:pt x="446" y="689"/>
                  </a:lnTo>
                  <a:lnTo>
                    <a:pt x="448" y="689"/>
                  </a:lnTo>
                  <a:lnTo>
                    <a:pt x="446" y="689"/>
                  </a:lnTo>
                  <a:lnTo>
                    <a:pt x="446" y="687"/>
                  </a:lnTo>
                  <a:lnTo>
                    <a:pt x="443" y="687"/>
                  </a:lnTo>
                  <a:lnTo>
                    <a:pt x="446" y="687"/>
                  </a:lnTo>
                  <a:lnTo>
                    <a:pt x="443" y="687"/>
                  </a:lnTo>
                  <a:lnTo>
                    <a:pt x="446" y="687"/>
                  </a:lnTo>
                  <a:lnTo>
                    <a:pt x="446" y="685"/>
                  </a:lnTo>
                  <a:lnTo>
                    <a:pt x="443" y="685"/>
                  </a:lnTo>
                  <a:lnTo>
                    <a:pt x="441" y="685"/>
                  </a:lnTo>
                  <a:lnTo>
                    <a:pt x="443" y="685"/>
                  </a:lnTo>
                  <a:lnTo>
                    <a:pt x="443" y="682"/>
                  </a:lnTo>
                  <a:lnTo>
                    <a:pt x="441" y="682"/>
                  </a:lnTo>
                  <a:lnTo>
                    <a:pt x="443" y="682"/>
                  </a:lnTo>
                  <a:lnTo>
                    <a:pt x="443" y="680"/>
                  </a:lnTo>
                  <a:lnTo>
                    <a:pt x="441" y="680"/>
                  </a:lnTo>
                  <a:lnTo>
                    <a:pt x="443" y="680"/>
                  </a:lnTo>
                  <a:lnTo>
                    <a:pt x="446" y="680"/>
                  </a:lnTo>
                  <a:lnTo>
                    <a:pt x="446" y="677"/>
                  </a:lnTo>
                  <a:lnTo>
                    <a:pt x="446" y="675"/>
                  </a:lnTo>
                  <a:lnTo>
                    <a:pt x="448" y="675"/>
                  </a:lnTo>
                  <a:lnTo>
                    <a:pt x="448" y="673"/>
                  </a:lnTo>
                  <a:lnTo>
                    <a:pt x="446" y="673"/>
                  </a:lnTo>
                  <a:lnTo>
                    <a:pt x="446" y="670"/>
                  </a:lnTo>
                  <a:lnTo>
                    <a:pt x="448" y="670"/>
                  </a:lnTo>
                  <a:lnTo>
                    <a:pt x="450" y="670"/>
                  </a:lnTo>
                  <a:lnTo>
                    <a:pt x="453" y="670"/>
                  </a:lnTo>
                  <a:lnTo>
                    <a:pt x="455" y="670"/>
                  </a:lnTo>
                  <a:lnTo>
                    <a:pt x="455" y="673"/>
                  </a:lnTo>
                  <a:lnTo>
                    <a:pt x="455" y="675"/>
                  </a:lnTo>
                  <a:lnTo>
                    <a:pt x="453" y="675"/>
                  </a:lnTo>
                  <a:lnTo>
                    <a:pt x="453" y="677"/>
                  </a:lnTo>
                  <a:lnTo>
                    <a:pt x="453" y="675"/>
                  </a:lnTo>
                  <a:lnTo>
                    <a:pt x="455" y="675"/>
                  </a:lnTo>
                  <a:lnTo>
                    <a:pt x="458" y="675"/>
                  </a:lnTo>
                  <a:lnTo>
                    <a:pt x="458" y="677"/>
                  </a:lnTo>
                  <a:lnTo>
                    <a:pt x="460" y="677"/>
                  </a:lnTo>
                  <a:lnTo>
                    <a:pt x="458" y="677"/>
                  </a:lnTo>
                  <a:lnTo>
                    <a:pt x="458" y="680"/>
                  </a:lnTo>
                  <a:lnTo>
                    <a:pt x="460" y="680"/>
                  </a:lnTo>
                  <a:lnTo>
                    <a:pt x="460" y="682"/>
                  </a:lnTo>
                  <a:lnTo>
                    <a:pt x="458" y="682"/>
                  </a:lnTo>
                  <a:lnTo>
                    <a:pt x="460" y="682"/>
                  </a:lnTo>
                  <a:lnTo>
                    <a:pt x="460" y="685"/>
                  </a:lnTo>
                  <a:lnTo>
                    <a:pt x="458" y="685"/>
                  </a:lnTo>
                  <a:lnTo>
                    <a:pt x="458" y="687"/>
                  </a:lnTo>
                  <a:lnTo>
                    <a:pt x="460" y="687"/>
                  </a:lnTo>
                  <a:lnTo>
                    <a:pt x="460" y="689"/>
                  </a:lnTo>
                  <a:lnTo>
                    <a:pt x="462" y="689"/>
                  </a:lnTo>
                  <a:lnTo>
                    <a:pt x="462" y="692"/>
                  </a:lnTo>
                  <a:lnTo>
                    <a:pt x="462" y="694"/>
                  </a:lnTo>
                  <a:lnTo>
                    <a:pt x="460" y="694"/>
                  </a:lnTo>
                  <a:lnTo>
                    <a:pt x="462" y="694"/>
                  </a:lnTo>
                  <a:lnTo>
                    <a:pt x="462" y="692"/>
                  </a:lnTo>
                  <a:lnTo>
                    <a:pt x="462" y="689"/>
                  </a:lnTo>
                  <a:lnTo>
                    <a:pt x="460" y="689"/>
                  </a:lnTo>
                  <a:lnTo>
                    <a:pt x="462" y="689"/>
                  </a:lnTo>
                  <a:lnTo>
                    <a:pt x="462" y="687"/>
                  </a:lnTo>
                  <a:lnTo>
                    <a:pt x="460" y="687"/>
                  </a:lnTo>
                  <a:lnTo>
                    <a:pt x="458" y="687"/>
                  </a:lnTo>
                  <a:lnTo>
                    <a:pt x="458" y="685"/>
                  </a:lnTo>
                  <a:lnTo>
                    <a:pt x="460" y="685"/>
                  </a:lnTo>
                  <a:lnTo>
                    <a:pt x="460" y="682"/>
                  </a:lnTo>
                  <a:lnTo>
                    <a:pt x="460" y="680"/>
                  </a:lnTo>
                  <a:lnTo>
                    <a:pt x="460" y="677"/>
                  </a:lnTo>
                  <a:lnTo>
                    <a:pt x="462" y="677"/>
                  </a:lnTo>
                  <a:lnTo>
                    <a:pt x="462" y="680"/>
                  </a:lnTo>
                  <a:lnTo>
                    <a:pt x="462" y="682"/>
                  </a:lnTo>
                  <a:lnTo>
                    <a:pt x="465" y="682"/>
                  </a:lnTo>
                  <a:lnTo>
                    <a:pt x="465" y="685"/>
                  </a:lnTo>
                  <a:lnTo>
                    <a:pt x="467" y="682"/>
                  </a:lnTo>
                  <a:lnTo>
                    <a:pt x="465" y="682"/>
                  </a:lnTo>
                  <a:lnTo>
                    <a:pt x="465" y="680"/>
                  </a:lnTo>
                  <a:lnTo>
                    <a:pt x="467" y="680"/>
                  </a:lnTo>
                  <a:lnTo>
                    <a:pt x="469" y="680"/>
                  </a:lnTo>
                  <a:lnTo>
                    <a:pt x="472" y="680"/>
                  </a:lnTo>
                  <a:lnTo>
                    <a:pt x="474" y="680"/>
                  </a:lnTo>
                  <a:lnTo>
                    <a:pt x="474" y="682"/>
                  </a:lnTo>
                  <a:lnTo>
                    <a:pt x="477" y="682"/>
                  </a:lnTo>
                  <a:lnTo>
                    <a:pt x="474" y="682"/>
                  </a:lnTo>
                  <a:lnTo>
                    <a:pt x="474" y="680"/>
                  </a:lnTo>
                  <a:lnTo>
                    <a:pt x="472" y="680"/>
                  </a:lnTo>
                  <a:lnTo>
                    <a:pt x="469" y="680"/>
                  </a:lnTo>
                  <a:lnTo>
                    <a:pt x="469" y="677"/>
                  </a:lnTo>
                  <a:lnTo>
                    <a:pt x="469" y="680"/>
                  </a:lnTo>
                  <a:lnTo>
                    <a:pt x="469" y="677"/>
                  </a:lnTo>
                  <a:lnTo>
                    <a:pt x="467" y="677"/>
                  </a:lnTo>
                  <a:lnTo>
                    <a:pt x="465" y="677"/>
                  </a:lnTo>
                  <a:lnTo>
                    <a:pt x="462" y="675"/>
                  </a:lnTo>
                  <a:lnTo>
                    <a:pt x="462" y="673"/>
                  </a:lnTo>
                  <a:lnTo>
                    <a:pt x="460" y="673"/>
                  </a:lnTo>
                  <a:lnTo>
                    <a:pt x="458" y="673"/>
                  </a:lnTo>
                  <a:lnTo>
                    <a:pt x="458" y="670"/>
                  </a:lnTo>
                  <a:lnTo>
                    <a:pt x="458" y="668"/>
                  </a:lnTo>
                  <a:lnTo>
                    <a:pt x="460" y="668"/>
                  </a:lnTo>
                  <a:lnTo>
                    <a:pt x="462" y="668"/>
                  </a:lnTo>
                  <a:lnTo>
                    <a:pt x="465" y="668"/>
                  </a:lnTo>
                  <a:lnTo>
                    <a:pt x="465" y="666"/>
                  </a:lnTo>
                  <a:lnTo>
                    <a:pt x="467" y="666"/>
                  </a:lnTo>
                  <a:lnTo>
                    <a:pt x="469" y="666"/>
                  </a:lnTo>
                  <a:lnTo>
                    <a:pt x="472" y="666"/>
                  </a:lnTo>
                  <a:lnTo>
                    <a:pt x="472" y="668"/>
                  </a:lnTo>
                  <a:lnTo>
                    <a:pt x="469" y="668"/>
                  </a:lnTo>
                  <a:lnTo>
                    <a:pt x="469" y="670"/>
                  </a:lnTo>
                  <a:lnTo>
                    <a:pt x="472" y="670"/>
                  </a:lnTo>
                  <a:lnTo>
                    <a:pt x="472" y="673"/>
                  </a:lnTo>
                  <a:lnTo>
                    <a:pt x="474" y="673"/>
                  </a:lnTo>
                  <a:lnTo>
                    <a:pt x="477" y="675"/>
                  </a:lnTo>
                  <a:lnTo>
                    <a:pt x="474" y="675"/>
                  </a:lnTo>
                  <a:lnTo>
                    <a:pt x="477" y="675"/>
                  </a:lnTo>
                  <a:lnTo>
                    <a:pt x="477" y="677"/>
                  </a:lnTo>
                  <a:lnTo>
                    <a:pt x="479" y="677"/>
                  </a:lnTo>
                  <a:lnTo>
                    <a:pt x="481" y="677"/>
                  </a:lnTo>
                  <a:lnTo>
                    <a:pt x="484" y="677"/>
                  </a:lnTo>
                  <a:lnTo>
                    <a:pt x="486" y="677"/>
                  </a:lnTo>
                  <a:lnTo>
                    <a:pt x="486" y="680"/>
                  </a:lnTo>
                  <a:lnTo>
                    <a:pt x="486" y="682"/>
                  </a:lnTo>
                  <a:lnTo>
                    <a:pt x="484" y="682"/>
                  </a:lnTo>
                  <a:lnTo>
                    <a:pt x="484" y="685"/>
                  </a:lnTo>
                  <a:lnTo>
                    <a:pt x="486" y="685"/>
                  </a:lnTo>
                  <a:lnTo>
                    <a:pt x="488" y="685"/>
                  </a:lnTo>
                  <a:lnTo>
                    <a:pt x="491" y="685"/>
                  </a:lnTo>
                  <a:lnTo>
                    <a:pt x="493" y="685"/>
                  </a:lnTo>
                  <a:lnTo>
                    <a:pt x="493" y="687"/>
                  </a:lnTo>
                  <a:lnTo>
                    <a:pt x="493" y="685"/>
                  </a:lnTo>
                  <a:lnTo>
                    <a:pt x="493" y="687"/>
                  </a:lnTo>
                  <a:lnTo>
                    <a:pt x="493" y="685"/>
                  </a:lnTo>
                  <a:lnTo>
                    <a:pt x="491" y="685"/>
                  </a:lnTo>
                  <a:lnTo>
                    <a:pt x="488" y="685"/>
                  </a:lnTo>
                  <a:lnTo>
                    <a:pt x="488" y="682"/>
                  </a:lnTo>
                  <a:lnTo>
                    <a:pt x="488" y="680"/>
                  </a:lnTo>
                  <a:lnTo>
                    <a:pt x="488" y="677"/>
                  </a:lnTo>
                  <a:lnTo>
                    <a:pt x="486" y="677"/>
                  </a:lnTo>
                  <a:lnTo>
                    <a:pt x="488" y="677"/>
                  </a:lnTo>
                  <a:lnTo>
                    <a:pt x="486" y="677"/>
                  </a:lnTo>
                  <a:lnTo>
                    <a:pt x="484" y="675"/>
                  </a:lnTo>
                  <a:lnTo>
                    <a:pt x="481" y="675"/>
                  </a:lnTo>
                  <a:lnTo>
                    <a:pt x="481" y="677"/>
                  </a:lnTo>
                  <a:lnTo>
                    <a:pt x="479" y="677"/>
                  </a:lnTo>
                  <a:lnTo>
                    <a:pt x="479" y="675"/>
                  </a:lnTo>
                  <a:lnTo>
                    <a:pt x="477" y="675"/>
                  </a:lnTo>
                  <a:lnTo>
                    <a:pt x="477" y="673"/>
                  </a:lnTo>
                  <a:lnTo>
                    <a:pt x="474" y="673"/>
                  </a:lnTo>
                  <a:lnTo>
                    <a:pt x="474" y="670"/>
                  </a:lnTo>
                  <a:lnTo>
                    <a:pt x="474" y="668"/>
                  </a:lnTo>
                  <a:lnTo>
                    <a:pt x="477" y="668"/>
                  </a:lnTo>
                  <a:lnTo>
                    <a:pt x="477" y="666"/>
                  </a:lnTo>
                  <a:lnTo>
                    <a:pt x="479" y="666"/>
                  </a:lnTo>
                  <a:lnTo>
                    <a:pt x="481" y="666"/>
                  </a:lnTo>
                  <a:lnTo>
                    <a:pt x="481" y="668"/>
                  </a:lnTo>
                  <a:lnTo>
                    <a:pt x="484" y="668"/>
                  </a:lnTo>
                  <a:lnTo>
                    <a:pt x="481" y="666"/>
                  </a:lnTo>
                  <a:lnTo>
                    <a:pt x="479" y="666"/>
                  </a:lnTo>
                  <a:lnTo>
                    <a:pt x="477" y="666"/>
                  </a:lnTo>
                  <a:lnTo>
                    <a:pt x="477" y="668"/>
                  </a:lnTo>
                  <a:lnTo>
                    <a:pt x="474" y="666"/>
                  </a:lnTo>
                  <a:lnTo>
                    <a:pt x="474" y="663"/>
                  </a:lnTo>
                  <a:lnTo>
                    <a:pt x="474" y="661"/>
                  </a:lnTo>
                  <a:lnTo>
                    <a:pt x="477" y="661"/>
                  </a:lnTo>
                  <a:lnTo>
                    <a:pt x="477" y="658"/>
                  </a:lnTo>
                  <a:lnTo>
                    <a:pt x="479" y="656"/>
                  </a:lnTo>
                  <a:lnTo>
                    <a:pt x="479" y="654"/>
                  </a:lnTo>
                  <a:lnTo>
                    <a:pt x="481" y="654"/>
                  </a:lnTo>
                  <a:lnTo>
                    <a:pt x="484" y="654"/>
                  </a:lnTo>
                  <a:lnTo>
                    <a:pt x="484" y="651"/>
                  </a:lnTo>
                  <a:lnTo>
                    <a:pt x="486" y="654"/>
                  </a:lnTo>
                  <a:lnTo>
                    <a:pt x="486" y="651"/>
                  </a:lnTo>
                  <a:lnTo>
                    <a:pt x="486" y="654"/>
                  </a:lnTo>
                  <a:lnTo>
                    <a:pt x="488" y="654"/>
                  </a:lnTo>
                  <a:lnTo>
                    <a:pt x="488" y="651"/>
                  </a:lnTo>
                  <a:lnTo>
                    <a:pt x="488" y="654"/>
                  </a:lnTo>
                  <a:lnTo>
                    <a:pt x="488" y="651"/>
                  </a:lnTo>
                  <a:lnTo>
                    <a:pt x="491" y="651"/>
                  </a:lnTo>
                  <a:lnTo>
                    <a:pt x="493" y="651"/>
                  </a:lnTo>
                  <a:lnTo>
                    <a:pt x="496" y="651"/>
                  </a:lnTo>
                  <a:lnTo>
                    <a:pt x="498" y="651"/>
                  </a:lnTo>
                  <a:lnTo>
                    <a:pt x="500" y="651"/>
                  </a:lnTo>
                  <a:lnTo>
                    <a:pt x="500" y="654"/>
                  </a:lnTo>
                  <a:lnTo>
                    <a:pt x="498" y="654"/>
                  </a:lnTo>
                  <a:lnTo>
                    <a:pt x="498" y="656"/>
                  </a:lnTo>
                  <a:lnTo>
                    <a:pt x="498" y="658"/>
                  </a:lnTo>
                  <a:lnTo>
                    <a:pt x="496" y="658"/>
                  </a:lnTo>
                  <a:lnTo>
                    <a:pt x="496" y="661"/>
                  </a:lnTo>
                  <a:lnTo>
                    <a:pt x="496" y="658"/>
                  </a:lnTo>
                  <a:lnTo>
                    <a:pt x="496" y="661"/>
                  </a:lnTo>
                  <a:lnTo>
                    <a:pt x="496" y="658"/>
                  </a:lnTo>
                  <a:lnTo>
                    <a:pt x="498" y="658"/>
                  </a:lnTo>
                  <a:lnTo>
                    <a:pt x="498" y="661"/>
                  </a:lnTo>
                  <a:lnTo>
                    <a:pt x="500" y="661"/>
                  </a:lnTo>
                  <a:lnTo>
                    <a:pt x="498" y="661"/>
                  </a:lnTo>
                  <a:lnTo>
                    <a:pt x="498" y="663"/>
                  </a:lnTo>
                  <a:lnTo>
                    <a:pt x="500" y="663"/>
                  </a:lnTo>
                  <a:lnTo>
                    <a:pt x="498" y="663"/>
                  </a:lnTo>
                  <a:lnTo>
                    <a:pt x="498" y="666"/>
                  </a:lnTo>
                  <a:lnTo>
                    <a:pt x="496" y="666"/>
                  </a:lnTo>
                  <a:lnTo>
                    <a:pt x="496" y="668"/>
                  </a:lnTo>
                  <a:lnTo>
                    <a:pt x="498" y="670"/>
                  </a:lnTo>
                  <a:lnTo>
                    <a:pt x="496" y="670"/>
                  </a:lnTo>
                  <a:lnTo>
                    <a:pt x="496" y="673"/>
                  </a:lnTo>
                  <a:lnTo>
                    <a:pt x="493" y="673"/>
                  </a:lnTo>
                  <a:lnTo>
                    <a:pt x="493" y="675"/>
                  </a:lnTo>
                  <a:lnTo>
                    <a:pt x="491" y="675"/>
                  </a:lnTo>
                  <a:lnTo>
                    <a:pt x="493" y="675"/>
                  </a:lnTo>
                  <a:lnTo>
                    <a:pt x="496" y="673"/>
                  </a:lnTo>
                  <a:lnTo>
                    <a:pt x="498" y="673"/>
                  </a:lnTo>
                  <a:lnTo>
                    <a:pt x="496" y="675"/>
                  </a:lnTo>
                  <a:lnTo>
                    <a:pt x="498" y="675"/>
                  </a:lnTo>
                  <a:lnTo>
                    <a:pt x="498" y="673"/>
                  </a:lnTo>
                  <a:lnTo>
                    <a:pt x="496" y="673"/>
                  </a:lnTo>
                  <a:lnTo>
                    <a:pt x="498" y="673"/>
                  </a:lnTo>
                  <a:lnTo>
                    <a:pt x="498" y="670"/>
                  </a:lnTo>
                  <a:lnTo>
                    <a:pt x="500" y="670"/>
                  </a:lnTo>
                  <a:lnTo>
                    <a:pt x="498" y="668"/>
                  </a:lnTo>
                  <a:lnTo>
                    <a:pt x="500" y="668"/>
                  </a:lnTo>
                  <a:lnTo>
                    <a:pt x="500" y="666"/>
                  </a:lnTo>
                  <a:lnTo>
                    <a:pt x="498" y="666"/>
                  </a:lnTo>
                  <a:lnTo>
                    <a:pt x="500" y="666"/>
                  </a:lnTo>
                  <a:lnTo>
                    <a:pt x="500" y="663"/>
                  </a:lnTo>
                  <a:lnTo>
                    <a:pt x="503" y="663"/>
                  </a:lnTo>
                  <a:lnTo>
                    <a:pt x="505" y="663"/>
                  </a:lnTo>
                  <a:lnTo>
                    <a:pt x="507" y="663"/>
                  </a:lnTo>
                  <a:lnTo>
                    <a:pt x="510" y="663"/>
                  </a:lnTo>
                  <a:lnTo>
                    <a:pt x="512" y="663"/>
                  </a:lnTo>
                  <a:lnTo>
                    <a:pt x="510" y="663"/>
                  </a:lnTo>
                  <a:lnTo>
                    <a:pt x="507" y="663"/>
                  </a:lnTo>
                  <a:lnTo>
                    <a:pt x="505" y="663"/>
                  </a:lnTo>
                  <a:lnTo>
                    <a:pt x="503" y="663"/>
                  </a:lnTo>
                  <a:lnTo>
                    <a:pt x="503" y="661"/>
                  </a:lnTo>
                  <a:lnTo>
                    <a:pt x="503" y="658"/>
                  </a:lnTo>
                  <a:lnTo>
                    <a:pt x="500" y="658"/>
                  </a:lnTo>
                  <a:lnTo>
                    <a:pt x="503" y="656"/>
                  </a:lnTo>
                  <a:lnTo>
                    <a:pt x="503" y="654"/>
                  </a:lnTo>
                  <a:lnTo>
                    <a:pt x="505" y="651"/>
                  </a:lnTo>
                  <a:lnTo>
                    <a:pt x="507" y="649"/>
                  </a:lnTo>
                  <a:lnTo>
                    <a:pt x="507" y="651"/>
                  </a:lnTo>
                  <a:lnTo>
                    <a:pt x="507" y="654"/>
                  </a:lnTo>
                  <a:lnTo>
                    <a:pt x="507" y="651"/>
                  </a:lnTo>
                  <a:lnTo>
                    <a:pt x="510" y="651"/>
                  </a:lnTo>
                  <a:lnTo>
                    <a:pt x="510" y="649"/>
                  </a:lnTo>
                  <a:lnTo>
                    <a:pt x="512" y="647"/>
                  </a:lnTo>
                  <a:lnTo>
                    <a:pt x="512" y="644"/>
                  </a:lnTo>
                  <a:lnTo>
                    <a:pt x="512" y="642"/>
                  </a:lnTo>
                  <a:lnTo>
                    <a:pt x="515" y="642"/>
                  </a:lnTo>
                  <a:lnTo>
                    <a:pt x="515" y="644"/>
                  </a:lnTo>
                  <a:lnTo>
                    <a:pt x="515" y="647"/>
                  </a:lnTo>
                  <a:lnTo>
                    <a:pt x="515" y="649"/>
                  </a:lnTo>
                  <a:lnTo>
                    <a:pt x="515" y="647"/>
                  </a:lnTo>
                  <a:lnTo>
                    <a:pt x="515" y="644"/>
                  </a:lnTo>
                  <a:lnTo>
                    <a:pt x="515" y="642"/>
                  </a:lnTo>
                  <a:lnTo>
                    <a:pt x="517" y="642"/>
                  </a:lnTo>
                  <a:lnTo>
                    <a:pt x="519" y="642"/>
                  </a:lnTo>
                  <a:lnTo>
                    <a:pt x="519" y="644"/>
                  </a:lnTo>
                  <a:lnTo>
                    <a:pt x="522" y="644"/>
                  </a:lnTo>
                  <a:lnTo>
                    <a:pt x="522" y="647"/>
                  </a:lnTo>
                  <a:lnTo>
                    <a:pt x="522" y="649"/>
                  </a:lnTo>
                  <a:lnTo>
                    <a:pt x="519" y="649"/>
                  </a:lnTo>
                  <a:lnTo>
                    <a:pt x="519" y="651"/>
                  </a:lnTo>
                  <a:lnTo>
                    <a:pt x="519" y="654"/>
                  </a:lnTo>
                  <a:lnTo>
                    <a:pt x="517" y="656"/>
                  </a:lnTo>
                  <a:lnTo>
                    <a:pt x="517" y="658"/>
                  </a:lnTo>
                  <a:lnTo>
                    <a:pt x="517" y="661"/>
                  </a:lnTo>
                  <a:lnTo>
                    <a:pt x="519" y="661"/>
                  </a:lnTo>
                  <a:lnTo>
                    <a:pt x="519" y="663"/>
                  </a:lnTo>
                  <a:lnTo>
                    <a:pt x="517" y="663"/>
                  </a:lnTo>
                  <a:lnTo>
                    <a:pt x="517" y="666"/>
                  </a:lnTo>
                  <a:lnTo>
                    <a:pt x="517" y="668"/>
                  </a:lnTo>
                  <a:lnTo>
                    <a:pt x="515" y="668"/>
                  </a:lnTo>
                  <a:lnTo>
                    <a:pt x="517" y="668"/>
                  </a:lnTo>
                  <a:lnTo>
                    <a:pt x="515" y="668"/>
                  </a:lnTo>
                  <a:lnTo>
                    <a:pt x="517" y="668"/>
                  </a:lnTo>
                  <a:lnTo>
                    <a:pt x="515" y="668"/>
                  </a:lnTo>
                  <a:lnTo>
                    <a:pt x="515" y="670"/>
                  </a:lnTo>
                  <a:lnTo>
                    <a:pt x="517" y="668"/>
                  </a:lnTo>
                  <a:lnTo>
                    <a:pt x="517" y="670"/>
                  </a:lnTo>
                  <a:lnTo>
                    <a:pt x="515" y="670"/>
                  </a:lnTo>
                  <a:lnTo>
                    <a:pt x="515" y="673"/>
                  </a:lnTo>
                  <a:lnTo>
                    <a:pt x="515" y="670"/>
                  </a:lnTo>
                  <a:lnTo>
                    <a:pt x="515" y="673"/>
                  </a:lnTo>
                  <a:lnTo>
                    <a:pt x="515" y="675"/>
                  </a:lnTo>
                  <a:lnTo>
                    <a:pt x="512" y="675"/>
                  </a:lnTo>
                  <a:lnTo>
                    <a:pt x="510" y="675"/>
                  </a:lnTo>
                  <a:lnTo>
                    <a:pt x="510" y="677"/>
                  </a:lnTo>
                  <a:lnTo>
                    <a:pt x="507" y="677"/>
                  </a:lnTo>
                  <a:lnTo>
                    <a:pt x="507" y="680"/>
                  </a:lnTo>
                  <a:lnTo>
                    <a:pt x="505" y="680"/>
                  </a:lnTo>
                  <a:lnTo>
                    <a:pt x="505" y="682"/>
                  </a:lnTo>
                  <a:lnTo>
                    <a:pt x="507" y="682"/>
                  </a:lnTo>
                  <a:lnTo>
                    <a:pt x="507" y="680"/>
                  </a:lnTo>
                  <a:lnTo>
                    <a:pt x="510" y="680"/>
                  </a:lnTo>
                  <a:lnTo>
                    <a:pt x="510" y="677"/>
                  </a:lnTo>
                  <a:lnTo>
                    <a:pt x="512" y="677"/>
                  </a:lnTo>
                  <a:lnTo>
                    <a:pt x="515" y="675"/>
                  </a:lnTo>
                  <a:lnTo>
                    <a:pt x="517" y="675"/>
                  </a:lnTo>
                  <a:lnTo>
                    <a:pt x="517" y="673"/>
                  </a:lnTo>
                  <a:lnTo>
                    <a:pt x="519" y="673"/>
                  </a:lnTo>
                  <a:lnTo>
                    <a:pt x="519" y="670"/>
                  </a:lnTo>
                  <a:lnTo>
                    <a:pt x="519" y="668"/>
                  </a:lnTo>
                  <a:lnTo>
                    <a:pt x="522" y="668"/>
                  </a:lnTo>
                  <a:lnTo>
                    <a:pt x="522" y="666"/>
                  </a:lnTo>
                  <a:lnTo>
                    <a:pt x="522" y="663"/>
                  </a:lnTo>
                  <a:lnTo>
                    <a:pt x="524" y="663"/>
                  </a:lnTo>
                  <a:lnTo>
                    <a:pt x="526" y="666"/>
                  </a:lnTo>
                  <a:lnTo>
                    <a:pt x="529" y="666"/>
                  </a:lnTo>
                  <a:lnTo>
                    <a:pt x="529" y="668"/>
                  </a:lnTo>
                  <a:lnTo>
                    <a:pt x="531" y="668"/>
                  </a:lnTo>
                  <a:lnTo>
                    <a:pt x="534" y="668"/>
                  </a:lnTo>
                  <a:lnTo>
                    <a:pt x="536" y="670"/>
                  </a:lnTo>
                  <a:lnTo>
                    <a:pt x="536" y="668"/>
                  </a:lnTo>
                  <a:lnTo>
                    <a:pt x="534" y="668"/>
                  </a:lnTo>
                  <a:lnTo>
                    <a:pt x="531" y="668"/>
                  </a:lnTo>
                  <a:lnTo>
                    <a:pt x="529" y="666"/>
                  </a:lnTo>
                  <a:lnTo>
                    <a:pt x="529" y="663"/>
                  </a:lnTo>
                  <a:lnTo>
                    <a:pt x="526" y="663"/>
                  </a:lnTo>
                  <a:lnTo>
                    <a:pt x="524" y="663"/>
                  </a:lnTo>
                  <a:lnTo>
                    <a:pt x="524" y="661"/>
                  </a:lnTo>
                  <a:lnTo>
                    <a:pt x="524" y="658"/>
                  </a:lnTo>
                  <a:lnTo>
                    <a:pt x="526" y="658"/>
                  </a:lnTo>
                  <a:lnTo>
                    <a:pt x="526" y="656"/>
                  </a:lnTo>
                  <a:lnTo>
                    <a:pt x="526" y="654"/>
                  </a:lnTo>
                  <a:lnTo>
                    <a:pt x="524" y="654"/>
                  </a:lnTo>
                  <a:lnTo>
                    <a:pt x="526" y="654"/>
                  </a:lnTo>
                  <a:lnTo>
                    <a:pt x="529" y="651"/>
                  </a:lnTo>
                  <a:lnTo>
                    <a:pt x="531" y="651"/>
                  </a:lnTo>
                  <a:lnTo>
                    <a:pt x="534" y="651"/>
                  </a:lnTo>
                  <a:lnTo>
                    <a:pt x="534" y="649"/>
                  </a:lnTo>
                  <a:lnTo>
                    <a:pt x="534" y="647"/>
                  </a:lnTo>
                  <a:lnTo>
                    <a:pt x="536" y="647"/>
                  </a:lnTo>
                  <a:lnTo>
                    <a:pt x="536" y="644"/>
                  </a:lnTo>
                  <a:lnTo>
                    <a:pt x="538" y="644"/>
                  </a:lnTo>
                  <a:lnTo>
                    <a:pt x="541" y="644"/>
                  </a:lnTo>
                  <a:lnTo>
                    <a:pt x="541" y="642"/>
                  </a:lnTo>
                  <a:lnTo>
                    <a:pt x="543" y="642"/>
                  </a:lnTo>
                  <a:lnTo>
                    <a:pt x="545" y="642"/>
                  </a:lnTo>
                  <a:lnTo>
                    <a:pt x="543" y="642"/>
                  </a:lnTo>
                  <a:lnTo>
                    <a:pt x="543" y="644"/>
                  </a:lnTo>
                  <a:lnTo>
                    <a:pt x="541" y="644"/>
                  </a:lnTo>
                  <a:lnTo>
                    <a:pt x="538" y="644"/>
                  </a:lnTo>
                  <a:lnTo>
                    <a:pt x="538" y="647"/>
                  </a:lnTo>
                  <a:lnTo>
                    <a:pt x="536" y="649"/>
                  </a:lnTo>
                  <a:lnTo>
                    <a:pt x="538" y="649"/>
                  </a:lnTo>
                  <a:lnTo>
                    <a:pt x="541" y="649"/>
                  </a:lnTo>
                  <a:lnTo>
                    <a:pt x="538" y="649"/>
                  </a:lnTo>
                  <a:lnTo>
                    <a:pt x="541" y="649"/>
                  </a:lnTo>
                  <a:lnTo>
                    <a:pt x="538" y="649"/>
                  </a:lnTo>
                  <a:lnTo>
                    <a:pt x="538" y="651"/>
                  </a:lnTo>
                  <a:lnTo>
                    <a:pt x="541" y="651"/>
                  </a:lnTo>
                  <a:lnTo>
                    <a:pt x="541" y="654"/>
                  </a:lnTo>
                  <a:lnTo>
                    <a:pt x="541" y="651"/>
                  </a:lnTo>
                  <a:lnTo>
                    <a:pt x="543" y="654"/>
                  </a:lnTo>
                  <a:lnTo>
                    <a:pt x="543" y="651"/>
                  </a:lnTo>
                  <a:lnTo>
                    <a:pt x="541" y="651"/>
                  </a:lnTo>
                  <a:lnTo>
                    <a:pt x="543" y="651"/>
                  </a:lnTo>
                  <a:lnTo>
                    <a:pt x="541" y="651"/>
                  </a:lnTo>
                  <a:lnTo>
                    <a:pt x="541" y="649"/>
                  </a:lnTo>
                  <a:lnTo>
                    <a:pt x="543" y="649"/>
                  </a:lnTo>
                  <a:lnTo>
                    <a:pt x="543" y="647"/>
                  </a:lnTo>
                  <a:lnTo>
                    <a:pt x="545" y="647"/>
                  </a:lnTo>
                  <a:lnTo>
                    <a:pt x="548" y="647"/>
                  </a:lnTo>
                  <a:lnTo>
                    <a:pt x="548" y="649"/>
                  </a:lnTo>
                  <a:lnTo>
                    <a:pt x="545" y="649"/>
                  </a:lnTo>
                  <a:lnTo>
                    <a:pt x="548" y="649"/>
                  </a:lnTo>
                  <a:lnTo>
                    <a:pt x="545" y="649"/>
                  </a:lnTo>
                  <a:lnTo>
                    <a:pt x="545" y="651"/>
                  </a:lnTo>
                  <a:lnTo>
                    <a:pt x="545" y="649"/>
                  </a:lnTo>
                  <a:lnTo>
                    <a:pt x="548" y="649"/>
                  </a:lnTo>
                  <a:lnTo>
                    <a:pt x="548" y="647"/>
                  </a:lnTo>
                  <a:lnTo>
                    <a:pt x="548" y="644"/>
                  </a:lnTo>
                  <a:lnTo>
                    <a:pt x="550" y="644"/>
                  </a:lnTo>
                  <a:lnTo>
                    <a:pt x="553" y="644"/>
                  </a:lnTo>
                  <a:lnTo>
                    <a:pt x="550" y="644"/>
                  </a:lnTo>
                  <a:lnTo>
                    <a:pt x="548" y="644"/>
                  </a:lnTo>
                  <a:lnTo>
                    <a:pt x="548" y="642"/>
                  </a:lnTo>
                  <a:lnTo>
                    <a:pt x="548" y="639"/>
                  </a:lnTo>
                  <a:lnTo>
                    <a:pt x="550" y="639"/>
                  </a:lnTo>
                  <a:lnTo>
                    <a:pt x="553" y="639"/>
                  </a:lnTo>
                  <a:lnTo>
                    <a:pt x="553" y="637"/>
                  </a:lnTo>
                  <a:lnTo>
                    <a:pt x="553" y="639"/>
                  </a:lnTo>
                  <a:lnTo>
                    <a:pt x="553" y="637"/>
                  </a:lnTo>
                  <a:lnTo>
                    <a:pt x="555" y="637"/>
                  </a:lnTo>
                  <a:lnTo>
                    <a:pt x="555" y="639"/>
                  </a:lnTo>
                  <a:lnTo>
                    <a:pt x="557" y="639"/>
                  </a:lnTo>
                  <a:lnTo>
                    <a:pt x="555" y="639"/>
                  </a:lnTo>
                  <a:lnTo>
                    <a:pt x="557" y="639"/>
                  </a:lnTo>
                  <a:lnTo>
                    <a:pt x="560" y="639"/>
                  </a:lnTo>
                  <a:lnTo>
                    <a:pt x="560" y="642"/>
                  </a:lnTo>
                  <a:lnTo>
                    <a:pt x="557" y="642"/>
                  </a:lnTo>
                  <a:lnTo>
                    <a:pt x="560" y="642"/>
                  </a:lnTo>
                  <a:lnTo>
                    <a:pt x="560" y="644"/>
                  </a:lnTo>
                  <a:lnTo>
                    <a:pt x="562" y="644"/>
                  </a:lnTo>
                  <a:lnTo>
                    <a:pt x="564" y="647"/>
                  </a:lnTo>
                  <a:lnTo>
                    <a:pt x="567" y="647"/>
                  </a:lnTo>
                  <a:lnTo>
                    <a:pt x="569" y="647"/>
                  </a:lnTo>
                  <a:lnTo>
                    <a:pt x="569" y="649"/>
                  </a:lnTo>
                  <a:lnTo>
                    <a:pt x="572" y="649"/>
                  </a:lnTo>
                  <a:lnTo>
                    <a:pt x="569" y="649"/>
                  </a:lnTo>
                  <a:lnTo>
                    <a:pt x="572" y="651"/>
                  </a:lnTo>
                  <a:lnTo>
                    <a:pt x="574" y="654"/>
                  </a:lnTo>
                  <a:lnTo>
                    <a:pt x="576" y="654"/>
                  </a:lnTo>
                  <a:lnTo>
                    <a:pt x="574" y="654"/>
                  </a:lnTo>
                  <a:lnTo>
                    <a:pt x="576" y="654"/>
                  </a:lnTo>
                  <a:lnTo>
                    <a:pt x="574" y="656"/>
                  </a:lnTo>
                  <a:lnTo>
                    <a:pt x="574" y="654"/>
                  </a:lnTo>
                  <a:lnTo>
                    <a:pt x="574" y="656"/>
                  </a:lnTo>
                  <a:lnTo>
                    <a:pt x="576" y="656"/>
                  </a:lnTo>
                  <a:lnTo>
                    <a:pt x="576" y="654"/>
                  </a:lnTo>
                  <a:lnTo>
                    <a:pt x="579" y="654"/>
                  </a:lnTo>
                  <a:lnTo>
                    <a:pt x="579" y="656"/>
                  </a:lnTo>
                  <a:lnTo>
                    <a:pt x="579" y="654"/>
                  </a:lnTo>
                  <a:lnTo>
                    <a:pt x="576" y="654"/>
                  </a:lnTo>
                  <a:lnTo>
                    <a:pt x="576" y="651"/>
                  </a:lnTo>
                  <a:lnTo>
                    <a:pt x="574" y="651"/>
                  </a:lnTo>
                  <a:lnTo>
                    <a:pt x="574" y="649"/>
                  </a:lnTo>
                  <a:lnTo>
                    <a:pt x="574" y="651"/>
                  </a:lnTo>
                  <a:lnTo>
                    <a:pt x="572" y="651"/>
                  </a:lnTo>
                  <a:lnTo>
                    <a:pt x="572" y="649"/>
                  </a:lnTo>
                  <a:lnTo>
                    <a:pt x="574" y="649"/>
                  </a:lnTo>
                  <a:lnTo>
                    <a:pt x="576" y="649"/>
                  </a:lnTo>
                  <a:lnTo>
                    <a:pt x="574" y="647"/>
                  </a:lnTo>
                  <a:lnTo>
                    <a:pt x="572" y="647"/>
                  </a:lnTo>
                  <a:lnTo>
                    <a:pt x="572" y="644"/>
                  </a:lnTo>
                  <a:lnTo>
                    <a:pt x="569" y="644"/>
                  </a:lnTo>
                  <a:lnTo>
                    <a:pt x="572" y="644"/>
                  </a:lnTo>
                  <a:lnTo>
                    <a:pt x="569" y="644"/>
                  </a:lnTo>
                  <a:lnTo>
                    <a:pt x="569" y="642"/>
                  </a:lnTo>
                  <a:lnTo>
                    <a:pt x="572" y="642"/>
                  </a:lnTo>
                  <a:lnTo>
                    <a:pt x="569" y="642"/>
                  </a:lnTo>
                  <a:lnTo>
                    <a:pt x="569" y="639"/>
                  </a:lnTo>
                  <a:lnTo>
                    <a:pt x="572" y="639"/>
                  </a:lnTo>
                  <a:lnTo>
                    <a:pt x="574" y="639"/>
                  </a:lnTo>
                  <a:lnTo>
                    <a:pt x="574" y="642"/>
                  </a:lnTo>
                  <a:lnTo>
                    <a:pt x="576" y="642"/>
                  </a:lnTo>
                  <a:lnTo>
                    <a:pt x="576" y="644"/>
                  </a:lnTo>
                  <a:lnTo>
                    <a:pt x="576" y="642"/>
                  </a:lnTo>
                  <a:lnTo>
                    <a:pt x="576" y="639"/>
                  </a:lnTo>
                  <a:lnTo>
                    <a:pt x="574" y="639"/>
                  </a:lnTo>
                  <a:lnTo>
                    <a:pt x="576" y="637"/>
                  </a:lnTo>
                  <a:lnTo>
                    <a:pt x="574" y="637"/>
                  </a:lnTo>
                  <a:lnTo>
                    <a:pt x="574" y="639"/>
                  </a:lnTo>
                  <a:lnTo>
                    <a:pt x="572" y="639"/>
                  </a:lnTo>
                  <a:lnTo>
                    <a:pt x="569" y="639"/>
                  </a:lnTo>
                  <a:lnTo>
                    <a:pt x="569" y="637"/>
                  </a:lnTo>
                  <a:lnTo>
                    <a:pt x="567" y="637"/>
                  </a:lnTo>
                  <a:lnTo>
                    <a:pt x="569" y="637"/>
                  </a:lnTo>
                  <a:lnTo>
                    <a:pt x="569" y="635"/>
                  </a:lnTo>
                  <a:lnTo>
                    <a:pt x="572" y="635"/>
                  </a:lnTo>
                  <a:lnTo>
                    <a:pt x="574" y="635"/>
                  </a:lnTo>
                  <a:lnTo>
                    <a:pt x="576" y="635"/>
                  </a:lnTo>
                  <a:lnTo>
                    <a:pt x="576" y="632"/>
                  </a:lnTo>
                  <a:lnTo>
                    <a:pt x="574" y="632"/>
                  </a:lnTo>
                  <a:lnTo>
                    <a:pt x="574" y="635"/>
                  </a:lnTo>
                  <a:lnTo>
                    <a:pt x="572" y="635"/>
                  </a:lnTo>
                  <a:lnTo>
                    <a:pt x="569" y="635"/>
                  </a:lnTo>
                  <a:lnTo>
                    <a:pt x="567" y="635"/>
                  </a:lnTo>
                  <a:lnTo>
                    <a:pt x="569" y="635"/>
                  </a:lnTo>
                  <a:lnTo>
                    <a:pt x="567" y="635"/>
                  </a:lnTo>
                  <a:lnTo>
                    <a:pt x="567" y="637"/>
                  </a:lnTo>
                  <a:lnTo>
                    <a:pt x="564" y="637"/>
                  </a:lnTo>
                  <a:lnTo>
                    <a:pt x="564" y="635"/>
                  </a:lnTo>
                  <a:lnTo>
                    <a:pt x="562" y="635"/>
                  </a:lnTo>
                  <a:lnTo>
                    <a:pt x="562" y="632"/>
                  </a:lnTo>
                  <a:lnTo>
                    <a:pt x="560" y="632"/>
                  </a:lnTo>
                  <a:lnTo>
                    <a:pt x="560" y="635"/>
                  </a:lnTo>
                  <a:lnTo>
                    <a:pt x="557" y="635"/>
                  </a:lnTo>
                  <a:lnTo>
                    <a:pt x="557" y="632"/>
                  </a:lnTo>
                  <a:lnTo>
                    <a:pt x="555" y="632"/>
                  </a:lnTo>
                  <a:lnTo>
                    <a:pt x="555" y="630"/>
                  </a:lnTo>
                  <a:lnTo>
                    <a:pt x="557" y="630"/>
                  </a:lnTo>
                  <a:lnTo>
                    <a:pt x="555" y="630"/>
                  </a:lnTo>
                  <a:lnTo>
                    <a:pt x="553" y="630"/>
                  </a:lnTo>
                  <a:lnTo>
                    <a:pt x="550" y="630"/>
                  </a:lnTo>
                  <a:lnTo>
                    <a:pt x="550" y="628"/>
                  </a:lnTo>
                  <a:lnTo>
                    <a:pt x="548" y="628"/>
                  </a:lnTo>
                  <a:lnTo>
                    <a:pt x="548" y="625"/>
                  </a:lnTo>
                  <a:lnTo>
                    <a:pt x="550" y="625"/>
                  </a:lnTo>
                  <a:lnTo>
                    <a:pt x="553" y="625"/>
                  </a:lnTo>
                  <a:lnTo>
                    <a:pt x="553" y="623"/>
                  </a:lnTo>
                  <a:lnTo>
                    <a:pt x="555" y="623"/>
                  </a:lnTo>
                  <a:lnTo>
                    <a:pt x="555" y="625"/>
                  </a:lnTo>
                  <a:lnTo>
                    <a:pt x="555" y="628"/>
                  </a:lnTo>
                  <a:lnTo>
                    <a:pt x="557" y="628"/>
                  </a:lnTo>
                  <a:lnTo>
                    <a:pt x="557" y="625"/>
                  </a:lnTo>
                  <a:lnTo>
                    <a:pt x="557" y="623"/>
                  </a:lnTo>
                  <a:lnTo>
                    <a:pt x="557" y="620"/>
                  </a:lnTo>
                  <a:lnTo>
                    <a:pt x="560" y="620"/>
                  </a:lnTo>
                  <a:lnTo>
                    <a:pt x="560" y="623"/>
                  </a:lnTo>
                  <a:lnTo>
                    <a:pt x="562" y="623"/>
                  </a:lnTo>
                  <a:lnTo>
                    <a:pt x="564" y="625"/>
                  </a:lnTo>
                  <a:lnTo>
                    <a:pt x="564" y="628"/>
                  </a:lnTo>
                  <a:lnTo>
                    <a:pt x="567" y="625"/>
                  </a:lnTo>
                  <a:lnTo>
                    <a:pt x="567" y="628"/>
                  </a:lnTo>
                  <a:lnTo>
                    <a:pt x="567" y="630"/>
                  </a:lnTo>
                  <a:lnTo>
                    <a:pt x="569" y="630"/>
                  </a:lnTo>
                  <a:lnTo>
                    <a:pt x="569" y="628"/>
                  </a:lnTo>
                  <a:lnTo>
                    <a:pt x="569" y="625"/>
                  </a:lnTo>
                  <a:lnTo>
                    <a:pt x="567" y="625"/>
                  </a:lnTo>
                  <a:lnTo>
                    <a:pt x="567" y="623"/>
                  </a:lnTo>
                  <a:lnTo>
                    <a:pt x="569" y="623"/>
                  </a:lnTo>
                  <a:lnTo>
                    <a:pt x="572" y="620"/>
                  </a:lnTo>
                  <a:lnTo>
                    <a:pt x="574" y="620"/>
                  </a:lnTo>
                  <a:lnTo>
                    <a:pt x="574" y="623"/>
                  </a:lnTo>
                  <a:lnTo>
                    <a:pt x="576" y="620"/>
                  </a:lnTo>
                  <a:lnTo>
                    <a:pt x="579" y="620"/>
                  </a:lnTo>
                  <a:lnTo>
                    <a:pt x="576" y="623"/>
                  </a:lnTo>
                  <a:lnTo>
                    <a:pt x="579" y="623"/>
                  </a:lnTo>
                  <a:lnTo>
                    <a:pt x="576" y="623"/>
                  </a:lnTo>
                  <a:lnTo>
                    <a:pt x="576" y="625"/>
                  </a:lnTo>
                  <a:lnTo>
                    <a:pt x="579" y="625"/>
                  </a:lnTo>
                  <a:lnTo>
                    <a:pt x="579" y="623"/>
                  </a:lnTo>
                  <a:lnTo>
                    <a:pt x="581" y="623"/>
                  </a:lnTo>
                  <a:lnTo>
                    <a:pt x="583" y="623"/>
                  </a:lnTo>
                  <a:lnTo>
                    <a:pt x="583" y="625"/>
                  </a:lnTo>
                  <a:lnTo>
                    <a:pt x="581" y="625"/>
                  </a:lnTo>
                  <a:lnTo>
                    <a:pt x="581" y="628"/>
                  </a:lnTo>
                  <a:lnTo>
                    <a:pt x="583" y="625"/>
                  </a:lnTo>
                  <a:lnTo>
                    <a:pt x="583" y="628"/>
                  </a:lnTo>
                  <a:lnTo>
                    <a:pt x="583" y="630"/>
                  </a:lnTo>
                  <a:lnTo>
                    <a:pt x="581" y="630"/>
                  </a:lnTo>
                  <a:lnTo>
                    <a:pt x="583" y="630"/>
                  </a:lnTo>
                  <a:lnTo>
                    <a:pt x="581" y="630"/>
                  </a:lnTo>
                  <a:lnTo>
                    <a:pt x="581" y="632"/>
                  </a:lnTo>
                  <a:lnTo>
                    <a:pt x="583" y="632"/>
                  </a:lnTo>
                  <a:lnTo>
                    <a:pt x="586" y="632"/>
                  </a:lnTo>
                  <a:lnTo>
                    <a:pt x="586" y="630"/>
                  </a:lnTo>
                  <a:lnTo>
                    <a:pt x="586" y="632"/>
                  </a:lnTo>
                  <a:lnTo>
                    <a:pt x="586" y="630"/>
                  </a:lnTo>
                  <a:lnTo>
                    <a:pt x="588" y="630"/>
                  </a:lnTo>
                  <a:lnTo>
                    <a:pt x="588" y="632"/>
                  </a:lnTo>
                  <a:lnTo>
                    <a:pt x="590" y="632"/>
                  </a:lnTo>
                  <a:lnTo>
                    <a:pt x="593" y="632"/>
                  </a:lnTo>
                  <a:lnTo>
                    <a:pt x="590" y="632"/>
                  </a:lnTo>
                  <a:lnTo>
                    <a:pt x="590" y="630"/>
                  </a:lnTo>
                  <a:lnTo>
                    <a:pt x="588" y="630"/>
                  </a:lnTo>
                  <a:lnTo>
                    <a:pt x="586" y="630"/>
                  </a:lnTo>
                  <a:lnTo>
                    <a:pt x="583" y="630"/>
                  </a:lnTo>
                  <a:lnTo>
                    <a:pt x="586" y="630"/>
                  </a:lnTo>
                  <a:lnTo>
                    <a:pt x="586" y="628"/>
                  </a:lnTo>
                  <a:lnTo>
                    <a:pt x="586" y="625"/>
                  </a:lnTo>
                  <a:lnTo>
                    <a:pt x="586" y="623"/>
                  </a:lnTo>
                  <a:lnTo>
                    <a:pt x="588" y="625"/>
                  </a:lnTo>
                  <a:lnTo>
                    <a:pt x="590" y="625"/>
                  </a:lnTo>
                  <a:lnTo>
                    <a:pt x="593" y="625"/>
                  </a:lnTo>
                  <a:lnTo>
                    <a:pt x="595" y="625"/>
                  </a:lnTo>
                  <a:lnTo>
                    <a:pt x="595" y="628"/>
                  </a:lnTo>
                  <a:lnTo>
                    <a:pt x="593" y="628"/>
                  </a:lnTo>
                  <a:lnTo>
                    <a:pt x="595" y="628"/>
                  </a:lnTo>
                  <a:lnTo>
                    <a:pt x="595" y="625"/>
                  </a:lnTo>
                  <a:lnTo>
                    <a:pt x="598" y="625"/>
                  </a:lnTo>
                  <a:lnTo>
                    <a:pt x="598" y="628"/>
                  </a:lnTo>
                  <a:lnTo>
                    <a:pt x="600" y="628"/>
                  </a:lnTo>
                  <a:lnTo>
                    <a:pt x="605" y="628"/>
                  </a:lnTo>
                  <a:lnTo>
                    <a:pt x="607" y="628"/>
                  </a:lnTo>
                  <a:lnTo>
                    <a:pt x="607" y="630"/>
                  </a:lnTo>
                  <a:lnTo>
                    <a:pt x="605" y="630"/>
                  </a:lnTo>
                  <a:lnTo>
                    <a:pt x="602" y="632"/>
                  </a:lnTo>
                  <a:lnTo>
                    <a:pt x="600" y="632"/>
                  </a:lnTo>
                  <a:lnTo>
                    <a:pt x="602" y="632"/>
                  </a:lnTo>
                  <a:lnTo>
                    <a:pt x="600" y="632"/>
                  </a:lnTo>
                  <a:lnTo>
                    <a:pt x="598" y="635"/>
                  </a:lnTo>
                  <a:lnTo>
                    <a:pt x="595" y="635"/>
                  </a:lnTo>
                  <a:lnTo>
                    <a:pt x="593" y="635"/>
                  </a:lnTo>
                  <a:lnTo>
                    <a:pt x="590" y="635"/>
                  </a:lnTo>
                  <a:lnTo>
                    <a:pt x="588" y="635"/>
                  </a:lnTo>
                  <a:lnTo>
                    <a:pt x="586" y="635"/>
                  </a:lnTo>
                  <a:lnTo>
                    <a:pt x="586" y="637"/>
                  </a:lnTo>
                  <a:lnTo>
                    <a:pt x="583" y="637"/>
                  </a:lnTo>
                  <a:lnTo>
                    <a:pt x="586" y="637"/>
                  </a:lnTo>
                  <a:lnTo>
                    <a:pt x="588" y="637"/>
                  </a:lnTo>
                  <a:lnTo>
                    <a:pt x="590" y="637"/>
                  </a:lnTo>
                  <a:lnTo>
                    <a:pt x="590" y="635"/>
                  </a:lnTo>
                  <a:lnTo>
                    <a:pt x="593" y="635"/>
                  </a:lnTo>
                  <a:lnTo>
                    <a:pt x="595" y="635"/>
                  </a:lnTo>
                  <a:lnTo>
                    <a:pt x="598" y="635"/>
                  </a:lnTo>
                  <a:lnTo>
                    <a:pt x="600" y="635"/>
                  </a:lnTo>
                  <a:lnTo>
                    <a:pt x="602" y="635"/>
                  </a:lnTo>
                  <a:lnTo>
                    <a:pt x="602" y="632"/>
                  </a:lnTo>
                  <a:lnTo>
                    <a:pt x="605" y="632"/>
                  </a:lnTo>
                  <a:lnTo>
                    <a:pt x="607" y="632"/>
                  </a:lnTo>
                  <a:lnTo>
                    <a:pt x="607" y="630"/>
                  </a:lnTo>
                  <a:lnTo>
                    <a:pt x="607" y="632"/>
                  </a:lnTo>
                  <a:lnTo>
                    <a:pt x="607" y="630"/>
                  </a:lnTo>
                  <a:lnTo>
                    <a:pt x="607" y="632"/>
                  </a:lnTo>
                  <a:lnTo>
                    <a:pt x="607" y="630"/>
                  </a:lnTo>
                  <a:lnTo>
                    <a:pt x="607" y="632"/>
                  </a:lnTo>
                  <a:lnTo>
                    <a:pt x="607" y="635"/>
                  </a:lnTo>
                  <a:lnTo>
                    <a:pt x="607" y="637"/>
                  </a:lnTo>
                  <a:lnTo>
                    <a:pt x="605" y="637"/>
                  </a:lnTo>
                  <a:lnTo>
                    <a:pt x="607" y="637"/>
                  </a:lnTo>
                  <a:lnTo>
                    <a:pt x="607" y="639"/>
                  </a:lnTo>
                  <a:lnTo>
                    <a:pt x="609" y="639"/>
                  </a:lnTo>
                  <a:lnTo>
                    <a:pt x="609" y="637"/>
                  </a:lnTo>
                  <a:lnTo>
                    <a:pt x="612" y="639"/>
                  </a:lnTo>
                  <a:lnTo>
                    <a:pt x="609" y="639"/>
                  </a:lnTo>
                  <a:lnTo>
                    <a:pt x="612" y="642"/>
                  </a:lnTo>
                  <a:lnTo>
                    <a:pt x="612" y="639"/>
                  </a:lnTo>
                  <a:lnTo>
                    <a:pt x="612" y="642"/>
                  </a:lnTo>
                  <a:lnTo>
                    <a:pt x="609" y="642"/>
                  </a:lnTo>
                  <a:lnTo>
                    <a:pt x="609" y="644"/>
                  </a:lnTo>
                  <a:lnTo>
                    <a:pt x="607" y="644"/>
                  </a:lnTo>
                  <a:lnTo>
                    <a:pt x="609" y="644"/>
                  </a:lnTo>
                  <a:lnTo>
                    <a:pt x="609" y="642"/>
                  </a:lnTo>
                  <a:lnTo>
                    <a:pt x="612" y="642"/>
                  </a:lnTo>
                  <a:lnTo>
                    <a:pt x="612" y="644"/>
                  </a:lnTo>
                  <a:lnTo>
                    <a:pt x="609" y="644"/>
                  </a:lnTo>
                  <a:lnTo>
                    <a:pt x="612" y="644"/>
                  </a:lnTo>
                  <a:lnTo>
                    <a:pt x="612" y="642"/>
                  </a:lnTo>
                  <a:lnTo>
                    <a:pt x="614" y="642"/>
                  </a:lnTo>
                  <a:lnTo>
                    <a:pt x="617" y="642"/>
                  </a:lnTo>
                  <a:lnTo>
                    <a:pt x="614" y="642"/>
                  </a:lnTo>
                  <a:lnTo>
                    <a:pt x="617" y="642"/>
                  </a:lnTo>
                  <a:lnTo>
                    <a:pt x="617" y="639"/>
                  </a:lnTo>
                  <a:lnTo>
                    <a:pt x="617" y="642"/>
                  </a:lnTo>
                  <a:lnTo>
                    <a:pt x="619" y="642"/>
                  </a:lnTo>
                  <a:lnTo>
                    <a:pt x="619" y="639"/>
                  </a:lnTo>
                  <a:lnTo>
                    <a:pt x="621" y="639"/>
                  </a:lnTo>
                  <a:lnTo>
                    <a:pt x="619" y="639"/>
                  </a:lnTo>
                  <a:lnTo>
                    <a:pt x="619" y="642"/>
                  </a:lnTo>
                  <a:lnTo>
                    <a:pt x="621" y="642"/>
                  </a:lnTo>
                  <a:lnTo>
                    <a:pt x="619" y="642"/>
                  </a:lnTo>
                  <a:lnTo>
                    <a:pt x="621" y="642"/>
                  </a:lnTo>
                  <a:lnTo>
                    <a:pt x="621" y="639"/>
                  </a:lnTo>
                  <a:lnTo>
                    <a:pt x="621" y="642"/>
                  </a:lnTo>
                  <a:lnTo>
                    <a:pt x="621" y="639"/>
                  </a:lnTo>
                  <a:lnTo>
                    <a:pt x="624" y="639"/>
                  </a:lnTo>
                  <a:lnTo>
                    <a:pt x="624" y="637"/>
                  </a:lnTo>
                  <a:lnTo>
                    <a:pt x="621" y="637"/>
                  </a:lnTo>
                  <a:lnTo>
                    <a:pt x="619" y="637"/>
                  </a:lnTo>
                  <a:lnTo>
                    <a:pt x="617" y="637"/>
                  </a:lnTo>
                  <a:lnTo>
                    <a:pt x="614" y="637"/>
                  </a:lnTo>
                  <a:lnTo>
                    <a:pt x="614" y="635"/>
                  </a:lnTo>
                  <a:lnTo>
                    <a:pt x="612" y="635"/>
                  </a:lnTo>
                  <a:lnTo>
                    <a:pt x="614" y="635"/>
                  </a:lnTo>
                  <a:lnTo>
                    <a:pt x="614" y="632"/>
                  </a:lnTo>
                  <a:lnTo>
                    <a:pt x="617" y="632"/>
                  </a:lnTo>
                  <a:lnTo>
                    <a:pt x="619" y="632"/>
                  </a:lnTo>
                  <a:lnTo>
                    <a:pt x="619" y="630"/>
                  </a:lnTo>
                  <a:lnTo>
                    <a:pt x="617" y="630"/>
                  </a:lnTo>
                  <a:lnTo>
                    <a:pt x="619" y="630"/>
                  </a:lnTo>
                  <a:lnTo>
                    <a:pt x="619" y="628"/>
                  </a:lnTo>
                  <a:lnTo>
                    <a:pt x="619" y="630"/>
                  </a:lnTo>
                  <a:lnTo>
                    <a:pt x="619" y="628"/>
                  </a:lnTo>
                  <a:lnTo>
                    <a:pt x="617" y="628"/>
                  </a:lnTo>
                  <a:lnTo>
                    <a:pt x="614" y="628"/>
                  </a:lnTo>
                  <a:lnTo>
                    <a:pt x="614" y="625"/>
                  </a:lnTo>
                  <a:lnTo>
                    <a:pt x="617" y="625"/>
                  </a:lnTo>
                  <a:lnTo>
                    <a:pt x="619" y="625"/>
                  </a:lnTo>
                  <a:lnTo>
                    <a:pt x="621" y="625"/>
                  </a:lnTo>
                  <a:lnTo>
                    <a:pt x="624" y="625"/>
                  </a:lnTo>
                  <a:lnTo>
                    <a:pt x="621" y="625"/>
                  </a:lnTo>
                  <a:lnTo>
                    <a:pt x="619" y="625"/>
                  </a:lnTo>
                  <a:lnTo>
                    <a:pt x="617" y="625"/>
                  </a:lnTo>
                  <a:lnTo>
                    <a:pt x="617" y="623"/>
                  </a:lnTo>
                  <a:lnTo>
                    <a:pt x="619" y="623"/>
                  </a:lnTo>
                  <a:lnTo>
                    <a:pt x="621" y="623"/>
                  </a:lnTo>
                  <a:lnTo>
                    <a:pt x="619" y="623"/>
                  </a:lnTo>
                  <a:lnTo>
                    <a:pt x="621" y="623"/>
                  </a:lnTo>
                  <a:lnTo>
                    <a:pt x="624" y="623"/>
                  </a:lnTo>
                  <a:lnTo>
                    <a:pt x="626" y="623"/>
                  </a:lnTo>
                  <a:lnTo>
                    <a:pt x="628" y="623"/>
                  </a:lnTo>
                  <a:lnTo>
                    <a:pt x="628" y="620"/>
                  </a:lnTo>
                  <a:lnTo>
                    <a:pt x="626" y="623"/>
                  </a:lnTo>
                  <a:lnTo>
                    <a:pt x="624" y="623"/>
                  </a:lnTo>
                  <a:lnTo>
                    <a:pt x="626" y="623"/>
                  </a:lnTo>
                  <a:lnTo>
                    <a:pt x="624" y="623"/>
                  </a:lnTo>
                  <a:lnTo>
                    <a:pt x="624" y="620"/>
                  </a:lnTo>
                  <a:lnTo>
                    <a:pt x="621" y="620"/>
                  </a:lnTo>
                  <a:lnTo>
                    <a:pt x="624" y="620"/>
                  </a:lnTo>
                  <a:lnTo>
                    <a:pt x="624" y="618"/>
                  </a:lnTo>
                  <a:lnTo>
                    <a:pt x="626" y="618"/>
                  </a:lnTo>
                  <a:lnTo>
                    <a:pt x="626" y="616"/>
                  </a:lnTo>
                  <a:lnTo>
                    <a:pt x="628" y="616"/>
                  </a:lnTo>
                  <a:lnTo>
                    <a:pt x="628" y="613"/>
                  </a:lnTo>
                  <a:lnTo>
                    <a:pt x="631" y="613"/>
                  </a:lnTo>
                  <a:lnTo>
                    <a:pt x="633" y="613"/>
                  </a:lnTo>
                  <a:lnTo>
                    <a:pt x="633" y="611"/>
                  </a:lnTo>
                  <a:lnTo>
                    <a:pt x="636" y="611"/>
                  </a:lnTo>
                  <a:lnTo>
                    <a:pt x="636" y="609"/>
                  </a:lnTo>
                  <a:lnTo>
                    <a:pt x="638" y="609"/>
                  </a:lnTo>
                  <a:lnTo>
                    <a:pt x="640" y="609"/>
                  </a:lnTo>
                  <a:lnTo>
                    <a:pt x="643" y="609"/>
                  </a:lnTo>
                  <a:lnTo>
                    <a:pt x="643" y="611"/>
                  </a:lnTo>
                  <a:lnTo>
                    <a:pt x="645" y="611"/>
                  </a:lnTo>
                  <a:lnTo>
                    <a:pt x="647" y="611"/>
                  </a:lnTo>
                  <a:lnTo>
                    <a:pt x="650" y="611"/>
                  </a:lnTo>
                  <a:lnTo>
                    <a:pt x="650" y="613"/>
                  </a:lnTo>
                  <a:lnTo>
                    <a:pt x="652" y="613"/>
                  </a:lnTo>
                  <a:lnTo>
                    <a:pt x="650" y="613"/>
                  </a:lnTo>
                  <a:lnTo>
                    <a:pt x="650" y="611"/>
                  </a:lnTo>
                  <a:lnTo>
                    <a:pt x="650" y="609"/>
                  </a:lnTo>
                  <a:lnTo>
                    <a:pt x="647" y="609"/>
                  </a:lnTo>
                  <a:lnTo>
                    <a:pt x="645" y="609"/>
                  </a:lnTo>
                  <a:lnTo>
                    <a:pt x="643" y="609"/>
                  </a:lnTo>
                  <a:lnTo>
                    <a:pt x="643" y="606"/>
                  </a:lnTo>
                  <a:lnTo>
                    <a:pt x="645" y="606"/>
                  </a:lnTo>
                  <a:lnTo>
                    <a:pt x="645" y="604"/>
                  </a:lnTo>
                  <a:lnTo>
                    <a:pt x="647" y="604"/>
                  </a:lnTo>
                  <a:lnTo>
                    <a:pt x="647" y="601"/>
                  </a:lnTo>
                  <a:lnTo>
                    <a:pt x="647" y="599"/>
                  </a:lnTo>
                  <a:lnTo>
                    <a:pt x="650" y="599"/>
                  </a:lnTo>
                  <a:lnTo>
                    <a:pt x="652" y="599"/>
                  </a:lnTo>
                  <a:lnTo>
                    <a:pt x="650" y="599"/>
                  </a:lnTo>
                  <a:lnTo>
                    <a:pt x="652" y="599"/>
                  </a:lnTo>
                  <a:lnTo>
                    <a:pt x="652" y="597"/>
                  </a:lnTo>
                  <a:lnTo>
                    <a:pt x="652" y="599"/>
                  </a:lnTo>
                  <a:lnTo>
                    <a:pt x="655" y="599"/>
                  </a:lnTo>
                  <a:lnTo>
                    <a:pt x="657" y="599"/>
                  </a:lnTo>
                  <a:lnTo>
                    <a:pt x="657" y="601"/>
                  </a:lnTo>
                  <a:lnTo>
                    <a:pt x="659" y="601"/>
                  </a:lnTo>
                  <a:lnTo>
                    <a:pt x="659" y="604"/>
                  </a:lnTo>
                  <a:lnTo>
                    <a:pt x="662" y="604"/>
                  </a:lnTo>
                  <a:lnTo>
                    <a:pt x="662" y="601"/>
                  </a:lnTo>
                  <a:lnTo>
                    <a:pt x="664" y="601"/>
                  </a:lnTo>
                  <a:lnTo>
                    <a:pt x="662" y="601"/>
                  </a:lnTo>
                  <a:lnTo>
                    <a:pt x="664" y="601"/>
                  </a:lnTo>
                  <a:lnTo>
                    <a:pt x="662" y="601"/>
                  </a:lnTo>
                  <a:lnTo>
                    <a:pt x="664" y="601"/>
                  </a:lnTo>
                  <a:lnTo>
                    <a:pt x="662" y="601"/>
                  </a:lnTo>
                  <a:lnTo>
                    <a:pt x="662" y="599"/>
                  </a:lnTo>
                  <a:lnTo>
                    <a:pt x="659" y="599"/>
                  </a:lnTo>
                  <a:lnTo>
                    <a:pt x="662" y="597"/>
                  </a:lnTo>
                  <a:lnTo>
                    <a:pt x="662" y="599"/>
                  </a:lnTo>
                  <a:lnTo>
                    <a:pt x="662" y="597"/>
                  </a:lnTo>
                  <a:lnTo>
                    <a:pt x="659" y="597"/>
                  </a:lnTo>
                  <a:lnTo>
                    <a:pt x="657" y="597"/>
                  </a:lnTo>
                  <a:lnTo>
                    <a:pt x="657" y="594"/>
                  </a:lnTo>
                  <a:lnTo>
                    <a:pt x="655" y="594"/>
                  </a:lnTo>
                  <a:lnTo>
                    <a:pt x="652" y="594"/>
                  </a:lnTo>
                  <a:lnTo>
                    <a:pt x="650" y="594"/>
                  </a:lnTo>
                  <a:lnTo>
                    <a:pt x="652" y="594"/>
                  </a:lnTo>
                  <a:lnTo>
                    <a:pt x="650" y="594"/>
                  </a:lnTo>
                  <a:lnTo>
                    <a:pt x="647" y="592"/>
                  </a:lnTo>
                  <a:lnTo>
                    <a:pt x="650" y="592"/>
                  </a:lnTo>
                  <a:lnTo>
                    <a:pt x="650" y="590"/>
                  </a:lnTo>
                  <a:lnTo>
                    <a:pt x="647" y="590"/>
                  </a:lnTo>
                  <a:lnTo>
                    <a:pt x="650" y="590"/>
                  </a:lnTo>
                  <a:lnTo>
                    <a:pt x="650" y="587"/>
                  </a:lnTo>
                  <a:lnTo>
                    <a:pt x="652" y="587"/>
                  </a:lnTo>
                  <a:lnTo>
                    <a:pt x="650" y="587"/>
                  </a:lnTo>
                  <a:lnTo>
                    <a:pt x="652" y="587"/>
                  </a:lnTo>
                  <a:lnTo>
                    <a:pt x="655" y="587"/>
                  </a:lnTo>
                  <a:lnTo>
                    <a:pt x="652" y="587"/>
                  </a:lnTo>
                  <a:lnTo>
                    <a:pt x="652" y="590"/>
                  </a:lnTo>
                  <a:lnTo>
                    <a:pt x="655" y="590"/>
                  </a:lnTo>
                  <a:lnTo>
                    <a:pt x="657" y="592"/>
                  </a:lnTo>
                  <a:lnTo>
                    <a:pt x="659" y="592"/>
                  </a:lnTo>
                  <a:lnTo>
                    <a:pt x="662" y="592"/>
                  </a:lnTo>
                  <a:lnTo>
                    <a:pt x="662" y="590"/>
                  </a:lnTo>
                  <a:lnTo>
                    <a:pt x="659" y="590"/>
                  </a:lnTo>
                  <a:lnTo>
                    <a:pt x="659" y="587"/>
                  </a:lnTo>
                  <a:lnTo>
                    <a:pt x="662" y="587"/>
                  </a:lnTo>
                  <a:lnTo>
                    <a:pt x="664" y="587"/>
                  </a:lnTo>
                  <a:lnTo>
                    <a:pt x="662" y="587"/>
                  </a:lnTo>
                  <a:lnTo>
                    <a:pt x="659" y="585"/>
                  </a:lnTo>
                  <a:lnTo>
                    <a:pt x="662" y="585"/>
                  </a:lnTo>
                  <a:lnTo>
                    <a:pt x="659" y="585"/>
                  </a:lnTo>
                  <a:lnTo>
                    <a:pt x="659" y="582"/>
                  </a:lnTo>
                  <a:lnTo>
                    <a:pt x="662" y="582"/>
                  </a:lnTo>
                  <a:lnTo>
                    <a:pt x="659" y="582"/>
                  </a:lnTo>
                  <a:lnTo>
                    <a:pt x="657" y="582"/>
                  </a:lnTo>
                  <a:lnTo>
                    <a:pt x="659" y="580"/>
                  </a:lnTo>
                  <a:lnTo>
                    <a:pt x="662" y="580"/>
                  </a:lnTo>
                  <a:lnTo>
                    <a:pt x="659" y="580"/>
                  </a:lnTo>
                  <a:lnTo>
                    <a:pt x="659" y="578"/>
                  </a:lnTo>
                  <a:lnTo>
                    <a:pt x="662" y="578"/>
                  </a:lnTo>
                  <a:lnTo>
                    <a:pt x="662" y="580"/>
                  </a:lnTo>
                  <a:lnTo>
                    <a:pt x="664" y="580"/>
                  </a:lnTo>
                  <a:lnTo>
                    <a:pt x="662" y="580"/>
                  </a:lnTo>
                  <a:lnTo>
                    <a:pt x="664" y="580"/>
                  </a:lnTo>
                  <a:lnTo>
                    <a:pt x="662" y="580"/>
                  </a:lnTo>
                  <a:lnTo>
                    <a:pt x="664" y="580"/>
                  </a:lnTo>
                  <a:lnTo>
                    <a:pt x="662" y="580"/>
                  </a:lnTo>
                  <a:lnTo>
                    <a:pt x="662" y="582"/>
                  </a:lnTo>
                  <a:lnTo>
                    <a:pt x="664" y="582"/>
                  </a:lnTo>
                  <a:lnTo>
                    <a:pt x="664" y="580"/>
                  </a:lnTo>
                  <a:lnTo>
                    <a:pt x="666" y="580"/>
                  </a:lnTo>
                  <a:lnTo>
                    <a:pt x="666" y="582"/>
                  </a:lnTo>
                  <a:lnTo>
                    <a:pt x="669" y="582"/>
                  </a:lnTo>
                  <a:lnTo>
                    <a:pt x="669" y="585"/>
                  </a:lnTo>
                  <a:lnTo>
                    <a:pt x="666" y="585"/>
                  </a:lnTo>
                  <a:lnTo>
                    <a:pt x="669" y="585"/>
                  </a:lnTo>
                  <a:lnTo>
                    <a:pt x="671" y="585"/>
                  </a:lnTo>
                  <a:lnTo>
                    <a:pt x="671" y="582"/>
                  </a:lnTo>
                  <a:lnTo>
                    <a:pt x="671" y="580"/>
                  </a:lnTo>
                  <a:lnTo>
                    <a:pt x="674" y="580"/>
                  </a:lnTo>
                  <a:lnTo>
                    <a:pt x="674" y="582"/>
                  </a:lnTo>
                  <a:lnTo>
                    <a:pt x="676" y="582"/>
                  </a:lnTo>
                  <a:lnTo>
                    <a:pt x="674" y="585"/>
                  </a:lnTo>
                  <a:lnTo>
                    <a:pt x="671" y="585"/>
                  </a:lnTo>
                  <a:lnTo>
                    <a:pt x="671" y="587"/>
                  </a:lnTo>
                  <a:lnTo>
                    <a:pt x="669" y="587"/>
                  </a:lnTo>
                  <a:lnTo>
                    <a:pt x="671" y="587"/>
                  </a:lnTo>
                  <a:lnTo>
                    <a:pt x="674" y="587"/>
                  </a:lnTo>
                  <a:lnTo>
                    <a:pt x="676" y="585"/>
                  </a:lnTo>
                  <a:lnTo>
                    <a:pt x="678" y="585"/>
                  </a:lnTo>
                  <a:lnTo>
                    <a:pt x="681" y="585"/>
                  </a:lnTo>
                  <a:lnTo>
                    <a:pt x="681" y="587"/>
                  </a:lnTo>
                  <a:lnTo>
                    <a:pt x="681" y="590"/>
                  </a:lnTo>
                  <a:lnTo>
                    <a:pt x="681" y="592"/>
                  </a:lnTo>
                  <a:lnTo>
                    <a:pt x="683" y="590"/>
                  </a:lnTo>
                  <a:lnTo>
                    <a:pt x="683" y="592"/>
                  </a:lnTo>
                  <a:lnTo>
                    <a:pt x="683" y="590"/>
                  </a:lnTo>
                  <a:lnTo>
                    <a:pt x="683" y="592"/>
                  </a:lnTo>
                  <a:lnTo>
                    <a:pt x="685" y="590"/>
                  </a:lnTo>
                  <a:lnTo>
                    <a:pt x="683" y="590"/>
                  </a:lnTo>
                  <a:lnTo>
                    <a:pt x="685" y="590"/>
                  </a:lnTo>
                  <a:lnTo>
                    <a:pt x="685" y="587"/>
                  </a:lnTo>
                  <a:lnTo>
                    <a:pt x="683" y="587"/>
                  </a:lnTo>
                  <a:lnTo>
                    <a:pt x="685" y="587"/>
                  </a:lnTo>
                  <a:lnTo>
                    <a:pt x="685" y="585"/>
                  </a:lnTo>
                  <a:lnTo>
                    <a:pt x="685" y="582"/>
                  </a:lnTo>
                  <a:lnTo>
                    <a:pt x="683" y="582"/>
                  </a:lnTo>
                  <a:lnTo>
                    <a:pt x="683" y="580"/>
                  </a:lnTo>
                  <a:lnTo>
                    <a:pt x="685" y="580"/>
                  </a:lnTo>
                  <a:lnTo>
                    <a:pt x="685" y="582"/>
                  </a:lnTo>
                  <a:lnTo>
                    <a:pt x="688" y="582"/>
                  </a:lnTo>
                  <a:lnTo>
                    <a:pt x="690" y="582"/>
                  </a:lnTo>
                  <a:lnTo>
                    <a:pt x="690" y="585"/>
                  </a:lnTo>
                  <a:lnTo>
                    <a:pt x="693" y="585"/>
                  </a:lnTo>
                  <a:lnTo>
                    <a:pt x="690" y="585"/>
                  </a:lnTo>
                  <a:lnTo>
                    <a:pt x="688" y="587"/>
                  </a:lnTo>
                  <a:lnTo>
                    <a:pt x="688" y="590"/>
                  </a:lnTo>
                  <a:lnTo>
                    <a:pt x="690" y="587"/>
                  </a:lnTo>
                  <a:lnTo>
                    <a:pt x="693" y="587"/>
                  </a:lnTo>
                  <a:lnTo>
                    <a:pt x="693" y="585"/>
                  </a:lnTo>
                  <a:lnTo>
                    <a:pt x="695" y="585"/>
                  </a:lnTo>
                  <a:lnTo>
                    <a:pt x="697" y="585"/>
                  </a:lnTo>
                  <a:lnTo>
                    <a:pt x="695" y="587"/>
                  </a:lnTo>
                  <a:lnTo>
                    <a:pt x="697" y="587"/>
                  </a:lnTo>
                  <a:lnTo>
                    <a:pt x="700" y="587"/>
                  </a:lnTo>
                  <a:lnTo>
                    <a:pt x="700" y="585"/>
                  </a:lnTo>
                  <a:lnTo>
                    <a:pt x="702" y="585"/>
                  </a:lnTo>
                  <a:lnTo>
                    <a:pt x="702" y="587"/>
                  </a:lnTo>
                  <a:lnTo>
                    <a:pt x="700" y="587"/>
                  </a:lnTo>
                  <a:lnTo>
                    <a:pt x="702" y="587"/>
                  </a:lnTo>
                  <a:lnTo>
                    <a:pt x="704" y="587"/>
                  </a:lnTo>
                  <a:lnTo>
                    <a:pt x="702" y="587"/>
                  </a:lnTo>
                  <a:lnTo>
                    <a:pt x="702" y="590"/>
                  </a:lnTo>
                  <a:lnTo>
                    <a:pt x="700" y="590"/>
                  </a:lnTo>
                  <a:lnTo>
                    <a:pt x="702" y="590"/>
                  </a:lnTo>
                  <a:lnTo>
                    <a:pt x="700" y="590"/>
                  </a:lnTo>
                  <a:lnTo>
                    <a:pt x="700" y="592"/>
                  </a:lnTo>
                  <a:lnTo>
                    <a:pt x="697" y="592"/>
                  </a:lnTo>
                  <a:lnTo>
                    <a:pt x="700" y="592"/>
                  </a:lnTo>
                  <a:lnTo>
                    <a:pt x="697" y="592"/>
                  </a:lnTo>
                  <a:lnTo>
                    <a:pt x="695" y="592"/>
                  </a:lnTo>
                  <a:lnTo>
                    <a:pt x="695" y="594"/>
                  </a:lnTo>
                  <a:lnTo>
                    <a:pt x="693" y="594"/>
                  </a:lnTo>
                  <a:lnTo>
                    <a:pt x="695" y="594"/>
                  </a:lnTo>
                  <a:lnTo>
                    <a:pt x="693" y="594"/>
                  </a:lnTo>
                  <a:lnTo>
                    <a:pt x="695" y="594"/>
                  </a:lnTo>
                  <a:lnTo>
                    <a:pt x="693" y="594"/>
                  </a:lnTo>
                  <a:lnTo>
                    <a:pt x="695" y="594"/>
                  </a:lnTo>
                  <a:lnTo>
                    <a:pt x="697" y="594"/>
                  </a:lnTo>
                  <a:lnTo>
                    <a:pt x="695" y="594"/>
                  </a:lnTo>
                  <a:lnTo>
                    <a:pt x="697" y="594"/>
                  </a:lnTo>
                  <a:lnTo>
                    <a:pt x="695" y="597"/>
                  </a:lnTo>
                  <a:lnTo>
                    <a:pt x="695" y="594"/>
                  </a:lnTo>
                  <a:lnTo>
                    <a:pt x="693" y="597"/>
                  </a:lnTo>
                  <a:lnTo>
                    <a:pt x="690" y="597"/>
                  </a:lnTo>
                  <a:lnTo>
                    <a:pt x="690" y="599"/>
                  </a:lnTo>
                  <a:lnTo>
                    <a:pt x="688" y="599"/>
                  </a:lnTo>
                  <a:lnTo>
                    <a:pt x="685" y="599"/>
                  </a:lnTo>
                  <a:lnTo>
                    <a:pt x="688" y="599"/>
                  </a:lnTo>
                  <a:lnTo>
                    <a:pt x="685" y="601"/>
                  </a:lnTo>
                  <a:lnTo>
                    <a:pt x="685" y="604"/>
                  </a:lnTo>
                  <a:lnTo>
                    <a:pt x="683" y="604"/>
                  </a:lnTo>
                  <a:lnTo>
                    <a:pt x="681" y="604"/>
                  </a:lnTo>
                  <a:lnTo>
                    <a:pt x="681" y="606"/>
                  </a:lnTo>
                  <a:lnTo>
                    <a:pt x="678" y="606"/>
                  </a:lnTo>
                  <a:lnTo>
                    <a:pt x="676" y="609"/>
                  </a:lnTo>
                  <a:lnTo>
                    <a:pt x="678" y="609"/>
                  </a:lnTo>
                  <a:lnTo>
                    <a:pt x="681" y="609"/>
                  </a:lnTo>
                  <a:lnTo>
                    <a:pt x="678" y="611"/>
                  </a:lnTo>
                  <a:lnTo>
                    <a:pt x="676" y="611"/>
                  </a:lnTo>
                  <a:lnTo>
                    <a:pt x="676" y="609"/>
                  </a:lnTo>
                  <a:lnTo>
                    <a:pt x="676" y="611"/>
                  </a:lnTo>
                  <a:lnTo>
                    <a:pt x="678" y="611"/>
                  </a:lnTo>
                  <a:lnTo>
                    <a:pt x="681" y="611"/>
                  </a:lnTo>
                  <a:lnTo>
                    <a:pt x="683" y="611"/>
                  </a:lnTo>
                  <a:lnTo>
                    <a:pt x="681" y="611"/>
                  </a:lnTo>
                  <a:lnTo>
                    <a:pt x="681" y="613"/>
                  </a:lnTo>
                  <a:lnTo>
                    <a:pt x="678" y="613"/>
                  </a:lnTo>
                  <a:lnTo>
                    <a:pt x="681" y="616"/>
                  </a:lnTo>
                  <a:lnTo>
                    <a:pt x="681" y="613"/>
                  </a:lnTo>
                  <a:lnTo>
                    <a:pt x="681" y="616"/>
                  </a:lnTo>
                  <a:lnTo>
                    <a:pt x="678" y="616"/>
                  </a:lnTo>
                  <a:lnTo>
                    <a:pt x="681" y="616"/>
                  </a:lnTo>
                  <a:lnTo>
                    <a:pt x="678" y="616"/>
                  </a:lnTo>
                  <a:lnTo>
                    <a:pt x="676" y="616"/>
                  </a:lnTo>
                  <a:lnTo>
                    <a:pt x="676" y="618"/>
                  </a:lnTo>
                  <a:lnTo>
                    <a:pt x="674" y="618"/>
                  </a:lnTo>
                  <a:lnTo>
                    <a:pt x="676" y="618"/>
                  </a:lnTo>
                  <a:lnTo>
                    <a:pt x="678" y="618"/>
                  </a:lnTo>
                  <a:lnTo>
                    <a:pt x="676" y="618"/>
                  </a:lnTo>
                  <a:lnTo>
                    <a:pt x="678" y="618"/>
                  </a:lnTo>
                  <a:lnTo>
                    <a:pt x="676" y="618"/>
                  </a:lnTo>
                  <a:lnTo>
                    <a:pt x="676" y="620"/>
                  </a:lnTo>
                  <a:lnTo>
                    <a:pt x="678" y="620"/>
                  </a:lnTo>
                  <a:lnTo>
                    <a:pt x="678" y="623"/>
                  </a:lnTo>
                  <a:lnTo>
                    <a:pt x="676" y="623"/>
                  </a:lnTo>
                  <a:lnTo>
                    <a:pt x="678" y="623"/>
                  </a:lnTo>
                  <a:lnTo>
                    <a:pt x="676" y="623"/>
                  </a:lnTo>
                  <a:lnTo>
                    <a:pt x="674" y="623"/>
                  </a:lnTo>
                  <a:lnTo>
                    <a:pt x="674" y="625"/>
                  </a:lnTo>
                  <a:lnTo>
                    <a:pt x="671" y="625"/>
                  </a:lnTo>
                  <a:lnTo>
                    <a:pt x="671" y="628"/>
                  </a:lnTo>
                  <a:lnTo>
                    <a:pt x="671" y="630"/>
                  </a:lnTo>
                  <a:lnTo>
                    <a:pt x="671" y="632"/>
                  </a:lnTo>
                  <a:lnTo>
                    <a:pt x="671" y="635"/>
                  </a:lnTo>
                  <a:lnTo>
                    <a:pt x="674" y="635"/>
                  </a:lnTo>
                  <a:lnTo>
                    <a:pt x="671" y="635"/>
                  </a:lnTo>
                  <a:lnTo>
                    <a:pt x="674" y="635"/>
                  </a:lnTo>
                  <a:lnTo>
                    <a:pt x="674" y="637"/>
                  </a:lnTo>
                  <a:lnTo>
                    <a:pt x="674" y="635"/>
                  </a:lnTo>
                  <a:lnTo>
                    <a:pt x="674" y="632"/>
                  </a:lnTo>
                  <a:lnTo>
                    <a:pt x="674" y="630"/>
                  </a:lnTo>
                  <a:lnTo>
                    <a:pt x="676" y="630"/>
                  </a:lnTo>
                  <a:lnTo>
                    <a:pt x="676" y="628"/>
                  </a:lnTo>
                  <a:lnTo>
                    <a:pt x="676" y="630"/>
                  </a:lnTo>
                  <a:lnTo>
                    <a:pt x="678" y="630"/>
                  </a:lnTo>
                  <a:lnTo>
                    <a:pt x="676" y="630"/>
                  </a:lnTo>
                  <a:lnTo>
                    <a:pt x="676" y="632"/>
                  </a:lnTo>
                  <a:lnTo>
                    <a:pt x="678" y="630"/>
                  </a:lnTo>
                  <a:lnTo>
                    <a:pt x="678" y="632"/>
                  </a:lnTo>
                  <a:lnTo>
                    <a:pt x="678" y="630"/>
                  </a:lnTo>
                  <a:lnTo>
                    <a:pt x="678" y="632"/>
                  </a:lnTo>
                  <a:lnTo>
                    <a:pt x="676" y="632"/>
                  </a:lnTo>
                  <a:lnTo>
                    <a:pt x="676" y="635"/>
                  </a:lnTo>
                  <a:lnTo>
                    <a:pt x="678" y="635"/>
                  </a:lnTo>
                  <a:lnTo>
                    <a:pt x="681" y="635"/>
                  </a:lnTo>
                  <a:lnTo>
                    <a:pt x="681" y="632"/>
                  </a:lnTo>
                  <a:lnTo>
                    <a:pt x="681" y="630"/>
                  </a:lnTo>
                  <a:lnTo>
                    <a:pt x="683" y="630"/>
                  </a:lnTo>
                  <a:lnTo>
                    <a:pt x="683" y="628"/>
                  </a:lnTo>
                  <a:lnTo>
                    <a:pt x="685" y="628"/>
                  </a:lnTo>
                  <a:lnTo>
                    <a:pt x="685" y="625"/>
                  </a:lnTo>
                  <a:lnTo>
                    <a:pt x="688" y="625"/>
                  </a:lnTo>
                  <a:lnTo>
                    <a:pt x="688" y="623"/>
                  </a:lnTo>
                  <a:lnTo>
                    <a:pt x="690" y="623"/>
                  </a:lnTo>
                  <a:lnTo>
                    <a:pt x="690" y="620"/>
                  </a:lnTo>
                  <a:lnTo>
                    <a:pt x="688" y="620"/>
                  </a:lnTo>
                  <a:lnTo>
                    <a:pt x="685" y="620"/>
                  </a:lnTo>
                  <a:lnTo>
                    <a:pt x="688" y="620"/>
                  </a:lnTo>
                  <a:lnTo>
                    <a:pt x="685" y="620"/>
                  </a:lnTo>
                  <a:lnTo>
                    <a:pt x="685" y="618"/>
                  </a:lnTo>
                  <a:lnTo>
                    <a:pt x="685" y="620"/>
                  </a:lnTo>
                  <a:lnTo>
                    <a:pt x="688" y="618"/>
                  </a:lnTo>
                  <a:lnTo>
                    <a:pt x="690" y="616"/>
                  </a:lnTo>
                  <a:lnTo>
                    <a:pt x="693" y="616"/>
                  </a:lnTo>
                  <a:lnTo>
                    <a:pt x="690" y="616"/>
                  </a:lnTo>
                  <a:lnTo>
                    <a:pt x="693" y="616"/>
                  </a:lnTo>
                  <a:lnTo>
                    <a:pt x="693" y="613"/>
                  </a:lnTo>
                  <a:lnTo>
                    <a:pt x="695" y="611"/>
                  </a:lnTo>
                  <a:lnTo>
                    <a:pt x="697" y="609"/>
                  </a:lnTo>
                  <a:lnTo>
                    <a:pt x="700" y="609"/>
                  </a:lnTo>
                  <a:lnTo>
                    <a:pt x="700" y="606"/>
                  </a:lnTo>
                  <a:lnTo>
                    <a:pt x="702" y="606"/>
                  </a:lnTo>
                  <a:lnTo>
                    <a:pt x="702" y="604"/>
                  </a:lnTo>
                  <a:lnTo>
                    <a:pt x="704" y="604"/>
                  </a:lnTo>
                  <a:lnTo>
                    <a:pt x="707" y="604"/>
                  </a:lnTo>
                  <a:lnTo>
                    <a:pt x="704" y="601"/>
                  </a:lnTo>
                  <a:lnTo>
                    <a:pt x="707" y="601"/>
                  </a:lnTo>
                  <a:lnTo>
                    <a:pt x="707" y="599"/>
                  </a:lnTo>
                  <a:lnTo>
                    <a:pt x="707" y="597"/>
                  </a:lnTo>
                  <a:lnTo>
                    <a:pt x="709" y="597"/>
                  </a:lnTo>
                  <a:lnTo>
                    <a:pt x="711" y="594"/>
                  </a:lnTo>
                  <a:lnTo>
                    <a:pt x="711" y="592"/>
                  </a:lnTo>
                  <a:lnTo>
                    <a:pt x="714" y="592"/>
                  </a:lnTo>
                  <a:lnTo>
                    <a:pt x="714" y="590"/>
                  </a:lnTo>
                  <a:lnTo>
                    <a:pt x="716" y="590"/>
                  </a:lnTo>
                  <a:lnTo>
                    <a:pt x="719" y="587"/>
                  </a:lnTo>
                  <a:lnTo>
                    <a:pt x="721" y="587"/>
                  </a:lnTo>
                  <a:lnTo>
                    <a:pt x="721" y="585"/>
                  </a:lnTo>
                  <a:lnTo>
                    <a:pt x="723" y="585"/>
                  </a:lnTo>
                  <a:lnTo>
                    <a:pt x="723" y="582"/>
                  </a:lnTo>
                  <a:lnTo>
                    <a:pt x="726" y="582"/>
                  </a:lnTo>
                  <a:lnTo>
                    <a:pt x="728" y="582"/>
                  </a:lnTo>
                  <a:lnTo>
                    <a:pt x="730" y="582"/>
                  </a:lnTo>
                  <a:lnTo>
                    <a:pt x="728" y="582"/>
                  </a:lnTo>
                  <a:lnTo>
                    <a:pt x="730" y="582"/>
                  </a:lnTo>
                  <a:lnTo>
                    <a:pt x="730" y="585"/>
                  </a:lnTo>
                  <a:lnTo>
                    <a:pt x="730" y="587"/>
                  </a:lnTo>
                  <a:lnTo>
                    <a:pt x="728" y="587"/>
                  </a:lnTo>
                  <a:lnTo>
                    <a:pt x="728" y="590"/>
                  </a:lnTo>
                  <a:lnTo>
                    <a:pt x="728" y="587"/>
                  </a:lnTo>
                  <a:lnTo>
                    <a:pt x="728" y="590"/>
                  </a:lnTo>
                  <a:lnTo>
                    <a:pt x="730" y="590"/>
                  </a:lnTo>
                  <a:lnTo>
                    <a:pt x="730" y="592"/>
                  </a:lnTo>
                  <a:lnTo>
                    <a:pt x="728" y="592"/>
                  </a:lnTo>
                  <a:lnTo>
                    <a:pt x="728" y="594"/>
                  </a:lnTo>
                  <a:lnTo>
                    <a:pt x="728" y="597"/>
                  </a:lnTo>
                  <a:lnTo>
                    <a:pt x="726" y="597"/>
                  </a:lnTo>
                  <a:lnTo>
                    <a:pt x="723" y="597"/>
                  </a:lnTo>
                  <a:lnTo>
                    <a:pt x="723" y="599"/>
                  </a:lnTo>
                  <a:lnTo>
                    <a:pt x="721" y="599"/>
                  </a:lnTo>
                  <a:lnTo>
                    <a:pt x="719" y="599"/>
                  </a:lnTo>
                  <a:lnTo>
                    <a:pt x="716" y="601"/>
                  </a:lnTo>
                  <a:lnTo>
                    <a:pt x="719" y="599"/>
                  </a:lnTo>
                  <a:lnTo>
                    <a:pt x="719" y="601"/>
                  </a:lnTo>
                  <a:lnTo>
                    <a:pt x="719" y="599"/>
                  </a:lnTo>
                  <a:lnTo>
                    <a:pt x="721" y="599"/>
                  </a:lnTo>
                  <a:lnTo>
                    <a:pt x="723" y="599"/>
                  </a:lnTo>
                  <a:lnTo>
                    <a:pt x="726" y="599"/>
                  </a:lnTo>
                  <a:lnTo>
                    <a:pt x="728" y="599"/>
                  </a:lnTo>
                  <a:lnTo>
                    <a:pt x="726" y="599"/>
                  </a:lnTo>
                  <a:lnTo>
                    <a:pt x="726" y="601"/>
                  </a:lnTo>
                  <a:lnTo>
                    <a:pt x="728" y="601"/>
                  </a:lnTo>
                  <a:lnTo>
                    <a:pt x="726" y="601"/>
                  </a:lnTo>
                  <a:lnTo>
                    <a:pt x="728" y="601"/>
                  </a:lnTo>
                  <a:lnTo>
                    <a:pt x="726" y="604"/>
                  </a:lnTo>
                  <a:lnTo>
                    <a:pt x="728" y="604"/>
                  </a:lnTo>
                  <a:lnTo>
                    <a:pt x="726" y="604"/>
                  </a:lnTo>
                  <a:lnTo>
                    <a:pt x="728" y="604"/>
                  </a:lnTo>
                  <a:lnTo>
                    <a:pt x="726" y="604"/>
                  </a:lnTo>
                  <a:lnTo>
                    <a:pt x="726" y="606"/>
                  </a:lnTo>
                  <a:lnTo>
                    <a:pt x="726" y="609"/>
                  </a:lnTo>
                  <a:lnTo>
                    <a:pt x="723" y="609"/>
                  </a:lnTo>
                  <a:lnTo>
                    <a:pt x="726" y="609"/>
                  </a:lnTo>
                  <a:lnTo>
                    <a:pt x="723" y="609"/>
                  </a:lnTo>
                  <a:lnTo>
                    <a:pt x="726" y="609"/>
                  </a:lnTo>
                  <a:lnTo>
                    <a:pt x="723" y="611"/>
                  </a:lnTo>
                  <a:lnTo>
                    <a:pt x="726" y="611"/>
                  </a:lnTo>
                  <a:lnTo>
                    <a:pt x="723" y="613"/>
                  </a:lnTo>
                  <a:lnTo>
                    <a:pt x="723" y="616"/>
                  </a:lnTo>
                  <a:lnTo>
                    <a:pt x="723" y="618"/>
                  </a:lnTo>
                  <a:lnTo>
                    <a:pt x="721" y="618"/>
                  </a:lnTo>
                  <a:lnTo>
                    <a:pt x="723" y="618"/>
                  </a:lnTo>
                  <a:lnTo>
                    <a:pt x="721" y="618"/>
                  </a:lnTo>
                  <a:lnTo>
                    <a:pt x="723" y="618"/>
                  </a:lnTo>
                  <a:lnTo>
                    <a:pt x="723" y="616"/>
                  </a:lnTo>
                  <a:lnTo>
                    <a:pt x="726" y="616"/>
                  </a:lnTo>
                  <a:lnTo>
                    <a:pt x="728" y="616"/>
                  </a:lnTo>
                  <a:lnTo>
                    <a:pt x="726" y="616"/>
                  </a:lnTo>
                  <a:lnTo>
                    <a:pt x="728" y="616"/>
                  </a:lnTo>
                  <a:lnTo>
                    <a:pt x="726" y="616"/>
                  </a:lnTo>
                  <a:lnTo>
                    <a:pt x="726" y="613"/>
                  </a:lnTo>
                  <a:lnTo>
                    <a:pt x="728" y="613"/>
                  </a:lnTo>
                  <a:lnTo>
                    <a:pt x="728" y="616"/>
                  </a:lnTo>
                  <a:lnTo>
                    <a:pt x="730" y="616"/>
                  </a:lnTo>
                  <a:lnTo>
                    <a:pt x="730" y="613"/>
                  </a:lnTo>
                  <a:lnTo>
                    <a:pt x="730" y="616"/>
                  </a:lnTo>
                  <a:lnTo>
                    <a:pt x="730" y="613"/>
                  </a:lnTo>
                  <a:lnTo>
                    <a:pt x="730" y="611"/>
                  </a:lnTo>
                  <a:lnTo>
                    <a:pt x="733" y="611"/>
                  </a:lnTo>
                  <a:lnTo>
                    <a:pt x="730" y="611"/>
                  </a:lnTo>
                  <a:lnTo>
                    <a:pt x="733" y="611"/>
                  </a:lnTo>
                  <a:lnTo>
                    <a:pt x="735" y="611"/>
                  </a:lnTo>
                  <a:lnTo>
                    <a:pt x="738" y="611"/>
                  </a:lnTo>
                  <a:lnTo>
                    <a:pt x="738" y="613"/>
                  </a:lnTo>
                  <a:lnTo>
                    <a:pt x="738" y="611"/>
                  </a:lnTo>
                  <a:lnTo>
                    <a:pt x="740" y="611"/>
                  </a:lnTo>
                  <a:lnTo>
                    <a:pt x="742" y="611"/>
                  </a:lnTo>
                  <a:lnTo>
                    <a:pt x="740" y="611"/>
                  </a:lnTo>
                  <a:lnTo>
                    <a:pt x="742" y="611"/>
                  </a:lnTo>
                  <a:lnTo>
                    <a:pt x="740" y="611"/>
                  </a:lnTo>
                  <a:lnTo>
                    <a:pt x="740" y="609"/>
                  </a:lnTo>
                  <a:lnTo>
                    <a:pt x="738" y="609"/>
                  </a:lnTo>
                  <a:lnTo>
                    <a:pt x="738" y="606"/>
                  </a:lnTo>
                  <a:lnTo>
                    <a:pt x="740" y="606"/>
                  </a:lnTo>
                  <a:lnTo>
                    <a:pt x="738" y="606"/>
                  </a:lnTo>
                  <a:lnTo>
                    <a:pt x="738" y="604"/>
                  </a:lnTo>
                  <a:lnTo>
                    <a:pt x="740" y="604"/>
                  </a:lnTo>
                  <a:lnTo>
                    <a:pt x="740" y="601"/>
                  </a:lnTo>
                  <a:lnTo>
                    <a:pt x="742" y="601"/>
                  </a:lnTo>
                  <a:lnTo>
                    <a:pt x="742" y="604"/>
                  </a:lnTo>
                  <a:lnTo>
                    <a:pt x="745" y="604"/>
                  </a:lnTo>
                  <a:lnTo>
                    <a:pt x="747" y="604"/>
                  </a:lnTo>
                  <a:lnTo>
                    <a:pt x="749" y="604"/>
                  </a:lnTo>
                  <a:lnTo>
                    <a:pt x="747" y="604"/>
                  </a:lnTo>
                  <a:lnTo>
                    <a:pt x="745" y="601"/>
                  </a:lnTo>
                  <a:lnTo>
                    <a:pt x="742" y="601"/>
                  </a:lnTo>
                  <a:lnTo>
                    <a:pt x="742" y="599"/>
                  </a:lnTo>
                  <a:lnTo>
                    <a:pt x="745" y="599"/>
                  </a:lnTo>
                  <a:lnTo>
                    <a:pt x="742" y="599"/>
                  </a:lnTo>
                  <a:lnTo>
                    <a:pt x="745" y="599"/>
                  </a:lnTo>
                  <a:lnTo>
                    <a:pt x="747" y="599"/>
                  </a:lnTo>
                  <a:lnTo>
                    <a:pt x="745" y="599"/>
                  </a:lnTo>
                  <a:lnTo>
                    <a:pt x="742" y="597"/>
                  </a:lnTo>
                  <a:lnTo>
                    <a:pt x="742" y="594"/>
                  </a:lnTo>
                  <a:lnTo>
                    <a:pt x="745" y="594"/>
                  </a:lnTo>
                  <a:lnTo>
                    <a:pt x="747" y="594"/>
                  </a:lnTo>
                  <a:lnTo>
                    <a:pt x="749" y="594"/>
                  </a:lnTo>
                  <a:lnTo>
                    <a:pt x="749" y="597"/>
                  </a:lnTo>
                  <a:lnTo>
                    <a:pt x="749" y="594"/>
                  </a:lnTo>
                  <a:lnTo>
                    <a:pt x="752" y="594"/>
                  </a:lnTo>
                  <a:lnTo>
                    <a:pt x="749" y="594"/>
                  </a:lnTo>
                  <a:lnTo>
                    <a:pt x="747" y="594"/>
                  </a:lnTo>
                  <a:lnTo>
                    <a:pt x="749" y="594"/>
                  </a:lnTo>
                  <a:lnTo>
                    <a:pt x="749" y="592"/>
                  </a:lnTo>
                  <a:lnTo>
                    <a:pt x="749" y="590"/>
                  </a:lnTo>
                  <a:lnTo>
                    <a:pt x="752" y="590"/>
                  </a:lnTo>
                  <a:lnTo>
                    <a:pt x="754" y="590"/>
                  </a:lnTo>
                  <a:lnTo>
                    <a:pt x="757" y="590"/>
                  </a:lnTo>
                  <a:lnTo>
                    <a:pt x="757" y="592"/>
                  </a:lnTo>
                  <a:lnTo>
                    <a:pt x="759" y="592"/>
                  </a:lnTo>
                  <a:lnTo>
                    <a:pt x="761" y="592"/>
                  </a:lnTo>
                  <a:lnTo>
                    <a:pt x="759" y="592"/>
                  </a:lnTo>
                  <a:lnTo>
                    <a:pt x="759" y="590"/>
                  </a:lnTo>
                  <a:lnTo>
                    <a:pt x="757" y="590"/>
                  </a:lnTo>
                  <a:lnTo>
                    <a:pt x="754" y="590"/>
                  </a:lnTo>
                  <a:lnTo>
                    <a:pt x="757" y="590"/>
                  </a:lnTo>
                  <a:lnTo>
                    <a:pt x="757" y="587"/>
                  </a:lnTo>
                  <a:lnTo>
                    <a:pt x="754" y="587"/>
                  </a:lnTo>
                  <a:lnTo>
                    <a:pt x="752" y="587"/>
                  </a:lnTo>
                  <a:lnTo>
                    <a:pt x="754" y="587"/>
                  </a:lnTo>
                  <a:lnTo>
                    <a:pt x="752" y="587"/>
                  </a:lnTo>
                  <a:lnTo>
                    <a:pt x="752" y="585"/>
                  </a:lnTo>
                  <a:lnTo>
                    <a:pt x="754" y="585"/>
                  </a:lnTo>
                  <a:lnTo>
                    <a:pt x="752" y="585"/>
                  </a:lnTo>
                  <a:lnTo>
                    <a:pt x="749" y="587"/>
                  </a:lnTo>
                  <a:lnTo>
                    <a:pt x="749" y="585"/>
                  </a:lnTo>
                  <a:lnTo>
                    <a:pt x="747" y="585"/>
                  </a:lnTo>
                  <a:lnTo>
                    <a:pt x="745" y="585"/>
                  </a:lnTo>
                  <a:lnTo>
                    <a:pt x="742" y="585"/>
                  </a:lnTo>
                  <a:lnTo>
                    <a:pt x="742" y="582"/>
                  </a:lnTo>
                  <a:lnTo>
                    <a:pt x="745" y="582"/>
                  </a:lnTo>
                  <a:lnTo>
                    <a:pt x="745" y="580"/>
                  </a:lnTo>
                  <a:lnTo>
                    <a:pt x="747" y="580"/>
                  </a:lnTo>
                  <a:lnTo>
                    <a:pt x="747" y="582"/>
                  </a:lnTo>
                  <a:lnTo>
                    <a:pt x="749" y="582"/>
                  </a:lnTo>
                  <a:lnTo>
                    <a:pt x="752" y="582"/>
                  </a:lnTo>
                  <a:lnTo>
                    <a:pt x="749" y="582"/>
                  </a:lnTo>
                  <a:lnTo>
                    <a:pt x="749" y="580"/>
                  </a:lnTo>
                  <a:lnTo>
                    <a:pt x="747" y="580"/>
                  </a:lnTo>
                  <a:lnTo>
                    <a:pt x="747" y="578"/>
                  </a:lnTo>
                  <a:lnTo>
                    <a:pt x="745" y="578"/>
                  </a:lnTo>
                  <a:lnTo>
                    <a:pt x="747" y="578"/>
                  </a:lnTo>
                  <a:lnTo>
                    <a:pt x="749" y="578"/>
                  </a:lnTo>
                  <a:lnTo>
                    <a:pt x="752" y="578"/>
                  </a:lnTo>
                  <a:lnTo>
                    <a:pt x="754" y="578"/>
                  </a:lnTo>
                  <a:lnTo>
                    <a:pt x="757" y="580"/>
                  </a:lnTo>
                  <a:lnTo>
                    <a:pt x="757" y="582"/>
                  </a:lnTo>
                  <a:lnTo>
                    <a:pt x="759" y="582"/>
                  </a:lnTo>
                  <a:lnTo>
                    <a:pt x="757" y="582"/>
                  </a:lnTo>
                  <a:lnTo>
                    <a:pt x="757" y="580"/>
                  </a:lnTo>
                  <a:lnTo>
                    <a:pt x="759" y="580"/>
                  </a:lnTo>
                  <a:lnTo>
                    <a:pt x="757" y="580"/>
                  </a:lnTo>
                  <a:lnTo>
                    <a:pt x="759" y="580"/>
                  </a:lnTo>
                  <a:lnTo>
                    <a:pt x="759" y="578"/>
                  </a:lnTo>
                  <a:lnTo>
                    <a:pt x="757" y="578"/>
                  </a:lnTo>
                  <a:lnTo>
                    <a:pt x="757" y="575"/>
                  </a:lnTo>
                  <a:lnTo>
                    <a:pt x="754" y="575"/>
                  </a:lnTo>
                  <a:lnTo>
                    <a:pt x="757" y="575"/>
                  </a:lnTo>
                  <a:lnTo>
                    <a:pt x="757" y="573"/>
                  </a:lnTo>
                  <a:lnTo>
                    <a:pt x="759" y="573"/>
                  </a:lnTo>
                  <a:lnTo>
                    <a:pt x="761" y="573"/>
                  </a:lnTo>
                  <a:lnTo>
                    <a:pt x="759" y="573"/>
                  </a:lnTo>
                  <a:lnTo>
                    <a:pt x="761" y="571"/>
                  </a:lnTo>
                  <a:lnTo>
                    <a:pt x="761" y="573"/>
                  </a:lnTo>
                  <a:lnTo>
                    <a:pt x="764" y="573"/>
                  </a:lnTo>
                  <a:lnTo>
                    <a:pt x="764" y="575"/>
                  </a:lnTo>
                  <a:lnTo>
                    <a:pt x="761" y="575"/>
                  </a:lnTo>
                  <a:lnTo>
                    <a:pt x="764" y="575"/>
                  </a:lnTo>
                  <a:lnTo>
                    <a:pt x="764" y="578"/>
                  </a:lnTo>
                  <a:lnTo>
                    <a:pt x="764" y="575"/>
                  </a:lnTo>
                  <a:lnTo>
                    <a:pt x="766" y="575"/>
                  </a:lnTo>
                  <a:lnTo>
                    <a:pt x="766" y="578"/>
                  </a:lnTo>
                  <a:lnTo>
                    <a:pt x="766" y="575"/>
                  </a:lnTo>
                  <a:lnTo>
                    <a:pt x="766" y="578"/>
                  </a:lnTo>
                  <a:lnTo>
                    <a:pt x="768" y="578"/>
                  </a:lnTo>
                  <a:lnTo>
                    <a:pt x="766" y="578"/>
                  </a:lnTo>
                  <a:lnTo>
                    <a:pt x="768" y="578"/>
                  </a:lnTo>
                  <a:lnTo>
                    <a:pt x="768" y="575"/>
                  </a:lnTo>
                  <a:lnTo>
                    <a:pt x="768" y="578"/>
                  </a:lnTo>
                  <a:lnTo>
                    <a:pt x="768" y="575"/>
                  </a:lnTo>
                  <a:lnTo>
                    <a:pt x="771" y="575"/>
                  </a:lnTo>
                  <a:lnTo>
                    <a:pt x="773" y="575"/>
                  </a:lnTo>
                  <a:lnTo>
                    <a:pt x="776" y="575"/>
                  </a:lnTo>
                  <a:lnTo>
                    <a:pt x="773" y="575"/>
                  </a:lnTo>
                  <a:lnTo>
                    <a:pt x="776" y="575"/>
                  </a:lnTo>
                  <a:lnTo>
                    <a:pt x="773" y="575"/>
                  </a:lnTo>
                  <a:lnTo>
                    <a:pt x="776" y="575"/>
                  </a:lnTo>
                  <a:lnTo>
                    <a:pt x="773" y="575"/>
                  </a:lnTo>
                  <a:lnTo>
                    <a:pt x="776" y="575"/>
                  </a:lnTo>
                  <a:lnTo>
                    <a:pt x="773" y="575"/>
                  </a:lnTo>
                  <a:lnTo>
                    <a:pt x="773" y="578"/>
                  </a:lnTo>
                  <a:lnTo>
                    <a:pt x="776" y="578"/>
                  </a:lnTo>
                  <a:lnTo>
                    <a:pt x="776" y="575"/>
                  </a:lnTo>
                  <a:lnTo>
                    <a:pt x="778" y="575"/>
                  </a:lnTo>
                  <a:lnTo>
                    <a:pt x="778" y="573"/>
                  </a:lnTo>
                  <a:lnTo>
                    <a:pt x="780" y="573"/>
                  </a:lnTo>
                  <a:lnTo>
                    <a:pt x="780" y="575"/>
                  </a:lnTo>
                  <a:lnTo>
                    <a:pt x="780" y="578"/>
                  </a:lnTo>
                  <a:lnTo>
                    <a:pt x="778" y="578"/>
                  </a:lnTo>
                  <a:lnTo>
                    <a:pt x="780" y="578"/>
                  </a:lnTo>
                  <a:lnTo>
                    <a:pt x="778" y="578"/>
                  </a:lnTo>
                  <a:lnTo>
                    <a:pt x="778" y="580"/>
                  </a:lnTo>
                  <a:lnTo>
                    <a:pt x="780" y="580"/>
                  </a:lnTo>
                  <a:lnTo>
                    <a:pt x="778" y="580"/>
                  </a:lnTo>
                  <a:lnTo>
                    <a:pt x="778" y="582"/>
                  </a:lnTo>
                  <a:lnTo>
                    <a:pt x="780" y="582"/>
                  </a:lnTo>
                  <a:lnTo>
                    <a:pt x="780" y="580"/>
                  </a:lnTo>
                  <a:lnTo>
                    <a:pt x="783" y="580"/>
                  </a:lnTo>
                  <a:lnTo>
                    <a:pt x="785" y="580"/>
                  </a:lnTo>
                  <a:lnTo>
                    <a:pt x="787" y="580"/>
                  </a:lnTo>
                  <a:lnTo>
                    <a:pt x="790" y="580"/>
                  </a:lnTo>
                  <a:lnTo>
                    <a:pt x="790" y="582"/>
                  </a:lnTo>
                  <a:lnTo>
                    <a:pt x="790" y="585"/>
                  </a:lnTo>
                  <a:lnTo>
                    <a:pt x="787" y="585"/>
                  </a:lnTo>
                  <a:lnTo>
                    <a:pt x="787" y="587"/>
                  </a:lnTo>
                  <a:lnTo>
                    <a:pt x="785" y="587"/>
                  </a:lnTo>
                  <a:lnTo>
                    <a:pt x="783" y="587"/>
                  </a:lnTo>
                  <a:lnTo>
                    <a:pt x="785" y="587"/>
                  </a:lnTo>
                  <a:lnTo>
                    <a:pt x="787" y="587"/>
                  </a:lnTo>
                  <a:lnTo>
                    <a:pt x="785" y="587"/>
                  </a:lnTo>
                  <a:lnTo>
                    <a:pt x="785" y="590"/>
                  </a:lnTo>
                  <a:lnTo>
                    <a:pt x="783" y="587"/>
                  </a:lnTo>
                  <a:lnTo>
                    <a:pt x="783" y="590"/>
                  </a:lnTo>
                  <a:lnTo>
                    <a:pt x="785" y="590"/>
                  </a:lnTo>
                  <a:lnTo>
                    <a:pt x="783" y="590"/>
                  </a:lnTo>
                  <a:lnTo>
                    <a:pt x="780" y="590"/>
                  </a:lnTo>
                  <a:lnTo>
                    <a:pt x="783" y="590"/>
                  </a:lnTo>
                  <a:lnTo>
                    <a:pt x="783" y="592"/>
                  </a:lnTo>
                  <a:lnTo>
                    <a:pt x="780" y="592"/>
                  </a:lnTo>
                  <a:lnTo>
                    <a:pt x="778" y="592"/>
                  </a:lnTo>
                  <a:lnTo>
                    <a:pt x="776" y="592"/>
                  </a:lnTo>
                  <a:lnTo>
                    <a:pt x="773" y="592"/>
                  </a:lnTo>
                  <a:lnTo>
                    <a:pt x="773" y="590"/>
                  </a:lnTo>
                  <a:lnTo>
                    <a:pt x="771" y="590"/>
                  </a:lnTo>
                  <a:lnTo>
                    <a:pt x="771" y="592"/>
                  </a:lnTo>
                  <a:lnTo>
                    <a:pt x="768" y="592"/>
                  </a:lnTo>
                  <a:lnTo>
                    <a:pt x="766" y="592"/>
                  </a:lnTo>
                  <a:lnTo>
                    <a:pt x="764" y="592"/>
                  </a:lnTo>
                  <a:lnTo>
                    <a:pt x="766" y="592"/>
                  </a:lnTo>
                  <a:lnTo>
                    <a:pt x="766" y="594"/>
                  </a:lnTo>
                  <a:lnTo>
                    <a:pt x="764" y="594"/>
                  </a:lnTo>
                  <a:lnTo>
                    <a:pt x="766" y="594"/>
                  </a:lnTo>
                  <a:lnTo>
                    <a:pt x="768" y="594"/>
                  </a:lnTo>
                  <a:lnTo>
                    <a:pt x="768" y="592"/>
                  </a:lnTo>
                  <a:lnTo>
                    <a:pt x="768" y="594"/>
                  </a:lnTo>
                  <a:lnTo>
                    <a:pt x="771" y="594"/>
                  </a:lnTo>
                  <a:lnTo>
                    <a:pt x="773" y="594"/>
                  </a:lnTo>
                  <a:lnTo>
                    <a:pt x="776" y="594"/>
                  </a:lnTo>
                  <a:lnTo>
                    <a:pt x="778" y="594"/>
                  </a:lnTo>
                  <a:lnTo>
                    <a:pt x="778" y="597"/>
                  </a:lnTo>
                  <a:lnTo>
                    <a:pt x="776" y="597"/>
                  </a:lnTo>
                  <a:lnTo>
                    <a:pt x="773" y="597"/>
                  </a:lnTo>
                  <a:lnTo>
                    <a:pt x="773" y="599"/>
                  </a:lnTo>
                  <a:lnTo>
                    <a:pt x="771" y="599"/>
                  </a:lnTo>
                  <a:lnTo>
                    <a:pt x="768" y="599"/>
                  </a:lnTo>
                  <a:lnTo>
                    <a:pt x="768" y="601"/>
                  </a:lnTo>
                  <a:lnTo>
                    <a:pt x="766" y="601"/>
                  </a:lnTo>
                  <a:lnTo>
                    <a:pt x="764" y="601"/>
                  </a:lnTo>
                  <a:lnTo>
                    <a:pt x="761" y="601"/>
                  </a:lnTo>
                  <a:lnTo>
                    <a:pt x="764" y="601"/>
                  </a:lnTo>
                  <a:lnTo>
                    <a:pt x="766" y="601"/>
                  </a:lnTo>
                  <a:lnTo>
                    <a:pt x="768" y="601"/>
                  </a:lnTo>
                  <a:lnTo>
                    <a:pt x="771" y="601"/>
                  </a:lnTo>
                  <a:lnTo>
                    <a:pt x="773" y="599"/>
                  </a:lnTo>
                  <a:lnTo>
                    <a:pt x="776" y="599"/>
                  </a:lnTo>
                  <a:lnTo>
                    <a:pt x="778" y="599"/>
                  </a:lnTo>
                  <a:lnTo>
                    <a:pt x="778" y="597"/>
                  </a:lnTo>
                  <a:lnTo>
                    <a:pt x="780" y="597"/>
                  </a:lnTo>
                  <a:lnTo>
                    <a:pt x="783" y="597"/>
                  </a:lnTo>
                  <a:lnTo>
                    <a:pt x="783" y="599"/>
                  </a:lnTo>
                  <a:lnTo>
                    <a:pt x="783" y="601"/>
                  </a:lnTo>
                  <a:lnTo>
                    <a:pt x="780" y="601"/>
                  </a:lnTo>
                  <a:lnTo>
                    <a:pt x="780" y="604"/>
                  </a:lnTo>
                  <a:lnTo>
                    <a:pt x="778" y="604"/>
                  </a:lnTo>
                  <a:lnTo>
                    <a:pt x="776" y="606"/>
                  </a:lnTo>
                  <a:lnTo>
                    <a:pt x="773" y="606"/>
                  </a:lnTo>
                  <a:lnTo>
                    <a:pt x="771" y="609"/>
                  </a:lnTo>
                  <a:lnTo>
                    <a:pt x="768" y="609"/>
                  </a:lnTo>
                  <a:lnTo>
                    <a:pt x="766" y="611"/>
                  </a:lnTo>
                  <a:lnTo>
                    <a:pt x="768" y="611"/>
                  </a:lnTo>
                  <a:lnTo>
                    <a:pt x="766" y="611"/>
                  </a:lnTo>
                  <a:lnTo>
                    <a:pt x="766" y="613"/>
                  </a:lnTo>
                  <a:lnTo>
                    <a:pt x="768" y="613"/>
                  </a:lnTo>
                  <a:lnTo>
                    <a:pt x="768" y="611"/>
                  </a:lnTo>
                  <a:lnTo>
                    <a:pt x="771" y="611"/>
                  </a:lnTo>
                  <a:lnTo>
                    <a:pt x="771" y="609"/>
                  </a:lnTo>
                  <a:lnTo>
                    <a:pt x="773" y="609"/>
                  </a:lnTo>
                  <a:lnTo>
                    <a:pt x="771" y="609"/>
                  </a:lnTo>
                  <a:lnTo>
                    <a:pt x="771" y="611"/>
                  </a:lnTo>
                  <a:lnTo>
                    <a:pt x="768" y="611"/>
                  </a:lnTo>
                  <a:lnTo>
                    <a:pt x="771" y="611"/>
                  </a:lnTo>
                  <a:lnTo>
                    <a:pt x="773" y="611"/>
                  </a:lnTo>
                  <a:lnTo>
                    <a:pt x="771" y="611"/>
                  </a:lnTo>
                  <a:lnTo>
                    <a:pt x="773" y="611"/>
                  </a:lnTo>
                  <a:lnTo>
                    <a:pt x="776" y="609"/>
                  </a:lnTo>
                  <a:lnTo>
                    <a:pt x="778" y="609"/>
                  </a:lnTo>
                  <a:lnTo>
                    <a:pt x="778" y="611"/>
                  </a:lnTo>
                  <a:lnTo>
                    <a:pt x="776" y="611"/>
                  </a:lnTo>
                  <a:lnTo>
                    <a:pt x="773" y="613"/>
                  </a:lnTo>
                  <a:lnTo>
                    <a:pt x="776" y="613"/>
                  </a:lnTo>
                  <a:lnTo>
                    <a:pt x="776" y="611"/>
                  </a:lnTo>
                  <a:lnTo>
                    <a:pt x="778" y="611"/>
                  </a:lnTo>
                  <a:lnTo>
                    <a:pt x="780" y="611"/>
                  </a:lnTo>
                  <a:lnTo>
                    <a:pt x="780" y="609"/>
                  </a:lnTo>
                  <a:lnTo>
                    <a:pt x="783" y="609"/>
                  </a:lnTo>
                  <a:lnTo>
                    <a:pt x="785" y="609"/>
                  </a:lnTo>
                  <a:lnTo>
                    <a:pt x="785" y="611"/>
                  </a:lnTo>
                  <a:lnTo>
                    <a:pt x="783" y="611"/>
                  </a:lnTo>
                  <a:lnTo>
                    <a:pt x="783" y="613"/>
                  </a:lnTo>
                  <a:lnTo>
                    <a:pt x="780" y="613"/>
                  </a:lnTo>
                  <a:lnTo>
                    <a:pt x="780" y="616"/>
                  </a:lnTo>
                  <a:lnTo>
                    <a:pt x="778" y="616"/>
                  </a:lnTo>
                  <a:lnTo>
                    <a:pt x="780" y="616"/>
                  </a:lnTo>
                  <a:lnTo>
                    <a:pt x="778" y="616"/>
                  </a:lnTo>
                  <a:lnTo>
                    <a:pt x="778" y="618"/>
                  </a:lnTo>
                  <a:lnTo>
                    <a:pt x="778" y="620"/>
                  </a:lnTo>
                  <a:lnTo>
                    <a:pt x="778" y="623"/>
                  </a:lnTo>
                  <a:lnTo>
                    <a:pt x="778" y="625"/>
                  </a:lnTo>
                  <a:lnTo>
                    <a:pt x="778" y="628"/>
                  </a:lnTo>
                  <a:lnTo>
                    <a:pt x="780" y="630"/>
                  </a:lnTo>
                  <a:lnTo>
                    <a:pt x="778" y="630"/>
                  </a:lnTo>
                  <a:lnTo>
                    <a:pt x="778" y="632"/>
                  </a:lnTo>
                  <a:lnTo>
                    <a:pt x="776" y="635"/>
                  </a:lnTo>
                  <a:lnTo>
                    <a:pt x="773" y="635"/>
                  </a:lnTo>
                  <a:lnTo>
                    <a:pt x="776" y="635"/>
                  </a:lnTo>
                  <a:lnTo>
                    <a:pt x="776" y="632"/>
                  </a:lnTo>
                  <a:lnTo>
                    <a:pt x="778" y="632"/>
                  </a:lnTo>
                  <a:lnTo>
                    <a:pt x="778" y="630"/>
                  </a:lnTo>
                  <a:lnTo>
                    <a:pt x="780" y="630"/>
                  </a:lnTo>
                  <a:lnTo>
                    <a:pt x="778" y="628"/>
                  </a:lnTo>
                  <a:lnTo>
                    <a:pt x="778" y="625"/>
                  </a:lnTo>
                  <a:lnTo>
                    <a:pt x="778" y="623"/>
                  </a:lnTo>
                  <a:lnTo>
                    <a:pt x="778" y="620"/>
                  </a:lnTo>
                  <a:lnTo>
                    <a:pt x="778" y="618"/>
                  </a:lnTo>
                  <a:lnTo>
                    <a:pt x="780" y="616"/>
                  </a:lnTo>
                  <a:lnTo>
                    <a:pt x="780" y="618"/>
                  </a:lnTo>
                  <a:lnTo>
                    <a:pt x="780" y="616"/>
                  </a:lnTo>
                  <a:lnTo>
                    <a:pt x="783" y="613"/>
                  </a:lnTo>
                  <a:lnTo>
                    <a:pt x="783" y="611"/>
                  </a:lnTo>
                  <a:lnTo>
                    <a:pt x="785" y="611"/>
                  </a:lnTo>
                  <a:lnTo>
                    <a:pt x="785" y="609"/>
                  </a:lnTo>
                  <a:lnTo>
                    <a:pt x="787" y="609"/>
                  </a:lnTo>
                  <a:lnTo>
                    <a:pt x="785" y="609"/>
                  </a:lnTo>
                  <a:lnTo>
                    <a:pt x="787" y="609"/>
                  </a:lnTo>
                  <a:lnTo>
                    <a:pt x="787" y="611"/>
                  </a:lnTo>
                  <a:lnTo>
                    <a:pt x="787" y="613"/>
                  </a:lnTo>
                  <a:lnTo>
                    <a:pt x="790" y="613"/>
                  </a:lnTo>
                  <a:lnTo>
                    <a:pt x="790" y="611"/>
                  </a:lnTo>
                  <a:lnTo>
                    <a:pt x="787" y="611"/>
                  </a:lnTo>
                  <a:lnTo>
                    <a:pt x="790" y="611"/>
                  </a:lnTo>
                  <a:lnTo>
                    <a:pt x="790" y="609"/>
                  </a:lnTo>
                  <a:lnTo>
                    <a:pt x="787" y="609"/>
                  </a:lnTo>
                  <a:lnTo>
                    <a:pt x="785" y="606"/>
                  </a:lnTo>
                  <a:lnTo>
                    <a:pt x="787" y="604"/>
                  </a:lnTo>
                  <a:lnTo>
                    <a:pt x="787" y="601"/>
                  </a:lnTo>
                  <a:lnTo>
                    <a:pt x="790" y="599"/>
                  </a:lnTo>
                  <a:lnTo>
                    <a:pt x="792" y="599"/>
                  </a:lnTo>
                  <a:lnTo>
                    <a:pt x="790" y="599"/>
                  </a:lnTo>
                  <a:lnTo>
                    <a:pt x="790" y="597"/>
                  </a:lnTo>
                  <a:lnTo>
                    <a:pt x="790" y="594"/>
                  </a:lnTo>
                  <a:lnTo>
                    <a:pt x="792" y="594"/>
                  </a:lnTo>
                  <a:lnTo>
                    <a:pt x="795" y="592"/>
                  </a:lnTo>
                  <a:lnTo>
                    <a:pt x="795" y="590"/>
                  </a:lnTo>
                  <a:lnTo>
                    <a:pt x="797" y="590"/>
                  </a:lnTo>
                  <a:lnTo>
                    <a:pt x="797" y="587"/>
                  </a:lnTo>
                  <a:lnTo>
                    <a:pt x="799" y="587"/>
                  </a:lnTo>
                  <a:lnTo>
                    <a:pt x="802" y="587"/>
                  </a:lnTo>
                  <a:lnTo>
                    <a:pt x="804" y="587"/>
                  </a:lnTo>
                  <a:lnTo>
                    <a:pt x="806" y="587"/>
                  </a:lnTo>
                  <a:lnTo>
                    <a:pt x="809" y="587"/>
                  </a:lnTo>
                  <a:lnTo>
                    <a:pt x="809" y="590"/>
                  </a:lnTo>
                  <a:lnTo>
                    <a:pt x="811" y="590"/>
                  </a:lnTo>
                  <a:lnTo>
                    <a:pt x="811" y="587"/>
                  </a:lnTo>
                  <a:lnTo>
                    <a:pt x="811" y="590"/>
                  </a:lnTo>
                  <a:lnTo>
                    <a:pt x="811" y="587"/>
                  </a:lnTo>
                  <a:lnTo>
                    <a:pt x="814" y="587"/>
                  </a:lnTo>
                  <a:lnTo>
                    <a:pt x="814" y="590"/>
                  </a:lnTo>
                  <a:lnTo>
                    <a:pt x="814" y="587"/>
                  </a:lnTo>
                  <a:lnTo>
                    <a:pt x="814" y="590"/>
                  </a:lnTo>
                  <a:lnTo>
                    <a:pt x="814" y="592"/>
                  </a:lnTo>
                  <a:lnTo>
                    <a:pt x="816" y="592"/>
                  </a:lnTo>
                  <a:lnTo>
                    <a:pt x="818" y="592"/>
                  </a:lnTo>
                  <a:lnTo>
                    <a:pt x="818" y="594"/>
                  </a:lnTo>
                  <a:lnTo>
                    <a:pt x="816" y="594"/>
                  </a:lnTo>
                  <a:lnTo>
                    <a:pt x="818" y="594"/>
                  </a:lnTo>
                  <a:lnTo>
                    <a:pt x="816" y="594"/>
                  </a:lnTo>
                  <a:lnTo>
                    <a:pt x="814" y="594"/>
                  </a:lnTo>
                  <a:lnTo>
                    <a:pt x="814" y="597"/>
                  </a:lnTo>
                  <a:lnTo>
                    <a:pt x="816" y="597"/>
                  </a:lnTo>
                  <a:lnTo>
                    <a:pt x="818" y="597"/>
                  </a:lnTo>
                  <a:lnTo>
                    <a:pt x="816" y="597"/>
                  </a:lnTo>
                  <a:lnTo>
                    <a:pt x="814" y="597"/>
                  </a:lnTo>
                  <a:lnTo>
                    <a:pt x="816" y="597"/>
                  </a:lnTo>
                  <a:lnTo>
                    <a:pt x="818" y="597"/>
                  </a:lnTo>
                  <a:lnTo>
                    <a:pt x="816" y="599"/>
                  </a:lnTo>
                  <a:lnTo>
                    <a:pt x="814" y="599"/>
                  </a:lnTo>
                  <a:lnTo>
                    <a:pt x="816" y="599"/>
                  </a:lnTo>
                  <a:lnTo>
                    <a:pt x="814" y="599"/>
                  </a:lnTo>
                  <a:lnTo>
                    <a:pt x="814" y="601"/>
                  </a:lnTo>
                  <a:lnTo>
                    <a:pt x="816" y="601"/>
                  </a:lnTo>
                  <a:lnTo>
                    <a:pt x="816" y="599"/>
                  </a:lnTo>
                  <a:lnTo>
                    <a:pt x="818" y="599"/>
                  </a:lnTo>
                  <a:lnTo>
                    <a:pt x="818" y="597"/>
                  </a:lnTo>
                  <a:lnTo>
                    <a:pt x="818" y="599"/>
                  </a:lnTo>
                  <a:lnTo>
                    <a:pt x="821" y="597"/>
                  </a:lnTo>
                  <a:lnTo>
                    <a:pt x="823" y="597"/>
                  </a:lnTo>
                  <a:lnTo>
                    <a:pt x="825" y="597"/>
                  </a:lnTo>
                  <a:lnTo>
                    <a:pt x="828" y="597"/>
                  </a:lnTo>
                  <a:lnTo>
                    <a:pt x="828" y="594"/>
                  </a:lnTo>
                  <a:lnTo>
                    <a:pt x="830" y="594"/>
                  </a:lnTo>
                  <a:lnTo>
                    <a:pt x="830" y="597"/>
                  </a:lnTo>
                  <a:lnTo>
                    <a:pt x="832" y="597"/>
                  </a:lnTo>
                  <a:lnTo>
                    <a:pt x="832" y="599"/>
                  </a:lnTo>
                  <a:lnTo>
                    <a:pt x="830" y="599"/>
                  </a:lnTo>
                  <a:lnTo>
                    <a:pt x="832" y="599"/>
                  </a:lnTo>
                  <a:lnTo>
                    <a:pt x="830" y="601"/>
                  </a:lnTo>
                  <a:lnTo>
                    <a:pt x="828" y="601"/>
                  </a:lnTo>
                  <a:lnTo>
                    <a:pt x="830" y="601"/>
                  </a:lnTo>
                  <a:lnTo>
                    <a:pt x="832" y="601"/>
                  </a:lnTo>
                  <a:lnTo>
                    <a:pt x="835" y="599"/>
                  </a:lnTo>
                  <a:lnTo>
                    <a:pt x="837" y="599"/>
                  </a:lnTo>
                  <a:lnTo>
                    <a:pt x="837" y="597"/>
                  </a:lnTo>
                  <a:lnTo>
                    <a:pt x="840" y="597"/>
                  </a:lnTo>
                  <a:lnTo>
                    <a:pt x="837" y="597"/>
                  </a:lnTo>
                  <a:lnTo>
                    <a:pt x="840" y="597"/>
                  </a:lnTo>
                  <a:lnTo>
                    <a:pt x="842" y="597"/>
                  </a:lnTo>
                  <a:lnTo>
                    <a:pt x="842" y="599"/>
                  </a:lnTo>
                  <a:lnTo>
                    <a:pt x="844" y="599"/>
                  </a:lnTo>
                  <a:lnTo>
                    <a:pt x="842" y="599"/>
                  </a:lnTo>
                  <a:lnTo>
                    <a:pt x="844" y="599"/>
                  </a:lnTo>
                  <a:lnTo>
                    <a:pt x="842" y="599"/>
                  </a:lnTo>
                  <a:lnTo>
                    <a:pt x="842" y="601"/>
                  </a:lnTo>
                  <a:lnTo>
                    <a:pt x="844" y="601"/>
                  </a:lnTo>
                  <a:lnTo>
                    <a:pt x="847" y="601"/>
                  </a:lnTo>
                  <a:lnTo>
                    <a:pt x="849" y="601"/>
                  </a:lnTo>
                  <a:lnTo>
                    <a:pt x="849" y="604"/>
                  </a:lnTo>
                  <a:lnTo>
                    <a:pt x="847" y="604"/>
                  </a:lnTo>
                  <a:lnTo>
                    <a:pt x="847" y="606"/>
                  </a:lnTo>
                  <a:lnTo>
                    <a:pt x="844" y="606"/>
                  </a:lnTo>
                  <a:lnTo>
                    <a:pt x="847" y="606"/>
                  </a:lnTo>
                  <a:lnTo>
                    <a:pt x="844" y="606"/>
                  </a:lnTo>
                  <a:lnTo>
                    <a:pt x="842" y="606"/>
                  </a:lnTo>
                  <a:lnTo>
                    <a:pt x="842" y="609"/>
                  </a:lnTo>
                  <a:lnTo>
                    <a:pt x="840" y="609"/>
                  </a:lnTo>
                  <a:lnTo>
                    <a:pt x="840" y="606"/>
                  </a:lnTo>
                  <a:lnTo>
                    <a:pt x="837" y="606"/>
                  </a:lnTo>
                  <a:lnTo>
                    <a:pt x="840" y="606"/>
                  </a:lnTo>
                  <a:lnTo>
                    <a:pt x="840" y="609"/>
                  </a:lnTo>
                  <a:lnTo>
                    <a:pt x="840" y="606"/>
                  </a:lnTo>
                  <a:lnTo>
                    <a:pt x="840" y="609"/>
                  </a:lnTo>
                  <a:lnTo>
                    <a:pt x="842" y="609"/>
                  </a:lnTo>
                  <a:lnTo>
                    <a:pt x="844" y="609"/>
                  </a:lnTo>
                  <a:lnTo>
                    <a:pt x="847" y="609"/>
                  </a:lnTo>
                  <a:lnTo>
                    <a:pt x="847" y="606"/>
                  </a:lnTo>
                  <a:lnTo>
                    <a:pt x="847" y="609"/>
                  </a:lnTo>
                  <a:lnTo>
                    <a:pt x="849" y="609"/>
                  </a:lnTo>
                  <a:lnTo>
                    <a:pt x="849" y="606"/>
                  </a:lnTo>
                  <a:lnTo>
                    <a:pt x="851" y="606"/>
                  </a:lnTo>
                  <a:close/>
                  <a:moveTo>
                    <a:pt x="377" y="169"/>
                  </a:moveTo>
                  <a:lnTo>
                    <a:pt x="379" y="169"/>
                  </a:lnTo>
                  <a:lnTo>
                    <a:pt x="377" y="169"/>
                  </a:lnTo>
                  <a:lnTo>
                    <a:pt x="375" y="169"/>
                  </a:lnTo>
                  <a:lnTo>
                    <a:pt x="377" y="169"/>
                  </a:lnTo>
                  <a:lnTo>
                    <a:pt x="375" y="169"/>
                  </a:lnTo>
                  <a:lnTo>
                    <a:pt x="372" y="167"/>
                  </a:lnTo>
                  <a:lnTo>
                    <a:pt x="370" y="167"/>
                  </a:lnTo>
                  <a:lnTo>
                    <a:pt x="367" y="167"/>
                  </a:lnTo>
                  <a:lnTo>
                    <a:pt x="365" y="167"/>
                  </a:lnTo>
                  <a:lnTo>
                    <a:pt x="363" y="167"/>
                  </a:lnTo>
                  <a:lnTo>
                    <a:pt x="360" y="167"/>
                  </a:lnTo>
                  <a:lnTo>
                    <a:pt x="358" y="167"/>
                  </a:lnTo>
                  <a:lnTo>
                    <a:pt x="356" y="164"/>
                  </a:lnTo>
                  <a:lnTo>
                    <a:pt x="353" y="164"/>
                  </a:lnTo>
                  <a:lnTo>
                    <a:pt x="351" y="164"/>
                  </a:lnTo>
                  <a:lnTo>
                    <a:pt x="348" y="164"/>
                  </a:lnTo>
                  <a:lnTo>
                    <a:pt x="346" y="164"/>
                  </a:lnTo>
                  <a:lnTo>
                    <a:pt x="344" y="164"/>
                  </a:lnTo>
                  <a:lnTo>
                    <a:pt x="341" y="164"/>
                  </a:lnTo>
                  <a:lnTo>
                    <a:pt x="339" y="164"/>
                  </a:lnTo>
                  <a:lnTo>
                    <a:pt x="341" y="164"/>
                  </a:lnTo>
                  <a:lnTo>
                    <a:pt x="339" y="164"/>
                  </a:lnTo>
                  <a:lnTo>
                    <a:pt x="339" y="162"/>
                  </a:lnTo>
                  <a:lnTo>
                    <a:pt x="337" y="162"/>
                  </a:lnTo>
                  <a:lnTo>
                    <a:pt x="334" y="162"/>
                  </a:lnTo>
                  <a:lnTo>
                    <a:pt x="337" y="162"/>
                  </a:lnTo>
                  <a:lnTo>
                    <a:pt x="339" y="162"/>
                  </a:lnTo>
                  <a:lnTo>
                    <a:pt x="339" y="160"/>
                  </a:lnTo>
                  <a:lnTo>
                    <a:pt x="341" y="160"/>
                  </a:lnTo>
                  <a:lnTo>
                    <a:pt x="344" y="160"/>
                  </a:lnTo>
                  <a:lnTo>
                    <a:pt x="346" y="160"/>
                  </a:lnTo>
                  <a:lnTo>
                    <a:pt x="348" y="160"/>
                  </a:lnTo>
                  <a:lnTo>
                    <a:pt x="348" y="157"/>
                  </a:lnTo>
                  <a:lnTo>
                    <a:pt x="351" y="157"/>
                  </a:lnTo>
                  <a:lnTo>
                    <a:pt x="353" y="157"/>
                  </a:lnTo>
                  <a:lnTo>
                    <a:pt x="356" y="157"/>
                  </a:lnTo>
                  <a:lnTo>
                    <a:pt x="358" y="157"/>
                  </a:lnTo>
                  <a:lnTo>
                    <a:pt x="360" y="157"/>
                  </a:lnTo>
                  <a:lnTo>
                    <a:pt x="363" y="157"/>
                  </a:lnTo>
                  <a:lnTo>
                    <a:pt x="363" y="155"/>
                  </a:lnTo>
                  <a:lnTo>
                    <a:pt x="365" y="155"/>
                  </a:lnTo>
                  <a:lnTo>
                    <a:pt x="367" y="155"/>
                  </a:lnTo>
                  <a:lnTo>
                    <a:pt x="370" y="155"/>
                  </a:lnTo>
                  <a:lnTo>
                    <a:pt x="372" y="155"/>
                  </a:lnTo>
                  <a:lnTo>
                    <a:pt x="375" y="155"/>
                  </a:lnTo>
                  <a:lnTo>
                    <a:pt x="377" y="155"/>
                  </a:lnTo>
                  <a:lnTo>
                    <a:pt x="379" y="155"/>
                  </a:lnTo>
                  <a:lnTo>
                    <a:pt x="382" y="155"/>
                  </a:lnTo>
                  <a:lnTo>
                    <a:pt x="384" y="152"/>
                  </a:lnTo>
                  <a:lnTo>
                    <a:pt x="386" y="152"/>
                  </a:lnTo>
                  <a:lnTo>
                    <a:pt x="389" y="152"/>
                  </a:lnTo>
                  <a:lnTo>
                    <a:pt x="386" y="152"/>
                  </a:lnTo>
                  <a:lnTo>
                    <a:pt x="389" y="152"/>
                  </a:lnTo>
                  <a:lnTo>
                    <a:pt x="386" y="152"/>
                  </a:lnTo>
                  <a:lnTo>
                    <a:pt x="389" y="152"/>
                  </a:lnTo>
                  <a:lnTo>
                    <a:pt x="391" y="155"/>
                  </a:lnTo>
                  <a:lnTo>
                    <a:pt x="389" y="152"/>
                  </a:lnTo>
                  <a:lnTo>
                    <a:pt x="386" y="152"/>
                  </a:lnTo>
                  <a:lnTo>
                    <a:pt x="389" y="152"/>
                  </a:lnTo>
                  <a:lnTo>
                    <a:pt x="391" y="152"/>
                  </a:lnTo>
                  <a:lnTo>
                    <a:pt x="394" y="152"/>
                  </a:lnTo>
                  <a:lnTo>
                    <a:pt x="396" y="152"/>
                  </a:lnTo>
                  <a:lnTo>
                    <a:pt x="398" y="152"/>
                  </a:lnTo>
                  <a:lnTo>
                    <a:pt x="401" y="152"/>
                  </a:lnTo>
                  <a:lnTo>
                    <a:pt x="401" y="150"/>
                  </a:lnTo>
                  <a:lnTo>
                    <a:pt x="403" y="150"/>
                  </a:lnTo>
                  <a:lnTo>
                    <a:pt x="403" y="152"/>
                  </a:lnTo>
                  <a:lnTo>
                    <a:pt x="405" y="152"/>
                  </a:lnTo>
                  <a:lnTo>
                    <a:pt x="408" y="152"/>
                  </a:lnTo>
                  <a:lnTo>
                    <a:pt x="410" y="152"/>
                  </a:lnTo>
                  <a:lnTo>
                    <a:pt x="410" y="155"/>
                  </a:lnTo>
                  <a:lnTo>
                    <a:pt x="410" y="152"/>
                  </a:lnTo>
                  <a:lnTo>
                    <a:pt x="413" y="155"/>
                  </a:lnTo>
                  <a:lnTo>
                    <a:pt x="415" y="155"/>
                  </a:lnTo>
                  <a:lnTo>
                    <a:pt x="417" y="155"/>
                  </a:lnTo>
                  <a:lnTo>
                    <a:pt x="415" y="155"/>
                  </a:lnTo>
                  <a:lnTo>
                    <a:pt x="415" y="152"/>
                  </a:lnTo>
                  <a:lnTo>
                    <a:pt x="413" y="152"/>
                  </a:lnTo>
                  <a:lnTo>
                    <a:pt x="410" y="152"/>
                  </a:lnTo>
                  <a:lnTo>
                    <a:pt x="408" y="150"/>
                  </a:lnTo>
                  <a:lnTo>
                    <a:pt x="405" y="150"/>
                  </a:lnTo>
                  <a:lnTo>
                    <a:pt x="403" y="150"/>
                  </a:lnTo>
                  <a:lnTo>
                    <a:pt x="403" y="148"/>
                  </a:lnTo>
                  <a:lnTo>
                    <a:pt x="401" y="148"/>
                  </a:lnTo>
                  <a:lnTo>
                    <a:pt x="401" y="145"/>
                  </a:lnTo>
                  <a:lnTo>
                    <a:pt x="403" y="145"/>
                  </a:lnTo>
                  <a:lnTo>
                    <a:pt x="403" y="148"/>
                  </a:lnTo>
                  <a:lnTo>
                    <a:pt x="405" y="148"/>
                  </a:lnTo>
                  <a:lnTo>
                    <a:pt x="405" y="145"/>
                  </a:lnTo>
                  <a:lnTo>
                    <a:pt x="408" y="145"/>
                  </a:lnTo>
                  <a:lnTo>
                    <a:pt x="405" y="145"/>
                  </a:lnTo>
                  <a:lnTo>
                    <a:pt x="408" y="145"/>
                  </a:lnTo>
                  <a:lnTo>
                    <a:pt x="410" y="145"/>
                  </a:lnTo>
                  <a:lnTo>
                    <a:pt x="410" y="143"/>
                  </a:lnTo>
                  <a:lnTo>
                    <a:pt x="413" y="143"/>
                  </a:lnTo>
                  <a:lnTo>
                    <a:pt x="415" y="143"/>
                  </a:lnTo>
                  <a:lnTo>
                    <a:pt x="417" y="143"/>
                  </a:lnTo>
                  <a:lnTo>
                    <a:pt x="420" y="143"/>
                  </a:lnTo>
                  <a:lnTo>
                    <a:pt x="422" y="143"/>
                  </a:lnTo>
                  <a:lnTo>
                    <a:pt x="420" y="143"/>
                  </a:lnTo>
                  <a:lnTo>
                    <a:pt x="422" y="143"/>
                  </a:lnTo>
                  <a:lnTo>
                    <a:pt x="424" y="141"/>
                  </a:lnTo>
                  <a:lnTo>
                    <a:pt x="422" y="141"/>
                  </a:lnTo>
                  <a:lnTo>
                    <a:pt x="422" y="143"/>
                  </a:lnTo>
                  <a:lnTo>
                    <a:pt x="420" y="143"/>
                  </a:lnTo>
                  <a:lnTo>
                    <a:pt x="417" y="143"/>
                  </a:lnTo>
                  <a:lnTo>
                    <a:pt x="417" y="141"/>
                  </a:lnTo>
                  <a:lnTo>
                    <a:pt x="420" y="141"/>
                  </a:lnTo>
                  <a:lnTo>
                    <a:pt x="417" y="141"/>
                  </a:lnTo>
                  <a:lnTo>
                    <a:pt x="420" y="141"/>
                  </a:lnTo>
                  <a:lnTo>
                    <a:pt x="417" y="141"/>
                  </a:lnTo>
                  <a:lnTo>
                    <a:pt x="420" y="141"/>
                  </a:lnTo>
                  <a:lnTo>
                    <a:pt x="417" y="141"/>
                  </a:lnTo>
                  <a:lnTo>
                    <a:pt x="417" y="143"/>
                  </a:lnTo>
                  <a:lnTo>
                    <a:pt x="415" y="143"/>
                  </a:lnTo>
                  <a:lnTo>
                    <a:pt x="413" y="143"/>
                  </a:lnTo>
                  <a:lnTo>
                    <a:pt x="410" y="143"/>
                  </a:lnTo>
                  <a:lnTo>
                    <a:pt x="408" y="143"/>
                  </a:lnTo>
                  <a:lnTo>
                    <a:pt x="408" y="145"/>
                  </a:lnTo>
                  <a:lnTo>
                    <a:pt x="405" y="145"/>
                  </a:lnTo>
                  <a:lnTo>
                    <a:pt x="403" y="145"/>
                  </a:lnTo>
                  <a:lnTo>
                    <a:pt x="401" y="145"/>
                  </a:lnTo>
                  <a:lnTo>
                    <a:pt x="401" y="148"/>
                  </a:lnTo>
                  <a:lnTo>
                    <a:pt x="398" y="148"/>
                  </a:lnTo>
                  <a:lnTo>
                    <a:pt x="396" y="148"/>
                  </a:lnTo>
                  <a:lnTo>
                    <a:pt x="394" y="148"/>
                  </a:lnTo>
                  <a:lnTo>
                    <a:pt x="391" y="148"/>
                  </a:lnTo>
                  <a:lnTo>
                    <a:pt x="391" y="150"/>
                  </a:lnTo>
                  <a:lnTo>
                    <a:pt x="389" y="150"/>
                  </a:lnTo>
                  <a:lnTo>
                    <a:pt x="389" y="148"/>
                  </a:lnTo>
                  <a:lnTo>
                    <a:pt x="386" y="148"/>
                  </a:lnTo>
                  <a:lnTo>
                    <a:pt x="384" y="148"/>
                  </a:lnTo>
                  <a:lnTo>
                    <a:pt x="382" y="148"/>
                  </a:lnTo>
                  <a:lnTo>
                    <a:pt x="379" y="150"/>
                  </a:lnTo>
                  <a:lnTo>
                    <a:pt x="377" y="150"/>
                  </a:lnTo>
                  <a:lnTo>
                    <a:pt x="375" y="150"/>
                  </a:lnTo>
                  <a:lnTo>
                    <a:pt x="372" y="150"/>
                  </a:lnTo>
                  <a:lnTo>
                    <a:pt x="370" y="150"/>
                  </a:lnTo>
                  <a:lnTo>
                    <a:pt x="367" y="150"/>
                  </a:lnTo>
                  <a:lnTo>
                    <a:pt x="365" y="150"/>
                  </a:lnTo>
                  <a:lnTo>
                    <a:pt x="365" y="148"/>
                  </a:lnTo>
                  <a:lnTo>
                    <a:pt x="363" y="148"/>
                  </a:lnTo>
                  <a:lnTo>
                    <a:pt x="363" y="150"/>
                  </a:lnTo>
                  <a:lnTo>
                    <a:pt x="360" y="150"/>
                  </a:lnTo>
                  <a:lnTo>
                    <a:pt x="360" y="148"/>
                  </a:lnTo>
                  <a:lnTo>
                    <a:pt x="358" y="148"/>
                  </a:lnTo>
                  <a:lnTo>
                    <a:pt x="356" y="148"/>
                  </a:lnTo>
                  <a:lnTo>
                    <a:pt x="353" y="148"/>
                  </a:lnTo>
                  <a:lnTo>
                    <a:pt x="353" y="150"/>
                  </a:lnTo>
                  <a:lnTo>
                    <a:pt x="351" y="150"/>
                  </a:lnTo>
                  <a:lnTo>
                    <a:pt x="348" y="150"/>
                  </a:lnTo>
                  <a:lnTo>
                    <a:pt x="348" y="152"/>
                  </a:lnTo>
                  <a:lnTo>
                    <a:pt x="346" y="152"/>
                  </a:lnTo>
                  <a:lnTo>
                    <a:pt x="344" y="152"/>
                  </a:lnTo>
                  <a:lnTo>
                    <a:pt x="339" y="152"/>
                  </a:lnTo>
                  <a:lnTo>
                    <a:pt x="337" y="152"/>
                  </a:lnTo>
                  <a:lnTo>
                    <a:pt x="334" y="152"/>
                  </a:lnTo>
                  <a:lnTo>
                    <a:pt x="334" y="155"/>
                  </a:lnTo>
                  <a:lnTo>
                    <a:pt x="332" y="155"/>
                  </a:lnTo>
                  <a:lnTo>
                    <a:pt x="329" y="155"/>
                  </a:lnTo>
                  <a:lnTo>
                    <a:pt x="327" y="155"/>
                  </a:lnTo>
                  <a:lnTo>
                    <a:pt x="325" y="155"/>
                  </a:lnTo>
                  <a:lnTo>
                    <a:pt x="322" y="155"/>
                  </a:lnTo>
                  <a:lnTo>
                    <a:pt x="320" y="155"/>
                  </a:lnTo>
                  <a:lnTo>
                    <a:pt x="318" y="155"/>
                  </a:lnTo>
                  <a:lnTo>
                    <a:pt x="315" y="155"/>
                  </a:lnTo>
                  <a:lnTo>
                    <a:pt x="313" y="155"/>
                  </a:lnTo>
                  <a:lnTo>
                    <a:pt x="311" y="155"/>
                  </a:lnTo>
                  <a:lnTo>
                    <a:pt x="311" y="157"/>
                  </a:lnTo>
                  <a:lnTo>
                    <a:pt x="308" y="157"/>
                  </a:lnTo>
                  <a:lnTo>
                    <a:pt x="306" y="157"/>
                  </a:lnTo>
                  <a:lnTo>
                    <a:pt x="306" y="155"/>
                  </a:lnTo>
                  <a:lnTo>
                    <a:pt x="303" y="155"/>
                  </a:lnTo>
                  <a:lnTo>
                    <a:pt x="303" y="157"/>
                  </a:lnTo>
                  <a:lnTo>
                    <a:pt x="301" y="157"/>
                  </a:lnTo>
                  <a:lnTo>
                    <a:pt x="301" y="155"/>
                  </a:lnTo>
                  <a:lnTo>
                    <a:pt x="303" y="152"/>
                  </a:lnTo>
                  <a:lnTo>
                    <a:pt x="306" y="152"/>
                  </a:lnTo>
                  <a:lnTo>
                    <a:pt x="303" y="150"/>
                  </a:lnTo>
                  <a:lnTo>
                    <a:pt x="301" y="150"/>
                  </a:lnTo>
                  <a:lnTo>
                    <a:pt x="299" y="150"/>
                  </a:lnTo>
                  <a:lnTo>
                    <a:pt x="299" y="148"/>
                  </a:lnTo>
                  <a:lnTo>
                    <a:pt x="301" y="145"/>
                  </a:lnTo>
                  <a:lnTo>
                    <a:pt x="299" y="145"/>
                  </a:lnTo>
                  <a:lnTo>
                    <a:pt x="299" y="143"/>
                  </a:lnTo>
                  <a:lnTo>
                    <a:pt x="299" y="141"/>
                  </a:lnTo>
                  <a:lnTo>
                    <a:pt x="299" y="138"/>
                  </a:lnTo>
                  <a:lnTo>
                    <a:pt x="296" y="136"/>
                  </a:lnTo>
                  <a:lnTo>
                    <a:pt x="299" y="136"/>
                  </a:lnTo>
                  <a:lnTo>
                    <a:pt x="296" y="136"/>
                  </a:lnTo>
                  <a:lnTo>
                    <a:pt x="299" y="136"/>
                  </a:lnTo>
                  <a:lnTo>
                    <a:pt x="299" y="133"/>
                  </a:lnTo>
                  <a:lnTo>
                    <a:pt x="299" y="136"/>
                  </a:lnTo>
                  <a:lnTo>
                    <a:pt x="301" y="133"/>
                  </a:lnTo>
                  <a:lnTo>
                    <a:pt x="303" y="133"/>
                  </a:lnTo>
                  <a:lnTo>
                    <a:pt x="306" y="133"/>
                  </a:lnTo>
                  <a:lnTo>
                    <a:pt x="308" y="131"/>
                  </a:lnTo>
                  <a:lnTo>
                    <a:pt x="311" y="133"/>
                  </a:lnTo>
                  <a:lnTo>
                    <a:pt x="313" y="133"/>
                  </a:lnTo>
                  <a:lnTo>
                    <a:pt x="313" y="136"/>
                  </a:lnTo>
                  <a:lnTo>
                    <a:pt x="315" y="136"/>
                  </a:lnTo>
                  <a:lnTo>
                    <a:pt x="315" y="138"/>
                  </a:lnTo>
                  <a:lnTo>
                    <a:pt x="318" y="138"/>
                  </a:lnTo>
                  <a:lnTo>
                    <a:pt x="315" y="138"/>
                  </a:lnTo>
                  <a:lnTo>
                    <a:pt x="318" y="138"/>
                  </a:lnTo>
                  <a:lnTo>
                    <a:pt x="318" y="141"/>
                  </a:lnTo>
                  <a:lnTo>
                    <a:pt x="320" y="141"/>
                  </a:lnTo>
                  <a:lnTo>
                    <a:pt x="320" y="138"/>
                  </a:lnTo>
                  <a:lnTo>
                    <a:pt x="320" y="136"/>
                  </a:lnTo>
                  <a:lnTo>
                    <a:pt x="318" y="136"/>
                  </a:lnTo>
                  <a:lnTo>
                    <a:pt x="318" y="133"/>
                  </a:lnTo>
                  <a:lnTo>
                    <a:pt x="318" y="131"/>
                  </a:lnTo>
                  <a:lnTo>
                    <a:pt x="320" y="131"/>
                  </a:lnTo>
                  <a:lnTo>
                    <a:pt x="322" y="131"/>
                  </a:lnTo>
                  <a:lnTo>
                    <a:pt x="325" y="131"/>
                  </a:lnTo>
                  <a:lnTo>
                    <a:pt x="327" y="131"/>
                  </a:lnTo>
                  <a:lnTo>
                    <a:pt x="329" y="131"/>
                  </a:lnTo>
                  <a:lnTo>
                    <a:pt x="332" y="131"/>
                  </a:lnTo>
                  <a:lnTo>
                    <a:pt x="334" y="131"/>
                  </a:lnTo>
                  <a:lnTo>
                    <a:pt x="337" y="131"/>
                  </a:lnTo>
                  <a:lnTo>
                    <a:pt x="339" y="131"/>
                  </a:lnTo>
                  <a:lnTo>
                    <a:pt x="337" y="131"/>
                  </a:lnTo>
                  <a:lnTo>
                    <a:pt x="339" y="131"/>
                  </a:lnTo>
                  <a:lnTo>
                    <a:pt x="341" y="131"/>
                  </a:lnTo>
                  <a:lnTo>
                    <a:pt x="344" y="131"/>
                  </a:lnTo>
                  <a:lnTo>
                    <a:pt x="344" y="129"/>
                  </a:lnTo>
                  <a:lnTo>
                    <a:pt x="346" y="126"/>
                  </a:lnTo>
                  <a:lnTo>
                    <a:pt x="348" y="126"/>
                  </a:lnTo>
                  <a:lnTo>
                    <a:pt x="351" y="126"/>
                  </a:lnTo>
                  <a:lnTo>
                    <a:pt x="351" y="124"/>
                  </a:lnTo>
                  <a:lnTo>
                    <a:pt x="353" y="124"/>
                  </a:lnTo>
                  <a:lnTo>
                    <a:pt x="356" y="124"/>
                  </a:lnTo>
                  <a:lnTo>
                    <a:pt x="358" y="122"/>
                  </a:lnTo>
                  <a:lnTo>
                    <a:pt x="360" y="122"/>
                  </a:lnTo>
                  <a:lnTo>
                    <a:pt x="363" y="122"/>
                  </a:lnTo>
                  <a:lnTo>
                    <a:pt x="360" y="122"/>
                  </a:lnTo>
                  <a:lnTo>
                    <a:pt x="360" y="124"/>
                  </a:lnTo>
                  <a:lnTo>
                    <a:pt x="363" y="124"/>
                  </a:lnTo>
                  <a:lnTo>
                    <a:pt x="365" y="124"/>
                  </a:lnTo>
                  <a:lnTo>
                    <a:pt x="367" y="124"/>
                  </a:lnTo>
                  <a:lnTo>
                    <a:pt x="370" y="126"/>
                  </a:lnTo>
                  <a:lnTo>
                    <a:pt x="367" y="124"/>
                  </a:lnTo>
                  <a:lnTo>
                    <a:pt x="370" y="124"/>
                  </a:lnTo>
                  <a:lnTo>
                    <a:pt x="370" y="126"/>
                  </a:lnTo>
                  <a:lnTo>
                    <a:pt x="372" y="126"/>
                  </a:lnTo>
                  <a:lnTo>
                    <a:pt x="370" y="124"/>
                  </a:lnTo>
                  <a:lnTo>
                    <a:pt x="372" y="124"/>
                  </a:lnTo>
                  <a:lnTo>
                    <a:pt x="370" y="124"/>
                  </a:lnTo>
                  <a:lnTo>
                    <a:pt x="367" y="124"/>
                  </a:lnTo>
                  <a:lnTo>
                    <a:pt x="367" y="122"/>
                  </a:lnTo>
                  <a:lnTo>
                    <a:pt x="365" y="122"/>
                  </a:lnTo>
                  <a:lnTo>
                    <a:pt x="363" y="122"/>
                  </a:lnTo>
                  <a:lnTo>
                    <a:pt x="363" y="119"/>
                  </a:lnTo>
                  <a:lnTo>
                    <a:pt x="365" y="117"/>
                  </a:lnTo>
                  <a:lnTo>
                    <a:pt x="367" y="117"/>
                  </a:lnTo>
                  <a:lnTo>
                    <a:pt x="370" y="117"/>
                  </a:lnTo>
                  <a:lnTo>
                    <a:pt x="372" y="114"/>
                  </a:lnTo>
                  <a:lnTo>
                    <a:pt x="372" y="117"/>
                  </a:lnTo>
                  <a:lnTo>
                    <a:pt x="375" y="117"/>
                  </a:lnTo>
                  <a:lnTo>
                    <a:pt x="375" y="114"/>
                  </a:lnTo>
                  <a:lnTo>
                    <a:pt x="377" y="114"/>
                  </a:lnTo>
                  <a:lnTo>
                    <a:pt x="379" y="114"/>
                  </a:lnTo>
                  <a:lnTo>
                    <a:pt x="382" y="114"/>
                  </a:lnTo>
                  <a:lnTo>
                    <a:pt x="384" y="114"/>
                  </a:lnTo>
                  <a:lnTo>
                    <a:pt x="384" y="117"/>
                  </a:lnTo>
                  <a:lnTo>
                    <a:pt x="386" y="117"/>
                  </a:lnTo>
                  <a:lnTo>
                    <a:pt x="386" y="114"/>
                  </a:lnTo>
                  <a:lnTo>
                    <a:pt x="389" y="117"/>
                  </a:lnTo>
                  <a:lnTo>
                    <a:pt x="391" y="117"/>
                  </a:lnTo>
                  <a:lnTo>
                    <a:pt x="394" y="117"/>
                  </a:lnTo>
                  <a:lnTo>
                    <a:pt x="396" y="117"/>
                  </a:lnTo>
                  <a:lnTo>
                    <a:pt x="398" y="117"/>
                  </a:lnTo>
                  <a:lnTo>
                    <a:pt x="401" y="117"/>
                  </a:lnTo>
                  <a:lnTo>
                    <a:pt x="403" y="117"/>
                  </a:lnTo>
                  <a:lnTo>
                    <a:pt x="405" y="117"/>
                  </a:lnTo>
                  <a:lnTo>
                    <a:pt x="405" y="114"/>
                  </a:lnTo>
                  <a:lnTo>
                    <a:pt x="408" y="114"/>
                  </a:lnTo>
                  <a:lnTo>
                    <a:pt x="410" y="114"/>
                  </a:lnTo>
                  <a:lnTo>
                    <a:pt x="413" y="112"/>
                  </a:lnTo>
                  <a:lnTo>
                    <a:pt x="415" y="112"/>
                  </a:lnTo>
                  <a:lnTo>
                    <a:pt x="417" y="112"/>
                  </a:lnTo>
                  <a:lnTo>
                    <a:pt x="420" y="112"/>
                  </a:lnTo>
                  <a:lnTo>
                    <a:pt x="422" y="112"/>
                  </a:lnTo>
                  <a:lnTo>
                    <a:pt x="422" y="110"/>
                  </a:lnTo>
                  <a:lnTo>
                    <a:pt x="424" y="110"/>
                  </a:lnTo>
                  <a:lnTo>
                    <a:pt x="422" y="110"/>
                  </a:lnTo>
                  <a:lnTo>
                    <a:pt x="420" y="110"/>
                  </a:lnTo>
                  <a:lnTo>
                    <a:pt x="417" y="110"/>
                  </a:lnTo>
                  <a:lnTo>
                    <a:pt x="415" y="110"/>
                  </a:lnTo>
                  <a:lnTo>
                    <a:pt x="413" y="110"/>
                  </a:lnTo>
                  <a:lnTo>
                    <a:pt x="413" y="112"/>
                  </a:lnTo>
                  <a:lnTo>
                    <a:pt x="410" y="110"/>
                  </a:lnTo>
                  <a:lnTo>
                    <a:pt x="410" y="112"/>
                  </a:lnTo>
                  <a:lnTo>
                    <a:pt x="408" y="112"/>
                  </a:lnTo>
                  <a:lnTo>
                    <a:pt x="405" y="112"/>
                  </a:lnTo>
                  <a:lnTo>
                    <a:pt x="405" y="114"/>
                  </a:lnTo>
                  <a:lnTo>
                    <a:pt x="403" y="114"/>
                  </a:lnTo>
                  <a:lnTo>
                    <a:pt x="403" y="112"/>
                  </a:lnTo>
                  <a:lnTo>
                    <a:pt x="396" y="112"/>
                  </a:lnTo>
                  <a:lnTo>
                    <a:pt x="396" y="110"/>
                  </a:lnTo>
                  <a:lnTo>
                    <a:pt x="394" y="110"/>
                  </a:lnTo>
                  <a:lnTo>
                    <a:pt x="391" y="110"/>
                  </a:lnTo>
                  <a:lnTo>
                    <a:pt x="389" y="110"/>
                  </a:lnTo>
                  <a:lnTo>
                    <a:pt x="386" y="110"/>
                  </a:lnTo>
                  <a:lnTo>
                    <a:pt x="389" y="107"/>
                  </a:lnTo>
                  <a:lnTo>
                    <a:pt x="391" y="107"/>
                  </a:lnTo>
                  <a:lnTo>
                    <a:pt x="391" y="105"/>
                  </a:lnTo>
                  <a:lnTo>
                    <a:pt x="391" y="103"/>
                  </a:lnTo>
                  <a:lnTo>
                    <a:pt x="394" y="103"/>
                  </a:lnTo>
                  <a:lnTo>
                    <a:pt x="394" y="100"/>
                  </a:lnTo>
                  <a:lnTo>
                    <a:pt x="396" y="100"/>
                  </a:lnTo>
                  <a:lnTo>
                    <a:pt x="398" y="100"/>
                  </a:lnTo>
                  <a:lnTo>
                    <a:pt x="398" y="98"/>
                  </a:lnTo>
                  <a:lnTo>
                    <a:pt x="401" y="98"/>
                  </a:lnTo>
                  <a:lnTo>
                    <a:pt x="401" y="95"/>
                  </a:lnTo>
                  <a:lnTo>
                    <a:pt x="403" y="95"/>
                  </a:lnTo>
                  <a:lnTo>
                    <a:pt x="405" y="95"/>
                  </a:lnTo>
                  <a:lnTo>
                    <a:pt x="405" y="93"/>
                  </a:lnTo>
                  <a:lnTo>
                    <a:pt x="403" y="93"/>
                  </a:lnTo>
                  <a:lnTo>
                    <a:pt x="401" y="93"/>
                  </a:lnTo>
                  <a:lnTo>
                    <a:pt x="398" y="95"/>
                  </a:lnTo>
                  <a:lnTo>
                    <a:pt x="398" y="93"/>
                  </a:lnTo>
                  <a:lnTo>
                    <a:pt x="396" y="91"/>
                  </a:lnTo>
                  <a:lnTo>
                    <a:pt x="394" y="91"/>
                  </a:lnTo>
                  <a:lnTo>
                    <a:pt x="391" y="93"/>
                  </a:lnTo>
                  <a:lnTo>
                    <a:pt x="391" y="95"/>
                  </a:lnTo>
                  <a:lnTo>
                    <a:pt x="389" y="95"/>
                  </a:lnTo>
                  <a:lnTo>
                    <a:pt x="389" y="98"/>
                  </a:lnTo>
                  <a:lnTo>
                    <a:pt x="389" y="100"/>
                  </a:lnTo>
                  <a:lnTo>
                    <a:pt x="386" y="100"/>
                  </a:lnTo>
                  <a:lnTo>
                    <a:pt x="386" y="103"/>
                  </a:lnTo>
                  <a:lnTo>
                    <a:pt x="384" y="103"/>
                  </a:lnTo>
                  <a:lnTo>
                    <a:pt x="382" y="103"/>
                  </a:lnTo>
                  <a:lnTo>
                    <a:pt x="379" y="105"/>
                  </a:lnTo>
                  <a:lnTo>
                    <a:pt x="377" y="105"/>
                  </a:lnTo>
                  <a:lnTo>
                    <a:pt x="377" y="103"/>
                  </a:lnTo>
                  <a:lnTo>
                    <a:pt x="377" y="105"/>
                  </a:lnTo>
                  <a:lnTo>
                    <a:pt x="377" y="107"/>
                  </a:lnTo>
                  <a:lnTo>
                    <a:pt x="375" y="107"/>
                  </a:lnTo>
                  <a:lnTo>
                    <a:pt x="372" y="107"/>
                  </a:lnTo>
                  <a:lnTo>
                    <a:pt x="370" y="107"/>
                  </a:lnTo>
                  <a:lnTo>
                    <a:pt x="367" y="107"/>
                  </a:lnTo>
                  <a:lnTo>
                    <a:pt x="365" y="107"/>
                  </a:lnTo>
                  <a:lnTo>
                    <a:pt x="363" y="107"/>
                  </a:lnTo>
                  <a:lnTo>
                    <a:pt x="360" y="107"/>
                  </a:lnTo>
                  <a:lnTo>
                    <a:pt x="358" y="107"/>
                  </a:lnTo>
                  <a:lnTo>
                    <a:pt x="356" y="107"/>
                  </a:lnTo>
                  <a:lnTo>
                    <a:pt x="353" y="105"/>
                  </a:lnTo>
                  <a:lnTo>
                    <a:pt x="353" y="103"/>
                  </a:lnTo>
                  <a:lnTo>
                    <a:pt x="351" y="103"/>
                  </a:lnTo>
                  <a:lnTo>
                    <a:pt x="351" y="100"/>
                  </a:lnTo>
                  <a:lnTo>
                    <a:pt x="351" y="98"/>
                  </a:lnTo>
                  <a:lnTo>
                    <a:pt x="351" y="100"/>
                  </a:lnTo>
                  <a:lnTo>
                    <a:pt x="351" y="98"/>
                  </a:lnTo>
                  <a:lnTo>
                    <a:pt x="353" y="98"/>
                  </a:lnTo>
                  <a:lnTo>
                    <a:pt x="356" y="98"/>
                  </a:lnTo>
                  <a:lnTo>
                    <a:pt x="358" y="98"/>
                  </a:lnTo>
                  <a:lnTo>
                    <a:pt x="358" y="95"/>
                  </a:lnTo>
                  <a:lnTo>
                    <a:pt x="360" y="95"/>
                  </a:lnTo>
                  <a:lnTo>
                    <a:pt x="358" y="93"/>
                  </a:lnTo>
                  <a:lnTo>
                    <a:pt x="360" y="93"/>
                  </a:lnTo>
                  <a:lnTo>
                    <a:pt x="358" y="93"/>
                  </a:lnTo>
                  <a:lnTo>
                    <a:pt x="360" y="93"/>
                  </a:lnTo>
                  <a:lnTo>
                    <a:pt x="358" y="91"/>
                  </a:lnTo>
                  <a:lnTo>
                    <a:pt x="360" y="91"/>
                  </a:lnTo>
                  <a:lnTo>
                    <a:pt x="360" y="88"/>
                  </a:lnTo>
                  <a:lnTo>
                    <a:pt x="360" y="91"/>
                  </a:lnTo>
                  <a:lnTo>
                    <a:pt x="358" y="88"/>
                  </a:lnTo>
                  <a:lnTo>
                    <a:pt x="356" y="88"/>
                  </a:lnTo>
                  <a:lnTo>
                    <a:pt x="358" y="86"/>
                  </a:lnTo>
                  <a:lnTo>
                    <a:pt x="358" y="84"/>
                  </a:lnTo>
                  <a:lnTo>
                    <a:pt x="356" y="84"/>
                  </a:lnTo>
                  <a:lnTo>
                    <a:pt x="353" y="84"/>
                  </a:lnTo>
                  <a:lnTo>
                    <a:pt x="351" y="84"/>
                  </a:lnTo>
                  <a:lnTo>
                    <a:pt x="351" y="86"/>
                  </a:lnTo>
                  <a:lnTo>
                    <a:pt x="351" y="88"/>
                  </a:lnTo>
                  <a:lnTo>
                    <a:pt x="348" y="88"/>
                  </a:lnTo>
                  <a:lnTo>
                    <a:pt x="348" y="91"/>
                  </a:lnTo>
                  <a:lnTo>
                    <a:pt x="351" y="91"/>
                  </a:lnTo>
                  <a:lnTo>
                    <a:pt x="348" y="91"/>
                  </a:lnTo>
                  <a:lnTo>
                    <a:pt x="348" y="93"/>
                  </a:lnTo>
                  <a:lnTo>
                    <a:pt x="351" y="93"/>
                  </a:lnTo>
                  <a:lnTo>
                    <a:pt x="348" y="93"/>
                  </a:lnTo>
                  <a:lnTo>
                    <a:pt x="351" y="93"/>
                  </a:lnTo>
                  <a:lnTo>
                    <a:pt x="351" y="95"/>
                  </a:lnTo>
                  <a:lnTo>
                    <a:pt x="348" y="95"/>
                  </a:lnTo>
                  <a:lnTo>
                    <a:pt x="346" y="95"/>
                  </a:lnTo>
                  <a:lnTo>
                    <a:pt x="346" y="98"/>
                  </a:lnTo>
                  <a:lnTo>
                    <a:pt x="344" y="98"/>
                  </a:lnTo>
                  <a:lnTo>
                    <a:pt x="344" y="100"/>
                  </a:lnTo>
                  <a:lnTo>
                    <a:pt x="341" y="100"/>
                  </a:lnTo>
                  <a:lnTo>
                    <a:pt x="341" y="98"/>
                  </a:lnTo>
                  <a:lnTo>
                    <a:pt x="339" y="98"/>
                  </a:lnTo>
                  <a:lnTo>
                    <a:pt x="337" y="98"/>
                  </a:lnTo>
                  <a:lnTo>
                    <a:pt x="337" y="95"/>
                  </a:lnTo>
                  <a:lnTo>
                    <a:pt x="339" y="95"/>
                  </a:lnTo>
                  <a:lnTo>
                    <a:pt x="339" y="93"/>
                  </a:lnTo>
                  <a:lnTo>
                    <a:pt x="337" y="91"/>
                  </a:lnTo>
                  <a:lnTo>
                    <a:pt x="339" y="91"/>
                  </a:lnTo>
                  <a:lnTo>
                    <a:pt x="337" y="91"/>
                  </a:lnTo>
                  <a:lnTo>
                    <a:pt x="334" y="91"/>
                  </a:lnTo>
                  <a:lnTo>
                    <a:pt x="332" y="91"/>
                  </a:lnTo>
                  <a:lnTo>
                    <a:pt x="334" y="91"/>
                  </a:lnTo>
                  <a:lnTo>
                    <a:pt x="332" y="91"/>
                  </a:lnTo>
                  <a:lnTo>
                    <a:pt x="332" y="93"/>
                  </a:lnTo>
                  <a:lnTo>
                    <a:pt x="329" y="93"/>
                  </a:lnTo>
                  <a:lnTo>
                    <a:pt x="327" y="93"/>
                  </a:lnTo>
                  <a:lnTo>
                    <a:pt x="325" y="93"/>
                  </a:lnTo>
                  <a:lnTo>
                    <a:pt x="325" y="91"/>
                  </a:lnTo>
                  <a:lnTo>
                    <a:pt x="322" y="91"/>
                  </a:lnTo>
                  <a:lnTo>
                    <a:pt x="322" y="93"/>
                  </a:lnTo>
                  <a:lnTo>
                    <a:pt x="322" y="91"/>
                  </a:lnTo>
                  <a:lnTo>
                    <a:pt x="320" y="91"/>
                  </a:lnTo>
                  <a:lnTo>
                    <a:pt x="322" y="93"/>
                  </a:lnTo>
                  <a:lnTo>
                    <a:pt x="325" y="93"/>
                  </a:lnTo>
                  <a:lnTo>
                    <a:pt x="327" y="95"/>
                  </a:lnTo>
                  <a:lnTo>
                    <a:pt x="329" y="95"/>
                  </a:lnTo>
                  <a:lnTo>
                    <a:pt x="327" y="98"/>
                  </a:lnTo>
                  <a:lnTo>
                    <a:pt x="329" y="98"/>
                  </a:lnTo>
                  <a:lnTo>
                    <a:pt x="327" y="98"/>
                  </a:lnTo>
                  <a:lnTo>
                    <a:pt x="329" y="98"/>
                  </a:lnTo>
                  <a:lnTo>
                    <a:pt x="327" y="98"/>
                  </a:lnTo>
                  <a:lnTo>
                    <a:pt x="329" y="100"/>
                  </a:lnTo>
                  <a:lnTo>
                    <a:pt x="329" y="103"/>
                  </a:lnTo>
                  <a:lnTo>
                    <a:pt x="332" y="103"/>
                  </a:lnTo>
                  <a:lnTo>
                    <a:pt x="329" y="103"/>
                  </a:lnTo>
                  <a:lnTo>
                    <a:pt x="327" y="103"/>
                  </a:lnTo>
                  <a:lnTo>
                    <a:pt x="325" y="103"/>
                  </a:lnTo>
                  <a:lnTo>
                    <a:pt x="322" y="103"/>
                  </a:lnTo>
                  <a:lnTo>
                    <a:pt x="322" y="105"/>
                  </a:lnTo>
                  <a:lnTo>
                    <a:pt x="325" y="105"/>
                  </a:lnTo>
                  <a:lnTo>
                    <a:pt x="322" y="105"/>
                  </a:lnTo>
                  <a:lnTo>
                    <a:pt x="320" y="105"/>
                  </a:lnTo>
                  <a:lnTo>
                    <a:pt x="320" y="107"/>
                  </a:lnTo>
                  <a:lnTo>
                    <a:pt x="318" y="107"/>
                  </a:lnTo>
                  <a:lnTo>
                    <a:pt x="320" y="107"/>
                  </a:lnTo>
                  <a:lnTo>
                    <a:pt x="322" y="107"/>
                  </a:lnTo>
                  <a:lnTo>
                    <a:pt x="325" y="107"/>
                  </a:lnTo>
                  <a:lnTo>
                    <a:pt x="327" y="107"/>
                  </a:lnTo>
                  <a:lnTo>
                    <a:pt x="329" y="107"/>
                  </a:lnTo>
                  <a:lnTo>
                    <a:pt x="332" y="110"/>
                  </a:lnTo>
                  <a:lnTo>
                    <a:pt x="334" y="112"/>
                  </a:lnTo>
                  <a:lnTo>
                    <a:pt x="337" y="112"/>
                  </a:lnTo>
                  <a:lnTo>
                    <a:pt x="337" y="114"/>
                  </a:lnTo>
                  <a:lnTo>
                    <a:pt x="334" y="112"/>
                  </a:lnTo>
                  <a:lnTo>
                    <a:pt x="337" y="112"/>
                  </a:lnTo>
                  <a:lnTo>
                    <a:pt x="334" y="112"/>
                  </a:lnTo>
                  <a:lnTo>
                    <a:pt x="334" y="114"/>
                  </a:lnTo>
                  <a:lnTo>
                    <a:pt x="332" y="114"/>
                  </a:lnTo>
                  <a:lnTo>
                    <a:pt x="329" y="114"/>
                  </a:lnTo>
                  <a:lnTo>
                    <a:pt x="329" y="112"/>
                  </a:lnTo>
                  <a:lnTo>
                    <a:pt x="327" y="112"/>
                  </a:lnTo>
                  <a:lnTo>
                    <a:pt x="325" y="112"/>
                  </a:lnTo>
                  <a:lnTo>
                    <a:pt x="325" y="114"/>
                  </a:lnTo>
                  <a:lnTo>
                    <a:pt x="322" y="112"/>
                  </a:lnTo>
                  <a:lnTo>
                    <a:pt x="320" y="112"/>
                  </a:lnTo>
                  <a:lnTo>
                    <a:pt x="318" y="112"/>
                  </a:lnTo>
                  <a:lnTo>
                    <a:pt x="318" y="110"/>
                  </a:lnTo>
                  <a:lnTo>
                    <a:pt x="315" y="110"/>
                  </a:lnTo>
                  <a:lnTo>
                    <a:pt x="315" y="112"/>
                  </a:lnTo>
                  <a:lnTo>
                    <a:pt x="318" y="114"/>
                  </a:lnTo>
                  <a:lnTo>
                    <a:pt x="315" y="114"/>
                  </a:lnTo>
                  <a:lnTo>
                    <a:pt x="313" y="114"/>
                  </a:lnTo>
                  <a:lnTo>
                    <a:pt x="315" y="114"/>
                  </a:lnTo>
                  <a:lnTo>
                    <a:pt x="315" y="117"/>
                  </a:lnTo>
                  <a:lnTo>
                    <a:pt x="318" y="117"/>
                  </a:lnTo>
                  <a:lnTo>
                    <a:pt x="320" y="117"/>
                  </a:lnTo>
                  <a:lnTo>
                    <a:pt x="318" y="117"/>
                  </a:lnTo>
                  <a:lnTo>
                    <a:pt x="320" y="117"/>
                  </a:lnTo>
                  <a:lnTo>
                    <a:pt x="320" y="119"/>
                  </a:lnTo>
                  <a:lnTo>
                    <a:pt x="318" y="119"/>
                  </a:lnTo>
                  <a:lnTo>
                    <a:pt x="315" y="119"/>
                  </a:lnTo>
                  <a:lnTo>
                    <a:pt x="315" y="122"/>
                  </a:lnTo>
                  <a:lnTo>
                    <a:pt x="313" y="122"/>
                  </a:lnTo>
                  <a:lnTo>
                    <a:pt x="315" y="122"/>
                  </a:lnTo>
                  <a:lnTo>
                    <a:pt x="313" y="122"/>
                  </a:lnTo>
                  <a:lnTo>
                    <a:pt x="313" y="119"/>
                  </a:lnTo>
                  <a:lnTo>
                    <a:pt x="311" y="119"/>
                  </a:lnTo>
                  <a:lnTo>
                    <a:pt x="308" y="119"/>
                  </a:lnTo>
                  <a:lnTo>
                    <a:pt x="306" y="119"/>
                  </a:lnTo>
                  <a:lnTo>
                    <a:pt x="308" y="119"/>
                  </a:lnTo>
                  <a:lnTo>
                    <a:pt x="311" y="119"/>
                  </a:lnTo>
                  <a:lnTo>
                    <a:pt x="308" y="122"/>
                  </a:lnTo>
                  <a:lnTo>
                    <a:pt x="308" y="124"/>
                  </a:lnTo>
                  <a:lnTo>
                    <a:pt x="306" y="122"/>
                  </a:lnTo>
                  <a:lnTo>
                    <a:pt x="303" y="122"/>
                  </a:lnTo>
                  <a:lnTo>
                    <a:pt x="301" y="122"/>
                  </a:lnTo>
                  <a:lnTo>
                    <a:pt x="303" y="122"/>
                  </a:lnTo>
                  <a:lnTo>
                    <a:pt x="303" y="124"/>
                  </a:lnTo>
                  <a:lnTo>
                    <a:pt x="306" y="124"/>
                  </a:lnTo>
                  <a:lnTo>
                    <a:pt x="303" y="126"/>
                  </a:lnTo>
                  <a:lnTo>
                    <a:pt x="301" y="126"/>
                  </a:lnTo>
                  <a:lnTo>
                    <a:pt x="299" y="126"/>
                  </a:lnTo>
                  <a:lnTo>
                    <a:pt x="299" y="124"/>
                  </a:lnTo>
                  <a:lnTo>
                    <a:pt x="299" y="126"/>
                  </a:lnTo>
                  <a:lnTo>
                    <a:pt x="299" y="124"/>
                  </a:lnTo>
                  <a:lnTo>
                    <a:pt x="296" y="126"/>
                  </a:lnTo>
                  <a:lnTo>
                    <a:pt x="294" y="124"/>
                  </a:lnTo>
                  <a:lnTo>
                    <a:pt x="289" y="124"/>
                  </a:lnTo>
                  <a:lnTo>
                    <a:pt x="287" y="124"/>
                  </a:lnTo>
                  <a:lnTo>
                    <a:pt x="284" y="124"/>
                  </a:lnTo>
                  <a:lnTo>
                    <a:pt x="282" y="124"/>
                  </a:lnTo>
                  <a:lnTo>
                    <a:pt x="280" y="124"/>
                  </a:lnTo>
                  <a:lnTo>
                    <a:pt x="277" y="126"/>
                  </a:lnTo>
                  <a:lnTo>
                    <a:pt x="277" y="124"/>
                  </a:lnTo>
                  <a:lnTo>
                    <a:pt x="275" y="124"/>
                  </a:lnTo>
                  <a:lnTo>
                    <a:pt x="275" y="122"/>
                  </a:lnTo>
                  <a:lnTo>
                    <a:pt x="275" y="119"/>
                  </a:lnTo>
                  <a:lnTo>
                    <a:pt x="277" y="119"/>
                  </a:lnTo>
                  <a:lnTo>
                    <a:pt x="275" y="119"/>
                  </a:lnTo>
                  <a:lnTo>
                    <a:pt x="275" y="117"/>
                  </a:lnTo>
                  <a:lnTo>
                    <a:pt x="273" y="117"/>
                  </a:lnTo>
                  <a:lnTo>
                    <a:pt x="275" y="117"/>
                  </a:lnTo>
                  <a:lnTo>
                    <a:pt x="273" y="117"/>
                  </a:lnTo>
                  <a:lnTo>
                    <a:pt x="275" y="117"/>
                  </a:lnTo>
                  <a:lnTo>
                    <a:pt x="273" y="117"/>
                  </a:lnTo>
                  <a:lnTo>
                    <a:pt x="275" y="117"/>
                  </a:lnTo>
                  <a:lnTo>
                    <a:pt x="275" y="114"/>
                  </a:lnTo>
                  <a:lnTo>
                    <a:pt x="273" y="114"/>
                  </a:lnTo>
                  <a:lnTo>
                    <a:pt x="275" y="114"/>
                  </a:lnTo>
                  <a:lnTo>
                    <a:pt x="277" y="114"/>
                  </a:lnTo>
                  <a:lnTo>
                    <a:pt x="275" y="114"/>
                  </a:lnTo>
                  <a:lnTo>
                    <a:pt x="275" y="112"/>
                  </a:lnTo>
                  <a:lnTo>
                    <a:pt x="273" y="112"/>
                  </a:lnTo>
                  <a:lnTo>
                    <a:pt x="273" y="114"/>
                  </a:lnTo>
                  <a:lnTo>
                    <a:pt x="275" y="114"/>
                  </a:lnTo>
                  <a:lnTo>
                    <a:pt x="273" y="114"/>
                  </a:lnTo>
                  <a:lnTo>
                    <a:pt x="270" y="114"/>
                  </a:lnTo>
                  <a:lnTo>
                    <a:pt x="268" y="114"/>
                  </a:lnTo>
                  <a:lnTo>
                    <a:pt x="265" y="114"/>
                  </a:lnTo>
                  <a:lnTo>
                    <a:pt x="265" y="112"/>
                  </a:lnTo>
                  <a:lnTo>
                    <a:pt x="263" y="112"/>
                  </a:lnTo>
                  <a:lnTo>
                    <a:pt x="261" y="112"/>
                  </a:lnTo>
                  <a:lnTo>
                    <a:pt x="261" y="110"/>
                  </a:lnTo>
                  <a:lnTo>
                    <a:pt x="258" y="107"/>
                  </a:lnTo>
                  <a:lnTo>
                    <a:pt x="256" y="107"/>
                  </a:lnTo>
                  <a:lnTo>
                    <a:pt x="256" y="105"/>
                  </a:lnTo>
                  <a:lnTo>
                    <a:pt x="258" y="105"/>
                  </a:lnTo>
                  <a:lnTo>
                    <a:pt x="261" y="105"/>
                  </a:lnTo>
                  <a:lnTo>
                    <a:pt x="263" y="105"/>
                  </a:lnTo>
                  <a:lnTo>
                    <a:pt x="265" y="105"/>
                  </a:lnTo>
                  <a:lnTo>
                    <a:pt x="268" y="105"/>
                  </a:lnTo>
                  <a:lnTo>
                    <a:pt x="270" y="105"/>
                  </a:lnTo>
                  <a:lnTo>
                    <a:pt x="273" y="105"/>
                  </a:lnTo>
                  <a:lnTo>
                    <a:pt x="275" y="105"/>
                  </a:lnTo>
                  <a:lnTo>
                    <a:pt x="277" y="105"/>
                  </a:lnTo>
                  <a:lnTo>
                    <a:pt x="280" y="105"/>
                  </a:lnTo>
                  <a:lnTo>
                    <a:pt x="282" y="105"/>
                  </a:lnTo>
                  <a:lnTo>
                    <a:pt x="284" y="105"/>
                  </a:lnTo>
                  <a:lnTo>
                    <a:pt x="282" y="105"/>
                  </a:lnTo>
                  <a:lnTo>
                    <a:pt x="284" y="103"/>
                  </a:lnTo>
                  <a:lnTo>
                    <a:pt x="287" y="103"/>
                  </a:lnTo>
                  <a:lnTo>
                    <a:pt x="287" y="100"/>
                  </a:lnTo>
                  <a:lnTo>
                    <a:pt x="284" y="100"/>
                  </a:lnTo>
                  <a:lnTo>
                    <a:pt x="282" y="100"/>
                  </a:lnTo>
                  <a:lnTo>
                    <a:pt x="280" y="100"/>
                  </a:lnTo>
                  <a:lnTo>
                    <a:pt x="282" y="100"/>
                  </a:lnTo>
                  <a:lnTo>
                    <a:pt x="282" y="103"/>
                  </a:lnTo>
                  <a:lnTo>
                    <a:pt x="280" y="103"/>
                  </a:lnTo>
                  <a:lnTo>
                    <a:pt x="277" y="103"/>
                  </a:lnTo>
                  <a:lnTo>
                    <a:pt x="275" y="103"/>
                  </a:lnTo>
                  <a:lnTo>
                    <a:pt x="273" y="103"/>
                  </a:lnTo>
                  <a:lnTo>
                    <a:pt x="275" y="103"/>
                  </a:lnTo>
                  <a:lnTo>
                    <a:pt x="275" y="105"/>
                  </a:lnTo>
                  <a:lnTo>
                    <a:pt x="273" y="105"/>
                  </a:lnTo>
                  <a:lnTo>
                    <a:pt x="273" y="103"/>
                  </a:lnTo>
                  <a:lnTo>
                    <a:pt x="270" y="103"/>
                  </a:lnTo>
                  <a:lnTo>
                    <a:pt x="268" y="103"/>
                  </a:lnTo>
                  <a:lnTo>
                    <a:pt x="265" y="103"/>
                  </a:lnTo>
                  <a:lnTo>
                    <a:pt x="263" y="103"/>
                  </a:lnTo>
                  <a:lnTo>
                    <a:pt x="258" y="103"/>
                  </a:lnTo>
                  <a:lnTo>
                    <a:pt x="256" y="103"/>
                  </a:lnTo>
                  <a:lnTo>
                    <a:pt x="258" y="103"/>
                  </a:lnTo>
                  <a:lnTo>
                    <a:pt x="256" y="103"/>
                  </a:lnTo>
                  <a:lnTo>
                    <a:pt x="258" y="103"/>
                  </a:lnTo>
                  <a:lnTo>
                    <a:pt x="258" y="100"/>
                  </a:lnTo>
                  <a:lnTo>
                    <a:pt x="261" y="100"/>
                  </a:lnTo>
                  <a:lnTo>
                    <a:pt x="258" y="100"/>
                  </a:lnTo>
                  <a:lnTo>
                    <a:pt x="256" y="100"/>
                  </a:lnTo>
                  <a:lnTo>
                    <a:pt x="254" y="100"/>
                  </a:lnTo>
                  <a:lnTo>
                    <a:pt x="251" y="100"/>
                  </a:lnTo>
                  <a:lnTo>
                    <a:pt x="249" y="100"/>
                  </a:lnTo>
                  <a:lnTo>
                    <a:pt x="249" y="98"/>
                  </a:lnTo>
                  <a:lnTo>
                    <a:pt x="246" y="98"/>
                  </a:lnTo>
                  <a:lnTo>
                    <a:pt x="244" y="98"/>
                  </a:lnTo>
                  <a:lnTo>
                    <a:pt x="242" y="95"/>
                  </a:lnTo>
                  <a:lnTo>
                    <a:pt x="239" y="95"/>
                  </a:lnTo>
                  <a:lnTo>
                    <a:pt x="239" y="93"/>
                  </a:lnTo>
                  <a:lnTo>
                    <a:pt x="242" y="93"/>
                  </a:lnTo>
                  <a:lnTo>
                    <a:pt x="242" y="91"/>
                  </a:lnTo>
                  <a:lnTo>
                    <a:pt x="239" y="91"/>
                  </a:lnTo>
                  <a:lnTo>
                    <a:pt x="237" y="93"/>
                  </a:lnTo>
                  <a:lnTo>
                    <a:pt x="237" y="91"/>
                  </a:lnTo>
                  <a:lnTo>
                    <a:pt x="235" y="91"/>
                  </a:lnTo>
                  <a:lnTo>
                    <a:pt x="232" y="91"/>
                  </a:lnTo>
                  <a:lnTo>
                    <a:pt x="232" y="88"/>
                  </a:lnTo>
                  <a:lnTo>
                    <a:pt x="235" y="88"/>
                  </a:lnTo>
                  <a:lnTo>
                    <a:pt x="235" y="86"/>
                  </a:lnTo>
                  <a:lnTo>
                    <a:pt x="237" y="86"/>
                  </a:lnTo>
                  <a:lnTo>
                    <a:pt x="237" y="84"/>
                  </a:lnTo>
                  <a:lnTo>
                    <a:pt x="239" y="84"/>
                  </a:lnTo>
                  <a:lnTo>
                    <a:pt x="242" y="84"/>
                  </a:lnTo>
                  <a:lnTo>
                    <a:pt x="244" y="84"/>
                  </a:lnTo>
                  <a:lnTo>
                    <a:pt x="242" y="84"/>
                  </a:lnTo>
                  <a:lnTo>
                    <a:pt x="239" y="81"/>
                  </a:lnTo>
                  <a:lnTo>
                    <a:pt x="237" y="81"/>
                  </a:lnTo>
                  <a:lnTo>
                    <a:pt x="235" y="81"/>
                  </a:lnTo>
                  <a:lnTo>
                    <a:pt x="232" y="81"/>
                  </a:lnTo>
                  <a:lnTo>
                    <a:pt x="230" y="81"/>
                  </a:lnTo>
                  <a:lnTo>
                    <a:pt x="230" y="79"/>
                  </a:lnTo>
                  <a:lnTo>
                    <a:pt x="227" y="79"/>
                  </a:lnTo>
                  <a:lnTo>
                    <a:pt x="225" y="76"/>
                  </a:lnTo>
                  <a:lnTo>
                    <a:pt x="223" y="76"/>
                  </a:lnTo>
                  <a:lnTo>
                    <a:pt x="223" y="74"/>
                  </a:lnTo>
                  <a:lnTo>
                    <a:pt x="225" y="74"/>
                  </a:lnTo>
                  <a:lnTo>
                    <a:pt x="227" y="74"/>
                  </a:lnTo>
                  <a:lnTo>
                    <a:pt x="230" y="74"/>
                  </a:lnTo>
                  <a:lnTo>
                    <a:pt x="232" y="74"/>
                  </a:lnTo>
                  <a:lnTo>
                    <a:pt x="235" y="74"/>
                  </a:lnTo>
                  <a:lnTo>
                    <a:pt x="237" y="74"/>
                  </a:lnTo>
                  <a:lnTo>
                    <a:pt x="239" y="76"/>
                  </a:lnTo>
                  <a:lnTo>
                    <a:pt x="242" y="76"/>
                  </a:lnTo>
                  <a:lnTo>
                    <a:pt x="244" y="76"/>
                  </a:lnTo>
                  <a:lnTo>
                    <a:pt x="244" y="79"/>
                  </a:lnTo>
                  <a:lnTo>
                    <a:pt x="246" y="79"/>
                  </a:lnTo>
                  <a:lnTo>
                    <a:pt x="249" y="79"/>
                  </a:lnTo>
                  <a:lnTo>
                    <a:pt x="251" y="79"/>
                  </a:lnTo>
                  <a:lnTo>
                    <a:pt x="254" y="79"/>
                  </a:lnTo>
                  <a:lnTo>
                    <a:pt x="256" y="79"/>
                  </a:lnTo>
                  <a:lnTo>
                    <a:pt x="258" y="81"/>
                  </a:lnTo>
                  <a:lnTo>
                    <a:pt x="261" y="81"/>
                  </a:lnTo>
                  <a:lnTo>
                    <a:pt x="263" y="81"/>
                  </a:lnTo>
                  <a:lnTo>
                    <a:pt x="263" y="79"/>
                  </a:lnTo>
                  <a:lnTo>
                    <a:pt x="265" y="79"/>
                  </a:lnTo>
                  <a:lnTo>
                    <a:pt x="263" y="79"/>
                  </a:lnTo>
                  <a:lnTo>
                    <a:pt x="261" y="79"/>
                  </a:lnTo>
                  <a:lnTo>
                    <a:pt x="261" y="76"/>
                  </a:lnTo>
                  <a:lnTo>
                    <a:pt x="258" y="76"/>
                  </a:lnTo>
                  <a:lnTo>
                    <a:pt x="261" y="74"/>
                  </a:lnTo>
                  <a:lnTo>
                    <a:pt x="263" y="74"/>
                  </a:lnTo>
                  <a:lnTo>
                    <a:pt x="261" y="74"/>
                  </a:lnTo>
                  <a:lnTo>
                    <a:pt x="261" y="72"/>
                  </a:lnTo>
                  <a:lnTo>
                    <a:pt x="258" y="72"/>
                  </a:lnTo>
                  <a:lnTo>
                    <a:pt x="256" y="72"/>
                  </a:lnTo>
                  <a:lnTo>
                    <a:pt x="254" y="72"/>
                  </a:lnTo>
                  <a:lnTo>
                    <a:pt x="251" y="72"/>
                  </a:lnTo>
                  <a:lnTo>
                    <a:pt x="249" y="72"/>
                  </a:lnTo>
                  <a:lnTo>
                    <a:pt x="246" y="72"/>
                  </a:lnTo>
                  <a:lnTo>
                    <a:pt x="244" y="72"/>
                  </a:lnTo>
                  <a:lnTo>
                    <a:pt x="239" y="69"/>
                  </a:lnTo>
                  <a:lnTo>
                    <a:pt x="237" y="69"/>
                  </a:lnTo>
                  <a:lnTo>
                    <a:pt x="235" y="67"/>
                  </a:lnTo>
                  <a:lnTo>
                    <a:pt x="237" y="67"/>
                  </a:lnTo>
                  <a:lnTo>
                    <a:pt x="237" y="65"/>
                  </a:lnTo>
                  <a:lnTo>
                    <a:pt x="239" y="65"/>
                  </a:lnTo>
                  <a:lnTo>
                    <a:pt x="242" y="65"/>
                  </a:lnTo>
                  <a:lnTo>
                    <a:pt x="239" y="65"/>
                  </a:lnTo>
                  <a:lnTo>
                    <a:pt x="239" y="62"/>
                  </a:lnTo>
                  <a:lnTo>
                    <a:pt x="242" y="60"/>
                  </a:lnTo>
                  <a:lnTo>
                    <a:pt x="244" y="57"/>
                  </a:lnTo>
                  <a:lnTo>
                    <a:pt x="246" y="57"/>
                  </a:lnTo>
                  <a:lnTo>
                    <a:pt x="246" y="60"/>
                  </a:lnTo>
                  <a:lnTo>
                    <a:pt x="249" y="60"/>
                  </a:lnTo>
                  <a:lnTo>
                    <a:pt x="251" y="60"/>
                  </a:lnTo>
                  <a:lnTo>
                    <a:pt x="254" y="60"/>
                  </a:lnTo>
                  <a:lnTo>
                    <a:pt x="254" y="57"/>
                  </a:lnTo>
                  <a:lnTo>
                    <a:pt x="251" y="57"/>
                  </a:lnTo>
                  <a:lnTo>
                    <a:pt x="249" y="57"/>
                  </a:lnTo>
                  <a:lnTo>
                    <a:pt x="246" y="57"/>
                  </a:lnTo>
                  <a:lnTo>
                    <a:pt x="244" y="57"/>
                  </a:lnTo>
                  <a:lnTo>
                    <a:pt x="246" y="57"/>
                  </a:lnTo>
                  <a:lnTo>
                    <a:pt x="246" y="55"/>
                  </a:lnTo>
                  <a:lnTo>
                    <a:pt x="249" y="55"/>
                  </a:lnTo>
                  <a:lnTo>
                    <a:pt x="251" y="55"/>
                  </a:lnTo>
                  <a:lnTo>
                    <a:pt x="249" y="55"/>
                  </a:lnTo>
                  <a:lnTo>
                    <a:pt x="246" y="55"/>
                  </a:lnTo>
                  <a:lnTo>
                    <a:pt x="246" y="53"/>
                  </a:lnTo>
                  <a:lnTo>
                    <a:pt x="249" y="53"/>
                  </a:lnTo>
                  <a:lnTo>
                    <a:pt x="251" y="53"/>
                  </a:lnTo>
                  <a:lnTo>
                    <a:pt x="251" y="50"/>
                  </a:lnTo>
                  <a:lnTo>
                    <a:pt x="249" y="50"/>
                  </a:lnTo>
                  <a:lnTo>
                    <a:pt x="249" y="53"/>
                  </a:lnTo>
                  <a:lnTo>
                    <a:pt x="246" y="53"/>
                  </a:lnTo>
                  <a:lnTo>
                    <a:pt x="244" y="53"/>
                  </a:lnTo>
                  <a:lnTo>
                    <a:pt x="242" y="53"/>
                  </a:lnTo>
                  <a:lnTo>
                    <a:pt x="244" y="53"/>
                  </a:lnTo>
                  <a:lnTo>
                    <a:pt x="242" y="53"/>
                  </a:lnTo>
                  <a:lnTo>
                    <a:pt x="239" y="53"/>
                  </a:lnTo>
                  <a:lnTo>
                    <a:pt x="239" y="55"/>
                  </a:lnTo>
                  <a:lnTo>
                    <a:pt x="239" y="57"/>
                  </a:lnTo>
                  <a:lnTo>
                    <a:pt x="242" y="57"/>
                  </a:lnTo>
                  <a:lnTo>
                    <a:pt x="239" y="57"/>
                  </a:lnTo>
                  <a:lnTo>
                    <a:pt x="242" y="57"/>
                  </a:lnTo>
                  <a:lnTo>
                    <a:pt x="239" y="57"/>
                  </a:lnTo>
                  <a:lnTo>
                    <a:pt x="237" y="57"/>
                  </a:lnTo>
                  <a:lnTo>
                    <a:pt x="237" y="55"/>
                  </a:lnTo>
                  <a:lnTo>
                    <a:pt x="235" y="55"/>
                  </a:lnTo>
                  <a:lnTo>
                    <a:pt x="235" y="53"/>
                  </a:lnTo>
                  <a:lnTo>
                    <a:pt x="235" y="50"/>
                  </a:lnTo>
                  <a:lnTo>
                    <a:pt x="237" y="50"/>
                  </a:lnTo>
                  <a:lnTo>
                    <a:pt x="239" y="50"/>
                  </a:lnTo>
                  <a:lnTo>
                    <a:pt x="237" y="50"/>
                  </a:lnTo>
                  <a:lnTo>
                    <a:pt x="235" y="48"/>
                  </a:lnTo>
                  <a:lnTo>
                    <a:pt x="232" y="48"/>
                  </a:lnTo>
                  <a:lnTo>
                    <a:pt x="230" y="48"/>
                  </a:lnTo>
                  <a:lnTo>
                    <a:pt x="230" y="50"/>
                  </a:lnTo>
                  <a:lnTo>
                    <a:pt x="227" y="50"/>
                  </a:lnTo>
                  <a:lnTo>
                    <a:pt x="230" y="50"/>
                  </a:lnTo>
                  <a:lnTo>
                    <a:pt x="230" y="53"/>
                  </a:lnTo>
                  <a:lnTo>
                    <a:pt x="227" y="55"/>
                  </a:lnTo>
                  <a:lnTo>
                    <a:pt x="230" y="55"/>
                  </a:lnTo>
                  <a:lnTo>
                    <a:pt x="232" y="55"/>
                  </a:lnTo>
                  <a:lnTo>
                    <a:pt x="235" y="57"/>
                  </a:lnTo>
                  <a:lnTo>
                    <a:pt x="235" y="60"/>
                  </a:lnTo>
                  <a:lnTo>
                    <a:pt x="235" y="62"/>
                  </a:lnTo>
                  <a:lnTo>
                    <a:pt x="232" y="62"/>
                  </a:lnTo>
                  <a:lnTo>
                    <a:pt x="230" y="62"/>
                  </a:lnTo>
                  <a:lnTo>
                    <a:pt x="232" y="62"/>
                  </a:lnTo>
                  <a:lnTo>
                    <a:pt x="230" y="62"/>
                  </a:lnTo>
                  <a:lnTo>
                    <a:pt x="232" y="62"/>
                  </a:lnTo>
                  <a:lnTo>
                    <a:pt x="230" y="65"/>
                  </a:lnTo>
                  <a:lnTo>
                    <a:pt x="227" y="65"/>
                  </a:lnTo>
                  <a:lnTo>
                    <a:pt x="225" y="65"/>
                  </a:lnTo>
                  <a:lnTo>
                    <a:pt x="223" y="65"/>
                  </a:lnTo>
                  <a:lnTo>
                    <a:pt x="220" y="65"/>
                  </a:lnTo>
                  <a:lnTo>
                    <a:pt x="218" y="65"/>
                  </a:lnTo>
                  <a:lnTo>
                    <a:pt x="218" y="62"/>
                  </a:lnTo>
                  <a:lnTo>
                    <a:pt x="218" y="60"/>
                  </a:lnTo>
                  <a:lnTo>
                    <a:pt x="218" y="57"/>
                  </a:lnTo>
                  <a:lnTo>
                    <a:pt x="216" y="55"/>
                  </a:lnTo>
                  <a:lnTo>
                    <a:pt x="218" y="57"/>
                  </a:lnTo>
                  <a:lnTo>
                    <a:pt x="216" y="57"/>
                  </a:lnTo>
                  <a:lnTo>
                    <a:pt x="216" y="55"/>
                  </a:lnTo>
                  <a:lnTo>
                    <a:pt x="213" y="55"/>
                  </a:lnTo>
                  <a:lnTo>
                    <a:pt x="213" y="53"/>
                  </a:lnTo>
                  <a:lnTo>
                    <a:pt x="211" y="53"/>
                  </a:lnTo>
                  <a:lnTo>
                    <a:pt x="213" y="53"/>
                  </a:lnTo>
                  <a:lnTo>
                    <a:pt x="213" y="50"/>
                  </a:lnTo>
                  <a:lnTo>
                    <a:pt x="211" y="50"/>
                  </a:lnTo>
                  <a:lnTo>
                    <a:pt x="208" y="50"/>
                  </a:lnTo>
                  <a:lnTo>
                    <a:pt x="206" y="50"/>
                  </a:lnTo>
                  <a:lnTo>
                    <a:pt x="208" y="48"/>
                  </a:lnTo>
                  <a:lnTo>
                    <a:pt x="206" y="48"/>
                  </a:lnTo>
                  <a:lnTo>
                    <a:pt x="208" y="48"/>
                  </a:lnTo>
                  <a:lnTo>
                    <a:pt x="211" y="48"/>
                  </a:lnTo>
                  <a:lnTo>
                    <a:pt x="211" y="46"/>
                  </a:lnTo>
                  <a:lnTo>
                    <a:pt x="208" y="46"/>
                  </a:lnTo>
                  <a:lnTo>
                    <a:pt x="206" y="46"/>
                  </a:lnTo>
                  <a:lnTo>
                    <a:pt x="208" y="46"/>
                  </a:lnTo>
                  <a:lnTo>
                    <a:pt x="206" y="46"/>
                  </a:lnTo>
                  <a:lnTo>
                    <a:pt x="208" y="46"/>
                  </a:lnTo>
                  <a:lnTo>
                    <a:pt x="208" y="43"/>
                  </a:lnTo>
                  <a:lnTo>
                    <a:pt x="211" y="43"/>
                  </a:lnTo>
                  <a:lnTo>
                    <a:pt x="208" y="43"/>
                  </a:lnTo>
                  <a:lnTo>
                    <a:pt x="211" y="43"/>
                  </a:lnTo>
                  <a:lnTo>
                    <a:pt x="211" y="41"/>
                  </a:lnTo>
                  <a:lnTo>
                    <a:pt x="208" y="41"/>
                  </a:lnTo>
                  <a:lnTo>
                    <a:pt x="206" y="38"/>
                  </a:lnTo>
                  <a:lnTo>
                    <a:pt x="208" y="38"/>
                  </a:lnTo>
                  <a:lnTo>
                    <a:pt x="206" y="38"/>
                  </a:lnTo>
                  <a:lnTo>
                    <a:pt x="204" y="38"/>
                  </a:lnTo>
                  <a:lnTo>
                    <a:pt x="201" y="38"/>
                  </a:lnTo>
                  <a:lnTo>
                    <a:pt x="201" y="36"/>
                  </a:lnTo>
                  <a:lnTo>
                    <a:pt x="204" y="36"/>
                  </a:lnTo>
                  <a:lnTo>
                    <a:pt x="201" y="36"/>
                  </a:lnTo>
                  <a:lnTo>
                    <a:pt x="201" y="34"/>
                  </a:lnTo>
                  <a:lnTo>
                    <a:pt x="204" y="34"/>
                  </a:lnTo>
                  <a:lnTo>
                    <a:pt x="211" y="34"/>
                  </a:lnTo>
                  <a:lnTo>
                    <a:pt x="208" y="34"/>
                  </a:lnTo>
                  <a:lnTo>
                    <a:pt x="208" y="36"/>
                  </a:lnTo>
                  <a:lnTo>
                    <a:pt x="211" y="36"/>
                  </a:lnTo>
                  <a:lnTo>
                    <a:pt x="211" y="34"/>
                  </a:lnTo>
                  <a:lnTo>
                    <a:pt x="213" y="34"/>
                  </a:lnTo>
                  <a:lnTo>
                    <a:pt x="216" y="36"/>
                  </a:lnTo>
                  <a:lnTo>
                    <a:pt x="218" y="36"/>
                  </a:lnTo>
                  <a:lnTo>
                    <a:pt x="220" y="36"/>
                  </a:lnTo>
                  <a:lnTo>
                    <a:pt x="220" y="34"/>
                  </a:lnTo>
                  <a:lnTo>
                    <a:pt x="218" y="34"/>
                  </a:lnTo>
                  <a:lnTo>
                    <a:pt x="216" y="34"/>
                  </a:lnTo>
                  <a:lnTo>
                    <a:pt x="213" y="34"/>
                  </a:lnTo>
                  <a:lnTo>
                    <a:pt x="211" y="34"/>
                  </a:lnTo>
                  <a:lnTo>
                    <a:pt x="208" y="34"/>
                  </a:lnTo>
                  <a:lnTo>
                    <a:pt x="206" y="34"/>
                  </a:lnTo>
                  <a:lnTo>
                    <a:pt x="206" y="31"/>
                  </a:lnTo>
                  <a:lnTo>
                    <a:pt x="208" y="31"/>
                  </a:lnTo>
                  <a:lnTo>
                    <a:pt x="208" y="29"/>
                  </a:lnTo>
                  <a:lnTo>
                    <a:pt x="211" y="29"/>
                  </a:lnTo>
                  <a:lnTo>
                    <a:pt x="213" y="29"/>
                  </a:lnTo>
                  <a:lnTo>
                    <a:pt x="216" y="29"/>
                  </a:lnTo>
                  <a:lnTo>
                    <a:pt x="216" y="31"/>
                  </a:lnTo>
                  <a:lnTo>
                    <a:pt x="216" y="29"/>
                  </a:lnTo>
                  <a:lnTo>
                    <a:pt x="218" y="29"/>
                  </a:lnTo>
                  <a:lnTo>
                    <a:pt x="220" y="29"/>
                  </a:lnTo>
                  <a:lnTo>
                    <a:pt x="223" y="29"/>
                  </a:lnTo>
                  <a:lnTo>
                    <a:pt x="225" y="29"/>
                  </a:lnTo>
                  <a:lnTo>
                    <a:pt x="225" y="31"/>
                  </a:lnTo>
                  <a:lnTo>
                    <a:pt x="227" y="31"/>
                  </a:lnTo>
                  <a:lnTo>
                    <a:pt x="230" y="31"/>
                  </a:lnTo>
                  <a:lnTo>
                    <a:pt x="227" y="31"/>
                  </a:lnTo>
                  <a:lnTo>
                    <a:pt x="230" y="31"/>
                  </a:lnTo>
                  <a:lnTo>
                    <a:pt x="230" y="29"/>
                  </a:lnTo>
                  <a:lnTo>
                    <a:pt x="227" y="29"/>
                  </a:lnTo>
                  <a:lnTo>
                    <a:pt x="225" y="29"/>
                  </a:lnTo>
                  <a:lnTo>
                    <a:pt x="223" y="29"/>
                  </a:lnTo>
                  <a:lnTo>
                    <a:pt x="220" y="27"/>
                  </a:lnTo>
                  <a:lnTo>
                    <a:pt x="218" y="27"/>
                  </a:lnTo>
                  <a:lnTo>
                    <a:pt x="220" y="27"/>
                  </a:lnTo>
                  <a:lnTo>
                    <a:pt x="223" y="27"/>
                  </a:lnTo>
                  <a:lnTo>
                    <a:pt x="220" y="27"/>
                  </a:lnTo>
                  <a:lnTo>
                    <a:pt x="220" y="24"/>
                  </a:lnTo>
                  <a:lnTo>
                    <a:pt x="218" y="24"/>
                  </a:lnTo>
                  <a:lnTo>
                    <a:pt x="218" y="22"/>
                  </a:lnTo>
                  <a:lnTo>
                    <a:pt x="220" y="22"/>
                  </a:lnTo>
                  <a:lnTo>
                    <a:pt x="218" y="22"/>
                  </a:lnTo>
                  <a:lnTo>
                    <a:pt x="218" y="19"/>
                  </a:lnTo>
                  <a:lnTo>
                    <a:pt x="220" y="19"/>
                  </a:lnTo>
                  <a:lnTo>
                    <a:pt x="223" y="19"/>
                  </a:lnTo>
                  <a:lnTo>
                    <a:pt x="225" y="19"/>
                  </a:lnTo>
                  <a:lnTo>
                    <a:pt x="225" y="22"/>
                  </a:lnTo>
                  <a:lnTo>
                    <a:pt x="227" y="22"/>
                  </a:lnTo>
                  <a:lnTo>
                    <a:pt x="230" y="22"/>
                  </a:lnTo>
                  <a:lnTo>
                    <a:pt x="227" y="22"/>
                  </a:lnTo>
                  <a:lnTo>
                    <a:pt x="227" y="19"/>
                  </a:lnTo>
                  <a:lnTo>
                    <a:pt x="230" y="22"/>
                  </a:lnTo>
                  <a:lnTo>
                    <a:pt x="230" y="19"/>
                  </a:lnTo>
                  <a:lnTo>
                    <a:pt x="227" y="19"/>
                  </a:lnTo>
                  <a:lnTo>
                    <a:pt x="230" y="19"/>
                  </a:lnTo>
                  <a:lnTo>
                    <a:pt x="227" y="19"/>
                  </a:lnTo>
                  <a:lnTo>
                    <a:pt x="227" y="17"/>
                  </a:lnTo>
                  <a:lnTo>
                    <a:pt x="230" y="17"/>
                  </a:lnTo>
                  <a:lnTo>
                    <a:pt x="227" y="17"/>
                  </a:lnTo>
                  <a:lnTo>
                    <a:pt x="230" y="17"/>
                  </a:lnTo>
                  <a:lnTo>
                    <a:pt x="230" y="19"/>
                  </a:lnTo>
                  <a:lnTo>
                    <a:pt x="232" y="19"/>
                  </a:lnTo>
                  <a:lnTo>
                    <a:pt x="230" y="17"/>
                  </a:lnTo>
                  <a:lnTo>
                    <a:pt x="232" y="17"/>
                  </a:lnTo>
                  <a:lnTo>
                    <a:pt x="230" y="17"/>
                  </a:lnTo>
                  <a:lnTo>
                    <a:pt x="232" y="17"/>
                  </a:lnTo>
                  <a:lnTo>
                    <a:pt x="235" y="17"/>
                  </a:lnTo>
                  <a:lnTo>
                    <a:pt x="237" y="17"/>
                  </a:lnTo>
                  <a:lnTo>
                    <a:pt x="237" y="15"/>
                  </a:lnTo>
                  <a:lnTo>
                    <a:pt x="239" y="15"/>
                  </a:lnTo>
                  <a:lnTo>
                    <a:pt x="239" y="17"/>
                  </a:lnTo>
                  <a:lnTo>
                    <a:pt x="237" y="17"/>
                  </a:lnTo>
                  <a:lnTo>
                    <a:pt x="239" y="17"/>
                  </a:lnTo>
                  <a:lnTo>
                    <a:pt x="239" y="19"/>
                  </a:lnTo>
                  <a:lnTo>
                    <a:pt x="237" y="19"/>
                  </a:lnTo>
                  <a:lnTo>
                    <a:pt x="239" y="19"/>
                  </a:lnTo>
                  <a:lnTo>
                    <a:pt x="242" y="19"/>
                  </a:lnTo>
                  <a:lnTo>
                    <a:pt x="244" y="19"/>
                  </a:lnTo>
                  <a:lnTo>
                    <a:pt x="244" y="22"/>
                  </a:lnTo>
                  <a:lnTo>
                    <a:pt x="242" y="19"/>
                  </a:lnTo>
                  <a:lnTo>
                    <a:pt x="242" y="22"/>
                  </a:lnTo>
                  <a:lnTo>
                    <a:pt x="242" y="24"/>
                  </a:lnTo>
                  <a:lnTo>
                    <a:pt x="244" y="22"/>
                  </a:lnTo>
                  <a:lnTo>
                    <a:pt x="244" y="24"/>
                  </a:lnTo>
                  <a:lnTo>
                    <a:pt x="246" y="24"/>
                  </a:lnTo>
                  <a:lnTo>
                    <a:pt x="244" y="24"/>
                  </a:lnTo>
                  <a:lnTo>
                    <a:pt x="246" y="24"/>
                  </a:lnTo>
                  <a:lnTo>
                    <a:pt x="244" y="24"/>
                  </a:lnTo>
                  <a:lnTo>
                    <a:pt x="244" y="27"/>
                  </a:lnTo>
                  <a:lnTo>
                    <a:pt x="246" y="27"/>
                  </a:lnTo>
                  <a:lnTo>
                    <a:pt x="246" y="29"/>
                  </a:lnTo>
                  <a:lnTo>
                    <a:pt x="249" y="29"/>
                  </a:lnTo>
                  <a:lnTo>
                    <a:pt x="249" y="27"/>
                  </a:lnTo>
                  <a:lnTo>
                    <a:pt x="249" y="24"/>
                  </a:lnTo>
                  <a:lnTo>
                    <a:pt x="251" y="24"/>
                  </a:lnTo>
                  <a:lnTo>
                    <a:pt x="251" y="27"/>
                  </a:lnTo>
                  <a:lnTo>
                    <a:pt x="254" y="27"/>
                  </a:lnTo>
                  <a:lnTo>
                    <a:pt x="251" y="27"/>
                  </a:lnTo>
                  <a:lnTo>
                    <a:pt x="251" y="29"/>
                  </a:lnTo>
                  <a:lnTo>
                    <a:pt x="254" y="29"/>
                  </a:lnTo>
                  <a:lnTo>
                    <a:pt x="256" y="27"/>
                  </a:lnTo>
                  <a:lnTo>
                    <a:pt x="254" y="27"/>
                  </a:lnTo>
                  <a:lnTo>
                    <a:pt x="254" y="24"/>
                  </a:lnTo>
                  <a:lnTo>
                    <a:pt x="254" y="22"/>
                  </a:lnTo>
                  <a:lnTo>
                    <a:pt x="251" y="22"/>
                  </a:lnTo>
                  <a:lnTo>
                    <a:pt x="249" y="22"/>
                  </a:lnTo>
                  <a:lnTo>
                    <a:pt x="251" y="22"/>
                  </a:lnTo>
                  <a:lnTo>
                    <a:pt x="251" y="19"/>
                  </a:lnTo>
                  <a:lnTo>
                    <a:pt x="249" y="19"/>
                  </a:lnTo>
                  <a:lnTo>
                    <a:pt x="249" y="17"/>
                  </a:lnTo>
                  <a:lnTo>
                    <a:pt x="251" y="17"/>
                  </a:lnTo>
                  <a:lnTo>
                    <a:pt x="251" y="15"/>
                  </a:lnTo>
                  <a:lnTo>
                    <a:pt x="251" y="17"/>
                  </a:lnTo>
                  <a:lnTo>
                    <a:pt x="254" y="17"/>
                  </a:lnTo>
                  <a:lnTo>
                    <a:pt x="256" y="17"/>
                  </a:lnTo>
                  <a:lnTo>
                    <a:pt x="258" y="17"/>
                  </a:lnTo>
                  <a:lnTo>
                    <a:pt x="258" y="15"/>
                  </a:lnTo>
                  <a:lnTo>
                    <a:pt x="258" y="17"/>
                  </a:lnTo>
                  <a:lnTo>
                    <a:pt x="261" y="17"/>
                  </a:lnTo>
                  <a:lnTo>
                    <a:pt x="261" y="19"/>
                  </a:lnTo>
                  <a:lnTo>
                    <a:pt x="261" y="17"/>
                  </a:lnTo>
                  <a:lnTo>
                    <a:pt x="258" y="19"/>
                  </a:lnTo>
                  <a:lnTo>
                    <a:pt x="261" y="19"/>
                  </a:lnTo>
                  <a:lnTo>
                    <a:pt x="258" y="19"/>
                  </a:lnTo>
                  <a:lnTo>
                    <a:pt x="261" y="19"/>
                  </a:lnTo>
                  <a:lnTo>
                    <a:pt x="263" y="19"/>
                  </a:lnTo>
                  <a:lnTo>
                    <a:pt x="263" y="22"/>
                  </a:lnTo>
                  <a:lnTo>
                    <a:pt x="265" y="22"/>
                  </a:lnTo>
                  <a:lnTo>
                    <a:pt x="265" y="19"/>
                  </a:lnTo>
                  <a:lnTo>
                    <a:pt x="268" y="19"/>
                  </a:lnTo>
                  <a:lnTo>
                    <a:pt x="270" y="19"/>
                  </a:lnTo>
                  <a:lnTo>
                    <a:pt x="270" y="22"/>
                  </a:lnTo>
                  <a:lnTo>
                    <a:pt x="270" y="19"/>
                  </a:lnTo>
                  <a:lnTo>
                    <a:pt x="273" y="19"/>
                  </a:lnTo>
                  <a:lnTo>
                    <a:pt x="275" y="19"/>
                  </a:lnTo>
                  <a:lnTo>
                    <a:pt x="275" y="17"/>
                  </a:lnTo>
                  <a:lnTo>
                    <a:pt x="277" y="17"/>
                  </a:lnTo>
                  <a:lnTo>
                    <a:pt x="280" y="17"/>
                  </a:lnTo>
                  <a:lnTo>
                    <a:pt x="282" y="17"/>
                  </a:lnTo>
                  <a:lnTo>
                    <a:pt x="284" y="17"/>
                  </a:lnTo>
                  <a:lnTo>
                    <a:pt x="287" y="17"/>
                  </a:lnTo>
                  <a:lnTo>
                    <a:pt x="287" y="15"/>
                  </a:lnTo>
                  <a:lnTo>
                    <a:pt x="289" y="15"/>
                  </a:lnTo>
                  <a:lnTo>
                    <a:pt x="292" y="15"/>
                  </a:lnTo>
                  <a:lnTo>
                    <a:pt x="294" y="15"/>
                  </a:lnTo>
                  <a:lnTo>
                    <a:pt x="296" y="15"/>
                  </a:lnTo>
                  <a:lnTo>
                    <a:pt x="299" y="15"/>
                  </a:lnTo>
                  <a:lnTo>
                    <a:pt x="301" y="15"/>
                  </a:lnTo>
                  <a:lnTo>
                    <a:pt x="301" y="12"/>
                  </a:lnTo>
                  <a:lnTo>
                    <a:pt x="303" y="12"/>
                  </a:lnTo>
                  <a:lnTo>
                    <a:pt x="303" y="15"/>
                  </a:lnTo>
                  <a:lnTo>
                    <a:pt x="306" y="15"/>
                  </a:lnTo>
                  <a:lnTo>
                    <a:pt x="308" y="17"/>
                  </a:lnTo>
                  <a:lnTo>
                    <a:pt x="306" y="17"/>
                  </a:lnTo>
                  <a:lnTo>
                    <a:pt x="308" y="17"/>
                  </a:lnTo>
                  <a:lnTo>
                    <a:pt x="308" y="19"/>
                  </a:lnTo>
                  <a:lnTo>
                    <a:pt x="308" y="22"/>
                  </a:lnTo>
                  <a:lnTo>
                    <a:pt x="306" y="22"/>
                  </a:lnTo>
                  <a:lnTo>
                    <a:pt x="306" y="24"/>
                  </a:lnTo>
                  <a:lnTo>
                    <a:pt x="303" y="24"/>
                  </a:lnTo>
                  <a:lnTo>
                    <a:pt x="301" y="24"/>
                  </a:lnTo>
                  <a:lnTo>
                    <a:pt x="299" y="27"/>
                  </a:lnTo>
                  <a:lnTo>
                    <a:pt x="299" y="24"/>
                  </a:lnTo>
                  <a:lnTo>
                    <a:pt x="299" y="27"/>
                  </a:lnTo>
                  <a:lnTo>
                    <a:pt x="301" y="27"/>
                  </a:lnTo>
                  <a:lnTo>
                    <a:pt x="301" y="24"/>
                  </a:lnTo>
                  <a:lnTo>
                    <a:pt x="301" y="27"/>
                  </a:lnTo>
                  <a:lnTo>
                    <a:pt x="299" y="27"/>
                  </a:lnTo>
                  <a:lnTo>
                    <a:pt x="296" y="27"/>
                  </a:lnTo>
                  <a:lnTo>
                    <a:pt x="294" y="27"/>
                  </a:lnTo>
                  <a:lnTo>
                    <a:pt x="292" y="27"/>
                  </a:lnTo>
                  <a:lnTo>
                    <a:pt x="289" y="24"/>
                  </a:lnTo>
                  <a:lnTo>
                    <a:pt x="289" y="27"/>
                  </a:lnTo>
                  <a:lnTo>
                    <a:pt x="289" y="24"/>
                  </a:lnTo>
                  <a:lnTo>
                    <a:pt x="287" y="24"/>
                  </a:lnTo>
                  <a:lnTo>
                    <a:pt x="287" y="27"/>
                  </a:lnTo>
                  <a:lnTo>
                    <a:pt x="287" y="24"/>
                  </a:lnTo>
                  <a:lnTo>
                    <a:pt x="284" y="24"/>
                  </a:lnTo>
                  <a:lnTo>
                    <a:pt x="282" y="27"/>
                  </a:lnTo>
                  <a:lnTo>
                    <a:pt x="280" y="27"/>
                  </a:lnTo>
                  <a:lnTo>
                    <a:pt x="277" y="27"/>
                  </a:lnTo>
                  <a:lnTo>
                    <a:pt x="275" y="29"/>
                  </a:lnTo>
                  <a:lnTo>
                    <a:pt x="273" y="29"/>
                  </a:lnTo>
                  <a:lnTo>
                    <a:pt x="270" y="29"/>
                  </a:lnTo>
                  <a:lnTo>
                    <a:pt x="270" y="31"/>
                  </a:lnTo>
                  <a:lnTo>
                    <a:pt x="270" y="29"/>
                  </a:lnTo>
                  <a:lnTo>
                    <a:pt x="270" y="31"/>
                  </a:lnTo>
                  <a:lnTo>
                    <a:pt x="268" y="31"/>
                  </a:lnTo>
                  <a:lnTo>
                    <a:pt x="265" y="31"/>
                  </a:lnTo>
                  <a:lnTo>
                    <a:pt x="268" y="31"/>
                  </a:lnTo>
                  <a:lnTo>
                    <a:pt x="265" y="31"/>
                  </a:lnTo>
                  <a:lnTo>
                    <a:pt x="265" y="34"/>
                  </a:lnTo>
                  <a:lnTo>
                    <a:pt x="263" y="34"/>
                  </a:lnTo>
                  <a:lnTo>
                    <a:pt x="261" y="34"/>
                  </a:lnTo>
                  <a:lnTo>
                    <a:pt x="258" y="34"/>
                  </a:lnTo>
                  <a:lnTo>
                    <a:pt x="256" y="31"/>
                  </a:lnTo>
                  <a:lnTo>
                    <a:pt x="256" y="34"/>
                  </a:lnTo>
                  <a:lnTo>
                    <a:pt x="258" y="34"/>
                  </a:lnTo>
                  <a:lnTo>
                    <a:pt x="258" y="36"/>
                  </a:lnTo>
                  <a:lnTo>
                    <a:pt x="256" y="36"/>
                  </a:lnTo>
                  <a:lnTo>
                    <a:pt x="258" y="36"/>
                  </a:lnTo>
                  <a:lnTo>
                    <a:pt x="256" y="36"/>
                  </a:lnTo>
                  <a:lnTo>
                    <a:pt x="258" y="36"/>
                  </a:lnTo>
                  <a:lnTo>
                    <a:pt x="261" y="36"/>
                  </a:lnTo>
                  <a:lnTo>
                    <a:pt x="263" y="36"/>
                  </a:lnTo>
                  <a:lnTo>
                    <a:pt x="265" y="36"/>
                  </a:lnTo>
                  <a:lnTo>
                    <a:pt x="268" y="36"/>
                  </a:lnTo>
                  <a:lnTo>
                    <a:pt x="268" y="34"/>
                  </a:lnTo>
                  <a:lnTo>
                    <a:pt x="270" y="34"/>
                  </a:lnTo>
                  <a:lnTo>
                    <a:pt x="268" y="34"/>
                  </a:lnTo>
                  <a:lnTo>
                    <a:pt x="268" y="36"/>
                  </a:lnTo>
                  <a:lnTo>
                    <a:pt x="268" y="34"/>
                  </a:lnTo>
                  <a:lnTo>
                    <a:pt x="270" y="34"/>
                  </a:lnTo>
                  <a:lnTo>
                    <a:pt x="273" y="34"/>
                  </a:lnTo>
                  <a:lnTo>
                    <a:pt x="275" y="34"/>
                  </a:lnTo>
                  <a:lnTo>
                    <a:pt x="277" y="34"/>
                  </a:lnTo>
                  <a:lnTo>
                    <a:pt x="280" y="34"/>
                  </a:lnTo>
                  <a:lnTo>
                    <a:pt x="284" y="31"/>
                  </a:lnTo>
                  <a:lnTo>
                    <a:pt x="284" y="34"/>
                  </a:lnTo>
                  <a:lnTo>
                    <a:pt x="292" y="34"/>
                  </a:lnTo>
                  <a:lnTo>
                    <a:pt x="294" y="34"/>
                  </a:lnTo>
                  <a:lnTo>
                    <a:pt x="294" y="36"/>
                  </a:lnTo>
                  <a:lnTo>
                    <a:pt x="292" y="36"/>
                  </a:lnTo>
                  <a:lnTo>
                    <a:pt x="289" y="36"/>
                  </a:lnTo>
                  <a:lnTo>
                    <a:pt x="289" y="38"/>
                  </a:lnTo>
                  <a:lnTo>
                    <a:pt x="287" y="38"/>
                  </a:lnTo>
                  <a:lnTo>
                    <a:pt x="284" y="38"/>
                  </a:lnTo>
                  <a:lnTo>
                    <a:pt x="287" y="38"/>
                  </a:lnTo>
                  <a:lnTo>
                    <a:pt x="287" y="41"/>
                  </a:lnTo>
                  <a:lnTo>
                    <a:pt x="284" y="41"/>
                  </a:lnTo>
                  <a:lnTo>
                    <a:pt x="287" y="41"/>
                  </a:lnTo>
                  <a:lnTo>
                    <a:pt x="289" y="41"/>
                  </a:lnTo>
                  <a:lnTo>
                    <a:pt x="292" y="43"/>
                  </a:lnTo>
                  <a:lnTo>
                    <a:pt x="294" y="43"/>
                  </a:lnTo>
                  <a:lnTo>
                    <a:pt x="294" y="46"/>
                  </a:lnTo>
                  <a:lnTo>
                    <a:pt x="294" y="43"/>
                  </a:lnTo>
                  <a:lnTo>
                    <a:pt x="292" y="43"/>
                  </a:lnTo>
                  <a:lnTo>
                    <a:pt x="294" y="43"/>
                  </a:lnTo>
                  <a:lnTo>
                    <a:pt x="294" y="41"/>
                  </a:lnTo>
                  <a:lnTo>
                    <a:pt x="292" y="41"/>
                  </a:lnTo>
                  <a:lnTo>
                    <a:pt x="296" y="41"/>
                  </a:lnTo>
                  <a:lnTo>
                    <a:pt x="299" y="41"/>
                  </a:lnTo>
                  <a:lnTo>
                    <a:pt x="301" y="41"/>
                  </a:lnTo>
                  <a:lnTo>
                    <a:pt x="301" y="43"/>
                  </a:lnTo>
                  <a:lnTo>
                    <a:pt x="303" y="43"/>
                  </a:lnTo>
                  <a:lnTo>
                    <a:pt x="301" y="43"/>
                  </a:lnTo>
                  <a:lnTo>
                    <a:pt x="306" y="46"/>
                  </a:lnTo>
                  <a:lnTo>
                    <a:pt x="306" y="48"/>
                  </a:lnTo>
                  <a:lnTo>
                    <a:pt x="308" y="48"/>
                  </a:lnTo>
                  <a:lnTo>
                    <a:pt x="306" y="48"/>
                  </a:lnTo>
                  <a:lnTo>
                    <a:pt x="308" y="48"/>
                  </a:lnTo>
                  <a:lnTo>
                    <a:pt x="306" y="50"/>
                  </a:lnTo>
                  <a:lnTo>
                    <a:pt x="308" y="50"/>
                  </a:lnTo>
                  <a:lnTo>
                    <a:pt x="306" y="50"/>
                  </a:lnTo>
                  <a:lnTo>
                    <a:pt x="308" y="53"/>
                  </a:lnTo>
                  <a:lnTo>
                    <a:pt x="306" y="53"/>
                  </a:lnTo>
                  <a:lnTo>
                    <a:pt x="308" y="53"/>
                  </a:lnTo>
                  <a:lnTo>
                    <a:pt x="311" y="53"/>
                  </a:lnTo>
                  <a:lnTo>
                    <a:pt x="311" y="55"/>
                  </a:lnTo>
                  <a:lnTo>
                    <a:pt x="313" y="55"/>
                  </a:lnTo>
                  <a:lnTo>
                    <a:pt x="311" y="55"/>
                  </a:lnTo>
                  <a:lnTo>
                    <a:pt x="311" y="53"/>
                  </a:lnTo>
                  <a:lnTo>
                    <a:pt x="313" y="53"/>
                  </a:lnTo>
                  <a:lnTo>
                    <a:pt x="313" y="50"/>
                  </a:lnTo>
                  <a:lnTo>
                    <a:pt x="315" y="50"/>
                  </a:lnTo>
                  <a:lnTo>
                    <a:pt x="315" y="48"/>
                  </a:lnTo>
                  <a:lnTo>
                    <a:pt x="313" y="48"/>
                  </a:lnTo>
                  <a:lnTo>
                    <a:pt x="311" y="46"/>
                  </a:lnTo>
                  <a:lnTo>
                    <a:pt x="308" y="46"/>
                  </a:lnTo>
                  <a:lnTo>
                    <a:pt x="311" y="46"/>
                  </a:lnTo>
                  <a:lnTo>
                    <a:pt x="311" y="43"/>
                  </a:lnTo>
                  <a:lnTo>
                    <a:pt x="308" y="43"/>
                  </a:lnTo>
                  <a:lnTo>
                    <a:pt x="311" y="43"/>
                  </a:lnTo>
                  <a:lnTo>
                    <a:pt x="311" y="41"/>
                  </a:lnTo>
                  <a:lnTo>
                    <a:pt x="308" y="41"/>
                  </a:lnTo>
                  <a:lnTo>
                    <a:pt x="306" y="38"/>
                  </a:lnTo>
                  <a:lnTo>
                    <a:pt x="308" y="38"/>
                  </a:lnTo>
                  <a:lnTo>
                    <a:pt x="306" y="38"/>
                  </a:lnTo>
                  <a:lnTo>
                    <a:pt x="306" y="36"/>
                  </a:lnTo>
                  <a:lnTo>
                    <a:pt x="308" y="34"/>
                  </a:lnTo>
                  <a:lnTo>
                    <a:pt x="306" y="34"/>
                  </a:lnTo>
                  <a:lnTo>
                    <a:pt x="308" y="34"/>
                  </a:lnTo>
                  <a:lnTo>
                    <a:pt x="311" y="34"/>
                  </a:lnTo>
                  <a:lnTo>
                    <a:pt x="311" y="31"/>
                  </a:lnTo>
                  <a:lnTo>
                    <a:pt x="313" y="31"/>
                  </a:lnTo>
                  <a:lnTo>
                    <a:pt x="315" y="31"/>
                  </a:lnTo>
                  <a:lnTo>
                    <a:pt x="318" y="31"/>
                  </a:lnTo>
                  <a:lnTo>
                    <a:pt x="315" y="31"/>
                  </a:lnTo>
                  <a:lnTo>
                    <a:pt x="315" y="29"/>
                  </a:lnTo>
                  <a:lnTo>
                    <a:pt x="318" y="29"/>
                  </a:lnTo>
                  <a:lnTo>
                    <a:pt x="320" y="29"/>
                  </a:lnTo>
                  <a:lnTo>
                    <a:pt x="322" y="29"/>
                  </a:lnTo>
                  <a:lnTo>
                    <a:pt x="322" y="27"/>
                  </a:lnTo>
                  <a:lnTo>
                    <a:pt x="320" y="27"/>
                  </a:lnTo>
                  <a:lnTo>
                    <a:pt x="318" y="27"/>
                  </a:lnTo>
                  <a:lnTo>
                    <a:pt x="320" y="27"/>
                  </a:lnTo>
                  <a:lnTo>
                    <a:pt x="320" y="24"/>
                  </a:lnTo>
                  <a:lnTo>
                    <a:pt x="322" y="24"/>
                  </a:lnTo>
                  <a:lnTo>
                    <a:pt x="322" y="22"/>
                  </a:lnTo>
                  <a:lnTo>
                    <a:pt x="325" y="22"/>
                  </a:lnTo>
                  <a:lnTo>
                    <a:pt x="325" y="19"/>
                  </a:lnTo>
                  <a:lnTo>
                    <a:pt x="327" y="19"/>
                  </a:lnTo>
                  <a:lnTo>
                    <a:pt x="329" y="17"/>
                  </a:lnTo>
                  <a:lnTo>
                    <a:pt x="329" y="19"/>
                  </a:lnTo>
                  <a:lnTo>
                    <a:pt x="334" y="19"/>
                  </a:lnTo>
                  <a:lnTo>
                    <a:pt x="337" y="19"/>
                  </a:lnTo>
                  <a:lnTo>
                    <a:pt x="339" y="22"/>
                  </a:lnTo>
                  <a:lnTo>
                    <a:pt x="341" y="22"/>
                  </a:lnTo>
                  <a:lnTo>
                    <a:pt x="341" y="24"/>
                  </a:lnTo>
                  <a:lnTo>
                    <a:pt x="339" y="24"/>
                  </a:lnTo>
                  <a:lnTo>
                    <a:pt x="337" y="24"/>
                  </a:lnTo>
                  <a:lnTo>
                    <a:pt x="339" y="24"/>
                  </a:lnTo>
                  <a:lnTo>
                    <a:pt x="341" y="24"/>
                  </a:lnTo>
                  <a:lnTo>
                    <a:pt x="344" y="24"/>
                  </a:lnTo>
                  <a:lnTo>
                    <a:pt x="346" y="27"/>
                  </a:lnTo>
                  <a:lnTo>
                    <a:pt x="344" y="27"/>
                  </a:lnTo>
                  <a:lnTo>
                    <a:pt x="346" y="29"/>
                  </a:lnTo>
                  <a:lnTo>
                    <a:pt x="348" y="29"/>
                  </a:lnTo>
                  <a:lnTo>
                    <a:pt x="348" y="31"/>
                  </a:lnTo>
                  <a:lnTo>
                    <a:pt x="351" y="31"/>
                  </a:lnTo>
                  <a:lnTo>
                    <a:pt x="353" y="31"/>
                  </a:lnTo>
                  <a:lnTo>
                    <a:pt x="351" y="31"/>
                  </a:lnTo>
                  <a:lnTo>
                    <a:pt x="351" y="34"/>
                  </a:lnTo>
                  <a:lnTo>
                    <a:pt x="351" y="36"/>
                  </a:lnTo>
                  <a:lnTo>
                    <a:pt x="351" y="38"/>
                  </a:lnTo>
                  <a:lnTo>
                    <a:pt x="353" y="38"/>
                  </a:lnTo>
                  <a:lnTo>
                    <a:pt x="356" y="38"/>
                  </a:lnTo>
                  <a:lnTo>
                    <a:pt x="356" y="41"/>
                  </a:lnTo>
                  <a:lnTo>
                    <a:pt x="358" y="41"/>
                  </a:lnTo>
                  <a:lnTo>
                    <a:pt x="356" y="41"/>
                  </a:lnTo>
                  <a:lnTo>
                    <a:pt x="356" y="43"/>
                  </a:lnTo>
                  <a:lnTo>
                    <a:pt x="358" y="43"/>
                  </a:lnTo>
                  <a:lnTo>
                    <a:pt x="356" y="43"/>
                  </a:lnTo>
                  <a:lnTo>
                    <a:pt x="356" y="46"/>
                  </a:lnTo>
                  <a:lnTo>
                    <a:pt x="358" y="46"/>
                  </a:lnTo>
                  <a:lnTo>
                    <a:pt x="358" y="48"/>
                  </a:lnTo>
                  <a:lnTo>
                    <a:pt x="356" y="48"/>
                  </a:lnTo>
                  <a:lnTo>
                    <a:pt x="358" y="48"/>
                  </a:lnTo>
                  <a:lnTo>
                    <a:pt x="360" y="48"/>
                  </a:lnTo>
                  <a:lnTo>
                    <a:pt x="360" y="50"/>
                  </a:lnTo>
                  <a:lnTo>
                    <a:pt x="363" y="53"/>
                  </a:lnTo>
                  <a:lnTo>
                    <a:pt x="363" y="55"/>
                  </a:lnTo>
                  <a:lnTo>
                    <a:pt x="365" y="55"/>
                  </a:lnTo>
                  <a:lnTo>
                    <a:pt x="367" y="55"/>
                  </a:lnTo>
                  <a:lnTo>
                    <a:pt x="367" y="57"/>
                  </a:lnTo>
                  <a:lnTo>
                    <a:pt x="367" y="60"/>
                  </a:lnTo>
                  <a:lnTo>
                    <a:pt x="365" y="60"/>
                  </a:lnTo>
                  <a:lnTo>
                    <a:pt x="363" y="62"/>
                  </a:lnTo>
                  <a:lnTo>
                    <a:pt x="365" y="62"/>
                  </a:lnTo>
                  <a:lnTo>
                    <a:pt x="363" y="62"/>
                  </a:lnTo>
                  <a:lnTo>
                    <a:pt x="365" y="62"/>
                  </a:lnTo>
                  <a:lnTo>
                    <a:pt x="363" y="62"/>
                  </a:lnTo>
                  <a:lnTo>
                    <a:pt x="363" y="65"/>
                  </a:lnTo>
                  <a:lnTo>
                    <a:pt x="365" y="65"/>
                  </a:lnTo>
                  <a:lnTo>
                    <a:pt x="367" y="67"/>
                  </a:lnTo>
                  <a:lnTo>
                    <a:pt x="365" y="65"/>
                  </a:lnTo>
                  <a:lnTo>
                    <a:pt x="367" y="65"/>
                  </a:lnTo>
                  <a:lnTo>
                    <a:pt x="367" y="62"/>
                  </a:lnTo>
                  <a:lnTo>
                    <a:pt x="370" y="62"/>
                  </a:lnTo>
                  <a:lnTo>
                    <a:pt x="372" y="62"/>
                  </a:lnTo>
                  <a:lnTo>
                    <a:pt x="375" y="62"/>
                  </a:lnTo>
                  <a:lnTo>
                    <a:pt x="375" y="65"/>
                  </a:lnTo>
                  <a:lnTo>
                    <a:pt x="377" y="65"/>
                  </a:lnTo>
                  <a:lnTo>
                    <a:pt x="377" y="67"/>
                  </a:lnTo>
                  <a:lnTo>
                    <a:pt x="379" y="69"/>
                  </a:lnTo>
                  <a:lnTo>
                    <a:pt x="379" y="72"/>
                  </a:lnTo>
                  <a:lnTo>
                    <a:pt x="382" y="72"/>
                  </a:lnTo>
                  <a:lnTo>
                    <a:pt x="382" y="74"/>
                  </a:lnTo>
                  <a:lnTo>
                    <a:pt x="384" y="76"/>
                  </a:lnTo>
                  <a:lnTo>
                    <a:pt x="386" y="76"/>
                  </a:lnTo>
                  <a:lnTo>
                    <a:pt x="386" y="79"/>
                  </a:lnTo>
                  <a:lnTo>
                    <a:pt x="389" y="79"/>
                  </a:lnTo>
                  <a:lnTo>
                    <a:pt x="389" y="81"/>
                  </a:lnTo>
                  <a:lnTo>
                    <a:pt x="389" y="79"/>
                  </a:lnTo>
                  <a:lnTo>
                    <a:pt x="389" y="81"/>
                  </a:lnTo>
                  <a:lnTo>
                    <a:pt x="391" y="79"/>
                  </a:lnTo>
                  <a:lnTo>
                    <a:pt x="394" y="79"/>
                  </a:lnTo>
                  <a:lnTo>
                    <a:pt x="394" y="76"/>
                  </a:lnTo>
                  <a:lnTo>
                    <a:pt x="391" y="76"/>
                  </a:lnTo>
                  <a:lnTo>
                    <a:pt x="391" y="74"/>
                  </a:lnTo>
                  <a:lnTo>
                    <a:pt x="389" y="74"/>
                  </a:lnTo>
                  <a:lnTo>
                    <a:pt x="391" y="74"/>
                  </a:lnTo>
                  <a:lnTo>
                    <a:pt x="389" y="74"/>
                  </a:lnTo>
                  <a:lnTo>
                    <a:pt x="389" y="72"/>
                  </a:lnTo>
                  <a:lnTo>
                    <a:pt x="386" y="72"/>
                  </a:lnTo>
                  <a:lnTo>
                    <a:pt x="389" y="69"/>
                  </a:lnTo>
                  <a:lnTo>
                    <a:pt x="386" y="69"/>
                  </a:lnTo>
                  <a:lnTo>
                    <a:pt x="386" y="67"/>
                  </a:lnTo>
                  <a:lnTo>
                    <a:pt x="384" y="67"/>
                  </a:lnTo>
                  <a:lnTo>
                    <a:pt x="384" y="65"/>
                  </a:lnTo>
                  <a:lnTo>
                    <a:pt x="382" y="65"/>
                  </a:lnTo>
                  <a:lnTo>
                    <a:pt x="382" y="62"/>
                  </a:lnTo>
                  <a:lnTo>
                    <a:pt x="379" y="60"/>
                  </a:lnTo>
                  <a:lnTo>
                    <a:pt x="379" y="57"/>
                  </a:lnTo>
                  <a:lnTo>
                    <a:pt x="379" y="55"/>
                  </a:lnTo>
                  <a:lnTo>
                    <a:pt x="377" y="55"/>
                  </a:lnTo>
                  <a:lnTo>
                    <a:pt x="375" y="53"/>
                  </a:lnTo>
                  <a:lnTo>
                    <a:pt x="375" y="50"/>
                  </a:lnTo>
                  <a:lnTo>
                    <a:pt x="375" y="48"/>
                  </a:lnTo>
                  <a:lnTo>
                    <a:pt x="375" y="46"/>
                  </a:lnTo>
                  <a:lnTo>
                    <a:pt x="375" y="43"/>
                  </a:lnTo>
                  <a:lnTo>
                    <a:pt x="372" y="43"/>
                  </a:lnTo>
                  <a:lnTo>
                    <a:pt x="372" y="41"/>
                  </a:lnTo>
                  <a:lnTo>
                    <a:pt x="372" y="38"/>
                  </a:lnTo>
                  <a:lnTo>
                    <a:pt x="372" y="36"/>
                  </a:lnTo>
                  <a:lnTo>
                    <a:pt x="370" y="34"/>
                  </a:lnTo>
                  <a:lnTo>
                    <a:pt x="370" y="31"/>
                  </a:lnTo>
                  <a:lnTo>
                    <a:pt x="370" y="29"/>
                  </a:lnTo>
                  <a:lnTo>
                    <a:pt x="367" y="29"/>
                  </a:lnTo>
                  <a:lnTo>
                    <a:pt x="367" y="27"/>
                  </a:lnTo>
                  <a:lnTo>
                    <a:pt x="365" y="27"/>
                  </a:lnTo>
                  <a:lnTo>
                    <a:pt x="367" y="24"/>
                  </a:lnTo>
                  <a:lnTo>
                    <a:pt x="365" y="24"/>
                  </a:lnTo>
                  <a:lnTo>
                    <a:pt x="365" y="22"/>
                  </a:lnTo>
                  <a:lnTo>
                    <a:pt x="365" y="19"/>
                  </a:lnTo>
                  <a:lnTo>
                    <a:pt x="367" y="19"/>
                  </a:lnTo>
                  <a:lnTo>
                    <a:pt x="365" y="19"/>
                  </a:lnTo>
                  <a:lnTo>
                    <a:pt x="365" y="17"/>
                  </a:lnTo>
                  <a:lnTo>
                    <a:pt x="365" y="15"/>
                  </a:lnTo>
                  <a:lnTo>
                    <a:pt x="367" y="12"/>
                  </a:lnTo>
                  <a:lnTo>
                    <a:pt x="370" y="12"/>
                  </a:lnTo>
                  <a:lnTo>
                    <a:pt x="372" y="15"/>
                  </a:lnTo>
                  <a:lnTo>
                    <a:pt x="377" y="15"/>
                  </a:lnTo>
                  <a:lnTo>
                    <a:pt x="379" y="15"/>
                  </a:lnTo>
                  <a:lnTo>
                    <a:pt x="377" y="15"/>
                  </a:lnTo>
                  <a:lnTo>
                    <a:pt x="379" y="15"/>
                  </a:lnTo>
                  <a:lnTo>
                    <a:pt x="382" y="15"/>
                  </a:lnTo>
                  <a:lnTo>
                    <a:pt x="379" y="12"/>
                  </a:lnTo>
                  <a:lnTo>
                    <a:pt x="377" y="12"/>
                  </a:lnTo>
                  <a:lnTo>
                    <a:pt x="377" y="10"/>
                  </a:lnTo>
                  <a:lnTo>
                    <a:pt x="375" y="10"/>
                  </a:lnTo>
                  <a:lnTo>
                    <a:pt x="377" y="10"/>
                  </a:lnTo>
                  <a:lnTo>
                    <a:pt x="375" y="10"/>
                  </a:lnTo>
                  <a:lnTo>
                    <a:pt x="375" y="7"/>
                  </a:lnTo>
                  <a:lnTo>
                    <a:pt x="377" y="7"/>
                  </a:lnTo>
                  <a:lnTo>
                    <a:pt x="375" y="7"/>
                  </a:lnTo>
                  <a:lnTo>
                    <a:pt x="377" y="7"/>
                  </a:lnTo>
                  <a:lnTo>
                    <a:pt x="377" y="5"/>
                  </a:lnTo>
                  <a:lnTo>
                    <a:pt x="379" y="3"/>
                  </a:lnTo>
                  <a:lnTo>
                    <a:pt x="382" y="3"/>
                  </a:lnTo>
                  <a:lnTo>
                    <a:pt x="382" y="0"/>
                  </a:lnTo>
                  <a:lnTo>
                    <a:pt x="384" y="0"/>
                  </a:lnTo>
                  <a:lnTo>
                    <a:pt x="386" y="0"/>
                  </a:lnTo>
                  <a:lnTo>
                    <a:pt x="389" y="0"/>
                  </a:lnTo>
                  <a:lnTo>
                    <a:pt x="389" y="3"/>
                  </a:lnTo>
                  <a:lnTo>
                    <a:pt x="391" y="3"/>
                  </a:lnTo>
                  <a:lnTo>
                    <a:pt x="394" y="3"/>
                  </a:lnTo>
                  <a:lnTo>
                    <a:pt x="396" y="3"/>
                  </a:lnTo>
                  <a:lnTo>
                    <a:pt x="396" y="5"/>
                  </a:lnTo>
                  <a:lnTo>
                    <a:pt x="396" y="7"/>
                  </a:lnTo>
                  <a:lnTo>
                    <a:pt x="398" y="7"/>
                  </a:lnTo>
                  <a:lnTo>
                    <a:pt x="401" y="7"/>
                  </a:lnTo>
                  <a:lnTo>
                    <a:pt x="401" y="10"/>
                  </a:lnTo>
                  <a:lnTo>
                    <a:pt x="398" y="10"/>
                  </a:lnTo>
                  <a:lnTo>
                    <a:pt x="401" y="12"/>
                  </a:lnTo>
                  <a:lnTo>
                    <a:pt x="403" y="12"/>
                  </a:lnTo>
                  <a:lnTo>
                    <a:pt x="403" y="15"/>
                  </a:lnTo>
                  <a:lnTo>
                    <a:pt x="405" y="15"/>
                  </a:lnTo>
                  <a:lnTo>
                    <a:pt x="408" y="15"/>
                  </a:lnTo>
                  <a:lnTo>
                    <a:pt x="408" y="12"/>
                  </a:lnTo>
                  <a:lnTo>
                    <a:pt x="405" y="12"/>
                  </a:lnTo>
                  <a:lnTo>
                    <a:pt x="405" y="10"/>
                  </a:lnTo>
                  <a:lnTo>
                    <a:pt x="403" y="10"/>
                  </a:lnTo>
                  <a:lnTo>
                    <a:pt x="405" y="10"/>
                  </a:lnTo>
                  <a:lnTo>
                    <a:pt x="408" y="7"/>
                  </a:lnTo>
                  <a:lnTo>
                    <a:pt x="410" y="7"/>
                  </a:lnTo>
                  <a:lnTo>
                    <a:pt x="413" y="7"/>
                  </a:lnTo>
                  <a:lnTo>
                    <a:pt x="415" y="7"/>
                  </a:lnTo>
                  <a:lnTo>
                    <a:pt x="417" y="10"/>
                  </a:lnTo>
                  <a:lnTo>
                    <a:pt x="420" y="10"/>
                  </a:lnTo>
                  <a:lnTo>
                    <a:pt x="422" y="10"/>
                  </a:lnTo>
                  <a:lnTo>
                    <a:pt x="422" y="12"/>
                  </a:lnTo>
                  <a:lnTo>
                    <a:pt x="424" y="12"/>
                  </a:lnTo>
                  <a:lnTo>
                    <a:pt x="427" y="12"/>
                  </a:lnTo>
                  <a:lnTo>
                    <a:pt x="429" y="12"/>
                  </a:lnTo>
                  <a:lnTo>
                    <a:pt x="432" y="15"/>
                  </a:lnTo>
                  <a:lnTo>
                    <a:pt x="434" y="15"/>
                  </a:lnTo>
                  <a:lnTo>
                    <a:pt x="434" y="17"/>
                  </a:lnTo>
                  <a:lnTo>
                    <a:pt x="436" y="17"/>
                  </a:lnTo>
                  <a:lnTo>
                    <a:pt x="436" y="19"/>
                  </a:lnTo>
                  <a:lnTo>
                    <a:pt x="439" y="19"/>
                  </a:lnTo>
                  <a:lnTo>
                    <a:pt x="441" y="22"/>
                  </a:lnTo>
                  <a:lnTo>
                    <a:pt x="443" y="22"/>
                  </a:lnTo>
                  <a:lnTo>
                    <a:pt x="443" y="24"/>
                  </a:lnTo>
                  <a:lnTo>
                    <a:pt x="443" y="27"/>
                  </a:lnTo>
                  <a:lnTo>
                    <a:pt x="441" y="27"/>
                  </a:lnTo>
                  <a:lnTo>
                    <a:pt x="439" y="27"/>
                  </a:lnTo>
                  <a:lnTo>
                    <a:pt x="439" y="29"/>
                  </a:lnTo>
                  <a:lnTo>
                    <a:pt x="436" y="31"/>
                  </a:lnTo>
                  <a:lnTo>
                    <a:pt x="434" y="31"/>
                  </a:lnTo>
                  <a:lnTo>
                    <a:pt x="432" y="31"/>
                  </a:lnTo>
                  <a:lnTo>
                    <a:pt x="434" y="34"/>
                  </a:lnTo>
                  <a:lnTo>
                    <a:pt x="432" y="36"/>
                  </a:lnTo>
                  <a:lnTo>
                    <a:pt x="429" y="36"/>
                  </a:lnTo>
                  <a:lnTo>
                    <a:pt x="432" y="36"/>
                  </a:lnTo>
                  <a:lnTo>
                    <a:pt x="429" y="36"/>
                  </a:lnTo>
                  <a:lnTo>
                    <a:pt x="432" y="36"/>
                  </a:lnTo>
                  <a:lnTo>
                    <a:pt x="429" y="36"/>
                  </a:lnTo>
                  <a:lnTo>
                    <a:pt x="432" y="36"/>
                  </a:lnTo>
                  <a:lnTo>
                    <a:pt x="434" y="36"/>
                  </a:lnTo>
                  <a:lnTo>
                    <a:pt x="434" y="38"/>
                  </a:lnTo>
                  <a:lnTo>
                    <a:pt x="434" y="41"/>
                  </a:lnTo>
                  <a:lnTo>
                    <a:pt x="436" y="41"/>
                  </a:lnTo>
                  <a:lnTo>
                    <a:pt x="436" y="43"/>
                  </a:lnTo>
                  <a:lnTo>
                    <a:pt x="434" y="43"/>
                  </a:lnTo>
                  <a:lnTo>
                    <a:pt x="434" y="46"/>
                  </a:lnTo>
                  <a:lnTo>
                    <a:pt x="432" y="46"/>
                  </a:lnTo>
                  <a:lnTo>
                    <a:pt x="432" y="48"/>
                  </a:lnTo>
                  <a:lnTo>
                    <a:pt x="429" y="48"/>
                  </a:lnTo>
                  <a:lnTo>
                    <a:pt x="432" y="48"/>
                  </a:lnTo>
                  <a:lnTo>
                    <a:pt x="434" y="48"/>
                  </a:lnTo>
                  <a:lnTo>
                    <a:pt x="436" y="46"/>
                  </a:lnTo>
                  <a:lnTo>
                    <a:pt x="439" y="46"/>
                  </a:lnTo>
                  <a:lnTo>
                    <a:pt x="441" y="46"/>
                  </a:lnTo>
                  <a:lnTo>
                    <a:pt x="441" y="43"/>
                  </a:lnTo>
                  <a:lnTo>
                    <a:pt x="443" y="43"/>
                  </a:lnTo>
                  <a:lnTo>
                    <a:pt x="443" y="41"/>
                  </a:lnTo>
                  <a:lnTo>
                    <a:pt x="443" y="38"/>
                  </a:lnTo>
                  <a:lnTo>
                    <a:pt x="443" y="36"/>
                  </a:lnTo>
                  <a:lnTo>
                    <a:pt x="446" y="34"/>
                  </a:lnTo>
                  <a:lnTo>
                    <a:pt x="446" y="31"/>
                  </a:lnTo>
                  <a:lnTo>
                    <a:pt x="448" y="31"/>
                  </a:lnTo>
                  <a:lnTo>
                    <a:pt x="450" y="31"/>
                  </a:lnTo>
                  <a:lnTo>
                    <a:pt x="453" y="31"/>
                  </a:lnTo>
                  <a:lnTo>
                    <a:pt x="455" y="31"/>
                  </a:lnTo>
                  <a:lnTo>
                    <a:pt x="455" y="34"/>
                  </a:lnTo>
                  <a:lnTo>
                    <a:pt x="458" y="34"/>
                  </a:lnTo>
                  <a:lnTo>
                    <a:pt x="460" y="34"/>
                  </a:lnTo>
                  <a:lnTo>
                    <a:pt x="462" y="34"/>
                  </a:lnTo>
                  <a:lnTo>
                    <a:pt x="462" y="36"/>
                  </a:lnTo>
                  <a:lnTo>
                    <a:pt x="465" y="36"/>
                  </a:lnTo>
                  <a:lnTo>
                    <a:pt x="467" y="36"/>
                  </a:lnTo>
                  <a:lnTo>
                    <a:pt x="465" y="36"/>
                  </a:lnTo>
                  <a:lnTo>
                    <a:pt x="465" y="38"/>
                  </a:lnTo>
                  <a:lnTo>
                    <a:pt x="467" y="38"/>
                  </a:lnTo>
                  <a:lnTo>
                    <a:pt x="465" y="38"/>
                  </a:lnTo>
                  <a:lnTo>
                    <a:pt x="467" y="38"/>
                  </a:lnTo>
                  <a:lnTo>
                    <a:pt x="469" y="41"/>
                  </a:lnTo>
                  <a:lnTo>
                    <a:pt x="467" y="41"/>
                  </a:lnTo>
                  <a:lnTo>
                    <a:pt x="469" y="41"/>
                  </a:lnTo>
                  <a:lnTo>
                    <a:pt x="469" y="43"/>
                  </a:lnTo>
                  <a:lnTo>
                    <a:pt x="472" y="43"/>
                  </a:lnTo>
                  <a:lnTo>
                    <a:pt x="469" y="43"/>
                  </a:lnTo>
                  <a:lnTo>
                    <a:pt x="469" y="46"/>
                  </a:lnTo>
                  <a:lnTo>
                    <a:pt x="472" y="46"/>
                  </a:lnTo>
                  <a:lnTo>
                    <a:pt x="469" y="46"/>
                  </a:lnTo>
                  <a:lnTo>
                    <a:pt x="472" y="46"/>
                  </a:lnTo>
                  <a:lnTo>
                    <a:pt x="469" y="48"/>
                  </a:lnTo>
                  <a:lnTo>
                    <a:pt x="472" y="48"/>
                  </a:lnTo>
                  <a:lnTo>
                    <a:pt x="469" y="48"/>
                  </a:lnTo>
                  <a:lnTo>
                    <a:pt x="472" y="48"/>
                  </a:lnTo>
                  <a:lnTo>
                    <a:pt x="469" y="48"/>
                  </a:lnTo>
                  <a:lnTo>
                    <a:pt x="472" y="48"/>
                  </a:lnTo>
                  <a:lnTo>
                    <a:pt x="469" y="48"/>
                  </a:lnTo>
                  <a:lnTo>
                    <a:pt x="472" y="50"/>
                  </a:lnTo>
                  <a:lnTo>
                    <a:pt x="469" y="50"/>
                  </a:lnTo>
                  <a:lnTo>
                    <a:pt x="472" y="50"/>
                  </a:lnTo>
                  <a:lnTo>
                    <a:pt x="469" y="50"/>
                  </a:lnTo>
                  <a:lnTo>
                    <a:pt x="469" y="53"/>
                  </a:lnTo>
                  <a:lnTo>
                    <a:pt x="467" y="53"/>
                  </a:lnTo>
                  <a:lnTo>
                    <a:pt x="467" y="55"/>
                  </a:lnTo>
                  <a:lnTo>
                    <a:pt x="465" y="55"/>
                  </a:lnTo>
                  <a:lnTo>
                    <a:pt x="462" y="55"/>
                  </a:lnTo>
                  <a:lnTo>
                    <a:pt x="462" y="57"/>
                  </a:lnTo>
                  <a:lnTo>
                    <a:pt x="465" y="57"/>
                  </a:lnTo>
                  <a:lnTo>
                    <a:pt x="469" y="55"/>
                  </a:lnTo>
                  <a:lnTo>
                    <a:pt x="469" y="57"/>
                  </a:lnTo>
                  <a:lnTo>
                    <a:pt x="472" y="57"/>
                  </a:lnTo>
                  <a:lnTo>
                    <a:pt x="472" y="60"/>
                  </a:lnTo>
                  <a:lnTo>
                    <a:pt x="472" y="62"/>
                  </a:lnTo>
                  <a:lnTo>
                    <a:pt x="474" y="62"/>
                  </a:lnTo>
                  <a:lnTo>
                    <a:pt x="474" y="65"/>
                  </a:lnTo>
                  <a:lnTo>
                    <a:pt x="477" y="65"/>
                  </a:lnTo>
                  <a:lnTo>
                    <a:pt x="479" y="65"/>
                  </a:lnTo>
                  <a:lnTo>
                    <a:pt x="479" y="62"/>
                  </a:lnTo>
                  <a:lnTo>
                    <a:pt x="481" y="62"/>
                  </a:lnTo>
                  <a:lnTo>
                    <a:pt x="484" y="62"/>
                  </a:lnTo>
                  <a:lnTo>
                    <a:pt x="484" y="60"/>
                  </a:lnTo>
                  <a:lnTo>
                    <a:pt x="486" y="60"/>
                  </a:lnTo>
                  <a:lnTo>
                    <a:pt x="488" y="60"/>
                  </a:lnTo>
                  <a:lnTo>
                    <a:pt x="491" y="62"/>
                  </a:lnTo>
                  <a:lnTo>
                    <a:pt x="493" y="62"/>
                  </a:lnTo>
                  <a:lnTo>
                    <a:pt x="496" y="62"/>
                  </a:lnTo>
                  <a:lnTo>
                    <a:pt x="498" y="62"/>
                  </a:lnTo>
                  <a:lnTo>
                    <a:pt x="500" y="62"/>
                  </a:lnTo>
                  <a:lnTo>
                    <a:pt x="503" y="62"/>
                  </a:lnTo>
                  <a:lnTo>
                    <a:pt x="500" y="62"/>
                  </a:lnTo>
                  <a:lnTo>
                    <a:pt x="500" y="65"/>
                  </a:lnTo>
                  <a:lnTo>
                    <a:pt x="500" y="67"/>
                  </a:lnTo>
                  <a:lnTo>
                    <a:pt x="500" y="69"/>
                  </a:lnTo>
                  <a:lnTo>
                    <a:pt x="503" y="69"/>
                  </a:lnTo>
                  <a:lnTo>
                    <a:pt x="505" y="69"/>
                  </a:lnTo>
                  <a:lnTo>
                    <a:pt x="505" y="72"/>
                  </a:lnTo>
                  <a:lnTo>
                    <a:pt x="503" y="72"/>
                  </a:lnTo>
                  <a:lnTo>
                    <a:pt x="505" y="72"/>
                  </a:lnTo>
                  <a:lnTo>
                    <a:pt x="507" y="72"/>
                  </a:lnTo>
                  <a:lnTo>
                    <a:pt x="507" y="74"/>
                  </a:lnTo>
                  <a:lnTo>
                    <a:pt x="510" y="74"/>
                  </a:lnTo>
                  <a:lnTo>
                    <a:pt x="512" y="74"/>
                  </a:lnTo>
                  <a:lnTo>
                    <a:pt x="512" y="72"/>
                  </a:lnTo>
                  <a:lnTo>
                    <a:pt x="515" y="72"/>
                  </a:lnTo>
                  <a:lnTo>
                    <a:pt x="512" y="72"/>
                  </a:lnTo>
                  <a:lnTo>
                    <a:pt x="515" y="72"/>
                  </a:lnTo>
                  <a:lnTo>
                    <a:pt x="517" y="74"/>
                  </a:lnTo>
                  <a:lnTo>
                    <a:pt x="519" y="74"/>
                  </a:lnTo>
                  <a:lnTo>
                    <a:pt x="522" y="74"/>
                  </a:lnTo>
                  <a:lnTo>
                    <a:pt x="524" y="76"/>
                  </a:lnTo>
                  <a:lnTo>
                    <a:pt x="526" y="76"/>
                  </a:lnTo>
                  <a:lnTo>
                    <a:pt x="529" y="76"/>
                  </a:lnTo>
                  <a:lnTo>
                    <a:pt x="531" y="79"/>
                  </a:lnTo>
                  <a:lnTo>
                    <a:pt x="534" y="79"/>
                  </a:lnTo>
                  <a:lnTo>
                    <a:pt x="536" y="79"/>
                  </a:lnTo>
                  <a:lnTo>
                    <a:pt x="538" y="79"/>
                  </a:lnTo>
                  <a:lnTo>
                    <a:pt x="541" y="79"/>
                  </a:lnTo>
                  <a:lnTo>
                    <a:pt x="543" y="81"/>
                  </a:lnTo>
                  <a:lnTo>
                    <a:pt x="545" y="81"/>
                  </a:lnTo>
                  <a:lnTo>
                    <a:pt x="548" y="84"/>
                  </a:lnTo>
                  <a:lnTo>
                    <a:pt x="550" y="84"/>
                  </a:lnTo>
                  <a:lnTo>
                    <a:pt x="553" y="84"/>
                  </a:lnTo>
                  <a:lnTo>
                    <a:pt x="555" y="84"/>
                  </a:lnTo>
                  <a:lnTo>
                    <a:pt x="557" y="84"/>
                  </a:lnTo>
                  <a:lnTo>
                    <a:pt x="557" y="86"/>
                  </a:lnTo>
                  <a:lnTo>
                    <a:pt x="555" y="86"/>
                  </a:lnTo>
                  <a:lnTo>
                    <a:pt x="555" y="88"/>
                  </a:lnTo>
                  <a:lnTo>
                    <a:pt x="553" y="88"/>
                  </a:lnTo>
                  <a:lnTo>
                    <a:pt x="553" y="91"/>
                  </a:lnTo>
                  <a:lnTo>
                    <a:pt x="553" y="93"/>
                  </a:lnTo>
                  <a:lnTo>
                    <a:pt x="555" y="93"/>
                  </a:lnTo>
                  <a:lnTo>
                    <a:pt x="553" y="93"/>
                  </a:lnTo>
                  <a:lnTo>
                    <a:pt x="553" y="95"/>
                  </a:lnTo>
                  <a:lnTo>
                    <a:pt x="550" y="95"/>
                  </a:lnTo>
                  <a:lnTo>
                    <a:pt x="550" y="93"/>
                  </a:lnTo>
                  <a:lnTo>
                    <a:pt x="550" y="95"/>
                  </a:lnTo>
                  <a:lnTo>
                    <a:pt x="548" y="95"/>
                  </a:lnTo>
                  <a:lnTo>
                    <a:pt x="548" y="93"/>
                  </a:lnTo>
                  <a:lnTo>
                    <a:pt x="545" y="93"/>
                  </a:lnTo>
                  <a:lnTo>
                    <a:pt x="543" y="93"/>
                  </a:lnTo>
                  <a:lnTo>
                    <a:pt x="545" y="93"/>
                  </a:lnTo>
                  <a:lnTo>
                    <a:pt x="545" y="95"/>
                  </a:lnTo>
                  <a:lnTo>
                    <a:pt x="543" y="95"/>
                  </a:lnTo>
                  <a:lnTo>
                    <a:pt x="541" y="95"/>
                  </a:lnTo>
                  <a:lnTo>
                    <a:pt x="541" y="93"/>
                  </a:lnTo>
                  <a:lnTo>
                    <a:pt x="538" y="93"/>
                  </a:lnTo>
                  <a:lnTo>
                    <a:pt x="541" y="93"/>
                  </a:lnTo>
                  <a:lnTo>
                    <a:pt x="538" y="93"/>
                  </a:lnTo>
                  <a:lnTo>
                    <a:pt x="536" y="93"/>
                  </a:lnTo>
                  <a:lnTo>
                    <a:pt x="536" y="91"/>
                  </a:lnTo>
                  <a:lnTo>
                    <a:pt x="534" y="91"/>
                  </a:lnTo>
                  <a:lnTo>
                    <a:pt x="534" y="93"/>
                  </a:lnTo>
                  <a:lnTo>
                    <a:pt x="531" y="93"/>
                  </a:lnTo>
                  <a:lnTo>
                    <a:pt x="529" y="93"/>
                  </a:lnTo>
                  <a:lnTo>
                    <a:pt x="529" y="91"/>
                  </a:lnTo>
                  <a:lnTo>
                    <a:pt x="526" y="91"/>
                  </a:lnTo>
                  <a:lnTo>
                    <a:pt x="524" y="91"/>
                  </a:lnTo>
                  <a:lnTo>
                    <a:pt x="524" y="93"/>
                  </a:lnTo>
                  <a:lnTo>
                    <a:pt x="522" y="93"/>
                  </a:lnTo>
                  <a:lnTo>
                    <a:pt x="519" y="93"/>
                  </a:lnTo>
                  <a:lnTo>
                    <a:pt x="517" y="93"/>
                  </a:lnTo>
                  <a:lnTo>
                    <a:pt x="515" y="93"/>
                  </a:lnTo>
                  <a:lnTo>
                    <a:pt x="515" y="95"/>
                  </a:lnTo>
                  <a:lnTo>
                    <a:pt x="517" y="95"/>
                  </a:lnTo>
                  <a:lnTo>
                    <a:pt x="515" y="95"/>
                  </a:lnTo>
                  <a:lnTo>
                    <a:pt x="512" y="95"/>
                  </a:lnTo>
                  <a:lnTo>
                    <a:pt x="510" y="95"/>
                  </a:lnTo>
                  <a:lnTo>
                    <a:pt x="512" y="95"/>
                  </a:lnTo>
                  <a:lnTo>
                    <a:pt x="510" y="95"/>
                  </a:lnTo>
                  <a:lnTo>
                    <a:pt x="510" y="98"/>
                  </a:lnTo>
                  <a:lnTo>
                    <a:pt x="507" y="98"/>
                  </a:lnTo>
                  <a:lnTo>
                    <a:pt x="510" y="98"/>
                  </a:lnTo>
                  <a:lnTo>
                    <a:pt x="507" y="98"/>
                  </a:lnTo>
                  <a:lnTo>
                    <a:pt x="505" y="98"/>
                  </a:lnTo>
                  <a:lnTo>
                    <a:pt x="503" y="98"/>
                  </a:lnTo>
                  <a:lnTo>
                    <a:pt x="500" y="98"/>
                  </a:lnTo>
                  <a:lnTo>
                    <a:pt x="498" y="98"/>
                  </a:lnTo>
                  <a:lnTo>
                    <a:pt x="496" y="98"/>
                  </a:lnTo>
                  <a:lnTo>
                    <a:pt x="498" y="98"/>
                  </a:lnTo>
                  <a:lnTo>
                    <a:pt x="496" y="98"/>
                  </a:lnTo>
                  <a:lnTo>
                    <a:pt x="496" y="100"/>
                  </a:lnTo>
                  <a:lnTo>
                    <a:pt x="498" y="100"/>
                  </a:lnTo>
                  <a:lnTo>
                    <a:pt x="498" y="98"/>
                  </a:lnTo>
                  <a:lnTo>
                    <a:pt x="498" y="100"/>
                  </a:lnTo>
                  <a:lnTo>
                    <a:pt x="496" y="100"/>
                  </a:lnTo>
                  <a:lnTo>
                    <a:pt x="493" y="100"/>
                  </a:lnTo>
                  <a:lnTo>
                    <a:pt x="491" y="100"/>
                  </a:lnTo>
                  <a:lnTo>
                    <a:pt x="488" y="103"/>
                  </a:lnTo>
                  <a:lnTo>
                    <a:pt x="486" y="103"/>
                  </a:lnTo>
                  <a:lnTo>
                    <a:pt x="481" y="103"/>
                  </a:lnTo>
                  <a:lnTo>
                    <a:pt x="481" y="105"/>
                  </a:lnTo>
                  <a:lnTo>
                    <a:pt x="479" y="105"/>
                  </a:lnTo>
                  <a:lnTo>
                    <a:pt x="474" y="103"/>
                  </a:lnTo>
                  <a:lnTo>
                    <a:pt x="474" y="105"/>
                  </a:lnTo>
                  <a:lnTo>
                    <a:pt x="472" y="105"/>
                  </a:lnTo>
                  <a:lnTo>
                    <a:pt x="472" y="107"/>
                  </a:lnTo>
                  <a:lnTo>
                    <a:pt x="474" y="107"/>
                  </a:lnTo>
                  <a:lnTo>
                    <a:pt x="477" y="110"/>
                  </a:lnTo>
                  <a:lnTo>
                    <a:pt x="477" y="112"/>
                  </a:lnTo>
                  <a:lnTo>
                    <a:pt x="477" y="114"/>
                  </a:lnTo>
                  <a:lnTo>
                    <a:pt x="479" y="117"/>
                  </a:lnTo>
                  <a:lnTo>
                    <a:pt x="477" y="117"/>
                  </a:lnTo>
                  <a:lnTo>
                    <a:pt x="474" y="117"/>
                  </a:lnTo>
                  <a:lnTo>
                    <a:pt x="472" y="117"/>
                  </a:lnTo>
                  <a:lnTo>
                    <a:pt x="469" y="117"/>
                  </a:lnTo>
                  <a:lnTo>
                    <a:pt x="469" y="119"/>
                  </a:lnTo>
                  <a:lnTo>
                    <a:pt x="474" y="119"/>
                  </a:lnTo>
                  <a:lnTo>
                    <a:pt x="474" y="122"/>
                  </a:lnTo>
                  <a:lnTo>
                    <a:pt x="477" y="122"/>
                  </a:lnTo>
                  <a:lnTo>
                    <a:pt x="477" y="124"/>
                  </a:lnTo>
                  <a:lnTo>
                    <a:pt x="479" y="124"/>
                  </a:lnTo>
                  <a:lnTo>
                    <a:pt x="477" y="126"/>
                  </a:lnTo>
                  <a:lnTo>
                    <a:pt x="472" y="126"/>
                  </a:lnTo>
                  <a:lnTo>
                    <a:pt x="469" y="126"/>
                  </a:lnTo>
                  <a:lnTo>
                    <a:pt x="472" y="126"/>
                  </a:lnTo>
                  <a:lnTo>
                    <a:pt x="474" y="129"/>
                  </a:lnTo>
                  <a:lnTo>
                    <a:pt x="474" y="131"/>
                  </a:lnTo>
                  <a:lnTo>
                    <a:pt x="477" y="131"/>
                  </a:lnTo>
                  <a:lnTo>
                    <a:pt x="477" y="133"/>
                  </a:lnTo>
                  <a:lnTo>
                    <a:pt x="474" y="133"/>
                  </a:lnTo>
                  <a:lnTo>
                    <a:pt x="474" y="136"/>
                  </a:lnTo>
                  <a:lnTo>
                    <a:pt x="472" y="136"/>
                  </a:lnTo>
                  <a:lnTo>
                    <a:pt x="469" y="136"/>
                  </a:lnTo>
                  <a:lnTo>
                    <a:pt x="467" y="136"/>
                  </a:lnTo>
                  <a:lnTo>
                    <a:pt x="465" y="136"/>
                  </a:lnTo>
                  <a:lnTo>
                    <a:pt x="462" y="136"/>
                  </a:lnTo>
                  <a:lnTo>
                    <a:pt x="460" y="136"/>
                  </a:lnTo>
                  <a:lnTo>
                    <a:pt x="458" y="136"/>
                  </a:lnTo>
                  <a:lnTo>
                    <a:pt x="455" y="136"/>
                  </a:lnTo>
                  <a:lnTo>
                    <a:pt x="455" y="138"/>
                  </a:lnTo>
                  <a:lnTo>
                    <a:pt x="458" y="141"/>
                  </a:lnTo>
                  <a:lnTo>
                    <a:pt x="458" y="143"/>
                  </a:lnTo>
                  <a:lnTo>
                    <a:pt x="455" y="143"/>
                  </a:lnTo>
                  <a:lnTo>
                    <a:pt x="453" y="145"/>
                  </a:lnTo>
                  <a:lnTo>
                    <a:pt x="450" y="145"/>
                  </a:lnTo>
                  <a:lnTo>
                    <a:pt x="448" y="145"/>
                  </a:lnTo>
                  <a:lnTo>
                    <a:pt x="448" y="148"/>
                  </a:lnTo>
                  <a:lnTo>
                    <a:pt x="450" y="148"/>
                  </a:lnTo>
                  <a:lnTo>
                    <a:pt x="450" y="145"/>
                  </a:lnTo>
                  <a:lnTo>
                    <a:pt x="453" y="145"/>
                  </a:lnTo>
                  <a:lnTo>
                    <a:pt x="455" y="148"/>
                  </a:lnTo>
                  <a:lnTo>
                    <a:pt x="453" y="148"/>
                  </a:lnTo>
                  <a:lnTo>
                    <a:pt x="450" y="148"/>
                  </a:lnTo>
                  <a:lnTo>
                    <a:pt x="448" y="148"/>
                  </a:lnTo>
                  <a:lnTo>
                    <a:pt x="448" y="150"/>
                  </a:lnTo>
                  <a:lnTo>
                    <a:pt x="450" y="150"/>
                  </a:lnTo>
                  <a:lnTo>
                    <a:pt x="453" y="150"/>
                  </a:lnTo>
                  <a:lnTo>
                    <a:pt x="455" y="150"/>
                  </a:lnTo>
                  <a:lnTo>
                    <a:pt x="458" y="150"/>
                  </a:lnTo>
                  <a:lnTo>
                    <a:pt x="458" y="152"/>
                  </a:lnTo>
                  <a:lnTo>
                    <a:pt x="458" y="155"/>
                  </a:lnTo>
                  <a:lnTo>
                    <a:pt x="455" y="157"/>
                  </a:lnTo>
                  <a:lnTo>
                    <a:pt x="453" y="157"/>
                  </a:lnTo>
                  <a:lnTo>
                    <a:pt x="450" y="160"/>
                  </a:lnTo>
                  <a:lnTo>
                    <a:pt x="453" y="160"/>
                  </a:lnTo>
                  <a:lnTo>
                    <a:pt x="453" y="162"/>
                  </a:lnTo>
                  <a:lnTo>
                    <a:pt x="455" y="162"/>
                  </a:lnTo>
                  <a:lnTo>
                    <a:pt x="453" y="164"/>
                  </a:lnTo>
                  <a:lnTo>
                    <a:pt x="453" y="167"/>
                  </a:lnTo>
                  <a:lnTo>
                    <a:pt x="450" y="167"/>
                  </a:lnTo>
                  <a:lnTo>
                    <a:pt x="453" y="169"/>
                  </a:lnTo>
                  <a:lnTo>
                    <a:pt x="450" y="169"/>
                  </a:lnTo>
                  <a:lnTo>
                    <a:pt x="450" y="171"/>
                  </a:lnTo>
                  <a:lnTo>
                    <a:pt x="448" y="171"/>
                  </a:lnTo>
                  <a:lnTo>
                    <a:pt x="446" y="171"/>
                  </a:lnTo>
                  <a:lnTo>
                    <a:pt x="443" y="171"/>
                  </a:lnTo>
                  <a:lnTo>
                    <a:pt x="441" y="171"/>
                  </a:lnTo>
                  <a:lnTo>
                    <a:pt x="439" y="169"/>
                  </a:lnTo>
                  <a:lnTo>
                    <a:pt x="436" y="169"/>
                  </a:lnTo>
                  <a:lnTo>
                    <a:pt x="436" y="167"/>
                  </a:lnTo>
                  <a:lnTo>
                    <a:pt x="436" y="169"/>
                  </a:lnTo>
                  <a:lnTo>
                    <a:pt x="434" y="169"/>
                  </a:lnTo>
                  <a:lnTo>
                    <a:pt x="434" y="167"/>
                  </a:lnTo>
                  <a:lnTo>
                    <a:pt x="432" y="167"/>
                  </a:lnTo>
                  <a:lnTo>
                    <a:pt x="429" y="167"/>
                  </a:lnTo>
                  <a:lnTo>
                    <a:pt x="432" y="167"/>
                  </a:lnTo>
                  <a:lnTo>
                    <a:pt x="429" y="169"/>
                  </a:lnTo>
                  <a:lnTo>
                    <a:pt x="427" y="169"/>
                  </a:lnTo>
                  <a:lnTo>
                    <a:pt x="429" y="169"/>
                  </a:lnTo>
                  <a:lnTo>
                    <a:pt x="432" y="171"/>
                  </a:lnTo>
                  <a:lnTo>
                    <a:pt x="429" y="171"/>
                  </a:lnTo>
                  <a:lnTo>
                    <a:pt x="432" y="171"/>
                  </a:lnTo>
                  <a:lnTo>
                    <a:pt x="432" y="169"/>
                  </a:lnTo>
                  <a:lnTo>
                    <a:pt x="432" y="171"/>
                  </a:lnTo>
                  <a:lnTo>
                    <a:pt x="432" y="174"/>
                  </a:lnTo>
                  <a:lnTo>
                    <a:pt x="429" y="174"/>
                  </a:lnTo>
                  <a:lnTo>
                    <a:pt x="432" y="174"/>
                  </a:lnTo>
                  <a:lnTo>
                    <a:pt x="429" y="174"/>
                  </a:lnTo>
                  <a:lnTo>
                    <a:pt x="429" y="176"/>
                  </a:lnTo>
                  <a:lnTo>
                    <a:pt x="427" y="176"/>
                  </a:lnTo>
                  <a:lnTo>
                    <a:pt x="427" y="179"/>
                  </a:lnTo>
                  <a:lnTo>
                    <a:pt x="424" y="179"/>
                  </a:lnTo>
                  <a:lnTo>
                    <a:pt x="427" y="179"/>
                  </a:lnTo>
                  <a:lnTo>
                    <a:pt x="429" y="181"/>
                  </a:lnTo>
                  <a:lnTo>
                    <a:pt x="427" y="181"/>
                  </a:lnTo>
                  <a:lnTo>
                    <a:pt x="424" y="183"/>
                  </a:lnTo>
                  <a:lnTo>
                    <a:pt x="424" y="186"/>
                  </a:lnTo>
                  <a:lnTo>
                    <a:pt x="424" y="183"/>
                  </a:lnTo>
                  <a:lnTo>
                    <a:pt x="422" y="183"/>
                  </a:lnTo>
                  <a:lnTo>
                    <a:pt x="422" y="186"/>
                  </a:lnTo>
                  <a:lnTo>
                    <a:pt x="420" y="186"/>
                  </a:lnTo>
                  <a:lnTo>
                    <a:pt x="422" y="186"/>
                  </a:lnTo>
                  <a:lnTo>
                    <a:pt x="420" y="186"/>
                  </a:lnTo>
                  <a:lnTo>
                    <a:pt x="420" y="188"/>
                  </a:lnTo>
                  <a:lnTo>
                    <a:pt x="422" y="188"/>
                  </a:lnTo>
                  <a:lnTo>
                    <a:pt x="424" y="188"/>
                  </a:lnTo>
                  <a:lnTo>
                    <a:pt x="424" y="190"/>
                  </a:lnTo>
                  <a:lnTo>
                    <a:pt x="422" y="190"/>
                  </a:lnTo>
                  <a:lnTo>
                    <a:pt x="420" y="190"/>
                  </a:lnTo>
                  <a:lnTo>
                    <a:pt x="422" y="190"/>
                  </a:lnTo>
                  <a:lnTo>
                    <a:pt x="422" y="193"/>
                  </a:lnTo>
                  <a:lnTo>
                    <a:pt x="420" y="195"/>
                  </a:lnTo>
                  <a:lnTo>
                    <a:pt x="422" y="195"/>
                  </a:lnTo>
                  <a:lnTo>
                    <a:pt x="422" y="198"/>
                  </a:lnTo>
                  <a:lnTo>
                    <a:pt x="420" y="198"/>
                  </a:lnTo>
                  <a:lnTo>
                    <a:pt x="420" y="200"/>
                  </a:lnTo>
                  <a:lnTo>
                    <a:pt x="417" y="202"/>
                  </a:lnTo>
                  <a:lnTo>
                    <a:pt x="417" y="200"/>
                  </a:lnTo>
                  <a:lnTo>
                    <a:pt x="415" y="200"/>
                  </a:lnTo>
                  <a:lnTo>
                    <a:pt x="413" y="200"/>
                  </a:lnTo>
                  <a:lnTo>
                    <a:pt x="410" y="200"/>
                  </a:lnTo>
                  <a:lnTo>
                    <a:pt x="410" y="202"/>
                  </a:lnTo>
                  <a:lnTo>
                    <a:pt x="413" y="202"/>
                  </a:lnTo>
                  <a:lnTo>
                    <a:pt x="415" y="202"/>
                  </a:lnTo>
                  <a:lnTo>
                    <a:pt x="417" y="205"/>
                  </a:lnTo>
                  <a:lnTo>
                    <a:pt x="420" y="205"/>
                  </a:lnTo>
                  <a:lnTo>
                    <a:pt x="420" y="207"/>
                  </a:lnTo>
                  <a:lnTo>
                    <a:pt x="417" y="207"/>
                  </a:lnTo>
                  <a:lnTo>
                    <a:pt x="420" y="207"/>
                  </a:lnTo>
                  <a:lnTo>
                    <a:pt x="417" y="209"/>
                  </a:lnTo>
                  <a:lnTo>
                    <a:pt x="415" y="209"/>
                  </a:lnTo>
                  <a:lnTo>
                    <a:pt x="413" y="212"/>
                  </a:lnTo>
                  <a:lnTo>
                    <a:pt x="413" y="214"/>
                  </a:lnTo>
                  <a:lnTo>
                    <a:pt x="410" y="214"/>
                  </a:lnTo>
                  <a:lnTo>
                    <a:pt x="408" y="214"/>
                  </a:lnTo>
                  <a:lnTo>
                    <a:pt x="405" y="214"/>
                  </a:lnTo>
                  <a:lnTo>
                    <a:pt x="403" y="214"/>
                  </a:lnTo>
                  <a:lnTo>
                    <a:pt x="403" y="217"/>
                  </a:lnTo>
                  <a:lnTo>
                    <a:pt x="401" y="217"/>
                  </a:lnTo>
                  <a:lnTo>
                    <a:pt x="403" y="217"/>
                  </a:lnTo>
                  <a:lnTo>
                    <a:pt x="403" y="219"/>
                  </a:lnTo>
                  <a:lnTo>
                    <a:pt x="405" y="219"/>
                  </a:lnTo>
                  <a:lnTo>
                    <a:pt x="408" y="219"/>
                  </a:lnTo>
                  <a:lnTo>
                    <a:pt x="410" y="219"/>
                  </a:lnTo>
                  <a:lnTo>
                    <a:pt x="413" y="219"/>
                  </a:lnTo>
                  <a:lnTo>
                    <a:pt x="413" y="221"/>
                  </a:lnTo>
                  <a:lnTo>
                    <a:pt x="415" y="221"/>
                  </a:lnTo>
                  <a:lnTo>
                    <a:pt x="415" y="224"/>
                  </a:lnTo>
                  <a:lnTo>
                    <a:pt x="413" y="224"/>
                  </a:lnTo>
                  <a:lnTo>
                    <a:pt x="413" y="226"/>
                  </a:lnTo>
                  <a:lnTo>
                    <a:pt x="410" y="226"/>
                  </a:lnTo>
                  <a:lnTo>
                    <a:pt x="413" y="226"/>
                  </a:lnTo>
                  <a:lnTo>
                    <a:pt x="413" y="228"/>
                  </a:lnTo>
                  <a:lnTo>
                    <a:pt x="410" y="228"/>
                  </a:lnTo>
                  <a:lnTo>
                    <a:pt x="408" y="228"/>
                  </a:lnTo>
                  <a:lnTo>
                    <a:pt x="408" y="231"/>
                  </a:lnTo>
                  <a:lnTo>
                    <a:pt x="405" y="231"/>
                  </a:lnTo>
                  <a:lnTo>
                    <a:pt x="403" y="231"/>
                  </a:lnTo>
                  <a:lnTo>
                    <a:pt x="403" y="233"/>
                  </a:lnTo>
                  <a:lnTo>
                    <a:pt x="401" y="233"/>
                  </a:lnTo>
                  <a:lnTo>
                    <a:pt x="398" y="233"/>
                  </a:lnTo>
                  <a:lnTo>
                    <a:pt x="396" y="233"/>
                  </a:lnTo>
                  <a:lnTo>
                    <a:pt x="394" y="231"/>
                  </a:lnTo>
                  <a:lnTo>
                    <a:pt x="394" y="228"/>
                  </a:lnTo>
                  <a:lnTo>
                    <a:pt x="391" y="231"/>
                  </a:lnTo>
                  <a:lnTo>
                    <a:pt x="389" y="231"/>
                  </a:lnTo>
                  <a:lnTo>
                    <a:pt x="389" y="233"/>
                  </a:lnTo>
                  <a:lnTo>
                    <a:pt x="386" y="233"/>
                  </a:lnTo>
                  <a:lnTo>
                    <a:pt x="384" y="233"/>
                  </a:lnTo>
                  <a:lnTo>
                    <a:pt x="386" y="233"/>
                  </a:lnTo>
                  <a:lnTo>
                    <a:pt x="386" y="231"/>
                  </a:lnTo>
                  <a:lnTo>
                    <a:pt x="384" y="231"/>
                  </a:lnTo>
                  <a:lnTo>
                    <a:pt x="386" y="231"/>
                  </a:lnTo>
                  <a:lnTo>
                    <a:pt x="386" y="228"/>
                  </a:lnTo>
                  <a:lnTo>
                    <a:pt x="386" y="226"/>
                  </a:lnTo>
                  <a:lnTo>
                    <a:pt x="389" y="226"/>
                  </a:lnTo>
                  <a:lnTo>
                    <a:pt x="391" y="226"/>
                  </a:lnTo>
                  <a:lnTo>
                    <a:pt x="391" y="224"/>
                  </a:lnTo>
                  <a:lnTo>
                    <a:pt x="389" y="224"/>
                  </a:lnTo>
                  <a:lnTo>
                    <a:pt x="386" y="224"/>
                  </a:lnTo>
                  <a:lnTo>
                    <a:pt x="384" y="224"/>
                  </a:lnTo>
                  <a:lnTo>
                    <a:pt x="382" y="224"/>
                  </a:lnTo>
                  <a:lnTo>
                    <a:pt x="382" y="221"/>
                  </a:lnTo>
                  <a:lnTo>
                    <a:pt x="379" y="221"/>
                  </a:lnTo>
                  <a:lnTo>
                    <a:pt x="377" y="221"/>
                  </a:lnTo>
                  <a:lnTo>
                    <a:pt x="375" y="219"/>
                  </a:lnTo>
                  <a:lnTo>
                    <a:pt x="372" y="219"/>
                  </a:lnTo>
                  <a:lnTo>
                    <a:pt x="372" y="217"/>
                  </a:lnTo>
                  <a:lnTo>
                    <a:pt x="370" y="217"/>
                  </a:lnTo>
                  <a:lnTo>
                    <a:pt x="367" y="217"/>
                  </a:lnTo>
                  <a:lnTo>
                    <a:pt x="367" y="214"/>
                  </a:lnTo>
                  <a:lnTo>
                    <a:pt x="365" y="214"/>
                  </a:lnTo>
                  <a:lnTo>
                    <a:pt x="363" y="214"/>
                  </a:lnTo>
                  <a:lnTo>
                    <a:pt x="360" y="212"/>
                  </a:lnTo>
                  <a:lnTo>
                    <a:pt x="360" y="209"/>
                  </a:lnTo>
                  <a:lnTo>
                    <a:pt x="363" y="209"/>
                  </a:lnTo>
                  <a:lnTo>
                    <a:pt x="365" y="209"/>
                  </a:lnTo>
                  <a:lnTo>
                    <a:pt x="367" y="209"/>
                  </a:lnTo>
                  <a:lnTo>
                    <a:pt x="370" y="209"/>
                  </a:lnTo>
                  <a:lnTo>
                    <a:pt x="370" y="207"/>
                  </a:lnTo>
                  <a:lnTo>
                    <a:pt x="372" y="209"/>
                  </a:lnTo>
                  <a:lnTo>
                    <a:pt x="372" y="207"/>
                  </a:lnTo>
                  <a:lnTo>
                    <a:pt x="375" y="207"/>
                  </a:lnTo>
                  <a:lnTo>
                    <a:pt x="377" y="207"/>
                  </a:lnTo>
                  <a:lnTo>
                    <a:pt x="379" y="207"/>
                  </a:lnTo>
                  <a:lnTo>
                    <a:pt x="379" y="205"/>
                  </a:lnTo>
                  <a:lnTo>
                    <a:pt x="379" y="207"/>
                  </a:lnTo>
                  <a:lnTo>
                    <a:pt x="382" y="207"/>
                  </a:lnTo>
                  <a:lnTo>
                    <a:pt x="384" y="207"/>
                  </a:lnTo>
                  <a:lnTo>
                    <a:pt x="384" y="209"/>
                  </a:lnTo>
                  <a:lnTo>
                    <a:pt x="386" y="209"/>
                  </a:lnTo>
                  <a:lnTo>
                    <a:pt x="389" y="209"/>
                  </a:lnTo>
                  <a:lnTo>
                    <a:pt x="386" y="209"/>
                  </a:lnTo>
                  <a:lnTo>
                    <a:pt x="386" y="207"/>
                  </a:lnTo>
                  <a:lnTo>
                    <a:pt x="386" y="205"/>
                  </a:lnTo>
                  <a:lnTo>
                    <a:pt x="386" y="207"/>
                  </a:lnTo>
                  <a:lnTo>
                    <a:pt x="389" y="207"/>
                  </a:lnTo>
                  <a:lnTo>
                    <a:pt x="389" y="205"/>
                  </a:lnTo>
                  <a:lnTo>
                    <a:pt x="391" y="205"/>
                  </a:lnTo>
                  <a:lnTo>
                    <a:pt x="394" y="205"/>
                  </a:lnTo>
                  <a:lnTo>
                    <a:pt x="394" y="207"/>
                  </a:lnTo>
                  <a:lnTo>
                    <a:pt x="396" y="205"/>
                  </a:lnTo>
                  <a:lnTo>
                    <a:pt x="398" y="205"/>
                  </a:lnTo>
                  <a:lnTo>
                    <a:pt x="396" y="205"/>
                  </a:lnTo>
                  <a:lnTo>
                    <a:pt x="394" y="205"/>
                  </a:lnTo>
                  <a:lnTo>
                    <a:pt x="396" y="202"/>
                  </a:lnTo>
                  <a:lnTo>
                    <a:pt x="398" y="202"/>
                  </a:lnTo>
                  <a:lnTo>
                    <a:pt x="398" y="200"/>
                  </a:lnTo>
                  <a:lnTo>
                    <a:pt x="396" y="200"/>
                  </a:lnTo>
                  <a:lnTo>
                    <a:pt x="394" y="200"/>
                  </a:lnTo>
                  <a:lnTo>
                    <a:pt x="391" y="200"/>
                  </a:lnTo>
                  <a:lnTo>
                    <a:pt x="389" y="200"/>
                  </a:lnTo>
                  <a:lnTo>
                    <a:pt x="389" y="202"/>
                  </a:lnTo>
                  <a:lnTo>
                    <a:pt x="386" y="202"/>
                  </a:lnTo>
                  <a:lnTo>
                    <a:pt x="384" y="202"/>
                  </a:lnTo>
                  <a:lnTo>
                    <a:pt x="386" y="202"/>
                  </a:lnTo>
                  <a:lnTo>
                    <a:pt x="384" y="202"/>
                  </a:lnTo>
                  <a:lnTo>
                    <a:pt x="384" y="205"/>
                  </a:lnTo>
                  <a:lnTo>
                    <a:pt x="384" y="202"/>
                  </a:lnTo>
                  <a:lnTo>
                    <a:pt x="382" y="202"/>
                  </a:lnTo>
                  <a:lnTo>
                    <a:pt x="379" y="202"/>
                  </a:lnTo>
                  <a:lnTo>
                    <a:pt x="377" y="202"/>
                  </a:lnTo>
                  <a:lnTo>
                    <a:pt x="377" y="200"/>
                  </a:lnTo>
                  <a:lnTo>
                    <a:pt x="379" y="200"/>
                  </a:lnTo>
                  <a:lnTo>
                    <a:pt x="377" y="200"/>
                  </a:lnTo>
                  <a:lnTo>
                    <a:pt x="377" y="198"/>
                  </a:lnTo>
                  <a:lnTo>
                    <a:pt x="375" y="198"/>
                  </a:lnTo>
                  <a:lnTo>
                    <a:pt x="375" y="200"/>
                  </a:lnTo>
                  <a:lnTo>
                    <a:pt x="372" y="200"/>
                  </a:lnTo>
                  <a:lnTo>
                    <a:pt x="370" y="200"/>
                  </a:lnTo>
                  <a:lnTo>
                    <a:pt x="372" y="202"/>
                  </a:lnTo>
                  <a:lnTo>
                    <a:pt x="375" y="202"/>
                  </a:lnTo>
                  <a:lnTo>
                    <a:pt x="372" y="202"/>
                  </a:lnTo>
                  <a:lnTo>
                    <a:pt x="370" y="202"/>
                  </a:lnTo>
                  <a:lnTo>
                    <a:pt x="367" y="202"/>
                  </a:lnTo>
                  <a:lnTo>
                    <a:pt x="367" y="205"/>
                  </a:lnTo>
                  <a:lnTo>
                    <a:pt x="365" y="205"/>
                  </a:lnTo>
                  <a:lnTo>
                    <a:pt x="365" y="202"/>
                  </a:lnTo>
                  <a:lnTo>
                    <a:pt x="363" y="202"/>
                  </a:lnTo>
                  <a:lnTo>
                    <a:pt x="363" y="205"/>
                  </a:lnTo>
                  <a:lnTo>
                    <a:pt x="360" y="205"/>
                  </a:lnTo>
                  <a:lnTo>
                    <a:pt x="358" y="205"/>
                  </a:lnTo>
                  <a:lnTo>
                    <a:pt x="356" y="205"/>
                  </a:lnTo>
                  <a:lnTo>
                    <a:pt x="353" y="205"/>
                  </a:lnTo>
                  <a:lnTo>
                    <a:pt x="353" y="202"/>
                  </a:lnTo>
                  <a:lnTo>
                    <a:pt x="351" y="202"/>
                  </a:lnTo>
                  <a:lnTo>
                    <a:pt x="348" y="202"/>
                  </a:lnTo>
                  <a:lnTo>
                    <a:pt x="348" y="200"/>
                  </a:lnTo>
                  <a:lnTo>
                    <a:pt x="346" y="200"/>
                  </a:lnTo>
                  <a:lnTo>
                    <a:pt x="348" y="200"/>
                  </a:lnTo>
                  <a:lnTo>
                    <a:pt x="346" y="198"/>
                  </a:lnTo>
                  <a:lnTo>
                    <a:pt x="344" y="198"/>
                  </a:lnTo>
                  <a:lnTo>
                    <a:pt x="346" y="198"/>
                  </a:lnTo>
                  <a:lnTo>
                    <a:pt x="344" y="198"/>
                  </a:lnTo>
                  <a:lnTo>
                    <a:pt x="346" y="198"/>
                  </a:lnTo>
                  <a:lnTo>
                    <a:pt x="346" y="195"/>
                  </a:lnTo>
                  <a:lnTo>
                    <a:pt x="344" y="195"/>
                  </a:lnTo>
                  <a:lnTo>
                    <a:pt x="341" y="195"/>
                  </a:lnTo>
                  <a:lnTo>
                    <a:pt x="339" y="195"/>
                  </a:lnTo>
                  <a:lnTo>
                    <a:pt x="337" y="193"/>
                  </a:lnTo>
                  <a:lnTo>
                    <a:pt x="334" y="193"/>
                  </a:lnTo>
                  <a:lnTo>
                    <a:pt x="332" y="193"/>
                  </a:lnTo>
                  <a:lnTo>
                    <a:pt x="329" y="193"/>
                  </a:lnTo>
                  <a:lnTo>
                    <a:pt x="327" y="193"/>
                  </a:lnTo>
                  <a:lnTo>
                    <a:pt x="325" y="193"/>
                  </a:lnTo>
                  <a:lnTo>
                    <a:pt x="327" y="193"/>
                  </a:lnTo>
                  <a:lnTo>
                    <a:pt x="325" y="193"/>
                  </a:lnTo>
                  <a:lnTo>
                    <a:pt x="322" y="190"/>
                  </a:lnTo>
                  <a:lnTo>
                    <a:pt x="322" y="188"/>
                  </a:lnTo>
                  <a:lnTo>
                    <a:pt x="320" y="188"/>
                  </a:lnTo>
                  <a:lnTo>
                    <a:pt x="320" y="186"/>
                  </a:lnTo>
                  <a:lnTo>
                    <a:pt x="318" y="186"/>
                  </a:lnTo>
                  <a:lnTo>
                    <a:pt x="315" y="186"/>
                  </a:lnTo>
                  <a:lnTo>
                    <a:pt x="315" y="183"/>
                  </a:lnTo>
                  <a:lnTo>
                    <a:pt x="315" y="181"/>
                  </a:lnTo>
                  <a:lnTo>
                    <a:pt x="313" y="181"/>
                  </a:lnTo>
                  <a:lnTo>
                    <a:pt x="313" y="179"/>
                  </a:lnTo>
                  <a:lnTo>
                    <a:pt x="311" y="179"/>
                  </a:lnTo>
                  <a:lnTo>
                    <a:pt x="308" y="176"/>
                  </a:lnTo>
                  <a:lnTo>
                    <a:pt x="311" y="176"/>
                  </a:lnTo>
                  <a:lnTo>
                    <a:pt x="311" y="174"/>
                  </a:lnTo>
                  <a:lnTo>
                    <a:pt x="313" y="176"/>
                  </a:lnTo>
                  <a:lnTo>
                    <a:pt x="313" y="174"/>
                  </a:lnTo>
                  <a:lnTo>
                    <a:pt x="311" y="174"/>
                  </a:lnTo>
                  <a:lnTo>
                    <a:pt x="308" y="174"/>
                  </a:lnTo>
                  <a:lnTo>
                    <a:pt x="308" y="171"/>
                  </a:lnTo>
                  <a:lnTo>
                    <a:pt x="306" y="171"/>
                  </a:lnTo>
                  <a:lnTo>
                    <a:pt x="308" y="171"/>
                  </a:lnTo>
                  <a:lnTo>
                    <a:pt x="308" y="169"/>
                  </a:lnTo>
                  <a:lnTo>
                    <a:pt x="311" y="169"/>
                  </a:lnTo>
                  <a:lnTo>
                    <a:pt x="313" y="167"/>
                  </a:lnTo>
                  <a:lnTo>
                    <a:pt x="315" y="167"/>
                  </a:lnTo>
                  <a:lnTo>
                    <a:pt x="318" y="167"/>
                  </a:lnTo>
                  <a:lnTo>
                    <a:pt x="320" y="167"/>
                  </a:lnTo>
                  <a:lnTo>
                    <a:pt x="322" y="167"/>
                  </a:lnTo>
                  <a:lnTo>
                    <a:pt x="325" y="167"/>
                  </a:lnTo>
                  <a:lnTo>
                    <a:pt x="327" y="167"/>
                  </a:lnTo>
                  <a:lnTo>
                    <a:pt x="327" y="169"/>
                  </a:lnTo>
                  <a:lnTo>
                    <a:pt x="329" y="169"/>
                  </a:lnTo>
                  <a:lnTo>
                    <a:pt x="327" y="169"/>
                  </a:lnTo>
                  <a:lnTo>
                    <a:pt x="327" y="171"/>
                  </a:lnTo>
                  <a:lnTo>
                    <a:pt x="329" y="171"/>
                  </a:lnTo>
                  <a:lnTo>
                    <a:pt x="327" y="171"/>
                  </a:lnTo>
                  <a:lnTo>
                    <a:pt x="329" y="171"/>
                  </a:lnTo>
                  <a:lnTo>
                    <a:pt x="332" y="171"/>
                  </a:lnTo>
                  <a:lnTo>
                    <a:pt x="334" y="171"/>
                  </a:lnTo>
                  <a:lnTo>
                    <a:pt x="337" y="171"/>
                  </a:lnTo>
                  <a:lnTo>
                    <a:pt x="334" y="169"/>
                  </a:lnTo>
                  <a:lnTo>
                    <a:pt x="337" y="169"/>
                  </a:lnTo>
                  <a:lnTo>
                    <a:pt x="339" y="169"/>
                  </a:lnTo>
                  <a:lnTo>
                    <a:pt x="341" y="169"/>
                  </a:lnTo>
                  <a:lnTo>
                    <a:pt x="341" y="167"/>
                  </a:lnTo>
                  <a:lnTo>
                    <a:pt x="344" y="167"/>
                  </a:lnTo>
                  <a:lnTo>
                    <a:pt x="344" y="169"/>
                  </a:lnTo>
                  <a:lnTo>
                    <a:pt x="346" y="169"/>
                  </a:lnTo>
                  <a:lnTo>
                    <a:pt x="348" y="169"/>
                  </a:lnTo>
                  <a:lnTo>
                    <a:pt x="351" y="169"/>
                  </a:lnTo>
                  <a:lnTo>
                    <a:pt x="353" y="169"/>
                  </a:lnTo>
                  <a:lnTo>
                    <a:pt x="356" y="169"/>
                  </a:lnTo>
                  <a:lnTo>
                    <a:pt x="358" y="169"/>
                  </a:lnTo>
                  <a:lnTo>
                    <a:pt x="358" y="171"/>
                  </a:lnTo>
                  <a:lnTo>
                    <a:pt x="360" y="171"/>
                  </a:lnTo>
                  <a:lnTo>
                    <a:pt x="363" y="169"/>
                  </a:lnTo>
                  <a:lnTo>
                    <a:pt x="365" y="169"/>
                  </a:lnTo>
                  <a:lnTo>
                    <a:pt x="367" y="169"/>
                  </a:lnTo>
                  <a:lnTo>
                    <a:pt x="370" y="169"/>
                  </a:lnTo>
                  <a:lnTo>
                    <a:pt x="370" y="171"/>
                  </a:lnTo>
                  <a:lnTo>
                    <a:pt x="372" y="171"/>
                  </a:lnTo>
                  <a:lnTo>
                    <a:pt x="375" y="171"/>
                  </a:lnTo>
                  <a:lnTo>
                    <a:pt x="375" y="174"/>
                  </a:lnTo>
                  <a:lnTo>
                    <a:pt x="377" y="174"/>
                  </a:lnTo>
                  <a:lnTo>
                    <a:pt x="379" y="174"/>
                  </a:lnTo>
                  <a:lnTo>
                    <a:pt x="379" y="176"/>
                  </a:lnTo>
                  <a:lnTo>
                    <a:pt x="382" y="176"/>
                  </a:lnTo>
                  <a:lnTo>
                    <a:pt x="382" y="179"/>
                  </a:lnTo>
                  <a:lnTo>
                    <a:pt x="384" y="179"/>
                  </a:lnTo>
                  <a:lnTo>
                    <a:pt x="386" y="179"/>
                  </a:lnTo>
                  <a:lnTo>
                    <a:pt x="386" y="176"/>
                  </a:lnTo>
                  <a:lnTo>
                    <a:pt x="389" y="174"/>
                  </a:lnTo>
                  <a:lnTo>
                    <a:pt x="386" y="174"/>
                  </a:lnTo>
                  <a:lnTo>
                    <a:pt x="384" y="171"/>
                  </a:lnTo>
                  <a:lnTo>
                    <a:pt x="384" y="174"/>
                  </a:lnTo>
                  <a:lnTo>
                    <a:pt x="382" y="174"/>
                  </a:lnTo>
                  <a:lnTo>
                    <a:pt x="382" y="171"/>
                  </a:lnTo>
                  <a:lnTo>
                    <a:pt x="379" y="171"/>
                  </a:lnTo>
                  <a:lnTo>
                    <a:pt x="377" y="171"/>
                  </a:lnTo>
                  <a:lnTo>
                    <a:pt x="379" y="171"/>
                  </a:lnTo>
                  <a:lnTo>
                    <a:pt x="377" y="171"/>
                  </a:lnTo>
                  <a:lnTo>
                    <a:pt x="375" y="169"/>
                  </a:lnTo>
                  <a:lnTo>
                    <a:pt x="377" y="169"/>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7" name="Freeform 52570"/>
            <p:cNvSpPr>
              <a:spLocks noEditPoints="1"/>
            </p:cNvSpPr>
            <p:nvPr/>
          </p:nvSpPr>
          <p:spPr bwMode="auto">
            <a:xfrm>
              <a:off x="2266948" y="1906595"/>
              <a:ext cx="1393824" cy="2157419"/>
            </a:xfrm>
            <a:custGeom>
              <a:avLst/>
              <a:gdLst>
                <a:gd name="T0" fmla="*/ 64 w 878"/>
                <a:gd name="T1" fmla="*/ 1345 h 1359"/>
                <a:gd name="T2" fmla="*/ 42 w 878"/>
                <a:gd name="T3" fmla="*/ 1307 h 1359"/>
                <a:gd name="T4" fmla="*/ 35 w 878"/>
                <a:gd name="T5" fmla="*/ 1300 h 1359"/>
                <a:gd name="T6" fmla="*/ 194 w 878"/>
                <a:gd name="T7" fmla="*/ 1297 h 1359"/>
                <a:gd name="T8" fmla="*/ 26 w 878"/>
                <a:gd name="T9" fmla="*/ 1290 h 1359"/>
                <a:gd name="T10" fmla="*/ 38 w 878"/>
                <a:gd name="T11" fmla="*/ 1271 h 1359"/>
                <a:gd name="T12" fmla="*/ 23 w 878"/>
                <a:gd name="T13" fmla="*/ 1262 h 1359"/>
                <a:gd name="T14" fmla="*/ 19 w 878"/>
                <a:gd name="T15" fmla="*/ 1257 h 1359"/>
                <a:gd name="T16" fmla="*/ 31 w 878"/>
                <a:gd name="T17" fmla="*/ 1252 h 1359"/>
                <a:gd name="T18" fmla="*/ 19 w 878"/>
                <a:gd name="T19" fmla="*/ 1240 h 1359"/>
                <a:gd name="T20" fmla="*/ 21 w 878"/>
                <a:gd name="T21" fmla="*/ 1224 h 1359"/>
                <a:gd name="T22" fmla="*/ 9 w 878"/>
                <a:gd name="T23" fmla="*/ 1209 h 1359"/>
                <a:gd name="T24" fmla="*/ 9 w 878"/>
                <a:gd name="T25" fmla="*/ 1202 h 1359"/>
                <a:gd name="T26" fmla="*/ 4 w 878"/>
                <a:gd name="T27" fmla="*/ 1181 h 1359"/>
                <a:gd name="T28" fmla="*/ 14 w 878"/>
                <a:gd name="T29" fmla="*/ 1167 h 1359"/>
                <a:gd name="T30" fmla="*/ 14 w 878"/>
                <a:gd name="T31" fmla="*/ 1150 h 1359"/>
                <a:gd name="T32" fmla="*/ 35 w 878"/>
                <a:gd name="T33" fmla="*/ 1126 h 1359"/>
                <a:gd name="T34" fmla="*/ 52 w 878"/>
                <a:gd name="T35" fmla="*/ 1114 h 1359"/>
                <a:gd name="T36" fmla="*/ 71 w 878"/>
                <a:gd name="T37" fmla="*/ 1107 h 1359"/>
                <a:gd name="T38" fmla="*/ 102 w 878"/>
                <a:gd name="T39" fmla="*/ 1091 h 1359"/>
                <a:gd name="T40" fmla="*/ 109 w 878"/>
                <a:gd name="T41" fmla="*/ 1081 h 1359"/>
                <a:gd name="T42" fmla="*/ 111 w 878"/>
                <a:gd name="T43" fmla="*/ 1072 h 1359"/>
                <a:gd name="T44" fmla="*/ 121 w 878"/>
                <a:gd name="T45" fmla="*/ 1062 h 1359"/>
                <a:gd name="T46" fmla="*/ 149 w 878"/>
                <a:gd name="T47" fmla="*/ 1055 h 1359"/>
                <a:gd name="T48" fmla="*/ 128 w 878"/>
                <a:gd name="T49" fmla="*/ 1053 h 1359"/>
                <a:gd name="T50" fmla="*/ 159 w 878"/>
                <a:gd name="T51" fmla="*/ 1048 h 1359"/>
                <a:gd name="T52" fmla="*/ 180 w 878"/>
                <a:gd name="T53" fmla="*/ 1034 h 1359"/>
                <a:gd name="T54" fmla="*/ 204 w 878"/>
                <a:gd name="T55" fmla="*/ 1005 h 1359"/>
                <a:gd name="T56" fmla="*/ 218 w 878"/>
                <a:gd name="T57" fmla="*/ 993 h 1359"/>
                <a:gd name="T58" fmla="*/ 204 w 878"/>
                <a:gd name="T59" fmla="*/ 984 h 1359"/>
                <a:gd name="T60" fmla="*/ 237 w 878"/>
                <a:gd name="T61" fmla="*/ 972 h 1359"/>
                <a:gd name="T62" fmla="*/ 251 w 878"/>
                <a:gd name="T63" fmla="*/ 953 h 1359"/>
                <a:gd name="T64" fmla="*/ 254 w 878"/>
                <a:gd name="T65" fmla="*/ 936 h 1359"/>
                <a:gd name="T66" fmla="*/ 254 w 878"/>
                <a:gd name="T67" fmla="*/ 929 h 1359"/>
                <a:gd name="T68" fmla="*/ 254 w 878"/>
                <a:gd name="T69" fmla="*/ 915 h 1359"/>
                <a:gd name="T70" fmla="*/ 251 w 878"/>
                <a:gd name="T71" fmla="*/ 910 h 1359"/>
                <a:gd name="T72" fmla="*/ 256 w 878"/>
                <a:gd name="T73" fmla="*/ 903 h 1359"/>
                <a:gd name="T74" fmla="*/ 263 w 878"/>
                <a:gd name="T75" fmla="*/ 891 h 1359"/>
                <a:gd name="T76" fmla="*/ 277 w 878"/>
                <a:gd name="T77" fmla="*/ 884 h 1359"/>
                <a:gd name="T78" fmla="*/ 292 w 878"/>
                <a:gd name="T79" fmla="*/ 872 h 1359"/>
                <a:gd name="T80" fmla="*/ 311 w 878"/>
                <a:gd name="T81" fmla="*/ 851 h 1359"/>
                <a:gd name="T82" fmla="*/ 265 w 878"/>
                <a:gd name="T83" fmla="*/ 827 h 1359"/>
                <a:gd name="T84" fmla="*/ 346 w 878"/>
                <a:gd name="T85" fmla="*/ 810 h 1359"/>
                <a:gd name="T86" fmla="*/ 273 w 878"/>
                <a:gd name="T87" fmla="*/ 817 h 1359"/>
                <a:gd name="T88" fmla="*/ 356 w 878"/>
                <a:gd name="T89" fmla="*/ 791 h 1359"/>
                <a:gd name="T90" fmla="*/ 384 w 878"/>
                <a:gd name="T91" fmla="*/ 784 h 1359"/>
                <a:gd name="T92" fmla="*/ 337 w 878"/>
                <a:gd name="T93" fmla="*/ 758 h 1359"/>
                <a:gd name="T94" fmla="*/ 384 w 878"/>
                <a:gd name="T95" fmla="*/ 753 h 1359"/>
                <a:gd name="T96" fmla="*/ 446 w 878"/>
                <a:gd name="T97" fmla="*/ 710 h 1359"/>
                <a:gd name="T98" fmla="*/ 460 w 878"/>
                <a:gd name="T99" fmla="*/ 691 h 1359"/>
                <a:gd name="T100" fmla="*/ 488 w 878"/>
                <a:gd name="T101" fmla="*/ 689 h 1359"/>
                <a:gd name="T102" fmla="*/ 488 w 878"/>
                <a:gd name="T103" fmla="*/ 682 h 1359"/>
                <a:gd name="T104" fmla="*/ 688 w 878"/>
                <a:gd name="T105" fmla="*/ 672 h 1359"/>
                <a:gd name="T106" fmla="*/ 702 w 878"/>
                <a:gd name="T107" fmla="*/ 651 h 1359"/>
                <a:gd name="T108" fmla="*/ 704 w 878"/>
                <a:gd name="T109" fmla="*/ 627 h 1359"/>
                <a:gd name="T110" fmla="*/ 344 w 878"/>
                <a:gd name="T111" fmla="*/ 252 h 1359"/>
                <a:gd name="T112" fmla="*/ 524 w 878"/>
                <a:gd name="T113" fmla="*/ 178 h 1359"/>
                <a:gd name="T114" fmla="*/ 254 w 878"/>
                <a:gd name="T115" fmla="*/ 124 h 1359"/>
                <a:gd name="T116" fmla="*/ 507 w 878"/>
                <a:gd name="T117" fmla="*/ 105 h 1359"/>
                <a:gd name="T118" fmla="*/ 498 w 878"/>
                <a:gd name="T119" fmla="*/ 79 h 1359"/>
                <a:gd name="T120" fmla="*/ 455 w 878"/>
                <a:gd name="T121" fmla="*/ 59 h 1359"/>
                <a:gd name="T122" fmla="*/ 702 w 878"/>
                <a:gd name="T123" fmla="*/ 40 h 1359"/>
                <a:gd name="T124" fmla="*/ 711 w 878"/>
                <a:gd name="T125" fmla="*/ 26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8" h="1359">
                  <a:moveTo>
                    <a:pt x="97" y="1359"/>
                  </a:moveTo>
                  <a:lnTo>
                    <a:pt x="95" y="1359"/>
                  </a:lnTo>
                  <a:lnTo>
                    <a:pt x="97" y="1359"/>
                  </a:lnTo>
                  <a:close/>
                  <a:moveTo>
                    <a:pt x="99" y="1359"/>
                  </a:moveTo>
                  <a:lnTo>
                    <a:pt x="97" y="1359"/>
                  </a:lnTo>
                  <a:lnTo>
                    <a:pt x="99" y="1359"/>
                  </a:lnTo>
                  <a:lnTo>
                    <a:pt x="97" y="1359"/>
                  </a:lnTo>
                  <a:lnTo>
                    <a:pt x="99" y="1359"/>
                  </a:lnTo>
                  <a:close/>
                  <a:moveTo>
                    <a:pt x="99" y="1359"/>
                  </a:moveTo>
                  <a:lnTo>
                    <a:pt x="97" y="1359"/>
                  </a:lnTo>
                  <a:lnTo>
                    <a:pt x="99" y="1359"/>
                  </a:lnTo>
                  <a:close/>
                  <a:moveTo>
                    <a:pt x="97" y="1359"/>
                  </a:moveTo>
                  <a:lnTo>
                    <a:pt x="95" y="1359"/>
                  </a:lnTo>
                  <a:lnTo>
                    <a:pt x="97" y="1359"/>
                  </a:lnTo>
                  <a:close/>
                  <a:moveTo>
                    <a:pt x="99" y="1357"/>
                  </a:moveTo>
                  <a:lnTo>
                    <a:pt x="99" y="1359"/>
                  </a:lnTo>
                  <a:lnTo>
                    <a:pt x="99" y="1357"/>
                  </a:lnTo>
                  <a:lnTo>
                    <a:pt x="99" y="1359"/>
                  </a:lnTo>
                  <a:lnTo>
                    <a:pt x="97" y="1359"/>
                  </a:lnTo>
                  <a:lnTo>
                    <a:pt x="99" y="1357"/>
                  </a:lnTo>
                  <a:close/>
                  <a:moveTo>
                    <a:pt x="80" y="1359"/>
                  </a:moveTo>
                  <a:lnTo>
                    <a:pt x="78" y="1359"/>
                  </a:lnTo>
                  <a:lnTo>
                    <a:pt x="78" y="1357"/>
                  </a:lnTo>
                  <a:lnTo>
                    <a:pt x="80" y="1357"/>
                  </a:lnTo>
                  <a:lnTo>
                    <a:pt x="80" y="1359"/>
                  </a:lnTo>
                  <a:close/>
                  <a:moveTo>
                    <a:pt x="97" y="1357"/>
                  </a:moveTo>
                  <a:lnTo>
                    <a:pt x="95" y="1357"/>
                  </a:lnTo>
                  <a:lnTo>
                    <a:pt x="97" y="1357"/>
                  </a:lnTo>
                  <a:lnTo>
                    <a:pt x="95" y="1357"/>
                  </a:lnTo>
                  <a:lnTo>
                    <a:pt x="97" y="1357"/>
                  </a:lnTo>
                  <a:close/>
                  <a:moveTo>
                    <a:pt x="80" y="1357"/>
                  </a:moveTo>
                  <a:lnTo>
                    <a:pt x="80" y="1359"/>
                  </a:lnTo>
                  <a:lnTo>
                    <a:pt x="80" y="1357"/>
                  </a:lnTo>
                  <a:close/>
                  <a:moveTo>
                    <a:pt x="87" y="1357"/>
                  </a:moveTo>
                  <a:lnTo>
                    <a:pt x="85" y="1357"/>
                  </a:lnTo>
                  <a:lnTo>
                    <a:pt x="85" y="1359"/>
                  </a:lnTo>
                  <a:lnTo>
                    <a:pt x="85" y="1357"/>
                  </a:lnTo>
                  <a:lnTo>
                    <a:pt x="87" y="1357"/>
                  </a:lnTo>
                  <a:close/>
                  <a:moveTo>
                    <a:pt x="90" y="1357"/>
                  </a:moveTo>
                  <a:lnTo>
                    <a:pt x="92" y="1357"/>
                  </a:lnTo>
                  <a:lnTo>
                    <a:pt x="92" y="1359"/>
                  </a:lnTo>
                  <a:lnTo>
                    <a:pt x="92" y="1357"/>
                  </a:lnTo>
                  <a:lnTo>
                    <a:pt x="92" y="1359"/>
                  </a:lnTo>
                  <a:lnTo>
                    <a:pt x="90" y="1359"/>
                  </a:lnTo>
                  <a:lnTo>
                    <a:pt x="92" y="1359"/>
                  </a:lnTo>
                  <a:lnTo>
                    <a:pt x="90" y="1359"/>
                  </a:lnTo>
                  <a:lnTo>
                    <a:pt x="90" y="1357"/>
                  </a:lnTo>
                  <a:lnTo>
                    <a:pt x="90" y="1359"/>
                  </a:lnTo>
                  <a:lnTo>
                    <a:pt x="90" y="1357"/>
                  </a:lnTo>
                  <a:lnTo>
                    <a:pt x="92" y="1357"/>
                  </a:lnTo>
                  <a:lnTo>
                    <a:pt x="90" y="1357"/>
                  </a:lnTo>
                  <a:close/>
                  <a:moveTo>
                    <a:pt x="78" y="1354"/>
                  </a:moveTo>
                  <a:lnTo>
                    <a:pt x="78" y="1357"/>
                  </a:lnTo>
                  <a:lnTo>
                    <a:pt x="78" y="1354"/>
                  </a:lnTo>
                  <a:lnTo>
                    <a:pt x="76" y="1357"/>
                  </a:lnTo>
                  <a:lnTo>
                    <a:pt x="78" y="1357"/>
                  </a:lnTo>
                  <a:lnTo>
                    <a:pt x="76" y="1357"/>
                  </a:lnTo>
                  <a:lnTo>
                    <a:pt x="76" y="1354"/>
                  </a:lnTo>
                  <a:lnTo>
                    <a:pt x="78" y="1354"/>
                  </a:lnTo>
                  <a:close/>
                  <a:moveTo>
                    <a:pt x="106" y="1354"/>
                  </a:moveTo>
                  <a:lnTo>
                    <a:pt x="104" y="1354"/>
                  </a:lnTo>
                  <a:lnTo>
                    <a:pt x="106" y="1354"/>
                  </a:lnTo>
                  <a:close/>
                  <a:moveTo>
                    <a:pt x="106" y="1354"/>
                  </a:moveTo>
                  <a:lnTo>
                    <a:pt x="109" y="1354"/>
                  </a:lnTo>
                  <a:lnTo>
                    <a:pt x="106" y="1354"/>
                  </a:lnTo>
                  <a:close/>
                  <a:moveTo>
                    <a:pt x="78" y="1354"/>
                  </a:moveTo>
                  <a:lnTo>
                    <a:pt x="76" y="1354"/>
                  </a:lnTo>
                  <a:lnTo>
                    <a:pt x="78" y="1354"/>
                  </a:lnTo>
                  <a:close/>
                  <a:moveTo>
                    <a:pt x="114" y="1352"/>
                  </a:moveTo>
                  <a:lnTo>
                    <a:pt x="114" y="1354"/>
                  </a:lnTo>
                  <a:lnTo>
                    <a:pt x="111" y="1354"/>
                  </a:lnTo>
                  <a:lnTo>
                    <a:pt x="114" y="1354"/>
                  </a:lnTo>
                  <a:lnTo>
                    <a:pt x="111" y="1354"/>
                  </a:lnTo>
                  <a:lnTo>
                    <a:pt x="114" y="1352"/>
                  </a:lnTo>
                  <a:close/>
                  <a:moveTo>
                    <a:pt x="118" y="1352"/>
                  </a:moveTo>
                  <a:lnTo>
                    <a:pt x="116" y="1352"/>
                  </a:lnTo>
                  <a:lnTo>
                    <a:pt x="118" y="1352"/>
                  </a:lnTo>
                  <a:close/>
                  <a:moveTo>
                    <a:pt x="116" y="1352"/>
                  </a:moveTo>
                  <a:lnTo>
                    <a:pt x="116" y="1354"/>
                  </a:lnTo>
                  <a:lnTo>
                    <a:pt x="116" y="1352"/>
                  </a:lnTo>
                  <a:close/>
                  <a:moveTo>
                    <a:pt x="111" y="1352"/>
                  </a:moveTo>
                  <a:lnTo>
                    <a:pt x="114" y="1352"/>
                  </a:lnTo>
                  <a:lnTo>
                    <a:pt x="111" y="1352"/>
                  </a:lnTo>
                  <a:close/>
                  <a:moveTo>
                    <a:pt x="123" y="1347"/>
                  </a:moveTo>
                  <a:lnTo>
                    <a:pt x="123" y="1349"/>
                  </a:lnTo>
                  <a:lnTo>
                    <a:pt x="123" y="1347"/>
                  </a:lnTo>
                  <a:close/>
                  <a:moveTo>
                    <a:pt x="68" y="1345"/>
                  </a:moveTo>
                  <a:lnTo>
                    <a:pt x="68" y="1347"/>
                  </a:lnTo>
                  <a:lnTo>
                    <a:pt x="68" y="1345"/>
                  </a:lnTo>
                  <a:close/>
                  <a:moveTo>
                    <a:pt x="64" y="1345"/>
                  </a:moveTo>
                  <a:lnTo>
                    <a:pt x="66" y="1345"/>
                  </a:lnTo>
                  <a:lnTo>
                    <a:pt x="68" y="1345"/>
                  </a:lnTo>
                  <a:lnTo>
                    <a:pt x="68" y="1347"/>
                  </a:lnTo>
                  <a:lnTo>
                    <a:pt x="66" y="1347"/>
                  </a:lnTo>
                  <a:lnTo>
                    <a:pt x="66" y="1345"/>
                  </a:lnTo>
                  <a:lnTo>
                    <a:pt x="66" y="1347"/>
                  </a:lnTo>
                  <a:lnTo>
                    <a:pt x="64" y="1347"/>
                  </a:lnTo>
                  <a:lnTo>
                    <a:pt x="64" y="1345"/>
                  </a:lnTo>
                  <a:lnTo>
                    <a:pt x="64" y="1347"/>
                  </a:lnTo>
                  <a:lnTo>
                    <a:pt x="64" y="1345"/>
                  </a:lnTo>
                  <a:close/>
                  <a:moveTo>
                    <a:pt x="144" y="1330"/>
                  </a:moveTo>
                  <a:lnTo>
                    <a:pt x="144" y="1333"/>
                  </a:lnTo>
                  <a:lnTo>
                    <a:pt x="144" y="1330"/>
                  </a:lnTo>
                  <a:lnTo>
                    <a:pt x="144" y="1333"/>
                  </a:lnTo>
                  <a:lnTo>
                    <a:pt x="142" y="1333"/>
                  </a:lnTo>
                  <a:lnTo>
                    <a:pt x="142" y="1335"/>
                  </a:lnTo>
                  <a:lnTo>
                    <a:pt x="140" y="1335"/>
                  </a:lnTo>
                  <a:lnTo>
                    <a:pt x="140" y="1333"/>
                  </a:lnTo>
                  <a:lnTo>
                    <a:pt x="137" y="1333"/>
                  </a:lnTo>
                  <a:lnTo>
                    <a:pt x="140" y="1333"/>
                  </a:lnTo>
                  <a:lnTo>
                    <a:pt x="142" y="1333"/>
                  </a:lnTo>
                  <a:lnTo>
                    <a:pt x="142" y="1330"/>
                  </a:lnTo>
                  <a:lnTo>
                    <a:pt x="144" y="1330"/>
                  </a:lnTo>
                  <a:close/>
                  <a:moveTo>
                    <a:pt x="149" y="1326"/>
                  </a:moveTo>
                  <a:lnTo>
                    <a:pt x="149" y="1328"/>
                  </a:lnTo>
                  <a:lnTo>
                    <a:pt x="147" y="1328"/>
                  </a:lnTo>
                  <a:lnTo>
                    <a:pt x="149" y="1328"/>
                  </a:lnTo>
                  <a:lnTo>
                    <a:pt x="147" y="1328"/>
                  </a:lnTo>
                  <a:lnTo>
                    <a:pt x="147" y="1326"/>
                  </a:lnTo>
                  <a:lnTo>
                    <a:pt x="149" y="1326"/>
                  </a:lnTo>
                  <a:close/>
                  <a:moveTo>
                    <a:pt x="149" y="1323"/>
                  </a:moveTo>
                  <a:lnTo>
                    <a:pt x="152" y="1323"/>
                  </a:lnTo>
                  <a:lnTo>
                    <a:pt x="152" y="1326"/>
                  </a:lnTo>
                  <a:lnTo>
                    <a:pt x="149" y="1326"/>
                  </a:lnTo>
                  <a:lnTo>
                    <a:pt x="152" y="1326"/>
                  </a:lnTo>
                  <a:lnTo>
                    <a:pt x="149" y="1326"/>
                  </a:lnTo>
                  <a:lnTo>
                    <a:pt x="147" y="1326"/>
                  </a:lnTo>
                  <a:lnTo>
                    <a:pt x="149" y="1326"/>
                  </a:lnTo>
                  <a:lnTo>
                    <a:pt x="149" y="1323"/>
                  </a:lnTo>
                  <a:close/>
                  <a:moveTo>
                    <a:pt x="154" y="1321"/>
                  </a:moveTo>
                  <a:lnTo>
                    <a:pt x="152" y="1321"/>
                  </a:lnTo>
                  <a:lnTo>
                    <a:pt x="154" y="1321"/>
                  </a:lnTo>
                  <a:close/>
                  <a:moveTo>
                    <a:pt x="154" y="1319"/>
                  </a:moveTo>
                  <a:lnTo>
                    <a:pt x="154" y="1321"/>
                  </a:lnTo>
                  <a:lnTo>
                    <a:pt x="154" y="1319"/>
                  </a:lnTo>
                  <a:close/>
                  <a:moveTo>
                    <a:pt x="156" y="1319"/>
                  </a:moveTo>
                  <a:lnTo>
                    <a:pt x="156" y="1321"/>
                  </a:lnTo>
                  <a:lnTo>
                    <a:pt x="156" y="1319"/>
                  </a:lnTo>
                  <a:lnTo>
                    <a:pt x="154" y="1319"/>
                  </a:lnTo>
                  <a:lnTo>
                    <a:pt x="156" y="1319"/>
                  </a:lnTo>
                  <a:close/>
                  <a:moveTo>
                    <a:pt x="161" y="1314"/>
                  </a:moveTo>
                  <a:lnTo>
                    <a:pt x="163" y="1314"/>
                  </a:lnTo>
                  <a:lnTo>
                    <a:pt x="161" y="1314"/>
                  </a:lnTo>
                  <a:close/>
                  <a:moveTo>
                    <a:pt x="159" y="1314"/>
                  </a:moveTo>
                  <a:lnTo>
                    <a:pt x="159" y="1311"/>
                  </a:lnTo>
                  <a:lnTo>
                    <a:pt x="159" y="1314"/>
                  </a:lnTo>
                  <a:close/>
                  <a:moveTo>
                    <a:pt x="156" y="1314"/>
                  </a:moveTo>
                  <a:lnTo>
                    <a:pt x="156" y="1311"/>
                  </a:lnTo>
                  <a:lnTo>
                    <a:pt x="156" y="1314"/>
                  </a:lnTo>
                  <a:close/>
                  <a:moveTo>
                    <a:pt x="161" y="1311"/>
                  </a:moveTo>
                  <a:lnTo>
                    <a:pt x="163" y="1311"/>
                  </a:lnTo>
                  <a:lnTo>
                    <a:pt x="163" y="1314"/>
                  </a:lnTo>
                  <a:lnTo>
                    <a:pt x="163" y="1311"/>
                  </a:lnTo>
                  <a:lnTo>
                    <a:pt x="163" y="1314"/>
                  </a:lnTo>
                  <a:lnTo>
                    <a:pt x="163" y="1311"/>
                  </a:lnTo>
                  <a:lnTo>
                    <a:pt x="163" y="1314"/>
                  </a:lnTo>
                  <a:lnTo>
                    <a:pt x="161" y="1314"/>
                  </a:lnTo>
                  <a:lnTo>
                    <a:pt x="163" y="1314"/>
                  </a:lnTo>
                  <a:lnTo>
                    <a:pt x="161" y="1314"/>
                  </a:lnTo>
                  <a:lnTo>
                    <a:pt x="161" y="1311"/>
                  </a:lnTo>
                  <a:lnTo>
                    <a:pt x="161" y="1314"/>
                  </a:lnTo>
                  <a:lnTo>
                    <a:pt x="161" y="1311"/>
                  </a:lnTo>
                  <a:close/>
                  <a:moveTo>
                    <a:pt x="163" y="1314"/>
                  </a:moveTo>
                  <a:lnTo>
                    <a:pt x="166" y="1314"/>
                  </a:lnTo>
                  <a:lnTo>
                    <a:pt x="163" y="1314"/>
                  </a:lnTo>
                  <a:lnTo>
                    <a:pt x="166" y="1311"/>
                  </a:lnTo>
                  <a:lnTo>
                    <a:pt x="166" y="1314"/>
                  </a:lnTo>
                  <a:lnTo>
                    <a:pt x="163" y="1314"/>
                  </a:lnTo>
                  <a:close/>
                  <a:moveTo>
                    <a:pt x="168" y="1311"/>
                  </a:moveTo>
                  <a:lnTo>
                    <a:pt x="166" y="1311"/>
                  </a:lnTo>
                  <a:lnTo>
                    <a:pt x="168" y="1311"/>
                  </a:lnTo>
                  <a:lnTo>
                    <a:pt x="168" y="1309"/>
                  </a:lnTo>
                  <a:lnTo>
                    <a:pt x="168" y="1311"/>
                  </a:lnTo>
                  <a:close/>
                  <a:moveTo>
                    <a:pt x="166" y="1311"/>
                  </a:moveTo>
                  <a:lnTo>
                    <a:pt x="163" y="1311"/>
                  </a:lnTo>
                  <a:lnTo>
                    <a:pt x="166" y="1311"/>
                  </a:lnTo>
                  <a:lnTo>
                    <a:pt x="166" y="1309"/>
                  </a:lnTo>
                  <a:lnTo>
                    <a:pt x="166" y="1311"/>
                  </a:lnTo>
                  <a:close/>
                  <a:moveTo>
                    <a:pt x="166" y="1309"/>
                  </a:moveTo>
                  <a:lnTo>
                    <a:pt x="163" y="1309"/>
                  </a:lnTo>
                  <a:lnTo>
                    <a:pt x="166" y="1309"/>
                  </a:lnTo>
                  <a:close/>
                  <a:moveTo>
                    <a:pt x="47" y="1309"/>
                  </a:moveTo>
                  <a:lnTo>
                    <a:pt x="47" y="1311"/>
                  </a:lnTo>
                  <a:lnTo>
                    <a:pt x="47" y="1309"/>
                  </a:lnTo>
                  <a:close/>
                  <a:moveTo>
                    <a:pt x="168" y="1309"/>
                  </a:moveTo>
                  <a:lnTo>
                    <a:pt x="166" y="1309"/>
                  </a:lnTo>
                  <a:lnTo>
                    <a:pt x="168" y="1309"/>
                  </a:lnTo>
                  <a:close/>
                  <a:moveTo>
                    <a:pt x="42" y="1307"/>
                  </a:moveTo>
                  <a:lnTo>
                    <a:pt x="42" y="1309"/>
                  </a:lnTo>
                  <a:lnTo>
                    <a:pt x="40" y="1309"/>
                  </a:lnTo>
                  <a:lnTo>
                    <a:pt x="40" y="1307"/>
                  </a:lnTo>
                  <a:lnTo>
                    <a:pt x="42" y="1307"/>
                  </a:lnTo>
                  <a:close/>
                  <a:moveTo>
                    <a:pt x="182" y="1307"/>
                  </a:moveTo>
                  <a:lnTo>
                    <a:pt x="185" y="1307"/>
                  </a:lnTo>
                  <a:lnTo>
                    <a:pt x="182" y="1307"/>
                  </a:lnTo>
                  <a:close/>
                  <a:moveTo>
                    <a:pt x="42" y="1307"/>
                  </a:moveTo>
                  <a:lnTo>
                    <a:pt x="40" y="1307"/>
                  </a:lnTo>
                  <a:lnTo>
                    <a:pt x="42" y="1307"/>
                  </a:lnTo>
                  <a:lnTo>
                    <a:pt x="40" y="1307"/>
                  </a:lnTo>
                  <a:lnTo>
                    <a:pt x="42" y="1307"/>
                  </a:lnTo>
                  <a:close/>
                  <a:moveTo>
                    <a:pt x="42" y="1307"/>
                  </a:moveTo>
                  <a:lnTo>
                    <a:pt x="40" y="1307"/>
                  </a:lnTo>
                  <a:lnTo>
                    <a:pt x="42" y="1307"/>
                  </a:lnTo>
                  <a:close/>
                  <a:moveTo>
                    <a:pt x="47" y="1307"/>
                  </a:moveTo>
                  <a:lnTo>
                    <a:pt x="45" y="1307"/>
                  </a:lnTo>
                  <a:lnTo>
                    <a:pt x="47" y="1307"/>
                  </a:lnTo>
                  <a:close/>
                  <a:moveTo>
                    <a:pt x="45" y="1307"/>
                  </a:moveTo>
                  <a:lnTo>
                    <a:pt x="42" y="1307"/>
                  </a:lnTo>
                  <a:lnTo>
                    <a:pt x="45" y="1307"/>
                  </a:lnTo>
                  <a:lnTo>
                    <a:pt x="45" y="1304"/>
                  </a:lnTo>
                  <a:lnTo>
                    <a:pt x="45" y="1307"/>
                  </a:lnTo>
                  <a:close/>
                  <a:moveTo>
                    <a:pt x="180" y="1307"/>
                  </a:moveTo>
                  <a:lnTo>
                    <a:pt x="180" y="1304"/>
                  </a:lnTo>
                  <a:lnTo>
                    <a:pt x="180" y="1307"/>
                  </a:lnTo>
                  <a:close/>
                  <a:moveTo>
                    <a:pt x="40" y="1307"/>
                  </a:moveTo>
                  <a:lnTo>
                    <a:pt x="40" y="1304"/>
                  </a:lnTo>
                  <a:lnTo>
                    <a:pt x="40" y="1307"/>
                  </a:lnTo>
                  <a:close/>
                  <a:moveTo>
                    <a:pt x="171" y="1307"/>
                  </a:moveTo>
                  <a:lnTo>
                    <a:pt x="171" y="1304"/>
                  </a:lnTo>
                  <a:lnTo>
                    <a:pt x="171" y="1307"/>
                  </a:lnTo>
                  <a:close/>
                  <a:moveTo>
                    <a:pt x="213" y="1304"/>
                  </a:moveTo>
                  <a:lnTo>
                    <a:pt x="213" y="1307"/>
                  </a:lnTo>
                  <a:lnTo>
                    <a:pt x="213" y="1304"/>
                  </a:lnTo>
                  <a:close/>
                  <a:moveTo>
                    <a:pt x="171" y="1307"/>
                  </a:moveTo>
                  <a:lnTo>
                    <a:pt x="171" y="1304"/>
                  </a:lnTo>
                  <a:lnTo>
                    <a:pt x="171" y="1307"/>
                  </a:lnTo>
                  <a:close/>
                  <a:moveTo>
                    <a:pt x="38" y="1304"/>
                  </a:moveTo>
                  <a:lnTo>
                    <a:pt x="38" y="1307"/>
                  </a:lnTo>
                  <a:lnTo>
                    <a:pt x="38" y="1304"/>
                  </a:lnTo>
                  <a:lnTo>
                    <a:pt x="38" y="1307"/>
                  </a:lnTo>
                  <a:lnTo>
                    <a:pt x="40" y="1307"/>
                  </a:lnTo>
                  <a:lnTo>
                    <a:pt x="38" y="1307"/>
                  </a:lnTo>
                  <a:lnTo>
                    <a:pt x="38" y="1304"/>
                  </a:lnTo>
                  <a:close/>
                  <a:moveTo>
                    <a:pt x="213" y="1304"/>
                  </a:moveTo>
                  <a:lnTo>
                    <a:pt x="211" y="1304"/>
                  </a:lnTo>
                  <a:lnTo>
                    <a:pt x="213" y="1304"/>
                  </a:lnTo>
                  <a:close/>
                  <a:moveTo>
                    <a:pt x="173" y="1304"/>
                  </a:moveTo>
                  <a:lnTo>
                    <a:pt x="173" y="1307"/>
                  </a:lnTo>
                  <a:lnTo>
                    <a:pt x="173" y="1304"/>
                  </a:lnTo>
                  <a:lnTo>
                    <a:pt x="171" y="1304"/>
                  </a:lnTo>
                  <a:lnTo>
                    <a:pt x="173" y="1304"/>
                  </a:lnTo>
                  <a:close/>
                  <a:moveTo>
                    <a:pt x="216" y="1304"/>
                  </a:moveTo>
                  <a:lnTo>
                    <a:pt x="213" y="1304"/>
                  </a:lnTo>
                  <a:lnTo>
                    <a:pt x="216" y="1304"/>
                  </a:lnTo>
                  <a:lnTo>
                    <a:pt x="213" y="1304"/>
                  </a:lnTo>
                  <a:lnTo>
                    <a:pt x="216" y="1304"/>
                  </a:lnTo>
                  <a:lnTo>
                    <a:pt x="213" y="1307"/>
                  </a:lnTo>
                  <a:lnTo>
                    <a:pt x="213" y="1304"/>
                  </a:lnTo>
                  <a:lnTo>
                    <a:pt x="216" y="1304"/>
                  </a:lnTo>
                  <a:close/>
                  <a:moveTo>
                    <a:pt x="40" y="1304"/>
                  </a:moveTo>
                  <a:lnTo>
                    <a:pt x="40" y="1302"/>
                  </a:lnTo>
                  <a:lnTo>
                    <a:pt x="42" y="1302"/>
                  </a:lnTo>
                  <a:lnTo>
                    <a:pt x="42" y="1304"/>
                  </a:lnTo>
                  <a:lnTo>
                    <a:pt x="40" y="1304"/>
                  </a:lnTo>
                  <a:close/>
                  <a:moveTo>
                    <a:pt x="216" y="1302"/>
                  </a:moveTo>
                  <a:lnTo>
                    <a:pt x="216" y="1304"/>
                  </a:lnTo>
                  <a:lnTo>
                    <a:pt x="213" y="1304"/>
                  </a:lnTo>
                  <a:lnTo>
                    <a:pt x="216" y="1304"/>
                  </a:lnTo>
                  <a:lnTo>
                    <a:pt x="216" y="1302"/>
                  </a:lnTo>
                  <a:close/>
                  <a:moveTo>
                    <a:pt x="208" y="1304"/>
                  </a:moveTo>
                  <a:lnTo>
                    <a:pt x="208" y="1302"/>
                  </a:lnTo>
                  <a:lnTo>
                    <a:pt x="208" y="1304"/>
                  </a:lnTo>
                  <a:close/>
                  <a:moveTo>
                    <a:pt x="173" y="1302"/>
                  </a:moveTo>
                  <a:lnTo>
                    <a:pt x="171" y="1302"/>
                  </a:lnTo>
                  <a:lnTo>
                    <a:pt x="173" y="1302"/>
                  </a:lnTo>
                  <a:close/>
                  <a:moveTo>
                    <a:pt x="28" y="1302"/>
                  </a:moveTo>
                  <a:lnTo>
                    <a:pt x="26" y="1302"/>
                  </a:lnTo>
                  <a:lnTo>
                    <a:pt x="28" y="1302"/>
                  </a:lnTo>
                  <a:lnTo>
                    <a:pt x="26" y="1302"/>
                  </a:lnTo>
                  <a:lnTo>
                    <a:pt x="28" y="1302"/>
                  </a:lnTo>
                  <a:close/>
                  <a:moveTo>
                    <a:pt x="40" y="1302"/>
                  </a:moveTo>
                  <a:lnTo>
                    <a:pt x="40" y="1300"/>
                  </a:lnTo>
                  <a:lnTo>
                    <a:pt x="40" y="1302"/>
                  </a:lnTo>
                  <a:close/>
                  <a:moveTo>
                    <a:pt x="213" y="1300"/>
                  </a:moveTo>
                  <a:lnTo>
                    <a:pt x="213" y="1302"/>
                  </a:lnTo>
                  <a:lnTo>
                    <a:pt x="213" y="1300"/>
                  </a:lnTo>
                  <a:lnTo>
                    <a:pt x="213" y="1302"/>
                  </a:lnTo>
                  <a:lnTo>
                    <a:pt x="216" y="1302"/>
                  </a:lnTo>
                  <a:lnTo>
                    <a:pt x="213" y="1302"/>
                  </a:lnTo>
                  <a:lnTo>
                    <a:pt x="216" y="1302"/>
                  </a:lnTo>
                  <a:lnTo>
                    <a:pt x="213" y="1302"/>
                  </a:lnTo>
                  <a:lnTo>
                    <a:pt x="213" y="1304"/>
                  </a:lnTo>
                  <a:lnTo>
                    <a:pt x="213" y="1302"/>
                  </a:lnTo>
                  <a:lnTo>
                    <a:pt x="213" y="1304"/>
                  </a:lnTo>
                  <a:lnTo>
                    <a:pt x="211" y="1304"/>
                  </a:lnTo>
                  <a:lnTo>
                    <a:pt x="213" y="1304"/>
                  </a:lnTo>
                  <a:lnTo>
                    <a:pt x="211" y="1304"/>
                  </a:lnTo>
                  <a:lnTo>
                    <a:pt x="213" y="1304"/>
                  </a:lnTo>
                  <a:lnTo>
                    <a:pt x="211" y="1304"/>
                  </a:lnTo>
                  <a:lnTo>
                    <a:pt x="211" y="1302"/>
                  </a:lnTo>
                  <a:lnTo>
                    <a:pt x="211" y="1300"/>
                  </a:lnTo>
                  <a:lnTo>
                    <a:pt x="213" y="1300"/>
                  </a:lnTo>
                  <a:close/>
                  <a:moveTo>
                    <a:pt x="33" y="1300"/>
                  </a:moveTo>
                  <a:lnTo>
                    <a:pt x="35" y="1300"/>
                  </a:lnTo>
                  <a:lnTo>
                    <a:pt x="35" y="1302"/>
                  </a:lnTo>
                  <a:lnTo>
                    <a:pt x="38" y="1302"/>
                  </a:lnTo>
                  <a:lnTo>
                    <a:pt x="35" y="1302"/>
                  </a:lnTo>
                  <a:lnTo>
                    <a:pt x="38" y="1302"/>
                  </a:lnTo>
                  <a:lnTo>
                    <a:pt x="38" y="1304"/>
                  </a:lnTo>
                  <a:lnTo>
                    <a:pt x="38" y="1302"/>
                  </a:lnTo>
                  <a:lnTo>
                    <a:pt x="40" y="1302"/>
                  </a:lnTo>
                  <a:lnTo>
                    <a:pt x="40" y="1304"/>
                  </a:lnTo>
                  <a:lnTo>
                    <a:pt x="38" y="1304"/>
                  </a:lnTo>
                  <a:lnTo>
                    <a:pt x="35" y="1304"/>
                  </a:lnTo>
                  <a:lnTo>
                    <a:pt x="35" y="1302"/>
                  </a:lnTo>
                  <a:lnTo>
                    <a:pt x="35" y="1304"/>
                  </a:lnTo>
                  <a:lnTo>
                    <a:pt x="35" y="1302"/>
                  </a:lnTo>
                  <a:lnTo>
                    <a:pt x="33" y="1302"/>
                  </a:lnTo>
                  <a:lnTo>
                    <a:pt x="33" y="1300"/>
                  </a:lnTo>
                  <a:lnTo>
                    <a:pt x="33" y="1302"/>
                  </a:lnTo>
                  <a:lnTo>
                    <a:pt x="33" y="1300"/>
                  </a:lnTo>
                  <a:lnTo>
                    <a:pt x="33" y="1302"/>
                  </a:lnTo>
                  <a:lnTo>
                    <a:pt x="33" y="1300"/>
                  </a:lnTo>
                  <a:close/>
                  <a:moveTo>
                    <a:pt x="211" y="1300"/>
                  </a:moveTo>
                  <a:lnTo>
                    <a:pt x="208" y="1300"/>
                  </a:lnTo>
                  <a:lnTo>
                    <a:pt x="211" y="1300"/>
                  </a:lnTo>
                  <a:close/>
                  <a:moveTo>
                    <a:pt x="192" y="1300"/>
                  </a:moveTo>
                  <a:lnTo>
                    <a:pt x="194" y="1300"/>
                  </a:lnTo>
                  <a:lnTo>
                    <a:pt x="192" y="1302"/>
                  </a:lnTo>
                  <a:lnTo>
                    <a:pt x="192" y="1300"/>
                  </a:lnTo>
                  <a:lnTo>
                    <a:pt x="192" y="1302"/>
                  </a:lnTo>
                  <a:lnTo>
                    <a:pt x="194" y="1302"/>
                  </a:lnTo>
                  <a:lnTo>
                    <a:pt x="194" y="1300"/>
                  </a:lnTo>
                  <a:lnTo>
                    <a:pt x="194" y="1302"/>
                  </a:lnTo>
                  <a:lnTo>
                    <a:pt x="192" y="1302"/>
                  </a:lnTo>
                  <a:lnTo>
                    <a:pt x="192" y="1300"/>
                  </a:lnTo>
                  <a:close/>
                  <a:moveTo>
                    <a:pt x="40" y="1300"/>
                  </a:moveTo>
                  <a:lnTo>
                    <a:pt x="42" y="1300"/>
                  </a:lnTo>
                  <a:lnTo>
                    <a:pt x="40" y="1300"/>
                  </a:lnTo>
                  <a:close/>
                  <a:moveTo>
                    <a:pt x="206" y="1300"/>
                  </a:moveTo>
                  <a:lnTo>
                    <a:pt x="208" y="1300"/>
                  </a:lnTo>
                  <a:lnTo>
                    <a:pt x="211" y="1300"/>
                  </a:lnTo>
                  <a:lnTo>
                    <a:pt x="208" y="1302"/>
                  </a:lnTo>
                  <a:lnTo>
                    <a:pt x="211" y="1302"/>
                  </a:lnTo>
                  <a:lnTo>
                    <a:pt x="211" y="1300"/>
                  </a:lnTo>
                  <a:lnTo>
                    <a:pt x="211" y="1302"/>
                  </a:lnTo>
                  <a:lnTo>
                    <a:pt x="211" y="1304"/>
                  </a:lnTo>
                  <a:lnTo>
                    <a:pt x="208" y="1304"/>
                  </a:lnTo>
                  <a:lnTo>
                    <a:pt x="208" y="1302"/>
                  </a:lnTo>
                  <a:lnTo>
                    <a:pt x="206" y="1302"/>
                  </a:lnTo>
                  <a:lnTo>
                    <a:pt x="208" y="1302"/>
                  </a:lnTo>
                  <a:lnTo>
                    <a:pt x="206" y="1302"/>
                  </a:lnTo>
                  <a:lnTo>
                    <a:pt x="206" y="1300"/>
                  </a:lnTo>
                  <a:close/>
                  <a:moveTo>
                    <a:pt x="192" y="1300"/>
                  </a:moveTo>
                  <a:lnTo>
                    <a:pt x="189" y="1300"/>
                  </a:lnTo>
                  <a:lnTo>
                    <a:pt x="192" y="1300"/>
                  </a:lnTo>
                  <a:lnTo>
                    <a:pt x="189" y="1300"/>
                  </a:lnTo>
                  <a:lnTo>
                    <a:pt x="192" y="1300"/>
                  </a:lnTo>
                  <a:close/>
                  <a:moveTo>
                    <a:pt x="211" y="1300"/>
                  </a:moveTo>
                  <a:lnTo>
                    <a:pt x="208" y="1300"/>
                  </a:lnTo>
                  <a:lnTo>
                    <a:pt x="211" y="1300"/>
                  </a:lnTo>
                  <a:close/>
                  <a:moveTo>
                    <a:pt x="21" y="1300"/>
                  </a:moveTo>
                  <a:lnTo>
                    <a:pt x="21" y="1297"/>
                  </a:lnTo>
                  <a:lnTo>
                    <a:pt x="21" y="1300"/>
                  </a:lnTo>
                  <a:close/>
                  <a:moveTo>
                    <a:pt x="194" y="1300"/>
                  </a:moveTo>
                  <a:lnTo>
                    <a:pt x="194" y="1297"/>
                  </a:lnTo>
                  <a:lnTo>
                    <a:pt x="194" y="1300"/>
                  </a:lnTo>
                  <a:close/>
                  <a:moveTo>
                    <a:pt x="33" y="1297"/>
                  </a:moveTo>
                  <a:lnTo>
                    <a:pt x="35" y="1300"/>
                  </a:lnTo>
                  <a:lnTo>
                    <a:pt x="35" y="1297"/>
                  </a:lnTo>
                  <a:lnTo>
                    <a:pt x="35" y="1300"/>
                  </a:lnTo>
                  <a:lnTo>
                    <a:pt x="38" y="1300"/>
                  </a:lnTo>
                  <a:lnTo>
                    <a:pt x="40" y="1300"/>
                  </a:lnTo>
                  <a:lnTo>
                    <a:pt x="40" y="1302"/>
                  </a:lnTo>
                  <a:lnTo>
                    <a:pt x="38" y="1302"/>
                  </a:lnTo>
                  <a:lnTo>
                    <a:pt x="38" y="1300"/>
                  </a:lnTo>
                  <a:lnTo>
                    <a:pt x="35" y="1300"/>
                  </a:lnTo>
                  <a:lnTo>
                    <a:pt x="33" y="1300"/>
                  </a:lnTo>
                  <a:lnTo>
                    <a:pt x="33" y="1297"/>
                  </a:lnTo>
                  <a:close/>
                  <a:moveTo>
                    <a:pt x="211" y="1297"/>
                  </a:moveTo>
                  <a:lnTo>
                    <a:pt x="211" y="1300"/>
                  </a:lnTo>
                  <a:lnTo>
                    <a:pt x="208" y="1300"/>
                  </a:lnTo>
                  <a:lnTo>
                    <a:pt x="208" y="1297"/>
                  </a:lnTo>
                  <a:lnTo>
                    <a:pt x="211" y="1297"/>
                  </a:lnTo>
                  <a:close/>
                  <a:moveTo>
                    <a:pt x="47" y="1297"/>
                  </a:moveTo>
                  <a:lnTo>
                    <a:pt x="45" y="1297"/>
                  </a:lnTo>
                  <a:lnTo>
                    <a:pt x="47" y="1297"/>
                  </a:lnTo>
                  <a:close/>
                  <a:moveTo>
                    <a:pt x="45" y="1297"/>
                  </a:moveTo>
                  <a:lnTo>
                    <a:pt x="45" y="1300"/>
                  </a:lnTo>
                  <a:lnTo>
                    <a:pt x="45" y="1297"/>
                  </a:lnTo>
                  <a:lnTo>
                    <a:pt x="45" y="1300"/>
                  </a:lnTo>
                  <a:lnTo>
                    <a:pt x="42" y="1300"/>
                  </a:lnTo>
                  <a:lnTo>
                    <a:pt x="42" y="1297"/>
                  </a:lnTo>
                  <a:lnTo>
                    <a:pt x="45" y="1297"/>
                  </a:lnTo>
                  <a:close/>
                  <a:moveTo>
                    <a:pt x="47" y="1297"/>
                  </a:moveTo>
                  <a:lnTo>
                    <a:pt x="45" y="1297"/>
                  </a:lnTo>
                  <a:lnTo>
                    <a:pt x="47" y="1297"/>
                  </a:lnTo>
                  <a:close/>
                  <a:moveTo>
                    <a:pt x="189" y="1297"/>
                  </a:moveTo>
                  <a:lnTo>
                    <a:pt x="192" y="1297"/>
                  </a:lnTo>
                  <a:lnTo>
                    <a:pt x="189" y="1297"/>
                  </a:lnTo>
                  <a:close/>
                  <a:moveTo>
                    <a:pt x="192" y="1297"/>
                  </a:moveTo>
                  <a:lnTo>
                    <a:pt x="194" y="1297"/>
                  </a:lnTo>
                  <a:lnTo>
                    <a:pt x="192" y="1297"/>
                  </a:lnTo>
                  <a:lnTo>
                    <a:pt x="192" y="1300"/>
                  </a:lnTo>
                  <a:lnTo>
                    <a:pt x="192" y="1297"/>
                  </a:lnTo>
                  <a:lnTo>
                    <a:pt x="192" y="1300"/>
                  </a:lnTo>
                  <a:lnTo>
                    <a:pt x="192" y="1302"/>
                  </a:lnTo>
                  <a:lnTo>
                    <a:pt x="192" y="1300"/>
                  </a:lnTo>
                  <a:lnTo>
                    <a:pt x="192" y="1297"/>
                  </a:lnTo>
                  <a:close/>
                  <a:moveTo>
                    <a:pt x="194" y="1297"/>
                  </a:moveTo>
                  <a:lnTo>
                    <a:pt x="194" y="1295"/>
                  </a:lnTo>
                  <a:lnTo>
                    <a:pt x="194" y="1297"/>
                  </a:lnTo>
                  <a:close/>
                  <a:moveTo>
                    <a:pt x="189" y="1297"/>
                  </a:moveTo>
                  <a:lnTo>
                    <a:pt x="189" y="1295"/>
                  </a:lnTo>
                  <a:lnTo>
                    <a:pt x="189" y="1297"/>
                  </a:lnTo>
                  <a:close/>
                  <a:moveTo>
                    <a:pt x="42" y="1297"/>
                  </a:moveTo>
                  <a:lnTo>
                    <a:pt x="40" y="1297"/>
                  </a:lnTo>
                  <a:lnTo>
                    <a:pt x="40" y="1295"/>
                  </a:lnTo>
                  <a:lnTo>
                    <a:pt x="42" y="1295"/>
                  </a:lnTo>
                  <a:lnTo>
                    <a:pt x="42" y="1297"/>
                  </a:lnTo>
                  <a:close/>
                  <a:moveTo>
                    <a:pt x="197" y="1295"/>
                  </a:moveTo>
                  <a:lnTo>
                    <a:pt x="194" y="1295"/>
                  </a:lnTo>
                  <a:lnTo>
                    <a:pt x="197" y="1295"/>
                  </a:lnTo>
                  <a:close/>
                  <a:moveTo>
                    <a:pt x="45" y="1295"/>
                  </a:moveTo>
                  <a:lnTo>
                    <a:pt x="45" y="1297"/>
                  </a:lnTo>
                  <a:lnTo>
                    <a:pt x="45" y="1295"/>
                  </a:lnTo>
                  <a:lnTo>
                    <a:pt x="45" y="1297"/>
                  </a:lnTo>
                  <a:lnTo>
                    <a:pt x="45" y="1295"/>
                  </a:lnTo>
                  <a:close/>
                  <a:moveTo>
                    <a:pt x="204" y="1295"/>
                  </a:moveTo>
                  <a:lnTo>
                    <a:pt x="204" y="1292"/>
                  </a:lnTo>
                  <a:lnTo>
                    <a:pt x="204" y="1295"/>
                  </a:lnTo>
                  <a:close/>
                  <a:moveTo>
                    <a:pt x="204" y="1292"/>
                  </a:moveTo>
                  <a:lnTo>
                    <a:pt x="204" y="1295"/>
                  </a:lnTo>
                  <a:lnTo>
                    <a:pt x="204" y="1292"/>
                  </a:lnTo>
                  <a:close/>
                  <a:moveTo>
                    <a:pt x="50" y="1292"/>
                  </a:moveTo>
                  <a:lnTo>
                    <a:pt x="50" y="1295"/>
                  </a:lnTo>
                  <a:lnTo>
                    <a:pt x="47" y="1295"/>
                  </a:lnTo>
                  <a:lnTo>
                    <a:pt x="47" y="1297"/>
                  </a:lnTo>
                  <a:lnTo>
                    <a:pt x="47" y="1295"/>
                  </a:lnTo>
                  <a:lnTo>
                    <a:pt x="50" y="1292"/>
                  </a:lnTo>
                  <a:close/>
                  <a:moveTo>
                    <a:pt x="42" y="1292"/>
                  </a:moveTo>
                  <a:lnTo>
                    <a:pt x="42" y="1295"/>
                  </a:lnTo>
                  <a:lnTo>
                    <a:pt x="42" y="1292"/>
                  </a:lnTo>
                  <a:lnTo>
                    <a:pt x="42" y="1295"/>
                  </a:lnTo>
                  <a:lnTo>
                    <a:pt x="40" y="1295"/>
                  </a:lnTo>
                  <a:lnTo>
                    <a:pt x="40" y="1292"/>
                  </a:lnTo>
                  <a:lnTo>
                    <a:pt x="42" y="1292"/>
                  </a:lnTo>
                  <a:close/>
                  <a:moveTo>
                    <a:pt x="197" y="1292"/>
                  </a:moveTo>
                  <a:lnTo>
                    <a:pt x="194" y="1292"/>
                  </a:lnTo>
                  <a:lnTo>
                    <a:pt x="197" y="1292"/>
                  </a:lnTo>
                  <a:close/>
                  <a:moveTo>
                    <a:pt x="201" y="1295"/>
                  </a:moveTo>
                  <a:lnTo>
                    <a:pt x="201" y="1292"/>
                  </a:lnTo>
                  <a:lnTo>
                    <a:pt x="201" y="1295"/>
                  </a:lnTo>
                  <a:close/>
                  <a:moveTo>
                    <a:pt x="28" y="1292"/>
                  </a:moveTo>
                  <a:lnTo>
                    <a:pt x="31" y="1292"/>
                  </a:lnTo>
                  <a:lnTo>
                    <a:pt x="31" y="1295"/>
                  </a:lnTo>
                  <a:lnTo>
                    <a:pt x="28" y="1295"/>
                  </a:lnTo>
                  <a:lnTo>
                    <a:pt x="31" y="1295"/>
                  </a:lnTo>
                  <a:lnTo>
                    <a:pt x="28" y="1295"/>
                  </a:lnTo>
                  <a:lnTo>
                    <a:pt x="28" y="1297"/>
                  </a:lnTo>
                  <a:lnTo>
                    <a:pt x="28" y="1295"/>
                  </a:lnTo>
                  <a:lnTo>
                    <a:pt x="28" y="1297"/>
                  </a:lnTo>
                  <a:lnTo>
                    <a:pt x="26" y="1297"/>
                  </a:lnTo>
                  <a:lnTo>
                    <a:pt x="28" y="1297"/>
                  </a:lnTo>
                  <a:lnTo>
                    <a:pt x="26" y="1297"/>
                  </a:lnTo>
                  <a:lnTo>
                    <a:pt x="26" y="1295"/>
                  </a:lnTo>
                  <a:lnTo>
                    <a:pt x="26" y="1292"/>
                  </a:lnTo>
                  <a:lnTo>
                    <a:pt x="28" y="1292"/>
                  </a:lnTo>
                  <a:close/>
                  <a:moveTo>
                    <a:pt x="28" y="1292"/>
                  </a:moveTo>
                  <a:lnTo>
                    <a:pt x="26" y="1292"/>
                  </a:lnTo>
                  <a:lnTo>
                    <a:pt x="28" y="1292"/>
                  </a:lnTo>
                  <a:close/>
                  <a:moveTo>
                    <a:pt x="31" y="1292"/>
                  </a:moveTo>
                  <a:lnTo>
                    <a:pt x="33" y="1292"/>
                  </a:lnTo>
                  <a:lnTo>
                    <a:pt x="31" y="1292"/>
                  </a:lnTo>
                  <a:close/>
                  <a:moveTo>
                    <a:pt x="26" y="1292"/>
                  </a:moveTo>
                  <a:lnTo>
                    <a:pt x="26" y="1290"/>
                  </a:lnTo>
                  <a:lnTo>
                    <a:pt x="26" y="1292"/>
                  </a:lnTo>
                  <a:close/>
                  <a:moveTo>
                    <a:pt x="42" y="1292"/>
                  </a:moveTo>
                  <a:lnTo>
                    <a:pt x="40" y="1292"/>
                  </a:lnTo>
                  <a:lnTo>
                    <a:pt x="42" y="1292"/>
                  </a:lnTo>
                  <a:lnTo>
                    <a:pt x="40" y="1292"/>
                  </a:lnTo>
                  <a:lnTo>
                    <a:pt x="40" y="1290"/>
                  </a:lnTo>
                  <a:lnTo>
                    <a:pt x="42" y="1290"/>
                  </a:lnTo>
                  <a:lnTo>
                    <a:pt x="42" y="1292"/>
                  </a:lnTo>
                  <a:close/>
                  <a:moveTo>
                    <a:pt x="28" y="1290"/>
                  </a:moveTo>
                  <a:lnTo>
                    <a:pt x="31" y="1290"/>
                  </a:lnTo>
                  <a:lnTo>
                    <a:pt x="31" y="1292"/>
                  </a:lnTo>
                  <a:lnTo>
                    <a:pt x="31" y="1290"/>
                  </a:lnTo>
                  <a:lnTo>
                    <a:pt x="31" y="1292"/>
                  </a:lnTo>
                  <a:lnTo>
                    <a:pt x="28" y="1292"/>
                  </a:lnTo>
                  <a:lnTo>
                    <a:pt x="28" y="1290"/>
                  </a:lnTo>
                  <a:close/>
                  <a:moveTo>
                    <a:pt x="42" y="1290"/>
                  </a:moveTo>
                  <a:lnTo>
                    <a:pt x="42" y="1292"/>
                  </a:lnTo>
                  <a:lnTo>
                    <a:pt x="42" y="1290"/>
                  </a:lnTo>
                  <a:close/>
                  <a:moveTo>
                    <a:pt x="28" y="1290"/>
                  </a:moveTo>
                  <a:lnTo>
                    <a:pt x="28" y="1292"/>
                  </a:lnTo>
                  <a:lnTo>
                    <a:pt x="26" y="1292"/>
                  </a:lnTo>
                  <a:lnTo>
                    <a:pt x="26" y="1290"/>
                  </a:lnTo>
                  <a:lnTo>
                    <a:pt x="28" y="1290"/>
                  </a:lnTo>
                  <a:lnTo>
                    <a:pt x="26" y="1290"/>
                  </a:lnTo>
                  <a:lnTo>
                    <a:pt x="28" y="1290"/>
                  </a:lnTo>
                  <a:close/>
                  <a:moveTo>
                    <a:pt x="50" y="1290"/>
                  </a:moveTo>
                  <a:lnTo>
                    <a:pt x="50" y="1292"/>
                  </a:lnTo>
                  <a:lnTo>
                    <a:pt x="47" y="1292"/>
                  </a:lnTo>
                  <a:lnTo>
                    <a:pt x="45" y="1292"/>
                  </a:lnTo>
                  <a:lnTo>
                    <a:pt x="45" y="1290"/>
                  </a:lnTo>
                  <a:lnTo>
                    <a:pt x="47" y="1290"/>
                  </a:lnTo>
                  <a:lnTo>
                    <a:pt x="50" y="1290"/>
                  </a:lnTo>
                  <a:close/>
                  <a:moveTo>
                    <a:pt x="12" y="1288"/>
                  </a:moveTo>
                  <a:lnTo>
                    <a:pt x="12" y="1290"/>
                  </a:lnTo>
                  <a:lnTo>
                    <a:pt x="9" y="1290"/>
                  </a:lnTo>
                  <a:lnTo>
                    <a:pt x="12" y="1290"/>
                  </a:lnTo>
                  <a:lnTo>
                    <a:pt x="9" y="1290"/>
                  </a:lnTo>
                  <a:lnTo>
                    <a:pt x="9" y="1288"/>
                  </a:lnTo>
                  <a:lnTo>
                    <a:pt x="12" y="1288"/>
                  </a:lnTo>
                  <a:close/>
                  <a:moveTo>
                    <a:pt x="201" y="1288"/>
                  </a:moveTo>
                  <a:lnTo>
                    <a:pt x="199" y="1288"/>
                  </a:lnTo>
                  <a:lnTo>
                    <a:pt x="201" y="1288"/>
                  </a:lnTo>
                  <a:close/>
                  <a:moveTo>
                    <a:pt x="47" y="1288"/>
                  </a:moveTo>
                  <a:lnTo>
                    <a:pt x="45" y="1288"/>
                  </a:lnTo>
                  <a:lnTo>
                    <a:pt x="47" y="1288"/>
                  </a:lnTo>
                  <a:close/>
                  <a:moveTo>
                    <a:pt x="35" y="1285"/>
                  </a:moveTo>
                  <a:lnTo>
                    <a:pt x="35" y="1288"/>
                  </a:lnTo>
                  <a:lnTo>
                    <a:pt x="35" y="1285"/>
                  </a:lnTo>
                  <a:close/>
                  <a:moveTo>
                    <a:pt x="50" y="1285"/>
                  </a:moveTo>
                  <a:lnTo>
                    <a:pt x="47" y="1285"/>
                  </a:lnTo>
                  <a:lnTo>
                    <a:pt x="50" y="1285"/>
                  </a:lnTo>
                  <a:close/>
                  <a:moveTo>
                    <a:pt x="19" y="1285"/>
                  </a:moveTo>
                  <a:lnTo>
                    <a:pt x="21" y="1285"/>
                  </a:lnTo>
                  <a:lnTo>
                    <a:pt x="19" y="1285"/>
                  </a:lnTo>
                  <a:lnTo>
                    <a:pt x="19" y="1283"/>
                  </a:lnTo>
                  <a:lnTo>
                    <a:pt x="19" y="1285"/>
                  </a:lnTo>
                  <a:close/>
                  <a:moveTo>
                    <a:pt x="50" y="1285"/>
                  </a:moveTo>
                  <a:lnTo>
                    <a:pt x="50" y="1283"/>
                  </a:lnTo>
                  <a:lnTo>
                    <a:pt x="50" y="1285"/>
                  </a:lnTo>
                  <a:close/>
                  <a:moveTo>
                    <a:pt x="21" y="1283"/>
                  </a:moveTo>
                  <a:lnTo>
                    <a:pt x="23" y="1285"/>
                  </a:lnTo>
                  <a:lnTo>
                    <a:pt x="23" y="1288"/>
                  </a:lnTo>
                  <a:lnTo>
                    <a:pt x="23" y="1285"/>
                  </a:lnTo>
                  <a:lnTo>
                    <a:pt x="23" y="1288"/>
                  </a:lnTo>
                  <a:lnTo>
                    <a:pt x="23" y="1290"/>
                  </a:lnTo>
                  <a:lnTo>
                    <a:pt x="26" y="1290"/>
                  </a:lnTo>
                  <a:lnTo>
                    <a:pt x="23" y="1292"/>
                  </a:lnTo>
                  <a:lnTo>
                    <a:pt x="23" y="1295"/>
                  </a:lnTo>
                  <a:lnTo>
                    <a:pt x="23" y="1297"/>
                  </a:lnTo>
                  <a:lnTo>
                    <a:pt x="21" y="1297"/>
                  </a:lnTo>
                  <a:lnTo>
                    <a:pt x="23" y="1297"/>
                  </a:lnTo>
                  <a:lnTo>
                    <a:pt x="21" y="1297"/>
                  </a:lnTo>
                  <a:lnTo>
                    <a:pt x="19" y="1297"/>
                  </a:lnTo>
                  <a:lnTo>
                    <a:pt x="19" y="1295"/>
                  </a:lnTo>
                  <a:lnTo>
                    <a:pt x="19" y="1292"/>
                  </a:lnTo>
                  <a:lnTo>
                    <a:pt x="21" y="1292"/>
                  </a:lnTo>
                  <a:lnTo>
                    <a:pt x="19" y="1292"/>
                  </a:lnTo>
                  <a:lnTo>
                    <a:pt x="21" y="1290"/>
                  </a:lnTo>
                  <a:lnTo>
                    <a:pt x="19" y="1290"/>
                  </a:lnTo>
                  <a:lnTo>
                    <a:pt x="21" y="1290"/>
                  </a:lnTo>
                  <a:lnTo>
                    <a:pt x="19" y="1290"/>
                  </a:lnTo>
                  <a:lnTo>
                    <a:pt x="21" y="1290"/>
                  </a:lnTo>
                  <a:lnTo>
                    <a:pt x="21" y="1288"/>
                  </a:lnTo>
                  <a:lnTo>
                    <a:pt x="21" y="1290"/>
                  </a:lnTo>
                  <a:lnTo>
                    <a:pt x="21" y="1288"/>
                  </a:lnTo>
                  <a:lnTo>
                    <a:pt x="19" y="1288"/>
                  </a:lnTo>
                  <a:lnTo>
                    <a:pt x="21" y="1288"/>
                  </a:lnTo>
                  <a:lnTo>
                    <a:pt x="21" y="1285"/>
                  </a:lnTo>
                  <a:lnTo>
                    <a:pt x="21" y="1283"/>
                  </a:lnTo>
                  <a:lnTo>
                    <a:pt x="21" y="1285"/>
                  </a:lnTo>
                  <a:lnTo>
                    <a:pt x="21" y="1283"/>
                  </a:lnTo>
                  <a:lnTo>
                    <a:pt x="21" y="1285"/>
                  </a:lnTo>
                  <a:lnTo>
                    <a:pt x="21" y="1283"/>
                  </a:lnTo>
                  <a:close/>
                  <a:moveTo>
                    <a:pt x="19" y="1283"/>
                  </a:moveTo>
                  <a:lnTo>
                    <a:pt x="16" y="1283"/>
                  </a:lnTo>
                  <a:lnTo>
                    <a:pt x="19" y="1283"/>
                  </a:lnTo>
                  <a:close/>
                  <a:moveTo>
                    <a:pt x="19" y="1283"/>
                  </a:moveTo>
                  <a:lnTo>
                    <a:pt x="16" y="1283"/>
                  </a:lnTo>
                  <a:lnTo>
                    <a:pt x="16" y="1281"/>
                  </a:lnTo>
                  <a:lnTo>
                    <a:pt x="16" y="1283"/>
                  </a:lnTo>
                  <a:lnTo>
                    <a:pt x="19" y="1283"/>
                  </a:lnTo>
                  <a:close/>
                  <a:moveTo>
                    <a:pt x="192" y="1281"/>
                  </a:moveTo>
                  <a:lnTo>
                    <a:pt x="192" y="1278"/>
                  </a:lnTo>
                  <a:lnTo>
                    <a:pt x="189" y="1278"/>
                  </a:lnTo>
                  <a:lnTo>
                    <a:pt x="192" y="1278"/>
                  </a:lnTo>
                  <a:lnTo>
                    <a:pt x="192" y="1281"/>
                  </a:lnTo>
                  <a:close/>
                  <a:moveTo>
                    <a:pt x="19" y="1273"/>
                  </a:moveTo>
                  <a:lnTo>
                    <a:pt x="19" y="1276"/>
                  </a:lnTo>
                  <a:lnTo>
                    <a:pt x="19" y="1273"/>
                  </a:lnTo>
                  <a:lnTo>
                    <a:pt x="19" y="1276"/>
                  </a:lnTo>
                  <a:lnTo>
                    <a:pt x="19" y="1273"/>
                  </a:lnTo>
                  <a:close/>
                  <a:moveTo>
                    <a:pt x="19" y="1271"/>
                  </a:moveTo>
                  <a:lnTo>
                    <a:pt x="19" y="1273"/>
                  </a:lnTo>
                  <a:lnTo>
                    <a:pt x="19" y="1271"/>
                  </a:lnTo>
                  <a:close/>
                  <a:moveTo>
                    <a:pt x="38" y="1271"/>
                  </a:moveTo>
                  <a:lnTo>
                    <a:pt x="40" y="1271"/>
                  </a:lnTo>
                  <a:lnTo>
                    <a:pt x="38" y="1271"/>
                  </a:lnTo>
                  <a:close/>
                  <a:moveTo>
                    <a:pt x="19" y="1271"/>
                  </a:moveTo>
                  <a:lnTo>
                    <a:pt x="19" y="1269"/>
                  </a:lnTo>
                  <a:lnTo>
                    <a:pt x="19" y="1271"/>
                  </a:lnTo>
                  <a:close/>
                  <a:moveTo>
                    <a:pt x="38" y="1269"/>
                  </a:moveTo>
                  <a:lnTo>
                    <a:pt x="38" y="1271"/>
                  </a:lnTo>
                  <a:lnTo>
                    <a:pt x="38" y="1269"/>
                  </a:lnTo>
                  <a:close/>
                  <a:moveTo>
                    <a:pt x="19" y="1269"/>
                  </a:moveTo>
                  <a:lnTo>
                    <a:pt x="16" y="1269"/>
                  </a:lnTo>
                  <a:lnTo>
                    <a:pt x="19" y="1269"/>
                  </a:lnTo>
                  <a:lnTo>
                    <a:pt x="16" y="1269"/>
                  </a:lnTo>
                  <a:lnTo>
                    <a:pt x="19" y="1269"/>
                  </a:lnTo>
                  <a:close/>
                  <a:moveTo>
                    <a:pt x="197" y="1266"/>
                  </a:moveTo>
                  <a:lnTo>
                    <a:pt x="197" y="1269"/>
                  </a:lnTo>
                  <a:lnTo>
                    <a:pt x="199" y="1269"/>
                  </a:lnTo>
                  <a:lnTo>
                    <a:pt x="197" y="1269"/>
                  </a:lnTo>
                  <a:lnTo>
                    <a:pt x="197" y="1266"/>
                  </a:lnTo>
                  <a:close/>
                  <a:moveTo>
                    <a:pt x="42" y="1266"/>
                  </a:moveTo>
                  <a:lnTo>
                    <a:pt x="42" y="1269"/>
                  </a:lnTo>
                  <a:lnTo>
                    <a:pt x="42" y="1266"/>
                  </a:lnTo>
                  <a:close/>
                  <a:moveTo>
                    <a:pt x="23" y="1266"/>
                  </a:moveTo>
                  <a:lnTo>
                    <a:pt x="21" y="1266"/>
                  </a:lnTo>
                  <a:lnTo>
                    <a:pt x="23" y="1266"/>
                  </a:lnTo>
                  <a:lnTo>
                    <a:pt x="21" y="1266"/>
                  </a:lnTo>
                  <a:lnTo>
                    <a:pt x="23" y="1266"/>
                  </a:lnTo>
                  <a:close/>
                  <a:moveTo>
                    <a:pt x="26" y="1266"/>
                  </a:moveTo>
                  <a:lnTo>
                    <a:pt x="28" y="1266"/>
                  </a:lnTo>
                  <a:lnTo>
                    <a:pt x="26" y="1266"/>
                  </a:lnTo>
                  <a:close/>
                  <a:moveTo>
                    <a:pt x="35" y="1266"/>
                  </a:moveTo>
                  <a:lnTo>
                    <a:pt x="38" y="1266"/>
                  </a:lnTo>
                  <a:lnTo>
                    <a:pt x="38" y="1269"/>
                  </a:lnTo>
                  <a:lnTo>
                    <a:pt x="38" y="1266"/>
                  </a:lnTo>
                  <a:lnTo>
                    <a:pt x="38" y="1269"/>
                  </a:lnTo>
                  <a:lnTo>
                    <a:pt x="35" y="1269"/>
                  </a:lnTo>
                  <a:lnTo>
                    <a:pt x="35" y="1266"/>
                  </a:lnTo>
                  <a:close/>
                  <a:moveTo>
                    <a:pt x="38" y="1266"/>
                  </a:moveTo>
                  <a:lnTo>
                    <a:pt x="35" y="1266"/>
                  </a:lnTo>
                  <a:lnTo>
                    <a:pt x="38" y="1266"/>
                  </a:lnTo>
                  <a:close/>
                  <a:moveTo>
                    <a:pt x="35" y="1262"/>
                  </a:moveTo>
                  <a:lnTo>
                    <a:pt x="35" y="1264"/>
                  </a:lnTo>
                  <a:lnTo>
                    <a:pt x="35" y="1262"/>
                  </a:lnTo>
                  <a:close/>
                  <a:moveTo>
                    <a:pt x="35" y="1264"/>
                  </a:moveTo>
                  <a:lnTo>
                    <a:pt x="38" y="1264"/>
                  </a:lnTo>
                  <a:lnTo>
                    <a:pt x="38" y="1262"/>
                  </a:lnTo>
                  <a:lnTo>
                    <a:pt x="38" y="1264"/>
                  </a:lnTo>
                  <a:lnTo>
                    <a:pt x="40" y="1264"/>
                  </a:lnTo>
                  <a:lnTo>
                    <a:pt x="42" y="1264"/>
                  </a:lnTo>
                  <a:lnTo>
                    <a:pt x="42" y="1266"/>
                  </a:lnTo>
                  <a:lnTo>
                    <a:pt x="40" y="1266"/>
                  </a:lnTo>
                  <a:lnTo>
                    <a:pt x="38" y="1266"/>
                  </a:lnTo>
                  <a:lnTo>
                    <a:pt x="38" y="1264"/>
                  </a:lnTo>
                  <a:lnTo>
                    <a:pt x="35" y="1264"/>
                  </a:lnTo>
                  <a:lnTo>
                    <a:pt x="35" y="1262"/>
                  </a:lnTo>
                  <a:lnTo>
                    <a:pt x="35" y="1264"/>
                  </a:lnTo>
                  <a:close/>
                  <a:moveTo>
                    <a:pt x="16" y="1262"/>
                  </a:moveTo>
                  <a:lnTo>
                    <a:pt x="16" y="1264"/>
                  </a:lnTo>
                  <a:lnTo>
                    <a:pt x="16" y="1262"/>
                  </a:lnTo>
                  <a:lnTo>
                    <a:pt x="16" y="1264"/>
                  </a:lnTo>
                  <a:lnTo>
                    <a:pt x="16" y="1262"/>
                  </a:lnTo>
                  <a:lnTo>
                    <a:pt x="16" y="1264"/>
                  </a:lnTo>
                  <a:lnTo>
                    <a:pt x="16" y="1262"/>
                  </a:lnTo>
                  <a:close/>
                  <a:moveTo>
                    <a:pt x="197" y="1262"/>
                  </a:moveTo>
                  <a:lnTo>
                    <a:pt x="194" y="1262"/>
                  </a:lnTo>
                  <a:lnTo>
                    <a:pt x="197" y="1262"/>
                  </a:lnTo>
                  <a:close/>
                  <a:moveTo>
                    <a:pt x="199" y="1259"/>
                  </a:moveTo>
                  <a:lnTo>
                    <a:pt x="199" y="1262"/>
                  </a:lnTo>
                  <a:lnTo>
                    <a:pt x="197" y="1262"/>
                  </a:lnTo>
                  <a:lnTo>
                    <a:pt x="199" y="1259"/>
                  </a:lnTo>
                  <a:lnTo>
                    <a:pt x="197" y="1259"/>
                  </a:lnTo>
                  <a:lnTo>
                    <a:pt x="199" y="1259"/>
                  </a:lnTo>
                  <a:close/>
                  <a:moveTo>
                    <a:pt x="197" y="1259"/>
                  </a:moveTo>
                  <a:lnTo>
                    <a:pt x="197" y="1262"/>
                  </a:lnTo>
                  <a:lnTo>
                    <a:pt x="197" y="1259"/>
                  </a:lnTo>
                  <a:close/>
                  <a:moveTo>
                    <a:pt x="204" y="1259"/>
                  </a:moveTo>
                  <a:lnTo>
                    <a:pt x="201" y="1259"/>
                  </a:lnTo>
                  <a:lnTo>
                    <a:pt x="204" y="1259"/>
                  </a:lnTo>
                  <a:close/>
                  <a:moveTo>
                    <a:pt x="33" y="1259"/>
                  </a:moveTo>
                  <a:lnTo>
                    <a:pt x="35" y="1259"/>
                  </a:lnTo>
                  <a:lnTo>
                    <a:pt x="33" y="1262"/>
                  </a:lnTo>
                  <a:lnTo>
                    <a:pt x="33" y="1259"/>
                  </a:lnTo>
                  <a:close/>
                  <a:moveTo>
                    <a:pt x="199" y="1259"/>
                  </a:moveTo>
                  <a:lnTo>
                    <a:pt x="197" y="1259"/>
                  </a:lnTo>
                  <a:lnTo>
                    <a:pt x="199" y="1259"/>
                  </a:lnTo>
                  <a:lnTo>
                    <a:pt x="197" y="1259"/>
                  </a:lnTo>
                  <a:lnTo>
                    <a:pt x="199" y="1259"/>
                  </a:lnTo>
                  <a:close/>
                  <a:moveTo>
                    <a:pt x="21" y="1259"/>
                  </a:moveTo>
                  <a:lnTo>
                    <a:pt x="19" y="1259"/>
                  </a:lnTo>
                  <a:lnTo>
                    <a:pt x="21" y="1259"/>
                  </a:lnTo>
                  <a:close/>
                  <a:moveTo>
                    <a:pt x="19" y="1259"/>
                  </a:moveTo>
                  <a:lnTo>
                    <a:pt x="16" y="1259"/>
                  </a:lnTo>
                  <a:lnTo>
                    <a:pt x="19" y="1259"/>
                  </a:lnTo>
                  <a:lnTo>
                    <a:pt x="19" y="1262"/>
                  </a:lnTo>
                  <a:lnTo>
                    <a:pt x="21" y="1262"/>
                  </a:lnTo>
                  <a:lnTo>
                    <a:pt x="19" y="1262"/>
                  </a:lnTo>
                  <a:lnTo>
                    <a:pt x="19" y="1259"/>
                  </a:lnTo>
                  <a:lnTo>
                    <a:pt x="21" y="1259"/>
                  </a:lnTo>
                  <a:lnTo>
                    <a:pt x="21" y="1262"/>
                  </a:lnTo>
                  <a:lnTo>
                    <a:pt x="21" y="1259"/>
                  </a:lnTo>
                  <a:lnTo>
                    <a:pt x="21" y="1262"/>
                  </a:lnTo>
                  <a:lnTo>
                    <a:pt x="23" y="1262"/>
                  </a:lnTo>
                  <a:lnTo>
                    <a:pt x="21" y="1262"/>
                  </a:lnTo>
                  <a:lnTo>
                    <a:pt x="23" y="1262"/>
                  </a:lnTo>
                  <a:lnTo>
                    <a:pt x="21" y="1262"/>
                  </a:lnTo>
                  <a:lnTo>
                    <a:pt x="23" y="1262"/>
                  </a:lnTo>
                  <a:lnTo>
                    <a:pt x="23" y="1264"/>
                  </a:lnTo>
                  <a:lnTo>
                    <a:pt x="23" y="1262"/>
                  </a:lnTo>
                  <a:lnTo>
                    <a:pt x="21" y="1262"/>
                  </a:lnTo>
                  <a:lnTo>
                    <a:pt x="21" y="1264"/>
                  </a:lnTo>
                  <a:lnTo>
                    <a:pt x="23" y="1264"/>
                  </a:lnTo>
                  <a:lnTo>
                    <a:pt x="23" y="1262"/>
                  </a:lnTo>
                  <a:lnTo>
                    <a:pt x="23" y="1264"/>
                  </a:lnTo>
                  <a:lnTo>
                    <a:pt x="26" y="1264"/>
                  </a:lnTo>
                  <a:lnTo>
                    <a:pt x="26" y="1266"/>
                  </a:lnTo>
                  <a:lnTo>
                    <a:pt x="26" y="1269"/>
                  </a:lnTo>
                  <a:lnTo>
                    <a:pt x="23" y="1269"/>
                  </a:lnTo>
                  <a:lnTo>
                    <a:pt x="26" y="1269"/>
                  </a:lnTo>
                  <a:lnTo>
                    <a:pt x="23" y="1269"/>
                  </a:lnTo>
                  <a:lnTo>
                    <a:pt x="26" y="1269"/>
                  </a:lnTo>
                  <a:lnTo>
                    <a:pt x="23" y="1266"/>
                  </a:lnTo>
                  <a:lnTo>
                    <a:pt x="21" y="1266"/>
                  </a:lnTo>
                  <a:lnTo>
                    <a:pt x="21" y="1269"/>
                  </a:lnTo>
                  <a:lnTo>
                    <a:pt x="23" y="1266"/>
                  </a:lnTo>
                  <a:lnTo>
                    <a:pt x="23" y="1269"/>
                  </a:lnTo>
                  <a:lnTo>
                    <a:pt x="21" y="1269"/>
                  </a:lnTo>
                  <a:lnTo>
                    <a:pt x="23" y="1269"/>
                  </a:lnTo>
                  <a:lnTo>
                    <a:pt x="21" y="1269"/>
                  </a:lnTo>
                  <a:lnTo>
                    <a:pt x="23" y="1269"/>
                  </a:lnTo>
                  <a:lnTo>
                    <a:pt x="23" y="1271"/>
                  </a:lnTo>
                  <a:lnTo>
                    <a:pt x="21" y="1271"/>
                  </a:lnTo>
                  <a:lnTo>
                    <a:pt x="21" y="1273"/>
                  </a:lnTo>
                  <a:lnTo>
                    <a:pt x="21" y="1276"/>
                  </a:lnTo>
                  <a:lnTo>
                    <a:pt x="19" y="1276"/>
                  </a:lnTo>
                  <a:lnTo>
                    <a:pt x="19" y="1273"/>
                  </a:lnTo>
                  <a:lnTo>
                    <a:pt x="21" y="1273"/>
                  </a:lnTo>
                  <a:lnTo>
                    <a:pt x="19" y="1273"/>
                  </a:lnTo>
                  <a:lnTo>
                    <a:pt x="19" y="1271"/>
                  </a:lnTo>
                  <a:lnTo>
                    <a:pt x="19" y="1273"/>
                  </a:lnTo>
                  <a:lnTo>
                    <a:pt x="19" y="1271"/>
                  </a:lnTo>
                  <a:lnTo>
                    <a:pt x="19" y="1269"/>
                  </a:lnTo>
                  <a:lnTo>
                    <a:pt x="19" y="1271"/>
                  </a:lnTo>
                  <a:lnTo>
                    <a:pt x="19" y="1269"/>
                  </a:lnTo>
                  <a:lnTo>
                    <a:pt x="19" y="1266"/>
                  </a:lnTo>
                  <a:lnTo>
                    <a:pt x="21" y="1266"/>
                  </a:lnTo>
                  <a:lnTo>
                    <a:pt x="19" y="1266"/>
                  </a:lnTo>
                  <a:lnTo>
                    <a:pt x="19" y="1264"/>
                  </a:lnTo>
                  <a:lnTo>
                    <a:pt x="19" y="1266"/>
                  </a:lnTo>
                  <a:lnTo>
                    <a:pt x="19" y="1264"/>
                  </a:lnTo>
                  <a:lnTo>
                    <a:pt x="19" y="1266"/>
                  </a:lnTo>
                  <a:lnTo>
                    <a:pt x="19" y="1264"/>
                  </a:lnTo>
                  <a:lnTo>
                    <a:pt x="19" y="1266"/>
                  </a:lnTo>
                  <a:lnTo>
                    <a:pt x="16" y="1266"/>
                  </a:lnTo>
                  <a:lnTo>
                    <a:pt x="19" y="1266"/>
                  </a:lnTo>
                  <a:lnTo>
                    <a:pt x="19" y="1264"/>
                  </a:lnTo>
                  <a:lnTo>
                    <a:pt x="19" y="1266"/>
                  </a:lnTo>
                  <a:lnTo>
                    <a:pt x="16" y="1266"/>
                  </a:lnTo>
                  <a:lnTo>
                    <a:pt x="16" y="1264"/>
                  </a:lnTo>
                  <a:lnTo>
                    <a:pt x="16" y="1266"/>
                  </a:lnTo>
                  <a:lnTo>
                    <a:pt x="16" y="1264"/>
                  </a:lnTo>
                  <a:lnTo>
                    <a:pt x="19" y="1264"/>
                  </a:lnTo>
                  <a:lnTo>
                    <a:pt x="16" y="1264"/>
                  </a:lnTo>
                  <a:lnTo>
                    <a:pt x="19" y="1264"/>
                  </a:lnTo>
                  <a:lnTo>
                    <a:pt x="19" y="1262"/>
                  </a:lnTo>
                  <a:lnTo>
                    <a:pt x="19" y="1264"/>
                  </a:lnTo>
                  <a:lnTo>
                    <a:pt x="19" y="1262"/>
                  </a:lnTo>
                  <a:lnTo>
                    <a:pt x="16" y="1262"/>
                  </a:lnTo>
                  <a:lnTo>
                    <a:pt x="16" y="1259"/>
                  </a:lnTo>
                  <a:lnTo>
                    <a:pt x="16" y="1262"/>
                  </a:lnTo>
                  <a:lnTo>
                    <a:pt x="16" y="1259"/>
                  </a:lnTo>
                  <a:lnTo>
                    <a:pt x="19" y="1259"/>
                  </a:lnTo>
                  <a:lnTo>
                    <a:pt x="16" y="1259"/>
                  </a:lnTo>
                  <a:lnTo>
                    <a:pt x="19" y="1259"/>
                  </a:lnTo>
                  <a:close/>
                  <a:moveTo>
                    <a:pt x="204" y="1257"/>
                  </a:moveTo>
                  <a:lnTo>
                    <a:pt x="204" y="1259"/>
                  </a:lnTo>
                  <a:lnTo>
                    <a:pt x="204" y="1257"/>
                  </a:lnTo>
                  <a:lnTo>
                    <a:pt x="204" y="1259"/>
                  </a:lnTo>
                  <a:lnTo>
                    <a:pt x="201" y="1259"/>
                  </a:lnTo>
                  <a:lnTo>
                    <a:pt x="201" y="1257"/>
                  </a:lnTo>
                  <a:lnTo>
                    <a:pt x="204" y="1257"/>
                  </a:lnTo>
                  <a:close/>
                  <a:moveTo>
                    <a:pt x="19" y="1257"/>
                  </a:moveTo>
                  <a:lnTo>
                    <a:pt x="21" y="1257"/>
                  </a:lnTo>
                  <a:lnTo>
                    <a:pt x="21" y="1259"/>
                  </a:lnTo>
                  <a:lnTo>
                    <a:pt x="19" y="1259"/>
                  </a:lnTo>
                  <a:lnTo>
                    <a:pt x="19" y="1257"/>
                  </a:lnTo>
                  <a:close/>
                  <a:moveTo>
                    <a:pt x="21" y="1257"/>
                  </a:moveTo>
                  <a:lnTo>
                    <a:pt x="21" y="1259"/>
                  </a:lnTo>
                  <a:lnTo>
                    <a:pt x="21" y="1257"/>
                  </a:lnTo>
                  <a:lnTo>
                    <a:pt x="21" y="1259"/>
                  </a:lnTo>
                  <a:lnTo>
                    <a:pt x="23" y="1259"/>
                  </a:lnTo>
                  <a:lnTo>
                    <a:pt x="21" y="1259"/>
                  </a:lnTo>
                  <a:lnTo>
                    <a:pt x="21" y="1257"/>
                  </a:lnTo>
                  <a:close/>
                  <a:moveTo>
                    <a:pt x="19" y="1257"/>
                  </a:moveTo>
                  <a:lnTo>
                    <a:pt x="19" y="1259"/>
                  </a:lnTo>
                  <a:lnTo>
                    <a:pt x="19" y="1257"/>
                  </a:lnTo>
                  <a:close/>
                  <a:moveTo>
                    <a:pt x="16" y="1257"/>
                  </a:moveTo>
                  <a:lnTo>
                    <a:pt x="19" y="1257"/>
                  </a:lnTo>
                  <a:lnTo>
                    <a:pt x="16" y="1259"/>
                  </a:lnTo>
                  <a:lnTo>
                    <a:pt x="16" y="1257"/>
                  </a:lnTo>
                  <a:lnTo>
                    <a:pt x="16" y="1259"/>
                  </a:lnTo>
                  <a:lnTo>
                    <a:pt x="16" y="1257"/>
                  </a:lnTo>
                  <a:lnTo>
                    <a:pt x="16" y="1259"/>
                  </a:lnTo>
                  <a:lnTo>
                    <a:pt x="16" y="1257"/>
                  </a:lnTo>
                  <a:close/>
                  <a:moveTo>
                    <a:pt x="19" y="1257"/>
                  </a:moveTo>
                  <a:lnTo>
                    <a:pt x="21" y="1257"/>
                  </a:lnTo>
                  <a:lnTo>
                    <a:pt x="19" y="1257"/>
                  </a:lnTo>
                  <a:close/>
                  <a:moveTo>
                    <a:pt x="21" y="1257"/>
                  </a:moveTo>
                  <a:lnTo>
                    <a:pt x="23" y="1257"/>
                  </a:lnTo>
                  <a:lnTo>
                    <a:pt x="23" y="1259"/>
                  </a:lnTo>
                  <a:lnTo>
                    <a:pt x="21" y="1257"/>
                  </a:lnTo>
                  <a:close/>
                  <a:moveTo>
                    <a:pt x="35" y="1257"/>
                  </a:moveTo>
                  <a:lnTo>
                    <a:pt x="38" y="1257"/>
                  </a:lnTo>
                  <a:lnTo>
                    <a:pt x="35" y="1257"/>
                  </a:lnTo>
                  <a:close/>
                  <a:moveTo>
                    <a:pt x="23" y="1257"/>
                  </a:moveTo>
                  <a:lnTo>
                    <a:pt x="21" y="1257"/>
                  </a:lnTo>
                  <a:lnTo>
                    <a:pt x="23" y="1257"/>
                  </a:lnTo>
                  <a:lnTo>
                    <a:pt x="21" y="1257"/>
                  </a:lnTo>
                  <a:lnTo>
                    <a:pt x="23" y="1257"/>
                  </a:lnTo>
                  <a:lnTo>
                    <a:pt x="21" y="1257"/>
                  </a:lnTo>
                  <a:lnTo>
                    <a:pt x="23" y="1257"/>
                  </a:lnTo>
                  <a:close/>
                  <a:moveTo>
                    <a:pt x="21" y="1257"/>
                  </a:moveTo>
                  <a:lnTo>
                    <a:pt x="19" y="1257"/>
                  </a:lnTo>
                  <a:lnTo>
                    <a:pt x="21" y="1257"/>
                  </a:lnTo>
                  <a:close/>
                  <a:moveTo>
                    <a:pt x="23" y="1254"/>
                  </a:moveTo>
                  <a:lnTo>
                    <a:pt x="23" y="1257"/>
                  </a:lnTo>
                  <a:lnTo>
                    <a:pt x="21" y="1257"/>
                  </a:lnTo>
                  <a:lnTo>
                    <a:pt x="21" y="1254"/>
                  </a:lnTo>
                  <a:lnTo>
                    <a:pt x="23" y="1254"/>
                  </a:lnTo>
                  <a:lnTo>
                    <a:pt x="21" y="1254"/>
                  </a:lnTo>
                  <a:lnTo>
                    <a:pt x="23" y="1254"/>
                  </a:lnTo>
                  <a:close/>
                  <a:moveTo>
                    <a:pt x="23" y="1254"/>
                  </a:moveTo>
                  <a:lnTo>
                    <a:pt x="26" y="1254"/>
                  </a:lnTo>
                  <a:lnTo>
                    <a:pt x="28" y="1254"/>
                  </a:lnTo>
                  <a:lnTo>
                    <a:pt x="28" y="1257"/>
                  </a:lnTo>
                  <a:lnTo>
                    <a:pt x="31" y="1257"/>
                  </a:lnTo>
                  <a:lnTo>
                    <a:pt x="31" y="1259"/>
                  </a:lnTo>
                  <a:lnTo>
                    <a:pt x="31" y="1262"/>
                  </a:lnTo>
                  <a:lnTo>
                    <a:pt x="31" y="1264"/>
                  </a:lnTo>
                  <a:lnTo>
                    <a:pt x="31" y="1266"/>
                  </a:lnTo>
                  <a:lnTo>
                    <a:pt x="31" y="1264"/>
                  </a:lnTo>
                  <a:lnTo>
                    <a:pt x="31" y="1266"/>
                  </a:lnTo>
                  <a:lnTo>
                    <a:pt x="28" y="1266"/>
                  </a:lnTo>
                  <a:lnTo>
                    <a:pt x="26" y="1266"/>
                  </a:lnTo>
                  <a:lnTo>
                    <a:pt x="28" y="1266"/>
                  </a:lnTo>
                  <a:lnTo>
                    <a:pt x="26" y="1266"/>
                  </a:lnTo>
                  <a:lnTo>
                    <a:pt x="28" y="1266"/>
                  </a:lnTo>
                  <a:lnTo>
                    <a:pt x="26" y="1264"/>
                  </a:lnTo>
                  <a:lnTo>
                    <a:pt x="26" y="1262"/>
                  </a:lnTo>
                  <a:lnTo>
                    <a:pt x="23" y="1262"/>
                  </a:lnTo>
                  <a:lnTo>
                    <a:pt x="23" y="1259"/>
                  </a:lnTo>
                  <a:lnTo>
                    <a:pt x="23" y="1262"/>
                  </a:lnTo>
                  <a:lnTo>
                    <a:pt x="23" y="1259"/>
                  </a:lnTo>
                  <a:lnTo>
                    <a:pt x="23" y="1257"/>
                  </a:lnTo>
                  <a:lnTo>
                    <a:pt x="26" y="1257"/>
                  </a:lnTo>
                  <a:lnTo>
                    <a:pt x="23" y="1254"/>
                  </a:lnTo>
                  <a:close/>
                  <a:moveTo>
                    <a:pt x="45" y="1254"/>
                  </a:moveTo>
                  <a:lnTo>
                    <a:pt x="42" y="1254"/>
                  </a:lnTo>
                  <a:lnTo>
                    <a:pt x="40" y="1257"/>
                  </a:lnTo>
                  <a:lnTo>
                    <a:pt x="40" y="1254"/>
                  </a:lnTo>
                  <a:lnTo>
                    <a:pt x="42" y="1254"/>
                  </a:lnTo>
                  <a:lnTo>
                    <a:pt x="45" y="1254"/>
                  </a:lnTo>
                  <a:lnTo>
                    <a:pt x="45" y="1252"/>
                  </a:lnTo>
                  <a:lnTo>
                    <a:pt x="45" y="1254"/>
                  </a:lnTo>
                  <a:close/>
                  <a:moveTo>
                    <a:pt x="45" y="1254"/>
                  </a:moveTo>
                  <a:lnTo>
                    <a:pt x="45" y="1252"/>
                  </a:lnTo>
                  <a:lnTo>
                    <a:pt x="45" y="1254"/>
                  </a:lnTo>
                  <a:close/>
                  <a:moveTo>
                    <a:pt x="19" y="1252"/>
                  </a:moveTo>
                  <a:lnTo>
                    <a:pt x="21" y="1252"/>
                  </a:lnTo>
                  <a:lnTo>
                    <a:pt x="21" y="1254"/>
                  </a:lnTo>
                  <a:lnTo>
                    <a:pt x="19" y="1254"/>
                  </a:lnTo>
                  <a:lnTo>
                    <a:pt x="16" y="1254"/>
                  </a:lnTo>
                  <a:lnTo>
                    <a:pt x="16" y="1252"/>
                  </a:lnTo>
                  <a:lnTo>
                    <a:pt x="19" y="1252"/>
                  </a:lnTo>
                  <a:close/>
                  <a:moveTo>
                    <a:pt x="14" y="1252"/>
                  </a:moveTo>
                  <a:lnTo>
                    <a:pt x="16" y="1252"/>
                  </a:lnTo>
                  <a:lnTo>
                    <a:pt x="16" y="1254"/>
                  </a:lnTo>
                  <a:lnTo>
                    <a:pt x="16" y="1252"/>
                  </a:lnTo>
                  <a:lnTo>
                    <a:pt x="16" y="1254"/>
                  </a:lnTo>
                  <a:lnTo>
                    <a:pt x="16" y="1252"/>
                  </a:lnTo>
                  <a:lnTo>
                    <a:pt x="14" y="1252"/>
                  </a:lnTo>
                  <a:close/>
                  <a:moveTo>
                    <a:pt x="35" y="1247"/>
                  </a:moveTo>
                  <a:lnTo>
                    <a:pt x="35" y="1250"/>
                  </a:lnTo>
                  <a:lnTo>
                    <a:pt x="38" y="1250"/>
                  </a:lnTo>
                  <a:lnTo>
                    <a:pt x="38" y="1252"/>
                  </a:lnTo>
                  <a:lnTo>
                    <a:pt x="35" y="1254"/>
                  </a:lnTo>
                  <a:lnTo>
                    <a:pt x="35" y="1257"/>
                  </a:lnTo>
                  <a:lnTo>
                    <a:pt x="35" y="1259"/>
                  </a:lnTo>
                  <a:lnTo>
                    <a:pt x="33" y="1259"/>
                  </a:lnTo>
                  <a:lnTo>
                    <a:pt x="33" y="1257"/>
                  </a:lnTo>
                  <a:lnTo>
                    <a:pt x="33" y="1259"/>
                  </a:lnTo>
                  <a:lnTo>
                    <a:pt x="31" y="1259"/>
                  </a:lnTo>
                  <a:lnTo>
                    <a:pt x="31" y="1257"/>
                  </a:lnTo>
                  <a:lnTo>
                    <a:pt x="31" y="1254"/>
                  </a:lnTo>
                  <a:lnTo>
                    <a:pt x="31" y="1257"/>
                  </a:lnTo>
                  <a:lnTo>
                    <a:pt x="31" y="1254"/>
                  </a:lnTo>
                  <a:lnTo>
                    <a:pt x="28" y="1254"/>
                  </a:lnTo>
                  <a:lnTo>
                    <a:pt x="26" y="1254"/>
                  </a:lnTo>
                  <a:lnTo>
                    <a:pt x="26" y="1252"/>
                  </a:lnTo>
                  <a:lnTo>
                    <a:pt x="28" y="1252"/>
                  </a:lnTo>
                  <a:lnTo>
                    <a:pt x="31" y="1252"/>
                  </a:lnTo>
                  <a:lnTo>
                    <a:pt x="28" y="1252"/>
                  </a:lnTo>
                  <a:lnTo>
                    <a:pt x="31" y="1252"/>
                  </a:lnTo>
                  <a:lnTo>
                    <a:pt x="28" y="1252"/>
                  </a:lnTo>
                  <a:lnTo>
                    <a:pt x="31" y="1252"/>
                  </a:lnTo>
                  <a:lnTo>
                    <a:pt x="28" y="1252"/>
                  </a:lnTo>
                  <a:lnTo>
                    <a:pt x="28" y="1250"/>
                  </a:lnTo>
                  <a:lnTo>
                    <a:pt x="31" y="1250"/>
                  </a:lnTo>
                  <a:lnTo>
                    <a:pt x="33" y="1250"/>
                  </a:lnTo>
                  <a:lnTo>
                    <a:pt x="31" y="1250"/>
                  </a:lnTo>
                  <a:lnTo>
                    <a:pt x="33" y="1250"/>
                  </a:lnTo>
                  <a:lnTo>
                    <a:pt x="33" y="1247"/>
                  </a:lnTo>
                  <a:lnTo>
                    <a:pt x="33" y="1250"/>
                  </a:lnTo>
                  <a:lnTo>
                    <a:pt x="33" y="1247"/>
                  </a:lnTo>
                  <a:lnTo>
                    <a:pt x="33" y="1250"/>
                  </a:lnTo>
                  <a:lnTo>
                    <a:pt x="33" y="1247"/>
                  </a:lnTo>
                  <a:lnTo>
                    <a:pt x="33" y="1250"/>
                  </a:lnTo>
                  <a:lnTo>
                    <a:pt x="35" y="1250"/>
                  </a:lnTo>
                  <a:lnTo>
                    <a:pt x="35" y="1247"/>
                  </a:lnTo>
                  <a:lnTo>
                    <a:pt x="35" y="1250"/>
                  </a:lnTo>
                  <a:lnTo>
                    <a:pt x="35" y="1247"/>
                  </a:lnTo>
                  <a:close/>
                  <a:moveTo>
                    <a:pt x="28" y="1247"/>
                  </a:moveTo>
                  <a:lnTo>
                    <a:pt x="28" y="1250"/>
                  </a:lnTo>
                  <a:lnTo>
                    <a:pt x="28" y="1247"/>
                  </a:lnTo>
                  <a:lnTo>
                    <a:pt x="28" y="1250"/>
                  </a:lnTo>
                  <a:lnTo>
                    <a:pt x="28" y="1247"/>
                  </a:lnTo>
                  <a:lnTo>
                    <a:pt x="28" y="1250"/>
                  </a:lnTo>
                  <a:lnTo>
                    <a:pt x="28" y="1252"/>
                  </a:lnTo>
                  <a:lnTo>
                    <a:pt x="26" y="1252"/>
                  </a:lnTo>
                  <a:lnTo>
                    <a:pt x="26" y="1250"/>
                  </a:lnTo>
                  <a:lnTo>
                    <a:pt x="26" y="1247"/>
                  </a:lnTo>
                  <a:lnTo>
                    <a:pt x="28" y="1247"/>
                  </a:lnTo>
                  <a:close/>
                  <a:moveTo>
                    <a:pt x="16" y="1247"/>
                  </a:moveTo>
                  <a:lnTo>
                    <a:pt x="19" y="1247"/>
                  </a:lnTo>
                  <a:lnTo>
                    <a:pt x="16" y="1247"/>
                  </a:lnTo>
                  <a:lnTo>
                    <a:pt x="19" y="1247"/>
                  </a:lnTo>
                  <a:lnTo>
                    <a:pt x="16" y="1247"/>
                  </a:lnTo>
                  <a:close/>
                  <a:moveTo>
                    <a:pt x="50" y="1247"/>
                  </a:moveTo>
                  <a:lnTo>
                    <a:pt x="50" y="1245"/>
                  </a:lnTo>
                  <a:lnTo>
                    <a:pt x="50" y="1247"/>
                  </a:lnTo>
                  <a:close/>
                  <a:moveTo>
                    <a:pt x="21" y="1245"/>
                  </a:moveTo>
                  <a:lnTo>
                    <a:pt x="21" y="1247"/>
                  </a:lnTo>
                  <a:lnTo>
                    <a:pt x="23" y="1247"/>
                  </a:lnTo>
                  <a:lnTo>
                    <a:pt x="21" y="1247"/>
                  </a:lnTo>
                  <a:lnTo>
                    <a:pt x="23" y="1247"/>
                  </a:lnTo>
                  <a:lnTo>
                    <a:pt x="23" y="1250"/>
                  </a:lnTo>
                  <a:lnTo>
                    <a:pt x="23" y="1252"/>
                  </a:lnTo>
                  <a:lnTo>
                    <a:pt x="21" y="1252"/>
                  </a:lnTo>
                  <a:lnTo>
                    <a:pt x="21" y="1250"/>
                  </a:lnTo>
                  <a:lnTo>
                    <a:pt x="19" y="1250"/>
                  </a:lnTo>
                  <a:lnTo>
                    <a:pt x="21" y="1247"/>
                  </a:lnTo>
                  <a:lnTo>
                    <a:pt x="21" y="1250"/>
                  </a:lnTo>
                  <a:lnTo>
                    <a:pt x="21" y="1247"/>
                  </a:lnTo>
                  <a:lnTo>
                    <a:pt x="21" y="1250"/>
                  </a:lnTo>
                  <a:lnTo>
                    <a:pt x="21" y="1247"/>
                  </a:lnTo>
                  <a:lnTo>
                    <a:pt x="21" y="1245"/>
                  </a:lnTo>
                  <a:close/>
                  <a:moveTo>
                    <a:pt x="21" y="1245"/>
                  </a:moveTo>
                  <a:lnTo>
                    <a:pt x="23" y="1245"/>
                  </a:lnTo>
                  <a:lnTo>
                    <a:pt x="21" y="1245"/>
                  </a:lnTo>
                  <a:close/>
                  <a:moveTo>
                    <a:pt x="16" y="1245"/>
                  </a:moveTo>
                  <a:lnTo>
                    <a:pt x="16" y="1247"/>
                  </a:lnTo>
                  <a:lnTo>
                    <a:pt x="14" y="1247"/>
                  </a:lnTo>
                  <a:lnTo>
                    <a:pt x="16" y="1245"/>
                  </a:lnTo>
                  <a:lnTo>
                    <a:pt x="14" y="1245"/>
                  </a:lnTo>
                  <a:lnTo>
                    <a:pt x="16" y="1245"/>
                  </a:lnTo>
                  <a:close/>
                  <a:moveTo>
                    <a:pt x="19" y="1245"/>
                  </a:moveTo>
                  <a:lnTo>
                    <a:pt x="21" y="1245"/>
                  </a:lnTo>
                  <a:lnTo>
                    <a:pt x="19" y="1245"/>
                  </a:lnTo>
                  <a:lnTo>
                    <a:pt x="19" y="1247"/>
                  </a:lnTo>
                  <a:lnTo>
                    <a:pt x="19" y="1245"/>
                  </a:lnTo>
                  <a:lnTo>
                    <a:pt x="16" y="1245"/>
                  </a:lnTo>
                  <a:lnTo>
                    <a:pt x="19" y="1245"/>
                  </a:lnTo>
                  <a:lnTo>
                    <a:pt x="16" y="1245"/>
                  </a:lnTo>
                  <a:lnTo>
                    <a:pt x="19" y="1245"/>
                  </a:lnTo>
                  <a:close/>
                  <a:moveTo>
                    <a:pt x="47" y="1245"/>
                  </a:moveTo>
                  <a:lnTo>
                    <a:pt x="50" y="1245"/>
                  </a:lnTo>
                  <a:lnTo>
                    <a:pt x="47" y="1247"/>
                  </a:lnTo>
                  <a:lnTo>
                    <a:pt x="45" y="1250"/>
                  </a:lnTo>
                  <a:lnTo>
                    <a:pt x="45" y="1247"/>
                  </a:lnTo>
                  <a:lnTo>
                    <a:pt x="45" y="1245"/>
                  </a:lnTo>
                  <a:lnTo>
                    <a:pt x="47" y="1245"/>
                  </a:lnTo>
                  <a:lnTo>
                    <a:pt x="47" y="1243"/>
                  </a:lnTo>
                  <a:lnTo>
                    <a:pt x="47" y="1245"/>
                  </a:lnTo>
                  <a:lnTo>
                    <a:pt x="47" y="1243"/>
                  </a:lnTo>
                  <a:lnTo>
                    <a:pt x="47" y="1245"/>
                  </a:lnTo>
                  <a:close/>
                  <a:moveTo>
                    <a:pt x="14" y="1243"/>
                  </a:moveTo>
                  <a:lnTo>
                    <a:pt x="14" y="1245"/>
                  </a:lnTo>
                  <a:lnTo>
                    <a:pt x="14" y="1243"/>
                  </a:lnTo>
                  <a:close/>
                  <a:moveTo>
                    <a:pt x="23" y="1243"/>
                  </a:moveTo>
                  <a:lnTo>
                    <a:pt x="23" y="1245"/>
                  </a:lnTo>
                  <a:lnTo>
                    <a:pt x="23" y="1243"/>
                  </a:lnTo>
                  <a:close/>
                  <a:moveTo>
                    <a:pt x="26" y="1243"/>
                  </a:moveTo>
                  <a:lnTo>
                    <a:pt x="26" y="1245"/>
                  </a:lnTo>
                  <a:lnTo>
                    <a:pt x="23" y="1245"/>
                  </a:lnTo>
                  <a:lnTo>
                    <a:pt x="26" y="1245"/>
                  </a:lnTo>
                  <a:lnTo>
                    <a:pt x="26" y="1243"/>
                  </a:lnTo>
                  <a:close/>
                  <a:moveTo>
                    <a:pt x="26" y="1240"/>
                  </a:moveTo>
                  <a:lnTo>
                    <a:pt x="26" y="1243"/>
                  </a:lnTo>
                  <a:lnTo>
                    <a:pt x="26" y="1240"/>
                  </a:lnTo>
                  <a:close/>
                  <a:moveTo>
                    <a:pt x="21" y="1240"/>
                  </a:moveTo>
                  <a:lnTo>
                    <a:pt x="19" y="1240"/>
                  </a:lnTo>
                  <a:lnTo>
                    <a:pt x="21" y="1240"/>
                  </a:lnTo>
                  <a:lnTo>
                    <a:pt x="19" y="1240"/>
                  </a:lnTo>
                  <a:lnTo>
                    <a:pt x="21" y="1240"/>
                  </a:lnTo>
                  <a:close/>
                  <a:moveTo>
                    <a:pt x="21" y="1240"/>
                  </a:moveTo>
                  <a:lnTo>
                    <a:pt x="19" y="1240"/>
                  </a:lnTo>
                  <a:lnTo>
                    <a:pt x="21" y="1240"/>
                  </a:lnTo>
                  <a:close/>
                  <a:moveTo>
                    <a:pt x="21" y="1238"/>
                  </a:moveTo>
                  <a:lnTo>
                    <a:pt x="21" y="1240"/>
                  </a:lnTo>
                  <a:lnTo>
                    <a:pt x="21" y="1238"/>
                  </a:lnTo>
                  <a:close/>
                  <a:moveTo>
                    <a:pt x="19" y="1238"/>
                  </a:moveTo>
                  <a:lnTo>
                    <a:pt x="19" y="1235"/>
                  </a:lnTo>
                  <a:lnTo>
                    <a:pt x="19" y="1238"/>
                  </a:lnTo>
                  <a:close/>
                  <a:moveTo>
                    <a:pt x="12" y="1235"/>
                  </a:moveTo>
                  <a:lnTo>
                    <a:pt x="9" y="1235"/>
                  </a:lnTo>
                  <a:lnTo>
                    <a:pt x="12" y="1235"/>
                  </a:lnTo>
                  <a:close/>
                  <a:moveTo>
                    <a:pt x="21" y="1235"/>
                  </a:moveTo>
                  <a:lnTo>
                    <a:pt x="19" y="1235"/>
                  </a:lnTo>
                  <a:lnTo>
                    <a:pt x="21" y="1235"/>
                  </a:lnTo>
                  <a:lnTo>
                    <a:pt x="19" y="1235"/>
                  </a:lnTo>
                  <a:lnTo>
                    <a:pt x="21" y="1235"/>
                  </a:lnTo>
                  <a:lnTo>
                    <a:pt x="19" y="1235"/>
                  </a:lnTo>
                  <a:lnTo>
                    <a:pt x="21" y="1235"/>
                  </a:lnTo>
                  <a:close/>
                  <a:moveTo>
                    <a:pt x="14" y="1233"/>
                  </a:moveTo>
                  <a:lnTo>
                    <a:pt x="14" y="1235"/>
                  </a:lnTo>
                  <a:lnTo>
                    <a:pt x="12" y="1235"/>
                  </a:lnTo>
                  <a:lnTo>
                    <a:pt x="12" y="1233"/>
                  </a:lnTo>
                  <a:lnTo>
                    <a:pt x="14" y="1233"/>
                  </a:lnTo>
                  <a:close/>
                  <a:moveTo>
                    <a:pt x="12" y="1233"/>
                  </a:moveTo>
                  <a:lnTo>
                    <a:pt x="14" y="1233"/>
                  </a:lnTo>
                  <a:lnTo>
                    <a:pt x="12" y="1233"/>
                  </a:lnTo>
                  <a:lnTo>
                    <a:pt x="12" y="1235"/>
                  </a:lnTo>
                  <a:lnTo>
                    <a:pt x="14" y="1235"/>
                  </a:lnTo>
                  <a:lnTo>
                    <a:pt x="12" y="1235"/>
                  </a:lnTo>
                  <a:lnTo>
                    <a:pt x="14" y="1235"/>
                  </a:lnTo>
                  <a:lnTo>
                    <a:pt x="12" y="1235"/>
                  </a:lnTo>
                  <a:lnTo>
                    <a:pt x="12" y="1233"/>
                  </a:lnTo>
                  <a:lnTo>
                    <a:pt x="12" y="1235"/>
                  </a:lnTo>
                  <a:lnTo>
                    <a:pt x="12" y="1233"/>
                  </a:lnTo>
                  <a:close/>
                  <a:moveTo>
                    <a:pt x="12" y="1231"/>
                  </a:moveTo>
                  <a:lnTo>
                    <a:pt x="9" y="1231"/>
                  </a:lnTo>
                  <a:lnTo>
                    <a:pt x="12" y="1231"/>
                  </a:lnTo>
                  <a:close/>
                  <a:moveTo>
                    <a:pt x="14" y="1226"/>
                  </a:moveTo>
                  <a:lnTo>
                    <a:pt x="16" y="1226"/>
                  </a:lnTo>
                  <a:lnTo>
                    <a:pt x="14" y="1226"/>
                  </a:lnTo>
                  <a:close/>
                  <a:moveTo>
                    <a:pt x="12" y="1226"/>
                  </a:moveTo>
                  <a:lnTo>
                    <a:pt x="12" y="1228"/>
                  </a:lnTo>
                  <a:lnTo>
                    <a:pt x="14" y="1228"/>
                  </a:lnTo>
                  <a:lnTo>
                    <a:pt x="12" y="1228"/>
                  </a:lnTo>
                  <a:lnTo>
                    <a:pt x="12" y="1226"/>
                  </a:lnTo>
                  <a:close/>
                  <a:moveTo>
                    <a:pt x="14" y="1224"/>
                  </a:moveTo>
                  <a:lnTo>
                    <a:pt x="14" y="1226"/>
                  </a:lnTo>
                  <a:lnTo>
                    <a:pt x="16" y="1226"/>
                  </a:lnTo>
                  <a:lnTo>
                    <a:pt x="14" y="1226"/>
                  </a:lnTo>
                  <a:lnTo>
                    <a:pt x="14" y="1224"/>
                  </a:lnTo>
                  <a:lnTo>
                    <a:pt x="16" y="1224"/>
                  </a:lnTo>
                  <a:lnTo>
                    <a:pt x="14" y="1224"/>
                  </a:lnTo>
                  <a:lnTo>
                    <a:pt x="16" y="1224"/>
                  </a:lnTo>
                  <a:lnTo>
                    <a:pt x="16" y="1226"/>
                  </a:lnTo>
                  <a:lnTo>
                    <a:pt x="16" y="1224"/>
                  </a:lnTo>
                  <a:lnTo>
                    <a:pt x="16" y="1226"/>
                  </a:lnTo>
                  <a:lnTo>
                    <a:pt x="19" y="1226"/>
                  </a:lnTo>
                  <a:lnTo>
                    <a:pt x="21" y="1226"/>
                  </a:lnTo>
                  <a:lnTo>
                    <a:pt x="21" y="1228"/>
                  </a:lnTo>
                  <a:lnTo>
                    <a:pt x="21" y="1231"/>
                  </a:lnTo>
                  <a:lnTo>
                    <a:pt x="19" y="1231"/>
                  </a:lnTo>
                  <a:lnTo>
                    <a:pt x="19" y="1228"/>
                  </a:lnTo>
                  <a:lnTo>
                    <a:pt x="19" y="1231"/>
                  </a:lnTo>
                  <a:lnTo>
                    <a:pt x="19" y="1228"/>
                  </a:lnTo>
                  <a:lnTo>
                    <a:pt x="16" y="1228"/>
                  </a:lnTo>
                  <a:lnTo>
                    <a:pt x="16" y="1231"/>
                  </a:lnTo>
                  <a:lnTo>
                    <a:pt x="16" y="1228"/>
                  </a:lnTo>
                  <a:lnTo>
                    <a:pt x="19" y="1228"/>
                  </a:lnTo>
                  <a:lnTo>
                    <a:pt x="16" y="1228"/>
                  </a:lnTo>
                  <a:lnTo>
                    <a:pt x="16" y="1226"/>
                  </a:lnTo>
                  <a:lnTo>
                    <a:pt x="14" y="1226"/>
                  </a:lnTo>
                  <a:lnTo>
                    <a:pt x="16" y="1226"/>
                  </a:lnTo>
                  <a:lnTo>
                    <a:pt x="14" y="1226"/>
                  </a:lnTo>
                  <a:lnTo>
                    <a:pt x="14" y="1224"/>
                  </a:lnTo>
                  <a:lnTo>
                    <a:pt x="12" y="1224"/>
                  </a:lnTo>
                  <a:lnTo>
                    <a:pt x="14" y="1224"/>
                  </a:lnTo>
                  <a:close/>
                  <a:moveTo>
                    <a:pt x="12" y="1221"/>
                  </a:moveTo>
                  <a:lnTo>
                    <a:pt x="14" y="1221"/>
                  </a:lnTo>
                  <a:lnTo>
                    <a:pt x="12" y="1221"/>
                  </a:lnTo>
                  <a:lnTo>
                    <a:pt x="12" y="1224"/>
                  </a:lnTo>
                  <a:lnTo>
                    <a:pt x="12" y="1221"/>
                  </a:lnTo>
                  <a:close/>
                  <a:moveTo>
                    <a:pt x="16" y="1219"/>
                  </a:moveTo>
                  <a:lnTo>
                    <a:pt x="16" y="1221"/>
                  </a:lnTo>
                  <a:lnTo>
                    <a:pt x="16" y="1219"/>
                  </a:lnTo>
                  <a:close/>
                  <a:moveTo>
                    <a:pt x="12" y="1219"/>
                  </a:moveTo>
                  <a:lnTo>
                    <a:pt x="14" y="1219"/>
                  </a:lnTo>
                  <a:lnTo>
                    <a:pt x="14" y="1221"/>
                  </a:lnTo>
                  <a:lnTo>
                    <a:pt x="14" y="1219"/>
                  </a:lnTo>
                  <a:lnTo>
                    <a:pt x="16" y="1219"/>
                  </a:lnTo>
                  <a:lnTo>
                    <a:pt x="16" y="1221"/>
                  </a:lnTo>
                  <a:lnTo>
                    <a:pt x="19" y="1221"/>
                  </a:lnTo>
                  <a:lnTo>
                    <a:pt x="21" y="1224"/>
                  </a:lnTo>
                  <a:lnTo>
                    <a:pt x="23" y="1224"/>
                  </a:lnTo>
                  <a:lnTo>
                    <a:pt x="21" y="1224"/>
                  </a:lnTo>
                  <a:lnTo>
                    <a:pt x="21" y="1226"/>
                  </a:lnTo>
                  <a:lnTo>
                    <a:pt x="19" y="1226"/>
                  </a:lnTo>
                  <a:lnTo>
                    <a:pt x="19" y="1224"/>
                  </a:lnTo>
                  <a:lnTo>
                    <a:pt x="16" y="1224"/>
                  </a:lnTo>
                  <a:lnTo>
                    <a:pt x="14" y="1224"/>
                  </a:lnTo>
                  <a:lnTo>
                    <a:pt x="14" y="1221"/>
                  </a:lnTo>
                  <a:lnTo>
                    <a:pt x="14" y="1224"/>
                  </a:lnTo>
                  <a:lnTo>
                    <a:pt x="14" y="1221"/>
                  </a:lnTo>
                  <a:lnTo>
                    <a:pt x="12" y="1221"/>
                  </a:lnTo>
                  <a:lnTo>
                    <a:pt x="12" y="1219"/>
                  </a:lnTo>
                  <a:close/>
                  <a:moveTo>
                    <a:pt x="12" y="1216"/>
                  </a:moveTo>
                  <a:lnTo>
                    <a:pt x="12" y="1219"/>
                  </a:lnTo>
                  <a:lnTo>
                    <a:pt x="14" y="1219"/>
                  </a:lnTo>
                  <a:lnTo>
                    <a:pt x="12" y="1216"/>
                  </a:lnTo>
                  <a:lnTo>
                    <a:pt x="14" y="1219"/>
                  </a:lnTo>
                  <a:lnTo>
                    <a:pt x="12" y="1219"/>
                  </a:lnTo>
                  <a:lnTo>
                    <a:pt x="12" y="1216"/>
                  </a:lnTo>
                  <a:lnTo>
                    <a:pt x="12" y="1219"/>
                  </a:lnTo>
                  <a:lnTo>
                    <a:pt x="12" y="1216"/>
                  </a:lnTo>
                  <a:close/>
                  <a:moveTo>
                    <a:pt x="7" y="1216"/>
                  </a:moveTo>
                  <a:lnTo>
                    <a:pt x="4" y="1216"/>
                  </a:lnTo>
                  <a:lnTo>
                    <a:pt x="7" y="1216"/>
                  </a:lnTo>
                  <a:close/>
                  <a:moveTo>
                    <a:pt x="7" y="1216"/>
                  </a:moveTo>
                  <a:lnTo>
                    <a:pt x="9" y="1219"/>
                  </a:lnTo>
                  <a:lnTo>
                    <a:pt x="9" y="1221"/>
                  </a:lnTo>
                  <a:lnTo>
                    <a:pt x="9" y="1224"/>
                  </a:lnTo>
                  <a:lnTo>
                    <a:pt x="9" y="1221"/>
                  </a:lnTo>
                  <a:lnTo>
                    <a:pt x="9" y="1224"/>
                  </a:lnTo>
                  <a:lnTo>
                    <a:pt x="12" y="1224"/>
                  </a:lnTo>
                  <a:lnTo>
                    <a:pt x="12" y="1226"/>
                  </a:lnTo>
                  <a:lnTo>
                    <a:pt x="9" y="1226"/>
                  </a:lnTo>
                  <a:lnTo>
                    <a:pt x="12" y="1226"/>
                  </a:lnTo>
                  <a:lnTo>
                    <a:pt x="9" y="1226"/>
                  </a:lnTo>
                  <a:lnTo>
                    <a:pt x="12" y="1226"/>
                  </a:lnTo>
                  <a:lnTo>
                    <a:pt x="9" y="1226"/>
                  </a:lnTo>
                  <a:lnTo>
                    <a:pt x="9" y="1224"/>
                  </a:lnTo>
                  <a:lnTo>
                    <a:pt x="9" y="1226"/>
                  </a:lnTo>
                  <a:lnTo>
                    <a:pt x="9" y="1224"/>
                  </a:lnTo>
                  <a:lnTo>
                    <a:pt x="7" y="1224"/>
                  </a:lnTo>
                  <a:lnTo>
                    <a:pt x="7" y="1221"/>
                  </a:lnTo>
                  <a:lnTo>
                    <a:pt x="7" y="1224"/>
                  </a:lnTo>
                  <a:lnTo>
                    <a:pt x="7" y="1221"/>
                  </a:lnTo>
                  <a:lnTo>
                    <a:pt x="9" y="1221"/>
                  </a:lnTo>
                  <a:lnTo>
                    <a:pt x="7" y="1221"/>
                  </a:lnTo>
                  <a:lnTo>
                    <a:pt x="9" y="1221"/>
                  </a:lnTo>
                  <a:lnTo>
                    <a:pt x="7" y="1221"/>
                  </a:lnTo>
                  <a:lnTo>
                    <a:pt x="7" y="1219"/>
                  </a:lnTo>
                  <a:lnTo>
                    <a:pt x="7" y="1216"/>
                  </a:lnTo>
                  <a:close/>
                  <a:moveTo>
                    <a:pt x="4" y="1216"/>
                  </a:moveTo>
                  <a:lnTo>
                    <a:pt x="7" y="1216"/>
                  </a:lnTo>
                  <a:lnTo>
                    <a:pt x="4" y="1216"/>
                  </a:lnTo>
                  <a:close/>
                  <a:moveTo>
                    <a:pt x="33" y="1216"/>
                  </a:moveTo>
                  <a:lnTo>
                    <a:pt x="33" y="1219"/>
                  </a:lnTo>
                  <a:lnTo>
                    <a:pt x="33" y="1216"/>
                  </a:lnTo>
                  <a:close/>
                  <a:moveTo>
                    <a:pt x="4" y="1214"/>
                  </a:moveTo>
                  <a:lnTo>
                    <a:pt x="4" y="1216"/>
                  </a:lnTo>
                  <a:lnTo>
                    <a:pt x="4" y="1214"/>
                  </a:lnTo>
                  <a:close/>
                  <a:moveTo>
                    <a:pt x="16" y="1214"/>
                  </a:moveTo>
                  <a:lnTo>
                    <a:pt x="16" y="1216"/>
                  </a:lnTo>
                  <a:lnTo>
                    <a:pt x="19" y="1216"/>
                  </a:lnTo>
                  <a:lnTo>
                    <a:pt x="16" y="1216"/>
                  </a:lnTo>
                  <a:lnTo>
                    <a:pt x="16" y="1214"/>
                  </a:lnTo>
                  <a:close/>
                  <a:moveTo>
                    <a:pt x="23" y="1212"/>
                  </a:moveTo>
                  <a:lnTo>
                    <a:pt x="21" y="1212"/>
                  </a:lnTo>
                  <a:lnTo>
                    <a:pt x="23" y="1212"/>
                  </a:lnTo>
                  <a:close/>
                  <a:moveTo>
                    <a:pt x="4" y="1212"/>
                  </a:moveTo>
                  <a:lnTo>
                    <a:pt x="4" y="1209"/>
                  </a:lnTo>
                  <a:lnTo>
                    <a:pt x="4" y="1212"/>
                  </a:lnTo>
                  <a:close/>
                  <a:moveTo>
                    <a:pt x="9" y="1212"/>
                  </a:moveTo>
                  <a:lnTo>
                    <a:pt x="7" y="1212"/>
                  </a:lnTo>
                  <a:lnTo>
                    <a:pt x="7" y="1209"/>
                  </a:lnTo>
                  <a:lnTo>
                    <a:pt x="9" y="1212"/>
                  </a:lnTo>
                  <a:close/>
                  <a:moveTo>
                    <a:pt x="21" y="1209"/>
                  </a:moveTo>
                  <a:lnTo>
                    <a:pt x="21" y="1212"/>
                  </a:lnTo>
                  <a:lnTo>
                    <a:pt x="21" y="1209"/>
                  </a:lnTo>
                  <a:close/>
                  <a:moveTo>
                    <a:pt x="4" y="1209"/>
                  </a:moveTo>
                  <a:lnTo>
                    <a:pt x="2" y="1209"/>
                  </a:lnTo>
                  <a:lnTo>
                    <a:pt x="4" y="1209"/>
                  </a:lnTo>
                  <a:close/>
                  <a:moveTo>
                    <a:pt x="12" y="1209"/>
                  </a:moveTo>
                  <a:lnTo>
                    <a:pt x="12" y="1212"/>
                  </a:lnTo>
                  <a:lnTo>
                    <a:pt x="12" y="1209"/>
                  </a:lnTo>
                  <a:lnTo>
                    <a:pt x="12" y="1212"/>
                  </a:lnTo>
                  <a:lnTo>
                    <a:pt x="14" y="1212"/>
                  </a:lnTo>
                  <a:lnTo>
                    <a:pt x="14" y="1214"/>
                  </a:lnTo>
                  <a:lnTo>
                    <a:pt x="14" y="1212"/>
                  </a:lnTo>
                  <a:lnTo>
                    <a:pt x="12" y="1212"/>
                  </a:lnTo>
                  <a:lnTo>
                    <a:pt x="14" y="1212"/>
                  </a:lnTo>
                  <a:lnTo>
                    <a:pt x="12" y="1212"/>
                  </a:lnTo>
                  <a:lnTo>
                    <a:pt x="14" y="1212"/>
                  </a:lnTo>
                  <a:lnTo>
                    <a:pt x="14" y="1214"/>
                  </a:lnTo>
                  <a:lnTo>
                    <a:pt x="12" y="1214"/>
                  </a:lnTo>
                  <a:lnTo>
                    <a:pt x="12" y="1212"/>
                  </a:lnTo>
                  <a:lnTo>
                    <a:pt x="9" y="1212"/>
                  </a:lnTo>
                  <a:lnTo>
                    <a:pt x="12" y="1212"/>
                  </a:lnTo>
                  <a:lnTo>
                    <a:pt x="9" y="1212"/>
                  </a:lnTo>
                  <a:lnTo>
                    <a:pt x="9" y="1209"/>
                  </a:lnTo>
                  <a:lnTo>
                    <a:pt x="9" y="1212"/>
                  </a:lnTo>
                  <a:lnTo>
                    <a:pt x="9" y="1209"/>
                  </a:lnTo>
                  <a:lnTo>
                    <a:pt x="9" y="1212"/>
                  </a:lnTo>
                  <a:lnTo>
                    <a:pt x="9" y="1209"/>
                  </a:lnTo>
                  <a:lnTo>
                    <a:pt x="7" y="1209"/>
                  </a:lnTo>
                  <a:lnTo>
                    <a:pt x="9" y="1209"/>
                  </a:lnTo>
                  <a:lnTo>
                    <a:pt x="7" y="1209"/>
                  </a:lnTo>
                  <a:lnTo>
                    <a:pt x="9" y="1209"/>
                  </a:lnTo>
                  <a:lnTo>
                    <a:pt x="9" y="1212"/>
                  </a:lnTo>
                  <a:lnTo>
                    <a:pt x="9" y="1209"/>
                  </a:lnTo>
                  <a:lnTo>
                    <a:pt x="12" y="1212"/>
                  </a:lnTo>
                  <a:lnTo>
                    <a:pt x="12" y="1209"/>
                  </a:lnTo>
                  <a:close/>
                  <a:moveTo>
                    <a:pt x="9" y="1207"/>
                  </a:moveTo>
                  <a:lnTo>
                    <a:pt x="9" y="1209"/>
                  </a:lnTo>
                  <a:lnTo>
                    <a:pt x="9" y="1207"/>
                  </a:lnTo>
                  <a:lnTo>
                    <a:pt x="9" y="1209"/>
                  </a:lnTo>
                  <a:lnTo>
                    <a:pt x="9" y="1207"/>
                  </a:lnTo>
                  <a:close/>
                  <a:moveTo>
                    <a:pt x="12" y="1207"/>
                  </a:moveTo>
                  <a:lnTo>
                    <a:pt x="12" y="1209"/>
                  </a:lnTo>
                  <a:lnTo>
                    <a:pt x="9" y="1209"/>
                  </a:lnTo>
                  <a:lnTo>
                    <a:pt x="12" y="1209"/>
                  </a:lnTo>
                  <a:lnTo>
                    <a:pt x="9" y="1209"/>
                  </a:lnTo>
                  <a:lnTo>
                    <a:pt x="12" y="1209"/>
                  </a:lnTo>
                  <a:lnTo>
                    <a:pt x="9" y="1209"/>
                  </a:lnTo>
                  <a:lnTo>
                    <a:pt x="9" y="1207"/>
                  </a:lnTo>
                  <a:lnTo>
                    <a:pt x="9" y="1209"/>
                  </a:lnTo>
                  <a:lnTo>
                    <a:pt x="9" y="1207"/>
                  </a:lnTo>
                  <a:lnTo>
                    <a:pt x="12" y="1207"/>
                  </a:lnTo>
                  <a:close/>
                  <a:moveTo>
                    <a:pt x="16" y="1205"/>
                  </a:moveTo>
                  <a:lnTo>
                    <a:pt x="16" y="1207"/>
                  </a:lnTo>
                  <a:lnTo>
                    <a:pt x="16" y="1205"/>
                  </a:lnTo>
                  <a:close/>
                  <a:moveTo>
                    <a:pt x="7" y="1207"/>
                  </a:moveTo>
                  <a:lnTo>
                    <a:pt x="7" y="1205"/>
                  </a:lnTo>
                  <a:lnTo>
                    <a:pt x="7" y="1207"/>
                  </a:lnTo>
                  <a:close/>
                  <a:moveTo>
                    <a:pt x="9" y="1205"/>
                  </a:moveTo>
                  <a:lnTo>
                    <a:pt x="9" y="1207"/>
                  </a:lnTo>
                  <a:lnTo>
                    <a:pt x="9" y="1205"/>
                  </a:lnTo>
                  <a:lnTo>
                    <a:pt x="9" y="1207"/>
                  </a:lnTo>
                  <a:lnTo>
                    <a:pt x="9" y="1205"/>
                  </a:lnTo>
                  <a:close/>
                  <a:moveTo>
                    <a:pt x="7" y="1205"/>
                  </a:moveTo>
                  <a:lnTo>
                    <a:pt x="7" y="1207"/>
                  </a:lnTo>
                  <a:lnTo>
                    <a:pt x="7" y="1205"/>
                  </a:lnTo>
                  <a:lnTo>
                    <a:pt x="4" y="1205"/>
                  </a:lnTo>
                  <a:lnTo>
                    <a:pt x="7" y="1205"/>
                  </a:lnTo>
                  <a:close/>
                  <a:moveTo>
                    <a:pt x="4" y="1205"/>
                  </a:moveTo>
                  <a:lnTo>
                    <a:pt x="4" y="1207"/>
                  </a:lnTo>
                  <a:lnTo>
                    <a:pt x="4" y="1205"/>
                  </a:lnTo>
                  <a:close/>
                  <a:moveTo>
                    <a:pt x="12" y="1202"/>
                  </a:moveTo>
                  <a:lnTo>
                    <a:pt x="12" y="1205"/>
                  </a:lnTo>
                  <a:lnTo>
                    <a:pt x="12" y="1202"/>
                  </a:lnTo>
                  <a:lnTo>
                    <a:pt x="9" y="1202"/>
                  </a:lnTo>
                  <a:lnTo>
                    <a:pt x="12" y="1202"/>
                  </a:lnTo>
                  <a:lnTo>
                    <a:pt x="9" y="1202"/>
                  </a:lnTo>
                  <a:lnTo>
                    <a:pt x="12" y="1202"/>
                  </a:lnTo>
                  <a:close/>
                  <a:moveTo>
                    <a:pt x="9" y="1202"/>
                  </a:moveTo>
                  <a:lnTo>
                    <a:pt x="9" y="1205"/>
                  </a:lnTo>
                  <a:lnTo>
                    <a:pt x="12" y="1205"/>
                  </a:lnTo>
                  <a:lnTo>
                    <a:pt x="12" y="1207"/>
                  </a:lnTo>
                  <a:lnTo>
                    <a:pt x="9" y="1207"/>
                  </a:lnTo>
                  <a:lnTo>
                    <a:pt x="9" y="1205"/>
                  </a:lnTo>
                  <a:lnTo>
                    <a:pt x="7" y="1205"/>
                  </a:lnTo>
                  <a:lnTo>
                    <a:pt x="9" y="1205"/>
                  </a:lnTo>
                  <a:lnTo>
                    <a:pt x="7" y="1205"/>
                  </a:lnTo>
                  <a:lnTo>
                    <a:pt x="9" y="1205"/>
                  </a:lnTo>
                  <a:lnTo>
                    <a:pt x="7" y="1205"/>
                  </a:lnTo>
                  <a:lnTo>
                    <a:pt x="9" y="1205"/>
                  </a:lnTo>
                  <a:lnTo>
                    <a:pt x="9" y="1202"/>
                  </a:lnTo>
                  <a:lnTo>
                    <a:pt x="7" y="1202"/>
                  </a:lnTo>
                  <a:lnTo>
                    <a:pt x="7" y="1205"/>
                  </a:lnTo>
                  <a:lnTo>
                    <a:pt x="7" y="1202"/>
                  </a:lnTo>
                  <a:lnTo>
                    <a:pt x="7" y="1205"/>
                  </a:lnTo>
                  <a:lnTo>
                    <a:pt x="7" y="1202"/>
                  </a:lnTo>
                  <a:lnTo>
                    <a:pt x="9" y="1202"/>
                  </a:lnTo>
                  <a:close/>
                  <a:moveTo>
                    <a:pt x="14" y="1202"/>
                  </a:moveTo>
                  <a:lnTo>
                    <a:pt x="14" y="1205"/>
                  </a:lnTo>
                  <a:lnTo>
                    <a:pt x="14" y="1207"/>
                  </a:lnTo>
                  <a:lnTo>
                    <a:pt x="12" y="1207"/>
                  </a:lnTo>
                  <a:lnTo>
                    <a:pt x="12" y="1205"/>
                  </a:lnTo>
                  <a:lnTo>
                    <a:pt x="14" y="1205"/>
                  </a:lnTo>
                  <a:lnTo>
                    <a:pt x="12" y="1205"/>
                  </a:lnTo>
                  <a:lnTo>
                    <a:pt x="12" y="1202"/>
                  </a:lnTo>
                  <a:lnTo>
                    <a:pt x="14" y="1202"/>
                  </a:lnTo>
                  <a:close/>
                  <a:moveTo>
                    <a:pt x="14" y="1202"/>
                  </a:moveTo>
                  <a:lnTo>
                    <a:pt x="12" y="1202"/>
                  </a:lnTo>
                  <a:lnTo>
                    <a:pt x="14" y="1202"/>
                  </a:lnTo>
                  <a:close/>
                  <a:moveTo>
                    <a:pt x="7" y="1202"/>
                  </a:moveTo>
                  <a:lnTo>
                    <a:pt x="9" y="1202"/>
                  </a:lnTo>
                  <a:lnTo>
                    <a:pt x="7" y="1202"/>
                  </a:lnTo>
                  <a:close/>
                  <a:moveTo>
                    <a:pt x="9" y="1200"/>
                  </a:moveTo>
                  <a:lnTo>
                    <a:pt x="9" y="1202"/>
                  </a:lnTo>
                  <a:lnTo>
                    <a:pt x="12" y="1200"/>
                  </a:lnTo>
                  <a:lnTo>
                    <a:pt x="12" y="1202"/>
                  </a:lnTo>
                  <a:lnTo>
                    <a:pt x="9" y="1202"/>
                  </a:lnTo>
                  <a:lnTo>
                    <a:pt x="9" y="1200"/>
                  </a:lnTo>
                  <a:close/>
                  <a:moveTo>
                    <a:pt x="9" y="1202"/>
                  </a:moveTo>
                  <a:lnTo>
                    <a:pt x="9" y="1200"/>
                  </a:lnTo>
                  <a:lnTo>
                    <a:pt x="9" y="1202"/>
                  </a:lnTo>
                  <a:close/>
                  <a:moveTo>
                    <a:pt x="9" y="1202"/>
                  </a:moveTo>
                  <a:lnTo>
                    <a:pt x="9" y="1200"/>
                  </a:lnTo>
                  <a:lnTo>
                    <a:pt x="9" y="1202"/>
                  </a:lnTo>
                  <a:close/>
                  <a:moveTo>
                    <a:pt x="14" y="1202"/>
                  </a:moveTo>
                  <a:lnTo>
                    <a:pt x="14" y="1200"/>
                  </a:lnTo>
                  <a:lnTo>
                    <a:pt x="14" y="1202"/>
                  </a:lnTo>
                  <a:close/>
                  <a:moveTo>
                    <a:pt x="12" y="1200"/>
                  </a:moveTo>
                  <a:lnTo>
                    <a:pt x="14" y="1202"/>
                  </a:lnTo>
                  <a:lnTo>
                    <a:pt x="12" y="1202"/>
                  </a:lnTo>
                  <a:lnTo>
                    <a:pt x="12" y="1200"/>
                  </a:lnTo>
                  <a:close/>
                  <a:moveTo>
                    <a:pt x="9" y="1200"/>
                  </a:moveTo>
                  <a:lnTo>
                    <a:pt x="9" y="1202"/>
                  </a:lnTo>
                  <a:lnTo>
                    <a:pt x="9" y="1200"/>
                  </a:lnTo>
                  <a:close/>
                  <a:moveTo>
                    <a:pt x="12" y="1200"/>
                  </a:moveTo>
                  <a:lnTo>
                    <a:pt x="9" y="1200"/>
                  </a:lnTo>
                  <a:lnTo>
                    <a:pt x="12" y="1200"/>
                  </a:lnTo>
                  <a:lnTo>
                    <a:pt x="9" y="1200"/>
                  </a:lnTo>
                  <a:lnTo>
                    <a:pt x="12" y="1200"/>
                  </a:lnTo>
                  <a:lnTo>
                    <a:pt x="9" y="1200"/>
                  </a:lnTo>
                  <a:lnTo>
                    <a:pt x="12" y="1200"/>
                  </a:lnTo>
                  <a:close/>
                  <a:moveTo>
                    <a:pt x="16" y="1200"/>
                  </a:moveTo>
                  <a:lnTo>
                    <a:pt x="14" y="1200"/>
                  </a:lnTo>
                  <a:lnTo>
                    <a:pt x="16" y="1200"/>
                  </a:lnTo>
                  <a:close/>
                  <a:moveTo>
                    <a:pt x="9" y="1200"/>
                  </a:moveTo>
                  <a:lnTo>
                    <a:pt x="7" y="1200"/>
                  </a:lnTo>
                  <a:lnTo>
                    <a:pt x="9" y="1200"/>
                  </a:lnTo>
                  <a:close/>
                  <a:moveTo>
                    <a:pt x="14" y="1197"/>
                  </a:moveTo>
                  <a:lnTo>
                    <a:pt x="14" y="1200"/>
                  </a:lnTo>
                  <a:lnTo>
                    <a:pt x="12" y="1200"/>
                  </a:lnTo>
                  <a:lnTo>
                    <a:pt x="12" y="1197"/>
                  </a:lnTo>
                  <a:lnTo>
                    <a:pt x="12" y="1200"/>
                  </a:lnTo>
                  <a:lnTo>
                    <a:pt x="12" y="1197"/>
                  </a:lnTo>
                  <a:lnTo>
                    <a:pt x="12" y="1200"/>
                  </a:lnTo>
                  <a:lnTo>
                    <a:pt x="14" y="1200"/>
                  </a:lnTo>
                  <a:lnTo>
                    <a:pt x="14" y="1197"/>
                  </a:lnTo>
                  <a:close/>
                  <a:moveTo>
                    <a:pt x="0" y="1197"/>
                  </a:moveTo>
                  <a:lnTo>
                    <a:pt x="2" y="1197"/>
                  </a:lnTo>
                  <a:lnTo>
                    <a:pt x="2" y="1200"/>
                  </a:lnTo>
                  <a:lnTo>
                    <a:pt x="0" y="1200"/>
                  </a:lnTo>
                  <a:lnTo>
                    <a:pt x="0" y="1197"/>
                  </a:lnTo>
                  <a:close/>
                  <a:moveTo>
                    <a:pt x="9" y="1195"/>
                  </a:moveTo>
                  <a:lnTo>
                    <a:pt x="12" y="1195"/>
                  </a:lnTo>
                  <a:lnTo>
                    <a:pt x="12" y="1197"/>
                  </a:lnTo>
                  <a:lnTo>
                    <a:pt x="9" y="1197"/>
                  </a:lnTo>
                  <a:lnTo>
                    <a:pt x="9" y="1195"/>
                  </a:lnTo>
                  <a:close/>
                  <a:moveTo>
                    <a:pt x="4" y="1193"/>
                  </a:moveTo>
                  <a:lnTo>
                    <a:pt x="4" y="1195"/>
                  </a:lnTo>
                  <a:lnTo>
                    <a:pt x="4" y="1197"/>
                  </a:lnTo>
                  <a:lnTo>
                    <a:pt x="4" y="1200"/>
                  </a:lnTo>
                  <a:lnTo>
                    <a:pt x="4" y="1197"/>
                  </a:lnTo>
                  <a:lnTo>
                    <a:pt x="4" y="1200"/>
                  </a:lnTo>
                  <a:lnTo>
                    <a:pt x="2" y="1200"/>
                  </a:lnTo>
                  <a:lnTo>
                    <a:pt x="4" y="1200"/>
                  </a:lnTo>
                  <a:lnTo>
                    <a:pt x="2" y="1200"/>
                  </a:lnTo>
                  <a:lnTo>
                    <a:pt x="2" y="1197"/>
                  </a:lnTo>
                  <a:lnTo>
                    <a:pt x="2" y="1195"/>
                  </a:lnTo>
                  <a:lnTo>
                    <a:pt x="4" y="1195"/>
                  </a:lnTo>
                  <a:lnTo>
                    <a:pt x="2" y="1195"/>
                  </a:lnTo>
                  <a:lnTo>
                    <a:pt x="4" y="1195"/>
                  </a:lnTo>
                  <a:lnTo>
                    <a:pt x="2" y="1195"/>
                  </a:lnTo>
                  <a:lnTo>
                    <a:pt x="4" y="1193"/>
                  </a:lnTo>
                  <a:close/>
                  <a:moveTo>
                    <a:pt x="4" y="1193"/>
                  </a:moveTo>
                  <a:lnTo>
                    <a:pt x="4" y="1195"/>
                  </a:lnTo>
                  <a:lnTo>
                    <a:pt x="4" y="1193"/>
                  </a:lnTo>
                  <a:close/>
                  <a:moveTo>
                    <a:pt x="7" y="1190"/>
                  </a:moveTo>
                  <a:lnTo>
                    <a:pt x="7" y="1193"/>
                  </a:lnTo>
                  <a:lnTo>
                    <a:pt x="7" y="1190"/>
                  </a:lnTo>
                  <a:close/>
                  <a:moveTo>
                    <a:pt x="16" y="1193"/>
                  </a:moveTo>
                  <a:lnTo>
                    <a:pt x="14" y="1193"/>
                  </a:lnTo>
                  <a:lnTo>
                    <a:pt x="14" y="1190"/>
                  </a:lnTo>
                  <a:lnTo>
                    <a:pt x="16" y="1190"/>
                  </a:lnTo>
                  <a:lnTo>
                    <a:pt x="16" y="1193"/>
                  </a:lnTo>
                  <a:close/>
                  <a:moveTo>
                    <a:pt x="14" y="1188"/>
                  </a:moveTo>
                  <a:lnTo>
                    <a:pt x="16" y="1188"/>
                  </a:lnTo>
                  <a:lnTo>
                    <a:pt x="16" y="1190"/>
                  </a:lnTo>
                  <a:lnTo>
                    <a:pt x="14" y="1190"/>
                  </a:lnTo>
                  <a:lnTo>
                    <a:pt x="14" y="1188"/>
                  </a:lnTo>
                  <a:close/>
                  <a:moveTo>
                    <a:pt x="9" y="1188"/>
                  </a:moveTo>
                  <a:lnTo>
                    <a:pt x="7" y="1188"/>
                  </a:lnTo>
                  <a:lnTo>
                    <a:pt x="9" y="1188"/>
                  </a:lnTo>
                  <a:close/>
                  <a:moveTo>
                    <a:pt x="14" y="1186"/>
                  </a:moveTo>
                  <a:lnTo>
                    <a:pt x="14" y="1188"/>
                  </a:lnTo>
                  <a:lnTo>
                    <a:pt x="12" y="1186"/>
                  </a:lnTo>
                  <a:lnTo>
                    <a:pt x="14" y="1186"/>
                  </a:lnTo>
                  <a:close/>
                  <a:moveTo>
                    <a:pt x="12" y="1183"/>
                  </a:moveTo>
                  <a:lnTo>
                    <a:pt x="14" y="1186"/>
                  </a:lnTo>
                  <a:lnTo>
                    <a:pt x="12" y="1186"/>
                  </a:lnTo>
                  <a:lnTo>
                    <a:pt x="12" y="1183"/>
                  </a:lnTo>
                  <a:close/>
                  <a:moveTo>
                    <a:pt x="19" y="1183"/>
                  </a:moveTo>
                  <a:lnTo>
                    <a:pt x="16" y="1183"/>
                  </a:lnTo>
                  <a:lnTo>
                    <a:pt x="19" y="1183"/>
                  </a:lnTo>
                  <a:close/>
                  <a:moveTo>
                    <a:pt x="2" y="1183"/>
                  </a:moveTo>
                  <a:lnTo>
                    <a:pt x="4" y="1183"/>
                  </a:lnTo>
                  <a:lnTo>
                    <a:pt x="2" y="1183"/>
                  </a:lnTo>
                  <a:close/>
                  <a:moveTo>
                    <a:pt x="4" y="1181"/>
                  </a:moveTo>
                  <a:lnTo>
                    <a:pt x="4" y="1183"/>
                  </a:lnTo>
                  <a:lnTo>
                    <a:pt x="7" y="1183"/>
                  </a:lnTo>
                  <a:lnTo>
                    <a:pt x="4" y="1183"/>
                  </a:lnTo>
                  <a:lnTo>
                    <a:pt x="4" y="1181"/>
                  </a:lnTo>
                  <a:lnTo>
                    <a:pt x="4" y="1183"/>
                  </a:lnTo>
                  <a:lnTo>
                    <a:pt x="4" y="1181"/>
                  </a:lnTo>
                  <a:close/>
                  <a:moveTo>
                    <a:pt x="7" y="1181"/>
                  </a:moveTo>
                  <a:lnTo>
                    <a:pt x="7" y="1183"/>
                  </a:lnTo>
                  <a:lnTo>
                    <a:pt x="4" y="1183"/>
                  </a:lnTo>
                  <a:lnTo>
                    <a:pt x="4" y="1181"/>
                  </a:lnTo>
                  <a:lnTo>
                    <a:pt x="7" y="1181"/>
                  </a:lnTo>
                  <a:close/>
                  <a:moveTo>
                    <a:pt x="9" y="1181"/>
                  </a:moveTo>
                  <a:lnTo>
                    <a:pt x="7" y="1181"/>
                  </a:lnTo>
                  <a:lnTo>
                    <a:pt x="9" y="1181"/>
                  </a:lnTo>
                  <a:close/>
                  <a:moveTo>
                    <a:pt x="26" y="1181"/>
                  </a:moveTo>
                  <a:lnTo>
                    <a:pt x="23" y="1181"/>
                  </a:lnTo>
                  <a:lnTo>
                    <a:pt x="23" y="1178"/>
                  </a:lnTo>
                  <a:lnTo>
                    <a:pt x="26" y="1178"/>
                  </a:lnTo>
                  <a:lnTo>
                    <a:pt x="26" y="1181"/>
                  </a:lnTo>
                  <a:close/>
                  <a:moveTo>
                    <a:pt x="12" y="1178"/>
                  </a:moveTo>
                  <a:lnTo>
                    <a:pt x="14" y="1178"/>
                  </a:lnTo>
                  <a:lnTo>
                    <a:pt x="14" y="1181"/>
                  </a:lnTo>
                  <a:lnTo>
                    <a:pt x="16" y="1181"/>
                  </a:lnTo>
                  <a:lnTo>
                    <a:pt x="14" y="1181"/>
                  </a:lnTo>
                  <a:lnTo>
                    <a:pt x="12" y="1181"/>
                  </a:lnTo>
                  <a:lnTo>
                    <a:pt x="12" y="1183"/>
                  </a:lnTo>
                  <a:lnTo>
                    <a:pt x="12" y="1181"/>
                  </a:lnTo>
                  <a:lnTo>
                    <a:pt x="12" y="1183"/>
                  </a:lnTo>
                  <a:lnTo>
                    <a:pt x="12" y="1181"/>
                  </a:lnTo>
                  <a:lnTo>
                    <a:pt x="9" y="1181"/>
                  </a:lnTo>
                  <a:lnTo>
                    <a:pt x="12" y="1181"/>
                  </a:lnTo>
                  <a:lnTo>
                    <a:pt x="12" y="1178"/>
                  </a:lnTo>
                  <a:close/>
                  <a:moveTo>
                    <a:pt x="14" y="1178"/>
                  </a:moveTo>
                  <a:lnTo>
                    <a:pt x="12" y="1178"/>
                  </a:lnTo>
                  <a:lnTo>
                    <a:pt x="14" y="1178"/>
                  </a:lnTo>
                  <a:close/>
                  <a:moveTo>
                    <a:pt x="12" y="1176"/>
                  </a:moveTo>
                  <a:lnTo>
                    <a:pt x="9" y="1176"/>
                  </a:lnTo>
                  <a:lnTo>
                    <a:pt x="12" y="1176"/>
                  </a:lnTo>
                  <a:lnTo>
                    <a:pt x="9" y="1176"/>
                  </a:lnTo>
                  <a:lnTo>
                    <a:pt x="12" y="1176"/>
                  </a:lnTo>
                  <a:lnTo>
                    <a:pt x="9" y="1176"/>
                  </a:lnTo>
                  <a:lnTo>
                    <a:pt x="12" y="1176"/>
                  </a:lnTo>
                  <a:close/>
                  <a:moveTo>
                    <a:pt x="12" y="1171"/>
                  </a:moveTo>
                  <a:lnTo>
                    <a:pt x="12" y="1174"/>
                  </a:lnTo>
                  <a:lnTo>
                    <a:pt x="12" y="1171"/>
                  </a:lnTo>
                  <a:lnTo>
                    <a:pt x="12" y="1174"/>
                  </a:lnTo>
                  <a:lnTo>
                    <a:pt x="12" y="1171"/>
                  </a:lnTo>
                  <a:close/>
                  <a:moveTo>
                    <a:pt x="12" y="1171"/>
                  </a:moveTo>
                  <a:lnTo>
                    <a:pt x="12" y="1174"/>
                  </a:lnTo>
                  <a:lnTo>
                    <a:pt x="12" y="1171"/>
                  </a:lnTo>
                  <a:close/>
                  <a:moveTo>
                    <a:pt x="16" y="1171"/>
                  </a:moveTo>
                  <a:lnTo>
                    <a:pt x="19" y="1171"/>
                  </a:lnTo>
                  <a:lnTo>
                    <a:pt x="19" y="1174"/>
                  </a:lnTo>
                  <a:lnTo>
                    <a:pt x="16" y="1174"/>
                  </a:lnTo>
                  <a:lnTo>
                    <a:pt x="16" y="1171"/>
                  </a:lnTo>
                  <a:close/>
                  <a:moveTo>
                    <a:pt x="12" y="1171"/>
                  </a:moveTo>
                  <a:lnTo>
                    <a:pt x="14" y="1171"/>
                  </a:lnTo>
                  <a:lnTo>
                    <a:pt x="12" y="1171"/>
                  </a:lnTo>
                  <a:lnTo>
                    <a:pt x="12" y="1169"/>
                  </a:lnTo>
                  <a:lnTo>
                    <a:pt x="12" y="1171"/>
                  </a:lnTo>
                  <a:close/>
                  <a:moveTo>
                    <a:pt x="14" y="1169"/>
                  </a:moveTo>
                  <a:lnTo>
                    <a:pt x="12" y="1169"/>
                  </a:lnTo>
                  <a:lnTo>
                    <a:pt x="14" y="1169"/>
                  </a:lnTo>
                  <a:close/>
                  <a:moveTo>
                    <a:pt x="7" y="1169"/>
                  </a:moveTo>
                  <a:lnTo>
                    <a:pt x="4" y="1169"/>
                  </a:lnTo>
                  <a:lnTo>
                    <a:pt x="7" y="1169"/>
                  </a:lnTo>
                  <a:close/>
                  <a:moveTo>
                    <a:pt x="23" y="1169"/>
                  </a:moveTo>
                  <a:lnTo>
                    <a:pt x="21" y="1169"/>
                  </a:lnTo>
                  <a:lnTo>
                    <a:pt x="23" y="1169"/>
                  </a:lnTo>
                  <a:close/>
                  <a:moveTo>
                    <a:pt x="19" y="1169"/>
                  </a:moveTo>
                  <a:lnTo>
                    <a:pt x="21" y="1169"/>
                  </a:lnTo>
                  <a:lnTo>
                    <a:pt x="19" y="1169"/>
                  </a:lnTo>
                  <a:close/>
                  <a:moveTo>
                    <a:pt x="9" y="1169"/>
                  </a:moveTo>
                  <a:lnTo>
                    <a:pt x="7" y="1169"/>
                  </a:lnTo>
                  <a:lnTo>
                    <a:pt x="9" y="1169"/>
                  </a:lnTo>
                  <a:close/>
                  <a:moveTo>
                    <a:pt x="16" y="1169"/>
                  </a:moveTo>
                  <a:lnTo>
                    <a:pt x="19" y="1169"/>
                  </a:lnTo>
                  <a:lnTo>
                    <a:pt x="16" y="1169"/>
                  </a:lnTo>
                  <a:lnTo>
                    <a:pt x="19" y="1169"/>
                  </a:lnTo>
                  <a:lnTo>
                    <a:pt x="16" y="1169"/>
                  </a:lnTo>
                  <a:lnTo>
                    <a:pt x="14" y="1169"/>
                  </a:lnTo>
                  <a:lnTo>
                    <a:pt x="16" y="1169"/>
                  </a:lnTo>
                  <a:close/>
                  <a:moveTo>
                    <a:pt x="14" y="1169"/>
                  </a:moveTo>
                  <a:lnTo>
                    <a:pt x="14" y="1167"/>
                  </a:lnTo>
                  <a:lnTo>
                    <a:pt x="14" y="1169"/>
                  </a:lnTo>
                  <a:lnTo>
                    <a:pt x="14" y="1167"/>
                  </a:lnTo>
                  <a:lnTo>
                    <a:pt x="14" y="1169"/>
                  </a:lnTo>
                  <a:close/>
                  <a:moveTo>
                    <a:pt x="19" y="1167"/>
                  </a:moveTo>
                  <a:lnTo>
                    <a:pt x="19" y="1169"/>
                  </a:lnTo>
                  <a:lnTo>
                    <a:pt x="16" y="1169"/>
                  </a:lnTo>
                  <a:lnTo>
                    <a:pt x="19" y="1167"/>
                  </a:lnTo>
                  <a:close/>
                  <a:moveTo>
                    <a:pt x="12" y="1167"/>
                  </a:moveTo>
                  <a:lnTo>
                    <a:pt x="12" y="1169"/>
                  </a:lnTo>
                  <a:lnTo>
                    <a:pt x="12" y="1167"/>
                  </a:lnTo>
                  <a:close/>
                  <a:moveTo>
                    <a:pt x="12" y="1167"/>
                  </a:moveTo>
                  <a:lnTo>
                    <a:pt x="14" y="1167"/>
                  </a:lnTo>
                  <a:lnTo>
                    <a:pt x="14" y="1169"/>
                  </a:lnTo>
                  <a:lnTo>
                    <a:pt x="12" y="1169"/>
                  </a:lnTo>
                  <a:lnTo>
                    <a:pt x="14" y="1169"/>
                  </a:lnTo>
                  <a:lnTo>
                    <a:pt x="12" y="1169"/>
                  </a:lnTo>
                  <a:lnTo>
                    <a:pt x="12" y="1167"/>
                  </a:lnTo>
                  <a:close/>
                  <a:moveTo>
                    <a:pt x="14" y="1167"/>
                  </a:moveTo>
                  <a:lnTo>
                    <a:pt x="16" y="1167"/>
                  </a:lnTo>
                  <a:lnTo>
                    <a:pt x="14" y="1167"/>
                  </a:lnTo>
                  <a:close/>
                  <a:moveTo>
                    <a:pt x="19" y="1167"/>
                  </a:moveTo>
                  <a:lnTo>
                    <a:pt x="21" y="1167"/>
                  </a:lnTo>
                  <a:lnTo>
                    <a:pt x="19" y="1167"/>
                  </a:lnTo>
                  <a:close/>
                  <a:moveTo>
                    <a:pt x="9" y="1167"/>
                  </a:moveTo>
                  <a:lnTo>
                    <a:pt x="9" y="1164"/>
                  </a:lnTo>
                  <a:lnTo>
                    <a:pt x="9" y="1167"/>
                  </a:lnTo>
                  <a:close/>
                  <a:moveTo>
                    <a:pt x="12" y="1167"/>
                  </a:moveTo>
                  <a:lnTo>
                    <a:pt x="12" y="1164"/>
                  </a:lnTo>
                  <a:lnTo>
                    <a:pt x="12" y="1167"/>
                  </a:lnTo>
                  <a:close/>
                  <a:moveTo>
                    <a:pt x="7" y="1164"/>
                  </a:moveTo>
                  <a:lnTo>
                    <a:pt x="7" y="1167"/>
                  </a:lnTo>
                  <a:lnTo>
                    <a:pt x="7" y="1164"/>
                  </a:lnTo>
                  <a:lnTo>
                    <a:pt x="7" y="1167"/>
                  </a:lnTo>
                  <a:lnTo>
                    <a:pt x="9" y="1167"/>
                  </a:lnTo>
                  <a:lnTo>
                    <a:pt x="7" y="1167"/>
                  </a:lnTo>
                  <a:lnTo>
                    <a:pt x="9" y="1167"/>
                  </a:lnTo>
                  <a:lnTo>
                    <a:pt x="7" y="1167"/>
                  </a:lnTo>
                  <a:lnTo>
                    <a:pt x="7" y="1164"/>
                  </a:lnTo>
                  <a:close/>
                  <a:moveTo>
                    <a:pt x="14" y="1164"/>
                  </a:moveTo>
                  <a:lnTo>
                    <a:pt x="14" y="1167"/>
                  </a:lnTo>
                  <a:lnTo>
                    <a:pt x="12" y="1167"/>
                  </a:lnTo>
                  <a:lnTo>
                    <a:pt x="12" y="1164"/>
                  </a:lnTo>
                  <a:lnTo>
                    <a:pt x="14" y="1164"/>
                  </a:lnTo>
                  <a:close/>
                  <a:moveTo>
                    <a:pt x="16" y="1164"/>
                  </a:moveTo>
                  <a:lnTo>
                    <a:pt x="19" y="1164"/>
                  </a:lnTo>
                  <a:lnTo>
                    <a:pt x="16" y="1164"/>
                  </a:lnTo>
                  <a:lnTo>
                    <a:pt x="16" y="1167"/>
                  </a:lnTo>
                  <a:lnTo>
                    <a:pt x="16" y="1164"/>
                  </a:lnTo>
                  <a:close/>
                  <a:moveTo>
                    <a:pt x="9" y="1164"/>
                  </a:moveTo>
                  <a:lnTo>
                    <a:pt x="9" y="1167"/>
                  </a:lnTo>
                  <a:lnTo>
                    <a:pt x="7" y="1167"/>
                  </a:lnTo>
                  <a:lnTo>
                    <a:pt x="9" y="1167"/>
                  </a:lnTo>
                  <a:lnTo>
                    <a:pt x="7" y="1167"/>
                  </a:lnTo>
                  <a:lnTo>
                    <a:pt x="9" y="1167"/>
                  </a:lnTo>
                  <a:lnTo>
                    <a:pt x="7" y="1167"/>
                  </a:lnTo>
                  <a:lnTo>
                    <a:pt x="9" y="1167"/>
                  </a:lnTo>
                  <a:lnTo>
                    <a:pt x="9" y="1164"/>
                  </a:lnTo>
                  <a:close/>
                  <a:moveTo>
                    <a:pt x="12" y="1164"/>
                  </a:moveTo>
                  <a:lnTo>
                    <a:pt x="14" y="1164"/>
                  </a:lnTo>
                  <a:lnTo>
                    <a:pt x="12" y="1164"/>
                  </a:lnTo>
                  <a:close/>
                  <a:moveTo>
                    <a:pt x="9" y="1159"/>
                  </a:moveTo>
                  <a:lnTo>
                    <a:pt x="9" y="1162"/>
                  </a:lnTo>
                  <a:lnTo>
                    <a:pt x="12" y="1162"/>
                  </a:lnTo>
                  <a:lnTo>
                    <a:pt x="9" y="1162"/>
                  </a:lnTo>
                  <a:lnTo>
                    <a:pt x="12" y="1162"/>
                  </a:lnTo>
                  <a:lnTo>
                    <a:pt x="12" y="1164"/>
                  </a:lnTo>
                  <a:lnTo>
                    <a:pt x="9" y="1164"/>
                  </a:lnTo>
                  <a:lnTo>
                    <a:pt x="9" y="1162"/>
                  </a:lnTo>
                  <a:lnTo>
                    <a:pt x="7" y="1162"/>
                  </a:lnTo>
                  <a:lnTo>
                    <a:pt x="9" y="1162"/>
                  </a:lnTo>
                  <a:lnTo>
                    <a:pt x="7" y="1162"/>
                  </a:lnTo>
                  <a:lnTo>
                    <a:pt x="9" y="1162"/>
                  </a:lnTo>
                  <a:lnTo>
                    <a:pt x="9" y="1159"/>
                  </a:lnTo>
                  <a:close/>
                  <a:moveTo>
                    <a:pt x="9" y="1155"/>
                  </a:moveTo>
                  <a:lnTo>
                    <a:pt x="9" y="1157"/>
                  </a:lnTo>
                  <a:lnTo>
                    <a:pt x="12" y="1157"/>
                  </a:lnTo>
                  <a:lnTo>
                    <a:pt x="9" y="1157"/>
                  </a:lnTo>
                  <a:lnTo>
                    <a:pt x="9" y="1159"/>
                  </a:lnTo>
                  <a:lnTo>
                    <a:pt x="9" y="1157"/>
                  </a:lnTo>
                  <a:lnTo>
                    <a:pt x="7" y="1157"/>
                  </a:lnTo>
                  <a:lnTo>
                    <a:pt x="7" y="1155"/>
                  </a:lnTo>
                  <a:lnTo>
                    <a:pt x="9" y="1155"/>
                  </a:lnTo>
                  <a:close/>
                  <a:moveTo>
                    <a:pt x="23" y="1155"/>
                  </a:moveTo>
                  <a:lnTo>
                    <a:pt x="23" y="1152"/>
                  </a:lnTo>
                  <a:lnTo>
                    <a:pt x="23" y="1155"/>
                  </a:lnTo>
                  <a:close/>
                  <a:moveTo>
                    <a:pt x="19" y="1150"/>
                  </a:moveTo>
                  <a:lnTo>
                    <a:pt x="19" y="1152"/>
                  </a:lnTo>
                  <a:lnTo>
                    <a:pt x="19" y="1150"/>
                  </a:lnTo>
                  <a:lnTo>
                    <a:pt x="19" y="1152"/>
                  </a:lnTo>
                  <a:lnTo>
                    <a:pt x="19" y="1150"/>
                  </a:lnTo>
                  <a:close/>
                  <a:moveTo>
                    <a:pt x="14" y="1150"/>
                  </a:moveTo>
                  <a:lnTo>
                    <a:pt x="16" y="1152"/>
                  </a:lnTo>
                  <a:lnTo>
                    <a:pt x="19" y="1152"/>
                  </a:lnTo>
                  <a:lnTo>
                    <a:pt x="21" y="1152"/>
                  </a:lnTo>
                  <a:lnTo>
                    <a:pt x="23" y="1152"/>
                  </a:lnTo>
                  <a:lnTo>
                    <a:pt x="21" y="1152"/>
                  </a:lnTo>
                  <a:lnTo>
                    <a:pt x="21" y="1155"/>
                  </a:lnTo>
                  <a:lnTo>
                    <a:pt x="19" y="1155"/>
                  </a:lnTo>
                  <a:lnTo>
                    <a:pt x="19" y="1152"/>
                  </a:lnTo>
                  <a:lnTo>
                    <a:pt x="19" y="1155"/>
                  </a:lnTo>
                  <a:lnTo>
                    <a:pt x="16" y="1155"/>
                  </a:lnTo>
                  <a:lnTo>
                    <a:pt x="16" y="1157"/>
                  </a:lnTo>
                  <a:lnTo>
                    <a:pt x="16" y="1155"/>
                  </a:lnTo>
                  <a:lnTo>
                    <a:pt x="14" y="1157"/>
                  </a:lnTo>
                  <a:lnTo>
                    <a:pt x="12" y="1157"/>
                  </a:lnTo>
                  <a:lnTo>
                    <a:pt x="12" y="1155"/>
                  </a:lnTo>
                  <a:lnTo>
                    <a:pt x="14" y="1155"/>
                  </a:lnTo>
                  <a:lnTo>
                    <a:pt x="12" y="1155"/>
                  </a:lnTo>
                  <a:lnTo>
                    <a:pt x="9" y="1155"/>
                  </a:lnTo>
                  <a:lnTo>
                    <a:pt x="9" y="1152"/>
                  </a:lnTo>
                  <a:lnTo>
                    <a:pt x="7" y="1152"/>
                  </a:lnTo>
                  <a:lnTo>
                    <a:pt x="9" y="1152"/>
                  </a:lnTo>
                  <a:lnTo>
                    <a:pt x="12" y="1152"/>
                  </a:lnTo>
                  <a:lnTo>
                    <a:pt x="12" y="1150"/>
                  </a:lnTo>
                  <a:lnTo>
                    <a:pt x="9" y="1150"/>
                  </a:lnTo>
                  <a:lnTo>
                    <a:pt x="12" y="1150"/>
                  </a:lnTo>
                  <a:lnTo>
                    <a:pt x="14" y="1150"/>
                  </a:lnTo>
                  <a:close/>
                  <a:moveTo>
                    <a:pt x="14" y="1150"/>
                  </a:moveTo>
                  <a:lnTo>
                    <a:pt x="16" y="1150"/>
                  </a:lnTo>
                  <a:lnTo>
                    <a:pt x="19" y="1150"/>
                  </a:lnTo>
                  <a:lnTo>
                    <a:pt x="16" y="1150"/>
                  </a:lnTo>
                  <a:lnTo>
                    <a:pt x="14" y="1150"/>
                  </a:lnTo>
                  <a:close/>
                  <a:moveTo>
                    <a:pt x="21" y="1145"/>
                  </a:moveTo>
                  <a:lnTo>
                    <a:pt x="19" y="1145"/>
                  </a:lnTo>
                  <a:lnTo>
                    <a:pt x="21" y="1143"/>
                  </a:lnTo>
                  <a:lnTo>
                    <a:pt x="21" y="1145"/>
                  </a:lnTo>
                  <a:lnTo>
                    <a:pt x="21" y="1143"/>
                  </a:lnTo>
                  <a:lnTo>
                    <a:pt x="21" y="1145"/>
                  </a:lnTo>
                  <a:close/>
                  <a:moveTo>
                    <a:pt x="23" y="1145"/>
                  </a:moveTo>
                  <a:lnTo>
                    <a:pt x="21" y="1145"/>
                  </a:lnTo>
                  <a:lnTo>
                    <a:pt x="23" y="1145"/>
                  </a:lnTo>
                  <a:lnTo>
                    <a:pt x="23" y="1143"/>
                  </a:lnTo>
                  <a:lnTo>
                    <a:pt x="23" y="1145"/>
                  </a:lnTo>
                  <a:close/>
                  <a:moveTo>
                    <a:pt x="14" y="1143"/>
                  </a:moveTo>
                  <a:lnTo>
                    <a:pt x="16" y="1143"/>
                  </a:lnTo>
                  <a:lnTo>
                    <a:pt x="16" y="1145"/>
                  </a:lnTo>
                  <a:lnTo>
                    <a:pt x="16" y="1143"/>
                  </a:lnTo>
                  <a:lnTo>
                    <a:pt x="19" y="1143"/>
                  </a:lnTo>
                  <a:lnTo>
                    <a:pt x="19" y="1145"/>
                  </a:lnTo>
                  <a:lnTo>
                    <a:pt x="19" y="1148"/>
                  </a:lnTo>
                  <a:lnTo>
                    <a:pt x="16" y="1148"/>
                  </a:lnTo>
                  <a:lnTo>
                    <a:pt x="16" y="1150"/>
                  </a:lnTo>
                  <a:lnTo>
                    <a:pt x="16" y="1148"/>
                  </a:lnTo>
                  <a:lnTo>
                    <a:pt x="14" y="1148"/>
                  </a:lnTo>
                  <a:lnTo>
                    <a:pt x="16" y="1148"/>
                  </a:lnTo>
                  <a:lnTo>
                    <a:pt x="14" y="1148"/>
                  </a:lnTo>
                  <a:lnTo>
                    <a:pt x="16" y="1148"/>
                  </a:lnTo>
                  <a:lnTo>
                    <a:pt x="16" y="1145"/>
                  </a:lnTo>
                  <a:lnTo>
                    <a:pt x="14" y="1145"/>
                  </a:lnTo>
                  <a:lnTo>
                    <a:pt x="14" y="1143"/>
                  </a:lnTo>
                  <a:close/>
                  <a:moveTo>
                    <a:pt x="26" y="1133"/>
                  </a:moveTo>
                  <a:lnTo>
                    <a:pt x="28" y="1133"/>
                  </a:lnTo>
                  <a:lnTo>
                    <a:pt x="28" y="1136"/>
                  </a:lnTo>
                  <a:lnTo>
                    <a:pt x="26" y="1133"/>
                  </a:lnTo>
                  <a:close/>
                  <a:moveTo>
                    <a:pt x="31" y="1133"/>
                  </a:moveTo>
                  <a:lnTo>
                    <a:pt x="28" y="1133"/>
                  </a:lnTo>
                  <a:lnTo>
                    <a:pt x="31" y="1133"/>
                  </a:lnTo>
                  <a:lnTo>
                    <a:pt x="28" y="1133"/>
                  </a:lnTo>
                  <a:lnTo>
                    <a:pt x="31" y="1133"/>
                  </a:lnTo>
                  <a:lnTo>
                    <a:pt x="28" y="1133"/>
                  </a:lnTo>
                  <a:lnTo>
                    <a:pt x="31" y="1133"/>
                  </a:lnTo>
                  <a:close/>
                  <a:moveTo>
                    <a:pt x="42" y="1133"/>
                  </a:moveTo>
                  <a:lnTo>
                    <a:pt x="40" y="1133"/>
                  </a:lnTo>
                  <a:lnTo>
                    <a:pt x="42" y="1133"/>
                  </a:lnTo>
                  <a:close/>
                  <a:moveTo>
                    <a:pt x="26" y="1131"/>
                  </a:moveTo>
                  <a:lnTo>
                    <a:pt x="26" y="1133"/>
                  </a:lnTo>
                  <a:lnTo>
                    <a:pt x="26" y="1131"/>
                  </a:lnTo>
                  <a:close/>
                  <a:moveTo>
                    <a:pt x="45" y="1131"/>
                  </a:moveTo>
                  <a:lnTo>
                    <a:pt x="45" y="1133"/>
                  </a:lnTo>
                  <a:lnTo>
                    <a:pt x="45" y="1131"/>
                  </a:lnTo>
                  <a:lnTo>
                    <a:pt x="47" y="1131"/>
                  </a:lnTo>
                  <a:lnTo>
                    <a:pt x="45" y="1133"/>
                  </a:lnTo>
                  <a:lnTo>
                    <a:pt x="45" y="1131"/>
                  </a:lnTo>
                  <a:close/>
                  <a:moveTo>
                    <a:pt x="45" y="1131"/>
                  </a:moveTo>
                  <a:lnTo>
                    <a:pt x="42" y="1133"/>
                  </a:lnTo>
                  <a:lnTo>
                    <a:pt x="42" y="1131"/>
                  </a:lnTo>
                  <a:lnTo>
                    <a:pt x="45" y="1131"/>
                  </a:lnTo>
                  <a:close/>
                  <a:moveTo>
                    <a:pt x="40" y="1129"/>
                  </a:moveTo>
                  <a:lnTo>
                    <a:pt x="38" y="1129"/>
                  </a:lnTo>
                  <a:lnTo>
                    <a:pt x="40" y="1129"/>
                  </a:lnTo>
                  <a:close/>
                  <a:moveTo>
                    <a:pt x="38" y="1129"/>
                  </a:moveTo>
                  <a:lnTo>
                    <a:pt x="40" y="1129"/>
                  </a:lnTo>
                  <a:lnTo>
                    <a:pt x="38" y="1129"/>
                  </a:lnTo>
                  <a:lnTo>
                    <a:pt x="40" y="1129"/>
                  </a:lnTo>
                  <a:lnTo>
                    <a:pt x="40" y="1131"/>
                  </a:lnTo>
                  <a:lnTo>
                    <a:pt x="40" y="1133"/>
                  </a:lnTo>
                  <a:lnTo>
                    <a:pt x="38" y="1133"/>
                  </a:lnTo>
                  <a:lnTo>
                    <a:pt x="35" y="1133"/>
                  </a:lnTo>
                  <a:lnTo>
                    <a:pt x="35" y="1136"/>
                  </a:lnTo>
                  <a:lnTo>
                    <a:pt x="33" y="1136"/>
                  </a:lnTo>
                  <a:lnTo>
                    <a:pt x="33" y="1133"/>
                  </a:lnTo>
                  <a:lnTo>
                    <a:pt x="31" y="1133"/>
                  </a:lnTo>
                  <a:lnTo>
                    <a:pt x="33" y="1133"/>
                  </a:lnTo>
                  <a:lnTo>
                    <a:pt x="35" y="1133"/>
                  </a:lnTo>
                  <a:lnTo>
                    <a:pt x="33" y="1133"/>
                  </a:lnTo>
                  <a:lnTo>
                    <a:pt x="31" y="1131"/>
                  </a:lnTo>
                  <a:lnTo>
                    <a:pt x="33" y="1131"/>
                  </a:lnTo>
                  <a:lnTo>
                    <a:pt x="31" y="1131"/>
                  </a:lnTo>
                  <a:lnTo>
                    <a:pt x="33" y="1131"/>
                  </a:lnTo>
                  <a:lnTo>
                    <a:pt x="31" y="1129"/>
                  </a:lnTo>
                  <a:lnTo>
                    <a:pt x="33" y="1129"/>
                  </a:lnTo>
                  <a:lnTo>
                    <a:pt x="35" y="1129"/>
                  </a:lnTo>
                  <a:lnTo>
                    <a:pt x="38" y="1129"/>
                  </a:lnTo>
                  <a:close/>
                  <a:moveTo>
                    <a:pt x="38" y="1129"/>
                  </a:moveTo>
                  <a:lnTo>
                    <a:pt x="35" y="1129"/>
                  </a:lnTo>
                  <a:lnTo>
                    <a:pt x="38" y="1129"/>
                  </a:lnTo>
                  <a:close/>
                  <a:moveTo>
                    <a:pt x="31" y="1129"/>
                  </a:moveTo>
                  <a:lnTo>
                    <a:pt x="28" y="1129"/>
                  </a:lnTo>
                  <a:lnTo>
                    <a:pt x="31" y="1129"/>
                  </a:lnTo>
                  <a:lnTo>
                    <a:pt x="31" y="1126"/>
                  </a:lnTo>
                  <a:lnTo>
                    <a:pt x="31" y="1129"/>
                  </a:lnTo>
                  <a:close/>
                  <a:moveTo>
                    <a:pt x="38" y="1126"/>
                  </a:moveTo>
                  <a:lnTo>
                    <a:pt x="38" y="1129"/>
                  </a:lnTo>
                  <a:lnTo>
                    <a:pt x="35" y="1129"/>
                  </a:lnTo>
                  <a:lnTo>
                    <a:pt x="38" y="1126"/>
                  </a:lnTo>
                  <a:lnTo>
                    <a:pt x="35" y="1126"/>
                  </a:lnTo>
                  <a:lnTo>
                    <a:pt x="35" y="1129"/>
                  </a:lnTo>
                  <a:lnTo>
                    <a:pt x="35" y="1126"/>
                  </a:lnTo>
                  <a:lnTo>
                    <a:pt x="35" y="1129"/>
                  </a:lnTo>
                  <a:lnTo>
                    <a:pt x="33" y="1126"/>
                  </a:lnTo>
                  <a:lnTo>
                    <a:pt x="35" y="1126"/>
                  </a:lnTo>
                  <a:lnTo>
                    <a:pt x="38" y="1126"/>
                  </a:lnTo>
                  <a:close/>
                  <a:moveTo>
                    <a:pt x="33" y="1124"/>
                  </a:moveTo>
                  <a:lnTo>
                    <a:pt x="33" y="1126"/>
                  </a:lnTo>
                  <a:lnTo>
                    <a:pt x="31" y="1126"/>
                  </a:lnTo>
                  <a:lnTo>
                    <a:pt x="31" y="1124"/>
                  </a:lnTo>
                  <a:lnTo>
                    <a:pt x="33" y="1124"/>
                  </a:lnTo>
                  <a:close/>
                  <a:moveTo>
                    <a:pt x="40" y="1124"/>
                  </a:moveTo>
                  <a:lnTo>
                    <a:pt x="40" y="1126"/>
                  </a:lnTo>
                  <a:lnTo>
                    <a:pt x="40" y="1124"/>
                  </a:lnTo>
                  <a:close/>
                  <a:moveTo>
                    <a:pt x="35" y="1124"/>
                  </a:moveTo>
                  <a:lnTo>
                    <a:pt x="35" y="1126"/>
                  </a:lnTo>
                  <a:lnTo>
                    <a:pt x="33" y="1126"/>
                  </a:lnTo>
                  <a:lnTo>
                    <a:pt x="33" y="1124"/>
                  </a:lnTo>
                  <a:lnTo>
                    <a:pt x="35" y="1124"/>
                  </a:lnTo>
                  <a:close/>
                  <a:moveTo>
                    <a:pt x="33" y="1124"/>
                  </a:moveTo>
                  <a:lnTo>
                    <a:pt x="35" y="1124"/>
                  </a:lnTo>
                  <a:lnTo>
                    <a:pt x="33" y="1124"/>
                  </a:lnTo>
                  <a:lnTo>
                    <a:pt x="33" y="1121"/>
                  </a:lnTo>
                  <a:lnTo>
                    <a:pt x="33" y="1124"/>
                  </a:lnTo>
                  <a:close/>
                  <a:moveTo>
                    <a:pt x="45" y="1121"/>
                  </a:moveTo>
                  <a:lnTo>
                    <a:pt x="47" y="1121"/>
                  </a:lnTo>
                  <a:lnTo>
                    <a:pt x="47" y="1124"/>
                  </a:lnTo>
                  <a:lnTo>
                    <a:pt x="47" y="1126"/>
                  </a:lnTo>
                  <a:lnTo>
                    <a:pt x="50" y="1126"/>
                  </a:lnTo>
                  <a:lnTo>
                    <a:pt x="47" y="1129"/>
                  </a:lnTo>
                  <a:lnTo>
                    <a:pt x="45" y="1129"/>
                  </a:lnTo>
                  <a:lnTo>
                    <a:pt x="45" y="1131"/>
                  </a:lnTo>
                  <a:lnTo>
                    <a:pt x="42" y="1131"/>
                  </a:lnTo>
                  <a:lnTo>
                    <a:pt x="40" y="1131"/>
                  </a:lnTo>
                  <a:lnTo>
                    <a:pt x="42" y="1131"/>
                  </a:lnTo>
                  <a:lnTo>
                    <a:pt x="40" y="1131"/>
                  </a:lnTo>
                  <a:lnTo>
                    <a:pt x="42" y="1131"/>
                  </a:lnTo>
                  <a:lnTo>
                    <a:pt x="42" y="1129"/>
                  </a:lnTo>
                  <a:lnTo>
                    <a:pt x="40" y="1129"/>
                  </a:lnTo>
                  <a:lnTo>
                    <a:pt x="42" y="1129"/>
                  </a:lnTo>
                  <a:lnTo>
                    <a:pt x="40" y="1129"/>
                  </a:lnTo>
                  <a:lnTo>
                    <a:pt x="42" y="1129"/>
                  </a:lnTo>
                  <a:lnTo>
                    <a:pt x="40" y="1129"/>
                  </a:lnTo>
                  <a:lnTo>
                    <a:pt x="42" y="1129"/>
                  </a:lnTo>
                  <a:lnTo>
                    <a:pt x="40" y="1129"/>
                  </a:lnTo>
                  <a:lnTo>
                    <a:pt x="40" y="1126"/>
                  </a:lnTo>
                  <a:lnTo>
                    <a:pt x="42" y="1126"/>
                  </a:lnTo>
                  <a:lnTo>
                    <a:pt x="40" y="1126"/>
                  </a:lnTo>
                  <a:lnTo>
                    <a:pt x="42" y="1129"/>
                  </a:lnTo>
                  <a:lnTo>
                    <a:pt x="42" y="1126"/>
                  </a:lnTo>
                  <a:lnTo>
                    <a:pt x="40" y="1126"/>
                  </a:lnTo>
                  <a:lnTo>
                    <a:pt x="40" y="1124"/>
                  </a:lnTo>
                  <a:lnTo>
                    <a:pt x="42" y="1124"/>
                  </a:lnTo>
                  <a:lnTo>
                    <a:pt x="42" y="1121"/>
                  </a:lnTo>
                  <a:lnTo>
                    <a:pt x="45" y="1121"/>
                  </a:lnTo>
                  <a:close/>
                  <a:moveTo>
                    <a:pt x="57" y="1121"/>
                  </a:moveTo>
                  <a:lnTo>
                    <a:pt x="59" y="1121"/>
                  </a:lnTo>
                  <a:lnTo>
                    <a:pt x="57" y="1121"/>
                  </a:lnTo>
                  <a:close/>
                  <a:moveTo>
                    <a:pt x="45" y="1119"/>
                  </a:moveTo>
                  <a:lnTo>
                    <a:pt x="47" y="1119"/>
                  </a:lnTo>
                  <a:lnTo>
                    <a:pt x="45" y="1119"/>
                  </a:lnTo>
                  <a:close/>
                  <a:moveTo>
                    <a:pt x="59" y="1119"/>
                  </a:moveTo>
                  <a:lnTo>
                    <a:pt x="57" y="1119"/>
                  </a:lnTo>
                  <a:lnTo>
                    <a:pt x="59" y="1119"/>
                  </a:lnTo>
                  <a:close/>
                  <a:moveTo>
                    <a:pt x="50" y="1117"/>
                  </a:moveTo>
                  <a:lnTo>
                    <a:pt x="50" y="1119"/>
                  </a:lnTo>
                  <a:lnTo>
                    <a:pt x="47" y="1119"/>
                  </a:lnTo>
                  <a:lnTo>
                    <a:pt x="47" y="1117"/>
                  </a:lnTo>
                  <a:lnTo>
                    <a:pt x="50" y="1117"/>
                  </a:lnTo>
                  <a:close/>
                  <a:moveTo>
                    <a:pt x="61" y="1117"/>
                  </a:moveTo>
                  <a:lnTo>
                    <a:pt x="59" y="1117"/>
                  </a:lnTo>
                  <a:lnTo>
                    <a:pt x="59" y="1119"/>
                  </a:lnTo>
                  <a:lnTo>
                    <a:pt x="57" y="1119"/>
                  </a:lnTo>
                  <a:lnTo>
                    <a:pt x="54" y="1119"/>
                  </a:lnTo>
                  <a:lnTo>
                    <a:pt x="52" y="1119"/>
                  </a:lnTo>
                  <a:lnTo>
                    <a:pt x="52" y="1117"/>
                  </a:lnTo>
                  <a:lnTo>
                    <a:pt x="54" y="1117"/>
                  </a:lnTo>
                  <a:lnTo>
                    <a:pt x="57" y="1117"/>
                  </a:lnTo>
                  <a:lnTo>
                    <a:pt x="59" y="1117"/>
                  </a:lnTo>
                  <a:lnTo>
                    <a:pt x="61" y="1117"/>
                  </a:lnTo>
                  <a:close/>
                  <a:moveTo>
                    <a:pt x="52" y="1117"/>
                  </a:moveTo>
                  <a:lnTo>
                    <a:pt x="52" y="1119"/>
                  </a:lnTo>
                  <a:lnTo>
                    <a:pt x="50" y="1119"/>
                  </a:lnTo>
                  <a:lnTo>
                    <a:pt x="50" y="1117"/>
                  </a:lnTo>
                  <a:lnTo>
                    <a:pt x="52" y="1117"/>
                  </a:lnTo>
                  <a:close/>
                  <a:moveTo>
                    <a:pt x="54" y="1117"/>
                  </a:moveTo>
                  <a:lnTo>
                    <a:pt x="52" y="1117"/>
                  </a:lnTo>
                  <a:lnTo>
                    <a:pt x="54" y="1117"/>
                  </a:lnTo>
                  <a:close/>
                  <a:moveTo>
                    <a:pt x="52" y="1117"/>
                  </a:moveTo>
                  <a:lnTo>
                    <a:pt x="54" y="1114"/>
                  </a:lnTo>
                  <a:lnTo>
                    <a:pt x="54" y="1117"/>
                  </a:lnTo>
                  <a:lnTo>
                    <a:pt x="52" y="1117"/>
                  </a:lnTo>
                  <a:close/>
                  <a:moveTo>
                    <a:pt x="57" y="1114"/>
                  </a:moveTo>
                  <a:lnTo>
                    <a:pt x="54" y="1114"/>
                  </a:lnTo>
                  <a:lnTo>
                    <a:pt x="57" y="1114"/>
                  </a:lnTo>
                  <a:close/>
                  <a:moveTo>
                    <a:pt x="50" y="1112"/>
                  </a:moveTo>
                  <a:lnTo>
                    <a:pt x="52" y="1112"/>
                  </a:lnTo>
                  <a:lnTo>
                    <a:pt x="52" y="1114"/>
                  </a:lnTo>
                  <a:lnTo>
                    <a:pt x="50" y="1114"/>
                  </a:lnTo>
                  <a:lnTo>
                    <a:pt x="52" y="1114"/>
                  </a:lnTo>
                  <a:lnTo>
                    <a:pt x="52" y="1117"/>
                  </a:lnTo>
                  <a:lnTo>
                    <a:pt x="50" y="1117"/>
                  </a:lnTo>
                  <a:lnTo>
                    <a:pt x="50" y="1114"/>
                  </a:lnTo>
                  <a:lnTo>
                    <a:pt x="50" y="1117"/>
                  </a:lnTo>
                  <a:lnTo>
                    <a:pt x="47" y="1117"/>
                  </a:lnTo>
                  <a:lnTo>
                    <a:pt x="47" y="1114"/>
                  </a:lnTo>
                  <a:lnTo>
                    <a:pt x="50" y="1114"/>
                  </a:lnTo>
                  <a:lnTo>
                    <a:pt x="50" y="1112"/>
                  </a:lnTo>
                  <a:close/>
                  <a:moveTo>
                    <a:pt x="66" y="1112"/>
                  </a:moveTo>
                  <a:lnTo>
                    <a:pt x="66" y="1110"/>
                  </a:lnTo>
                  <a:lnTo>
                    <a:pt x="66" y="1112"/>
                  </a:lnTo>
                  <a:close/>
                  <a:moveTo>
                    <a:pt x="52" y="1110"/>
                  </a:moveTo>
                  <a:lnTo>
                    <a:pt x="54" y="1110"/>
                  </a:lnTo>
                  <a:lnTo>
                    <a:pt x="54" y="1112"/>
                  </a:lnTo>
                  <a:lnTo>
                    <a:pt x="52" y="1112"/>
                  </a:lnTo>
                  <a:lnTo>
                    <a:pt x="52" y="1110"/>
                  </a:lnTo>
                  <a:close/>
                  <a:moveTo>
                    <a:pt x="95" y="1107"/>
                  </a:moveTo>
                  <a:lnTo>
                    <a:pt x="95" y="1110"/>
                  </a:lnTo>
                  <a:lnTo>
                    <a:pt x="95" y="1107"/>
                  </a:lnTo>
                  <a:lnTo>
                    <a:pt x="95" y="1110"/>
                  </a:lnTo>
                  <a:lnTo>
                    <a:pt x="92" y="1110"/>
                  </a:lnTo>
                  <a:lnTo>
                    <a:pt x="95" y="1110"/>
                  </a:lnTo>
                  <a:lnTo>
                    <a:pt x="95" y="1107"/>
                  </a:lnTo>
                  <a:close/>
                  <a:moveTo>
                    <a:pt x="87" y="1107"/>
                  </a:moveTo>
                  <a:lnTo>
                    <a:pt x="90" y="1107"/>
                  </a:lnTo>
                  <a:lnTo>
                    <a:pt x="90" y="1110"/>
                  </a:lnTo>
                  <a:lnTo>
                    <a:pt x="92" y="1110"/>
                  </a:lnTo>
                  <a:lnTo>
                    <a:pt x="90" y="1110"/>
                  </a:lnTo>
                  <a:lnTo>
                    <a:pt x="87" y="1110"/>
                  </a:lnTo>
                  <a:lnTo>
                    <a:pt x="87" y="1107"/>
                  </a:lnTo>
                  <a:close/>
                  <a:moveTo>
                    <a:pt x="78" y="1107"/>
                  </a:moveTo>
                  <a:lnTo>
                    <a:pt x="76" y="1110"/>
                  </a:lnTo>
                  <a:lnTo>
                    <a:pt x="76" y="1107"/>
                  </a:lnTo>
                  <a:lnTo>
                    <a:pt x="78" y="1107"/>
                  </a:lnTo>
                  <a:close/>
                  <a:moveTo>
                    <a:pt x="52" y="1107"/>
                  </a:moveTo>
                  <a:lnTo>
                    <a:pt x="54" y="1107"/>
                  </a:lnTo>
                  <a:lnTo>
                    <a:pt x="54" y="1110"/>
                  </a:lnTo>
                  <a:lnTo>
                    <a:pt x="57" y="1110"/>
                  </a:lnTo>
                  <a:lnTo>
                    <a:pt x="57" y="1112"/>
                  </a:lnTo>
                  <a:lnTo>
                    <a:pt x="54" y="1112"/>
                  </a:lnTo>
                  <a:lnTo>
                    <a:pt x="54" y="1110"/>
                  </a:lnTo>
                  <a:lnTo>
                    <a:pt x="52" y="1110"/>
                  </a:lnTo>
                  <a:lnTo>
                    <a:pt x="52" y="1107"/>
                  </a:lnTo>
                  <a:close/>
                  <a:moveTo>
                    <a:pt x="54" y="1107"/>
                  </a:moveTo>
                  <a:lnTo>
                    <a:pt x="52" y="1107"/>
                  </a:lnTo>
                  <a:lnTo>
                    <a:pt x="54" y="1107"/>
                  </a:lnTo>
                  <a:close/>
                  <a:moveTo>
                    <a:pt x="54" y="1107"/>
                  </a:moveTo>
                  <a:lnTo>
                    <a:pt x="57" y="1107"/>
                  </a:lnTo>
                  <a:lnTo>
                    <a:pt x="59" y="1110"/>
                  </a:lnTo>
                  <a:lnTo>
                    <a:pt x="57" y="1110"/>
                  </a:lnTo>
                  <a:lnTo>
                    <a:pt x="54" y="1110"/>
                  </a:lnTo>
                  <a:lnTo>
                    <a:pt x="54" y="1107"/>
                  </a:lnTo>
                  <a:close/>
                  <a:moveTo>
                    <a:pt x="68" y="1107"/>
                  </a:moveTo>
                  <a:lnTo>
                    <a:pt x="68" y="1110"/>
                  </a:lnTo>
                  <a:lnTo>
                    <a:pt x="66" y="1110"/>
                  </a:lnTo>
                  <a:lnTo>
                    <a:pt x="64" y="1110"/>
                  </a:lnTo>
                  <a:lnTo>
                    <a:pt x="66" y="1110"/>
                  </a:lnTo>
                  <a:lnTo>
                    <a:pt x="66" y="1107"/>
                  </a:lnTo>
                  <a:lnTo>
                    <a:pt x="68" y="1107"/>
                  </a:lnTo>
                  <a:close/>
                  <a:moveTo>
                    <a:pt x="59" y="1107"/>
                  </a:moveTo>
                  <a:lnTo>
                    <a:pt x="61" y="1107"/>
                  </a:lnTo>
                  <a:lnTo>
                    <a:pt x="59" y="1107"/>
                  </a:lnTo>
                  <a:lnTo>
                    <a:pt x="57" y="1107"/>
                  </a:lnTo>
                  <a:lnTo>
                    <a:pt x="59" y="1107"/>
                  </a:lnTo>
                  <a:lnTo>
                    <a:pt x="57" y="1107"/>
                  </a:lnTo>
                  <a:lnTo>
                    <a:pt x="59" y="1107"/>
                  </a:lnTo>
                  <a:close/>
                  <a:moveTo>
                    <a:pt x="85" y="1105"/>
                  </a:moveTo>
                  <a:lnTo>
                    <a:pt x="85" y="1107"/>
                  </a:lnTo>
                  <a:lnTo>
                    <a:pt x="83" y="1107"/>
                  </a:lnTo>
                  <a:lnTo>
                    <a:pt x="85" y="1107"/>
                  </a:lnTo>
                  <a:lnTo>
                    <a:pt x="85" y="1105"/>
                  </a:lnTo>
                  <a:close/>
                  <a:moveTo>
                    <a:pt x="68" y="1107"/>
                  </a:moveTo>
                  <a:lnTo>
                    <a:pt x="68" y="1105"/>
                  </a:lnTo>
                  <a:lnTo>
                    <a:pt x="68" y="1107"/>
                  </a:lnTo>
                  <a:close/>
                  <a:moveTo>
                    <a:pt x="87" y="1105"/>
                  </a:moveTo>
                  <a:lnTo>
                    <a:pt x="85" y="1107"/>
                  </a:lnTo>
                  <a:lnTo>
                    <a:pt x="85" y="1105"/>
                  </a:lnTo>
                  <a:lnTo>
                    <a:pt x="87" y="1105"/>
                  </a:lnTo>
                  <a:close/>
                  <a:moveTo>
                    <a:pt x="90" y="1105"/>
                  </a:moveTo>
                  <a:lnTo>
                    <a:pt x="92" y="1105"/>
                  </a:lnTo>
                  <a:lnTo>
                    <a:pt x="90" y="1105"/>
                  </a:lnTo>
                  <a:lnTo>
                    <a:pt x="87" y="1107"/>
                  </a:lnTo>
                  <a:lnTo>
                    <a:pt x="85" y="1107"/>
                  </a:lnTo>
                  <a:lnTo>
                    <a:pt x="87" y="1107"/>
                  </a:lnTo>
                  <a:lnTo>
                    <a:pt x="90" y="1105"/>
                  </a:lnTo>
                  <a:lnTo>
                    <a:pt x="87" y="1105"/>
                  </a:lnTo>
                  <a:lnTo>
                    <a:pt x="90" y="1105"/>
                  </a:lnTo>
                  <a:close/>
                  <a:moveTo>
                    <a:pt x="78" y="1105"/>
                  </a:moveTo>
                  <a:lnTo>
                    <a:pt x="78" y="1107"/>
                  </a:lnTo>
                  <a:lnTo>
                    <a:pt x="76" y="1107"/>
                  </a:lnTo>
                  <a:lnTo>
                    <a:pt x="73" y="1107"/>
                  </a:lnTo>
                  <a:lnTo>
                    <a:pt x="71" y="1107"/>
                  </a:lnTo>
                  <a:lnTo>
                    <a:pt x="71" y="1110"/>
                  </a:lnTo>
                  <a:lnTo>
                    <a:pt x="68" y="1110"/>
                  </a:lnTo>
                  <a:lnTo>
                    <a:pt x="68" y="1107"/>
                  </a:lnTo>
                  <a:lnTo>
                    <a:pt x="71" y="1107"/>
                  </a:lnTo>
                  <a:lnTo>
                    <a:pt x="68" y="1107"/>
                  </a:lnTo>
                  <a:lnTo>
                    <a:pt x="68" y="1105"/>
                  </a:lnTo>
                  <a:lnTo>
                    <a:pt x="71" y="1105"/>
                  </a:lnTo>
                  <a:lnTo>
                    <a:pt x="68" y="1105"/>
                  </a:lnTo>
                  <a:lnTo>
                    <a:pt x="71" y="1105"/>
                  </a:lnTo>
                  <a:lnTo>
                    <a:pt x="71" y="1107"/>
                  </a:lnTo>
                  <a:lnTo>
                    <a:pt x="71" y="1105"/>
                  </a:lnTo>
                  <a:lnTo>
                    <a:pt x="73" y="1105"/>
                  </a:lnTo>
                  <a:lnTo>
                    <a:pt x="76" y="1105"/>
                  </a:lnTo>
                  <a:lnTo>
                    <a:pt x="78" y="1105"/>
                  </a:lnTo>
                  <a:close/>
                  <a:moveTo>
                    <a:pt x="59" y="1105"/>
                  </a:moveTo>
                  <a:lnTo>
                    <a:pt x="61" y="1105"/>
                  </a:lnTo>
                  <a:lnTo>
                    <a:pt x="59" y="1105"/>
                  </a:lnTo>
                  <a:close/>
                  <a:moveTo>
                    <a:pt x="78" y="1105"/>
                  </a:moveTo>
                  <a:lnTo>
                    <a:pt x="76" y="1105"/>
                  </a:lnTo>
                  <a:lnTo>
                    <a:pt x="78" y="1105"/>
                  </a:lnTo>
                  <a:lnTo>
                    <a:pt x="78" y="1102"/>
                  </a:lnTo>
                  <a:lnTo>
                    <a:pt x="78" y="1105"/>
                  </a:lnTo>
                  <a:close/>
                  <a:moveTo>
                    <a:pt x="61" y="1102"/>
                  </a:moveTo>
                  <a:lnTo>
                    <a:pt x="64" y="1105"/>
                  </a:lnTo>
                  <a:lnTo>
                    <a:pt x="61" y="1105"/>
                  </a:lnTo>
                  <a:lnTo>
                    <a:pt x="61" y="1102"/>
                  </a:lnTo>
                  <a:close/>
                  <a:moveTo>
                    <a:pt x="71" y="1100"/>
                  </a:moveTo>
                  <a:lnTo>
                    <a:pt x="68" y="1100"/>
                  </a:lnTo>
                  <a:lnTo>
                    <a:pt x="71" y="1100"/>
                  </a:lnTo>
                  <a:lnTo>
                    <a:pt x="68" y="1100"/>
                  </a:lnTo>
                  <a:lnTo>
                    <a:pt x="71" y="1100"/>
                  </a:lnTo>
                  <a:close/>
                  <a:moveTo>
                    <a:pt x="85" y="1100"/>
                  </a:moveTo>
                  <a:lnTo>
                    <a:pt x="83" y="1100"/>
                  </a:lnTo>
                  <a:lnTo>
                    <a:pt x="85" y="1100"/>
                  </a:lnTo>
                  <a:close/>
                  <a:moveTo>
                    <a:pt x="85" y="1100"/>
                  </a:moveTo>
                  <a:lnTo>
                    <a:pt x="83" y="1100"/>
                  </a:lnTo>
                  <a:lnTo>
                    <a:pt x="85" y="1100"/>
                  </a:lnTo>
                  <a:lnTo>
                    <a:pt x="83" y="1100"/>
                  </a:lnTo>
                  <a:lnTo>
                    <a:pt x="85" y="1100"/>
                  </a:lnTo>
                  <a:close/>
                  <a:moveTo>
                    <a:pt x="78" y="1098"/>
                  </a:moveTo>
                  <a:lnTo>
                    <a:pt x="78" y="1100"/>
                  </a:lnTo>
                  <a:lnTo>
                    <a:pt x="76" y="1100"/>
                  </a:lnTo>
                  <a:lnTo>
                    <a:pt x="78" y="1100"/>
                  </a:lnTo>
                  <a:lnTo>
                    <a:pt x="76" y="1100"/>
                  </a:lnTo>
                  <a:lnTo>
                    <a:pt x="76" y="1102"/>
                  </a:lnTo>
                  <a:lnTo>
                    <a:pt x="78" y="1102"/>
                  </a:lnTo>
                  <a:lnTo>
                    <a:pt x="76" y="1102"/>
                  </a:lnTo>
                  <a:lnTo>
                    <a:pt x="73" y="1102"/>
                  </a:lnTo>
                  <a:lnTo>
                    <a:pt x="73" y="1100"/>
                  </a:lnTo>
                  <a:lnTo>
                    <a:pt x="73" y="1102"/>
                  </a:lnTo>
                  <a:lnTo>
                    <a:pt x="73" y="1100"/>
                  </a:lnTo>
                  <a:lnTo>
                    <a:pt x="73" y="1102"/>
                  </a:lnTo>
                  <a:lnTo>
                    <a:pt x="73" y="1100"/>
                  </a:lnTo>
                  <a:lnTo>
                    <a:pt x="71" y="1100"/>
                  </a:lnTo>
                  <a:lnTo>
                    <a:pt x="73" y="1100"/>
                  </a:lnTo>
                  <a:lnTo>
                    <a:pt x="73" y="1098"/>
                  </a:lnTo>
                  <a:lnTo>
                    <a:pt x="73" y="1100"/>
                  </a:lnTo>
                  <a:lnTo>
                    <a:pt x="73" y="1098"/>
                  </a:lnTo>
                  <a:lnTo>
                    <a:pt x="73" y="1100"/>
                  </a:lnTo>
                  <a:lnTo>
                    <a:pt x="76" y="1098"/>
                  </a:lnTo>
                  <a:lnTo>
                    <a:pt x="76" y="1100"/>
                  </a:lnTo>
                  <a:lnTo>
                    <a:pt x="76" y="1098"/>
                  </a:lnTo>
                  <a:lnTo>
                    <a:pt x="78" y="1098"/>
                  </a:lnTo>
                  <a:close/>
                  <a:moveTo>
                    <a:pt x="64" y="1098"/>
                  </a:moveTo>
                  <a:lnTo>
                    <a:pt x="66" y="1098"/>
                  </a:lnTo>
                  <a:lnTo>
                    <a:pt x="64" y="1098"/>
                  </a:lnTo>
                  <a:close/>
                  <a:moveTo>
                    <a:pt x="106" y="1091"/>
                  </a:moveTo>
                  <a:lnTo>
                    <a:pt x="109" y="1091"/>
                  </a:lnTo>
                  <a:lnTo>
                    <a:pt x="106" y="1091"/>
                  </a:lnTo>
                  <a:lnTo>
                    <a:pt x="109" y="1091"/>
                  </a:lnTo>
                  <a:lnTo>
                    <a:pt x="109" y="1093"/>
                  </a:lnTo>
                  <a:lnTo>
                    <a:pt x="106" y="1093"/>
                  </a:lnTo>
                  <a:lnTo>
                    <a:pt x="106" y="1091"/>
                  </a:lnTo>
                  <a:close/>
                  <a:moveTo>
                    <a:pt x="92" y="1088"/>
                  </a:moveTo>
                  <a:lnTo>
                    <a:pt x="92" y="1091"/>
                  </a:lnTo>
                  <a:lnTo>
                    <a:pt x="92" y="1088"/>
                  </a:lnTo>
                  <a:lnTo>
                    <a:pt x="92" y="1091"/>
                  </a:lnTo>
                  <a:lnTo>
                    <a:pt x="92" y="1088"/>
                  </a:lnTo>
                  <a:close/>
                  <a:moveTo>
                    <a:pt x="99" y="1086"/>
                  </a:moveTo>
                  <a:lnTo>
                    <a:pt x="99" y="1088"/>
                  </a:lnTo>
                  <a:lnTo>
                    <a:pt x="97" y="1088"/>
                  </a:lnTo>
                  <a:lnTo>
                    <a:pt x="99" y="1086"/>
                  </a:lnTo>
                  <a:lnTo>
                    <a:pt x="97" y="1086"/>
                  </a:lnTo>
                  <a:lnTo>
                    <a:pt x="99" y="1086"/>
                  </a:lnTo>
                  <a:lnTo>
                    <a:pt x="97" y="1086"/>
                  </a:lnTo>
                  <a:lnTo>
                    <a:pt x="99" y="1086"/>
                  </a:lnTo>
                  <a:close/>
                  <a:moveTo>
                    <a:pt x="111" y="1086"/>
                  </a:moveTo>
                  <a:lnTo>
                    <a:pt x="114" y="1086"/>
                  </a:lnTo>
                  <a:lnTo>
                    <a:pt x="114" y="1083"/>
                  </a:lnTo>
                  <a:lnTo>
                    <a:pt x="114" y="1086"/>
                  </a:lnTo>
                  <a:lnTo>
                    <a:pt x="111" y="1086"/>
                  </a:lnTo>
                  <a:close/>
                  <a:moveTo>
                    <a:pt x="104" y="1086"/>
                  </a:moveTo>
                  <a:lnTo>
                    <a:pt x="104" y="1083"/>
                  </a:lnTo>
                  <a:lnTo>
                    <a:pt x="104" y="1086"/>
                  </a:lnTo>
                  <a:close/>
                  <a:moveTo>
                    <a:pt x="121" y="1086"/>
                  </a:moveTo>
                  <a:lnTo>
                    <a:pt x="121" y="1083"/>
                  </a:lnTo>
                  <a:lnTo>
                    <a:pt x="123" y="1083"/>
                  </a:lnTo>
                  <a:lnTo>
                    <a:pt x="121" y="1086"/>
                  </a:lnTo>
                  <a:close/>
                  <a:moveTo>
                    <a:pt x="102" y="1083"/>
                  </a:moveTo>
                  <a:lnTo>
                    <a:pt x="102" y="1086"/>
                  </a:lnTo>
                  <a:lnTo>
                    <a:pt x="102" y="1088"/>
                  </a:lnTo>
                  <a:lnTo>
                    <a:pt x="102" y="1091"/>
                  </a:lnTo>
                  <a:lnTo>
                    <a:pt x="104" y="1091"/>
                  </a:lnTo>
                  <a:lnTo>
                    <a:pt x="102" y="1091"/>
                  </a:lnTo>
                  <a:lnTo>
                    <a:pt x="102" y="1093"/>
                  </a:lnTo>
                  <a:lnTo>
                    <a:pt x="99" y="1093"/>
                  </a:lnTo>
                  <a:lnTo>
                    <a:pt x="97" y="1093"/>
                  </a:lnTo>
                  <a:lnTo>
                    <a:pt x="95" y="1093"/>
                  </a:lnTo>
                  <a:lnTo>
                    <a:pt x="92" y="1093"/>
                  </a:lnTo>
                  <a:lnTo>
                    <a:pt x="92" y="1091"/>
                  </a:lnTo>
                  <a:lnTo>
                    <a:pt x="95" y="1091"/>
                  </a:lnTo>
                  <a:lnTo>
                    <a:pt x="95" y="1088"/>
                  </a:lnTo>
                  <a:lnTo>
                    <a:pt x="95" y="1091"/>
                  </a:lnTo>
                  <a:lnTo>
                    <a:pt x="95" y="1088"/>
                  </a:lnTo>
                  <a:lnTo>
                    <a:pt x="92" y="1088"/>
                  </a:lnTo>
                  <a:lnTo>
                    <a:pt x="95" y="1088"/>
                  </a:lnTo>
                  <a:lnTo>
                    <a:pt x="92" y="1088"/>
                  </a:lnTo>
                  <a:lnTo>
                    <a:pt x="95" y="1088"/>
                  </a:lnTo>
                  <a:lnTo>
                    <a:pt x="95" y="1086"/>
                  </a:lnTo>
                  <a:lnTo>
                    <a:pt x="95" y="1088"/>
                  </a:lnTo>
                  <a:lnTo>
                    <a:pt x="95" y="1086"/>
                  </a:lnTo>
                  <a:lnTo>
                    <a:pt x="95" y="1088"/>
                  </a:lnTo>
                  <a:lnTo>
                    <a:pt x="95" y="1086"/>
                  </a:lnTo>
                  <a:lnTo>
                    <a:pt x="97" y="1086"/>
                  </a:lnTo>
                  <a:lnTo>
                    <a:pt x="95" y="1086"/>
                  </a:lnTo>
                  <a:lnTo>
                    <a:pt x="95" y="1088"/>
                  </a:lnTo>
                  <a:lnTo>
                    <a:pt x="97" y="1086"/>
                  </a:lnTo>
                  <a:lnTo>
                    <a:pt x="97" y="1088"/>
                  </a:lnTo>
                  <a:lnTo>
                    <a:pt x="95" y="1088"/>
                  </a:lnTo>
                  <a:lnTo>
                    <a:pt x="97" y="1088"/>
                  </a:lnTo>
                  <a:lnTo>
                    <a:pt x="95" y="1088"/>
                  </a:lnTo>
                  <a:lnTo>
                    <a:pt x="97" y="1088"/>
                  </a:lnTo>
                  <a:lnTo>
                    <a:pt x="99" y="1088"/>
                  </a:lnTo>
                  <a:lnTo>
                    <a:pt x="97" y="1088"/>
                  </a:lnTo>
                  <a:lnTo>
                    <a:pt x="99" y="1088"/>
                  </a:lnTo>
                  <a:lnTo>
                    <a:pt x="97" y="1088"/>
                  </a:lnTo>
                  <a:lnTo>
                    <a:pt x="99" y="1088"/>
                  </a:lnTo>
                  <a:lnTo>
                    <a:pt x="102" y="1086"/>
                  </a:lnTo>
                  <a:lnTo>
                    <a:pt x="99" y="1086"/>
                  </a:lnTo>
                  <a:lnTo>
                    <a:pt x="102" y="1086"/>
                  </a:lnTo>
                  <a:lnTo>
                    <a:pt x="99" y="1086"/>
                  </a:lnTo>
                  <a:lnTo>
                    <a:pt x="102" y="1086"/>
                  </a:lnTo>
                  <a:lnTo>
                    <a:pt x="99" y="1086"/>
                  </a:lnTo>
                  <a:lnTo>
                    <a:pt x="99" y="1083"/>
                  </a:lnTo>
                  <a:lnTo>
                    <a:pt x="99" y="1086"/>
                  </a:lnTo>
                  <a:lnTo>
                    <a:pt x="99" y="1083"/>
                  </a:lnTo>
                  <a:lnTo>
                    <a:pt x="102" y="1083"/>
                  </a:lnTo>
                  <a:close/>
                  <a:moveTo>
                    <a:pt x="106" y="1083"/>
                  </a:moveTo>
                  <a:lnTo>
                    <a:pt x="109" y="1083"/>
                  </a:lnTo>
                  <a:lnTo>
                    <a:pt x="106" y="1086"/>
                  </a:lnTo>
                  <a:lnTo>
                    <a:pt x="109" y="1086"/>
                  </a:lnTo>
                  <a:lnTo>
                    <a:pt x="109" y="1088"/>
                  </a:lnTo>
                  <a:lnTo>
                    <a:pt x="106" y="1088"/>
                  </a:lnTo>
                  <a:lnTo>
                    <a:pt x="104" y="1088"/>
                  </a:lnTo>
                  <a:lnTo>
                    <a:pt x="106" y="1088"/>
                  </a:lnTo>
                  <a:lnTo>
                    <a:pt x="106" y="1091"/>
                  </a:lnTo>
                  <a:lnTo>
                    <a:pt x="104" y="1091"/>
                  </a:lnTo>
                  <a:lnTo>
                    <a:pt x="104" y="1088"/>
                  </a:lnTo>
                  <a:lnTo>
                    <a:pt x="102" y="1088"/>
                  </a:lnTo>
                  <a:lnTo>
                    <a:pt x="104" y="1088"/>
                  </a:lnTo>
                  <a:lnTo>
                    <a:pt x="102" y="1088"/>
                  </a:lnTo>
                  <a:lnTo>
                    <a:pt x="104" y="1088"/>
                  </a:lnTo>
                  <a:lnTo>
                    <a:pt x="102" y="1088"/>
                  </a:lnTo>
                  <a:lnTo>
                    <a:pt x="104" y="1088"/>
                  </a:lnTo>
                  <a:lnTo>
                    <a:pt x="102" y="1088"/>
                  </a:lnTo>
                  <a:lnTo>
                    <a:pt x="104" y="1088"/>
                  </a:lnTo>
                  <a:lnTo>
                    <a:pt x="104" y="1086"/>
                  </a:lnTo>
                  <a:lnTo>
                    <a:pt x="106" y="1086"/>
                  </a:lnTo>
                  <a:lnTo>
                    <a:pt x="104" y="1086"/>
                  </a:lnTo>
                  <a:lnTo>
                    <a:pt x="106" y="1086"/>
                  </a:lnTo>
                  <a:lnTo>
                    <a:pt x="104" y="1086"/>
                  </a:lnTo>
                  <a:lnTo>
                    <a:pt x="104" y="1083"/>
                  </a:lnTo>
                  <a:lnTo>
                    <a:pt x="104" y="1086"/>
                  </a:lnTo>
                  <a:lnTo>
                    <a:pt x="104" y="1083"/>
                  </a:lnTo>
                  <a:lnTo>
                    <a:pt x="102" y="1083"/>
                  </a:lnTo>
                  <a:lnTo>
                    <a:pt x="104" y="1083"/>
                  </a:lnTo>
                  <a:lnTo>
                    <a:pt x="102" y="1083"/>
                  </a:lnTo>
                  <a:lnTo>
                    <a:pt x="104" y="1083"/>
                  </a:lnTo>
                  <a:lnTo>
                    <a:pt x="106" y="1083"/>
                  </a:lnTo>
                  <a:lnTo>
                    <a:pt x="104" y="1083"/>
                  </a:lnTo>
                  <a:lnTo>
                    <a:pt x="106" y="1083"/>
                  </a:lnTo>
                  <a:close/>
                  <a:moveTo>
                    <a:pt x="130" y="1081"/>
                  </a:moveTo>
                  <a:lnTo>
                    <a:pt x="130" y="1083"/>
                  </a:lnTo>
                  <a:lnTo>
                    <a:pt x="130" y="1081"/>
                  </a:lnTo>
                  <a:close/>
                  <a:moveTo>
                    <a:pt x="109" y="1081"/>
                  </a:moveTo>
                  <a:lnTo>
                    <a:pt x="106" y="1081"/>
                  </a:lnTo>
                  <a:lnTo>
                    <a:pt x="109" y="1081"/>
                  </a:lnTo>
                  <a:close/>
                  <a:moveTo>
                    <a:pt x="121" y="1079"/>
                  </a:moveTo>
                  <a:lnTo>
                    <a:pt x="123" y="1079"/>
                  </a:lnTo>
                  <a:lnTo>
                    <a:pt x="123" y="1081"/>
                  </a:lnTo>
                  <a:lnTo>
                    <a:pt x="121" y="1081"/>
                  </a:lnTo>
                  <a:lnTo>
                    <a:pt x="118" y="1081"/>
                  </a:lnTo>
                  <a:lnTo>
                    <a:pt x="118" y="1079"/>
                  </a:lnTo>
                  <a:lnTo>
                    <a:pt x="121" y="1079"/>
                  </a:lnTo>
                  <a:close/>
                  <a:moveTo>
                    <a:pt x="111" y="1083"/>
                  </a:moveTo>
                  <a:lnTo>
                    <a:pt x="111" y="1081"/>
                  </a:lnTo>
                  <a:lnTo>
                    <a:pt x="111" y="1083"/>
                  </a:lnTo>
                  <a:lnTo>
                    <a:pt x="111" y="1081"/>
                  </a:lnTo>
                  <a:lnTo>
                    <a:pt x="109" y="1083"/>
                  </a:lnTo>
                  <a:lnTo>
                    <a:pt x="109" y="1081"/>
                  </a:lnTo>
                  <a:lnTo>
                    <a:pt x="111" y="1081"/>
                  </a:lnTo>
                  <a:lnTo>
                    <a:pt x="109" y="1081"/>
                  </a:lnTo>
                  <a:lnTo>
                    <a:pt x="111" y="1081"/>
                  </a:lnTo>
                  <a:lnTo>
                    <a:pt x="109" y="1081"/>
                  </a:lnTo>
                  <a:lnTo>
                    <a:pt x="111" y="1081"/>
                  </a:lnTo>
                  <a:lnTo>
                    <a:pt x="111" y="1079"/>
                  </a:lnTo>
                  <a:lnTo>
                    <a:pt x="114" y="1079"/>
                  </a:lnTo>
                  <a:lnTo>
                    <a:pt x="111" y="1079"/>
                  </a:lnTo>
                  <a:lnTo>
                    <a:pt x="114" y="1079"/>
                  </a:lnTo>
                  <a:lnTo>
                    <a:pt x="116" y="1079"/>
                  </a:lnTo>
                  <a:lnTo>
                    <a:pt x="118" y="1079"/>
                  </a:lnTo>
                  <a:lnTo>
                    <a:pt x="118" y="1081"/>
                  </a:lnTo>
                  <a:lnTo>
                    <a:pt x="116" y="1081"/>
                  </a:lnTo>
                  <a:lnTo>
                    <a:pt x="116" y="1083"/>
                  </a:lnTo>
                  <a:lnTo>
                    <a:pt x="114" y="1083"/>
                  </a:lnTo>
                  <a:lnTo>
                    <a:pt x="111" y="1083"/>
                  </a:lnTo>
                  <a:close/>
                  <a:moveTo>
                    <a:pt x="118" y="1076"/>
                  </a:moveTo>
                  <a:lnTo>
                    <a:pt x="118" y="1079"/>
                  </a:lnTo>
                  <a:lnTo>
                    <a:pt x="121" y="1076"/>
                  </a:lnTo>
                  <a:lnTo>
                    <a:pt x="121" y="1079"/>
                  </a:lnTo>
                  <a:lnTo>
                    <a:pt x="118" y="1079"/>
                  </a:lnTo>
                  <a:lnTo>
                    <a:pt x="121" y="1079"/>
                  </a:lnTo>
                  <a:lnTo>
                    <a:pt x="118" y="1079"/>
                  </a:lnTo>
                  <a:lnTo>
                    <a:pt x="118" y="1076"/>
                  </a:lnTo>
                  <a:close/>
                  <a:moveTo>
                    <a:pt x="130" y="1076"/>
                  </a:moveTo>
                  <a:lnTo>
                    <a:pt x="128" y="1076"/>
                  </a:lnTo>
                  <a:lnTo>
                    <a:pt x="130" y="1076"/>
                  </a:lnTo>
                  <a:lnTo>
                    <a:pt x="128" y="1076"/>
                  </a:lnTo>
                  <a:lnTo>
                    <a:pt x="130" y="1076"/>
                  </a:lnTo>
                  <a:close/>
                  <a:moveTo>
                    <a:pt x="125" y="1074"/>
                  </a:moveTo>
                  <a:lnTo>
                    <a:pt x="125" y="1076"/>
                  </a:lnTo>
                  <a:lnTo>
                    <a:pt x="123" y="1076"/>
                  </a:lnTo>
                  <a:lnTo>
                    <a:pt x="125" y="1076"/>
                  </a:lnTo>
                  <a:lnTo>
                    <a:pt x="125" y="1074"/>
                  </a:lnTo>
                  <a:close/>
                  <a:moveTo>
                    <a:pt x="128" y="1076"/>
                  </a:moveTo>
                  <a:lnTo>
                    <a:pt x="128" y="1079"/>
                  </a:lnTo>
                  <a:lnTo>
                    <a:pt x="130" y="1079"/>
                  </a:lnTo>
                  <a:lnTo>
                    <a:pt x="130" y="1076"/>
                  </a:lnTo>
                  <a:lnTo>
                    <a:pt x="128" y="1076"/>
                  </a:lnTo>
                  <a:lnTo>
                    <a:pt x="130" y="1076"/>
                  </a:lnTo>
                  <a:lnTo>
                    <a:pt x="130" y="1079"/>
                  </a:lnTo>
                  <a:lnTo>
                    <a:pt x="133" y="1079"/>
                  </a:lnTo>
                  <a:lnTo>
                    <a:pt x="133" y="1081"/>
                  </a:lnTo>
                  <a:lnTo>
                    <a:pt x="130" y="1081"/>
                  </a:lnTo>
                  <a:lnTo>
                    <a:pt x="128" y="1081"/>
                  </a:lnTo>
                  <a:lnTo>
                    <a:pt x="125" y="1081"/>
                  </a:lnTo>
                  <a:lnTo>
                    <a:pt x="123" y="1081"/>
                  </a:lnTo>
                  <a:lnTo>
                    <a:pt x="123" y="1079"/>
                  </a:lnTo>
                  <a:lnTo>
                    <a:pt x="121" y="1079"/>
                  </a:lnTo>
                  <a:lnTo>
                    <a:pt x="123" y="1076"/>
                  </a:lnTo>
                  <a:lnTo>
                    <a:pt x="121" y="1076"/>
                  </a:lnTo>
                  <a:lnTo>
                    <a:pt x="123" y="1076"/>
                  </a:lnTo>
                  <a:lnTo>
                    <a:pt x="125" y="1076"/>
                  </a:lnTo>
                  <a:lnTo>
                    <a:pt x="128" y="1076"/>
                  </a:lnTo>
                  <a:lnTo>
                    <a:pt x="128" y="1074"/>
                  </a:lnTo>
                  <a:lnTo>
                    <a:pt x="128" y="1076"/>
                  </a:lnTo>
                  <a:close/>
                  <a:moveTo>
                    <a:pt x="109" y="1074"/>
                  </a:moveTo>
                  <a:lnTo>
                    <a:pt x="109" y="1076"/>
                  </a:lnTo>
                  <a:lnTo>
                    <a:pt x="109" y="1074"/>
                  </a:lnTo>
                  <a:lnTo>
                    <a:pt x="109" y="1076"/>
                  </a:lnTo>
                  <a:lnTo>
                    <a:pt x="109" y="1074"/>
                  </a:lnTo>
                  <a:close/>
                  <a:moveTo>
                    <a:pt x="114" y="1074"/>
                  </a:moveTo>
                  <a:lnTo>
                    <a:pt x="111" y="1074"/>
                  </a:lnTo>
                  <a:lnTo>
                    <a:pt x="114" y="1074"/>
                  </a:lnTo>
                  <a:close/>
                  <a:moveTo>
                    <a:pt x="116" y="1074"/>
                  </a:moveTo>
                  <a:lnTo>
                    <a:pt x="114" y="1074"/>
                  </a:lnTo>
                  <a:lnTo>
                    <a:pt x="114" y="1076"/>
                  </a:lnTo>
                  <a:lnTo>
                    <a:pt x="114" y="1074"/>
                  </a:lnTo>
                  <a:lnTo>
                    <a:pt x="116" y="1074"/>
                  </a:lnTo>
                  <a:close/>
                  <a:moveTo>
                    <a:pt x="121" y="1074"/>
                  </a:moveTo>
                  <a:lnTo>
                    <a:pt x="118" y="1074"/>
                  </a:lnTo>
                  <a:lnTo>
                    <a:pt x="116" y="1076"/>
                  </a:lnTo>
                  <a:lnTo>
                    <a:pt x="116" y="1074"/>
                  </a:lnTo>
                  <a:lnTo>
                    <a:pt x="118" y="1074"/>
                  </a:lnTo>
                  <a:lnTo>
                    <a:pt x="121" y="1072"/>
                  </a:lnTo>
                  <a:lnTo>
                    <a:pt x="121" y="1074"/>
                  </a:lnTo>
                  <a:close/>
                  <a:moveTo>
                    <a:pt x="118" y="1074"/>
                  </a:moveTo>
                  <a:lnTo>
                    <a:pt x="118" y="1072"/>
                  </a:lnTo>
                  <a:lnTo>
                    <a:pt x="118" y="1074"/>
                  </a:lnTo>
                  <a:close/>
                  <a:moveTo>
                    <a:pt x="106" y="1074"/>
                  </a:moveTo>
                  <a:lnTo>
                    <a:pt x="109" y="1074"/>
                  </a:lnTo>
                  <a:lnTo>
                    <a:pt x="106" y="1074"/>
                  </a:lnTo>
                  <a:lnTo>
                    <a:pt x="106" y="1072"/>
                  </a:lnTo>
                  <a:lnTo>
                    <a:pt x="109" y="1072"/>
                  </a:lnTo>
                  <a:lnTo>
                    <a:pt x="109" y="1074"/>
                  </a:lnTo>
                  <a:lnTo>
                    <a:pt x="106" y="1074"/>
                  </a:lnTo>
                  <a:lnTo>
                    <a:pt x="106" y="1072"/>
                  </a:lnTo>
                  <a:lnTo>
                    <a:pt x="106" y="1074"/>
                  </a:lnTo>
                  <a:close/>
                  <a:moveTo>
                    <a:pt x="106" y="1072"/>
                  </a:moveTo>
                  <a:lnTo>
                    <a:pt x="106" y="1074"/>
                  </a:lnTo>
                  <a:lnTo>
                    <a:pt x="106" y="1072"/>
                  </a:lnTo>
                  <a:lnTo>
                    <a:pt x="106" y="1074"/>
                  </a:lnTo>
                  <a:lnTo>
                    <a:pt x="106" y="1072"/>
                  </a:lnTo>
                  <a:lnTo>
                    <a:pt x="106" y="1074"/>
                  </a:lnTo>
                  <a:lnTo>
                    <a:pt x="104" y="1074"/>
                  </a:lnTo>
                  <a:lnTo>
                    <a:pt x="106" y="1072"/>
                  </a:lnTo>
                  <a:close/>
                  <a:moveTo>
                    <a:pt x="109" y="1072"/>
                  </a:moveTo>
                  <a:lnTo>
                    <a:pt x="111" y="1072"/>
                  </a:lnTo>
                  <a:lnTo>
                    <a:pt x="109" y="1072"/>
                  </a:lnTo>
                  <a:lnTo>
                    <a:pt x="111" y="1072"/>
                  </a:lnTo>
                  <a:lnTo>
                    <a:pt x="109" y="1072"/>
                  </a:lnTo>
                  <a:close/>
                  <a:moveTo>
                    <a:pt x="128" y="1072"/>
                  </a:moveTo>
                  <a:lnTo>
                    <a:pt x="128" y="1074"/>
                  </a:lnTo>
                  <a:lnTo>
                    <a:pt x="125" y="1074"/>
                  </a:lnTo>
                  <a:lnTo>
                    <a:pt x="125" y="1072"/>
                  </a:lnTo>
                  <a:lnTo>
                    <a:pt x="125" y="1074"/>
                  </a:lnTo>
                  <a:lnTo>
                    <a:pt x="125" y="1072"/>
                  </a:lnTo>
                  <a:lnTo>
                    <a:pt x="125" y="1074"/>
                  </a:lnTo>
                  <a:lnTo>
                    <a:pt x="125" y="1072"/>
                  </a:lnTo>
                  <a:lnTo>
                    <a:pt x="125" y="1074"/>
                  </a:lnTo>
                  <a:lnTo>
                    <a:pt x="125" y="1072"/>
                  </a:lnTo>
                  <a:lnTo>
                    <a:pt x="128" y="1072"/>
                  </a:lnTo>
                  <a:close/>
                  <a:moveTo>
                    <a:pt x="121" y="1072"/>
                  </a:moveTo>
                  <a:lnTo>
                    <a:pt x="118" y="1072"/>
                  </a:lnTo>
                  <a:lnTo>
                    <a:pt x="121" y="1072"/>
                  </a:lnTo>
                  <a:close/>
                  <a:moveTo>
                    <a:pt x="104" y="1072"/>
                  </a:moveTo>
                  <a:lnTo>
                    <a:pt x="106" y="1072"/>
                  </a:lnTo>
                  <a:lnTo>
                    <a:pt x="104" y="1072"/>
                  </a:lnTo>
                  <a:close/>
                  <a:moveTo>
                    <a:pt x="133" y="1069"/>
                  </a:moveTo>
                  <a:lnTo>
                    <a:pt x="135" y="1069"/>
                  </a:lnTo>
                  <a:lnTo>
                    <a:pt x="135" y="1072"/>
                  </a:lnTo>
                  <a:lnTo>
                    <a:pt x="133" y="1074"/>
                  </a:lnTo>
                  <a:lnTo>
                    <a:pt x="130" y="1074"/>
                  </a:lnTo>
                  <a:lnTo>
                    <a:pt x="133" y="1074"/>
                  </a:lnTo>
                  <a:lnTo>
                    <a:pt x="130" y="1074"/>
                  </a:lnTo>
                  <a:lnTo>
                    <a:pt x="133" y="1072"/>
                  </a:lnTo>
                  <a:lnTo>
                    <a:pt x="130" y="1072"/>
                  </a:lnTo>
                  <a:lnTo>
                    <a:pt x="133" y="1072"/>
                  </a:lnTo>
                  <a:lnTo>
                    <a:pt x="130" y="1072"/>
                  </a:lnTo>
                  <a:lnTo>
                    <a:pt x="130" y="1074"/>
                  </a:lnTo>
                  <a:lnTo>
                    <a:pt x="130" y="1072"/>
                  </a:lnTo>
                  <a:lnTo>
                    <a:pt x="128" y="1072"/>
                  </a:lnTo>
                  <a:lnTo>
                    <a:pt x="130" y="1072"/>
                  </a:lnTo>
                  <a:lnTo>
                    <a:pt x="128" y="1072"/>
                  </a:lnTo>
                  <a:lnTo>
                    <a:pt x="130" y="1072"/>
                  </a:lnTo>
                  <a:lnTo>
                    <a:pt x="130" y="1069"/>
                  </a:lnTo>
                  <a:lnTo>
                    <a:pt x="133" y="1069"/>
                  </a:lnTo>
                  <a:close/>
                  <a:moveTo>
                    <a:pt x="128" y="1067"/>
                  </a:moveTo>
                  <a:lnTo>
                    <a:pt x="128" y="1069"/>
                  </a:lnTo>
                  <a:lnTo>
                    <a:pt x="128" y="1067"/>
                  </a:lnTo>
                  <a:close/>
                  <a:moveTo>
                    <a:pt x="154" y="1067"/>
                  </a:moveTo>
                  <a:lnTo>
                    <a:pt x="152" y="1067"/>
                  </a:lnTo>
                  <a:lnTo>
                    <a:pt x="154" y="1064"/>
                  </a:lnTo>
                  <a:lnTo>
                    <a:pt x="154" y="1067"/>
                  </a:lnTo>
                  <a:close/>
                  <a:moveTo>
                    <a:pt x="144" y="1067"/>
                  </a:moveTo>
                  <a:lnTo>
                    <a:pt x="144" y="1064"/>
                  </a:lnTo>
                  <a:lnTo>
                    <a:pt x="144" y="1067"/>
                  </a:lnTo>
                  <a:close/>
                  <a:moveTo>
                    <a:pt x="144" y="1064"/>
                  </a:moveTo>
                  <a:lnTo>
                    <a:pt x="144" y="1067"/>
                  </a:lnTo>
                  <a:lnTo>
                    <a:pt x="142" y="1067"/>
                  </a:lnTo>
                  <a:lnTo>
                    <a:pt x="144" y="1067"/>
                  </a:lnTo>
                  <a:lnTo>
                    <a:pt x="142" y="1067"/>
                  </a:lnTo>
                  <a:lnTo>
                    <a:pt x="144" y="1067"/>
                  </a:lnTo>
                  <a:lnTo>
                    <a:pt x="142" y="1067"/>
                  </a:lnTo>
                  <a:lnTo>
                    <a:pt x="144" y="1067"/>
                  </a:lnTo>
                  <a:lnTo>
                    <a:pt x="142" y="1067"/>
                  </a:lnTo>
                  <a:lnTo>
                    <a:pt x="144" y="1064"/>
                  </a:lnTo>
                  <a:close/>
                  <a:moveTo>
                    <a:pt x="109" y="1064"/>
                  </a:moveTo>
                  <a:lnTo>
                    <a:pt x="109" y="1067"/>
                  </a:lnTo>
                  <a:lnTo>
                    <a:pt x="109" y="1064"/>
                  </a:lnTo>
                  <a:close/>
                  <a:moveTo>
                    <a:pt x="152" y="1067"/>
                  </a:moveTo>
                  <a:lnTo>
                    <a:pt x="149" y="1067"/>
                  </a:lnTo>
                  <a:lnTo>
                    <a:pt x="152" y="1067"/>
                  </a:lnTo>
                  <a:lnTo>
                    <a:pt x="152" y="1064"/>
                  </a:lnTo>
                  <a:lnTo>
                    <a:pt x="152" y="1067"/>
                  </a:lnTo>
                  <a:close/>
                  <a:moveTo>
                    <a:pt x="147" y="1064"/>
                  </a:moveTo>
                  <a:lnTo>
                    <a:pt x="147" y="1067"/>
                  </a:lnTo>
                  <a:lnTo>
                    <a:pt x="147" y="1064"/>
                  </a:lnTo>
                  <a:close/>
                  <a:moveTo>
                    <a:pt x="149" y="1064"/>
                  </a:moveTo>
                  <a:lnTo>
                    <a:pt x="152" y="1064"/>
                  </a:lnTo>
                  <a:lnTo>
                    <a:pt x="149" y="1064"/>
                  </a:lnTo>
                  <a:lnTo>
                    <a:pt x="152" y="1064"/>
                  </a:lnTo>
                  <a:lnTo>
                    <a:pt x="149" y="1064"/>
                  </a:lnTo>
                  <a:close/>
                  <a:moveTo>
                    <a:pt x="123" y="1064"/>
                  </a:moveTo>
                  <a:lnTo>
                    <a:pt x="121" y="1064"/>
                  </a:lnTo>
                  <a:lnTo>
                    <a:pt x="123" y="1064"/>
                  </a:lnTo>
                  <a:lnTo>
                    <a:pt x="121" y="1064"/>
                  </a:lnTo>
                  <a:lnTo>
                    <a:pt x="123" y="1064"/>
                  </a:lnTo>
                  <a:close/>
                  <a:moveTo>
                    <a:pt x="114" y="1064"/>
                  </a:moveTo>
                  <a:lnTo>
                    <a:pt x="111" y="1064"/>
                  </a:lnTo>
                  <a:lnTo>
                    <a:pt x="114" y="1064"/>
                  </a:lnTo>
                  <a:lnTo>
                    <a:pt x="111" y="1064"/>
                  </a:lnTo>
                  <a:lnTo>
                    <a:pt x="114" y="1064"/>
                  </a:lnTo>
                  <a:close/>
                  <a:moveTo>
                    <a:pt x="152" y="1062"/>
                  </a:moveTo>
                  <a:lnTo>
                    <a:pt x="152" y="1064"/>
                  </a:lnTo>
                  <a:lnTo>
                    <a:pt x="149" y="1064"/>
                  </a:lnTo>
                  <a:lnTo>
                    <a:pt x="149" y="1062"/>
                  </a:lnTo>
                  <a:lnTo>
                    <a:pt x="152" y="1062"/>
                  </a:lnTo>
                  <a:close/>
                  <a:moveTo>
                    <a:pt x="123" y="1062"/>
                  </a:moveTo>
                  <a:lnTo>
                    <a:pt x="121" y="1062"/>
                  </a:lnTo>
                  <a:lnTo>
                    <a:pt x="123" y="1062"/>
                  </a:lnTo>
                  <a:lnTo>
                    <a:pt x="121" y="1062"/>
                  </a:lnTo>
                  <a:lnTo>
                    <a:pt x="123" y="1062"/>
                  </a:lnTo>
                  <a:close/>
                  <a:moveTo>
                    <a:pt x="123" y="1062"/>
                  </a:moveTo>
                  <a:lnTo>
                    <a:pt x="121" y="1064"/>
                  </a:lnTo>
                  <a:lnTo>
                    <a:pt x="121" y="1062"/>
                  </a:lnTo>
                  <a:lnTo>
                    <a:pt x="121" y="1064"/>
                  </a:lnTo>
                  <a:lnTo>
                    <a:pt x="121" y="1062"/>
                  </a:lnTo>
                  <a:lnTo>
                    <a:pt x="123" y="1062"/>
                  </a:lnTo>
                  <a:close/>
                  <a:moveTo>
                    <a:pt x="125" y="1062"/>
                  </a:moveTo>
                  <a:lnTo>
                    <a:pt x="125" y="1060"/>
                  </a:lnTo>
                  <a:lnTo>
                    <a:pt x="125" y="1062"/>
                  </a:lnTo>
                  <a:lnTo>
                    <a:pt x="123" y="1062"/>
                  </a:lnTo>
                  <a:lnTo>
                    <a:pt x="125" y="1062"/>
                  </a:lnTo>
                  <a:lnTo>
                    <a:pt x="123" y="1062"/>
                  </a:lnTo>
                  <a:lnTo>
                    <a:pt x="125" y="1062"/>
                  </a:lnTo>
                  <a:lnTo>
                    <a:pt x="125" y="1060"/>
                  </a:lnTo>
                  <a:lnTo>
                    <a:pt x="125" y="1062"/>
                  </a:lnTo>
                  <a:close/>
                  <a:moveTo>
                    <a:pt x="161" y="1060"/>
                  </a:moveTo>
                  <a:lnTo>
                    <a:pt x="159" y="1062"/>
                  </a:lnTo>
                  <a:lnTo>
                    <a:pt x="159" y="1060"/>
                  </a:lnTo>
                  <a:lnTo>
                    <a:pt x="161" y="1060"/>
                  </a:lnTo>
                  <a:lnTo>
                    <a:pt x="159" y="1060"/>
                  </a:lnTo>
                  <a:lnTo>
                    <a:pt x="161" y="1060"/>
                  </a:lnTo>
                  <a:close/>
                  <a:moveTo>
                    <a:pt x="154" y="1060"/>
                  </a:moveTo>
                  <a:lnTo>
                    <a:pt x="152" y="1060"/>
                  </a:lnTo>
                  <a:lnTo>
                    <a:pt x="154" y="1060"/>
                  </a:lnTo>
                  <a:close/>
                  <a:moveTo>
                    <a:pt x="125" y="1060"/>
                  </a:moveTo>
                  <a:lnTo>
                    <a:pt x="123" y="1060"/>
                  </a:lnTo>
                  <a:lnTo>
                    <a:pt x="125" y="1060"/>
                  </a:lnTo>
                  <a:close/>
                  <a:moveTo>
                    <a:pt x="152" y="1060"/>
                  </a:moveTo>
                  <a:lnTo>
                    <a:pt x="154" y="1060"/>
                  </a:lnTo>
                  <a:lnTo>
                    <a:pt x="152" y="1060"/>
                  </a:lnTo>
                  <a:close/>
                  <a:moveTo>
                    <a:pt x="199" y="1060"/>
                  </a:moveTo>
                  <a:lnTo>
                    <a:pt x="199" y="1057"/>
                  </a:lnTo>
                  <a:lnTo>
                    <a:pt x="199" y="1060"/>
                  </a:lnTo>
                  <a:close/>
                  <a:moveTo>
                    <a:pt x="128" y="1060"/>
                  </a:moveTo>
                  <a:lnTo>
                    <a:pt x="130" y="1060"/>
                  </a:lnTo>
                  <a:lnTo>
                    <a:pt x="128" y="1060"/>
                  </a:lnTo>
                  <a:lnTo>
                    <a:pt x="128" y="1057"/>
                  </a:lnTo>
                  <a:lnTo>
                    <a:pt x="128" y="1060"/>
                  </a:lnTo>
                  <a:close/>
                  <a:moveTo>
                    <a:pt x="130" y="1057"/>
                  </a:moveTo>
                  <a:lnTo>
                    <a:pt x="133" y="1057"/>
                  </a:lnTo>
                  <a:lnTo>
                    <a:pt x="133" y="1060"/>
                  </a:lnTo>
                  <a:lnTo>
                    <a:pt x="130" y="1060"/>
                  </a:lnTo>
                  <a:lnTo>
                    <a:pt x="130" y="1057"/>
                  </a:lnTo>
                  <a:close/>
                  <a:moveTo>
                    <a:pt x="130" y="1060"/>
                  </a:moveTo>
                  <a:lnTo>
                    <a:pt x="130" y="1057"/>
                  </a:lnTo>
                  <a:lnTo>
                    <a:pt x="128" y="1057"/>
                  </a:lnTo>
                  <a:lnTo>
                    <a:pt x="130" y="1057"/>
                  </a:lnTo>
                  <a:lnTo>
                    <a:pt x="130" y="1060"/>
                  </a:lnTo>
                  <a:close/>
                  <a:moveTo>
                    <a:pt x="128" y="1060"/>
                  </a:moveTo>
                  <a:lnTo>
                    <a:pt x="128" y="1057"/>
                  </a:lnTo>
                  <a:lnTo>
                    <a:pt x="128" y="1060"/>
                  </a:lnTo>
                  <a:close/>
                  <a:moveTo>
                    <a:pt x="159" y="1057"/>
                  </a:moveTo>
                  <a:lnTo>
                    <a:pt x="159" y="1060"/>
                  </a:lnTo>
                  <a:lnTo>
                    <a:pt x="156" y="1060"/>
                  </a:lnTo>
                  <a:lnTo>
                    <a:pt x="156" y="1057"/>
                  </a:lnTo>
                  <a:lnTo>
                    <a:pt x="156" y="1060"/>
                  </a:lnTo>
                  <a:lnTo>
                    <a:pt x="156" y="1057"/>
                  </a:lnTo>
                  <a:lnTo>
                    <a:pt x="159" y="1057"/>
                  </a:lnTo>
                  <a:close/>
                  <a:moveTo>
                    <a:pt x="152" y="1060"/>
                  </a:moveTo>
                  <a:lnTo>
                    <a:pt x="152" y="1057"/>
                  </a:lnTo>
                  <a:lnTo>
                    <a:pt x="152" y="1060"/>
                  </a:lnTo>
                  <a:close/>
                  <a:moveTo>
                    <a:pt x="125" y="1057"/>
                  </a:moveTo>
                  <a:lnTo>
                    <a:pt x="128" y="1057"/>
                  </a:lnTo>
                  <a:lnTo>
                    <a:pt x="128" y="1060"/>
                  </a:lnTo>
                  <a:lnTo>
                    <a:pt x="125" y="1060"/>
                  </a:lnTo>
                  <a:lnTo>
                    <a:pt x="128" y="1060"/>
                  </a:lnTo>
                  <a:lnTo>
                    <a:pt x="128" y="1057"/>
                  </a:lnTo>
                  <a:lnTo>
                    <a:pt x="128" y="1060"/>
                  </a:lnTo>
                  <a:lnTo>
                    <a:pt x="125" y="1060"/>
                  </a:lnTo>
                  <a:lnTo>
                    <a:pt x="125" y="1057"/>
                  </a:lnTo>
                  <a:close/>
                  <a:moveTo>
                    <a:pt x="130" y="1057"/>
                  </a:moveTo>
                  <a:lnTo>
                    <a:pt x="128" y="1057"/>
                  </a:lnTo>
                  <a:lnTo>
                    <a:pt x="130" y="1057"/>
                  </a:lnTo>
                  <a:close/>
                  <a:moveTo>
                    <a:pt x="128" y="1057"/>
                  </a:moveTo>
                  <a:lnTo>
                    <a:pt x="125" y="1057"/>
                  </a:lnTo>
                  <a:lnTo>
                    <a:pt x="128" y="1057"/>
                  </a:lnTo>
                  <a:close/>
                  <a:moveTo>
                    <a:pt x="159" y="1057"/>
                  </a:moveTo>
                  <a:lnTo>
                    <a:pt x="159" y="1060"/>
                  </a:lnTo>
                  <a:lnTo>
                    <a:pt x="159" y="1057"/>
                  </a:lnTo>
                  <a:close/>
                  <a:moveTo>
                    <a:pt x="133" y="1057"/>
                  </a:moveTo>
                  <a:lnTo>
                    <a:pt x="130" y="1057"/>
                  </a:lnTo>
                  <a:lnTo>
                    <a:pt x="133" y="1057"/>
                  </a:lnTo>
                  <a:lnTo>
                    <a:pt x="130" y="1057"/>
                  </a:lnTo>
                  <a:lnTo>
                    <a:pt x="133" y="1057"/>
                  </a:lnTo>
                  <a:close/>
                  <a:moveTo>
                    <a:pt x="133" y="1057"/>
                  </a:moveTo>
                  <a:lnTo>
                    <a:pt x="130" y="1057"/>
                  </a:lnTo>
                  <a:lnTo>
                    <a:pt x="133" y="1057"/>
                  </a:lnTo>
                  <a:close/>
                  <a:moveTo>
                    <a:pt x="135" y="1055"/>
                  </a:moveTo>
                  <a:lnTo>
                    <a:pt x="135" y="1057"/>
                  </a:lnTo>
                  <a:lnTo>
                    <a:pt x="133" y="1057"/>
                  </a:lnTo>
                  <a:lnTo>
                    <a:pt x="133" y="1055"/>
                  </a:lnTo>
                  <a:lnTo>
                    <a:pt x="135" y="1055"/>
                  </a:lnTo>
                  <a:close/>
                  <a:moveTo>
                    <a:pt x="163" y="1055"/>
                  </a:moveTo>
                  <a:lnTo>
                    <a:pt x="161" y="1055"/>
                  </a:lnTo>
                  <a:lnTo>
                    <a:pt x="163" y="1055"/>
                  </a:lnTo>
                  <a:close/>
                  <a:moveTo>
                    <a:pt x="133" y="1055"/>
                  </a:moveTo>
                  <a:lnTo>
                    <a:pt x="135" y="1055"/>
                  </a:lnTo>
                  <a:lnTo>
                    <a:pt x="133" y="1055"/>
                  </a:lnTo>
                  <a:close/>
                  <a:moveTo>
                    <a:pt x="149" y="1055"/>
                  </a:moveTo>
                  <a:lnTo>
                    <a:pt x="152" y="1055"/>
                  </a:lnTo>
                  <a:lnTo>
                    <a:pt x="149" y="1055"/>
                  </a:lnTo>
                  <a:lnTo>
                    <a:pt x="149" y="1057"/>
                  </a:lnTo>
                  <a:lnTo>
                    <a:pt x="149" y="1055"/>
                  </a:lnTo>
                  <a:lnTo>
                    <a:pt x="149" y="1057"/>
                  </a:lnTo>
                  <a:lnTo>
                    <a:pt x="147" y="1057"/>
                  </a:lnTo>
                  <a:lnTo>
                    <a:pt x="147" y="1055"/>
                  </a:lnTo>
                  <a:lnTo>
                    <a:pt x="149" y="1055"/>
                  </a:lnTo>
                  <a:close/>
                  <a:moveTo>
                    <a:pt x="128" y="1055"/>
                  </a:moveTo>
                  <a:lnTo>
                    <a:pt x="125" y="1055"/>
                  </a:lnTo>
                  <a:lnTo>
                    <a:pt x="128" y="1055"/>
                  </a:lnTo>
                  <a:close/>
                  <a:moveTo>
                    <a:pt x="125" y="1053"/>
                  </a:moveTo>
                  <a:lnTo>
                    <a:pt x="125" y="1055"/>
                  </a:lnTo>
                  <a:lnTo>
                    <a:pt x="125" y="1053"/>
                  </a:lnTo>
                  <a:lnTo>
                    <a:pt x="125" y="1055"/>
                  </a:lnTo>
                  <a:lnTo>
                    <a:pt x="125" y="1053"/>
                  </a:lnTo>
                  <a:close/>
                  <a:moveTo>
                    <a:pt x="152" y="1053"/>
                  </a:moveTo>
                  <a:lnTo>
                    <a:pt x="152" y="1055"/>
                  </a:lnTo>
                  <a:lnTo>
                    <a:pt x="149" y="1055"/>
                  </a:lnTo>
                  <a:lnTo>
                    <a:pt x="149" y="1053"/>
                  </a:lnTo>
                  <a:lnTo>
                    <a:pt x="152" y="1053"/>
                  </a:lnTo>
                  <a:close/>
                  <a:moveTo>
                    <a:pt x="149" y="1055"/>
                  </a:moveTo>
                  <a:lnTo>
                    <a:pt x="147" y="1055"/>
                  </a:lnTo>
                  <a:lnTo>
                    <a:pt x="147" y="1053"/>
                  </a:lnTo>
                  <a:lnTo>
                    <a:pt x="149" y="1053"/>
                  </a:lnTo>
                  <a:lnTo>
                    <a:pt x="149" y="1055"/>
                  </a:lnTo>
                  <a:close/>
                  <a:moveTo>
                    <a:pt x="161" y="1053"/>
                  </a:moveTo>
                  <a:lnTo>
                    <a:pt x="161" y="1055"/>
                  </a:lnTo>
                  <a:lnTo>
                    <a:pt x="159" y="1055"/>
                  </a:lnTo>
                  <a:lnTo>
                    <a:pt x="161" y="1055"/>
                  </a:lnTo>
                  <a:lnTo>
                    <a:pt x="159" y="1055"/>
                  </a:lnTo>
                  <a:lnTo>
                    <a:pt x="159" y="1053"/>
                  </a:lnTo>
                  <a:lnTo>
                    <a:pt x="161" y="1053"/>
                  </a:lnTo>
                  <a:close/>
                  <a:moveTo>
                    <a:pt x="180" y="1050"/>
                  </a:moveTo>
                  <a:lnTo>
                    <a:pt x="178" y="1050"/>
                  </a:lnTo>
                  <a:lnTo>
                    <a:pt x="180" y="1050"/>
                  </a:lnTo>
                  <a:close/>
                  <a:moveTo>
                    <a:pt x="142" y="1050"/>
                  </a:moveTo>
                  <a:lnTo>
                    <a:pt x="144" y="1050"/>
                  </a:lnTo>
                  <a:lnTo>
                    <a:pt x="142" y="1050"/>
                  </a:lnTo>
                  <a:close/>
                  <a:moveTo>
                    <a:pt x="168" y="1050"/>
                  </a:moveTo>
                  <a:lnTo>
                    <a:pt x="168" y="1048"/>
                  </a:lnTo>
                  <a:lnTo>
                    <a:pt x="168" y="1050"/>
                  </a:lnTo>
                  <a:close/>
                  <a:moveTo>
                    <a:pt x="125" y="1048"/>
                  </a:moveTo>
                  <a:lnTo>
                    <a:pt x="125" y="1050"/>
                  </a:lnTo>
                  <a:lnTo>
                    <a:pt x="125" y="1048"/>
                  </a:lnTo>
                  <a:close/>
                  <a:moveTo>
                    <a:pt x="133" y="1050"/>
                  </a:moveTo>
                  <a:lnTo>
                    <a:pt x="133" y="1048"/>
                  </a:lnTo>
                  <a:lnTo>
                    <a:pt x="133" y="1050"/>
                  </a:lnTo>
                  <a:close/>
                  <a:moveTo>
                    <a:pt x="133" y="1048"/>
                  </a:moveTo>
                  <a:lnTo>
                    <a:pt x="133" y="1050"/>
                  </a:lnTo>
                  <a:lnTo>
                    <a:pt x="133" y="1048"/>
                  </a:lnTo>
                  <a:close/>
                  <a:moveTo>
                    <a:pt x="135" y="1048"/>
                  </a:moveTo>
                  <a:lnTo>
                    <a:pt x="135" y="1050"/>
                  </a:lnTo>
                  <a:lnTo>
                    <a:pt x="133" y="1050"/>
                  </a:lnTo>
                  <a:lnTo>
                    <a:pt x="133" y="1048"/>
                  </a:lnTo>
                  <a:lnTo>
                    <a:pt x="135" y="1048"/>
                  </a:lnTo>
                  <a:close/>
                  <a:moveTo>
                    <a:pt x="142" y="1048"/>
                  </a:moveTo>
                  <a:lnTo>
                    <a:pt x="140" y="1048"/>
                  </a:lnTo>
                  <a:lnTo>
                    <a:pt x="142" y="1048"/>
                  </a:lnTo>
                  <a:lnTo>
                    <a:pt x="140" y="1048"/>
                  </a:lnTo>
                  <a:lnTo>
                    <a:pt x="142" y="1048"/>
                  </a:lnTo>
                  <a:lnTo>
                    <a:pt x="140" y="1048"/>
                  </a:lnTo>
                  <a:lnTo>
                    <a:pt x="142" y="1048"/>
                  </a:lnTo>
                  <a:close/>
                  <a:moveTo>
                    <a:pt x="135" y="1048"/>
                  </a:moveTo>
                  <a:lnTo>
                    <a:pt x="133" y="1048"/>
                  </a:lnTo>
                  <a:lnTo>
                    <a:pt x="135" y="1048"/>
                  </a:lnTo>
                  <a:close/>
                  <a:moveTo>
                    <a:pt x="128" y="1045"/>
                  </a:moveTo>
                  <a:lnTo>
                    <a:pt x="128" y="1048"/>
                  </a:lnTo>
                  <a:lnTo>
                    <a:pt x="125" y="1048"/>
                  </a:lnTo>
                  <a:lnTo>
                    <a:pt x="125" y="1045"/>
                  </a:lnTo>
                  <a:lnTo>
                    <a:pt x="128" y="1045"/>
                  </a:lnTo>
                  <a:lnTo>
                    <a:pt x="125" y="1045"/>
                  </a:lnTo>
                  <a:lnTo>
                    <a:pt x="128" y="1045"/>
                  </a:lnTo>
                  <a:close/>
                  <a:moveTo>
                    <a:pt x="130" y="1045"/>
                  </a:moveTo>
                  <a:lnTo>
                    <a:pt x="130" y="1048"/>
                  </a:lnTo>
                  <a:lnTo>
                    <a:pt x="130" y="1045"/>
                  </a:lnTo>
                  <a:lnTo>
                    <a:pt x="130" y="1048"/>
                  </a:lnTo>
                  <a:lnTo>
                    <a:pt x="130" y="1045"/>
                  </a:lnTo>
                  <a:close/>
                  <a:moveTo>
                    <a:pt x="140" y="1045"/>
                  </a:moveTo>
                  <a:lnTo>
                    <a:pt x="140" y="1048"/>
                  </a:lnTo>
                  <a:lnTo>
                    <a:pt x="140" y="1045"/>
                  </a:lnTo>
                  <a:lnTo>
                    <a:pt x="140" y="1048"/>
                  </a:lnTo>
                  <a:lnTo>
                    <a:pt x="140" y="1045"/>
                  </a:lnTo>
                  <a:lnTo>
                    <a:pt x="140" y="1048"/>
                  </a:lnTo>
                  <a:lnTo>
                    <a:pt x="140" y="1045"/>
                  </a:lnTo>
                  <a:lnTo>
                    <a:pt x="140" y="1048"/>
                  </a:lnTo>
                  <a:lnTo>
                    <a:pt x="140" y="1050"/>
                  </a:lnTo>
                  <a:lnTo>
                    <a:pt x="140" y="1053"/>
                  </a:lnTo>
                  <a:lnTo>
                    <a:pt x="137" y="1053"/>
                  </a:lnTo>
                  <a:lnTo>
                    <a:pt x="135" y="1053"/>
                  </a:lnTo>
                  <a:lnTo>
                    <a:pt x="133" y="1053"/>
                  </a:lnTo>
                  <a:lnTo>
                    <a:pt x="133" y="1055"/>
                  </a:lnTo>
                  <a:lnTo>
                    <a:pt x="130" y="1055"/>
                  </a:lnTo>
                  <a:lnTo>
                    <a:pt x="133" y="1055"/>
                  </a:lnTo>
                  <a:lnTo>
                    <a:pt x="133" y="1053"/>
                  </a:lnTo>
                  <a:lnTo>
                    <a:pt x="130" y="1055"/>
                  </a:lnTo>
                  <a:lnTo>
                    <a:pt x="130" y="1053"/>
                  </a:lnTo>
                  <a:lnTo>
                    <a:pt x="130" y="1055"/>
                  </a:lnTo>
                  <a:lnTo>
                    <a:pt x="128" y="1055"/>
                  </a:lnTo>
                  <a:lnTo>
                    <a:pt x="128" y="1053"/>
                  </a:lnTo>
                  <a:lnTo>
                    <a:pt x="130" y="1053"/>
                  </a:lnTo>
                  <a:lnTo>
                    <a:pt x="133" y="1053"/>
                  </a:lnTo>
                  <a:lnTo>
                    <a:pt x="130" y="1053"/>
                  </a:lnTo>
                  <a:lnTo>
                    <a:pt x="128" y="1053"/>
                  </a:lnTo>
                  <a:lnTo>
                    <a:pt x="125" y="1053"/>
                  </a:lnTo>
                  <a:lnTo>
                    <a:pt x="128" y="1053"/>
                  </a:lnTo>
                  <a:lnTo>
                    <a:pt x="125" y="1055"/>
                  </a:lnTo>
                  <a:lnTo>
                    <a:pt x="125" y="1053"/>
                  </a:lnTo>
                  <a:lnTo>
                    <a:pt x="125" y="1055"/>
                  </a:lnTo>
                  <a:lnTo>
                    <a:pt x="123" y="1055"/>
                  </a:lnTo>
                  <a:lnTo>
                    <a:pt x="123" y="1053"/>
                  </a:lnTo>
                  <a:lnTo>
                    <a:pt x="123" y="1055"/>
                  </a:lnTo>
                  <a:lnTo>
                    <a:pt x="123" y="1053"/>
                  </a:lnTo>
                  <a:lnTo>
                    <a:pt x="121" y="1055"/>
                  </a:lnTo>
                  <a:lnTo>
                    <a:pt x="121" y="1053"/>
                  </a:lnTo>
                  <a:lnTo>
                    <a:pt x="123" y="1053"/>
                  </a:lnTo>
                  <a:lnTo>
                    <a:pt x="121" y="1053"/>
                  </a:lnTo>
                  <a:lnTo>
                    <a:pt x="123" y="1053"/>
                  </a:lnTo>
                  <a:lnTo>
                    <a:pt x="125" y="1053"/>
                  </a:lnTo>
                  <a:lnTo>
                    <a:pt x="128" y="1053"/>
                  </a:lnTo>
                  <a:lnTo>
                    <a:pt x="130" y="1053"/>
                  </a:lnTo>
                  <a:lnTo>
                    <a:pt x="130" y="1050"/>
                  </a:lnTo>
                  <a:lnTo>
                    <a:pt x="130" y="1053"/>
                  </a:lnTo>
                  <a:lnTo>
                    <a:pt x="130" y="1050"/>
                  </a:lnTo>
                  <a:lnTo>
                    <a:pt x="130" y="1053"/>
                  </a:lnTo>
                  <a:lnTo>
                    <a:pt x="133" y="1053"/>
                  </a:lnTo>
                  <a:lnTo>
                    <a:pt x="133" y="1050"/>
                  </a:lnTo>
                  <a:lnTo>
                    <a:pt x="130" y="1050"/>
                  </a:lnTo>
                  <a:lnTo>
                    <a:pt x="133" y="1050"/>
                  </a:lnTo>
                  <a:lnTo>
                    <a:pt x="135" y="1050"/>
                  </a:lnTo>
                  <a:lnTo>
                    <a:pt x="133" y="1050"/>
                  </a:lnTo>
                  <a:lnTo>
                    <a:pt x="135" y="1050"/>
                  </a:lnTo>
                  <a:lnTo>
                    <a:pt x="135" y="1048"/>
                  </a:lnTo>
                  <a:lnTo>
                    <a:pt x="137" y="1048"/>
                  </a:lnTo>
                  <a:lnTo>
                    <a:pt x="140" y="1048"/>
                  </a:lnTo>
                  <a:lnTo>
                    <a:pt x="137" y="1048"/>
                  </a:lnTo>
                  <a:lnTo>
                    <a:pt x="135" y="1048"/>
                  </a:lnTo>
                  <a:lnTo>
                    <a:pt x="137" y="1048"/>
                  </a:lnTo>
                  <a:lnTo>
                    <a:pt x="135" y="1048"/>
                  </a:lnTo>
                  <a:lnTo>
                    <a:pt x="137" y="1048"/>
                  </a:lnTo>
                  <a:lnTo>
                    <a:pt x="135" y="1048"/>
                  </a:lnTo>
                  <a:lnTo>
                    <a:pt x="133" y="1048"/>
                  </a:lnTo>
                  <a:lnTo>
                    <a:pt x="135" y="1048"/>
                  </a:lnTo>
                  <a:lnTo>
                    <a:pt x="133" y="1048"/>
                  </a:lnTo>
                  <a:lnTo>
                    <a:pt x="135" y="1048"/>
                  </a:lnTo>
                  <a:lnTo>
                    <a:pt x="135" y="1045"/>
                  </a:lnTo>
                  <a:lnTo>
                    <a:pt x="135" y="1048"/>
                  </a:lnTo>
                  <a:lnTo>
                    <a:pt x="135" y="1045"/>
                  </a:lnTo>
                  <a:lnTo>
                    <a:pt x="135" y="1048"/>
                  </a:lnTo>
                  <a:lnTo>
                    <a:pt x="135" y="1045"/>
                  </a:lnTo>
                  <a:lnTo>
                    <a:pt x="135" y="1048"/>
                  </a:lnTo>
                  <a:lnTo>
                    <a:pt x="135" y="1045"/>
                  </a:lnTo>
                  <a:lnTo>
                    <a:pt x="137" y="1045"/>
                  </a:lnTo>
                  <a:lnTo>
                    <a:pt x="137" y="1048"/>
                  </a:lnTo>
                  <a:lnTo>
                    <a:pt x="135" y="1048"/>
                  </a:lnTo>
                  <a:lnTo>
                    <a:pt x="137" y="1048"/>
                  </a:lnTo>
                  <a:lnTo>
                    <a:pt x="135" y="1048"/>
                  </a:lnTo>
                  <a:lnTo>
                    <a:pt x="137" y="1048"/>
                  </a:lnTo>
                  <a:lnTo>
                    <a:pt x="137" y="1045"/>
                  </a:lnTo>
                  <a:lnTo>
                    <a:pt x="137" y="1048"/>
                  </a:lnTo>
                  <a:lnTo>
                    <a:pt x="137" y="1045"/>
                  </a:lnTo>
                  <a:lnTo>
                    <a:pt x="140" y="1045"/>
                  </a:lnTo>
                  <a:lnTo>
                    <a:pt x="137" y="1045"/>
                  </a:lnTo>
                  <a:lnTo>
                    <a:pt x="140" y="1045"/>
                  </a:lnTo>
                  <a:close/>
                  <a:moveTo>
                    <a:pt x="218" y="1045"/>
                  </a:moveTo>
                  <a:lnTo>
                    <a:pt x="220" y="1045"/>
                  </a:lnTo>
                  <a:lnTo>
                    <a:pt x="218" y="1048"/>
                  </a:lnTo>
                  <a:lnTo>
                    <a:pt x="216" y="1048"/>
                  </a:lnTo>
                  <a:lnTo>
                    <a:pt x="216" y="1045"/>
                  </a:lnTo>
                  <a:lnTo>
                    <a:pt x="216" y="1048"/>
                  </a:lnTo>
                  <a:lnTo>
                    <a:pt x="213" y="1048"/>
                  </a:lnTo>
                  <a:lnTo>
                    <a:pt x="213" y="1050"/>
                  </a:lnTo>
                  <a:lnTo>
                    <a:pt x="211" y="1050"/>
                  </a:lnTo>
                  <a:lnTo>
                    <a:pt x="211" y="1048"/>
                  </a:lnTo>
                  <a:lnTo>
                    <a:pt x="213" y="1048"/>
                  </a:lnTo>
                  <a:lnTo>
                    <a:pt x="213" y="1045"/>
                  </a:lnTo>
                  <a:lnTo>
                    <a:pt x="213" y="1048"/>
                  </a:lnTo>
                  <a:lnTo>
                    <a:pt x="213" y="1045"/>
                  </a:lnTo>
                  <a:lnTo>
                    <a:pt x="213" y="1048"/>
                  </a:lnTo>
                  <a:lnTo>
                    <a:pt x="216" y="1045"/>
                  </a:lnTo>
                  <a:lnTo>
                    <a:pt x="218" y="1045"/>
                  </a:lnTo>
                  <a:close/>
                  <a:moveTo>
                    <a:pt x="135" y="1045"/>
                  </a:moveTo>
                  <a:lnTo>
                    <a:pt x="137" y="1045"/>
                  </a:lnTo>
                  <a:lnTo>
                    <a:pt x="135" y="1045"/>
                  </a:lnTo>
                  <a:close/>
                  <a:moveTo>
                    <a:pt x="159" y="1045"/>
                  </a:moveTo>
                  <a:lnTo>
                    <a:pt x="161" y="1045"/>
                  </a:lnTo>
                  <a:lnTo>
                    <a:pt x="159" y="1045"/>
                  </a:lnTo>
                  <a:lnTo>
                    <a:pt x="161" y="1045"/>
                  </a:lnTo>
                  <a:lnTo>
                    <a:pt x="159" y="1045"/>
                  </a:lnTo>
                  <a:lnTo>
                    <a:pt x="161" y="1045"/>
                  </a:lnTo>
                  <a:lnTo>
                    <a:pt x="161" y="1048"/>
                  </a:lnTo>
                  <a:lnTo>
                    <a:pt x="159" y="1048"/>
                  </a:lnTo>
                  <a:lnTo>
                    <a:pt x="161" y="1048"/>
                  </a:lnTo>
                  <a:lnTo>
                    <a:pt x="159" y="1048"/>
                  </a:lnTo>
                  <a:lnTo>
                    <a:pt x="156" y="1048"/>
                  </a:lnTo>
                  <a:lnTo>
                    <a:pt x="159" y="1048"/>
                  </a:lnTo>
                  <a:lnTo>
                    <a:pt x="159" y="1045"/>
                  </a:lnTo>
                  <a:lnTo>
                    <a:pt x="159" y="1048"/>
                  </a:lnTo>
                  <a:lnTo>
                    <a:pt x="159" y="1045"/>
                  </a:lnTo>
                  <a:close/>
                  <a:moveTo>
                    <a:pt x="161" y="1045"/>
                  </a:moveTo>
                  <a:lnTo>
                    <a:pt x="163" y="1045"/>
                  </a:lnTo>
                  <a:lnTo>
                    <a:pt x="161" y="1045"/>
                  </a:lnTo>
                  <a:close/>
                  <a:moveTo>
                    <a:pt x="128" y="1045"/>
                  </a:moveTo>
                  <a:lnTo>
                    <a:pt x="128" y="1043"/>
                  </a:lnTo>
                  <a:lnTo>
                    <a:pt x="128" y="1045"/>
                  </a:lnTo>
                  <a:close/>
                  <a:moveTo>
                    <a:pt x="135" y="1043"/>
                  </a:moveTo>
                  <a:lnTo>
                    <a:pt x="133" y="1043"/>
                  </a:lnTo>
                  <a:lnTo>
                    <a:pt x="135" y="1043"/>
                  </a:lnTo>
                  <a:lnTo>
                    <a:pt x="133" y="1043"/>
                  </a:lnTo>
                  <a:lnTo>
                    <a:pt x="135" y="1043"/>
                  </a:lnTo>
                  <a:close/>
                  <a:moveTo>
                    <a:pt x="135" y="1043"/>
                  </a:moveTo>
                  <a:lnTo>
                    <a:pt x="133" y="1043"/>
                  </a:lnTo>
                  <a:lnTo>
                    <a:pt x="135" y="1043"/>
                  </a:lnTo>
                  <a:lnTo>
                    <a:pt x="133" y="1043"/>
                  </a:lnTo>
                  <a:lnTo>
                    <a:pt x="135" y="1043"/>
                  </a:lnTo>
                  <a:close/>
                  <a:moveTo>
                    <a:pt x="171" y="1043"/>
                  </a:moveTo>
                  <a:lnTo>
                    <a:pt x="168" y="1043"/>
                  </a:lnTo>
                  <a:lnTo>
                    <a:pt x="171" y="1043"/>
                  </a:lnTo>
                  <a:close/>
                  <a:moveTo>
                    <a:pt x="135" y="1043"/>
                  </a:moveTo>
                  <a:lnTo>
                    <a:pt x="133" y="1043"/>
                  </a:lnTo>
                  <a:lnTo>
                    <a:pt x="135" y="1043"/>
                  </a:lnTo>
                  <a:close/>
                  <a:moveTo>
                    <a:pt x="178" y="1043"/>
                  </a:moveTo>
                  <a:lnTo>
                    <a:pt x="175" y="1043"/>
                  </a:lnTo>
                  <a:lnTo>
                    <a:pt x="178" y="1043"/>
                  </a:lnTo>
                  <a:lnTo>
                    <a:pt x="178" y="1041"/>
                  </a:lnTo>
                  <a:lnTo>
                    <a:pt x="178" y="1043"/>
                  </a:lnTo>
                  <a:close/>
                  <a:moveTo>
                    <a:pt x="173" y="1041"/>
                  </a:moveTo>
                  <a:lnTo>
                    <a:pt x="171" y="1043"/>
                  </a:lnTo>
                  <a:lnTo>
                    <a:pt x="171" y="1041"/>
                  </a:lnTo>
                  <a:lnTo>
                    <a:pt x="173" y="1041"/>
                  </a:lnTo>
                  <a:close/>
                  <a:moveTo>
                    <a:pt x="175" y="1041"/>
                  </a:moveTo>
                  <a:lnTo>
                    <a:pt x="173" y="1041"/>
                  </a:lnTo>
                  <a:lnTo>
                    <a:pt x="173" y="1043"/>
                  </a:lnTo>
                  <a:lnTo>
                    <a:pt x="173" y="1041"/>
                  </a:lnTo>
                  <a:lnTo>
                    <a:pt x="175" y="1041"/>
                  </a:lnTo>
                  <a:close/>
                  <a:moveTo>
                    <a:pt x="171" y="1038"/>
                  </a:moveTo>
                  <a:lnTo>
                    <a:pt x="171" y="1041"/>
                  </a:lnTo>
                  <a:lnTo>
                    <a:pt x="171" y="1038"/>
                  </a:lnTo>
                  <a:close/>
                  <a:moveTo>
                    <a:pt x="142" y="1038"/>
                  </a:moveTo>
                  <a:lnTo>
                    <a:pt x="142" y="1041"/>
                  </a:lnTo>
                  <a:lnTo>
                    <a:pt x="142" y="1038"/>
                  </a:lnTo>
                  <a:lnTo>
                    <a:pt x="142" y="1041"/>
                  </a:lnTo>
                  <a:lnTo>
                    <a:pt x="142" y="1038"/>
                  </a:lnTo>
                  <a:close/>
                  <a:moveTo>
                    <a:pt x="175" y="1038"/>
                  </a:moveTo>
                  <a:lnTo>
                    <a:pt x="178" y="1038"/>
                  </a:lnTo>
                  <a:lnTo>
                    <a:pt x="178" y="1041"/>
                  </a:lnTo>
                  <a:lnTo>
                    <a:pt x="175" y="1041"/>
                  </a:lnTo>
                  <a:lnTo>
                    <a:pt x="175" y="1038"/>
                  </a:lnTo>
                  <a:close/>
                  <a:moveTo>
                    <a:pt x="147" y="1036"/>
                  </a:moveTo>
                  <a:lnTo>
                    <a:pt x="147" y="1038"/>
                  </a:lnTo>
                  <a:lnTo>
                    <a:pt x="147" y="1036"/>
                  </a:lnTo>
                  <a:close/>
                  <a:moveTo>
                    <a:pt x="149" y="1036"/>
                  </a:moveTo>
                  <a:lnTo>
                    <a:pt x="149" y="1038"/>
                  </a:lnTo>
                  <a:lnTo>
                    <a:pt x="149" y="1036"/>
                  </a:lnTo>
                  <a:close/>
                  <a:moveTo>
                    <a:pt x="149" y="1036"/>
                  </a:moveTo>
                  <a:lnTo>
                    <a:pt x="147" y="1036"/>
                  </a:lnTo>
                  <a:lnTo>
                    <a:pt x="149" y="1038"/>
                  </a:lnTo>
                  <a:lnTo>
                    <a:pt x="147" y="1038"/>
                  </a:lnTo>
                  <a:lnTo>
                    <a:pt x="147" y="1036"/>
                  </a:lnTo>
                  <a:lnTo>
                    <a:pt x="149" y="1036"/>
                  </a:lnTo>
                  <a:lnTo>
                    <a:pt x="147" y="1036"/>
                  </a:lnTo>
                  <a:lnTo>
                    <a:pt x="149" y="1036"/>
                  </a:lnTo>
                  <a:close/>
                  <a:moveTo>
                    <a:pt x="152" y="1036"/>
                  </a:moveTo>
                  <a:lnTo>
                    <a:pt x="149" y="1036"/>
                  </a:lnTo>
                  <a:lnTo>
                    <a:pt x="152" y="1036"/>
                  </a:lnTo>
                  <a:close/>
                  <a:moveTo>
                    <a:pt x="152" y="1036"/>
                  </a:moveTo>
                  <a:lnTo>
                    <a:pt x="149" y="1036"/>
                  </a:lnTo>
                  <a:lnTo>
                    <a:pt x="152" y="1036"/>
                  </a:lnTo>
                  <a:close/>
                  <a:moveTo>
                    <a:pt x="175" y="1036"/>
                  </a:moveTo>
                  <a:lnTo>
                    <a:pt x="173" y="1036"/>
                  </a:lnTo>
                  <a:lnTo>
                    <a:pt x="175" y="1036"/>
                  </a:lnTo>
                  <a:lnTo>
                    <a:pt x="173" y="1036"/>
                  </a:lnTo>
                  <a:lnTo>
                    <a:pt x="175" y="1036"/>
                  </a:lnTo>
                  <a:close/>
                  <a:moveTo>
                    <a:pt x="154" y="1034"/>
                  </a:moveTo>
                  <a:lnTo>
                    <a:pt x="152" y="1034"/>
                  </a:lnTo>
                  <a:lnTo>
                    <a:pt x="154" y="1034"/>
                  </a:lnTo>
                  <a:lnTo>
                    <a:pt x="152" y="1034"/>
                  </a:lnTo>
                  <a:lnTo>
                    <a:pt x="154" y="1034"/>
                  </a:lnTo>
                  <a:close/>
                  <a:moveTo>
                    <a:pt x="152" y="1034"/>
                  </a:moveTo>
                  <a:lnTo>
                    <a:pt x="149" y="1034"/>
                  </a:lnTo>
                  <a:lnTo>
                    <a:pt x="152" y="1034"/>
                  </a:lnTo>
                  <a:close/>
                  <a:moveTo>
                    <a:pt x="175" y="1034"/>
                  </a:moveTo>
                  <a:lnTo>
                    <a:pt x="178" y="1034"/>
                  </a:lnTo>
                  <a:lnTo>
                    <a:pt x="178" y="1036"/>
                  </a:lnTo>
                  <a:lnTo>
                    <a:pt x="175" y="1036"/>
                  </a:lnTo>
                  <a:lnTo>
                    <a:pt x="173" y="1036"/>
                  </a:lnTo>
                  <a:lnTo>
                    <a:pt x="173" y="1034"/>
                  </a:lnTo>
                  <a:lnTo>
                    <a:pt x="173" y="1036"/>
                  </a:lnTo>
                  <a:lnTo>
                    <a:pt x="175" y="1034"/>
                  </a:lnTo>
                  <a:lnTo>
                    <a:pt x="175" y="1036"/>
                  </a:lnTo>
                  <a:lnTo>
                    <a:pt x="175" y="1034"/>
                  </a:lnTo>
                  <a:lnTo>
                    <a:pt x="173" y="1034"/>
                  </a:lnTo>
                  <a:lnTo>
                    <a:pt x="175" y="1034"/>
                  </a:lnTo>
                  <a:close/>
                  <a:moveTo>
                    <a:pt x="178" y="1031"/>
                  </a:moveTo>
                  <a:lnTo>
                    <a:pt x="180" y="1031"/>
                  </a:lnTo>
                  <a:lnTo>
                    <a:pt x="180" y="1034"/>
                  </a:lnTo>
                  <a:lnTo>
                    <a:pt x="178" y="1034"/>
                  </a:lnTo>
                  <a:lnTo>
                    <a:pt x="178" y="1031"/>
                  </a:lnTo>
                  <a:lnTo>
                    <a:pt x="175" y="1031"/>
                  </a:lnTo>
                  <a:lnTo>
                    <a:pt x="178" y="1031"/>
                  </a:lnTo>
                  <a:lnTo>
                    <a:pt x="175" y="1031"/>
                  </a:lnTo>
                  <a:lnTo>
                    <a:pt x="178" y="1031"/>
                  </a:lnTo>
                  <a:close/>
                  <a:moveTo>
                    <a:pt x="182" y="1029"/>
                  </a:moveTo>
                  <a:lnTo>
                    <a:pt x="180" y="1029"/>
                  </a:lnTo>
                  <a:lnTo>
                    <a:pt x="182" y="1029"/>
                  </a:lnTo>
                  <a:lnTo>
                    <a:pt x="182" y="1026"/>
                  </a:lnTo>
                  <a:lnTo>
                    <a:pt x="182" y="1029"/>
                  </a:lnTo>
                  <a:close/>
                  <a:moveTo>
                    <a:pt x="180" y="1026"/>
                  </a:moveTo>
                  <a:lnTo>
                    <a:pt x="180" y="1029"/>
                  </a:lnTo>
                  <a:lnTo>
                    <a:pt x="180" y="1026"/>
                  </a:lnTo>
                  <a:lnTo>
                    <a:pt x="180" y="1029"/>
                  </a:lnTo>
                  <a:lnTo>
                    <a:pt x="180" y="1026"/>
                  </a:lnTo>
                  <a:close/>
                  <a:moveTo>
                    <a:pt x="185" y="1026"/>
                  </a:moveTo>
                  <a:lnTo>
                    <a:pt x="182" y="1026"/>
                  </a:lnTo>
                  <a:lnTo>
                    <a:pt x="185" y="1026"/>
                  </a:lnTo>
                  <a:close/>
                  <a:moveTo>
                    <a:pt x="180" y="1024"/>
                  </a:moveTo>
                  <a:lnTo>
                    <a:pt x="180" y="1026"/>
                  </a:lnTo>
                  <a:lnTo>
                    <a:pt x="178" y="1026"/>
                  </a:lnTo>
                  <a:lnTo>
                    <a:pt x="180" y="1026"/>
                  </a:lnTo>
                  <a:lnTo>
                    <a:pt x="180" y="1024"/>
                  </a:lnTo>
                  <a:close/>
                  <a:moveTo>
                    <a:pt x="182" y="1024"/>
                  </a:moveTo>
                  <a:lnTo>
                    <a:pt x="180" y="1024"/>
                  </a:lnTo>
                  <a:lnTo>
                    <a:pt x="182" y="1024"/>
                  </a:lnTo>
                  <a:close/>
                  <a:moveTo>
                    <a:pt x="182" y="1024"/>
                  </a:moveTo>
                  <a:lnTo>
                    <a:pt x="180" y="1024"/>
                  </a:lnTo>
                  <a:lnTo>
                    <a:pt x="182" y="1024"/>
                  </a:lnTo>
                  <a:close/>
                  <a:moveTo>
                    <a:pt x="187" y="1022"/>
                  </a:moveTo>
                  <a:lnTo>
                    <a:pt x="185" y="1022"/>
                  </a:lnTo>
                  <a:lnTo>
                    <a:pt x="187" y="1022"/>
                  </a:lnTo>
                  <a:close/>
                  <a:moveTo>
                    <a:pt x="189" y="1022"/>
                  </a:moveTo>
                  <a:lnTo>
                    <a:pt x="187" y="1022"/>
                  </a:lnTo>
                  <a:lnTo>
                    <a:pt x="189" y="1019"/>
                  </a:lnTo>
                  <a:lnTo>
                    <a:pt x="189" y="1022"/>
                  </a:lnTo>
                  <a:close/>
                  <a:moveTo>
                    <a:pt x="187" y="1019"/>
                  </a:moveTo>
                  <a:lnTo>
                    <a:pt x="185" y="1019"/>
                  </a:lnTo>
                  <a:lnTo>
                    <a:pt x="187" y="1019"/>
                  </a:lnTo>
                  <a:close/>
                  <a:moveTo>
                    <a:pt x="189" y="1019"/>
                  </a:moveTo>
                  <a:lnTo>
                    <a:pt x="187" y="1019"/>
                  </a:lnTo>
                  <a:lnTo>
                    <a:pt x="189" y="1019"/>
                  </a:lnTo>
                  <a:lnTo>
                    <a:pt x="187" y="1019"/>
                  </a:lnTo>
                  <a:lnTo>
                    <a:pt x="189" y="1019"/>
                  </a:lnTo>
                  <a:close/>
                  <a:moveTo>
                    <a:pt x="189" y="1017"/>
                  </a:moveTo>
                  <a:lnTo>
                    <a:pt x="187" y="1017"/>
                  </a:lnTo>
                  <a:lnTo>
                    <a:pt x="189" y="1017"/>
                  </a:lnTo>
                  <a:close/>
                  <a:moveTo>
                    <a:pt x="192" y="1017"/>
                  </a:moveTo>
                  <a:lnTo>
                    <a:pt x="189" y="1017"/>
                  </a:lnTo>
                  <a:lnTo>
                    <a:pt x="192" y="1017"/>
                  </a:lnTo>
                  <a:lnTo>
                    <a:pt x="189" y="1017"/>
                  </a:lnTo>
                  <a:lnTo>
                    <a:pt x="192" y="1017"/>
                  </a:lnTo>
                  <a:close/>
                  <a:moveTo>
                    <a:pt x="192" y="1017"/>
                  </a:moveTo>
                  <a:lnTo>
                    <a:pt x="194" y="1017"/>
                  </a:lnTo>
                  <a:lnTo>
                    <a:pt x="192" y="1017"/>
                  </a:lnTo>
                  <a:close/>
                  <a:moveTo>
                    <a:pt x="194" y="1015"/>
                  </a:moveTo>
                  <a:lnTo>
                    <a:pt x="192" y="1015"/>
                  </a:lnTo>
                  <a:lnTo>
                    <a:pt x="194" y="1015"/>
                  </a:lnTo>
                  <a:close/>
                  <a:moveTo>
                    <a:pt x="223" y="1012"/>
                  </a:moveTo>
                  <a:lnTo>
                    <a:pt x="223" y="1015"/>
                  </a:lnTo>
                  <a:lnTo>
                    <a:pt x="223" y="1012"/>
                  </a:lnTo>
                  <a:close/>
                  <a:moveTo>
                    <a:pt x="220" y="1007"/>
                  </a:moveTo>
                  <a:lnTo>
                    <a:pt x="220" y="1010"/>
                  </a:lnTo>
                  <a:lnTo>
                    <a:pt x="220" y="1007"/>
                  </a:lnTo>
                  <a:lnTo>
                    <a:pt x="220" y="1010"/>
                  </a:lnTo>
                  <a:lnTo>
                    <a:pt x="218" y="1010"/>
                  </a:lnTo>
                  <a:lnTo>
                    <a:pt x="218" y="1007"/>
                  </a:lnTo>
                  <a:lnTo>
                    <a:pt x="220" y="1007"/>
                  </a:lnTo>
                  <a:close/>
                  <a:moveTo>
                    <a:pt x="204" y="1007"/>
                  </a:moveTo>
                  <a:lnTo>
                    <a:pt x="201" y="1007"/>
                  </a:lnTo>
                  <a:lnTo>
                    <a:pt x="204" y="1007"/>
                  </a:lnTo>
                  <a:close/>
                  <a:moveTo>
                    <a:pt x="204" y="1007"/>
                  </a:moveTo>
                  <a:lnTo>
                    <a:pt x="201" y="1007"/>
                  </a:lnTo>
                  <a:lnTo>
                    <a:pt x="204" y="1007"/>
                  </a:lnTo>
                  <a:close/>
                  <a:moveTo>
                    <a:pt x="208" y="1005"/>
                  </a:moveTo>
                  <a:lnTo>
                    <a:pt x="208" y="1007"/>
                  </a:lnTo>
                  <a:lnTo>
                    <a:pt x="206" y="1007"/>
                  </a:lnTo>
                  <a:lnTo>
                    <a:pt x="206" y="1005"/>
                  </a:lnTo>
                  <a:lnTo>
                    <a:pt x="208" y="1005"/>
                  </a:lnTo>
                  <a:close/>
                  <a:moveTo>
                    <a:pt x="199" y="1007"/>
                  </a:moveTo>
                  <a:lnTo>
                    <a:pt x="199" y="1005"/>
                  </a:lnTo>
                  <a:lnTo>
                    <a:pt x="201" y="1007"/>
                  </a:lnTo>
                  <a:lnTo>
                    <a:pt x="199" y="1007"/>
                  </a:lnTo>
                  <a:close/>
                  <a:moveTo>
                    <a:pt x="204" y="1005"/>
                  </a:moveTo>
                  <a:lnTo>
                    <a:pt x="204" y="1007"/>
                  </a:lnTo>
                  <a:lnTo>
                    <a:pt x="201" y="1007"/>
                  </a:lnTo>
                  <a:lnTo>
                    <a:pt x="201" y="1005"/>
                  </a:lnTo>
                  <a:lnTo>
                    <a:pt x="201" y="1007"/>
                  </a:lnTo>
                  <a:lnTo>
                    <a:pt x="201" y="1005"/>
                  </a:lnTo>
                  <a:lnTo>
                    <a:pt x="201" y="1007"/>
                  </a:lnTo>
                  <a:lnTo>
                    <a:pt x="201" y="1005"/>
                  </a:lnTo>
                  <a:lnTo>
                    <a:pt x="204" y="1005"/>
                  </a:lnTo>
                  <a:lnTo>
                    <a:pt x="201" y="1005"/>
                  </a:lnTo>
                  <a:lnTo>
                    <a:pt x="204" y="1005"/>
                  </a:lnTo>
                  <a:close/>
                  <a:moveTo>
                    <a:pt x="206" y="1007"/>
                  </a:moveTo>
                  <a:lnTo>
                    <a:pt x="204" y="1007"/>
                  </a:lnTo>
                  <a:lnTo>
                    <a:pt x="204" y="1005"/>
                  </a:lnTo>
                  <a:lnTo>
                    <a:pt x="206" y="1005"/>
                  </a:lnTo>
                  <a:lnTo>
                    <a:pt x="206" y="1007"/>
                  </a:lnTo>
                  <a:close/>
                  <a:moveTo>
                    <a:pt x="208" y="1005"/>
                  </a:moveTo>
                  <a:lnTo>
                    <a:pt x="206" y="1005"/>
                  </a:lnTo>
                  <a:lnTo>
                    <a:pt x="208" y="1005"/>
                  </a:lnTo>
                  <a:close/>
                  <a:moveTo>
                    <a:pt x="206" y="1003"/>
                  </a:moveTo>
                  <a:lnTo>
                    <a:pt x="206" y="1005"/>
                  </a:lnTo>
                  <a:lnTo>
                    <a:pt x="206" y="1003"/>
                  </a:lnTo>
                  <a:lnTo>
                    <a:pt x="208" y="1003"/>
                  </a:lnTo>
                  <a:lnTo>
                    <a:pt x="208" y="1005"/>
                  </a:lnTo>
                  <a:lnTo>
                    <a:pt x="206" y="1005"/>
                  </a:lnTo>
                  <a:lnTo>
                    <a:pt x="204" y="1005"/>
                  </a:lnTo>
                  <a:lnTo>
                    <a:pt x="204" y="1003"/>
                  </a:lnTo>
                  <a:lnTo>
                    <a:pt x="204" y="1005"/>
                  </a:lnTo>
                  <a:lnTo>
                    <a:pt x="204" y="1003"/>
                  </a:lnTo>
                  <a:lnTo>
                    <a:pt x="206" y="1003"/>
                  </a:lnTo>
                  <a:close/>
                  <a:moveTo>
                    <a:pt x="206" y="1003"/>
                  </a:moveTo>
                  <a:lnTo>
                    <a:pt x="204" y="1003"/>
                  </a:lnTo>
                  <a:lnTo>
                    <a:pt x="206" y="1003"/>
                  </a:lnTo>
                  <a:close/>
                  <a:moveTo>
                    <a:pt x="206" y="1003"/>
                  </a:moveTo>
                  <a:lnTo>
                    <a:pt x="204" y="1003"/>
                  </a:lnTo>
                  <a:lnTo>
                    <a:pt x="206" y="1003"/>
                  </a:lnTo>
                  <a:close/>
                  <a:moveTo>
                    <a:pt x="208" y="1000"/>
                  </a:moveTo>
                  <a:lnTo>
                    <a:pt x="208" y="1003"/>
                  </a:lnTo>
                  <a:lnTo>
                    <a:pt x="206" y="1003"/>
                  </a:lnTo>
                  <a:lnTo>
                    <a:pt x="208" y="1003"/>
                  </a:lnTo>
                  <a:lnTo>
                    <a:pt x="208" y="1000"/>
                  </a:lnTo>
                  <a:lnTo>
                    <a:pt x="208" y="1003"/>
                  </a:lnTo>
                  <a:lnTo>
                    <a:pt x="208" y="1000"/>
                  </a:lnTo>
                  <a:lnTo>
                    <a:pt x="208" y="1003"/>
                  </a:lnTo>
                  <a:lnTo>
                    <a:pt x="208" y="1000"/>
                  </a:lnTo>
                  <a:close/>
                  <a:moveTo>
                    <a:pt x="208" y="1003"/>
                  </a:moveTo>
                  <a:lnTo>
                    <a:pt x="208" y="1000"/>
                  </a:lnTo>
                  <a:lnTo>
                    <a:pt x="208" y="1003"/>
                  </a:lnTo>
                  <a:close/>
                  <a:moveTo>
                    <a:pt x="216" y="1000"/>
                  </a:moveTo>
                  <a:lnTo>
                    <a:pt x="218" y="1000"/>
                  </a:lnTo>
                  <a:lnTo>
                    <a:pt x="216" y="1000"/>
                  </a:lnTo>
                  <a:lnTo>
                    <a:pt x="218" y="1000"/>
                  </a:lnTo>
                  <a:lnTo>
                    <a:pt x="220" y="1000"/>
                  </a:lnTo>
                  <a:lnTo>
                    <a:pt x="218" y="1000"/>
                  </a:lnTo>
                  <a:lnTo>
                    <a:pt x="220" y="1000"/>
                  </a:lnTo>
                  <a:lnTo>
                    <a:pt x="220" y="1003"/>
                  </a:lnTo>
                  <a:lnTo>
                    <a:pt x="220" y="1005"/>
                  </a:lnTo>
                  <a:lnTo>
                    <a:pt x="223" y="1005"/>
                  </a:lnTo>
                  <a:lnTo>
                    <a:pt x="225" y="1005"/>
                  </a:lnTo>
                  <a:lnTo>
                    <a:pt x="227" y="1005"/>
                  </a:lnTo>
                  <a:lnTo>
                    <a:pt x="227" y="1007"/>
                  </a:lnTo>
                  <a:lnTo>
                    <a:pt x="225" y="1007"/>
                  </a:lnTo>
                  <a:lnTo>
                    <a:pt x="225" y="1010"/>
                  </a:lnTo>
                  <a:lnTo>
                    <a:pt x="225" y="1007"/>
                  </a:lnTo>
                  <a:lnTo>
                    <a:pt x="223" y="1010"/>
                  </a:lnTo>
                  <a:lnTo>
                    <a:pt x="223" y="1007"/>
                  </a:lnTo>
                  <a:lnTo>
                    <a:pt x="223" y="1010"/>
                  </a:lnTo>
                  <a:lnTo>
                    <a:pt x="223" y="1007"/>
                  </a:lnTo>
                  <a:lnTo>
                    <a:pt x="223" y="1010"/>
                  </a:lnTo>
                  <a:lnTo>
                    <a:pt x="223" y="1007"/>
                  </a:lnTo>
                  <a:lnTo>
                    <a:pt x="220" y="1007"/>
                  </a:lnTo>
                  <a:lnTo>
                    <a:pt x="218" y="1007"/>
                  </a:lnTo>
                  <a:lnTo>
                    <a:pt x="216" y="1005"/>
                  </a:lnTo>
                  <a:lnTo>
                    <a:pt x="216" y="1003"/>
                  </a:lnTo>
                  <a:lnTo>
                    <a:pt x="218" y="1003"/>
                  </a:lnTo>
                  <a:lnTo>
                    <a:pt x="218" y="1005"/>
                  </a:lnTo>
                  <a:lnTo>
                    <a:pt x="220" y="1003"/>
                  </a:lnTo>
                  <a:lnTo>
                    <a:pt x="218" y="1003"/>
                  </a:lnTo>
                  <a:lnTo>
                    <a:pt x="220" y="1003"/>
                  </a:lnTo>
                  <a:lnTo>
                    <a:pt x="218" y="1003"/>
                  </a:lnTo>
                  <a:lnTo>
                    <a:pt x="216" y="1003"/>
                  </a:lnTo>
                  <a:lnTo>
                    <a:pt x="213" y="1003"/>
                  </a:lnTo>
                  <a:lnTo>
                    <a:pt x="213" y="1000"/>
                  </a:lnTo>
                  <a:lnTo>
                    <a:pt x="216" y="1000"/>
                  </a:lnTo>
                  <a:lnTo>
                    <a:pt x="216" y="998"/>
                  </a:lnTo>
                  <a:lnTo>
                    <a:pt x="216" y="1000"/>
                  </a:lnTo>
                  <a:close/>
                  <a:moveTo>
                    <a:pt x="223" y="998"/>
                  </a:moveTo>
                  <a:lnTo>
                    <a:pt x="220" y="998"/>
                  </a:lnTo>
                  <a:lnTo>
                    <a:pt x="223" y="998"/>
                  </a:lnTo>
                  <a:lnTo>
                    <a:pt x="223" y="1000"/>
                  </a:lnTo>
                  <a:lnTo>
                    <a:pt x="223" y="1003"/>
                  </a:lnTo>
                  <a:lnTo>
                    <a:pt x="220" y="1003"/>
                  </a:lnTo>
                  <a:lnTo>
                    <a:pt x="220" y="1000"/>
                  </a:lnTo>
                  <a:lnTo>
                    <a:pt x="218" y="1000"/>
                  </a:lnTo>
                  <a:lnTo>
                    <a:pt x="218" y="998"/>
                  </a:lnTo>
                  <a:lnTo>
                    <a:pt x="216" y="998"/>
                  </a:lnTo>
                  <a:lnTo>
                    <a:pt x="218" y="998"/>
                  </a:lnTo>
                  <a:lnTo>
                    <a:pt x="220" y="998"/>
                  </a:lnTo>
                  <a:lnTo>
                    <a:pt x="223" y="998"/>
                  </a:lnTo>
                  <a:close/>
                  <a:moveTo>
                    <a:pt x="218" y="996"/>
                  </a:moveTo>
                  <a:lnTo>
                    <a:pt x="216" y="996"/>
                  </a:lnTo>
                  <a:lnTo>
                    <a:pt x="218" y="996"/>
                  </a:lnTo>
                  <a:close/>
                  <a:moveTo>
                    <a:pt x="218" y="993"/>
                  </a:moveTo>
                  <a:lnTo>
                    <a:pt x="218" y="996"/>
                  </a:lnTo>
                  <a:lnTo>
                    <a:pt x="216" y="996"/>
                  </a:lnTo>
                  <a:lnTo>
                    <a:pt x="216" y="993"/>
                  </a:lnTo>
                  <a:lnTo>
                    <a:pt x="216" y="996"/>
                  </a:lnTo>
                  <a:lnTo>
                    <a:pt x="218" y="993"/>
                  </a:lnTo>
                  <a:close/>
                  <a:moveTo>
                    <a:pt x="232" y="993"/>
                  </a:moveTo>
                  <a:lnTo>
                    <a:pt x="230" y="993"/>
                  </a:lnTo>
                  <a:lnTo>
                    <a:pt x="232" y="993"/>
                  </a:lnTo>
                  <a:close/>
                  <a:moveTo>
                    <a:pt x="218" y="993"/>
                  </a:moveTo>
                  <a:lnTo>
                    <a:pt x="216" y="993"/>
                  </a:lnTo>
                  <a:lnTo>
                    <a:pt x="216" y="996"/>
                  </a:lnTo>
                  <a:lnTo>
                    <a:pt x="216" y="993"/>
                  </a:lnTo>
                  <a:lnTo>
                    <a:pt x="216" y="996"/>
                  </a:lnTo>
                  <a:lnTo>
                    <a:pt x="216" y="993"/>
                  </a:lnTo>
                  <a:lnTo>
                    <a:pt x="218" y="993"/>
                  </a:lnTo>
                  <a:close/>
                  <a:moveTo>
                    <a:pt x="208" y="993"/>
                  </a:moveTo>
                  <a:lnTo>
                    <a:pt x="206" y="993"/>
                  </a:lnTo>
                  <a:lnTo>
                    <a:pt x="208" y="993"/>
                  </a:lnTo>
                  <a:close/>
                  <a:moveTo>
                    <a:pt x="220" y="993"/>
                  </a:moveTo>
                  <a:lnTo>
                    <a:pt x="218" y="993"/>
                  </a:lnTo>
                  <a:lnTo>
                    <a:pt x="220" y="993"/>
                  </a:lnTo>
                  <a:close/>
                  <a:moveTo>
                    <a:pt x="220" y="993"/>
                  </a:moveTo>
                  <a:lnTo>
                    <a:pt x="218" y="993"/>
                  </a:lnTo>
                  <a:lnTo>
                    <a:pt x="220" y="993"/>
                  </a:lnTo>
                  <a:close/>
                  <a:moveTo>
                    <a:pt x="220" y="993"/>
                  </a:moveTo>
                  <a:lnTo>
                    <a:pt x="220" y="991"/>
                  </a:lnTo>
                  <a:lnTo>
                    <a:pt x="220" y="993"/>
                  </a:lnTo>
                  <a:close/>
                  <a:moveTo>
                    <a:pt x="237" y="991"/>
                  </a:moveTo>
                  <a:lnTo>
                    <a:pt x="239" y="991"/>
                  </a:lnTo>
                  <a:lnTo>
                    <a:pt x="237" y="991"/>
                  </a:lnTo>
                  <a:close/>
                  <a:moveTo>
                    <a:pt x="218" y="991"/>
                  </a:moveTo>
                  <a:lnTo>
                    <a:pt x="220" y="991"/>
                  </a:lnTo>
                  <a:lnTo>
                    <a:pt x="218" y="991"/>
                  </a:lnTo>
                  <a:close/>
                  <a:moveTo>
                    <a:pt x="237" y="991"/>
                  </a:moveTo>
                  <a:lnTo>
                    <a:pt x="237" y="993"/>
                  </a:lnTo>
                  <a:lnTo>
                    <a:pt x="237" y="991"/>
                  </a:lnTo>
                  <a:lnTo>
                    <a:pt x="237" y="993"/>
                  </a:lnTo>
                  <a:lnTo>
                    <a:pt x="237" y="991"/>
                  </a:lnTo>
                  <a:close/>
                  <a:moveTo>
                    <a:pt x="225" y="991"/>
                  </a:moveTo>
                  <a:lnTo>
                    <a:pt x="223" y="991"/>
                  </a:lnTo>
                  <a:lnTo>
                    <a:pt x="225" y="991"/>
                  </a:lnTo>
                  <a:close/>
                  <a:moveTo>
                    <a:pt x="220" y="991"/>
                  </a:moveTo>
                  <a:lnTo>
                    <a:pt x="223" y="991"/>
                  </a:lnTo>
                  <a:lnTo>
                    <a:pt x="220" y="991"/>
                  </a:lnTo>
                  <a:close/>
                  <a:moveTo>
                    <a:pt x="235" y="991"/>
                  </a:moveTo>
                  <a:lnTo>
                    <a:pt x="232" y="991"/>
                  </a:lnTo>
                  <a:lnTo>
                    <a:pt x="235" y="991"/>
                  </a:lnTo>
                  <a:close/>
                  <a:moveTo>
                    <a:pt x="227" y="991"/>
                  </a:moveTo>
                  <a:lnTo>
                    <a:pt x="230" y="991"/>
                  </a:lnTo>
                  <a:lnTo>
                    <a:pt x="227" y="991"/>
                  </a:lnTo>
                  <a:close/>
                  <a:moveTo>
                    <a:pt x="235" y="991"/>
                  </a:moveTo>
                  <a:lnTo>
                    <a:pt x="232" y="991"/>
                  </a:lnTo>
                  <a:lnTo>
                    <a:pt x="235" y="991"/>
                  </a:lnTo>
                  <a:lnTo>
                    <a:pt x="232" y="991"/>
                  </a:lnTo>
                  <a:lnTo>
                    <a:pt x="235" y="991"/>
                  </a:lnTo>
                  <a:close/>
                  <a:moveTo>
                    <a:pt x="204" y="991"/>
                  </a:moveTo>
                  <a:lnTo>
                    <a:pt x="201" y="991"/>
                  </a:lnTo>
                  <a:lnTo>
                    <a:pt x="204" y="991"/>
                  </a:lnTo>
                  <a:close/>
                  <a:moveTo>
                    <a:pt x="211" y="991"/>
                  </a:moveTo>
                  <a:lnTo>
                    <a:pt x="211" y="988"/>
                  </a:lnTo>
                  <a:lnTo>
                    <a:pt x="211" y="991"/>
                  </a:lnTo>
                  <a:close/>
                  <a:moveTo>
                    <a:pt x="201" y="991"/>
                  </a:moveTo>
                  <a:lnTo>
                    <a:pt x="199" y="991"/>
                  </a:lnTo>
                  <a:lnTo>
                    <a:pt x="199" y="988"/>
                  </a:lnTo>
                  <a:lnTo>
                    <a:pt x="201" y="988"/>
                  </a:lnTo>
                  <a:lnTo>
                    <a:pt x="201" y="991"/>
                  </a:lnTo>
                  <a:close/>
                  <a:moveTo>
                    <a:pt x="218" y="991"/>
                  </a:moveTo>
                  <a:lnTo>
                    <a:pt x="218" y="988"/>
                  </a:lnTo>
                  <a:lnTo>
                    <a:pt x="220" y="988"/>
                  </a:lnTo>
                  <a:lnTo>
                    <a:pt x="218" y="988"/>
                  </a:lnTo>
                  <a:lnTo>
                    <a:pt x="218" y="991"/>
                  </a:lnTo>
                  <a:close/>
                  <a:moveTo>
                    <a:pt x="213" y="988"/>
                  </a:moveTo>
                  <a:lnTo>
                    <a:pt x="213" y="991"/>
                  </a:lnTo>
                  <a:lnTo>
                    <a:pt x="213" y="988"/>
                  </a:lnTo>
                  <a:close/>
                  <a:moveTo>
                    <a:pt x="220" y="988"/>
                  </a:moveTo>
                  <a:lnTo>
                    <a:pt x="218" y="988"/>
                  </a:lnTo>
                  <a:lnTo>
                    <a:pt x="220" y="988"/>
                  </a:lnTo>
                  <a:close/>
                  <a:moveTo>
                    <a:pt x="199" y="988"/>
                  </a:moveTo>
                  <a:lnTo>
                    <a:pt x="197" y="988"/>
                  </a:lnTo>
                  <a:lnTo>
                    <a:pt x="199" y="988"/>
                  </a:lnTo>
                  <a:lnTo>
                    <a:pt x="197" y="988"/>
                  </a:lnTo>
                  <a:lnTo>
                    <a:pt x="199" y="988"/>
                  </a:lnTo>
                  <a:close/>
                  <a:moveTo>
                    <a:pt x="211" y="988"/>
                  </a:moveTo>
                  <a:lnTo>
                    <a:pt x="208" y="988"/>
                  </a:lnTo>
                  <a:lnTo>
                    <a:pt x="211" y="988"/>
                  </a:lnTo>
                  <a:lnTo>
                    <a:pt x="208" y="988"/>
                  </a:lnTo>
                  <a:lnTo>
                    <a:pt x="211" y="988"/>
                  </a:lnTo>
                  <a:close/>
                  <a:moveTo>
                    <a:pt x="220" y="988"/>
                  </a:moveTo>
                  <a:lnTo>
                    <a:pt x="220" y="986"/>
                  </a:lnTo>
                  <a:lnTo>
                    <a:pt x="220" y="988"/>
                  </a:lnTo>
                  <a:close/>
                  <a:moveTo>
                    <a:pt x="213" y="986"/>
                  </a:moveTo>
                  <a:lnTo>
                    <a:pt x="211" y="986"/>
                  </a:lnTo>
                  <a:lnTo>
                    <a:pt x="211" y="988"/>
                  </a:lnTo>
                  <a:lnTo>
                    <a:pt x="211" y="986"/>
                  </a:lnTo>
                  <a:lnTo>
                    <a:pt x="213" y="986"/>
                  </a:lnTo>
                  <a:close/>
                  <a:moveTo>
                    <a:pt x="213" y="986"/>
                  </a:moveTo>
                  <a:lnTo>
                    <a:pt x="213" y="988"/>
                  </a:lnTo>
                  <a:lnTo>
                    <a:pt x="213" y="986"/>
                  </a:lnTo>
                  <a:close/>
                  <a:moveTo>
                    <a:pt x="223" y="986"/>
                  </a:moveTo>
                  <a:lnTo>
                    <a:pt x="220" y="986"/>
                  </a:lnTo>
                  <a:lnTo>
                    <a:pt x="223" y="986"/>
                  </a:lnTo>
                  <a:close/>
                  <a:moveTo>
                    <a:pt x="225" y="984"/>
                  </a:moveTo>
                  <a:lnTo>
                    <a:pt x="223" y="984"/>
                  </a:lnTo>
                  <a:lnTo>
                    <a:pt x="225" y="984"/>
                  </a:lnTo>
                  <a:close/>
                  <a:moveTo>
                    <a:pt x="204" y="984"/>
                  </a:moveTo>
                  <a:lnTo>
                    <a:pt x="201" y="984"/>
                  </a:lnTo>
                  <a:lnTo>
                    <a:pt x="204" y="984"/>
                  </a:lnTo>
                  <a:close/>
                  <a:moveTo>
                    <a:pt x="223" y="984"/>
                  </a:moveTo>
                  <a:lnTo>
                    <a:pt x="220" y="984"/>
                  </a:lnTo>
                  <a:lnTo>
                    <a:pt x="223" y="984"/>
                  </a:lnTo>
                  <a:lnTo>
                    <a:pt x="220" y="986"/>
                  </a:lnTo>
                  <a:lnTo>
                    <a:pt x="220" y="984"/>
                  </a:lnTo>
                  <a:lnTo>
                    <a:pt x="220" y="986"/>
                  </a:lnTo>
                  <a:lnTo>
                    <a:pt x="220" y="984"/>
                  </a:lnTo>
                  <a:lnTo>
                    <a:pt x="223" y="984"/>
                  </a:lnTo>
                  <a:close/>
                  <a:moveTo>
                    <a:pt x="208" y="981"/>
                  </a:moveTo>
                  <a:lnTo>
                    <a:pt x="208" y="984"/>
                  </a:lnTo>
                  <a:lnTo>
                    <a:pt x="208" y="981"/>
                  </a:lnTo>
                  <a:close/>
                  <a:moveTo>
                    <a:pt x="204" y="981"/>
                  </a:moveTo>
                  <a:lnTo>
                    <a:pt x="204" y="984"/>
                  </a:lnTo>
                  <a:lnTo>
                    <a:pt x="201" y="984"/>
                  </a:lnTo>
                  <a:lnTo>
                    <a:pt x="204" y="984"/>
                  </a:lnTo>
                  <a:lnTo>
                    <a:pt x="201" y="984"/>
                  </a:lnTo>
                  <a:lnTo>
                    <a:pt x="204" y="984"/>
                  </a:lnTo>
                  <a:lnTo>
                    <a:pt x="204" y="981"/>
                  </a:lnTo>
                  <a:close/>
                  <a:moveTo>
                    <a:pt x="216" y="984"/>
                  </a:moveTo>
                  <a:lnTo>
                    <a:pt x="213" y="984"/>
                  </a:lnTo>
                  <a:lnTo>
                    <a:pt x="213" y="981"/>
                  </a:lnTo>
                  <a:lnTo>
                    <a:pt x="216" y="981"/>
                  </a:lnTo>
                  <a:lnTo>
                    <a:pt x="216" y="984"/>
                  </a:lnTo>
                  <a:close/>
                  <a:moveTo>
                    <a:pt x="227" y="984"/>
                  </a:moveTo>
                  <a:lnTo>
                    <a:pt x="225" y="984"/>
                  </a:lnTo>
                  <a:lnTo>
                    <a:pt x="225" y="981"/>
                  </a:lnTo>
                  <a:lnTo>
                    <a:pt x="225" y="984"/>
                  </a:lnTo>
                  <a:lnTo>
                    <a:pt x="225" y="981"/>
                  </a:lnTo>
                  <a:lnTo>
                    <a:pt x="227" y="981"/>
                  </a:lnTo>
                  <a:lnTo>
                    <a:pt x="227" y="984"/>
                  </a:lnTo>
                  <a:close/>
                  <a:moveTo>
                    <a:pt x="213" y="981"/>
                  </a:moveTo>
                  <a:lnTo>
                    <a:pt x="216" y="981"/>
                  </a:lnTo>
                  <a:lnTo>
                    <a:pt x="218" y="981"/>
                  </a:lnTo>
                  <a:lnTo>
                    <a:pt x="216" y="981"/>
                  </a:lnTo>
                  <a:lnTo>
                    <a:pt x="213" y="981"/>
                  </a:lnTo>
                  <a:lnTo>
                    <a:pt x="213" y="984"/>
                  </a:lnTo>
                  <a:lnTo>
                    <a:pt x="211" y="984"/>
                  </a:lnTo>
                  <a:lnTo>
                    <a:pt x="211" y="986"/>
                  </a:lnTo>
                  <a:lnTo>
                    <a:pt x="211" y="984"/>
                  </a:lnTo>
                  <a:lnTo>
                    <a:pt x="208" y="984"/>
                  </a:lnTo>
                  <a:lnTo>
                    <a:pt x="211" y="984"/>
                  </a:lnTo>
                  <a:lnTo>
                    <a:pt x="208" y="984"/>
                  </a:lnTo>
                  <a:lnTo>
                    <a:pt x="208" y="986"/>
                  </a:lnTo>
                  <a:lnTo>
                    <a:pt x="206" y="988"/>
                  </a:lnTo>
                  <a:lnTo>
                    <a:pt x="206" y="986"/>
                  </a:lnTo>
                  <a:lnTo>
                    <a:pt x="206" y="988"/>
                  </a:lnTo>
                  <a:lnTo>
                    <a:pt x="204" y="988"/>
                  </a:lnTo>
                  <a:lnTo>
                    <a:pt x="206" y="988"/>
                  </a:lnTo>
                  <a:lnTo>
                    <a:pt x="204" y="988"/>
                  </a:lnTo>
                  <a:lnTo>
                    <a:pt x="201" y="988"/>
                  </a:lnTo>
                  <a:lnTo>
                    <a:pt x="204" y="988"/>
                  </a:lnTo>
                  <a:lnTo>
                    <a:pt x="201" y="988"/>
                  </a:lnTo>
                  <a:lnTo>
                    <a:pt x="204" y="988"/>
                  </a:lnTo>
                  <a:lnTo>
                    <a:pt x="201" y="988"/>
                  </a:lnTo>
                  <a:lnTo>
                    <a:pt x="204" y="988"/>
                  </a:lnTo>
                  <a:lnTo>
                    <a:pt x="201" y="988"/>
                  </a:lnTo>
                  <a:lnTo>
                    <a:pt x="204" y="988"/>
                  </a:lnTo>
                  <a:lnTo>
                    <a:pt x="204" y="986"/>
                  </a:lnTo>
                  <a:lnTo>
                    <a:pt x="204" y="988"/>
                  </a:lnTo>
                  <a:lnTo>
                    <a:pt x="201" y="988"/>
                  </a:lnTo>
                  <a:lnTo>
                    <a:pt x="201" y="986"/>
                  </a:lnTo>
                  <a:lnTo>
                    <a:pt x="204" y="986"/>
                  </a:lnTo>
                  <a:lnTo>
                    <a:pt x="204" y="988"/>
                  </a:lnTo>
                  <a:lnTo>
                    <a:pt x="204" y="986"/>
                  </a:lnTo>
                  <a:lnTo>
                    <a:pt x="201" y="986"/>
                  </a:lnTo>
                  <a:lnTo>
                    <a:pt x="201" y="988"/>
                  </a:lnTo>
                  <a:lnTo>
                    <a:pt x="201" y="986"/>
                  </a:lnTo>
                  <a:lnTo>
                    <a:pt x="204" y="986"/>
                  </a:lnTo>
                  <a:lnTo>
                    <a:pt x="204" y="984"/>
                  </a:lnTo>
                  <a:lnTo>
                    <a:pt x="206" y="984"/>
                  </a:lnTo>
                  <a:lnTo>
                    <a:pt x="208" y="984"/>
                  </a:lnTo>
                  <a:lnTo>
                    <a:pt x="211" y="984"/>
                  </a:lnTo>
                  <a:lnTo>
                    <a:pt x="208" y="981"/>
                  </a:lnTo>
                  <a:lnTo>
                    <a:pt x="211" y="981"/>
                  </a:lnTo>
                  <a:lnTo>
                    <a:pt x="208" y="981"/>
                  </a:lnTo>
                  <a:lnTo>
                    <a:pt x="211" y="981"/>
                  </a:lnTo>
                  <a:lnTo>
                    <a:pt x="211" y="984"/>
                  </a:lnTo>
                  <a:lnTo>
                    <a:pt x="211" y="981"/>
                  </a:lnTo>
                  <a:lnTo>
                    <a:pt x="213" y="981"/>
                  </a:lnTo>
                  <a:lnTo>
                    <a:pt x="211" y="981"/>
                  </a:lnTo>
                  <a:lnTo>
                    <a:pt x="213" y="981"/>
                  </a:lnTo>
                  <a:close/>
                  <a:moveTo>
                    <a:pt x="208" y="979"/>
                  </a:moveTo>
                  <a:lnTo>
                    <a:pt x="211" y="979"/>
                  </a:lnTo>
                  <a:lnTo>
                    <a:pt x="208" y="979"/>
                  </a:lnTo>
                  <a:lnTo>
                    <a:pt x="208" y="981"/>
                  </a:lnTo>
                  <a:lnTo>
                    <a:pt x="208" y="979"/>
                  </a:lnTo>
                  <a:close/>
                  <a:moveTo>
                    <a:pt x="206" y="979"/>
                  </a:moveTo>
                  <a:lnTo>
                    <a:pt x="208" y="979"/>
                  </a:lnTo>
                  <a:lnTo>
                    <a:pt x="206" y="979"/>
                  </a:lnTo>
                  <a:lnTo>
                    <a:pt x="208" y="979"/>
                  </a:lnTo>
                  <a:lnTo>
                    <a:pt x="206" y="979"/>
                  </a:lnTo>
                  <a:close/>
                  <a:moveTo>
                    <a:pt x="235" y="979"/>
                  </a:moveTo>
                  <a:lnTo>
                    <a:pt x="232" y="979"/>
                  </a:lnTo>
                  <a:lnTo>
                    <a:pt x="235" y="979"/>
                  </a:lnTo>
                  <a:close/>
                  <a:moveTo>
                    <a:pt x="235" y="972"/>
                  </a:moveTo>
                  <a:lnTo>
                    <a:pt x="235" y="974"/>
                  </a:lnTo>
                  <a:lnTo>
                    <a:pt x="237" y="974"/>
                  </a:lnTo>
                  <a:lnTo>
                    <a:pt x="237" y="972"/>
                  </a:lnTo>
                  <a:lnTo>
                    <a:pt x="237" y="974"/>
                  </a:lnTo>
                  <a:lnTo>
                    <a:pt x="235" y="974"/>
                  </a:lnTo>
                  <a:lnTo>
                    <a:pt x="235" y="977"/>
                  </a:lnTo>
                  <a:lnTo>
                    <a:pt x="232" y="977"/>
                  </a:lnTo>
                  <a:lnTo>
                    <a:pt x="235" y="977"/>
                  </a:lnTo>
                  <a:lnTo>
                    <a:pt x="232" y="977"/>
                  </a:lnTo>
                  <a:lnTo>
                    <a:pt x="235" y="977"/>
                  </a:lnTo>
                  <a:lnTo>
                    <a:pt x="232" y="977"/>
                  </a:lnTo>
                  <a:lnTo>
                    <a:pt x="230" y="977"/>
                  </a:lnTo>
                  <a:lnTo>
                    <a:pt x="227" y="977"/>
                  </a:lnTo>
                  <a:lnTo>
                    <a:pt x="230" y="977"/>
                  </a:lnTo>
                  <a:lnTo>
                    <a:pt x="227" y="977"/>
                  </a:lnTo>
                  <a:lnTo>
                    <a:pt x="230" y="977"/>
                  </a:lnTo>
                  <a:lnTo>
                    <a:pt x="227" y="977"/>
                  </a:lnTo>
                  <a:lnTo>
                    <a:pt x="230" y="977"/>
                  </a:lnTo>
                  <a:lnTo>
                    <a:pt x="230" y="974"/>
                  </a:lnTo>
                  <a:lnTo>
                    <a:pt x="230" y="977"/>
                  </a:lnTo>
                  <a:lnTo>
                    <a:pt x="227" y="977"/>
                  </a:lnTo>
                  <a:lnTo>
                    <a:pt x="230" y="977"/>
                  </a:lnTo>
                  <a:lnTo>
                    <a:pt x="230" y="974"/>
                  </a:lnTo>
                  <a:lnTo>
                    <a:pt x="232" y="974"/>
                  </a:lnTo>
                  <a:lnTo>
                    <a:pt x="235" y="974"/>
                  </a:lnTo>
                  <a:lnTo>
                    <a:pt x="235" y="972"/>
                  </a:lnTo>
                  <a:lnTo>
                    <a:pt x="235" y="974"/>
                  </a:lnTo>
                  <a:lnTo>
                    <a:pt x="235" y="972"/>
                  </a:lnTo>
                  <a:close/>
                  <a:moveTo>
                    <a:pt x="237" y="972"/>
                  </a:moveTo>
                  <a:lnTo>
                    <a:pt x="235" y="972"/>
                  </a:lnTo>
                  <a:lnTo>
                    <a:pt x="237" y="972"/>
                  </a:lnTo>
                  <a:close/>
                  <a:moveTo>
                    <a:pt x="256" y="972"/>
                  </a:moveTo>
                  <a:lnTo>
                    <a:pt x="258" y="972"/>
                  </a:lnTo>
                  <a:lnTo>
                    <a:pt x="261" y="972"/>
                  </a:lnTo>
                  <a:lnTo>
                    <a:pt x="258" y="972"/>
                  </a:lnTo>
                  <a:lnTo>
                    <a:pt x="258" y="974"/>
                  </a:lnTo>
                  <a:lnTo>
                    <a:pt x="256" y="974"/>
                  </a:lnTo>
                  <a:lnTo>
                    <a:pt x="256" y="972"/>
                  </a:lnTo>
                  <a:lnTo>
                    <a:pt x="254" y="972"/>
                  </a:lnTo>
                  <a:lnTo>
                    <a:pt x="256" y="972"/>
                  </a:lnTo>
                  <a:close/>
                  <a:moveTo>
                    <a:pt x="256" y="969"/>
                  </a:moveTo>
                  <a:lnTo>
                    <a:pt x="258" y="969"/>
                  </a:lnTo>
                  <a:lnTo>
                    <a:pt x="256" y="969"/>
                  </a:lnTo>
                  <a:close/>
                  <a:moveTo>
                    <a:pt x="244" y="969"/>
                  </a:moveTo>
                  <a:lnTo>
                    <a:pt x="242" y="969"/>
                  </a:lnTo>
                  <a:lnTo>
                    <a:pt x="244" y="967"/>
                  </a:lnTo>
                  <a:lnTo>
                    <a:pt x="244" y="969"/>
                  </a:lnTo>
                  <a:close/>
                  <a:moveTo>
                    <a:pt x="211" y="967"/>
                  </a:moveTo>
                  <a:lnTo>
                    <a:pt x="211" y="969"/>
                  </a:lnTo>
                  <a:lnTo>
                    <a:pt x="211" y="967"/>
                  </a:lnTo>
                  <a:lnTo>
                    <a:pt x="211" y="969"/>
                  </a:lnTo>
                  <a:lnTo>
                    <a:pt x="211" y="967"/>
                  </a:lnTo>
                  <a:close/>
                  <a:moveTo>
                    <a:pt x="256" y="969"/>
                  </a:moveTo>
                  <a:lnTo>
                    <a:pt x="256" y="967"/>
                  </a:lnTo>
                  <a:lnTo>
                    <a:pt x="256" y="969"/>
                  </a:lnTo>
                  <a:close/>
                  <a:moveTo>
                    <a:pt x="244" y="967"/>
                  </a:moveTo>
                  <a:lnTo>
                    <a:pt x="246" y="967"/>
                  </a:lnTo>
                  <a:lnTo>
                    <a:pt x="244" y="969"/>
                  </a:lnTo>
                  <a:lnTo>
                    <a:pt x="244" y="967"/>
                  </a:lnTo>
                  <a:close/>
                  <a:moveTo>
                    <a:pt x="256" y="967"/>
                  </a:moveTo>
                  <a:lnTo>
                    <a:pt x="256" y="965"/>
                  </a:lnTo>
                  <a:lnTo>
                    <a:pt x="256" y="967"/>
                  </a:lnTo>
                  <a:lnTo>
                    <a:pt x="256" y="965"/>
                  </a:lnTo>
                  <a:lnTo>
                    <a:pt x="256" y="967"/>
                  </a:lnTo>
                  <a:close/>
                  <a:moveTo>
                    <a:pt x="256" y="965"/>
                  </a:moveTo>
                  <a:lnTo>
                    <a:pt x="258" y="965"/>
                  </a:lnTo>
                  <a:lnTo>
                    <a:pt x="256" y="965"/>
                  </a:lnTo>
                  <a:close/>
                  <a:moveTo>
                    <a:pt x="246" y="965"/>
                  </a:moveTo>
                  <a:lnTo>
                    <a:pt x="244" y="965"/>
                  </a:lnTo>
                  <a:lnTo>
                    <a:pt x="246" y="965"/>
                  </a:lnTo>
                  <a:close/>
                  <a:moveTo>
                    <a:pt x="249" y="960"/>
                  </a:moveTo>
                  <a:lnTo>
                    <a:pt x="249" y="958"/>
                  </a:lnTo>
                  <a:lnTo>
                    <a:pt x="249" y="960"/>
                  </a:lnTo>
                  <a:close/>
                  <a:moveTo>
                    <a:pt x="246" y="958"/>
                  </a:moveTo>
                  <a:lnTo>
                    <a:pt x="244" y="958"/>
                  </a:lnTo>
                  <a:lnTo>
                    <a:pt x="246" y="958"/>
                  </a:lnTo>
                  <a:close/>
                  <a:moveTo>
                    <a:pt x="246" y="958"/>
                  </a:moveTo>
                  <a:lnTo>
                    <a:pt x="244" y="958"/>
                  </a:lnTo>
                  <a:lnTo>
                    <a:pt x="246" y="958"/>
                  </a:lnTo>
                  <a:close/>
                  <a:moveTo>
                    <a:pt x="246" y="958"/>
                  </a:moveTo>
                  <a:lnTo>
                    <a:pt x="244" y="958"/>
                  </a:lnTo>
                  <a:lnTo>
                    <a:pt x="246" y="955"/>
                  </a:lnTo>
                  <a:lnTo>
                    <a:pt x="246" y="958"/>
                  </a:lnTo>
                  <a:close/>
                  <a:moveTo>
                    <a:pt x="249" y="958"/>
                  </a:moveTo>
                  <a:lnTo>
                    <a:pt x="249" y="955"/>
                  </a:lnTo>
                  <a:lnTo>
                    <a:pt x="249" y="958"/>
                  </a:lnTo>
                  <a:close/>
                  <a:moveTo>
                    <a:pt x="254" y="955"/>
                  </a:moveTo>
                  <a:lnTo>
                    <a:pt x="251" y="955"/>
                  </a:lnTo>
                  <a:lnTo>
                    <a:pt x="254" y="955"/>
                  </a:lnTo>
                  <a:close/>
                  <a:moveTo>
                    <a:pt x="246" y="955"/>
                  </a:moveTo>
                  <a:lnTo>
                    <a:pt x="246" y="953"/>
                  </a:lnTo>
                  <a:lnTo>
                    <a:pt x="246" y="955"/>
                  </a:lnTo>
                  <a:close/>
                  <a:moveTo>
                    <a:pt x="246" y="953"/>
                  </a:moveTo>
                  <a:lnTo>
                    <a:pt x="246" y="955"/>
                  </a:lnTo>
                  <a:lnTo>
                    <a:pt x="244" y="955"/>
                  </a:lnTo>
                  <a:lnTo>
                    <a:pt x="246" y="953"/>
                  </a:lnTo>
                  <a:lnTo>
                    <a:pt x="244" y="955"/>
                  </a:lnTo>
                  <a:lnTo>
                    <a:pt x="244" y="953"/>
                  </a:lnTo>
                  <a:lnTo>
                    <a:pt x="246" y="953"/>
                  </a:lnTo>
                  <a:close/>
                  <a:moveTo>
                    <a:pt x="249" y="953"/>
                  </a:moveTo>
                  <a:lnTo>
                    <a:pt x="251" y="953"/>
                  </a:lnTo>
                  <a:lnTo>
                    <a:pt x="251" y="955"/>
                  </a:lnTo>
                  <a:lnTo>
                    <a:pt x="251" y="953"/>
                  </a:lnTo>
                  <a:lnTo>
                    <a:pt x="251" y="955"/>
                  </a:lnTo>
                  <a:lnTo>
                    <a:pt x="251" y="953"/>
                  </a:lnTo>
                  <a:lnTo>
                    <a:pt x="249" y="955"/>
                  </a:lnTo>
                  <a:lnTo>
                    <a:pt x="249" y="953"/>
                  </a:lnTo>
                  <a:lnTo>
                    <a:pt x="251" y="953"/>
                  </a:lnTo>
                  <a:lnTo>
                    <a:pt x="249" y="953"/>
                  </a:lnTo>
                  <a:lnTo>
                    <a:pt x="251" y="953"/>
                  </a:lnTo>
                  <a:lnTo>
                    <a:pt x="249" y="953"/>
                  </a:lnTo>
                  <a:lnTo>
                    <a:pt x="249" y="955"/>
                  </a:lnTo>
                  <a:lnTo>
                    <a:pt x="249" y="958"/>
                  </a:lnTo>
                  <a:lnTo>
                    <a:pt x="246" y="958"/>
                  </a:lnTo>
                  <a:lnTo>
                    <a:pt x="246" y="955"/>
                  </a:lnTo>
                  <a:lnTo>
                    <a:pt x="246" y="958"/>
                  </a:lnTo>
                  <a:lnTo>
                    <a:pt x="246" y="955"/>
                  </a:lnTo>
                  <a:lnTo>
                    <a:pt x="246" y="958"/>
                  </a:lnTo>
                  <a:lnTo>
                    <a:pt x="246" y="955"/>
                  </a:lnTo>
                  <a:lnTo>
                    <a:pt x="249" y="955"/>
                  </a:lnTo>
                  <a:lnTo>
                    <a:pt x="246" y="955"/>
                  </a:lnTo>
                  <a:lnTo>
                    <a:pt x="249" y="955"/>
                  </a:lnTo>
                  <a:lnTo>
                    <a:pt x="249" y="953"/>
                  </a:lnTo>
                  <a:lnTo>
                    <a:pt x="249" y="955"/>
                  </a:lnTo>
                  <a:lnTo>
                    <a:pt x="249" y="953"/>
                  </a:lnTo>
                  <a:close/>
                  <a:moveTo>
                    <a:pt x="249" y="953"/>
                  </a:moveTo>
                  <a:lnTo>
                    <a:pt x="249" y="955"/>
                  </a:lnTo>
                  <a:lnTo>
                    <a:pt x="249" y="953"/>
                  </a:lnTo>
                  <a:lnTo>
                    <a:pt x="246" y="955"/>
                  </a:lnTo>
                  <a:lnTo>
                    <a:pt x="246" y="953"/>
                  </a:lnTo>
                  <a:lnTo>
                    <a:pt x="249" y="953"/>
                  </a:lnTo>
                  <a:lnTo>
                    <a:pt x="246" y="953"/>
                  </a:lnTo>
                  <a:lnTo>
                    <a:pt x="249" y="953"/>
                  </a:lnTo>
                  <a:lnTo>
                    <a:pt x="249" y="950"/>
                  </a:lnTo>
                  <a:lnTo>
                    <a:pt x="249" y="953"/>
                  </a:lnTo>
                  <a:close/>
                  <a:moveTo>
                    <a:pt x="249" y="950"/>
                  </a:moveTo>
                  <a:lnTo>
                    <a:pt x="249" y="953"/>
                  </a:lnTo>
                  <a:lnTo>
                    <a:pt x="246" y="953"/>
                  </a:lnTo>
                  <a:lnTo>
                    <a:pt x="249" y="953"/>
                  </a:lnTo>
                  <a:lnTo>
                    <a:pt x="246" y="953"/>
                  </a:lnTo>
                  <a:lnTo>
                    <a:pt x="249" y="950"/>
                  </a:lnTo>
                  <a:close/>
                  <a:moveTo>
                    <a:pt x="251" y="943"/>
                  </a:moveTo>
                  <a:lnTo>
                    <a:pt x="251" y="946"/>
                  </a:lnTo>
                  <a:lnTo>
                    <a:pt x="249" y="946"/>
                  </a:lnTo>
                  <a:lnTo>
                    <a:pt x="249" y="943"/>
                  </a:lnTo>
                  <a:lnTo>
                    <a:pt x="251" y="943"/>
                  </a:lnTo>
                  <a:close/>
                  <a:moveTo>
                    <a:pt x="235" y="941"/>
                  </a:moveTo>
                  <a:lnTo>
                    <a:pt x="237" y="941"/>
                  </a:lnTo>
                  <a:lnTo>
                    <a:pt x="237" y="943"/>
                  </a:lnTo>
                  <a:lnTo>
                    <a:pt x="235" y="943"/>
                  </a:lnTo>
                  <a:lnTo>
                    <a:pt x="235" y="941"/>
                  </a:lnTo>
                  <a:close/>
                  <a:moveTo>
                    <a:pt x="239" y="941"/>
                  </a:moveTo>
                  <a:lnTo>
                    <a:pt x="237" y="941"/>
                  </a:lnTo>
                  <a:lnTo>
                    <a:pt x="239" y="941"/>
                  </a:lnTo>
                  <a:lnTo>
                    <a:pt x="237" y="941"/>
                  </a:lnTo>
                  <a:lnTo>
                    <a:pt x="239" y="941"/>
                  </a:lnTo>
                  <a:close/>
                  <a:moveTo>
                    <a:pt x="249" y="941"/>
                  </a:moveTo>
                  <a:lnTo>
                    <a:pt x="249" y="943"/>
                  </a:lnTo>
                  <a:lnTo>
                    <a:pt x="246" y="943"/>
                  </a:lnTo>
                  <a:lnTo>
                    <a:pt x="246" y="941"/>
                  </a:lnTo>
                  <a:lnTo>
                    <a:pt x="246" y="943"/>
                  </a:lnTo>
                  <a:lnTo>
                    <a:pt x="246" y="941"/>
                  </a:lnTo>
                  <a:lnTo>
                    <a:pt x="246" y="943"/>
                  </a:lnTo>
                  <a:lnTo>
                    <a:pt x="246" y="941"/>
                  </a:lnTo>
                  <a:lnTo>
                    <a:pt x="246" y="943"/>
                  </a:lnTo>
                  <a:lnTo>
                    <a:pt x="246" y="941"/>
                  </a:lnTo>
                  <a:lnTo>
                    <a:pt x="249" y="941"/>
                  </a:lnTo>
                  <a:close/>
                  <a:moveTo>
                    <a:pt x="246" y="941"/>
                  </a:moveTo>
                  <a:lnTo>
                    <a:pt x="244" y="941"/>
                  </a:lnTo>
                  <a:lnTo>
                    <a:pt x="244" y="939"/>
                  </a:lnTo>
                  <a:lnTo>
                    <a:pt x="246" y="941"/>
                  </a:lnTo>
                  <a:close/>
                  <a:moveTo>
                    <a:pt x="244" y="939"/>
                  </a:moveTo>
                  <a:lnTo>
                    <a:pt x="244" y="941"/>
                  </a:lnTo>
                  <a:lnTo>
                    <a:pt x="244" y="939"/>
                  </a:lnTo>
                  <a:close/>
                  <a:moveTo>
                    <a:pt x="244" y="939"/>
                  </a:moveTo>
                  <a:lnTo>
                    <a:pt x="242" y="939"/>
                  </a:lnTo>
                  <a:lnTo>
                    <a:pt x="244" y="939"/>
                  </a:lnTo>
                  <a:lnTo>
                    <a:pt x="242" y="939"/>
                  </a:lnTo>
                  <a:lnTo>
                    <a:pt x="244" y="939"/>
                  </a:lnTo>
                  <a:close/>
                  <a:moveTo>
                    <a:pt x="258" y="941"/>
                  </a:moveTo>
                  <a:lnTo>
                    <a:pt x="256" y="941"/>
                  </a:lnTo>
                  <a:lnTo>
                    <a:pt x="256" y="943"/>
                  </a:lnTo>
                  <a:lnTo>
                    <a:pt x="254" y="943"/>
                  </a:lnTo>
                  <a:lnTo>
                    <a:pt x="256" y="943"/>
                  </a:lnTo>
                  <a:lnTo>
                    <a:pt x="256" y="941"/>
                  </a:lnTo>
                  <a:lnTo>
                    <a:pt x="258" y="941"/>
                  </a:lnTo>
                  <a:lnTo>
                    <a:pt x="258" y="939"/>
                  </a:lnTo>
                  <a:lnTo>
                    <a:pt x="261" y="939"/>
                  </a:lnTo>
                  <a:lnTo>
                    <a:pt x="258" y="939"/>
                  </a:lnTo>
                  <a:lnTo>
                    <a:pt x="261" y="939"/>
                  </a:lnTo>
                  <a:lnTo>
                    <a:pt x="258" y="939"/>
                  </a:lnTo>
                  <a:lnTo>
                    <a:pt x="258" y="941"/>
                  </a:lnTo>
                  <a:close/>
                  <a:moveTo>
                    <a:pt x="246" y="939"/>
                  </a:moveTo>
                  <a:lnTo>
                    <a:pt x="246" y="936"/>
                  </a:lnTo>
                  <a:lnTo>
                    <a:pt x="246" y="939"/>
                  </a:lnTo>
                  <a:close/>
                  <a:moveTo>
                    <a:pt x="254" y="934"/>
                  </a:moveTo>
                  <a:lnTo>
                    <a:pt x="254" y="936"/>
                  </a:lnTo>
                  <a:lnTo>
                    <a:pt x="251" y="936"/>
                  </a:lnTo>
                  <a:lnTo>
                    <a:pt x="254" y="936"/>
                  </a:lnTo>
                  <a:lnTo>
                    <a:pt x="251" y="934"/>
                  </a:lnTo>
                  <a:lnTo>
                    <a:pt x="254" y="934"/>
                  </a:lnTo>
                  <a:close/>
                  <a:moveTo>
                    <a:pt x="261" y="934"/>
                  </a:moveTo>
                  <a:lnTo>
                    <a:pt x="261" y="936"/>
                  </a:lnTo>
                  <a:lnTo>
                    <a:pt x="258" y="936"/>
                  </a:lnTo>
                  <a:lnTo>
                    <a:pt x="258" y="939"/>
                  </a:lnTo>
                  <a:lnTo>
                    <a:pt x="256" y="939"/>
                  </a:lnTo>
                  <a:lnTo>
                    <a:pt x="258" y="939"/>
                  </a:lnTo>
                  <a:lnTo>
                    <a:pt x="256" y="939"/>
                  </a:lnTo>
                  <a:lnTo>
                    <a:pt x="258" y="939"/>
                  </a:lnTo>
                  <a:lnTo>
                    <a:pt x="258" y="936"/>
                  </a:lnTo>
                  <a:lnTo>
                    <a:pt x="261" y="936"/>
                  </a:lnTo>
                  <a:lnTo>
                    <a:pt x="261" y="934"/>
                  </a:lnTo>
                  <a:close/>
                  <a:moveTo>
                    <a:pt x="251" y="934"/>
                  </a:moveTo>
                  <a:lnTo>
                    <a:pt x="251" y="936"/>
                  </a:lnTo>
                  <a:lnTo>
                    <a:pt x="251" y="934"/>
                  </a:lnTo>
                  <a:close/>
                  <a:moveTo>
                    <a:pt x="249" y="934"/>
                  </a:moveTo>
                  <a:lnTo>
                    <a:pt x="246" y="934"/>
                  </a:lnTo>
                  <a:lnTo>
                    <a:pt x="249" y="934"/>
                  </a:lnTo>
                  <a:close/>
                  <a:moveTo>
                    <a:pt x="263" y="931"/>
                  </a:moveTo>
                  <a:lnTo>
                    <a:pt x="263" y="934"/>
                  </a:lnTo>
                  <a:lnTo>
                    <a:pt x="263" y="936"/>
                  </a:lnTo>
                  <a:lnTo>
                    <a:pt x="263" y="934"/>
                  </a:lnTo>
                  <a:lnTo>
                    <a:pt x="263" y="936"/>
                  </a:lnTo>
                  <a:lnTo>
                    <a:pt x="263" y="934"/>
                  </a:lnTo>
                  <a:lnTo>
                    <a:pt x="263" y="936"/>
                  </a:lnTo>
                  <a:lnTo>
                    <a:pt x="261" y="936"/>
                  </a:lnTo>
                  <a:lnTo>
                    <a:pt x="263" y="934"/>
                  </a:lnTo>
                  <a:lnTo>
                    <a:pt x="263" y="931"/>
                  </a:lnTo>
                  <a:close/>
                  <a:moveTo>
                    <a:pt x="249" y="934"/>
                  </a:moveTo>
                  <a:lnTo>
                    <a:pt x="249" y="931"/>
                  </a:lnTo>
                  <a:lnTo>
                    <a:pt x="249" y="934"/>
                  </a:lnTo>
                  <a:close/>
                  <a:moveTo>
                    <a:pt x="251" y="931"/>
                  </a:moveTo>
                  <a:lnTo>
                    <a:pt x="251" y="934"/>
                  </a:lnTo>
                  <a:lnTo>
                    <a:pt x="251" y="931"/>
                  </a:lnTo>
                  <a:close/>
                  <a:moveTo>
                    <a:pt x="254" y="934"/>
                  </a:moveTo>
                  <a:lnTo>
                    <a:pt x="254" y="931"/>
                  </a:lnTo>
                  <a:lnTo>
                    <a:pt x="254" y="934"/>
                  </a:lnTo>
                  <a:close/>
                  <a:moveTo>
                    <a:pt x="237" y="931"/>
                  </a:moveTo>
                  <a:lnTo>
                    <a:pt x="235" y="931"/>
                  </a:lnTo>
                  <a:lnTo>
                    <a:pt x="237" y="931"/>
                  </a:lnTo>
                  <a:close/>
                  <a:moveTo>
                    <a:pt x="261" y="931"/>
                  </a:moveTo>
                  <a:lnTo>
                    <a:pt x="261" y="934"/>
                  </a:lnTo>
                  <a:lnTo>
                    <a:pt x="258" y="934"/>
                  </a:lnTo>
                  <a:lnTo>
                    <a:pt x="261" y="934"/>
                  </a:lnTo>
                  <a:lnTo>
                    <a:pt x="258" y="934"/>
                  </a:lnTo>
                  <a:lnTo>
                    <a:pt x="258" y="931"/>
                  </a:lnTo>
                  <a:lnTo>
                    <a:pt x="258" y="934"/>
                  </a:lnTo>
                  <a:lnTo>
                    <a:pt x="258" y="931"/>
                  </a:lnTo>
                  <a:lnTo>
                    <a:pt x="261" y="931"/>
                  </a:lnTo>
                  <a:close/>
                  <a:moveTo>
                    <a:pt x="251" y="931"/>
                  </a:moveTo>
                  <a:lnTo>
                    <a:pt x="249" y="931"/>
                  </a:lnTo>
                  <a:lnTo>
                    <a:pt x="251" y="931"/>
                  </a:lnTo>
                  <a:lnTo>
                    <a:pt x="249" y="931"/>
                  </a:lnTo>
                  <a:lnTo>
                    <a:pt x="251" y="931"/>
                  </a:lnTo>
                  <a:close/>
                  <a:moveTo>
                    <a:pt x="256" y="934"/>
                  </a:moveTo>
                  <a:lnTo>
                    <a:pt x="256" y="931"/>
                  </a:lnTo>
                  <a:lnTo>
                    <a:pt x="256" y="934"/>
                  </a:lnTo>
                  <a:close/>
                  <a:moveTo>
                    <a:pt x="265" y="931"/>
                  </a:moveTo>
                  <a:lnTo>
                    <a:pt x="263" y="931"/>
                  </a:lnTo>
                  <a:lnTo>
                    <a:pt x="265" y="931"/>
                  </a:lnTo>
                  <a:close/>
                  <a:moveTo>
                    <a:pt x="237" y="931"/>
                  </a:moveTo>
                  <a:lnTo>
                    <a:pt x="239" y="929"/>
                  </a:lnTo>
                  <a:lnTo>
                    <a:pt x="239" y="931"/>
                  </a:lnTo>
                  <a:lnTo>
                    <a:pt x="237" y="931"/>
                  </a:lnTo>
                  <a:close/>
                  <a:moveTo>
                    <a:pt x="256" y="931"/>
                  </a:moveTo>
                  <a:lnTo>
                    <a:pt x="256" y="929"/>
                  </a:lnTo>
                  <a:lnTo>
                    <a:pt x="256" y="931"/>
                  </a:lnTo>
                  <a:close/>
                  <a:moveTo>
                    <a:pt x="265" y="931"/>
                  </a:moveTo>
                  <a:lnTo>
                    <a:pt x="263" y="931"/>
                  </a:lnTo>
                  <a:lnTo>
                    <a:pt x="265" y="931"/>
                  </a:lnTo>
                  <a:lnTo>
                    <a:pt x="265" y="929"/>
                  </a:lnTo>
                  <a:lnTo>
                    <a:pt x="265" y="931"/>
                  </a:lnTo>
                  <a:close/>
                  <a:moveTo>
                    <a:pt x="237" y="931"/>
                  </a:moveTo>
                  <a:lnTo>
                    <a:pt x="237" y="929"/>
                  </a:lnTo>
                  <a:lnTo>
                    <a:pt x="239" y="929"/>
                  </a:lnTo>
                  <a:lnTo>
                    <a:pt x="237" y="931"/>
                  </a:lnTo>
                  <a:close/>
                  <a:moveTo>
                    <a:pt x="254" y="929"/>
                  </a:moveTo>
                  <a:lnTo>
                    <a:pt x="251" y="929"/>
                  </a:lnTo>
                  <a:lnTo>
                    <a:pt x="254" y="929"/>
                  </a:lnTo>
                  <a:close/>
                  <a:moveTo>
                    <a:pt x="249" y="929"/>
                  </a:moveTo>
                  <a:lnTo>
                    <a:pt x="246" y="929"/>
                  </a:lnTo>
                  <a:lnTo>
                    <a:pt x="249" y="929"/>
                  </a:lnTo>
                  <a:close/>
                  <a:moveTo>
                    <a:pt x="254" y="929"/>
                  </a:moveTo>
                  <a:lnTo>
                    <a:pt x="254" y="927"/>
                  </a:lnTo>
                  <a:lnTo>
                    <a:pt x="254" y="929"/>
                  </a:lnTo>
                  <a:close/>
                  <a:moveTo>
                    <a:pt x="249" y="927"/>
                  </a:moveTo>
                  <a:lnTo>
                    <a:pt x="249" y="929"/>
                  </a:lnTo>
                  <a:lnTo>
                    <a:pt x="249" y="927"/>
                  </a:lnTo>
                  <a:close/>
                  <a:moveTo>
                    <a:pt x="251" y="927"/>
                  </a:moveTo>
                  <a:lnTo>
                    <a:pt x="251" y="929"/>
                  </a:lnTo>
                  <a:lnTo>
                    <a:pt x="251" y="927"/>
                  </a:lnTo>
                  <a:lnTo>
                    <a:pt x="251" y="929"/>
                  </a:lnTo>
                  <a:lnTo>
                    <a:pt x="251" y="927"/>
                  </a:lnTo>
                  <a:close/>
                  <a:moveTo>
                    <a:pt x="249" y="927"/>
                  </a:moveTo>
                  <a:lnTo>
                    <a:pt x="249" y="929"/>
                  </a:lnTo>
                  <a:lnTo>
                    <a:pt x="249" y="927"/>
                  </a:lnTo>
                  <a:close/>
                  <a:moveTo>
                    <a:pt x="254" y="929"/>
                  </a:moveTo>
                  <a:lnTo>
                    <a:pt x="254" y="927"/>
                  </a:lnTo>
                  <a:lnTo>
                    <a:pt x="254" y="929"/>
                  </a:lnTo>
                  <a:close/>
                  <a:moveTo>
                    <a:pt x="254" y="931"/>
                  </a:moveTo>
                  <a:lnTo>
                    <a:pt x="251" y="934"/>
                  </a:lnTo>
                  <a:lnTo>
                    <a:pt x="251" y="931"/>
                  </a:lnTo>
                  <a:lnTo>
                    <a:pt x="254" y="931"/>
                  </a:lnTo>
                  <a:lnTo>
                    <a:pt x="254" y="929"/>
                  </a:lnTo>
                  <a:lnTo>
                    <a:pt x="254" y="931"/>
                  </a:lnTo>
                  <a:lnTo>
                    <a:pt x="254" y="929"/>
                  </a:lnTo>
                  <a:lnTo>
                    <a:pt x="256" y="929"/>
                  </a:lnTo>
                  <a:lnTo>
                    <a:pt x="254" y="929"/>
                  </a:lnTo>
                  <a:lnTo>
                    <a:pt x="256" y="929"/>
                  </a:lnTo>
                  <a:lnTo>
                    <a:pt x="256" y="927"/>
                  </a:lnTo>
                  <a:lnTo>
                    <a:pt x="254" y="929"/>
                  </a:lnTo>
                  <a:lnTo>
                    <a:pt x="254" y="927"/>
                  </a:lnTo>
                  <a:lnTo>
                    <a:pt x="256" y="927"/>
                  </a:lnTo>
                  <a:lnTo>
                    <a:pt x="256" y="929"/>
                  </a:lnTo>
                  <a:lnTo>
                    <a:pt x="256" y="927"/>
                  </a:lnTo>
                  <a:lnTo>
                    <a:pt x="256" y="929"/>
                  </a:lnTo>
                  <a:lnTo>
                    <a:pt x="254" y="929"/>
                  </a:lnTo>
                  <a:lnTo>
                    <a:pt x="254" y="931"/>
                  </a:lnTo>
                  <a:close/>
                  <a:moveTo>
                    <a:pt x="254" y="927"/>
                  </a:moveTo>
                  <a:lnTo>
                    <a:pt x="251" y="927"/>
                  </a:lnTo>
                  <a:lnTo>
                    <a:pt x="254" y="927"/>
                  </a:lnTo>
                  <a:close/>
                  <a:moveTo>
                    <a:pt x="254" y="924"/>
                  </a:moveTo>
                  <a:lnTo>
                    <a:pt x="254" y="927"/>
                  </a:lnTo>
                  <a:lnTo>
                    <a:pt x="254" y="924"/>
                  </a:lnTo>
                  <a:lnTo>
                    <a:pt x="254" y="927"/>
                  </a:lnTo>
                  <a:lnTo>
                    <a:pt x="251" y="927"/>
                  </a:lnTo>
                  <a:lnTo>
                    <a:pt x="254" y="927"/>
                  </a:lnTo>
                  <a:lnTo>
                    <a:pt x="254" y="924"/>
                  </a:lnTo>
                  <a:lnTo>
                    <a:pt x="251" y="924"/>
                  </a:lnTo>
                  <a:lnTo>
                    <a:pt x="251" y="927"/>
                  </a:lnTo>
                  <a:lnTo>
                    <a:pt x="254" y="924"/>
                  </a:lnTo>
                  <a:lnTo>
                    <a:pt x="251" y="927"/>
                  </a:lnTo>
                  <a:lnTo>
                    <a:pt x="254" y="924"/>
                  </a:lnTo>
                  <a:close/>
                  <a:moveTo>
                    <a:pt x="254" y="924"/>
                  </a:moveTo>
                  <a:lnTo>
                    <a:pt x="254" y="922"/>
                  </a:lnTo>
                  <a:lnTo>
                    <a:pt x="254" y="924"/>
                  </a:lnTo>
                  <a:close/>
                  <a:moveTo>
                    <a:pt x="258" y="922"/>
                  </a:moveTo>
                  <a:lnTo>
                    <a:pt x="258" y="924"/>
                  </a:lnTo>
                  <a:lnTo>
                    <a:pt x="258" y="922"/>
                  </a:lnTo>
                  <a:lnTo>
                    <a:pt x="258" y="924"/>
                  </a:lnTo>
                  <a:lnTo>
                    <a:pt x="258" y="922"/>
                  </a:lnTo>
                  <a:close/>
                  <a:moveTo>
                    <a:pt x="251" y="922"/>
                  </a:moveTo>
                  <a:lnTo>
                    <a:pt x="254" y="924"/>
                  </a:lnTo>
                  <a:lnTo>
                    <a:pt x="251" y="924"/>
                  </a:lnTo>
                  <a:lnTo>
                    <a:pt x="254" y="924"/>
                  </a:lnTo>
                  <a:lnTo>
                    <a:pt x="251" y="924"/>
                  </a:lnTo>
                  <a:lnTo>
                    <a:pt x="254" y="924"/>
                  </a:lnTo>
                  <a:lnTo>
                    <a:pt x="251" y="924"/>
                  </a:lnTo>
                  <a:lnTo>
                    <a:pt x="251" y="922"/>
                  </a:lnTo>
                  <a:close/>
                  <a:moveTo>
                    <a:pt x="249" y="922"/>
                  </a:moveTo>
                  <a:lnTo>
                    <a:pt x="251" y="922"/>
                  </a:lnTo>
                  <a:lnTo>
                    <a:pt x="249" y="924"/>
                  </a:lnTo>
                  <a:lnTo>
                    <a:pt x="249" y="922"/>
                  </a:lnTo>
                  <a:lnTo>
                    <a:pt x="249" y="924"/>
                  </a:lnTo>
                  <a:lnTo>
                    <a:pt x="249" y="922"/>
                  </a:lnTo>
                  <a:lnTo>
                    <a:pt x="249" y="924"/>
                  </a:lnTo>
                  <a:lnTo>
                    <a:pt x="249" y="922"/>
                  </a:lnTo>
                  <a:close/>
                  <a:moveTo>
                    <a:pt x="254" y="922"/>
                  </a:moveTo>
                  <a:lnTo>
                    <a:pt x="251" y="922"/>
                  </a:lnTo>
                  <a:lnTo>
                    <a:pt x="254" y="922"/>
                  </a:lnTo>
                  <a:close/>
                  <a:moveTo>
                    <a:pt x="263" y="922"/>
                  </a:moveTo>
                  <a:lnTo>
                    <a:pt x="261" y="922"/>
                  </a:lnTo>
                  <a:lnTo>
                    <a:pt x="263" y="922"/>
                  </a:lnTo>
                  <a:close/>
                  <a:moveTo>
                    <a:pt x="263" y="919"/>
                  </a:moveTo>
                  <a:lnTo>
                    <a:pt x="263" y="922"/>
                  </a:lnTo>
                  <a:lnTo>
                    <a:pt x="261" y="922"/>
                  </a:lnTo>
                  <a:lnTo>
                    <a:pt x="263" y="919"/>
                  </a:lnTo>
                  <a:close/>
                  <a:moveTo>
                    <a:pt x="254" y="919"/>
                  </a:moveTo>
                  <a:lnTo>
                    <a:pt x="251" y="919"/>
                  </a:lnTo>
                  <a:lnTo>
                    <a:pt x="254" y="919"/>
                  </a:lnTo>
                  <a:close/>
                  <a:moveTo>
                    <a:pt x="246" y="919"/>
                  </a:moveTo>
                  <a:lnTo>
                    <a:pt x="246" y="922"/>
                  </a:lnTo>
                  <a:lnTo>
                    <a:pt x="246" y="919"/>
                  </a:lnTo>
                  <a:lnTo>
                    <a:pt x="244" y="922"/>
                  </a:lnTo>
                  <a:lnTo>
                    <a:pt x="246" y="919"/>
                  </a:lnTo>
                  <a:close/>
                  <a:moveTo>
                    <a:pt x="246" y="919"/>
                  </a:moveTo>
                  <a:lnTo>
                    <a:pt x="244" y="919"/>
                  </a:lnTo>
                  <a:lnTo>
                    <a:pt x="246" y="919"/>
                  </a:lnTo>
                  <a:close/>
                  <a:moveTo>
                    <a:pt x="256" y="917"/>
                  </a:moveTo>
                  <a:lnTo>
                    <a:pt x="256" y="915"/>
                  </a:lnTo>
                  <a:lnTo>
                    <a:pt x="256" y="917"/>
                  </a:lnTo>
                  <a:close/>
                  <a:moveTo>
                    <a:pt x="258" y="915"/>
                  </a:moveTo>
                  <a:lnTo>
                    <a:pt x="256" y="915"/>
                  </a:lnTo>
                  <a:lnTo>
                    <a:pt x="256" y="917"/>
                  </a:lnTo>
                  <a:lnTo>
                    <a:pt x="256" y="915"/>
                  </a:lnTo>
                  <a:lnTo>
                    <a:pt x="258" y="915"/>
                  </a:lnTo>
                  <a:close/>
                  <a:moveTo>
                    <a:pt x="277" y="915"/>
                  </a:moveTo>
                  <a:lnTo>
                    <a:pt x="275" y="915"/>
                  </a:lnTo>
                  <a:lnTo>
                    <a:pt x="277" y="915"/>
                  </a:lnTo>
                  <a:close/>
                  <a:moveTo>
                    <a:pt x="256" y="915"/>
                  </a:moveTo>
                  <a:lnTo>
                    <a:pt x="254" y="915"/>
                  </a:lnTo>
                  <a:lnTo>
                    <a:pt x="254" y="917"/>
                  </a:lnTo>
                  <a:lnTo>
                    <a:pt x="254" y="915"/>
                  </a:lnTo>
                  <a:lnTo>
                    <a:pt x="254" y="917"/>
                  </a:lnTo>
                  <a:lnTo>
                    <a:pt x="254" y="915"/>
                  </a:lnTo>
                  <a:lnTo>
                    <a:pt x="256" y="915"/>
                  </a:lnTo>
                  <a:lnTo>
                    <a:pt x="256" y="912"/>
                  </a:lnTo>
                  <a:lnTo>
                    <a:pt x="256" y="915"/>
                  </a:lnTo>
                  <a:close/>
                  <a:moveTo>
                    <a:pt x="258" y="915"/>
                  </a:moveTo>
                  <a:lnTo>
                    <a:pt x="256" y="915"/>
                  </a:lnTo>
                  <a:lnTo>
                    <a:pt x="256" y="912"/>
                  </a:lnTo>
                  <a:lnTo>
                    <a:pt x="258" y="912"/>
                  </a:lnTo>
                  <a:lnTo>
                    <a:pt x="258" y="915"/>
                  </a:lnTo>
                  <a:close/>
                  <a:moveTo>
                    <a:pt x="268" y="912"/>
                  </a:moveTo>
                  <a:lnTo>
                    <a:pt x="270" y="912"/>
                  </a:lnTo>
                  <a:lnTo>
                    <a:pt x="268" y="912"/>
                  </a:lnTo>
                  <a:lnTo>
                    <a:pt x="268" y="915"/>
                  </a:lnTo>
                  <a:lnTo>
                    <a:pt x="270" y="915"/>
                  </a:lnTo>
                  <a:lnTo>
                    <a:pt x="268" y="915"/>
                  </a:lnTo>
                  <a:lnTo>
                    <a:pt x="268" y="912"/>
                  </a:lnTo>
                  <a:lnTo>
                    <a:pt x="268" y="915"/>
                  </a:lnTo>
                  <a:lnTo>
                    <a:pt x="268" y="912"/>
                  </a:lnTo>
                  <a:close/>
                  <a:moveTo>
                    <a:pt x="277" y="912"/>
                  </a:moveTo>
                  <a:lnTo>
                    <a:pt x="275" y="912"/>
                  </a:lnTo>
                  <a:lnTo>
                    <a:pt x="275" y="915"/>
                  </a:lnTo>
                  <a:lnTo>
                    <a:pt x="273" y="915"/>
                  </a:lnTo>
                  <a:lnTo>
                    <a:pt x="273" y="912"/>
                  </a:lnTo>
                  <a:lnTo>
                    <a:pt x="275" y="912"/>
                  </a:lnTo>
                  <a:lnTo>
                    <a:pt x="277" y="912"/>
                  </a:lnTo>
                  <a:close/>
                  <a:moveTo>
                    <a:pt x="251" y="910"/>
                  </a:moveTo>
                  <a:lnTo>
                    <a:pt x="251" y="912"/>
                  </a:lnTo>
                  <a:lnTo>
                    <a:pt x="251" y="910"/>
                  </a:lnTo>
                  <a:lnTo>
                    <a:pt x="251" y="912"/>
                  </a:lnTo>
                  <a:lnTo>
                    <a:pt x="251" y="910"/>
                  </a:lnTo>
                  <a:close/>
                  <a:moveTo>
                    <a:pt x="254" y="910"/>
                  </a:moveTo>
                  <a:lnTo>
                    <a:pt x="251" y="910"/>
                  </a:lnTo>
                  <a:lnTo>
                    <a:pt x="254" y="910"/>
                  </a:lnTo>
                  <a:close/>
                  <a:moveTo>
                    <a:pt x="265" y="910"/>
                  </a:moveTo>
                  <a:lnTo>
                    <a:pt x="263" y="910"/>
                  </a:lnTo>
                  <a:lnTo>
                    <a:pt x="265" y="910"/>
                  </a:lnTo>
                  <a:lnTo>
                    <a:pt x="265" y="912"/>
                  </a:lnTo>
                  <a:lnTo>
                    <a:pt x="265" y="915"/>
                  </a:lnTo>
                  <a:lnTo>
                    <a:pt x="263" y="915"/>
                  </a:lnTo>
                  <a:lnTo>
                    <a:pt x="263" y="917"/>
                  </a:lnTo>
                  <a:lnTo>
                    <a:pt x="263" y="915"/>
                  </a:lnTo>
                  <a:lnTo>
                    <a:pt x="263" y="917"/>
                  </a:lnTo>
                  <a:lnTo>
                    <a:pt x="263" y="915"/>
                  </a:lnTo>
                  <a:lnTo>
                    <a:pt x="265" y="915"/>
                  </a:lnTo>
                  <a:lnTo>
                    <a:pt x="263" y="915"/>
                  </a:lnTo>
                  <a:lnTo>
                    <a:pt x="265" y="915"/>
                  </a:lnTo>
                  <a:lnTo>
                    <a:pt x="263" y="915"/>
                  </a:lnTo>
                  <a:lnTo>
                    <a:pt x="265" y="917"/>
                  </a:lnTo>
                  <a:lnTo>
                    <a:pt x="265" y="915"/>
                  </a:lnTo>
                  <a:lnTo>
                    <a:pt x="265" y="917"/>
                  </a:lnTo>
                  <a:lnTo>
                    <a:pt x="268" y="917"/>
                  </a:lnTo>
                  <a:lnTo>
                    <a:pt x="265" y="917"/>
                  </a:lnTo>
                  <a:lnTo>
                    <a:pt x="263" y="919"/>
                  </a:lnTo>
                  <a:lnTo>
                    <a:pt x="261" y="919"/>
                  </a:lnTo>
                  <a:lnTo>
                    <a:pt x="261" y="922"/>
                  </a:lnTo>
                  <a:lnTo>
                    <a:pt x="258" y="922"/>
                  </a:lnTo>
                  <a:lnTo>
                    <a:pt x="256" y="922"/>
                  </a:lnTo>
                  <a:lnTo>
                    <a:pt x="254" y="922"/>
                  </a:lnTo>
                  <a:lnTo>
                    <a:pt x="256" y="922"/>
                  </a:lnTo>
                  <a:lnTo>
                    <a:pt x="256" y="919"/>
                  </a:lnTo>
                  <a:lnTo>
                    <a:pt x="258" y="919"/>
                  </a:lnTo>
                  <a:lnTo>
                    <a:pt x="256" y="919"/>
                  </a:lnTo>
                  <a:lnTo>
                    <a:pt x="258" y="919"/>
                  </a:lnTo>
                  <a:lnTo>
                    <a:pt x="261" y="919"/>
                  </a:lnTo>
                  <a:lnTo>
                    <a:pt x="261" y="917"/>
                  </a:lnTo>
                  <a:lnTo>
                    <a:pt x="258" y="919"/>
                  </a:lnTo>
                  <a:lnTo>
                    <a:pt x="261" y="917"/>
                  </a:lnTo>
                  <a:lnTo>
                    <a:pt x="258" y="919"/>
                  </a:lnTo>
                  <a:lnTo>
                    <a:pt x="258" y="917"/>
                  </a:lnTo>
                  <a:lnTo>
                    <a:pt x="258" y="919"/>
                  </a:lnTo>
                  <a:lnTo>
                    <a:pt x="256" y="919"/>
                  </a:lnTo>
                  <a:lnTo>
                    <a:pt x="256" y="917"/>
                  </a:lnTo>
                  <a:lnTo>
                    <a:pt x="258" y="917"/>
                  </a:lnTo>
                  <a:lnTo>
                    <a:pt x="261" y="917"/>
                  </a:lnTo>
                  <a:lnTo>
                    <a:pt x="261" y="915"/>
                  </a:lnTo>
                  <a:lnTo>
                    <a:pt x="263" y="915"/>
                  </a:lnTo>
                  <a:lnTo>
                    <a:pt x="263" y="912"/>
                  </a:lnTo>
                  <a:lnTo>
                    <a:pt x="261" y="912"/>
                  </a:lnTo>
                  <a:lnTo>
                    <a:pt x="261" y="915"/>
                  </a:lnTo>
                  <a:lnTo>
                    <a:pt x="258" y="915"/>
                  </a:lnTo>
                  <a:lnTo>
                    <a:pt x="261" y="915"/>
                  </a:lnTo>
                  <a:lnTo>
                    <a:pt x="261" y="912"/>
                  </a:lnTo>
                  <a:lnTo>
                    <a:pt x="258" y="915"/>
                  </a:lnTo>
                  <a:lnTo>
                    <a:pt x="261" y="912"/>
                  </a:lnTo>
                  <a:lnTo>
                    <a:pt x="258" y="912"/>
                  </a:lnTo>
                  <a:lnTo>
                    <a:pt x="261" y="912"/>
                  </a:lnTo>
                  <a:lnTo>
                    <a:pt x="258" y="912"/>
                  </a:lnTo>
                  <a:lnTo>
                    <a:pt x="261" y="912"/>
                  </a:lnTo>
                  <a:lnTo>
                    <a:pt x="258" y="912"/>
                  </a:lnTo>
                  <a:lnTo>
                    <a:pt x="261" y="912"/>
                  </a:lnTo>
                  <a:lnTo>
                    <a:pt x="258" y="912"/>
                  </a:lnTo>
                  <a:lnTo>
                    <a:pt x="261" y="912"/>
                  </a:lnTo>
                  <a:lnTo>
                    <a:pt x="263" y="912"/>
                  </a:lnTo>
                  <a:lnTo>
                    <a:pt x="263" y="910"/>
                  </a:lnTo>
                  <a:lnTo>
                    <a:pt x="265" y="910"/>
                  </a:lnTo>
                  <a:close/>
                  <a:moveTo>
                    <a:pt x="254" y="910"/>
                  </a:moveTo>
                  <a:lnTo>
                    <a:pt x="251" y="910"/>
                  </a:lnTo>
                  <a:lnTo>
                    <a:pt x="254" y="910"/>
                  </a:lnTo>
                  <a:lnTo>
                    <a:pt x="251" y="910"/>
                  </a:lnTo>
                  <a:lnTo>
                    <a:pt x="254" y="910"/>
                  </a:lnTo>
                  <a:close/>
                  <a:moveTo>
                    <a:pt x="254" y="910"/>
                  </a:moveTo>
                  <a:lnTo>
                    <a:pt x="254" y="908"/>
                  </a:lnTo>
                  <a:lnTo>
                    <a:pt x="254" y="910"/>
                  </a:lnTo>
                  <a:close/>
                  <a:moveTo>
                    <a:pt x="282" y="908"/>
                  </a:moveTo>
                  <a:lnTo>
                    <a:pt x="284" y="908"/>
                  </a:lnTo>
                  <a:lnTo>
                    <a:pt x="282" y="908"/>
                  </a:lnTo>
                  <a:lnTo>
                    <a:pt x="280" y="908"/>
                  </a:lnTo>
                  <a:lnTo>
                    <a:pt x="280" y="910"/>
                  </a:lnTo>
                  <a:lnTo>
                    <a:pt x="277" y="910"/>
                  </a:lnTo>
                  <a:lnTo>
                    <a:pt x="275" y="910"/>
                  </a:lnTo>
                  <a:lnTo>
                    <a:pt x="277" y="910"/>
                  </a:lnTo>
                  <a:lnTo>
                    <a:pt x="277" y="908"/>
                  </a:lnTo>
                  <a:lnTo>
                    <a:pt x="280" y="908"/>
                  </a:lnTo>
                  <a:lnTo>
                    <a:pt x="282" y="908"/>
                  </a:lnTo>
                  <a:close/>
                  <a:moveTo>
                    <a:pt x="273" y="908"/>
                  </a:moveTo>
                  <a:lnTo>
                    <a:pt x="275" y="908"/>
                  </a:lnTo>
                  <a:lnTo>
                    <a:pt x="275" y="910"/>
                  </a:lnTo>
                  <a:lnTo>
                    <a:pt x="273" y="910"/>
                  </a:lnTo>
                  <a:lnTo>
                    <a:pt x="273" y="912"/>
                  </a:lnTo>
                  <a:lnTo>
                    <a:pt x="270" y="912"/>
                  </a:lnTo>
                  <a:lnTo>
                    <a:pt x="273" y="910"/>
                  </a:lnTo>
                  <a:lnTo>
                    <a:pt x="270" y="912"/>
                  </a:lnTo>
                  <a:lnTo>
                    <a:pt x="273" y="910"/>
                  </a:lnTo>
                  <a:lnTo>
                    <a:pt x="270" y="910"/>
                  </a:lnTo>
                  <a:lnTo>
                    <a:pt x="270" y="912"/>
                  </a:lnTo>
                  <a:lnTo>
                    <a:pt x="270" y="910"/>
                  </a:lnTo>
                  <a:lnTo>
                    <a:pt x="270" y="912"/>
                  </a:lnTo>
                  <a:lnTo>
                    <a:pt x="270" y="910"/>
                  </a:lnTo>
                  <a:lnTo>
                    <a:pt x="268" y="910"/>
                  </a:lnTo>
                  <a:lnTo>
                    <a:pt x="268" y="908"/>
                  </a:lnTo>
                  <a:lnTo>
                    <a:pt x="270" y="908"/>
                  </a:lnTo>
                  <a:lnTo>
                    <a:pt x="270" y="905"/>
                  </a:lnTo>
                  <a:lnTo>
                    <a:pt x="270" y="908"/>
                  </a:lnTo>
                  <a:lnTo>
                    <a:pt x="273" y="908"/>
                  </a:lnTo>
                  <a:lnTo>
                    <a:pt x="273" y="905"/>
                  </a:lnTo>
                  <a:lnTo>
                    <a:pt x="273" y="908"/>
                  </a:lnTo>
                  <a:close/>
                  <a:moveTo>
                    <a:pt x="270" y="908"/>
                  </a:moveTo>
                  <a:lnTo>
                    <a:pt x="270" y="905"/>
                  </a:lnTo>
                  <a:lnTo>
                    <a:pt x="270" y="908"/>
                  </a:lnTo>
                  <a:close/>
                  <a:moveTo>
                    <a:pt x="265" y="905"/>
                  </a:moveTo>
                  <a:lnTo>
                    <a:pt x="265" y="908"/>
                  </a:lnTo>
                  <a:lnTo>
                    <a:pt x="265" y="905"/>
                  </a:lnTo>
                  <a:close/>
                  <a:moveTo>
                    <a:pt x="265" y="905"/>
                  </a:moveTo>
                  <a:lnTo>
                    <a:pt x="263" y="905"/>
                  </a:lnTo>
                  <a:lnTo>
                    <a:pt x="265" y="905"/>
                  </a:lnTo>
                  <a:close/>
                  <a:moveTo>
                    <a:pt x="258" y="903"/>
                  </a:moveTo>
                  <a:lnTo>
                    <a:pt x="258" y="905"/>
                  </a:lnTo>
                  <a:lnTo>
                    <a:pt x="258" y="903"/>
                  </a:lnTo>
                  <a:lnTo>
                    <a:pt x="258" y="905"/>
                  </a:lnTo>
                  <a:lnTo>
                    <a:pt x="258" y="903"/>
                  </a:lnTo>
                  <a:close/>
                  <a:moveTo>
                    <a:pt x="268" y="903"/>
                  </a:moveTo>
                  <a:lnTo>
                    <a:pt x="270" y="903"/>
                  </a:lnTo>
                  <a:lnTo>
                    <a:pt x="268" y="905"/>
                  </a:lnTo>
                  <a:lnTo>
                    <a:pt x="268" y="903"/>
                  </a:lnTo>
                  <a:close/>
                  <a:moveTo>
                    <a:pt x="265" y="903"/>
                  </a:moveTo>
                  <a:lnTo>
                    <a:pt x="265" y="905"/>
                  </a:lnTo>
                  <a:lnTo>
                    <a:pt x="263" y="905"/>
                  </a:lnTo>
                  <a:lnTo>
                    <a:pt x="263" y="903"/>
                  </a:lnTo>
                  <a:lnTo>
                    <a:pt x="263" y="905"/>
                  </a:lnTo>
                  <a:lnTo>
                    <a:pt x="263" y="903"/>
                  </a:lnTo>
                  <a:lnTo>
                    <a:pt x="265" y="903"/>
                  </a:lnTo>
                  <a:lnTo>
                    <a:pt x="263" y="903"/>
                  </a:lnTo>
                  <a:lnTo>
                    <a:pt x="263" y="905"/>
                  </a:lnTo>
                  <a:lnTo>
                    <a:pt x="263" y="903"/>
                  </a:lnTo>
                  <a:lnTo>
                    <a:pt x="265" y="903"/>
                  </a:lnTo>
                  <a:lnTo>
                    <a:pt x="263" y="903"/>
                  </a:lnTo>
                  <a:lnTo>
                    <a:pt x="265" y="903"/>
                  </a:lnTo>
                  <a:close/>
                  <a:moveTo>
                    <a:pt x="268" y="903"/>
                  </a:moveTo>
                  <a:lnTo>
                    <a:pt x="265" y="903"/>
                  </a:lnTo>
                  <a:lnTo>
                    <a:pt x="268" y="903"/>
                  </a:lnTo>
                  <a:lnTo>
                    <a:pt x="265" y="903"/>
                  </a:lnTo>
                  <a:lnTo>
                    <a:pt x="268" y="903"/>
                  </a:lnTo>
                  <a:close/>
                  <a:moveTo>
                    <a:pt x="273" y="903"/>
                  </a:moveTo>
                  <a:lnTo>
                    <a:pt x="275" y="903"/>
                  </a:lnTo>
                  <a:lnTo>
                    <a:pt x="273" y="903"/>
                  </a:lnTo>
                  <a:close/>
                  <a:moveTo>
                    <a:pt x="265" y="903"/>
                  </a:moveTo>
                  <a:lnTo>
                    <a:pt x="263" y="903"/>
                  </a:lnTo>
                  <a:lnTo>
                    <a:pt x="263" y="905"/>
                  </a:lnTo>
                  <a:lnTo>
                    <a:pt x="263" y="903"/>
                  </a:lnTo>
                  <a:lnTo>
                    <a:pt x="263" y="905"/>
                  </a:lnTo>
                  <a:lnTo>
                    <a:pt x="263" y="903"/>
                  </a:lnTo>
                  <a:lnTo>
                    <a:pt x="263" y="905"/>
                  </a:lnTo>
                  <a:lnTo>
                    <a:pt x="263" y="903"/>
                  </a:lnTo>
                  <a:lnTo>
                    <a:pt x="263" y="905"/>
                  </a:lnTo>
                  <a:lnTo>
                    <a:pt x="261" y="905"/>
                  </a:lnTo>
                  <a:lnTo>
                    <a:pt x="263" y="903"/>
                  </a:lnTo>
                  <a:lnTo>
                    <a:pt x="261" y="905"/>
                  </a:lnTo>
                  <a:lnTo>
                    <a:pt x="263" y="903"/>
                  </a:lnTo>
                  <a:lnTo>
                    <a:pt x="261" y="905"/>
                  </a:lnTo>
                  <a:lnTo>
                    <a:pt x="261" y="903"/>
                  </a:lnTo>
                  <a:lnTo>
                    <a:pt x="263" y="903"/>
                  </a:lnTo>
                  <a:lnTo>
                    <a:pt x="261" y="903"/>
                  </a:lnTo>
                  <a:lnTo>
                    <a:pt x="263" y="903"/>
                  </a:lnTo>
                  <a:lnTo>
                    <a:pt x="265" y="903"/>
                  </a:lnTo>
                  <a:close/>
                  <a:moveTo>
                    <a:pt x="256" y="903"/>
                  </a:moveTo>
                  <a:lnTo>
                    <a:pt x="254" y="903"/>
                  </a:lnTo>
                  <a:lnTo>
                    <a:pt x="256" y="903"/>
                  </a:lnTo>
                  <a:close/>
                  <a:moveTo>
                    <a:pt x="265" y="903"/>
                  </a:moveTo>
                  <a:lnTo>
                    <a:pt x="265" y="900"/>
                  </a:lnTo>
                  <a:lnTo>
                    <a:pt x="265" y="903"/>
                  </a:lnTo>
                  <a:close/>
                  <a:moveTo>
                    <a:pt x="263" y="900"/>
                  </a:moveTo>
                  <a:lnTo>
                    <a:pt x="263" y="903"/>
                  </a:lnTo>
                  <a:lnTo>
                    <a:pt x="263" y="900"/>
                  </a:lnTo>
                  <a:close/>
                  <a:moveTo>
                    <a:pt x="258" y="900"/>
                  </a:moveTo>
                  <a:lnTo>
                    <a:pt x="258" y="903"/>
                  </a:lnTo>
                  <a:lnTo>
                    <a:pt x="258" y="900"/>
                  </a:lnTo>
                  <a:close/>
                  <a:moveTo>
                    <a:pt x="263" y="900"/>
                  </a:moveTo>
                  <a:lnTo>
                    <a:pt x="261" y="900"/>
                  </a:lnTo>
                  <a:lnTo>
                    <a:pt x="263" y="900"/>
                  </a:lnTo>
                  <a:close/>
                  <a:moveTo>
                    <a:pt x="273" y="900"/>
                  </a:moveTo>
                  <a:lnTo>
                    <a:pt x="270" y="900"/>
                  </a:lnTo>
                  <a:lnTo>
                    <a:pt x="273" y="900"/>
                  </a:lnTo>
                  <a:lnTo>
                    <a:pt x="270" y="900"/>
                  </a:lnTo>
                  <a:lnTo>
                    <a:pt x="273" y="900"/>
                  </a:lnTo>
                  <a:close/>
                  <a:moveTo>
                    <a:pt x="261" y="900"/>
                  </a:moveTo>
                  <a:lnTo>
                    <a:pt x="258" y="900"/>
                  </a:lnTo>
                  <a:lnTo>
                    <a:pt x="261" y="900"/>
                  </a:lnTo>
                  <a:close/>
                  <a:moveTo>
                    <a:pt x="261" y="900"/>
                  </a:moveTo>
                  <a:lnTo>
                    <a:pt x="258" y="900"/>
                  </a:lnTo>
                  <a:lnTo>
                    <a:pt x="261" y="900"/>
                  </a:lnTo>
                  <a:close/>
                  <a:moveTo>
                    <a:pt x="277" y="903"/>
                  </a:moveTo>
                  <a:lnTo>
                    <a:pt x="277" y="900"/>
                  </a:lnTo>
                  <a:lnTo>
                    <a:pt x="280" y="898"/>
                  </a:lnTo>
                  <a:lnTo>
                    <a:pt x="282" y="898"/>
                  </a:lnTo>
                  <a:lnTo>
                    <a:pt x="282" y="900"/>
                  </a:lnTo>
                  <a:lnTo>
                    <a:pt x="280" y="900"/>
                  </a:lnTo>
                  <a:lnTo>
                    <a:pt x="277" y="903"/>
                  </a:lnTo>
                  <a:close/>
                  <a:moveTo>
                    <a:pt x="275" y="898"/>
                  </a:moveTo>
                  <a:lnTo>
                    <a:pt x="275" y="900"/>
                  </a:lnTo>
                  <a:lnTo>
                    <a:pt x="273" y="900"/>
                  </a:lnTo>
                  <a:lnTo>
                    <a:pt x="275" y="900"/>
                  </a:lnTo>
                  <a:lnTo>
                    <a:pt x="273" y="900"/>
                  </a:lnTo>
                  <a:lnTo>
                    <a:pt x="275" y="900"/>
                  </a:lnTo>
                  <a:lnTo>
                    <a:pt x="273" y="900"/>
                  </a:lnTo>
                  <a:lnTo>
                    <a:pt x="275" y="903"/>
                  </a:lnTo>
                  <a:lnTo>
                    <a:pt x="273" y="903"/>
                  </a:lnTo>
                  <a:lnTo>
                    <a:pt x="273" y="900"/>
                  </a:lnTo>
                  <a:lnTo>
                    <a:pt x="270" y="903"/>
                  </a:lnTo>
                  <a:lnTo>
                    <a:pt x="270" y="900"/>
                  </a:lnTo>
                  <a:lnTo>
                    <a:pt x="273" y="900"/>
                  </a:lnTo>
                  <a:lnTo>
                    <a:pt x="273" y="898"/>
                  </a:lnTo>
                  <a:lnTo>
                    <a:pt x="273" y="900"/>
                  </a:lnTo>
                  <a:lnTo>
                    <a:pt x="273" y="898"/>
                  </a:lnTo>
                  <a:lnTo>
                    <a:pt x="275" y="898"/>
                  </a:lnTo>
                  <a:close/>
                  <a:moveTo>
                    <a:pt x="277" y="898"/>
                  </a:moveTo>
                  <a:lnTo>
                    <a:pt x="275" y="898"/>
                  </a:lnTo>
                  <a:lnTo>
                    <a:pt x="275" y="900"/>
                  </a:lnTo>
                  <a:lnTo>
                    <a:pt x="277" y="900"/>
                  </a:lnTo>
                  <a:lnTo>
                    <a:pt x="275" y="900"/>
                  </a:lnTo>
                  <a:lnTo>
                    <a:pt x="275" y="898"/>
                  </a:lnTo>
                  <a:lnTo>
                    <a:pt x="277" y="898"/>
                  </a:lnTo>
                  <a:lnTo>
                    <a:pt x="277" y="896"/>
                  </a:lnTo>
                  <a:lnTo>
                    <a:pt x="277" y="898"/>
                  </a:lnTo>
                  <a:close/>
                  <a:moveTo>
                    <a:pt x="277" y="896"/>
                  </a:moveTo>
                  <a:lnTo>
                    <a:pt x="275" y="896"/>
                  </a:lnTo>
                  <a:lnTo>
                    <a:pt x="277" y="896"/>
                  </a:lnTo>
                  <a:close/>
                  <a:moveTo>
                    <a:pt x="275" y="896"/>
                  </a:moveTo>
                  <a:lnTo>
                    <a:pt x="273" y="896"/>
                  </a:lnTo>
                  <a:lnTo>
                    <a:pt x="275" y="896"/>
                  </a:lnTo>
                  <a:lnTo>
                    <a:pt x="273" y="896"/>
                  </a:lnTo>
                  <a:lnTo>
                    <a:pt x="275" y="896"/>
                  </a:lnTo>
                  <a:close/>
                  <a:moveTo>
                    <a:pt x="249" y="896"/>
                  </a:moveTo>
                  <a:lnTo>
                    <a:pt x="246" y="896"/>
                  </a:lnTo>
                  <a:lnTo>
                    <a:pt x="249" y="896"/>
                  </a:lnTo>
                  <a:close/>
                  <a:moveTo>
                    <a:pt x="249" y="893"/>
                  </a:moveTo>
                  <a:lnTo>
                    <a:pt x="249" y="896"/>
                  </a:lnTo>
                  <a:lnTo>
                    <a:pt x="246" y="896"/>
                  </a:lnTo>
                  <a:lnTo>
                    <a:pt x="246" y="893"/>
                  </a:lnTo>
                  <a:lnTo>
                    <a:pt x="249" y="893"/>
                  </a:lnTo>
                  <a:close/>
                  <a:moveTo>
                    <a:pt x="246" y="893"/>
                  </a:moveTo>
                  <a:lnTo>
                    <a:pt x="246" y="896"/>
                  </a:lnTo>
                  <a:lnTo>
                    <a:pt x="244" y="896"/>
                  </a:lnTo>
                  <a:lnTo>
                    <a:pt x="244" y="893"/>
                  </a:lnTo>
                  <a:lnTo>
                    <a:pt x="246" y="896"/>
                  </a:lnTo>
                  <a:lnTo>
                    <a:pt x="246" y="893"/>
                  </a:lnTo>
                  <a:close/>
                  <a:moveTo>
                    <a:pt x="251" y="893"/>
                  </a:moveTo>
                  <a:lnTo>
                    <a:pt x="249" y="893"/>
                  </a:lnTo>
                  <a:lnTo>
                    <a:pt x="251" y="893"/>
                  </a:lnTo>
                  <a:close/>
                  <a:moveTo>
                    <a:pt x="246" y="893"/>
                  </a:moveTo>
                  <a:lnTo>
                    <a:pt x="244" y="893"/>
                  </a:lnTo>
                  <a:lnTo>
                    <a:pt x="246" y="893"/>
                  </a:lnTo>
                  <a:close/>
                  <a:moveTo>
                    <a:pt x="251" y="893"/>
                  </a:moveTo>
                  <a:lnTo>
                    <a:pt x="249" y="893"/>
                  </a:lnTo>
                  <a:lnTo>
                    <a:pt x="251" y="893"/>
                  </a:lnTo>
                  <a:lnTo>
                    <a:pt x="249" y="893"/>
                  </a:lnTo>
                  <a:lnTo>
                    <a:pt x="251" y="893"/>
                  </a:lnTo>
                  <a:close/>
                  <a:moveTo>
                    <a:pt x="251" y="893"/>
                  </a:moveTo>
                  <a:lnTo>
                    <a:pt x="254" y="893"/>
                  </a:lnTo>
                  <a:lnTo>
                    <a:pt x="251" y="893"/>
                  </a:lnTo>
                  <a:close/>
                  <a:moveTo>
                    <a:pt x="249" y="893"/>
                  </a:moveTo>
                  <a:lnTo>
                    <a:pt x="251" y="893"/>
                  </a:lnTo>
                  <a:lnTo>
                    <a:pt x="249" y="893"/>
                  </a:lnTo>
                  <a:lnTo>
                    <a:pt x="251" y="893"/>
                  </a:lnTo>
                  <a:lnTo>
                    <a:pt x="249" y="893"/>
                  </a:lnTo>
                  <a:close/>
                  <a:moveTo>
                    <a:pt x="263" y="891"/>
                  </a:moveTo>
                  <a:lnTo>
                    <a:pt x="263" y="893"/>
                  </a:lnTo>
                  <a:lnTo>
                    <a:pt x="263" y="891"/>
                  </a:lnTo>
                  <a:close/>
                  <a:moveTo>
                    <a:pt x="254" y="891"/>
                  </a:moveTo>
                  <a:lnTo>
                    <a:pt x="254" y="893"/>
                  </a:lnTo>
                  <a:lnTo>
                    <a:pt x="254" y="891"/>
                  </a:lnTo>
                  <a:close/>
                  <a:moveTo>
                    <a:pt x="273" y="891"/>
                  </a:moveTo>
                  <a:lnTo>
                    <a:pt x="273" y="893"/>
                  </a:lnTo>
                  <a:lnTo>
                    <a:pt x="275" y="893"/>
                  </a:lnTo>
                  <a:lnTo>
                    <a:pt x="273" y="893"/>
                  </a:lnTo>
                  <a:lnTo>
                    <a:pt x="270" y="893"/>
                  </a:lnTo>
                  <a:lnTo>
                    <a:pt x="273" y="893"/>
                  </a:lnTo>
                  <a:lnTo>
                    <a:pt x="270" y="893"/>
                  </a:lnTo>
                  <a:lnTo>
                    <a:pt x="273" y="893"/>
                  </a:lnTo>
                  <a:lnTo>
                    <a:pt x="273" y="891"/>
                  </a:lnTo>
                  <a:lnTo>
                    <a:pt x="270" y="893"/>
                  </a:lnTo>
                  <a:lnTo>
                    <a:pt x="270" y="891"/>
                  </a:lnTo>
                  <a:lnTo>
                    <a:pt x="273" y="891"/>
                  </a:lnTo>
                  <a:close/>
                  <a:moveTo>
                    <a:pt x="265" y="891"/>
                  </a:moveTo>
                  <a:lnTo>
                    <a:pt x="263" y="891"/>
                  </a:lnTo>
                  <a:lnTo>
                    <a:pt x="265" y="891"/>
                  </a:lnTo>
                  <a:close/>
                  <a:moveTo>
                    <a:pt x="280" y="891"/>
                  </a:moveTo>
                  <a:lnTo>
                    <a:pt x="277" y="891"/>
                  </a:lnTo>
                  <a:lnTo>
                    <a:pt x="280" y="891"/>
                  </a:lnTo>
                  <a:close/>
                  <a:moveTo>
                    <a:pt x="270" y="891"/>
                  </a:moveTo>
                  <a:lnTo>
                    <a:pt x="270" y="889"/>
                  </a:lnTo>
                  <a:lnTo>
                    <a:pt x="270" y="891"/>
                  </a:lnTo>
                  <a:close/>
                  <a:moveTo>
                    <a:pt x="275" y="889"/>
                  </a:moveTo>
                  <a:lnTo>
                    <a:pt x="275" y="891"/>
                  </a:lnTo>
                  <a:lnTo>
                    <a:pt x="275" y="889"/>
                  </a:lnTo>
                  <a:close/>
                  <a:moveTo>
                    <a:pt x="265" y="889"/>
                  </a:moveTo>
                  <a:lnTo>
                    <a:pt x="263" y="891"/>
                  </a:lnTo>
                  <a:lnTo>
                    <a:pt x="263" y="889"/>
                  </a:lnTo>
                  <a:lnTo>
                    <a:pt x="265" y="889"/>
                  </a:lnTo>
                  <a:close/>
                  <a:moveTo>
                    <a:pt x="254" y="889"/>
                  </a:moveTo>
                  <a:lnTo>
                    <a:pt x="251" y="889"/>
                  </a:lnTo>
                  <a:lnTo>
                    <a:pt x="254" y="889"/>
                  </a:lnTo>
                  <a:lnTo>
                    <a:pt x="251" y="889"/>
                  </a:lnTo>
                  <a:lnTo>
                    <a:pt x="254" y="889"/>
                  </a:lnTo>
                  <a:close/>
                  <a:moveTo>
                    <a:pt x="280" y="889"/>
                  </a:moveTo>
                  <a:lnTo>
                    <a:pt x="277" y="889"/>
                  </a:lnTo>
                  <a:lnTo>
                    <a:pt x="280" y="889"/>
                  </a:lnTo>
                  <a:close/>
                  <a:moveTo>
                    <a:pt x="265" y="889"/>
                  </a:moveTo>
                  <a:lnTo>
                    <a:pt x="268" y="889"/>
                  </a:lnTo>
                  <a:lnTo>
                    <a:pt x="265" y="889"/>
                  </a:lnTo>
                  <a:lnTo>
                    <a:pt x="265" y="891"/>
                  </a:lnTo>
                  <a:lnTo>
                    <a:pt x="265" y="889"/>
                  </a:lnTo>
                  <a:lnTo>
                    <a:pt x="268" y="889"/>
                  </a:lnTo>
                  <a:lnTo>
                    <a:pt x="268" y="891"/>
                  </a:lnTo>
                  <a:lnTo>
                    <a:pt x="265" y="891"/>
                  </a:lnTo>
                  <a:lnTo>
                    <a:pt x="268" y="891"/>
                  </a:lnTo>
                  <a:lnTo>
                    <a:pt x="265" y="891"/>
                  </a:lnTo>
                  <a:lnTo>
                    <a:pt x="268" y="891"/>
                  </a:lnTo>
                  <a:lnTo>
                    <a:pt x="265" y="891"/>
                  </a:lnTo>
                  <a:lnTo>
                    <a:pt x="265" y="893"/>
                  </a:lnTo>
                  <a:lnTo>
                    <a:pt x="265" y="891"/>
                  </a:lnTo>
                  <a:lnTo>
                    <a:pt x="265" y="889"/>
                  </a:lnTo>
                  <a:close/>
                  <a:moveTo>
                    <a:pt x="270" y="889"/>
                  </a:moveTo>
                  <a:lnTo>
                    <a:pt x="268" y="889"/>
                  </a:lnTo>
                  <a:lnTo>
                    <a:pt x="270" y="889"/>
                  </a:lnTo>
                  <a:close/>
                  <a:moveTo>
                    <a:pt x="275" y="889"/>
                  </a:moveTo>
                  <a:lnTo>
                    <a:pt x="275" y="886"/>
                  </a:lnTo>
                  <a:lnTo>
                    <a:pt x="275" y="889"/>
                  </a:lnTo>
                  <a:close/>
                  <a:moveTo>
                    <a:pt x="282" y="889"/>
                  </a:moveTo>
                  <a:lnTo>
                    <a:pt x="282" y="891"/>
                  </a:lnTo>
                  <a:lnTo>
                    <a:pt x="282" y="889"/>
                  </a:lnTo>
                  <a:lnTo>
                    <a:pt x="282" y="891"/>
                  </a:lnTo>
                  <a:lnTo>
                    <a:pt x="280" y="889"/>
                  </a:lnTo>
                  <a:lnTo>
                    <a:pt x="282" y="889"/>
                  </a:lnTo>
                  <a:lnTo>
                    <a:pt x="280" y="889"/>
                  </a:lnTo>
                  <a:lnTo>
                    <a:pt x="282" y="889"/>
                  </a:lnTo>
                  <a:lnTo>
                    <a:pt x="280" y="889"/>
                  </a:lnTo>
                  <a:lnTo>
                    <a:pt x="282" y="889"/>
                  </a:lnTo>
                  <a:lnTo>
                    <a:pt x="282" y="886"/>
                  </a:lnTo>
                  <a:lnTo>
                    <a:pt x="282" y="889"/>
                  </a:lnTo>
                  <a:lnTo>
                    <a:pt x="282" y="886"/>
                  </a:lnTo>
                  <a:lnTo>
                    <a:pt x="282" y="889"/>
                  </a:lnTo>
                  <a:close/>
                  <a:moveTo>
                    <a:pt x="277" y="886"/>
                  </a:moveTo>
                  <a:lnTo>
                    <a:pt x="277" y="889"/>
                  </a:lnTo>
                  <a:lnTo>
                    <a:pt x="277" y="886"/>
                  </a:lnTo>
                  <a:close/>
                  <a:moveTo>
                    <a:pt x="280" y="889"/>
                  </a:moveTo>
                  <a:lnTo>
                    <a:pt x="277" y="889"/>
                  </a:lnTo>
                  <a:lnTo>
                    <a:pt x="277" y="886"/>
                  </a:lnTo>
                  <a:lnTo>
                    <a:pt x="280" y="886"/>
                  </a:lnTo>
                  <a:lnTo>
                    <a:pt x="280" y="889"/>
                  </a:lnTo>
                  <a:close/>
                  <a:moveTo>
                    <a:pt x="277" y="886"/>
                  </a:moveTo>
                  <a:lnTo>
                    <a:pt x="280" y="886"/>
                  </a:lnTo>
                  <a:lnTo>
                    <a:pt x="277" y="886"/>
                  </a:lnTo>
                  <a:close/>
                  <a:moveTo>
                    <a:pt x="277" y="886"/>
                  </a:moveTo>
                  <a:lnTo>
                    <a:pt x="277" y="884"/>
                  </a:lnTo>
                  <a:lnTo>
                    <a:pt x="277" y="886"/>
                  </a:lnTo>
                  <a:close/>
                  <a:moveTo>
                    <a:pt x="275" y="884"/>
                  </a:moveTo>
                  <a:lnTo>
                    <a:pt x="275" y="886"/>
                  </a:lnTo>
                  <a:lnTo>
                    <a:pt x="275" y="884"/>
                  </a:lnTo>
                  <a:lnTo>
                    <a:pt x="275" y="886"/>
                  </a:lnTo>
                  <a:lnTo>
                    <a:pt x="275" y="884"/>
                  </a:lnTo>
                  <a:close/>
                  <a:moveTo>
                    <a:pt x="277" y="884"/>
                  </a:moveTo>
                  <a:lnTo>
                    <a:pt x="275" y="884"/>
                  </a:lnTo>
                  <a:lnTo>
                    <a:pt x="277" y="884"/>
                  </a:lnTo>
                  <a:lnTo>
                    <a:pt x="275" y="884"/>
                  </a:lnTo>
                  <a:lnTo>
                    <a:pt x="277" y="884"/>
                  </a:lnTo>
                  <a:close/>
                  <a:moveTo>
                    <a:pt x="282" y="884"/>
                  </a:moveTo>
                  <a:lnTo>
                    <a:pt x="280" y="884"/>
                  </a:lnTo>
                  <a:lnTo>
                    <a:pt x="282" y="884"/>
                  </a:lnTo>
                  <a:lnTo>
                    <a:pt x="280" y="884"/>
                  </a:lnTo>
                  <a:lnTo>
                    <a:pt x="280" y="886"/>
                  </a:lnTo>
                  <a:lnTo>
                    <a:pt x="280" y="884"/>
                  </a:lnTo>
                  <a:lnTo>
                    <a:pt x="282" y="884"/>
                  </a:lnTo>
                  <a:close/>
                  <a:moveTo>
                    <a:pt x="261" y="879"/>
                  </a:moveTo>
                  <a:lnTo>
                    <a:pt x="261" y="881"/>
                  </a:lnTo>
                  <a:lnTo>
                    <a:pt x="261" y="879"/>
                  </a:lnTo>
                  <a:lnTo>
                    <a:pt x="261" y="881"/>
                  </a:lnTo>
                  <a:lnTo>
                    <a:pt x="261" y="879"/>
                  </a:lnTo>
                  <a:close/>
                  <a:moveTo>
                    <a:pt x="282" y="879"/>
                  </a:moveTo>
                  <a:lnTo>
                    <a:pt x="282" y="881"/>
                  </a:lnTo>
                  <a:lnTo>
                    <a:pt x="282" y="879"/>
                  </a:lnTo>
                  <a:lnTo>
                    <a:pt x="282" y="881"/>
                  </a:lnTo>
                  <a:lnTo>
                    <a:pt x="282" y="879"/>
                  </a:lnTo>
                  <a:lnTo>
                    <a:pt x="282" y="881"/>
                  </a:lnTo>
                  <a:lnTo>
                    <a:pt x="282" y="879"/>
                  </a:lnTo>
                  <a:lnTo>
                    <a:pt x="282" y="881"/>
                  </a:lnTo>
                  <a:lnTo>
                    <a:pt x="282" y="879"/>
                  </a:lnTo>
                  <a:close/>
                  <a:moveTo>
                    <a:pt x="265" y="879"/>
                  </a:moveTo>
                  <a:lnTo>
                    <a:pt x="263" y="879"/>
                  </a:lnTo>
                  <a:lnTo>
                    <a:pt x="265" y="879"/>
                  </a:lnTo>
                  <a:close/>
                  <a:moveTo>
                    <a:pt x="289" y="879"/>
                  </a:moveTo>
                  <a:lnTo>
                    <a:pt x="292" y="879"/>
                  </a:lnTo>
                  <a:lnTo>
                    <a:pt x="294" y="879"/>
                  </a:lnTo>
                  <a:lnTo>
                    <a:pt x="292" y="881"/>
                  </a:lnTo>
                  <a:lnTo>
                    <a:pt x="289" y="881"/>
                  </a:lnTo>
                  <a:lnTo>
                    <a:pt x="287" y="881"/>
                  </a:lnTo>
                  <a:lnTo>
                    <a:pt x="287" y="879"/>
                  </a:lnTo>
                  <a:lnTo>
                    <a:pt x="289" y="879"/>
                  </a:lnTo>
                  <a:close/>
                  <a:moveTo>
                    <a:pt x="282" y="879"/>
                  </a:moveTo>
                  <a:lnTo>
                    <a:pt x="280" y="879"/>
                  </a:lnTo>
                  <a:lnTo>
                    <a:pt x="282" y="879"/>
                  </a:lnTo>
                  <a:close/>
                  <a:moveTo>
                    <a:pt x="292" y="879"/>
                  </a:moveTo>
                  <a:lnTo>
                    <a:pt x="294" y="879"/>
                  </a:lnTo>
                  <a:lnTo>
                    <a:pt x="292" y="879"/>
                  </a:lnTo>
                  <a:close/>
                  <a:moveTo>
                    <a:pt x="280" y="877"/>
                  </a:moveTo>
                  <a:lnTo>
                    <a:pt x="280" y="879"/>
                  </a:lnTo>
                  <a:lnTo>
                    <a:pt x="280" y="877"/>
                  </a:lnTo>
                  <a:close/>
                  <a:moveTo>
                    <a:pt x="284" y="877"/>
                  </a:moveTo>
                  <a:lnTo>
                    <a:pt x="284" y="879"/>
                  </a:lnTo>
                  <a:lnTo>
                    <a:pt x="284" y="877"/>
                  </a:lnTo>
                  <a:close/>
                  <a:moveTo>
                    <a:pt x="299" y="877"/>
                  </a:moveTo>
                  <a:lnTo>
                    <a:pt x="296" y="877"/>
                  </a:lnTo>
                  <a:lnTo>
                    <a:pt x="299" y="877"/>
                  </a:lnTo>
                  <a:close/>
                  <a:moveTo>
                    <a:pt x="287" y="874"/>
                  </a:moveTo>
                  <a:lnTo>
                    <a:pt x="287" y="877"/>
                  </a:lnTo>
                  <a:lnTo>
                    <a:pt x="287" y="874"/>
                  </a:lnTo>
                  <a:lnTo>
                    <a:pt x="287" y="877"/>
                  </a:lnTo>
                  <a:lnTo>
                    <a:pt x="284" y="877"/>
                  </a:lnTo>
                  <a:lnTo>
                    <a:pt x="287" y="874"/>
                  </a:lnTo>
                  <a:lnTo>
                    <a:pt x="284" y="874"/>
                  </a:lnTo>
                  <a:lnTo>
                    <a:pt x="287" y="874"/>
                  </a:lnTo>
                  <a:close/>
                  <a:moveTo>
                    <a:pt x="292" y="874"/>
                  </a:moveTo>
                  <a:lnTo>
                    <a:pt x="294" y="874"/>
                  </a:lnTo>
                  <a:lnTo>
                    <a:pt x="296" y="874"/>
                  </a:lnTo>
                  <a:lnTo>
                    <a:pt x="296" y="877"/>
                  </a:lnTo>
                  <a:lnTo>
                    <a:pt x="294" y="877"/>
                  </a:lnTo>
                  <a:lnTo>
                    <a:pt x="292" y="877"/>
                  </a:lnTo>
                  <a:lnTo>
                    <a:pt x="289" y="877"/>
                  </a:lnTo>
                  <a:lnTo>
                    <a:pt x="292" y="874"/>
                  </a:lnTo>
                  <a:lnTo>
                    <a:pt x="292" y="877"/>
                  </a:lnTo>
                  <a:lnTo>
                    <a:pt x="292" y="874"/>
                  </a:lnTo>
                  <a:lnTo>
                    <a:pt x="292" y="877"/>
                  </a:lnTo>
                  <a:lnTo>
                    <a:pt x="292" y="874"/>
                  </a:lnTo>
                  <a:close/>
                  <a:moveTo>
                    <a:pt x="287" y="874"/>
                  </a:moveTo>
                  <a:lnTo>
                    <a:pt x="284" y="874"/>
                  </a:lnTo>
                  <a:lnTo>
                    <a:pt x="287" y="874"/>
                  </a:lnTo>
                  <a:close/>
                  <a:moveTo>
                    <a:pt x="301" y="874"/>
                  </a:moveTo>
                  <a:lnTo>
                    <a:pt x="299" y="874"/>
                  </a:lnTo>
                  <a:lnTo>
                    <a:pt x="301" y="874"/>
                  </a:lnTo>
                  <a:lnTo>
                    <a:pt x="299" y="874"/>
                  </a:lnTo>
                  <a:lnTo>
                    <a:pt x="301" y="874"/>
                  </a:lnTo>
                  <a:lnTo>
                    <a:pt x="299" y="877"/>
                  </a:lnTo>
                  <a:lnTo>
                    <a:pt x="299" y="874"/>
                  </a:lnTo>
                  <a:lnTo>
                    <a:pt x="301" y="874"/>
                  </a:lnTo>
                  <a:close/>
                  <a:moveTo>
                    <a:pt x="294" y="872"/>
                  </a:moveTo>
                  <a:lnTo>
                    <a:pt x="294" y="874"/>
                  </a:lnTo>
                  <a:lnTo>
                    <a:pt x="294" y="872"/>
                  </a:lnTo>
                  <a:lnTo>
                    <a:pt x="294" y="874"/>
                  </a:lnTo>
                  <a:lnTo>
                    <a:pt x="292" y="874"/>
                  </a:lnTo>
                  <a:lnTo>
                    <a:pt x="294" y="874"/>
                  </a:lnTo>
                  <a:lnTo>
                    <a:pt x="294" y="872"/>
                  </a:lnTo>
                  <a:close/>
                  <a:moveTo>
                    <a:pt x="292" y="872"/>
                  </a:moveTo>
                  <a:lnTo>
                    <a:pt x="292" y="874"/>
                  </a:lnTo>
                  <a:lnTo>
                    <a:pt x="292" y="872"/>
                  </a:lnTo>
                  <a:lnTo>
                    <a:pt x="292" y="874"/>
                  </a:lnTo>
                  <a:lnTo>
                    <a:pt x="292" y="872"/>
                  </a:lnTo>
                  <a:close/>
                  <a:moveTo>
                    <a:pt x="299" y="874"/>
                  </a:moveTo>
                  <a:lnTo>
                    <a:pt x="296" y="874"/>
                  </a:lnTo>
                  <a:lnTo>
                    <a:pt x="296" y="872"/>
                  </a:lnTo>
                  <a:lnTo>
                    <a:pt x="299" y="872"/>
                  </a:lnTo>
                  <a:lnTo>
                    <a:pt x="299" y="874"/>
                  </a:lnTo>
                  <a:close/>
                  <a:moveTo>
                    <a:pt x="292" y="872"/>
                  </a:moveTo>
                  <a:lnTo>
                    <a:pt x="289" y="872"/>
                  </a:lnTo>
                  <a:lnTo>
                    <a:pt x="292" y="872"/>
                  </a:lnTo>
                  <a:close/>
                  <a:moveTo>
                    <a:pt x="294" y="870"/>
                  </a:moveTo>
                  <a:lnTo>
                    <a:pt x="294" y="872"/>
                  </a:lnTo>
                  <a:lnTo>
                    <a:pt x="294" y="870"/>
                  </a:lnTo>
                  <a:lnTo>
                    <a:pt x="294" y="872"/>
                  </a:lnTo>
                  <a:lnTo>
                    <a:pt x="292" y="872"/>
                  </a:lnTo>
                  <a:lnTo>
                    <a:pt x="292" y="870"/>
                  </a:lnTo>
                  <a:lnTo>
                    <a:pt x="294" y="870"/>
                  </a:lnTo>
                  <a:close/>
                  <a:moveTo>
                    <a:pt x="292" y="870"/>
                  </a:moveTo>
                  <a:lnTo>
                    <a:pt x="292" y="872"/>
                  </a:lnTo>
                  <a:lnTo>
                    <a:pt x="292" y="870"/>
                  </a:lnTo>
                  <a:close/>
                  <a:moveTo>
                    <a:pt x="299" y="865"/>
                  </a:moveTo>
                  <a:lnTo>
                    <a:pt x="296" y="865"/>
                  </a:lnTo>
                  <a:lnTo>
                    <a:pt x="299" y="865"/>
                  </a:lnTo>
                  <a:lnTo>
                    <a:pt x="299" y="862"/>
                  </a:lnTo>
                  <a:lnTo>
                    <a:pt x="299" y="865"/>
                  </a:lnTo>
                  <a:close/>
                  <a:moveTo>
                    <a:pt x="299" y="865"/>
                  </a:moveTo>
                  <a:lnTo>
                    <a:pt x="299" y="862"/>
                  </a:lnTo>
                  <a:lnTo>
                    <a:pt x="299" y="865"/>
                  </a:lnTo>
                  <a:close/>
                  <a:moveTo>
                    <a:pt x="299" y="862"/>
                  </a:moveTo>
                  <a:lnTo>
                    <a:pt x="299" y="865"/>
                  </a:lnTo>
                  <a:lnTo>
                    <a:pt x="299" y="862"/>
                  </a:lnTo>
                  <a:close/>
                  <a:moveTo>
                    <a:pt x="301" y="862"/>
                  </a:moveTo>
                  <a:lnTo>
                    <a:pt x="301" y="865"/>
                  </a:lnTo>
                  <a:lnTo>
                    <a:pt x="301" y="862"/>
                  </a:lnTo>
                  <a:lnTo>
                    <a:pt x="301" y="865"/>
                  </a:lnTo>
                  <a:lnTo>
                    <a:pt x="301" y="862"/>
                  </a:lnTo>
                  <a:close/>
                  <a:moveTo>
                    <a:pt x="308" y="862"/>
                  </a:moveTo>
                  <a:lnTo>
                    <a:pt x="311" y="862"/>
                  </a:lnTo>
                  <a:lnTo>
                    <a:pt x="311" y="865"/>
                  </a:lnTo>
                  <a:lnTo>
                    <a:pt x="308" y="865"/>
                  </a:lnTo>
                  <a:lnTo>
                    <a:pt x="311" y="865"/>
                  </a:lnTo>
                  <a:lnTo>
                    <a:pt x="308" y="865"/>
                  </a:lnTo>
                  <a:lnTo>
                    <a:pt x="308" y="862"/>
                  </a:lnTo>
                  <a:lnTo>
                    <a:pt x="308" y="865"/>
                  </a:lnTo>
                  <a:lnTo>
                    <a:pt x="308" y="862"/>
                  </a:lnTo>
                  <a:close/>
                  <a:moveTo>
                    <a:pt x="306" y="862"/>
                  </a:moveTo>
                  <a:lnTo>
                    <a:pt x="303" y="862"/>
                  </a:lnTo>
                  <a:lnTo>
                    <a:pt x="303" y="865"/>
                  </a:lnTo>
                  <a:lnTo>
                    <a:pt x="303" y="862"/>
                  </a:lnTo>
                  <a:lnTo>
                    <a:pt x="306" y="862"/>
                  </a:lnTo>
                  <a:close/>
                  <a:moveTo>
                    <a:pt x="306" y="860"/>
                  </a:moveTo>
                  <a:lnTo>
                    <a:pt x="308" y="860"/>
                  </a:lnTo>
                  <a:lnTo>
                    <a:pt x="306" y="860"/>
                  </a:lnTo>
                  <a:close/>
                  <a:moveTo>
                    <a:pt x="311" y="858"/>
                  </a:moveTo>
                  <a:lnTo>
                    <a:pt x="311" y="860"/>
                  </a:lnTo>
                  <a:lnTo>
                    <a:pt x="311" y="858"/>
                  </a:lnTo>
                  <a:lnTo>
                    <a:pt x="308" y="860"/>
                  </a:lnTo>
                  <a:lnTo>
                    <a:pt x="308" y="858"/>
                  </a:lnTo>
                  <a:lnTo>
                    <a:pt x="311" y="858"/>
                  </a:lnTo>
                  <a:close/>
                  <a:moveTo>
                    <a:pt x="303" y="858"/>
                  </a:moveTo>
                  <a:lnTo>
                    <a:pt x="301" y="858"/>
                  </a:lnTo>
                  <a:lnTo>
                    <a:pt x="303" y="858"/>
                  </a:lnTo>
                  <a:close/>
                  <a:moveTo>
                    <a:pt x="318" y="855"/>
                  </a:moveTo>
                  <a:lnTo>
                    <a:pt x="318" y="858"/>
                  </a:lnTo>
                  <a:lnTo>
                    <a:pt x="318" y="855"/>
                  </a:lnTo>
                  <a:lnTo>
                    <a:pt x="318" y="858"/>
                  </a:lnTo>
                  <a:lnTo>
                    <a:pt x="315" y="858"/>
                  </a:lnTo>
                  <a:lnTo>
                    <a:pt x="318" y="858"/>
                  </a:lnTo>
                  <a:lnTo>
                    <a:pt x="315" y="858"/>
                  </a:lnTo>
                  <a:lnTo>
                    <a:pt x="318" y="855"/>
                  </a:lnTo>
                  <a:close/>
                  <a:moveTo>
                    <a:pt x="303" y="855"/>
                  </a:moveTo>
                  <a:lnTo>
                    <a:pt x="301" y="855"/>
                  </a:lnTo>
                  <a:lnTo>
                    <a:pt x="303" y="855"/>
                  </a:lnTo>
                  <a:close/>
                  <a:moveTo>
                    <a:pt x="320" y="855"/>
                  </a:moveTo>
                  <a:lnTo>
                    <a:pt x="320" y="858"/>
                  </a:lnTo>
                  <a:lnTo>
                    <a:pt x="320" y="860"/>
                  </a:lnTo>
                  <a:lnTo>
                    <a:pt x="318" y="860"/>
                  </a:lnTo>
                  <a:lnTo>
                    <a:pt x="318" y="862"/>
                  </a:lnTo>
                  <a:lnTo>
                    <a:pt x="318" y="865"/>
                  </a:lnTo>
                  <a:lnTo>
                    <a:pt x="318" y="867"/>
                  </a:lnTo>
                  <a:lnTo>
                    <a:pt x="315" y="867"/>
                  </a:lnTo>
                  <a:lnTo>
                    <a:pt x="318" y="865"/>
                  </a:lnTo>
                  <a:lnTo>
                    <a:pt x="315" y="865"/>
                  </a:lnTo>
                  <a:lnTo>
                    <a:pt x="315" y="862"/>
                  </a:lnTo>
                  <a:lnTo>
                    <a:pt x="313" y="862"/>
                  </a:lnTo>
                  <a:lnTo>
                    <a:pt x="313" y="860"/>
                  </a:lnTo>
                  <a:lnTo>
                    <a:pt x="311" y="860"/>
                  </a:lnTo>
                  <a:lnTo>
                    <a:pt x="311" y="862"/>
                  </a:lnTo>
                  <a:lnTo>
                    <a:pt x="311" y="860"/>
                  </a:lnTo>
                  <a:lnTo>
                    <a:pt x="313" y="860"/>
                  </a:lnTo>
                  <a:lnTo>
                    <a:pt x="313" y="858"/>
                  </a:lnTo>
                  <a:lnTo>
                    <a:pt x="313" y="860"/>
                  </a:lnTo>
                  <a:lnTo>
                    <a:pt x="313" y="858"/>
                  </a:lnTo>
                  <a:lnTo>
                    <a:pt x="315" y="858"/>
                  </a:lnTo>
                  <a:lnTo>
                    <a:pt x="315" y="860"/>
                  </a:lnTo>
                  <a:lnTo>
                    <a:pt x="315" y="858"/>
                  </a:lnTo>
                  <a:lnTo>
                    <a:pt x="315" y="860"/>
                  </a:lnTo>
                  <a:lnTo>
                    <a:pt x="318" y="858"/>
                  </a:lnTo>
                  <a:lnTo>
                    <a:pt x="318" y="855"/>
                  </a:lnTo>
                  <a:lnTo>
                    <a:pt x="320" y="855"/>
                  </a:lnTo>
                  <a:close/>
                  <a:moveTo>
                    <a:pt x="341" y="853"/>
                  </a:moveTo>
                  <a:lnTo>
                    <a:pt x="341" y="851"/>
                  </a:lnTo>
                  <a:lnTo>
                    <a:pt x="341" y="853"/>
                  </a:lnTo>
                  <a:close/>
                  <a:moveTo>
                    <a:pt x="311" y="851"/>
                  </a:moveTo>
                  <a:lnTo>
                    <a:pt x="308" y="851"/>
                  </a:lnTo>
                  <a:lnTo>
                    <a:pt x="311" y="851"/>
                  </a:lnTo>
                  <a:close/>
                  <a:moveTo>
                    <a:pt x="311" y="851"/>
                  </a:moveTo>
                  <a:lnTo>
                    <a:pt x="308" y="851"/>
                  </a:lnTo>
                  <a:lnTo>
                    <a:pt x="311" y="851"/>
                  </a:lnTo>
                  <a:close/>
                  <a:moveTo>
                    <a:pt x="322" y="851"/>
                  </a:moveTo>
                  <a:lnTo>
                    <a:pt x="322" y="848"/>
                  </a:lnTo>
                  <a:lnTo>
                    <a:pt x="322" y="851"/>
                  </a:lnTo>
                  <a:close/>
                  <a:moveTo>
                    <a:pt x="322" y="848"/>
                  </a:moveTo>
                  <a:lnTo>
                    <a:pt x="322" y="851"/>
                  </a:lnTo>
                  <a:lnTo>
                    <a:pt x="320" y="851"/>
                  </a:lnTo>
                  <a:lnTo>
                    <a:pt x="322" y="848"/>
                  </a:lnTo>
                  <a:close/>
                  <a:moveTo>
                    <a:pt x="329" y="843"/>
                  </a:moveTo>
                  <a:lnTo>
                    <a:pt x="329" y="846"/>
                  </a:lnTo>
                  <a:lnTo>
                    <a:pt x="327" y="846"/>
                  </a:lnTo>
                  <a:lnTo>
                    <a:pt x="329" y="843"/>
                  </a:lnTo>
                  <a:close/>
                  <a:moveTo>
                    <a:pt x="318" y="843"/>
                  </a:moveTo>
                  <a:lnTo>
                    <a:pt x="318" y="846"/>
                  </a:lnTo>
                  <a:lnTo>
                    <a:pt x="318" y="843"/>
                  </a:lnTo>
                  <a:close/>
                  <a:moveTo>
                    <a:pt x="308" y="843"/>
                  </a:moveTo>
                  <a:lnTo>
                    <a:pt x="306" y="843"/>
                  </a:lnTo>
                  <a:lnTo>
                    <a:pt x="308" y="843"/>
                  </a:lnTo>
                  <a:close/>
                  <a:moveTo>
                    <a:pt x="308" y="843"/>
                  </a:moveTo>
                  <a:lnTo>
                    <a:pt x="311" y="843"/>
                  </a:lnTo>
                  <a:lnTo>
                    <a:pt x="308" y="843"/>
                  </a:lnTo>
                  <a:close/>
                  <a:moveTo>
                    <a:pt x="313" y="841"/>
                  </a:moveTo>
                  <a:lnTo>
                    <a:pt x="313" y="843"/>
                  </a:lnTo>
                  <a:lnTo>
                    <a:pt x="313" y="841"/>
                  </a:lnTo>
                  <a:close/>
                  <a:moveTo>
                    <a:pt x="308" y="841"/>
                  </a:moveTo>
                  <a:lnTo>
                    <a:pt x="308" y="843"/>
                  </a:lnTo>
                  <a:lnTo>
                    <a:pt x="306" y="843"/>
                  </a:lnTo>
                  <a:lnTo>
                    <a:pt x="308" y="843"/>
                  </a:lnTo>
                  <a:lnTo>
                    <a:pt x="306" y="843"/>
                  </a:lnTo>
                  <a:lnTo>
                    <a:pt x="308" y="841"/>
                  </a:lnTo>
                  <a:close/>
                  <a:moveTo>
                    <a:pt x="311" y="841"/>
                  </a:moveTo>
                  <a:lnTo>
                    <a:pt x="311" y="843"/>
                  </a:lnTo>
                  <a:lnTo>
                    <a:pt x="308" y="843"/>
                  </a:lnTo>
                  <a:lnTo>
                    <a:pt x="311" y="841"/>
                  </a:lnTo>
                  <a:lnTo>
                    <a:pt x="311" y="843"/>
                  </a:lnTo>
                  <a:lnTo>
                    <a:pt x="308" y="843"/>
                  </a:lnTo>
                  <a:lnTo>
                    <a:pt x="308" y="841"/>
                  </a:lnTo>
                  <a:lnTo>
                    <a:pt x="311" y="841"/>
                  </a:lnTo>
                  <a:close/>
                  <a:moveTo>
                    <a:pt x="322" y="841"/>
                  </a:moveTo>
                  <a:lnTo>
                    <a:pt x="325" y="841"/>
                  </a:lnTo>
                  <a:lnTo>
                    <a:pt x="322" y="841"/>
                  </a:lnTo>
                  <a:lnTo>
                    <a:pt x="325" y="841"/>
                  </a:lnTo>
                  <a:lnTo>
                    <a:pt x="325" y="843"/>
                  </a:lnTo>
                  <a:lnTo>
                    <a:pt x="322" y="843"/>
                  </a:lnTo>
                  <a:lnTo>
                    <a:pt x="325" y="843"/>
                  </a:lnTo>
                  <a:lnTo>
                    <a:pt x="322" y="843"/>
                  </a:lnTo>
                  <a:lnTo>
                    <a:pt x="320" y="843"/>
                  </a:lnTo>
                  <a:lnTo>
                    <a:pt x="320" y="846"/>
                  </a:lnTo>
                  <a:lnTo>
                    <a:pt x="318" y="846"/>
                  </a:lnTo>
                  <a:lnTo>
                    <a:pt x="318" y="843"/>
                  </a:lnTo>
                  <a:lnTo>
                    <a:pt x="320" y="843"/>
                  </a:lnTo>
                  <a:lnTo>
                    <a:pt x="318" y="843"/>
                  </a:lnTo>
                  <a:lnTo>
                    <a:pt x="320" y="843"/>
                  </a:lnTo>
                  <a:lnTo>
                    <a:pt x="320" y="841"/>
                  </a:lnTo>
                  <a:lnTo>
                    <a:pt x="322" y="841"/>
                  </a:lnTo>
                  <a:close/>
                  <a:moveTo>
                    <a:pt x="332" y="841"/>
                  </a:moveTo>
                  <a:lnTo>
                    <a:pt x="332" y="839"/>
                  </a:lnTo>
                  <a:lnTo>
                    <a:pt x="332" y="841"/>
                  </a:lnTo>
                  <a:close/>
                  <a:moveTo>
                    <a:pt x="334" y="836"/>
                  </a:moveTo>
                  <a:lnTo>
                    <a:pt x="337" y="836"/>
                  </a:lnTo>
                  <a:lnTo>
                    <a:pt x="334" y="836"/>
                  </a:lnTo>
                  <a:close/>
                  <a:moveTo>
                    <a:pt x="251" y="836"/>
                  </a:moveTo>
                  <a:lnTo>
                    <a:pt x="249" y="836"/>
                  </a:lnTo>
                  <a:lnTo>
                    <a:pt x="251" y="836"/>
                  </a:lnTo>
                  <a:close/>
                  <a:moveTo>
                    <a:pt x="332" y="834"/>
                  </a:moveTo>
                  <a:lnTo>
                    <a:pt x="334" y="834"/>
                  </a:lnTo>
                  <a:lnTo>
                    <a:pt x="332" y="834"/>
                  </a:lnTo>
                  <a:close/>
                  <a:moveTo>
                    <a:pt x="334" y="832"/>
                  </a:moveTo>
                  <a:lnTo>
                    <a:pt x="337" y="832"/>
                  </a:lnTo>
                  <a:lnTo>
                    <a:pt x="334" y="832"/>
                  </a:lnTo>
                  <a:close/>
                  <a:moveTo>
                    <a:pt x="332" y="832"/>
                  </a:moveTo>
                  <a:lnTo>
                    <a:pt x="334" y="832"/>
                  </a:lnTo>
                  <a:lnTo>
                    <a:pt x="332" y="832"/>
                  </a:lnTo>
                  <a:close/>
                  <a:moveTo>
                    <a:pt x="351" y="832"/>
                  </a:moveTo>
                  <a:lnTo>
                    <a:pt x="348" y="832"/>
                  </a:lnTo>
                  <a:lnTo>
                    <a:pt x="351" y="832"/>
                  </a:lnTo>
                  <a:close/>
                  <a:moveTo>
                    <a:pt x="348" y="827"/>
                  </a:moveTo>
                  <a:lnTo>
                    <a:pt x="348" y="829"/>
                  </a:lnTo>
                  <a:lnTo>
                    <a:pt x="346" y="829"/>
                  </a:lnTo>
                  <a:lnTo>
                    <a:pt x="344" y="829"/>
                  </a:lnTo>
                  <a:lnTo>
                    <a:pt x="346" y="829"/>
                  </a:lnTo>
                  <a:lnTo>
                    <a:pt x="344" y="829"/>
                  </a:lnTo>
                  <a:lnTo>
                    <a:pt x="346" y="829"/>
                  </a:lnTo>
                  <a:lnTo>
                    <a:pt x="346" y="827"/>
                  </a:lnTo>
                  <a:lnTo>
                    <a:pt x="348" y="827"/>
                  </a:lnTo>
                  <a:close/>
                  <a:moveTo>
                    <a:pt x="268" y="827"/>
                  </a:moveTo>
                  <a:lnTo>
                    <a:pt x="268" y="829"/>
                  </a:lnTo>
                  <a:lnTo>
                    <a:pt x="268" y="827"/>
                  </a:lnTo>
                  <a:lnTo>
                    <a:pt x="268" y="829"/>
                  </a:lnTo>
                  <a:lnTo>
                    <a:pt x="268" y="827"/>
                  </a:lnTo>
                  <a:lnTo>
                    <a:pt x="265" y="829"/>
                  </a:lnTo>
                  <a:lnTo>
                    <a:pt x="265" y="827"/>
                  </a:lnTo>
                  <a:lnTo>
                    <a:pt x="265" y="829"/>
                  </a:lnTo>
                  <a:lnTo>
                    <a:pt x="263" y="829"/>
                  </a:lnTo>
                  <a:lnTo>
                    <a:pt x="265" y="829"/>
                  </a:lnTo>
                  <a:lnTo>
                    <a:pt x="265" y="827"/>
                  </a:lnTo>
                  <a:lnTo>
                    <a:pt x="268" y="827"/>
                  </a:lnTo>
                  <a:close/>
                  <a:moveTo>
                    <a:pt x="337" y="824"/>
                  </a:moveTo>
                  <a:lnTo>
                    <a:pt x="334" y="824"/>
                  </a:lnTo>
                  <a:lnTo>
                    <a:pt x="337" y="824"/>
                  </a:lnTo>
                  <a:close/>
                  <a:moveTo>
                    <a:pt x="329" y="822"/>
                  </a:moveTo>
                  <a:lnTo>
                    <a:pt x="329" y="824"/>
                  </a:lnTo>
                  <a:lnTo>
                    <a:pt x="329" y="822"/>
                  </a:lnTo>
                  <a:close/>
                  <a:moveTo>
                    <a:pt x="270" y="822"/>
                  </a:moveTo>
                  <a:lnTo>
                    <a:pt x="270" y="824"/>
                  </a:lnTo>
                  <a:lnTo>
                    <a:pt x="268" y="824"/>
                  </a:lnTo>
                  <a:lnTo>
                    <a:pt x="270" y="824"/>
                  </a:lnTo>
                  <a:lnTo>
                    <a:pt x="270" y="822"/>
                  </a:lnTo>
                  <a:close/>
                  <a:moveTo>
                    <a:pt x="337" y="822"/>
                  </a:moveTo>
                  <a:lnTo>
                    <a:pt x="334" y="822"/>
                  </a:lnTo>
                  <a:lnTo>
                    <a:pt x="337" y="822"/>
                  </a:lnTo>
                  <a:close/>
                  <a:moveTo>
                    <a:pt x="334" y="820"/>
                  </a:moveTo>
                  <a:lnTo>
                    <a:pt x="332" y="820"/>
                  </a:lnTo>
                  <a:lnTo>
                    <a:pt x="334" y="820"/>
                  </a:lnTo>
                  <a:close/>
                  <a:moveTo>
                    <a:pt x="337" y="817"/>
                  </a:moveTo>
                  <a:lnTo>
                    <a:pt x="334" y="820"/>
                  </a:lnTo>
                  <a:lnTo>
                    <a:pt x="334" y="817"/>
                  </a:lnTo>
                  <a:lnTo>
                    <a:pt x="337" y="817"/>
                  </a:lnTo>
                  <a:close/>
                  <a:moveTo>
                    <a:pt x="334" y="817"/>
                  </a:moveTo>
                  <a:lnTo>
                    <a:pt x="334" y="820"/>
                  </a:lnTo>
                  <a:lnTo>
                    <a:pt x="334" y="817"/>
                  </a:lnTo>
                  <a:lnTo>
                    <a:pt x="334" y="820"/>
                  </a:lnTo>
                  <a:lnTo>
                    <a:pt x="334" y="817"/>
                  </a:lnTo>
                  <a:lnTo>
                    <a:pt x="334" y="820"/>
                  </a:lnTo>
                  <a:lnTo>
                    <a:pt x="334" y="817"/>
                  </a:lnTo>
                  <a:lnTo>
                    <a:pt x="337" y="817"/>
                  </a:lnTo>
                  <a:lnTo>
                    <a:pt x="334" y="817"/>
                  </a:lnTo>
                  <a:close/>
                  <a:moveTo>
                    <a:pt x="341" y="813"/>
                  </a:moveTo>
                  <a:lnTo>
                    <a:pt x="341" y="815"/>
                  </a:lnTo>
                  <a:lnTo>
                    <a:pt x="339" y="813"/>
                  </a:lnTo>
                  <a:lnTo>
                    <a:pt x="339" y="815"/>
                  </a:lnTo>
                  <a:lnTo>
                    <a:pt x="339" y="813"/>
                  </a:lnTo>
                  <a:lnTo>
                    <a:pt x="341" y="813"/>
                  </a:lnTo>
                  <a:close/>
                  <a:moveTo>
                    <a:pt x="337" y="815"/>
                  </a:moveTo>
                  <a:lnTo>
                    <a:pt x="339" y="813"/>
                  </a:lnTo>
                  <a:lnTo>
                    <a:pt x="337" y="815"/>
                  </a:lnTo>
                  <a:close/>
                  <a:moveTo>
                    <a:pt x="339" y="815"/>
                  </a:moveTo>
                  <a:lnTo>
                    <a:pt x="339" y="813"/>
                  </a:lnTo>
                  <a:lnTo>
                    <a:pt x="339" y="815"/>
                  </a:lnTo>
                  <a:close/>
                  <a:moveTo>
                    <a:pt x="282" y="813"/>
                  </a:moveTo>
                  <a:lnTo>
                    <a:pt x="280" y="813"/>
                  </a:lnTo>
                  <a:lnTo>
                    <a:pt x="282" y="813"/>
                  </a:lnTo>
                  <a:close/>
                  <a:moveTo>
                    <a:pt x="356" y="810"/>
                  </a:moveTo>
                  <a:lnTo>
                    <a:pt x="358" y="810"/>
                  </a:lnTo>
                  <a:lnTo>
                    <a:pt x="356" y="810"/>
                  </a:lnTo>
                  <a:close/>
                  <a:moveTo>
                    <a:pt x="358" y="810"/>
                  </a:moveTo>
                  <a:lnTo>
                    <a:pt x="360" y="810"/>
                  </a:lnTo>
                  <a:lnTo>
                    <a:pt x="358" y="810"/>
                  </a:lnTo>
                  <a:lnTo>
                    <a:pt x="360" y="810"/>
                  </a:lnTo>
                  <a:lnTo>
                    <a:pt x="358" y="810"/>
                  </a:lnTo>
                  <a:close/>
                  <a:moveTo>
                    <a:pt x="358" y="808"/>
                  </a:moveTo>
                  <a:lnTo>
                    <a:pt x="358" y="810"/>
                  </a:lnTo>
                  <a:lnTo>
                    <a:pt x="358" y="808"/>
                  </a:lnTo>
                  <a:close/>
                  <a:moveTo>
                    <a:pt x="360" y="808"/>
                  </a:moveTo>
                  <a:lnTo>
                    <a:pt x="360" y="810"/>
                  </a:lnTo>
                  <a:lnTo>
                    <a:pt x="360" y="808"/>
                  </a:lnTo>
                  <a:close/>
                  <a:moveTo>
                    <a:pt x="346" y="808"/>
                  </a:moveTo>
                  <a:lnTo>
                    <a:pt x="348" y="808"/>
                  </a:lnTo>
                  <a:lnTo>
                    <a:pt x="348" y="810"/>
                  </a:lnTo>
                  <a:lnTo>
                    <a:pt x="346" y="810"/>
                  </a:lnTo>
                  <a:lnTo>
                    <a:pt x="348" y="810"/>
                  </a:lnTo>
                  <a:lnTo>
                    <a:pt x="348" y="813"/>
                  </a:lnTo>
                  <a:lnTo>
                    <a:pt x="348" y="810"/>
                  </a:lnTo>
                  <a:lnTo>
                    <a:pt x="348" y="813"/>
                  </a:lnTo>
                  <a:lnTo>
                    <a:pt x="348" y="810"/>
                  </a:lnTo>
                  <a:lnTo>
                    <a:pt x="351" y="810"/>
                  </a:lnTo>
                  <a:lnTo>
                    <a:pt x="351" y="813"/>
                  </a:lnTo>
                  <a:lnTo>
                    <a:pt x="353" y="813"/>
                  </a:lnTo>
                  <a:lnTo>
                    <a:pt x="351" y="813"/>
                  </a:lnTo>
                  <a:lnTo>
                    <a:pt x="353" y="813"/>
                  </a:lnTo>
                  <a:lnTo>
                    <a:pt x="351" y="813"/>
                  </a:lnTo>
                  <a:lnTo>
                    <a:pt x="348" y="813"/>
                  </a:lnTo>
                  <a:lnTo>
                    <a:pt x="348" y="815"/>
                  </a:lnTo>
                  <a:lnTo>
                    <a:pt x="348" y="813"/>
                  </a:lnTo>
                  <a:lnTo>
                    <a:pt x="348" y="815"/>
                  </a:lnTo>
                  <a:lnTo>
                    <a:pt x="348" y="813"/>
                  </a:lnTo>
                  <a:lnTo>
                    <a:pt x="346" y="813"/>
                  </a:lnTo>
                  <a:lnTo>
                    <a:pt x="344" y="813"/>
                  </a:lnTo>
                  <a:lnTo>
                    <a:pt x="341" y="813"/>
                  </a:lnTo>
                  <a:lnTo>
                    <a:pt x="344" y="813"/>
                  </a:lnTo>
                  <a:lnTo>
                    <a:pt x="341" y="813"/>
                  </a:lnTo>
                  <a:lnTo>
                    <a:pt x="344" y="813"/>
                  </a:lnTo>
                  <a:lnTo>
                    <a:pt x="341" y="813"/>
                  </a:lnTo>
                  <a:lnTo>
                    <a:pt x="341" y="815"/>
                  </a:lnTo>
                  <a:lnTo>
                    <a:pt x="341" y="813"/>
                  </a:lnTo>
                  <a:lnTo>
                    <a:pt x="341" y="810"/>
                  </a:lnTo>
                  <a:lnTo>
                    <a:pt x="344" y="810"/>
                  </a:lnTo>
                  <a:lnTo>
                    <a:pt x="344" y="813"/>
                  </a:lnTo>
                  <a:lnTo>
                    <a:pt x="344" y="810"/>
                  </a:lnTo>
                  <a:lnTo>
                    <a:pt x="341" y="810"/>
                  </a:lnTo>
                  <a:lnTo>
                    <a:pt x="344" y="810"/>
                  </a:lnTo>
                  <a:lnTo>
                    <a:pt x="346" y="810"/>
                  </a:lnTo>
                  <a:lnTo>
                    <a:pt x="346" y="808"/>
                  </a:lnTo>
                  <a:lnTo>
                    <a:pt x="346" y="810"/>
                  </a:lnTo>
                  <a:lnTo>
                    <a:pt x="346" y="808"/>
                  </a:lnTo>
                  <a:close/>
                  <a:moveTo>
                    <a:pt x="284" y="808"/>
                  </a:moveTo>
                  <a:lnTo>
                    <a:pt x="284" y="810"/>
                  </a:lnTo>
                  <a:lnTo>
                    <a:pt x="284" y="808"/>
                  </a:lnTo>
                  <a:close/>
                  <a:moveTo>
                    <a:pt x="365" y="805"/>
                  </a:moveTo>
                  <a:lnTo>
                    <a:pt x="367" y="808"/>
                  </a:lnTo>
                  <a:lnTo>
                    <a:pt x="370" y="808"/>
                  </a:lnTo>
                  <a:lnTo>
                    <a:pt x="372" y="808"/>
                  </a:lnTo>
                  <a:lnTo>
                    <a:pt x="375" y="808"/>
                  </a:lnTo>
                  <a:lnTo>
                    <a:pt x="375" y="810"/>
                  </a:lnTo>
                  <a:lnTo>
                    <a:pt x="375" y="808"/>
                  </a:lnTo>
                  <a:lnTo>
                    <a:pt x="375" y="810"/>
                  </a:lnTo>
                  <a:lnTo>
                    <a:pt x="372" y="810"/>
                  </a:lnTo>
                  <a:lnTo>
                    <a:pt x="370" y="810"/>
                  </a:lnTo>
                  <a:lnTo>
                    <a:pt x="370" y="808"/>
                  </a:lnTo>
                  <a:lnTo>
                    <a:pt x="367" y="808"/>
                  </a:lnTo>
                  <a:lnTo>
                    <a:pt x="370" y="808"/>
                  </a:lnTo>
                  <a:lnTo>
                    <a:pt x="367" y="808"/>
                  </a:lnTo>
                  <a:lnTo>
                    <a:pt x="365" y="808"/>
                  </a:lnTo>
                  <a:lnTo>
                    <a:pt x="367" y="808"/>
                  </a:lnTo>
                  <a:lnTo>
                    <a:pt x="367" y="810"/>
                  </a:lnTo>
                  <a:lnTo>
                    <a:pt x="365" y="810"/>
                  </a:lnTo>
                  <a:lnTo>
                    <a:pt x="363" y="810"/>
                  </a:lnTo>
                  <a:lnTo>
                    <a:pt x="360" y="810"/>
                  </a:lnTo>
                  <a:lnTo>
                    <a:pt x="360" y="808"/>
                  </a:lnTo>
                  <a:lnTo>
                    <a:pt x="358" y="808"/>
                  </a:lnTo>
                  <a:lnTo>
                    <a:pt x="360" y="808"/>
                  </a:lnTo>
                  <a:lnTo>
                    <a:pt x="358" y="808"/>
                  </a:lnTo>
                  <a:lnTo>
                    <a:pt x="360" y="808"/>
                  </a:lnTo>
                  <a:lnTo>
                    <a:pt x="363" y="808"/>
                  </a:lnTo>
                  <a:lnTo>
                    <a:pt x="365" y="808"/>
                  </a:lnTo>
                  <a:lnTo>
                    <a:pt x="365" y="805"/>
                  </a:lnTo>
                  <a:close/>
                  <a:moveTo>
                    <a:pt x="360" y="805"/>
                  </a:moveTo>
                  <a:lnTo>
                    <a:pt x="360" y="808"/>
                  </a:lnTo>
                  <a:lnTo>
                    <a:pt x="360" y="805"/>
                  </a:lnTo>
                  <a:close/>
                  <a:moveTo>
                    <a:pt x="351" y="805"/>
                  </a:moveTo>
                  <a:lnTo>
                    <a:pt x="351" y="808"/>
                  </a:lnTo>
                  <a:lnTo>
                    <a:pt x="353" y="808"/>
                  </a:lnTo>
                  <a:lnTo>
                    <a:pt x="353" y="810"/>
                  </a:lnTo>
                  <a:lnTo>
                    <a:pt x="351" y="810"/>
                  </a:lnTo>
                  <a:lnTo>
                    <a:pt x="348" y="810"/>
                  </a:lnTo>
                  <a:lnTo>
                    <a:pt x="348" y="808"/>
                  </a:lnTo>
                  <a:lnTo>
                    <a:pt x="351" y="808"/>
                  </a:lnTo>
                  <a:lnTo>
                    <a:pt x="351" y="805"/>
                  </a:lnTo>
                  <a:close/>
                  <a:moveTo>
                    <a:pt x="299" y="805"/>
                  </a:moveTo>
                  <a:lnTo>
                    <a:pt x="299" y="803"/>
                  </a:lnTo>
                  <a:lnTo>
                    <a:pt x="299" y="805"/>
                  </a:lnTo>
                  <a:close/>
                  <a:moveTo>
                    <a:pt x="386" y="803"/>
                  </a:moveTo>
                  <a:lnTo>
                    <a:pt x="386" y="805"/>
                  </a:lnTo>
                  <a:lnTo>
                    <a:pt x="384" y="805"/>
                  </a:lnTo>
                  <a:lnTo>
                    <a:pt x="382" y="805"/>
                  </a:lnTo>
                  <a:lnTo>
                    <a:pt x="384" y="805"/>
                  </a:lnTo>
                  <a:lnTo>
                    <a:pt x="384" y="803"/>
                  </a:lnTo>
                  <a:lnTo>
                    <a:pt x="386" y="803"/>
                  </a:lnTo>
                  <a:close/>
                  <a:moveTo>
                    <a:pt x="282" y="803"/>
                  </a:moveTo>
                  <a:lnTo>
                    <a:pt x="284" y="803"/>
                  </a:lnTo>
                  <a:lnTo>
                    <a:pt x="282" y="803"/>
                  </a:lnTo>
                  <a:lnTo>
                    <a:pt x="282" y="805"/>
                  </a:lnTo>
                  <a:lnTo>
                    <a:pt x="280" y="805"/>
                  </a:lnTo>
                  <a:lnTo>
                    <a:pt x="280" y="808"/>
                  </a:lnTo>
                  <a:lnTo>
                    <a:pt x="280" y="805"/>
                  </a:lnTo>
                  <a:lnTo>
                    <a:pt x="280" y="808"/>
                  </a:lnTo>
                  <a:lnTo>
                    <a:pt x="282" y="808"/>
                  </a:lnTo>
                  <a:lnTo>
                    <a:pt x="282" y="805"/>
                  </a:lnTo>
                  <a:lnTo>
                    <a:pt x="282" y="808"/>
                  </a:lnTo>
                  <a:lnTo>
                    <a:pt x="284" y="808"/>
                  </a:lnTo>
                  <a:lnTo>
                    <a:pt x="282" y="808"/>
                  </a:lnTo>
                  <a:lnTo>
                    <a:pt x="284" y="808"/>
                  </a:lnTo>
                  <a:lnTo>
                    <a:pt x="282" y="808"/>
                  </a:lnTo>
                  <a:lnTo>
                    <a:pt x="284" y="808"/>
                  </a:lnTo>
                  <a:lnTo>
                    <a:pt x="282" y="808"/>
                  </a:lnTo>
                  <a:lnTo>
                    <a:pt x="284" y="808"/>
                  </a:lnTo>
                  <a:lnTo>
                    <a:pt x="282" y="810"/>
                  </a:lnTo>
                  <a:lnTo>
                    <a:pt x="284" y="810"/>
                  </a:lnTo>
                  <a:lnTo>
                    <a:pt x="282" y="810"/>
                  </a:lnTo>
                  <a:lnTo>
                    <a:pt x="282" y="813"/>
                  </a:lnTo>
                  <a:lnTo>
                    <a:pt x="282" y="810"/>
                  </a:lnTo>
                  <a:lnTo>
                    <a:pt x="280" y="810"/>
                  </a:lnTo>
                  <a:lnTo>
                    <a:pt x="280" y="813"/>
                  </a:lnTo>
                  <a:lnTo>
                    <a:pt x="280" y="810"/>
                  </a:lnTo>
                  <a:lnTo>
                    <a:pt x="277" y="810"/>
                  </a:lnTo>
                  <a:lnTo>
                    <a:pt x="280" y="810"/>
                  </a:lnTo>
                  <a:lnTo>
                    <a:pt x="277" y="810"/>
                  </a:lnTo>
                  <a:lnTo>
                    <a:pt x="277" y="813"/>
                  </a:lnTo>
                  <a:lnTo>
                    <a:pt x="280" y="813"/>
                  </a:lnTo>
                  <a:lnTo>
                    <a:pt x="280" y="815"/>
                  </a:lnTo>
                  <a:lnTo>
                    <a:pt x="277" y="815"/>
                  </a:lnTo>
                  <a:lnTo>
                    <a:pt x="280" y="815"/>
                  </a:lnTo>
                  <a:lnTo>
                    <a:pt x="277" y="815"/>
                  </a:lnTo>
                  <a:lnTo>
                    <a:pt x="275" y="815"/>
                  </a:lnTo>
                  <a:lnTo>
                    <a:pt x="275" y="817"/>
                  </a:lnTo>
                  <a:lnTo>
                    <a:pt x="273" y="817"/>
                  </a:lnTo>
                  <a:lnTo>
                    <a:pt x="273" y="820"/>
                  </a:lnTo>
                  <a:lnTo>
                    <a:pt x="270" y="820"/>
                  </a:lnTo>
                  <a:lnTo>
                    <a:pt x="270" y="817"/>
                  </a:lnTo>
                  <a:lnTo>
                    <a:pt x="273" y="817"/>
                  </a:lnTo>
                  <a:lnTo>
                    <a:pt x="270" y="817"/>
                  </a:lnTo>
                  <a:lnTo>
                    <a:pt x="273" y="817"/>
                  </a:lnTo>
                  <a:lnTo>
                    <a:pt x="273" y="815"/>
                  </a:lnTo>
                  <a:lnTo>
                    <a:pt x="273" y="813"/>
                  </a:lnTo>
                  <a:lnTo>
                    <a:pt x="275" y="813"/>
                  </a:lnTo>
                  <a:lnTo>
                    <a:pt x="275" y="810"/>
                  </a:lnTo>
                  <a:lnTo>
                    <a:pt x="277" y="810"/>
                  </a:lnTo>
                  <a:lnTo>
                    <a:pt x="275" y="808"/>
                  </a:lnTo>
                  <a:lnTo>
                    <a:pt x="277" y="808"/>
                  </a:lnTo>
                  <a:lnTo>
                    <a:pt x="275" y="808"/>
                  </a:lnTo>
                  <a:lnTo>
                    <a:pt x="277" y="808"/>
                  </a:lnTo>
                  <a:lnTo>
                    <a:pt x="277" y="805"/>
                  </a:lnTo>
                  <a:lnTo>
                    <a:pt x="280" y="805"/>
                  </a:lnTo>
                  <a:lnTo>
                    <a:pt x="280" y="803"/>
                  </a:lnTo>
                  <a:lnTo>
                    <a:pt x="282" y="803"/>
                  </a:lnTo>
                  <a:close/>
                  <a:moveTo>
                    <a:pt x="318" y="798"/>
                  </a:moveTo>
                  <a:lnTo>
                    <a:pt x="318" y="801"/>
                  </a:lnTo>
                  <a:lnTo>
                    <a:pt x="318" y="798"/>
                  </a:lnTo>
                  <a:close/>
                  <a:moveTo>
                    <a:pt x="370" y="798"/>
                  </a:moveTo>
                  <a:lnTo>
                    <a:pt x="370" y="801"/>
                  </a:lnTo>
                  <a:lnTo>
                    <a:pt x="372" y="798"/>
                  </a:lnTo>
                  <a:lnTo>
                    <a:pt x="372" y="801"/>
                  </a:lnTo>
                  <a:lnTo>
                    <a:pt x="370" y="801"/>
                  </a:lnTo>
                  <a:lnTo>
                    <a:pt x="372" y="801"/>
                  </a:lnTo>
                  <a:lnTo>
                    <a:pt x="370" y="801"/>
                  </a:lnTo>
                  <a:lnTo>
                    <a:pt x="372" y="801"/>
                  </a:lnTo>
                  <a:lnTo>
                    <a:pt x="370" y="801"/>
                  </a:lnTo>
                  <a:lnTo>
                    <a:pt x="367" y="801"/>
                  </a:lnTo>
                  <a:lnTo>
                    <a:pt x="370" y="801"/>
                  </a:lnTo>
                  <a:lnTo>
                    <a:pt x="370" y="798"/>
                  </a:lnTo>
                  <a:close/>
                  <a:moveTo>
                    <a:pt x="292" y="798"/>
                  </a:moveTo>
                  <a:lnTo>
                    <a:pt x="292" y="801"/>
                  </a:lnTo>
                  <a:lnTo>
                    <a:pt x="294" y="801"/>
                  </a:lnTo>
                  <a:lnTo>
                    <a:pt x="292" y="801"/>
                  </a:lnTo>
                  <a:lnTo>
                    <a:pt x="292" y="803"/>
                  </a:lnTo>
                  <a:lnTo>
                    <a:pt x="292" y="805"/>
                  </a:lnTo>
                  <a:lnTo>
                    <a:pt x="292" y="808"/>
                  </a:lnTo>
                  <a:lnTo>
                    <a:pt x="289" y="808"/>
                  </a:lnTo>
                  <a:lnTo>
                    <a:pt x="289" y="805"/>
                  </a:lnTo>
                  <a:lnTo>
                    <a:pt x="289" y="808"/>
                  </a:lnTo>
                  <a:lnTo>
                    <a:pt x="287" y="808"/>
                  </a:lnTo>
                  <a:lnTo>
                    <a:pt x="287" y="805"/>
                  </a:lnTo>
                  <a:lnTo>
                    <a:pt x="284" y="805"/>
                  </a:lnTo>
                  <a:lnTo>
                    <a:pt x="284" y="808"/>
                  </a:lnTo>
                  <a:lnTo>
                    <a:pt x="284" y="805"/>
                  </a:lnTo>
                  <a:lnTo>
                    <a:pt x="282" y="805"/>
                  </a:lnTo>
                  <a:lnTo>
                    <a:pt x="284" y="805"/>
                  </a:lnTo>
                  <a:lnTo>
                    <a:pt x="284" y="803"/>
                  </a:lnTo>
                  <a:lnTo>
                    <a:pt x="284" y="805"/>
                  </a:lnTo>
                  <a:lnTo>
                    <a:pt x="284" y="803"/>
                  </a:lnTo>
                  <a:lnTo>
                    <a:pt x="287" y="803"/>
                  </a:lnTo>
                  <a:lnTo>
                    <a:pt x="284" y="803"/>
                  </a:lnTo>
                  <a:lnTo>
                    <a:pt x="287" y="803"/>
                  </a:lnTo>
                  <a:lnTo>
                    <a:pt x="289" y="803"/>
                  </a:lnTo>
                  <a:lnTo>
                    <a:pt x="287" y="803"/>
                  </a:lnTo>
                  <a:lnTo>
                    <a:pt x="289" y="803"/>
                  </a:lnTo>
                  <a:lnTo>
                    <a:pt x="289" y="805"/>
                  </a:lnTo>
                  <a:lnTo>
                    <a:pt x="289" y="803"/>
                  </a:lnTo>
                  <a:lnTo>
                    <a:pt x="289" y="805"/>
                  </a:lnTo>
                  <a:lnTo>
                    <a:pt x="289" y="803"/>
                  </a:lnTo>
                  <a:lnTo>
                    <a:pt x="289" y="801"/>
                  </a:lnTo>
                  <a:lnTo>
                    <a:pt x="287" y="801"/>
                  </a:lnTo>
                  <a:lnTo>
                    <a:pt x="289" y="801"/>
                  </a:lnTo>
                  <a:lnTo>
                    <a:pt x="287" y="798"/>
                  </a:lnTo>
                  <a:lnTo>
                    <a:pt x="289" y="798"/>
                  </a:lnTo>
                  <a:lnTo>
                    <a:pt x="292" y="798"/>
                  </a:lnTo>
                  <a:close/>
                  <a:moveTo>
                    <a:pt x="308" y="798"/>
                  </a:moveTo>
                  <a:lnTo>
                    <a:pt x="306" y="798"/>
                  </a:lnTo>
                  <a:lnTo>
                    <a:pt x="308" y="798"/>
                  </a:lnTo>
                  <a:close/>
                  <a:moveTo>
                    <a:pt x="334" y="798"/>
                  </a:moveTo>
                  <a:lnTo>
                    <a:pt x="337" y="798"/>
                  </a:lnTo>
                  <a:lnTo>
                    <a:pt x="334" y="798"/>
                  </a:lnTo>
                  <a:close/>
                  <a:moveTo>
                    <a:pt x="379" y="798"/>
                  </a:moveTo>
                  <a:lnTo>
                    <a:pt x="377" y="798"/>
                  </a:lnTo>
                  <a:lnTo>
                    <a:pt x="379" y="798"/>
                  </a:lnTo>
                  <a:lnTo>
                    <a:pt x="379" y="796"/>
                  </a:lnTo>
                  <a:lnTo>
                    <a:pt x="379" y="798"/>
                  </a:lnTo>
                  <a:close/>
                  <a:moveTo>
                    <a:pt x="389" y="798"/>
                  </a:moveTo>
                  <a:lnTo>
                    <a:pt x="386" y="798"/>
                  </a:lnTo>
                  <a:lnTo>
                    <a:pt x="389" y="798"/>
                  </a:lnTo>
                  <a:lnTo>
                    <a:pt x="389" y="796"/>
                  </a:lnTo>
                  <a:lnTo>
                    <a:pt x="389" y="798"/>
                  </a:lnTo>
                  <a:close/>
                  <a:moveTo>
                    <a:pt x="337" y="796"/>
                  </a:moveTo>
                  <a:lnTo>
                    <a:pt x="339" y="796"/>
                  </a:lnTo>
                  <a:lnTo>
                    <a:pt x="337" y="796"/>
                  </a:lnTo>
                  <a:lnTo>
                    <a:pt x="337" y="798"/>
                  </a:lnTo>
                  <a:lnTo>
                    <a:pt x="334" y="798"/>
                  </a:lnTo>
                  <a:lnTo>
                    <a:pt x="334" y="796"/>
                  </a:lnTo>
                  <a:lnTo>
                    <a:pt x="337" y="796"/>
                  </a:lnTo>
                  <a:close/>
                  <a:moveTo>
                    <a:pt x="320" y="794"/>
                  </a:moveTo>
                  <a:lnTo>
                    <a:pt x="318" y="794"/>
                  </a:lnTo>
                  <a:lnTo>
                    <a:pt x="320" y="794"/>
                  </a:lnTo>
                  <a:close/>
                  <a:moveTo>
                    <a:pt x="348" y="794"/>
                  </a:moveTo>
                  <a:lnTo>
                    <a:pt x="346" y="794"/>
                  </a:lnTo>
                  <a:lnTo>
                    <a:pt x="348" y="794"/>
                  </a:lnTo>
                  <a:close/>
                  <a:moveTo>
                    <a:pt x="360" y="791"/>
                  </a:moveTo>
                  <a:lnTo>
                    <a:pt x="358" y="791"/>
                  </a:lnTo>
                  <a:lnTo>
                    <a:pt x="360" y="791"/>
                  </a:lnTo>
                  <a:close/>
                  <a:moveTo>
                    <a:pt x="353" y="791"/>
                  </a:moveTo>
                  <a:lnTo>
                    <a:pt x="356" y="791"/>
                  </a:lnTo>
                  <a:lnTo>
                    <a:pt x="353" y="791"/>
                  </a:lnTo>
                  <a:close/>
                  <a:moveTo>
                    <a:pt x="394" y="791"/>
                  </a:moveTo>
                  <a:lnTo>
                    <a:pt x="391" y="791"/>
                  </a:lnTo>
                  <a:lnTo>
                    <a:pt x="394" y="791"/>
                  </a:lnTo>
                  <a:close/>
                  <a:moveTo>
                    <a:pt x="341" y="791"/>
                  </a:moveTo>
                  <a:lnTo>
                    <a:pt x="341" y="794"/>
                  </a:lnTo>
                  <a:lnTo>
                    <a:pt x="339" y="794"/>
                  </a:lnTo>
                  <a:lnTo>
                    <a:pt x="341" y="794"/>
                  </a:lnTo>
                  <a:lnTo>
                    <a:pt x="339" y="794"/>
                  </a:lnTo>
                  <a:lnTo>
                    <a:pt x="339" y="796"/>
                  </a:lnTo>
                  <a:lnTo>
                    <a:pt x="337" y="796"/>
                  </a:lnTo>
                  <a:lnTo>
                    <a:pt x="339" y="796"/>
                  </a:lnTo>
                  <a:lnTo>
                    <a:pt x="337" y="796"/>
                  </a:lnTo>
                  <a:lnTo>
                    <a:pt x="337" y="794"/>
                  </a:lnTo>
                  <a:lnTo>
                    <a:pt x="339" y="791"/>
                  </a:lnTo>
                  <a:lnTo>
                    <a:pt x="341" y="791"/>
                  </a:lnTo>
                  <a:close/>
                  <a:moveTo>
                    <a:pt x="367" y="791"/>
                  </a:moveTo>
                  <a:lnTo>
                    <a:pt x="365" y="791"/>
                  </a:lnTo>
                  <a:lnTo>
                    <a:pt x="367" y="791"/>
                  </a:lnTo>
                  <a:close/>
                  <a:moveTo>
                    <a:pt x="356" y="791"/>
                  </a:moveTo>
                  <a:lnTo>
                    <a:pt x="353" y="791"/>
                  </a:lnTo>
                  <a:lnTo>
                    <a:pt x="353" y="789"/>
                  </a:lnTo>
                  <a:lnTo>
                    <a:pt x="356" y="789"/>
                  </a:lnTo>
                  <a:lnTo>
                    <a:pt x="353" y="789"/>
                  </a:lnTo>
                  <a:lnTo>
                    <a:pt x="356" y="791"/>
                  </a:lnTo>
                  <a:close/>
                  <a:moveTo>
                    <a:pt x="363" y="791"/>
                  </a:moveTo>
                  <a:lnTo>
                    <a:pt x="360" y="791"/>
                  </a:lnTo>
                  <a:lnTo>
                    <a:pt x="363" y="791"/>
                  </a:lnTo>
                  <a:lnTo>
                    <a:pt x="360" y="791"/>
                  </a:lnTo>
                  <a:lnTo>
                    <a:pt x="360" y="789"/>
                  </a:lnTo>
                  <a:lnTo>
                    <a:pt x="363" y="789"/>
                  </a:lnTo>
                  <a:lnTo>
                    <a:pt x="363" y="791"/>
                  </a:lnTo>
                  <a:close/>
                  <a:moveTo>
                    <a:pt x="353" y="789"/>
                  </a:moveTo>
                  <a:lnTo>
                    <a:pt x="353" y="791"/>
                  </a:lnTo>
                  <a:lnTo>
                    <a:pt x="351" y="791"/>
                  </a:lnTo>
                  <a:lnTo>
                    <a:pt x="353" y="791"/>
                  </a:lnTo>
                  <a:lnTo>
                    <a:pt x="353" y="789"/>
                  </a:lnTo>
                  <a:lnTo>
                    <a:pt x="353" y="791"/>
                  </a:lnTo>
                  <a:lnTo>
                    <a:pt x="353" y="789"/>
                  </a:lnTo>
                  <a:close/>
                  <a:moveTo>
                    <a:pt x="318" y="789"/>
                  </a:moveTo>
                  <a:lnTo>
                    <a:pt x="320" y="789"/>
                  </a:lnTo>
                  <a:lnTo>
                    <a:pt x="318" y="789"/>
                  </a:lnTo>
                  <a:close/>
                  <a:moveTo>
                    <a:pt x="386" y="789"/>
                  </a:moveTo>
                  <a:lnTo>
                    <a:pt x="384" y="789"/>
                  </a:lnTo>
                  <a:lnTo>
                    <a:pt x="386" y="789"/>
                  </a:lnTo>
                  <a:close/>
                  <a:moveTo>
                    <a:pt x="384" y="789"/>
                  </a:moveTo>
                  <a:lnTo>
                    <a:pt x="382" y="789"/>
                  </a:lnTo>
                  <a:lnTo>
                    <a:pt x="384" y="789"/>
                  </a:lnTo>
                  <a:close/>
                  <a:moveTo>
                    <a:pt x="382" y="789"/>
                  </a:moveTo>
                  <a:lnTo>
                    <a:pt x="379" y="789"/>
                  </a:lnTo>
                  <a:lnTo>
                    <a:pt x="377" y="789"/>
                  </a:lnTo>
                  <a:lnTo>
                    <a:pt x="379" y="789"/>
                  </a:lnTo>
                  <a:lnTo>
                    <a:pt x="382" y="789"/>
                  </a:lnTo>
                  <a:close/>
                  <a:moveTo>
                    <a:pt x="325" y="789"/>
                  </a:moveTo>
                  <a:lnTo>
                    <a:pt x="322" y="789"/>
                  </a:lnTo>
                  <a:lnTo>
                    <a:pt x="325" y="789"/>
                  </a:lnTo>
                  <a:lnTo>
                    <a:pt x="322" y="789"/>
                  </a:lnTo>
                  <a:lnTo>
                    <a:pt x="322" y="786"/>
                  </a:lnTo>
                  <a:lnTo>
                    <a:pt x="322" y="789"/>
                  </a:lnTo>
                  <a:lnTo>
                    <a:pt x="325" y="786"/>
                  </a:lnTo>
                  <a:lnTo>
                    <a:pt x="325" y="789"/>
                  </a:lnTo>
                  <a:close/>
                  <a:moveTo>
                    <a:pt x="344" y="789"/>
                  </a:moveTo>
                  <a:lnTo>
                    <a:pt x="344" y="786"/>
                  </a:lnTo>
                  <a:lnTo>
                    <a:pt x="346" y="786"/>
                  </a:lnTo>
                  <a:lnTo>
                    <a:pt x="346" y="789"/>
                  </a:lnTo>
                  <a:lnTo>
                    <a:pt x="344" y="789"/>
                  </a:lnTo>
                  <a:close/>
                  <a:moveTo>
                    <a:pt x="325" y="786"/>
                  </a:moveTo>
                  <a:lnTo>
                    <a:pt x="325" y="789"/>
                  </a:lnTo>
                  <a:lnTo>
                    <a:pt x="325" y="786"/>
                  </a:lnTo>
                  <a:close/>
                  <a:moveTo>
                    <a:pt x="325" y="786"/>
                  </a:moveTo>
                  <a:lnTo>
                    <a:pt x="322" y="786"/>
                  </a:lnTo>
                  <a:lnTo>
                    <a:pt x="325" y="786"/>
                  </a:lnTo>
                  <a:close/>
                  <a:moveTo>
                    <a:pt x="356" y="786"/>
                  </a:moveTo>
                  <a:lnTo>
                    <a:pt x="353" y="786"/>
                  </a:lnTo>
                  <a:lnTo>
                    <a:pt x="356" y="786"/>
                  </a:lnTo>
                  <a:lnTo>
                    <a:pt x="353" y="786"/>
                  </a:lnTo>
                  <a:lnTo>
                    <a:pt x="356" y="786"/>
                  </a:lnTo>
                  <a:close/>
                  <a:moveTo>
                    <a:pt x="351" y="779"/>
                  </a:moveTo>
                  <a:lnTo>
                    <a:pt x="351" y="782"/>
                  </a:lnTo>
                  <a:lnTo>
                    <a:pt x="348" y="782"/>
                  </a:lnTo>
                  <a:lnTo>
                    <a:pt x="348" y="779"/>
                  </a:lnTo>
                  <a:lnTo>
                    <a:pt x="348" y="782"/>
                  </a:lnTo>
                  <a:lnTo>
                    <a:pt x="348" y="779"/>
                  </a:lnTo>
                  <a:lnTo>
                    <a:pt x="351" y="779"/>
                  </a:lnTo>
                  <a:close/>
                  <a:moveTo>
                    <a:pt x="408" y="782"/>
                  </a:moveTo>
                  <a:lnTo>
                    <a:pt x="405" y="782"/>
                  </a:lnTo>
                  <a:lnTo>
                    <a:pt x="408" y="779"/>
                  </a:lnTo>
                  <a:lnTo>
                    <a:pt x="408" y="782"/>
                  </a:lnTo>
                  <a:close/>
                  <a:moveTo>
                    <a:pt x="389" y="777"/>
                  </a:moveTo>
                  <a:lnTo>
                    <a:pt x="391" y="777"/>
                  </a:lnTo>
                  <a:lnTo>
                    <a:pt x="391" y="779"/>
                  </a:lnTo>
                  <a:lnTo>
                    <a:pt x="394" y="779"/>
                  </a:lnTo>
                  <a:lnTo>
                    <a:pt x="394" y="782"/>
                  </a:lnTo>
                  <a:lnTo>
                    <a:pt x="391" y="782"/>
                  </a:lnTo>
                  <a:lnTo>
                    <a:pt x="391" y="784"/>
                  </a:lnTo>
                  <a:lnTo>
                    <a:pt x="389" y="784"/>
                  </a:lnTo>
                  <a:lnTo>
                    <a:pt x="386" y="784"/>
                  </a:lnTo>
                  <a:lnTo>
                    <a:pt x="384" y="784"/>
                  </a:lnTo>
                  <a:lnTo>
                    <a:pt x="384" y="786"/>
                  </a:lnTo>
                  <a:lnTo>
                    <a:pt x="382" y="786"/>
                  </a:lnTo>
                  <a:lnTo>
                    <a:pt x="379" y="786"/>
                  </a:lnTo>
                  <a:lnTo>
                    <a:pt x="379" y="784"/>
                  </a:lnTo>
                  <a:lnTo>
                    <a:pt x="379" y="786"/>
                  </a:lnTo>
                  <a:lnTo>
                    <a:pt x="379" y="784"/>
                  </a:lnTo>
                  <a:lnTo>
                    <a:pt x="382" y="784"/>
                  </a:lnTo>
                  <a:lnTo>
                    <a:pt x="382" y="782"/>
                  </a:lnTo>
                  <a:lnTo>
                    <a:pt x="384" y="784"/>
                  </a:lnTo>
                  <a:lnTo>
                    <a:pt x="384" y="782"/>
                  </a:lnTo>
                  <a:lnTo>
                    <a:pt x="382" y="782"/>
                  </a:lnTo>
                  <a:lnTo>
                    <a:pt x="379" y="782"/>
                  </a:lnTo>
                  <a:lnTo>
                    <a:pt x="382" y="782"/>
                  </a:lnTo>
                  <a:lnTo>
                    <a:pt x="382" y="779"/>
                  </a:lnTo>
                  <a:lnTo>
                    <a:pt x="384" y="779"/>
                  </a:lnTo>
                  <a:lnTo>
                    <a:pt x="384" y="777"/>
                  </a:lnTo>
                  <a:lnTo>
                    <a:pt x="386" y="777"/>
                  </a:lnTo>
                  <a:lnTo>
                    <a:pt x="389" y="777"/>
                  </a:lnTo>
                  <a:close/>
                  <a:moveTo>
                    <a:pt x="341" y="775"/>
                  </a:moveTo>
                  <a:lnTo>
                    <a:pt x="341" y="777"/>
                  </a:lnTo>
                  <a:lnTo>
                    <a:pt x="341" y="775"/>
                  </a:lnTo>
                  <a:close/>
                  <a:moveTo>
                    <a:pt x="334" y="775"/>
                  </a:moveTo>
                  <a:lnTo>
                    <a:pt x="337" y="775"/>
                  </a:lnTo>
                  <a:lnTo>
                    <a:pt x="339" y="775"/>
                  </a:lnTo>
                  <a:lnTo>
                    <a:pt x="341" y="775"/>
                  </a:lnTo>
                  <a:lnTo>
                    <a:pt x="341" y="777"/>
                  </a:lnTo>
                  <a:lnTo>
                    <a:pt x="344" y="777"/>
                  </a:lnTo>
                  <a:lnTo>
                    <a:pt x="341" y="777"/>
                  </a:lnTo>
                  <a:lnTo>
                    <a:pt x="341" y="779"/>
                  </a:lnTo>
                  <a:lnTo>
                    <a:pt x="339" y="779"/>
                  </a:lnTo>
                  <a:lnTo>
                    <a:pt x="337" y="779"/>
                  </a:lnTo>
                  <a:lnTo>
                    <a:pt x="334" y="779"/>
                  </a:lnTo>
                  <a:lnTo>
                    <a:pt x="334" y="777"/>
                  </a:lnTo>
                  <a:lnTo>
                    <a:pt x="334" y="779"/>
                  </a:lnTo>
                  <a:lnTo>
                    <a:pt x="332" y="777"/>
                  </a:lnTo>
                  <a:lnTo>
                    <a:pt x="332" y="779"/>
                  </a:lnTo>
                  <a:lnTo>
                    <a:pt x="332" y="777"/>
                  </a:lnTo>
                  <a:lnTo>
                    <a:pt x="332" y="775"/>
                  </a:lnTo>
                  <a:lnTo>
                    <a:pt x="334" y="775"/>
                  </a:lnTo>
                  <a:close/>
                  <a:moveTo>
                    <a:pt x="337" y="775"/>
                  </a:moveTo>
                  <a:lnTo>
                    <a:pt x="339" y="775"/>
                  </a:lnTo>
                  <a:lnTo>
                    <a:pt x="337" y="775"/>
                  </a:lnTo>
                  <a:close/>
                  <a:moveTo>
                    <a:pt x="322" y="775"/>
                  </a:moveTo>
                  <a:lnTo>
                    <a:pt x="320" y="775"/>
                  </a:lnTo>
                  <a:lnTo>
                    <a:pt x="322" y="775"/>
                  </a:lnTo>
                  <a:close/>
                  <a:moveTo>
                    <a:pt x="322" y="772"/>
                  </a:moveTo>
                  <a:lnTo>
                    <a:pt x="322" y="775"/>
                  </a:lnTo>
                  <a:lnTo>
                    <a:pt x="320" y="775"/>
                  </a:lnTo>
                  <a:lnTo>
                    <a:pt x="320" y="772"/>
                  </a:lnTo>
                  <a:lnTo>
                    <a:pt x="322" y="772"/>
                  </a:lnTo>
                  <a:lnTo>
                    <a:pt x="320" y="772"/>
                  </a:lnTo>
                  <a:lnTo>
                    <a:pt x="322" y="772"/>
                  </a:lnTo>
                  <a:close/>
                  <a:moveTo>
                    <a:pt x="372" y="772"/>
                  </a:moveTo>
                  <a:lnTo>
                    <a:pt x="370" y="772"/>
                  </a:lnTo>
                  <a:lnTo>
                    <a:pt x="372" y="772"/>
                  </a:lnTo>
                  <a:close/>
                  <a:moveTo>
                    <a:pt x="360" y="772"/>
                  </a:moveTo>
                  <a:lnTo>
                    <a:pt x="358" y="772"/>
                  </a:lnTo>
                  <a:lnTo>
                    <a:pt x="358" y="770"/>
                  </a:lnTo>
                  <a:lnTo>
                    <a:pt x="360" y="772"/>
                  </a:lnTo>
                  <a:close/>
                  <a:moveTo>
                    <a:pt x="332" y="770"/>
                  </a:moveTo>
                  <a:lnTo>
                    <a:pt x="334" y="770"/>
                  </a:lnTo>
                  <a:lnTo>
                    <a:pt x="332" y="770"/>
                  </a:lnTo>
                  <a:close/>
                  <a:moveTo>
                    <a:pt x="396" y="770"/>
                  </a:moveTo>
                  <a:lnTo>
                    <a:pt x="398" y="770"/>
                  </a:lnTo>
                  <a:lnTo>
                    <a:pt x="396" y="770"/>
                  </a:lnTo>
                  <a:close/>
                  <a:moveTo>
                    <a:pt x="398" y="765"/>
                  </a:moveTo>
                  <a:lnTo>
                    <a:pt x="398" y="767"/>
                  </a:lnTo>
                  <a:lnTo>
                    <a:pt x="398" y="765"/>
                  </a:lnTo>
                  <a:close/>
                  <a:moveTo>
                    <a:pt x="382" y="765"/>
                  </a:moveTo>
                  <a:lnTo>
                    <a:pt x="379" y="765"/>
                  </a:lnTo>
                  <a:lnTo>
                    <a:pt x="379" y="763"/>
                  </a:lnTo>
                  <a:lnTo>
                    <a:pt x="382" y="765"/>
                  </a:lnTo>
                  <a:close/>
                  <a:moveTo>
                    <a:pt x="337" y="763"/>
                  </a:moveTo>
                  <a:lnTo>
                    <a:pt x="334" y="763"/>
                  </a:lnTo>
                  <a:lnTo>
                    <a:pt x="337" y="763"/>
                  </a:lnTo>
                  <a:lnTo>
                    <a:pt x="337" y="760"/>
                  </a:lnTo>
                  <a:lnTo>
                    <a:pt x="337" y="763"/>
                  </a:lnTo>
                  <a:close/>
                  <a:moveTo>
                    <a:pt x="341" y="760"/>
                  </a:moveTo>
                  <a:lnTo>
                    <a:pt x="339" y="763"/>
                  </a:lnTo>
                  <a:lnTo>
                    <a:pt x="339" y="760"/>
                  </a:lnTo>
                  <a:lnTo>
                    <a:pt x="341" y="760"/>
                  </a:lnTo>
                  <a:lnTo>
                    <a:pt x="339" y="760"/>
                  </a:lnTo>
                  <a:lnTo>
                    <a:pt x="341" y="760"/>
                  </a:lnTo>
                  <a:close/>
                  <a:moveTo>
                    <a:pt x="339" y="760"/>
                  </a:moveTo>
                  <a:lnTo>
                    <a:pt x="339" y="763"/>
                  </a:lnTo>
                  <a:lnTo>
                    <a:pt x="337" y="763"/>
                  </a:lnTo>
                  <a:lnTo>
                    <a:pt x="337" y="760"/>
                  </a:lnTo>
                  <a:lnTo>
                    <a:pt x="339" y="760"/>
                  </a:lnTo>
                  <a:close/>
                  <a:moveTo>
                    <a:pt x="339" y="760"/>
                  </a:moveTo>
                  <a:lnTo>
                    <a:pt x="337" y="760"/>
                  </a:lnTo>
                  <a:lnTo>
                    <a:pt x="339" y="760"/>
                  </a:lnTo>
                  <a:close/>
                  <a:moveTo>
                    <a:pt x="337" y="760"/>
                  </a:moveTo>
                  <a:lnTo>
                    <a:pt x="334" y="760"/>
                  </a:lnTo>
                  <a:lnTo>
                    <a:pt x="337" y="760"/>
                  </a:lnTo>
                  <a:lnTo>
                    <a:pt x="334" y="760"/>
                  </a:lnTo>
                  <a:lnTo>
                    <a:pt x="337" y="760"/>
                  </a:lnTo>
                  <a:lnTo>
                    <a:pt x="334" y="760"/>
                  </a:lnTo>
                  <a:lnTo>
                    <a:pt x="337" y="758"/>
                  </a:lnTo>
                  <a:lnTo>
                    <a:pt x="337" y="760"/>
                  </a:lnTo>
                  <a:close/>
                  <a:moveTo>
                    <a:pt x="410" y="758"/>
                  </a:moveTo>
                  <a:lnTo>
                    <a:pt x="410" y="760"/>
                  </a:lnTo>
                  <a:lnTo>
                    <a:pt x="413" y="760"/>
                  </a:lnTo>
                  <a:lnTo>
                    <a:pt x="413" y="763"/>
                  </a:lnTo>
                  <a:lnTo>
                    <a:pt x="415" y="763"/>
                  </a:lnTo>
                  <a:lnTo>
                    <a:pt x="415" y="765"/>
                  </a:lnTo>
                  <a:lnTo>
                    <a:pt x="413" y="765"/>
                  </a:lnTo>
                  <a:lnTo>
                    <a:pt x="410" y="765"/>
                  </a:lnTo>
                  <a:lnTo>
                    <a:pt x="408" y="765"/>
                  </a:lnTo>
                  <a:lnTo>
                    <a:pt x="405" y="765"/>
                  </a:lnTo>
                  <a:lnTo>
                    <a:pt x="405" y="767"/>
                  </a:lnTo>
                  <a:lnTo>
                    <a:pt x="403" y="767"/>
                  </a:lnTo>
                  <a:lnTo>
                    <a:pt x="403" y="765"/>
                  </a:lnTo>
                  <a:lnTo>
                    <a:pt x="405" y="765"/>
                  </a:lnTo>
                  <a:lnTo>
                    <a:pt x="405" y="763"/>
                  </a:lnTo>
                  <a:lnTo>
                    <a:pt x="408" y="763"/>
                  </a:lnTo>
                  <a:lnTo>
                    <a:pt x="408" y="760"/>
                  </a:lnTo>
                  <a:lnTo>
                    <a:pt x="410" y="760"/>
                  </a:lnTo>
                  <a:lnTo>
                    <a:pt x="410" y="758"/>
                  </a:lnTo>
                  <a:close/>
                  <a:moveTo>
                    <a:pt x="375" y="760"/>
                  </a:moveTo>
                  <a:lnTo>
                    <a:pt x="377" y="758"/>
                  </a:lnTo>
                  <a:lnTo>
                    <a:pt x="377" y="760"/>
                  </a:lnTo>
                  <a:lnTo>
                    <a:pt x="375" y="760"/>
                  </a:lnTo>
                  <a:close/>
                  <a:moveTo>
                    <a:pt x="401" y="758"/>
                  </a:moveTo>
                  <a:lnTo>
                    <a:pt x="398" y="758"/>
                  </a:lnTo>
                  <a:lnTo>
                    <a:pt x="401" y="758"/>
                  </a:lnTo>
                  <a:close/>
                  <a:moveTo>
                    <a:pt x="398" y="758"/>
                  </a:moveTo>
                  <a:lnTo>
                    <a:pt x="398" y="756"/>
                  </a:lnTo>
                  <a:lnTo>
                    <a:pt x="401" y="756"/>
                  </a:lnTo>
                  <a:lnTo>
                    <a:pt x="398" y="758"/>
                  </a:lnTo>
                  <a:close/>
                  <a:moveTo>
                    <a:pt x="434" y="758"/>
                  </a:moveTo>
                  <a:lnTo>
                    <a:pt x="434" y="756"/>
                  </a:lnTo>
                  <a:lnTo>
                    <a:pt x="434" y="758"/>
                  </a:lnTo>
                  <a:close/>
                  <a:moveTo>
                    <a:pt x="353" y="756"/>
                  </a:moveTo>
                  <a:lnTo>
                    <a:pt x="356" y="756"/>
                  </a:lnTo>
                  <a:lnTo>
                    <a:pt x="353" y="756"/>
                  </a:lnTo>
                  <a:lnTo>
                    <a:pt x="356" y="756"/>
                  </a:lnTo>
                  <a:lnTo>
                    <a:pt x="353" y="756"/>
                  </a:lnTo>
                  <a:close/>
                  <a:moveTo>
                    <a:pt x="417" y="756"/>
                  </a:moveTo>
                  <a:lnTo>
                    <a:pt x="420" y="756"/>
                  </a:lnTo>
                  <a:lnTo>
                    <a:pt x="422" y="756"/>
                  </a:lnTo>
                  <a:lnTo>
                    <a:pt x="424" y="758"/>
                  </a:lnTo>
                  <a:lnTo>
                    <a:pt x="427" y="758"/>
                  </a:lnTo>
                  <a:lnTo>
                    <a:pt x="424" y="758"/>
                  </a:lnTo>
                  <a:lnTo>
                    <a:pt x="424" y="760"/>
                  </a:lnTo>
                  <a:lnTo>
                    <a:pt x="422" y="760"/>
                  </a:lnTo>
                  <a:lnTo>
                    <a:pt x="420" y="760"/>
                  </a:lnTo>
                  <a:lnTo>
                    <a:pt x="420" y="763"/>
                  </a:lnTo>
                  <a:lnTo>
                    <a:pt x="417" y="763"/>
                  </a:lnTo>
                  <a:lnTo>
                    <a:pt x="415" y="763"/>
                  </a:lnTo>
                  <a:lnTo>
                    <a:pt x="415" y="760"/>
                  </a:lnTo>
                  <a:lnTo>
                    <a:pt x="415" y="758"/>
                  </a:lnTo>
                  <a:lnTo>
                    <a:pt x="413" y="758"/>
                  </a:lnTo>
                  <a:lnTo>
                    <a:pt x="413" y="756"/>
                  </a:lnTo>
                  <a:lnTo>
                    <a:pt x="415" y="756"/>
                  </a:lnTo>
                  <a:lnTo>
                    <a:pt x="417" y="758"/>
                  </a:lnTo>
                  <a:lnTo>
                    <a:pt x="420" y="758"/>
                  </a:lnTo>
                  <a:lnTo>
                    <a:pt x="417" y="758"/>
                  </a:lnTo>
                  <a:lnTo>
                    <a:pt x="417" y="756"/>
                  </a:lnTo>
                  <a:lnTo>
                    <a:pt x="415" y="756"/>
                  </a:lnTo>
                  <a:lnTo>
                    <a:pt x="417" y="756"/>
                  </a:lnTo>
                  <a:close/>
                  <a:moveTo>
                    <a:pt x="341" y="756"/>
                  </a:moveTo>
                  <a:lnTo>
                    <a:pt x="344" y="756"/>
                  </a:lnTo>
                  <a:lnTo>
                    <a:pt x="344" y="758"/>
                  </a:lnTo>
                  <a:lnTo>
                    <a:pt x="341" y="758"/>
                  </a:lnTo>
                  <a:lnTo>
                    <a:pt x="339" y="758"/>
                  </a:lnTo>
                  <a:lnTo>
                    <a:pt x="339" y="756"/>
                  </a:lnTo>
                  <a:lnTo>
                    <a:pt x="339" y="753"/>
                  </a:lnTo>
                  <a:lnTo>
                    <a:pt x="341" y="756"/>
                  </a:lnTo>
                  <a:close/>
                  <a:moveTo>
                    <a:pt x="401" y="753"/>
                  </a:moveTo>
                  <a:lnTo>
                    <a:pt x="398" y="756"/>
                  </a:lnTo>
                  <a:lnTo>
                    <a:pt x="398" y="753"/>
                  </a:lnTo>
                  <a:lnTo>
                    <a:pt x="401" y="751"/>
                  </a:lnTo>
                  <a:lnTo>
                    <a:pt x="401" y="753"/>
                  </a:lnTo>
                  <a:close/>
                  <a:moveTo>
                    <a:pt x="351" y="753"/>
                  </a:moveTo>
                  <a:lnTo>
                    <a:pt x="351" y="751"/>
                  </a:lnTo>
                  <a:lnTo>
                    <a:pt x="351" y="753"/>
                  </a:lnTo>
                  <a:close/>
                  <a:moveTo>
                    <a:pt x="386" y="751"/>
                  </a:moveTo>
                  <a:lnTo>
                    <a:pt x="389" y="751"/>
                  </a:lnTo>
                  <a:lnTo>
                    <a:pt x="391" y="751"/>
                  </a:lnTo>
                  <a:lnTo>
                    <a:pt x="391" y="753"/>
                  </a:lnTo>
                  <a:lnTo>
                    <a:pt x="394" y="753"/>
                  </a:lnTo>
                  <a:lnTo>
                    <a:pt x="396" y="753"/>
                  </a:lnTo>
                  <a:lnTo>
                    <a:pt x="398" y="753"/>
                  </a:lnTo>
                  <a:lnTo>
                    <a:pt x="398" y="756"/>
                  </a:lnTo>
                  <a:lnTo>
                    <a:pt x="398" y="753"/>
                  </a:lnTo>
                  <a:lnTo>
                    <a:pt x="396" y="756"/>
                  </a:lnTo>
                  <a:lnTo>
                    <a:pt x="398" y="756"/>
                  </a:lnTo>
                  <a:lnTo>
                    <a:pt x="396" y="756"/>
                  </a:lnTo>
                  <a:lnTo>
                    <a:pt x="396" y="758"/>
                  </a:lnTo>
                  <a:lnTo>
                    <a:pt x="394" y="758"/>
                  </a:lnTo>
                  <a:lnTo>
                    <a:pt x="391" y="758"/>
                  </a:lnTo>
                  <a:lnTo>
                    <a:pt x="391" y="756"/>
                  </a:lnTo>
                  <a:lnTo>
                    <a:pt x="389" y="756"/>
                  </a:lnTo>
                  <a:lnTo>
                    <a:pt x="389" y="753"/>
                  </a:lnTo>
                  <a:lnTo>
                    <a:pt x="386" y="753"/>
                  </a:lnTo>
                  <a:lnTo>
                    <a:pt x="384" y="753"/>
                  </a:lnTo>
                  <a:lnTo>
                    <a:pt x="384" y="751"/>
                  </a:lnTo>
                  <a:lnTo>
                    <a:pt x="386" y="751"/>
                  </a:lnTo>
                  <a:close/>
                  <a:moveTo>
                    <a:pt x="389" y="751"/>
                  </a:moveTo>
                  <a:lnTo>
                    <a:pt x="389" y="748"/>
                  </a:lnTo>
                  <a:lnTo>
                    <a:pt x="389" y="751"/>
                  </a:lnTo>
                  <a:close/>
                  <a:moveTo>
                    <a:pt x="394" y="748"/>
                  </a:moveTo>
                  <a:lnTo>
                    <a:pt x="394" y="751"/>
                  </a:lnTo>
                  <a:lnTo>
                    <a:pt x="396" y="751"/>
                  </a:lnTo>
                  <a:lnTo>
                    <a:pt x="394" y="751"/>
                  </a:lnTo>
                  <a:lnTo>
                    <a:pt x="391" y="751"/>
                  </a:lnTo>
                  <a:lnTo>
                    <a:pt x="391" y="748"/>
                  </a:lnTo>
                  <a:lnTo>
                    <a:pt x="394" y="748"/>
                  </a:lnTo>
                  <a:close/>
                  <a:moveTo>
                    <a:pt x="394" y="748"/>
                  </a:moveTo>
                  <a:lnTo>
                    <a:pt x="391" y="748"/>
                  </a:lnTo>
                  <a:lnTo>
                    <a:pt x="394" y="748"/>
                  </a:lnTo>
                  <a:close/>
                  <a:moveTo>
                    <a:pt x="348" y="748"/>
                  </a:moveTo>
                  <a:lnTo>
                    <a:pt x="346" y="748"/>
                  </a:lnTo>
                  <a:lnTo>
                    <a:pt x="348" y="748"/>
                  </a:lnTo>
                  <a:close/>
                  <a:moveTo>
                    <a:pt x="408" y="748"/>
                  </a:moveTo>
                  <a:lnTo>
                    <a:pt x="405" y="748"/>
                  </a:lnTo>
                  <a:lnTo>
                    <a:pt x="408" y="748"/>
                  </a:lnTo>
                  <a:close/>
                  <a:moveTo>
                    <a:pt x="394" y="748"/>
                  </a:moveTo>
                  <a:lnTo>
                    <a:pt x="396" y="748"/>
                  </a:lnTo>
                  <a:lnTo>
                    <a:pt x="394" y="748"/>
                  </a:lnTo>
                  <a:close/>
                  <a:moveTo>
                    <a:pt x="394" y="748"/>
                  </a:moveTo>
                  <a:lnTo>
                    <a:pt x="391" y="748"/>
                  </a:lnTo>
                  <a:lnTo>
                    <a:pt x="394" y="748"/>
                  </a:lnTo>
                  <a:lnTo>
                    <a:pt x="391" y="748"/>
                  </a:lnTo>
                  <a:lnTo>
                    <a:pt x="394" y="748"/>
                  </a:lnTo>
                  <a:lnTo>
                    <a:pt x="394" y="746"/>
                  </a:lnTo>
                  <a:lnTo>
                    <a:pt x="394" y="748"/>
                  </a:lnTo>
                  <a:close/>
                  <a:moveTo>
                    <a:pt x="394" y="746"/>
                  </a:moveTo>
                  <a:lnTo>
                    <a:pt x="394" y="748"/>
                  </a:lnTo>
                  <a:lnTo>
                    <a:pt x="394" y="746"/>
                  </a:lnTo>
                  <a:close/>
                  <a:moveTo>
                    <a:pt x="429" y="744"/>
                  </a:moveTo>
                  <a:lnTo>
                    <a:pt x="429" y="746"/>
                  </a:lnTo>
                  <a:lnTo>
                    <a:pt x="427" y="746"/>
                  </a:lnTo>
                  <a:lnTo>
                    <a:pt x="427" y="748"/>
                  </a:lnTo>
                  <a:lnTo>
                    <a:pt x="424" y="748"/>
                  </a:lnTo>
                  <a:lnTo>
                    <a:pt x="424" y="751"/>
                  </a:lnTo>
                  <a:lnTo>
                    <a:pt x="422" y="751"/>
                  </a:lnTo>
                  <a:lnTo>
                    <a:pt x="420" y="751"/>
                  </a:lnTo>
                  <a:lnTo>
                    <a:pt x="422" y="751"/>
                  </a:lnTo>
                  <a:lnTo>
                    <a:pt x="422" y="748"/>
                  </a:lnTo>
                  <a:lnTo>
                    <a:pt x="422" y="746"/>
                  </a:lnTo>
                  <a:lnTo>
                    <a:pt x="424" y="746"/>
                  </a:lnTo>
                  <a:lnTo>
                    <a:pt x="427" y="746"/>
                  </a:lnTo>
                  <a:lnTo>
                    <a:pt x="429" y="746"/>
                  </a:lnTo>
                  <a:lnTo>
                    <a:pt x="429" y="744"/>
                  </a:lnTo>
                  <a:close/>
                  <a:moveTo>
                    <a:pt x="424" y="741"/>
                  </a:moveTo>
                  <a:lnTo>
                    <a:pt x="422" y="741"/>
                  </a:lnTo>
                  <a:lnTo>
                    <a:pt x="424" y="741"/>
                  </a:lnTo>
                  <a:close/>
                  <a:moveTo>
                    <a:pt x="427" y="741"/>
                  </a:moveTo>
                  <a:lnTo>
                    <a:pt x="424" y="741"/>
                  </a:lnTo>
                  <a:lnTo>
                    <a:pt x="427" y="741"/>
                  </a:lnTo>
                  <a:close/>
                  <a:moveTo>
                    <a:pt x="458" y="737"/>
                  </a:moveTo>
                  <a:lnTo>
                    <a:pt x="460" y="737"/>
                  </a:lnTo>
                  <a:lnTo>
                    <a:pt x="458" y="737"/>
                  </a:lnTo>
                  <a:close/>
                  <a:moveTo>
                    <a:pt x="474" y="732"/>
                  </a:moveTo>
                  <a:lnTo>
                    <a:pt x="472" y="732"/>
                  </a:lnTo>
                  <a:lnTo>
                    <a:pt x="474" y="732"/>
                  </a:lnTo>
                  <a:close/>
                  <a:moveTo>
                    <a:pt x="413" y="725"/>
                  </a:moveTo>
                  <a:lnTo>
                    <a:pt x="415" y="725"/>
                  </a:lnTo>
                  <a:lnTo>
                    <a:pt x="413" y="725"/>
                  </a:lnTo>
                  <a:close/>
                  <a:moveTo>
                    <a:pt x="467" y="718"/>
                  </a:moveTo>
                  <a:lnTo>
                    <a:pt x="465" y="718"/>
                  </a:lnTo>
                  <a:lnTo>
                    <a:pt x="467" y="718"/>
                  </a:lnTo>
                  <a:close/>
                  <a:moveTo>
                    <a:pt x="436" y="715"/>
                  </a:moveTo>
                  <a:lnTo>
                    <a:pt x="439" y="715"/>
                  </a:lnTo>
                  <a:lnTo>
                    <a:pt x="436" y="715"/>
                  </a:lnTo>
                  <a:close/>
                  <a:moveTo>
                    <a:pt x="443" y="713"/>
                  </a:moveTo>
                  <a:lnTo>
                    <a:pt x="443" y="715"/>
                  </a:lnTo>
                  <a:lnTo>
                    <a:pt x="443" y="713"/>
                  </a:lnTo>
                  <a:close/>
                  <a:moveTo>
                    <a:pt x="439" y="713"/>
                  </a:moveTo>
                  <a:lnTo>
                    <a:pt x="441" y="713"/>
                  </a:lnTo>
                  <a:lnTo>
                    <a:pt x="441" y="715"/>
                  </a:lnTo>
                  <a:lnTo>
                    <a:pt x="439" y="715"/>
                  </a:lnTo>
                  <a:lnTo>
                    <a:pt x="439" y="713"/>
                  </a:lnTo>
                  <a:close/>
                  <a:moveTo>
                    <a:pt x="472" y="713"/>
                  </a:moveTo>
                  <a:lnTo>
                    <a:pt x="469" y="713"/>
                  </a:lnTo>
                  <a:lnTo>
                    <a:pt x="472" y="713"/>
                  </a:lnTo>
                  <a:lnTo>
                    <a:pt x="469" y="713"/>
                  </a:lnTo>
                  <a:lnTo>
                    <a:pt x="472" y="713"/>
                  </a:lnTo>
                  <a:close/>
                  <a:moveTo>
                    <a:pt x="441" y="713"/>
                  </a:moveTo>
                  <a:lnTo>
                    <a:pt x="443" y="713"/>
                  </a:lnTo>
                  <a:lnTo>
                    <a:pt x="441" y="713"/>
                  </a:lnTo>
                  <a:lnTo>
                    <a:pt x="443" y="713"/>
                  </a:lnTo>
                  <a:lnTo>
                    <a:pt x="441" y="713"/>
                  </a:lnTo>
                  <a:close/>
                  <a:moveTo>
                    <a:pt x="469" y="710"/>
                  </a:moveTo>
                  <a:lnTo>
                    <a:pt x="469" y="713"/>
                  </a:lnTo>
                  <a:lnTo>
                    <a:pt x="467" y="713"/>
                  </a:lnTo>
                  <a:lnTo>
                    <a:pt x="467" y="710"/>
                  </a:lnTo>
                  <a:lnTo>
                    <a:pt x="469" y="710"/>
                  </a:lnTo>
                  <a:close/>
                  <a:moveTo>
                    <a:pt x="519" y="710"/>
                  </a:moveTo>
                  <a:lnTo>
                    <a:pt x="522" y="710"/>
                  </a:lnTo>
                  <a:lnTo>
                    <a:pt x="519" y="713"/>
                  </a:lnTo>
                  <a:lnTo>
                    <a:pt x="519" y="710"/>
                  </a:lnTo>
                  <a:close/>
                  <a:moveTo>
                    <a:pt x="446" y="710"/>
                  </a:moveTo>
                  <a:lnTo>
                    <a:pt x="448" y="710"/>
                  </a:lnTo>
                  <a:lnTo>
                    <a:pt x="448" y="713"/>
                  </a:lnTo>
                  <a:lnTo>
                    <a:pt x="446" y="713"/>
                  </a:lnTo>
                  <a:lnTo>
                    <a:pt x="446" y="710"/>
                  </a:lnTo>
                  <a:lnTo>
                    <a:pt x="448" y="710"/>
                  </a:lnTo>
                  <a:lnTo>
                    <a:pt x="446" y="710"/>
                  </a:lnTo>
                  <a:close/>
                  <a:moveTo>
                    <a:pt x="448" y="710"/>
                  </a:moveTo>
                  <a:lnTo>
                    <a:pt x="448" y="708"/>
                  </a:lnTo>
                  <a:lnTo>
                    <a:pt x="448" y="710"/>
                  </a:lnTo>
                  <a:close/>
                  <a:moveTo>
                    <a:pt x="477" y="708"/>
                  </a:moveTo>
                  <a:lnTo>
                    <a:pt x="477" y="710"/>
                  </a:lnTo>
                  <a:lnTo>
                    <a:pt x="474" y="710"/>
                  </a:lnTo>
                  <a:lnTo>
                    <a:pt x="474" y="713"/>
                  </a:lnTo>
                  <a:lnTo>
                    <a:pt x="472" y="713"/>
                  </a:lnTo>
                  <a:lnTo>
                    <a:pt x="472" y="710"/>
                  </a:lnTo>
                  <a:lnTo>
                    <a:pt x="474" y="710"/>
                  </a:lnTo>
                  <a:lnTo>
                    <a:pt x="474" y="708"/>
                  </a:lnTo>
                  <a:lnTo>
                    <a:pt x="477" y="708"/>
                  </a:lnTo>
                  <a:close/>
                  <a:moveTo>
                    <a:pt x="446" y="706"/>
                  </a:moveTo>
                  <a:lnTo>
                    <a:pt x="446" y="708"/>
                  </a:lnTo>
                  <a:lnTo>
                    <a:pt x="443" y="708"/>
                  </a:lnTo>
                  <a:lnTo>
                    <a:pt x="443" y="706"/>
                  </a:lnTo>
                  <a:lnTo>
                    <a:pt x="446" y="706"/>
                  </a:lnTo>
                  <a:close/>
                  <a:moveTo>
                    <a:pt x="854" y="706"/>
                  </a:moveTo>
                  <a:lnTo>
                    <a:pt x="851" y="706"/>
                  </a:lnTo>
                  <a:lnTo>
                    <a:pt x="854" y="706"/>
                  </a:lnTo>
                  <a:lnTo>
                    <a:pt x="851" y="706"/>
                  </a:lnTo>
                  <a:lnTo>
                    <a:pt x="854" y="706"/>
                  </a:lnTo>
                  <a:close/>
                  <a:moveTo>
                    <a:pt x="450" y="708"/>
                  </a:moveTo>
                  <a:lnTo>
                    <a:pt x="448" y="708"/>
                  </a:lnTo>
                  <a:lnTo>
                    <a:pt x="448" y="706"/>
                  </a:lnTo>
                  <a:lnTo>
                    <a:pt x="450" y="706"/>
                  </a:lnTo>
                  <a:lnTo>
                    <a:pt x="450" y="708"/>
                  </a:lnTo>
                  <a:close/>
                  <a:moveTo>
                    <a:pt x="448" y="706"/>
                  </a:moveTo>
                  <a:lnTo>
                    <a:pt x="446" y="706"/>
                  </a:lnTo>
                  <a:lnTo>
                    <a:pt x="448" y="706"/>
                  </a:lnTo>
                  <a:close/>
                  <a:moveTo>
                    <a:pt x="842" y="703"/>
                  </a:moveTo>
                  <a:lnTo>
                    <a:pt x="844" y="703"/>
                  </a:lnTo>
                  <a:lnTo>
                    <a:pt x="842" y="703"/>
                  </a:lnTo>
                  <a:close/>
                  <a:moveTo>
                    <a:pt x="488" y="703"/>
                  </a:moveTo>
                  <a:lnTo>
                    <a:pt x="488" y="701"/>
                  </a:lnTo>
                  <a:lnTo>
                    <a:pt x="488" y="703"/>
                  </a:lnTo>
                  <a:close/>
                  <a:moveTo>
                    <a:pt x="455" y="701"/>
                  </a:moveTo>
                  <a:lnTo>
                    <a:pt x="458" y="701"/>
                  </a:lnTo>
                  <a:lnTo>
                    <a:pt x="455" y="701"/>
                  </a:lnTo>
                  <a:close/>
                  <a:moveTo>
                    <a:pt x="460" y="701"/>
                  </a:moveTo>
                  <a:lnTo>
                    <a:pt x="462" y="701"/>
                  </a:lnTo>
                  <a:lnTo>
                    <a:pt x="460" y="701"/>
                  </a:lnTo>
                  <a:lnTo>
                    <a:pt x="458" y="701"/>
                  </a:lnTo>
                  <a:lnTo>
                    <a:pt x="460" y="701"/>
                  </a:lnTo>
                  <a:lnTo>
                    <a:pt x="460" y="699"/>
                  </a:lnTo>
                  <a:lnTo>
                    <a:pt x="460" y="701"/>
                  </a:lnTo>
                  <a:close/>
                  <a:moveTo>
                    <a:pt x="462" y="699"/>
                  </a:moveTo>
                  <a:lnTo>
                    <a:pt x="460" y="699"/>
                  </a:lnTo>
                  <a:lnTo>
                    <a:pt x="462" y="699"/>
                  </a:lnTo>
                  <a:close/>
                  <a:moveTo>
                    <a:pt x="840" y="699"/>
                  </a:moveTo>
                  <a:lnTo>
                    <a:pt x="842" y="699"/>
                  </a:lnTo>
                  <a:lnTo>
                    <a:pt x="840" y="699"/>
                  </a:lnTo>
                  <a:lnTo>
                    <a:pt x="842" y="699"/>
                  </a:lnTo>
                  <a:lnTo>
                    <a:pt x="842" y="701"/>
                  </a:lnTo>
                  <a:lnTo>
                    <a:pt x="840" y="701"/>
                  </a:lnTo>
                  <a:lnTo>
                    <a:pt x="840" y="699"/>
                  </a:lnTo>
                  <a:close/>
                  <a:moveTo>
                    <a:pt x="462" y="699"/>
                  </a:moveTo>
                  <a:lnTo>
                    <a:pt x="460" y="699"/>
                  </a:lnTo>
                  <a:lnTo>
                    <a:pt x="462" y="699"/>
                  </a:lnTo>
                  <a:close/>
                  <a:moveTo>
                    <a:pt x="534" y="696"/>
                  </a:moveTo>
                  <a:lnTo>
                    <a:pt x="531" y="699"/>
                  </a:lnTo>
                  <a:lnTo>
                    <a:pt x="531" y="701"/>
                  </a:lnTo>
                  <a:lnTo>
                    <a:pt x="534" y="701"/>
                  </a:lnTo>
                  <a:lnTo>
                    <a:pt x="531" y="701"/>
                  </a:lnTo>
                  <a:lnTo>
                    <a:pt x="531" y="703"/>
                  </a:lnTo>
                  <a:lnTo>
                    <a:pt x="529" y="703"/>
                  </a:lnTo>
                  <a:lnTo>
                    <a:pt x="526" y="703"/>
                  </a:lnTo>
                  <a:lnTo>
                    <a:pt x="526" y="701"/>
                  </a:lnTo>
                  <a:lnTo>
                    <a:pt x="526" y="699"/>
                  </a:lnTo>
                  <a:lnTo>
                    <a:pt x="526" y="696"/>
                  </a:lnTo>
                  <a:lnTo>
                    <a:pt x="529" y="696"/>
                  </a:lnTo>
                  <a:lnTo>
                    <a:pt x="531" y="696"/>
                  </a:lnTo>
                  <a:lnTo>
                    <a:pt x="534" y="696"/>
                  </a:lnTo>
                  <a:close/>
                  <a:moveTo>
                    <a:pt x="567" y="696"/>
                  </a:moveTo>
                  <a:lnTo>
                    <a:pt x="569" y="696"/>
                  </a:lnTo>
                  <a:lnTo>
                    <a:pt x="569" y="699"/>
                  </a:lnTo>
                  <a:lnTo>
                    <a:pt x="567" y="696"/>
                  </a:lnTo>
                  <a:close/>
                  <a:moveTo>
                    <a:pt x="460" y="696"/>
                  </a:moveTo>
                  <a:lnTo>
                    <a:pt x="458" y="696"/>
                  </a:lnTo>
                  <a:lnTo>
                    <a:pt x="460" y="696"/>
                  </a:lnTo>
                  <a:close/>
                  <a:moveTo>
                    <a:pt x="564" y="694"/>
                  </a:moveTo>
                  <a:lnTo>
                    <a:pt x="564" y="696"/>
                  </a:lnTo>
                  <a:lnTo>
                    <a:pt x="567" y="696"/>
                  </a:lnTo>
                  <a:lnTo>
                    <a:pt x="564" y="696"/>
                  </a:lnTo>
                  <a:lnTo>
                    <a:pt x="562" y="696"/>
                  </a:lnTo>
                  <a:lnTo>
                    <a:pt x="564" y="694"/>
                  </a:lnTo>
                  <a:close/>
                  <a:moveTo>
                    <a:pt x="465" y="691"/>
                  </a:moveTo>
                  <a:lnTo>
                    <a:pt x="465" y="694"/>
                  </a:lnTo>
                  <a:lnTo>
                    <a:pt x="465" y="691"/>
                  </a:lnTo>
                  <a:close/>
                  <a:moveTo>
                    <a:pt x="460" y="691"/>
                  </a:moveTo>
                  <a:lnTo>
                    <a:pt x="458" y="691"/>
                  </a:lnTo>
                  <a:lnTo>
                    <a:pt x="460" y="691"/>
                  </a:lnTo>
                  <a:close/>
                  <a:moveTo>
                    <a:pt x="460" y="691"/>
                  </a:moveTo>
                  <a:lnTo>
                    <a:pt x="460" y="694"/>
                  </a:lnTo>
                  <a:lnTo>
                    <a:pt x="460" y="691"/>
                  </a:lnTo>
                  <a:close/>
                  <a:moveTo>
                    <a:pt x="531" y="696"/>
                  </a:moveTo>
                  <a:lnTo>
                    <a:pt x="529" y="696"/>
                  </a:lnTo>
                  <a:lnTo>
                    <a:pt x="529" y="694"/>
                  </a:lnTo>
                  <a:lnTo>
                    <a:pt x="529" y="691"/>
                  </a:lnTo>
                  <a:lnTo>
                    <a:pt x="531" y="691"/>
                  </a:lnTo>
                  <a:lnTo>
                    <a:pt x="531" y="694"/>
                  </a:lnTo>
                  <a:lnTo>
                    <a:pt x="531" y="696"/>
                  </a:lnTo>
                  <a:close/>
                  <a:moveTo>
                    <a:pt x="505" y="694"/>
                  </a:moveTo>
                  <a:lnTo>
                    <a:pt x="503" y="694"/>
                  </a:lnTo>
                  <a:lnTo>
                    <a:pt x="503" y="696"/>
                  </a:lnTo>
                  <a:lnTo>
                    <a:pt x="500" y="696"/>
                  </a:lnTo>
                  <a:lnTo>
                    <a:pt x="500" y="699"/>
                  </a:lnTo>
                  <a:lnTo>
                    <a:pt x="500" y="701"/>
                  </a:lnTo>
                  <a:lnTo>
                    <a:pt x="498" y="701"/>
                  </a:lnTo>
                  <a:lnTo>
                    <a:pt x="496" y="701"/>
                  </a:lnTo>
                  <a:lnTo>
                    <a:pt x="493" y="701"/>
                  </a:lnTo>
                  <a:lnTo>
                    <a:pt x="491" y="701"/>
                  </a:lnTo>
                  <a:lnTo>
                    <a:pt x="488" y="701"/>
                  </a:lnTo>
                  <a:lnTo>
                    <a:pt x="491" y="699"/>
                  </a:lnTo>
                  <a:lnTo>
                    <a:pt x="491" y="696"/>
                  </a:lnTo>
                  <a:lnTo>
                    <a:pt x="493" y="696"/>
                  </a:lnTo>
                  <a:lnTo>
                    <a:pt x="496" y="696"/>
                  </a:lnTo>
                  <a:lnTo>
                    <a:pt x="498" y="694"/>
                  </a:lnTo>
                  <a:lnTo>
                    <a:pt x="500" y="694"/>
                  </a:lnTo>
                  <a:lnTo>
                    <a:pt x="500" y="691"/>
                  </a:lnTo>
                  <a:lnTo>
                    <a:pt x="503" y="691"/>
                  </a:lnTo>
                  <a:lnTo>
                    <a:pt x="505" y="691"/>
                  </a:lnTo>
                  <a:lnTo>
                    <a:pt x="505" y="694"/>
                  </a:lnTo>
                  <a:close/>
                  <a:moveTo>
                    <a:pt x="543" y="691"/>
                  </a:moveTo>
                  <a:lnTo>
                    <a:pt x="543" y="689"/>
                  </a:lnTo>
                  <a:lnTo>
                    <a:pt x="545" y="689"/>
                  </a:lnTo>
                  <a:lnTo>
                    <a:pt x="545" y="691"/>
                  </a:lnTo>
                  <a:lnTo>
                    <a:pt x="543" y="691"/>
                  </a:lnTo>
                  <a:close/>
                  <a:moveTo>
                    <a:pt x="505" y="689"/>
                  </a:moveTo>
                  <a:lnTo>
                    <a:pt x="505" y="691"/>
                  </a:lnTo>
                  <a:lnTo>
                    <a:pt x="507" y="691"/>
                  </a:lnTo>
                  <a:lnTo>
                    <a:pt x="505" y="691"/>
                  </a:lnTo>
                  <a:lnTo>
                    <a:pt x="503" y="691"/>
                  </a:lnTo>
                  <a:lnTo>
                    <a:pt x="505" y="691"/>
                  </a:lnTo>
                  <a:lnTo>
                    <a:pt x="503" y="691"/>
                  </a:lnTo>
                  <a:lnTo>
                    <a:pt x="503" y="689"/>
                  </a:lnTo>
                  <a:lnTo>
                    <a:pt x="505" y="689"/>
                  </a:lnTo>
                  <a:close/>
                  <a:moveTo>
                    <a:pt x="538" y="691"/>
                  </a:moveTo>
                  <a:lnTo>
                    <a:pt x="541" y="691"/>
                  </a:lnTo>
                  <a:lnTo>
                    <a:pt x="543" y="691"/>
                  </a:lnTo>
                  <a:lnTo>
                    <a:pt x="541" y="691"/>
                  </a:lnTo>
                  <a:lnTo>
                    <a:pt x="541" y="694"/>
                  </a:lnTo>
                  <a:lnTo>
                    <a:pt x="538" y="694"/>
                  </a:lnTo>
                  <a:lnTo>
                    <a:pt x="541" y="694"/>
                  </a:lnTo>
                  <a:lnTo>
                    <a:pt x="538" y="694"/>
                  </a:lnTo>
                  <a:lnTo>
                    <a:pt x="538" y="696"/>
                  </a:lnTo>
                  <a:lnTo>
                    <a:pt x="536" y="696"/>
                  </a:lnTo>
                  <a:lnTo>
                    <a:pt x="534" y="696"/>
                  </a:lnTo>
                  <a:lnTo>
                    <a:pt x="534" y="694"/>
                  </a:lnTo>
                  <a:lnTo>
                    <a:pt x="534" y="691"/>
                  </a:lnTo>
                  <a:lnTo>
                    <a:pt x="531" y="691"/>
                  </a:lnTo>
                  <a:lnTo>
                    <a:pt x="531" y="689"/>
                  </a:lnTo>
                  <a:lnTo>
                    <a:pt x="534" y="689"/>
                  </a:lnTo>
                  <a:lnTo>
                    <a:pt x="536" y="689"/>
                  </a:lnTo>
                  <a:lnTo>
                    <a:pt x="538" y="691"/>
                  </a:lnTo>
                  <a:close/>
                  <a:moveTo>
                    <a:pt x="465" y="689"/>
                  </a:moveTo>
                  <a:lnTo>
                    <a:pt x="462" y="689"/>
                  </a:lnTo>
                  <a:lnTo>
                    <a:pt x="465" y="689"/>
                  </a:lnTo>
                  <a:close/>
                  <a:moveTo>
                    <a:pt x="562" y="689"/>
                  </a:moveTo>
                  <a:lnTo>
                    <a:pt x="564" y="689"/>
                  </a:lnTo>
                  <a:lnTo>
                    <a:pt x="567" y="691"/>
                  </a:lnTo>
                  <a:lnTo>
                    <a:pt x="564" y="691"/>
                  </a:lnTo>
                  <a:lnTo>
                    <a:pt x="562" y="691"/>
                  </a:lnTo>
                  <a:lnTo>
                    <a:pt x="560" y="691"/>
                  </a:lnTo>
                  <a:lnTo>
                    <a:pt x="560" y="689"/>
                  </a:lnTo>
                  <a:lnTo>
                    <a:pt x="560" y="691"/>
                  </a:lnTo>
                  <a:lnTo>
                    <a:pt x="560" y="689"/>
                  </a:lnTo>
                  <a:lnTo>
                    <a:pt x="562" y="689"/>
                  </a:lnTo>
                  <a:lnTo>
                    <a:pt x="560" y="689"/>
                  </a:lnTo>
                  <a:lnTo>
                    <a:pt x="562" y="689"/>
                  </a:lnTo>
                  <a:close/>
                  <a:moveTo>
                    <a:pt x="460" y="689"/>
                  </a:moveTo>
                  <a:lnTo>
                    <a:pt x="462" y="689"/>
                  </a:lnTo>
                  <a:lnTo>
                    <a:pt x="460" y="689"/>
                  </a:lnTo>
                  <a:close/>
                  <a:moveTo>
                    <a:pt x="550" y="689"/>
                  </a:moveTo>
                  <a:lnTo>
                    <a:pt x="548" y="689"/>
                  </a:lnTo>
                  <a:lnTo>
                    <a:pt x="550" y="689"/>
                  </a:lnTo>
                  <a:close/>
                  <a:moveTo>
                    <a:pt x="541" y="687"/>
                  </a:moveTo>
                  <a:lnTo>
                    <a:pt x="541" y="689"/>
                  </a:lnTo>
                  <a:lnTo>
                    <a:pt x="543" y="689"/>
                  </a:lnTo>
                  <a:lnTo>
                    <a:pt x="541" y="689"/>
                  </a:lnTo>
                  <a:lnTo>
                    <a:pt x="541" y="691"/>
                  </a:lnTo>
                  <a:lnTo>
                    <a:pt x="538" y="691"/>
                  </a:lnTo>
                  <a:lnTo>
                    <a:pt x="538" y="689"/>
                  </a:lnTo>
                  <a:lnTo>
                    <a:pt x="541" y="689"/>
                  </a:lnTo>
                  <a:lnTo>
                    <a:pt x="541" y="687"/>
                  </a:lnTo>
                  <a:close/>
                  <a:moveTo>
                    <a:pt x="830" y="687"/>
                  </a:moveTo>
                  <a:lnTo>
                    <a:pt x="828" y="687"/>
                  </a:lnTo>
                  <a:lnTo>
                    <a:pt x="830" y="687"/>
                  </a:lnTo>
                  <a:close/>
                  <a:moveTo>
                    <a:pt x="488" y="687"/>
                  </a:moveTo>
                  <a:lnTo>
                    <a:pt x="488" y="689"/>
                  </a:lnTo>
                  <a:lnTo>
                    <a:pt x="486" y="687"/>
                  </a:lnTo>
                  <a:lnTo>
                    <a:pt x="488" y="687"/>
                  </a:lnTo>
                  <a:close/>
                  <a:moveTo>
                    <a:pt x="460" y="684"/>
                  </a:moveTo>
                  <a:lnTo>
                    <a:pt x="460" y="687"/>
                  </a:lnTo>
                  <a:lnTo>
                    <a:pt x="458" y="684"/>
                  </a:lnTo>
                  <a:lnTo>
                    <a:pt x="458" y="687"/>
                  </a:lnTo>
                  <a:lnTo>
                    <a:pt x="458" y="684"/>
                  </a:lnTo>
                  <a:lnTo>
                    <a:pt x="460" y="684"/>
                  </a:lnTo>
                  <a:close/>
                  <a:moveTo>
                    <a:pt x="553" y="687"/>
                  </a:moveTo>
                  <a:lnTo>
                    <a:pt x="553" y="684"/>
                  </a:lnTo>
                  <a:lnTo>
                    <a:pt x="550" y="684"/>
                  </a:lnTo>
                  <a:lnTo>
                    <a:pt x="553" y="684"/>
                  </a:lnTo>
                  <a:lnTo>
                    <a:pt x="550" y="684"/>
                  </a:lnTo>
                  <a:lnTo>
                    <a:pt x="553" y="684"/>
                  </a:lnTo>
                  <a:lnTo>
                    <a:pt x="553" y="687"/>
                  </a:lnTo>
                  <a:close/>
                  <a:moveTo>
                    <a:pt x="467" y="684"/>
                  </a:moveTo>
                  <a:lnTo>
                    <a:pt x="469" y="684"/>
                  </a:lnTo>
                  <a:lnTo>
                    <a:pt x="469" y="687"/>
                  </a:lnTo>
                  <a:lnTo>
                    <a:pt x="469" y="689"/>
                  </a:lnTo>
                  <a:lnTo>
                    <a:pt x="469" y="687"/>
                  </a:lnTo>
                  <a:lnTo>
                    <a:pt x="472" y="687"/>
                  </a:lnTo>
                  <a:lnTo>
                    <a:pt x="472" y="684"/>
                  </a:lnTo>
                  <a:lnTo>
                    <a:pt x="472" y="687"/>
                  </a:lnTo>
                  <a:lnTo>
                    <a:pt x="474" y="687"/>
                  </a:lnTo>
                  <a:lnTo>
                    <a:pt x="472" y="687"/>
                  </a:lnTo>
                  <a:lnTo>
                    <a:pt x="474" y="687"/>
                  </a:lnTo>
                  <a:lnTo>
                    <a:pt x="474" y="689"/>
                  </a:lnTo>
                  <a:lnTo>
                    <a:pt x="472" y="689"/>
                  </a:lnTo>
                  <a:lnTo>
                    <a:pt x="469" y="689"/>
                  </a:lnTo>
                  <a:lnTo>
                    <a:pt x="467" y="689"/>
                  </a:lnTo>
                  <a:lnTo>
                    <a:pt x="467" y="691"/>
                  </a:lnTo>
                  <a:lnTo>
                    <a:pt x="465" y="691"/>
                  </a:lnTo>
                  <a:lnTo>
                    <a:pt x="465" y="689"/>
                  </a:lnTo>
                  <a:lnTo>
                    <a:pt x="467" y="689"/>
                  </a:lnTo>
                  <a:lnTo>
                    <a:pt x="465" y="689"/>
                  </a:lnTo>
                  <a:lnTo>
                    <a:pt x="465" y="687"/>
                  </a:lnTo>
                  <a:lnTo>
                    <a:pt x="467" y="687"/>
                  </a:lnTo>
                  <a:lnTo>
                    <a:pt x="465" y="687"/>
                  </a:lnTo>
                  <a:lnTo>
                    <a:pt x="467" y="687"/>
                  </a:lnTo>
                  <a:lnTo>
                    <a:pt x="465" y="684"/>
                  </a:lnTo>
                  <a:lnTo>
                    <a:pt x="467" y="684"/>
                  </a:lnTo>
                  <a:close/>
                  <a:moveTo>
                    <a:pt x="474" y="684"/>
                  </a:moveTo>
                  <a:lnTo>
                    <a:pt x="477" y="684"/>
                  </a:lnTo>
                  <a:lnTo>
                    <a:pt x="477" y="687"/>
                  </a:lnTo>
                  <a:lnTo>
                    <a:pt x="477" y="684"/>
                  </a:lnTo>
                  <a:lnTo>
                    <a:pt x="477" y="687"/>
                  </a:lnTo>
                  <a:lnTo>
                    <a:pt x="477" y="684"/>
                  </a:lnTo>
                  <a:lnTo>
                    <a:pt x="477" y="687"/>
                  </a:lnTo>
                  <a:lnTo>
                    <a:pt x="474" y="687"/>
                  </a:lnTo>
                  <a:lnTo>
                    <a:pt x="477" y="687"/>
                  </a:lnTo>
                  <a:lnTo>
                    <a:pt x="474" y="687"/>
                  </a:lnTo>
                  <a:lnTo>
                    <a:pt x="474" y="684"/>
                  </a:lnTo>
                  <a:lnTo>
                    <a:pt x="474" y="687"/>
                  </a:lnTo>
                  <a:lnTo>
                    <a:pt x="474" y="684"/>
                  </a:lnTo>
                  <a:close/>
                  <a:moveTo>
                    <a:pt x="469" y="684"/>
                  </a:moveTo>
                  <a:lnTo>
                    <a:pt x="472" y="684"/>
                  </a:lnTo>
                  <a:lnTo>
                    <a:pt x="469" y="684"/>
                  </a:lnTo>
                  <a:lnTo>
                    <a:pt x="469" y="687"/>
                  </a:lnTo>
                  <a:lnTo>
                    <a:pt x="469" y="684"/>
                  </a:lnTo>
                  <a:close/>
                  <a:moveTo>
                    <a:pt x="799" y="684"/>
                  </a:moveTo>
                  <a:lnTo>
                    <a:pt x="797" y="684"/>
                  </a:lnTo>
                  <a:lnTo>
                    <a:pt x="797" y="682"/>
                  </a:lnTo>
                  <a:lnTo>
                    <a:pt x="799" y="682"/>
                  </a:lnTo>
                  <a:lnTo>
                    <a:pt x="799" y="684"/>
                  </a:lnTo>
                  <a:close/>
                  <a:moveTo>
                    <a:pt x="778" y="684"/>
                  </a:moveTo>
                  <a:lnTo>
                    <a:pt x="778" y="682"/>
                  </a:lnTo>
                  <a:lnTo>
                    <a:pt x="778" y="684"/>
                  </a:lnTo>
                  <a:close/>
                  <a:moveTo>
                    <a:pt x="676" y="682"/>
                  </a:moveTo>
                  <a:lnTo>
                    <a:pt x="678" y="682"/>
                  </a:lnTo>
                  <a:lnTo>
                    <a:pt x="676" y="682"/>
                  </a:lnTo>
                  <a:close/>
                  <a:moveTo>
                    <a:pt x="614" y="682"/>
                  </a:moveTo>
                  <a:lnTo>
                    <a:pt x="617" y="682"/>
                  </a:lnTo>
                  <a:lnTo>
                    <a:pt x="614" y="682"/>
                  </a:lnTo>
                  <a:lnTo>
                    <a:pt x="614" y="684"/>
                  </a:lnTo>
                  <a:lnTo>
                    <a:pt x="612" y="682"/>
                  </a:lnTo>
                  <a:lnTo>
                    <a:pt x="614" y="682"/>
                  </a:lnTo>
                  <a:lnTo>
                    <a:pt x="612" y="682"/>
                  </a:lnTo>
                  <a:lnTo>
                    <a:pt x="614" y="682"/>
                  </a:lnTo>
                  <a:close/>
                  <a:moveTo>
                    <a:pt x="536" y="687"/>
                  </a:moveTo>
                  <a:lnTo>
                    <a:pt x="534" y="687"/>
                  </a:lnTo>
                  <a:lnTo>
                    <a:pt x="534" y="684"/>
                  </a:lnTo>
                  <a:lnTo>
                    <a:pt x="536" y="682"/>
                  </a:lnTo>
                  <a:lnTo>
                    <a:pt x="538" y="684"/>
                  </a:lnTo>
                  <a:lnTo>
                    <a:pt x="538" y="687"/>
                  </a:lnTo>
                  <a:lnTo>
                    <a:pt x="536" y="687"/>
                  </a:lnTo>
                  <a:close/>
                  <a:moveTo>
                    <a:pt x="678" y="682"/>
                  </a:moveTo>
                  <a:lnTo>
                    <a:pt x="681" y="682"/>
                  </a:lnTo>
                  <a:lnTo>
                    <a:pt x="678" y="682"/>
                  </a:lnTo>
                  <a:close/>
                  <a:moveTo>
                    <a:pt x="493" y="684"/>
                  </a:moveTo>
                  <a:lnTo>
                    <a:pt x="496" y="684"/>
                  </a:lnTo>
                  <a:lnTo>
                    <a:pt x="493" y="684"/>
                  </a:lnTo>
                  <a:lnTo>
                    <a:pt x="493" y="687"/>
                  </a:lnTo>
                  <a:lnTo>
                    <a:pt x="491" y="687"/>
                  </a:lnTo>
                  <a:lnTo>
                    <a:pt x="491" y="684"/>
                  </a:lnTo>
                  <a:lnTo>
                    <a:pt x="488" y="684"/>
                  </a:lnTo>
                  <a:lnTo>
                    <a:pt x="486" y="684"/>
                  </a:lnTo>
                  <a:lnTo>
                    <a:pt x="486" y="682"/>
                  </a:lnTo>
                  <a:lnTo>
                    <a:pt x="488" y="682"/>
                  </a:lnTo>
                  <a:lnTo>
                    <a:pt x="491" y="682"/>
                  </a:lnTo>
                  <a:lnTo>
                    <a:pt x="493" y="684"/>
                  </a:lnTo>
                  <a:close/>
                  <a:moveTo>
                    <a:pt x="681" y="682"/>
                  </a:moveTo>
                  <a:lnTo>
                    <a:pt x="678" y="682"/>
                  </a:lnTo>
                  <a:lnTo>
                    <a:pt x="681" y="682"/>
                  </a:lnTo>
                  <a:close/>
                  <a:moveTo>
                    <a:pt x="477" y="680"/>
                  </a:moveTo>
                  <a:lnTo>
                    <a:pt x="477" y="682"/>
                  </a:lnTo>
                  <a:lnTo>
                    <a:pt x="477" y="680"/>
                  </a:lnTo>
                  <a:lnTo>
                    <a:pt x="477" y="682"/>
                  </a:lnTo>
                  <a:lnTo>
                    <a:pt x="474" y="682"/>
                  </a:lnTo>
                  <a:lnTo>
                    <a:pt x="477" y="680"/>
                  </a:lnTo>
                  <a:lnTo>
                    <a:pt x="474" y="682"/>
                  </a:lnTo>
                  <a:lnTo>
                    <a:pt x="477" y="682"/>
                  </a:lnTo>
                  <a:lnTo>
                    <a:pt x="477" y="680"/>
                  </a:lnTo>
                  <a:lnTo>
                    <a:pt x="477" y="682"/>
                  </a:lnTo>
                  <a:lnTo>
                    <a:pt x="477" y="680"/>
                  </a:lnTo>
                  <a:close/>
                  <a:moveTo>
                    <a:pt x="507" y="682"/>
                  </a:moveTo>
                  <a:lnTo>
                    <a:pt x="510" y="682"/>
                  </a:lnTo>
                  <a:lnTo>
                    <a:pt x="507" y="682"/>
                  </a:lnTo>
                  <a:lnTo>
                    <a:pt x="507" y="680"/>
                  </a:lnTo>
                  <a:lnTo>
                    <a:pt x="507" y="682"/>
                  </a:lnTo>
                  <a:close/>
                  <a:moveTo>
                    <a:pt x="474" y="680"/>
                  </a:moveTo>
                  <a:lnTo>
                    <a:pt x="474" y="682"/>
                  </a:lnTo>
                  <a:lnTo>
                    <a:pt x="474" y="680"/>
                  </a:lnTo>
                  <a:close/>
                  <a:moveTo>
                    <a:pt x="469" y="680"/>
                  </a:moveTo>
                  <a:lnTo>
                    <a:pt x="472" y="680"/>
                  </a:lnTo>
                  <a:lnTo>
                    <a:pt x="472" y="682"/>
                  </a:lnTo>
                  <a:lnTo>
                    <a:pt x="469" y="682"/>
                  </a:lnTo>
                  <a:lnTo>
                    <a:pt x="467" y="682"/>
                  </a:lnTo>
                  <a:lnTo>
                    <a:pt x="469" y="682"/>
                  </a:lnTo>
                  <a:lnTo>
                    <a:pt x="467" y="682"/>
                  </a:lnTo>
                  <a:lnTo>
                    <a:pt x="469" y="682"/>
                  </a:lnTo>
                  <a:lnTo>
                    <a:pt x="469" y="680"/>
                  </a:lnTo>
                  <a:close/>
                  <a:moveTo>
                    <a:pt x="681" y="680"/>
                  </a:moveTo>
                  <a:lnTo>
                    <a:pt x="678" y="680"/>
                  </a:lnTo>
                  <a:lnTo>
                    <a:pt x="681" y="680"/>
                  </a:lnTo>
                  <a:lnTo>
                    <a:pt x="678" y="680"/>
                  </a:lnTo>
                  <a:lnTo>
                    <a:pt x="681" y="680"/>
                  </a:lnTo>
                  <a:close/>
                  <a:moveTo>
                    <a:pt x="778" y="680"/>
                  </a:moveTo>
                  <a:lnTo>
                    <a:pt x="778" y="677"/>
                  </a:lnTo>
                  <a:lnTo>
                    <a:pt x="778" y="680"/>
                  </a:lnTo>
                  <a:close/>
                  <a:moveTo>
                    <a:pt x="681" y="677"/>
                  </a:moveTo>
                  <a:lnTo>
                    <a:pt x="678" y="677"/>
                  </a:lnTo>
                  <a:lnTo>
                    <a:pt x="678" y="680"/>
                  </a:lnTo>
                  <a:lnTo>
                    <a:pt x="678" y="677"/>
                  </a:lnTo>
                  <a:lnTo>
                    <a:pt x="681" y="677"/>
                  </a:lnTo>
                  <a:close/>
                  <a:moveTo>
                    <a:pt x="493" y="677"/>
                  </a:moveTo>
                  <a:lnTo>
                    <a:pt x="491" y="677"/>
                  </a:lnTo>
                  <a:lnTo>
                    <a:pt x="493" y="677"/>
                  </a:lnTo>
                  <a:close/>
                  <a:moveTo>
                    <a:pt x="678" y="677"/>
                  </a:moveTo>
                  <a:lnTo>
                    <a:pt x="676" y="677"/>
                  </a:lnTo>
                  <a:lnTo>
                    <a:pt x="678" y="677"/>
                  </a:lnTo>
                  <a:close/>
                  <a:moveTo>
                    <a:pt x="564" y="677"/>
                  </a:moveTo>
                  <a:lnTo>
                    <a:pt x="564" y="675"/>
                  </a:lnTo>
                  <a:lnTo>
                    <a:pt x="564" y="677"/>
                  </a:lnTo>
                  <a:close/>
                  <a:moveTo>
                    <a:pt x="481" y="675"/>
                  </a:moveTo>
                  <a:lnTo>
                    <a:pt x="481" y="677"/>
                  </a:lnTo>
                  <a:lnTo>
                    <a:pt x="484" y="677"/>
                  </a:lnTo>
                  <a:lnTo>
                    <a:pt x="484" y="680"/>
                  </a:lnTo>
                  <a:lnTo>
                    <a:pt x="484" y="682"/>
                  </a:lnTo>
                  <a:lnTo>
                    <a:pt x="484" y="684"/>
                  </a:lnTo>
                  <a:lnTo>
                    <a:pt x="481" y="684"/>
                  </a:lnTo>
                  <a:lnTo>
                    <a:pt x="479" y="684"/>
                  </a:lnTo>
                  <a:lnTo>
                    <a:pt x="477" y="684"/>
                  </a:lnTo>
                  <a:lnTo>
                    <a:pt x="477" y="682"/>
                  </a:lnTo>
                  <a:lnTo>
                    <a:pt x="474" y="682"/>
                  </a:lnTo>
                  <a:lnTo>
                    <a:pt x="477" y="682"/>
                  </a:lnTo>
                  <a:lnTo>
                    <a:pt x="479" y="682"/>
                  </a:lnTo>
                  <a:lnTo>
                    <a:pt x="479" y="680"/>
                  </a:lnTo>
                  <a:lnTo>
                    <a:pt x="481" y="680"/>
                  </a:lnTo>
                  <a:lnTo>
                    <a:pt x="479" y="680"/>
                  </a:lnTo>
                  <a:lnTo>
                    <a:pt x="479" y="677"/>
                  </a:lnTo>
                  <a:lnTo>
                    <a:pt x="481" y="677"/>
                  </a:lnTo>
                  <a:lnTo>
                    <a:pt x="481" y="675"/>
                  </a:lnTo>
                  <a:lnTo>
                    <a:pt x="481" y="677"/>
                  </a:lnTo>
                  <a:lnTo>
                    <a:pt x="481" y="675"/>
                  </a:lnTo>
                  <a:close/>
                  <a:moveTo>
                    <a:pt x="685" y="677"/>
                  </a:moveTo>
                  <a:lnTo>
                    <a:pt x="685" y="675"/>
                  </a:lnTo>
                  <a:lnTo>
                    <a:pt x="685" y="677"/>
                  </a:lnTo>
                  <a:close/>
                  <a:moveTo>
                    <a:pt x="500" y="677"/>
                  </a:moveTo>
                  <a:lnTo>
                    <a:pt x="498" y="677"/>
                  </a:lnTo>
                  <a:lnTo>
                    <a:pt x="500" y="677"/>
                  </a:lnTo>
                  <a:lnTo>
                    <a:pt x="500" y="675"/>
                  </a:lnTo>
                  <a:lnTo>
                    <a:pt x="500" y="677"/>
                  </a:lnTo>
                  <a:close/>
                  <a:moveTo>
                    <a:pt x="498" y="675"/>
                  </a:moveTo>
                  <a:lnTo>
                    <a:pt x="498" y="677"/>
                  </a:lnTo>
                  <a:lnTo>
                    <a:pt x="498" y="675"/>
                  </a:lnTo>
                  <a:close/>
                  <a:moveTo>
                    <a:pt x="688" y="675"/>
                  </a:moveTo>
                  <a:lnTo>
                    <a:pt x="685" y="675"/>
                  </a:lnTo>
                  <a:lnTo>
                    <a:pt x="688" y="675"/>
                  </a:lnTo>
                  <a:close/>
                  <a:moveTo>
                    <a:pt x="500" y="675"/>
                  </a:moveTo>
                  <a:lnTo>
                    <a:pt x="500" y="672"/>
                  </a:lnTo>
                  <a:lnTo>
                    <a:pt x="500" y="675"/>
                  </a:lnTo>
                  <a:close/>
                  <a:moveTo>
                    <a:pt x="688" y="675"/>
                  </a:moveTo>
                  <a:lnTo>
                    <a:pt x="685" y="675"/>
                  </a:lnTo>
                  <a:lnTo>
                    <a:pt x="685" y="672"/>
                  </a:lnTo>
                  <a:lnTo>
                    <a:pt x="685" y="675"/>
                  </a:lnTo>
                  <a:lnTo>
                    <a:pt x="688" y="672"/>
                  </a:lnTo>
                  <a:lnTo>
                    <a:pt x="688" y="675"/>
                  </a:lnTo>
                  <a:close/>
                  <a:moveTo>
                    <a:pt x="683" y="675"/>
                  </a:moveTo>
                  <a:lnTo>
                    <a:pt x="685" y="675"/>
                  </a:lnTo>
                  <a:lnTo>
                    <a:pt x="683" y="675"/>
                  </a:lnTo>
                  <a:lnTo>
                    <a:pt x="683" y="677"/>
                  </a:lnTo>
                  <a:lnTo>
                    <a:pt x="681" y="677"/>
                  </a:lnTo>
                  <a:lnTo>
                    <a:pt x="681" y="675"/>
                  </a:lnTo>
                  <a:lnTo>
                    <a:pt x="683" y="675"/>
                  </a:lnTo>
                  <a:lnTo>
                    <a:pt x="683" y="672"/>
                  </a:lnTo>
                  <a:lnTo>
                    <a:pt x="683" y="675"/>
                  </a:lnTo>
                  <a:close/>
                  <a:moveTo>
                    <a:pt x="517" y="677"/>
                  </a:moveTo>
                  <a:lnTo>
                    <a:pt x="515" y="680"/>
                  </a:lnTo>
                  <a:lnTo>
                    <a:pt x="515" y="677"/>
                  </a:lnTo>
                  <a:lnTo>
                    <a:pt x="515" y="675"/>
                  </a:lnTo>
                  <a:lnTo>
                    <a:pt x="515" y="672"/>
                  </a:lnTo>
                  <a:lnTo>
                    <a:pt x="517" y="675"/>
                  </a:lnTo>
                  <a:lnTo>
                    <a:pt x="519" y="675"/>
                  </a:lnTo>
                  <a:lnTo>
                    <a:pt x="517" y="675"/>
                  </a:lnTo>
                  <a:lnTo>
                    <a:pt x="517" y="677"/>
                  </a:lnTo>
                  <a:close/>
                  <a:moveTo>
                    <a:pt x="685" y="672"/>
                  </a:moveTo>
                  <a:lnTo>
                    <a:pt x="683" y="672"/>
                  </a:lnTo>
                  <a:lnTo>
                    <a:pt x="685" y="672"/>
                  </a:lnTo>
                  <a:close/>
                  <a:moveTo>
                    <a:pt x="681" y="672"/>
                  </a:moveTo>
                  <a:lnTo>
                    <a:pt x="678" y="672"/>
                  </a:lnTo>
                  <a:lnTo>
                    <a:pt x="681" y="672"/>
                  </a:lnTo>
                  <a:close/>
                  <a:moveTo>
                    <a:pt x="555" y="672"/>
                  </a:moveTo>
                  <a:lnTo>
                    <a:pt x="553" y="672"/>
                  </a:lnTo>
                  <a:lnTo>
                    <a:pt x="555" y="672"/>
                  </a:lnTo>
                  <a:close/>
                  <a:moveTo>
                    <a:pt x="555" y="668"/>
                  </a:moveTo>
                  <a:lnTo>
                    <a:pt x="555" y="670"/>
                  </a:lnTo>
                  <a:lnTo>
                    <a:pt x="557" y="670"/>
                  </a:lnTo>
                  <a:lnTo>
                    <a:pt x="555" y="670"/>
                  </a:lnTo>
                  <a:lnTo>
                    <a:pt x="557" y="670"/>
                  </a:lnTo>
                  <a:lnTo>
                    <a:pt x="557" y="672"/>
                  </a:lnTo>
                  <a:lnTo>
                    <a:pt x="555" y="672"/>
                  </a:lnTo>
                  <a:lnTo>
                    <a:pt x="555" y="670"/>
                  </a:lnTo>
                  <a:lnTo>
                    <a:pt x="555" y="668"/>
                  </a:lnTo>
                  <a:close/>
                  <a:moveTo>
                    <a:pt x="567" y="670"/>
                  </a:moveTo>
                  <a:lnTo>
                    <a:pt x="569" y="670"/>
                  </a:lnTo>
                  <a:lnTo>
                    <a:pt x="567" y="672"/>
                  </a:lnTo>
                  <a:lnTo>
                    <a:pt x="567" y="675"/>
                  </a:lnTo>
                  <a:lnTo>
                    <a:pt x="564" y="675"/>
                  </a:lnTo>
                  <a:lnTo>
                    <a:pt x="564" y="672"/>
                  </a:lnTo>
                  <a:lnTo>
                    <a:pt x="564" y="670"/>
                  </a:lnTo>
                  <a:lnTo>
                    <a:pt x="564" y="668"/>
                  </a:lnTo>
                  <a:lnTo>
                    <a:pt x="564" y="670"/>
                  </a:lnTo>
                  <a:lnTo>
                    <a:pt x="567" y="670"/>
                  </a:lnTo>
                  <a:close/>
                  <a:moveTo>
                    <a:pt x="875" y="668"/>
                  </a:moveTo>
                  <a:lnTo>
                    <a:pt x="878" y="668"/>
                  </a:lnTo>
                  <a:lnTo>
                    <a:pt x="875" y="668"/>
                  </a:lnTo>
                  <a:close/>
                  <a:moveTo>
                    <a:pt x="875" y="670"/>
                  </a:moveTo>
                  <a:lnTo>
                    <a:pt x="875" y="668"/>
                  </a:lnTo>
                  <a:lnTo>
                    <a:pt x="875" y="670"/>
                  </a:lnTo>
                  <a:lnTo>
                    <a:pt x="873" y="668"/>
                  </a:lnTo>
                  <a:lnTo>
                    <a:pt x="875" y="668"/>
                  </a:lnTo>
                  <a:lnTo>
                    <a:pt x="875" y="670"/>
                  </a:lnTo>
                  <a:close/>
                  <a:moveTo>
                    <a:pt x="685" y="668"/>
                  </a:moveTo>
                  <a:lnTo>
                    <a:pt x="683" y="668"/>
                  </a:lnTo>
                  <a:lnTo>
                    <a:pt x="685" y="668"/>
                  </a:lnTo>
                  <a:close/>
                  <a:moveTo>
                    <a:pt x="726" y="665"/>
                  </a:moveTo>
                  <a:lnTo>
                    <a:pt x="728" y="665"/>
                  </a:lnTo>
                  <a:lnTo>
                    <a:pt x="726" y="665"/>
                  </a:lnTo>
                  <a:lnTo>
                    <a:pt x="726" y="668"/>
                  </a:lnTo>
                  <a:lnTo>
                    <a:pt x="723" y="665"/>
                  </a:lnTo>
                  <a:lnTo>
                    <a:pt x="726" y="665"/>
                  </a:lnTo>
                  <a:close/>
                  <a:moveTo>
                    <a:pt x="783" y="665"/>
                  </a:moveTo>
                  <a:lnTo>
                    <a:pt x="783" y="663"/>
                  </a:lnTo>
                  <a:lnTo>
                    <a:pt x="783" y="665"/>
                  </a:lnTo>
                  <a:close/>
                  <a:moveTo>
                    <a:pt x="685" y="661"/>
                  </a:moveTo>
                  <a:lnTo>
                    <a:pt x="685" y="663"/>
                  </a:lnTo>
                  <a:lnTo>
                    <a:pt x="683" y="663"/>
                  </a:lnTo>
                  <a:lnTo>
                    <a:pt x="683" y="661"/>
                  </a:lnTo>
                  <a:lnTo>
                    <a:pt x="685" y="661"/>
                  </a:lnTo>
                  <a:close/>
                  <a:moveTo>
                    <a:pt x="730" y="661"/>
                  </a:moveTo>
                  <a:lnTo>
                    <a:pt x="733" y="661"/>
                  </a:lnTo>
                  <a:lnTo>
                    <a:pt x="733" y="663"/>
                  </a:lnTo>
                  <a:lnTo>
                    <a:pt x="730" y="663"/>
                  </a:lnTo>
                  <a:lnTo>
                    <a:pt x="730" y="661"/>
                  </a:lnTo>
                  <a:close/>
                  <a:moveTo>
                    <a:pt x="598" y="661"/>
                  </a:moveTo>
                  <a:lnTo>
                    <a:pt x="595" y="661"/>
                  </a:lnTo>
                  <a:lnTo>
                    <a:pt x="598" y="661"/>
                  </a:lnTo>
                  <a:close/>
                  <a:moveTo>
                    <a:pt x="619" y="658"/>
                  </a:moveTo>
                  <a:lnTo>
                    <a:pt x="619" y="656"/>
                  </a:lnTo>
                  <a:lnTo>
                    <a:pt x="621" y="656"/>
                  </a:lnTo>
                  <a:lnTo>
                    <a:pt x="619" y="658"/>
                  </a:lnTo>
                  <a:close/>
                  <a:moveTo>
                    <a:pt x="735" y="656"/>
                  </a:moveTo>
                  <a:lnTo>
                    <a:pt x="738" y="656"/>
                  </a:lnTo>
                  <a:lnTo>
                    <a:pt x="735" y="656"/>
                  </a:lnTo>
                  <a:close/>
                  <a:moveTo>
                    <a:pt x="621" y="653"/>
                  </a:moveTo>
                  <a:lnTo>
                    <a:pt x="621" y="651"/>
                  </a:lnTo>
                  <a:lnTo>
                    <a:pt x="624" y="651"/>
                  </a:lnTo>
                  <a:lnTo>
                    <a:pt x="624" y="653"/>
                  </a:lnTo>
                  <a:lnTo>
                    <a:pt x="621" y="653"/>
                  </a:lnTo>
                  <a:close/>
                  <a:moveTo>
                    <a:pt x="628" y="651"/>
                  </a:moveTo>
                  <a:lnTo>
                    <a:pt x="626" y="651"/>
                  </a:lnTo>
                  <a:lnTo>
                    <a:pt x="628" y="651"/>
                  </a:lnTo>
                  <a:close/>
                  <a:moveTo>
                    <a:pt x="702" y="649"/>
                  </a:moveTo>
                  <a:lnTo>
                    <a:pt x="702" y="651"/>
                  </a:lnTo>
                  <a:lnTo>
                    <a:pt x="700" y="651"/>
                  </a:lnTo>
                  <a:lnTo>
                    <a:pt x="700" y="649"/>
                  </a:lnTo>
                  <a:lnTo>
                    <a:pt x="702" y="649"/>
                  </a:lnTo>
                  <a:close/>
                  <a:moveTo>
                    <a:pt x="702" y="646"/>
                  </a:moveTo>
                  <a:lnTo>
                    <a:pt x="700" y="646"/>
                  </a:lnTo>
                  <a:lnTo>
                    <a:pt x="702" y="646"/>
                  </a:lnTo>
                  <a:close/>
                  <a:moveTo>
                    <a:pt x="605" y="646"/>
                  </a:moveTo>
                  <a:lnTo>
                    <a:pt x="607" y="646"/>
                  </a:lnTo>
                  <a:lnTo>
                    <a:pt x="605" y="646"/>
                  </a:lnTo>
                  <a:close/>
                  <a:moveTo>
                    <a:pt x="730" y="644"/>
                  </a:moveTo>
                  <a:lnTo>
                    <a:pt x="730" y="646"/>
                  </a:lnTo>
                  <a:lnTo>
                    <a:pt x="730" y="644"/>
                  </a:lnTo>
                  <a:close/>
                  <a:moveTo>
                    <a:pt x="647" y="644"/>
                  </a:moveTo>
                  <a:lnTo>
                    <a:pt x="645" y="644"/>
                  </a:lnTo>
                  <a:lnTo>
                    <a:pt x="647" y="644"/>
                  </a:lnTo>
                  <a:close/>
                  <a:moveTo>
                    <a:pt x="745" y="644"/>
                  </a:moveTo>
                  <a:lnTo>
                    <a:pt x="747" y="644"/>
                  </a:lnTo>
                  <a:lnTo>
                    <a:pt x="745" y="644"/>
                  </a:lnTo>
                  <a:close/>
                  <a:moveTo>
                    <a:pt x="700" y="642"/>
                  </a:moveTo>
                  <a:lnTo>
                    <a:pt x="702" y="644"/>
                  </a:lnTo>
                  <a:lnTo>
                    <a:pt x="700" y="644"/>
                  </a:lnTo>
                  <a:lnTo>
                    <a:pt x="700" y="642"/>
                  </a:lnTo>
                  <a:close/>
                  <a:moveTo>
                    <a:pt x="733" y="642"/>
                  </a:moveTo>
                  <a:lnTo>
                    <a:pt x="730" y="642"/>
                  </a:lnTo>
                  <a:lnTo>
                    <a:pt x="733" y="642"/>
                  </a:lnTo>
                  <a:close/>
                  <a:moveTo>
                    <a:pt x="609" y="639"/>
                  </a:moveTo>
                  <a:lnTo>
                    <a:pt x="609" y="642"/>
                  </a:lnTo>
                  <a:lnTo>
                    <a:pt x="607" y="642"/>
                  </a:lnTo>
                  <a:lnTo>
                    <a:pt x="609" y="642"/>
                  </a:lnTo>
                  <a:lnTo>
                    <a:pt x="609" y="639"/>
                  </a:lnTo>
                  <a:close/>
                  <a:moveTo>
                    <a:pt x="647" y="642"/>
                  </a:moveTo>
                  <a:lnTo>
                    <a:pt x="647" y="639"/>
                  </a:lnTo>
                  <a:lnTo>
                    <a:pt x="650" y="639"/>
                  </a:lnTo>
                  <a:lnTo>
                    <a:pt x="647" y="639"/>
                  </a:lnTo>
                  <a:lnTo>
                    <a:pt x="647" y="642"/>
                  </a:lnTo>
                  <a:close/>
                  <a:moveTo>
                    <a:pt x="650" y="639"/>
                  </a:moveTo>
                  <a:lnTo>
                    <a:pt x="647" y="639"/>
                  </a:lnTo>
                  <a:lnTo>
                    <a:pt x="650" y="639"/>
                  </a:lnTo>
                  <a:close/>
                  <a:moveTo>
                    <a:pt x="657" y="637"/>
                  </a:moveTo>
                  <a:lnTo>
                    <a:pt x="655" y="637"/>
                  </a:lnTo>
                  <a:lnTo>
                    <a:pt x="657" y="637"/>
                  </a:lnTo>
                  <a:close/>
                  <a:moveTo>
                    <a:pt x="655" y="637"/>
                  </a:moveTo>
                  <a:lnTo>
                    <a:pt x="655" y="634"/>
                  </a:lnTo>
                  <a:lnTo>
                    <a:pt x="655" y="637"/>
                  </a:lnTo>
                  <a:close/>
                  <a:moveTo>
                    <a:pt x="700" y="634"/>
                  </a:moveTo>
                  <a:lnTo>
                    <a:pt x="702" y="634"/>
                  </a:lnTo>
                  <a:lnTo>
                    <a:pt x="700" y="634"/>
                  </a:lnTo>
                  <a:close/>
                  <a:moveTo>
                    <a:pt x="640" y="630"/>
                  </a:moveTo>
                  <a:lnTo>
                    <a:pt x="643" y="630"/>
                  </a:lnTo>
                  <a:lnTo>
                    <a:pt x="643" y="632"/>
                  </a:lnTo>
                  <a:lnTo>
                    <a:pt x="645" y="632"/>
                  </a:lnTo>
                  <a:lnTo>
                    <a:pt x="647" y="632"/>
                  </a:lnTo>
                  <a:lnTo>
                    <a:pt x="645" y="632"/>
                  </a:lnTo>
                  <a:lnTo>
                    <a:pt x="643" y="632"/>
                  </a:lnTo>
                  <a:lnTo>
                    <a:pt x="643" y="634"/>
                  </a:lnTo>
                  <a:lnTo>
                    <a:pt x="643" y="632"/>
                  </a:lnTo>
                  <a:lnTo>
                    <a:pt x="645" y="634"/>
                  </a:lnTo>
                  <a:lnTo>
                    <a:pt x="645" y="632"/>
                  </a:lnTo>
                  <a:lnTo>
                    <a:pt x="645" y="634"/>
                  </a:lnTo>
                  <a:lnTo>
                    <a:pt x="647" y="634"/>
                  </a:lnTo>
                  <a:lnTo>
                    <a:pt x="645" y="634"/>
                  </a:lnTo>
                  <a:lnTo>
                    <a:pt x="645" y="637"/>
                  </a:lnTo>
                  <a:lnTo>
                    <a:pt x="643" y="634"/>
                  </a:lnTo>
                  <a:lnTo>
                    <a:pt x="643" y="637"/>
                  </a:lnTo>
                  <a:lnTo>
                    <a:pt x="640" y="637"/>
                  </a:lnTo>
                  <a:lnTo>
                    <a:pt x="638" y="637"/>
                  </a:lnTo>
                  <a:lnTo>
                    <a:pt x="638" y="634"/>
                  </a:lnTo>
                  <a:lnTo>
                    <a:pt x="640" y="634"/>
                  </a:lnTo>
                  <a:lnTo>
                    <a:pt x="638" y="634"/>
                  </a:lnTo>
                  <a:lnTo>
                    <a:pt x="636" y="634"/>
                  </a:lnTo>
                  <a:lnTo>
                    <a:pt x="638" y="634"/>
                  </a:lnTo>
                  <a:lnTo>
                    <a:pt x="638" y="632"/>
                  </a:lnTo>
                  <a:lnTo>
                    <a:pt x="640" y="632"/>
                  </a:lnTo>
                  <a:lnTo>
                    <a:pt x="638" y="632"/>
                  </a:lnTo>
                  <a:lnTo>
                    <a:pt x="636" y="632"/>
                  </a:lnTo>
                  <a:lnTo>
                    <a:pt x="638" y="632"/>
                  </a:lnTo>
                  <a:lnTo>
                    <a:pt x="636" y="632"/>
                  </a:lnTo>
                  <a:lnTo>
                    <a:pt x="638" y="632"/>
                  </a:lnTo>
                  <a:lnTo>
                    <a:pt x="636" y="632"/>
                  </a:lnTo>
                  <a:lnTo>
                    <a:pt x="638" y="630"/>
                  </a:lnTo>
                  <a:lnTo>
                    <a:pt x="636" y="630"/>
                  </a:lnTo>
                  <a:lnTo>
                    <a:pt x="638" y="630"/>
                  </a:lnTo>
                  <a:lnTo>
                    <a:pt x="636" y="630"/>
                  </a:lnTo>
                  <a:lnTo>
                    <a:pt x="638" y="630"/>
                  </a:lnTo>
                  <a:lnTo>
                    <a:pt x="640" y="630"/>
                  </a:lnTo>
                  <a:close/>
                  <a:moveTo>
                    <a:pt x="674" y="630"/>
                  </a:moveTo>
                  <a:lnTo>
                    <a:pt x="676" y="630"/>
                  </a:lnTo>
                  <a:lnTo>
                    <a:pt x="674" y="630"/>
                  </a:lnTo>
                  <a:lnTo>
                    <a:pt x="674" y="632"/>
                  </a:lnTo>
                  <a:lnTo>
                    <a:pt x="671" y="632"/>
                  </a:lnTo>
                  <a:lnTo>
                    <a:pt x="674" y="632"/>
                  </a:lnTo>
                  <a:lnTo>
                    <a:pt x="671" y="632"/>
                  </a:lnTo>
                  <a:lnTo>
                    <a:pt x="671" y="630"/>
                  </a:lnTo>
                  <a:lnTo>
                    <a:pt x="674" y="630"/>
                  </a:lnTo>
                  <a:close/>
                  <a:moveTo>
                    <a:pt x="704" y="627"/>
                  </a:moveTo>
                  <a:lnTo>
                    <a:pt x="707" y="627"/>
                  </a:lnTo>
                  <a:lnTo>
                    <a:pt x="704" y="630"/>
                  </a:lnTo>
                  <a:lnTo>
                    <a:pt x="704" y="627"/>
                  </a:lnTo>
                  <a:close/>
                  <a:moveTo>
                    <a:pt x="647" y="627"/>
                  </a:moveTo>
                  <a:lnTo>
                    <a:pt x="645" y="627"/>
                  </a:lnTo>
                  <a:lnTo>
                    <a:pt x="647" y="627"/>
                  </a:lnTo>
                  <a:close/>
                  <a:moveTo>
                    <a:pt x="643" y="627"/>
                  </a:moveTo>
                  <a:lnTo>
                    <a:pt x="645" y="627"/>
                  </a:lnTo>
                  <a:lnTo>
                    <a:pt x="643" y="627"/>
                  </a:lnTo>
                  <a:lnTo>
                    <a:pt x="645" y="627"/>
                  </a:lnTo>
                  <a:lnTo>
                    <a:pt x="645" y="630"/>
                  </a:lnTo>
                  <a:lnTo>
                    <a:pt x="643" y="630"/>
                  </a:lnTo>
                  <a:lnTo>
                    <a:pt x="640" y="630"/>
                  </a:lnTo>
                  <a:lnTo>
                    <a:pt x="638" y="630"/>
                  </a:lnTo>
                  <a:lnTo>
                    <a:pt x="638" y="627"/>
                  </a:lnTo>
                  <a:lnTo>
                    <a:pt x="640" y="627"/>
                  </a:lnTo>
                  <a:lnTo>
                    <a:pt x="643" y="627"/>
                  </a:lnTo>
                  <a:lnTo>
                    <a:pt x="640" y="627"/>
                  </a:lnTo>
                  <a:lnTo>
                    <a:pt x="643" y="627"/>
                  </a:lnTo>
                  <a:lnTo>
                    <a:pt x="640" y="627"/>
                  </a:lnTo>
                  <a:lnTo>
                    <a:pt x="643" y="627"/>
                  </a:lnTo>
                  <a:lnTo>
                    <a:pt x="640" y="627"/>
                  </a:lnTo>
                  <a:lnTo>
                    <a:pt x="643" y="627"/>
                  </a:lnTo>
                  <a:close/>
                  <a:moveTo>
                    <a:pt x="643" y="627"/>
                  </a:moveTo>
                  <a:lnTo>
                    <a:pt x="643" y="625"/>
                  </a:lnTo>
                  <a:lnTo>
                    <a:pt x="643" y="627"/>
                  </a:lnTo>
                  <a:close/>
                  <a:moveTo>
                    <a:pt x="664" y="625"/>
                  </a:moveTo>
                  <a:lnTo>
                    <a:pt x="666" y="625"/>
                  </a:lnTo>
                  <a:lnTo>
                    <a:pt x="669" y="625"/>
                  </a:lnTo>
                  <a:lnTo>
                    <a:pt x="666" y="627"/>
                  </a:lnTo>
                  <a:lnTo>
                    <a:pt x="669" y="627"/>
                  </a:lnTo>
                  <a:lnTo>
                    <a:pt x="666" y="627"/>
                  </a:lnTo>
                  <a:lnTo>
                    <a:pt x="666" y="630"/>
                  </a:lnTo>
                  <a:lnTo>
                    <a:pt x="664" y="630"/>
                  </a:lnTo>
                  <a:lnTo>
                    <a:pt x="662" y="630"/>
                  </a:lnTo>
                  <a:lnTo>
                    <a:pt x="662" y="627"/>
                  </a:lnTo>
                  <a:lnTo>
                    <a:pt x="659" y="627"/>
                  </a:lnTo>
                  <a:lnTo>
                    <a:pt x="662" y="627"/>
                  </a:lnTo>
                  <a:lnTo>
                    <a:pt x="662" y="625"/>
                  </a:lnTo>
                  <a:lnTo>
                    <a:pt x="664" y="627"/>
                  </a:lnTo>
                  <a:lnTo>
                    <a:pt x="664" y="625"/>
                  </a:lnTo>
                  <a:close/>
                  <a:moveTo>
                    <a:pt x="685" y="625"/>
                  </a:moveTo>
                  <a:lnTo>
                    <a:pt x="685" y="623"/>
                  </a:lnTo>
                  <a:lnTo>
                    <a:pt x="685" y="625"/>
                  </a:lnTo>
                  <a:close/>
                  <a:moveTo>
                    <a:pt x="685" y="623"/>
                  </a:moveTo>
                  <a:lnTo>
                    <a:pt x="683" y="623"/>
                  </a:lnTo>
                  <a:lnTo>
                    <a:pt x="685" y="623"/>
                  </a:lnTo>
                  <a:close/>
                  <a:moveTo>
                    <a:pt x="394" y="288"/>
                  </a:moveTo>
                  <a:lnTo>
                    <a:pt x="396" y="290"/>
                  </a:lnTo>
                  <a:lnTo>
                    <a:pt x="394" y="290"/>
                  </a:lnTo>
                  <a:lnTo>
                    <a:pt x="394" y="288"/>
                  </a:lnTo>
                  <a:lnTo>
                    <a:pt x="394" y="290"/>
                  </a:lnTo>
                  <a:lnTo>
                    <a:pt x="394" y="288"/>
                  </a:lnTo>
                  <a:lnTo>
                    <a:pt x="391" y="288"/>
                  </a:lnTo>
                  <a:lnTo>
                    <a:pt x="394" y="288"/>
                  </a:lnTo>
                  <a:close/>
                  <a:moveTo>
                    <a:pt x="674" y="292"/>
                  </a:moveTo>
                  <a:lnTo>
                    <a:pt x="671" y="292"/>
                  </a:lnTo>
                  <a:lnTo>
                    <a:pt x="674" y="290"/>
                  </a:lnTo>
                  <a:lnTo>
                    <a:pt x="674" y="288"/>
                  </a:lnTo>
                  <a:lnTo>
                    <a:pt x="676" y="288"/>
                  </a:lnTo>
                  <a:lnTo>
                    <a:pt x="676" y="285"/>
                  </a:lnTo>
                  <a:lnTo>
                    <a:pt x="678" y="285"/>
                  </a:lnTo>
                  <a:lnTo>
                    <a:pt x="681" y="283"/>
                  </a:lnTo>
                  <a:lnTo>
                    <a:pt x="683" y="283"/>
                  </a:lnTo>
                  <a:lnTo>
                    <a:pt x="683" y="280"/>
                  </a:lnTo>
                  <a:lnTo>
                    <a:pt x="685" y="280"/>
                  </a:lnTo>
                  <a:lnTo>
                    <a:pt x="688" y="278"/>
                  </a:lnTo>
                  <a:lnTo>
                    <a:pt x="688" y="276"/>
                  </a:lnTo>
                  <a:lnTo>
                    <a:pt x="693" y="276"/>
                  </a:lnTo>
                  <a:lnTo>
                    <a:pt x="688" y="278"/>
                  </a:lnTo>
                  <a:lnTo>
                    <a:pt x="688" y="280"/>
                  </a:lnTo>
                  <a:lnTo>
                    <a:pt x="685" y="280"/>
                  </a:lnTo>
                  <a:lnTo>
                    <a:pt x="683" y="283"/>
                  </a:lnTo>
                  <a:lnTo>
                    <a:pt x="681" y="283"/>
                  </a:lnTo>
                  <a:lnTo>
                    <a:pt x="681" y="285"/>
                  </a:lnTo>
                  <a:lnTo>
                    <a:pt x="678" y="288"/>
                  </a:lnTo>
                  <a:lnTo>
                    <a:pt x="676" y="288"/>
                  </a:lnTo>
                  <a:lnTo>
                    <a:pt x="676" y="290"/>
                  </a:lnTo>
                  <a:lnTo>
                    <a:pt x="674" y="290"/>
                  </a:lnTo>
                  <a:lnTo>
                    <a:pt x="674" y="292"/>
                  </a:lnTo>
                  <a:close/>
                  <a:moveTo>
                    <a:pt x="408" y="266"/>
                  </a:moveTo>
                  <a:lnTo>
                    <a:pt x="408" y="269"/>
                  </a:lnTo>
                  <a:lnTo>
                    <a:pt x="408" y="266"/>
                  </a:lnTo>
                  <a:close/>
                  <a:moveTo>
                    <a:pt x="572" y="257"/>
                  </a:moveTo>
                  <a:lnTo>
                    <a:pt x="574" y="257"/>
                  </a:lnTo>
                  <a:lnTo>
                    <a:pt x="572" y="257"/>
                  </a:lnTo>
                  <a:close/>
                  <a:moveTo>
                    <a:pt x="569" y="257"/>
                  </a:moveTo>
                  <a:lnTo>
                    <a:pt x="572" y="257"/>
                  </a:lnTo>
                  <a:lnTo>
                    <a:pt x="569" y="257"/>
                  </a:lnTo>
                  <a:close/>
                  <a:moveTo>
                    <a:pt x="389" y="257"/>
                  </a:moveTo>
                  <a:lnTo>
                    <a:pt x="389" y="254"/>
                  </a:lnTo>
                  <a:lnTo>
                    <a:pt x="389" y="257"/>
                  </a:lnTo>
                  <a:close/>
                  <a:moveTo>
                    <a:pt x="389" y="254"/>
                  </a:moveTo>
                  <a:lnTo>
                    <a:pt x="386" y="254"/>
                  </a:lnTo>
                  <a:lnTo>
                    <a:pt x="389" y="254"/>
                  </a:lnTo>
                  <a:close/>
                  <a:moveTo>
                    <a:pt x="341" y="252"/>
                  </a:moveTo>
                  <a:lnTo>
                    <a:pt x="344" y="252"/>
                  </a:lnTo>
                  <a:lnTo>
                    <a:pt x="341" y="252"/>
                  </a:lnTo>
                  <a:close/>
                  <a:moveTo>
                    <a:pt x="344" y="252"/>
                  </a:moveTo>
                  <a:lnTo>
                    <a:pt x="341" y="252"/>
                  </a:lnTo>
                  <a:lnTo>
                    <a:pt x="344" y="252"/>
                  </a:lnTo>
                  <a:close/>
                  <a:moveTo>
                    <a:pt x="590" y="252"/>
                  </a:moveTo>
                  <a:lnTo>
                    <a:pt x="588" y="252"/>
                  </a:lnTo>
                  <a:lnTo>
                    <a:pt x="590" y="252"/>
                  </a:lnTo>
                  <a:close/>
                  <a:moveTo>
                    <a:pt x="600" y="247"/>
                  </a:moveTo>
                  <a:lnTo>
                    <a:pt x="598" y="247"/>
                  </a:lnTo>
                  <a:lnTo>
                    <a:pt x="598" y="245"/>
                  </a:lnTo>
                  <a:lnTo>
                    <a:pt x="600" y="247"/>
                  </a:lnTo>
                  <a:close/>
                  <a:moveTo>
                    <a:pt x="602" y="247"/>
                  </a:moveTo>
                  <a:lnTo>
                    <a:pt x="602" y="245"/>
                  </a:lnTo>
                  <a:lnTo>
                    <a:pt x="602" y="247"/>
                  </a:lnTo>
                  <a:close/>
                  <a:moveTo>
                    <a:pt x="602" y="247"/>
                  </a:moveTo>
                  <a:lnTo>
                    <a:pt x="600" y="247"/>
                  </a:lnTo>
                  <a:lnTo>
                    <a:pt x="602" y="247"/>
                  </a:lnTo>
                  <a:lnTo>
                    <a:pt x="602" y="245"/>
                  </a:lnTo>
                  <a:lnTo>
                    <a:pt x="602" y="247"/>
                  </a:lnTo>
                  <a:close/>
                  <a:moveTo>
                    <a:pt x="605" y="245"/>
                  </a:moveTo>
                  <a:lnTo>
                    <a:pt x="602" y="245"/>
                  </a:lnTo>
                  <a:lnTo>
                    <a:pt x="605" y="245"/>
                  </a:lnTo>
                  <a:lnTo>
                    <a:pt x="602" y="245"/>
                  </a:lnTo>
                  <a:lnTo>
                    <a:pt x="605" y="245"/>
                  </a:lnTo>
                  <a:close/>
                  <a:moveTo>
                    <a:pt x="576" y="242"/>
                  </a:moveTo>
                  <a:lnTo>
                    <a:pt x="574" y="242"/>
                  </a:lnTo>
                  <a:lnTo>
                    <a:pt x="576" y="242"/>
                  </a:lnTo>
                  <a:close/>
                  <a:moveTo>
                    <a:pt x="564" y="238"/>
                  </a:moveTo>
                  <a:lnTo>
                    <a:pt x="562" y="238"/>
                  </a:lnTo>
                  <a:lnTo>
                    <a:pt x="564" y="238"/>
                  </a:lnTo>
                  <a:close/>
                  <a:moveTo>
                    <a:pt x="555" y="238"/>
                  </a:moveTo>
                  <a:lnTo>
                    <a:pt x="553" y="238"/>
                  </a:lnTo>
                  <a:lnTo>
                    <a:pt x="555" y="238"/>
                  </a:lnTo>
                  <a:close/>
                  <a:moveTo>
                    <a:pt x="617" y="238"/>
                  </a:moveTo>
                  <a:lnTo>
                    <a:pt x="614" y="238"/>
                  </a:lnTo>
                  <a:lnTo>
                    <a:pt x="612" y="238"/>
                  </a:lnTo>
                  <a:lnTo>
                    <a:pt x="612" y="240"/>
                  </a:lnTo>
                  <a:lnTo>
                    <a:pt x="609" y="240"/>
                  </a:lnTo>
                  <a:lnTo>
                    <a:pt x="609" y="238"/>
                  </a:lnTo>
                  <a:lnTo>
                    <a:pt x="612" y="238"/>
                  </a:lnTo>
                  <a:lnTo>
                    <a:pt x="614" y="238"/>
                  </a:lnTo>
                  <a:lnTo>
                    <a:pt x="617" y="238"/>
                  </a:lnTo>
                  <a:close/>
                  <a:moveTo>
                    <a:pt x="590" y="231"/>
                  </a:moveTo>
                  <a:lnTo>
                    <a:pt x="593" y="231"/>
                  </a:lnTo>
                  <a:lnTo>
                    <a:pt x="590" y="233"/>
                  </a:lnTo>
                  <a:lnTo>
                    <a:pt x="590" y="231"/>
                  </a:lnTo>
                  <a:close/>
                  <a:moveTo>
                    <a:pt x="588" y="231"/>
                  </a:moveTo>
                  <a:lnTo>
                    <a:pt x="586" y="231"/>
                  </a:lnTo>
                  <a:lnTo>
                    <a:pt x="588" y="231"/>
                  </a:lnTo>
                  <a:lnTo>
                    <a:pt x="590" y="231"/>
                  </a:lnTo>
                  <a:lnTo>
                    <a:pt x="588" y="231"/>
                  </a:lnTo>
                  <a:close/>
                  <a:moveTo>
                    <a:pt x="536" y="219"/>
                  </a:moveTo>
                  <a:lnTo>
                    <a:pt x="538" y="219"/>
                  </a:lnTo>
                  <a:lnTo>
                    <a:pt x="536" y="219"/>
                  </a:lnTo>
                  <a:close/>
                  <a:moveTo>
                    <a:pt x="341" y="219"/>
                  </a:moveTo>
                  <a:lnTo>
                    <a:pt x="341" y="216"/>
                  </a:lnTo>
                  <a:lnTo>
                    <a:pt x="341" y="219"/>
                  </a:lnTo>
                  <a:close/>
                  <a:moveTo>
                    <a:pt x="595" y="219"/>
                  </a:moveTo>
                  <a:lnTo>
                    <a:pt x="593" y="216"/>
                  </a:lnTo>
                  <a:lnTo>
                    <a:pt x="595" y="216"/>
                  </a:lnTo>
                  <a:lnTo>
                    <a:pt x="595" y="219"/>
                  </a:lnTo>
                  <a:close/>
                  <a:moveTo>
                    <a:pt x="595" y="216"/>
                  </a:moveTo>
                  <a:lnTo>
                    <a:pt x="593" y="216"/>
                  </a:lnTo>
                  <a:lnTo>
                    <a:pt x="595" y="216"/>
                  </a:lnTo>
                  <a:close/>
                  <a:moveTo>
                    <a:pt x="595" y="216"/>
                  </a:moveTo>
                  <a:lnTo>
                    <a:pt x="593" y="216"/>
                  </a:lnTo>
                  <a:lnTo>
                    <a:pt x="595" y="216"/>
                  </a:lnTo>
                  <a:close/>
                  <a:moveTo>
                    <a:pt x="337" y="209"/>
                  </a:moveTo>
                  <a:lnTo>
                    <a:pt x="337" y="212"/>
                  </a:lnTo>
                  <a:lnTo>
                    <a:pt x="337" y="209"/>
                  </a:lnTo>
                  <a:lnTo>
                    <a:pt x="334" y="209"/>
                  </a:lnTo>
                  <a:lnTo>
                    <a:pt x="334" y="212"/>
                  </a:lnTo>
                  <a:lnTo>
                    <a:pt x="337" y="212"/>
                  </a:lnTo>
                  <a:lnTo>
                    <a:pt x="334" y="212"/>
                  </a:lnTo>
                  <a:lnTo>
                    <a:pt x="334" y="209"/>
                  </a:lnTo>
                  <a:lnTo>
                    <a:pt x="332" y="209"/>
                  </a:lnTo>
                  <a:lnTo>
                    <a:pt x="329" y="207"/>
                  </a:lnTo>
                  <a:lnTo>
                    <a:pt x="332" y="209"/>
                  </a:lnTo>
                  <a:lnTo>
                    <a:pt x="334" y="209"/>
                  </a:lnTo>
                  <a:lnTo>
                    <a:pt x="337" y="209"/>
                  </a:lnTo>
                  <a:close/>
                  <a:moveTo>
                    <a:pt x="678" y="204"/>
                  </a:moveTo>
                  <a:lnTo>
                    <a:pt x="676" y="204"/>
                  </a:lnTo>
                  <a:lnTo>
                    <a:pt x="678" y="204"/>
                  </a:lnTo>
                  <a:close/>
                  <a:moveTo>
                    <a:pt x="676" y="204"/>
                  </a:moveTo>
                  <a:lnTo>
                    <a:pt x="676" y="202"/>
                  </a:lnTo>
                  <a:lnTo>
                    <a:pt x="676" y="204"/>
                  </a:lnTo>
                  <a:close/>
                  <a:moveTo>
                    <a:pt x="678" y="202"/>
                  </a:moveTo>
                  <a:lnTo>
                    <a:pt x="676" y="202"/>
                  </a:lnTo>
                  <a:lnTo>
                    <a:pt x="678" y="202"/>
                  </a:lnTo>
                  <a:close/>
                  <a:moveTo>
                    <a:pt x="534" y="181"/>
                  </a:moveTo>
                  <a:lnTo>
                    <a:pt x="536" y="181"/>
                  </a:lnTo>
                  <a:lnTo>
                    <a:pt x="534" y="181"/>
                  </a:lnTo>
                  <a:close/>
                  <a:moveTo>
                    <a:pt x="524" y="178"/>
                  </a:moveTo>
                  <a:lnTo>
                    <a:pt x="522" y="178"/>
                  </a:lnTo>
                  <a:lnTo>
                    <a:pt x="524" y="178"/>
                  </a:lnTo>
                  <a:lnTo>
                    <a:pt x="522" y="178"/>
                  </a:lnTo>
                  <a:lnTo>
                    <a:pt x="524" y="178"/>
                  </a:lnTo>
                  <a:close/>
                  <a:moveTo>
                    <a:pt x="524" y="176"/>
                  </a:moveTo>
                  <a:lnTo>
                    <a:pt x="524" y="178"/>
                  </a:lnTo>
                  <a:lnTo>
                    <a:pt x="522" y="178"/>
                  </a:lnTo>
                  <a:lnTo>
                    <a:pt x="524" y="176"/>
                  </a:lnTo>
                  <a:lnTo>
                    <a:pt x="524" y="178"/>
                  </a:lnTo>
                  <a:lnTo>
                    <a:pt x="524" y="176"/>
                  </a:lnTo>
                  <a:close/>
                  <a:moveTo>
                    <a:pt x="534" y="178"/>
                  </a:moveTo>
                  <a:lnTo>
                    <a:pt x="531" y="178"/>
                  </a:lnTo>
                  <a:lnTo>
                    <a:pt x="529" y="178"/>
                  </a:lnTo>
                  <a:lnTo>
                    <a:pt x="529" y="176"/>
                  </a:lnTo>
                  <a:lnTo>
                    <a:pt x="531" y="178"/>
                  </a:lnTo>
                  <a:lnTo>
                    <a:pt x="531" y="176"/>
                  </a:lnTo>
                  <a:lnTo>
                    <a:pt x="534" y="176"/>
                  </a:lnTo>
                  <a:lnTo>
                    <a:pt x="534" y="178"/>
                  </a:lnTo>
                  <a:close/>
                  <a:moveTo>
                    <a:pt x="367" y="176"/>
                  </a:moveTo>
                  <a:lnTo>
                    <a:pt x="370" y="176"/>
                  </a:lnTo>
                  <a:lnTo>
                    <a:pt x="367" y="176"/>
                  </a:lnTo>
                  <a:close/>
                  <a:moveTo>
                    <a:pt x="230" y="169"/>
                  </a:moveTo>
                  <a:lnTo>
                    <a:pt x="232" y="169"/>
                  </a:lnTo>
                  <a:lnTo>
                    <a:pt x="230" y="169"/>
                  </a:lnTo>
                  <a:close/>
                  <a:moveTo>
                    <a:pt x="275" y="166"/>
                  </a:moveTo>
                  <a:lnTo>
                    <a:pt x="273" y="166"/>
                  </a:lnTo>
                  <a:lnTo>
                    <a:pt x="275" y="166"/>
                  </a:lnTo>
                  <a:close/>
                  <a:moveTo>
                    <a:pt x="273" y="166"/>
                  </a:moveTo>
                  <a:lnTo>
                    <a:pt x="273" y="164"/>
                  </a:lnTo>
                  <a:lnTo>
                    <a:pt x="273" y="166"/>
                  </a:lnTo>
                  <a:close/>
                  <a:moveTo>
                    <a:pt x="318" y="164"/>
                  </a:moveTo>
                  <a:lnTo>
                    <a:pt x="315" y="164"/>
                  </a:lnTo>
                  <a:lnTo>
                    <a:pt x="318" y="164"/>
                  </a:lnTo>
                  <a:close/>
                  <a:moveTo>
                    <a:pt x="384" y="162"/>
                  </a:moveTo>
                  <a:lnTo>
                    <a:pt x="384" y="159"/>
                  </a:lnTo>
                  <a:lnTo>
                    <a:pt x="384" y="162"/>
                  </a:lnTo>
                  <a:close/>
                  <a:moveTo>
                    <a:pt x="496" y="157"/>
                  </a:moveTo>
                  <a:lnTo>
                    <a:pt x="498" y="157"/>
                  </a:lnTo>
                  <a:lnTo>
                    <a:pt x="496" y="157"/>
                  </a:lnTo>
                  <a:close/>
                  <a:moveTo>
                    <a:pt x="251" y="155"/>
                  </a:moveTo>
                  <a:lnTo>
                    <a:pt x="254" y="155"/>
                  </a:lnTo>
                  <a:lnTo>
                    <a:pt x="251" y="155"/>
                  </a:lnTo>
                  <a:close/>
                  <a:moveTo>
                    <a:pt x="536" y="152"/>
                  </a:moveTo>
                  <a:lnTo>
                    <a:pt x="536" y="155"/>
                  </a:lnTo>
                  <a:lnTo>
                    <a:pt x="536" y="152"/>
                  </a:lnTo>
                  <a:close/>
                  <a:moveTo>
                    <a:pt x="351" y="152"/>
                  </a:moveTo>
                  <a:lnTo>
                    <a:pt x="348" y="152"/>
                  </a:lnTo>
                  <a:lnTo>
                    <a:pt x="348" y="150"/>
                  </a:lnTo>
                  <a:lnTo>
                    <a:pt x="348" y="152"/>
                  </a:lnTo>
                  <a:lnTo>
                    <a:pt x="351" y="152"/>
                  </a:lnTo>
                  <a:close/>
                  <a:moveTo>
                    <a:pt x="515" y="150"/>
                  </a:moveTo>
                  <a:lnTo>
                    <a:pt x="512" y="150"/>
                  </a:lnTo>
                  <a:lnTo>
                    <a:pt x="515" y="150"/>
                  </a:lnTo>
                  <a:close/>
                  <a:moveTo>
                    <a:pt x="553" y="150"/>
                  </a:moveTo>
                  <a:lnTo>
                    <a:pt x="550" y="150"/>
                  </a:lnTo>
                  <a:lnTo>
                    <a:pt x="550" y="147"/>
                  </a:lnTo>
                  <a:lnTo>
                    <a:pt x="553" y="150"/>
                  </a:lnTo>
                  <a:close/>
                  <a:moveTo>
                    <a:pt x="329" y="147"/>
                  </a:moveTo>
                  <a:lnTo>
                    <a:pt x="332" y="147"/>
                  </a:lnTo>
                  <a:lnTo>
                    <a:pt x="329" y="147"/>
                  </a:lnTo>
                  <a:close/>
                  <a:moveTo>
                    <a:pt x="550" y="147"/>
                  </a:moveTo>
                  <a:lnTo>
                    <a:pt x="548" y="147"/>
                  </a:lnTo>
                  <a:lnTo>
                    <a:pt x="550" y="147"/>
                  </a:lnTo>
                  <a:close/>
                  <a:moveTo>
                    <a:pt x="337" y="145"/>
                  </a:moveTo>
                  <a:lnTo>
                    <a:pt x="334" y="145"/>
                  </a:lnTo>
                  <a:lnTo>
                    <a:pt x="334" y="147"/>
                  </a:lnTo>
                  <a:lnTo>
                    <a:pt x="334" y="145"/>
                  </a:lnTo>
                  <a:lnTo>
                    <a:pt x="337" y="145"/>
                  </a:lnTo>
                  <a:close/>
                  <a:moveTo>
                    <a:pt x="227" y="143"/>
                  </a:moveTo>
                  <a:lnTo>
                    <a:pt x="230" y="143"/>
                  </a:lnTo>
                  <a:lnTo>
                    <a:pt x="232" y="140"/>
                  </a:lnTo>
                  <a:lnTo>
                    <a:pt x="230" y="143"/>
                  </a:lnTo>
                  <a:lnTo>
                    <a:pt x="227" y="143"/>
                  </a:lnTo>
                  <a:close/>
                  <a:moveTo>
                    <a:pt x="797" y="140"/>
                  </a:moveTo>
                  <a:lnTo>
                    <a:pt x="795" y="140"/>
                  </a:lnTo>
                  <a:lnTo>
                    <a:pt x="792" y="140"/>
                  </a:lnTo>
                  <a:lnTo>
                    <a:pt x="795" y="140"/>
                  </a:lnTo>
                  <a:lnTo>
                    <a:pt x="797" y="140"/>
                  </a:lnTo>
                  <a:close/>
                  <a:moveTo>
                    <a:pt x="795" y="138"/>
                  </a:moveTo>
                  <a:lnTo>
                    <a:pt x="792" y="138"/>
                  </a:lnTo>
                  <a:lnTo>
                    <a:pt x="795" y="138"/>
                  </a:lnTo>
                  <a:close/>
                  <a:moveTo>
                    <a:pt x="799" y="133"/>
                  </a:moveTo>
                  <a:lnTo>
                    <a:pt x="797" y="133"/>
                  </a:lnTo>
                  <a:lnTo>
                    <a:pt x="799" y="133"/>
                  </a:lnTo>
                  <a:close/>
                  <a:moveTo>
                    <a:pt x="256" y="128"/>
                  </a:moveTo>
                  <a:lnTo>
                    <a:pt x="254" y="128"/>
                  </a:lnTo>
                  <a:lnTo>
                    <a:pt x="256" y="128"/>
                  </a:lnTo>
                  <a:close/>
                  <a:moveTo>
                    <a:pt x="254" y="128"/>
                  </a:moveTo>
                  <a:lnTo>
                    <a:pt x="251" y="128"/>
                  </a:lnTo>
                  <a:lnTo>
                    <a:pt x="254" y="128"/>
                  </a:lnTo>
                  <a:close/>
                  <a:moveTo>
                    <a:pt x="567" y="128"/>
                  </a:moveTo>
                  <a:lnTo>
                    <a:pt x="564" y="128"/>
                  </a:lnTo>
                  <a:lnTo>
                    <a:pt x="567" y="128"/>
                  </a:lnTo>
                  <a:close/>
                  <a:moveTo>
                    <a:pt x="847" y="126"/>
                  </a:moveTo>
                  <a:lnTo>
                    <a:pt x="844" y="126"/>
                  </a:lnTo>
                  <a:lnTo>
                    <a:pt x="847" y="126"/>
                  </a:lnTo>
                  <a:close/>
                  <a:moveTo>
                    <a:pt x="564" y="126"/>
                  </a:moveTo>
                  <a:lnTo>
                    <a:pt x="567" y="126"/>
                  </a:lnTo>
                  <a:lnTo>
                    <a:pt x="569" y="126"/>
                  </a:lnTo>
                  <a:lnTo>
                    <a:pt x="567" y="126"/>
                  </a:lnTo>
                  <a:lnTo>
                    <a:pt x="564" y="126"/>
                  </a:lnTo>
                  <a:lnTo>
                    <a:pt x="562" y="126"/>
                  </a:lnTo>
                  <a:lnTo>
                    <a:pt x="564" y="126"/>
                  </a:lnTo>
                  <a:lnTo>
                    <a:pt x="562" y="126"/>
                  </a:lnTo>
                  <a:lnTo>
                    <a:pt x="564" y="126"/>
                  </a:lnTo>
                  <a:close/>
                  <a:moveTo>
                    <a:pt x="254" y="126"/>
                  </a:moveTo>
                  <a:lnTo>
                    <a:pt x="254" y="124"/>
                  </a:lnTo>
                  <a:lnTo>
                    <a:pt x="254" y="126"/>
                  </a:lnTo>
                  <a:close/>
                  <a:moveTo>
                    <a:pt x="557" y="126"/>
                  </a:moveTo>
                  <a:lnTo>
                    <a:pt x="555" y="126"/>
                  </a:lnTo>
                  <a:lnTo>
                    <a:pt x="555" y="124"/>
                  </a:lnTo>
                  <a:lnTo>
                    <a:pt x="557" y="124"/>
                  </a:lnTo>
                  <a:lnTo>
                    <a:pt x="557" y="126"/>
                  </a:lnTo>
                  <a:close/>
                  <a:moveTo>
                    <a:pt x="251" y="124"/>
                  </a:moveTo>
                  <a:lnTo>
                    <a:pt x="254" y="126"/>
                  </a:lnTo>
                  <a:lnTo>
                    <a:pt x="251" y="126"/>
                  </a:lnTo>
                  <a:lnTo>
                    <a:pt x="249" y="126"/>
                  </a:lnTo>
                  <a:lnTo>
                    <a:pt x="246" y="126"/>
                  </a:lnTo>
                  <a:lnTo>
                    <a:pt x="244" y="126"/>
                  </a:lnTo>
                  <a:lnTo>
                    <a:pt x="244" y="124"/>
                  </a:lnTo>
                  <a:lnTo>
                    <a:pt x="246" y="124"/>
                  </a:lnTo>
                  <a:lnTo>
                    <a:pt x="249" y="124"/>
                  </a:lnTo>
                  <a:lnTo>
                    <a:pt x="251" y="124"/>
                  </a:lnTo>
                  <a:close/>
                  <a:moveTo>
                    <a:pt x="386" y="124"/>
                  </a:moveTo>
                  <a:lnTo>
                    <a:pt x="384" y="124"/>
                  </a:lnTo>
                  <a:lnTo>
                    <a:pt x="386" y="124"/>
                  </a:lnTo>
                  <a:close/>
                  <a:moveTo>
                    <a:pt x="538" y="124"/>
                  </a:moveTo>
                  <a:lnTo>
                    <a:pt x="541" y="124"/>
                  </a:lnTo>
                  <a:lnTo>
                    <a:pt x="538" y="124"/>
                  </a:lnTo>
                  <a:close/>
                  <a:moveTo>
                    <a:pt x="851" y="124"/>
                  </a:moveTo>
                  <a:lnTo>
                    <a:pt x="849" y="124"/>
                  </a:lnTo>
                  <a:lnTo>
                    <a:pt x="851" y="124"/>
                  </a:lnTo>
                  <a:lnTo>
                    <a:pt x="849" y="124"/>
                  </a:lnTo>
                  <a:lnTo>
                    <a:pt x="847" y="124"/>
                  </a:lnTo>
                  <a:lnTo>
                    <a:pt x="844" y="124"/>
                  </a:lnTo>
                  <a:lnTo>
                    <a:pt x="844" y="126"/>
                  </a:lnTo>
                  <a:lnTo>
                    <a:pt x="847" y="126"/>
                  </a:lnTo>
                  <a:lnTo>
                    <a:pt x="844" y="126"/>
                  </a:lnTo>
                  <a:lnTo>
                    <a:pt x="847" y="126"/>
                  </a:lnTo>
                  <a:lnTo>
                    <a:pt x="844" y="126"/>
                  </a:lnTo>
                  <a:lnTo>
                    <a:pt x="842" y="126"/>
                  </a:lnTo>
                  <a:lnTo>
                    <a:pt x="842" y="124"/>
                  </a:lnTo>
                  <a:lnTo>
                    <a:pt x="840" y="124"/>
                  </a:lnTo>
                  <a:lnTo>
                    <a:pt x="842" y="124"/>
                  </a:lnTo>
                  <a:lnTo>
                    <a:pt x="844" y="124"/>
                  </a:lnTo>
                  <a:lnTo>
                    <a:pt x="849" y="124"/>
                  </a:lnTo>
                  <a:lnTo>
                    <a:pt x="851" y="124"/>
                  </a:lnTo>
                  <a:close/>
                  <a:moveTo>
                    <a:pt x="541" y="121"/>
                  </a:moveTo>
                  <a:lnTo>
                    <a:pt x="543" y="121"/>
                  </a:lnTo>
                  <a:lnTo>
                    <a:pt x="541" y="121"/>
                  </a:lnTo>
                  <a:lnTo>
                    <a:pt x="541" y="124"/>
                  </a:lnTo>
                  <a:lnTo>
                    <a:pt x="538" y="124"/>
                  </a:lnTo>
                  <a:lnTo>
                    <a:pt x="541" y="124"/>
                  </a:lnTo>
                  <a:lnTo>
                    <a:pt x="541" y="121"/>
                  </a:lnTo>
                  <a:lnTo>
                    <a:pt x="538" y="121"/>
                  </a:lnTo>
                  <a:lnTo>
                    <a:pt x="541" y="121"/>
                  </a:lnTo>
                  <a:close/>
                  <a:moveTo>
                    <a:pt x="548" y="121"/>
                  </a:moveTo>
                  <a:lnTo>
                    <a:pt x="545" y="121"/>
                  </a:lnTo>
                  <a:lnTo>
                    <a:pt x="545" y="124"/>
                  </a:lnTo>
                  <a:lnTo>
                    <a:pt x="545" y="121"/>
                  </a:lnTo>
                  <a:lnTo>
                    <a:pt x="545" y="124"/>
                  </a:lnTo>
                  <a:lnTo>
                    <a:pt x="545" y="121"/>
                  </a:lnTo>
                  <a:lnTo>
                    <a:pt x="545" y="124"/>
                  </a:lnTo>
                  <a:lnTo>
                    <a:pt x="543" y="121"/>
                  </a:lnTo>
                  <a:lnTo>
                    <a:pt x="543" y="124"/>
                  </a:lnTo>
                  <a:lnTo>
                    <a:pt x="543" y="121"/>
                  </a:lnTo>
                  <a:lnTo>
                    <a:pt x="545" y="121"/>
                  </a:lnTo>
                  <a:lnTo>
                    <a:pt x="548" y="121"/>
                  </a:lnTo>
                  <a:close/>
                  <a:moveTo>
                    <a:pt x="505" y="119"/>
                  </a:moveTo>
                  <a:lnTo>
                    <a:pt x="503" y="119"/>
                  </a:lnTo>
                  <a:lnTo>
                    <a:pt x="505" y="119"/>
                  </a:lnTo>
                  <a:close/>
                  <a:moveTo>
                    <a:pt x="498" y="109"/>
                  </a:moveTo>
                  <a:lnTo>
                    <a:pt x="500" y="109"/>
                  </a:lnTo>
                  <a:lnTo>
                    <a:pt x="498" y="109"/>
                  </a:lnTo>
                  <a:close/>
                  <a:moveTo>
                    <a:pt x="493" y="109"/>
                  </a:moveTo>
                  <a:lnTo>
                    <a:pt x="491" y="109"/>
                  </a:lnTo>
                  <a:lnTo>
                    <a:pt x="488" y="109"/>
                  </a:lnTo>
                  <a:lnTo>
                    <a:pt x="486" y="109"/>
                  </a:lnTo>
                  <a:lnTo>
                    <a:pt x="488" y="109"/>
                  </a:lnTo>
                  <a:lnTo>
                    <a:pt x="491" y="109"/>
                  </a:lnTo>
                  <a:lnTo>
                    <a:pt x="493" y="109"/>
                  </a:lnTo>
                  <a:close/>
                  <a:moveTo>
                    <a:pt x="515" y="107"/>
                  </a:moveTo>
                  <a:lnTo>
                    <a:pt x="517" y="107"/>
                  </a:lnTo>
                  <a:lnTo>
                    <a:pt x="515" y="107"/>
                  </a:lnTo>
                  <a:lnTo>
                    <a:pt x="512" y="107"/>
                  </a:lnTo>
                  <a:lnTo>
                    <a:pt x="515" y="107"/>
                  </a:lnTo>
                  <a:close/>
                  <a:moveTo>
                    <a:pt x="510" y="105"/>
                  </a:moveTo>
                  <a:lnTo>
                    <a:pt x="512" y="105"/>
                  </a:lnTo>
                  <a:lnTo>
                    <a:pt x="512" y="107"/>
                  </a:lnTo>
                  <a:lnTo>
                    <a:pt x="510" y="107"/>
                  </a:lnTo>
                  <a:lnTo>
                    <a:pt x="512" y="107"/>
                  </a:lnTo>
                  <a:lnTo>
                    <a:pt x="510" y="107"/>
                  </a:lnTo>
                  <a:lnTo>
                    <a:pt x="510" y="109"/>
                  </a:lnTo>
                  <a:lnTo>
                    <a:pt x="512" y="109"/>
                  </a:lnTo>
                  <a:lnTo>
                    <a:pt x="510" y="109"/>
                  </a:lnTo>
                  <a:lnTo>
                    <a:pt x="507" y="107"/>
                  </a:lnTo>
                  <a:lnTo>
                    <a:pt x="507" y="109"/>
                  </a:lnTo>
                  <a:lnTo>
                    <a:pt x="505" y="109"/>
                  </a:lnTo>
                  <a:lnTo>
                    <a:pt x="505" y="107"/>
                  </a:lnTo>
                  <a:lnTo>
                    <a:pt x="507" y="107"/>
                  </a:lnTo>
                  <a:lnTo>
                    <a:pt x="505" y="107"/>
                  </a:lnTo>
                  <a:lnTo>
                    <a:pt x="507" y="107"/>
                  </a:lnTo>
                  <a:lnTo>
                    <a:pt x="510" y="107"/>
                  </a:lnTo>
                  <a:lnTo>
                    <a:pt x="510" y="105"/>
                  </a:lnTo>
                  <a:lnTo>
                    <a:pt x="507" y="105"/>
                  </a:lnTo>
                  <a:lnTo>
                    <a:pt x="507" y="107"/>
                  </a:lnTo>
                  <a:lnTo>
                    <a:pt x="507" y="105"/>
                  </a:lnTo>
                  <a:lnTo>
                    <a:pt x="507" y="107"/>
                  </a:lnTo>
                  <a:lnTo>
                    <a:pt x="505" y="107"/>
                  </a:lnTo>
                  <a:lnTo>
                    <a:pt x="505" y="105"/>
                  </a:lnTo>
                  <a:lnTo>
                    <a:pt x="507" y="105"/>
                  </a:lnTo>
                  <a:lnTo>
                    <a:pt x="510" y="105"/>
                  </a:lnTo>
                  <a:lnTo>
                    <a:pt x="507" y="105"/>
                  </a:lnTo>
                  <a:lnTo>
                    <a:pt x="510" y="105"/>
                  </a:lnTo>
                  <a:close/>
                  <a:moveTo>
                    <a:pt x="498" y="105"/>
                  </a:moveTo>
                  <a:lnTo>
                    <a:pt x="500" y="105"/>
                  </a:lnTo>
                  <a:lnTo>
                    <a:pt x="498" y="105"/>
                  </a:lnTo>
                  <a:close/>
                  <a:moveTo>
                    <a:pt x="543" y="105"/>
                  </a:moveTo>
                  <a:lnTo>
                    <a:pt x="545" y="105"/>
                  </a:lnTo>
                  <a:lnTo>
                    <a:pt x="548" y="105"/>
                  </a:lnTo>
                  <a:lnTo>
                    <a:pt x="545" y="105"/>
                  </a:lnTo>
                  <a:lnTo>
                    <a:pt x="543" y="105"/>
                  </a:lnTo>
                  <a:close/>
                  <a:moveTo>
                    <a:pt x="496" y="105"/>
                  </a:moveTo>
                  <a:lnTo>
                    <a:pt x="493" y="105"/>
                  </a:lnTo>
                  <a:lnTo>
                    <a:pt x="496" y="105"/>
                  </a:lnTo>
                  <a:close/>
                  <a:moveTo>
                    <a:pt x="545" y="105"/>
                  </a:moveTo>
                  <a:lnTo>
                    <a:pt x="545" y="102"/>
                  </a:lnTo>
                  <a:lnTo>
                    <a:pt x="545" y="105"/>
                  </a:lnTo>
                  <a:close/>
                  <a:moveTo>
                    <a:pt x="481" y="102"/>
                  </a:moveTo>
                  <a:lnTo>
                    <a:pt x="479" y="102"/>
                  </a:lnTo>
                  <a:lnTo>
                    <a:pt x="481" y="102"/>
                  </a:lnTo>
                  <a:close/>
                  <a:moveTo>
                    <a:pt x="493" y="102"/>
                  </a:moveTo>
                  <a:lnTo>
                    <a:pt x="496" y="102"/>
                  </a:lnTo>
                  <a:lnTo>
                    <a:pt x="493" y="102"/>
                  </a:lnTo>
                  <a:close/>
                  <a:moveTo>
                    <a:pt x="529" y="102"/>
                  </a:moveTo>
                  <a:lnTo>
                    <a:pt x="531" y="102"/>
                  </a:lnTo>
                  <a:lnTo>
                    <a:pt x="529" y="102"/>
                  </a:lnTo>
                  <a:lnTo>
                    <a:pt x="526" y="100"/>
                  </a:lnTo>
                  <a:lnTo>
                    <a:pt x="529" y="100"/>
                  </a:lnTo>
                  <a:lnTo>
                    <a:pt x="529" y="102"/>
                  </a:lnTo>
                  <a:close/>
                  <a:moveTo>
                    <a:pt x="486" y="100"/>
                  </a:moveTo>
                  <a:lnTo>
                    <a:pt x="484" y="100"/>
                  </a:lnTo>
                  <a:lnTo>
                    <a:pt x="486" y="100"/>
                  </a:lnTo>
                  <a:close/>
                  <a:moveTo>
                    <a:pt x="500" y="98"/>
                  </a:moveTo>
                  <a:lnTo>
                    <a:pt x="503" y="98"/>
                  </a:lnTo>
                  <a:lnTo>
                    <a:pt x="505" y="98"/>
                  </a:lnTo>
                  <a:lnTo>
                    <a:pt x="507" y="100"/>
                  </a:lnTo>
                  <a:lnTo>
                    <a:pt x="510" y="100"/>
                  </a:lnTo>
                  <a:lnTo>
                    <a:pt x="512" y="100"/>
                  </a:lnTo>
                  <a:lnTo>
                    <a:pt x="512" y="102"/>
                  </a:lnTo>
                  <a:lnTo>
                    <a:pt x="512" y="100"/>
                  </a:lnTo>
                  <a:lnTo>
                    <a:pt x="512" y="102"/>
                  </a:lnTo>
                  <a:lnTo>
                    <a:pt x="515" y="102"/>
                  </a:lnTo>
                  <a:lnTo>
                    <a:pt x="512" y="102"/>
                  </a:lnTo>
                  <a:lnTo>
                    <a:pt x="510" y="102"/>
                  </a:lnTo>
                  <a:lnTo>
                    <a:pt x="507" y="102"/>
                  </a:lnTo>
                  <a:lnTo>
                    <a:pt x="507" y="100"/>
                  </a:lnTo>
                  <a:lnTo>
                    <a:pt x="505" y="102"/>
                  </a:lnTo>
                  <a:lnTo>
                    <a:pt x="500" y="102"/>
                  </a:lnTo>
                  <a:lnTo>
                    <a:pt x="498" y="102"/>
                  </a:lnTo>
                  <a:lnTo>
                    <a:pt x="496" y="102"/>
                  </a:lnTo>
                  <a:lnTo>
                    <a:pt x="496" y="100"/>
                  </a:lnTo>
                  <a:lnTo>
                    <a:pt x="498" y="100"/>
                  </a:lnTo>
                  <a:lnTo>
                    <a:pt x="498" y="98"/>
                  </a:lnTo>
                  <a:lnTo>
                    <a:pt x="496" y="98"/>
                  </a:lnTo>
                  <a:lnTo>
                    <a:pt x="498" y="98"/>
                  </a:lnTo>
                  <a:lnTo>
                    <a:pt x="500" y="98"/>
                  </a:lnTo>
                  <a:close/>
                  <a:moveTo>
                    <a:pt x="493" y="98"/>
                  </a:moveTo>
                  <a:lnTo>
                    <a:pt x="491" y="98"/>
                  </a:lnTo>
                  <a:lnTo>
                    <a:pt x="493" y="98"/>
                  </a:lnTo>
                  <a:close/>
                  <a:moveTo>
                    <a:pt x="493" y="95"/>
                  </a:moveTo>
                  <a:lnTo>
                    <a:pt x="496" y="95"/>
                  </a:lnTo>
                  <a:lnTo>
                    <a:pt x="498" y="95"/>
                  </a:lnTo>
                  <a:lnTo>
                    <a:pt x="496" y="95"/>
                  </a:lnTo>
                  <a:lnTo>
                    <a:pt x="493" y="95"/>
                  </a:lnTo>
                  <a:close/>
                  <a:moveTo>
                    <a:pt x="441" y="88"/>
                  </a:moveTo>
                  <a:lnTo>
                    <a:pt x="439" y="88"/>
                  </a:lnTo>
                  <a:lnTo>
                    <a:pt x="441" y="88"/>
                  </a:lnTo>
                  <a:close/>
                  <a:moveTo>
                    <a:pt x="474" y="88"/>
                  </a:moveTo>
                  <a:lnTo>
                    <a:pt x="472" y="88"/>
                  </a:lnTo>
                  <a:lnTo>
                    <a:pt x="474" y="88"/>
                  </a:lnTo>
                  <a:close/>
                  <a:moveTo>
                    <a:pt x="268" y="86"/>
                  </a:moveTo>
                  <a:lnTo>
                    <a:pt x="265" y="86"/>
                  </a:lnTo>
                  <a:lnTo>
                    <a:pt x="268" y="86"/>
                  </a:lnTo>
                  <a:close/>
                  <a:moveTo>
                    <a:pt x="273" y="86"/>
                  </a:moveTo>
                  <a:lnTo>
                    <a:pt x="270" y="86"/>
                  </a:lnTo>
                  <a:lnTo>
                    <a:pt x="273" y="86"/>
                  </a:lnTo>
                  <a:close/>
                  <a:moveTo>
                    <a:pt x="270" y="86"/>
                  </a:moveTo>
                  <a:lnTo>
                    <a:pt x="268" y="86"/>
                  </a:lnTo>
                  <a:lnTo>
                    <a:pt x="270" y="86"/>
                  </a:lnTo>
                  <a:close/>
                  <a:moveTo>
                    <a:pt x="486" y="86"/>
                  </a:moveTo>
                  <a:lnTo>
                    <a:pt x="484" y="86"/>
                  </a:lnTo>
                  <a:lnTo>
                    <a:pt x="486" y="86"/>
                  </a:lnTo>
                  <a:close/>
                  <a:moveTo>
                    <a:pt x="481" y="86"/>
                  </a:moveTo>
                  <a:lnTo>
                    <a:pt x="484" y="86"/>
                  </a:lnTo>
                  <a:lnTo>
                    <a:pt x="481" y="86"/>
                  </a:lnTo>
                  <a:close/>
                  <a:moveTo>
                    <a:pt x="268" y="86"/>
                  </a:moveTo>
                  <a:lnTo>
                    <a:pt x="270" y="86"/>
                  </a:lnTo>
                  <a:lnTo>
                    <a:pt x="268" y="86"/>
                  </a:lnTo>
                  <a:close/>
                  <a:moveTo>
                    <a:pt x="294" y="83"/>
                  </a:moveTo>
                  <a:lnTo>
                    <a:pt x="292" y="83"/>
                  </a:lnTo>
                  <a:lnTo>
                    <a:pt x="294" y="83"/>
                  </a:lnTo>
                  <a:close/>
                  <a:moveTo>
                    <a:pt x="498" y="79"/>
                  </a:moveTo>
                  <a:lnTo>
                    <a:pt x="500" y="79"/>
                  </a:lnTo>
                  <a:lnTo>
                    <a:pt x="498" y="79"/>
                  </a:lnTo>
                  <a:close/>
                  <a:moveTo>
                    <a:pt x="287" y="79"/>
                  </a:moveTo>
                  <a:lnTo>
                    <a:pt x="284" y="79"/>
                  </a:lnTo>
                  <a:lnTo>
                    <a:pt x="287" y="79"/>
                  </a:lnTo>
                  <a:close/>
                  <a:moveTo>
                    <a:pt x="289" y="79"/>
                  </a:moveTo>
                  <a:lnTo>
                    <a:pt x="292" y="79"/>
                  </a:lnTo>
                  <a:lnTo>
                    <a:pt x="289" y="79"/>
                  </a:lnTo>
                  <a:lnTo>
                    <a:pt x="292" y="79"/>
                  </a:lnTo>
                  <a:lnTo>
                    <a:pt x="289" y="79"/>
                  </a:lnTo>
                  <a:close/>
                  <a:moveTo>
                    <a:pt x="500" y="79"/>
                  </a:moveTo>
                  <a:lnTo>
                    <a:pt x="503" y="79"/>
                  </a:lnTo>
                  <a:lnTo>
                    <a:pt x="500" y="79"/>
                  </a:lnTo>
                  <a:lnTo>
                    <a:pt x="498" y="79"/>
                  </a:lnTo>
                  <a:lnTo>
                    <a:pt x="500" y="79"/>
                  </a:lnTo>
                  <a:close/>
                  <a:moveTo>
                    <a:pt x="208" y="76"/>
                  </a:moveTo>
                  <a:lnTo>
                    <a:pt x="211" y="76"/>
                  </a:lnTo>
                  <a:lnTo>
                    <a:pt x="213" y="76"/>
                  </a:lnTo>
                  <a:lnTo>
                    <a:pt x="213" y="79"/>
                  </a:lnTo>
                  <a:lnTo>
                    <a:pt x="211" y="79"/>
                  </a:lnTo>
                  <a:lnTo>
                    <a:pt x="213" y="79"/>
                  </a:lnTo>
                  <a:lnTo>
                    <a:pt x="211" y="79"/>
                  </a:lnTo>
                  <a:lnTo>
                    <a:pt x="213" y="79"/>
                  </a:lnTo>
                  <a:lnTo>
                    <a:pt x="213" y="81"/>
                  </a:lnTo>
                  <a:lnTo>
                    <a:pt x="213" y="79"/>
                  </a:lnTo>
                  <a:lnTo>
                    <a:pt x="211" y="81"/>
                  </a:lnTo>
                  <a:lnTo>
                    <a:pt x="208" y="81"/>
                  </a:lnTo>
                  <a:lnTo>
                    <a:pt x="206" y="81"/>
                  </a:lnTo>
                  <a:lnTo>
                    <a:pt x="204" y="81"/>
                  </a:lnTo>
                  <a:lnTo>
                    <a:pt x="204" y="79"/>
                  </a:lnTo>
                  <a:lnTo>
                    <a:pt x="206" y="79"/>
                  </a:lnTo>
                  <a:lnTo>
                    <a:pt x="208" y="79"/>
                  </a:lnTo>
                  <a:lnTo>
                    <a:pt x="206" y="79"/>
                  </a:lnTo>
                  <a:lnTo>
                    <a:pt x="206" y="76"/>
                  </a:lnTo>
                  <a:lnTo>
                    <a:pt x="206" y="79"/>
                  </a:lnTo>
                  <a:lnTo>
                    <a:pt x="204" y="76"/>
                  </a:lnTo>
                  <a:lnTo>
                    <a:pt x="201" y="76"/>
                  </a:lnTo>
                  <a:lnTo>
                    <a:pt x="204" y="76"/>
                  </a:lnTo>
                  <a:lnTo>
                    <a:pt x="206" y="76"/>
                  </a:lnTo>
                  <a:lnTo>
                    <a:pt x="208" y="76"/>
                  </a:lnTo>
                  <a:close/>
                  <a:moveTo>
                    <a:pt x="465" y="74"/>
                  </a:moveTo>
                  <a:lnTo>
                    <a:pt x="462" y="74"/>
                  </a:lnTo>
                  <a:lnTo>
                    <a:pt x="465" y="74"/>
                  </a:lnTo>
                  <a:close/>
                  <a:moveTo>
                    <a:pt x="460" y="71"/>
                  </a:moveTo>
                  <a:lnTo>
                    <a:pt x="458" y="71"/>
                  </a:lnTo>
                  <a:lnTo>
                    <a:pt x="460" y="71"/>
                  </a:lnTo>
                  <a:close/>
                  <a:moveTo>
                    <a:pt x="206" y="71"/>
                  </a:moveTo>
                  <a:lnTo>
                    <a:pt x="206" y="74"/>
                  </a:lnTo>
                  <a:lnTo>
                    <a:pt x="208" y="74"/>
                  </a:lnTo>
                  <a:lnTo>
                    <a:pt x="208" y="71"/>
                  </a:lnTo>
                  <a:lnTo>
                    <a:pt x="208" y="74"/>
                  </a:lnTo>
                  <a:lnTo>
                    <a:pt x="211" y="74"/>
                  </a:lnTo>
                  <a:lnTo>
                    <a:pt x="211" y="76"/>
                  </a:lnTo>
                  <a:lnTo>
                    <a:pt x="211" y="74"/>
                  </a:lnTo>
                  <a:lnTo>
                    <a:pt x="208" y="74"/>
                  </a:lnTo>
                  <a:lnTo>
                    <a:pt x="206" y="74"/>
                  </a:lnTo>
                  <a:lnTo>
                    <a:pt x="204" y="74"/>
                  </a:lnTo>
                  <a:lnTo>
                    <a:pt x="201" y="74"/>
                  </a:lnTo>
                  <a:lnTo>
                    <a:pt x="201" y="71"/>
                  </a:lnTo>
                  <a:lnTo>
                    <a:pt x="204" y="71"/>
                  </a:lnTo>
                  <a:lnTo>
                    <a:pt x="206" y="71"/>
                  </a:lnTo>
                  <a:close/>
                  <a:moveTo>
                    <a:pt x="223" y="69"/>
                  </a:moveTo>
                  <a:lnTo>
                    <a:pt x="225" y="71"/>
                  </a:lnTo>
                  <a:lnTo>
                    <a:pt x="223" y="71"/>
                  </a:lnTo>
                  <a:lnTo>
                    <a:pt x="220" y="71"/>
                  </a:lnTo>
                  <a:lnTo>
                    <a:pt x="220" y="69"/>
                  </a:lnTo>
                  <a:lnTo>
                    <a:pt x="223" y="69"/>
                  </a:lnTo>
                  <a:close/>
                  <a:moveTo>
                    <a:pt x="230" y="69"/>
                  </a:moveTo>
                  <a:lnTo>
                    <a:pt x="230" y="67"/>
                  </a:lnTo>
                  <a:lnTo>
                    <a:pt x="232" y="67"/>
                  </a:lnTo>
                  <a:lnTo>
                    <a:pt x="232" y="69"/>
                  </a:lnTo>
                  <a:lnTo>
                    <a:pt x="230" y="69"/>
                  </a:lnTo>
                  <a:close/>
                  <a:moveTo>
                    <a:pt x="232" y="67"/>
                  </a:moveTo>
                  <a:lnTo>
                    <a:pt x="230" y="67"/>
                  </a:lnTo>
                  <a:lnTo>
                    <a:pt x="232" y="67"/>
                  </a:lnTo>
                  <a:close/>
                  <a:moveTo>
                    <a:pt x="223" y="69"/>
                  </a:moveTo>
                  <a:lnTo>
                    <a:pt x="220" y="67"/>
                  </a:lnTo>
                  <a:lnTo>
                    <a:pt x="223" y="67"/>
                  </a:lnTo>
                  <a:lnTo>
                    <a:pt x="223" y="69"/>
                  </a:lnTo>
                  <a:close/>
                  <a:moveTo>
                    <a:pt x="227" y="67"/>
                  </a:moveTo>
                  <a:lnTo>
                    <a:pt x="225" y="67"/>
                  </a:lnTo>
                  <a:lnTo>
                    <a:pt x="227" y="67"/>
                  </a:lnTo>
                  <a:close/>
                  <a:moveTo>
                    <a:pt x="453" y="59"/>
                  </a:moveTo>
                  <a:lnTo>
                    <a:pt x="455" y="59"/>
                  </a:lnTo>
                  <a:lnTo>
                    <a:pt x="453" y="59"/>
                  </a:lnTo>
                  <a:lnTo>
                    <a:pt x="450" y="59"/>
                  </a:lnTo>
                  <a:lnTo>
                    <a:pt x="448" y="59"/>
                  </a:lnTo>
                  <a:lnTo>
                    <a:pt x="446" y="62"/>
                  </a:lnTo>
                  <a:lnTo>
                    <a:pt x="446" y="59"/>
                  </a:lnTo>
                  <a:lnTo>
                    <a:pt x="448" y="59"/>
                  </a:lnTo>
                  <a:lnTo>
                    <a:pt x="450" y="59"/>
                  </a:lnTo>
                  <a:lnTo>
                    <a:pt x="453" y="59"/>
                  </a:lnTo>
                  <a:lnTo>
                    <a:pt x="453" y="57"/>
                  </a:lnTo>
                  <a:lnTo>
                    <a:pt x="453" y="59"/>
                  </a:lnTo>
                  <a:close/>
                  <a:moveTo>
                    <a:pt x="455" y="57"/>
                  </a:moveTo>
                  <a:lnTo>
                    <a:pt x="458" y="57"/>
                  </a:lnTo>
                  <a:lnTo>
                    <a:pt x="458" y="59"/>
                  </a:lnTo>
                  <a:lnTo>
                    <a:pt x="455" y="59"/>
                  </a:lnTo>
                  <a:lnTo>
                    <a:pt x="455" y="57"/>
                  </a:lnTo>
                  <a:lnTo>
                    <a:pt x="453" y="57"/>
                  </a:lnTo>
                  <a:lnTo>
                    <a:pt x="455" y="57"/>
                  </a:lnTo>
                  <a:lnTo>
                    <a:pt x="453" y="57"/>
                  </a:lnTo>
                  <a:lnTo>
                    <a:pt x="455" y="57"/>
                  </a:lnTo>
                  <a:close/>
                  <a:moveTo>
                    <a:pt x="448" y="57"/>
                  </a:moveTo>
                  <a:lnTo>
                    <a:pt x="446" y="57"/>
                  </a:lnTo>
                  <a:lnTo>
                    <a:pt x="448" y="57"/>
                  </a:lnTo>
                  <a:close/>
                  <a:moveTo>
                    <a:pt x="450" y="57"/>
                  </a:moveTo>
                  <a:lnTo>
                    <a:pt x="448" y="57"/>
                  </a:lnTo>
                  <a:lnTo>
                    <a:pt x="450" y="55"/>
                  </a:lnTo>
                  <a:lnTo>
                    <a:pt x="450" y="57"/>
                  </a:lnTo>
                  <a:close/>
                  <a:moveTo>
                    <a:pt x="458" y="57"/>
                  </a:moveTo>
                  <a:lnTo>
                    <a:pt x="458" y="55"/>
                  </a:lnTo>
                  <a:lnTo>
                    <a:pt x="458" y="57"/>
                  </a:lnTo>
                  <a:close/>
                  <a:moveTo>
                    <a:pt x="455" y="57"/>
                  </a:moveTo>
                  <a:lnTo>
                    <a:pt x="455" y="55"/>
                  </a:lnTo>
                  <a:lnTo>
                    <a:pt x="455" y="57"/>
                  </a:lnTo>
                  <a:close/>
                  <a:moveTo>
                    <a:pt x="460" y="55"/>
                  </a:moveTo>
                  <a:lnTo>
                    <a:pt x="458" y="55"/>
                  </a:lnTo>
                  <a:lnTo>
                    <a:pt x="460" y="55"/>
                  </a:lnTo>
                  <a:close/>
                  <a:moveTo>
                    <a:pt x="329" y="55"/>
                  </a:moveTo>
                  <a:lnTo>
                    <a:pt x="327" y="55"/>
                  </a:lnTo>
                  <a:lnTo>
                    <a:pt x="327" y="57"/>
                  </a:lnTo>
                  <a:lnTo>
                    <a:pt x="327" y="55"/>
                  </a:lnTo>
                  <a:lnTo>
                    <a:pt x="329" y="55"/>
                  </a:lnTo>
                  <a:close/>
                  <a:moveTo>
                    <a:pt x="446" y="55"/>
                  </a:moveTo>
                  <a:lnTo>
                    <a:pt x="443" y="55"/>
                  </a:lnTo>
                  <a:lnTo>
                    <a:pt x="443" y="52"/>
                  </a:lnTo>
                  <a:lnTo>
                    <a:pt x="446" y="55"/>
                  </a:lnTo>
                  <a:close/>
                  <a:moveTo>
                    <a:pt x="586" y="55"/>
                  </a:moveTo>
                  <a:lnTo>
                    <a:pt x="586" y="52"/>
                  </a:lnTo>
                  <a:lnTo>
                    <a:pt x="583" y="52"/>
                  </a:lnTo>
                  <a:lnTo>
                    <a:pt x="586" y="52"/>
                  </a:lnTo>
                  <a:lnTo>
                    <a:pt x="588" y="52"/>
                  </a:lnTo>
                  <a:lnTo>
                    <a:pt x="588" y="55"/>
                  </a:lnTo>
                  <a:lnTo>
                    <a:pt x="586" y="55"/>
                  </a:lnTo>
                  <a:close/>
                  <a:moveTo>
                    <a:pt x="588" y="52"/>
                  </a:moveTo>
                  <a:lnTo>
                    <a:pt x="586" y="52"/>
                  </a:lnTo>
                  <a:lnTo>
                    <a:pt x="586" y="50"/>
                  </a:lnTo>
                  <a:lnTo>
                    <a:pt x="588" y="52"/>
                  </a:lnTo>
                  <a:close/>
                  <a:moveTo>
                    <a:pt x="773" y="48"/>
                  </a:moveTo>
                  <a:lnTo>
                    <a:pt x="776" y="48"/>
                  </a:lnTo>
                  <a:lnTo>
                    <a:pt x="778" y="50"/>
                  </a:lnTo>
                  <a:lnTo>
                    <a:pt x="780" y="50"/>
                  </a:lnTo>
                  <a:lnTo>
                    <a:pt x="780" y="52"/>
                  </a:lnTo>
                  <a:lnTo>
                    <a:pt x="780" y="50"/>
                  </a:lnTo>
                  <a:lnTo>
                    <a:pt x="780" y="52"/>
                  </a:lnTo>
                  <a:lnTo>
                    <a:pt x="778" y="52"/>
                  </a:lnTo>
                  <a:lnTo>
                    <a:pt x="780" y="52"/>
                  </a:lnTo>
                  <a:lnTo>
                    <a:pt x="778" y="52"/>
                  </a:lnTo>
                  <a:lnTo>
                    <a:pt x="776" y="52"/>
                  </a:lnTo>
                  <a:lnTo>
                    <a:pt x="776" y="55"/>
                  </a:lnTo>
                  <a:lnTo>
                    <a:pt x="776" y="52"/>
                  </a:lnTo>
                  <a:lnTo>
                    <a:pt x="776" y="55"/>
                  </a:lnTo>
                  <a:lnTo>
                    <a:pt x="773" y="52"/>
                  </a:lnTo>
                  <a:lnTo>
                    <a:pt x="773" y="55"/>
                  </a:lnTo>
                  <a:lnTo>
                    <a:pt x="773" y="52"/>
                  </a:lnTo>
                  <a:lnTo>
                    <a:pt x="771" y="52"/>
                  </a:lnTo>
                  <a:lnTo>
                    <a:pt x="771" y="50"/>
                  </a:lnTo>
                  <a:lnTo>
                    <a:pt x="768" y="50"/>
                  </a:lnTo>
                  <a:lnTo>
                    <a:pt x="768" y="48"/>
                  </a:lnTo>
                  <a:lnTo>
                    <a:pt x="771" y="48"/>
                  </a:lnTo>
                  <a:lnTo>
                    <a:pt x="773" y="48"/>
                  </a:lnTo>
                  <a:close/>
                  <a:moveTo>
                    <a:pt x="576" y="48"/>
                  </a:moveTo>
                  <a:lnTo>
                    <a:pt x="574" y="48"/>
                  </a:lnTo>
                  <a:lnTo>
                    <a:pt x="576" y="48"/>
                  </a:lnTo>
                  <a:close/>
                  <a:moveTo>
                    <a:pt x="586" y="48"/>
                  </a:moveTo>
                  <a:lnTo>
                    <a:pt x="583" y="48"/>
                  </a:lnTo>
                  <a:lnTo>
                    <a:pt x="586" y="48"/>
                  </a:lnTo>
                  <a:close/>
                  <a:moveTo>
                    <a:pt x="488" y="45"/>
                  </a:moveTo>
                  <a:lnTo>
                    <a:pt x="488" y="48"/>
                  </a:lnTo>
                  <a:lnTo>
                    <a:pt x="486" y="48"/>
                  </a:lnTo>
                  <a:lnTo>
                    <a:pt x="488" y="48"/>
                  </a:lnTo>
                  <a:lnTo>
                    <a:pt x="488" y="45"/>
                  </a:lnTo>
                  <a:close/>
                  <a:moveTo>
                    <a:pt x="709" y="43"/>
                  </a:moveTo>
                  <a:lnTo>
                    <a:pt x="711" y="43"/>
                  </a:lnTo>
                  <a:lnTo>
                    <a:pt x="709" y="45"/>
                  </a:lnTo>
                  <a:lnTo>
                    <a:pt x="711" y="45"/>
                  </a:lnTo>
                  <a:lnTo>
                    <a:pt x="709" y="45"/>
                  </a:lnTo>
                  <a:lnTo>
                    <a:pt x="707" y="45"/>
                  </a:lnTo>
                  <a:lnTo>
                    <a:pt x="709" y="45"/>
                  </a:lnTo>
                  <a:lnTo>
                    <a:pt x="709" y="43"/>
                  </a:lnTo>
                  <a:close/>
                  <a:moveTo>
                    <a:pt x="619" y="43"/>
                  </a:moveTo>
                  <a:lnTo>
                    <a:pt x="617" y="43"/>
                  </a:lnTo>
                  <a:lnTo>
                    <a:pt x="619" y="43"/>
                  </a:lnTo>
                  <a:close/>
                  <a:moveTo>
                    <a:pt x="619" y="43"/>
                  </a:moveTo>
                  <a:lnTo>
                    <a:pt x="617" y="43"/>
                  </a:lnTo>
                  <a:lnTo>
                    <a:pt x="619" y="43"/>
                  </a:lnTo>
                  <a:lnTo>
                    <a:pt x="617" y="43"/>
                  </a:lnTo>
                  <a:lnTo>
                    <a:pt x="619" y="43"/>
                  </a:lnTo>
                  <a:close/>
                  <a:moveTo>
                    <a:pt x="697" y="43"/>
                  </a:moveTo>
                  <a:lnTo>
                    <a:pt x="695" y="43"/>
                  </a:lnTo>
                  <a:lnTo>
                    <a:pt x="697" y="43"/>
                  </a:lnTo>
                  <a:close/>
                  <a:moveTo>
                    <a:pt x="543" y="40"/>
                  </a:moveTo>
                  <a:lnTo>
                    <a:pt x="541" y="40"/>
                  </a:lnTo>
                  <a:lnTo>
                    <a:pt x="543" y="40"/>
                  </a:lnTo>
                  <a:close/>
                  <a:moveTo>
                    <a:pt x="702" y="40"/>
                  </a:moveTo>
                  <a:lnTo>
                    <a:pt x="700" y="40"/>
                  </a:lnTo>
                  <a:lnTo>
                    <a:pt x="702" y="40"/>
                  </a:lnTo>
                  <a:close/>
                  <a:moveTo>
                    <a:pt x="695" y="40"/>
                  </a:moveTo>
                  <a:lnTo>
                    <a:pt x="697" y="40"/>
                  </a:lnTo>
                  <a:lnTo>
                    <a:pt x="695" y="40"/>
                  </a:lnTo>
                  <a:close/>
                  <a:moveTo>
                    <a:pt x="548" y="40"/>
                  </a:moveTo>
                  <a:lnTo>
                    <a:pt x="548" y="38"/>
                  </a:lnTo>
                  <a:lnTo>
                    <a:pt x="548" y="40"/>
                  </a:lnTo>
                  <a:close/>
                  <a:moveTo>
                    <a:pt x="548" y="38"/>
                  </a:moveTo>
                  <a:lnTo>
                    <a:pt x="550" y="38"/>
                  </a:lnTo>
                  <a:lnTo>
                    <a:pt x="548" y="38"/>
                  </a:lnTo>
                  <a:close/>
                  <a:moveTo>
                    <a:pt x="550" y="38"/>
                  </a:moveTo>
                  <a:lnTo>
                    <a:pt x="548" y="38"/>
                  </a:lnTo>
                  <a:lnTo>
                    <a:pt x="550" y="36"/>
                  </a:lnTo>
                  <a:lnTo>
                    <a:pt x="550" y="38"/>
                  </a:lnTo>
                  <a:close/>
                  <a:moveTo>
                    <a:pt x="638" y="36"/>
                  </a:moveTo>
                  <a:lnTo>
                    <a:pt x="638" y="38"/>
                  </a:lnTo>
                  <a:lnTo>
                    <a:pt x="636" y="36"/>
                  </a:lnTo>
                  <a:lnTo>
                    <a:pt x="638" y="36"/>
                  </a:lnTo>
                  <a:close/>
                  <a:moveTo>
                    <a:pt x="467" y="36"/>
                  </a:moveTo>
                  <a:lnTo>
                    <a:pt x="467" y="33"/>
                  </a:lnTo>
                  <a:lnTo>
                    <a:pt x="467" y="36"/>
                  </a:lnTo>
                  <a:close/>
                  <a:moveTo>
                    <a:pt x="469" y="33"/>
                  </a:moveTo>
                  <a:lnTo>
                    <a:pt x="467" y="33"/>
                  </a:lnTo>
                  <a:lnTo>
                    <a:pt x="469" y="33"/>
                  </a:lnTo>
                  <a:close/>
                  <a:moveTo>
                    <a:pt x="666" y="33"/>
                  </a:moveTo>
                  <a:lnTo>
                    <a:pt x="664" y="33"/>
                  </a:lnTo>
                  <a:lnTo>
                    <a:pt x="666" y="33"/>
                  </a:lnTo>
                  <a:close/>
                  <a:moveTo>
                    <a:pt x="453" y="38"/>
                  </a:moveTo>
                  <a:lnTo>
                    <a:pt x="455" y="38"/>
                  </a:lnTo>
                  <a:lnTo>
                    <a:pt x="453" y="38"/>
                  </a:lnTo>
                  <a:lnTo>
                    <a:pt x="450" y="38"/>
                  </a:lnTo>
                  <a:lnTo>
                    <a:pt x="453" y="38"/>
                  </a:lnTo>
                  <a:lnTo>
                    <a:pt x="450" y="38"/>
                  </a:lnTo>
                  <a:lnTo>
                    <a:pt x="448" y="38"/>
                  </a:lnTo>
                  <a:lnTo>
                    <a:pt x="450" y="38"/>
                  </a:lnTo>
                  <a:lnTo>
                    <a:pt x="448" y="38"/>
                  </a:lnTo>
                  <a:lnTo>
                    <a:pt x="446" y="38"/>
                  </a:lnTo>
                  <a:lnTo>
                    <a:pt x="446" y="36"/>
                  </a:lnTo>
                  <a:lnTo>
                    <a:pt x="446" y="38"/>
                  </a:lnTo>
                  <a:lnTo>
                    <a:pt x="446" y="36"/>
                  </a:lnTo>
                  <a:lnTo>
                    <a:pt x="448" y="36"/>
                  </a:lnTo>
                  <a:lnTo>
                    <a:pt x="446" y="36"/>
                  </a:lnTo>
                  <a:lnTo>
                    <a:pt x="448" y="36"/>
                  </a:lnTo>
                  <a:lnTo>
                    <a:pt x="448" y="33"/>
                  </a:lnTo>
                  <a:lnTo>
                    <a:pt x="450" y="33"/>
                  </a:lnTo>
                  <a:lnTo>
                    <a:pt x="448" y="33"/>
                  </a:lnTo>
                  <a:lnTo>
                    <a:pt x="448" y="36"/>
                  </a:lnTo>
                  <a:lnTo>
                    <a:pt x="450" y="36"/>
                  </a:lnTo>
                  <a:lnTo>
                    <a:pt x="450" y="33"/>
                  </a:lnTo>
                  <a:lnTo>
                    <a:pt x="453" y="33"/>
                  </a:lnTo>
                  <a:lnTo>
                    <a:pt x="453" y="31"/>
                  </a:lnTo>
                  <a:lnTo>
                    <a:pt x="453" y="33"/>
                  </a:lnTo>
                  <a:lnTo>
                    <a:pt x="453" y="31"/>
                  </a:lnTo>
                  <a:lnTo>
                    <a:pt x="453" y="33"/>
                  </a:lnTo>
                  <a:lnTo>
                    <a:pt x="455" y="33"/>
                  </a:lnTo>
                  <a:lnTo>
                    <a:pt x="458" y="33"/>
                  </a:lnTo>
                  <a:lnTo>
                    <a:pt x="460" y="33"/>
                  </a:lnTo>
                  <a:lnTo>
                    <a:pt x="462" y="33"/>
                  </a:lnTo>
                  <a:lnTo>
                    <a:pt x="460" y="33"/>
                  </a:lnTo>
                  <a:lnTo>
                    <a:pt x="460" y="36"/>
                  </a:lnTo>
                  <a:lnTo>
                    <a:pt x="462" y="36"/>
                  </a:lnTo>
                  <a:lnTo>
                    <a:pt x="465" y="36"/>
                  </a:lnTo>
                  <a:lnTo>
                    <a:pt x="462" y="36"/>
                  </a:lnTo>
                  <a:lnTo>
                    <a:pt x="465" y="36"/>
                  </a:lnTo>
                  <a:lnTo>
                    <a:pt x="467" y="36"/>
                  </a:lnTo>
                  <a:lnTo>
                    <a:pt x="467" y="38"/>
                  </a:lnTo>
                  <a:lnTo>
                    <a:pt x="465" y="38"/>
                  </a:lnTo>
                  <a:lnTo>
                    <a:pt x="462" y="38"/>
                  </a:lnTo>
                  <a:lnTo>
                    <a:pt x="462" y="40"/>
                  </a:lnTo>
                  <a:lnTo>
                    <a:pt x="460" y="40"/>
                  </a:lnTo>
                  <a:lnTo>
                    <a:pt x="458" y="40"/>
                  </a:lnTo>
                  <a:lnTo>
                    <a:pt x="455" y="40"/>
                  </a:lnTo>
                  <a:lnTo>
                    <a:pt x="458" y="40"/>
                  </a:lnTo>
                  <a:lnTo>
                    <a:pt x="455" y="40"/>
                  </a:lnTo>
                  <a:lnTo>
                    <a:pt x="455" y="38"/>
                  </a:lnTo>
                  <a:lnTo>
                    <a:pt x="455" y="40"/>
                  </a:lnTo>
                  <a:lnTo>
                    <a:pt x="455" y="38"/>
                  </a:lnTo>
                  <a:lnTo>
                    <a:pt x="453" y="38"/>
                  </a:lnTo>
                  <a:close/>
                  <a:moveTo>
                    <a:pt x="555" y="33"/>
                  </a:moveTo>
                  <a:lnTo>
                    <a:pt x="553" y="33"/>
                  </a:lnTo>
                  <a:lnTo>
                    <a:pt x="555" y="33"/>
                  </a:lnTo>
                  <a:lnTo>
                    <a:pt x="555" y="31"/>
                  </a:lnTo>
                  <a:lnTo>
                    <a:pt x="557" y="31"/>
                  </a:lnTo>
                  <a:lnTo>
                    <a:pt x="557" y="33"/>
                  </a:lnTo>
                  <a:lnTo>
                    <a:pt x="555" y="33"/>
                  </a:lnTo>
                  <a:close/>
                  <a:moveTo>
                    <a:pt x="652" y="31"/>
                  </a:moveTo>
                  <a:lnTo>
                    <a:pt x="650" y="31"/>
                  </a:lnTo>
                  <a:lnTo>
                    <a:pt x="647" y="31"/>
                  </a:lnTo>
                  <a:lnTo>
                    <a:pt x="645" y="31"/>
                  </a:lnTo>
                  <a:lnTo>
                    <a:pt x="645" y="29"/>
                  </a:lnTo>
                  <a:lnTo>
                    <a:pt x="645" y="26"/>
                  </a:lnTo>
                  <a:lnTo>
                    <a:pt x="647" y="26"/>
                  </a:lnTo>
                  <a:lnTo>
                    <a:pt x="650" y="26"/>
                  </a:lnTo>
                  <a:lnTo>
                    <a:pt x="650" y="29"/>
                  </a:lnTo>
                  <a:lnTo>
                    <a:pt x="652" y="29"/>
                  </a:lnTo>
                  <a:lnTo>
                    <a:pt x="652" y="31"/>
                  </a:lnTo>
                  <a:close/>
                  <a:moveTo>
                    <a:pt x="711" y="26"/>
                  </a:moveTo>
                  <a:lnTo>
                    <a:pt x="714" y="26"/>
                  </a:lnTo>
                  <a:lnTo>
                    <a:pt x="711" y="26"/>
                  </a:lnTo>
                  <a:close/>
                  <a:moveTo>
                    <a:pt x="707" y="26"/>
                  </a:moveTo>
                  <a:lnTo>
                    <a:pt x="704" y="26"/>
                  </a:lnTo>
                  <a:lnTo>
                    <a:pt x="707" y="26"/>
                  </a:lnTo>
                  <a:close/>
                  <a:moveTo>
                    <a:pt x="515" y="24"/>
                  </a:moveTo>
                  <a:lnTo>
                    <a:pt x="517" y="24"/>
                  </a:lnTo>
                  <a:lnTo>
                    <a:pt x="515" y="24"/>
                  </a:lnTo>
                  <a:close/>
                  <a:moveTo>
                    <a:pt x="647" y="24"/>
                  </a:moveTo>
                  <a:lnTo>
                    <a:pt x="645" y="24"/>
                  </a:lnTo>
                  <a:lnTo>
                    <a:pt x="643" y="24"/>
                  </a:lnTo>
                  <a:lnTo>
                    <a:pt x="640" y="24"/>
                  </a:lnTo>
                  <a:lnTo>
                    <a:pt x="643" y="24"/>
                  </a:lnTo>
                  <a:lnTo>
                    <a:pt x="645" y="24"/>
                  </a:lnTo>
                  <a:lnTo>
                    <a:pt x="647" y="24"/>
                  </a:lnTo>
                  <a:close/>
                  <a:moveTo>
                    <a:pt x="519" y="24"/>
                  </a:moveTo>
                  <a:lnTo>
                    <a:pt x="517" y="24"/>
                  </a:lnTo>
                  <a:lnTo>
                    <a:pt x="517" y="21"/>
                  </a:lnTo>
                  <a:lnTo>
                    <a:pt x="519" y="21"/>
                  </a:lnTo>
                  <a:lnTo>
                    <a:pt x="519" y="24"/>
                  </a:lnTo>
                  <a:close/>
                  <a:moveTo>
                    <a:pt x="510" y="21"/>
                  </a:moveTo>
                  <a:lnTo>
                    <a:pt x="512" y="21"/>
                  </a:lnTo>
                  <a:lnTo>
                    <a:pt x="512" y="24"/>
                  </a:lnTo>
                  <a:lnTo>
                    <a:pt x="510" y="24"/>
                  </a:lnTo>
                  <a:lnTo>
                    <a:pt x="507" y="24"/>
                  </a:lnTo>
                  <a:lnTo>
                    <a:pt x="505" y="24"/>
                  </a:lnTo>
                  <a:lnTo>
                    <a:pt x="505" y="21"/>
                  </a:lnTo>
                  <a:lnTo>
                    <a:pt x="507" y="21"/>
                  </a:lnTo>
                  <a:lnTo>
                    <a:pt x="505" y="21"/>
                  </a:lnTo>
                  <a:lnTo>
                    <a:pt x="507" y="21"/>
                  </a:lnTo>
                  <a:lnTo>
                    <a:pt x="510" y="21"/>
                  </a:lnTo>
                  <a:close/>
                  <a:moveTo>
                    <a:pt x="503" y="14"/>
                  </a:moveTo>
                  <a:lnTo>
                    <a:pt x="500" y="14"/>
                  </a:lnTo>
                  <a:lnTo>
                    <a:pt x="503" y="14"/>
                  </a:lnTo>
                  <a:close/>
                  <a:moveTo>
                    <a:pt x="531" y="12"/>
                  </a:moveTo>
                  <a:lnTo>
                    <a:pt x="534" y="12"/>
                  </a:lnTo>
                  <a:lnTo>
                    <a:pt x="536" y="12"/>
                  </a:lnTo>
                  <a:lnTo>
                    <a:pt x="536" y="14"/>
                  </a:lnTo>
                  <a:lnTo>
                    <a:pt x="534" y="14"/>
                  </a:lnTo>
                  <a:lnTo>
                    <a:pt x="531" y="14"/>
                  </a:lnTo>
                  <a:lnTo>
                    <a:pt x="534" y="14"/>
                  </a:lnTo>
                  <a:lnTo>
                    <a:pt x="531" y="14"/>
                  </a:lnTo>
                  <a:lnTo>
                    <a:pt x="529" y="14"/>
                  </a:lnTo>
                  <a:lnTo>
                    <a:pt x="526" y="12"/>
                  </a:lnTo>
                  <a:lnTo>
                    <a:pt x="524" y="12"/>
                  </a:lnTo>
                  <a:lnTo>
                    <a:pt x="526" y="12"/>
                  </a:lnTo>
                  <a:lnTo>
                    <a:pt x="529" y="12"/>
                  </a:lnTo>
                  <a:lnTo>
                    <a:pt x="531" y="12"/>
                  </a:lnTo>
                  <a:close/>
                  <a:moveTo>
                    <a:pt x="553" y="10"/>
                  </a:moveTo>
                  <a:lnTo>
                    <a:pt x="555" y="12"/>
                  </a:lnTo>
                  <a:lnTo>
                    <a:pt x="553" y="12"/>
                  </a:lnTo>
                  <a:lnTo>
                    <a:pt x="550" y="12"/>
                  </a:lnTo>
                  <a:lnTo>
                    <a:pt x="548" y="12"/>
                  </a:lnTo>
                  <a:lnTo>
                    <a:pt x="545" y="12"/>
                  </a:lnTo>
                  <a:lnTo>
                    <a:pt x="543" y="12"/>
                  </a:lnTo>
                  <a:lnTo>
                    <a:pt x="545" y="10"/>
                  </a:lnTo>
                  <a:lnTo>
                    <a:pt x="545" y="12"/>
                  </a:lnTo>
                  <a:lnTo>
                    <a:pt x="545" y="10"/>
                  </a:lnTo>
                  <a:lnTo>
                    <a:pt x="543" y="10"/>
                  </a:lnTo>
                  <a:lnTo>
                    <a:pt x="545" y="10"/>
                  </a:lnTo>
                  <a:lnTo>
                    <a:pt x="548" y="10"/>
                  </a:lnTo>
                  <a:lnTo>
                    <a:pt x="550" y="10"/>
                  </a:lnTo>
                  <a:lnTo>
                    <a:pt x="553" y="10"/>
                  </a:lnTo>
                  <a:lnTo>
                    <a:pt x="555" y="10"/>
                  </a:lnTo>
                  <a:lnTo>
                    <a:pt x="553" y="10"/>
                  </a:lnTo>
                  <a:close/>
                  <a:moveTo>
                    <a:pt x="524" y="5"/>
                  </a:moveTo>
                  <a:lnTo>
                    <a:pt x="522" y="5"/>
                  </a:lnTo>
                  <a:lnTo>
                    <a:pt x="524" y="5"/>
                  </a:lnTo>
                  <a:lnTo>
                    <a:pt x="522" y="5"/>
                  </a:lnTo>
                  <a:lnTo>
                    <a:pt x="524" y="5"/>
                  </a:lnTo>
                  <a:close/>
                  <a:moveTo>
                    <a:pt x="529" y="5"/>
                  </a:moveTo>
                  <a:lnTo>
                    <a:pt x="531" y="5"/>
                  </a:lnTo>
                  <a:lnTo>
                    <a:pt x="531" y="7"/>
                  </a:lnTo>
                  <a:lnTo>
                    <a:pt x="534" y="7"/>
                  </a:lnTo>
                  <a:lnTo>
                    <a:pt x="536" y="7"/>
                  </a:lnTo>
                  <a:lnTo>
                    <a:pt x="536" y="10"/>
                  </a:lnTo>
                  <a:lnTo>
                    <a:pt x="538" y="10"/>
                  </a:lnTo>
                  <a:lnTo>
                    <a:pt x="541" y="7"/>
                  </a:lnTo>
                  <a:lnTo>
                    <a:pt x="541" y="10"/>
                  </a:lnTo>
                  <a:lnTo>
                    <a:pt x="543" y="10"/>
                  </a:lnTo>
                  <a:lnTo>
                    <a:pt x="545" y="10"/>
                  </a:lnTo>
                  <a:lnTo>
                    <a:pt x="541" y="10"/>
                  </a:lnTo>
                  <a:lnTo>
                    <a:pt x="538" y="10"/>
                  </a:lnTo>
                  <a:lnTo>
                    <a:pt x="538" y="12"/>
                  </a:lnTo>
                  <a:lnTo>
                    <a:pt x="536" y="12"/>
                  </a:lnTo>
                  <a:lnTo>
                    <a:pt x="536" y="10"/>
                  </a:lnTo>
                  <a:lnTo>
                    <a:pt x="534" y="10"/>
                  </a:lnTo>
                  <a:lnTo>
                    <a:pt x="531" y="10"/>
                  </a:lnTo>
                  <a:lnTo>
                    <a:pt x="531" y="7"/>
                  </a:lnTo>
                  <a:lnTo>
                    <a:pt x="529" y="7"/>
                  </a:lnTo>
                  <a:lnTo>
                    <a:pt x="526" y="7"/>
                  </a:lnTo>
                  <a:lnTo>
                    <a:pt x="526" y="5"/>
                  </a:lnTo>
                  <a:lnTo>
                    <a:pt x="529" y="5"/>
                  </a:lnTo>
                  <a:close/>
                  <a:moveTo>
                    <a:pt x="522" y="0"/>
                  </a:moveTo>
                  <a:lnTo>
                    <a:pt x="519" y="0"/>
                  </a:lnTo>
                  <a:lnTo>
                    <a:pt x="52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8" name="Freeform 53598"/>
            <p:cNvSpPr>
              <a:spLocks noEditPoints="1"/>
            </p:cNvSpPr>
            <p:nvPr/>
          </p:nvSpPr>
          <p:spPr bwMode="auto">
            <a:xfrm>
              <a:off x="2262185" y="1955808"/>
              <a:ext cx="1393824" cy="2108207"/>
            </a:xfrm>
            <a:custGeom>
              <a:avLst/>
              <a:gdLst>
                <a:gd name="T0" fmla="*/ 79 w 878"/>
                <a:gd name="T1" fmla="*/ 1323 h 1328"/>
                <a:gd name="T2" fmla="*/ 29 w 878"/>
                <a:gd name="T3" fmla="*/ 1273 h 1328"/>
                <a:gd name="T4" fmla="*/ 200 w 878"/>
                <a:gd name="T5" fmla="*/ 1264 h 1328"/>
                <a:gd name="T6" fmla="*/ 19 w 878"/>
                <a:gd name="T7" fmla="*/ 1240 h 1328"/>
                <a:gd name="T8" fmla="*/ 17 w 878"/>
                <a:gd name="T9" fmla="*/ 1219 h 1328"/>
                <a:gd name="T10" fmla="*/ 19 w 878"/>
                <a:gd name="T11" fmla="*/ 1200 h 1328"/>
                <a:gd name="T12" fmla="*/ 12 w 878"/>
                <a:gd name="T13" fmla="*/ 1181 h 1328"/>
                <a:gd name="T14" fmla="*/ 5 w 878"/>
                <a:gd name="T15" fmla="*/ 1169 h 1328"/>
                <a:gd name="T16" fmla="*/ 7 w 878"/>
                <a:gd name="T17" fmla="*/ 1145 h 1328"/>
                <a:gd name="T18" fmla="*/ 19 w 878"/>
                <a:gd name="T19" fmla="*/ 1133 h 1328"/>
                <a:gd name="T20" fmla="*/ 55 w 878"/>
                <a:gd name="T21" fmla="*/ 1090 h 1328"/>
                <a:gd name="T22" fmla="*/ 67 w 878"/>
                <a:gd name="T23" fmla="*/ 1069 h 1328"/>
                <a:gd name="T24" fmla="*/ 138 w 878"/>
                <a:gd name="T25" fmla="*/ 1062 h 1328"/>
                <a:gd name="T26" fmla="*/ 114 w 878"/>
                <a:gd name="T27" fmla="*/ 1048 h 1328"/>
                <a:gd name="T28" fmla="*/ 119 w 878"/>
                <a:gd name="T29" fmla="*/ 1043 h 1328"/>
                <a:gd name="T30" fmla="*/ 109 w 878"/>
                <a:gd name="T31" fmla="*/ 1038 h 1328"/>
                <a:gd name="T32" fmla="*/ 124 w 878"/>
                <a:gd name="T33" fmla="*/ 1031 h 1328"/>
                <a:gd name="T34" fmla="*/ 155 w 878"/>
                <a:gd name="T35" fmla="*/ 1024 h 1328"/>
                <a:gd name="T36" fmla="*/ 133 w 878"/>
                <a:gd name="T37" fmla="*/ 1022 h 1328"/>
                <a:gd name="T38" fmla="*/ 138 w 878"/>
                <a:gd name="T39" fmla="*/ 1017 h 1328"/>
                <a:gd name="T40" fmla="*/ 128 w 878"/>
                <a:gd name="T41" fmla="*/ 1014 h 1328"/>
                <a:gd name="T42" fmla="*/ 133 w 878"/>
                <a:gd name="T43" fmla="*/ 1010 h 1328"/>
                <a:gd name="T44" fmla="*/ 152 w 878"/>
                <a:gd name="T45" fmla="*/ 1003 h 1328"/>
                <a:gd name="T46" fmla="*/ 226 w 878"/>
                <a:gd name="T47" fmla="*/ 979 h 1328"/>
                <a:gd name="T48" fmla="*/ 209 w 878"/>
                <a:gd name="T49" fmla="*/ 969 h 1328"/>
                <a:gd name="T50" fmla="*/ 221 w 878"/>
                <a:gd name="T51" fmla="*/ 960 h 1328"/>
                <a:gd name="T52" fmla="*/ 216 w 878"/>
                <a:gd name="T53" fmla="*/ 957 h 1328"/>
                <a:gd name="T54" fmla="*/ 226 w 878"/>
                <a:gd name="T55" fmla="*/ 953 h 1328"/>
                <a:gd name="T56" fmla="*/ 216 w 878"/>
                <a:gd name="T57" fmla="*/ 948 h 1328"/>
                <a:gd name="T58" fmla="*/ 247 w 878"/>
                <a:gd name="T59" fmla="*/ 934 h 1328"/>
                <a:gd name="T60" fmla="*/ 238 w 878"/>
                <a:gd name="T61" fmla="*/ 915 h 1328"/>
                <a:gd name="T62" fmla="*/ 249 w 878"/>
                <a:gd name="T63" fmla="*/ 910 h 1328"/>
                <a:gd name="T64" fmla="*/ 247 w 878"/>
                <a:gd name="T65" fmla="*/ 903 h 1328"/>
                <a:gd name="T66" fmla="*/ 266 w 878"/>
                <a:gd name="T67" fmla="*/ 900 h 1328"/>
                <a:gd name="T68" fmla="*/ 252 w 878"/>
                <a:gd name="T69" fmla="*/ 898 h 1328"/>
                <a:gd name="T70" fmla="*/ 240 w 878"/>
                <a:gd name="T71" fmla="*/ 891 h 1328"/>
                <a:gd name="T72" fmla="*/ 266 w 878"/>
                <a:gd name="T73" fmla="*/ 886 h 1328"/>
                <a:gd name="T74" fmla="*/ 254 w 878"/>
                <a:gd name="T75" fmla="*/ 879 h 1328"/>
                <a:gd name="T76" fmla="*/ 273 w 878"/>
                <a:gd name="T77" fmla="*/ 874 h 1328"/>
                <a:gd name="T78" fmla="*/ 283 w 878"/>
                <a:gd name="T79" fmla="*/ 867 h 1328"/>
                <a:gd name="T80" fmla="*/ 268 w 878"/>
                <a:gd name="T81" fmla="*/ 860 h 1328"/>
                <a:gd name="T82" fmla="*/ 273 w 878"/>
                <a:gd name="T83" fmla="*/ 855 h 1328"/>
                <a:gd name="T84" fmla="*/ 268 w 878"/>
                <a:gd name="T85" fmla="*/ 848 h 1328"/>
                <a:gd name="T86" fmla="*/ 280 w 878"/>
                <a:gd name="T87" fmla="*/ 846 h 1328"/>
                <a:gd name="T88" fmla="*/ 306 w 878"/>
                <a:gd name="T89" fmla="*/ 829 h 1328"/>
                <a:gd name="T90" fmla="*/ 314 w 878"/>
                <a:gd name="T91" fmla="*/ 822 h 1328"/>
                <a:gd name="T92" fmla="*/ 328 w 878"/>
                <a:gd name="T93" fmla="*/ 812 h 1328"/>
                <a:gd name="T94" fmla="*/ 335 w 878"/>
                <a:gd name="T95" fmla="*/ 805 h 1328"/>
                <a:gd name="T96" fmla="*/ 342 w 878"/>
                <a:gd name="T97" fmla="*/ 791 h 1328"/>
                <a:gd name="T98" fmla="*/ 354 w 878"/>
                <a:gd name="T99" fmla="*/ 784 h 1328"/>
                <a:gd name="T100" fmla="*/ 302 w 878"/>
                <a:gd name="T101" fmla="*/ 772 h 1328"/>
                <a:gd name="T102" fmla="*/ 337 w 878"/>
                <a:gd name="T103" fmla="*/ 767 h 1328"/>
                <a:gd name="T104" fmla="*/ 304 w 878"/>
                <a:gd name="T105" fmla="*/ 760 h 1328"/>
                <a:gd name="T106" fmla="*/ 368 w 878"/>
                <a:gd name="T107" fmla="*/ 755 h 1328"/>
                <a:gd name="T108" fmla="*/ 399 w 878"/>
                <a:gd name="T109" fmla="*/ 732 h 1328"/>
                <a:gd name="T110" fmla="*/ 394 w 878"/>
                <a:gd name="T111" fmla="*/ 715 h 1328"/>
                <a:gd name="T112" fmla="*/ 582 w 878"/>
                <a:gd name="T113" fmla="*/ 675 h 1328"/>
                <a:gd name="T114" fmla="*/ 679 w 878"/>
                <a:gd name="T115" fmla="*/ 653 h 1328"/>
                <a:gd name="T116" fmla="*/ 786 w 878"/>
                <a:gd name="T117" fmla="*/ 634 h 1328"/>
                <a:gd name="T118" fmla="*/ 684 w 878"/>
                <a:gd name="T119" fmla="*/ 599 h 1328"/>
                <a:gd name="T120" fmla="*/ 425 w 878"/>
                <a:gd name="T121" fmla="*/ 164 h 1328"/>
                <a:gd name="T122" fmla="*/ 779 w 878"/>
                <a:gd name="T123" fmla="*/ 105 h 1328"/>
                <a:gd name="T124" fmla="*/ 461 w 878"/>
                <a:gd name="T125" fmla="*/ 43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8" h="1328">
                  <a:moveTo>
                    <a:pt x="105" y="1328"/>
                  </a:moveTo>
                  <a:lnTo>
                    <a:pt x="102" y="1328"/>
                  </a:lnTo>
                  <a:lnTo>
                    <a:pt x="105" y="1328"/>
                  </a:lnTo>
                  <a:close/>
                  <a:moveTo>
                    <a:pt x="98" y="1328"/>
                  </a:moveTo>
                  <a:lnTo>
                    <a:pt x="98" y="1326"/>
                  </a:lnTo>
                  <a:lnTo>
                    <a:pt x="98" y="1328"/>
                  </a:lnTo>
                  <a:close/>
                  <a:moveTo>
                    <a:pt x="105" y="1328"/>
                  </a:moveTo>
                  <a:lnTo>
                    <a:pt x="105" y="1326"/>
                  </a:lnTo>
                  <a:lnTo>
                    <a:pt x="105" y="1328"/>
                  </a:lnTo>
                  <a:close/>
                  <a:moveTo>
                    <a:pt x="105" y="1328"/>
                  </a:moveTo>
                  <a:lnTo>
                    <a:pt x="105" y="1326"/>
                  </a:lnTo>
                  <a:lnTo>
                    <a:pt x="105" y="1328"/>
                  </a:lnTo>
                  <a:close/>
                  <a:moveTo>
                    <a:pt x="102" y="1326"/>
                  </a:moveTo>
                  <a:lnTo>
                    <a:pt x="102" y="1328"/>
                  </a:lnTo>
                  <a:lnTo>
                    <a:pt x="102" y="1326"/>
                  </a:lnTo>
                  <a:close/>
                  <a:moveTo>
                    <a:pt x="90" y="1328"/>
                  </a:moveTo>
                  <a:lnTo>
                    <a:pt x="88" y="1328"/>
                  </a:lnTo>
                  <a:lnTo>
                    <a:pt x="90" y="1326"/>
                  </a:lnTo>
                  <a:lnTo>
                    <a:pt x="90" y="1328"/>
                  </a:lnTo>
                  <a:close/>
                  <a:moveTo>
                    <a:pt x="100" y="1326"/>
                  </a:moveTo>
                  <a:lnTo>
                    <a:pt x="100" y="1328"/>
                  </a:lnTo>
                  <a:lnTo>
                    <a:pt x="100" y="1326"/>
                  </a:lnTo>
                  <a:close/>
                  <a:moveTo>
                    <a:pt x="107" y="1326"/>
                  </a:moveTo>
                  <a:lnTo>
                    <a:pt x="105" y="1326"/>
                  </a:lnTo>
                  <a:lnTo>
                    <a:pt x="107" y="1326"/>
                  </a:lnTo>
                  <a:close/>
                  <a:moveTo>
                    <a:pt x="109" y="1326"/>
                  </a:moveTo>
                  <a:lnTo>
                    <a:pt x="109" y="1323"/>
                  </a:lnTo>
                  <a:lnTo>
                    <a:pt x="109" y="1326"/>
                  </a:lnTo>
                  <a:close/>
                  <a:moveTo>
                    <a:pt x="105" y="1323"/>
                  </a:moveTo>
                  <a:lnTo>
                    <a:pt x="105" y="1326"/>
                  </a:lnTo>
                  <a:lnTo>
                    <a:pt x="105" y="1323"/>
                  </a:lnTo>
                  <a:close/>
                  <a:moveTo>
                    <a:pt x="109" y="1326"/>
                  </a:moveTo>
                  <a:lnTo>
                    <a:pt x="109" y="1323"/>
                  </a:lnTo>
                  <a:lnTo>
                    <a:pt x="109" y="1326"/>
                  </a:lnTo>
                  <a:close/>
                  <a:moveTo>
                    <a:pt x="107" y="1326"/>
                  </a:moveTo>
                  <a:lnTo>
                    <a:pt x="107" y="1323"/>
                  </a:lnTo>
                  <a:lnTo>
                    <a:pt x="107" y="1326"/>
                  </a:lnTo>
                  <a:close/>
                  <a:moveTo>
                    <a:pt x="109" y="1326"/>
                  </a:moveTo>
                  <a:lnTo>
                    <a:pt x="109" y="1323"/>
                  </a:lnTo>
                  <a:lnTo>
                    <a:pt x="109" y="1326"/>
                  </a:lnTo>
                  <a:close/>
                  <a:moveTo>
                    <a:pt x="107" y="1326"/>
                  </a:moveTo>
                  <a:lnTo>
                    <a:pt x="105" y="1323"/>
                  </a:lnTo>
                  <a:lnTo>
                    <a:pt x="107" y="1323"/>
                  </a:lnTo>
                  <a:lnTo>
                    <a:pt x="107" y="1326"/>
                  </a:lnTo>
                  <a:close/>
                  <a:moveTo>
                    <a:pt x="107" y="1323"/>
                  </a:moveTo>
                  <a:lnTo>
                    <a:pt x="107" y="1326"/>
                  </a:lnTo>
                  <a:lnTo>
                    <a:pt x="107" y="1323"/>
                  </a:lnTo>
                  <a:close/>
                  <a:moveTo>
                    <a:pt x="107" y="1326"/>
                  </a:moveTo>
                  <a:lnTo>
                    <a:pt x="107" y="1323"/>
                  </a:lnTo>
                  <a:lnTo>
                    <a:pt x="107" y="1326"/>
                  </a:lnTo>
                  <a:close/>
                  <a:moveTo>
                    <a:pt x="109" y="1323"/>
                  </a:moveTo>
                  <a:lnTo>
                    <a:pt x="109" y="1326"/>
                  </a:lnTo>
                  <a:lnTo>
                    <a:pt x="109" y="1323"/>
                  </a:lnTo>
                  <a:close/>
                  <a:moveTo>
                    <a:pt x="83" y="1323"/>
                  </a:moveTo>
                  <a:lnTo>
                    <a:pt x="86" y="1323"/>
                  </a:lnTo>
                  <a:lnTo>
                    <a:pt x="83" y="1323"/>
                  </a:lnTo>
                  <a:close/>
                  <a:moveTo>
                    <a:pt x="114" y="1323"/>
                  </a:moveTo>
                  <a:lnTo>
                    <a:pt x="112" y="1323"/>
                  </a:lnTo>
                  <a:lnTo>
                    <a:pt x="114" y="1323"/>
                  </a:lnTo>
                  <a:close/>
                  <a:moveTo>
                    <a:pt x="79" y="1323"/>
                  </a:moveTo>
                  <a:lnTo>
                    <a:pt x="76" y="1323"/>
                  </a:lnTo>
                  <a:lnTo>
                    <a:pt x="79" y="1323"/>
                  </a:lnTo>
                  <a:close/>
                  <a:moveTo>
                    <a:pt x="114" y="1323"/>
                  </a:moveTo>
                  <a:lnTo>
                    <a:pt x="112" y="1323"/>
                  </a:lnTo>
                  <a:lnTo>
                    <a:pt x="114" y="1323"/>
                  </a:lnTo>
                  <a:close/>
                  <a:moveTo>
                    <a:pt x="76" y="1323"/>
                  </a:moveTo>
                  <a:lnTo>
                    <a:pt x="79" y="1323"/>
                  </a:lnTo>
                  <a:lnTo>
                    <a:pt x="76" y="1323"/>
                  </a:lnTo>
                  <a:close/>
                  <a:moveTo>
                    <a:pt x="79" y="1323"/>
                  </a:moveTo>
                  <a:lnTo>
                    <a:pt x="76" y="1323"/>
                  </a:lnTo>
                  <a:lnTo>
                    <a:pt x="79" y="1323"/>
                  </a:lnTo>
                  <a:close/>
                  <a:moveTo>
                    <a:pt x="119" y="1321"/>
                  </a:moveTo>
                  <a:lnTo>
                    <a:pt x="119" y="1323"/>
                  </a:lnTo>
                  <a:lnTo>
                    <a:pt x="119" y="1321"/>
                  </a:lnTo>
                  <a:close/>
                  <a:moveTo>
                    <a:pt x="119" y="1321"/>
                  </a:moveTo>
                  <a:lnTo>
                    <a:pt x="117" y="1321"/>
                  </a:lnTo>
                  <a:lnTo>
                    <a:pt x="119" y="1321"/>
                  </a:lnTo>
                  <a:close/>
                  <a:moveTo>
                    <a:pt x="124" y="1321"/>
                  </a:moveTo>
                  <a:lnTo>
                    <a:pt x="126" y="1321"/>
                  </a:lnTo>
                  <a:lnTo>
                    <a:pt x="124" y="1321"/>
                  </a:lnTo>
                  <a:close/>
                  <a:moveTo>
                    <a:pt x="117" y="1318"/>
                  </a:moveTo>
                  <a:lnTo>
                    <a:pt x="117" y="1321"/>
                  </a:lnTo>
                  <a:lnTo>
                    <a:pt x="117" y="1318"/>
                  </a:lnTo>
                  <a:close/>
                  <a:moveTo>
                    <a:pt x="128" y="1316"/>
                  </a:moveTo>
                  <a:lnTo>
                    <a:pt x="126" y="1316"/>
                  </a:lnTo>
                  <a:lnTo>
                    <a:pt x="128" y="1316"/>
                  </a:lnTo>
                  <a:close/>
                  <a:moveTo>
                    <a:pt x="128" y="1316"/>
                  </a:moveTo>
                  <a:lnTo>
                    <a:pt x="128" y="1314"/>
                  </a:lnTo>
                  <a:lnTo>
                    <a:pt x="128" y="1316"/>
                  </a:lnTo>
                  <a:close/>
                  <a:moveTo>
                    <a:pt x="136" y="1309"/>
                  </a:moveTo>
                  <a:lnTo>
                    <a:pt x="136" y="1311"/>
                  </a:lnTo>
                  <a:lnTo>
                    <a:pt x="136" y="1309"/>
                  </a:lnTo>
                  <a:close/>
                  <a:moveTo>
                    <a:pt x="143" y="1307"/>
                  </a:moveTo>
                  <a:lnTo>
                    <a:pt x="140" y="1307"/>
                  </a:lnTo>
                  <a:lnTo>
                    <a:pt x="143" y="1307"/>
                  </a:lnTo>
                  <a:close/>
                  <a:moveTo>
                    <a:pt x="50" y="1307"/>
                  </a:moveTo>
                  <a:lnTo>
                    <a:pt x="50" y="1304"/>
                  </a:lnTo>
                  <a:lnTo>
                    <a:pt x="50" y="1307"/>
                  </a:lnTo>
                  <a:close/>
                  <a:moveTo>
                    <a:pt x="147" y="1299"/>
                  </a:moveTo>
                  <a:lnTo>
                    <a:pt x="147" y="1297"/>
                  </a:lnTo>
                  <a:lnTo>
                    <a:pt x="147" y="1299"/>
                  </a:lnTo>
                  <a:close/>
                  <a:moveTo>
                    <a:pt x="155" y="1292"/>
                  </a:moveTo>
                  <a:lnTo>
                    <a:pt x="155" y="1295"/>
                  </a:lnTo>
                  <a:lnTo>
                    <a:pt x="155" y="1292"/>
                  </a:lnTo>
                  <a:close/>
                  <a:moveTo>
                    <a:pt x="162" y="1280"/>
                  </a:moveTo>
                  <a:lnTo>
                    <a:pt x="162" y="1283"/>
                  </a:lnTo>
                  <a:lnTo>
                    <a:pt x="162" y="1280"/>
                  </a:lnTo>
                  <a:close/>
                  <a:moveTo>
                    <a:pt x="169" y="1280"/>
                  </a:moveTo>
                  <a:lnTo>
                    <a:pt x="169" y="1278"/>
                  </a:lnTo>
                  <a:lnTo>
                    <a:pt x="169" y="1280"/>
                  </a:lnTo>
                  <a:close/>
                  <a:moveTo>
                    <a:pt x="181" y="1278"/>
                  </a:moveTo>
                  <a:lnTo>
                    <a:pt x="178" y="1278"/>
                  </a:lnTo>
                  <a:lnTo>
                    <a:pt x="181" y="1278"/>
                  </a:lnTo>
                  <a:close/>
                  <a:moveTo>
                    <a:pt x="171" y="1278"/>
                  </a:moveTo>
                  <a:lnTo>
                    <a:pt x="171" y="1276"/>
                  </a:lnTo>
                  <a:lnTo>
                    <a:pt x="171" y="1278"/>
                  </a:lnTo>
                  <a:close/>
                  <a:moveTo>
                    <a:pt x="31" y="1276"/>
                  </a:moveTo>
                  <a:lnTo>
                    <a:pt x="31" y="1278"/>
                  </a:lnTo>
                  <a:lnTo>
                    <a:pt x="31" y="1276"/>
                  </a:lnTo>
                  <a:close/>
                  <a:moveTo>
                    <a:pt x="178" y="1276"/>
                  </a:moveTo>
                  <a:lnTo>
                    <a:pt x="176" y="1276"/>
                  </a:lnTo>
                  <a:lnTo>
                    <a:pt x="178" y="1276"/>
                  </a:lnTo>
                  <a:close/>
                  <a:moveTo>
                    <a:pt x="178" y="1276"/>
                  </a:moveTo>
                  <a:lnTo>
                    <a:pt x="178" y="1278"/>
                  </a:lnTo>
                  <a:lnTo>
                    <a:pt x="178" y="1276"/>
                  </a:lnTo>
                  <a:close/>
                  <a:moveTo>
                    <a:pt x="188" y="1276"/>
                  </a:moveTo>
                  <a:lnTo>
                    <a:pt x="190" y="1276"/>
                  </a:lnTo>
                  <a:lnTo>
                    <a:pt x="188" y="1276"/>
                  </a:lnTo>
                  <a:close/>
                  <a:moveTo>
                    <a:pt x="45" y="1276"/>
                  </a:moveTo>
                  <a:lnTo>
                    <a:pt x="45" y="1273"/>
                  </a:lnTo>
                  <a:lnTo>
                    <a:pt x="45" y="1276"/>
                  </a:lnTo>
                  <a:close/>
                  <a:moveTo>
                    <a:pt x="45" y="1273"/>
                  </a:moveTo>
                  <a:lnTo>
                    <a:pt x="43" y="1273"/>
                  </a:lnTo>
                  <a:lnTo>
                    <a:pt x="45" y="1273"/>
                  </a:lnTo>
                  <a:close/>
                  <a:moveTo>
                    <a:pt x="43" y="1273"/>
                  </a:moveTo>
                  <a:lnTo>
                    <a:pt x="41" y="1273"/>
                  </a:lnTo>
                  <a:lnTo>
                    <a:pt x="43" y="1273"/>
                  </a:lnTo>
                  <a:close/>
                  <a:moveTo>
                    <a:pt x="29" y="1273"/>
                  </a:moveTo>
                  <a:lnTo>
                    <a:pt x="31" y="1273"/>
                  </a:lnTo>
                  <a:lnTo>
                    <a:pt x="29" y="1273"/>
                  </a:lnTo>
                  <a:close/>
                  <a:moveTo>
                    <a:pt x="219" y="1271"/>
                  </a:moveTo>
                  <a:lnTo>
                    <a:pt x="216" y="1273"/>
                  </a:lnTo>
                  <a:lnTo>
                    <a:pt x="216" y="1271"/>
                  </a:lnTo>
                  <a:lnTo>
                    <a:pt x="219" y="1271"/>
                  </a:lnTo>
                  <a:close/>
                  <a:moveTo>
                    <a:pt x="31" y="1271"/>
                  </a:moveTo>
                  <a:lnTo>
                    <a:pt x="31" y="1273"/>
                  </a:lnTo>
                  <a:lnTo>
                    <a:pt x="29" y="1273"/>
                  </a:lnTo>
                  <a:lnTo>
                    <a:pt x="29" y="1271"/>
                  </a:lnTo>
                  <a:lnTo>
                    <a:pt x="31" y="1271"/>
                  </a:lnTo>
                  <a:close/>
                  <a:moveTo>
                    <a:pt x="31" y="1271"/>
                  </a:moveTo>
                  <a:lnTo>
                    <a:pt x="31" y="1273"/>
                  </a:lnTo>
                  <a:lnTo>
                    <a:pt x="31" y="1271"/>
                  </a:lnTo>
                  <a:close/>
                  <a:moveTo>
                    <a:pt x="219" y="1273"/>
                  </a:moveTo>
                  <a:lnTo>
                    <a:pt x="219" y="1271"/>
                  </a:lnTo>
                  <a:lnTo>
                    <a:pt x="219" y="1273"/>
                  </a:lnTo>
                  <a:close/>
                  <a:moveTo>
                    <a:pt x="176" y="1271"/>
                  </a:moveTo>
                  <a:lnTo>
                    <a:pt x="174" y="1271"/>
                  </a:lnTo>
                  <a:lnTo>
                    <a:pt x="176" y="1271"/>
                  </a:lnTo>
                  <a:close/>
                  <a:moveTo>
                    <a:pt x="38" y="1271"/>
                  </a:moveTo>
                  <a:lnTo>
                    <a:pt x="36" y="1271"/>
                  </a:lnTo>
                  <a:lnTo>
                    <a:pt x="38" y="1271"/>
                  </a:lnTo>
                  <a:close/>
                  <a:moveTo>
                    <a:pt x="197" y="1271"/>
                  </a:moveTo>
                  <a:lnTo>
                    <a:pt x="195" y="1271"/>
                  </a:lnTo>
                  <a:lnTo>
                    <a:pt x="197" y="1271"/>
                  </a:lnTo>
                  <a:close/>
                  <a:moveTo>
                    <a:pt x="34" y="1271"/>
                  </a:moveTo>
                  <a:lnTo>
                    <a:pt x="31" y="1271"/>
                  </a:lnTo>
                  <a:lnTo>
                    <a:pt x="34" y="1271"/>
                  </a:lnTo>
                  <a:close/>
                  <a:moveTo>
                    <a:pt x="188" y="1271"/>
                  </a:moveTo>
                  <a:lnTo>
                    <a:pt x="190" y="1271"/>
                  </a:lnTo>
                  <a:lnTo>
                    <a:pt x="188" y="1271"/>
                  </a:lnTo>
                  <a:close/>
                  <a:moveTo>
                    <a:pt x="34" y="1271"/>
                  </a:moveTo>
                  <a:lnTo>
                    <a:pt x="34" y="1269"/>
                  </a:lnTo>
                  <a:lnTo>
                    <a:pt x="34" y="1271"/>
                  </a:lnTo>
                  <a:close/>
                  <a:moveTo>
                    <a:pt x="36" y="1269"/>
                  </a:moveTo>
                  <a:lnTo>
                    <a:pt x="36" y="1271"/>
                  </a:lnTo>
                  <a:lnTo>
                    <a:pt x="36" y="1269"/>
                  </a:lnTo>
                  <a:close/>
                  <a:moveTo>
                    <a:pt x="219" y="1269"/>
                  </a:moveTo>
                  <a:lnTo>
                    <a:pt x="216" y="1269"/>
                  </a:lnTo>
                  <a:lnTo>
                    <a:pt x="219" y="1269"/>
                  </a:lnTo>
                  <a:close/>
                  <a:moveTo>
                    <a:pt x="216" y="1269"/>
                  </a:moveTo>
                  <a:lnTo>
                    <a:pt x="214" y="1269"/>
                  </a:lnTo>
                  <a:lnTo>
                    <a:pt x="216" y="1269"/>
                  </a:lnTo>
                  <a:close/>
                  <a:moveTo>
                    <a:pt x="45" y="1269"/>
                  </a:moveTo>
                  <a:lnTo>
                    <a:pt x="45" y="1266"/>
                  </a:lnTo>
                  <a:lnTo>
                    <a:pt x="45" y="1269"/>
                  </a:lnTo>
                  <a:close/>
                  <a:moveTo>
                    <a:pt x="211" y="1266"/>
                  </a:moveTo>
                  <a:lnTo>
                    <a:pt x="211" y="1269"/>
                  </a:lnTo>
                  <a:lnTo>
                    <a:pt x="211" y="1266"/>
                  </a:lnTo>
                  <a:close/>
                  <a:moveTo>
                    <a:pt x="195" y="1269"/>
                  </a:moveTo>
                  <a:lnTo>
                    <a:pt x="195" y="1266"/>
                  </a:lnTo>
                  <a:lnTo>
                    <a:pt x="195" y="1269"/>
                  </a:lnTo>
                  <a:close/>
                  <a:moveTo>
                    <a:pt x="24" y="1266"/>
                  </a:moveTo>
                  <a:lnTo>
                    <a:pt x="24" y="1269"/>
                  </a:lnTo>
                  <a:lnTo>
                    <a:pt x="24" y="1266"/>
                  </a:lnTo>
                  <a:close/>
                  <a:moveTo>
                    <a:pt x="219" y="1266"/>
                  </a:moveTo>
                  <a:lnTo>
                    <a:pt x="219" y="1269"/>
                  </a:lnTo>
                  <a:lnTo>
                    <a:pt x="219" y="1266"/>
                  </a:lnTo>
                  <a:close/>
                  <a:moveTo>
                    <a:pt x="202" y="1266"/>
                  </a:moveTo>
                  <a:lnTo>
                    <a:pt x="202" y="1264"/>
                  </a:lnTo>
                  <a:lnTo>
                    <a:pt x="202" y="1266"/>
                  </a:lnTo>
                  <a:close/>
                  <a:moveTo>
                    <a:pt x="221" y="1266"/>
                  </a:moveTo>
                  <a:lnTo>
                    <a:pt x="221" y="1264"/>
                  </a:lnTo>
                  <a:lnTo>
                    <a:pt x="221" y="1266"/>
                  </a:lnTo>
                  <a:close/>
                  <a:moveTo>
                    <a:pt x="31" y="1266"/>
                  </a:moveTo>
                  <a:lnTo>
                    <a:pt x="31" y="1264"/>
                  </a:lnTo>
                  <a:lnTo>
                    <a:pt x="31" y="1266"/>
                  </a:lnTo>
                  <a:close/>
                  <a:moveTo>
                    <a:pt x="200" y="1264"/>
                  </a:moveTo>
                  <a:lnTo>
                    <a:pt x="200" y="1266"/>
                  </a:lnTo>
                  <a:lnTo>
                    <a:pt x="200" y="1264"/>
                  </a:lnTo>
                  <a:close/>
                  <a:moveTo>
                    <a:pt x="204" y="1264"/>
                  </a:moveTo>
                  <a:lnTo>
                    <a:pt x="207" y="1264"/>
                  </a:lnTo>
                  <a:lnTo>
                    <a:pt x="204" y="1264"/>
                  </a:lnTo>
                  <a:close/>
                  <a:moveTo>
                    <a:pt x="200" y="1264"/>
                  </a:moveTo>
                  <a:lnTo>
                    <a:pt x="200" y="1266"/>
                  </a:lnTo>
                  <a:lnTo>
                    <a:pt x="200" y="1264"/>
                  </a:lnTo>
                  <a:close/>
                  <a:moveTo>
                    <a:pt x="202" y="1264"/>
                  </a:moveTo>
                  <a:lnTo>
                    <a:pt x="200" y="1264"/>
                  </a:lnTo>
                  <a:lnTo>
                    <a:pt x="202" y="1264"/>
                  </a:lnTo>
                  <a:close/>
                  <a:moveTo>
                    <a:pt x="200" y="1264"/>
                  </a:moveTo>
                  <a:lnTo>
                    <a:pt x="200" y="1261"/>
                  </a:lnTo>
                  <a:lnTo>
                    <a:pt x="200" y="1264"/>
                  </a:lnTo>
                  <a:close/>
                  <a:moveTo>
                    <a:pt x="207" y="1264"/>
                  </a:moveTo>
                  <a:lnTo>
                    <a:pt x="207" y="1261"/>
                  </a:lnTo>
                  <a:lnTo>
                    <a:pt x="207" y="1264"/>
                  </a:lnTo>
                  <a:close/>
                  <a:moveTo>
                    <a:pt x="200" y="1264"/>
                  </a:moveTo>
                  <a:lnTo>
                    <a:pt x="197" y="1264"/>
                  </a:lnTo>
                  <a:lnTo>
                    <a:pt x="197" y="1261"/>
                  </a:lnTo>
                  <a:lnTo>
                    <a:pt x="200" y="1261"/>
                  </a:lnTo>
                  <a:lnTo>
                    <a:pt x="200" y="1264"/>
                  </a:lnTo>
                  <a:close/>
                  <a:moveTo>
                    <a:pt x="197" y="1261"/>
                  </a:moveTo>
                  <a:lnTo>
                    <a:pt x="197" y="1264"/>
                  </a:lnTo>
                  <a:lnTo>
                    <a:pt x="197" y="1261"/>
                  </a:lnTo>
                  <a:close/>
                  <a:moveTo>
                    <a:pt x="200" y="1261"/>
                  </a:moveTo>
                  <a:lnTo>
                    <a:pt x="197" y="1261"/>
                  </a:lnTo>
                  <a:lnTo>
                    <a:pt x="200" y="1261"/>
                  </a:lnTo>
                  <a:close/>
                  <a:moveTo>
                    <a:pt x="43" y="1261"/>
                  </a:moveTo>
                  <a:lnTo>
                    <a:pt x="43" y="1259"/>
                  </a:lnTo>
                  <a:lnTo>
                    <a:pt x="43" y="1261"/>
                  </a:lnTo>
                  <a:close/>
                  <a:moveTo>
                    <a:pt x="31" y="1261"/>
                  </a:moveTo>
                  <a:lnTo>
                    <a:pt x="31" y="1259"/>
                  </a:lnTo>
                  <a:lnTo>
                    <a:pt x="31" y="1261"/>
                  </a:lnTo>
                  <a:close/>
                  <a:moveTo>
                    <a:pt x="29" y="1259"/>
                  </a:moveTo>
                  <a:lnTo>
                    <a:pt x="29" y="1261"/>
                  </a:lnTo>
                  <a:lnTo>
                    <a:pt x="29" y="1259"/>
                  </a:lnTo>
                  <a:close/>
                  <a:moveTo>
                    <a:pt x="24" y="1259"/>
                  </a:moveTo>
                  <a:lnTo>
                    <a:pt x="22" y="1259"/>
                  </a:lnTo>
                  <a:lnTo>
                    <a:pt x="24" y="1259"/>
                  </a:lnTo>
                  <a:close/>
                  <a:moveTo>
                    <a:pt x="24" y="1259"/>
                  </a:moveTo>
                  <a:lnTo>
                    <a:pt x="22" y="1259"/>
                  </a:lnTo>
                  <a:lnTo>
                    <a:pt x="24" y="1259"/>
                  </a:lnTo>
                  <a:close/>
                  <a:moveTo>
                    <a:pt x="24" y="1257"/>
                  </a:moveTo>
                  <a:lnTo>
                    <a:pt x="22" y="1257"/>
                  </a:lnTo>
                  <a:lnTo>
                    <a:pt x="24" y="1257"/>
                  </a:lnTo>
                  <a:close/>
                  <a:moveTo>
                    <a:pt x="204" y="1257"/>
                  </a:moveTo>
                  <a:lnTo>
                    <a:pt x="202" y="1257"/>
                  </a:lnTo>
                  <a:lnTo>
                    <a:pt x="204" y="1257"/>
                  </a:lnTo>
                  <a:close/>
                  <a:moveTo>
                    <a:pt x="22" y="1254"/>
                  </a:moveTo>
                  <a:lnTo>
                    <a:pt x="24" y="1254"/>
                  </a:lnTo>
                  <a:lnTo>
                    <a:pt x="22" y="1254"/>
                  </a:lnTo>
                  <a:close/>
                  <a:moveTo>
                    <a:pt x="202" y="1252"/>
                  </a:moveTo>
                  <a:lnTo>
                    <a:pt x="200" y="1252"/>
                  </a:lnTo>
                  <a:lnTo>
                    <a:pt x="202" y="1252"/>
                  </a:lnTo>
                  <a:close/>
                  <a:moveTo>
                    <a:pt x="19" y="1242"/>
                  </a:moveTo>
                  <a:lnTo>
                    <a:pt x="22" y="1242"/>
                  </a:lnTo>
                  <a:lnTo>
                    <a:pt x="19" y="1242"/>
                  </a:lnTo>
                  <a:close/>
                  <a:moveTo>
                    <a:pt x="22" y="1242"/>
                  </a:moveTo>
                  <a:lnTo>
                    <a:pt x="19" y="1242"/>
                  </a:lnTo>
                  <a:lnTo>
                    <a:pt x="22" y="1242"/>
                  </a:lnTo>
                  <a:close/>
                  <a:moveTo>
                    <a:pt x="22" y="1242"/>
                  </a:moveTo>
                  <a:lnTo>
                    <a:pt x="19" y="1242"/>
                  </a:lnTo>
                  <a:lnTo>
                    <a:pt x="22" y="1242"/>
                  </a:lnTo>
                  <a:close/>
                  <a:moveTo>
                    <a:pt x="31" y="1242"/>
                  </a:moveTo>
                  <a:lnTo>
                    <a:pt x="31" y="1240"/>
                  </a:lnTo>
                  <a:lnTo>
                    <a:pt x="31" y="1242"/>
                  </a:lnTo>
                  <a:close/>
                  <a:moveTo>
                    <a:pt x="22" y="1240"/>
                  </a:moveTo>
                  <a:lnTo>
                    <a:pt x="19" y="1240"/>
                  </a:lnTo>
                  <a:lnTo>
                    <a:pt x="22" y="1240"/>
                  </a:lnTo>
                  <a:close/>
                  <a:moveTo>
                    <a:pt x="22" y="1240"/>
                  </a:moveTo>
                  <a:lnTo>
                    <a:pt x="19" y="1240"/>
                  </a:lnTo>
                  <a:lnTo>
                    <a:pt x="22" y="1240"/>
                  </a:lnTo>
                  <a:close/>
                  <a:moveTo>
                    <a:pt x="31" y="1240"/>
                  </a:moveTo>
                  <a:lnTo>
                    <a:pt x="31" y="1238"/>
                  </a:lnTo>
                  <a:lnTo>
                    <a:pt x="31" y="1240"/>
                  </a:lnTo>
                  <a:close/>
                  <a:moveTo>
                    <a:pt x="202" y="1240"/>
                  </a:moveTo>
                  <a:lnTo>
                    <a:pt x="202" y="1238"/>
                  </a:lnTo>
                  <a:lnTo>
                    <a:pt x="202" y="1240"/>
                  </a:lnTo>
                  <a:close/>
                  <a:moveTo>
                    <a:pt x="22" y="1238"/>
                  </a:moveTo>
                  <a:lnTo>
                    <a:pt x="19" y="1238"/>
                  </a:lnTo>
                  <a:lnTo>
                    <a:pt x="22" y="1238"/>
                  </a:lnTo>
                  <a:close/>
                  <a:moveTo>
                    <a:pt x="24" y="1235"/>
                  </a:moveTo>
                  <a:lnTo>
                    <a:pt x="22" y="1235"/>
                  </a:lnTo>
                  <a:lnTo>
                    <a:pt x="24" y="1235"/>
                  </a:lnTo>
                  <a:close/>
                  <a:moveTo>
                    <a:pt x="24" y="1235"/>
                  </a:moveTo>
                  <a:lnTo>
                    <a:pt x="22" y="1235"/>
                  </a:lnTo>
                  <a:lnTo>
                    <a:pt x="24" y="1235"/>
                  </a:lnTo>
                  <a:close/>
                  <a:moveTo>
                    <a:pt x="45" y="1235"/>
                  </a:moveTo>
                  <a:lnTo>
                    <a:pt x="43" y="1235"/>
                  </a:lnTo>
                  <a:lnTo>
                    <a:pt x="45" y="1235"/>
                  </a:lnTo>
                  <a:close/>
                  <a:moveTo>
                    <a:pt x="22" y="1233"/>
                  </a:moveTo>
                  <a:lnTo>
                    <a:pt x="19" y="1233"/>
                  </a:lnTo>
                  <a:lnTo>
                    <a:pt x="22" y="1233"/>
                  </a:lnTo>
                  <a:close/>
                  <a:moveTo>
                    <a:pt x="22" y="1231"/>
                  </a:moveTo>
                  <a:lnTo>
                    <a:pt x="19" y="1231"/>
                  </a:lnTo>
                  <a:lnTo>
                    <a:pt x="22" y="1231"/>
                  </a:lnTo>
                  <a:close/>
                  <a:moveTo>
                    <a:pt x="36" y="1231"/>
                  </a:moveTo>
                  <a:lnTo>
                    <a:pt x="38" y="1231"/>
                  </a:lnTo>
                  <a:lnTo>
                    <a:pt x="36" y="1231"/>
                  </a:lnTo>
                  <a:close/>
                  <a:moveTo>
                    <a:pt x="200" y="1228"/>
                  </a:moveTo>
                  <a:lnTo>
                    <a:pt x="200" y="1231"/>
                  </a:lnTo>
                  <a:lnTo>
                    <a:pt x="200" y="1228"/>
                  </a:lnTo>
                  <a:close/>
                  <a:moveTo>
                    <a:pt x="200" y="1231"/>
                  </a:moveTo>
                  <a:lnTo>
                    <a:pt x="200" y="1228"/>
                  </a:lnTo>
                  <a:lnTo>
                    <a:pt x="200" y="1231"/>
                  </a:lnTo>
                  <a:close/>
                  <a:moveTo>
                    <a:pt x="204" y="1228"/>
                  </a:moveTo>
                  <a:lnTo>
                    <a:pt x="207" y="1228"/>
                  </a:lnTo>
                  <a:lnTo>
                    <a:pt x="204" y="1228"/>
                  </a:lnTo>
                  <a:lnTo>
                    <a:pt x="207" y="1228"/>
                  </a:lnTo>
                  <a:lnTo>
                    <a:pt x="204" y="1228"/>
                  </a:lnTo>
                  <a:close/>
                  <a:moveTo>
                    <a:pt x="19" y="1228"/>
                  </a:moveTo>
                  <a:lnTo>
                    <a:pt x="17" y="1228"/>
                  </a:lnTo>
                  <a:lnTo>
                    <a:pt x="19" y="1228"/>
                  </a:lnTo>
                  <a:close/>
                  <a:moveTo>
                    <a:pt x="22" y="1226"/>
                  </a:moveTo>
                  <a:lnTo>
                    <a:pt x="22" y="1228"/>
                  </a:lnTo>
                  <a:lnTo>
                    <a:pt x="22" y="1226"/>
                  </a:lnTo>
                  <a:close/>
                  <a:moveTo>
                    <a:pt x="24" y="1226"/>
                  </a:moveTo>
                  <a:lnTo>
                    <a:pt x="24" y="1228"/>
                  </a:lnTo>
                  <a:lnTo>
                    <a:pt x="24" y="1226"/>
                  </a:lnTo>
                  <a:close/>
                  <a:moveTo>
                    <a:pt x="19" y="1226"/>
                  </a:moveTo>
                  <a:lnTo>
                    <a:pt x="22" y="1226"/>
                  </a:lnTo>
                  <a:lnTo>
                    <a:pt x="19" y="1226"/>
                  </a:lnTo>
                  <a:close/>
                  <a:moveTo>
                    <a:pt x="24" y="1223"/>
                  </a:moveTo>
                  <a:lnTo>
                    <a:pt x="24" y="1226"/>
                  </a:lnTo>
                  <a:lnTo>
                    <a:pt x="24" y="1223"/>
                  </a:lnTo>
                  <a:close/>
                  <a:moveTo>
                    <a:pt x="29" y="1223"/>
                  </a:moveTo>
                  <a:lnTo>
                    <a:pt x="26" y="1223"/>
                  </a:lnTo>
                  <a:lnTo>
                    <a:pt x="29" y="1223"/>
                  </a:lnTo>
                  <a:close/>
                  <a:moveTo>
                    <a:pt x="41" y="1223"/>
                  </a:moveTo>
                  <a:lnTo>
                    <a:pt x="41" y="1221"/>
                  </a:lnTo>
                  <a:lnTo>
                    <a:pt x="41" y="1223"/>
                  </a:lnTo>
                  <a:close/>
                  <a:moveTo>
                    <a:pt x="17" y="1221"/>
                  </a:moveTo>
                  <a:lnTo>
                    <a:pt x="17" y="1219"/>
                  </a:lnTo>
                  <a:lnTo>
                    <a:pt x="17" y="1221"/>
                  </a:lnTo>
                  <a:close/>
                  <a:moveTo>
                    <a:pt x="17" y="1219"/>
                  </a:moveTo>
                  <a:lnTo>
                    <a:pt x="19" y="1219"/>
                  </a:lnTo>
                  <a:lnTo>
                    <a:pt x="17" y="1219"/>
                  </a:lnTo>
                  <a:close/>
                  <a:moveTo>
                    <a:pt x="22" y="1216"/>
                  </a:moveTo>
                  <a:lnTo>
                    <a:pt x="22" y="1219"/>
                  </a:lnTo>
                  <a:lnTo>
                    <a:pt x="22" y="1216"/>
                  </a:lnTo>
                  <a:close/>
                  <a:moveTo>
                    <a:pt x="24" y="1216"/>
                  </a:moveTo>
                  <a:lnTo>
                    <a:pt x="22" y="1216"/>
                  </a:lnTo>
                  <a:lnTo>
                    <a:pt x="24" y="1216"/>
                  </a:lnTo>
                  <a:close/>
                  <a:moveTo>
                    <a:pt x="24" y="1216"/>
                  </a:moveTo>
                  <a:lnTo>
                    <a:pt x="22" y="1216"/>
                  </a:lnTo>
                  <a:lnTo>
                    <a:pt x="24" y="1216"/>
                  </a:lnTo>
                  <a:close/>
                  <a:moveTo>
                    <a:pt x="24" y="1216"/>
                  </a:moveTo>
                  <a:lnTo>
                    <a:pt x="22" y="1216"/>
                  </a:lnTo>
                  <a:lnTo>
                    <a:pt x="24" y="1216"/>
                  </a:lnTo>
                  <a:close/>
                  <a:moveTo>
                    <a:pt x="24" y="1216"/>
                  </a:moveTo>
                  <a:lnTo>
                    <a:pt x="26" y="1216"/>
                  </a:lnTo>
                  <a:lnTo>
                    <a:pt x="24" y="1216"/>
                  </a:lnTo>
                  <a:close/>
                  <a:moveTo>
                    <a:pt x="26" y="1216"/>
                  </a:moveTo>
                  <a:lnTo>
                    <a:pt x="24" y="1216"/>
                  </a:lnTo>
                  <a:lnTo>
                    <a:pt x="26" y="1216"/>
                  </a:lnTo>
                  <a:close/>
                  <a:moveTo>
                    <a:pt x="26" y="1216"/>
                  </a:moveTo>
                  <a:lnTo>
                    <a:pt x="24" y="1216"/>
                  </a:lnTo>
                  <a:lnTo>
                    <a:pt x="26" y="1216"/>
                  </a:lnTo>
                  <a:close/>
                  <a:moveTo>
                    <a:pt x="43" y="1214"/>
                  </a:moveTo>
                  <a:lnTo>
                    <a:pt x="41" y="1214"/>
                  </a:lnTo>
                  <a:lnTo>
                    <a:pt x="43" y="1214"/>
                  </a:lnTo>
                  <a:close/>
                  <a:moveTo>
                    <a:pt x="36" y="1214"/>
                  </a:moveTo>
                  <a:lnTo>
                    <a:pt x="36" y="1212"/>
                  </a:lnTo>
                  <a:lnTo>
                    <a:pt x="36" y="1214"/>
                  </a:lnTo>
                  <a:close/>
                  <a:moveTo>
                    <a:pt x="29" y="1212"/>
                  </a:moveTo>
                  <a:lnTo>
                    <a:pt x="29" y="1214"/>
                  </a:lnTo>
                  <a:lnTo>
                    <a:pt x="29" y="1212"/>
                  </a:lnTo>
                  <a:close/>
                  <a:moveTo>
                    <a:pt x="17" y="1214"/>
                  </a:moveTo>
                  <a:lnTo>
                    <a:pt x="17" y="1212"/>
                  </a:lnTo>
                  <a:lnTo>
                    <a:pt x="17" y="1214"/>
                  </a:lnTo>
                  <a:close/>
                  <a:moveTo>
                    <a:pt x="29" y="1212"/>
                  </a:moveTo>
                  <a:lnTo>
                    <a:pt x="26" y="1212"/>
                  </a:lnTo>
                  <a:lnTo>
                    <a:pt x="29" y="1212"/>
                  </a:lnTo>
                  <a:close/>
                  <a:moveTo>
                    <a:pt x="29" y="1212"/>
                  </a:moveTo>
                  <a:lnTo>
                    <a:pt x="26" y="1212"/>
                  </a:lnTo>
                  <a:lnTo>
                    <a:pt x="29" y="1212"/>
                  </a:lnTo>
                  <a:close/>
                  <a:moveTo>
                    <a:pt x="29" y="1209"/>
                  </a:moveTo>
                  <a:lnTo>
                    <a:pt x="26" y="1209"/>
                  </a:lnTo>
                  <a:lnTo>
                    <a:pt x="29" y="1209"/>
                  </a:lnTo>
                  <a:close/>
                  <a:moveTo>
                    <a:pt x="17" y="1209"/>
                  </a:moveTo>
                  <a:lnTo>
                    <a:pt x="15" y="1209"/>
                  </a:lnTo>
                  <a:lnTo>
                    <a:pt x="17" y="1209"/>
                  </a:lnTo>
                  <a:close/>
                  <a:moveTo>
                    <a:pt x="29" y="1207"/>
                  </a:moveTo>
                  <a:lnTo>
                    <a:pt x="26" y="1207"/>
                  </a:lnTo>
                  <a:lnTo>
                    <a:pt x="29" y="1207"/>
                  </a:lnTo>
                  <a:close/>
                  <a:moveTo>
                    <a:pt x="24" y="1207"/>
                  </a:moveTo>
                  <a:lnTo>
                    <a:pt x="22" y="1207"/>
                  </a:lnTo>
                  <a:lnTo>
                    <a:pt x="24" y="1207"/>
                  </a:lnTo>
                  <a:close/>
                  <a:moveTo>
                    <a:pt x="22" y="1207"/>
                  </a:moveTo>
                  <a:lnTo>
                    <a:pt x="22" y="1204"/>
                  </a:lnTo>
                  <a:lnTo>
                    <a:pt x="22" y="1207"/>
                  </a:lnTo>
                  <a:close/>
                  <a:moveTo>
                    <a:pt x="17" y="1204"/>
                  </a:moveTo>
                  <a:lnTo>
                    <a:pt x="15" y="1204"/>
                  </a:lnTo>
                  <a:lnTo>
                    <a:pt x="17" y="1204"/>
                  </a:lnTo>
                  <a:close/>
                  <a:moveTo>
                    <a:pt x="60" y="1202"/>
                  </a:moveTo>
                  <a:lnTo>
                    <a:pt x="57" y="1202"/>
                  </a:lnTo>
                  <a:lnTo>
                    <a:pt x="60" y="1202"/>
                  </a:lnTo>
                  <a:close/>
                  <a:moveTo>
                    <a:pt x="15" y="1202"/>
                  </a:moveTo>
                  <a:lnTo>
                    <a:pt x="17" y="1202"/>
                  </a:lnTo>
                  <a:lnTo>
                    <a:pt x="15" y="1202"/>
                  </a:lnTo>
                  <a:close/>
                  <a:moveTo>
                    <a:pt x="15" y="1200"/>
                  </a:moveTo>
                  <a:lnTo>
                    <a:pt x="15" y="1202"/>
                  </a:lnTo>
                  <a:lnTo>
                    <a:pt x="15" y="1200"/>
                  </a:lnTo>
                  <a:close/>
                  <a:moveTo>
                    <a:pt x="19" y="1200"/>
                  </a:moveTo>
                  <a:lnTo>
                    <a:pt x="19" y="1202"/>
                  </a:lnTo>
                  <a:lnTo>
                    <a:pt x="19" y="1200"/>
                  </a:lnTo>
                  <a:close/>
                  <a:moveTo>
                    <a:pt x="15" y="1200"/>
                  </a:moveTo>
                  <a:lnTo>
                    <a:pt x="12" y="1200"/>
                  </a:lnTo>
                  <a:lnTo>
                    <a:pt x="15" y="1200"/>
                  </a:lnTo>
                  <a:close/>
                  <a:moveTo>
                    <a:pt x="15" y="1197"/>
                  </a:moveTo>
                  <a:lnTo>
                    <a:pt x="15" y="1200"/>
                  </a:lnTo>
                  <a:lnTo>
                    <a:pt x="15" y="1197"/>
                  </a:lnTo>
                  <a:close/>
                  <a:moveTo>
                    <a:pt x="19" y="1197"/>
                  </a:moveTo>
                  <a:lnTo>
                    <a:pt x="19" y="1200"/>
                  </a:lnTo>
                  <a:lnTo>
                    <a:pt x="19" y="1197"/>
                  </a:lnTo>
                  <a:close/>
                  <a:moveTo>
                    <a:pt x="15" y="1200"/>
                  </a:moveTo>
                  <a:lnTo>
                    <a:pt x="15" y="1197"/>
                  </a:lnTo>
                  <a:lnTo>
                    <a:pt x="15" y="1200"/>
                  </a:lnTo>
                  <a:close/>
                  <a:moveTo>
                    <a:pt x="15" y="1197"/>
                  </a:moveTo>
                  <a:lnTo>
                    <a:pt x="12" y="1197"/>
                  </a:lnTo>
                  <a:lnTo>
                    <a:pt x="15" y="1197"/>
                  </a:lnTo>
                  <a:close/>
                  <a:moveTo>
                    <a:pt x="19" y="1197"/>
                  </a:moveTo>
                  <a:lnTo>
                    <a:pt x="17" y="1197"/>
                  </a:lnTo>
                  <a:lnTo>
                    <a:pt x="19" y="1197"/>
                  </a:lnTo>
                  <a:close/>
                  <a:moveTo>
                    <a:pt x="15" y="1195"/>
                  </a:moveTo>
                  <a:lnTo>
                    <a:pt x="12" y="1195"/>
                  </a:lnTo>
                  <a:lnTo>
                    <a:pt x="15" y="1195"/>
                  </a:lnTo>
                  <a:close/>
                  <a:moveTo>
                    <a:pt x="12" y="1195"/>
                  </a:moveTo>
                  <a:lnTo>
                    <a:pt x="10" y="1195"/>
                  </a:lnTo>
                  <a:lnTo>
                    <a:pt x="12" y="1195"/>
                  </a:lnTo>
                  <a:close/>
                  <a:moveTo>
                    <a:pt x="15" y="1195"/>
                  </a:moveTo>
                  <a:lnTo>
                    <a:pt x="15" y="1193"/>
                  </a:lnTo>
                  <a:lnTo>
                    <a:pt x="15" y="1195"/>
                  </a:lnTo>
                  <a:close/>
                  <a:moveTo>
                    <a:pt x="17" y="1193"/>
                  </a:moveTo>
                  <a:lnTo>
                    <a:pt x="15" y="1193"/>
                  </a:lnTo>
                  <a:lnTo>
                    <a:pt x="17" y="1193"/>
                  </a:lnTo>
                  <a:close/>
                  <a:moveTo>
                    <a:pt x="10" y="1190"/>
                  </a:moveTo>
                  <a:lnTo>
                    <a:pt x="10" y="1193"/>
                  </a:lnTo>
                  <a:lnTo>
                    <a:pt x="10" y="1190"/>
                  </a:lnTo>
                  <a:lnTo>
                    <a:pt x="10" y="1193"/>
                  </a:lnTo>
                  <a:lnTo>
                    <a:pt x="10" y="1190"/>
                  </a:lnTo>
                  <a:close/>
                  <a:moveTo>
                    <a:pt x="17" y="1190"/>
                  </a:moveTo>
                  <a:lnTo>
                    <a:pt x="15" y="1190"/>
                  </a:lnTo>
                  <a:lnTo>
                    <a:pt x="17" y="1190"/>
                  </a:lnTo>
                  <a:close/>
                  <a:moveTo>
                    <a:pt x="10" y="1190"/>
                  </a:moveTo>
                  <a:lnTo>
                    <a:pt x="7" y="1190"/>
                  </a:lnTo>
                  <a:lnTo>
                    <a:pt x="10" y="1190"/>
                  </a:lnTo>
                  <a:close/>
                  <a:moveTo>
                    <a:pt x="12" y="1190"/>
                  </a:moveTo>
                  <a:lnTo>
                    <a:pt x="12" y="1188"/>
                  </a:lnTo>
                  <a:lnTo>
                    <a:pt x="12" y="1190"/>
                  </a:lnTo>
                  <a:close/>
                  <a:moveTo>
                    <a:pt x="10" y="1188"/>
                  </a:moveTo>
                  <a:lnTo>
                    <a:pt x="7" y="1188"/>
                  </a:lnTo>
                  <a:lnTo>
                    <a:pt x="10" y="1188"/>
                  </a:lnTo>
                  <a:close/>
                  <a:moveTo>
                    <a:pt x="15" y="1185"/>
                  </a:moveTo>
                  <a:lnTo>
                    <a:pt x="15" y="1188"/>
                  </a:lnTo>
                  <a:lnTo>
                    <a:pt x="15" y="1185"/>
                  </a:lnTo>
                  <a:close/>
                  <a:moveTo>
                    <a:pt x="22" y="1185"/>
                  </a:moveTo>
                  <a:lnTo>
                    <a:pt x="19" y="1185"/>
                  </a:lnTo>
                  <a:lnTo>
                    <a:pt x="22" y="1185"/>
                  </a:lnTo>
                  <a:close/>
                  <a:moveTo>
                    <a:pt x="10" y="1185"/>
                  </a:moveTo>
                  <a:lnTo>
                    <a:pt x="7" y="1185"/>
                  </a:lnTo>
                  <a:lnTo>
                    <a:pt x="10" y="1185"/>
                  </a:lnTo>
                  <a:close/>
                  <a:moveTo>
                    <a:pt x="7" y="1185"/>
                  </a:moveTo>
                  <a:lnTo>
                    <a:pt x="7" y="1183"/>
                  </a:lnTo>
                  <a:lnTo>
                    <a:pt x="7" y="1185"/>
                  </a:lnTo>
                  <a:close/>
                  <a:moveTo>
                    <a:pt x="12" y="1183"/>
                  </a:moveTo>
                  <a:lnTo>
                    <a:pt x="12" y="1181"/>
                  </a:lnTo>
                  <a:lnTo>
                    <a:pt x="12" y="1183"/>
                  </a:lnTo>
                  <a:close/>
                  <a:moveTo>
                    <a:pt x="17" y="1181"/>
                  </a:moveTo>
                  <a:lnTo>
                    <a:pt x="17" y="1183"/>
                  </a:lnTo>
                  <a:lnTo>
                    <a:pt x="17" y="1181"/>
                  </a:lnTo>
                  <a:close/>
                  <a:moveTo>
                    <a:pt x="15" y="1181"/>
                  </a:moveTo>
                  <a:lnTo>
                    <a:pt x="12" y="1181"/>
                  </a:lnTo>
                  <a:lnTo>
                    <a:pt x="15" y="1181"/>
                  </a:lnTo>
                  <a:close/>
                  <a:moveTo>
                    <a:pt x="12" y="1181"/>
                  </a:moveTo>
                  <a:lnTo>
                    <a:pt x="10" y="1181"/>
                  </a:lnTo>
                  <a:lnTo>
                    <a:pt x="12" y="1181"/>
                  </a:lnTo>
                  <a:close/>
                  <a:moveTo>
                    <a:pt x="17" y="1181"/>
                  </a:moveTo>
                  <a:lnTo>
                    <a:pt x="15" y="1181"/>
                  </a:lnTo>
                  <a:lnTo>
                    <a:pt x="17" y="1181"/>
                  </a:lnTo>
                  <a:close/>
                  <a:moveTo>
                    <a:pt x="17" y="1181"/>
                  </a:moveTo>
                  <a:lnTo>
                    <a:pt x="15" y="1181"/>
                  </a:lnTo>
                  <a:lnTo>
                    <a:pt x="17" y="1181"/>
                  </a:lnTo>
                  <a:close/>
                  <a:moveTo>
                    <a:pt x="10" y="1178"/>
                  </a:moveTo>
                  <a:lnTo>
                    <a:pt x="10" y="1181"/>
                  </a:lnTo>
                  <a:lnTo>
                    <a:pt x="10" y="1178"/>
                  </a:lnTo>
                  <a:close/>
                  <a:moveTo>
                    <a:pt x="10" y="1181"/>
                  </a:moveTo>
                  <a:lnTo>
                    <a:pt x="10" y="1178"/>
                  </a:lnTo>
                  <a:lnTo>
                    <a:pt x="10" y="1181"/>
                  </a:lnTo>
                  <a:close/>
                  <a:moveTo>
                    <a:pt x="7" y="1181"/>
                  </a:moveTo>
                  <a:lnTo>
                    <a:pt x="7" y="1178"/>
                  </a:lnTo>
                  <a:lnTo>
                    <a:pt x="7" y="1181"/>
                  </a:lnTo>
                  <a:close/>
                  <a:moveTo>
                    <a:pt x="5" y="1178"/>
                  </a:moveTo>
                  <a:lnTo>
                    <a:pt x="5" y="1181"/>
                  </a:lnTo>
                  <a:lnTo>
                    <a:pt x="5" y="1178"/>
                  </a:lnTo>
                  <a:close/>
                  <a:moveTo>
                    <a:pt x="10" y="1178"/>
                  </a:moveTo>
                  <a:lnTo>
                    <a:pt x="10" y="1181"/>
                  </a:lnTo>
                  <a:lnTo>
                    <a:pt x="10" y="1178"/>
                  </a:lnTo>
                  <a:close/>
                  <a:moveTo>
                    <a:pt x="5" y="1178"/>
                  </a:moveTo>
                  <a:lnTo>
                    <a:pt x="5" y="1181"/>
                  </a:lnTo>
                  <a:lnTo>
                    <a:pt x="5" y="1178"/>
                  </a:lnTo>
                  <a:close/>
                  <a:moveTo>
                    <a:pt x="7" y="1181"/>
                  </a:moveTo>
                  <a:lnTo>
                    <a:pt x="7" y="1178"/>
                  </a:lnTo>
                  <a:lnTo>
                    <a:pt x="7" y="1181"/>
                  </a:lnTo>
                  <a:close/>
                  <a:moveTo>
                    <a:pt x="12" y="1178"/>
                  </a:moveTo>
                  <a:lnTo>
                    <a:pt x="10" y="1178"/>
                  </a:lnTo>
                  <a:lnTo>
                    <a:pt x="12" y="1178"/>
                  </a:lnTo>
                  <a:close/>
                  <a:moveTo>
                    <a:pt x="15" y="1178"/>
                  </a:moveTo>
                  <a:lnTo>
                    <a:pt x="12" y="1178"/>
                  </a:lnTo>
                  <a:lnTo>
                    <a:pt x="15" y="1178"/>
                  </a:lnTo>
                  <a:close/>
                  <a:moveTo>
                    <a:pt x="24" y="1176"/>
                  </a:moveTo>
                  <a:lnTo>
                    <a:pt x="24" y="1178"/>
                  </a:lnTo>
                  <a:lnTo>
                    <a:pt x="24" y="1176"/>
                  </a:lnTo>
                  <a:close/>
                  <a:moveTo>
                    <a:pt x="12" y="1176"/>
                  </a:moveTo>
                  <a:lnTo>
                    <a:pt x="10" y="1176"/>
                  </a:lnTo>
                  <a:lnTo>
                    <a:pt x="12" y="1176"/>
                  </a:lnTo>
                  <a:close/>
                  <a:moveTo>
                    <a:pt x="10" y="1176"/>
                  </a:moveTo>
                  <a:lnTo>
                    <a:pt x="10" y="1174"/>
                  </a:lnTo>
                  <a:lnTo>
                    <a:pt x="10" y="1176"/>
                  </a:lnTo>
                  <a:close/>
                  <a:moveTo>
                    <a:pt x="7" y="1176"/>
                  </a:moveTo>
                  <a:lnTo>
                    <a:pt x="7" y="1174"/>
                  </a:lnTo>
                  <a:lnTo>
                    <a:pt x="7" y="1176"/>
                  </a:lnTo>
                  <a:close/>
                  <a:moveTo>
                    <a:pt x="15" y="1174"/>
                  </a:moveTo>
                  <a:lnTo>
                    <a:pt x="15" y="1176"/>
                  </a:lnTo>
                  <a:lnTo>
                    <a:pt x="15" y="1174"/>
                  </a:lnTo>
                  <a:close/>
                  <a:moveTo>
                    <a:pt x="12" y="1176"/>
                  </a:moveTo>
                  <a:lnTo>
                    <a:pt x="12" y="1174"/>
                  </a:lnTo>
                  <a:lnTo>
                    <a:pt x="12" y="1176"/>
                  </a:lnTo>
                  <a:close/>
                  <a:moveTo>
                    <a:pt x="12" y="1174"/>
                  </a:moveTo>
                  <a:lnTo>
                    <a:pt x="10" y="1174"/>
                  </a:lnTo>
                  <a:lnTo>
                    <a:pt x="12" y="1174"/>
                  </a:lnTo>
                  <a:close/>
                  <a:moveTo>
                    <a:pt x="12" y="1169"/>
                  </a:moveTo>
                  <a:lnTo>
                    <a:pt x="15" y="1169"/>
                  </a:lnTo>
                  <a:lnTo>
                    <a:pt x="12" y="1169"/>
                  </a:lnTo>
                  <a:close/>
                  <a:moveTo>
                    <a:pt x="3" y="1169"/>
                  </a:moveTo>
                  <a:lnTo>
                    <a:pt x="5" y="1169"/>
                  </a:lnTo>
                  <a:lnTo>
                    <a:pt x="3" y="1169"/>
                  </a:lnTo>
                  <a:close/>
                  <a:moveTo>
                    <a:pt x="5" y="1169"/>
                  </a:moveTo>
                  <a:lnTo>
                    <a:pt x="3" y="1169"/>
                  </a:lnTo>
                  <a:lnTo>
                    <a:pt x="5" y="1169"/>
                  </a:lnTo>
                  <a:close/>
                  <a:moveTo>
                    <a:pt x="17" y="1166"/>
                  </a:moveTo>
                  <a:lnTo>
                    <a:pt x="15" y="1166"/>
                  </a:lnTo>
                  <a:lnTo>
                    <a:pt x="17" y="1166"/>
                  </a:lnTo>
                  <a:close/>
                  <a:moveTo>
                    <a:pt x="5" y="1169"/>
                  </a:moveTo>
                  <a:lnTo>
                    <a:pt x="5" y="1166"/>
                  </a:lnTo>
                  <a:lnTo>
                    <a:pt x="5" y="1169"/>
                  </a:lnTo>
                  <a:close/>
                  <a:moveTo>
                    <a:pt x="3" y="1166"/>
                  </a:moveTo>
                  <a:lnTo>
                    <a:pt x="0" y="1166"/>
                  </a:lnTo>
                  <a:lnTo>
                    <a:pt x="3" y="1166"/>
                  </a:lnTo>
                  <a:close/>
                  <a:moveTo>
                    <a:pt x="15" y="1166"/>
                  </a:moveTo>
                  <a:lnTo>
                    <a:pt x="12" y="1166"/>
                  </a:lnTo>
                  <a:lnTo>
                    <a:pt x="15" y="1166"/>
                  </a:lnTo>
                  <a:close/>
                  <a:moveTo>
                    <a:pt x="10" y="1166"/>
                  </a:moveTo>
                  <a:lnTo>
                    <a:pt x="10" y="1164"/>
                  </a:lnTo>
                  <a:lnTo>
                    <a:pt x="10" y="1166"/>
                  </a:lnTo>
                  <a:close/>
                  <a:moveTo>
                    <a:pt x="10" y="1166"/>
                  </a:moveTo>
                  <a:lnTo>
                    <a:pt x="10" y="1164"/>
                  </a:lnTo>
                  <a:lnTo>
                    <a:pt x="10" y="1166"/>
                  </a:lnTo>
                  <a:close/>
                  <a:moveTo>
                    <a:pt x="7" y="1166"/>
                  </a:moveTo>
                  <a:lnTo>
                    <a:pt x="7" y="1164"/>
                  </a:lnTo>
                  <a:lnTo>
                    <a:pt x="7" y="1166"/>
                  </a:lnTo>
                  <a:close/>
                  <a:moveTo>
                    <a:pt x="5" y="1164"/>
                  </a:moveTo>
                  <a:lnTo>
                    <a:pt x="5" y="1162"/>
                  </a:lnTo>
                  <a:lnTo>
                    <a:pt x="5" y="1164"/>
                  </a:lnTo>
                  <a:close/>
                  <a:moveTo>
                    <a:pt x="10" y="1162"/>
                  </a:moveTo>
                  <a:lnTo>
                    <a:pt x="10" y="1164"/>
                  </a:lnTo>
                  <a:lnTo>
                    <a:pt x="10" y="1162"/>
                  </a:lnTo>
                  <a:close/>
                  <a:moveTo>
                    <a:pt x="7" y="1162"/>
                  </a:moveTo>
                  <a:lnTo>
                    <a:pt x="5" y="1162"/>
                  </a:lnTo>
                  <a:lnTo>
                    <a:pt x="7" y="1162"/>
                  </a:lnTo>
                  <a:close/>
                  <a:moveTo>
                    <a:pt x="10" y="1162"/>
                  </a:moveTo>
                  <a:lnTo>
                    <a:pt x="7" y="1162"/>
                  </a:lnTo>
                  <a:lnTo>
                    <a:pt x="10" y="1162"/>
                  </a:lnTo>
                  <a:close/>
                  <a:moveTo>
                    <a:pt x="15" y="1157"/>
                  </a:moveTo>
                  <a:lnTo>
                    <a:pt x="15" y="1159"/>
                  </a:lnTo>
                  <a:lnTo>
                    <a:pt x="15" y="1157"/>
                  </a:lnTo>
                  <a:close/>
                  <a:moveTo>
                    <a:pt x="15" y="1157"/>
                  </a:moveTo>
                  <a:lnTo>
                    <a:pt x="15" y="1159"/>
                  </a:lnTo>
                  <a:lnTo>
                    <a:pt x="15" y="1157"/>
                  </a:lnTo>
                  <a:close/>
                  <a:moveTo>
                    <a:pt x="10" y="1157"/>
                  </a:moveTo>
                  <a:lnTo>
                    <a:pt x="7" y="1157"/>
                  </a:lnTo>
                  <a:lnTo>
                    <a:pt x="10" y="1157"/>
                  </a:lnTo>
                  <a:close/>
                  <a:moveTo>
                    <a:pt x="15" y="1155"/>
                  </a:moveTo>
                  <a:lnTo>
                    <a:pt x="15" y="1157"/>
                  </a:lnTo>
                  <a:lnTo>
                    <a:pt x="15" y="1155"/>
                  </a:lnTo>
                  <a:close/>
                  <a:moveTo>
                    <a:pt x="7" y="1155"/>
                  </a:moveTo>
                  <a:lnTo>
                    <a:pt x="7" y="1152"/>
                  </a:lnTo>
                  <a:lnTo>
                    <a:pt x="7" y="1155"/>
                  </a:lnTo>
                  <a:close/>
                  <a:moveTo>
                    <a:pt x="15" y="1152"/>
                  </a:moveTo>
                  <a:lnTo>
                    <a:pt x="15" y="1155"/>
                  </a:lnTo>
                  <a:lnTo>
                    <a:pt x="15" y="1152"/>
                  </a:lnTo>
                  <a:close/>
                  <a:moveTo>
                    <a:pt x="10" y="1155"/>
                  </a:moveTo>
                  <a:lnTo>
                    <a:pt x="10" y="1152"/>
                  </a:lnTo>
                  <a:lnTo>
                    <a:pt x="10" y="1155"/>
                  </a:lnTo>
                  <a:close/>
                  <a:moveTo>
                    <a:pt x="7" y="1152"/>
                  </a:moveTo>
                  <a:lnTo>
                    <a:pt x="7" y="1155"/>
                  </a:lnTo>
                  <a:lnTo>
                    <a:pt x="7" y="1152"/>
                  </a:lnTo>
                  <a:close/>
                  <a:moveTo>
                    <a:pt x="5" y="1152"/>
                  </a:moveTo>
                  <a:lnTo>
                    <a:pt x="3" y="1152"/>
                  </a:lnTo>
                  <a:lnTo>
                    <a:pt x="5" y="1152"/>
                  </a:lnTo>
                  <a:close/>
                  <a:moveTo>
                    <a:pt x="7" y="1152"/>
                  </a:moveTo>
                  <a:lnTo>
                    <a:pt x="7" y="1150"/>
                  </a:lnTo>
                  <a:lnTo>
                    <a:pt x="7" y="1152"/>
                  </a:lnTo>
                  <a:close/>
                  <a:moveTo>
                    <a:pt x="29" y="1150"/>
                  </a:moveTo>
                  <a:lnTo>
                    <a:pt x="29" y="1147"/>
                  </a:lnTo>
                  <a:lnTo>
                    <a:pt x="29" y="1150"/>
                  </a:lnTo>
                  <a:close/>
                  <a:moveTo>
                    <a:pt x="12" y="1147"/>
                  </a:moveTo>
                  <a:lnTo>
                    <a:pt x="12" y="1150"/>
                  </a:lnTo>
                  <a:lnTo>
                    <a:pt x="12" y="1147"/>
                  </a:lnTo>
                  <a:close/>
                  <a:moveTo>
                    <a:pt x="15" y="1147"/>
                  </a:moveTo>
                  <a:lnTo>
                    <a:pt x="12" y="1147"/>
                  </a:lnTo>
                  <a:lnTo>
                    <a:pt x="15" y="1147"/>
                  </a:lnTo>
                  <a:close/>
                  <a:moveTo>
                    <a:pt x="7" y="1145"/>
                  </a:moveTo>
                  <a:lnTo>
                    <a:pt x="5" y="1145"/>
                  </a:lnTo>
                  <a:lnTo>
                    <a:pt x="7" y="1145"/>
                  </a:lnTo>
                  <a:close/>
                  <a:moveTo>
                    <a:pt x="15" y="1145"/>
                  </a:moveTo>
                  <a:lnTo>
                    <a:pt x="12" y="1145"/>
                  </a:lnTo>
                  <a:lnTo>
                    <a:pt x="12" y="1147"/>
                  </a:lnTo>
                  <a:lnTo>
                    <a:pt x="12" y="1145"/>
                  </a:lnTo>
                  <a:lnTo>
                    <a:pt x="15" y="1145"/>
                  </a:lnTo>
                  <a:close/>
                  <a:moveTo>
                    <a:pt x="34" y="1143"/>
                  </a:moveTo>
                  <a:lnTo>
                    <a:pt x="34" y="1145"/>
                  </a:lnTo>
                  <a:lnTo>
                    <a:pt x="34" y="1143"/>
                  </a:lnTo>
                  <a:close/>
                  <a:moveTo>
                    <a:pt x="17" y="1143"/>
                  </a:moveTo>
                  <a:lnTo>
                    <a:pt x="17" y="1140"/>
                  </a:lnTo>
                  <a:lnTo>
                    <a:pt x="17" y="1143"/>
                  </a:lnTo>
                  <a:close/>
                  <a:moveTo>
                    <a:pt x="12" y="1143"/>
                  </a:moveTo>
                  <a:lnTo>
                    <a:pt x="12" y="1140"/>
                  </a:lnTo>
                  <a:lnTo>
                    <a:pt x="12" y="1143"/>
                  </a:lnTo>
                  <a:close/>
                  <a:moveTo>
                    <a:pt x="22" y="1143"/>
                  </a:moveTo>
                  <a:lnTo>
                    <a:pt x="22" y="1140"/>
                  </a:lnTo>
                  <a:lnTo>
                    <a:pt x="22" y="1143"/>
                  </a:lnTo>
                  <a:close/>
                  <a:moveTo>
                    <a:pt x="17" y="1140"/>
                  </a:moveTo>
                  <a:lnTo>
                    <a:pt x="17" y="1143"/>
                  </a:lnTo>
                  <a:lnTo>
                    <a:pt x="17" y="1140"/>
                  </a:lnTo>
                  <a:close/>
                  <a:moveTo>
                    <a:pt x="17" y="1138"/>
                  </a:moveTo>
                  <a:lnTo>
                    <a:pt x="15" y="1138"/>
                  </a:lnTo>
                  <a:lnTo>
                    <a:pt x="17" y="1138"/>
                  </a:lnTo>
                  <a:close/>
                  <a:moveTo>
                    <a:pt x="17" y="1138"/>
                  </a:moveTo>
                  <a:lnTo>
                    <a:pt x="19" y="1138"/>
                  </a:lnTo>
                  <a:lnTo>
                    <a:pt x="17" y="1138"/>
                  </a:lnTo>
                  <a:close/>
                  <a:moveTo>
                    <a:pt x="5" y="1138"/>
                  </a:moveTo>
                  <a:lnTo>
                    <a:pt x="7" y="1138"/>
                  </a:lnTo>
                  <a:lnTo>
                    <a:pt x="5" y="1138"/>
                  </a:lnTo>
                  <a:close/>
                  <a:moveTo>
                    <a:pt x="12" y="1138"/>
                  </a:moveTo>
                  <a:lnTo>
                    <a:pt x="12" y="1136"/>
                  </a:lnTo>
                  <a:lnTo>
                    <a:pt x="12" y="1138"/>
                  </a:lnTo>
                  <a:close/>
                  <a:moveTo>
                    <a:pt x="15" y="1138"/>
                  </a:moveTo>
                  <a:lnTo>
                    <a:pt x="15" y="1136"/>
                  </a:lnTo>
                  <a:lnTo>
                    <a:pt x="15" y="1138"/>
                  </a:lnTo>
                  <a:close/>
                  <a:moveTo>
                    <a:pt x="12" y="1136"/>
                  </a:moveTo>
                  <a:lnTo>
                    <a:pt x="12" y="1138"/>
                  </a:lnTo>
                  <a:lnTo>
                    <a:pt x="12" y="1136"/>
                  </a:lnTo>
                  <a:close/>
                  <a:moveTo>
                    <a:pt x="12" y="1136"/>
                  </a:moveTo>
                  <a:lnTo>
                    <a:pt x="12" y="1138"/>
                  </a:lnTo>
                  <a:lnTo>
                    <a:pt x="12" y="1136"/>
                  </a:lnTo>
                  <a:close/>
                  <a:moveTo>
                    <a:pt x="7" y="1136"/>
                  </a:moveTo>
                  <a:lnTo>
                    <a:pt x="7" y="1138"/>
                  </a:lnTo>
                  <a:lnTo>
                    <a:pt x="7" y="1136"/>
                  </a:lnTo>
                  <a:close/>
                  <a:moveTo>
                    <a:pt x="26" y="1136"/>
                  </a:moveTo>
                  <a:lnTo>
                    <a:pt x="24" y="1136"/>
                  </a:lnTo>
                  <a:lnTo>
                    <a:pt x="26" y="1136"/>
                  </a:lnTo>
                  <a:close/>
                  <a:moveTo>
                    <a:pt x="12" y="1136"/>
                  </a:moveTo>
                  <a:lnTo>
                    <a:pt x="15" y="1136"/>
                  </a:lnTo>
                  <a:lnTo>
                    <a:pt x="12" y="1136"/>
                  </a:lnTo>
                  <a:close/>
                  <a:moveTo>
                    <a:pt x="24" y="1136"/>
                  </a:moveTo>
                  <a:lnTo>
                    <a:pt x="22" y="1136"/>
                  </a:lnTo>
                  <a:lnTo>
                    <a:pt x="24" y="1136"/>
                  </a:lnTo>
                  <a:close/>
                  <a:moveTo>
                    <a:pt x="22" y="1136"/>
                  </a:moveTo>
                  <a:lnTo>
                    <a:pt x="19" y="1136"/>
                  </a:lnTo>
                  <a:lnTo>
                    <a:pt x="22" y="1133"/>
                  </a:lnTo>
                  <a:lnTo>
                    <a:pt x="19" y="1136"/>
                  </a:lnTo>
                  <a:lnTo>
                    <a:pt x="22" y="1136"/>
                  </a:lnTo>
                  <a:close/>
                  <a:moveTo>
                    <a:pt x="10" y="1133"/>
                  </a:moveTo>
                  <a:lnTo>
                    <a:pt x="12" y="1136"/>
                  </a:lnTo>
                  <a:lnTo>
                    <a:pt x="10" y="1136"/>
                  </a:lnTo>
                  <a:lnTo>
                    <a:pt x="10" y="1133"/>
                  </a:lnTo>
                  <a:close/>
                  <a:moveTo>
                    <a:pt x="12" y="1133"/>
                  </a:moveTo>
                  <a:lnTo>
                    <a:pt x="12" y="1136"/>
                  </a:lnTo>
                  <a:lnTo>
                    <a:pt x="12" y="1133"/>
                  </a:lnTo>
                  <a:close/>
                  <a:moveTo>
                    <a:pt x="19" y="1136"/>
                  </a:moveTo>
                  <a:lnTo>
                    <a:pt x="19" y="1133"/>
                  </a:lnTo>
                  <a:lnTo>
                    <a:pt x="19" y="1136"/>
                  </a:lnTo>
                  <a:close/>
                  <a:moveTo>
                    <a:pt x="12" y="1136"/>
                  </a:moveTo>
                  <a:lnTo>
                    <a:pt x="12" y="1133"/>
                  </a:lnTo>
                  <a:lnTo>
                    <a:pt x="12" y="1136"/>
                  </a:lnTo>
                  <a:close/>
                  <a:moveTo>
                    <a:pt x="15" y="1133"/>
                  </a:moveTo>
                  <a:lnTo>
                    <a:pt x="15" y="1131"/>
                  </a:lnTo>
                  <a:lnTo>
                    <a:pt x="15" y="1133"/>
                  </a:lnTo>
                  <a:close/>
                  <a:moveTo>
                    <a:pt x="12" y="1128"/>
                  </a:moveTo>
                  <a:lnTo>
                    <a:pt x="10" y="1128"/>
                  </a:lnTo>
                  <a:lnTo>
                    <a:pt x="12" y="1128"/>
                  </a:lnTo>
                  <a:close/>
                  <a:moveTo>
                    <a:pt x="10" y="1128"/>
                  </a:moveTo>
                  <a:lnTo>
                    <a:pt x="12" y="1128"/>
                  </a:lnTo>
                  <a:lnTo>
                    <a:pt x="10" y="1128"/>
                  </a:lnTo>
                  <a:close/>
                  <a:moveTo>
                    <a:pt x="10" y="1128"/>
                  </a:moveTo>
                  <a:lnTo>
                    <a:pt x="10" y="1126"/>
                  </a:lnTo>
                  <a:lnTo>
                    <a:pt x="10" y="1128"/>
                  </a:lnTo>
                  <a:close/>
                  <a:moveTo>
                    <a:pt x="22" y="1121"/>
                  </a:moveTo>
                  <a:lnTo>
                    <a:pt x="19" y="1121"/>
                  </a:lnTo>
                  <a:lnTo>
                    <a:pt x="22" y="1121"/>
                  </a:lnTo>
                  <a:close/>
                  <a:moveTo>
                    <a:pt x="22" y="1119"/>
                  </a:moveTo>
                  <a:lnTo>
                    <a:pt x="19" y="1119"/>
                  </a:lnTo>
                  <a:lnTo>
                    <a:pt x="22" y="1119"/>
                  </a:lnTo>
                  <a:close/>
                  <a:moveTo>
                    <a:pt x="31" y="1119"/>
                  </a:moveTo>
                  <a:lnTo>
                    <a:pt x="29" y="1119"/>
                  </a:lnTo>
                  <a:lnTo>
                    <a:pt x="31" y="1119"/>
                  </a:lnTo>
                  <a:close/>
                  <a:moveTo>
                    <a:pt x="15" y="1119"/>
                  </a:moveTo>
                  <a:lnTo>
                    <a:pt x="15" y="1117"/>
                  </a:lnTo>
                  <a:lnTo>
                    <a:pt x="15" y="1119"/>
                  </a:lnTo>
                  <a:close/>
                  <a:moveTo>
                    <a:pt x="29" y="1112"/>
                  </a:moveTo>
                  <a:lnTo>
                    <a:pt x="26" y="1112"/>
                  </a:lnTo>
                  <a:lnTo>
                    <a:pt x="29" y="1112"/>
                  </a:lnTo>
                  <a:close/>
                  <a:moveTo>
                    <a:pt x="26" y="1107"/>
                  </a:moveTo>
                  <a:lnTo>
                    <a:pt x="26" y="1105"/>
                  </a:lnTo>
                  <a:lnTo>
                    <a:pt x="26" y="1107"/>
                  </a:lnTo>
                  <a:close/>
                  <a:moveTo>
                    <a:pt x="31" y="1105"/>
                  </a:moveTo>
                  <a:lnTo>
                    <a:pt x="29" y="1105"/>
                  </a:lnTo>
                  <a:lnTo>
                    <a:pt x="31" y="1105"/>
                  </a:lnTo>
                  <a:close/>
                  <a:moveTo>
                    <a:pt x="29" y="1105"/>
                  </a:moveTo>
                  <a:lnTo>
                    <a:pt x="29" y="1102"/>
                  </a:lnTo>
                  <a:lnTo>
                    <a:pt x="29" y="1105"/>
                  </a:lnTo>
                  <a:close/>
                  <a:moveTo>
                    <a:pt x="45" y="1102"/>
                  </a:moveTo>
                  <a:lnTo>
                    <a:pt x="45" y="1100"/>
                  </a:lnTo>
                  <a:lnTo>
                    <a:pt x="45" y="1102"/>
                  </a:lnTo>
                  <a:close/>
                  <a:moveTo>
                    <a:pt x="50" y="1100"/>
                  </a:moveTo>
                  <a:lnTo>
                    <a:pt x="48" y="1100"/>
                  </a:lnTo>
                  <a:lnTo>
                    <a:pt x="50" y="1100"/>
                  </a:lnTo>
                  <a:close/>
                  <a:moveTo>
                    <a:pt x="43" y="1100"/>
                  </a:moveTo>
                  <a:lnTo>
                    <a:pt x="45" y="1100"/>
                  </a:lnTo>
                  <a:lnTo>
                    <a:pt x="43" y="1100"/>
                  </a:lnTo>
                  <a:close/>
                  <a:moveTo>
                    <a:pt x="45" y="1100"/>
                  </a:moveTo>
                  <a:lnTo>
                    <a:pt x="43" y="1100"/>
                  </a:lnTo>
                  <a:lnTo>
                    <a:pt x="45" y="1100"/>
                  </a:lnTo>
                  <a:close/>
                  <a:moveTo>
                    <a:pt x="45" y="1100"/>
                  </a:moveTo>
                  <a:lnTo>
                    <a:pt x="43" y="1100"/>
                  </a:lnTo>
                  <a:lnTo>
                    <a:pt x="45" y="1100"/>
                  </a:lnTo>
                  <a:close/>
                  <a:moveTo>
                    <a:pt x="43" y="1100"/>
                  </a:moveTo>
                  <a:lnTo>
                    <a:pt x="45" y="1100"/>
                  </a:lnTo>
                  <a:lnTo>
                    <a:pt x="43" y="1100"/>
                  </a:lnTo>
                  <a:close/>
                  <a:moveTo>
                    <a:pt x="43" y="1098"/>
                  </a:moveTo>
                  <a:lnTo>
                    <a:pt x="41" y="1098"/>
                  </a:lnTo>
                  <a:lnTo>
                    <a:pt x="43" y="1098"/>
                  </a:lnTo>
                  <a:close/>
                  <a:moveTo>
                    <a:pt x="41" y="1098"/>
                  </a:moveTo>
                  <a:lnTo>
                    <a:pt x="38" y="1098"/>
                  </a:lnTo>
                  <a:lnTo>
                    <a:pt x="41" y="1098"/>
                  </a:lnTo>
                  <a:close/>
                  <a:moveTo>
                    <a:pt x="45" y="1090"/>
                  </a:moveTo>
                  <a:lnTo>
                    <a:pt x="43" y="1090"/>
                  </a:lnTo>
                  <a:lnTo>
                    <a:pt x="45" y="1090"/>
                  </a:lnTo>
                  <a:close/>
                  <a:moveTo>
                    <a:pt x="57" y="1090"/>
                  </a:moveTo>
                  <a:lnTo>
                    <a:pt x="55" y="1090"/>
                  </a:lnTo>
                  <a:lnTo>
                    <a:pt x="57" y="1090"/>
                  </a:lnTo>
                  <a:close/>
                  <a:moveTo>
                    <a:pt x="74" y="1088"/>
                  </a:moveTo>
                  <a:lnTo>
                    <a:pt x="71" y="1088"/>
                  </a:lnTo>
                  <a:lnTo>
                    <a:pt x="74" y="1088"/>
                  </a:lnTo>
                  <a:close/>
                  <a:moveTo>
                    <a:pt x="62" y="1088"/>
                  </a:moveTo>
                  <a:lnTo>
                    <a:pt x="60" y="1088"/>
                  </a:lnTo>
                  <a:lnTo>
                    <a:pt x="62" y="1088"/>
                  </a:lnTo>
                  <a:close/>
                  <a:moveTo>
                    <a:pt x="64" y="1088"/>
                  </a:moveTo>
                  <a:lnTo>
                    <a:pt x="64" y="1086"/>
                  </a:lnTo>
                  <a:lnTo>
                    <a:pt x="64" y="1088"/>
                  </a:lnTo>
                  <a:close/>
                  <a:moveTo>
                    <a:pt x="64" y="1086"/>
                  </a:moveTo>
                  <a:lnTo>
                    <a:pt x="64" y="1088"/>
                  </a:lnTo>
                  <a:lnTo>
                    <a:pt x="64" y="1086"/>
                  </a:lnTo>
                  <a:close/>
                  <a:moveTo>
                    <a:pt x="69" y="1088"/>
                  </a:moveTo>
                  <a:lnTo>
                    <a:pt x="69" y="1086"/>
                  </a:lnTo>
                  <a:lnTo>
                    <a:pt x="69" y="1088"/>
                  </a:lnTo>
                  <a:close/>
                  <a:moveTo>
                    <a:pt x="60" y="1086"/>
                  </a:moveTo>
                  <a:lnTo>
                    <a:pt x="57" y="1086"/>
                  </a:lnTo>
                  <a:lnTo>
                    <a:pt x="60" y="1086"/>
                  </a:lnTo>
                  <a:close/>
                  <a:moveTo>
                    <a:pt x="50" y="1083"/>
                  </a:moveTo>
                  <a:lnTo>
                    <a:pt x="50" y="1086"/>
                  </a:lnTo>
                  <a:lnTo>
                    <a:pt x="50" y="1083"/>
                  </a:lnTo>
                  <a:close/>
                  <a:moveTo>
                    <a:pt x="71" y="1081"/>
                  </a:moveTo>
                  <a:lnTo>
                    <a:pt x="69" y="1081"/>
                  </a:lnTo>
                  <a:lnTo>
                    <a:pt x="71" y="1081"/>
                  </a:lnTo>
                  <a:close/>
                  <a:moveTo>
                    <a:pt x="53" y="1081"/>
                  </a:moveTo>
                  <a:lnTo>
                    <a:pt x="55" y="1081"/>
                  </a:lnTo>
                  <a:lnTo>
                    <a:pt x="53" y="1081"/>
                  </a:lnTo>
                  <a:close/>
                  <a:moveTo>
                    <a:pt x="86" y="1081"/>
                  </a:moveTo>
                  <a:lnTo>
                    <a:pt x="86" y="1079"/>
                  </a:lnTo>
                  <a:lnTo>
                    <a:pt x="86" y="1081"/>
                  </a:lnTo>
                  <a:close/>
                  <a:moveTo>
                    <a:pt x="64" y="1079"/>
                  </a:moveTo>
                  <a:lnTo>
                    <a:pt x="62" y="1079"/>
                  </a:lnTo>
                  <a:lnTo>
                    <a:pt x="64" y="1079"/>
                  </a:lnTo>
                  <a:close/>
                  <a:moveTo>
                    <a:pt x="71" y="1079"/>
                  </a:moveTo>
                  <a:lnTo>
                    <a:pt x="71" y="1076"/>
                  </a:lnTo>
                  <a:lnTo>
                    <a:pt x="71" y="1079"/>
                  </a:lnTo>
                  <a:close/>
                  <a:moveTo>
                    <a:pt x="57" y="1079"/>
                  </a:moveTo>
                  <a:lnTo>
                    <a:pt x="57" y="1076"/>
                  </a:lnTo>
                  <a:lnTo>
                    <a:pt x="57" y="1079"/>
                  </a:lnTo>
                  <a:close/>
                  <a:moveTo>
                    <a:pt x="88" y="1076"/>
                  </a:moveTo>
                  <a:lnTo>
                    <a:pt x="88" y="1074"/>
                  </a:lnTo>
                  <a:lnTo>
                    <a:pt x="88" y="1076"/>
                  </a:lnTo>
                  <a:close/>
                  <a:moveTo>
                    <a:pt x="81" y="1074"/>
                  </a:moveTo>
                  <a:lnTo>
                    <a:pt x="79" y="1074"/>
                  </a:lnTo>
                  <a:lnTo>
                    <a:pt x="81" y="1074"/>
                  </a:lnTo>
                  <a:close/>
                  <a:moveTo>
                    <a:pt x="64" y="1074"/>
                  </a:moveTo>
                  <a:lnTo>
                    <a:pt x="62" y="1074"/>
                  </a:lnTo>
                  <a:lnTo>
                    <a:pt x="64" y="1074"/>
                  </a:lnTo>
                  <a:close/>
                  <a:moveTo>
                    <a:pt x="79" y="1071"/>
                  </a:moveTo>
                  <a:lnTo>
                    <a:pt x="76" y="1071"/>
                  </a:lnTo>
                  <a:lnTo>
                    <a:pt x="79" y="1071"/>
                  </a:lnTo>
                  <a:close/>
                  <a:moveTo>
                    <a:pt x="71" y="1071"/>
                  </a:moveTo>
                  <a:lnTo>
                    <a:pt x="69" y="1071"/>
                  </a:lnTo>
                  <a:lnTo>
                    <a:pt x="71" y="1071"/>
                  </a:lnTo>
                  <a:close/>
                  <a:moveTo>
                    <a:pt x="76" y="1071"/>
                  </a:moveTo>
                  <a:lnTo>
                    <a:pt x="74" y="1071"/>
                  </a:lnTo>
                  <a:lnTo>
                    <a:pt x="76" y="1071"/>
                  </a:lnTo>
                  <a:close/>
                  <a:moveTo>
                    <a:pt x="74" y="1071"/>
                  </a:moveTo>
                  <a:lnTo>
                    <a:pt x="71" y="1071"/>
                  </a:lnTo>
                  <a:lnTo>
                    <a:pt x="74" y="1071"/>
                  </a:lnTo>
                  <a:close/>
                  <a:moveTo>
                    <a:pt x="74" y="1071"/>
                  </a:moveTo>
                  <a:lnTo>
                    <a:pt x="76" y="1071"/>
                  </a:lnTo>
                  <a:lnTo>
                    <a:pt x="74" y="1071"/>
                  </a:lnTo>
                  <a:close/>
                  <a:moveTo>
                    <a:pt x="76" y="1069"/>
                  </a:moveTo>
                  <a:lnTo>
                    <a:pt x="74" y="1071"/>
                  </a:lnTo>
                  <a:lnTo>
                    <a:pt x="74" y="1069"/>
                  </a:lnTo>
                  <a:lnTo>
                    <a:pt x="76" y="1069"/>
                  </a:lnTo>
                  <a:close/>
                  <a:moveTo>
                    <a:pt x="67" y="1069"/>
                  </a:moveTo>
                  <a:lnTo>
                    <a:pt x="67" y="1071"/>
                  </a:lnTo>
                  <a:lnTo>
                    <a:pt x="67" y="1069"/>
                  </a:lnTo>
                  <a:close/>
                  <a:moveTo>
                    <a:pt x="64" y="1069"/>
                  </a:moveTo>
                  <a:lnTo>
                    <a:pt x="62" y="1069"/>
                  </a:lnTo>
                  <a:lnTo>
                    <a:pt x="64" y="1069"/>
                  </a:lnTo>
                  <a:close/>
                  <a:moveTo>
                    <a:pt x="74" y="1069"/>
                  </a:moveTo>
                  <a:lnTo>
                    <a:pt x="76" y="1069"/>
                  </a:lnTo>
                  <a:lnTo>
                    <a:pt x="74" y="1069"/>
                  </a:lnTo>
                  <a:close/>
                  <a:moveTo>
                    <a:pt x="69" y="1069"/>
                  </a:moveTo>
                  <a:lnTo>
                    <a:pt x="67" y="1069"/>
                  </a:lnTo>
                  <a:lnTo>
                    <a:pt x="69" y="1069"/>
                  </a:lnTo>
                  <a:close/>
                  <a:moveTo>
                    <a:pt x="88" y="1069"/>
                  </a:moveTo>
                  <a:lnTo>
                    <a:pt x="86" y="1069"/>
                  </a:lnTo>
                  <a:lnTo>
                    <a:pt x="88" y="1069"/>
                  </a:lnTo>
                  <a:close/>
                  <a:moveTo>
                    <a:pt x="76" y="1069"/>
                  </a:moveTo>
                  <a:lnTo>
                    <a:pt x="74" y="1069"/>
                  </a:lnTo>
                  <a:lnTo>
                    <a:pt x="76" y="1069"/>
                  </a:lnTo>
                  <a:lnTo>
                    <a:pt x="76" y="1067"/>
                  </a:lnTo>
                  <a:lnTo>
                    <a:pt x="76" y="1069"/>
                  </a:lnTo>
                  <a:close/>
                  <a:moveTo>
                    <a:pt x="67" y="1069"/>
                  </a:moveTo>
                  <a:lnTo>
                    <a:pt x="67" y="1067"/>
                  </a:lnTo>
                  <a:lnTo>
                    <a:pt x="67" y="1069"/>
                  </a:lnTo>
                  <a:close/>
                  <a:moveTo>
                    <a:pt x="79" y="1069"/>
                  </a:moveTo>
                  <a:lnTo>
                    <a:pt x="79" y="1067"/>
                  </a:lnTo>
                  <a:lnTo>
                    <a:pt x="79" y="1069"/>
                  </a:lnTo>
                  <a:close/>
                  <a:moveTo>
                    <a:pt x="81" y="1067"/>
                  </a:moveTo>
                  <a:lnTo>
                    <a:pt x="79" y="1067"/>
                  </a:lnTo>
                  <a:lnTo>
                    <a:pt x="81" y="1067"/>
                  </a:lnTo>
                  <a:close/>
                  <a:moveTo>
                    <a:pt x="79" y="1067"/>
                  </a:moveTo>
                  <a:lnTo>
                    <a:pt x="76" y="1067"/>
                  </a:lnTo>
                  <a:lnTo>
                    <a:pt x="79" y="1067"/>
                  </a:lnTo>
                  <a:close/>
                  <a:moveTo>
                    <a:pt x="76" y="1067"/>
                  </a:moveTo>
                  <a:lnTo>
                    <a:pt x="74" y="1067"/>
                  </a:lnTo>
                  <a:lnTo>
                    <a:pt x="76" y="1067"/>
                  </a:lnTo>
                  <a:close/>
                  <a:moveTo>
                    <a:pt x="79" y="1067"/>
                  </a:moveTo>
                  <a:lnTo>
                    <a:pt x="76" y="1067"/>
                  </a:lnTo>
                  <a:lnTo>
                    <a:pt x="79" y="1067"/>
                  </a:lnTo>
                  <a:close/>
                  <a:moveTo>
                    <a:pt x="79" y="1067"/>
                  </a:moveTo>
                  <a:lnTo>
                    <a:pt x="79" y="1064"/>
                  </a:lnTo>
                  <a:lnTo>
                    <a:pt x="79" y="1067"/>
                  </a:lnTo>
                  <a:close/>
                  <a:moveTo>
                    <a:pt x="81" y="1064"/>
                  </a:moveTo>
                  <a:lnTo>
                    <a:pt x="81" y="1067"/>
                  </a:lnTo>
                  <a:lnTo>
                    <a:pt x="81" y="1064"/>
                  </a:lnTo>
                  <a:close/>
                  <a:moveTo>
                    <a:pt x="76" y="1067"/>
                  </a:moveTo>
                  <a:lnTo>
                    <a:pt x="76" y="1064"/>
                  </a:lnTo>
                  <a:lnTo>
                    <a:pt x="76" y="1067"/>
                  </a:lnTo>
                  <a:close/>
                  <a:moveTo>
                    <a:pt x="76" y="1064"/>
                  </a:moveTo>
                  <a:lnTo>
                    <a:pt x="76" y="1067"/>
                  </a:lnTo>
                  <a:lnTo>
                    <a:pt x="76" y="1064"/>
                  </a:lnTo>
                  <a:close/>
                  <a:moveTo>
                    <a:pt x="81" y="1064"/>
                  </a:moveTo>
                  <a:lnTo>
                    <a:pt x="79" y="1064"/>
                  </a:lnTo>
                  <a:lnTo>
                    <a:pt x="81" y="1064"/>
                  </a:lnTo>
                  <a:close/>
                  <a:moveTo>
                    <a:pt x="81" y="1062"/>
                  </a:moveTo>
                  <a:lnTo>
                    <a:pt x="81" y="1064"/>
                  </a:lnTo>
                  <a:lnTo>
                    <a:pt x="81" y="1062"/>
                  </a:lnTo>
                  <a:close/>
                  <a:moveTo>
                    <a:pt x="109" y="1062"/>
                  </a:moveTo>
                  <a:lnTo>
                    <a:pt x="107" y="1062"/>
                  </a:lnTo>
                  <a:lnTo>
                    <a:pt x="109" y="1062"/>
                  </a:lnTo>
                  <a:close/>
                  <a:moveTo>
                    <a:pt x="117" y="1062"/>
                  </a:moveTo>
                  <a:lnTo>
                    <a:pt x="114" y="1062"/>
                  </a:lnTo>
                  <a:lnTo>
                    <a:pt x="117" y="1062"/>
                  </a:lnTo>
                  <a:close/>
                  <a:moveTo>
                    <a:pt x="81" y="1062"/>
                  </a:moveTo>
                  <a:lnTo>
                    <a:pt x="81" y="1060"/>
                  </a:lnTo>
                  <a:lnTo>
                    <a:pt x="81" y="1062"/>
                  </a:lnTo>
                  <a:close/>
                  <a:moveTo>
                    <a:pt x="83" y="1062"/>
                  </a:moveTo>
                  <a:lnTo>
                    <a:pt x="83" y="1060"/>
                  </a:lnTo>
                  <a:lnTo>
                    <a:pt x="83" y="1062"/>
                  </a:lnTo>
                  <a:close/>
                  <a:moveTo>
                    <a:pt x="138" y="1060"/>
                  </a:moveTo>
                  <a:lnTo>
                    <a:pt x="138" y="1062"/>
                  </a:lnTo>
                  <a:lnTo>
                    <a:pt x="138" y="1060"/>
                  </a:lnTo>
                  <a:close/>
                  <a:moveTo>
                    <a:pt x="90" y="1060"/>
                  </a:moveTo>
                  <a:lnTo>
                    <a:pt x="88" y="1060"/>
                  </a:lnTo>
                  <a:lnTo>
                    <a:pt x="90" y="1060"/>
                  </a:lnTo>
                  <a:close/>
                  <a:moveTo>
                    <a:pt x="93" y="1060"/>
                  </a:moveTo>
                  <a:lnTo>
                    <a:pt x="90" y="1060"/>
                  </a:lnTo>
                  <a:lnTo>
                    <a:pt x="93" y="1060"/>
                  </a:lnTo>
                  <a:close/>
                  <a:moveTo>
                    <a:pt x="98" y="1060"/>
                  </a:moveTo>
                  <a:lnTo>
                    <a:pt x="95" y="1060"/>
                  </a:lnTo>
                  <a:lnTo>
                    <a:pt x="98" y="1060"/>
                  </a:lnTo>
                  <a:close/>
                  <a:moveTo>
                    <a:pt x="98" y="1060"/>
                  </a:moveTo>
                  <a:lnTo>
                    <a:pt x="95" y="1060"/>
                  </a:lnTo>
                  <a:lnTo>
                    <a:pt x="98" y="1060"/>
                  </a:lnTo>
                  <a:close/>
                  <a:moveTo>
                    <a:pt x="90" y="1060"/>
                  </a:moveTo>
                  <a:lnTo>
                    <a:pt x="90" y="1057"/>
                  </a:lnTo>
                  <a:lnTo>
                    <a:pt x="90" y="1060"/>
                  </a:lnTo>
                  <a:close/>
                  <a:moveTo>
                    <a:pt x="102" y="1057"/>
                  </a:moveTo>
                  <a:lnTo>
                    <a:pt x="100" y="1057"/>
                  </a:lnTo>
                  <a:lnTo>
                    <a:pt x="102" y="1057"/>
                  </a:lnTo>
                  <a:close/>
                  <a:moveTo>
                    <a:pt x="98" y="1057"/>
                  </a:moveTo>
                  <a:lnTo>
                    <a:pt x="95" y="1057"/>
                  </a:lnTo>
                  <a:lnTo>
                    <a:pt x="98" y="1057"/>
                  </a:lnTo>
                  <a:close/>
                  <a:moveTo>
                    <a:pt x="100" y="1055"/>
                  </a:moveTo>
                  <a:lnTo>
                    <a:pt x="100" y="1057"/>
                  </a:lnTo>
                  <a:lnTo>
                    <a:pt x="100" y="1055"/>
                  </a:lnTo>
                  <a:close/>
                  <a:moveTo>
                    <a:pt x="100" y="1055"/>
                  </a:moveTo>
                  <a:lnTo>
                    <a:pt x="100" y="1057"/>
                  </a:lnTo>
                  <a:lnTo>
                    <a:pt x="100" y="1055"/>
                  </a:lnTo>
                  <a:close/>
                  <a:moveTo>
                    <a:pt x="105" y="1057"/>
                  </a:moveTo>
                  <a:lnTo>
                    <a:pt x="105" y="1055"/>
                  </a:lnTo>
                  <a:lnTo>
                    <a:pt x="105" y="1057"/>
                  </a:lnTo>
                  <a:close/>
                  <a:moveTo>
                    <a:pt x="100" y="1057"/>
                  </a:moveTo>
                  <a:lnTo>
                    <a:pt x="100" y="1055"/>
                  </a:lnTo>
                  <a:lnTo>
                    <a:pt x="100" y="1057"/>
                  </a:lnTo>
                  <a:close/>
                  <a:moveTo>
                    <a:pt x="100" y="1055"/>
                  </a:moveTo>
                  <a:lnTo>
                    <a:pt x="98" y="1055"/>
                  </a:lnTo>
                  <a:lnTo>
                    <a:pt x="100" y="1055"/>
                  </a:lnTo>
                  <a:close/>
                  <a:moveTo>
                    <a:pt x="98" y="1055"/>
                  </a:moveTo>
                  <a:lnTo>
                    <a:pt x="95" y="1055"/>
                  </a:lnTo>
                  <a:lnTo>
                    <a:pt x="98" y="1055"/>
                  </a:lnTo>
                  <a:close/>
                  <a:moveTo>
                    <a:pt x="102" y="1055"/>
                  </a:moveTo>
                  <a:lnTo>
                    <a:pt x="100" y="1055"/>
                  </a:lnTo>
                  <a:lnTo>
                    <a:pt x="102" y="1055"/>
                  </a:lnTo>
                  <a:close/>
                  <a:moveTo>
                    <a:pt x="93" y="1055"/>
                  </a:moveTo>
                  <a:lnTo>
                    <a:pt x="90" y="1055"/>
                  </a:lnTo>
                  <a:lnTo>
                    <a:pt x="93" y="1055"/>
                  </a:lnTo>
                  <a:close/>
                  <a:moveTo>
                    <a:pt x="90" y="1052"/>
                  </a:moveTo>
                  <a:lnTo>
                    <a:pt x="90" y="1055"/>
                  </a:lnTo>
                  <a:lnTo>
                    <a:pt x="90" y="1052"/>
                  </a:lnTo>
                  <a:close/>
                  <a:moveTo>
                    <a:pt x="117" y="1052"/>
                  </a:moveTo>
                  <a:lnTo>
                    <a:pt x="117" y="1055"/>
                  </a:lnTo>
                  <a:lnTo>
                    <a:pt x="117" y="1052"/>
                  </a:lnTo>
                  <a:close/>
                  <a:moveTo>
                    <a:pt x="114" y="1052"/>
                  </a:moveTo>
                  <a:lnTo>
                    <a:pt x="114" y="1050"/>
                  </a:lnTo>
                  <a:lnTo>
                    <a:pt x="114" y="1052"/>
                  </a:lnTo>
                  <a:close/>
                  <a:moveTo>
                    <a:pt x="114" y="1050"/>
                  </a:moveTo>
                  <a:lnTo>
                    <a:pt x="112" y="1050"/>
                  </a:lnTo>
                  <a:lnTo>
                    <a:pt x="114" y="1050"/>
                  </a:lnTo>
                  <a:close/>
                  <a:moveTo>
                    <a:pt x="114" y="1050"/>
                  </a:moveTo>
                  <a:lnTo>
                    <a:pt x="112" y="1050"/>
                  </a:lnTo>
                  <a:lnTo>
                    <a:pt x="114" y="1050"/>
                  </a:lnTo>
                  <a:close/>
                  <a:moveTo>
                    <a:pt x="105" y="1048"/>
                  </a:moveTo>
                  <a:lnTo>
                    <a:pt x="105" y="1050"/>
                  </a:lnTo>
                  <a:lnTo>
                    <a:pt x="105" y="1048"/>
                  </a:lnTo>
                  <a:close/>
                  <a:moveTo>
                    <a:pt x="114" y="1050"/>
                  </a:moveTo>
                  <a:lnTo>
                    <a:pt x="114" y="1048"/>
                  </a:lnTo>
                  <a:lnTo>
                    <a:pt x="114" y="1050"/>
                  </a:lnTo>
                  <a:close/>
                  <a:moveTo>
                    <a:pt x="114" y="1050"/>
                  </a:moveTo>
                  <a:lnTo>
                    <a:pt x="114" y="1048"/>
                  </a:lnTo>
                  <a:lnTo>
                    <a:pt x="114" y="1050"/>
                  </a:lnTo>
                  <a:close/>
                  <a:moveTo>
                    <a:pt x="114" y="1048"/>
                  </a:moveTo>
                  <a:lnTo>
                    <a:pt x="112" y="1050"/>
                  </a:lnTo>
                  <a:lnTo>
                    <a:pt x="114" y="1048"/>
                  </a:lnTo>
                  <a:close/>
                  <a:moveTo>
                    <a:pt x="119" y="1045"/>
                  </a:moveTo>
                  <a:lnTo>
                    <a:pt x="119" y="1048"/>
                  </a:lnTo>
                  <a:lnTo>
                    <a:pt x="119" y="1045"/>
                  </a:lnTo>
                  <a:close/>
                  <a:moveTo>
                    <a:pt x="112" y="1045"/>
                  </a:moveTo>
                  <a:lnTo>
                    <a:pt x="109" y="1045"/>
                  </a:lnTo>
                  <a:lnTo>
                    <a:pt x="112" y="1045"/>
                  </a:lnTo>
                  <a:close/>
                  <a:moveTo>
                    <a:pt x="112" y="1045"/>
                  </a:moveTo>
                  <a:lnTo>
                    <a:pt x="109" y="1045"/>
                  </a:lnTo>
                  <a:lnTo>
                    <a:pt x="112" y="1045"/>
                  </a:lnTo>
                  <a:close/>
                  <a:moveTo>
                    <a:pt x="107" y="1045"/>
                  </a:moveTo>
                  <a:lnTo>
                    <a:pt x="109" y="1045"/>
                  </a:lnTo>
                  <a:lnTo>
                    <a:pt x="107" y="1045"/>
                  </a:lnTo>
                  <a:close/>
                  <a:moveTo>
                    <a:pt x="126" y="1045"/>
                  </a:moveTo>
                  <a:lnTo>
                    <a:pt x="124" y="1045"/>
                  </a:lnTo>
                  <a:lnTo>
                    <a:pt x="126" y="1045"/>
                  </a:lnTo>
                  <a:close/>
                  <a:moveTo>
                    <a:pt x="128" y="1043"/>
                  </a:moveTo>
                  <a:lnTo>
                    <a:pt x="128" y="1045"/>
                  </a:lnTo>
                  <a:lnTo>
                    <a:pt x="128" y="1043"/>
                  </a:lnTo>
                  <a:close/>
                  <a:moveTo>
                    <a:pt x="109" y="1045"/>
                  </a:moveTo>
                  <a:lnTo>
                    <a:pt x="109" y="1043"/>
                  </a:lnTo>
                  <a:lnTo>
                    <a:pt x="109" y="1045"/>
                  </a:lnTo>
                  <a:close/>
                  <a:moveTo>
                    <a:pt x="117" y="1045"/>
                  </a:moveTo>
                  <a:lnTo>
                    <a:pt x="117" y="1043"/>
                  </a:lnTo>
                  <a:lnTo>
                    <a:pt x="117" y="1045"/>
                  </a:lnTo>
                  <a:close/>
                  <a:moveTo>
                    <a:pt x="117" y="1043"/>
                  </a:moveTo>
                  <a:lnTo>
                    <a:pt x="117" y="1045"/>
                  </a:lnTo>
                  <a:lnTo>
                    <a:pt x="117" y="1043"/>
                  </a:lnTo>
                  <a:close/>
                  <a:moveTo>
                    <a:pt x="119" y="1045"/>
                  </a:moveTo>
                  <a:lnTo>
                    <a:pt x="119" y="1043"/>
                  </a:lnTo>
                  <a:lnTo>
                    <a:pt x="119" y="1045"/>
                  </a:lnTo>
                  <a:close/>
                  <a:moveTo>
                    <a:pt x="126" y="1045"/>
                  </a:moveTo>
                  <a:lnTo>
                    <a:pt x="126" y="1043"/>
                  </a:lnTo>
                  <a:lnTo>
                    <a:pt x="126" y="1045"/>
                  </a:lnTo>
                  <a:close/>
                  <a:moveTo>
                    <a:pt x="109" y="1043"/>
                  </a:moveTo>
                  <a:lnTo>
                    <a:pt x="109" y="1045"/>
                  </a:lnTo>
                  <a:lnTo>
                    <a:pt x="109" y="1043"/>
                  </a:lnTo>
                  <a:close/>
                  <a:moveTo>
                    <a:pt x="131" y="1043"/>
                  </a:moveTo>
                  <a:lnTo>
                    <a:pt x="131" y="1045"/>
                  </a:lnTo>
                  <a:lnTo>
                    <a:pt x="131" y="1043"/>
                  </a:lnTo>
                  <a:close/>
                  <a:moveTo>
                    <a:pt x="112" y="1043"/>
                  </a:moveTo>
                  <a:lnTo>
                    <a:pt x="109" y="1043"/>
                  </a:lnTo>
                  <a:lnTo>
                    <a:pt x="112" y="1043"/>
                  </a:lnTo>
                  <a:lnTo>
                    <a:pt x="109" y="1043"/>
                  </a:lnTo>
                  <a:lnTo>
                    <a:pt x="112" y="1043"/>
                  </a:lnTo>
                  <a:close/>
                  <a:moveTo>
                    <a:pt x="112" y="1043"/>
                  </a:moveTo>
                  <a:lnTo>
                    <a:pt x="109" y="1043"/>
                  </a:lnTo>
                  <a:lnTo>
                    <a:pt x="112" y="1043"/>
                  </a:lnTo>
                  <a:close/>
                  <a:moveTo>
                    <a:pt x="117" y="1043"/>
                  </a:moveTo>
                  <a:lnTo>
                    <a:pt x="114" y="1043"/>
                  </a:lnTo>
                  <a:lnTo>
                    <a:pt x="117" y="1043"/>
                  </a:lnTo>
                  <a:close/>
                  <a:moveTo>
                    <a:pt x="112" y="1043"/>
                  </a:moveTo>
                  <a:lnTo>
                    <a:pt x="109" y="1043"/>
                  </a:lnTo>
                  <a:lnTo>
                    <a:pt x="112" y="1043"/>
                  </a:lnTo>
                  <a:close/>
                  <a:moveTo>
                    <a:pt x="131" y="1043"/>
                  </a:moveTo>
                  <a:lnTo>
                    <a:pt x="133" y="1043"/>
                  </a:lnTo>
                  <a:lnTo>
                    <a:pt x="131" y="1043"/>
                  </a:lnTo>
                  <a:close/>
                  <a:moveTo>
                    <a:pt x="119" y="1043"/>
                  </a:moveTo>
                  <a:lnTo>
                    <a:pt x="117" y="1043"/>
                  </a:lnTo>
                  <a:lnTo>
                    <a:pt x="119" y="1043"/>
                  </a:lnTo>
                  <a:close/>
                  <a:moveTo>
                    <a:pt x="121" y="1043"/>
                  </a:moveTo>
                  <a:lnTo>
                    <a:pt x="119" y="1043"/>
                  </a:lnTo>
                  <a:lnTo>
                    <a:pt x="121" y="1043"/>
                  </a:lnTo>
                  <a:close/>
                  <a:moveTo>
                    <a:pt x="119" y="1043"/>
                  </a:moveTo>
                  <a:lnTo>
                    <a:pt x="117" y="1043"/>
                  </a:lnTo>
                  <a:lnTo>
                    <a:pt x="119" y="1043"/>
                  </a:lnTo>
                  <a:close/>
                  <a:moveTo>
                    <a:pt x="133" y="1043"/>
                  </a:moveTo>
                  <a:lnTo>
                    <a:pt x="131" y="1043"/>
                  </a:lnTo>
                  <a:lnTo>
                    <a:pt x="133" y="1043"/>
                  </a:lnTo>
                  <a:close/>
                  <a:moveTo>
                    <a:pt x="121" y="1043"/>
                  </a:moveTo>
                  <a:lnTo>
                    <a:pt x="119" y="1043"/>
                  </a:lnTo>
                  <a:lnTo>
                    <a:pt x="121" y="1043"/>
                  </a:lnTo>
                  <a:close/>
                  <a:moveTo>
                    <a:pt x="121" y="1043"/>
                  </a:moveTo>
                  <a:lnTo>
                    <a:pt x="119" y="1043"/>
                  </a:lnTo>
                  <a:lnTo>
                    <a:pt x="121" y="1043"/>
                  </a:lnTo>
                  <a:close/>
                  <a:moveTo>
                    <a:pt x="114" y="1041"/>
                  </a:moveTo>
                  <a:lnTo>
                    <a:pt x="114" y="1043"/>
                  </a:lnTo>
                  <a:lnTo>
                    <a:pt x="114" y="1041"/>
                  </a:lnTo>
                  <a:close/>
                  <a:moveTo>
                    <a:pt x="114" y="1043"/>
                  </a:moveTo>
                  <a:lnTo>
                    <a:pt x="114" y="1041"/>
                  </a:lnTo>
                  <a:lnTo>
                    <a:pt x="114" y="1043"/>
                  </a:lnTo>
                  <a:close/>
                  <a:moveTo>
                    <a:pt x="114" y="1043"/>
                  </a:moveTo>
                  <a:lnTo>
                    <a:pt x="114" y="1041"/>
                  </a:lnTo>
                  <a:lnTo>
                    <a:pt x="114" y="1043"/>
                  </a:lnTo>
                  <a:close/>
                  <a:moveTo>
                    <a:pt x="121" y="1041"/>
                  </a:moveTo>
                  <a:lnTo>
                    <a:pt x="121" y="1043"/>
                  </a:lnTo>
                  <a:lnTo>
                    <a:pt x="121" y="1041"/>
                  </a:lnTo>
                  <a:close/>
                  <a:moveTo>
                    <a:pt x="112" y="1041"/>
                  </a:moveTo>
                  <a:lnTo>
                    <a:pt x="109" y="1041"/>
                  </a:lnTo>
                  <a:lnTo>
                    <a:pt x="112" y="1041"/>
                  </a:lnTo>
                  <a:close/>
                  <a:moveTo>
                    <a:pt x="121" y="1041"/>
                  </a:moveTo>
                  <a:lnTo>
                    <a:pt x="119" y="1041"/>
                  </a:lnTo>
                  <a:lnTo>
                    <a:pt x="121" y="1041"/>
                  </a:lnTo>
                  <a:close/>
                  <a:moveTo>
                    <a:pt x="109" y="1041"/>
                  </a:moveTo>
                  <a:lnTo>
                    <a:pt x="107" y="1041"/>
                  </a:lnTo>
                  <a:lnTo>
                    <a:pt x="109" y="1041"/>
                  </a:lnTo>
                  <a:close/>
                  <a:moveTo>
                    <a:pt x="124" y="1041"/>
                  </a:moveTo>
                  <a:lnTo>
                    <a:pt x="121" y="1041"/>
                  </a:lnTo>
                  <a:lnTo>
                    <a:pt x="124" y="1041"/>
                  </a:lnTo>
                  <a:close/>
                  <a:moveTo>
                    <a:pt x="109" y="1041"/>
                  </a:moveTo>
                  <a:lnTo>
                    <a:pt x="107" y="1041"/>
                  </a:lnTo>
                  <a:lnTo>
                    <a:pt x="109" y="1041"/>
                  </a:lnTo>
                  <a:close/>
                  <a:moveTo>
                    <a:pt x="109" y="1041"/>
                  </a:moveTo>
                  <a:lnTo>
                    <a:pt x="107" y="1041"/>
                  </a:lnTo>
                  <a:lnTo>
                    <a:pt x="109" y="1041"/>
                  </a:lnTo>
                  <a:close/>
                  <a:moveTo>
                    <a:pt x="190" y="1041"/>
                  </a:moveTo>
                  <a:lnTo>
                    <a:pt x="188" y="1041"/>
                  </a:lnTo>
                  <a:lnTo>
                    <a:pt x="190" y="1041"/>
                  </a:lnTo>
                  <a:close/>
                  <a:moveTo>
                    <a:pt x="124" y="1041"/>
                  </a:moveTo>
                  <a:lnTo>
                    <a:pt x="121" y="1041"/>
                  </a:lnTo>
                  <a:lnTo>
                    <a:pt x="124" y="1041"/>
                  </a:lnTo>
                  <a:close/>
                  <a:moveTo>
                    <a:pt x="107" y="1041"/>
                  </a:moveTo>
                  <a:lnTo>
                    <a:pt x="109" y="1041"/>
                  </a:lnTo>
                  <a:lnTo>
                    <a:pt x="107" y="1041"/>
                  </a:lnTo>
                  <a:close/>
                  <a:moveTo>
                    <a:pt x="124" y="1041"/>
                  </a:moveTo>
                  <a:lnTo>
                    <a:pt x="121" y="1041"/>
                  </a:lnTo>
                  <a:lnTo>
                    <a:pt x="124" y="1041"/>
                  </a:lnTo>
                  <a:close/>
                  <a:moveTo>
                    <a:pt x="107" y="1038"/>
                  </a:moveTo>
                  <a:lnTo>
                    <a:pt x="107" y="1041"/>
                  </a:lnTo>
                  <a:lnTo>
                    <a:pt x="107" y="1038"/>
                  </a:lnTo>
                  <a:close/>
                  <a:moveTo>
                    <a:pt x="107" y="1041"/>
                  </a:moveTo>
                  <a:lnTo>
                    <a:pt x="107" y="1038"/>
                  </a:lnTo>
                  <a:lnTo>
                    <a:pt x="107" y="1041"/>
                  </a:lnTo>
                  <a:close/>
                  <a:moveTo>
                    <a:pt x="109" y="1038"/>
                  </a:moveTo>
                  <a:lnTo>
                    <a:pt x="107" y="1038"/>
                  </a:lnTo>
                  <a:lnTo>
                    <a:pt x="109" y="1038"/>
                  </a:lnTo>
                  <a:close/>
                  <a:moveTo>
                    <a:pt x="109" y="1038"/>
                  </a:moveTo>
                  <a:lnTo>
                    <a:pt x="107" y="1038"/>
                  </a:lnTo>
                  <a:lnTo>
                    <a:pt x="109" y="1038"/>
                  </a:lnTo>
                  <a:close/>
                  <a:moveTo>
                    <a:pt x="109" y="1038"/>
                  </a:moveTo>
                  <a:lnTo>
                    <a:pt x="107" y="1038"/>
                  </a:lnTo>
                  <a:lnTo>
                    <a:pt x="109" y="1038"/>
                  </a:lnTo>
                  <a:close/>
                  <a:moveTo>
                    <a:pt x="109" y="1038"/>
                  </a:moveTo>
                  <a:lnTo>
                    <a:pt x="107" y="1038"/>
                  </a:lnTo>
                  <a:lnTo>
                    <a:pt x="109" y="1038"/>
                  </a:lnTo>
                  <a:close/>
                  <a:moveTo>
                    <a:pt x="107" y="1038"/>
                  </a:moveTo>
                  <a:lnTo>
                    <a:pt x="107" y="1036"/>
                  </a:lnTo>
                  <a:lnTo>
                    <a:pt x="107" y="1038"/>
                  </a:lnTo>
                  <a:close/>
                  <a:moveTo>
                    <a:pt x="109" y="1036"/>
                  </a:moveTo>
                  <a:lnTo>
                    <a:pt x="109" y="1038"/>
                  </a:lnTo>
                  <a:lnTo>
                    <a:pt x="109" y="1036"/>
                  </a:lnTo>
                  <a:close/>
                  <a:moveTo>
                    <a:pt x="147" y="1036"/>
                  </a:moveTo>
                  <a:lnTo>
                    <a:pt x="145" y="1036"/>
                  </a:lnTo>
                  <a:lnTo>
                    <a:pt x="147" y="1036"/>
                  </a:lnTo>
                  <a:close/>
                  <a:moveTo>
                    <a:pt x="124" y="1036"/>
                  </a:moveTo>
                  <a:lnTo>
                    <a:pt x="126" y="1036"/>
                  </a:lnTo>
                  <a:lnTo>
                    <a:pt x="124" y="1036"/>
                  </a:lnTo>
                  <a:close/>
                  <a:moveTo>
                    <a:pt x="112" y="1036"/>
                  </a:moveTo>
                  <a:lnTo>
                    <a:pt x="109" y="1036"/>
                  </a:lnTo>
                  <a:lnTo>
                    <a:pt x="112" y="1036"/>
                  </a:lnTo>
                  <a:close/>
                  <a:moveTo>
                    <a:pt x="109" y="1036"/>
                  </a:moveTo>
                  <a:lnTo>
                    <a:pt x="109" y="1033"/>
                  </a:lnTo>
                  <a:lnTo>
                    <a:pt x="109" y="1036"/>
                  </a:lnTo>
                  <a:close/>
                  <a:moveTo>
                    <a:pt x="109" y="1036"/>
                  </a:moveTo>
                  <a:lnTo>
                    <a:pt x="109" y="1033"/>
                  </a:lnTo>
                  <a:lnTo>
                    <a:pt x="109" y="1036"/>
                  </a:lnTo>
                  <a:close/>
                  <a:moveTo>
                    <a:pt x="147" y="1033"/>
                  </a:moveTo>
                  <a:lnTo>
                    <a:pt x="145" y="1033"/>
                  </a:lnTo>
                  <a:lnTo>
                    <a:pt x="147" y="1033"/>
                  </a:lnTo>
                  <a:close/>
                  <a:moveTo>
                    <a:pt x="109" y="1036"/>
                  </a:moveTo>
                  <a:lnTo>
                    <a:pt x="109" y="1033"/>
                  </a:lnTo>
                  <a:lnTo>
                    <a:pt x="109" y="1036"/>
                  </a:lnTo>
                  <a:close/>
                  <a:moveTo>
                    <a:pt x="155" y="1033"/>
                  </a:moveTo>
                  <a:lnTo>
                    <a:pt x="155" y="1036"/>
                  </a:lnTo>
                  <a:lnTo>
                    <a:pt x="155" y="1033"/>
                  </a:lnTo>
                  <a:close/>
                  <a:moveTo>
                    <a:pt x="112" y="1033"/>
                  </a:moveTo>
                  <a:lnTo>
                    <a:pt x="112" y="1036"/>
                  </a:lnTo>
                  <a:lnTo>
                    <a:pt x="112" y="1033"/>
                  </a:lnTo>
                  <a:close/>
                  <a:moveTo>
                    <a:pt x="121" y="1033"/>
                  </a:moveTo>
                  <a:lnTo>
                    <a:pt x="119" y="1033"/>
                  </a:lnTo>
                  <a:lnTo>
                    <a:pt x="121" y="1033"/>
                  </a:lnTo>
                  <a:close/>
                  <a:moveTo>
                    <a:pt x="112" y="1033"/>
                  </a:moveTo>
                  <a:lnTo>
                    <a:pt x="109" y="1033"/>
                  </a:lnTo>
                  <a:lnTo>
                    <a:pt x="112" y="1033"/>
                  </a:lnTo>
                  <a:close/>
                  <a:moveTo>
                    <a:pt x="114" y="1033"/>
                  </a:moveTo>
                  <a:lnTo>
                    <a:pt x="112" y="1033"/>
                  </a:lnTo>
                  <a:lnTo>
                    <a:pt x="114" y="1033"/>
                  </a:lnTo>
                  <a:close/>
                  <a:moveTo>
                    <a:pt x="119" y="1033"/>
                  </a:moveTo>
                  <a:lnTo>
                    <a:pt x="117" y="1033"/>
                  </a:lnTo>
                  <a:lnTo>
                    <a:pt x="119" y="1033"/>
                  </a:lnTo>
                  <a:close/>
                  <a:moveTo>
                    <a:pt x="117" y="1033"/>
                  </a:moveTo>
                  <a:lnTo>
                    <a:pt x="119" y="1033"/>
                  </a:lnTo>
                  <a:lnTo>
                    <a:pt x="117" y="1033"/>
                  </a:lnTo>
                  <a:close/>
                  <a:moveTo>
                    <a:pt x="114" y="1033"/>
                  </a:moveTo>
                  <a:lnTo>
                    <a:pt x="112" y="1033"/>
                  </a:lnTo>
                  <a:lnTo>
                    <a:pt x="114" y="1033"/>
                  </a:lnTo>
                  <a:close/>
                  <a:moveTo>
                    <a:pt x="150" y="1033"/>
                  </a:moveTo>
                  <a:lnTo>
                    <a:pt x="150" y="1031"/>
                  </a:lnTo>
                  <a:lnTo>
                    <a:pt x="150" y="1033"/>
                  </a:lnTo>
                  <a:close/>
                  <a:moveTo>
                    <a:pt x="150" y="1031"/>
                  </a:moveTo>
                  <a:lnTo>
                    <a:pt x="150" y="1033"/>
                  </a:lnTo>
                  <a:lnTo>
                    <a:pt x="150" y="1031"/>
                  </a:lnTo>
                  <a:close/>
                  <a:moveTo>
                    <a:pt x="126" y="1033"/>
                  </a:moveTo>
                  <a:lnTo>
                    <a:pt x="124" y="1033"/>
                  </a:lnTo>
                  <a:lnTo>
                    <a:pt x="126" y="1031"/>
                  </a:lnTo>
                  <a:lnTo>
                    <a:pt x="126" y="1033"/>
                  </a:lnTo>
                  <a:close/>
                  <a:moveTo>
                    <a:pt x="126" y="1033"/>
                  </a:moveTo>
                  <a:lnTo>
                    <a:pt x="126" y="1031"/>
                  </a:lnTo>
                  <a:lnTo>
                    <a:pt x="126" y="1033"/>
                  </a:lnTo>
                  <a:close/>
                  <a:moveTo>
                    <a:pt x="150" y="1031"/>
                  </a:moveTo>
                  <a:lnTo>
                    <a:pt x="152" y="1031"/>
                  </a:lnTo>
                  <a:lnTo>
                    <a:pt x="150" y="1031"/>
                  </a:lnTo>
                  <a:close/>
                  <a:moveTo>
                    <a:pt x="126" y="1031"/>
                  </a:moveTo>
                  <a:lnTo>
                    <a:pt x="124" y="1031"/>
                  </a:lnTo>
                  <a:lnTo>
                    <a:pt x="126" y="1031"/>
                  </a:lnTo>
                  <a:close/>
                  <a:moveTo>
                    <a:pt x="128" y="1031"/>
                  </a:moveTo>
                  <a:lnTo>
                    <a:pt x="126" y="1031"/>
                  </a:lnTo>
                  <a:lnTo>
                    <a:pt x="128" y="1031"/>
                  </a:lnTo>
                  <a:close/>
                  <a:moveTo>
                    <a:pt x="126" y="1031"/>
                  </a:moveTo>
                  <a:lnTo>
                    <a:pt x="126" y="1029"/>
                  </a:lnTo>
                  <a:lnTo>
                    <a:pt x="126" y="1031"/>
                  </a:lnTo>
                  <a:close/>
                  <a:moveTo>
                    <a:pt x="128" y="1029"/>
                  </a:moveTo>
                  <a:lnTo>
                    <a:pt x="126" y="1029"/>
                  </a:lnTo>
                  <a:lnTo>
                    <a:pt x="128" y="1029"/>
                  </a:lnTo>
                  <a:close/>
                  <a:moveTo>
                    <a:pt x="128" y="1029"/>
                  </a:moveTo>
                  <a:lnTo>
                    <a:pt x="126" y="1029"/>
                  </a:lnTo>
                  <a:lnTo>
                    <a:pt x="128" y="1029"/>
                  </a:lnTo>
                  <a:close/>
                  <a:moveTo>
                    <a:pt x="128" y="1029"/>
                  </a:moveTo>
                  <a:lnTo>
                    <a:pt x="126" y="1029"/>
                  </a:lnTo>
                  <a:lnTo>
                    <a:pt x="128" y="1029"/>
                  </a:lnTo>
                  <a:close/>
                  <a:moveTo>
                    <a:pt x="128" y="1029"/>
                  </a:moveTo>
                  <a:lnTo>
                    <a:pt x="126" y="1029"/>
                  </a:lnTo>
                  <a:lnTo>
                    <a:pt x="128" y="1029"/>
                  </a:lnTo>
                  <a:close/>
                  <a:moveTo>
                    <a:pt x="128" y="1029"/>
                  </a:moveTo>
                  <a:lnTo>
                    <a:pt x="126" y="1029"/>
                  </a:lnTo>
                  <a:lnTo>
                    <a:pt x="128" y="1026"/>
                  </a:lnTo>
                  <a:lnTo>
                    <a:pt x="128" y="1029"/>
                  </a:lnTo>
                  <a:close/>
                  <a:moveTo>
                    <a:pt x="128" y="1029"/>
                  </a:moveTo>
                  <a:lnTo>
                    <a:pt x="128" y="1026"/>
                  </a:lnTo>
                  <a:lnTo>
                    <a:pt x="128" y="1029"/>
                  </a:lnTo>
                  <a:close/>
                  <a:moveTo>
                    <a:pt x="131" y="1026"/>
                  </a:moveTo>
                  <a:lnTo>
                    <a:pt x="128" y="1026"/>
                  </a:lnTo>
                  <a:lnTo>
                    <a:pt x="131" y="1026"/>
                  </a:lnTo>
                  <a:close/>
                  <a:moveTo>
                    <a:pt x="128" y="1026"/>
                  </a:moveTo>
                  <a:lnTo>
                    <a:pt x="126" y="1026"/>
                  </a:lnTo>
                  <a:lnTo>
                    <a:pt x="128" y="1026"/>
                  </a:lnTo>
                  <a:close/>
                  <a:moveTo>
                    <a:pt x="131" y="1026"/>
                  </a:moveTo>
                  <a:lnTo>
                    <a:pt x="128" y="1026"/>
                  </a:lnTo>
                  <a:lnTo>
                    <a:pt x="131" y="1026"/>
                  </a:lnTo>
                  <a:close/>
                  <a:moveTo>
                    <a:pt x="128" y="1026"/>
                  </a:moveTo>
                  <a:lnTo>
                    <a:pt x="126" y="1026"/>
                  </a:lnTo>
                  <a:lnTo>
                    <a:pt x="128" y="1026"/>
                  </a:lnTo>
                  <a:close/>
                  <a:moveTo>
                    <a:pt x="131" y="1026"/>
                  </a:moveTo>
                  <a:lnTo>
                    <a:pt x="133" y="1026"/>
                  </a:lnTo>
                  <a:lnTo>
                    <a:pt x="131" y="1026"/>
                  </a:lnTo>
                  <a:close/>
                  <a:moveTo>
                    <a:pt x="131" y="1026"/>
                  </a:moveTo>
                  <a:lnTo>
                    <a:pt x="128" y="1026"/>
                  </a:lnTo>
                  <a:lnTo>
                    <a:pt x="131" y="1026"/>
                  </a:lnTo>
                  <a:close/>
                  <a:moveTo>
                    <a:pt x="128" y="1026"/>
                  </a:moveTo>
                  <a:lnTo>
                    <a:pt x="126" y="1026"/>
                  </a:lnTo>
                  <a:lnTo>
                    <a:pt x="128" y="1026"/>
                  </a:lnTo>
                  <a:close/>
                  <a:moveTo>
                    <a:pt x="131" y="1026"/>
                  </a:moveTo>
                  <a:lnTo>
                    <a:pt x="128" y="1026"/>
                  </a:lnTo>
                  <a:lnTo>
                    <a:pt x="131" y="1026"/>
                  </a:lnTo>
                  <a:close/>
                  <a:moveTo>
                    <a:pt x="128" y="1026"/>
                  </a:moveTo>
                  <a:lnTo>
                    <a:pt x="126" y="1026"/>
                  </a:lnTo>
                  <a:lnTo>
                    <a:pt x="128" y="1026"/>
                  </a:lnTo>
                  <a:close/>
                  <a:moveTo>
                    <a:pt x="128" y="1026"/>
                  </a:moveTo>
                  <a:lnTo>
                    <a:pt x="131" y="1026"/>
                  </a:lnTo>
                  <a:lnTo>
                    <a:pt x="128" y="1026"/>
                  </a:lnTo>
                  <a:close/>
                  <a:moveTo>
                    <a:pt x="131" y="1026"/>
                  </a:moveTo>
                  <a:lnTo>
                    <a:pt x="128" y="1026"/>
                  </a:lnTo>
                  <a:lnTo>
                    <a:pt x="131" y="1026"/>
                  </a:lnTo>
                  <a:close/>
                  <a:moveTo>
                    <a:pt x="150" y="1026"/>
                  </a:moveTo>
                  <a:lnTo>
                    <a:pt x="150" y="1024"/>
                  </a:lnTo>
                  <a:lnTo>
                    <a:pt x="150" y="1026"/>
                  </a:lnTo>
                  <a:close/>
                  <a:moveTo>
                    <a:pt x="150" y="1026"/>
                  </a:moveTo>
                  <a:lnTo>
                    <a:pt x="150" y="1024"/>
                  </a:lnTo>
                  <a:lnTo>
                    <a:pt x="150" y="1026"/>
                  </a:lnTo>
                  <a:close/>
                  <a:moveTo>
                    <a:pt x="136" y="1024"/>
                  </a:moveTo>
                  <a:lnTo>
                    <a:pt x="136" y="1026"/>
                  </a:lnTo>
                  <a:lnTo>
                    <a:pt x="136" y="1024"/>
                  </a:lnTo>
                  <a:close/>
                  <a:moveTo>
                    <a:pt x="155" y="1024"/>
                  </a:moveTo>
                  <a:lnTo>
                    <a:pt x="155" y="1026"/>
                  </a:lnTo>
                  <a:lnTo>
                    <a:pt x="155" y="1024"/>
                  </a:lnTo>
                  <a:close/>
                  <a:moveTo>
                    <a:pt x="136" y="1026"/>
                  </a:moveTo>
                  <a:lnTo>
                    <a:pt x="136" y="1024"/>
                  </a:lnTo>
                  <a:lnTo>
                    <a:pt x="136" y="1026"/>
                  </a:lnTo>
                  <a:close/>
                  <a:moveTo>
                    <a:pt x="136" y="1024"/>
                  </a:moveTo>
                  <a:lnTo>
                    <a:pt x="136" y="1026"/>
                  </a:lnTo>
                  <a:lnTo>
                    <a:pt x="136" y="1024"/>
                  </a:lnTo>
                  <a:close/>
                  <a:moveTo>
                    <a:pt x="138" y="1024"/>
                  </a:moveTo>
                  <a:lnTo>
                    <a:pt x="136" y="1024"/>
                  </a:lnTo>
                  <a:lnTo>
                    <a:pt x="138" y="1024"/>
                  </a:lnTo>
                  <a:close/>
                  <a:moveTo>
                    <a:pt x="136" y="1024"/>
                  </a:moveTo>
                  <a:lnTo>
                    <a:pt x="133" y="1024"/>
                  </a:lnTo>
                  <a:lnTo>
                    <a:pt x="136" y="1024"/>
                  </a:lnTo>
                  <a:close/>
                  <a:moveTo>
                    <a:pt x="145" y="1024"/>
                  </a:moveTo>
                  <a:lnTo>
                    <a:pt x="143" y="1024"/>
                  </a:lnTo>
                  <a:lnTo>
                    <a:pt x="145" y="1024"/>
                  </a:lnTo>
                  <a:close/>
                  <a:moveTo>
                    <a:pt x="126" y="1024"/>
                  </a:moveTo>
                  <a:lnTo>
                    <a:pt x="124" y="1024"/>
                  </a:lnTo>
                  <a:lnTo>
                    <a:pt x="126" y="1024"/>
                  </a:lnTo>
                  <a:close/>
                  <a:moveTo>
                    <a:pt x="159" y="1024"/>
                  </a:moveTo>
                  <a:lnTo>
                    <a:pt x="159" y="1022"/>
                  </a:lnTo>
                  <a:lnTo>
                    <a:pt x="159" y="1024"/>
                  </a:lnTo>
                  <a:close/>
                  <a:moveTo>
                    <a:pt x="145" y="1022"/>
                  </a:moveTo>
                  <a:lnTo>
                    <a:pt x="145" y="1024"/>
                  </a:lnTo>
                  <a:lnTo>
                    <a:pt x="145" y="1022"/>
                  </a:lnTo>
                  <a:close/>
                  <a:moveTo>
                    <a:pt x="131" y="1024"/>
                  </a:moveTo>
                  <a:lnTo>
                    <a:pt x="131" y="1022"/>
                  </a:lnTo>
                  <a:lnTo>
                    <a:pt x="131" y="1024"/>
                  </a:lnTo>
                  <a:close/>
                  <a:moveTo>
                    <a:pt x="136" y="1022"/>
                  </a:moveTo>
                  <a:lnTo>
                    <a:pt x="136" y="1024"/>
                  </a:lnTo>
                  <a:lnTo>
                    <a:pt x="136" y="1022"/>
                  </a:lnTo>
                  <a:close/>
                  <a:moveTo>
                    <a:pt x="159" y="1022"/>
                  </a:moveTo>
                  <a:lnTo>
                    <a:pt x="159" y="1024"/>
                  </a:lnTo>
                  <a:lnTo>
                    <a:pt x="159" y="1022"/>
                  </a:lnTo>
                  <a:close/>
                  <a:moveTo>
                    <a:pt x="145" y="1024"/>
                  </a:moveTo>
                  <a:lnTo>
                    <a:pt x="143" y="1024"/>
                  </a:lnTo>
                  <a:lnTo>
                    <a:pt x="145" y="1022"/>
                  </a:lnTo>
                  <a:lnTo>
                    <a:pt x="145" y="1024"/>
                  </a:lnTo>
                  <a:close/>
                  <a:moveTo>
                    <a:pt x="138" y="1022"/>
                  </a:moveTo>
                  <a:lnTo>
                    <a:pt x="138" y="1024"/>
                  </a:lnTo>
                  <a:lnTo>
                    <a:pt x="136" y="1024"/>
                  </a:lnTo>
                  <a:lnTo>
                    <a:pt x="138" y="1022"/>
                  </a:lnTo>
                  <a:close/>
                  <a:moveTo>
                    <a:pt x="162" y="1022"/>
                  </a:moveTo>
                  <a:lnTo>
                    <a:pt x="162" y="1024"/>
                  </a:lnTo>
                  <a:lnTo>
                    <a:pt x="162" y="1022"/>
                  </a:lnTo>
                  <a:close/>
                  <a:moveTo>
                    <a:pt x="128" y="1024"/>
                  </a:moveTo>
                  <a:lnTo>
                    <a:pt x="128" y="1022"/>
                  </a:lnTo>
                  <a:lnTo>
                    <a:pt x="128" y="1024"/>
                  </a:lnTo>
                  <a:close/>
                  <a:moveTo>
                    <a:pt x="150" y="1022"/>
                  </a:moveTo>
                  <a:lnTo>
                    <a:pt x="150" y="1024"/>
                  </a:lnTo>
                  <a:lnTo>
                    <a:pt x="150" y="1022"/>
                  </a:lnTo>
                  <a:close/>
                  <a:moveTo>
                    <a:pt x="136" y="1024"/>
                  </a:moveTo>
                  <a:lnTo>
                    <a:pt x="136" y="1022"/>
                  </a:lnTo>
                  <a:lnTo>
                    <a:pt x="136" y="1024"/>
                  </a:lnTo>
                  <a:close/>
                  <a:moveTo>
                    <a:pt x="140" y="1022"/>
                  </a:moveTo>
                  <a:lnTo>
                    <a:pt x="138" y="1022"/>
                  </a:lnTo>
                  <a:lnTo>
                    <a:pt x="140" y="1022"/>
                  </a:lnTo>
                  <a:close/>
                  <a:moveTo>
                    <a:pt x="143" y="1022"/>
                  </a:moveTo>
                  <a:lnTo>
                    <a:pt x="140" y="1022"/>
                  </a:lnTo>
                  <a:lnTo>
                    <a:pt x="143" y="1022"/>
                  </a:lnTo>
                  <a:close/>
                  <a:moveTo>
                    <a:pt x="131" y="1022"/>
                  </a:moveTo>
                  <a:lnTo>
                    <a:pt x="131" y="1019"/>
                  </a:lnTo>
                  <a:lnTo>
                    <a:pt x="131" y="1022"/>
                  </a:lnTo>
                  <a:close/>
                  <a:moveTo>
                    <a:pt x="145" y="1019"/>
                  </a:moveTo>
                  <a:lnTo>
                    <a:pt x="145" y="1022"/>
                  </a:lnTo>
                  <a:lnTo>
                    <a:pt x="145" y="1019"/>
                  </a:lnTo>
                  <a:close/>
                  <a:moveTo>
                    <a:pt x="133" y="1019"/>
                  </a:moveTo>
                  <a:lnTo>
                    <a:pt x="133" y="1022"/>
                  </a:lnTo>
                  <a:lnTo>
                    <a:pt x="133" y="1019"/>
                  </a:lnTo>
                  <a:close/>
                  <a:moveTo>
                    <a:pt x="133" y="1019"/>
                  </a:moveTo>
                  <a:lnTo>
                    <a:pt x="133" y="1022"/>
                  </a:lnTo>
                  <a:lnTo>
                    <a:pt x="133" y="1019"/>
                  </a:lnTo>
                  <a:close/>
                  <a:moveTo>
                    <a:pt x="136" y="1019"/>
                  </a:moveTo>
                  <a:lnTo>
                    <a:pt x="133" y="1019"/>
                  </a:lnTo>
                  <a:lnTo>
                    <a:pt x="136" y="1019"/>
                  </a:lnTo>
                  <a:close/>
                  <a:moveTo>
                    <a:pt x="183" y="1019"/>
                  </a:moveTo>
                  <a:lnTo>
                    <a:pt x="181" y="1019"/>
                  </a:lnTo>
                  <a:lnTo>
                    <a:pt x="183" y="1019"/>
                  </a:lnTo>
                  <a:close/>
                  <a:moveTo>
                    <a:pt x="136" y="1019"/>
                  </a:moveTo>
                  <a:lnTo>
                    <a:pt x="133" y="1019"/>
                  </a:lnTo>
                  <a:lnTo>
                    <a:pt x="136" y="1019"/>
                  </a:lnTo>
                  <a:close/>
                  <a:moveTo>
                    <a:pt x="133" y="1019"/>
                  </a:moveTo>
                  <a:lnTo>
                    <a:pt x="136" y="1019"/>
                  </a:lnTo>
                  <a:lnTo>
                    <a:pt x="133" y="1019"/>
                  </a:lnTo>
                  <a:close/>
                  <a:moveTo>
                    <a:pt x="138" y="1019"/>
                  </a:moveTo>
                  <a:lnTo>
                    <a:pt x="136" y="1019"/>
                  </a:lnTo>
                  <a:lnTo>
                    <a:pt x="138" y="1019"/>
                  </a:lnTo>
                  <a:close/>
                  <a:moveTo>
                    <a:pt x="133" y="1019"/>
                  </a:moveTo>
                  <a:lnTo>
                    <a:pt x="133" y="1017"/>
                  </a:lnTo>
                  <a:lnTo>
                    <a:pt x="133" y="1019"/>
                  </a:lnTo>
                  <a:close/>
                  <a:moveTo>
                    <a:pt x="133" y="1017"/>
                  </a:moveTo>
                  <a:lnTo>
                    <a:pt x="133" y="1019"/>
                  </a:lnTo>
                  <a:lnTo>
                    <a:pt x="133" y="1017"/>
                  </a:lnTo>
                  <a:close/>
                  <a:moveTo>
                    <a:pt x="133" y="1017"/>
                  </a:moveTo>
                  <a:lnTo>
                    <a:pt x="133" y="1019"/>
                  </a:lnTo>
                  <a:lnTo>
                    <a:pt x="133" y="1017"/>
                  </a:lnTo>
                  <a:close/>
                  <a:moveTo>
                    <a:pt x="128" y="1019"/>
                  </a:moveTo>
                  <a:lnTo>
                    <a:pt x="128" y="1017"/>
                  </a:lnTo>
                  <a:lnTo>
                    <a:pt x="128" y="1019"/>
                  </a:lnTo>
                  <a:close/>
                  <a:moveTo>
                    <a:pt x="131" y="1019"/>
                  </a:moveTo>
                  <a:lnTo>
                    <a:pt x="131" y="1017"/>
                  </a:lnTo>
                  <a:lnTo>
                    <a:pt x="131" y="1019"/>
                  </a:lnTo>
                  <a:close/>
                  <a:moveTo>
                    <a:pt x="138" y="1017"/>
                  </a:moveTo>
                  <a:lnTo>
                    <a:pt x="138" y="1019"/>
                  </a:lnTo>
                  <a:lnTo>
                    <a:pt x="138" y="1017"/>
                  </a:lnTo>
                  <a:close/>
                  <a:moveTo>
                    <a:pt x="131" y="1017"/>
                  </a:moveTo>
                  <a:lnTo>
                    <a:pt x="131" y="1019"/>
                  </a:lnTo>
                  <a:lnTo>
                    <a:pt x="131" y="1017"/>
                  </a:lnTo>
                  <a:close/>
                  <a:moveTo>
                    <a:pt x="145" y="1017"/>
                  </a:moveTo>
                  <a:lnTo>
                    <a:pt x="145" y="1019"/>
                  </a:lnTo>
                  <a:lnTo>
                    <a:pt x="145" y="1017"/>
                  </a:lnTo>
                  <a:close/>
                  <a:moveTo>
                    <a:pt x="128" y="1017"/>
                  </a:moveTo>
                  <a:lnTo>
                    <a:pt x="128" y="1019"/>
                  </a:lnTo>
                  <a:lnTo>
                    <a:pt x="128" y="1017"/>
                  </a:lnTo>
                  <a:lnTo>
                    <a:pt x="128" y="1019"/>
                  </a:lnTo>
                  <a:lnTo>
                    <a:pt x="128" y="1017"/>
                  </a:lnTo>
                  <a:close/>
                  <a:moveTo>
                    <a:pt x="133" y="1017"/>
                  </a:moveTo>
                  <a:lnTo>
                    <a:pt x="133" y="1019"/>
                  </a:lnTo>
                  <a:lnTo>
                    <a:pt x="133" y="1017"/>
                  </a:lnTo>
                  <a:close/>
                  <a:moveTo>
                    <a:pt x="138" y="1017"/>
                  </a:moveTo>
                  <a:lnTo>
                    <a:pt x="138" y="1019"/>
                  </a:lnTo>
                  <a:lnTo>
                    <a:pt x="138" y="1017"/>
                  </a:lnTo>
                  <a:close/>
                  <a:moveTo>
                    <a:pt x="131" y="1017"/>
                  </a:moveTo>
                  <a:lnTo>
                    <a:pt x="128" y="1017"/>
                  </a:lnTo>
                  <a:lnTo>
                    <a:pt x="131" y="1017"/>
                  </a:lnTo>
                  <a:close/>
                  <a:moveTo>
                    <a:pt x="138" y="1017"/>
                  </a:moveTo>
                  <a:lnTo>
                    <a:pt x="136" y="1017"/>
                  </a:lnTo>
                  <a:lnTo>
                    <a:pt x="138" y="1017"/>
                  </a:lnTo>
                  <a:close/>
                  <a:moveTo>
                    <a:pt x="145" y="1017"/>
                  </a:moveTo>
                  <a:lnTo>
                    <a:pt x="143" y="1017"/>
                  </a:lnTo>
                  <a:lnTo>
                    <a:pt x="145" y="1017"/>
                  </a:lnTo>
                  <a:close/>
                  <a:moveTo>
                    <a:pt x="133" y="1017"/>
                  </a:moveTo>
                  <a:lnTo>
                    <a:pt x="131" y="1017"/>
                  </a:lnTo>
                  <a:lnTo>
                    <a:pt x="133" y="1017"/>
                  </a:lnTo>
                  <a:close/>
                  <a:moveTo>
                    <a:pt x="138" y="1017"/>
                  </a:moveTo>
                  <a:lnTo>
                    <a:pt x="136" y="1017"/>
                  </a:lnTo>
                  <a:lnTo>
                    <a:pt x="138" y="1017"/>
                  </a:lnTo>
                  <a:close/>
                  <a:moveTo>
                    <a:pt x="147" y="1017"/>
                  </a:moveTo>
                  <a:lnTo>
                    <a:pt x="145" y="1017"/>
                  </a:lnTo>
                  <a:lnTo>
                    <a:pt x="147" y="1017"/>
                  </a:lnTo>
                  <a:close/>
                  <a:moveTo>
                    <a:pt x="147" y="1017"/>
                  </a:moveTo>
                  <a:lnTo>
                    <a:pt x="145" y="1017"/>
                  </a:lnTo>
                  <a:lnTo>
                    <a:pt x="147" y="1017"/>
                  </a:lnTo>
                  <a:close/>
                  <a:moveTo>
                    <a:pt x="133" y="1014"/>
                  </a:moveTo>
                  <a:lnTo>
                    <a:pt x="133" y="1017"/>
                  </a:lnTo>
                  <a:lnTo>
                    <a:pt x="133" y="1014"/>
                  </a:lnTo>
                  <a:close/>
                  <a:moveTo>
                    <a:pt x="145" y="1014"/>
                  </a:moveTo>
                  <a:lnTo>
                    <a:pt x="147" y="1017"/>
                  </a:lnTo>
                  <a:lnTo>
                    <a:pt x="145" y="1017"/>
                  </a:lnTo>
                  <a:lnTo>
                    <a:pt x="145" y="1014"/>
                  </a:lnTo>
                  <a:close/>
                  <a:moveTo>
                    <a:pt x="140" y="1017"/>
                  </a:moveTo>
                  <a:lnTo>
                    <a:pt x="140" y="1014"/>
                  </a:lnTo>
                  <a:lnTo>
                    <a:pt x="140" y="1017"/>
                  </a:lnTo>
                  <a:close/>
                  <a:moveTo>
                    <a:pt x="145" y="1017"/>
                  </a:moveTo>
                  <a:lnTo>
                    <a:pt x="145" y="1014"/>
                  </a:lnTo>
                  <a:lnTo>
                    <a:pt x="145" y="1017"/>
                  </a:lnTo>
                  <a:close/>
                  <a:moveTo>
                    <a:pt x="143" y="1014"/>
                  </a:moveTo>
                  <a:lnTo>
                    <a:pt x="143" y="1017"/>
                  </a:lnTo>
                  <a:lnTo>
                    <a:pt x="143" y="1014"/>
                  </a:lnTo>
                  <a:close/>
                  <a:moveTo>
                    <a:pt x="164" y="1017"/>
                  </a:moveTo>
                  <a:lnTo>
                    <a:pt x="164" y="1014"/>
                  </a:lnTo>
                  <a:lnTo>
                    <a:pt x="164" y="1017"/>
                  </a:lnTo>
                  <a:close/>
                  <a:moveTo>
                    <a:pt x="145" y="1014"/>
                  </a:moveTo>
                  <a:lnTo>
                    <a:pt x="145" y="1017"/>
                  </a:lnTo>
                  <a:lnTo>
                    <a:pt x="145" y="1014"/>
                  </a:lnTo>
                  <a:close/>
                  <a:moveTo>
                    <a:pt x="128" y="1017"/>
                  </a:moveTo>
                  <a:lnTo>
                    <a:pt x="128" y="1014"/>
                  </a:lnTo>
                  <a:lnTo>
                    <a:pt x="128" y="1017"/>
                  </a:lnTo>
                  <a:close/>
                  <a:moveTo>
                    <a:pt x="145" y="1014"/>
                  </a:moveTo>
                  <a:lnTo>
                    <a:pt x="147" y="1014"/>
                  </a:lnTo>
                  <a:lnTo>
                    <a:pt x="145" y="1014"/>
                  </a:lnTo>
                  <a:close/>
                  <a:moveTo>
                    <a:pt x="140" y="1014"/>
                  </a:moveTo>
                  <a:lnTo>
                    <a:pt x="138" y="1014"/>
                  </a:lnTo>
                  <a:lnTo>
                    <a:pt x="140" y="1014"/>
                  </a:lnTo>
                  <a:close/>
                  <a:moveTo>
                    <a:pt x="140" y="1014"/>
                  </a:moveTo>
                  <a:lnTo>
                    <a:pt x="138" y="1014"/>
                  </a:lnTo>
                  <a:lnTo>
                    <a:pt x="140" y="1014"/>
                  </a:lnTo>
                  <a:close/>
                  <a:moveTo>
                    <a:pt x="128" y="1014"/>
                  </a:moveTo>
                  <a:lnTo>
                    <a:pt x="126" y="1014"/>
                  </a:lnTo>
                  <a:lnTo>
                    <a:pt x="128" y="1014"/>
                  </a:lnTo>
                  <a:close/>
                  <a:moveTo>
                    <a:pt x="131" y="1014"/>
                  </a:moveTo>
                  <a:lnTo>
                    <a:pt x="128" y="1014"/>
                  </a:lnTo>
                  <a:lnTo>
                    <a:pt x="131" y="1014"/>
                  </a:lnTo>
                  <a:close/>
                  <a:moveTo>
                    <a:pt x="166" y="1014"/>
                  </a:moveTo>
                  <a:lnTo>
                    <a:pt x="164" y="1014"/>
                  </a:lnTo>
                  <a:lnTo>
                    <a:pt x="166" y="1014"/>
                  </a:lnTo>
                  <a:close/>
                  <a:moveTo>
                    <a:pt x="166" y="1014"/>
                  </a:moveTo>
                  <a:lnTo>
                    <a:pt x="164" y="1014"/>
                  </a:lnTo>
                  <a:lnTo>
                    <a:pt x="166" y="1014"/>
                  </a:lnTo>
                  <a:close/>
                  <a:moveTo>
                    <a:pt x="166" y="1012"/>
                  </a:moveTo>
                  <a:lnTo>
                    <a:pt x="166" y="1014"/>
                  </a:lnTo>
                  <a:lnTo>
                    <a:pt x="166" y="1012"/>
                  </a:lnTo>
                  <a:close/>
                  <a:moveTo>
                    <a:pt x="166" y="1012"/>
                  </a:moveTo>
                  <a:lnTo>
                    <a:pt x="166" y="1014"/>
                  </a:lnTo>
                  <a:lnTo>
                    <a:pt x="166" y="1012"/>
                  </a:lnTo>
                  <a:close/>
                  <a:moveTo>
                    <a:pt x="131" y="1014"/>
                  </a:moveTo>
                  <a:lnTo>
                    <a:pt x="131" y="1012"/>
                  </a:lnTo>
                  <a:lnTo>
                    <a:pt x="131" y="1014"/>
                  </a:lnTo>
                  <a:close/>
                  <a:moveTo>
                    <a:pt x="136" y="1012"/>
                  </a:moveTo>
                  <a:lnTo>
                    <a:pt x="136" y="1014"/>
                  </a:lnTo>
                  <a:lnTo>
                    <a:pt x="136" y="1012"/>
                  </a:lnTo>
                  <a:close/>
                  <a:moveTo>
                    <a:pt x="166" y="1012"/>
                  </a:moveTo>
                  <a:lnTo>
                    <a:pt x="166" y="1014"/>
                  </a:lnTo>
                  <a:lnTo>
                    <a:pt x="166" y="1012"/>
                  </a:lnTo>
                  <a:close/>
                  <a:moveTo>
                    <a:pt x="128" y="1012"/>
                  </a:moveTo>
                  <a:lnTo>
                    <a:pt x="128" y="1014"/>
                  </a:lnTo>
                  <a:lnTo>
                    <a:pt x="128" y="1012"/>
                  </a:lnTo>
                  <a:close/>
                  <a:moveTo>
                    <a:pt x="140" y="1012"/>
                  </a:moveTo>
                  <a:lnTo>
                    <a:pt x="140" y="1014"/>
                  </a:lnTo>
                  <a:lnTo>
                    <a:pt x="140" y="1012"/>
                  </a:lnTo>
                  <a:close/>
                  <a:moveTo>
                    <a:pt x="131" y="1012"/>
                  </a:moveTo>
                  <a:lnTo>
                    <a:pt x="131" y="1014"/>
                  </a:lnTo>
                  <a:lnTo>
                    <a:pt x="131" y="1012"/>
                  </a:lnTo>
                  <a:close/>
                  <a:moveTo>
                    <a:pt x="166" y="1012"/>
                  </a:moveTo>
                  <a:lnTo>
                    <a:pt x="166" y="1014"/>
                  </a:lnTo>
                  <a:lnTo>
                    <a:pt x="166" y="1012"/>
                  </a:lnTo>
                  <a:close/>
                  <a:moveTo>
                    <a:pt x="131" y="1012"/>
                  </a:moveTo>
                  <a:lnTo>
                    <a:pt x="131" y="1014"/>
                  </a:lnTo>
                  <a:lnTo>
                    <a:pt x="128" y="1014"/>
                  </a:lnTo>
                  <a:lnTo>
                    <a:pt x="128" y="1012"/>
                  </a:lnTo>
                  <a:lnTo>
                    <a:pt x="131" y="1012"/>
                  </a:lnTo>
                  <a:close/>
                  <a:moveTo>
                    <a:pt x="131" y="1012"/>
                  </a:moveTo>
                  <a:lnTo>
                    <a:pt x="128" y="1012"/>
                  </a:lnTo>
                  <a:lnTo>
                    <a:pt x="131" y="1012"/>
                  </a:lnTo>
                  <a:close/>
                  <a:moveTo>
                    <a:pt x="133" y="1012"/>
                  </a:moveTo>
                  <a:lnTo>
                    <a:pt x="131" y="1012"/>
                  </a:lnTo>
                  <a:lnTo>
                    <a:pt x="133" y="1012"/>
                  </a:lnTo>
                  <a:close/>
                  <a:moveTo>
                    <a:pt x="131" y="1012"/>
                  </a:moveTo>
                  <a:lnTo>
                    <a:pt x="128" y="1012"/>
                  </a:lnTo>
                  <a:lnTo>
                    <a:pt x="131" y="1012"/>
                  </a:lnTo>
                  <a:close/>
                  <a:moveTo>
                    <a:pt x="133" y="1012"/>
                  </a:moveTo>
                  <a:lnTo>
                    <a:pt x="131" y="1012"/>
                  </a:lnTo>
                  <a:lnTo>
                    <a:pt x="133" y="1012"/>
                  </a:lnTo>
                  <a:close/>
                  <a:moveTo>
                    <a:pt x="133" y="1012"/>
                  </a:moveTo>
                  <a:lnTo>
                    <a:pt x="131" y="1012"/>
                  </a:lnTo>
                  <a:lnTo>
                    <a:pt x="133" y="1012"/>
                  </a:lnTo>
                  <a:close/>
                  <a:moveTo>
                    <a:pt x="136" y="1012"/>
                  </a:moveTo>
                  <a:lnTo>
                    <a:pt x="133" y="1012"/>
                  </a:lnTo>
                  <a:lnTo>
                    <a:pt x="136" y="1012"/>
                  </a:lnTo>
                  <a:lnTo>
                    <a:pt x="133" y="1012"/>
                  </a:lnTo>
                  <a:lnTo>
                    <a:pt x="136" y="1012"/>
                  </a:lnTo>
                  <a:close/>
                  <a:moveTo>
                    <a:pt x="174" y="1012"/>
                  </a:moveTo>
                  <a:lnTo>
                    <a:pt x="171" y="1012"/>
                  </a:lnTo>
                  <a:lnTo>
                    <a:pt x="174" y="1012"/>
                  </a:lnTo>
                  <a:close/>
                  <a:moveTo>
                    <a:pt x="136" y="1012"/>
                  </a:moveTo>
                  <a:lnTo>
                    <a:pt x="133" y="1012"/>
                  </a:lnTo>
                  <a:lnTo>
                    <a:pt x="136" y="1012"/>
                  </a:lnTo>
                  <a:close/>
                  <a:moveTo>
                    <a:pt x="136" y="1012"/>
                  </a:moveTo>
                  <a:lnTo>
                    <a:pt x="133" y="1012"/>
                  </a:lnTo>
                  <a:lnTo>
                    <a:pt x="136" y="1012"/>
                  </a:lnTo>
                  <a:close/>
                  <a:moveTo>
                    <a:pt x="136" y="1012"/>
                  </a:moveTo>
                  <a:lnTo>
                    <a:pt x="133" y="1012"/>
                  </a:lnTo>
                  <a:lnTo>
                    <a:pt x="136" y="1012"/>
                  </a:lnTo>
                  <a:close/>
                  <a:moveTo>
                    <a:pt x="133" y="1010"/>
                  </a:moveTo>
                  <a:lnTo>
                    <a:pt x="133" y="1012"/>
                  </a:lnTo>
                  <a:lnTo>
                    <a:pt x="133" y="1010"/>
                  </a:lnTo>
                  <a:close/>
                  <a:moveTo>
                    <a:pt x="169" y="1012"/>
                  </a:moveTo>
                  <a:lnTo>
                    <a:pt x="169" y="1010"/>
                  </a:lnTo>
                  <a:lnTo>
                    <a:pt x="169" y="1012"/>
                  </a:lnTo>
                  <a:close/>
                  <a:moveTo>
                    <a:pt x="171" y="1012"/>
                  </a:moveTo>
                  <a:lnTo>
                    <a:pt x="171" y="1010"/>
                  </a:lnTo>
                  <a:lnTo>
                    <a:pt x="171" y="1012"/>
                  </a:lnTo>
                  <a:close/>
                  <a:moveTo>
                    <a:pt x="143" y="1012"/>
                  </a:moveTo>
                  <a:lnTo>
                    <a:pt x="140" y="1012"/>
                  </a:lnTo>
                  <a:lnTo>
                    <a:pt x="140" y="1010"/>
                  </a:lnTo>
                  <a:lnTo>
                    <a:pt x="143" y="1012"/>
                  </a:lnTo>
                  <a:close/>
                  <a:moveTo>
                    <a:pt x="133" y="1010"/>
                  </a:moveTo>
                  <a:lnTo>
                    <a:pt x="133" y="1012"/>
                  </a:lnTo>
                  <a:lnTo>
                    <a:pt x="133" y="1010"/>
                  </a:lnTo>
                  <a:close/>
                  <a:moveTo>
                    <a:pt x="136" y="1010"/>
                  </a:moveTo>
                  <a:lnTo>
                    <a:pt x="133" y="1010"/>
                  </a:lnTo>
                  <a:lnTo>
                    <a:pt x="136" y="1010"/>
                  </a:lnTo>
                  <a:close/>
                  <a:moveTo>
                    <a:pt x="133" y="1010"/>
                  </a:moveTo>
                  <a:lnTo>
                    <a:pt x="133" y="1012"/>
                  </a:lnTo>
                  <a:lnTo>
                    <a:pt x="133" y="1010"/>
                  </a:lnTo>
                  <a:close/>
                  <a:moveTo>
                    <a:pt x="216" y="1010"/>
                  </a:moveTo>
                  <a:lnTo>
                    <a:pt x="219" y="1010"/>
                  </a:lnTo>
                  <a:lnTo>
                    <a:pt x="216" y="1010"/>
                  </a:lnTo>
                  <a:close/>
                  <a:moveTo>
                    <a:pt x="145" y="1010"/>
                  </a:moveTo>
                  <a:lnTo>
                    <a:pt x="143" y="1010"/>
                  </a:lnTo>
                  <a:lnTo>
                    <a:pt x="145" y="1010"/>
                  </a:lnTo>
                  <a:close/>
                  <a:moveTo>
                    <a:pt x="143" y="1010"/>
                  </a:moveTo>
                  <a:lnTo>
                    <a:pt x="145" y="1010"/>
                  </a:lnTo>
                  <a:lnTo>
                    <a:pt x="143" y="1010"/>
                  </a:lnTo>
                  <a:close/>
                  <a:moveTo>
                    <a:pt x="145" y="1010"/>
                  </a:moveTo>
                  <a:lnTo>
                    <a:pt x="147" y="1010"/>
                  </a:lnTo>
                  <a:lnTo>
                    <a:pt x="145" y="1010"/>
                  </a:lnTo>
                  <a:close/>
                  <a:moveTo>
                    <a:pt x="178" y="1010"/>
                  </a:moveTo>
                  <a:lnTo>
                    <a:pt x="176" y="1010"/>
                  </a:lnTo>
                  <a:lnTo>
                    <a:pt x="178" y="1010"/>
                  </a:lnTo>
                  <a:close/>
                  <a:moveTo>
                    <a:pt x="178" y="1007"/>
                  </a:moveTo>
                  <a:lnTo>
                    <a:pt x="178" y="1010"/>
                  </a:lnTo>
                  <a:lnTo>
                    <a:pt x="178" y="1007"/>
                  </a:lnTo>
                  <a:close/>
                  <a:moveTo>
                    <a:pt x="181" y="1007"/>
                  </a:moveTo>
                  <a:lnTo>
                    <a:pt x="181" y="1010"/>
                  </a:lnTo>
                  <a:lnTo>
                    <a:pt x="181" y="1007"/>
                  </a:lnTo>
                  <a:close/>
                  <a:moveTo>
                    <a:pt x="147" y="1007"/>
                  </a:moveTo>
                  <a:lnTo>
                    <a:pt x="145" y="1007"/>
                  </a:lnTo>
                  <a:lnTo>
                    <a:pt x="147" y="1007"/>
                  </a:lnTo>
                  <a:close/>
                  <a:moveTo>
                    <a:pt x="147" y="1007"/>
                  </a:moveTo>
                  <a:lnTo>
                    <a:pt x="150" y="1007"/>
                  </a:lnTo>
                  <a:lnTo>
                    <a:pt x="147" y="1007"/>
                  </a:lnTo>
                  <a:close/>
                  <a:moveTo>
                    <a:pt x="150" y="1007"/>
                  </a:moveTo>
                  <a:lnTo>
                    <a:pt x="147" y="1007"/>
                  </a:lnTo>
                  <a:lnTo>
                    <a:pt x="150" y="1007"/>
                  </a:lnTo>
                  <a:close/>
                  <a:moveTo>
                    <a:pt x="145" y="1007"/>
                  </a:moveTo>
                  <a:lnTo>
                    <a:pt x="143" y="1007"/>
                  </a:lnTo>
                  <a:lnTo>
                    <a:pt x="145" y="1007"/>
                  </a:lnTo>
                  <a:lnTo>
                    <a:pt x="143" y="1007"/>
                  </a:lnTo>
                  <a:lnTo>
                    <a:pt x="145" y="1007"/>
                  </a:lnTo>
                  <a:close/>
                  <a:moveTo>
                    <a:pt x="169" y="1007"/>
                  </a:moveTo>
                  <a:lnTo>
                    <a:pt x="166" y="1007"/>
                  </a:lnTo>
                  <a:lnTo>
                    <a:pt x="169" y="1007"/>
                  </a:lnTo>
                  <a:close/>
                  <a:moveTo>
                    <a:pt x="150" y="1007"/>
                  </a:moveTo>
                  <a:lnTo>
                    <a:pt x="152" y="1007"/>
                  </a:lnTo>
                  <a:lnTo>
                    <a:pt x="150" y="1007"/>
                  </a:lnTo>
                  <a:close/>
                  <a:moveTo>
                    <a:pt x="150" y="1007"/>
                  </a:moveTo>
                  <a:lnTo>
                    <a:pt x="150" y="1005"/>
                  </a:lnTo>
                  <a:lnTo>
                    <a:pt x="150" y="1007"/>
                  </a:lnTo>
                  <a:close/>
                  <a:moveTo>
                    <a:pt x="152" y="1007"/>
                  </a:moveTo>
                  <a:lnTo>
                    <a:pt x="152" y="1005"/>
                  </a:lnTo>
                  <a:lnTo>
                    <a:pt x="152" y="1007"/>
                  </a:lnTo>
                  <a:close/>
                  <a:moveTo>
                    <a:pt x="143" y="1005"/>
                  </a:moveTo>
                  <a:lnTo>
                    <a:pt x="143" y="1007"/>
                  </a:lnTo>
                  <a:lnTo>
                    <a:pt x="143" y="1005"/>
                  </a:lnTo>
                  <a:close/>
                  <a:moveTo>
                    <a:pt x="147" y="1007"/>
                  </a:moveTo>
                  <a:lnTo>
                    <a:pt x="147" y="1005"/>
                  </a:lnTo>
                  <a:lnTo>
                    <a:pt x="147" y="1007"/>
                  </a:lnTo>
                  <a:close/>
                  <a:moveTo>
                    <a:pt x="150" y="1005"/>
                  </a:moveTo>
                  <a:lnTo>
                    <a:pt x="150" y="1007"/>
                  </a:lnTo>
                  <a:lnTo>
                    <a:pt x="150" y="1005"/>
                  </a:lnTo>
                  <a:close/>
                  <a:moveTo>
                    <a:pt x="169" y="1005"/>
                  </a:moveTo>
                  <a:lnTo>
                    <a:pt x="169" y="1007"/>
                  </a:lnTo>
                  <a:lnTo>
                    <a:pt x="169" y="1005"/>
                  </a:lnTo>
                  <a:close/>
                  <a:moveTo>
                    <a:pt x="150" y="1005"/>
                  </a:moveTo>
                  <a:lnTo>
                    <a:pt x="147" y="1005"/>
                  </a:lnTo>
                  <a:lnTo>
                    <a:pt x="150" y="1005"/>
                  </a:lnTo>
                  <a:close/>
                  <a:moveTo>
                    <a:pt x="150" y="1005"/>
                  </a:moveTo>
                  <a:lnTo>
                    <a:pt x="147" y="1005"/>
                  </a:lnTo>
                  <a:lnTo>
                    <a:pt x="150" y="1005"/>
                  </a:lnTo>
                  <a:close/>
                  <a:moveTo>
                    <a:pt x="155" y="1005"/>
                  </a:moveTo>
                  <a:lnTo>
                    <a:pt x="152" y="1005"/>
                  </a:lnTo>
                  <a:lnTo>
                    <a:pt x="155" y="1005"/>
                  </a:lnTo>
                  <a:close/>
                  <a:moveTo>
                    <a:pt x="152" y="1003"/>
                  </a:moveTo>
                  <a:lnTo>
                    <a:pt x="152" y="1005"/>
                  </a:lnTo>
                  <a:lnTo>
                    <a:pt x="152" y="1003"/>
                  </a:lnTo>
                  <a:close/>
                  <a:moveTo>
                    <a:pt x="223" y="1003"/>
                  </a:moveTo>
                  <a:lnTo>
                    <a:pt x="226" y="1003"/>
                  </a:lnTo>
                  <a:lnTo>
                    <a:pt x="223" y="1003"/>
                  </a:lnTo>
                  <a:close/>
                  <a:moveTo>
                    <a:pt x="183" y="1003"/>
                  </a:moveTo>
                  <a:lnTo>
                    <a:pt x="181" y="1003"/>
                  </a:lnTo>
                  <a:lnTo>
                    <a:pt x="183" y="1003"/>
                  </a:lnTo>
                  <a:close/>
                  <a:moveTo>
                    <a:pt x="176" y="1003"/>
                  </a:moveTo>
                  <a:lnTo>
                    <a:pt x="178" y="1003"/>
                  </a:lnTo>
                  <a:lnTo>
                    <a:pt x="176" y="1003"/>
                  </a:lnTo>
                  <a:close/>
                  <a:moveTo>
                    <a:pt x="181" y="1003"/>
                  </a:moveTo>
                  <a:lnTo>
                    <a:pt x="178" y="1003"/>
                  </a:lnTo>
                  <a:lnTo>
                    <a:pt x="181" y="1003"/>
                  </a:lnTo>
                  <a:close/>
                  <a:moveTo>
                    <a:pt x="157" y="1003"/>
                  </a:moveTo>
                  <a:lnTo>
                    <a:pt x="155" y="1003"/>
                  </a:lnTo>
                  <a:lnTo>
                    <a:pt x="157" y="1003"/>
                  </a:lnTo>
                  <a:close/>
                  <a:moveTo>
                    <a:pt x="178" y="1003"/>
                  </a:moveTo>
                  <a:lnTo>
                    <a:pt x="176" y="1003"/>
                  </a:lnTo>
                  <a:lnTo>
                    <a:pt x="178" y="1003"/>
                  </a:lnTo>
                  <a:close/>
                  <a:moveTo>
                    <a:pt x="157" y="1003"/>
                  </a:moveTo>
                  <a:lnTo>
                    <a:pt x="157" y="1000"/>
                  </a:lnTo>
                  <a:lnTo>
                    <a:pt x="157" y="1003"/>
                  </a:lnTo>
                  <a:close/>
                  <a:moveTo>
                    <a:pt x="157" y="1000"/>
                  </a:moveTo>
                  <a:lnTo>
                    <a:pt x="157" y="1003"/>
                  </a:lnTo>
                  <a:lnTo>
                    <a:pt x="157" y="1000"/>
                  </a:lnTo>
                  <a:close/>
                  <a:moveTo>
                    <a:pt x="157" y="1000"/>
                  </a:moveTo>
                  <a:lnTo>
                    <a:pt x="155" y="1000"/>
                  </a:lnTo>
                  <a:lnTo>
                    <a:pt x="157" y="1000"/>
                  </a:lnTo>
                  <a:close/>
                  <a:moveTo>
                    <a:pt x="157" y="1000"/>
                  </a:moveTo>
                  <a:lnTo>
                    <a:pt x="155" y="1000"/>
                  </a:lnTo>
                  <a:lnTo>
                    <a:pt x="157" y="1000"/>
                  </a:lnTo>
                  <a:close/>
                  <a:moveTo>
                    <a:pt x="188" y="995"/>
                  </a:moveTo>
                  <a:lnTo>
                    <a:pt x="185" y="995"/>
                  </a:lnTo>
                  <a:lnTo>
                    <a:pt x="188" y="995"/>
                  </a:lnTo>
                  <a:close/>
                  <a:moveTo>
                    <a:pt x="164" y="995"/>
                  </a:moveTo>
                  <a:lnTo>
                    <a:pt x="162" y="995"/>
                  </a:lnTo>
                  <a:lnTo>
                    <a:pt x="164" y="995"/>
                  </a:lnTo>
                  <a:close/>
                  <a:moveTo>
                    <a:pt x="185" y="993"/>
                  </a:moveTo>
                  <a:lnTo>
                    <a:pt x="183" y="993"/>
                  </a:lnTo>
                  <a:lnTo>
                    <a:pt x="185" y="993"/>
                  </a:lnTo>
                  <a:close/>
                  <a:moveTo>
                    <a:pt x="195" y="986"/>
                  </a:moveTo>
                  <a:lnTo>
                    <a:pt x="192" y="986"/>
                  </a:lnTo>
                  <a:lnTo>
                    <a:pt x="195" y="986"/>
                  </a:lnTo>
                  <a:close/>
                  <a:moveTo>
                    <a:pt x="197" y="986"/>
                  </a:moveTo>
                  <a:lnTo>
                    <a:pt x="197" y="984"/>
                  </a:lnTo>
                  <a:lnTo>
                    <a:pt x="197" y="986"/>
                  </a:lnTo>
                  <a:close/>
                  <a:moveTo>
                    <a:pt x="207" y="981"/>
                  </a:moveTo>
                  <a:lnTo>
                    <a:pt x="207" y="984"/>
                  </a:lnTo>
                  <a:lnTo>
                    <a:pt x="207" y="981"/>
                  </a:lnTo>
                  <a:close/>
                  <a:moveTo>
                    <a:pt x="209" y="981"/>
                  </a:moveTo>
                  <a:lnTo>
                    <a:pt x="207" y="981"/>
                  </a:lnTo>
                  <a:lnTo>
                    <a:pt x="209" y="981"/>
                  </a:lnTo>
                  <a:close/>
                  <a:moveTo>
                    <a:pt x="226" y="979"/>
                  </a:moveTo>
                  <a:lnTo>
                    <a:pt x="226" y="981"/>
                  </a:lnTo>
                  <a:lnTo>
                    <a:pt x="226" y="979"/>
                  </a:lnTo>
                  <a:close/>
                  <a:moveTo>
                    <a:pt x="200" y="979"/>
                  </a:moveTo>
                  <a:lnTo>
                    <a:pt x="200" y="981"/>
                  </a:lnTo>
                  <a:lnTo>
                    <a:pt x="200" y="979"/>
                  </a:lnTo>
                  <a:close/>
                  <a:moveTo>
                    <a:pt x="200" y="981"/>
                  </a:moveTo>
                  <a:lnTo>
                    <a:pt x="200" y="979"/>
                  </a:lnTo>
                  <a:lnTo>
                    <a:pt x="200" y="981"/>
                  </a:lnTo>
                  <a:close/>
                  <a:moveTo>
                    <a:pt x="230" y="981"/>
                  </a:moveTo>
                  <a:lnTo>
                    <a:pt x="230" y="979"/>
                  </a:lnTo>
                  <a:lnTo>
                    <a:pt x="230" y="981"/>
                  </a:lnTo>
                  <a:close/>
                  <a:moveTo>
                    <a:pt x="228" y="979"/>
                  </a:moveTo>
                  <a:lnTo>
                    <a:pt x="226" y="979"/>
                  </a:lnTo>
                  <a:lnTo>
                    <a:pt x="228" y="979"/>
                  </a:lnTo>
                  <a:lnTo>
                    <a:pt x="226" y="979"/>
                  </a:lnTo>
                  <a:lnTo>
                    <a:pt x="228" y="979"/>
                  </a:lnTo>
                  <a:close/>
                  <a:moveTo>
                    <a:pt x="204" y="976"/>
                  </a:moveTo>
                  <a:lnTo>
                    <a:pt x="202" y="976"/>
                  </a:lnTo>
                  <a:lnTo>
                    <a:pt x="204" y="976"/>
                  </a:lnTo>
                  <a:close/>
                  <a:moveTo>
                    <a:pt x="204" y="976"/>
                  </a:moveTo>
                  <a:lnTo>
                    <a:pt x="202" y="976"/>
                  </a:lnTo>
                  <a:lnTo>
                    <a:pt x="204" y="976"/>
                  </a:lnTo>
                  <a:close/>
                  <a:moveTo>
                    <a:pt x="204" y="976"/>
                  </a:moveTo>
                  <a:lnTo>
                    <a:pt x="202" y="976"/>
                  </a:lnTo>
                  <a:lnTo>
                    <a:pt x="204" y="976"/>
                  </a:lnTo>
                  <a:close/>
                  <a:moveTo>
                    <a:pt x="230" y="976"/>
                  </a:moveTo>
                  <a:lnTo>
                    <a:pt x="233" y="976"/>
                  </a:lnTo>
                  <a:lnTo>
                    <a:pt x="230" y="976"/>
                  </a:lnTo>
                  <a:close/>
                  <a:moveTo>
                    <a:pt x="202" y="976"/>
                  </a:moveTo>
                  <a:lnTo>
                    <a:pt x="202" y="974"/>
                  </a:lnTo>
                  <a:lnTo>
                    <a:pt x="202" y="976"/>
                  </a:lnTo>
                  <a:close/>
                  <a:moveTo>
                    <a:pt x="230" y="974"/>
                  </a:moveTo>
                  <a:lnTo>
                    <a:pt x="230" y="976"/>
                  </a:lnTo>
                  <a:lnTo>
                    <a:pt x="230" y="974"/>
                  </a:lnTo>
                  <a:close/>
                  <a:moveTo>
                    <a:pt x="204" y="976"/>
                  </a:moveTo>
                  <a:lnTo>
                    <a:pt x="204" y="974"/>
                  </a:lnTo>
                  <a:lnTo>
                    <a:pt x="204" y="976"/>
                  </a:lnTo>
                  <a:close/>
                  <a:moveTo>
                    <a:pt x="204" y="976"/>
                  </a:moveTo>
                  <a:lnTo>
                    <a:pt x="204" y="974"/>
                  </a:lnTo>
                  <a:lnTo>
                    <a:pt x="204" y="976"/>
                  </a:lnTo>
                  <a:close/>
                  <a:moveTo>
                    <a:pt x="219" y="974"/>
                  </a:moveTo>
                  <a:lnTo>
                    <a:pt x="219" y="976"/>
                  </a:lnTo>
                  <a:lnTo>
                    <a:pt x="219" y="974"/>
                  </a:lnTo>
                  <a:close/>
                  <a:moveTo>
                    <a:pt x="211" y="976"/>
                  </a:moveTo>
                  <a:lnTo>
                    <a:pt x="211" y="974"/>
                  </a:lnTo>
                  <a:lnTo>
                    <a:pt x="211" y="976"/>
                  </a:lnTo>
                  <a:close/>
                  <a:moveTo>
                    <a:pt x="230" y="974"/>
                  </a:moveTo>
                  <a:lnTo>
                    <a:pt x="228" y="974"/>
                  </a:lnTo>
                  <a:lnTo>
                    <a:pt x="230" y="974"/>
                  </a:lnTo>
                  <a:close/>
                  <a:moveTo>
                    <a:pt x="207" y="974"/>
                  </a:moveTo>
                  <a:lnTo>
                    <a:pt x="204" y="974"/>
                  </a:lnTo>
                  <a:lnTo>
                    <a:pt x="207" y="974"/>
                  </a:lnTo>
                  <a:close/>
                  <a:moveTo>
                    <a:pt x="233" y="972"/>
                  </a:moveTo>
                  <a:lnTo>
                    <a:pt x="233" y="974"/>
                  </a:lnTo>
                  <a:lnTo>
                    <a:pt x="233" y="972"/>
                  </a:lnTo>
                  <a:close/>
                  <a:moveTo>
                    <a:pt x="235" y="974"/>
                  </a:moveTo>
                  <a:lnTo>
                    <a:pt x="235" y="972"/>
                  </a:lnTo>
                  <a:lnTo>
                    <a:pt x="235" y="974"/>
                  </a:lnTo>
                  <a:close/>
                  <a:moveTo>
                    <a:pt x="233" y="972"/>
                  </a:moveTo>
                  <a:lnTo>
                    <a:pt x="235" y="972"/>
                  </a:lnTo>
                  <a:lnTo>
                    <a:pt x="233" y="972"/>
                  </a:lnTo>
                  <a:close/>
                  <a:moveTo>
                    <a:pt x="211" y="972"/>
                  </a:moveTo>
                  <a:lnTo>
                    <a:pt x="211" y="974"/>
                  </a:lnTo>
                  <a:lnTo>
                    <a:pt x="211" y="972"/>
                  </a:lnTo>
                  <a:lnTo>
                    <a:pt x="211" y="974"/>
                  </a:lnTo>
                  <a:lnTo>
                    <a:pt x="211" y="972"/>
                  </a:lnTo>
                  <a:close/>
                  <a:moveTo>
                    <a:pt x="235" y="972"/>
                  </a:moveTo>
                  <a:lnTo>
                    <a:pt x="233" y="972"/>
                  </a:lnTo>
                  <a:lnTo>
                    <a:pt x="235" y="972"/>
                  </a:lnTo>
                  <a:close/>
                  <a:moveTo>
                    <a:pt x="233" y="972"/>
                  </a:moveTo>
                  <a:lnTo>
                    <a:pt x="235" y="972"/>
                  </a:lnTo>
                  <a:lnTo>
                    <a:pt x="233" y="972"/>
                  </a:lnTo>
                  <a:close/>
                  <a:moveTo>
                    <a:pt x="211" y="969"/>
                  </a:moveTo>
                  <a:lnTo>
                    <a:pt x="214" y="972"/>
                  </a:lnTo>
                  <a:lnTo>
                    <a:pt x="211" y="972"/>
                  </a:lnTo>
                  <a:lnTo>
                    <a:pt x="211" y="969"/>
                  </a:lnTo>
                  <a:close/>
                  <a:moveTo>
                    <a:pt x="214" y="972"/>
                  </a:moveTo>
                  <a:lnTo>
                    <a:pt x="214" y="969"/>
                  </a:lnTo>
                  <a:lnTo>
                    <a:pt x="214" y="972"/>
                  </a:lnTo>
                  <a:close/>
                  <a:moveTo>
                    <a:pt x="216" y="972"/>
                  </a:moveTo>
                  <a:lnTo>
                    <a:pt x="216" y="969"/>
                  </a:lnTo>
                  <a:lnTo>
                    <a:pt x="216" y="972"/>
                  </a:lnTo>
                  <a:close/>
                  <a:moveTo>
                    <a:pt x="209" y="972"/>
                  </a:moveTo>
                  <a:lnTo>
                    <a:pt x="209" y="969"/>
                  </a:lnTo>
                  <a:lnTo>
                    <a:pt x="209" y="972"/>
                  </a:lnTo>
                  <a:close/>
                  <a:moveTo>
                    <a:pt x="221" y="967"/>
                  </a:moveTo>
                  <a:lnTo>
                    <a:pt x="223" y="967"/>
                  </a:lnTo>
                  <a:lnTo>
                    <a:pt x="221" y="967"/>
                  </a:lnTo>
                  <a:close/>
                  <a:moveTo>
                    <a:pt x="216" y="967"/>
                  </a:moveTo>
                  <a:lnTo>
                    <a:pt x="219" y="967"/>
                  </a:lnTo>
                  <a:lnTo>
                    <a:pt x="216" y="967"/>
                  </a:lnTo>
                  <a:close/>
                  <a:moveTo>
                    <a:pt x="219" y="965"/>
                  </a:moveTo>
                  <a:lnTo>
                    <a:pt x="221" y="965"/>
                  </a:lnTo>
                  <a:lnTo>
                    <a:pt x="219" y="965"/>
                  </a:lnTo>
                  <a:close/>
                  <a:moveTo>
                    <a:pt x="223" y="965"/>
                  </a:moveTo>
                  <a:lnTo>
                    <a:pt x="221" y="965"/>
                  </a:lnTo>
                  <a:lnTo>
                    <a:pt x="223" y="965"/>
                  </a:lnTo>
                  <a:close/>
                  <a:moveTo>
                    <a:pt x="221" y="962"/>
                  </a:moveTo>
                  <a:lnTo>
                    <a:pt x="221" y="965"/>
                  </a:lnTo>
                  <a:lnTo>
                    <a:pt x="221" y="962"/>
                  </a:lnTo>
                  <a:close/>
                  <a:moveTo>
                    <a:pt x="221" y="965"/>
                  </a:moveTo>
                  <a:lnTo>
                    <a:pt x="221" y="962"/>
                  </a:lnTo>
                  <a:lnTo>
                    <a:pt x="221" y="965"/>
                  </a:lnTo>
                  <a:close/>
                  <a:moveTo>
                    <a:pt x="209" y="962"/>
                  </a:moveTo>
                  <a:lnTo>
                    <a:pt x="207" y="962"/>
                  </a:lnTo>
                  <a:lnTo>
                    <a:pt x="209" y="962"/>
                  </a:lnTo>
                  <a:close/>
                  <a:moveTo>
                    <a:pt x="207" y="965"/>
                  </a:moveTo>
                  <a:lnTo>
                    <a:pt x="207" y="962"/>
                  </a:lnTo>
                  <a:lnTo>
                    <a:pt x="207" y="965"/>
                  </a:lnTo>
                  <a:close/>
                  <a:moveTo>
                    <a:pt x="209" y="962"/>
                  </a:moveTo>
                  <a:lnTo>
                    <a:pt x="207" y="962"/>
                  </a:lnTo>
                  <a:lnTo>
                    <a:pt x="209" y="962"/>
                  </a:lnTo>
                  <a:close/>
                  <a:moveTo>
                    <a:pt x="228" y="962"/>
                  </a:moveTo>
                  <a:lnTo>
                    <a:pt x="226" y="962"/>
                  </a:lnTo>
                  <a:lnTo>
                    <a:pt x="228" y="962"/>
                  </a:lnTo>
                  <a:close/>
                  <a:moveTo>
                    <a:pt x="223" y="962"/>
                  </a:moveTo>
                  <a:lnTo>
                    <a:pt x="221" y="962"/>
                  </a:lnTo>
                  <a:lnTo>
                    <a:pt x="223" y="962"/>
                  </a:lnTo>
                  <a:close/>
                  <a:moveTo>
                    <a:pt x="209" y="962"/>
                  </a:moveTo>
                  <a:lnTo>
                    <a:pt x="207" y="962"/>
                  </a:lnTo>
                  <a:lnTo>
                    <a:pt x="209" y="962"/>
                  </a:lnTo>
                  <a:close/>
                  <a:moveTo>
                    <a:pt x="202" y="962"/>
                  </a:moveTo>
                  <a:lnTo>
                    <a:pt x="200" y="962"/>
                  </a:lnTo>
                  <a:lnTo>
                    <a:pt x="202" y="962"/>
                  </a:lnTo>
                  <a:close/>
                  <a:moveTo>
                    <a:pt x="223" y="962"/>
                  </a:moveTo>
                  <a:lnTo>
                    <a:pt x="221" y="962"/>
                  </a:lnTo>
                  <a:lnTo>
                    <a:pt x="223" y="962"/>
                  </a:lnTo>
                  <a:close/>
                  <a:moveTo>
                    <a:pt x="209" y="962"/>
                  </a:moveTo>
                  <a:lnTo>
                    <a:pt x="207" y="962"/>
                  </a:lnTo>
                  <a:lnTo>
                    <a:pt x="209" y="962"/>
                  </a:lnTo>
                  <a:close/>
                  <a:moveTo>
                    <a:pt x="230" y="962"/>
                  </a:moveTo>
                  <a:lnTo>
                    <a:pt x="228" y="962"/>
                  </a:lnTo>
                  <a:lnTo>
                    <a:pt x="230" y="962"/>
                  </a:lnTo>
                  <a:close/>
                  <a:moveTo>
                    <a:pt x="230" y="962"/>
                  </a:moveTo>
                  <a:lnTo>
                    <a:pt x="230" y="960"/>
                  </a:lnTo>
                  <a:lnTo>
                    <a:pt x="230" y="962"/>
                  </a:lnTo>
                  <a:close/>
                  <a:moveTo>
                    <a:pt x="214" y="962"/>
                  </a:moveTo>
                  <a:lnTo>
                    <a:pt x="214" y="960"/>
                  </a:lnTo>
                  <a:lnTo>
                    <a:pt x="214" y="962"/>
                  </a:lnTo>
                  <a:close/>
                  <a:moveTo>
                    <a:pt x="223" y="962"/>
                  </a:moveTo>
                  <a:lnTo>
                    <a:pt x="223" y="960"/>
                  </a:lnTo>
                  <a:lnTo>
                    <a:pt x="223" y="962"/>
                  </a:lnTo>
                  <a:close/>
                  <a:moveTo>
                    <a:pt x="223" y="960"/>
                  </a:moveTo>
                  <a:lnTo>
                    <a:pt x="221" y="960"/>
                  </a:lnTo>
                  <a:lnTo>
                    <a:pt x="223" y="960"/>
                  </a:lnTo>
                  <a:close/>
                  <a:moveTo>
                    <a:pt x="204" y="960"/>
                  </a:moveTo>
                  <a:lnTo>
                    <a:pt x="202" y="960"/>
                  </a:lnTo>
                  <a:lnTo>
                    <a:pt x="204" y="960"/>
                  </a:lnTo>
                  <a:close/>
                  <a:moveTo>
                    <a:pt x="235" y="960"/>
                  </a:moveTo>
                  <a:lnTo>
                    <a:pt x="233" y="960"/>
                  </a:lnTo>
                  <a:lnTo>
                    <a:pt x="235" y="960"/>
                  </a:lnTo>
                  <a:close/>
                  <a:moveTo>
                    <a:pt x="219" y="960"/>
                  </a:moveTo>
                  <a:lnTo>
                    <a:pt x="221" y="960"/>
                  </a:lnTo>
                  <a:lnTo>
                    <a:pt x="219" y="960"/>
                  </a:lnTo>
                  <a:close/>
                  <a:moveTo>
                    <a:pt x="223" y="960"/>
                  </a:moveTo>
                  <a:lnTo>
                    <a:pt x="221" y="960"/>
                  </a:lnTo>
                  <a:lnTo>
                    <a:pt x="223" y="960"/>
                  </a:lnTo>
                  <a:close/>
                  <a:moveTo>
                    <a:pt x="216" y="960"/>
                  </a:moveTo>
                  <a:lnTo>
                    <a:pt x="214" y="960"/>
                  </a:lnTo>
                  <a:lnTo>
                    <a:pt x="216" y="960"/>
                  </a:lnTo>
                  <a:close/>
                  <a:moveTo>
                    <a:pt x="221" y="960"/>
                  </a:moveTo>
                  <a:lnTo>
                    <a:pt x="219" y="960"/>
                  </a:lnTo>
                  <a:lnTo>
                    <a:pt x="221" y="960"/>
                  </a:lnTo>
                  <a:close/>
                  <a:moveTo>
                    <a:pt x="207" y="960"/>
                  </a:moveTo>
                  <a:lnTo>
                    <a:pt x="207" y="957"/>
                  </a:lnTo>
                  <a:lnTo>
                    <a:pt x="207" y="960"/>
                  </a:lnTo>
                  <a:close/>
                  <a:moveTo>
                    <a:pt x="202" y="957"/>
                  </a:moveTo>
                  <a:lnTo>
                    <a:pt x="202" y="960"/>
                  </a:lnTo>
                  <a:lnTo>
                    <a:pt x="202" y="957"/>
                  </a:lnTo>
                  <a:close/>
                  <a:moveTo>
                    <a:pt x="207" y="960"/>
                  </a:moveTo>
                  <a:lnTo>
                    <a:pt x="207" y="957"/>
                  </a:lnTo>
                  <a:lnTo>
                    <a:pt x="207" y="960"/>
                  </a:lnTo>
                  <a:close/>
                  <a:moveTo>
                    <a:pt x="209" y="957"/>
                  </a:moveTo>
                  <a:lnTo>
                    <a:pt x="209" y="960"/>
                  </a:lnTo>
                  <a:lnTo>
                    <a:pt x="209" y="957"/>
                  </a:lnTo>
                  <a:close/>
                  <a:moveTo>
                    <a:pt x="214" y="957"/>
                  </a:moveTo>
                  <a:lnTo>
                    <a:pt x="214" y="960"/>
                  </a:lnTo>
                  <a:lnTo>
                    <a:pt x="214" y="957"/>
                  </a:lnTo>
                  <a:close/>
                  <a:moveTo>
                    <a:pt x="216" y="957"/>
                  </a:moveTo>
                  <a:lnTo>
                    <a:pt x="216" y="960"/>
                  </a:lnTo>
                  <a:lnTo>
                    <a:pt x="216" y="957"/>
                  </a:lnTo>
                  <a:close/>
                  <a:moveTo>
                    <a:pt x="202" y="957"/>
                  </a:moveTo>
                  <a:lnTo>
                    <a:pt x="202" y="960"/>
                  </a:lnTo>
                  <a:lnTo>
                    <a:pt x="202" y="957"/>
                  </a:lnTo>
                  <a:close/>
                  <a:moveTo>
                    <a:pt x="209" y="957"/>
                  </a:moveTo>
                  <a:lnTo>
                    <a:pt x="207" y="957"/>
                  </a:lnTo>
                  <a:lnTo>
                    <a:pt x="209" y="957"/>
                  </a:lnTo>
                  <a:close/>
                  <a:moveTo>
                    <a:pt x="216" y="957"/>
                  </a:moveTo>
                  <a:lnTo>
                    <a:pt x="216" y="960"/>
                  </a:lnTo>
                  <a:lnTo>
                    <a:pt x="216" y="957"/>
                  </a:lnTo>
                  <a:close/>
                  <a:moveTo>
                    <a:pt x="209" y="957"/>
                  </a:moveTo>
                  <a:lnTo>
                    <a:pt x="209" y="960"/>
                  </a:lnTo>
                  <a:lnTo>
                    <a:pt x="209" y="957"/>
                  </a:lnTo>
                  <a:close/>
                  <a:moveTo>
                    <a:pt x="214" y="957"/>
                  </a:moveTo>
                  <a:lnTo>
                    <a:pt x="214" y="960"/>
                  </a:lnTo>
                  <a:lnTo>
                    <a:pt x="214" y="957"/>
                  </a:lnTo>
                  <a:close/>
                  <a:moveTo>
                    <a:pt x="219" y="957"/>
                  </a:moveTo>
                  <a:lnTo>
                    <a:pt x="219" y="960"/>
                  </a:lnTo>
                  <a:lnTo>
                    <a:pt x="219" y="957"/>
                  </a:lnTo>
                  <a:close/>
                  <a:moveTo>
                    <a:pt x="216" y="957"/>
                  </a:moveTo>
                  <a:lnTo>
                    <a:pt x="216" y="960"/>
                  </a:lnTo>
                  <a:lnTo>
                    <a:pt x="216" y="957"/>
                  </a:lnTo>
                  <a:close/>
                  <a:moveTo>
                    <a:pt x="219" y="957"/>
                  </a:moveTo>
                  <a:lnTo>
                    <a:pt x="219" y="960"/>
                  </a:lnTo>
                  <a:lnTo>
                    <a:pt x="219" y="957"/>
                  </a:lnTo>
                  <a:close/>
                  <a:moveTo>
                    <a:pt x="223" y="957"/>
                  </a:moveTo>
                  <a:lnTo>
                    <a:pt x="223" y="960"/>
                  </a:lnTo>
                  <a:lnTo>
                    <a:pt x="223" y="957"/>
                  </a:lnTo>
                  <a:close/>
                  <a:moveTo>
                    <a:pt x="214" y="957"/>
                  </a:moveTo>
                  <a:lnTo>
                    <a:pt x="216" y="957"/>
                  </a:lnTo>
                  <a:lnTo>
                    <a:pt x="214" y="957"/>
                  </a:lnTo>
                  <a:close/>
                  <a:moveTo>
                    <a:pt x="207" y="957"/>
                  </a:moveTo>
                  <a:lnTo>
                    <a:pt x="204" y="957"/>
                  </a:lnTo>
                  <a:lnTo>
                    <a:pt x="207" y="957"/>
                  </a:lnTo>
                  <a:close/>
                  <a:moveTo>
                    <a:pt x="204" y="957"/>
                  </a:moveTo>
                  <a:lnTo>
                    <a:pt x="202" y="957"/>
                  </a:lnTo>
                  <a:lnTo>
                    <a:pt x="204" y="957"/>
                  </a:lnTo>
                  <a:close/>
                  <a:moveTo>
                    <a:pt x="214" y="957"/>
                  </a:moveTo>
                  <a:lnTo>
                    <a:pt x="211" y="957"/>
                  </a:lnTo>
                  <a:lnTo>
                    <a:pt x="214" y="957"/>
                  </a:lnTo>
                  <a:close/>
                  <a:moveTo>
                    <a:pt x="219" y="957"/>
                  </a:moveTo>
                  <a:lnTo>
                    <a:pt x="216" y="957"/>
                  </a:lnTo>
                  <a:lnTo>
                    <a:pt x="219" y="957"/>
                  </a:lnTo>
                  <a:close/>
                  <a:moveTo>
                    <a:pt x="204" y="957"/>
                  </a:moveTo>
                  <a:lnTo>
                    <a:pt x="202" y="957"/>
                  </a:lnTo>
                  <a:lnTo>
                    <a:pt x="204" y="957"/>
                  </a:lnTo>
                  <a:close/>
                  <a:moveTo>
                    <a:pt x="216" y="957"/>
                  </a:moveTo>
                  <a:lnTo>
                    <a:pt x="214" y="957"/>
                  </a:lnTo>
                  <a:lnTo>
                    <a:pt x="216" y="957"/>
                  </a:lnTo>
                  <a:close/>
                  <a:moveTo>
                    <a:pt x="204" y="957"/>
                  </a:moveTo>
                  <a:lnTo>
                    <a:pt x="204" y="955"/>
                  </a:lnTo>
                  <a:lnTo>
                    <a:pt x="204" y="957"/>
                  </a:lnTo>
                  <a:close/>
                  <a:moveTo>
                    <a:pt x="202" y="955"/>
                  </a:moveTo>
                  <a:lnTo>
                    <a:pt x="202" y="957"/>
                  </a:lnTo>
                  <a:lnTo>
                    <a:pt x="202" y="955"/>
                  </a:lnTo>
                  <a:close/>
                  <a:moveTo>
                    <a:pt x="204" y="955"/>
                  </a:moveTo>
                  <a:lnTo>
                    <a:pt x="202" y="955"/>
                  </a:lnTo>
                  <a:lnTo>
                    <a:pt x="204" y="955"/>
                  </a:lnTo>
                  <a:close/>
                  <a:moveTo>
                    <a:pt x="204" y="955"/>
                  </a:moveTo>
                  <a:lnTo>
                    <a:pt x="202" y="955"/>
                  </a:lnTo>
                  <a:lnTo>
                    <a:pt x="204" y="955"/>
                  </a:lnTo>
                  <a:close/>
                  <a:moveTo>
                    <a:pt x="202" y="955"/>
                  </a:moveTo>
                  <a:lnTo>
                    <a:pt x="204" y="955"/>
                  </a:lnTo>
                  <a:lnTo>
                    <a:pt x="202" y="955"/>
                  </a:lnTo>
                  <a:close/>
                  <a:moveTo>
                    <a:pt x="207" y="953"/>
                  </a:moveTo>
                  <a:lnTo>
                    <a:pt x="207" y="955"/>
                  </a:lnTo>
                  <a:lnTo>
                    <a:pt x="207" y="953"/>
                  </a:lnTo>
                  <a:close/>
                  <a:moveTo>
                    <a:pt x="202" y="953"/>
                  </a:moveTo>
                  <a:lnTo>
                    <a:pt x="202" y="955"/>
                  </a:lnTo>
                  <a:lnTo>
                    <a:pt x="202" y="953"/>
                  </a:lnTo>
                  <a:close/>
                  <a:moveTo>
                    <a:pt x="223" y="953"/>
                  </a:moveTo>
                  <a:lnTo>
                    <a:pt x="223" y="955"/>
                  </a:lnTo>
                  <a:lnTo>
                    <a:pt x="223" y="953"/>
                  </a:lnTo>
                  <a:lnTo>
                    <a:pt x="223" y="955"/>
                  </a:lnTo>
                  <a:lnTo>
                    <a:pt x="223" y="953"/>
                  </a:lnTo>
                  <a:close/>
                  <a:moveTo>
                    <a:pt x="226" y="953"/>
                  </a:moveTo>
                  <a:lnTo>
                    <a:pt x="226" y="955"/>
                  </a:lnTo>
                  <a:lnTo>
                    <a:pt x="226" y="953"/>
                  </a:lnTo>
                  <a:close/>
                  <a:moveTo>
                    <a:pt x="202" y="953"/>
                  </a:moveTo>
                  <a:lnTo>
                    <a:pt x="202" y="955"/>
                  </a:lnTo>
                  <a:lnTo>
                    <a:pt x="202" y="953"/>
                  </a:lnTo>
                  <a:close/>
                  <a:moveTo>
                    <a:pt x="223" y="953"/>
                  </a:moveTo>
                  <a:lnTo>
                    <a:pt x="223" y="955"/>
                  </a:lnTo>
                  <a:lnTo>
                    <a:pt x="223" y="953"/>
                  </a:lnTo>
                  <a:close/>
                  <a:moveTo>
                    <a:pt x="204" y="953"/>
                  </a:moveTo>
                  <a:lnTo>
                    <a:pt x="204" y="955"/>
                  </a:lnTo>
                  <a:lnTo>
                    <a:pt x="204" y="953"/>
                  </a:lnTo>
                  <a:close/>
                  <a:moveTo>
                    <a:pt x="204" y="953"/>
                  </a:moveTo>
                  <a:lnTo>
                    <a:pt x="204" y="955"/>
                  </a:lnTo>
                  <a:lnTo>
                    <a:pt x="204" y="953"/>
                  </a:lnTo>
                  <a:close/>
                  <a:moveTo>
                    <a:pt x="204" y="953"/>
                  </a:moveTo>
                  <a:lnTo>
                    <a:pt x="207" y="953"/>
                  </a:lnTo>
                  <a:lnTo>
                    <a:pt x="204" y="953"/>
                  </a:lnTo>
                  <a:close/>
                  <a:moveTo>
                    <a:pt x="211" y="953"/>
                  </a:moveTo>
                  <a:lnTo>
                    <a:pt x="209" y="953"/>
                  </a:lnTo>
                  <a:lnTo>
                    <a:pt x="211" y="953"/>
                  </a:lnTo>
                  <a:close/>
                  <a:moveTo>
                    <a:pt x="223" y="953"/>
                  </a:moveTo>
                  <a:lnTo>
                    <a:pt x="223" y="950"/>
                  </a:lnTo>
                  <a:lnTo>
                    <a:pt x="223" y="953"/>
                  </a:lnTo>
                  <a:close/>
                  <a:moveTo>
                    <a:pt x="221" y="950"/>
                  </a:moveTo>
                  <a:lnTo>
                    <a:pt x="221" y="953"/>
                  </a:lnTo>
                  <a:lnTo>
                    <a:pt x="221" y="950"/>
                  </a:lnTo>
                  <a:close/>
                  <a:moveTo>
                    <a:pt x="207" y="953"/>
                  </a:moveTo>
                  <a:lnTo>
                    <a:pt x="207" y="950"/>
                  </a:lnTo>
                  <a:lnTo>
                    <a:pt x="207" y="953"/>
                  </a:lnTo>
                  <a:close/>
                  <a:moveTo>
                    <a:pt x="207" y="953"/>
                  </a:moveTo>
                  <a:lnTo>
                    <a:pt x="207" y="950"/>
                  </a:lnTo>
                  <a:lnTo>
                    <a:pt x="209" y="950"/>
                  </a:lnTo>
                  <a:lnTo>
                    <a:pt x="209" y="953"/>
                  </a:lnTo>
                  <a:lnTo>
                    <a:pt x="207" y="953"/>
                  </a:lnTo>
                  <a:close/>
                  <a:moveTo>
                    <a:pt x="226" y="953"/>
                  </a:moveTo>
                  <a:lnTo>
                    <a:pt x="226" y="950"/>
                  </a:lnTo>
                  <a:lnTo>
                    <a:pt x="226" y="953"/>
                  </a:lnTo>
                  <a:close/>
                  <a:moveTo>
                    <a:pt x="209" y="950"/>
                  </a:moveTo>
                  <a:lnTo>
                    <a:pt x="207" y="950"/>
                  </a:lnTo>
                  <a:lnTo>
                    <a:pt x="209" y="950"/>
                  </a:lnTo>
                  <a:close/>
                  <a:moveTo>
                    <a:pt x="204" y="950"/>
                  </a:moveTo>
                  <a:lnTo>
                    <a:pt x="202" y="950"/>
                  </a:lnTo>
                  <a:lnTo>
                    <a:pt x="204" y="950"/>
                  </a:lnTo>
                  <a:close/>
                  <a:moveTo>
                    <a:pt x="207" y="950"/>
                  </a:moveTo>
                  <a:lnTo>
                    <a:pt x="204" y="950"/>
                  </a:lnTo>
                  <a:lnTo>
                    <a:pt x="207" y="950"/>
                  </a:lnTo>
                  <a:close/>
                  <a:moveTo>
                    <a:pt x="202" y="950"/>
                  </a:moveTo>
                  <a:lnTo>
                    <a:pt x="204" y="950"/>
                  </a:lnTo>
                  <a:lnTo>
                    <a:pt x="202" y="950"/>
                  </a:lnTo>
                  <a:close/>
                  <a:moveTo>
                    <a:pt x="233" y="950"/>
                  </a:moveTo>
                  <a:lnTo>
                    <a:pt x="230" y="950"/>
                  </a:lnTo>
                  <a:lnTo>
                    <a:pt x="233" y="950"/>
                  </a:lnTo>
                  <a:close/>
                  <a:moveTo>
                    <a:pt x="230" y="950"/>
                  </a:moveTo>
                  <a:lnTo>
                    <a:pt x="228" y="950"/>
                  </a:lnTo>
                  <a:lnTo>
                    <a:pt x="230" y="950"/>
                  </a:lnTo>
                  <a:close/>
                  <a:moveTo>
                    <a:pt x="233" y="950"/>
                  </a:moveTo>
                  <a:lnTo>
                    <a:pt x="230" y="950"/>
                  </a:lnTo>
                  <a:lnTo>
                    <a:pt x="233" y="950"/>
                  </a:lnTo>
                  <a:close/>
                  <a:moveTo>
                    <a:pt x="230" y="950"/>
                  </a:moveTo>
                  <a:lnTo>
                    <a:pt x="233" y="950"/>
                  </a:lnTo>
                  <a:lnTo>
                    <a:pt x="230" y="950"/>
                  </a:lnTo>
                  <a:close/>
                  <a:moveTo>
                    <a:pt x="233" y="950"/>
                  </a:moveTo>
                  <a:lnTo>
                    <a:pt x="230" y="950"/>
                  </a:lnTo>
                  <a:lnTo>
                    <a:pt x="233" y="950"/>
                  </a:lnTo>
                  <a:close/>
                  <a:moveTo>
                    <a:pt x="204" y="950"/>
                  </a:moveTo>
                  <a:lnTo>
                    <a:pt x="202" y="950"/>
                  </a:lnTo>
                  <a:lnTo>
                    <a:pt x="204" y="950"/>
                  </a:lnTo>
                  <a:close/>
                  <a:moveTo>
                    <a:pt x="216" y="950"/>
                  </a:moveTo>
                  <a:lnTo>
                    <a:pt x="214" y="950"/>
                  </a:lnTo>
                  <a:lnTo>
                    <a:pt x="216" y="950"/>
                  </a:lnTo>
                  <a:close/>
                  <a:moveTo>
                    <a:pt x="207" y="950"/>
                  </a:moveTo>
                  <a:lnTo>
                    <a:pt x="204" y="950"/>
                  </a:lnTo>
                  <a:lnTo>
                    <a:pt x="207" y="950"/>
                  </a:lnTo>
                  <a:close/>
                  <a:moveTo>
                    <a:pt x="214" y="950"/>
                  </a:moveTo>
                  <a:lnTo>
                    <a:pt x="214" y="948"/>
                  </a:lnTo>
                  <a:lnTo>
                    <a:pt x="214" y="950"/>
                  </a:lnTo>
                  <a:close/>
                  <a:moveTo>
                    <a:pt x="216" y="950"/>
                  </a:moveTo>
                  <a:lnTo>
                    <a:pt x="216" y="948"/>
                  </a:lnTo>
                  <a:lnTo>
                    <a:pt x="216" y="950"/>
                  </a:lnTo>
                  <a:close/>
                  <a:moveTo>
                    <a:pt x="214" y="948"/>
                  </a:moveTo>
                  <a:lnTo>
                    <a:pt x="214" y="950"/>
                  </a:lnTo>
                  <a:lnTo>
                    <a:pt x="214" y="948"/>
                  </a:lnTo>
                  <a:close/>
                  <a:moveTo>
                    <a:pt x="216" y="948"/>
                  </a:moveTo>
                  <a:lnTo>
                    <a:pt x="216" y="950"/>
                  </a:lnTo>
                  <a:lnTo>
                    <a:pt x="216" y="948"/>
                  </a:lnTo>
                  <a:close/>
                  <a:moveTo>
                    <a:pt x="216" y="948"/>
                  </a:moveTo>
                  <a:lnTo>
                    <a:pt x="216" y="950"/>
                  </a:lnTo>
                  <a:lnTo>
                    <a:pt x="216" y="948"/>
                  </a:lnTo>
                  <a:close/>
                  <a:moveTo>
                    <a:pt x="235" y="948"/>
                  </a:moveTo>
                  <a:lnTo>
                    <a:pt x="233" y="948"/>
                  </a:lnTo>
                  <a:lnTo>
                    <a:pt x="235" y="948"/>
                  </a:lnTo>
                  <a:close/>
                  <a:moveTo>
                    <a:pt x="219" y="948"/>
                  </a:moveTo>
                  <a:lnTo>
                    <a:pt x="216" y="948"/>
                  </a:lnTo>
                  <a:lnTo>
                    <a:pt x="219" y="948"/>
                  </a:lnTo>
                  <a:close/>
                  <a:moveTo>
                    <a:pt x="214" y="948"/>
                  </a:moveTo>
                  <a:lnTo>
                    <a:pt x="216" y="948"/>
                  </a:lnTo>
                  <a:lnTo>
                    <a:pt x="214" y="948"/>
                  </a:lnTo>
                  <a:close/>
                  <a:moveTo>
                    <a:pt x="219" y="948"/>
                  </a:moveTo>
                  <a:lnTo>
                    <a:pt x="216" y="948"/>
                  </a:lnTo>
                  <a:lnTo>
                    <a:pt x="219" y="948"/>
                  </a:lnTo>
                  <a:close/>
                  <a:moveTo>
                    <a:pt x="240" y="948"/>
                  </a:moveTo>
                  <a:lnTo>
                    <a:pt x="238" y="948"/>
                  </a:lnTo>
                  <a:lnTo>
                    <a:pt x="240" y="948"/>
                  </a:lnTo>
                  <a:close/>
                  <a:moveTo>
                    <a:pt x="216" y="948"/>
                  </a:moveTo>
                  <a:lnTo>
                    <a:pt x="214" y="948"/>
                  </a:lnTo>
                  <a:lnTo>
                    <a:pt x="216" y="948"/>
                  </a:lnTo>
                  <a:close/>
                  <a:moveTo>
                    <a:pt x="230" y="946"/>
                  </a:moveTo>
                  <a:lnTo>
                    <a:pt x="230" y="948"/>
                  </a:lnTo>
                  <a:lnTo>
                    <a:pt x="230" y="946"/>
                  </a:lnTo>
                  <a:close/>
                  <a:moveTo>
                    <a:pt x="216" y="948"/>
                  </a:moveTo>
                  <a:lnTo>
                    <a:pt x="216" y="946"/>
                  </a:lnTo>
                  <a:lnTo>
                    <a:pt x="216" y="948"/>
                  </a:lnTo>
                  <a:close/>
                  <a:moveTo>
                    <a:pt x="216" y="946"/>
                  </a:moveTo>
                  <a:lnTo>
                    <a:pt x="219" y="946"/>
                  </a:lnTo>
                  <a:lnTo>
                    <a:pt x="216" y="948"/>
                  </a:lnTo>
                  <a:lnTo>
                    <a:pt x="216" y="946"/>
                  </a:lnTo>
                  <a:close/>
                  <a:moveTo>
                    <a:pt x="230" y="946"/>
                  </a:moveTo>
                  <a:lnTo>
                    <a:pt x="228" y="946"/>
                  </a:lnTo>
                  <a:lnTo>
                    <a:pt x="230" y="946"/>
                  </a:lnTo>
                  <a:close/>
                  <a:moveTo>
                    <a:pt x="252" y="943"/>
                  </a:moveTo>
                  <a:lnTo>
                    <a:pt x="252" y="941"/>
                  </a:lnTo>
                  <a:lnTo>
                    <a:pt x="252" y="943"/>
                  </a:lnTo>
                  <a:close/>
                  <a:moveTo>
                    <a:pt x="242" y="943"/>
                  </a:moveTo>
                  <a:lnTo>
                    <a:pt x="242" y="941"/>
                  </a:lnTo>
                  <a:lnTo>
                    <a:pt x="242" y="943"/>
                  </a:lnTo>
                  <a:close/>
                  <a:moveTo>
                    <a:pt x="252" y="941"/>
                  </a:moveTo>
                  <a:lnTo>
                    <a:pt x="252" y="943"/>
                  </a:lnTo>
                  <a:lnTo>
                    <a:pt x="252" y="941"/>
                  </a:lnTo>
                  <a:close/>
                  <a:moveTo>
                    <a:pt x="238" y="943"/>
                  </a:moveTo>
                  <a:lnTo>
                    <a:pt x="238" y="941"/>
                  </a:lnTo>
                  <a:lnTo>
                    <a:pt x="240" y="941"/>
                  </a:lnTo>
                  <a:lnTo>
                    <a:pt x="238" y="943"/>
                  </a:lnTo>
                  <a:close/>
                  <a:moveTo>
                    <a:pt x="238" y="941"/>
                  </a:moveTo>
                  <a:lnTo>
                    <a:pt x="238" y="943"/>
                  </a:lnTo>
                  <a:lnTo>
                    <a:pt x="238" y="941"/>
                  </a:lnTo>
                  <a:lnTo>
                    <a:pt x="238" y="943"/>
                  </a:lnTo>
                  <a:lnTo>
                    <a:pt x="238" y="941"/>
                  </a:lnTo>
                  <a:close/>
                  <a:moveTo>
                    <a:pt x="245" y="941"/>
                  </a:moveTo>
                  <a:lnTo>
                    <a:pt x="242" y="941"/>
                  </a:lnTo>
                  <a:lnTo>
                    <a:pt x="245" y="941"/>
                  </a:lnTo>
                  <a:close/>
                  <a:moveTo>
                    <a:pt x="266" y="941"/>
                  </a:moveTo>
                  <a:lnTo>
                    <a:pt x="264" y="941"/>
                  </a:lnTo>
                  <a:lnTo>
                    <a:pt x="266" y="941"/>
                  </a:lnTo>
                  <a:close/>
                  <a:moveTo>
                    <a:pt x="228" y="938"/>
                  </a:moveTo>
                  <a:lnTo>
                    <a:pt x="230" y="938"/>
                  </a:lnTo>
                  <a:lnTo>
                    <a:pt x="228" y="938"/>
                  </a:lnTo>
                  <a:close/>
                  <a:moveTo>
                    <a:pt x="259" y="938"/>
                  </a:moveTo>
                  <a:lnTo>
                    <a:pt x="259" y="936"/>
                  </a:lnTo>
                  <a:lnTo>
                    <a:pt x="259" y="938"/>
                  </a:lnTo>
                  <a:close/>
                  <a:moveTo>
                    <a:pt x="233" y="938"/>
                  </a:moveTo>
                  <a:lnTo>
                    <a:pt x="233" y="936"/>
                  </a:lnTo>
                  <a:lnTo>
                    <a:pt x="233" y="938"/>
                  </a:lnTo>
                  <a:close/>
                  <a:moveTo>
                    <a:pt x="228" y="938"/>
                  </a:moveTo>
                  <a:lnTo>
                    <a:pt x="230" y="936"/>
                  </a:lnTo>
                  <a:lnTo>
                    <a:pt x="230" y="938"/>
                  </a:lnTo>
                  <a:lnTo>
                    <a:pt x="228" y="938"/>
                  </a:lnTo>
                  <a:close/>
                  <a:moveTo>
                    <a:pt x="230" y="938"/>
                  </a:moveTo>
                  <a:lnTo>
                    <a:pt x="230" y="936"/>
                  </a:lnTo>
                  <a:lnTo>
                    <a:pt x="230" y="938"/>
                  </a:lnTo>
                  <a:close/>
                  <a:moveTo>
                    <a:pt x="230" y="938"/>
                  </a:moveTo>
                  <a:lnTo>
                    <a:pt x="230" y="936"/>
                  </a:lnTo>
                  <a:lnTo>
                    <a:pt x="230" y="938"/>
                  </a:lnTo>
                  <a:close/>
                  <a:moveTo>
                    <a:pt x="230" y="936"/>
                  </a:moveTo>
                  <a:lnTo>
                    <a:pt x="228" y="936"/>
                  </a:lnTo>
                  <a:lnTo>
                    <a:pt x="230" y="936"/>
                  </a:lnTo>
                  <a:close/>
                  <a:moveTo>
                    <a:pt x="247" y="936"/>
                  </a:moveTo>
                  <a:lnTo>
                    <a:pt x="245" y="936"/>
                  </a:lnTo>
                  <a:lnTo>
                    <a:pt x="247" y="936"/>
                  </a:lnTo>
                  <a:close/>
                  <a:moveTo>
                    <a:pt x="228" y="936"/>
                  </a:moveTo>
                  <a:lnTo>
                    <a:pt x="226" y="936"/>
                  </a:lnTo>
                  <a:lnTo>
                    <a:pt x="228" y="936"/>
                  </a:lnTo>
                  <a:close/>
                  <a:moveTo>
                    <a:pt x="247" y="936"/>
                  </a:moveTo>
                  <a:lnTo>
                    <a:pt x="247" y="934"/>
                  </a:lnTo>
                  <a:lnTo>
                    <a:pt x="247" y="936"/>
                  </a:lnTo>
                  <a:close/>
                  <a:moveTo>
                    <a:pt x="252" y="931"/>
                  </a:moveTo>
                  <a:lnTo>
                    <a:pt x="249" y="931"/>
                  </a:lnTo>
                  <a:lnTo>
                    <a:pt x="252" y="931"/>
                  </a:lnTo>
                  <a:close/>
                  <a:moveTo>
                    <a:pt x="249" y="931"/>
                  </a:moveTo>
                  <a:lnTo>
                    <a:pt x="249" y="929"/>
                  </a:lnTo>
                  <a:lnTo>
                    <a:pt x="249" y="931"/>
                  </a:lnTo>
                  <a:close/>
                  <a:moveTo>
                    <a:pt x="249" y="929"/>
                  </a:moveTo>
                  <a:lnTo>
                    <a:pt x="247" y="929"/>
                  </a:lnTo>
                  <a:lnTo>
                    <a:pt x="249" y="929"/>
                  </a:lnTo>
                  <a:close/>
                  <a:moveTo>
                    <a:pt x="252" y="929"/>
                  </a:moveTo>
                  <a:lnTo>
                    <a:pt x="249" y="929"/>
                  </a:lnTo>
                  <a:lnTo>
                    <a:pt x="252" y="929"/>
                  </a:lnTo>
                  <a:close/>
                  <a:moveTo>
                    <a:pt x="247" y="929"/>
                  </a:moveTo>
                  <a:lnTo>
                    <a:pt x="245" y="929"/>
                  </a:lnTo>
                  <a:lnTo>
                    <a:pt x="247" y="929"/>
                  </a:lnTo>
                  <a:close/>
                  <a:moveTo>
                    <a:pt x="254" y="929"/>
                  </a:moveTo>
                  <a:lnTo>
                    <a:pt x="254" y="927"/>
                  </a:lnTo>
                  <a:lnTo>
                    <a:pt x="254" y="929"/>
                  </a:lnTo>
                  <a:close/>
                  <a:moveTo>
                    <a:pt x="254" y="927"/>
                  </a:moveTo>
                  <a:lnTo>
                    <a:pt x="252" y="927"/>
                  </a:lnTo>
                  <a:lnTo>
                    <a:pt x="254" y="927"/>
                  </a:lnTo>
                  <a:close/>
                  <a:moveTo>
                    <a:pt x="249" y="927"/>
                  </a:moveTo>
                  <a:lnTo>
                    <a:pt x="247" y="927"/>
                  </a:lnTo>
                  <a:lnTo>
                    <a:pt x="249" y="927"/>
                  </a:lnTo>
                  <a:close/>
                  <a:moveTo>
                    <a:pt x="254" y="927"/>
                  </a:moveTo>
                  <a:lnTo>
                    <a:pt x="252" y="927"/>
                  </a:lnTo>
                  <a:lnTo>
                    <a:pt x="254" y="927"/>
                  </a:lnTo>
                  <a:close/>
                  <a:moveTo>
                    <a:pt x="257" y="924"/>
                  </a:moveTo>
                  <a:lnTo>
                    <a:pt x="254" y="924"/>
                  </a:lnTo>
                  <a:lnTo>
                    <a:pt x="257" y="924"/>
                  </a:lnTo>
                  <a:close/>
                  <a:moveTo>
                    <a:pt x="252" y="924"/>
                  </a:moveTo>
                  <a:lnTo>
                    <a:pt x="254" y="924"/>
                  </a:lnTo>
                  <a:lnTo>
                    <a:pt x="252" y="924"/>
                  </a:lnTo>
                  <a:close/>
                  <a:moveTo>
                    <a:pt x="249" y="924"/>
                  </a:moveTo>
                  <a:lnTo>
                    <a:pt x="247" y="924"/>
                  </a:lnTo>
                  <a:lnTo>
                    <a:pt x="249" y="924"/>
                  </a:lnTo>
                  <a:close/>
                  <a:moveTo>
                    <a:pt x="266" y="924"/>
                  </a:moveTo>
                  <a:lnTo>
                    <a:pt x="266" y="922"/>
                  </a:lnTo>
                  <a:lnTo>
                    <a:pt x="266" y="924"/>
                  </a:lnTo>
                  <a:close/>
                  <a:moveTo>
                    <a:pt x="257" y="924"/>
                  </a:moveTo>
                  <a:lnTo>
                    <a:pt x="257" y="922"/>
                  </a:lnTo>
                  <a:lnTo>
                    <a:pt x="257" y="924"/>
                  </a:lnTo>
                  <a:close/>
                  <a:moveTo>
                    <a:pt x="257" y="922"/>
                  </a:moveTo>
                  <a:lnTo>
                    <a:pt x="254" y="922"/>
                  </a:lnTo>
                  <a:lnTo>
                    <a:pt x="257" y="922"/>
                  </a:lnTo>
                  <a:close/>
                  <a:moveTo>
                    <a:pt x="254" y="922"/>
                  </a:moveTo>
                  <a:lnTo>
                    <a:pt x="254" y="919"/>
                  </a:lnTo>
                  <a:lnTo>
                    <a:pt x="254" y="922"/>
                  </a:lnTo>
                  <a:close/>
                  <a:moveTo>
                    <a:pt x="254" y="919"/>
                  </a:moveTo>
                  <a:lnTo>
                    <a:pt x="252" y="919"/>
                  </a:lnTo>
                  <a:lnTo>
                    <a:pt x="254" y="919"/>
                  </a:lnTo>
                  <a:close/>
                  <a:moveTo>
                    <a:pt x="252" y="917"/>
                  </a:moveTo>
                  <a:lnTo>
                    <a:pt x="252" y="919"/>
                  </a:lnTo>
                  <a:lnTo>
                    <a:pt x="252" y="917"/>
                  </a:lnTo>
                  <a:lnTo>
                    <a:pt x="252" y="919"/>
                  </a:lnTo>
                  <a:lnTo>
                    <a:pt x="252" y="917"/>
                  </a:lnTo>
                  <a:close/>
                  <a:moveTo>
                    <a:pt x="252" y="917"/>
                  </a:moveTo>
                  <a:lnTo>
                    <a:pt x="252" y="919"/>
                  </a:lnTo>
                  <a:lnTo>
                    <a:pt x="252" y="917"/>
                  </a:lnTo>
                  <a:close/>
                  <a:moveTo>
                    <a:pt x="245" y="915"/>
                  </a:moveTo>
                  <a:lnTo>
                    <a:pt x="245" y="917"/>
                  </a:lnTo>
                  <a:lnTo>
                    <a:pt x="245" y="915"/>
                  </a:lnTo>
                  <a:close/>
                  <a:moveTo>
                    <a:pt x="247" y="915"/>
                  </a:moveTo>
                  <a:lnTo>
                    <a:pt x="245" y="917"/>
                  </a:lnTo>
                  <a:lnTo>
                    <a:pt x="245" y="915"/>
                  </a:lnTo>
                  <a:lnTo>
                    <a:pt x="247" y="915"/>
                  </a:lnTo>
                  <a:close/>
                  <a:moveTo>
                    <a:pt x="240" y="915"/>
                  </a:moveTo>
                  <a:lnTo>
                    <a:pt x="238" y="915"/>
                  </a:lnTo>
                  <a:lnTo>
                    <a:pt x="240" y="915"/>
                  </a:lnTo>
                  <a:close/>
                  <a:moveTo>
                    <a:pt x="235" y="915"/>
                  </a:moveTo>
                  <a:lnTo>
                    <a:pt x="235" y="912"/>
                  </a:lnTo>
                  <a:lnTo>
                    <a:pt x="235" y="915"/>
                  </a:lnTo>
                  <a:close/>
                  <a:moveTo>
                    <a:pt x="257" y="915"/>
                  </a:moveTo>
                  <a:lnTo>
                    <a:pt x="257" y="912"/>
                  </a:lnTo>
                  <a:lnTo>
                    <a:pt x="257" y="915"/>
                  </a:lnTo>
                  <a:close/>
                  <a:moveTo>
                    <a:pt x="228" y="915"/>
                  </a:moveTo>
                  <a:lnTo>
                    <a:pt x="228" y="912"/>
                  </a:lnTo>
                  <a:lnTo>
                    <a:pt x="228" y="915"/>
                  </a:lnTo>
                  <a:close/>
                  <a:moveTo>
                    <a:pt x="249" y="912"/>
                  </a:moveTo>
                  <a:lnTo>
                    <a:pt x="247" y="912"/>
                  </a:lnTo>
                  <a:lnTo>
                    <a:pt x="249" y="912"/>
                  </a:lnTo>
                  <a:close/>
                  <a:moveTo>
                    <a:pt x="235" y="912"/>
                  </a:moveTo>
                  <a:lnTo>
                    <a:pt x="233" y="912"/>
                  </a:lnTo>
                  <a:lnTo>
                    <a:pt x="235" y="912"/>
                  </a:lnTo>
                  <a:close/>
                  <a:moveTo>
                    <a:pt x="249" y="912"/>
                  </a:moveTo>
                  <a:lnTo>
                    <a:pt x="247" y="912"/>
                  </a:lnTo>
                  <a:lnTo>
                    <a:pt x="249" y="912"/>
                  </a:lnTo>
                  <a:close/>
                  <a:moveTo>
                    <a:pt x="249" y="912"/>
                  </a:moveTo>
                  <a:lnTo>
                    <a:pt x="247" y="912"/>
                  </a:lnTo>
                  <a:lnTo>
                    <a:pt x="249" y="912"/>
                  </a:lnTo>
                  <a:close/>
                  <a:moveTo>
                    <a:pt x="249" y="912"/>
                  </a:moveTo>
                  <a:lnTo>
                    <a:pt x="247" y="912"/>
                  </a:lnTo>
                  <a:lnTo>
                    <a:pt x="249" y="912"/>
                  </a:lnTo>
                  <a:close/>
                  <a:moveTo>
                    <a:pt x="254" y="912"/>
                  </a:moveTo>
                  <a:lnTo>
                    <a:pt x="252" y="912"/>
                  </a:lnTo>
                  <a:lnTo>
                    <a:pt x="254" y="912"/>
                  </a:lnTo>
                  <a:close/>
                  <a:moveTo>
                    <a:pt x="257" y="910"/>
                  </a:moveTo>
                  <a:lnTo>
                    <a:pt x="257" y="912"/>
                  </a:lnTo>
                  <a:lnTo>
                    <a:pt x="257" y="910"/>
                  </a:lnTo>
                  <a:close/>
                  <a:moveTo>
                    <a:pt x="259" y="910"/>
                  </a:moveTo>
                  <a:lnTo>
                    <a:pt x="257" y="912"/>
                  </a:lnTo>
                  <a:lnTo>
                    <a:pt x="259" y="910"/>
                  </a:lnTo>
                  <a:close/>
                  <a:moveTo>
                    <a:pt x="240" y="910"/>
                  </a:moveTo>
                  <a:lnTo>
                    <a:pt x="242" y="910"/>
                  </a:lnTo>
                  <a:lnTo>
                    <a:pt x="240" y="910"/>
                  </a:lnTo>
                  <a:close/>
                  <a:moveTo>
                    <a:pt x="238" y="910"/>
                  </a:moveTo>
                  <a:lnTo>
                    <a:pt x="240" y="910"/>
                  </a:lnTo>
                  <a:lnTo>
                    <a:pt x="238" y="910"/>
                  </a:lnTo>
                  <a:close/>
                  <a:moveTo>
                    <a:pt x="240" y="910"/>
                  </a:moveTo>
                  <a:lnTo>
                    <a:pt x="238" y="910"/>
                  </a:lnTo>
                  <a:lnTo>
                    <a:pt x="240" y="910"/>
                  </a:lnTo>
                  <a:close/>
                  <a:moveTo>
                    <a:pt x="268" y="910"/>
                  </a:moveTo>
                  <a:lnTo>
                    <a:pt x="266" y="910"/>
                  </a:lnTo>
                  <a:lnTo>
                    <a:pt x="268" y="910"/>
                  </a:lnTo>
                  <a:close/>
                  <a:moveTo>
                    <a:pt x="252" y="910"/>
                  </a:moveTo>
                  <a:lnTo>
                    <a:pt x="249" y="910"/>
                  </a:lnTo>
                  <a:lnTo>
                    <a:pt x="252" y="910"/>
                  </a:lnTo>
                  <a:close/>
                  <a:moveTo>
                    <a:pt x="247" y="908"/>
                  </a:moveTo>
                  <a:lnTo>
                    <a:pt x="247" y="910"/>
                  </a:lnTo>
                  <a:lnTo>
                    <a:pt x="247" y="908"/>
                  </a:lnTo>
                  <a:close/>
                  <a:moveTo>
                    <a:pt x="242" y="908"/>
                  </a:moveTo>
                  <a:lnTo>
                    <a:pt x="242" y="910"/>
                  </a:lnTo>
                  <a:lnTo>
                    <a:pt x="242" y="908"/>
                  </a:lnTo>
                  <a:close/>
                  <a:moveTo>
                    <a:pt x="249" y="908"/>
                  </a:moveTo>
                  <a:lnTo>
                    <a:pt x="249" y="910"/>
                  </a:lnTo>
                  <a:lnTo>
                    <a:pt x="249" y="908"/>
                  </a:lnTo>
                  <a:close/>
                  <a:moveTo>
                    <a:pt x="245" y="908"/>
                  </a:moveTo>
                  <a:lnTo>
                    <a:pt x="245" y="910"/>
                  </a:lnTo>
                  <a:lnTo>
                    <a:pt x="245" y="908"/>
                  </a:lnTo>
                  <a:close/>
                  <a:moveTo>
                    <a:pt x="242" y="910"/>
                  </a:moveTo>
                  <a:lnTo>
                    <a:pt x="242" y="908"/>
                  </a:lnTo>
                  <a:lnTo>
                    <a:pt x="242" y="910"/>
                  </a:lnTo>
                  <a:close/>
                  <a:moveTo>
                    <a:pt x="249" y="908"/>
                  </a:moveTo>
                  <a:lnTo>
                    <a:pt x="247" y="908"/>
                  </a:lnTo>
                  <a:lnTo>
                    <a:pt x="249" y="908"/>
                  </a:lnTo>
                  <a:close/>
                  <a:moveTo>
                    <a:pt x="249" y="908"/>
                  </a:moveTo>
                  <a:lnTo>
                    <a:pt x="249" y="910"/>
                  </a:lnTo>
                  <a:lnTo>
                    <a:pt x="249" y="908"/>
                  </a:lnTo>
                  <a:close/>
                  <a:moveTo>
                    <a:pt x="259" y="908"/>
                  </a:moveTo>
                  <a:lnTo>
                    <a:pt x="257" y="908"/>
                  </a:lnTo>
                  <a:lnTo>
                    <a:pt x="259" y="908"/>
                  </a:lnTo>
                  <a:close/>
                  <a:moveTo>
                    <a:pt x="261" y="908"/>
                  </a:moveTo>
                  <a:lnTo>
                    <a:pt x="259" y="908"/>
                  </a:lnTo>
                  <a:lnTo>
                    <a:pt x="261" y="908"/>
                  </a:lnTo>
                  <a:close/>
                  <a:moveTo>
                    <a:pt x="252" y="908"/>
                  </a:moveTo>
                  <a:lnTo>
                    <a:pt x="249" y="908"/>
                  </a:lnTo>
                  <a:lnTo>
                    <a:pt x="252" y="908"/>
                  </a:lnTo>
                  <a:close/>
                  <a:moveTo>
                    <a:pt x="240" y="908"/>
                  </a:moveTo>
                  <a:lnTo>
                    <a:pt x="238" y="908"/>
                  </a:lnTo>
                  <a:lnTo>
                    <a:pt x="240" y="908"/>
                  </a:lnTo>
                  <a:close/>
                  <a:moveTo>
                    <a:pt x="252" y="908"/>
                  </a:moveTo>
                  <a:lnTo>
                    <a:pt x="249" y="908"/>
                  </a:lnTo>
                  <a:lnTo>
                    <a:pt x="252" y="908"/>
                  </a:lnTo>
                  <a:close/>
                  <a:moveTo>
                    <a:pt x="238" y="908"/>
                  </a:moveTo>
                  <a:lnTo>
                    <a:pt x="238" y="905"/>
                  </a:lnTo>
                  <a:lnTo>
                    <a:pt x="238" y="908"/>
                  </a:lnTo>
                  <a:close/>
                  <a:moveTo>
                    <a:pt x="238" y="908"/>
                  </a:moveTo>
                  <a:lnTo>
                    <a:pt x="238" y="905"/>
                  </a:lnTo>
                  <a:lnTo>
                    <a:pt x="238" y="908"/>
                  </a:lnTo>
                  <a:close/>
                  <a:moveTo>
                    <a:pt x="257" y="908"/>
                  </a:moveTo>
                  <a:lnTo>
                    <a:pt x="257" y="905"/>
                  </a:lnTo>
                  <a:lnTo>
                    <a:pt x="257" y="908"/>
                  </a:lnTo>
                  <a:close/>
                  <a:moveTo>
                    <a:pt x="238" y="908"/>
                  </a:moveTo>
                  <a:lnTo>
                    <a:pt x="238" y="905"/>
                  </a:lnTo>
                  <a:lnTo>
                    <a:pt x="238" y="908"/>
                  </a:lnTo>
                  <a:close/>
                  <a:moveTo>
                    <a:pt x="252" y="908"/>
                  </a:moveTo>
                  <a:lnTo>
                    <a:pt x="252" y="905"/>
                  </a:lnTo>
                  <a:lnTo>
                    <a:pt x="252" y="908"/>
                  </a:lnTo>
                  <a:close/>
                  <a:moveTo>
                    <a:pt x="238" y="908"/>
                  </a:moveTo>
                  <a:lnTo>
                    <a:pt x="238" y="905"/>
                  </a:lnTo>
                  <a:lnTo>
                    <a:pt x="238" y="908"/>
                  </a:lnTo>
                  <a:close/>
                  <a:moveTo>
                    <a:pt x="249" y="905"/>
                  </a:moveTo>
                  <a:lnTo>
                    <a:pt x="249" y="908"/>
                  </a:lnTo>
                  <a:lnTo>
                    <a:pt x="249" y="905"/>
                  </a:lnTo>
                  <a:close/>
                  <a:moveTo>
                    <a:pt x="257" y="908"/>
                  </a:moveTo>
                  <a:lnTo>
                    <a:pt x="257" y="905"/>
                  </a:lnTo>
                  <a:lnTo>
                    <a:pt x="257" y="908"/>
                  </a:lnTo>
                  <a:close/>
                  <a:moveTo>
                    <a:pt x="249" y="905"/>
                  </a:moveTo>
                  <a:lnTo>
                    <a:pt x="247" y="905"/>
                  </a:lnTo>
                  <a:lnTo>
                    <a:pt x="249" y="905"/>
                  </a:lnTo>
                  <a:close/>
                  <a:moveTo>
                    <a:pt x="254" y="905"/>
                  </a:moveTo>
                  <a:lnTo>
                    <a:pt x="257" y="905"/>
                  </a:lnTo>
                  <a:lnTo>
                    <a:pt x="254" y="905"/>
                  </a:lnTo>
                  <a:close/>
                  <a:moveTo>
                    <a:pt x="254" y="905"/>
                  </a:moveTo>
                  <a:lnTo>
                    <a:pt x="257" y="905"/>
                  </a:lnTo>
                  <a:lnTo>
                    <a:pt x="254" y="905"/>
                  </a:lnTo>
                  <a:close/>
                  <a:moveTo>
                    <a:pt x="252" y="903"/>
                  </a:moveTo>
                  <a:lnTo>
                    <a:pt x="252" y="905"/>
                  </a:lnTo>
                  <a:lnTo>
                    <a:pt x="252" y="903"/>
                  </a:lnTo>
                  <a:close/>
                  <a:moveTo>
                    <a:pt x="252" y="905"/>
                  </a:moveTo>
                  <a:lnTo>
                    <a:pt x="252" y="903"/>
                  </a:lnTo>
                  <a:lnTo>
                    <a:pt x="252" y="905"/>
                  </a:lnTo>
                  <a:close/>
                  <a:moveTo>
                    <a:pt x="249" y="903"/>
                  </a:moveTo>
                  <a:lnTo>
                    <a:pt x="252" y="903"/>
                  </a:lnTo>
                  <a:lnTo>
                    <a:pt x="249" y="903"/>
                  </a:lnTo>
                  <a:close/>
                  <a:moveTo>
                    <a:pt x="247" y="903"/>
                  </a:moveTo>
                  <a:lnTo>
                    <a:pt x="247" y="905"/>
                  </a:lnTo>
                  <a:lnTo>
                    <a:pt x="247" y="903"/>
                  </a:lnTo>
                  <a:close/>
                  <a:moveTo>
                    <a:pt x="257" y="903"/>
                  </a:moveTo>
                  <a:lnTo>
                    <a:pt x="257" y="905"/>
                  </a:lnTo>
                  <a:lnTo>
                    <a:pt x="257" y="903"/>
                  </a:lnTo>
                  <a:close/>
                  <a:moveTo>
                    <a:pt x="257" y="905"/>
                  </a:moveTo>
                  <a:lnTo>
                    <a:pt x="257" y="903"/>
                  </a:lnTo>
                  <a:lnTo>
                    <a:pt x="257" y="905"/>
                  </a:lnTo>
                  <a:close/>
                  <a:moveTo>
                    <a:pt x="249" y="903"/>
                  </a:moveTo>
                  <a:lnTo>
                    <a:pt x="247" y="903"/>
                  </a:lnTo>
                  <a:lnTo>
                    <a:pt x="249" y="903"/>
                  </a:lnTo>
                  <a:close/>
                  <a:moveTo>
                    <a:pt x="252" y="903"/>
                  </a:moveTo>
                  <a:lnTo>
                    <a:pt x="249" y="903"/>
                  </a:lnTo>
                  <a:lnTo>
                    <a:pt x="252" y="903"/>
                  </a:lnTo>
                  <a:close/>
                  <a:moveTo>
                    <a:pt x="261" y="903"/>
                  </a:moveTo>
                  <a:lnTo>
                    <a:pt x="264" y="903"/>
                  </a:lnTo>
                  <a:lnTo>
                    <a:pt x="261" y="903"/>
                  </a:lnTo>
                  <a:close/>
                  <a:moveTo>
                    <a:pt x="252" y="903"/>
                  </a:moveTo>
                  <a:lnTo>
                    <a:pt x="249" y="903"/>
                  </a:lnTo>
                  <a:lnTo>
                    <a:pt x="252" y="903"/>
                  </a:lnTo>
                  <a:close/>
                  <a:moveTo>
                    <a:pt x="252" y="903"/>
                  </a:moveTo>
                  <a:lnTo>
                    <a:pt x="249" y="903"/>
                  </a:lnTo>
                  <a:lnTo>
                    <a:pt x="252" y="903"/>
                  </a:lnTo>
                  <a:close/>
                  <a:moveTo>
                    <a:pt x="257" y="903"/>
                  </a:moveTo>
                  <a:lnTo>
                    <a:pt x="254" y="903"/>
                  </a:lnTo>
                  <a:lnTo>
                    <a:pt x="257" y="903"/>
                  </a:lnTo>
                  <a:close/>
                  <a:moveTo>
                    <a:pt x="252" y="903"/>
                  </a:moveTo>
                  <a:lnTo>
                    <a:pt x="249" y="903"/>
                  </a:lnTo>
                  <a:lnTo>
                    <a:pt x="252" y="903"/>
                  </a:lnTo>
                  <a:close/>
                  <a:moveTo>
                    <a:pt x="252" y="903"/>
                  </a:moveTo>
                  <a:lnTo>
                    <a:pt x="252" y="900"/>
                  </a:lnTo>
                  <a:lnTo>
                    <a:pt x="252" y="903"/>
                  </a:lnTo>
                  <a:close/>
                  <a:moveTo>
                    <a:pt x="240" y="900"/>
                  </a:moveTo>
                  <a:lnTo>
                    <a:pt x="240" y="903"/>
                  </a:lnTo>
                  <a:lnTo>
                    <a:pt x="240" y="900"/>
                  </a:lnTo>
                  <a:close/>
                  <a:moveTo>
                    <a:pt x="257" y="900"/>
                  </a:moveTo>
                  <a:lnTo>
                    <a:pt x="257" y="903"/>
                  </a:lnTo>
                  <a:lnTo>
                    <a:pt x="257" y="900"/>
                  </a:lnTo>
                  <a:close/>
                  <a:moveTo>
                    <a:pt x="252" y="903"/>
                  </a:moveTo>
                  <a:lnTo>
                    <a:pt x="252" y="900"/>
                  </a:lnTo>
                  <a:lnTo>
                    <a:pt x="252" y="903"/>
                  </a:lnTo>
                  <a:close/>
                  <a:moveTo>
                    <a:pt x="254" y="900"/>
                  </a:moveTo>
                  <a:lnTo>
                    <a:pt x="254" y="903"/>
                  </a:lnTo>
                  <a:lnTo>
                    <a:pt x="254" y="900"/>
                  </a:lnTo>
                  <a:close/>
                  <a:moveTo>
                    <a:pt x="252" y="903"/>
                  </a:moveTo>
                  <a:lnTo>
                    <a:pt x="252" y="900"/>
                  </a:lnTo>
                  <a:lnTo>
                    <a:pt x="252" y="903"/>
                  </a:lnTo>
                  <a:close/>
                  <a:moveTo>
                    <a:pt x="252" y="903"/>
                  </a:moveTo>
                  <a:lnTo>
                    <a:pt x="252" y="900"/>
                  </a:lnTo>
                  <a:lnTo>
                    <a:pt x="252" y="903"/>
                  </a:lnTo>
                  <a:close/>
                  <a:moveTo>
                    <a:pt x="257" y="900"/>
                  </a:moveTo>
                  <a:lnTo>
                    <a:pt x="257" y="903"/>
                  </a:lnTo>
                  <a:lnTo>
                    <a:pt x="257" y="900"/>
                  </a:lnTo>
                  <a:close/>
                  <a:moveTo>
                    <a:pt x="257" y="900"/>
                  </a:moveTo>
                  <a:lnTo>
                    <a:pt x="257" y="903"/>
                  </a:lnTo>
                  <a:lnTo>
                    <a:pt x="257" y="900"/>
                  </a:lnTo>
                  <a:lnTo>
                    <a:pt x="257" y="903"/>
                  </a:lnTo>
                  <a:lnTo>
                    <a:pt x="257" y="900"/>
                  </a:lnTo>
                  <a:close/>
                  <a:moveTo>
                    <a:pt x="254" y="900"/>
                  </a:moveTo>
                  <a:lnTo>
                    <a:pt x="254" y="903"/>
                  </a:lnTo>
                  <a:lnTo>
                    <a:pt x="254" y="900"/>
                  </a:lnTo>
                  <a:close/>
                  <a:moveTo>
                    <a:pt x="254" y="900"/>
                  </a:moveTo>
                  <a:lnTo>
                    <a:pt x="254" y="903"/>
                  </a:lnTo>
                  <a:lnTo>
                    <a:pt x="254" y="900"/>
                  </a:lnTo>
                  <a:close/>
                  <a:moveTo>
                    <a:pt x="264" y="900"/>
                  </a:moveTo>
                  <a:lnTo>
                    <a:pt x="261" y="900"/>
                  </a:lnTo>
                  <a:lnTo>
                    <a:pt x="264" y="900"/>
                  </a:lnTo>
                  <a:close/>
                  <a:moveTo>
                    <a:pt x="266" y="900"/>
                  </a:moveTo>
                  <a:lnTo>
                    <a:pt x="264" y="900"/>
                  </a:lnTo>
                  <a:lnTo>
                    <a:pt x="266" y="900"/>
                  </a:lnTo>
                  <a:close/>
                  <a:moveTo>
                    <a:pt x="254" y="900"/>
                  </a:moveTo>
                  <a:lnTo>
                    <a:pt x="252" y="900"/>
                  </a:lnTo>
                  <a:lnTo>
                    <a:pt x="254" y="900"/>
                  </a:lnTo>
                  <a:close/>
                  <a:moveTo>
                    <a:pt x="247" y="900"/>
                  </a:moveTo>
                  <a:lnTo>
                    <a:pt x="245" y="900"/>
                  </a:lnTo>
                  <a:lnTo>
                    <a:pt x="247" y="900"/>
                  </a:lnTo>
                  <a:close/>
                  <a:moveTo>
                    <a:pt x="266" y="900"/>
                  </a:moveTo>
                  <a:lnTo>
                    <a:pt x="264" y="900"/>
                  </a:lnTo>
                  <a:lnTo>
                    <a:pt x="266" y="900"/>
                  </a:lnTo>
                  <a:close/>
                  <a:moveTo>
                    <a:pt x="242" y="900"/>
                  </a:moveTo>
                  <a:lnTo>
                    <a:pt x="240" y="900"/>
                  </a:lnTo>
                  <a:lnTo>
                    <a:pt x="242" y="900"/>
                  </a:lnTo>
                  <a:close/>
                  <a:moveTo>
                    <a:pt x="247" y="900"/>
                  </a:moveTo>
                  <a:lnTo>
                    <a:pt x="245" y="900"/>
                  </a:lnTo>
                  <a:lnTo>
                    <a:pt x="247" y="900"/>
                  </a:lnTo>
                  <a:close/>
                  <a:moveTo>
                    <a:pt x="249" y="900"/>
                  </a:moveTo>
                  <a:lnTo>
                    <a:pt x="247" y="900"/>
                  </a:lnTo>
                  <a:lnTo>
                    <a:pt x="249" y="900"/>
                  </a:lnTo>
                  <a:close/>
                  <a:moveTo>
                    <a:pt x="259" y="898"/>
                  </a:moveTo>
                  <a:lnTo>
                    <a:pt x="259" y="900"/>
                  </a:lnTo>
                  <a:lnTo>
                    <a:pt x="259" y="898"/>
                  </a:lnTo>
                  <a:close/>
                  <a:moveTo>
                    <a:pt x="252" y="900"/>
                  </a:moveTo>
                  <a:lnTo>
                    <a:pt x="252" y="898"/>
                  </a:lnTo>
                  <a:lnTo>
                    <a:pt x="252" y="900"/>
                  </a:lnTo>
                  <a:close/>
                  <a:moveTo>
                    <a:pt x="247" y="898"/>
                  </a:moveTo>
                  <a:lnTo>
                    <a:pt x="247" y="900"/>
                  </a:lnTo>
                  <a:lnTo>
                    <a:pt x="247" y="898"/>
                  </a:lnTo>
                  <a:close/>
                  <a:moveTo>
                    <a:pt x="257" y="898"/>
                  </a:moveTo>
                  <a:lnTo>
                    <a:pt x="257" y="900"/>
                  </a:lnTo>
                  <a:lnTo>
                    <a:pt x="257" y="898"/>
                  </a:lnTo>
                  <a:close/>
                  <a:moveTo>
                    <a:pt x="242" y="900"/>
                  </a:moveTo>
                  <a:lnTo>
                    <a:pt x="242" y="898"/>
                  </a:lnTo>
                  <a:lnTo>
                    <a:pt x="242" y="900"/>
                  </a:lnTo>
                  <a:close/>
                  <a:moveTo>
                    <a:pt x="254" y="898"/>
                  </a:moveTo>
                  <a:lnTo>
                    <a:pt x="254" y="900"/>
                  </a:lnTo>
                  <a:lnTo>
                    <a:pt x="254" y="898"/>
                  </a:lnTo>
                  <a:close/>
                  <a:moveTo>
                    <a:pt x="259" y="898"/>
                  </a:moveTo>
                  <a:lnTo>
                    <a:pt x="257" y="898"/>
                  </a:lnTo>
                  <a:lnTo>
                    <a:pt x="259" y="898"/>
                  </a:lnTo>
                  <a:close/>
                  <a:moveTo>
                    <a:pt x="257" y="898"/>
                  </a:moveTo>
                  <a:lnTo>
                    <a:pt x="254" y="898"/>
                  </a:lnTo>
                  <a:lnTo>
                    <a:pt x="257" y="898"/>
                  </a:lnTo>
                  <a:close/>
                  <a:moveTo>
                    <a:pt x="249" y="898"/>
                  </a:moveTo>
                  <a:lnTo>
                    <a:pt x="247" y="898"/>
                  </a:lnTo>
                  <a:lnTo>
                    <a:pt x="249" y="898"/>
                  </a:lnTo>
                  <a:close/>
                  <a:moveTo>
                    <a:pt x="247" y="898"/>
                  </a:moveTo>
                  <a:lnTo>
                    <a:pt x="249" y="898"/>
                  </a:lnTo>
                  <a:lnTo>
                    <a:pt x="247" y="898"/>
                  </a:lnTo>
                  <a:close/>
                  <a:moveTo>
                    <a:pt x="247" y="898"/>
                  </a:moveTo>
                  <a:lnTo>
                    <a:pt x="249" y="898"/>
                  </a:lnTo>
                  <a:lnTo>
                    <a:pt x="247" y="898"/>
                  </a:lnTo>
                  <a:close/>
                  <a:moveTo>
                    <a:pt x="259" y="898"/>
                  </a:moveTo>
                  <a:lnTo>
                    <a:pt x="257" y="898"/>
                  </a:lnTo>
                  <a:lnTo>
                    <a:pt x="259" y="898"/>
                  </a:lnTo>
                  <a:close/>
                  <a:moveTo>
                    <a:pt x="249" y="898"/>
                  </a:moveTo>
                  <a:lnTo>
                    <a:pt x="247" y="898"/>
                  </a:lnTo>
                  <a:lnTo>
                    <a:pt x="249" y="898"/>
                  </a:lnTo>
                  <a:close/>
                  <a:moveTo>
                    <a:pt x="252" y="898"/>
                  </a:moveTo>
                  <a:lnTo>
                    <a:pt x="249" y="898"/>
                  </a:lnTo>
                  <a:lnTo>
                    <a:pt x="252" y="898"/>
                  </a:lnTo>
                  <a:close/>
                  <a:moveTo>
                    <a:pt x="249" y="898"/>
                  </a:moveTo>
                  <a:lnTo>
                    <a:pt x="247" y="898"/>
                  </a:lnTo>
                  <a:lnTo>
                    <a:pt x="249" y="898"/>
                  </a:lnTo>
                  <a:close/>
                  <a:moveTo>
                    <a:pt x="252" y="898"/>
                  </a:moveTo>
                  <a:lnTo>
                    <a:pt x="252" y="896"/>
                  </a:lnTo>
                  <a:lnTo>
                    <a:pt x="252" y="898"/>
                  </a:lnTo>
                  <a:close/>
                  <a:moveTo>
                    <a:pt x="257" y="898"/>
                  </a:moveTo>
                  <a:lnTo>
                    <a:pt x="257" y="896"/>
                  </a:lnTo>
                  <a:lnTo>
                    <a:pt x="257" y="898"/>
                  </a:lnTo>
                  <a:close/>
                  <a:moveTo>
                    <a:pt x="254" y="896"/>
                  </a:moveTo>
                  <a:lnTo>
                    <a:pt x="254" y="898"/>
                  </a:lnTo>
                  <a:lnTo>
                    <a:pt x="254" y="896"/>
                  </a:lnTo>
                  <a:close/>
                  <a:moveTo>
                    <a:pt x="249" y="898"/>
                  </a:moveTo>
                  <a:lnTo>
                    <a:pt x="249" y="896"/>
                  </a:lnTo>
                  <a:lnTo>
                    <a:pt x="249" y="898"/>
                  </a:lnTo>
                  <a:close/>
                  <a:moveTo>
                    <a:pt x="252" y="898"/>
                  </a:moveTo>
                  <a:lnTo>
                    <a:pt x="252" y="896"/>
                  </a:lnTo>
                  <a:lnTo>
                    <a:pt x="252" y="898"/>
                  </a:lnTo>
                  <a:close/>
                  <a:moveTo>
                    <a:pt x="252" y="898"/>
                  </a:moveTo>
                  <a:lnTo>
                    <a:pt x="252" y="896"/>
                  </a:lnTo>
                  <a:lnTo>
                    <a:pt x="252" y="898"/>
                  </a:lnTo>
                  <a:close/>
                  <a:moveTo>
                    <a:pt x="249" y="898"/>
                  </a:moveTo>
                  <a:lnTo>
                    <a:pt x="249" y="896"/>
                  </a:lnTo>
                  <a:lnTo>
                    <a:pt x="249" y="898"/>
                  </a:lnTo>
                  <a:close/>
                  <a:moveTo>
                    <a:pt x="252" y="896"/>
                  </a:moveTo>
                  <a:lnTo>
                    <a:pt x="252" y="898"/>
                  </a:lnTo>
                  <a:lnTo>
                    <a:pt x="252" y="896"/>
                  </a:lnTo>
                  <a:close/>
                  <a:moveTo>
                    <a:pt x="252" y="896"/>
                  </a:moveTo>
                  <a:lnTo>
                    <a:pt x="252" y="898"/>
                  </a:lnTo>
                  <a:lnTo>
                    <a:pt x="252" y="896"/>
                  </a:lnTo>
                  <a:close/>
                  <a:moveTo>
                    <a:pt x="254" y="896"/>
                  </a:moveTo>
                  <a:lnTo>
                    <a:pt x="257" y="896"/>
                  </a:lnTo>
                  <a:lnTo>
                    <a:pt x="254" y="896"/>
                  </a:lnTo>
                  <a:close/>
                  <a:moveTo>
                    <a:pt x="259" y="893"/>
                  </a:moveTo>
                  <a:lnTo>
                    <a:pt x="259" y="896"/>
                  </a:lnTo>
                  <a:lnTo>
                    <a:pt x="259" y="893"/>
                  </a:lnTo>
                  <a:close/>
                  <a:moveTo>
                    <a:pt x="261" y="893"/>
                  </a:moveTo>
                  <a:lnTo>
                    <a:pt x="261" y="896"/>
                  </a:lnTo>
                  <a:lnTo>
                    <a:pt x="261" y="893"/>
                  </a:lnTo>
                  <a:close/>
                  <a:moveTo>
                    <a:pt x="254" y="893"/>
                  </a:moveTo>
                  <a:lnTo>
                    <a:pt x="257" y="893"/>
                  </a:lnTo>
                  <a:lnTo>
                    <a:pt x="254" y="893"/>
                  </a:lnTo>
                  <a:close/>
                  <a:moveTo>
                    <a:pt x="261" y="893"/>
                  </a:moveTo>
                  <a:lnTo>
                    <a:pt x="259" y="893"/>
                  </a:lnTo>
                  <a:lnTo>
                    <a:pt x="261" y="893"/>
                  </a:lnTo>
                  <a:close/>
                  <a:moveTo>
                    <a:pt x="252" y="893"/>
                  </a:moveTo>
                  <a:lnTo>
                    <a:pt x="254" y="893"/>
                  </a:lnTo>
                  <a:lnTo>
                    <a:pt x="252" y="893"/>
                  </a:lnTo>
                  <a:close/>
                  <a:moveTo>
                    <a:pt x="261" y="893"/>
                  </a:moveTo>
                  <a:lnTo>
                    <a:pt x="259" y="893"/>
                  </a:lnTo>
                  <a:lnTo>
                    <a:pt x="261" y="893"/>
                  </a:lnTo>
                  <a:close/>
                  <a:moveTo>
                    <a:pt x="247" y="893"/>
                  </a:moveTo>
                  <a:lnTo>
                    <a:pt x="247" y="891"/>
                  </a:lnTo>
                  <a:lnTo>
                    <a:pt x="247" y="893"/>
                  </a:lnTo>
                  <a:close/>
                  <a:moveTo>
                    <a:pt x="249" y="893"/>
                  </a:moveTo>
                  <a:lnTo>
                    <a:pt x="249" y="891"/>
                  </a:lnTo>
                  <a:lnTo>
                    <a:pt x="249" y="893"/>
                  </a:lnTo>
                  <a:close/>
                  <a:moveTo>
                    <a:pt x="257" y="893"/>
                  </a:moveTo>
                  <a:lnTo>
                    <a:pt x="257" y="891"/>
                  </a:lnTo>
                  <a:lnTo>
                    <a:pt x="257" y="893"/>
                  </a:lnTo>
                  <a:close/>
                  <a:moveTo>
                    <a:pt x="249" y="893"/>
                  </a:moveTo>
                  <a:lnTo>
                    <a:pt x="249" y="891"/>
                  </a:lnTo>
                  <a:lnTo>
                    <a:pt x="249" y="893"/>
                  </a:lnTo>
                  <a:close/>
                  <a:moveTo>
                    <a:pt x="249" y="893"/>
                  </a:moveTo>
                  <a:lnTo>
                    <a:pt x="249" y="891"/>
                  </a:lnTo>
                  <a:lnTo>
                    <a:pt x="249" y="893"/>
                  </a:lnTo>
                  <a:close/>
                  <a:moveTo>
                    <a:pt x="257" y="891"/>
                  </a:moveTo>
                  <a:lnTo>
                    <a:pt x="257" y="893"/>
                  </a:lnTo>
                  <a:lnTo>
                    <a:pt x="257" y="891"/>
                  </a:lnTo>
                  <a:close/>
                  <a:moveTo>
                    <a:pt x="252" y="893"/>
                  </a:moveTo>
                  <a:lnTo>
                    <a:pt x="252" y="891"/>
                  </a:lnTo>
                  <a:lnTo>
                    <a:pt x="252" y="893"/>
                  </a:lnTo>
                  <a:close/>
                  <a:moveTo>
                    <a:pt x="252" y="893"/>
                  </a:moveTo>
                  <a:lnTo>
                    <a:pt x="252" y="891"/>
                  </a:lnTo>
                  <a:lnTo>
                    <a:pt x="252" y="893"/>
                  </a:lnTo>
                  <a:close/>
                  <a:moveTo>
                    <a:pt x="257" y="891"/>
                  </a:moveTo>
                  <a:lnTo>
                    <a:pt x="257" y="893"/>
                  </a:lnTo>
                  <a:lnTo>
                    <a:pt x="257" y="891"/>
                  </a:lnTo>
                  <a:close/>
                  <a:moveTo>
                    <a:pt x="249" y="891"/>
                  </a:moveTo>
                  <a:lnTo>
                    <a:pt x="249" y="893"/>
                  </a:lnTo>
                  <a:lnTo>
                    <a:pt x="249" y="891"/>
                  </a:lnTo>
                  <a:close/>
                  <a:moveTo>
                    <a:pt x="247" y="891"/>
                  </a:moveTo>
                  <a:lnTo>
                    <a:pt x="245" y="891"/>
                  </a:lnTo>
                  <a:lnTo>
                    <a:pt x="247" y="891"/>
                  </a:lnTo>
                  <a:close/>
                  <a:moveTo>
                    <a:pt x="240" y="891"/>
                  </a:moveTo>
                  <a:lnTo>
                    <a:pt x="242" y="891"/>
                  </a:lnTo>
                  <a:lnTo>
                    <a:pt x="240" y="891"/>
                  </a:lnTo>
                  <a:close/>
                  <a:moveTo>
                    <a:pt x="245" y="891"/>
                  </a:moveTo>
                  <a:lnTo>
                    <a:pt x="242" y="891"/>
                  </a:lnTo>
                  <a:lnTo>
                    <a:pt x="245" y="891"/>
                  </a:lnTo>
                  <a:close/>
                  <a:moveTo>
                    <a:pt x="247" y="888"/>
                  </a:moveTo>
                  <a:lnTo>
                    <a:pt x="247" y="891"/>
                  </a:lnTo>
                  <a:lnTo>
                    <a:pt x="247" y="888"/>
                  </a:lnTo>
                  <a:close/>
                  <a:moveTo>
                    <a:pt x="242" y="891"/>
                  </a:moveTo>
                  <a:lnTo>
                    <a:pt x="242" y="888"/>
                  </a:lnTo>
                  <a:lnTo>
                    <a:pt x="242" y="891"/>
                  </a:lnTo>
                  <a:close/>
                  <a:moveTo>
                    <a:pt x="247" y="891"/>
                  </a:moveTo>
                  <a:lnTo>
                    <a:pt x="247" y="888"/>
                  </a:lnTo>
                  <a:lnTo>
                    <a:pt x="247" y="891"/>
                  </a:lnTo>
                  <a:close/>
                  <a:moveTo>
                    <a:pt x="245" y="888"/>
                  </a:moveTo>
                  <a:lnTo>
                    <a:pt x="242" y="888"/>
                  </a:lnTo>
                  <a:lnTo>
                    <a:pt x="245" y="888"/>
                  </a:lnTo>
                  <a:close/>
                  <a:moveTo>
                    <a:pt x="247" y="891"/>
                  </a:moveTo>
                  <a:lnTo>
                    <a:pt x="247" y="888"/>
                  </a:lnTo>
                  <a:lnTo>
                    <a:pt x="247" y="891"/>
                  </a:lnTo>
                  <a:close/>
                  <a:moveTo>
                    <a:pt x="254" y="888"/>
                  </a:moveTo>
                  <a:lnTo>
                    <a:pt x="252" y="888"/>
                  </a:lnTo>
                  <a:lnTo>
                    <a:pt x="254" y="888"/>
                  </a:lnTo>
                  <a:close/>
                  <a:moveTo>
                    <a:pt x="249" y="891"/>
                  </a:moveTo>
                  <a:lnTo>
                    <a:pt x="249" y="888"/>
                  </a:lnTo>
                  <a:lnTo>
                    <a:pt x="249" y="891"/>
                  </a:lnTo>
                  <a:close/>
                  <a:moveTo>
                    <a:pt x="247" y="888"/>
                  </a:moveTo>
                  <a:lnTo>
                    <a:pt x="245" y="888"/>
                  </a:lnTo>
                  <a:lnTo>
                    <a:pt x="247" y="888"/>
                  </a:lnTo>
                  <a:close/>
                  <a:moveTo>
                    <a:pt x="247" y="888"/>
                  </a:moveTo>
                  <a:lnTo>
                    <a:pt x="249" y="888"/>
                  </a:lnTo>
                  <a:lnTo>
                    <a:pt x="247" y="888"/>
                  </a:lnTo>
                  <a:close/>
                  <a:moveTo>
                    <a:pt x="249" y="886"/>
                  </a:moveTo>
                  <a:lnTo>
                    <a:pt x="247" y="886"/>
                  </a:lnTo>
                  <a:lnTo>
                    <a:pt x="249" y="886"/>
                  </a:lnTo>
                  <a:close/>
                  <a:moveTo>
                    <a:pt x="261" y="886"/>
                  </a:moveTo>
                  <a:lnTo>
                    <a:pt x="264" y="886"/>
                  </a:lnTo>
                  <a:lnTo>
                    <a:pt x="261" y="886"/>
                  </a:lnTo>
                  <a:close/>
                  <a:moveTo>
                    <a:pt x="261" y="886"/>
                  </a:moveTo>
                  <a:lnTo>
                    <a:pt x="264" y="886"/>
                  </a:lnTo>
                  <a:lnTo>
                    <a:pt x="261" y="886"/>
                  </a:lnTo>
                  <a:close/>
                  <a:moveTo>
                    <a:pt x="259" y="886"/>
                  </a:moveTo>
                  <a:lnTo>
                    <a:pt x="257" y="886"/>
                  </a:lnTo>
                  <a:lnTo>
                    <a:pt x="259" y="886"/>
                  </a:lnTo>
                  <a:close/>
                  <a:moveTo>
                    <a:pt x="247" y="886"/>
                  </a:moveTo>
                  <a:lnTo>
                    <a:pt x="247" y="884"/>
                  </a:lnTo>
                  <a:lnTo>
                    <a:pt x="247" y="886"/>
                  </a:lnTo>
                  <a:close/>
                  <a:moveTo>
                    <a:pt x="249" y="884"/>
                  </a:moveTo>
                  <a:lnTo>
                    <a:pt x="249" y="886"/>
                  </a:lnTo>
                  <a:lnTo>
                    <a:pt x="249" y="884"/>
                  </a:lnTo>
                  <a:close/>
                  <a:moveTo>
                    <a:pt x="249" y="884"/>
                  </a:moveTo>
                  <a:lnTo>
                    <a:pt x="249" y="886"/>
                  </a:lnTo>
                  <a:lnTo>
                    <a:pt x="249" y="884"/>
                  </a:lnTo>
                  <a:close/>
                  <a:moveTo>
                    <a:pt x="245" y="884"/>
                  </a:moveTo>
                  <a:lnTo>
                    <a:pt x="245" y="886"/>
                  </a:lnTo>
                  <a:lnTo>
                    <a:pt x="245" y="884"/>
                  </a:lnTo>
                  <a:close/>
                  <a:moveTo>
                    <a:pt x="264" y="886"/>
                  </a:moveTo>
                  <a:lnTo>
                    <a:pt x="264" y="884"/>
                  </a:lnTo>
                  <a:lnTo>
                    <a:pt x="264" y="886"/>
                  </a:lnTo>
                  <a:close/>
                  <a:moveTo>
                    <a:pt x="247" y="884"/>
                  </a:moveTo>
                  <a:lnTo>
                    <a:pt x="247" y="886"/>
                  </a:lnTo>
                  <a:lnTo>
                    <a:pt x="247" y="884"/>
                  </a:lnTo>
                  <a:close/>
                  <a:moveTo>
                    <a:pt x="249" y="886"/>
                  </a:moveTo>
                  <a:lnTo>
                    <a:pt x="249" y="884"/>
                  </a:lnTo>
                  <a:lnTo>
                    <a:pt x="249" y="886"/>
                  </a:lnTo>
                  <a:close/>
                  <a:moveTo>
                    <a:pt x="247" y="886"/>
                  </a:moveTo>
                  <a:lnTo>
                    <a:pt x="247" y="884"/>
                  </a:lnTo>
                  <a:lnTo>
                    <a:pt x="247" y="886"/>
                  </a:lnTo>
                  <a:close/>
                  <a:moveTo>
                    <a:pt x="266" y="886"/>
                  </a:moveTo>
                  <a:lnTo>
                    <a:pt x="266" y="884"/>
                  </a:lnTo>
                  <a:lnTo>
                    <a:pt x="266" y="886"/>
                  </a:lnTo>
                  <a:close/>
                  <a:moveTo>
                    <a:pt x="257" y="884"/>
                  </a:moveTo>
                  <a:lnTo>
                    <a:pt x="257" y="886"/>
                  </a:lnTo>
                  <a:lnTo>
                    <a:pt x="257" y="884"/>
                  </a:lnTo>
                  <a:close/>
                  <a:moveTo>
                    <a:pt x="257" y="886"/>
                  </a:moveTo>
                  <a:lnTo>
                    <a:pt x="257" y="884"/>
                  </a:lnTo>
                  <a:lnTo>
                    <a:pt x="257" y="886"/>
                  </a:lnTo>
                  <a:close/>
                  <a:moveTo>
                    <a:pt x="247" y="884"/>
                  </a:moveTo>
                  <a:lnTo>
                    <a:pt x="245" y="884"/>
                  </a:lnTo>
                  <a:lnTo>
                    <a:pt x="247" y="884"/>
                  </a:lnTo>
                  <a:close/>
                  <a:moveTo>
                    <a:pt x="247" y="886"/>
                  </a:moveTo>
                  <a:lnTo>
                    <a:pt x="247" y="884"/>
                  </a:lnTo>
                  <a:lnTo>
                    <a:pt x="247" y="886"/>
                  </a:lnTo>
                  <a:close/>
                  <a:moveTo>
                    <a:pt x="266" y="884"/>
                  </a:moveTo>
                  <a:lnTo>
                    <a:pt x="266" y="886"/>
                  </a:lnTo>
                  <a:lnTo>
                    <a:pt x="266" y="884"/>
                  </a:lnTo>
                  <a:close/>
                  <a:moveTo>
                    <a:pt x="264" y="884"/>
                  </a:moveTo>
                  <a:lnTo>
                    <a:pt x="264" y="886"/>
                  </a:lnTo>
                  <a:lnTo>
                    <a:pt x="264" y="884"/>
                  </a:lnTo>
                  <a:close/>
                  <a:moveTo>
                    <a:pt x="261" y="884"/>
                  </a:moveTo>
                  <a:lnTo>
                    <a:pt x="261" y="886"/>
                  </a:lnTo>
                  <a:lnTo>
                    <a:pt x="261" y="884"/>
                  </a:lnTo>
                  <a:close/>
                  <a:moveTo>
                    <a:pt x="259" y="884"/>
                  </a:moveTo>
                  <a:lnTo>
                    <a:pt x="259" y="886"/>
                  </a:lnTo>
                  <a:lnTo>
                    <a:pt x="259" y="884"/>
                  </a:lnTo>
                  <a:close/>
                  <a:moveTo>
                    <a:pt x="264" y="884"/>
                  </a:moveTo>
                  <a:lnTo>
                    <a:pt x="261" y="884"/>
                  </a:lnTo>
                  <a:lnTo>
                    <a:pt x="264" y="884"/>
                  </a:lnTo>
                  <a:close/>
                  <a:moveTo>
                    <a:pt x="261" y="884"/>
                  </a:moveTo>
                  <a:lnTo>
                    <a:pt x="264" y="884"/>
                  </a:lnTo>
                  <a:lnTo>
                    <a:pt x="261" y="884"/>
                  </a:lnTo>
                  <a:close/>
                  <a:moveTo>
                    <a:pt x="257" y="884"/>
                  </a:moveTo>
                  <a:lnTo>
                    <a:pt x="254" y="884"/>
                  </a:lnTo>
                  <a:lnTo>
                    <a:pt x="257" y="884"/>
                  </a:lnTo>
                  <a:lnTo>
                    <a:pt x="254" y="884"/>
                  </a:lnTo>
                  <a:lnTo>
                    <a:pt x="257" y="884"/>
                  </a:lnTo>
                  <a:close/>
                  <a:moveTo>
                    <a:pt x="257" y="881"/>
                  </a:moveTo>
                  <a:lnTo>
                    <a:pt x="257" y="884"/>
                  </a:lnTo>
                  <a:lnTo>
                    <a:pt x="257" y="881"/>
                  </a:lnTo>
                  <a:close/>
                  <a:moveTo>
                    <a:pt x="273" y="884"/>
                  </a:moveTo>
                  <a:lnTo>
                    <a:pt x="273" y="881"/>
                  </a:lnTo>
                  <a:lnTo>
                    <a:pt x="273" y="884"/>
                  </a:lnTo>
                  <a:close/>
                  <a:moveTo>
                    <a:pt x="259" y="881"/>
                  </a:moveTo>
                  <a:lnTo>
                    <a:pt x="259" y="884"/>
                  </a:lnTo>
                  <a:lnTo>
                    <a:pt x="259" y="881"/>
                  </a:lnTo>
                  <a:close/>
                  <a:moveTo>
                    <a:pt x="259" y="881"/>
                  </a:moveTo>
                  <a:lnTo>
                    <a:pt x="259" y="884"/>
                  </a:lnTo>
                  <a:lnTo>
                    <a:pt x="259" y="881"/>
                  </a:lnTo>
                  <a:close/>
                  <a:moveTo>
                    <a:pt x="273" y="881"/>
                  </a:moveTo>
                  <a:lnTo>
                    <a:pt x="273" y="884"/>
                  </a:lnTo>
                  <a:lnTo>
                    <a:pt x="273" y="881"/>
                  </a:lnTo>
                  <a:close/>
                  <a:moveTo>
                    <a:pt x="252" y="881"/>
                  </a:moveTo>
                  <a:lnTo>
                    <a:pt x="249" y="881"/>
                  </a:lnTo>
                  <a:lnTo>
                    <a:pt x="252" y="881"/>
                  </a:lnTo>
                  <a:close/>
                  <a:moveTo>
                    <a:pt x="254" y="881"/>
                  </a:moveTo>
                  <a:lnTo>
                    <a:pt x="252" y="881"/>
                  </a:lnTo>
                  <a:lnTo>
                    <a:pt x="254" y="881"/>
                  </a:lnTo>
                  <a:close/>
                  <a:moveTo>
                    <a:pt x="254" y="881"/>
                  </a:moveTo>
                  <a:lnTo>
                    <a:pt x="254" y="879"/>
                  </a:lnTo>
                  <a:lnTo>
                    <a:pt x="254" y="881"/>
                  </a:lnTo>
                  <a:close/>
                  <a:moveTo>
                    <a:pt x="252" y="879"/>
                  </a:moveTo>
                  <a:lnTo>
                    <a:pt x="252" y="881"/>
                  </a:lnTo>
                  <a:lnTo>
                    <a:pt x="252" y="879"/>
                  </a:lnTo>
                  <a:close/>
                  <a:moveTo>
                    <a:pt x="259" y="879"/>
                  </a:moveTo>
                  <a:lnTo>
                    <a:pt x="257" y="879"/>
                  </a:lnTo>
                  <a:lnTo>
                    <a:pt x="259" y="879"/>
                  </a:lnTo>
                  <a:close/>
                  <a:moveTo>
                    <a:pt x="254" y="879"/>
                  </a:moveTo>
                  <a:lnTo>
                    <a:pt x="252" y="879"/>
                  </a:lnTo>
                  <a:lnTo>
                    <a:pt x="254" y="879"/>
                  </a:lnTo>
                  <a:close/>
                  <a:moveTo>
                    <a:pt x="254" y="879"/>
                  </a:moveTo>
                  <a:lnTo>
                    <a:pt x="252" y="879"/>
                  </a:lnTo>
                  <a:lnTo>
                    <a:pt x="254" y="879"/>
                  </a:lnTo>
                  <a:close/>
                  <a:moveTo>
                    <a:pt x="257" y="879"/>
                  </a:moveTo>
                  <a:lnTo>
                    <a:pt x="254" y="879"/>
                  </a:lnTo>
                  <a:lnTo>
                    <a:pt x="257" y="879"/>
                  </a:lnTo>
                  <a:close/>
                  <a:moveTo>
                    <a:pt x="254" y="879"/>
                  </a:moveTo>
                  <a:lnTo>
                    <a:pt x="252" y="879"/>
                  </a:lnTo>
                  <a:lnTo>
                    <a:pt x="254" y="879"/>
                  </a:lnTo>
                  <a:lnTo>
                    <a:pt x="252" y="879"/>
                  </a:lnTo>
                  <a:lnTo>
                    <a:pt x="254" y="879"/>
                  </a:lnTo>
                  <a:lnTo>
                    <a:pt x="252" y="879"/>
                  </a:lnTo>
                  <a:lnTo>
                    <a:pt x="254" y="879"/>
                  </a:lnTo>
                  <a:close/>
                  <a:moveTo>
                    <a:pt x="254" y="879"/>
                  </a:moveTo>
                  <a:lnTo>
                    <a:pt x="257" y="879"/>
                  </a:lnTo>
                  <a:lnTo>
                    <a:pt x="254" y="879"/>
                  </a:lnTo>
                  <a:close/>
                  <a:moveTo>
                    <a:pt x="254" y="879"/>
                  </a:moveTo>
                  <a:lnTo>
                    <a:pt x="257" y="879"/>
                  </a:lnTo>
                  <a:lnTo>
                    <a:pt x="254" y="879"/>
                  </a:lnTo>
                  <a:close/>
                  <a:moveTo>
                    <a:pt x="257" y="879"/>
                  </a:moveTo>
                  <a:lnTo>
                    <a:pt x="257" y="877"/>
                  </a:lnTo>
                  <a:lnTo>
                    <a:pt x="257" y="879"/>
                  </a:lnTo>
                  <a:close/>
                  <a:moveTo>
                    <a:pt x="257" y="877"/>
                  </a:moveTo>
                  <a:lnTo>
                    <a:pt x="257" y="879"/>
                  </a:lnTo>
                  <a:lnTo>
                    <a:pt x="257" y="877"/>
                  </a:lnTo>
                  <a:close/>
                  <a:moveTo>
                    <a:pt x="259" y="877"/>
                  </a:moveTo>
                  <a:lnTo>
                    <a:pt x="257" y="877"/>
                  </a:lnTo>
                  <a:lnTo>
                    <a:pt x="259" y="877"/>
                  </a:lnTo>
                  <a:close/>
                  <a:moveTo>
                    <a:pt x="268" y="877"/>
                  </a:moveTo>
                  <a:lnTo>
                    <a:pt x="268" y="874"/>
                  </a:lnTo>
                  <a:lnTo>
                    <a:pt x="268" y="877"/>
                  </a:lnTo>
                  <a:close/>
                  <a:moveTo>
                    <a:pt x="266" y="877"/>
                  </a:moveTo>
                  <a:lnTo>
                    <a:pt x="264" y="877"/>
                  </a:lnTo>
                  <a:lnTo>
                    <a:pt x="266" y="874"/>
                  </a:lnTo>
                  <a:lnTo>
                    <a:pt x="266" y="877"/>
                  </a:lnTo>
                  <a:close/>
                  <a:moveTo>
                    <a:pt x="268" y="877"/>
                  </a:moveTo>
                  <a:lnTo>
                    <a:pt x="266" y="877"/>
                  </a:lnTo>
                  <a:lnTo>
                    <a:pt x="268" y="874"/>
                  </a:lnTo>
                  <a:lnTo>
                    <a:pt x="268" y="877"/>
                  </a:lnTo>
                  <a:close/>
                  <a:moveTo>
                    <a:pt x="264" y="877"/>
                  </a:moveTo>
                  <a:lnTo>
                    <a:pt x="264" y="874"/>
                  </a:lnTo>
                  <a:lnTo>
                    <a:pt x="264" y="877"/>
                  </a:lnTo>
                  <a:close/>
                  <a:moveTo>
                    <a:pt x="268" y="874"/>
                  </a:moveTo>
                  <a:lnTo>
                    <a:pt x="268" y="877"/>
                  </a:lnTo>
                  <a:lnTo>
                    <a:pt x="268" y="874"/>
                  </a:lnTo>
                  <a:close/>
                  <a:moveTo>
                    <a:pt x="268" y="877"/>
                  </a:moveTo>
                  <a:lnTo>
                    <a:pt x="268" y="874"/>
                  </a:lnTo>
                  <a:lnTo>
                    <a:pt x="268" y="877"/>
                  </a:lnTo>
                  <a:close/>
                  <a:moveTo>
                    <a:pt x="266" y="874"/>
                  </a:moveTo>
                  <a:lnTo>
                    <a:pt x="264" y="874"/>
                  </a:lnTo>
                  <a:lnTo>
                    <a:pt x="266" y="874"/>
                  </a:lnTo>
                  <a:close/>
                  <a:moveTo>
                    <a:pt x="276" y="874"/>
                  </a:moveTo>
                  <a:lnTo>
                    <a:pt x="273" y="874"/>
                  </a:lnTo>
                  <a:lnTo>
                    <a:pt x="276" y="874"/>
                  </a:lnTo>
                  <a:close/>
                  <a:moveTo>
                    <a:pt x="257" y="874"/>
                  </a:moveTo>
                  <a:lnTo>
                    <a:pt x="254" y="874"/>
                  </a:lnTo>
                  <a:lnTo>
                    <a:pt x="257" y="874"/>
                  </a:lnTo>
                  <a:close/>
                  <a:moveTo>
                    <a:pt x="264" y="874"/>
                  </a:moveTo>
                  <a:lnTo>
                    <a:pt x="261" y="874"/>
                  </a:lnTo>
                  <a:lnTo>
                    <a:pt x="264" y="874"/>
                  </a:lnTo>
                  <a:close/>
                  <a:moveTo>
                    <a:pt x="264" y="874"/>
                  </a:moveTo>
                  <a:lnTo>
                    <a:pt x="266" y="874"/>
                  </a:lnTo>
                  <a:lnTo>
                    <a:pt x="264" y="874"/>
                  </a:lnTo>
                  <a:close/>
                  <a:moveTo>
                    <a:pt x="259" y="874"/>
                  </a:moveTo>
                  <a:lnTo>
                    <a:pt x="259" y="872"/>
                  </a:lnTo>
                  <a:lnTo>
                    <a:pt x="259" y="874"/>
                  </a:lnTo>
                  <a:close/>
                  <a:moveTo>
                    <a:pt x="271" y="872"/>
                  </a:moveTo>
                  <a:lnTo>
                    <a:pt x="271" y="874"/>
                  </a:lnTo>
                  <a:lnTo>
                    <a:pt x="271" y="872"/>
                  </a:lnTo>
                  <a:close/>
                  <a:moveTo>
                    <a:pt x="273" y="874"/>
                  </a:moveTo>
                  <a:lnTo>
                    <a:pt x="273" y="872"/>
                  </a:lnTo>
                  <a:lnTo>
                    <a:pt x="273" y="874"/>
                  </a:lnTo>
                  <a:close/>
                  <a:moveTo>
                    <a:pt x="271" y="872"/>
                  </a:moveTo>
                  <a:lnTo>
                    <a:pt x="268" y="872"/>
                  </a:lnTo>
                  <a:lnTo>
                    <a:pt x="271" y="872"/>
                  </a:lnTo>
                  <a:close/>
                  <a:moveTo>
                    <a:pt x="261" y="872"/>
                  </a:moveTo>
                  <a:lnTo>
                    <a:pt x="264" y="872"/>
                  </a:lnTo>
                  <a:lnTo>
                    <a:pt x="261" y="872"/>
                  </a:lnTo>
                  <a:close/>
                  <a:moveTo>
                    <a:pt x="264" y="872"/>
                  </a:moveTo>
                  <a:lnTo>
                    <a:pt x="266" y="872"/>
                  </a:lnTo>
                  <a:lnTo>
                    <a:pt x="264" y="872"/>
                  </a:lnTo>
                  <a:close/>
                  <a:moveTo>
                    <a:pt x="261" y="872"/>
                  </a:moveTo>
                  <a:lnTo>
                    <a:pt x="264" y="872"/>
                  </a:lnTo>
                  <a:lnTo>
                    <a:pt x="261" y="872"/>
                  </a:lnTo>
                  <a:close/>
                  <a:moveTo>
                    <a:pt x="261" y="872"/>
                  </a:moveTo>
                  <a:lnTo>
                    <a:pt x="264" y="872"/>
                  </a:lnTo>
                  <a:lnTo>
                    <a:pt x="261" y="872"/>
                  </a:lnTo>
                  <a:close/>
                  <a:moveTo>
                    <a:pt x="266" y="872"/>
                  </a:moveTo>
                  <a:lnTo>
                    <a:pt x="264" y="872"/>
                  </a:lnTo>
                  <a:lnTo>
                    <a:pt x="266" y="872"/>
                  </a:lnTo>
                  <a:close/>
                  <a:moveTo>
                    <a:pt x="259" y="872"/>
                  </a:moveTo>
                  <a:lnTo>
                    <a:pt x="257" y="872"/>
                  </a:lnTo>
                  <a:lnTo>
                    <a:pt x="259" y="872"/>
                  </a:lnTo>
                  <a:close/>
                  <a:moveTo>
                    <a:pt x="259" y="872"/>
                  </a:moveTo>
                  <a:lnTo>
                    <a:pt x="261" y="872"/>
                  </a:lnTo>
                  <a:lnTo>
                    <a:pt x="259" y="872"/>
                  </a:lnTo>
                  <a:close/>
                  <a:moveTo>
                    <a:pt x="266" y="872"/>
                  </a:moveTo>
                  <a:lnTo>
                    <a:pt x="264" y="872"/>
                  </a:lnTo>
                  <a:lnTo>
                    <a:pt x="266" y="872"/>
                  </a:lnTo>
                  <a:close/>
                  <a:moveTo>
                    <a:pt x="266" y="872"/>
                  </a:moveTo>
                  <a:lnTo>
                    <a:pt x="264" y="872"/>
                  </a:lnTo>
                  <a:lnTo>
                    <a:pt x="266" y="872"/>
                  </a:lnTo>
                  <a:close/>
                  <a:moveTo>
                    <a:pt x="264" y="869"/>
                  </a:moveTo>
                  <a:lnTo>
                    <a:pt x="264" y="872"/>
                  </a:lnTo>
                  <a:lnTo>
                    <a:pt x="264" y="869"/>
                  </a:lnTo>
                  <a:close/>
                  <a:moveTo>
                    <a:pt x="261" y="869"/>
                  </a:moveTo>
                  <a:lnTo>
                    <a:pt x="259" y="869"/>
                  </a:lnTo>
                  <a:lnTo>
                    <a:pt x="261" y="869"/>
                  </a:lnTo>
                  <a:close/>
                  <a:moveTo>
                    <a:pt x="266" y="869"/>
                  </a:moveTo>
                  <a:lnTo>
                    <a:pt x="264" y="872"/>
                  </a:lnTo>
                  <a:lnTo>
                    <a:pt x="264" y="869"/>
                  </a:lnTo>
                  <a:lnTo>
                    <a:pt x="264" y="872"/>
                  </a:lnTo>
                  <a:lnTo>
                    <a:pt x="266" y="869"/>
                  </a:lnTo>
                  <a:close/>
                  <a:moveTo>
                    <a:pt x="264" y="869"/>
                  </a:moveTo>
                  <a:lnTo>
                    <a:pt x="264" y="872"/>
                  </a:lnTo>
                  <a:lnTo>
                    <a:pt x="264" y="869"/>
                  </a:lnTo>
                  <a:close/>
                  <a:moveTo>
                    <a:pt x="266" y="872"/>
                  </a:moveTo>
                  <a:lnTo>
                    <a:pt x="264" y="872"/>
                  </a:lnTo>
                  <a:lnTo>
                    <a:pt x="266" y="869"/>
                  </a:lnTo>
                  <a:lnTo>
                    <a:pt x="266" y="872"/>
                  </a:lnTo>
                  <a:close/>
                  <a:moveTo>
                    <a:pt x="261" y="869"/>
                  </a:moveTo>
                  <a:lnTo>
                    <a:pt x="259" y="869"/>
                  </a:lnTo>
                  <a:lnTo>
                    <a:pt x="261" y="869"/>
                  </a:lnTo>
                  <a:close/>
                  <a:moveTo>
                    <a:pt x="276" y="869"/>
                  </a:moveTo>
                  <a:lnTo>
                    <a:pt x="273" y="869"/>
                  </a:lnTo>
                  <a:lnTo>
                    <a:pt x="276" y="869"/>
                  </a:lnTo>
                  <a:close/>
                  <a:moveTo>
                    <a:pt x="261" y="869"/>
                  </a:moveTo>
                  <a:lnTo>
                    <a:pt x="259" y="869"/>
                  </a:lnTo>
                  <a:lnTo>
                    <a:pt x="261" y="869"/>
                  </a:lnTo>
                  <a:close/>
                  <a:moveTo>
                    <a:pt x="264" y="869"/>
                  </a:moveTo>
                  <a:lnTo>
                    <a:pt x="261" y="869"/>
                  </a:lnTo>
                  <a:lnTo>
                    <a:pt x="264" y="869"/>
                  </a:lnTo>
                  <a:close/>
                  <a:moveTo>
                    <a:pt x="261" y="869"/>
                  </a:moveTo>
                  <a:lnTo>
                    <a:pt x="264" y="869"/>
                  </a:lnTo>
                  <a:lnTo>
                    <a:pt x="261" y="869"/>
                  </a:lnTo>
                  <a:close/>
                  <a:moveTo>
                    <a:pt x="276" y="867"/>
                  </a:moveTo>
                  <a:lnTo>
                    <a:pt x="276" y="869"/>
                  </a:lnTo>
                  <a:lnTo>
                    <a:pt x="276" y="867"/>
                  </a:lnTo>
                  <a:close/>
                  <a:moveTo>
                    <a:pt x="283" y="867"/>
                  </a:moveTo>
                  <a:lnTo>
                    <a:pt x="280" y="867"/>
                  </a:lnTo>
                  <a:lnTo>
                    <a:pt x="283" y="867"/>
                  </a:lnTo>
                  <a:close/>
                  <a:moveTo>
                    <a:pt x="271" y="867"/>
                  </a:moveTo>
                  <a:lnTo>
                    <a:pt x="271" y="865"/>
                  </a:lnTo>
                  <a:lnTo>
                    <a:pt x="271" y="867"/>
                  </a:lnTo>
                  <a:close/>
                  <a:moveTo>
                    <a:pt x="280" y="867"/>
                  </a:moveTo>
                  <a:lnTo>
                    <a:pt x="280" y="865"/>
                  </a:lnTo>
                  <a:lnTo>
                    <a:pt x="280" y="867"/>
                  </a:lnTo>
                  <a:close/>
                  <a:moveTo>
                    <a:pt x="247" y="867"/>
                  </a:moveTo>
                  <a:lnTo>
                    <a:pt x="247" y="865"/>
                  </a:lnTo>
                  <a:lnTo>
                    <a:pt x="247" y="867"/>
                  </a:lnTo>
                  <a:close/>
                  <a:moveTo>
                    <a:pt x="247" y="867"/>
                  </a:moveTo>
                  <a:lnTo>
                    <a:pt x="247" y="865"/>
                  </a:lnTo>
                  <a:lnTo>
                    <a:pt x="247" y="867"/>
                  </a:lnTo>
                  <a:close/>
                  <a:moveTo>
                    <a:pt x="271" y="867"/>
                  </a:moveTo>
                  <a:lnTo>
                    <a:pt x="271" y="865"/>
                  </a:lnTo>
                  <a:lnTo>
                    <a:pt x="271" y="867"/>
                  </a:lnTo>
                  <a:close/>
                  <a:moveTo>
                    <a:pt x="273" y="865"/>
                  </a:moveTo>
                  <a:lnTo>
                    <a:pt x="271" y="865"/>
                  </a:lnTo>
                  <a:lnTo>
                    <a:pt x="273" y="865"/>
                  </a:lnTo>
                  <a:close/>
                  <a:moveTo>
                    <a:pt x="273" y="865"/>
                  </a:moveTo>
                  <a:lnTo>
                    <a:pt x="271" y="865"/>
                  </a:lnTo>
                  <a:lnTo>
                    <a:pt x="273" y="865"/>
                  </a:lnTo>
                  <a:close/>
                  <a:moveTo>
                    <a:pt x="252" y="865"/>
                  </a:moveTo>
                  <a:lnTo>
                    <a:pt x="249" y="865"/>
                  </a:lnTo>
                  <a:lnTo>
                    <a:pt x="252" y="865"/>
                  </a:lnTo>
                  <a:close/>
                  <a:moveTo>
                    <a:pt x="278" y="865"/>
                  </a:moveTo>
                  <a:lnTo>
                    <a:pt x="276" y="865"/>
                  </a:lnTo>
                  <a:lnTo>
                    <a:pt x="278" y="865"/>
                  </a:lnTo>
                  <a:close/>
                  <a:moveTo>
                    <a:pt x="278" y="865"/>
                  </a:moveTo>
                  <a:lnTo>
                    <a:pt x="276" y="865"/>
                  </a:lnTo>
                  <a:lnTo>
                    <a:pt x="278" y="865"/>
                  </a:lnTo>
                  <a:close/>
                  <a:moveTo>
                    <a:pt x="252" y="865"/>
                  </a:moveTo>
                  <a:lnTo>
                    <a:pt x="252" y="862"/>
                  </a:lnTo>
                  <a:lnTo>
                    <a:pt x="252" y="865"/>
                  </a:lnTo>
                  <a:close/>
                  <a:moveTo>
                    <a:pt x="268" y="862"/>
                  </a:moveTo>
                  <a:lnTo>
                    <a:pt x="268" y="865"/>
                  </a:lnTo>
                  <a:lnTo>
                    <a:pt x="268" y="862"/>
                  </a:lnTo>
                  <a:close/>
                  <a:moveTo>
                    <a:pt x="276" y="862"/>
                  </a:moveTo>
                  <a:lnTo>
                    <a:pt x="276" y="865"/>
                  </a:lnTo>
                  <a:lnTo>
                    <a:pt x="276" y="862"/>
                  </a:lnTo>
                  <a:close/>
                  <a:moveTo>
                    <a:pt x="271" y="862"/>
                  </a:moveTo>
                  <a:lnTo>
                    <a:pt x="268" y="862"/>
                  </a:lnTo>
                  <a:lnTo>
                    <a:pt x="271" y="862"/>
                  </a:lnTo>
                  <a:close/>
                  <a:moveTo>
                    <a:pt x="271" y="862"/>
                  </a:moveTo>
                  <a:lnTo>
                    <a:pt x="268" y="862"/>
                  </a:lnTo>
                  <a:lnTo>
                    <a:pt x="271" y="862"/>
                  </a:lnTo>
                  <a:close/>
                  <a:moveTo>
                    <a:pt x="257" y="862"/>
                  </a:moveTo>
                  <a:lnTo>
                    <a:pt x="254" y="862"/>
                  </a:lnTo>
                  <a:lnTo>
                    <a:pt x="257" y="862"/>
                  </a:lnTo>
                  <a:close/>
                  <a:moveTo>
                    <a:pt x="271" y="862"/>
                  </a:moveTo>
                  <a:lnTo>
                    <a:pt x="268" y="862"/>
                  </a:lnTo>
                  <a:lnTo>
                    <a:pt x="271" y="862"/>
                  </a:lnTo>
                  <a:close/>
                  <a:moveTo>
                    <a:pt x="266" y="860"/>
                  </a:moveTo>
                  <a:lnTo>
                    <a:pt x="266" y="862"/>
                  </a:lnTo>
                  <a:lnTo>
                    <a:pt x="266" y="860"/>
                  </a:lnTo>
                  <a:close/>
                  <a:moveTo>
                    <a:pt x="249" y="860"/>
                  </a:moveTo>
                  <a:lnTo>
                    <a:pt x="249" y="862"/>
                  </a:lnTo>
                  <a:lnTo>
                    <a:pt x="249" y="860"/>
                  </a:lnTo>
                  <a:close/>
                  <a:moveTo>
                    <a:pt x="257" y="862"/>
                  </a:moveTo>
                  <a:lnTo>
                    <a:pt x="254" y="862"/>
                  </a:lnTo>
                  <a:lnTo>
                    <a:pt x="254" y="860"/>
                  </a:lnTo>
                  <a:lnTo>
                    <a:pt x="257" y="860"/>
                  </a:lnTo>
                  <a:lnTo>
                    <a:pt x="257" y="862"/>
                  </a:lnTo>
                  <a:close/>
                  <a:moveTo>
                    <a:pt x="257" y="860"/>
                  </a:moveTo>
                  <a:lnTo>
                    <a:pt x="257" y="862"/>
                  </a:lnTo>
                  <a:lnTo>
                    <a:pt x="257" y="860"/>
                  </a:lnTo>
                  <a:close/>
                  <a:moveTo>
                    <a:pt x="271" y="860"/>
                  </a:moveTo>
                  <a:lnTo>
                    <a:pt x="268" y="860"/>
                  </a:lnTo>
                  <a:lnTo>
                    <a:pt x="271" y="860"/>
                  </a:lnTo>
                  <a:close/>
                  <a:moveTo>
                    <a:pt x="268" y="860"/>
                  </a:moveTo>
                  <a:lnTo>
                    <a:pt x="266" y="860"/>
                  </a:lnTo>
                  <a:lnTo>
                    <a:pt x="268" y="860"/>
                  </a:lnTo>
                  <a:close/>
                  <a:moveTo>
                    <a:pt x="280" y="860"/>
                  </a:moveTo>
                  <a:lnTo>
                    <a:pt x="278" y="860"/>
                  </a:lnTo>
                  <a:lnTo>
                    <a:pt x="280" y="860"/>
                  </a:lnTo>
                  <a:close/>
                  <a:moveTo>
                    <a:pt x="257" y="860"/>
                  </a:moveTo>
                  <a:lnTo>
                    <a:pt x="254" y="860"/>
                  </a:lnTo>
                  <a:lnTo>
                    <a:pt x="257" y="860"/>
                  </a:lnTo>
                  <a:close/>
                  <a:moveTo>
                    <a:pt x="254" y="860"/>
                  </a:moveTo>
                  <a:lnTo>
                    <a:pt x="252" y="860"/>
                  </a:lnTo>
                  <a:lnTo>
                    <a:pt x="254" y="860"/>
                  </a:lnTo>
                  <a:close/>
                  <a:moveTo>
                    <a:pt x="276" y="860"/>
                  </a:moveTo>
                  <a:lnTo>
                    <a:pt x="273" y="860"/>
                  </a:lnTo>
                  <a:lnTo>
                    <a:pt x="276" y="860"/>
                  </a:lnTo>
                  <a:close/>
                  <a:moveTo>
                    <a:pt x="254" y="860"/>
                  </a:moveTo>
                  <a:lnTo>
                    <a:pt x="254" y="858"/>
                  </a:lnTo>
                  <a:lnTo>
                    <a:pt x="254" y="860"/>
                  </a:lnTo>
                  <a:close/>
                  <a:moveTo>
                    <a:pt x="254" y="860"/>
                  </a:moveTo>
                  <a:lnTo>
                    <a:pt x="254" y="858"/>
                  </a:lnTo>
                  <a:lnTo>
                    <a:pt x="254" y="860"/>
                  </a:lnTo>
                  <a:close/>
                  <a:moveTo>
                    <a:pt x="254" y="860"/>
                  </a:moveTo>
                  <a:lnTo>
                    <a:pt x="254" y="858"/>
                  </a:lnTo>
                  <a:lnTo>
                    <a:pt x="254" y="860"/>
                  </a:lnTo>
                  <a:close/>
                  <a:moveTo>
                    <a:pt x="280" y="860"/>
                  </a:moveTo>
                  <a:lnTo>
                    <a:pt x="278" y="860"/>
                  </a:lnTo>
                  <a:lnTo>
                    <a:pt x="280" y="858"/>
                  </a:lnTo>
                  <a:lnTo>
                    <a:pt x="280" y="860"/>
                  </a:lnTo>
                  <a:close/>
                  <a:moveTo>
                    <a:pt x="268" y="860"/>
                  </a:moveTo>
                  <a:lnTo>
                    <a:pt x="268" y="858"/>
                  </a:lnTo>
                  <a:lnTo>
                    <a:pt x="268" y="860"/>
                  </a:lnTo>
                  <a:close/>
                  <a:moveTo>
                    <a:pt x="254" y="858"/>
                  </a:moveTo>
                  <a:lnTo>
                    <a:pt x="254" y="860"/>
                  </a:lnTo>
                  <a:lnTo>
                    <a:pt x="254" y="858"/>
                  </a:lnTo>
                  <a:close/>
                  <a:moveTo>
                    <a:pt x="276" y="858"/>
                  </a:moveTo>
                  <a:lnTo>
                    <a:pt x="276" y="860"/>
                  </a:lnTo>
                  <a:lnTo>
                    <a:pt x="276" y="858"/>
                  </a:lnTo>
                  <a:close/>
                  <a:moveTo>
                    <a:pt x="268" y="858"/>
                  </a:moveTo>
                  <a:lnTo>
                    <a:pt x="268" y="860"/>
                  </a:lnTo>
                  <a:lnTo>
                    <a:pt x="268" y="858"/>
                  </a:lnTo>
                  <a:close/>
                  <a:moveTo>
                    <a:pt x="283" y="858"/>
                  </a:moveTo>
                  <a:lnTo>
                    <a:pt x="280" y="858"/>
                  </a:lnTo>
                  <a:lnTo>
                    <a:pt x="283" y="858"/>
                  </a:lnTo>
                  <a:close/>
                  <a:moveTo>
                    <a:pt x="268" y="858"/>
                  </a:moveTo>
                  <a:lnTo>
                    <a:pt x="271" y="858"/>
                  </a:lnTo>
                  <a:lnTo>
                    <a:pt x="268" y="858"/>
                  </a:lnTo>
                  <a:close/>
                  <a:moveTo>
                    <a:pt x="276" y="858"/>
                  </a:moveTo>
                  <a:lnTo>
                    <a:pt x="273" y="858"/>
                  </a:lnTo>
                  <a:lnTo>
                    <a:pt x="276" y="858"/>
                  </a:lnTo>
                  <a:close/>
                  <a:moveTo>
                    <a:pt x="271" y="858"/>
                  </a:moveTo>
                  <a:lnTo>
                    <a:pt x="268" y="858"/>
                  </a:lnTo>
                  <a:lnTo>
                    <a:pt x="271" y="858"/>
                  </a:lnTo>
                  <a:close/>
                  <a:moveTo>
                    <a:pt x="285" y="858"/>
                  </a:moveTo>
                  <a:lnTo>
                    <a:pt x="283" y="858"/>
                  </a:lnTo>
                  <a:lnTo>
                    <a:pt x="285" y="858"/>
                  </a:lnTo>
                  <a:close/>
                  <a:moveTo>
                    <a:pt x="273" y="858"/>
                  </a:moveTo>
                  <a:lnTo>
                    <a:pt x="271" y="858"/>
                  </a:lnTo>
                  <a:lnTo>
                    <a:pt x="273" y="858"/>
                  </a:lnTo>
                  <a:close/>
                  <a:moveTo>
                    <a:pt x="254" y="858"/>
                  </a:moveTo>
                  <a:lnTo>
                    <a:pt x="254" y="855"/>
                  </a:lnTo>
                  <a:lnTo>
                    <a:pt x="254" y="858"/>
                  </a:lnTo>
                  <a:close/>
                  <a:moveTo>
                    <a:pt x="278" y="855"/>
                  </a:moveTo>
                  <a:lnTo>
                    <a:pt x="278" y="858"/>
                  </a:lnTo>
                  <a:lnTo>
                    <a:pt x="278" y="855"/>
                  </a:lnTo>
                  <a:close/>
                  <a:moveTo>
                    <a:pt x="290" y="855"/>
                  </a:moveTo>
                  <a:lnTo>
                    <a:pt x="290" y="858"/>
                  </a:lnTo>
                  <a:lnTo>
                    <a:pt x="290" y="855"/>
                  </a:lnTo>
                  <a:close/>
                  <a:moveTo>
                    <a:pt x="273" y="855"/>
                  </a:moveTo>
                  <a:lnTo>
                    <a:pt x="273" y="858"/>
                  </a:lnTo>
                  <a:lnTo>
                    <a:pt x="273" y="855"/>
                  </a:lnTo>
                  <a:close/>
                  <a:moveTo>
                    <a:pt x="280" y="858"/>
                  </a:moveTo>
                  <a:lnTo>
                    <a:pt x="278" y="858"/>
                  </a:lnTo>
                  <a:lnTo>
                    <a:pt x="278" y="855"/>
                  </a:lnTo>
                  <a:lnTo>
                    <a:pt x="280" y="855"/>
                  </a:lnTo>
                  <a:lnTo>
                    <a:pt x="278" y="858"/>
                  </a:lnTo>
                  <a:lnTo>
                    <a:pt x="280" y="858"/>
                  </a:lnTo>
                  <a:close/>
                  <a:moveTo>
                    <a:pt x="257" y="855"/>
                  </a:moveTo>
                  <a:lnTo>
                    <a:pt x="254" y="855"/>
                  </a:lnTo>
                  <a:lnTo>
                    <a:pt x="257" y="855"/>
                  </a:lnTo>
                  <a:close/>
                  <a:moveTo>
                    <a:pt x="292" y="853"/>
                  </a:moveTo>
                  <a:lnTo>
                    <a:pt x="292" y="855"/>
                  </a:lnTo>
                  <a:lnTo>
                    <a:pt x="292" y="853"/>
                  </a:lnTo>
                  <a:close/>
                  <a:moveTo>
                    <a:pt x="280" y="855"/>
                  </a:moveTo>
                  <a:lnTo>
                    <a:pt x="280" y="853"/>
                  </a:lnTo>
                  <a:lnTo>
                    <a:pt x="283" y="853"/>
                  </a:lnTo>
                  <a:lnTo>
                    <a:pt x="280" y="855"/>
                  </a:lnTo>
                  <a:close/>
                  <a:moveTo>
                    <a:pt x="280" y="855"/>
                  </a:moveTo>
                  <a:lnTo>
                    <a:pt x="280" y="853"/>
                  </a:lnTo>
                  <a:lnTo>
                    <a:pt x="280" y="855"/>
                  </a:lnTo>
                  <a:close/>
                  <a:moveTo>
                    <a:pt x="280" y="855"/>
                  </a:moveTo>
                  <a:lnTo>
                    <a:pt x="280" y="853"/>
                  </a:lnTo>
                  <a:lnTo>
                    <a:pt x="280" y="855"/>
                  </a:lnTo>
                  <a:close/>
                  <a:moveTo>
                    <a:pt x="290" y="853"/>
                  </a:moveTo>
                  <a:lnTo>
                    <a:pt x="287" y="853"/>
                  </a:lnTo>
                  <a:lnTo>
                    <a:pt x="290" y="853"/>
                  </a:lnTo>
                  <a:close/>
                  <a:moveTo>
                    <a:pt x="280" y="853"/>
                  </a:moveTo>
                  <a:lnTo>
                    <a:pt x="278" y="853"/>
                  </a:lnTo>
                  <a:lnTo>
                    <a:pt x="280" y="853"/>
                  </a:lnTo>
                  <a:close/>
                  <a:moveTo>
                    <a:pt x="290" y="853"/>
                  </a:moveTo>
                  <a:lnTo>
                    <a:pt x="287" y="853"/>
                  </a:lnTo>
                  <a:lnTo>
                    <a:pt x="290" y="853"/>
                  </a:lnTo>
                  <a:close/>
                  <a:moveTo>
                    <a:pt x="290" y="853"/>
                  </a:moveTo>
                  <a:lnTo>
                    <a:pt x="287" y="853"/>
                  </a:lnTo>
                  <a:lnTo>
                    <a:pt x="290" y="850"/>
                  </a:lnTo>
                  <a:lnTo>
                    <a:pt x="290" y="853"/>
                  </a:lnTo>
                  <a:close/>
                  <a:moveTo>
                    <a:pt x="264" y="850"/>
                  </a:moveTo>
                  <a:lnTo>
                    <a:pt x="264" y="853"/>
                  </a:lnTo>
                  <a:lnTo>
                    <a:pt x="264" y="850"/>
                  </a:lnTo>
                  <a:close/>
                  <a:moveTo>
                    <a:pt x="287" y="853"/>
                  </a:moveTo>
                  <a:lnTo>
                    <a:pt x="287" y="850"/>
                  </a:lnTo>
                  <a:lnTo>
                    <a:pt x="287" y="853"/>
                  </a:lnTo>
                  <a:close/>
                  <a:moveTo>
                    <a:pt x="285" y="850"/>
                  </a:moveTo>
                  <a:lnTo>
                    <a:pt x="283" y="850"/>
                  </a:lnTo>
                  <a:lnTo>
                    <a:pt x="285" y="850"/>
                  </a:lnTo>
                  <a:close/>
                  <a:moveTo>
                    <a:pt x="285" y="850"/>
                  </a:moveTo>
                  <a:lnTo>
                    <a:pt x="283" y="850"/>
                  </a:lnTo>
                  <a:lnTo>
                    <a:pt x="285" y="850"/>
                  </a:lnTo>
                  <a:close/>
                  <a:moveTo>
                    <a:pt x="285" y="850"/>
                  </a:moveTo>
                  <a:lnTo>
                    <a:pt x="283" y="850"/>
                  </a:lnTo>
                  <a:lnTo>
                    <a:pt x="285" y="850"/>
                  </a:lnTo>
                  <a:close/>
                  <a:moveTo>
                    <a:pt x="290" y="850"/>
                  </a:moveTo>
                  <a:lnTo>
                    <a:pt x="287" y="850"/>
                  </a:lnTo>
                  <a:lnTo>
                    <a:pt x="290" y="850"/>
                  </a:lnTo>
                  <a:close/>
                  <a:moveTo>
                    <a:pt x="268" y="848"/>
                  </a:moveTo>
                  <a:lnTo>
                    <a:pt x="268" y="850"/>
                  </a:lnTo>
                  <a:lnTo>
                    <a:pt x="268" y="848"/>
                  </a:lnTo>
                  <a:close/>
                  <a:moveTo>
                    <a:pt x="287" y="850"/>
                  </a:moveTo>
                  <a:lnTo>
                    <a:pt x="285" y="850"/>
                  </a:lnTo>
                  <a:lnTo>
                    <a:pt x="285" y="848"/>
                  </a:lnTo>
                  <a:lnTo>
                    <a:pt x="287" y="848"/>
                  </a:lnTo>
                  <a:lnTo>
                    <a:pt x="287" y="850"/>
                  </a:lnTo>
                  <a:close/>
                  <a:moveTo>
                    <a:pt x="264" y="850"/>
                  </a:moveTo>
                  <a:lnTo>
                    <a:pt x="264" y="848"/>
                  </a:lnTo>
                  <a:lnTo>
                    <a:pt x="264" y="850"/>
                  </a:lnTo>
                  <a:close/>
                  <a:moveTo>
                    <a:pt x="268" y="848"/>
                  </a:moveTo>
                  <a:lnTo>
                    <a:pt x="268" y="850"/>
                  </a:lnTo>
                  <a:lnTo>
                    <a:pt x="268" y="848"/>
                  </a:lnTo>
                  <a:close/>
                  <a:moveTo>
                    <a:pt x="264" y="848"/>
                  </a:moveTo>
                  <a:lnTo>
                    <a:pt x="261" y="850"/>
                  </a:lnTo>
                  <a:lnTo>
                    <a:pt x="261" y="848"/>
                  </a:lnTo>
                  <a:lnTo>
                    <a:pt x="264" y="848"/>
                  </a:lnTo>
                  <a:close/>
                  <a:moveTo>
                    <a:pt x="264" y="848"/>
                  </a:moveTo>
                  <a:lnTo>
                    <a:pt x="261" y="848"/>
                  </a:lnTo>
                  <a:lnTo>
                    <a:pt x="264" y="848"/>
                  </a:lnTo>
                  <a:close/>
                  <a:moveTo>
                    <a:pt x="285" y="848"/>
                  </a:moveTo>
                  <a:lnTo>
                    <a:pt x="283" y="848"/>
                  </a:lnTo>
                  <a:lnTo>
                    <a:pt x="285" y="848"/>
                  </a:lnTo>
                  <a:close/>
                  <a:moveTo>
                    <a:pt x="264" y="848"/>
                  </a:moveTo>
                  <a:lnTo>
                    <a:pt x="261" y="848"/>
                  </a:lnTo>
                  <a:lnTo>
                    <a:pt x="264" y="848"/>
                  </a:lnTo>
                  <a:close/>
                  <a:moveTo>
                    <a:pt x="283" y="848"/>
                  </a:moveTo>
                  <a:lnTo>
                    <a:pt x="285" y="848"/>
                  </a:lnTo>
                  <a:lnTo>
                    <a:pt x="283" y="848"/>
                  </a:lnTo>
                  <a:close/>
                  <a:moveTo>
                    <a:pt x="297" y="848"/>
                  </a:moveTo>
                  <a:lnTo>
                    <a:pt x="295" y="848"/>
                  </a:lnTo>
                  <a:lnTo>
                    <a:pt x="297" y="848"/>
                  </a:lnTo>
                  <a:close/>
                  <a:moveTo>
                    <a:pt x="285" y="848"/>
                  </a:moveTo>
                  <a:lnTo>
                    <a:pt x="287" y="848"/>
                  </a:lnTo>
                  <a:lnTo>
                    <a:pt x="285" y="848"/>
                  </a:lnTo>
                  <a:close/>
                  <a:moveTo>
                    <a:pt x="287" y="848"/>
                  </a:moveTo>
                  <a:lnTo>
                    <a:pt x="285" y="848"/>
                  </a:lnTo>
                  <a:lnTo>
                    <a:pt x="287" y="848"/>
                  </a:lnTo>
                  <a:close/>
                  <a:moveTo>
                    <a:pt x="297" y="848"/>
                  </a:moveTo>
                  <a:lnTo>
                    <a:pt x="297" y="846"/>
                  </a:lnTo>
                  <a:lnTo>
                    <a:pt x="297" y="848"/>
                  </a:lnTo>
                  <a:close/>
                  <a:moveTo>
                    <a:pt x="287" y="846"/>
                  </a:moveTo>
                  <a:lnTo>
                    <a:pt x="287" y="848"/>
                  </a:lnTo>
                  <a:lnTo>
                    <a:pt x="287" y="846"/>
                  </a:lnTo>
                  <a:close/>
                  <a:moveTo>
                    <a:pt x="287" y="848"/>
                  </a:moveTo>
                  <a:lnTo>
                    <a:pt x="287" y="846"/>
                  </a:lnTo>
                  <a:lnTo>
                    <a:pt x="287" y="848"/>
                  </a:lnTo>
                  <a:close/>
                  <a:moveTo>
                    <a:pt x="287" y="846"/>
                  </a:moveTo>
                  <a:lnTo>
                    <a:pt x="287" y="848"/>
                  </a:lnTo>
                  <a:lnTo>
                    <a:pt x="287" y="846"/>
                  </a:lnTo>
                  <a:close/>
                  <a:moveTo>
                    <a:pt x="287" y="846"/>
                  </a:moveTo>
                  <a:lnTo>
                    <a:pt x="285" y="846"/>
                  </a:lnTo>
                  <a:lnTo>
                    <a:pt x="287" y="846"/>
                  </a:lnTo>
                  <a:close/>
                  <a:moveTo>
                    <a:pt x="287" y="846"/>
                  </a:moveTo>
                  <a:lnTo>
                    <a:pt x="287" y="848"/>
                  </a:lnTo>
                  <a:lnTo>
                    <a:pt x="287" y="846"/>
                  </a:lnTo>
                  <a:close/>
                  <a:moveTo>
                    <a:pt x="271" y="848"/>
                  </a:moveTo>
                  <a:lnTo>
                    <a:pt x="271" y="846"/>
                  </a:lnTo>
                  <a:lnTo>
                    <a:pt x="271" y="848"/>
                  </a:lnTo>
                  <a:close/>
                  <a:moveTo>
                    <a:pt x="285" y="846"/>
                  </a:moveTo>
                  <a:lnTo>
                    <a:pt x="285" y="848"/>
                  </a:lnTo>
                  <a:lnTo>
                    <a:pt x="285" y="846"/>
                  </a:lnTo>
                  <a:close/>
                  <a:moveTo>
                    <a:pt x="273" y="848"/>
                  </a:moveTo>
                  <a:lnTo>
                    <a:pt x="273" y="846"/>
                  </a:lnTo>
                  <a:lnTo>
                    <a:pt x="273" y="848"/>
                  </a:lnTo>
                  <a:close/>
                  <a:moveTo>
                    <a:pt x="285" y="846"/>
                  </a:moveTo>
                  <a:lnTo>
                    <a:pt x="285" y="848"/>
                  </a:lnTo>
                  <a:lnTo>
                    <a:pt x="285" y="846"/>
                  </a:lnTo>
                  <a:close/>
                  <a:moveTo>
                    <a:pt x="273" y="846"/>
                  </a:moveTo>
                  <a:lnTo>
                    <a:pt x="271" y="846"/>
                  </a:lnTo>
                  <a:lnTo>
                    <a:pt x="273" y="846"/>
                  </a:lnTo>
                  <a:close/>
                  <a:moveTo>
                    <a:pt x="299" y="846"/>
                  </a:moveTo>
                  <a:lnTo>
                    <a:pt x="297" y="846"/>
                  </a:lnTo>
                  <a:lnTo>
                    <a:pt x="299" y="846"/>
                  </a:lnTo>
                  <a:close/>
                  <a:moveTo>
                    <a:pt x="283" y="846"/>
                  </a:moveTo>
                  <a:lnTo>
                    <a:pt x="280" y="846"/>
                  </a:lnTo>
                  <a:lnTo>
                    <a:pt x="283" y="846"/>
                  </a:lnTo>
                  <a:close/>
                  <a:moveTo>
                    <a:pt x="285" y="846"/>
                  </a:moveTo>
                  <a:lnTo>
                    <a:pt x="283" y="846"/>
                  </a:lnTo>
                  <a:lnTo>
                    <a:pt x="285" y="846"/>
                  </a:lnTo>
                  <a:close/>
                  <a:moveTo>
                    <a:pt x="283" y="846"/>
                  </a:moveTo>
                  <a:lnTo>
                    <a:pt x="280" y="846"/>
                  </a:lnTo>
                  <a:lnTo>
                    <a:pt x="283" y="846"/>
                  </a:lnTo>
                  <a:close/>
                  <a:moveTo>
                    <a:pt x="292" y="846"/>
                  </a:moveTo>
                  <a:lnTo>
                    <a:pt x="290" y="846"/>
                  </a:lnTo>
                  <a:lnTo>
                    <a:pt x="292" y="846"/>
                  </a:lnTo>
                  <a:close/>
                  <a:moveTo>
                    <a:pt x="280" y="846"/>
                  </a:moveTo>
                  <a:lnTo>
                    <a:pt x="283" y="846"/>
                  </a:lnTo>
                  <a:lnTo>
                    <a:pt x="280" y="846"/>
                  </a:lnTo>
                  <a:close/>
                  <a:moveTo>
                    <a:pt x="287" y="846"/>
                  </a:moveTo>
                  <a:lnTo>
                    <a:pt x="287" y="843"/>
                  </a:lnTo>
                  <a:lnTo>
                    <a:pt x="287" y="846"/>
                  </a:lnTo>
                  <a:close/>
                  <a:moveTo>
                    <a:pt x="280" y="846"/>
                  </a:moveTo>
                  <a:lnTo>
                    <a:pt x="280" y="843"/>
                  </a:lnTo>
                  <a:lnTo>
                    <a:pt x="280" y="846"/>
                  </a:lnTo>
                  <a:close/>
                  <a:moveTo>
                    <a:pt x="290" y="843"/>
                  </a:moveTo>
                  <a:lnTo>
                    <a:pt x="290" y="846"/>
                  </a:lnTo>
                  <a:lnTo>
                    <a:pt x="290" y="843"/>
                  </a:lnTo>
                  <a:lnTo>
                    <a:pt x="290" y="846"/>
                  </a:lnTo>
                  <a:lnTo>
                    <a:pt x="290" y="843"/>
                  </a:lnTo>
                  <a:close/>
                  <a:moveTo>
                    <a:pt x="292" y="846"/>
                  </a:moveTo>
                  <a:lnTo>
                    <a:pt x="292" y="843"/>
                  </a:lnTo>
                  <a:lnTo>
                    <a:pt x="292" y="846"/>
                  </a:lnTo>
                  <a:close/>
                  <a:moveTo>
                    <a:pt x="292" y="843"/>
                  </a:moveTo>
                  <a:lnTo>
                    <a:pt x="290" y="843"/>
                  </a:lnTo>
                  <a:lnTo>
                    <a:pt x="292" y="843"/>
                  </a:lnTo>
                  <a:close/>
                  <a:moveTo>
                    <a:pt x="304" y="843"/>
                  </a:moveTo>
                  <a:lnTo>
                    <a:pt x="302" y="843"/>
                  </a:lnTo>
                  <a:lnTo>
                    <a:pt x="304" y="843"/>
                  </a:lnTo>
                  <a:close/>
                  <a:moveTo>
                    <a:pt x="295" y="843"/>
                  </a:moveTo>
                  <a:lnTo>
                    <a:pt x="295" y="841"/>
                  </a:lnTo>
                  <a:lnTo>
                    <a:pt x="295" y="843"/>
                  </a:lnTo>
                  <a:close/>
                  <a:moveTo>
                    <a:pt x="295" y="843"/>
                  </a:moveTo>
                  <a:lnTo>
                    <a:pt x="295" y="841"/>
                  </a:lnTo>
                  <a:lnTo>
                    <a:pt x="295" y="843"/>
                  </a:lnTo>
                  <a:close/>
                  <a:moveTo>
                    <a:pt x="295" y="839"/>
                  </a:moveTo>
                  <a:lnTo>
                    <a:pt x="292" y="839"/>
                  </a:lnTo>
                  <a:lnTo>
                    <a:pt x="292" y="841"/>
                  </a:lnTo>
                  <a:lnTo>
                    <a:pt x="292" y="839"/>
                  </a:lnTo>
                  <a:lnTo>
                    <a:pt x="295" y="839"/>
                  </a:lnTo>
                  <a:close/>
                  <a:moveTo>
                    <a:pt x="297" y="839"/>
                  </a:moveTo>
                  <a:lnTo>
                    <a:pt x="295" y="839"/>
                  </a:lnTo>
                  <a:lnTo>
                    <a:pt x="297" y="839"/>
                  </a:lnTo>
                  <a:close/>
                  <a:moveTo>
                    <a:pt x="290" y="836"/>
                  </a:moveTo>
                  <a:lnTo>
                    <a:pt x="290" y="839"/>
                  </a:lnTo>
                  <a:lnTo>
                    <a:pt x="290" y="836"/>
                  </a:lnTo>
                  <a:close/>
                  <a:moveTo>
                    <a:pt x="285" y="834"/>
                  </a:moveTo>
                  <a:lnTo>
                    <a:pt x="285" y="836"/>
                  </a:lnTo>
                  <a:lnTo>
                    <a:pt x="285" y="834"/>
                  </a:lnTo>
                  <a:close/>
                  <a:moveTo>
                    <a:pt x="302" y="834"/>
                  </a:moveTo>
                  <a:lnTo>
                    <a:pt x="304" y="834"/>
                  </a:lnTo>
                  <a:lnTo>
                    <a:pt x="302" y="834"/>
                  </a:lnTo>
                  <a:close/>
                  <a:moveTo>
                    <a:pt x="304" y="831"/>
                  </a:moveTo>
                  <a:lnTo>
                    <a:pt x="304" y="834"/>
                  </a:lnTo>
                  <a:lnTo>
                    <a:pt x="304" y="831"/>
                  </a:lnTo>
                  <a:close/>
                  <a:moveTo>
                    <a:pt x="306" y="831"/>
                  </a:moveTo>
                  <a:lnTo>
                    <a:pt x="304" y="831"/>
                  </a:lnTo>
                  <a:lnTo>
                    <a:pt x="306" y="831"/>
                  </a:lnTo>
                  <a:close/>
                  <a:moveTo>
                    <a:pt x="304" y="831"/>
                  </a:moveTo>
                  <a:lnTo>
                    <a:pt x="302" y="831"/>
                  </a:lnTo>
                  <a:lnTo>
                    <a:pt x="304" y="831"/>
                  </a:lnTo>
                  <a:lnTo>
                    <a:pt x="302" y="831"/>
                  </a:lnTo>
                  <a:lnTo>
                    <a:pt x="304" y="831"/>
                  </a:lnTo>
                  <a:close/>
                  <a:moveTo>
                    <a:pt x="302" y="831"/>
                  </a:moveTo>
                  <a:lnTo>
                    <a:pt x="304" y="831"/>
                  </a:lnTo>
                  <a:lnTo>
                    <a:pt x="302" y="831"/>
                  </a:lnTo>
                  <a:close/>
                  <a:moveTo>
                    <a:pt x="306" y="829"/>
                  </a:moveTo>
                  <a:lnTo>
                    <a:pt x="306" y="831"/>
                  </a:lnTo>
                  <a:lnTo>
                    <a:pt x="306" y="829"/>
                  </a:lnTo>
                  <a:close/>
                  <a:moveTo>
                    <a:pt x="309" y="829"/>
                  </a:moveTo>
                  <a:lnTo>
                    <a:pt x="306" y="829"/>
                  </a:lnTo>
                  <a:lnTo>
                    <a:pt x="309" y="829"/>
                  </a:lnTo>
                  <a:close/>
                  <a:moveTo>
                    <a:pt x="309" y="829"/>
                  </a:moveTo>
                  <a:lnTo>
                    <a:pt x="306" y="829"/>
                  </a:lnTo>
                  <a:lnTo>
                    <a:pt x="309" y="829"/>
                  </a:lnTo>
                  <a:lnTo>
                    <a:pt x="306" y="829"/>
                  </a:lnTo>
                  <a:lnTo>
                    <a:pt x="309" y="829"/>
                  </a:lnTo>
                  <a:close/>
                  <a:moveTo>
                    <a:pt x="314" y="829"/>
                  </a:moveTo>
                  <a:lnTo>
                    <a:pt x="311" y="829"/>
                  </a:lnTo>
                  <a:lnTo>
                    <a:pt x="314" y="829"/>
                  </a:lnTo>
                  <a:close/>
                  <a:moveTo>
                    <a:pt x="314" y="829"/>
                  </a:moveTo>
                  <a:lnTo>
                    <a:pt x="311" y="829"/>
                  </a:lnTo>
                  <a:lnTo>
                    <a:pt x="314" y="829"/>
                  </a:lnTo>
                  <a:close/>
                  <a:moveTo>
                    <a:pt x="314" y="829"/>
                  </a:moveTo>
                  <a:lnTo>
                    <a:pt x="314" y="827"/>
                  </a:lnTo>
                  <a:lnTo>
                    <a:pt x="314" y="829"/>
                  </a:lnTo>
                  <a:close/>
                  <a:moveTo>
                    <a:pt x="314" y="829"/>
                  </a:moveTo>
                  <a:lnTo>
                    <a:pt x="314" y="827"/>
                  </a:lnTo>
                  <a:lnTo>
                    <a:pt x="314" y="829"/>
                  </a:lnTo>
                  <a:close/>
                  <a:moveTo>
                    <a:pt x="306" y="827"/>
                  </a:moveTo>
                  <a:lnTo>
                    <a:pt x="304" y="827"/>
                  </a:lnTo>
                  <a:lnTo>
                    <a:pt x="306" y="827"/>
                  </a:lnTo>
                  <a:close/>
                  <a:moveTo>
                    <a:pt x="304" y="827"/>
                  </a:moveTo>
                  <a:lnTo>
                    <a:pt x="306" y="827"/>
                  </a:lnTo>
                  <a:lnTo>
                    <a:pt x="304" y="827"/>
                  </a:lnTo>
                  <a:close/>
                  <a:moveTo>
                    <a:pt x="314" y="827"/>
                  </a:moveTo>
                  <a:lnTo>
                    <a:pt x="311" y="827"/>
                  </a:lnTo>
                  <a:lnTo>
                    <a:pt x="314" y="827"/>
                  </a:lnTo>
                  <a:close/>
                  <a:moveTo>
                    <a:pt x="306" y="827"/>
                  </a:moveTo>
                  <a:lnTo>
                    <a:pt x="304" y="827"/>
                  </a:lnTo>
                  <a:lnTo>
                    <a:pt x="306" y="827"/>
                  </a:lnTo>
                  <a:close/>
                  <a:moveTo>
                    <a:pt x="306" y="827"/>
                  </a:moveTo>
                  <a:lnTo>
                    <a:pt x="306" y="824"/>
                  </a:lnTo>
                  <a:lnTo>
                    <a:pt x="306" y="827"/>
                  </a:lnTo>
                  <a:close/>
                  <a:moveTo>
                    <a:pt x="306" y="827"/>
                  </a:moveTo>
                  <a:lnTo>
                    <a:pt x="306" y="824"/>
                  </a:lnTo>
                  <a:lnTo>
                    <a:pt x="306" y="827"/>
                  </a:lnTo>
                  <a:close/>
                  <a:moveTo>
                    <a:pt x="304" y="827"/>
                  </a:moveTo>
                  <a:lnTo>
                    <a:pt x="304" y="824"/>
                  </a:lnTo>
                  <a:lnTo>
                    <a:pt x="304" y="827"/>
                  </a:lnTo>
                  <a:close/>
                  <a:moveTo>
                    <a:pt x="306" y="827"/>
                  </a:moveTo>
                  <a:lnTo>
                    <a:pt x="306" y="824"/>
                  </a:lnTo>
                  <a:lnTo>
                    <a:pt x="306" y="827"/>
                  </a:lnTo>
                  <a:close/>
                  <a:moveTo>
                    <a:pt x="304" y="824"/>
                  </a:moveTo>
                  <a:lnTo>
                    <a:pt x="304" y="827"/>
                  </a:lnTo>
                  <a:lnTo>
                    <a:pt x="304" y="824"/>
                  </a:lnTo>
                  <a:close/>
                  <a:moveTo>
                    <a:pt x="306" y="824"/>
                  </a:moveTo>
                  <a:lnTo>
                    <a:pt x="306" y="827"/>
                  </a:lnTo>
                  <a:lnTo>
                    <a:pt x="306" y="824"/>
                  </a:lnTo>
                  <a:close/>
                  <a:moveTo>
                    <a:pt x="304" y="824"/>
                  </a:moveTo>
                  <a:lnTo>
                    <a:pt x="306" y="824"/>
                  </a:lnTo>
                  <a:lnTo>
                    <a:pt x="306" y="827"/>
                  </a:lnTo>
                  <a:lnTo>
                    <a:pt x="304" y="824"/>
                  </a:lnTo>
                  <a:close/>
                  <a:moveTo>
                    <a:pt x="306" y="824"/>
                  </a:moveTo>
                  <a:lnTo>
                    <a:pt x="309" y="824"/>
                  </a:lnTo>
                  <a:lnTo>
                    <a:pt x="306" y="824"/>
                  </a:lnTo>
                  <a:close/>
                  <a:moveTo>
                    <a:pt x="304" y="824"/>
                  </a:moveTo>
                  <a:lnTo>
                    <a:pt x="306" y="824"/>
                  </a:lnTo>
                  <a:lnTo>
                    <a:pt x="304" y="824"/>
                  </a:lnTo>
                  <a:close/>
                  <a:moveTo>
                    <a:pt x="304" y="824"/>
                  </a:moveTo>
                  <a:lnTo>
                    <a:pt x="306" y="824"/>
                  </a:lnTo>
                  <a:lnTo>
                    <a:pt x="304" y="824"/>
                  </a:lnTo>
                  <a:close/>
                  <a:moveTo>
                    <a:pt x="344" y="824"/>
                  </a:moveTo>
                  <a:lnTo>
                    <a:pt x="344" y="822"/>
                  </a:lnTo>
                  <a:lnTo>
                    <a:pt x="344" y="824"/>
                  </a:lnTo>
                  <a:close/>
                  <a:moveTo>
                    <a:pt x="314" y="822"/>
                  </a:moveTo>
                  <a:lnTo>
                    <a:pt x="311" y="822"/>
                  </a:lnTo>
                  <a:lnTo>
                    <a:pt x="314" y="822"/>
                  </a:lnTo>
                  <a:close/>
                  <a:moveTo>
                    <a:pt x="311" y="822"/>
                  </a:moveTo>
                  <a:lnTo>
                    <a:pt x="314" y="822"/>
                  </a:lnTo>
                  <a:lnTo>
                    <a:pt x="311" y="822"/>
                  </a:lnTo>
                  <a:close/>
                  <a:moveTo>
                    <a:pt x="314" y="822"/>
                  </a:moveTo>
                  <a:lnTo>
                    <a:pt x="311" y="822"/>
                  </a:lnTo>
                  <a:lnTo>
                    <a:pt x="314" y="822"/>
                  </a:lnTo>
                  <a:close/>
                  <a:moveTo>
                    <a:pt x="335" y="822"/>
                  </a:moveTo>
                  <a:lnTo>
                    <a:pt x="332" y="822"/>
                  </a:lnTo>
                  <a:lnTo>
                    <a:pt x="335" y="822"/>
                  </a:lnTo>
                  <a:close/>
                  <a:moveTo>
                    <a:pt x="311" y="822"/>
                  </a:moveTo>
                  <a:lnTo>
                    <a:pt x="314" y="822"/>
                  </a:lnTo>
                  <a:lnTo>
                    <a:pt x="311" y="822"/>
                  </a:lnTo>
                  <a:close/>
                  <a:moveTo>
                    <a:pt x="314" y="822"/>
                  </a:moveTo>
                  <a:lnTo>
                    <a:pt x="311" y="822"/>
                  </a:lnTo>
                  <a:lnTo>
                    <a:pt x="314" y="822"/>
                  </a:lnTo>
                  <a:close/>
                  <a:moveTo>
                    <a:pt x="314" y="822"/>
                  </a:moveTo>
                  <a:lnTo>
                    <a:pt x="311" y="822"/>
                  </a:lnTo>
                  <a:lnTo>
                    <a:pt x="314" y="822"/>
                  </a:lnTo>
                  <a:close/>
                  <a:moveTo>
                    <a:pt x="316" y="822"/>
                  </a:moveTo>
                  <a:lnTo>
                    <a:pt x="316" y="820"/>
                  </a:lnTo>
                  <a:lnTo>
                    <a:pt x="316" y="822"/>
                  </a:lnTo>
                  <a:close/>
                  <a:moveTo>
                    <a:pt x="304" y="817"/>
                  </a:moveTo>
                  <a:lnTo>
                    <a:pt x="304" y="820"/>
                  </a:lnTo>
                  <a:lnTo>
                    <a:pt x="304" y="817"/>
                  </a:lnTo>
                  <a:close/>
                  <a:moveTo>
                    <a:pt x="297" y="817"/>
                  </a:moveTo>
                  <a:lnTo>
                    <a:pt x="297" y="820"/>
                  </a:lnTo>
                  <a:lnTo>
                    <a:pt x="297" y="817"/>
                  </a:lnTo>
                  <a:close/>
                  <a:moveTo>
                    <a:pt x="304" y="817"/>
                  </a:moveTo>
                  <a:lnTo>
                    <a:pt x="304" y="820"/>
                  </a:lnTo>
                  <a:lnTo>
                    <a:pt x="304" y="817"/>
                  </a:lnTo>
                  <a:close/>
                  <a:moveTo>
                    <a:pt x="304" y="817"/>
                  </a:moveTo>
                  <a:lnTo>
                    <a:pt x="304" y="820"/>
                  </a:lnTo>
                  <a:lnTo>
                    <a:pt x="304" y="817"/>
                  </a:lnTo>
                  <a:close/>
                  <a:moveTo>
                    <a:pt x="299" y="817"/>
                  </a:moveTo>
                  <a:lnTo>
                    <a:pt x="297" y="817"/>
                  </a:lnTo>
                  <a:lnTo>
                    <a:pt x="299" y="817"/>
                  </a:lnTo>
                  <a:close/>
                  <a:moveTo>
                    <a:pt x="325" y="817"/>
                  </a:moveTo>
                  <a:lnTo>
                    <a:pt x="323" y="817"/>
                  </a:lnTo>
                  <a:lnTo>
                    <a:pt x="325" y="817"/>
                  </a:lnTo>
                  <a:close/>
                  <a:moveTo>
                    <a:pt x="314" y="817"/>
                  </a:moveTo>
                  <a:lnTo>
                    <a:pt x="316" y="817"/>
                  </a:lnTo>
                  <a:lnTo>
                    <a:pt x="314" y="817"/>
                  </a:lnTo>
                  <a:close/>
                  <a:moveTo>
                    <a:pt x="316" y="817"/>
                  </a:moveTo>
                  <a:lnTo>
                    <a:pt x="314" y="817"/>
                  </a:lnTo>
                  <a:lnTo>
                    <a:pt x="316" y="817"/>
                  </a:lnTo>
                  <a:close/>
                  <a:moveTo>
                    <a:pt x="304" y="817"/>
                  </a:moveTo>
                  <a:lnTo>
                    <a:pt x="306" y="817"/>
                  </a:lnTo>
                  <a:lnTo>
                    <a:pt x="304" y="817"/>
                  </a:lnTo>
                  <a:close/>
                  <a:moveTo>
                    <a:pt x="321" y="817"/>
                  </a:moveTo>
                  <a:lnTo>
                    <a:pt x="318" y="817"/>
                  </a:lnTo>
                  <a:lnTo>
                    <a:pt x="321" y="817"/>
                  </a:lnTo>
                  <a:close/>
                  <a:moveTo>
                    <a:pt x="332" y="815"/>
                  </a:moveTo>
                  <a:lnTo>
                    <a:pt x="330" y="815"/>
                  </a:lnTo>
                  <a:lnTo>
                    <a:pt x="332" y="815"/>
                  </a:lnTo>
                  <a:close/>
                  <a:moveTo>
                    <a:pt x="330" y="815"/>
                  </a:moveTo>
                  <a:lnTo>
                    <a:pt x="330" y="812"/>
                  </a:lnTo>
                  <a:lnTo>
                    <a:pt x="330" y="815"/>
                  </a:lnTo>
                  <a:close/>
                  <a:moveTo>
                    <a:pt x="321" y="815"/>
                  </a:moveTo>
                  <a:lnTo>
                    <a:pt x="321" y="812"/>
                  </a:lnTo>
                  <a:lnTo>
                    <a:pt x="321" y="815"/>
                  </a:lnTo>
                  <a:close/>
                  <a:moveTo>
                    <a:pt x="330" y="815"/>
                  </a:moveTo>
                  <a:lnTo>
                    <a:pt x="330" y="812"/>
                  </a:lnTo>
                  <a:lnTo>
                    <a:pt x="330" y="815"/>
                  </a:lnTo>
                  <a:close/>
                  <a:moveTo>
                    <a:pt x="325" y="812"/>
                  </a:moveTo>
                  <a:lnTo>
                    <a:pt x="325" y="815"/>
                  </a:lnTo>
                  <a:lnTo>
                    <a:pt x="325" y="812"/>
                  </a:lnTo>
                  <a:close/>
                  <a:moveTo>
                    <a:pt x="323" y="812"/>
                  </a:moveTo>
                  <a:lnTo>
                    <a:pt x="323" y="815"/>
                  </a:lnTo>
                  <a:lnTo>
                    <a:pt x="323" y="812"/>
                  </a:lnTo>
                  <a:close/>
                  <a:moveTo>
                    <a:pt x="330" y="812"/>
                  </a:moveTo>
                  <a:lnTo>
                    <a:pt x="328" y="812"/>
                  </a:lnTo>
                  <a:lnTo>
                    <a:pt x="330" y="812"/>
                  </a:lnTo>
                  <a:close/>
                  <a:moveTo>
                    <a:pt x="309" y="812"/>
                  </a:moveTo>
                  <a:lnTo>
                    <a:pt x="311" y="812"/>
                  </a:lnTo>
                  <a:lnTo>
                    <a:pt x="309" y="812"/>
                  </a:lnTo>
                  <a:close/>
                  <a:moveTo>
                    <a:pt x="311" y="812"/>
                  </a:moveTo>
                  <a:lnTo>
                    <a:pt x="309" y="812"/>
                  </a:lnTo>
                  <a:lnTo>
                    <a:pt x="311" y="812"/>
                  </a:lnTo>
                  <a:close/>
                  <a:moveTo>
                    <a:pt x="314" y="812"/>
                  </a:moveTo>
                  <a:lnTo>
                    <a:pt x="311" y="812"/>
                  </a:lnTo>
                  <a:lnTo>
                    <a:pt x="314" y="812"/>
                  </a:lnTo>
                  <a:close/>
                  <a:moveTo>
                    <a:pt x="335" y="812"/>
                  </a:moveTo>
                  <a:lnTo>
                    <a:pt x="335" y="810"/>
                  </a:lnTo>
                  <a:lnTo>
                    <a:pt x="335" y="812"/>
                  </a:lnTo>
                  <a:close/>
                  <a:moveTo>
                    <a:pt x="309" y="812"/>
                  </a:moveTo>
                  <a:lnTo>
                    <a:pt x="309" y="810"/>
                  </a:lnTo>
                  <a:lnTo>
                    <a:pt x="309" y="812"/>
                  </a:lnTo>
                  <a:close/>
                  <a:moveTo>
                    <a:pt x="311" y="810"/>
                  </a:moveTo>
                  <a:lnTo>
                    <a:pt x="311" y="812"/>
                  </a:lnTo>
                  <a:lnTo>
                    <a:pt x="311" y="810"/>
                  </a:lnTo>
                  <a:close/>
                  <a:moveTo>
                    <a:pt x="309" y="810"/>
                  </a:moveTo>
                  <a:lnTo>
                    <a:pt x="309" y="812"/>
                  </a:lnTo>
                  <a:lnTo>
                    <a:pt x="309" y="810"/>
                  </a:lnTo>
                  <a:close/>
                  <a:moveTo>
                    <a:pt x="328" y="812"/>
                  </a:moveTo>
                  <a:lnTo>
                    <a:pt x="328" y="810"/>
                  </a:lnTo>
                  <a:lnTo>
                    <a:pt x="328" y="812"/>
                  </a:lnTo>
                  <a:close/>
                  <a:moveTo>
                    <a:pt x="316" y="812"/>
                  </a:moveTo>
                  <a:lnTo>
                    <a:pt x="314" y="812"/>
                  </a:lnTo>
                  <a:lnTo>
                    <a:pt x="316" y="810"/>
                  </a:lnTo>
                  <a:lnTo>
                    <a:pt x="316" y="812"/>
                  </a:lnTo>
                  <a:close/>
                  <a:moveTo>
                    <a:pt x="318" y="810"/>
                  </a:moveTo>
                  <a:lnTo>
                    <a:pt x="316" y="810"/>
                  </a:lnTo>
                  <a:lnTo>
                    <a:pt x="318" y="808"/>
                  </a:lnTo>
                  <a:lnTo>
                    <a:pt x="318" y="810"/>
                  </a:lnTo>
                  <a:close/>
                  <a:moveTo>
                    <a:pt x="316" y="810"/>
                  </a:moveTo>
                  <a:lnTo>
                    <a:pt x="316" y="808"/>
                  </a:lnTo>
                  <a:lnTo>
                    <a:pt x="316" y="810"/>
                  </a:lnTo>
                  <a:close/>
                  <a:moveTo>
                    <a:pt x="316" y="810"/>
                  </a:moveTo>
                  <a:lnTo>
                    <a:pt x="316" y="808"/>
                  </a:lnTo>
                  <a:lnTo>
                    <a:pt x="316" y="810"/>
                  </a:lnTo>
                  <a:close/>
                  <a:moveTo>
                    <a:pt x="316" y="810"/>
                  </a:moveTo>
                  <a:lnTo>
                    <a:pt x="316" y="808"/>
                  </a:lnTo>
                  <a:lnTo>
                    <a:pt x="316" y="810"/>
                  </a:lnTo>
                  <a:close/>
                  <a:moveTo>
                    <a:pt x="335" y="808"/>
                  </a:moveTo>
                  <a:lnTo>
                    <a:pt x="335" y="810"/>
                  </a:lnTo>
                  <a:lnTo>
                    <a:pt x="335" y="808"/>
                  </a:lnTo>
                  <a:close/>
                  <a:moveTo>
                    <a:pt x="337" y="808"/>
                  </a:moveTo>
                  <a:lnTo>
                    <a:pt x="335" y="808"/>
                  </a:lnTo>
                  <a:lnTo>
                    <a:pt x="337" y="808"/>
                  </a:lnTo>
                  <a:close/>
                  <a:moveTo>
                    <a:pt x="356" y="805"/>
                  </a:moveTo>
                  <a:lnTo>
                    <a:pt x="356" y="808"/>
                  </a:lnTo>
                  <a:lnTo>
                    <a:pt x="354" y="808"/>
                  </a:lnTo>
                  <a:lnTo>
                    <a:pt x="356" y="805"/>
                  </a:lnTo>
                  <a:close/>
                  <a:moveTo>
                    <a:pt x="337" y="805"/>
                  </a:moveTo>
                  <a:lnTo>
                    <a:pt x="337" y="808"/>
                  </a:lnTo>
                  <a:lnTo>
                    <a:pt x="337" y="805"/>
                  </a:lnTo>
                  <a:close/>
                  <a:moveTo>
                    <a:pt x="337" y="805"/>
                  </a:moveTo>
                  <a:lnTo>
                    <a:pt x="335" y="805"/>
                  </a:lnTo>
                  <a:lnTo>
                    <a:pt x="337" y="805"/>
                  </a:lnTo>
                  <a:close/>
                  <a:moveTo>
                    <a:pt x="335" y="805"/>
                  </a:moveTo>
                  <a:lnTo>
                    <a:pt x="332" y="805"/>
                  </a:lnTo>
                  <a:lnTo>
                    <a:pt x="335" y="805"/>
                  </a:lnTo>
                  <a:close/>
                  <a:moveTo>
                    <a:pt x="335" y="805"/>
                  </a:moveTo>
                  <a:lnTo>
                    <a:pt x="332" y="805"/>
                  </a:lnTo>
                  <a:lnTo>
                    <a:pt x="335" y="805"/>
                  </a:lnTo>
                  <a:close/>
                  <a:moveTo>
                    <a:pt x="335" y="805"/>
                  </a:moveTo>
                  <a:lnTo>
                    <a:pt x="335" y="803"/>
                  </a:lnTo>
                  <a:lnTo>
                    <a:pt x="335" y="805"/>
                  </a:lnTo>
                  <a:close/>
                  <a:moveTo>
                    <a:pt x="335" y="803"/>
                  </a:moveTo>
                  <a:lnTo>
                    <a:pt x="335" y="805"/>
                  </a:lnTo>
                  <a:lnTo>
                    <a:pt x="332" y="805"/>
                  </a:lnTo>
                  <a:lnTo>
                    <a:pt x="332" y="803"/>
                  </a:lnTo>
                  <a:lnTo>
                    <a:pt x="335" y="803"/>
                  </a:lnTo>
                  <a:close/>
                  <a:moveTo>
                    <a:pt x="335" y="803"/>
                  </a:moveTo>
                  <a:lnTo>
                    <a:pt x="335" y="805"/>
                  </a:lnTo>
                  <a:lnTo>
                    <a:pt x="335" y="803"/>
                  </a:lnTo>
                  <a:close/>
                  <a:moveTo>
                    <a:pt x="335" y="803"/>
                  </a:moveTo>
                  <a:lnTo>
                    <a:pt x="332" y="803"/>
                  </a:lnTo>
                  <a:lnTo>
                    <a:pt x="335" y="803"/>
                  </a:lnTo>
                  <a:close/>
                  <a:moveTo>
                    <a:pt x="337" y="803"/>
                  </a:moveTo>
                  <a:lnTo>
                    <a:pt x="335" y="803"/>
                  </a:lnTo>
                  <a:lnTo>
                    <a:pt x="337" y="803"/>
                  </a:lnTo>
                  <a:close/>
                  <a:moveTo>
                    <a:pt x="337" y="801"/>
                  </a:moveTo>
                  <a:lnTo>
                    <a:pt x="335" y="801"/>
                  </a:lnTo>
                  <a:lnTo>
                    <a:pt x="337" y="801"/>
                  </a:lnTo>
                  <a:close/>
                  <a:moveTo>
                    <a:pt x="337" y="801"/>
                  </a:moveTo>
                  <a:lnTo>
                    <a:pt x="340" y="801"/>
                  </a:lnTo>
                  <a:lnTo>
                    <a:pt x="337" y="801"/>
                  </a:lnTo>
                  <a:close/>
                  <a:moveTo>
                    <a:pt x="344" y="798"/>
                  </a:moveTo>
                  <a:lnTo>
                    <a:pt x="342" y="798"/>
                  </a:lnTo>
                  <a:lnTo>
                    <a:pt x="344" y="798"/>
                  </a:lnTo>
                  <a:close/>
                  <a:moveTo>
                    <a:pt x="340" y="798"/>
                  </a:moveTo>
                  <a:lnTo>
                    <a:pt x="337" y="798"/>
                  </a:lnTo>
                  <a:lnTo>
                    <a:pt x="340" y="798"/>
                  </a:lnTo>
                  <a:close/>
                  <a:moveTo>
                    <a:pt x="340" y="798"/>
                  </a:moveTo>
                  <a:lnTo>
                    <a:pt x="337" y="798"/>
                  </a:lnTo>
                  <a:lnTo>
                    <a:pt x="340" y="798"/>
                  </a:lnTo>
                  <a:close/>
                  <a:moveTo>
                    <a:pt x="335" y="798"/>
                  </a:moveTo>
                  <a:lnTo>
                    <a:pt x="335" y="796"/>
                  </a:lnTo>
                  <a:lnTo>
                    <a:pt x="335" y="798"/>
                  </a:lnTo>
                  <a:close/>
                  <a:moveTo>
                    <a:pt x="337" y="796"/>
                  </a:moveTo>
                  <a:lnTo>
                    <a:pt x="337" y="798"/>
                  </a:lnTo>
                  <a:lnTo>
                    <a:pt x="337" y="796"/>
                  </a:lnTo>
                  <a:close/>
                  <a:moveTo>
                    <a:pt x="335" y="798"/>
                  </a:moveTo>
                  <a:lnTo>
                    <a:pt x="335" y="796"/>
                  </a:lnTo>
                  <a:lnTo>
                    <a:pt x="335" y="798"/>
                  </a:lnTo>
                  <a:close/>
                  <a:moveTo>
                    <a:pt x="335" y="796"/>
                  </a:moveTo>
                  <a:lnTo>
                    <a:pt x="335" y="798"/>
                  </a:lnTo>
                  <a:lnTo>
                    <a:pt x="335" y="796"/>
                  </a:lnTo>
                  <a:close/>
                  <a:moveTo>
                    <a:pt x="337" y="796"/>
                  </a:moveTo>
                  <a:lnTo>
                    <a:pt x="335" y="796"/>
                  </a:lnTo>
                  <a:lnTo>
                    <a:pt x="337" y="796"/>
                  </a:lnTo>
                  <a:close/>
                  <a:moveTo>
                    <a:pt x="273" y="796"/>
                  </a:moveTo>
                  <a:lnTo>
                    <a:pt x="271" y="796"/>
                  </a:lnTo>
                  <a:lnTo>
                    <a:pt x="273" y="796"/>
                  </a:lnTo>
                  <a:close/>
                  <a:moveTo>
                    <a:pt x="340" y="793"/>
                  </a:moveTo>
                  <a:lnTo>
                    <a:pt x="337" y="793"/>
                  </a:lnTo>
                  <a:lnTo>
                    <a:pt x="340" y="793"/>
                  </a:lnTo>
                  <a:close/>
                  <a:moveTo>
                    <a:pt x="335" y="793"/>
                  </a:moveTo>
                  <a:lnTo>
                    <a:pt x="332" y="793"/>
                  </a:lnTo>
                  <a:lnTo>
                    <a:pt x="335" y="793"/>
                  </a:lnTo>
                  <a:close/>
                  <a:moveTo>
                    <a:pt x="335" y="793"/>
                  </a:moveTo>
                  <a:lnTo>
                    <a:pt x="332" y="793"/>
                  </a:lnTo>
                  <a:lnTo>
                    <a:pt x="335" y="793"/>
                  </a:lnTo>
                  <a:close/>
                  <a:moveTo>
                    <a:pt x="337" y="793"/>
                  </a:moveTo>
                  <a:lnTo>
                    <a:pt x="340" y="793"/>
                  </a:lnTo>
                  <a:lnTo>
                    <a:pt x="337" y="793"/>
                  </a:lnTo>
                  <a:close/>
                  <a:moveTo>
                    <a:pt x="332" y="793"/>
                  </a:moveTo>
                  <a:lnTo>
                    <a:pt x="332" y="791"/>
                  </a:lnTo>
                  <a:lnTo>
                    <a:pt x="332" y="793"/>
                  </a:lnTo>
                  <a:close/>
                  <a:moveTo>
                    <a:pt x="335" y="791"/>
                  </a:moveTo>
                  <a:lnTo>
                    <a:pt x="335" y="793"/>
                  </a:lnTo>
                  <a:lnTo>
                    <a:pt x="335" y="791"/>
                  </a:lnTo>
                  <a:close/>
                  <a:moveTo>
                    <a:pt x="347" y="791"/>
                  </a:moveTo>
                  <a:lnTo>
                    <a:pt x="344" y="791"/>
                  </a:lnTo>
                  <a:lnTo>
                    <a:pt x="347" y="791"/>
                  </a:lnTo>
                  <a:close/>
                  <a:moveTo>
                    <a:pt x="342" y="791"/>
                  </a:moveTo>
                  <a:lnTo>
                    <a:pt x="340" y="791"/>
                  </a:lnTo>
                  <a:lnTo>
                    <a:pt x="342" y="791"/>
                  </a:lnTo>
                  <a:close/>
                  <a:moveTo>
                    <a:pt x="342" y="791"/>
                  </a:moveTo>
                  <a:lnTo>
                    <a:pt x="340" y="791"/>
                  </a:lnTo>
                  <a:lnTo>
                    <a:pt x="342" y="791"/>
                  </a:lnTo>
                  <a:close/>
                  <a:moveTo>
                    <a:pt x="337" y="791"/>
                  </a:moveTo>
                  <a:lnTo>
                    <a:pt x="335" y="791"/>
                  </a:lnTo>
                  <a:lnTo>
                    <a:pt x="337" y="791"/>
                  </a:lnTo>
                  <a:close/>
                  <a:moveTo>
                    <a:pt x="337" y="791"/>
                  </a:moveTo>
                  <a:lnTo>
                    <a:pt x="337" y="789"/>
                  </a:lnTo>
                  <a:lnTo>
                    <a:pt x="337" y="791"/>
                  </a:lnTo>
                  <a:close/>
                  <a:moveTo>
                    <a:pt x="337" y="789"/>
                  </a:moveTo>
                  <a:lnTo>
                    <a:pt x="337" y="791"/>
                  </a:lnTo>
                  <a:lnTo>
                    <a:pt x="337" y="789"/>
                  </a:lnTo>
                  <a:close/>
                  <a:moveTo>
                    <a:pt x="340" y="789"/>
                  </a:moveTo>
                  <a:lnTo>
                    <a:pt x="337" y="789"/>
                  </a:lnTo>
                  <a:lnTo>
                    <a:pt x="340" y="789"/>
                  </a:lnTo>
                  <a:close/>
                  <a:moveTo>
                    <a:pt x="337" y="789"/>
                  </a:moveTo>
                  <a:lnTo>
                    <a:pt x="335" y="789"/>
                  </a:lnTo>
                  <a:lnTo>
                    <a:pt x="337" y="789"/>
                  </a:lnTo>
                  <a:close/>
                  <a:moveTo>
                    <a:pt x="335" y="789"/>
                  </a:moveTo>
                  <a:lnTo>
                    <a:pt x="332" y="789"/>
                  </a:lnTo>
                  <a:lnTo>
                    <a:pt x="335" y="789"/>
                  </a:lnTo>
                  <a:close/>
                  <a:moveTo>
                    <a:pt x="337" y="789"/>
                  </a:moveTo>
                  <a:lnTo>
                    <a:pt x="340" y="789"/>
                  </a:lnTo>
                  <a:lnTo>
                    <a:pt x="337" y="789"/>
                  </a:lnTo>
                  <a:close/>
                  <a:moveTo>
                    <a:pt x="337" y="789"/>
                  </a:moveTo>
                  <a:lnTo>
                    <a:pt x="335" y="789"/>
                  </a:lnTo>
                  <a:lnTo>
                    <a:pt x="337" y="789"/>
                  </a:lnTo>
                  <a:close/>
                  <a:moveTo>
                    <a:pt x="337" y="789"/>
                  </a:moveTo>
                  <a:lnTo>
                    <a:pt x="335" y="789"/>
                  </a:lnTo>
                  <a:lnTo>
                    <a:pt x="337" y="789"/>
                  </a:lnTo>
                  <a:close/>
                  <a:moveTo>
                    <a:pt x="332" y="786"/>
                  </a:moveTo>
                  <a:lnTo>
                    <a:pt x="335" y="786"/>
                  </a:lnTo>
                  <a:lnTo>
                    <a:pt x="332" y="786"/>
                  </a:lnTo>
                  <a:close/>
                  <a:moveTo>
                    <a:pt x="335" y="786"/>
                  </a:moveTo>
                  <a:lnTo>
                    <a:pt x="332" y="786"/>
                  </a:lnTo>
                  <a:lnTo>
                    <a:pt x="335" y="786"/>
                  </a:lnTo>
                  <a:close/>
                  <a:moveTo>
                    <a:pt x="335" y="786"/>
                  </a:moveTo>
                  <a:lnTo>
                    <a:pt x="332" y="786"/>
                  </a:lnTo>
                  <a:lnTo>
                    <a:pt x="335" y="786"/>
                  </a:lnTo>
                  <a:close/>
                  <a:moveTo>
                    <a:pt x="342" y="786"/>
                  </a:moveTo>
                  <a:lnTo>
                    <a:pt x="340" y="786"/>
                  </a:lnTo>
                  <a:lnTo>
                    <a:pt x="342" y="786"/>
                  </a:lnTo>
                  <a:close/>
                  <a:moveTo>
                    <a:pt x="337" y="786"/>
                  </a:moveTo>
                  <a:lnTo>
                    <a:pt x="335" y="786"/>
                  </a:lnTo>
                  <a:lnTo>
                    <a:pt x="337" y="786"/>
                  </a:lnTo>
                  <a:close/>
                  <a:moveTo>
                    <a:pt x="335" y="784"/>
                  </a:moveTo>
                  <a:lnTo>
                    <a:pt x="335" y="786"/>
                  </a:lnTo>
                  <a:lnTo>
                    <a:pt x="335" y="784"/>
                  </a:lnTo>
                  <a:close/>
                  <a:moveTo>
                    <a:pt x="337" y="784"/>
                  </a:moveTo>
                  <a:lnTo>
                    <a:pt x="337" y="786"/>
                  </a:lnTo>
                  <a:lnTo>
                    <a:pt x="337" y="784"/>
                  </a:lnTo>
                  <a:close/>
                  <a:moveTo>
                    <a:pt x="335" y="784"/>
                  </a:moveTo>
                  <a:lnTo>
                    <a:pt x="335" y="786"/>
                  </a:lnTo>
                  <a:lnTo>
                    <a:pt x="335" y="784"/>
                  </a:lnTo>
                  <a:close/>
                  <a:moveTo>
                    <a:pt x="335" y="784"/>
                  </a:moveTo>
                  <a:lnTo>
                    <a:pt x="337" y="784"/>
                  </a:lnTo>
                  <a:lnTo>
                    <a:pt x="335" y="784"/>
                  </a:lnTo>
                  <a:close/>
                  <a:moveTo>
                    <a:pt x="337" y="784"/>
                  </a:moveTo>
                  <a:lnTo>
                    <a:pt x="335" y="784"/>
                  </a:lnTo>
                  <a:lnTo>
                    <a:pt x="337" y="784"/>
                  </a:lnTo>
                  <a:close/>
                  <a:moveTo>
                    <a:pt x="337" y="784"/>
                  </a:moveTo>
                  <a:lnTo>
                    <a:pt x="335" y="784"/>
                  </a:lnTo>
                  <a:lnTo>
                    <a:pt x="337" y="784"/>
                  </a:lnTo>
                  <a:close/>
                  <a:moveTo>
                    <a:pt x="337" y="784"/>
                  </a:moveTo>
                  <a:lnTo>
                    <a:pt x="340" y="784"/>
                  </a:lnTo>
                  <a:lnTo>
                    <a:pt x="337" y="784"/>
                  </a:lnTo>
                  <a:close/>
                  <a:moveTo>
                    <a:pt x="354" y="784"/>
                  </a:moveTo>
                  <a:lnTo>
                    <a:pt x="351" y="784"/>
                  </a:lnTo>
                  <a:lnTo>
                    <a:pt x="354" y="784"/>
                  </a:lnTo>
                  <a:close/>
                  <a:moveTo>
                    <a:pt x="354" y="784"/>
                  </a:moveTo>
                  <a:lnTo>
                    <a:pt x="351" y="784"/>
                  </a:lnTo>
                  <a:lnTo>
                    <a:pt x="354" y="784"/>
                  </a:lnTo>
                  <a:close/>
                  <a:moveTo>
                    <a:pt x="340" y="784"/>
                  </a:moveTo>
                  <a:lnTo>
                    <a:pt x="340" y="782"/>
                  </a:lnTo>
                  <a:lnTo>
                    <a:pt x="340" y="784"/>
                  </a:lnTo>
                  <a:close/>
                  <a:moveTo>
                    <a:pt x="342" y="782"/>
                  </a:moveTo>
                  <a:lnTo>
                    <a:pt x="342" y="784"/>
                  </a:lnTo>
                  <a:lnTo>
                    <a:pt x="342" y="782"/>
                  </a:lnTo>
                  <a:close/>
                  <a:moveTo>
                    <a:pt x="340" y="782"/>
                  </a:moveTo>
                  <a:lnTo>
                    <a:pt x="340" y="784"/>
                  </a:lnTo>
                  <a:lnTo>
                    <a:pt x="340" y="782"/>
                  </a:lnTo>
                  <a:close/>
                  <a:moveTo>
                    <a:pt x="342" y="784"/>
                  </a:moveTo>
                  <a:lnTo>
                    <a:pt x="342" y="782"/>
                  </a:lnTo>
                  <a:lnTo>
                    <a:pt x="342" y="784"/>
                  </a:lnTo>
                  <a:close/>
                  <a:moveTo>
                    <a:pt x="344" y="782"/>
                  </a:moveTo>
                  <a:lnTo>
                    <a:pt x="342" y="782"/>
                  </a:lnTo>
                  <a:lnTo>
                    <a:pt x="344" y="782"/>
                  </a:lnTo>
                  <a:close/>
                  <a:moveTo>
                    <a:pt x="344" y="782"/>
                  </a:moveTo>
                  <a:lnTo>
                    <a:pt x="342" y="782"/>
                  </a:lnTo>
                  <a:lnTo>
                    <a:pt x="344" y="782"/>
                  </a:lnTo>
                  <a:close/>
                  <a:moveTo>
                    <a:pt x="344" y="782"/>
                  </a:moveTo>
                  <a:lnTo>
                    <a:pt x="342" y="782"/>
                  </a:lnTo>
                  <a:lnTo>
                    <a:pt x="344" y="782"/>
                  </a:lnTo>
                  <a:close/>
                  <a:moveTo>
                    <a:pt x="344" y="779"/>
                  </a:moveTo>
                  <a:lnTo>
                    <a:pt x="344" y="782"/>
                  </a:lnTo>
                  <a:lnTo>
                    <a:pt x="344" y="779"/>
                  </a:lnTo>
                  <a:close/>
                  <a:moveTo>
                    <a:pt x="361" y="779"/>
                  </a:moveTo>
                  <a:lnTo>
                    <a:pt x="359" y="779"/>
                  </a:lnTo>
                  <a:lnTo>
                    <a:pt x="361" y="779"/>
                  </a:lnTo>
                  <a:close/>
                  <a:moveTo>
                    <a:pt x="373" y="777"/>
                  </a:moveTo>
                  <a:lnTo>
                    <a:pt x="370" y="777"/>
                  </a:lnTo>
                  <a:lnTo>
                    <a:pt x="373" y="777"/>
                  </a:lnTo>
                  <a:close/>
                  <a:moveTo>
                    <a:pt x="351" y="777"/>
                  </a:moveTo>
                  <a:lnTo>
                    <a:pt x="349" y="777"/>
                  </a:lnTo>
                  <a:lnTo>
                    <a:pt x="351" y="777"/>
                  </a:lnTo>
                  <a:close/>
                  <a:moveTo>
                    <a:pt x="354" y="777"/>
                  </a:moveTo>
                  <a:lnTo>
                    <a:pt x="351" y="777"/>
                  </a:lnTo>
                  <a:lnTo>
                    <a:pt x="354" y="777"/>
                  </a:lnTo>
                  <a:close/>
                  <a:moveTo>
                    <a:pt x="299" y="774"/>
                  </a:moveTo>
                  <a:lnTo>
                    <a:pt x="297" y="774"/>
                  </a:lnTo>
                  <a:lnTo>
                    <a:pt x="299" y="774"/>
                  </a:lnTo>
                  <a:lnTo>
                    <a:pt x="297" y="774"/>
                  </a:lnTo>
                  <a:lnTo>
                    <a:pt x="299" y="774"/>
                  </a:lnTo>
                  <a:close/>
                  <a:moveTo>
                    <a:pt x="299" y="774"/>
                  </a:moveTo>
                  <a:lnTo>
                    <a:pt x="297" y="774"/>
                  </a:lnTo>
                  <a:lnTo>
                    <a:pt x="299" y="774"/>
                  </a:lnTo>
                  <a:close/>
                  <a:moveTo>
                    <a:pt x="302" y="774"/>
                  </a:moveTo>
                  <a:lnTo>
                    <a:pt x="302" y="772"/>
                  </a:lnTo>
                  <a:lnTo>
                    <a:pt x="302" y="774"/>
                  </a:lnTo>
                  <a:close/>
                  <a:moveTo>
                    <a:pt x="302" y="774"/>
                  </a:moveTo>
                  <a:lnTo>
                    <a:pt x="302" y="772"/>
                  </a:lnTo>
                  <a:lnTo>
                    <a:pt x="302" y="774"/>
                  </a:lnTo>
                  <a:close/>
                  <a:moveTo>
                    <a:pt x="302" y="774"/>
                  </a:moveTo>
                  <a:lnTo>
                    <a:pt x="302" y="772"/>
                  </a:lnTo>
                  <a:lnTo>
                    <a:pt x="302" y="774"/>
                  </a:lnTo>
                  <a:close/>
                  <a:moveTo>
                    <a:pt x="302" y="774"/>
                  </a:moveTo>
                  <a:lnTo>
                    <a:pt x="302" y="772"/>
                  </a:lnTo>
                  <a:lnTo>
                    <a:pt x="302" y="774"/>
                  </a:lnTo>
                  <a:close/>
                  <a:moveTo>
                    <a:pt x="302" y="772"/>
                  </a:moveTo>
                  <a:lnTo>
                    <a:pt x="302" y="774"/>
                  </a:lnTo>
                  <a:lnTo>
                    <a:pt x="302" y="772"/>
                  </a:lnTo>
                  <a:close/>
                  <a:moveTo>
                    <a:pt x="287" y="774"/>
                  </a:moveTo>
                  <a:lnTo>
                    <a:pt x="287" y="772"/>
                  </a:lnTo>
                  <a:lnTo>
                    <a:pt x="287" y="774"/>
                  </a:lnTo>
                  <a:close/>
                  <a:moveTo>
                    <a:pt x="356" y="772"/>
                  </a:moveTo>
                  <a:lnTo>
                    <a:pt x="356" y="774"/>
                  </a:lnTo>
                  <a:lnTo>
                    <a:pt x="356" y="772"/>
                  </a:lnTo>
                  <a:close/>
                  <a:moveTo>
                    <a:pt x="302" y="772"/>
                  </a:moveTo>
                  <a:lnTo>
                    <a:pt x="302" y="774"/>
                  </a:lnTo>
                  <a:lnTo>
                    <a:pt x="302" y="772"/>
                  </a:lnTo>
                  <a:close/>
                  <a:moveTo>
                    <a:pt x="304" y="774"/>
                  </a:moveTo>
                  <a:lnTo>
                    <a:pt x="302" y="774"/>
                  </a:lnTo>
                  <a:lnTo>
                    <a:pt x="304" y="772"/>
                  </a:lnTo>
                  <a:lnTo>
                    <a:pt x="304" y="774"/>
                  </a:lnTo>
                  <a:close/>
                  <a:moveTo>
                    <a:pt x="306" y="772"/>
                  </a:moveTo>
                  <a:lnTo>
                    <a:pt x="304" y="772"/>
                  </a:lnTo>
                  <a:lnTo>
                    <a:pt x="306" y="772"/>
                  </a:lnTo>
                  <a:close/>
                  <a:moveTo>
                    <a:pt x="304" y="772"/>
                  </a:moveTo>
                  <a:lnTo>
                    <a:pt x="306" y="772"/>
                  </a:lnTo>
                  <a:lnTo>
                    <a:pt x="304" y="772"/>
                  </a:lnTo>
                  <a:close/>
                  <a:moveTo>
                    <a:pt x="309" y="772"/>
                  </a:moveTo>
                  <a:lnTo>
                    <a:pt x="306" y="772"/>
                  </a:lnTo>
                  <a:lnTo>
                    <a:pt x="309" y="772"/>
                  </a:lnTo>
                  <a:close/>
                  <a:moveTo>
                    <a:pt x="309" y="772"/>
                  </a:moveTo>
                  <a:lnTo>
                    <a:pt x="309" y="770"/>
                  </a:lnTo>
                  <a:lnTo>
                    <a:pt x="309" y="772"/>
                  </a:lnTo>
                  <a:close/>
                  <a:moveTo>
                    <a:pt x="285" y="770"/>
                  </a:moveTo>
                  <a:lnTo>
                    <a:pt x="285" y="772"/>
                  </a:lnTo>
                  <a:lnTo>
                    <a:pt x="285" y="770"/>
                  </a:lnTo>
                  <a:close/>
                  <a:moveTo>
                    <a:pt x="363" y="770"/>
                  </a:moveTo>
                  <a:lnTo>
                    <a:pt x="363" y="772"/>
                  </a:lnTo>
                  <a:lnTo>
                    <a:pt x="363" y="770"/>
                  </a:lnTo>
                  <a:close/>
                  <a:moveTo>
                    <a:pt x="370" y="770"/>
                  </a:moveTo>
                  <a:lnTo>
                    <a:pt x="373" y="770"/>
                  </a:lnTo>
                  <a:lnTo>
                    <a:pt x="370" y="770"/>
                  </a:lnTo>
                  <a:close/>
                  <a:moveTo>
                    <a:pt x="306" y="770"/>
                  </a:moveTo>
                  <a:lnTo>
                    <a:pt x="304" y="770"/>
                  </a:lnTo>
                  <a:lnTo>
                    <a:pt x="306" y="770"/>
                  </a:lnTo>
                  <a:close/>
                  <a:moveTo>
                    <a:pt x="337" y="770"/>
                  </a:moveTo>
                  <a:lnTo>
                    <a:pt x="335" y="770"/>
                  </a:lnTo>
                  <a:lnTo>
                    <a:pt x="337" y="770"/>
                  </a:lnTo>
                  <a:close/>
                  <a:moveTo>
                    <a:pt x="328" y="767"/>
                  </a:moveTo>
                  <a:lnTo>
                    <a:pt x="328" y="770"/>
                  </a:lnTo>
                  <a:lnTo>
                    <a:pt x="328" y="767"/>
                  </a:lnTo>
                  <a:close/>
                  <a:moveTo>
                    <a:pt x="335" y="770"/>
                  </a:moveTo>
                  <a:lnTo>
                    <a:pt x="335" y="767"/>
                  </a:lnTo>
                  <a:lnTo>
                    <a:pt x="335" y="770"/>
                  </a:lnTo>
                  <a:close/>
                  <a:moveTo>
                    <a:pt x="311" y="767"/>
                  </a:moveTo>
                  <a:lnTo>
                    <a:pt x="311" y="770"/>
                  </a:lnTo>
                  <a:lnTo>
                    <a:pt x="311" y="767"/>
                  </a:lnTo>
                  <a:close/>
                  <a:moveTo>
                    <a:pt x="321" y="770"/>
                  </a:moveTo>
                  <a:lnTo>
                    <a:pt x="321" y="767"/>
                  </a:lnTo>
                  <a:lnTo>
                    <a:pt x="321" y="770"/>
                  </a:lnTo>
                  <a:close/>
                  <a:moveTo>
                    <a:pt x="321" y="767"/>
                  </a:moveTo>
                  <a:lnTo>
                    <a:pt x="321" y="770"/>
                  </a:lnTo>
                  <a:lnTo>
                    <a:pt x="321" y="767"/>
                  </a:lnTo>
                  <a:close/>
                  <a:moveTo>
                    <a:pt x="323" y="767"/>
                  </a:moveTo>
                  <a:lnTo>
                    <a:pt x="321" y="767"/>
                  </a:lnTo>
                  <a:lnTo>
                    <a:pt x="323" y="767"/>
                  </a:lnTo>
                  <a:close/>
                  <a:moveTo>
                    <a:pt x="323" y="767"/>
                  </a:moveTo>
                  <a:lnTo>
                    <a:pt x="321" y="767"/>
                  </a:lnTo>
                  <a:lnTo>
                    <a:pt x="323" y="767"/>
                  </a:lnTo>
                  <a:close/>
                  <a:moveTo>
                    <a:pt x="373" y="767"/>
                  </a:moveTo>
                  <a:lnTo>
                    <a:pt x="370" y="767"/>
                  </a:lnTo>
                  <a:lnTo>
                    <a:pt x="373" y="767"/>
                  </a:lnTo>
                  <a:close/>
                  <a:moveTo>
                    <a:pt x="337" y="767"/>
                  </a:moveTo>
                  <a:lnTo>
                    <a:pt x="335" y="767"/>
                  </a:lnTo>
                  <a:lnTo>
                    <a:pt x="337" y="767"/>
                  </a:lnTo>
                  <a:close/>
                  <a:moveTo>
                    <a:pt x="314" y="767"/>
                  </a:moveTo>
                  <a:lnTo>
                    <a:pt x="311" y="767"/>
                  </a:lnTo>
                  <a:lnTo>
                    <a:pt x="314" y="767"/>
                  </a:lnTo>
                  <a:close/>
                  <a:moveTo>
                    <a:pt x="314" y="767"/>
                  </a:moveTo>
                  <a:lnTo>
                    <a:pt x="311" y="767"/>
                  </a:lnTo>
                  <a:lnTo>
                    <a:pt x="314" y="767"/>
                  </a:lnTo>
                  <a:close/>
                  <a:moveTo>
                    <a:pt x="337" y="767"/>
                  </a:moveTo>
                  <a:lnTo>
                    <a:pt x="335" y="767"/>
                  </a:lnTo>
                  <a:lnTo>
                    <a:pt x="337" y="767"/>
                  </a:lnTo>
                  <a:close/>
                  <a:moveTo>
                    <a:pt x="311" y="767"/>
                  </a:moveTo>
                  <a:lnTo>
                    <a:pt x="309" y="767"/>
                  </a:lnTo>
                  <a:lnTo>
                    <a:pt x="311" y="767"/>
                  </a:lnTo>
                  <a:close/>
                  <a:moveTo>
                    <a:pt x="340" y="767"/>
                  </a:moveTo>
                  <a:lnTo>
                    <a:pt x="337" y="767"/>
                  </a:lnTo>
                  <a:lnTo>
                    <a:pt x="340" y="767"/>
                  </a:lnTo>
                  <a:close/>
                  <a:moveTo>
                    <a:pt x="314" y="767"/>
                  </a:moveTo>
                  <a:lnTo>
                    <a:pt x="311" y="767"/>
                  </a:lnTo>
                  <a:lnTo>
                    <a:pt x="314" y="767"/>
                  </a:lnTo>
                  <a:lnTo>
                    <a:pt x="311" y="767"/>
                  </a:lnTo>
                  <a:lnTo>
                    <a:pt x="314" y="767"/>
                  </a:lnTo>
                  <a:close/>
                  <a:moveTo>
                    <a:pt x="340" y="767"/>
                  </a:moveTo>
                  <a:lnTo>
                    <a:pt x="337" y="767"/>
                  </a:lnTo>
                  <a:lnTo>
                    <a:pt x="340" y="767"/>
                  </a:lnTo>
                  <a:close/>
                  <a:moveTo>
                    <a:pt x="318" y="767"/>
                  </a:moveTo>
                  <a:lnTo>
                    <a:pt x="316" y="767"/>
                  </a:lnTo>
                  <a:lnTo>
                    <a:pt x="318" y="767"/>
                  </a:lnTo>
                  <a:close/>
                  <a:moveTo>
                    <a:pt x="321" y="765"/>
                  </a:moveTo>
                  <a:lnTo>
                    <a:pt x="318" y="765"/>
                  </a:lnTo>
                  <a:lnTo>
                    <a:pt x="321" y="765"/>
                  </a:lnTo>
                  <a:close/>
                  <a:moveTo>
                    <a:pt x="332" y="765"/>
                  </a:moveTo>
                  <a:lnTo>
                    <a:pt x="332" y="763"/>
                  </a:lnTo>
                  <a:lnTo>
                    <a:pt x="332" y="765"/>
                  </a:lnTo>
                  <a:close/>
                  <a:moveTo>
                    <a:pt x="342" y="763"/>
                  </a:moveTo>
                  <a:lnTo>
                    <a:pt x="342" y="765"/>
                  </a:lnTo>
                  <a:lnTo>
                    <a:pt x="342" y="763"/>
                  </a:lnTo>
                  <a:close/>
                  <a:moveTo>
                    <a:pt x="340" y="763"/>
                  </a:moveTo>
                  <a:lnTo>
                    <a:pt x="340" y="765"/>
                  </a:lnTo>
                  <a:lnTo>
                    <a:pt x="340" y="763"/>
                  </a:lnTo>
                  <a:close/>
                  <a:moveTo>
                    <a:pt x="349" y="763"/>
                  </a:moveTo>
                  <a:lnTo>
                    <a:pt x="347" y="763"/>
                  </a:lnTo>
                  <a:lnTo>
                    <a:pt x="349" y="763"/>
                  </a:lnTo>
                  <a:close/>
                  <a:moveTo>
                    <a:pt x="351" y="763"/>
                  </a:moveTo>
                  <a:lnTo>
                    <a:pt x="349" y="763"/>
                  </a:lnTo>
                  <a:lnTo>
                    <a:pt x="351" y="763"/>
                  </a:lnTo>
                  <a:close/>
                  <a:moveTo>
                    <a:pt x="351" y="763"/>
                  </a:moveTo>
                  <a:lnTo>
                    <a:pt x="349" y="763"/>
                  </a:lnTo>
                  <a:lnTo>
                    <a:pt x="351" y="763"/>
                  </a:lnTo>
                  <a:close/>
                  <a:moveTo>
                    <a:pt x="363" y="763"/>
                  </a:moveTo>
                  <a:lnTo>
                    <a:pt x="363" y="760"/>
                  </a:lnTo>
                  <a:lnTo>
                    <a:pt x="363" y="763"/>
                  </a:lnTo>
                  <a:close/>
                  <a:moveTo>
                    <a:pt x="356" y="763"/>
                  </a:moveTo>
                  <a:lnTo>
                    <a:pt x="356" y="760"/>
                  </a:lnTo>
                  <a:lnTo>
                    <a:pt x="356" y="763"/>
                  </a:lnTo>
                  <a:close/>
                  <a:moveTo>
                    <a:pt x="356" y="760"/>
                  </a:moveTo>
                  <a:lnTo>
                    <a:pt x="356" y="763"/>
                  </a:lnTo>
                  <a:lnTo>
                    <a:pt x="356" y="760"/>
                  </a:lnTo>
                  <a:close/>
                  <a:moveTo>
                    <a:pt x="354" y="763"/>
                  </a:moveTo>
                  <a:lnTo>
                    <a:pt x="354" y="760"/>
                  </a:lnTo>
                  <a:lnTo>
                    <a:pt x="354" y="763"/>
                  </a:lnTo>
                  <a:close/>
                  <a:moveTo>
                    <a:pt x="366" y="760"/>
                  </a:moveTo>
                  <a:lnTo>
                    <a:pt x="363" y="760"/>
                  </a:lnTo>
                  <a:lnTo>
                    <a:pt x="366" y="760"/>
                  </a:lnTo>
                  <a:close/>
                  <a:moveTo>
                    <a:pt x="356" y="760"/>
                  </a:moveTo>
                  <a:lnTo>
                    <a:pt x="356" y="763"/>
                  </a:lnTo>
                  <a:lnTo>
                    <a:pt x="356" y="760"/>
                  </a:lnTo>
                  <a:close/>
                  <a:moveTo>
                    <a:pt x="363" y="763"/>
                  </a:moveTo>
                  <a:lnTo>
                    <a:pt x="363" y="760"/>
                  </a:lnTo>
                  <a:lnTo>
                    <a:pt x="363" y="763"/>
                  </a:lnTo>
                  <a:close/>
                  <a:moveTo>
                    <a:pt x="366" y="760"/>
                  </a:moveTo>
                  <a:lnTo>
                    <a:pt x="363" y="760"/>
                  </a:lnTo>
                  <a:lnTo>
                    <a:pt x="366" y="760"/>
                  </a:lnTo>
                  <a:close/>
                  <a:moveTo>
                    <a:pt x="361" y="760"/>
                  </a:moveTo>
                  <a:lnTo>
                    <a:pt x="359" y="760"/>
                  </a:lnTo>
                  <a:lnTo>
                    <a:pt x="361" y="760"/>
                  </a:lnTo>
                  <a:close/>
                  <a:moveTo>
                    <a:pt x="359" y="760"/>
                  </a:moveTo>
                  <a:lnTo>
                    <a:pt x="356" y="760"/>
                  </a:lnTo>
                  <a:lnTo>
                    <a:pt x="359" y="760"/>
                  </a:lnTo>
                  <a:close/>
                  <a:moveTo>
                    <a:pt x="304" y="760"/>
                  </a:moveTo>
                  <a:lnTo>
                    <a:pt x="306" y="760"/>
                  </a:lnTo>
                  <a:lnTo>
                    <a:pt x="304" y="760"/>
                  </a:lnTo>
                  <a:close/>
                  <a:moveTo>
                    <a:pt x="356" y="760"/>
                  </a:moveTo>
                  <a:lnTo>
                    <a:pt x="354" y="760"/>
                  </a:lnTo>
                  <a:lnTo>
                    <a:pt x="356" y="760"/>
                  </a:lnTo>
                  <a:close/>
                  <a:moveTo>
                    <a:pt x="309" y="760"/>
                  </a:moveTo>
                  <a:lnTo>
                    <a:pt x="306" y="760"/>
                  </a:lnTo>
                  <a:lnTo>
                    <a:pt x="309" y="760"/>
                  </a:lnTo>
                  <a:close/>
                  <a:moveTo>
                    <a:pt x="359" y="760"/>
                  </a:moveTo>
                  <a:lnTo>
                    <a:pt x="356" y="760"/>
                  </a:lnTo>
                  <a:lnTo>
                    <a:pt x="359" y="760"/>
                  </a:lnTo>
                  <a:close/>
                  <a:moveTo>
                    <a:pt x="309" y="760"/>
                  </a:moveTo>
                  <a:lnTo>
                    <a:pt x="306" y="760"/>
                  </a:lnTo>
                  <a:lnTo>
                    <a:pt x="309" y="760"/>
                  </a:lnTo>
                  <a:close/>
                  <a:moveTo>
                    <a:pt x="361" y="760"/>
                  </a:moveTo>
                  <a:lnTo>
                    <a:pt x="359" y="760"/>
                  </a:lnTo>
                  <a:lnTo>
                    <a:pt x="361" y="760"/>
                  </a:lnTo>
                  <a:close/>
                  <a:moveTo>
                    <a:pt x="309" y="760"/>
                  </a:moveTo>
                  <a:lnTo>
                    <a:pt x="306" y="760"/>
                  </a:lnTo>
                  <a:lnTo>
                    <a:pt x="309" y="760"/>
                  </a:lnTo>
                  <a:close/>
                  <a:moveTo>
                    <a:pt x="309" y="760"/>
                  </a:moveTo>
                  <a:lnTo>
                    <a:pt x="306" y="760"/>
                  </a:lnTo>
                  <a:lnTo>
                    <a:pt x="309" y="760"/>
                  </a:lnTo>
                  <a:close/>
                  <a:moveTo>
                    <a:pt x="361" y="760"/>
                  </a:moveTo>
                  <a:lnTo>
                    <a:pt x="361" y="758"/>
                  </a:lnTo>
                  <a:lnTo>
                    <a:pt x="361" y="760"/>
                  </a:lnTo>
                  <a:close/>
                  <a:moveTo>
                    <a:pt x="370" y="760"/>
                  </a:moveTo>
                  <a:lnTo>
                    <a:pt x="368" y="760"/>
                  </a:lnTo>
                  <a:lnTo>
                    <a:pt x="368" y="758"/>
                  </a:lnTo>
                  <a:lnTo>
                    <a:pt x="370" y="758"/>
                  </a:lnTo>
                  <a:lnTo>
                    <a:pt x="370" y="760"/>
                  </a:lnTo>
                  <a:close/>
                  <a:moveTo>
                    <a:pt x="363" y="758"/>
                  </a:moveTo>
                  <a:lnTo>
                    <a:pt x="363" y="760"/>
                  </a:lnTo>
                  <a:lnTo>
                    <a:pt x="363" y="758"/>
                  </a:lnTo>
                  <a:close/>
                  <a:moveTo>
                    <a:pt x="302" y="760"/>
                  </a:moveTo>
                  <a:lnTo>
                    <a:pt x="302" y="758"/>
                  </a:lnTo>
                  <a:lnTo>
                    <a:pt x="302" y="760"/>
                  </a:lnTo>
                  <a:close/>
                  <a:moveTo>
                    <a:pt x="351" y="760"/>
                  </a:moveTo>
                  <a:lnTo>
                    <a:pt x="351" y="758"/>
                  </a:lnTo>
                  <a:lnTo>
                    <a:pt x="351" y="760"/>
                  </a:lnTo>
                  <a:close/>
                  <a:moveTo>
                    <a:pt x="361" y="760"/>
                  </a:moveTo>
                  <a:lnTo>
                    <a:pt x="359" y="760"/>
                  </a:lnTo>
                  <a:lnTo>
                    <a:pt x="361" y="758"/>
                  </a:lnTo>
                  <a:lnTo>
                    <a:pt x="359" y="758"/>
                  </a:lnTo>
                  <a:lnTo>
                    <a:pt x="361" y="758"/>
                  </a:lnTo>
                  <a:lnTo>
                    <a:pt x="361" y="760"/>
                  </a:lnTo>
                  <a:close/>
                  <a:moveTo>
                    <a:pt x="366" y="758"/>
                  </a:moveTo>
                  <a:lnTo>
                    <a:pt x="363" y="758"/>
                  </a:lnTo>
                  <a:lnTo>
                    <a:pt x="366" y="758"/>
                  </a:lnTo>
                  <a:close/>
                  <a:moveTo>
                    <a:pt x="323" y="758"/>
                  </a:moveTo>
                  <a:lnTo>
                    <a:pt x="321" y="758"/>
                  </a:lnTo>
                  <a:lnTo>
                    <a:pt x="323" y="758"/>
                  </a:lnTo>
                  <a:close/>
                  <a:moveTo>
                    <a:pt x="359" y="758"/>
                  </a:moveTo>
                  <a:lnTo>
                    <a:pt x="361" y="758"/>
                  </a:lnTo>
                  <a:lnTo>
                    <a:pt x="359" y="758"/>
                  </a:lnTo>
                  <a:close/>
                  <a:moveTo>
                    <a:pt x="328" y="758"/>
                  </a:moveTo>
                  <a:lnTo>
                    <a:pt x="325" y="758"/>
                  </a:lnTo>
                  <a:lnTo>
                    <a:pt x="328" y="758"/>
                  </a:lnTo>
                  <a:close/>
                  <a:moveTo>
                    <a:pt x="359" y="758"/>
                  </a:moveTo>
                  <a:lnTo>
                    <a:pt x="361" y="758"/>
                  </a:lnTo>
                  <a:lnTo>
                    <a:pt x="359" y="758"/>
                  </a:lnTo>
                  <a:close/>
                  <a:moveTo>
                    <a:pt x="354" y="758"/>
                  </a:moveTo>
                  <a:lnTo>
                    <a:pt x="354" y="755"/>
                  </a:lnTo>
                  <a:lnTo>
                    <a:pt x="354" y="758"/>
                  </a:lnTo>
                  <a:close/>
                  <a:moveTo>
                    <a:pt x="411" y="755"/>
                  </a:moveTo>
                  <a:lnTo>
                    <a:pt x="408" y="755"/>
                  </a:lnTo>
                  <a:lnTo>
                    <a:pt x="411" y="755"/>
                  </a:lnTo>
                  <a:close/>
                  <a:moveTo>
                    <a:pt x="370" y="755"/>
                  </a:moveTo>
                  <a:lnTo>
                    <a:pt x="368" y="755"/>
                  </a:lnTo>
                  <a:lnTo>
                    <a:pt x="370" y="755"/>
                  </a:lnTo>
                  <a:close/>
                  <a:moveTo>
                    <a:pt x="359" y="755"/>
                  </a:moveTo>
                  <a:lnTo>
                    <a:pt x="356" y="755"/>
                  </a:lnTo>
                  <a:lnTo>
                    <a:pt x="359" y="755"/>
                  </a:lnTo>
                  <a:close/>
                  <a:moveTo>
                    <a:pt x="328" y="755"/>
                  </a:moveTo>
                  <a:lnTo>
                    <a:pt x="325" y="755"/>
                  </a:lnTo>
                  <a:lnTo>
                    <a:pt x="328" y="755"/>
                  </a:lnTo>
                  <a:close/>
                  <a:moveTo>
                    <a:pt x="342" y="753"/>
                  </a:moveTo>
                  <a:lnTo>
                    <a:pt x="340" y="753"/>
                  </a:lnTo>
                  <a:lnTo>
                    <a:pt x="342" y="753"/>
                  </a:lnTo>
                  <a:close/>
                  <a:moveTo>
                    <a:pt x="380" y="751"/>
                  </a:moveTo>
                  <a:lnTo>
                    <a:pt x="382" y="751"/>
                  </a:lnTo>
                  <a:lnTo>
                    <a:pt x="380" y="751"/>
                  </a:lnTo>
                  <a:close/>
                  <a:moveTo>
                    <a:pt x="382" y="751"/>
                  </a:moveTo>
                  <a:lnTo>
                    <a:pt x="380" y="751"/>
                  </a:lnTo>
                  <a:lnTo>
                    <a:pt x="382" y="751"/>
                  </a:lnTo>
                  <a:close/>
                  <a:moveTo>
                    <a:pt x="411" y="751"/>
                  </a:moveTo>
                  <a:lnTo>
                    <a:pt x="408" y="751"/>
                  </a:lnTo>
                  <a:lnTo>
                    <a:pt x="411" y="751"/>
                  </a:lnTo>
                  <a:close/>
                  <a:moveTo>
                    <a:pt x="435" y="751"/>
                  </a:moveTo>
                  <a:lnTo>
                    <a:pt x="432" y="751"/>
                  </a:lnTo>
                  <a:lnTo>
                    <a:pt x="435" y="751"/>
                  </a:lnTo>
                  <a:close/>
                  <a:moveTo>
                    <a:pt x="354" y="748"/>
                  </a:moveTo>
                  <a:lnTo>
                    <a:pt x="351" y="748"/>
                  </a:lnTo>
                  <a:lnTo>
                    <a:pt x="354" y="748"/>
                  </a:lnTo>
                  <a:close/>
                  <a:moveTo>
                    <a:pt x="347" y="746"/>
                  </a:moveTo>
                  <a:lnTo>
                    <a:pt x="344" y="746"/>
                  </a:lnTo>
                  <a:lnTo>
                    <a:pt x="347" y="746"/>
                  </a:lnTo>
                  <a:close/>
                  <a:moveTo>
                    <a:pt x="399" y="746"/>
                  </a:moveTo>
                  <a:lnTo>
                    <a:pt x="397" y="746"/>
                  </a:lnTo>
                  <a:lnTo>
                    <a:pt x="399" y="746"/>
                  </a:lnTo>
                  <a:close/>
                  <a:moveTo>
                    <a:pt x="399" y="744"/>
                  </a:moveTo>
                  <a:lnTo>
                    <a:pt x="399" y="746"/>
                  </a:lnTo>
                  <a:lnTo>
                    <a:pt x="399" y="744"/>
                  </a:lnTo>
                  <a:close/>
                  <a:moveTo>
                    <a:pt x="359" y="741"/>
                  </a:moveTo>
                  <a:lnTo>
                    <a:pt x="359" y="744"/>
                  </a:lnTo>
                  <a:lnTo>
                    <a:pt x="359" y="741"/>
                  </a:lnTo>
                  <a:close/>
                  <a:moveTo>
                    <a:pt x="361" y="741"/>
                  </a:moveTo>
                  <a:lnTo>
                    <a:pt x="361" y="744"/>
                  </a:lnTo>
                  <a:lnTo>
                    <a:pt x="361" y="741"/>
                  </a:lnTo>
                  <a:close/>
                  <a:moveTo>
                    <a:pt x="328" y="741"/>
                  </a:moveTo>
                  <a:lnTo>
                    <a:pt x="328" y="744"/>
                  </a:lnTo>
                  <a:lnTo>
                    <a:pt x="328" y="741"/>
                  </a:lnTo>
                  <a:close/>
                  <a:moveTo>
                    <a:pt x="340" y="741"/>
                  </a:moveTo>
                  <a:lnTo>
                    <a:pt x="340" y="744"/>
                  </a:lnTo>
                  <a:lnTo>
                    <a:pt x="340" y="741"/>
                  </a:lnTo>
                  <a:close/>
                  <a:moveTo>
                    <a:pt x="335" y="739"/>
                  </a:moveTo>
                  <a:lnTo>
                    <a:pt x="335" y="741"/>
                  </a:lnTo>
                  <a:lnTo>
                    <a:pt x="335" y="739"/>
                  </a:lnTo>
                  <a:close/>
                  <a:moveTo>
                    <a:pt x="337" y="739"/>
                  </a:moveTo>
                  <a:lnTo>
                    <a:pt x="335" y="739"/>
                  </a:lnTo>
                  <a:lnTo>
                    <a:pt x="337" y="739"/>
                  </a:lnTo>
                  <a:close/>
                  <a:moveTo>
                    <a:pt x="340" y="739"/>
                  </a:moveTo>
                  <a:lnTo>
                    <a:pt x="337" y="739"/>
                  </a:lnTo>
                  <a:lnTo>
                    <a:pt x="340" y="739"/>
                  </a:lnTo>
                  <a:close/>
                  <a:moveTo>
                    <a:pt x="337" y="736"/>
                  </a:moveTo>
                  <a:lnTo>
                    <a:pt x="337" y="739"/>
                  </a:lnTo>
                  <a:lnTo>
                    <a:pt x="337" y="736"/>
                  </a:lnTo>
                  <a:close/>
                  <a:moveTo>
                    <a:pt x="351" y="734"/>
                  </a:moveTo>
                  <a:lnTo>
                    <a:pt x="349" y="734"/>
                  </a:lnTo>
                  <a:lnTo>
                    <a:pt x="351" y="734"/>
                  </a:lnTo>
                  <a:close/>
                  <a:moveTo>
                    <a:pt x="399" y="732"/>
                  </a:moveTo>
                  <a:lnTo>
                    <a:pt x="399" y="734"/>
                  </a:lnTo>
                  <a:lnTo>
                    <a:pt x="399" y="732"/>
                  </a:lnTo>
                  <a:close/>
                  <a:moveTo>
                    <a:pt x="344" y="732"/>
                  </a:moveTo>
                  <a:lnTo>
                    <a:pt x="342" y="732"/>
                  </a:lnTo>
                  <a:lnTo>
                    <a:pt x="344" y="732"/>
                  </a:lnTo>
                  <a:close/>
                  <a:moveTo>
                    <a:pt x="401" y="732"/>
                  </a:moveTo>
                  <a:lnTo>
                    <a:pt x="399" y="732"/>
                  </a:lnTo>
                  <a:lnTo>
                    <a:pt x="401" y="732"/>
                  </a:lnTo>
                  <a:close/>
                  <a:moveTo>
                    <a:pt x="401" y="732"/>
                  </a:moveTo>
                  <a:lnTo>
                    <a:pt x="399" y="732"/>
                  </a:lnTo>
                  <a:lnTo>
                    <a:pt x="401" y="732"/>
                  </a:lnTo>
                  <a:close/>
                  <a:moveTo>
                    <a:pt x="340" y="732"/>
                  </a:moveTo>
                  <a:lnTo>
                    <a:pt x="340" y="729"/>
                  </a:lnTo>
                  <a:lnTo>
                    <a:pt x="340" y="732"/>
                  </a:lnTo>
                  <a:close/>
                  <a:moveTo>
                    <a:pt x="335" y="729"/>
                  </a:moveTo>
                  <a:lnTo>
                    <a:pt x="332" y="729"/>
                  </a:lnTo>
                  <a:lnTo>
                    <a:pt x="335" y="729"/>
                  </a:lnTo>
                  <a:close/>
                  <a:moveTo>
                    <a:pt x="399" y="729"/>
                  </a:moveTo>
                  <a:lnTo>
                    <a:pt x="401" y="729"/>
                  </a:lnTo>
                  <a:lnTo>
                    <a:pt x="399" y="729"/>
                  </a:lnTo>
                  <a:close/>
                  <a:moveTo>
                    <a:pt x="361" y="729"/>
                  </a:moveTo>
                  <a:lnTo>
                    <a:pt x="359" y="729"/>
                  </a:lnTo>
                  <a:lnTo>
                    <a:pt x="361" y="729"/>
                  </a:lnTo>
                  <a:close/>
                  <a:moveTo>
                    <a:pt x="347" y="729"/>
                  </a:moveTo>
                  <a:lnTo>
                    <a:pt x="347" y="727"/>
                  </a:lnTo>
                  <a:lnTo>
                    <a:pt x="347" y="729"/>
                  </a:lnTo>
                  <a:close/>
                  <a:moveTo>
                    <a:pt x="337" y="727"/>
                  </a:moveTo>
                  <a:lnTo>
                    <a:pt x="337" y="725"/>
                  </a:lnTo>
                  <a:lnTo>
                    <a:pt x="337" y="727"/>
                  </a:lnTo>
                  <a:close/>
                  <a:moveTo>
                    <a:pt x="385" y="725"/>
                  </a:moveTo>
                  <a:lnTo>
                    <a:pt x="385" y="727"/>
                  </a:lnTo>
                  <a:lnTo>
                    <a:pt x="385" y="725"/>
                  </a:lnTo>
                  <a:close/>
                  <a:moveTo>
                    <a:pt x="359" y="727"/>
                  </a:moveTo>
                  <a:lnTo>
                    <a:pt x="359" y="725"/>
                  </a:lnTo>
                  <a:lnTo>
                    <a:pt x="359" y="727"/>
                  </a:lnTo>
                  <a:close/>
                  <a:moveTo>
                    <a:pt x="354" y="722"/>
                  </a:moveTo>
                  <a:lnTo>
                    <a:pt x="354" y="725"/>
                  </a:lnTo>
                  <a:lnTo>
                    <a:pt x="354" y="722"/>
                  </a:lnTo>
                  <a:close/>
                  <a:moveTo>
                    <a:pt x="354" y="722"/>
                  </a:moveTo>
                  <a:lnTo>
                    <a:pt x="351" y="725"/>
                  </a:lnTo>
                  <a:lnTo>
                    <a:pt x="351" y="722"/>
                  </a:lnTo>
                  <a:lnTo>
                    <a:pt x="354" y="722"/>
                  </a:lnTo>
                  <a:close/>
                  <a:moveTo>
                    <a:pt x="389" y="722"/>
                  </a:moveTo>
                  <a:lnTo>
                    <a:pt x="387" y="722"/>
                  </a:lnTo>
                  <a:lnTo>
                    <a:pt x="389" y="722"/>
                  </a:lnTo>
                  <a:close/>
                  <a:moveTo>
                    <a:pt x="351" y="722"/>
                  </a:moveTo>
                  <a:lnTo>
                    <a:pt x="354" y="722"/>
                  </a:lnTo>
                  <a:lnTo>
                    <a:pt x="351" y="722"/>
                  </a:lnTo>
                  <a:close/>
                  <a:moveTo>
                    <a:pt x="387" y="722"/>
                  </a:moveTo>
                  <a:lnTo>
                    <a:pt x="387" y="720"/>
                  </a:lnTo>
                  <a:lnTo>
                    <a:pt x="387" y="722"/>
                  </a:lnTo>
                  <a:close/>
                  <a:moveTo>
                    <a:pt x="387" y="722"/>
                  </a:moveTo>
                  <a:lnTo>
                    <a:pt x="387" y="720"/>
                  </a:lnTo>
                  <a:lnTo>
                    <a:pt x="387" y="722"/>
                  </a:lnTo>
                  <a:close/>
                  <a:moveTo>
                    <a:pt x="387" y="720"/>
                  </a:moveTo>
                  <a:lnTo>
                    <a:pt x="387" y="722"/>
                  </a:lnTo>
                  <a:lnTo>
                    <a:pt x="387" y="720"/>
                  </a:lnTo>
                  <a:close/>
                  <a:moveTo>
                    <a:pt x="418" y="717"/>
                  </a:moveTo>
                  <a:lnTo>
                    <a:pt x="418" y="720"/>
                  </a:lnTo>
                  <a:lnTo>
                    <a:pt x="418" y="717"/>
                  </a:lnTo>
                  <a:close/>
                  <a:moveTo>
                    <a:pt x="430" y="717"/>
                  </a:moveTo>
                  <a:lnTo>
                    <a:pt x="427" y="717"/>
                  </a:lnTo>
                  <a:lnTo>
                    <a:pt x="430" y="717"/>
                  </a:lnTo>
                  <a:close/>
                  <a:moveTo>
                    <a:pt x="399" y="717"/>
                  </a:moveTo>
                  <a:lnTo>
                    <a:pt x="397" y="717"/>
                  </a:lnTo>
                  <a:lnTo>
                    <a:pt x="399" y="717"/>
                  </a:lnTo>
                  <a:close/>
                  <a:moveTo>
                    <a:pt x="389" y="717"/>
                  </a:moveTo>
                  <a:lnTo>
                    <a:pt x="389" y="715"/>
                  </a:lnTo>
                  <a:lnTo>
                    <a:pt x="392" y="715"/>
                  </a:lnTo>
                  <a:lnTo>
                    <a:pt x="389" y="717"/>
                  </a:lnTo>
                  <a:close/>
                  <a:moveTo>
                    <a:pt x="392" y="715"/>
                  </a:moveTo>
                  <a:lnTo>
                    <a:pt x="389" y="715"/>
                  </a:lnTo>
                  <a:lnTo>
                    <a:pt x="392" y="715"/>
                  </a:lnTo>
                  <a:close/>
                  <a:moveTo>
                    <a:pt x="394" y="715"/>
                  </a:moveTo>
                  <a:lnTo>
                    <a:pt x="397" y="715"/>
                  </a:lnTo>
                  <a:lnTo>
                    <a:pt x="394" y="715"/>
                  </a:lnTo>
                  <a:close/>
                  <a:moveTo>
                    <a:pt x="397" y="715"/>
                  </a:moveTo>
                  <a:lnTo>
                    <a:pt x="394" y="715"/>
                  </a:lnTo>
                  <a:lnTo>
                    <a:pt x="397" y="715"/>
                  </a:lnTo>
                  <a:close/>
                  <a:moveTo>
                    <a:pt x="370" y="710"/>
                  </a:moveTo>
                  <a:lnTo>
                    <a:pt x="368" y="710"/>
                  </a:lnTo>
                  <a:lnTo>
                    <a:pt x="370" y="710"/>
                  </a:lnTo>
                  <a:close/>
                  <a:moveTo>
                    <a:pt x="401" y="710"/>
                  </a:moveTo>
                  <a:lnTo>
                    <a:pt x="399" y="710"/>
                  </a:lnTo>
                  <a:lnTo>
                    <a:pt x="401" y="710"/>
                  </a:lnTo>
                  <a:close/>
                  <a:moveTo>
                    <a:pt x="463" y="708"/>
                  </a:moveTo>
                  <a:lnTo>
                    <a:pt x="463" y="710"/>
                  </a:lnTo>
                  <a:lnTo>
                    <a:pt x="463" y="708"/>
                  </a:lnTo>
                  <a:close/>
                  <a:moveTo>
                    <a:pt x="375" y="708"/>
                  </a:moveTo>
                  <a:lnTo>
                    <a:pt x="373" y="708"/>
                  </a:lnTo>
                  <a:lnTo>
                    <a:pt x="375" y="708"/>
                  </a:lnTo>
                  <a:close/>
                  <a:moveTo>
                    <a:pt x="406" y="708"/>
                  </a:moveTo>
                  <a:lnTo>
                    <a:pt x="408" y="708"/>
                  </a:lnTo>
                  <a:lnTo>
                    <a:pt x="406" y="708"/>
                  </a:lnTo>
                  <a:close/>
                  <a:moveTo>
                    <a:pt x="406" y="708"/>
                  </a:moveTo>
                  <a:lnTo>
                    <a:pt x="408" y="708"/>
                  </a:lnTo>
                  <a:lnTo>
                    <a:pt x="406" y="708"/>
                  </a:lnTo>
                  <a:close/>
                  <a:moveTo>
                    <a:pt x="449" y="706"/>
                  </a:moveTo>
                  <a:lnTo>
                    <a:pt x="446" y="708"/>
                  </a:lnTo>
                  <a:lnTo>
                    <a:pt x="446" y="706"/>
                  </a:lnTo>
                  <a:lnTo>
                    <a:pt x="449" y="706"/>
                  </a:lnTo>
                  <a:close/>
                  <a:moveTo>
                    <a:pt x="406" y="703"/>
                  </a:moveTo>
                  <a:lnTo>
                    <a:pt x="406" y="701"/>
                  </a:lnTo>
                  <a:lnTo>
                    <a:pt x="406" y="703"/>
                  </a:lnTo>
                  <a:close/>
                  <a:moveTo>
                    <a:pt x="413" y="701"/>
                  </a:moveTo>
                  <a:lnTo>
                    <a:pt x="411" y="701"/>
                  </a:lnTo>
                  <a:lnTo>
                    <a:pt x="413" y="701"/>
                  </a:lnTo>
                  <a:close/>
                  <a:moveTo>
                    <a:pt x="446" y="698"/>
                  </a:moveTo>
                  <a:lnTo>
                    <a:pt x="446" y="701"/>
                  </a:lnTo>
                  <a:lnTo>
                    <a:pt x="446" y="698"/>
                  </a:lnTo>
                  <a:close/>
                  <a:moveTo>
                    <a:pt x="501" y="696"/>
                  </a:moveTo>
                  <a:lnTo>
                    <a:pt x="499" y="696"/>
                  </a:lnTo>
                  <a:lnTo>
                    <a:pt x="501" y="696"/>
                  </a:lnTo>
                  <a:close/>
                  <a:moveTo>
                    <a:pt x="418" y="694"/>
                  </a:moveTo>
                  <a:lnTo>
                    <a:pt x="418" y="696"/>
                  </a:lnTo>
                  <a:lnTo>
                    <a:pt x="418" y="694"/>
                  </a:lnTo>
                  <a:close/>
                  <a:moveTo>
                    <a:pt x="418" y="694"/>
                  </a:moveTo>
                  <a:lnTo>
                    <a:pt x="416" y="694"/>
                  </a:lnTo>
                  <a:lnTo>
                    <a:pt x="418" y="694"/>
                  </a:lnTo>
                  <a:close/>
                  <a:moveTo>
                    <a:pt x="418" y="694"/>
                  </a:moveTo>
                  <a:lnTo>
                    <a:pt x="416" y="694"/>
                  </a:lnTo>
                  <a:lnTo>
                    <a:pt x="418" y="691"/>
                  </a:lnTo>
                  <a:lnTo>
                    <a:pt x="418" y="694"/>
                  </a:lnTo>
                  <a:close/>
                  <a:moveTo>
                    <a:pt x="418" y="691"/>
                  </a:moveTo>
                  <a:lnTo>
                    <a:pt x="416" y="691"/>
                  </a:lnTo>
                  <a:lnTo>
                    <a:pt x="418" y="691"/>
                  </a:lnTo>
                  <a:close/>
                  <a:moveTo>
                    <a:pt x="520" y="687"/>
                  </a:moveTo>
                  <a:lnTo>
                    <a:pt x="520" y="689"/>
                  </a:lnTo>
                  <a:lnTo>
                    <a:pt x="520" y="687"/>
                  </a:lnTo>
                  <a:close/>
                  <a:moveTo>
                    <a:pt x="442" y="684"/>
                  </a:moveTo>
                  <a:lnTo>
                    <a:pt x="442" y="687"/>
                  </a:lnTo>
                  <a:lnTo>
                    <a:pt x="442" y="684"/>
                  </a:lnTo>
                  <a:close/>
                  <a:moveTo>
                    <a:pt x="446" y="682"/>
                  </a:moveTo>
                  <a:lnTo>
                    <a:pt x="446" y="684"/>
                  </a:lnTo>
                  <a:lnTo>
                    <a:pt x="446" y="682"/>
                  </a:lnTo>
                  <a:close/>
                  <a:moveTo>
                    <a:pt x="456" y="684"/>
                  </a:moveTo>
                  <a:lnTo>
                    <a:pt x="456" y="682"/>
                  </a:lnTo>
                  <a:lnTo>
                    <a:pt x="456" y="684"/>
                  </a:lnTo>
                  <a:close/>
                  <a:moveTo>
                    <a:pt x="446" y="682"/>
                  </a:moveTo>
                  <a:lnTo>
                    <a:pt x="444" y="682"/>
                  </a:lnTo>
                  <a:lnTo>
                    <a:pt x="446" y="682"/>
                  </a:lnTo>
                  <a:close/>
                  <a:moveTo>
                    <a:pt x="449" y="679"/>
                  </a:moveTo>
                  <a:lnTo>
                    <a:pt x="446" y="679"/>
                  </a:lnTo>
                  <a:lnTo>
                    <a:pt x="449" y="679"/>
                  </a:lnTo>
                  <a:close/>
                  <a:moveTo>
                    <a:pt x="582" y="675"/>
                  </a:moveTo>
                  <a:lnTo>
                    <a:pt x="579" y="675"/>
                  </a:lnTo>
                  <a:lnTo>
                    <a:pt x="582" y="675"/>
                  </a:lnTo>
                  <a:close/>
                  <a:moveTo>
                    <a:pt x="529" y="675"/>
                  </a:moveTo>
                  <a:lnTo>
                    <a:pt x="527" y="675"/>
                  </a:lnTo>
                  <a:lnTo>
                    <a:pt x="529" y="675"/>
                  </a:lnTo>
                  <a:close/>
                  <a:moveTo>
                    <a:pt x="544" y="672"/>
                  </a:moveTo>
                  <a:lnTo>
                    <a:pt x="546" y="672"/>
                  </a:lnTo>
                  <a:lnTo>
                    <a:pt x="544" y="672"/>
                  </a:lnTo>
                  <a:close/>
                  <a:moveTo>
                    <a:pt x="546" y="672"/>
                  </a:moveTo>
                  <a:lnTo>
                    <a:pt x="544" y="672"/>
                  </a:lnTo>
                  <a:lnTo>
                    <a:pt x="546" y="672"/>
                  </a:lnTo>
                  <a:close/>
                  <a:moveTo>
                    <a:pt x="449" y="672"/>
                  </a:moveTo>
                  <a:lnTo>
                    <a:pt x="451" y="672"/>
                  </a:lnTo>
                  <a:lnTo>
                    <a:pt x="449" y="672"/>
                  </a:lnTo>
                  <a:close/>
                  <a:moveTo>
                    <a:pt x="857" y="670"/>
                  </a:moveTo>
                  <a:lnTo>
                    <a:pt x="857" y="672"/>
                  </a:lnTo>
                  <a:lnTo>
                    <a:pt x="857" y="670"/>
                  </a:lnTo>
                  <a:close/>
                  <a:moveTo>
                    <a:pt x="857" y="670"/>
                  </a:moveTo>
                  <a:lnTo>
                    <a:pt x="857" y="672"/>
                  </a:lnTo>
                  <a:lnTo>
                    <a:pt x="857" y="670"/>
                  </a:lnTo>
                  <a:close/>
                  <a:moveTo>
                    <a:pt x="494" y="670"/>
                  </a:moveTo>
                  <a:lnTo>
                    <a:pt x="491" y="670"/>
                  </a:lnTo>
                  <a:lnTo>
                    <a:pt x="494" y="670"/>
                  </a:lnTo>
                  <a:close/>
                  <a:moveTo>
                    <a:pt x="845" y="670"/>
                  </a:moveTo>
                  <a:lnTo>
                    <a:pt x="845" y="668"/>
                  </a:lnTo>
                  <a:lnTo>
                    <a:pt x="845" y="670"/>
                  </a:lnTo>
                  <a:close/>
                  <a:moveTo>
                    <a:pt x="463" y="670"/>
                  </a:moveTo>
                  <a:lnTo>
                    <a:pt x="463" y="668"/>
                  </a:lnTo>
                  <a:lnTo>
                    <a:pt x="463" y="670"/>
                  </a:lnTo>
                  <a:close/>
                  <a:moveTo>
                    <a:pt x="847" y="668"/>
                  </a:moveTo>
                  <a:lnTo>
                    <a:pt x="845" y="668"/>
                  </a:lnTo>
                  <a:lnTo>
                    <a:pt x="847" y="668"/>
                  </a:lnTo>
                  <a:close/>
                  <a:moveTo>
                    <a:pt x="461" y="665"/>
                  </a:moveTo>
                  <a:lnTo>
                    <a:pt x="461" y="668"/>
                  </a:lnTo>
                  <a:lnTo>
                    <a:pt x="461" y="665"/>
                  </a:lnTo>
                  <a:close/>
                  <a:moveTo>
                    <a:pt x="463" y="665"/>
                  </a:moveTo>
                  <a:lnTo>
                    <a:pt x="461" y="665"/>
                  </a:lnTo>
                  <a:lnTo>
                    <a:pt x="463" y="665"/>
                  </a:lnTo>
                  <a:close/>
                  <a:moveTo>
                    <a:pt x="572" y="663"/>
                  </a:moveTo>
                  <a:lnTo>
                    <a:pt x="570" y="663"/>
                  </a:lnTo>
                  <a:lnTo>
                    <a:pt x="572" y="663"/>
                  </a:lnTo>
                  <a:close/>
                  <a:moveTo>
                    <a:pt x="463" y="663"/>
                  </a:moveTo>
                  <a:lnTo>
                    <a:pt x="461" y="663"/>
                  </a:lnTo>
                  <a:lnTo>
                    <a:pt x="463" y="663"/>
                  </a:lnTo>
                  <a:close/>
                  <a:moveTo>
                    <a:pt x="570" y="663"/>
                  </a:moveTo>
                  <a:lnTo>
                    <a:pt x="570" y="660"/>
                  </a:lnTo>
                  <a:lnTo>
                    <a:pt x="570" y="663"/>
                  </a:lnTo>
                  <a:close/>
                  <a:moveTo>
                    <a:pt x="463" y="660"/>
                  </a:moveTo>
                  <a:lnTo>
                    <a:pt x="461" y="663"/>
                  </a:lnTo>
                  <a:lnTo>
                    <a:pt x="463" y="660"/>
                  </a:lnTo>
                  <a:lnTo>
                    <a:pt x="461" y="660"/>
                  </a:lnTo>
                  <a:lnTo>
                    <a:pt x="463" y="660"/>
                  </a:lnTo>
                  <a:close/>
                  <a:moveTo>
                    <a:pt x="624" y="660"/>
                  </a:moveTo>
                  <a:lnTo>
                    <a:pt x="622" y="660"/>
                  </a:lnTo>
                  <a:lnTo>
                    <a:pt x="624" y="660"/>
                  </a:lnTo>
                  <a:close/>
                  <a:moveTo>
                    <a:pt x="463" y="660"/>
                  </a:moveTo>
                  <a:lnTo>
                    <a:pt x="461" y="660"/>
                  </a:lnTo>
                  <a:lnTo>
                    <a:pt x="463" y="660"/>
                  </a:lnTo>
                  <a:close/>
                  <a:moveTo>
                    <a:pt x="463" y="658"/>
                  </a:moveTo>
                  <a:lnTo>
                    <a:pt x="463" y="660"/>
                  </a:lnTo>
                  <a:lnTo>
                    <a:pt x="463" y="658"/>
                  </a:lnTo>
                  <a:close/>
                  <a:moveTo>
                    <a:pt x="465" y="658"/>
                  </a:moveTo>
                  <a:lnTo>
                    <a:pt x="463" y="658"/>
                  </a:lnTo>
                  <a:lnTo>
                    <a:pt x="465" y="658"/>
                  </a:lnTo>
                  <a:close/>
                  <a:moveTo>
                    <a:pt x="802" y="656"/>
                  </a:moveTo>
                  <a:lnTo>
                    <a:pt x="800" y="656"/>
                  </a:lnTo>
                  <a:lnTo>
                    <a:pt x="802" y="656"/>
                  </a:lnTo>
                  <a:close/>
                  <a:moveTo>
                    <a:pt x="679" y="656"/>
                  </a:moveTo>
                  <a:lnTo>
                    <a:pt x="679" y="653"/>
                  </a:lnTo>
                  <a:lnTo>
                    <a:pt x="679" y="656"/>
                  </a:lnTo>
                  <a:close/>
                  <a:moveTo>
                    <a:pt x="679" y="656"/>
                  </a:moveTo>
                  <a:lnTo>
                    <a:pt x="679" y="653"/>
                  </a:lnTo>
                  <a:lnTo>
                    <a:pt x="679" y="656"/>
                  </a:lnTo>
                  <a:close/>
                  <a:moveTo>
                    <a:pt x="472" y="653"/>
                  </a:moveTo>
                  <a:lnTo>
                    <a:pt x="470" y="653"/>
                  </a:lnTo>
                  <a:lnTo>
                    <a:pt x="472" y="653"/>
                  </a:lnTo>
                  <a:close/>
                  <a:moveTo>
                    <a:pt x="681" y="651"/>
                  </a:moveTo>
                  <a:lnTo>
                    <a:pt x="679" y="651"/>
                  </a:lnTo>
                  <a:lnTo>
                    <a:pt x="681" y="651"/>
                  </a:lnTo>
                  <a:close/>
                  <a:moveTo>
                    <a:pt x="470" y="651"/>
                  </a:moveTo>
                  <a:lnTo>
                    <a:pt x="468" y="651"/>
                  </a:lnTo>
                  <a:lnTo>
                    <a:pt x="470" y="651"/>
                  </a:lnTo>
                  <a:close/>
                  <a:moveTo>
                    <a:pt x="513" y="651"/>
                  </a:moveTo>
                  <a:lnTo>
                    <a:pt x="513" y="649"/>
                  </a:lnTo>
                  <a:lnTo>
                    <a:pt x="513" y="651"/>
                  </a:lnTo>
                  <a:close/>
                  <a:moveTo>
                    <a:pt x="480" y="651"/>
                  </a:moveTo>
                  <a:lnTo>
                    <a:pt x="480" y="649"/>
                  </a:lnTo>
                  <a:lnTo>
                    <a:pt x="480" y="651"/>
                  </a:lnTo>
                  <a:close/>
                  <a:moveTo>
                    <a:pt x="681" y="651"/>
                  </a:moveTo>
                  <a:lnTo>
                    <a:pt x="681" y="649"/>
                  </a:lnTo>
                  <a:lnTo>
                    <a:pt x="681" y="651"/>
                  </a:lnTo>
                  <a:close/>
                  <a:moveTo>
                    <a:pt x="684" y="649"/>
                  </a:moveTo>
                  <a:lnTo>
                    <a:pt x="684" y="651"/>
                  </a:lnTo>
                  <a:lnTo>
                    <a:pt x="684" y="649"/>
                  </a:lnTo>
                  <a:close/>
                  <a:moveTo>
                    <a:pt x="679" y="649"/>
                  </a:moveTo>
                  <a:lnTo>
                    <a:pt x="679" y="646"/>
                  </a:lnTo>
                  <a:lnTo>
                    <a:pt x="679" y="649"/>
                  </a:lnTo>
                  <a:close/>
                  <a:moveTo>
                    <a:pt x="496" y="646"/>
                  </a:moveTo>
                  <a:lnTo>
                    <a:pt x="496" y="644"/>
                  </a:lnTo>
                  <a:lnTo>
                    <a:pt x="496" y="646"/>
                  </a:lnTo>
                  <a:close/>
                  <a:moveTo>
                    <a:pt x="489" y="646"/>
                  </a:moveTo>
                  <a:lnTo>
                    <a:pt x="489" y="644"/>
                  </a:lnTo>
                  <a:lnTo>
                    <a:pt x="489" y="646"/>
                  </a:lnTo>
                  <a:close/>
                  <a:moveTo>
                    <a:pt x="489" y="644"/>
                  </a:moveTo>
                  <a:lnTo>
                    <a:pt x="487" y="644"/>
                  </a:lnTo>
                  <a:lnTo>
                    <a:pt x="489" y="644"/>
                  </a:lnTo>
                  <a:close/>
                  <a:moveTo>
                    <a:pt x="489" y="644"/>
                  </a:moveTo>
                  <a:lnTo>
                    <a:pt x="487" y="644"/>
                  </a:lnTo>
                  <a:lnTo>
                    <a:pt x="489" y="644"/>
                  </a:lnTo>
                  <a:close/>
                  <a:moveTo>
                    <a:pt x="487" y="644"/>
                  </a:moveTo>
                  <a:lnTo>
                    <a:pt x="484" y="644"/>
                  </a:lnTo>
                  <a:lnTo>
                    <a:pt x="487" y="644"/>
                  </a:lnTo>
                  <a:close/>
                  <a:moveTo>
                    <a:pt x="622" y="641"/>
                  </a:moveTo>
                  <a:lnTo>
                    <a:pt x="620" y="641"/>
                  </a:lnTo>
                  <a:lnTo>
                    <a:pt x="622" y="639"/>
                  </a:lnTo>
                  <a:lnTo>
                    <a:pt x="622" y="641"/>
                  </a:lnTo>
                  <a:close/>
                  <a:moveTo>
                    <a:pt x="681" y="639"/>
                  </a:moveTo>
                  <a:lnTo>
                    <a:pt x="679" y="639"/>
                  </a:lnTo>
                  <a:lnTo>
                    <a:pt x="681" y="637"/>
                  </a:lnTo>
                  <a:lnTo>
                    <a:pt x="681" y="639"/>
                  </a:lnTo>
                  <a:close/>
                  <a:moveTo>
                    <a:pt x="783" y="637"/>
                  </a:moveTo>
                  <a:lnTo>
                    <a:pt x="781" y="637"/>
                  </a:lnTo>
                  <a:lnTo>
                    <a:pt x="783" y="637"/>
                  </a:lnTo>
                  <a:close/>
                  <a:moveTo>
                    <a:pt x="878" y="637"/>
                  </a:moveTo>
                  <a:lnTo>
                    <a:pt x="876" y="637"/>
                  </a:lnTo>
                  <a:lnTo>
                    <a:pt x="878" y="637"/>
                  </a:lnTo>
                  <a:close/>
                  <a:moveTo>
                    <a:pt x="786" y="634"/>
                  </a:moveTo>
                  <a:lnTo>
                    <a:pt x="783" y="634"/>
                  </a:lnTo>
                  <a:lnTo>
                    <a:pt x="786" y="634"/>
                  </a:lnTo>
                  <a:close/>
                  <a:moveTo>
                    <a:pt x="786" y="634"/>
                  </a:moveTo>
                  <a:lnTo>
                    <a:pt x="783" y="634"/>
                  </a:lnTo>
                  <a:lnTo>
                    <a:pt x="786" y="634"/>
                  </a:lnTo>
                  <a:close/>
                  <a:moveTo>
                    <a:pt x="786" y="634"/>
                  </a:moveTo>
                  <a:lnTo>
                    <a:pt x="783" y="634"/>
                  </a:lnTo>
                  <a:lnTo>
                    <a:pt x="786" y="634"/>
                  </a:lnTo>
                  <a:close/>
                  <a:moveTo>
                    <a:pt x="786" y="634"/>
                  </a:moveTo>
                  <a:lnTo>
                    <a:pt x="783" y="634"/>
                  </a:lnTo>
                  <a:lnTo>
                    <a:pt x="786" y="634"/>
                  </a:lnTo>
                  <a:lnTo>
                    <a:pt x="783" y="634"/>
                  </a:lnTo>
                  <a:lnTo>
                    <a:pt x="786" y="634"/>
                  </a:lnTo>
                  <a:close/>
                  <a:moveTo>
                    <a:pt x="731" y="632"/>
                  </a:moveTo>
                  <a:lnTo>
                    <a:pt x="731" y="634"/>
                  </a:lnTo>
                  <a:lnTo>
                    <a:pt x="731" y="632"/>
                  </a:lnTo>
                  <a:close/>
                  <a:moveTo>
                    <a:pt x="686" y="632"/>
                  </a:moveTo>
                  <a:lnTo>
                    <a:pt x="684" y="632"/>
                  </a:lnTo>
                  <a:lnTo>
                    <a:pt x="686" y="632"/>
                  </a:lnTo>
                  <a:close/>
                  <a:moveTo>
                    <a:pt x="653" y="632"/>
                  </a:moveTo>
                  <a:lnTo>
                    <a:pt x="650" y="632"/>
                  </a:lnTo>
                  <a:lnTo>
                    <a:pt x="653" y="632"/>
                  </a:lnTo>
                  <a:close/>
                  <a:moveTo>
                    <a:pt x="596" y="632"/>
                  </a:moveTo>
                  <a:lnTo>
                    <a:pt x="596" y="630"/>
                  </a:lnTo>
                  <a:lnTo>
                    <a:pt x="596" y="632"/>
                  </a:lnTo>
                  <a:close/>
                  <a:moveTo>
                    <a:pt x="593" y="630"/>
                  </a:moveTo>
                  <a:lnTo>
                    <a:pt x="593" y="632"/>
                  </a:lnTo>
                  <a:lnTo>
                    <a:pt x="593" y="630"/>
                  </a:lnTo>
                  <a:close/>
                  <a:moveTo>
                    <a:pt x="688" y="630"/>
                  </a:moveTo>
                  <a:lnTo>
                    <a:pt x="686" y="630"/>
                  </a:lnTo>
                  <a:lnTo>
                    <a:pt x="688" y="630"/>
                  </a:lnTo>
                  <a:close/>
                  <a:moveTo>
                    <a:pt x="781" y="627"/>
                  </a:moveTo>
                  <a:lnTo>
                    <a:pt x="779" y="627"/>
                  </a:lnTo>
                  <a:lnTo>
                    <a:pt x="781" y="627"/>
                  </a:lnTo>
                  <a:close/>
                  <a:moveTo>
                    <a:pt x="741" y="625"/>
                  </a:moveTo>
                  <a:lnTo>
                    <a:pt x="741" y="627"/>
                  </a:lnTo>
                  <a:lnTo>
                    <a:pt x="741" y="625"/>
                  </a:lnTo>
                  <a:close/>
                  <a:moveTo>
                    <a:pt x="741" y="625"/>
                  </a:moveTo>
                  <a:lnTo>
                    <a:pt x="741" y="622"/>
                  </a:lnTo>
                  <a:lnTo>
                    <a:pt x="741" y="625"/>
                  </a:lnTo>
                  <a:close/>
                  <a:moveTo>
                    <a:pt x="575" y="622"/>
                  </a:moveTo>
                  <a:lnTo>
                    <a:pt x="577" y="622"/>
                  </a:lnTo>
                  <a:lnTo>
                    <a:pt x="575" y="622"/>
                  </a:lnTo>
                  <a:close/>
                  <a:moveTo>
                    <a:pt x="577" y="622"/>
                  </a:moveTo>
                  <a:lnTo>
                    <a:pt x="575" y="622"/>
                  </a:lnTo>
                  <a:lnTo>
                    <a:pt x="577" y="622"/>
                  </a:lnTo>
                  <a:close/>
                  <a:moveTo>
                    <a:pt x="598" y="622"/>
                  </a:moveTo>
                  <a:lnTo>
                    <a:pt x="596" y="622"/>
                  </a:lnTo>
                  <a:lnTo>
                    <a:pt x="598" y="622"/>
                  </a:lnTo>
                  <a:close/>
                  <a:moveTo>
                    <a:pt x="847" y="622"/>
                  </a:moveTo>
                  <a:lnTo>
                    <a:pt x="845" y="622"/>
                  </a:lnTo>
                  <a:lnTo>
                    <a:pt x="847" y="622"/>
                  </a:lnTo>
                  <a:close/>
                  <a:moveTo>
                    <a:pt x="610" y="620"/>
                  </a:moveTo>
                  <a:lnTo>
                    <a:pt x="608" y="620"/>
                  </a:lnTo>
                  <a:lnTo>
                    <a:pt x="610" y="620"/>
                  </a:lnTo>
                  <a:close/>
                  <a:moveTo>
                    <a:pt x="819" y="620"/>
                  </a:moveTo>
                  <a:lnTo>
                    <a:pt x="817" y="620"/>
                  </a:lnTo>
                  <a:lnTo>
                    <a:pt x="819" y="620"/>
                  </a:lnTo>
                  <a:close/>
                  <a:moveTo>
                    <a:pt x="603" y="620"/>
                  </a:moveTo>
                  <a:lnTo>
                    <a:pt x="601" y="620"/>
                  </a:lnTo>
                  <a:lnTo>
                    <a:pt x="603" y="620"/>
                  </a:lnTo>
                  <a:close/>
                  <a:moveTo>
                    <a:pt x="821" y="615"/>
                  </a:moveTo>
                  <a:lnTo>
                    <a:pt x="821" y="618"/>
                  </a:lnTo>
                  <a:lnTo>
                    <a:pt x="821" y="615"/>
                  </a:lnTo>
                  <a:close/>
                  <a:moveTo>
                    <a:pt x="821" y="615"/>
                  </a:moveTo>
                  <a:lnTo>
                    <a:pt x="819" y="615"/>
                  </a:lnTo>
                  <a:lnTo>
                    <a:pt x="821" y="615"/>
                  </a:lnTo>
                  <a:close/>
                  <a:moveTo>
                    <a:pt x="662" y="611"/>
                  </a:moveTo>
                  <a:lnTo>
                    <a:pt x="662" y="613"/>
                  </a:lnTo>
                  <a:lnTo>
                    <a:pt x="662" y="611"/>
                  </a:lnTo>
                  <a:close/>
                  <a:moveTo>
                    <a:pt x="783" y="599"/>
                  </a:moveTo>
                  <a:lnTo>
                    <a:pt x="783" y="601"/>
                  </a:lnTo>
                  <a:lnTo>
                    <a:pt x="783" y="599"/>
                  </a:lnTo>
                  <a:close/>
                  <a:moveTo>
                    <a:pt x="783" y="601"/>
                  </a:moveTo>
                  <a:lnTo>
                    <a:pt x="783" y="599"/>
                  </a:lnTo>
                  <a:lnTo>
                    <a:pt x="783" y="601"/>
                  </a:lnTo>
                  <a:close/>
                  <a:moveTo>
                    <a:pt x="669" y="599"/>
                  </a:moveTo>
                  <a:lnTo>
                    <a:pt x="669" y="596"/>
                  </a:lnTo>
                  <a:lnTo>
                    <a:pt x="669" y="599"/>
                  </a:lnTo>
                  <a:close/>
                  <a:moveTo>
                    <a:pt x="684" y="599"/>
                  </a:moveTo>
                  <a:lnTo>
                    <a:pt x="684" y="596"/>
                  </a:lnTo>
                  <a:lnTo>
                    <a:pt x="684" y="599"/>
                  </a:lnTo>
                  <a:close/>
                  <a:moveTo>
                    <a:pt x="707" y="596"/>
                  </a:moveTo>
                  <a:lnTo>
                    <a:pt x="705" y="596"/>
                  </a:lnTo>
                  <a:lnTo>
                    <a:pt x="707" y="596"/>
                  </a:lnTo>
                  <a:close/>
                  <a:moveTo>
                    <a:pt x="774" y="596"/>
                  </a:moveTo>
                  <a:lnTo>
                    <a:pt x="774" y="594"/>
                  </a:lnTo>
                  <a:lnTo>
                    <a:pt x="774" y="596"/>
                  </a:lnTo>
                  <a:close/>
                  <a:moveTo>
                    <a:pt x="691" y="594"/>
                  </a:moveTo>
                  <a:lnTo>
                    <a:pt x="691" y="596"/>
                  </a:lnTo>
                  <a:lnTo>
                    <a:pt x="691" y="594"/>
                  </a:lnTo>
                  <a:close/>
                  <a:moveTo>
                    <a:pt x="648" y="596"/>
                  </a:moveTo>
                  <a:lnTo>
                    <a:pt x="648" y="594"/>
                  </a:lnTo>
                  <a:lnTo>
                    <a:pt x="648" y="596"/>
                  </a:lnTo>
                  <a:close/>
                  <a:moveTo>
                    <a:pt x="643" y="594"/>
                  </a:moveTo>
                  <a:lnTo>
                    <a:pt x="643" y="596"/>
                  </a:lnTo>
                  <a:lnTo>
                    <a:pt x="643" y="594"/>
                  </a:lnTo>
                  <a:lnTo>
                    <a:pt x="643" y="596"/>
                  </a:lnTo>
                  <a:lnTo>
                    <a:pt x="643" y="594"/>
                  </a:lnTo>
                  <a:close/>
                  <a:moveTo>
                    <a:pt x="688" y="594"/>
                  </a:moveTo>
                  <a:lnTo>
                    <a:pt x="686" y="594"/>
                  </a:lnTo>
                  <a:lnTo>
                    <a:pt x="688" y="594"/>
                  </a:lnTo>
                  <a:close/>
                  <a:moveTo>
                    <a:pt x="693" y="589"/>
                  </a:moveTo>
                  <a:lnTo>
                    <a:pt x="693" y="592"/>
                  </a:lnTo>
                  <a:lnTo>
                    <a:pt x="693" y="589"/>
                  </a:lnTo>
                  <a:close/>
                  <a:moveTo>
                    <a:pt x="579" y="226"/>
                  </a:moveTo>
                  <a:lnTo>
                    <a:pt x="579" y="228"/>
                  </a:lnTo>
                  <a:lnTo>
                    <a:pt x="579" y="226"/>
                  </a:lnTo>
                  <a:close/>
                  <a:moveTo>
                    <a:pt x="589" y="223"/>
                  </a:moveTo>
                  <a:lnTo>
                    <a:pt x="589" y="226"/>
                  </a:lnTo>
                  <a:lnTo>
                    <a:pt x="589" y="223"/>
                  </a:lnTo>
                  <a:close/>
                  <a:moveTo>
                    <a:pt x="596" y="221"/>
                  </a:moveTo>
                  <a:lnTo>
                    <a:pt x="593" y="221"/>
                  </a:lnTo>
                  <a:lnTo>
                    <a:pt x="596" y="221"/>
                  </a:lnTo>
                  <a:close/>
                  <a:moveTo>
                    <a:pt x="349" y="219"/>
                  </a:moveTo>
                  <a:lnTo>
                    <a:pt x="347" y="219"/>
                  </a:lnTo>
                  <a:lnTo>
                    <a:pt x="349" y="219"/>
                  </a:lnTo>
                  <a:close/>
                  <a:moveTo>
                    <a:pt x="582" y="219"/>
                  </a:moveTo>
                  <a:lnTo>
                    <a:pt x="579" y="219"/>
                  </a:lnTo>
                  <a:lnTo>
                    <a:pt x="582" y="219"/>
                  </a:lnTo>
                  <a:close/>
                  <a:moveTo>
                    <a:pt x="617" y="209"/>
                  </a:moveTo>
                  <a:lnTo>
                    <a:pt x="615" y="209"/>
                  </a:lnTo>
                  <a:lnTo>
                    <a:pt x="617" y="209"/>
                  </a:lnTo>
                  <a:close/>
                  <a:moveTo>
                    <a:pt x="427" y="207"/>
                  </a:moveTo>
                  <a:lnTo>
                    <a:pt x="425" y="207"/>
                  </a:lnTo>
                  <a:lnTo>
                    <a:pt x="427" y="207"/>
                  </a:lnTo>
                  <a:close/>
                  <a:moveTo>
                    <a:pt x="332" y="192"/>
                  </a:moveTo>
                  <a:lnTo>
                    <a:pt x="330" y="192"/>
                  </a:lnTo>
                  <a:lnTo>
                    <a:pt x="332" y="192"/>
                  </a:lnTo>
                  <a:close/>
                  <a:moveTo>
                    <a:pt x="456" y="190"/>
                  </a:moveTo>
                  <a:lnTo>
                    <a:pt x="456" y="188"/>
                  </a:lnTo>
                  <a:lnTo>
                    <a:pt x="456" y="190"/>
                  </a:lnTo>
                  <a:close/>
                  <a:moveTo>
                    <a:pt x="456" y="188"/>
                  </a:moveTo>
                  <a:lnTo>
                    <a:pt x="453" y="188"/>
                  </a:lnTo>
                  <a:lnTo>
                    <a:pt x="456" y="188"/>
                  </a:lnTo>
                  <a:close/>
                  <a:moveTo>
                    <a:pt x="406" y="166"/>
                  </a:moveTo>
                  <a:lnTo>
                    <a:pt x="404" y="166"/>
                  </a:lnTo>
                  <a:lnTo>
                    <a:pt x="406" y="166"/>
                  </a:lnTo>
                  <a:close/>
                  <a:moveTo>
                    <a:pt x="655" y="166"/>
                  </a:moveTo>
                  <a:lnTo>
                    <a:pt x="653" y="166"/>
                  </a:lnTo>
                  <a:lnTo>
                    <a:pt x="655" y="166"/>
                  </a:lnTo>
                  <a:close/>
                  <a:moveTo>
                    <a:pt x="413" y="164"/>
                  </a:moveTo>
                  <a:lnTo>
                    <a:pt x="411" y="166"/>
                  </a:lnTo>
                  <a:lnTo>
                    <a:pt x="411" y="164"/>
                  </a:lnTo>
                  <a:lnTo>
                    <a:pt x="413" y="164"/>
                  </a:lnTo>
                  <a:close/>
                  <a:moveTo>
                    <a:pt x="423" y="164"/>
                  </a:moveTo>
                  <a:lnTo>
                    <a:pt x="420" y="164"/>
                  </a:lnTo>
                  <a:lnTo>
                    <a:pt x="423" y="164"/>
                  </a:lnTo>
                  <a:close/>
                  <a:moveTo>
                    <a:pt x="425" y="164"/>
                  </a:moveTo>
                  <a:lnTo>
                    <a:pt x="423" y="164"/>
                  </a:lnTo>
                  <a:lnTo>
                    <a:pt x="425" y="164"/>
                  </a:lnTo>
                  <a:close/>
                  <a:moveTo>
                    <a:pt x="427" y="164"/>
                  </a:moveTo>
                  <a:lnTo>
                    <a:pt x="425" y="164"/>
                  </a:lnTo>
                  <a:lnTo>
                    <a:pt x="427" y="162"/>
                  </a:lnTo>
                  <a:lnTo>
                    <a:pt x="427" y="164"/>
                  </a:lnTo>
                  <a:close/>
                  <a:moveTo>
                    <a:pt x="620" y="159"/>
                  </a:moveTo>
                  <a:lnTo>
                    <a:pt x="620" y="162"/>
                  </a:lnTo>
                  <a:lnTo>
                    <a:pt x="620" y="159"/>
                  </a:lnTo>
                  <a:close/>
                  <a:moveTo>
                    <a:pt x="539" y="154"/>
                  </a:moveTo>
                  <a:lnTo>
                    <a:pt x="537" y="154"/>
                  </a:lnTo>
                  <a:lnTo>
                    <a:pt x="539" y="154"/>
                  </a:lnTo>
                  <a:close/>
                  <a:moveTo>
                    <a:pt x="373" y="145"/>
                  </a:moveTo>
                  <a:lnTo>
                    <a:pt x="370" y="145"/>
                  </a:lnTo>
                  <a:lnTo>
                    <a:pt x="373" y="145"/>
                  </a:lnTo>
                  <a:close/>
                  <a:moveTo>
                    <a:pt x="373" y="145"/>
                  </a:moveTo>
                  <a:lnTo>
                    <a:pt x="370" y="145"/>
                  </a:lnTo>
                  <a:lnTo>
                    <a:pt x="373" y="145"/>
                  </a:lnTo>
                  <a:close/>
                  <a:moveTo>
                    <a:pt x="247" y="145"/>
                  </a:moveTo>
                  <a:lnTo>
                    <a:pt x="245" y="145"/>
                  </a:lnTo>
                  <a:lnTo>
                    <a:pt x="247" y="145"/>
                  </a:lnTo>
                  <a:close/>
                  <a:moveTo>
                    <a:pt x="306" y="143"/>
                  </a:moveTo>
                  <a:lnTo>
                    <a:pt x="304" y="143"/>
                  </a:lnTo>
                  <a:lnTo>
                    <a:pt x="306" y="143"/>
                  </a:lnTo>
                  <a:close/>
                  <a:moveTo>
                    <a:pt x="567" y="143"/>
                  </a:moveTo>
                  <a:lnTo>
                    <a:pt x="570" y="143"/>
                  </a:lnTo>
                  <a:lnTo>
                    <a:pt x="567" y="143"/>
                  </a:lnTo>
                  <a:close/>
                  <a:moveTo>
                    <a:pt x="567" y="143"/>
                  </a:moveTo>
                  <a:lnTo>
                    <a:pt x="570" y="143"/>
                  </a:lnTo>
                  <a:lnTo>
                    <a:pt x="567" y="143"/>
                  </a:lnTo>
                  <a:close/>
                  <a:moveTo>
                    <a:pt x="311" y="140"/>
                  </a:moveTo>
                  <a:lnTo>
                    <a:pt x="309" y="140"/>
                  </a:lnTo>
                  <a:lnTo>
                    <a:pt x="311" y="140"/>
                  </a:lnTo>
                  <a:close/>
                  <a:moveTo>
                    <a:pt x="537" y="138"/>
                  </a:moveTo>
                  <a:lnTo>
                    <a:pt x="534" y="138"/>
                  </a:lnTo>
                  <a:lnTo>
                    <a:pt x="537" y="138"/>
                  </a:lnTo>
                  <a:close/>
                  <a:moveTo>
                    <a:pt x="389" y="131"/>
                  </a:moveTo>
                  <a:lnTo>
                    <a:pt x="387" y="131"/>
                  </a:lnTo>
                  <a:lnTo>
                    <a:pt x="389" y="131"/>
                  </a:lnTo>
                  <a:close/>
                  <a:moveTo>
                    <a:pt x="328" y="126"/>
                  </a:moveTo>
                  <a:lnTo>
                    <a:pt x="325" y="126"/>
                  </a:lnTo>
                  <a:lnTo>
                    <a:pt x="328" y="126"/>
                  </a:lnTo>
                  <a:close/>
                  <a:moveTo>
                    <a:pt x="579" y="121"/>
                  </a:moveTo>
                  <a:lnTo>
                    <a:pt x="577" y="121"/>
                  </a:lnTo>
                  <a:lnTo>
                    <a:pt x="579" y="121"/>
                  </a:lnTo>
                  <a:close/>
                  <a:moveTo>
                    <a:pt x="221" y="119"/>
                  </a:moveTo>
                  <a:lnTo>
                    <a:pt x="219" y="119"/>
                  </a:lnTo>
                  <a:lnTo>
                    <a:pt x="221" y="119"/>
                  </a:lnTo>
                  <a:close/>
                  <a:moveTo>
                    <a:pt x="332" y="116"/>
                  </a:moveTo>
                  <a:lnTo>
                    <a:pt x="330" y="116"/>
                  </a:lnTo>
                  <a:lnTo>
                    <a:pt x="332" y="116"/>
                  </a:lnTo>
                  <a:close/>
                  <a:moveTo>
                    <a:pt x="551" y="116"/>
                  </a:moveTo>
                  <a:lnTo>
                    <a:pt x="551" y="114"/>
                  </a:lnTo>
                  <a:lnTo>
                    <a:pt x="551" y="116"/>
                  </a:lnTo>
                  <a:close/>
                  <a:moveTo>
                    <a:pt x="529" y="114"/>
                  </a:moveTo>
                  <a:lnTo>
                    <a:pt x="527" y="114"/>
                  </a:lnTo>
                  <a:lnTo>
                    <a:pt x="529" y="114"/>
                  </a:lnTo>
                  <a:close/>
                  <a:moveTo>
                    <a:pt x="233" y="112"/>
                  </a:moveTo>
                  <a:lnTo>
                    <a:pt x="230" y="112"/>
                  </a:lnTo>
                  <a:lnTo>
                    <a:pt x="233" y="112"/>
                  </a:lnTo>
                  <a:close/>
                  <a:moveTo>
                    <a:pt x="800" y="107"/>
                  </a:moveTo>
                  <a:lnTo>
                    <a:pt x="798" y="107"/>
                  </a:lnTo>
                  <a:lnTo>
                    <a:pt x="800" y="107"/>
                  </a:lnTo>
                  <a:close/>
                  <a:moveTo>
                    <a:pt x="798" y="107"/>
                  </a:moveTo>
                  <a:lnTo>
                    <a:pt x="800" y="107"/>
                  </a:lnTo>
                  <a:lnTo>
                    <a:pt x="798" y="107"/>
                  </a:lnTo>
                  <a:close/>
                  <a:moveTo>
                    <a:pt x="779" y="105"/>
                  </a:moveTo>
                  <a:lnTo>
                    <a:pt x="779" y="107"/>
                  </a:lnTo>
                  <a:lnTo>
                    <a:pt x="779" y="105"/>
                  </a:lnTo>
                  <a:close/>
                  <a:moveTo>
                    <a:pt x="551" y="100"/>
                  </a:moveTo>
                  <a:lnTo>
                    <a:pt x="548" y="100"/>
                  </a:lnTo>
                  <a:lnTo>
                    <a:pt x="551" y="100"/>
                  </a:lnTo>
                  <a:close/>
                  <a:moveTo>
                    <a:pt x="781" y="100"/>
                  </a:moveTo>
                  <a:lnTo>
                    <a:pt x="779" y="100"/>
                  </a:lnTo>
                  <a:lnTo>
                    <a:pt x="781" y="100"/>
                  </a:lnTo>
                  <a:close/>
                  <a:moveTo>
                    <a:pt x="558" y="97"/>
                  </a:moveTo>
                  <a:lnTo>
                    <a:pt x="560" y="97"/>
                  </a:lnTo>
                  <a:lnTo>
                    <a:pt x="558" y="97"/>
                  </a:lnTo>
                  <a:close/>
                  <a:moveTo>
                    <a:pt x="575" y="95"/>
                  </a:moveTo>
                  <a:lnTo>
                    <a:pt x="572" y="95"/>
                  </a:lnTo>
                  <a:lnTo>
                    <a:pt x="575" y="95"/>
                  </a:lnTo>
                  <a:close/>
                  <a:moveTo>
                    <a:pt x="563" y="93"/>
                  </a:moveTo>
                  <a:lnTo>
                    <a:pt x="563" y="95"/>
                  </a:lnTo>
                  <a:lnTo>
                    <a:pt x="563" y="93"/>
                  </a:lnTo>
                  <a:close/>
                  <a:moveTo>
                    <a:pt x="252" y="93"/>
                  </a:moveTo>
                  <a:lnTo>
                    <a:pt x="249" y="93"/>
                  </a:lnTo>
                  <a:lnTo>
                    <a:pt x="252" y="93"/>
                  </a:lnTo>
                  <a:close/>
                  <a:moveTo>
                    <a:pt x="389" y="93"/>
                  </a:moveTo>
                  <a:lnTo>
                    <a:pt x="387" y="93"/>
                  </a:lnTo>
                  <a:lnTo>
                    <a:pt x="389" y="93"/>
                  </a:lnTo>
                  <a:close/>
                  <a:moveTo>
                    <a:pt x="558" y="93"/>
                  </a:moveTo>
                  <a:lnTo>
                    <a:pt x="556" y="93"/>
                  </a:lnTo>
                  <a:lnTo>
                    <a:pt x="558" y="93"/>
                  </a:lnTo>
                  <a:close/>
                  <a:moveTo>
                    <a:pt x="510" y="93"/>
                  </a:moveTo>
                  <a:lnTo>
                    <a:pt x="508" y="93"/>
                  </a:lnTo>
                  <a:lnTo>
                    <a:pt x="510" y="93"/>
                  </a:lnTo>
                  <a:close/>
                  <a:moveTo>
                    <a:pt x="370" y="86"/>
                  </a:moveTo>
                  <a:lnTo>
                    <a:pt x="368" y="86"/>
                  </a:lnTo>
                  <a:lnTo>
                    <a:pt x="370" y="86"/>
                  </a:lnTo>
                  <a:close/>
                  <a:moveTo>
                    <a:pt x="520" y="76"/>
                  </a:moveTo>
                  <a:lnTo>
                    <a:pt x="518" y="76"/>
                  </a:lnTo>
                  <a:lnTo>
                    <a:pt x="520" y="76"/>
                  </a:lnTo>
                  <a:close/>
                  <a:moveTo>
                    <a:pt x="496" y="67"/>
                  </a:moveTo>
                  <a:lnTo>
                    <a:pt x="494" y="67"/>
                  </a:lnTo>
                  <a:lnTo>
                    <a:pt x="496" y="67"/>
                  </a:lnTo>
                  <a:close/>
                  <a:moveTo>
                    <a:pt x="295" y="64"/>
                  </a:moveTo>
                  <a:lnTo>
                    <a:pt x="297" y="64"/>
                  </a:lnTo>
                  <a:lnTo>
                    <a:pt x="295" y="64"/>
                  </a:lnTo>
                  <a:close/>
                  <a:moveTo>
                    <a:pt x="361" y="62"/>
                  </a:moveTo>
                  <a:lnTo>
                    <a:pt x="359" y="62"/>
                  </a:lnTo>
                  <a:lnTo>
                    <a:pt x="361" y="62"/>
                  </a:lnTo>
                  <a:close/>
                  <a:moveTo>
                    <a:pt x="499" y="62"/>
                  </a:moveTo>
                  <a:lnTo>
                    <a:pt x="496" y="62"/>
                  </a:lnTo>
                  <a:lnTo>
                    <a:pt x="499" y="62"/>
                  </a:lnTo>
                  <a:close/>
                  <a:moveTo>
                    <a:pt x="470" y="52"/>
                  </a:moveTo>
                  <a:lnTo>
                    <a:pt x="468" y="52"/>
                  </a:lnTo>
                  <a:lnTo>
                    <a:pt x="470" y="52"/>
                  </a:lnTo>
                  <a:close/>
                  <a:moveTo>
                    <a:pt x="299" y="52"/>
                  </a:moveTo>
                  <a:lnTo>
                    <a:pt x="297" y="52"/>
                  </a:lnTo>
                  <a:lnTo>
                    <a:pt x="299" y="52"/>
                  </a:lnTo>
                  <a:close/>
                  <a:moveTo>
                    <a:pt x="273" y="52"/>
                  </a:moveTo>
                  <a:lnTo>
                    <a:pt x="271" y="52"/>
                  </a:lnTo>
                  <a:lnTo>
                    <a:pt x="273" y="52"/>
                  </a:lnTo>
                  <a:close/>
                  <a:moveTo>
                    <a:pt x="207" y="50"/>
                  </a:moveTo>
                  <a:lnTo>
                    <a:pt x="204" y="50"/>
                  </a:lnTo>
                  <a:lnTo>
                    <a:pt x="207" y="50"/>
                  </a:lnTo>
                  <a:close/>
                  <a:moveTo>
                    <a:pt x="292" y="48"/>
                  </a:moveTo>
                  <a:lnTo>
                    <a:pt x="290" y="48"/>
                  </a:lnTo>
                  <a:lnTo>
                    <a:pt x="292" y="48"/>
                  </a:lnTo>
                  <a:close/>
                  <a:moveTo>
                    <a:pt x="304" y="48"/>
                  </a:moveTo>
                  <a:lnTo>
                    <a:pt x="302" y="48"/>
                  </a:lnTo>
                  <a:lnTo>
                    <a:pt x="304" y="48"/>
                  </a:lnTo>
                  <a:close/>
                  <a:moveTo>
                    <a:pt x="292" y="48"/>
                  </a:moveTo>
                  <a:lnTo>
                    <a:pt x="290" y="48"/>
                  </a:lnTo>
                  <a:lnTo>
                    <a:pt x="292" y="48"/>
                  </a:lnTo>
                  <a:close/>
                  <a:moveTo>
                    <a:pt x="461" y="43"/>
                  </a:moveTo>
                  <a:lnTo>
                    <a:pt x="461" y="40"/>
                  </a:lnTo>
                  <a:lnTo>
                    <a:pt x="461" y="43"/>
                  </a:lnTo>
                  <a:close/>
                  <a:moveTo>
                    <a:pt x="458" y="40"/>
                  </a:moveTo>
                  <a:lnTo>
                    <a:pt x="456" y="40"/>
                  </a:lnTo>
                  <a:lnTo>
                    <a:pt x="458" y="40"/>
                  </a:lnTo>
                  <a:close/>
                  <a:moveTo>
                    <a:pt x="233" y="38"/>
                  </a:moveTo>
                  <a:lnTo>
                    <a:pt x="230" y="38"/>
                  </a:lnTo>
                  <a:lnTo>
                    <a:pt x="233" y="38"/>
                  </a:lnTo>
                  <a:close/>
                  <a:moveTo>
                    <a:pt x="382" y="33"/>
                  </a:moveTo>
                  <a:lnTo>
                    <a:pt x="382" y="36"/>
                  </a:lnTo>
                  <a:lnTo>
                    <a:pt x="382" y="33"/>
                  </a:lnTo>
                  <a:close/>
                  <a:moveTo>
                    <a:pt x="382" y="33"/>
                  </a:moveTo>
                  <a:lnTo>
                    <a:pt x="382" y="36"/>
                  </a:lnTo>
                  <a:lnTo>
                    <a:pt x="382" y="33"/>
                  </a:lnTo>
                  <a:close/>
                  <a:moveTo>
                    <a:pt x="458" y="28"/>
                  </a:moveTo>
                  <a:lnTo>
                    <a:pt x="461" y="28"/>
                  </a:lnTo>
                  <a:lnTo>
                    <a:pt x="458" y="28"/>
                  </a:lnTo>
                  <a:close/>
                  <a:moveTo>
                    <a:pt x="465" y="26"/>
                  </a:moveTo>
                  <a:lnTo>
                    <a:pt x="463" y="26"/>
                  </a:lnTo>
                  <a:lnTo>
                    <a:pt x="465" y="26"/>
                  </a:lnTo>
                  <a:close/>
                  <a:moveTo>
                    <a:pt x="453" y="24"/>
                  </a:moveTo>
                  <a:lnTo>
                    <a:pt x="453" y="26"/>
                  </a:lnTo>
                  <a:lnTo>
                    <a:pt x="453" y="24"/>
                  </a:lnTo>
                  <a:close/>
                  <a:moveTo>
                    <a:pt x="332" y="24"/>
                  </a:moveTo>
                  <a:lnTo>
                    <a:pt x="330" y="24"/>
                  </a:lnTo>
                  <a:lnTo>
                    <a:pt x="332" y="24"/>
                  </a:lnTo>
                  <a:close/>
                  <a:moveTo>
                    <a:pt x="387" y="21"/>
                  </a:moveTo>
                  <a:lnTo>
                    <a:pt x="385" y="21"/>
                  </a:lnTo>
                  <a:lnTo>
                    <a:pt x="387" y="21"/>
                  </a:lnTo>
                  <a:close/>
                  <a:moveTo>
                    <a:pt x="589" y="17"/>
                  </a:moveTo>
                  <a:lnTo>
                    <a:pt x="586" y="17"/>
                  </a:lnTo>
                  <a:lnTo>
                    <a:pt x="589" y="17"/>
                  </a:lnTo>
                  <a:close/>
                  <a:moveTo>
                    <a:pt x="482" y="17"/>
                  </a:moveTo>
                  <a:lnTo>
                    <a:pt x="480" y="17"/>
                  </a:lnTo>
                  <a:lnTo>
                    <a:pt x="482" y="17"/>
                  </a:lnTo>
                  <a:close/>
                  <a:moveTo>
                    <a:pt x="631" y="14"/>
                  </a:moveTo>
                  <a:lnTo>
                    <a:pt x="629" y="14"/>
                  </a:lnTo>
                  <a:lnTo>
                    <a:pt x="631" y="14"/>
                  </a:lnTo>
                  <a:close/>
                  <a:moveTo>
                    <a:pt x="636" y="9"/>
                  </a:moveTo>
                  <a:lnTo>
                    <a:pt x="634" y="9"/>
                  </a:lnTo>
                  <a:lnTo>
                    <a:pt x="636" y="9"/>
                  </a:lnTo>
                  <a:close/>
                  <a:moveTo>
                    <a:pt x="669" y="7"/>
                  </a:moveTo>
                  <a:lnTo>
                    <a:pt x="667" y="7"/>
                  </a:lnTo>
                  <a:lnTo>
                    <a:pt x="669" y="7"/>
                  </a:lnTo>
                  <a:close/>
                  <a:moveTo>
                    <a:pt x="641" y="5"/>
                  </a:moveTo>
                  <a:lnTo>
                    <a:pt x="639" y="5"/>
                  </a:lnTo>
                  <a:lnTo>
                    <a:pt x="641" y="5"/>
                  </a:lnTo>
                  <a:close/>
                  <a:moveTo>
                    <a:pt x="553" y="2"/>
                  </a:moveTo>
                  <a:lnTo>
                    <a:pt x="556" y="2"/>
                  </a:lnTo>
                  <a:lnTo>
                    <a:pt x="553" y="2"/>
                  </a:lnTo>
                  <a:close/>
                  <a:moveTo>
                    <a:pt x="556" y="2"/>
                  </a:moveTo>
                  <a:lnTo>
                    <a:pt x="553" y="2"/>
                  </a:lnTo>
                  <a:lnTo>
                    <a:pt x="556" y="2"/>
                  </a:lnTo>
                  <a:close/>
                  <a:moveTo>
                    <a:pt x="658" y="0"/>
                  </a:moveTo>
                  <a:lnTo>
                    <a:pt x="655" y="0"/>
                  </a:lnTo>
                  <a:lnTo>
                    <a:pt x="658" y="0"/>
                  </a:lnTo>
                  <a:close/>
                  <a:moveTo>
                    <a:pt x="506" y="0"/>
                  </a:moveTo>
                  <a:lnTo>
                    <a:pt x="503" y="0"/>
                  </a:lnTo>
                  <a:lnTo>
                    <a:pt x="50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9" name="Freeform 55036"/>
            <p:cNvSpPr>
              <a:spLocks noEditPoints="1"/>
            </p:cNvSpPr>
            <p:nvPr/>
          </p:nvSpPr>
          <p:spPr bwMode="auto">
            <a:xfrm>
              <a:off x="2767011" y="4321189"/>
              <a:ext cx="523875" cy="455614"/>
            </a:xfrm>
            <a:custGeom>
              <a:avLst/>
              <a:gdLst>
                <a:gd name="T0" fmla="*/ 17 w 330"/>
                <a:gd name="T1" fmla="*/ 73 h 287"/>
                <a:gd name="T2" fmla="*/ 7 w 330"/>
                <a:gd name="T3" fmla="*/ 73 h 287"/>
                <a:gd name="T4" fmla="*/ 5 w 330"/>
                <a:gd name="T5" fmla="*/ 47 h 287"/>
                <a:gd name="T6" fmla="*/ 159 w 330"/>
                <a:gd name="T7" fmla="*/ 40 h 287"/>
                <a:gd name="T8" fmla="*/ 176 w 330"/>
                <a:gd name="T9" fmla="*/ 28 h 287"/>
                <a:gd name="T10" fmla="*/ 216 w 330"/>
                <a:gd name="T11" fmla="*/ 23 h 287"/>
                <a:gd name="T12" fmla="*/ 261 w 330"/>
                <a:gd name="T13" fmla="*/ 23 h 287"/>
                <a:gd name="T14" fmla="*/ 299 w 330"/>
                <a:gd name="T15" fmla="*/ 28 h 287"/>
                <a:gd name="T16" fmla="*/ 311 w 330"/>
                <a:gd name="T17" fmla="*/ 54 h 287"/>
                <a:gd name="T18" fmla="*/ 323 w 330"/>
                <a:gd name="T19" fmla="*/ 92 h 287"/>
                <a:gd name="T20" fmla="*/ 302 w 330"/>
                <a:gd name="T21" fmla="*/ 121 h 287"/>
                <a:gd name="T22" fmla="*/ 316 w 330"/>
                <a:gd name="T23" fmla="*/ 142 h 287"/>
                <a:gd name="T24" fmla="*/ 311 w 330"/>
                <a:gd name="T25" fmla="*/ 156 h 287"/>
                <a:gd name="T26" fmla="*/ 316 w 330"/>
                <a:gd name="T27" fmla="*/ 175 h 287"/>
                <a:gd name="T28" fmla="*/ 323 w 330"/>
                <a:gd name="T29" fmla="*/ 187 h 287"/>
                <a:gd name="T30" fmla="*/ 325 w 330"/>
                <a:gd name="T31" fmla="*/ 199 h 287"/>
                <a:gd name="T32" fmla="*/ 318 w 330"/>
                <a:gd name="T33" fmla="*/ 220 h 287"/>
                <a:gd name="T34" fmla="*/ 292 w 330"/>
                <a:gd name="T35" fmla="*/ 247 h 287"/>
                <a:gd name="T36" fmla="*/ 285 w 330"/>
                <a:gd name="T37" fmla="*/ 273 h 287"/>
                <a:gd name="T38" fmla="*/ 287 w 330"/>
                <a:gd name="T39" fmla="*/ 282 h 287"/>
                <a:gd name="T40" fmla="*/ 271 w 330"/>
                <a:gd name="T41" fmla="*/ 280 h 287"/>
                <a:gd name="T42" fmla="*/ 245 w 330"/>
                <a:gd name="T43" fmla="*/ 266 h 287"/>
                <a:gd name="T44" fmla="*/ 226 w 330"/>
                <a:gd name="T45" fmla="*/ 270 h 287"/>
                <a:gd name="T46" fmla="*/ 209 w 330"/>
                <a:gd name="T47" fmla="*/ 268 h 287"/>
                <a:gd name="T48" fmla="*/ 185 w 330"/>
                <a:gd name="T49" fmla="*/ 278 h 287"/>
                <a:gd name="T50" fmla="*/ 173 w 330"/>
                <a:gd name="T51" fmla="*/ 261 h 287"/>
                <a:gd name="T52" fmla="*/ 154 w 330"/>
                <a:gd name="T53" fmla="*/ 261 h 287"/>
                <a:gd name="T54" fmla="*/ 145 w 330"/>
                <a:gd name="T55" fmla="*/ 244 h 287"/>
                <a:gd name="T56" fmla="*/ 128 w 330"/>
                <a:gd name="T57" fmla="*/ 237 h 287"/>
                <a:gd name="T58" fmla="*/ 119 w 330"/>
                <a:gd name="T59" fmla="*/ 230 h 287"/>
                <a:gd name="T60" fmla="*/ 107 w 330"/>
                <a:gd name="T61" fmla="*/ 223 h 287"/>
                <a:gd name="T62" fmla="*/ 95 w 330"/>
                <a:gd name="T63" fmla="*/ 228 h 287"/>
                <a:gd name="T64" fmla="*/ 76 w 330"/>
                <a:gd name="T65" fmla="*/ 225 h 287"/>
                <a:gd name="T66" fmla="*/ 76 w 330"/>
                <a:gd name="T67" fmla="*/ 211 h 287"/>
                <a:gd name="T68" fmla="*/ 55 w 330"/>
                <a:gd name="T69" fmla="*/ 204 h 287"/>
                <a:gd name="T70" fmla="*/ 38 w 330"/>
                <a:gd name="T71" fmla="*/ 194 h 287"/>
                <a:gd name="T72" fmla="*/ 22 w 330"/>
                <a:gd name="T73" fmla="*/ 197 h 287"/>
                <a:gd name="T74" fmla="*/ 29 w 330"/>
                <a:gd name="T75" fmla="*/ 175 h 287"/>
                <a:gd name="T76" fmla="*/ 22 w 330"/>
                <a:gd name="T77" fmla="*/ 163 h 287"/>
                <a:gd name="T78" fmla="*/ 14 w 330"/>
                <a:gd name="T79" fmla="*/ 149 h 287"/>
                <a:gd name="T80" fmla="*/ 19 w 330"/>
                <a:gd name="T81" fmla="*/ 130 h 287"/>
                <a:gd name="T82" fmla="*/ 12 w 330"/>
                <a:gd name="T83" fmla="*/ 109 h 287"/>
                <a:gd name="T84" fmla="*/ 7 w 330"/>
                <a:gd name="T85" fmla="*/ 87 h 287"/>
                <a:gd name="T86" fmla="*/ 17 w 330"/>
                <a:gd name="T87" fmla="*/ 66 h 287"/>
                <a:gd name="T88" fmla="*/ 19 w 330"/>
                <a:gd name="T89" fmla="*/ 45 h 287"/>
                <a:gd name="T90" fmla="*/ 48 w 330"/>
                <a:gd name="T91" fmla="*/ 33 h 287"/>
                <a:gd name="T92" fmla="*/ 79 w 330"/>
                <a:gd name="T93" fmla="*/ 14 h 287"/>
                <a:gd name="T94" fmla="*/ 112 w 330"/>
                <a:gd name="T95" fmla="*/ 2 h 287"/>
                <a:gd name="T96" fmla="*/ 143 w 330"/>
                <a:gd name="T97" fmla="*/ 2 h 287"/>
                <a:gd name="T98" fmla="*/ 140 w 330"/>
                <a:gd name="T99" fmla="*/ 2 h 287"/>
                <a:gd name="T100" fmla="*/ 154 w 330"/>
                <a:gd name="T101" fmla="*/ 23 h 287"/>
                <a:gd name="T102" fmla="*/ 154 w 330"/>
                <a:gd name="T103" fmla="*/ 35 h 287"/>
                <a:gd name="T104" fmla="*/ 152 w 330"/>
                <a:gd name="T105" fmla="*/ 61 h 287"/>
                <a:gd name="T106" fmla="*/ 133 w 330"/>
                <a:gd name="T107" fmla="*/ 83 h 287"/>
                <a:gd name="T108" fmla="*/ 150 w 330"/>
                <a:gd name="T109" fmla="*/ 95 h 287"/>
                <a:gd name="T110" fmla="*/ 157 w 330"/>
                <a:gd name="T111" fmla="*/ 99 h 287"/>
                <a:gd name="T112" fmla="*/ 133 w 330"/>
                <a:gd name="T113" fmla="*/ 87 h 287"/>
                <a:gd name="T114" fmla="*/ 152 w 330"/>
                <a:gd name="T115" fmla="*/ 64 h 287"/>
                <a:gd name="T116" fmla="*/ 154 w 330"/>
                <a:gd name="T117" fmla="*/ 38 h 287"/>
                <a:gd name="T118" fmla="*/ 181 w 330"/>
                <a:gd name="T119" fmla="*/ 19 h 287"/>
                <a:gd name="T120" fmla="*/ 169 w 330"/>
                <a:gd name="T121" fmla="*/ 3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0" h="287">
                  <a:moveTo>
                    <a:pt x="5" y="54"/>
                  </a:moveTo>
                  <a:lnTo>
                    <a:pt x="7" y="54"/>
                  </a:lnTo>
                  <a:lnTo>
                    <a:pt x="7" y="57"/>
                  </a:lnTo>
                  <a:lnTo>
                    <a:pt x="10" y="57"/>
                  </a:lnTo>
                  <a:lnTo>
                    <a:pt x="12" y="57"/>
                  </a:lnTo>
                  <a:lnTo>
                    <a:pt x="12" y="59"/>
                  </a:lnTo>
                  <a:lnTo>
                    <a:pt x="14" y="59"/>
                  </a:lnTo>
                  <a:lnTo>
                    <a:pt x="14" y="61"/>
                  </a:lnTo>
                  <a:lnTo>
                    <a:pt x="14" y="64"/>
                  </a:lnTo>
                  <a:lnTo>
                    <a:pt x="17" y="64"/>
                  </a:lnTo>
                  <a:lnTo>
                    <a:pt x="17" y="66"/>
                  </a:lnTo>
                  <a:lnTo>
                    <a:pt x="17" y="68"/>
                  </a:lnTo>
                  <a:lnTo>
                    <a:pt x="14" y="68"/>
                  </a:lnTo>
                  <a:lnTo>
                    <a:pt x="14" y="71"/>
                  </a:lnTo>
                  <a:lnTo>
                    <a:pt x="17" y="71"/>
                  </a:lnTo>
                  <a:lnTo>
                    <a:pt x="17" y="73"/>
                  </a:lnTo>
                  <a:lnTo>
                    <a:pt x="14" y="73"/>
                  </a:lnTo>
                  <a:lnTo>
                    <a:pt x="12" y="73"/>
                  </a:lnTo>
                  <a:lnTo>
                    <a:pt x="14" y="73"/>
                  </a:lnTo>
                  <a:lnTo>
                    <a:pt x="12" y="73"/>
                  </a:lnTo>
                  <a:lnTo>
                    <a:pt x="12" y="76"/>
                  </a:lnTo>
                  <a:lnTo>
                    <a:pt x="12" y="78"/>
                  </a:lnTo>
                  <a:lnTo>
                    <a:pt x="12" y="80"/>
                  </a:lnTo>
                  <a:lnTo>
                    <a:pt x="10" y="80"/>
                  </a:lnTo>
                  <a:lnTo>
                    <a:pt x="10" y="83"/>
                  </a:lnTo>
                  <a:lnTo>
                    <a:pt x="7" y="85"/>
                  </a:lnTo>
                  <a:lnTo>
                    <a:pt x="7" y="83"/>
                  </a:lnTo>
                  <a:lnTo>
                    <a:pt x="7" y="80"/>
                  </a:lnTo>
                  <a:lnTo>
                    <a:pt x="10" y="80"/>
                  </a:lnTo>
                  <a:lnTo>
                    <a:pt x="10" y="78"/>
                  </a:lnTo>
                  <a:lnTo>
                    <a:pt x="10" y="76"/>
                  </a:lnTo>
                  <a:lnTo>
                    <a:pt x="7" y="73"/>
                  </a:lnTo>
                  <a:lnTo>
                    <a:pt x="10" y="73"/>
                  </a:lnTo>
                  <a:lnTo>
                    <a:pt x="7" y="73"/>
                  </a:lnTo>
                  <a:lnTo>
                    <a:pt x="7" y="71"/>
                  </a:lnTo>
                  <a:lnTo>
                    <a:pt x="7" y="68"/>
                  </a:lnTo>
                  <a:lnTo>
                    <a:pt x="7" y="66"/>
                  </a:lnTo>
                  <a:lnTo>
                    <a:pt x="5" y="66"/>
                  </a:lnTo>
                  <a:lnTo>
                    <a:pt x="5" y="64"/>
                  </a:lnTo>
                  <a:lnTo>
                    <a:pt x="5" y="61"/>
                  </a:lnTo>
                  <a:lnTo>
                    <a:pt x="5" y="59"/>
                  </a:lnTo>
                  <a:lnTo>
                    <a:pt x="5" y="57"/>
                  </a:lnTo>
                  <a:lnTo>
                    <a:pt x="5" y="54"/>
                  </a:lnTo>
                  <a:lnTo>
                    <a:pt x="5" y="57"/>
                  </a:lnTo>
                  <a:lnTo>
                    <a:pt x="5" y="54"/>
                  </a:lnTo>
                  <a:close/>
                  <a:moveTo>
                    <a:pt x="3" y="45"/>
                  </a:moveTo>
                  <a:lnTo>
                    <a:pt x="5" y="45"/>
                  </a:lnTo>
                  <a:lnTo>
                    <a:pt x="5" y="47"/>
                  </a:lnTo>
                  <a:lnTo>
                    <a:pt x="5" y="49"/>
                  </a:lnTo>
                  <a:lnTo>
                    <a:pt x="7" y="52"/>
                  </a:lnTo>
                  <a:lnTo>
                    <a:pt x="5" y="52"/>
                  </a:lnTo>
                  <a:lnTo>
                    <a:pt x="5" y="49"/>
                  </a:lnTo>
                  <a:lnTo>
                    <a:pt x="3" y="49"/>
                  </a:lnTo>
                  <a:lnTo>
                    <a:pt x="3" y="47"/>
                  </a:lnTo>
                  <a:lnTo>
                    <a:pt x="3" y="45"/>
                  </a:lnTo>
                  <a:close/>
                  <a:moveTo>
                    <a:pt x="164" y="40"/>
                  </a:moveTo>
                  <a:lnTo>
                    <a:pt x="162" y="40"/>
                  </a:lnTo>
                  <a:lnTo>
                    <a:pt x="162" y="38"/>
                  </a:lnTo>
                  <a:lnTo>
                    <a:pt x="162" y="40"/>
                  </a:lnTo>
                  <a:lnTo>
                    <a:pt x="159" y="40"/>
                  </a:lnTo>
                  <a:lnTo>
                    <a:pt x="159" y="42"/>
                  </a:lnTo>
                  <a:lnTo>
                    <a:pt x="157" y="42"/>
                  </a:lnTo>
                  <a:lnTo>
                    <a:pt x="159" y="42"/>
                  </a:lnTo>
                  <a:lnTo>
                    <a:pt x="159" y="40"/>
                  </a:lnTo>
                  <a:lnTo>
                    <a:pt x="162" y="40"/>
                  </a:lnTo>
                  <a:lnTo>
                    <a:pt x="164" y="40"/>
                  </a:lnTo>
                  <a:lnTo>
                    <a:pt x="164" y="38"/>
                  </a:lnTo>
                  <a:lnTo>
                    <a:pt x="166" y="38"/>
                  </a:lnTo>
                  <a:lnTo>
                    <a:pt x="166" y="35"/>
                  </a:lnTo>
                  <a:lnTo>
                    <a:pt x="169" y="35"/>
                  </a:lnTo>
                  <a:lnTo>
                    <a:pt x="169" y="33"/>
                  </a:lnTo>
                  <a:lnTo>
                    <a:pt x="171" y="33"/>
                  </a:lnTo>
                  <a:lnTo>
                    <a:pt x="171" y="30"/>
                  </a:lnTo>
                  <a:lnTo>
                    <a:pt x="171" y="28"/>
                  </a:lnTo>
                  <a:lnTo>
                    <a:pt x="169" y="28"/>
                  </a:lnTo>
                  <a:lnTo>
                    <a:pt x="171" y="28"/>
                  </a:lnTo>
                  <a:lnTo>
                    <a:pt x="173" y="28"/>
                  </a:lnTo>
                  <a:lnTo>
                    <a:pt x="173" y="30"/>
                  </a:lnTo>
                  <a:lnTo>
                    <a:pt x="173" y="28"/>
                  </a:lnTo>
                  <a:lnTo>
                    <a:pt x="176" y="28"/>
                  </a:lnTo>
                  <a:lnTo>
                    <a:pt x="176" y="26"/>
                  </a:lnTo>
                  <a:lnTo>
                    <a:pt x="178" y="26"/>
                  </a:lnTo>
                  <a:lnTo>
                    <a:pt x="178" y="23"/>
                  </a:lnTo>
                  <a:lnTo>
                    <a:pt x="181" y="23"/>
                  </a:lnTo>
                  <a:lnTo>
                    <a:pt x="183" y="23"/>
                  </a:lnTo>
                  <a:lnTo>
                    <a:pt x="183" y="21"/>
                  </a:lnTo>
                  <a:lnTo>
                    <a:pt x="185" y="21"/>
                  </a:lnTo>
                  <a:lnTo>
                    <a:pt x="185" y="19"/>
                  </a:lnTo>
                  <a:lnTo>
                    <a:pt x="188" y="19"/>
                  </a:lnTo>
                  <a:lnTo>
                    <a:pt x="190" y="19"/>
                  </a:lnTo>
                  <a:lnTo>
                    <a:pt x="195" y="21"/>
                  </a:lnTo>
                  <a:lnTo>
                    <a:pt x="200" y="21"/>
                  </a:lnTo>
                  <a:lnTo>
                    <a:pt x="202" y="21"/>
                  </a:lnTo>
                  <a:lnTo>
                    <a:pt x="207" y="21"/>
                  </a:lnTo>
                  <a:lnTo>
                    <a:pt x="214" y="23"/>
                  </a:lnTo>
                  <a:lnTo>
                    <a:pt x="216" y="23"/>
                  </a:lnTo>
                  <a:lnTo>
                    <a:pt x="219" y="23"/>
                  </a:lnTo>
                  <a:lnTo>
                    <a:pt x="221" y="23"/>
                  </a:lnTo>
                  <a:lnTo>
                    <a:pt x="228" y="23"/>
                  </a:lnTo>
                  <a:lnTo>
                    <a:pt x="230" y="23"/>
                  </a:lnTo>
                  <a:lnTo>
                    <a:pt x="233" y="23"/>
                  </a:lnTo>
                  <a:lnTo>
                    <a:pt x="235" y="26"/>
                  </a:lnTo>
                  <a:lnTo>
                    <a:pt x="238" y="26"/>
                  </a:lnTo>
                  <a:lnTo>
                    <a:pt x="240" y="26"/>
                  </a:lnTo>
                  <a:lnTo>
                    <a:pt x="242" y="26"/>
                  </a:lnTo>
                  <a:lnTo>
                    <a:pt x="245" y="26"/>
                  </a:lnTo>
                  <a:lnTo>
                    <a:pt x="247" y="26"/>
                  </a:lnTo>
                  <a:lnTo>
                    <a:pt x="252" y="26"/>
                  </a:lnTo>
                  <a:lnTo>
                    <a:pt x="257" y="26"/>
                  </a:lnTo>
                  <a:lnTo>
                    <a:pt x="259" y="26"/>
                  </a:lnTo>
                  <a:lnTo>
                    <a:pt x="259" y="23"/>
                  </a:lnTo>
                  <a:lnTo>
                    <a:pt x="261" y="23"/>
                  </a:lnTo>
                  <a:lnTo>
                    <a:pt x="264" y="23"/>
                  </a:lnTo>
                  <a:lnTo>
                    <a:pt x="266" y="23"/>
                  </a:lnTo>
                  <a:lnTo>
                    <a:pt x="271" y="23"/>
                  </a:lnTo>
                  <a:lnTo>
                    <a:pt x="273" y="23"/>
                  </a:lnTo>
                  <a:lnTo>
                    <a:pt x="280" y="23"/>
                  </a:lnTo>
                  <a:lnTo>
                    <a:pt x="283" y="23"/>
                  </a:lnTo>
                  <a:lnTo>
                    <a:pt x="285" y="23"/>
                  </a:lnTo>
                  <a:lnTo>
                    <a:pt x="287" y="21"/>
                  </a:lnTo>
                  <a:lnTo>
                    <a:pt x="290" y="21"/>
                  </a:lnTo>
                  <a:lnTo>
                    <a:pt x="292" y="21"/>
                  </a:lnTo>
                  <a:lnTo>
                    <a:pt x="292" y="23"/>
                  </a:lnTo>
                  <a:lnTo>
                    <a:pt x="294" y="23"/>
                  </a:lnTo>
                  <a:lnTo>
                    <a:pt x="294" y="26"/>
                  </a:lnTo>
                  <a:lnTo>
                    <a:pt x="297" y="26"/>
                  </a:lnTo>
                  <a:lnTo>
                    <a:pt x="299" y="26"/>
                  </a:lnTo>
                  <a:lnTo>
                    <a:pt x="299" y="28"/>
                  </a:lnTo>
                  <a:lnTo>
                    <a:pt x="302" y="28"/>
                  </a:lnTo>
                  <a:lnTo>
                    <a:pt x="304" y="28"/>
                  </a:lnTo>
                  <a:lnTo>
                    <a:pt x="304" y="30"/>
                  </a:lnTo>
                  <a:lnTo>
                    <a:pt x="306" y="30"/>
                  </a:lnTo>
                  <a:lnTo>
                    <a:pt x="306" y="33"/>
                  </a:lnTo>
                  <a:lnTo>
                    <a:pt x="309" y="33"/>
                  </a:lnTo>
                  <a:lnTo>
                    <a:pt x="309" y="35"/>
                  </a:lnTo>
                  <a:lnTo>
                    <a:pt x="309" y="38"/>
                  </a:lnTo>
                  <a:lnTo>
                    <a:pt x="309" y="40"/>
                  </a:lnTo>
                  <a:lnTo>
                    <a:pt x="309" y="42"/>
                  </a:lnTo>
                  <a:lnTo>
                    <a:pt x="309" y="45"/>
                  </a:lnTo>
                  <a:lnTo>
                    <a:pt x="309" y="47"/>
                  </a:lnTo>
                  <a:lnTo>
                    <a:pt x="309" y="49"/>
                  </a:lnTo>
                  <a:lnTo>
                    <a:pt x="311" y="49"/>
                  </a:lnTo>
                  <a:lnTo>
                    <a:pt x="311" y="52"/>
                  </a:lnTo>
                  <a:lnTo>
                    <a:pt x="311" y="54"/>
                  </a:lnTo>
                  <a:lnTo>
                    <a:pt x="311" y="57"/>
                  </a:lnTo>
                  <a:lnTo>
                    <a:pt x="313" y="61"/>
                  </a:lnTo>
                  <a:lnTo>
                    <a:pt x="313" y="64"/>
                  </a:lnTo>
                  <a:lnTo>
                    <a:pt x="313" y="66"/>
                  </a:lnTo>
                  <a:lnTo>
                    <a:pt x="316" y="68"/>
                  </a:lnTo>
                  <a:lnTo>
                    <a:pt x="316" y="71"/>
                  </a:lnTo>
                  <a:lnTo>
                    <a:pt x="318" y="76"/>
                  </a:lnTo>
                  <a:lnTo>
                    <a:pt x="321" y="80"/>
                  </a:lnTo>
                  <a:lnTo>
                    <a:pt x="321" y="83"/>
                  </a:lnTo>
                  <a:lnTo>
                    <a:pt x="323" y="83"/>
                  </a:lnTo>
                  <a:lnTo>
                    <a:pt x="323" y="85"/>
                  </a:lnTo>
                  <a:lnTo>
                    <a:pt x="321" y="85"/>
                  </a:lnTo>
                  <a:lnTo>
                    <a:pt x="321" y="87"/>
                  </a:lnTo>
                  <a:lnTo>
                    <a:pt x="323" y="87"/>
                  </a:lnTo>
                  <a:lnTo>
                    <a:pt x="323" y="90"/>
                  </a:lnTo>
                  <a:lnTo>
                    <a:pt x="323" y="92"/>
                  </a:lnTo>
                  <a:lnTo>
                    <a:pt x="323" y="95"/>
                  </a:lnTo>
                  <a:lnTo>
                    <a:pt x="323" y="97"/>
                  </a:lnTo>
                  <a:lnTo>
                    <a:pt x="323" y="99"/>
                  </a:lnTo>
                  <a:lnTo>
                    <a:pt x="323" y="102"/>
                  </a:lnTo>
                  <a:lnTo>
                    <a:pt x="323" y="106"/>
                  </a:lnTo>
                  <a:lnTo>
                    <a:pt x="321" y="106"/>
                  </a:lnTo>
                  <a:lnTo>
                    <a:pt x="318" y="109"/>
                  </a:lnTo>
                  <a:lnTo>
                    <a:pt x="316" y="111"/>
                  </a:lnTo>
                  <a:lnTo>
                    <a:pt x="313" y="111"/>
                  </a:lnTo>
                  <a:lnTo>
                    <a:pt x="311" y="111"/>
                  </a:lnTo>
                  <a:lnTo>
                    <a:pt x="309" y="114"/>
                  </a:lnTo>
                  <a:lnTo>
                    <a:pt x="306" y="114"/>
                  </a:lnTo>
                  <a:lnTo>
                    <a:pt x="306" y="116"/>
                  </a:lnTo>
                  <a:lnTo>
                    <a:pt x="304" y="118"/>
                  </a:lnTo>
                  <a:lnTo>
                    <a:pt x="304" y="121"/>
                  </a:lnTo>
                  <a:lnTo>
                    <a:pt x="302" y="121"/>
                  </a:lnTo>
                  <a:lnTo>
                    <a:pt x="299" y="123"/>
                  </a:lnTo>
                  <a:lnTo>
                    <a:pt x="299" y="125"/>
                  </a:lnTo>
                  <a:lnTo>
                    <a:pt x="299" y="128"/>
                  </a:lnTo>
                  <a:lnTo>
                    <a:pt x="299" y="130"/>
                  </a:lnTo>
                  <a:lnTo>
                    <a:pt x="302" y="130"/>
                  </a:lnTo>
                  <a:lnTo>
                    <a:pt x="304" y="130"/>
                  </a:lnTo>
                  <a:lnTo>
                    <a:pt x="306" y="130"/>
                  </a:lnTo>
                  <a:lnTo>
                    <a:pt x="306" y="133"/>
                  </a:lnTo>
                  <a:lnTo>
                    <a:pt x="309" y="133"/>
                  </a:lnTo>
                  <a:lnTo>
                    <a:pt x="309" y="135"/>
                  </a:lnTo>
                  <a:lnTo>
                    <a:pt x="311" y="135"/>
                  </a:lnTo>
                  <a:lnTo>
                    <a:pt x="313" y="135"/>
                  </a:lnTo>
                  <a:lnTo>
                    <a:pt x="313" y="137"/>
                  </a:lnTo>
                  <a:lnTo>
                    <a:pt x="313" y="140"/>
                  </a:lnTo>
                  <a:lnTo>
                    <a:pt x="316" y="140"/>
                  </a:lnTo>
                  <a:lnTo>
                    <a:pt x="316" y="142"/>
                  </a:lnTo>
                  <a:lnTo>
                    <a:pt x="313" y="142"/>
                  </a:lnTo>
                  <a:lnTo>
                    <a:pt x="313" y="144"/>
                  </a:lnTo>
                  <a:lnTo>
                    <a:pt x="313" y="147"/>
                  </a:lnTo>
                  <a:lnTo>
                    <a:pt x="313" y="149"/>
                  </a:lnTo>
                  <a:lnTo>
                    <a:pt x="311" y="149"/>
                  </a:lnTo>
                  <a:lnTo>
                    <a:pt x="313" y="149"/>
                  </a:lnTo>
                  <a:lnTo>
                    <a:pt x="311" y="149"/>
                  </a:lnTo>
                  <a:lnTo>
                    <a:pt x="313" y="149"/>
                  </a:lnTo>
                  <a:lnTo>
                    <a:pt x="313" y="152"/>
                  </a:lnTo>
                  <a:lnTo>
                    <a:pt x="311" y="152"/>
                  </a:lnTo>
                  <a:lnTo>
                    <a:pt x="311" y="154"/>
                  </a:lnTo>
                  <a:lnTo>
                    <a:pt x="311" y="152"/>
                  </a:lnTo>
                  <a:lnTo>
                    <a:pt x="311" y="154"/>
                  </a:lnTo>
                  <a:lnTo>
                    <a:pt x="309" y="154"/>
                  </a:lnTo>
                  <a:lnTo>
                    <a:pt x="311" y="154"/>
                  </a:lnTo>
                  <a:lnTo>
                    <a:pt x="311" y="156"/>
                  </a:lnTo>
                  <a:lnTo>
                    <a:pt x="311" y="159"/>
                  </a:lnTo>
                  <a:lnTo>
                    <a:pt x="311" y="161"/>
                  </a:lnTo>
                  <a:lnTo>
                    <a:pt x="311" y="163"/>
                  </a:lnTo>
                  <a:lnTo>
                    <a:pt x="313" y="163"/>
                  </a:lnTo>
                  <a:lnTo>
                    <a:pt x="313" y="166"/>
                  </a:lnTo>
                  <a:lnTo>
                    <a:pt x="316" y="166"/>
                  </a:lnTo>
                  <a:lnTo>
                    <a:pt x="313" y="166"/>
                  </a:lnTo>
                  <a:lnTo>
                    <a:pt x="313" y="168"/>
                  </a:lnTo>
                  <a:lnTo>
                    <a:pt x="316" y="168"/>
                  </a:lnTo>
                  <a:lnTo>
                    <a:pt x="316" y="171"/>
                  </a:lnTo>
                  <a:lnTo>
                    <a:pt x="316" y="168"/>
                  </a:lnTo>
                  <a:lnTo>
                    <a:pt x="316" y="171"/>
                  </a:lnTo>
                  <a:lnTo>
                    <a:pt x="316" y="173"/>
                  </a:lnTo>
                  <a:lnTo>
                    <a:pt x="313" y="173"/>
                  </a:lnTo>
                  <a:lnTo>
                    <a:pt x="313" y="175"/>
                  </a:lnTo>
                  <a:lnTo>
                    <a:pt x="316" y="175"/>
                  </a:lnTo>
                  <a:lnTo>
                    <a:pt x="316" y="178"/>
                  </a:lnTo>
                  <a:lnTo>
                    <a:pt x="316" y="175"/>
                  </a:lnTo>
                  <a:lnTo>
                    <a:pt x="316" y="178"/>
                  </a:lnTo>
                  <a:lnTo>
                    <a:pt x="316" y="180"/>
                  </a:lnTo>
                  <a:lnTo>
                    <a:pt x="318" y="180"/>
                  </a:lnTo>
                  <a:lnTo>
                    <a:pt x="318" y="182"/>
                  </a:lnTo>
                  <a:lnTo>
                    <a:pt x="321" y="182"/>
                  </a:lnTo>
                  <a:lnTo>
                    <a:pt x="321" y="185"/>
                  </a:lnTo>
                  <a:lnTo>
                    <a:pt x="321" y="182"/>
                  </a:lnTo>
                  <a:lnTo>
                    <a:pt x="321" y="185"/>
                  </a:lnTo>
                  <a:lnTo>
                    <a:pt x="321" y="182"/>
                  </a:lnTo>
                  <a:lnTo>
                    <a:pt x="321" y="185"/>
                  </a:lnTo>
                  <a:lnTo>
                    <a:pt x="321" y="187"/>
                  </a:lnTo>
                  <a:lnTo>
                    <a:pt x="321" y="185"/>
                  </a:lnTo>
                  <a:lnTo>
                    <a:pt x="321" y="187"/>
                  </a:lnTo>
                  <a:lnTo>
                    <a:pt x="323" y="187"/>
                  </a:lnTo>
                  <a:lnTo>
                    <a:pt x="323" y="190"/>
                  </a:lnTo>
                  <a:lnTo>
                    <a:pt x="325" y="192"/>
                  </a:lnTo>
                  <a:lnTo>
                    <a:pt x="325" y="194"/>
                  </a:lnTo>
                  <a:lnTo>
                    <a:pt x="328" y="194"/>
                  </a:lnTo>
                  <a:lnTo>
                    <a:pt x="328" y="197"/>
                  </a:lnTo>
                  <a:lnTo>
                    <a:pt x="330" y="197"/>
                  </a:lnTo>
                  <a:lnTo>
                    <a:pt x="330" y="199"/>
                  </a:lnTo>
                  <a:lnTo>
                    <a:pt x="328" y="199"/>
                  </a:lnTo>
                  <a:lnTo>
                    <a:pt x="328" y="197"/>
                  </a:lnTo>
                  <a:lnTo>
                    <a:pt x="325" y="199"/>
                  </a:lnTo>
                  <a:lnTo>
                    <a:pt x="325" y="197"/>
                  </a:lnTo>
                  <a:lnTo>
                    <a:pt x="325" y="199"/>
                  </a:lnTo>
                  <a:lnTo>
                    <a:pt x="325" y="197"/>
                  </a:lnTo>
                  <a:lnTo>
                    <a:pt x="325" y="199"/>
                  </a:lnTo>
                  <a:lnTo>
                    <a:pt x="325" y="197"/>
                  </a:lnTo>
                  <a:lnTo>
                    <a:pt x="325" y="199"/>
                  </a:lnTo>
                  <a:lnTo>
                    <a:pt x="325" y="197"/>
                  </a:lnTo>
                  <a:lnTo>
                    <a:pt x="325" y="199"/>
                  </a:lnTo>
                  <a:lnTo>
                    <a:pt x="323" y="199"/>
                  </a:lnTo>
                  <a:lnTo>
                    <a:pt x="325" y="201"/>
                  </a:lnTo>
                  <a:lnTo>
                    <a:pt x="325" y="204"/>
                  </a:lnTo>
                  <a:lnTo>
                    <a:pt x="328" y="204"/>
                  </a:lnTo>
                  <a:lnTo>
                    <a:pt x="328" y="206"/>
                  </a:lnTo>
                  <a:lnTo>
                    <a:pt x="328" y="209"/>
                  </a:lnTo>
                  <a:lnTo>
                    <a:pt x="328" y="211"/>
                  </a:lnTo>
                  <a:lnTo>
                    <a:pt x="328" y="213"/>
                  </a:lnTo>
                  <a:lnTo>
                    <a:pt x="328" y="216"/>
                  </a:lnTo>
                  <a:lnTo>
                    <a:pt x="328" y="218"/>
                  </a:lnTo>
                  <a:lnTo>
                    <a:pt x="325" y="218"/>
                  </a:lnTo>
                  <a:lnTo>
                    <a:pt x="323" y="218"/>
                  </a:lnTo>
                  <a:lnTo>
                    <a:pt x="318" y="218"/>
                  </a:lnTo>
                  <a:lnTo>
                    <a:pt x="318" y="220"/>
                  </a:lnTo>
                  <a:lnTo>
                    <a:pt x="316" y="220"/>
                  </a:lnTo>
                  <a:lnTo>
                    <a:pt x="316" y="223"/>
                  </a:lnTo>
                  <a:lnTo>
                    <a:pt x="313" y="223"/>
                  </a:lnTo>
                  <a:lnTo>
                    <a:pt x="313" y="225"/>
                  </a:lnTo>
                  <a:lnTo>
                    <a:pt x="311" y="225"/>
                  </a:lnTo>
                  <a:lnTo>
                    <a:pt x="311" y="228"/>
                  </a:lnTo>
                  <a:lnTo>
                    <a:pt x="309" y="228"/>
                  </a:lnTo>
                  <a:lnTo>
                    <a:pt x="306" y="230"/>
                  </a:lnTo>
                  <a:lnTo>
                    <a:pt x="304" y="232"/>
                  </a:lnTo>
                  <a:lnTo>
                    <a:pt x="302" y="235"/>
                  </a:lnTo>
                  <a:lnTo>
                    <a:pt x="299" y="237"/>
                  </a:lnTo>
                  <a:lnTo>
                    <a:pt x="297" y="239"/>
                  </a:lnTo>
                  <a:lnTo>
                    <a:pt x="297" y="242"/>
                  </a:lnTo>
                  <a:lnTo>
                    <a:pt x="294" y="242"/>
                  </a:lnTo>
                  <a:lnTo>
                    <a:pt x="294" y="244"/>
                  </a:lnTo>
                  <a:lnTo>
                    <a:pt x="292" y="247"/>
                  </a:lnTo>
                  <a:lnTo>
                    <a:pt x="292" y="249"/>
                  </a:lnTo>
                  <a:lnTo>
                    <a:pt x="290" y="249"/>
                  </a:lnTo>
                  <a:lnTo>
                    <a:pt x="290" y="251"/>
                  </a:lnTo>
                  <a:lnTo>
                    <a:pt x="287" y="251"/>
                  </a:lnTo>
                  <a:lnTo>
                    <a:pt x="287" y="254"/>
                  </a:lnTo>
                  <a:lnTo>
                    <a:pt x="285" y="254"/>
                  </a:lnTo>
                  <a:lnTo>
                    <a:pt x="285" y="256"/>
                  </a:lnTo>
                  <a:lnTo>
                    <a:pt x="283" y="258"/>
                  </a:lnTo>
                  <a:lnTo>
                    <a:pt x="283" y="261"/>
                  </a:lnTo>
                  <a:lnTo>
                    <a:pt x="280" y="261"/>
                  </a:lnTo>
                  <a:lnTo>
                    <a:pt x="280" y="263"/>
                  </a:lnTo>
                  <a:lnTo>
                    <a:pt x="283" y="263"/>
                  </a:lnTo>
                  <a:lnTo>
                    <a:pt x="283" y="266"/>
                  </a:lnTo>
                  <a:lnTo>
                    <a:pt x="285" y="268"/>
                  </a:lnTo>
                  <a:lnTo>
                    <a:pt x="285" y="270"/>
                  </a:lnTo>
                  <a:lnTo>
                    <a:pt x="285" y="273"/>
                  </a:lnTo>
                  <a:lnTo>
                    <a:pt x="283" y="275"/>
                  </a:lnTo>
                  <a:lnTo>
                    <a:pt x="283" y="278"/>
                  </a:lnTo>
                  <a:lnTo>
                    <a:pt x="285" y="278"/>
                  </a:lnTo>
                  <a:lnTo>
                    <a:pt x="283" y="278"/>
                  </a:lnTo>
                  <a:lnTo>
                    <a:pt x="283" y="280"/>
                  </a:lnTo>
                  <a:lnTo>
                    <a:pt x="283" y="278"/>
                  </a:lnTo>
                  <a:lnTo>
                    <a:pt x="285" y="278"/>
                  </a:lnTo>
                  <a:lnTo>
                    <a:pt x="285" y="280"/>
                  </a:lnTo>
                  <a:lnTo>
                    <a:pt x="283" y="280"/>
                  </a:lnTo>
                  <a:lnTo>
                    <a:pt x="285" y="280"/>
                  </a:lnTo>
                  <a:lnTo>
                    <a:pt x="287" y="280"/>
                  </a:lnTo>
                  <a:lnTo>
                    <a:pt x="287" y="282"/>
                  </a:lnTo>
                  <a:lnTo>
                    <a:pt x="287" y="280"/>
                  </a:lnTo>
                  <a:lnTo>
                    <a:pt x="287" y="282"/>
                  </a:lnTo>
                  <a:lnTo>
                    <a:pt x="290" y="282"/>
                  </a:lnTo>
                  <a:lnTo>
                    <a:pt x="287" y="282"/>
                  </a:lnTo>
                  <a:lnTo>
                    <a:pt x="290" y="282"/>
                  </a:lnTo>
                  <a:lnTo>
                    <a:pt x="287" y="282"/>
                  </a:lnTo>
                  <a:lnTo>
                    <a:pt x="287" y="285"/>
                  </a:lnTo>
                  <a:lnTo>
                    <a:pt x="287" y="287"/>
                  </a:lnTo>
                  <a:lnTo>
                    <a:pt x="290" y="287"/>
                  </a:lnTo>
                  <a:lnTo>
                    <a:pt x="287" y="287"/>
                  </a:lnTo>
                  <a:lnTo>
                    <a:pt x="287" y="285"/>
                  </a:lnTo>
                  <a:lnTo>
                    <a:pt x="285" y="285"/>
                  </a:lnTo>
                  <a:lnTo>
                    <a:pt x="283" y="285"/>
                  </a:lnTo>
                  <a:lnTo>
                    <a:pt x="280" y="285"/>
                  </a:lnTo>
                  <a:lnTo>
                    <a:pt x="280" y="282"/>
                  </a:lnTo>
                  <a:lnTo>
                    <a:pt x="278" y="282"/>
                  </a:lnTo>
                  <a:lnTo>
                    <a:pt x="275" y="282"/>
                  </a:lnTo>
                  <a:lnTo>
                    <a:pt x="273" y="282"/>
                  </a:lnTo>
                  <a:lnTo>
                    <a:pt x="273" y="280"/>
                  </a:lnTo>
                  <a:lnTo>
                    <a:pt x="271" y="280"/>
                  </a:lnTo>
                  <a:lnTo>
                    <a:pt x="268" y="280"/>
                  </a:lnTo>
                  <a:lnTo>
                    <a:pt x="266" y="280"/>
                  </a:lnTo>
                  <a:lnTo>
                    <a:pt x="266" y="278"/>
                  </a:lnTo>
                  <a:lnTo>
                    <a:pt x="264" y="278"/>
                  </a:lnTo>
                  <a:lnTo>
                    <a:pt x="261" y="278"/>
                  </a:lnTo>
                  <a:lnTo>
                    <a:pt x="261" y="275"/>
                  </a:lnTo>
                  <a:lnTo>
                    <a:pt x="261" y="273"/>
                  </a:lnTo>
                  <a:lnTo>
                    <a:pt x="259" y="273"/>
                  </a:lnTo>
                  <a:lnTo>
                    <a:pt x="259" y="270"/>
                  </a:lnTo>
                  <a:lnTo>
                    <a:pt x="257" y="270"/>
                  </a:lnTo>
                  <a:lnTo>
                    <a:pt x="254" y="268"/>
                  </a:lnTo>
                  <a:lnTo>
                    <a:pt x="252" y="270"/>
                  </a:lnTo>
                  <a:lnTo>
                    <a:pt x="252" y="268"/>
                  </a:lnTo>
                  <a:lnTo>
                    <a:pt x="249" y="268"/>
                  </a:lnTo>
                  <a:lnTo>
                    <a:pt x="247" y="266"/>
                  </a:lnTo>
                  <a:lnTo>
                    <a:pt x="245" y="266"/>
                  </a:lnTo>
                  <a:lnTo>
                    <a:pt x="245" y="268"/>
                  </a:lnTo>
                  <a:lnTo>
                    <a:pt x="242" y="266"/>
                  </a:lnTo>
                  <a:lnTo>
                    <a:pt x="242" y="268"/>
                  </a:lnTo>
                  <a:lnTo>
                    <a:pt x="240" y="268"/>
                  </a:lnTo>
                  <a:lnTo>
                    <a:pt x="240" y="266"/>
                  </a:lnTo>
                  <a:lnTo>
                    <a:pt x="238" y="266"/>
                  </a:lnTo>
                  <a:lnTo>
                    <a:pt x="235" y="266"/>
                  </a:lnTo>
                  <a:lnTo>
                    <a:pt x="233" y="266"/>
                  </a:lnTo>
                  <a:lnTo>
                    <a:pt x="233" y="268"/>
                  </a:lnTo>
                  <a:lnTo>
                    <a:pt x="230" y="266"/>
                  </a:lnTo>
                  <a:lnTo>
                    <a:pt x="228" y="266"/>
                  </a:lnTo>
                  <a:lnTo>
                    <a:pt x="228" y="268"/>
                  </a:lnTo>
                  <a:lnTo>
                    <a:pt x="230" y="268"/>
                  </a:lnTo>
                  <a:lnTo>
                    <a:pt x="230" y="270"/>
                  </a:lnTo>
                  <a:lnTo>
                    <a:pt x="228" y="270"/>
                  </a:lnTo>
                  <a:lnTo>
                    <a:pt x="226" y="270"/>
                  </a:lnTo>
                  <a:lnTo>
                    <a:pt x="226" y="273"/>
                  </a:lnTo>
                  <a:lnTo>
                    <a:pt x="223" y="273"/>
                  </a:lnTo>
                  <a:lnTo>
                    <a:pt x="223" y="270"/>
                  </a:lnTo>
                  <a:lnTo>
                    <a:pt x="223" y="273"/>
                  </a:lnTo>
                  <a:lnTo>
                    <a:pt x="223" y="270"/>
                  </a:lnTo>
                  <a:lnTo>
                    <a:pt x="221" y="270"/>
                  </a:lnTo>
                  <a:lnTo>
                    <a:pt x="219" y="270"/>
                  </a:lnTo>
                  <a:lnTo>
                    <a:pt x="221" y="270"/>
                  </a:lnTo>
                  <a:lnTo>
                    <a:pt x="219" y="270"/>
                  </a:lnTo>
                  <a:lnTo>
                    <a:pt x="219" y="268"/>
                  </a:lnTo>
                  <a:lnTo>
                    <a:pt x="219" y="270"/>
                  </a:lnTo>
                  <a:lnTo>
                    <a:pt x="219" y="268"/>
                  </a:lnTo>
                  <a:lnTo>
                    <a:pt x="216" y="268"/>
                  </a:lnTo>
                  <a:lnTo>
                    <a:pt x="214" y="268"/>
                  </a:lnTo>
                  <a:lnTo>
                    <a:pt x="211" y="268"/>
                  </a:lnTo>
                  <a:lnTo>
                    <a:pt x="209" y="268"/>
                  </a:lnTo>
                  <a:lnTo>
                    <a:pt x="207" y="268"/>
                  </a:lnTo>
                  <a:lnTo>
                    <a:pt x="204" y="268"/>
                  </a:lnTo>
                  <a:lnTo>
                    <a:pt x="204" y="270"/>
                  </a:lnTo>
                  <a:lnTo>
                    <a:pt x="202" y="270"/>
                  </a:lnTo>
                  <a:lnTo>
                    <a:pt x="200" y="270"/>
                  </a:lnTo>
                  <a:lnTo>
                    <a:pt x="200" y="273"/>
                  </a:lnTo>
                  <a:lnTo>
                    <a:pt x="197" y="273"/>
                  </a:lnTo>
                  <a:lnTo>
                    <a:pt x="197" y="275"/>
                  </a:lnTo>
                  <a:lnTo>
                    <a:pt x="197" y="278"/>
                  </a:lnTo>
                  <a:lnTo>
                    <a:pt x="195" y="278"/>
                  </a:lnTo>
                  <a:lnTo>
                    <a:pt x="192" y="278"/>
                  </a:lnTo>
                  <a:lnTo>
                    <a:pt x="192" y="275"/>
                  </a:lnTo>
                  <a:lnTo>
                    <a:pt x="190" y="275"/>
                  </a:lnTo>
                  <a:lnTo>
                    <a:pt x="190" y="278"/>
                  </a:lnTo>
                  <a:lnTo>
                    <a:pt x="188" y="278"/>
                  </a:lnTo>
                  <a:lnTo>
                    <a:pt x="185" y="278"/>
                  </a:lnTo>
                  <a:lnTo>
                    <a:pt x="185" y="275"/>
                  </a:lnTo>
                  <a:lnTo>
                    <a:pt x="188" y="275"/>
                  </a:lnTo>
                  <a:lnTo>
                    <a:pt x="188" y="273"/>
                  </a:lnTo>
                  <a:lnTo>
                    <a:pt x="188" y="270"/>
                  </a:lnTo>
                  <a:lnTo>
                    <a:pt x="188" y="268"/>
                  </a:lnTo>
                  <a:lnTo>
                    <a:pt x="185" y="268"/>
                  </a:lnTo>
                  <a:lnTo>
                    <a:pt x="183" y="268"/>
                  </a:lnTo>
                  <a:lnTo>
                    <a:pt x="181" y="268"/>
                  </a:lnTo>
                  <a:lnTo>
                    <a:pt x="183" y="266"/>
                  </a:lnTo>
                  <a:lnTo>
                    <a:pt x="181" y="266"/>
                  </a:lnTo>
                  <a:lnTo>
                    <a:pt x="178" y="263"/>
                  </a:lnTo>
                  <a:lnTo>
                    <a:pt x="178" y="261"/>
                  </a:lnTo>
                  <a:lnTo>
                    <a:pt x="178" y="258"/>
                  </a:lnTo>
                  <a:lnTo>
                    <a:pt x="176" y="258"/>
                  </a:lnTo>
                  <a:lnTo>
                    <a:pt x="173" y="258"/>
                  </a:lnTo>
                  <a:lnTo>
                    <a:pt x="173" y="261"/>
                  </a:lnTo>
                  <a:lnTo>
                    <a:pt x="171" y="261"/>
                  </a:lnTo>
                  <a:lnTo>
                    <a:pt x="169" y="261"/>
                  </a:lnTo>
                  <a:lnTo>
                    <a:pt x="169" y="263"/>
                  </a:lnTo>
                  <a:lnTo>
                    <a:pt x="169" y="266"/>
                  </a:lnTo>
                  <a:lnTo>
                    <a:pt x="166" y="266"/>
                  </a:lnTo>
                  <a:lnTo>
                    <a:pt x="166" y="268"/>
                  </a:lnTo>
                  <a:lnTo>
                    <a:pt x="164" y="268"/>
                  </a:lnTo>
                  <a:lnTo>
                    <a:pt x="162" y="268"/>
                  </a:lnTo>
                  <a:lnTo>
                    <a:pt x="159" y="268"/>
                  </a:lnTo>
                  <a:lnTo>
                    <a:pt x="159" y="266"/>
                  </a:lnTo>
                  <a:lnTo>
                    <a:pt x="159" y="263"/>
                  </a:lnTo>
                  <a:lnTo>
                    <a:pt x="159" y="261"/>
                  </a:lnTo>
                  <a:lnTo>
                    <a:pt x="157" y="261"/>
                  </a:lnTo>
                  <a:lnTo>
                    <a:pt x="157" y="263"/>
                  </a:lnTo>
                  <a:lnTo>
                    <a:pt x="157" y="261"/>
                  </a:lnTo>
                  <a:lnTo>
                    <a:pt x="154" y="261"/>
                  </a:lnTo>
                  <a:lnTo>
                    <a:pt x="157" y="261"/>
                  </a:lnTo>
                  <a:lnTo>
                    <a:pt x="154" y="261"/>
                  </a:lnTo>
                  <a:lnTo>
                    <a:pt x="154" y="258"/>
                  </a:lnTo>
                  <a:lnTo>
                    <a:pt x="154" y="256"/>
                  </a:lnTo>
                  <a:lnTo>
                    <a:pt x="154" y="254"/>
                  </a:lnTo>
                  <a:lnTo>
                    <a:pt x="152" y="254"/>
                  </a:lnTo>
                  <a:lnTo>
                    <a:pt x="150" y="254"/>
                  </a:lnTo>
                  <a:lnTo>
                    <a:pt x="147" y="251"/>
                  </a:lnTo>
                  <a:lnTo>
                    <a:pt x="147" y="249"/>
                  </a:lnTo>
                  <a:lnTo>
                    <a:pt x="147" y="247"/>
                  </a:lnTo>
                  <a:lnTo>
                    <a:pt x="147" y="244"/>
                  </a:lnTo>
                  <a:lnTo>
                    <a:pt x="145" y="244"/>
                  </a:lnTo>
                  <a:lnTo>
                    <a:pt x="147" y="244"/>
                  </a:lnTo>
                  <a:lnTo>
                    <a:pt x="147" y="242"/>
                  </a:lnTo>
                  <a:lnTo>
                    <a:pt x="145" y="242"/>
                  </a:lnTo>
                  <a:lnTo>
                    <a:pt x="145" y="244"/>
                  </a:lnTo>
                  <a:lnTo>
                    <a:pt x="143" y="244"/>
                  </a:lnTo>
                  <a:lnTo>
                    <a:pt x="143" y="242"/>
                  </a:lnTo>
                  <a:lnTo>
                    <a:pt x="140" y="242"/>
                  </a:lnTo>
                  <a:lnTo>
                    <a:pt x="138" y="242"/>
                  </a:lnTo>
                  <a:lnTo>
                    <a:pt x="140" y="242"/>
                  </a:lnTo>
                  <a:lnTo>
                    <a:pt x="138" y="242"/>
                  </a:lnTo>
                  <a:lnTo>
                    <a:pt x="138" y="239"/>
                  </a:lnTo>
                  <a:lnTo>
                    <a:pt x="135" y="239"/>
                  </a:lnTo>
                  <a:lnTo>
                    <a:pt x="133" y="239"/>
                  </a:lnTo>
                  <a:lnTo>
                    <a:pt x="131" y="239"/>
                  </a:lnTo>
                  <a:lnTo>
                    <a:pt x="131" y="237"/>
                  </a:lnTo>
                  <a:lnTo>
                    <a:pt x="128" y="237"/>
                  </a:lnTo>
                  <a:lnTo>
                    <a:pt x="128" y="235"/>
                  </a:lnTo>
                  <a:lnTo>
                    <a:pt x="128" y="237"/>
                  </a:lnTo>
                  <a:lnTo>
                    <a:pt x="128" y="239"/>
                  </a:lnTo>
                  <a:lnTo>
                    <a:pt x="128" y="237"/>
                  </a:lnTo>
                  <a:lnTo>
                    <a:pt x="126" y="237"/>
                  </a:lnTo>
                  <a:lnTo>
                    <a:pt x="126" y="239"/>
                  </a:lnTo>
                  <a:lnTo>
                    <a:pt x="124" y="239"/>
                  </a:lnTo>
                  <a:lnTo>
                    <a:pt x="121" y="239"/>
                  </a:lnTo>
                  <a:lnTo>
                    <a:pt x="121" y="237"/>
                  </a:lnTo>
                  <a:lnTo>
                    <a:pt x="119" y="237"/>
                  </a:lnTo>
                  <a:lnTo>
                    <a:pt x="121" y="237"/>
                  </a:lnTo>
                  <a:lnTo>
                    <a:pt x="119" y="237"/>
                  </a:lnTo>
                  <a:lnTo>
                    <a:pt x="119" y="235"/>
                  </a:lnTo>
                  <a:lnTo>
                    <a:pt x="117" y="232"/>
                  </a:lnTo>
                  <a:lnTo>
                    <a:pt x="117" y="235"/>
                  </a:lnTo>
                  <a:lnTo>
                    <a:pt x="117" y="232"/>
                  </a:lnTo>
                  <a:lnTo>
                    <a:pt x="114" y="232"/>
                  </a:lnTo>
                  <a:lnTo>
                    <a:pt x="114" y="230"/>
                  </a:lnTo>
                  <a:lnTo>
                    <a:pt x="117" y="230"/>
                  </a:lnTo>
                  <a:lnTo>
                    <a:pt x="119" y="230"/>
                  </a:lnTo>
                  <a:lnTo>
                    <a:pt x="119" y="228"/>
                  </a:lnTo>
                  <a:lnTo>
                    <a:pt x="119" y="230"/>
                  </a:lnTo>
                  <a:lnTo>
                    <a:pt x="119" y="228"/>
                  </a:lnTo>
                  <a:lnTo>
                    <a:pt x="119" y="225"/>
                  </a:lnTo>
                  <a:lnTo>
                    <a:pt x="119" y="223"/>
                  </a:lnTo>
                  <a:lnTo>
                    <a:pt x="117" y="223"/>
                  </a:lnTo>
                  <a:lnTo>
                    <a:pt x="117" y="225"/>
                  </a:lnTo>
                  <a:lnTo>
                    <a:pt x="114" y="225"/>
                  </a:lnTo>
                  <a:lnTo>
                    <a:pt x="112" y="225"/>
                  </a:lnTo>
                  <a:lnTo>
                    <a:pt x="109" y="225"/>
                  </a:lnTo>
                  <a:lnTo>
                    <a:pt x="109" y="228"/>
                  </a:lnTo>
                  <a:lnTo>
                    <a:pt x="109" y="225"/>
                  </a:lnTo>
                  <a:lnTo>
                    <a:pt x="107" y="225"/>
                  </a:lnTo>
                  <a:lnTo>
                    <a:pt x="105" y="225"/>
                  </a:lnTo>
                  <a:lnTo>
                    <a:pt x="107" y="225"/>
                  </a:lnTo>
                  <a:lnTo>
                    <a:pt x="107" y="223"/>
                  </a:lnTo>
                  <a:lnTo>
                    <a:pt x="105" y="223"/>
                  </a:lnTo>
                  <a:lnTo>
                    <a:pt x="102" y="223"/>
                  </a:lnTo>
                  <a:lnTo>
                    <a:pt x="102" y="220"/>
                  </a:lnTo>
                  <a:lnTo>
                    <a:pt x="100" y="220"/>
                  </a:lnTo>
                  <a:lnTo>
                    <a:pt x="102" y="220"/>
                  </a:lnTo>
                  <a:lnTo>
                    <a:pt x="100" y="220"/>
                  </a:lnTo>
                  <a:lnTo>
                    <a:pt x="98" y="220"/>
                  </a:lnTo>
                  <a:lnTo>
                    <a:pt x="98" y="218"/>
                  </a:lnTo>
                  <a:lnTo>
                    <a:pt x="95" y="218"/>
                  </a:lnTo>
                  <a:lnTo>
                    <a:pt x="93" y="218"/>
                  </a:lnTo>
                  <a:lnTo>
                    <a:pt x="90" y="218"/>
                  </a:lnTo>
                  <a:lnTo>
                    <a:pt x="90" y="220"/>
                  </a:lnTo>
                  <a:lnTo>
                    <a:pt x="93" y="220"/>
                  </a:lnTo>
                  <a:lnTo>
                    <a:pt x="93" y="223"/>
                  </a:lnTo>
                  <a:lnTo>
                    <a:pt x="95" y="225"/>
                  </a:lnTo>
                  <a:lnTo>
                    <a:pt x="95" y="228"/>
                  </a:lnTo>
                  <a:lnTo>
                    <a:pt x="93" y="228"/>
                  </a:lnTo>
                  <a:lnTo>
                    <a:pt x="90" y="228"/>
                  </a:lnTo>
                  <a:lnTo>
                    <a:pt x="90" y="230"/>
                  </a:lnTo>
                  <a:lnTo>
                    <a:pt x="90" y="228"/>
                  </a:lnTo>
                  <a:lnTo>
                    <a:pt x="88" y="230"/>
                  </a:lnTo>
                  <a:lnTo>
                    <a:pt x="88" y="232"/>
                  </a:lnTo>
                  <a:lnTo>
                    <a:pt x="86" y="232"/>
                  </a:lnTo>
                  <a:lnTo>
                    <a:pt x="86" y="235"/>
                  </a:lnTo>
                  <a:lnTo>
                    <a:pt x="83" y="235"/>
                  </a:lnTo>
                  <a:lnTo>
                    <a:pt x="83" y="232"/>
                  </a:lnTo>
                  <a:lnTo>
                    <a:pt x="81" y="232"/>
                  </a:lnTo>
                  <a:lnTo>
                    <a:pt x="81" y="230"/>
                  </a:lnTo>
                  <a:lnTo>
                    <a:pt x="81" y="228"/>
                  </a:lnTo>
                  <a:lnTo>
                    <a:pt x="79" y="228"/>
                  </a:lnTo>
                  <a:lnTo>
                    <a:pt x="79" y="225"/>
                  </a:lnTo>
                  <a:lnTo>
                    <a:pt x="76" y="225"/>
                  </a:lnTo>
                  <a:lnTo>
                    <a:pt x="76" y="223"/>
                  </a:lnTo>
                  <a:lnTo>
                    <a:pt x="74" y="223"/>
                  </a:lnTo>
                  <a:lnTo>
                    <a:pt x="74" y="220"/>
                  </a:lnTo>
                  <a:lnTo>
                    <a:pt x="71" y="220"/>
                  </a:lnTo>
                  <a:lnTo>
                    <a:pt x="69" y="220"/>
                  </a:lnTo>
                  <a:lnTo>
                    <a:pt x="69" y="218"/>
                  </a:lnTo>
                  <a:lnTo>
                    <a:pt x="69" y="216"/>
                  </a:lnTo>
                  <a:lnTo>
                    <a:pt x="69" y="218"/>
                  </a:lnTo>
                  <a:lnTo>
                    <a:pt x="69" y="216"/>
                  </a:lnTo>
                  <a:lnTo>
                    <a:pt x="71" y="216"/>
                  </a:lnTo>
                  <a:lnTo>
                    <a:pt x="71" y="213"/>
                  </a:lnTo>
                  <a:lnTo>
                    <a:pt x="74" y="213"/>
                  </a:lnTo>
                  <a:lnTo>
                    <a:pt x="74" y="211"/>
                  </a:lnTo>
                  <a:lnTo>
                    <a:pt x="76" y="211"/>
                  </a:lnTo>
                  <a:lnTo>
                    <a:pt x="74" y="211"/>
                  </a:lnTo>
                  <a:lnTo>
                    <a:pt x="76" y="211"/>
                  </a:lnTo>
                  <a:lnTo>
                    <a:pt x="76" y="209"/>
                  </a:lnTo>
                  <a:lnTo>
                    <a:pt x="74" y="209"/>
                  </a:lnTo>
                  <a:lnTo>
                    <a:pt x="74" y="206"/>
                  </a:lnTo>
                  <a:lnTo>
                    <a:pt x="71" y="206"/>
                  </a:lnTo>
                  <a:lnTo>
                    <a:pt x="69" y="206"/>
                  </a:lnTo>
                  <a:lnTo>
                    <a:pt x="69" y="209"/>
                  </a:lnTo>
                  <a:lnTo>
                    <a:pt x="67" y="209"/>
                  </a:lnTo>
                  <a:lnTo>
                    <a:pt x="67" y="206"/>
                  </a:lnTo>
                  <a:lnTo>
                    <a:pt x="64" y="206"/>
                  </a:lnTo>
                  <a:lnTo>
                    <a:pt x="64" y="209"/>
                  </a:lnTo>
                  <a:lnTo>
                    <a:pt x="62" y="209"/>
                  </a:lnTo>
                  <a:lnTo>
                    <a:pt x="62" y="206"/>
                  </a:lnTo>
                  <a:lnTo>
                    <a:pt x="60" y="206"/>
                  </a:lnTo>
                  <a:lnTo>
                    <a:pt x="57" y="206"/>
                  </a:lnTo>
                  <a:lnTo>
                    <a:pt x="57" y="204"/>
                  </a:lnTo>
                  <a:lnTo>
                    <a:pt x="55" y="204"/>
                  </a:lnTo>
                  <a:lnTo>
                    <a:pt x="55" y="201"/>
                  </a:lnTo>
                  <a:lnTo>
                    <a:pt x="52" y="201"/>
                  </a:lnTo>
                  <a:lnTo>
                    <a:pt x="52" y="204"/>
                  </a:lnTo>
                  <a:lnTo>
                    <a:pt x="50" y="201"/>
                  </a:lnTo>
                  <a:lnTo>
                    <a:pt x="48" y="201"/>
                  </a:lnTo>
                  <a:lnTo>
                    <a:pt x="45" y="201"/>
                  </a:lnTo>
                  <a:lnTo>
                    <a:pt x="45" y="199"/>
                  </a:lnTo>
                  <a:lnTo>
                    <a:pt x="45" y="201"/>
                  </a:lnTo>
                  <a:lnTo>
                    <a:pt x="45" y="199"/>
                  </a:lnTo>
                  <a:lnTo>
                    <a:pt x="43" y="199"/>
                  </a:lnTo>
                  <a:lnTo>
                    <a:pt x="43" y="201"/>
                  </a:lnTo>
                  <a:lnTo>
                    <a:pt x="41" y="201"/>
                  </a:lnTo>
                  <a:lnTo>
                    <a:pt x="41" y="199"/>
                  </a:lnTo>
                  <a:lnTo>
                    <a:pt x="41" y="197"/>
                  </a:lnTo>
                  <a:lnTo>
                    <a:pt x="38" y="197"/>
                  </a:lnTo>
                  <a:lnTo>
                    <a:pt x="38" y="194"/>
                  </a:lnTo>
                  <a:lnTo>
                    <a:pt x="38" y="192"/>
                  </a:lnTo>
                  <a:lnTo>
                    <a:pt x="36" y="192"/>
                  </a:lnTo>
                  <a:lnTo>
                    <a:pt x="36" y="190"/>
                  </a:lnTo>
                  <a:lnTo>
                    <a:pt x="36" y="192"/>
                  </a:lnTo>
                  <a:lnTo>
                    <a:pt x="33" y="192"/>
                  </a:lnTo>
                  <a:lnTo>
                    <a:pt x="33" y="190"/>
                  </a:lnTo>
                  <a:lnTo>
                    <a:pt x="31" y="190"/>
                  </a:lnTo>
                  <a:lnTo>
                    <a:pt x="29" y="190"/>
                  </a:lnTo>
                  <a:lnTo>
                    <a:pt x="29" y="192"/>
                  </a:lnTo>
                  <a:lnTo>
                    <a:pt x="29" y="190"/>
                  </a:lnTo>
                  <a:lnTo>
                    <a:pt x="29" y="192"/>
                  </a:lnTo>
                  <a:lnTo>
                    <a:pt x="29" y="194"/>
                  </a:lnTo>
                  <a:lnTo>
                    <a:pt x="29" y="197"/>
                  </a:lnTo>
                  <a:lnTo>
                    <a:pt x="26" y="197"/>
                  </a:lnTo>
                  <a:lnTo>
                    <a:pt x="24" y="197"/>
                  </a:lnTo>
                  <a:lnTo>
                    <a:pt x="22" y="197"/>
                  </a:lnTo>
                  <a:lnTo>
                    <a:pt x="22" y="194"/>
                  </a:lnTo>
                  <a:lnTo>
                    <a:pt x="24" y="194"/>
                  </a:lnTo>
                  <a:lnTo>
                    <a:pt x="24" y="192"/>
                  </a:lnTo>
                  <a:lnTo>
                    <a:pt x="26" y="192"/>
                  </a:lnTo>
                  <a:lnTo>
                    <a:pt x="26" y="190"/>
                  </a:lnTo>
                  <a:lnTo>
                    <a:pt x="26" y="187"/>
                  </a:lnTo>
                  <a:lnTo>
                    <a:pt x="29" y="187"/>
                  </a:lnTo>
                  <a:lnTo>
                    <a:pt x="26" y="187"/>
                  </a:lnTo>
                  <a:lnTo>
                    <a:pt x="29" y="187"/>
                  </a:lnTo>
                  <a:lnTo>
                    <a:pt x="29" y="185"/>
                  </a:lnTo>
                  <a:lnTo>
                    <a:pt x="29" y="182"/>
                  </a:lnTo>
                  <a:lnTo>
                    <a:pt x="29" y="180"/>
                  </a:lnTo>
                  <a:lnTo>
                    <a:pt x="29" y="178"/>
                  </a:lnTo>
                  <a:lnTo>
                    <a:pt x="31" y="178"/>
                  </a:lnTo>
                  <a:lnTo>
                    <a:pt x="29" y="178"/>
                  </a:lnTo>
                  <a:lnTo>
                    <a:pt x="29" y="175"/>
                  </a:lnTo>
                  <a:lnTo>
                    <a:pt x="29" y="173"/>
                  </a:lnTo>
                  <a:lnTo>
                    <a:pt x="26" y="173"/>
                  </a:lnTo>
                  <a:lnTo>
                    <a:pt x="29" y="173"/>
                  </a:lnTo>
                  <a:lnTo>
                    <a:pt x="29" y="171"/>
                  </a:lnTo>
                  <a:lnTo>
                    <a:pt x="26" y="171"/>
                  </a:lnTo>
                  <a:lnTo>
                    <a:pt x="26" y="168"/>
                  </a:lnTo>
                  <a:lnTo>
                    <a:pt x="29" y="168"/>
                  </a:lnTo>
                  <a:lnTo>
                    <a:pt x="26" y="168"/>
                  </a:lnTo>
                  <a:lnTo>
                    <a:pt x="26" y="166"/>
                  </a:lnTo>
                  <a:lnTo>
                    <a:pt x="24" y="166"/>
                  </a:lnTo>
                  <a:lnTo>
                    <a:pt x="22" y="166"/>
                  </a:lnTo>
                  <a:lnTo>
                    <a:pt x="22" y="163"/>
                  </a:lnTo>
                  <a:lnTo>
                    <a:pt x="22" y="166"/>
                  </a:lnTo>
                  <a:lnTo>
                    <a:pt x="22" y="163"/>
                  </a:lnTo>
                  <a:lnTo>
                    <a:pt x="22" y="166"/>
                  </a:lnTo>
                  <a:lnTo>
                    <a:pt x="22" y="163"/>
                  </a:lnTo>
                  <a:lnTo>
                    <a:pt x="19" y="163"/>
                  </a:lnTo>
                  <a:lnTo>
                    <a:pt x="19" y="161"/>
                  </a:lnTo>
                  <a:lnTo>
                    <a:pt x="22" y="161"/>
                  </a:lnTo>
                  <a:lnTo>
                    <a:pt x="22" y="159"/>
                  </a:lnTo>
                  <a:lnTo>
                    <a:pt x="19" y="159"/>
                  </a:lnTo>
                  <a:lnTo>
                    <a:pt x="22" y="159"/>
                  </a:lnTo>
                  <a:lnTo>
                    <a:pt x="19" y="159"/>
                  </a:lnTo>
                  <a:lnTo>
                    <a:pt x="22" y="159"/>
                  </a:lnTo>
                  <a:lnTo>
                    <a:pt x="19" y="156"/>
                  </a:lnTo>
                  <a:lnTo>
                    <a:pt x="19" y="154"/>
                  </a:lnTo>
                  <a:lnTo>
                    <a:pt x="17" y="154"/>
                  </a:lnTo>
                  <a:lnTo>
                    <a:pt x="17" y="152"/>
                  </a:lnTo>
                  <a:lnTo>
                    <a:pt x="14" y="152"/>
                  </a:lnTo>
                  <a:lnTo>
                    <a:pt x="14" y="149"/>
                  </a:lnTo>
                  <a:lnTo>
                    <a:pt x="17" y="149"/>
                  </a:lnTo>
                  <a:lnTo>
                    <a:pt x="14" y="149"/>
                  </a:lnTo>
                  <a:lnTo>
                    <a:pt x="17" y="149"/>
                  </a:lnTo>
                  <a:lnTo>
                    <a:pt x="17" y="147"/>
                  </a:lnTo>
                  <a:lnTo>
                    <a:pt x="19" y="147"/>
                  </a:lnTo>
                  <a:lnTo>
                    <a:pt x="19" y="144"/>
                  </a:lnTo>
                  <a:lnTo>
                    <a:pt x="19" y="142"/>
                  </a:lnTo>
                  <a:lnTo>
                    <a:pt x="19" y="140"/>
                  </a:lnTo>
                  <a:lnTo>
                    <a:pt x="19" y="137"/>
                  </a:lnTo>
                  <a:lnTo>
                    <a:pt x="22" y="137"/>
                  </a:lnTo>
                  <a:lnTo>
                    <a:pt x="19" y="137"/>
                  </a:lnTo>
                  <a:lnTo>
                    <a:pt x="19" y="135"/>
                  </a:lnTo>
                  <a:lnTo>
                    <a:pt x="17" y="135"/>
                  </a:lnTo>
                  <a:lnTo>
                    <a:pt x="19" y="135"/>
                  </a:lnTo>
                  <a:lnTo>
                    <a:pt x="17" y="135"/>
                  </a:lnTo>
                  <a:lnTo>
                    <a:pt x="17" y="133"/>
                  </a:lnTo>
                  <a:lnTo>
                    <a:pt x="19" y="133"/>
                  </a:lnTo>
                  <a:lnTo>
                    <a:pt x="19" y="130"/>
                  </a:lnTo>
                  <a:lnTo>
                    <a:pt x="19" y="128"/>
                  </a:lnTo>
                  <a:lnTo>
                    <a:pt x="17" y="128"/>
                  </a:lnTo>
                  <a:lnTo>
                    <a:pt x="14" y="128"/>
                  </a:lnTo>
                  <a:lnTo>
                    <a:pt x="14" y="125"/>
                  </a:lnTo>
                  <a:lnTo>
                    <a:pt x="14" y="123"/>
                  </a:lnTo>
                  <a:lnTo>
                    <a:pt x="12" y="121"/>
                  </a:lnTo>
                  <a:lnTo>
                    <a:pt x="14" y="121"/>
                  </a:lnTo>
                  <a:lnTo>
                    <a:pt x="14" y="118"/>
                  </a:lnTo>
                  <a:lnTo>
                    <a:pt x="17" y="118"/>
                  </a:lnTo>
                  <a:lnTo>
                    <a:pt x="17" y="116"/>
                  </a:lnTo>
                  <a:lnTo>
                    <a:pt x="14" y="114"/>
                  </a:lnTo>
                  <a:lnTo>
                    <a:pt x="17" y="114"/>
                  </a:lnTo>
                  <a:lnTo>
                    <a:pt x="17" y="111"/>
                  </a:lnTo>
                  <a:lnTo>
                    <a:pt x="14" y="111"/>
                  </a:lnTo>
                  <a:lnTo>
                    <a:pt x="14" y="109"/>
                  </a:lnTo>
                  <a:lnTo>
                    <a:pt x="12" y="109"/>
                  </a:lnTo>
                  <a:lnTo>
                    <a:pt x="10" y="109"/>
                  </a:lnTo>
                  <a:lnTo>
                    <a:pt x="10" y="106"/>
                  </a:lnTo>
                  <a:lnTo>
                    <a:pt x="7" y="104"/>
                  </a:lnTo>
                  <a:lnTo>
                    <a:pt x="5" y="104"/>
                  </a:lnTo>
                  <a:lnTo>
                    <a:pt x="5" y="102"/>
                  </a:lnTo>
                  <a:lnTo>
                    <a:pt x="3" y="102"/>
                  </a:lnTo>
                  <a:lnTo>
                    <a:pt x="3" y="99"/>
                  </a:lnTo>
                  <a:lnTo>
                    <a:pt x="0" y="99"/>
                  </a:lnTo>
                  <a:lnTo>
                    <a:pt x="0" y="97"/>
                  </a:lnTo>
                  <a:lnTo>
                    <a:pt x="0" y="95"/>
                  </a:lnTo>
                  <a:lnTo>
                    <a:pt x="0" y="92"/>
                  </a:lnTo>
                  <a:lnTo>
                    <a:pt x="3" y="92"/>
                  </a:lnTo>
                  <a:lnTo>
                    <a:pt x="5" y="92"/>
                  </a:lnTo>
                  <a:lnTo>
                    <a:pt x="5" y="90"/>
                  </a:lnTo>
                  <a:lnTo>
                    <a:pt x="7" y="90"/>
                  </a:lnTo>
                  <a:lnTo>
                    <a:pt x="7" y="87"/>
                  </a:lnTo>
                  <a:lnTo>
                    <a:pt x="7" y="85"/>
                  </a:lnTo>
                  <a:lnTo>
                    <a:pt x="10" y="83"/>
                  </a:lnTo>
                  <a:lnTo>
                    <a:pt x="10" y="80"/>
                  </a:lnTo>
                  <a:lnTo>
                    <a:pt x="12" y="80"/>
                  </a:lnTo>
                  <a:lnTo>
                    <a:pt x="12" y="78"/>
                  </a:lnTo>
                  <a:lnTo>
                    <a:pt x="12" y="76"/>
                  </a:lnTo>
                  <a:lnTo>
                    <a:pt x="14" y="73"/>
                  </a:lnTo>
                  <a:lnTo>
                    <a:pt x="17" y="73"/>
                  </a:lnTo>
                  <a:lnTo>
                    <a:pt x="17" y="71"/>
                  </a:lnTo>
                  <a:lnTo>
                    <a:pt x="19" y="68"/>
                  </a:lnTo>
                  <a:lnTo>
                    <a:pt x="19" y="71"/>
                  </a:lnTo>
                  <a:lnTo>
                    <a:pt x="19" y="68"/>
                  </a:lnTo>
                  <a:lnTo>
                    <a:pt x="19" y="66"/>
                  </a:lnTo>
                  <a:lnTo>
                    <a:pt x="17" y="66"/>
                  </a:lnTo>
                  <a:lnTo>
                    <a:pt x="17" y="64"/>
                  </a:lnTo>
                  <a:lnTo>
                    <a:pt x="17" y="66"/>
                  </a:lnTo>
                  <a:lnTo>
                    <a:pt x="17" y="64"/>
                  </a:lnTo>
                  <a:lnTo>
                    <a:pt x="14" y="64"/>
                  </a:lnTo>
                  <a:lnTo>
                    <a:pt x="14" y="61"/>
                  </a:lnTo>
                  <a:lnTo>
                    <a:pt x="14" y="59"/>
                  </a:lnTo>
                  <a:lnTo>
                    <a:pt x="17" y="59"/>
                  </a:lnTo>
                  <a:lnTo>
                    <a:pt x="14" y="59"/>
                  </a:lnTo>
                  <a:lnTo>
                    <a:pt x="17" y="59"/>
                  </a:lnTo>
                  <a:lnTo>
                    <a:pt x="14" y="59"/>
                  </a:lnTo>
                  <a:lnTo>
                    <a:pt x="14" y="57"/>
                  </a:lnTo>
                  <a:lnTo>
                    <a:pt x="14" y="54"/>
                  </a:lnTo>
                  <a:lnTo>
                    <a:pt x="17" y="54"/>
                  </a:lnTo>
                  <a:lnTo>
                    <a:pt x="17" y="52"/>
                  </a:lnTo>
                  <a:lnTo>
                    <a:pt x="14" y="49"/>
                  </a:lnTo>
                  <a:lnTo>
                    <a:pt x="17" y="49"/>
                  </a:lnTo>
                  <a:lnTo>
                    <a:pt x="17" y="47"/>
                  </a:lnTo>
                  <a:lnTo>
                    <a:pt x="19" y="45"/>
                  </a:lnTo>
                  <a:lnTo>
                    <a:pt x="22" y="45"/>
                  </a:lnTo>
                  <a:lnTo>
                    <a:pt x="22" y="42"/>
                  </a:lnTo>
                  <a:lnTo>
                    <a:pt x="22" y="40"/>
                  </a:lnTo>
                  <a:lnTo>
                    <a:pt x="19" y="40"/>
                  </a:lnTo>
                  <a:lnTo>
                    <a:pt x="22" y="40"/>
                  </a:lnTo>
                  <a:lnTo>
                    <a:pt x="26" y="38"/>
                  </a:lnTo>
                  <a:lnTo>
                    <a:pt x="29" y="38"/>
                  </a:lnTo>
                  <a:lnTo>
                    <a:pt x="31" y="38"/>
                  </a:lnTo>
                  <a:lnTo>
                    <a:pt x="33" y="35"/>
                  </a:lnTo>
                  <a:lnTo>
                    <a:pt x="36" y="35"/>
                  </a:lnTo>
                  <a:lnTo>
                    <a:pt x="38" y="35"/>
                  </a:lnTo>
                  <a:lnTo>
                    <a:pt x="38" y="33"/>
                  </a:lnTo>
                  <a:lnTo>
                    <a:pt x="41" y="33"/>
                  </a:lnTo>
                  <a:lnTo>
                    <a:pt x="43" y="33"/>
                  </a:lnTo>
                  <a:lnTo>
                    <a:pt x="45" y="33"/>
                  </a:lnTo>
                  <a:lnTo>
                    <a:pt x="48" y="33"/>
                  </a:lnTo>
                  <a:lnTo>
                    <a:pt x="50" y="30"/>
                  </a:lnTo>
                  <a:lnTo>
                    <a:pt x="52" y="30"/>
                  </a:lnTo>
                  <a:lnTo>
                    <a:pt x="55" y="30"/>
                  </a:lnTo>
                  <a:lnTo>
                    <a:pt x="57" y="28"/>
                  </a:lnTo>
                  <a:lnTo>
                    <a:pt x="60" y="28"/>
                  </a:lnTo>
                  <a:lnTo>
                    <a:pt x="62" y="28"/>
                  </a:lnTo>
                  <a:lnTo>
                    <a:pt x="64" y="28"/>
                  </a:lnTo>
                  <a:lnTo>
                    <a:pt x="67" y="26"/>
                  </a:lnTo>
                  <a:lnTo>
                    <a:pt x="69" y="26"/>
                  </a:lnTo>
                  <a:lnTo>
                    <a:pt x="69" y="23"/>
                  </a:lnTo>
                  <a:lnTo>
                    <a:pt x="71" y="23"/>
                  </a:lnTo>
                  <a:lnTo>
                    <a:pt x="71" y="21"/>
                  </a:lnTo>
                  <a:lnTo>
                    <a:pt x="74" y="19"/>
                  </a:lnTo>
                  <a:lnTo>
                    <a:pt x="76" y="16"/>
                  </a:lnTo>
                  <a:lnTo>
                    <a:pt x="79" y="16"/>
                  </a:lnTo>
                  <a:lnTo>
                    <a:pt x="79" y="14"/>
                  </a:lnTo>
                  <a:lnTo>
                    <a:pt x="81" y="14"/>
                  </a:lnTo>
                  <a:lnTo>
                    <a:pt x="83" y="14"/>
                  </a:lnTo>
                  <a:lnTo>
                    <a:pt x="86" y="14"/>
                  </a:lnTo>
                  <a:lnTo>
                    <a:pt x="88" y="11"/>
                  </a:lnTo>
                  <a:lnTo>
                    <a:pt x="90" y="11"/>
                  </a:lnTo>
                  <a:lnTo>
                    <a:pt x="93" y="11"/>
                  </a:lnTo>
                  <a:lnTo>
                    <a:pt x="93" y="9"/>
                  </a:lnTo>
                  <a:lnTo>
                    <a:pt x="95" y="9"/>
                  </a:lnTo>
                  <a:lnTo>
                    <a:pt x="95" y="7"/>
                  </a:lnTo>
                  <a:lnTo>
                    <a:pt x="98" y="7"/>
                  </a:lnTo>
                  <a:lnTo>
                    <a:pt x="100" y="7"/>
                  </a:lnTo>
                  <a:lnTo>
                    <a:pt x="102" y="4"/>
                  </a:lnTo>
                  <a:lnTo>
                    <a:pt x="105" y="4"/>
                  </a:lnTo>
                  <a:lnTo>
                    <a:pt x="107" y="4"/>
                  </a:lnTo>
                  <a:lnTo>
                    <a:pt x="109" y="4"/>
                  </a:lnTo>
                  <a:lnTo>
                    <a:pt x="112" y="2"/>
                  </a:lnTo>
                  <a:lnTo>
                    <a:pt x="114" y="2"/>
                  </a:lnTo>
                  <a:lnTo>
                    <a:pt x="117" y="2"/>
                  </a:lnTo>
                  <a:lnTo>
                    <a:pt x="119" y="2"/>
                  </a:lnTo>
                  <a:lnTo>
                    <a:pt x="121" y="0"/>
                  </a:lnTo>
                  <a:lnTo>
                    <a:pt x="124" y="0"/>
                  </a:lnTo>
                  <a:lnTo>
                    <a:pt x="126" y="0"/>
                  </a:lnTo>
                  <a:lnTo>
                    <a:pt x="128" y="0"/>
                  </a:lnTo>
                  <a:lnTo>
                    <a:pt x="131" y="0"/>
                  </a:lnTo>
                  <a:lnTo>
                    <a:pt x="133" y="0"/>
                  </a:lnTo>
                  <a:lnTo>
                    <a:pt x="135" y="0"/>
                  </a:lnTo>
                  <a:lnTo>
                    <a:pt x="138" y="0"/>
                  </a:lnTo>
                  <a:lnTo>
                    <a:pt x="140" y="0"/>
                  </a:lnTo>
                  <a:lnTo>
                    <a:pt x="140" y="2"/>
                  </a:lnTo>
                  <a:lnTo>
                    <a:pt x="143" y="2"/>
                  </a:lnTo>
                  <a:lnTo>
                    <a:pt x="140" y="2"/>
                  </a:lnTo>
                  <a:lnTo>
                    <a:pt x="143" y="2"/>
                  </a:lnTo>
                  <a:lnTo>
                    <a:pt x="145" y="4"/>
                  </a:lnTo>
                  <a:lnTo>
                    <a:pt x="147" y="4"/>
                  </a:lnTo>
                  <a:lnTo>
                    <a:pt x="150" y="7"/>
                  </a:lnTo>
                  <a:lnTo>
                    <a:pt x="152" y="7"/>
                  </a:lnTo>
                  <a:lnTo>
                    <a:pt x="152" y="9"/>
                  </a:lnTo>
                  <a:lnTo>
                    <a:pt x="154" y="9"/>
                  </a:lnTo>
                  <a:lnTo>
                    <a:pt x="154" y="11"/>
                  </a:lnTo>
                  <a:lnTo>
                    <a:pt x="152" y="11"/>
                  </a:lnTo>
                  <a:lnTo>
                    <a:pt x="152" y="9"/>
                  </a:lnTo>
                  <a:lnTo>
                    <a:pt x="152" y="7"/>
                  </a:lnTo>
                  <a:lnTo>
                    <a:pt x="150" y="7"/>
                  </a:lnTo>
                  <a:lnTo>
                    <a:pt x="150" y="4"/>
                  </a:lnTo>
                  <a:lnTo>
                    <a:pt x="147" y="4"/>
                  </a:lnTo>
                  <a:lnTo>
                    <a:pt x="145" y="4"/>
                  </a:lnTo>
                  <a:lnTo>
                    <a:pt x="143" y="2"/>
                  </a:lnTo>
                  <a:lnTo>
                    <a:pt x="140" y="2"/>
                  </a:lnTo>
                  <a:lnTo>
                    <a:pt x="140" y="4"/>
                  </a:lnTo>
                  <a:lnTo>
                    <a:pt x="143" y="7"/>
                  </a:lnTo>
                  <a:lnTo>
                    <a:pt x="143" y="9"/>
                  </a:lnTo>
                  <a:lnTo>
                    <a:pt x="145" y="9"/>
                  </a:lnTo>
                  <a:lnTo>
                    <a:pt x="145" y="11"/>
                  </a:lnTo>
                  <a:lnTo>
                    <a:pt x="145" y="14"/>
                  </a:lnTo>
                  <a:lnTo>
                    <a:pt x="145" y="16"/>
                  </a:lnTo>
                  <a:lnTo>
                    <a:pt x="147" y="16"/>
                  </a:lnTo>
                  <a:lnTo>
                    <a:pt x="145" y="16"/>
                  </a:lnTo>
                  <a:lnTo>
                    <a:pt x="145" y="19"/>
                  </a:lnTo>
                  <a:lnTo>
                    <a:pt x="147" y="19"/>
                  </a:lnTo>
                  <a:lnTo>
                    <a:pt x="147" y="21"/>
                  </a:lnTo>
                  <a:lnTo>
                    <a:pt x="150" y="21"/>
                  </a:lnTo>
                  <a:lnTo>
                    <a:pt x="150" y="23"/>
                  </a:lnTo>
                  <a:lnTo>
                    <a:pt x="152" y="23"/>
                  </a:lnTo>
                  <a:lnTo>
                    <a:pt x="154" y="23"/>
                  </a:lnTo>
                  <a:lnTo>
                    <a:pt x="154" y="26"/>
                  </a:lnTo>
                  <a:lnTo>
                    <a:pt x="157" y="26"/>
                  </a:lnTo>
                  <a:lnTo>
                    <a:pt x="159" y="28"/>
                  </a:lnTo>
                  <a:lnTo>
                    <a:pt x="159" y="26"/>
                  </a:lnTo>
                  <a:lnTo>
                    <a:pt x="157" y="26"/>
                  </a:lnTo>
                  <a:lnTo>
                    <a:pt x="154" y="26"/>
                  </a:lnTo>
                  <a:lnTo>
                    <a:pt x="154" y="23"/>
                  </a:lnTo>
                  <a:lnTo>
                    <a:pt x="157" y="23"/>
                  </a:lnTo>
                  <a:lnTo>
                    <a:pt x="159" y="23"/>
                  </a:lnTo>
                  <a:lnTo>
                    <a:pt x="159" y="26"/>
                  </a:lnTo>
                  <a:lnTo>
                    <a:pt x="159" y="28"/>
                  </a:lnTo>
                  <a:lnTo>
                    <a:pt x="159" y="30"/>
                  </a:lnTo>
                  <a:lnTo>
                    <a:pt x="157" y="30"/>
                  </a:lnTo>
                  <a:lnTo>
                    <a:pt x="157" y="33"/>
                  </a:lnTo>
                  <a:lnTo>
                    <a:pt x="154" y="33"/>
                  </a:lnTo>
                  <a:lnTo>
                    <a:pt x="154" y="35"/>
                  </a:lnTo>
                  <a:lnTo>
                    <a:pt x="154" y="38"/>
                  </a:lnTo>
                  <a:lnTo>
                    <a:pt x="154" y="40"/>
                  </a:lnTo>
                  <a:lnTo>
                    <a:pt x="154" y="42"/>
                  </a:lnTo>
                  <a:lnTo>
                    <a:pt x="157" y="42"/>
                  </a:lnTo>
                  <a:lnTo>
                    <a:pt x="157" y="45"/>
                  </a:lnTo>
                  <a:lnTo>
                    <a:pt x="157" y="47"/>
                  </a:lnTo>
                  <a:lnTo>
                    <a:pt x="157" y="49"/>
                  </a:lnTo>
                  <a:lnTo>
                    <a:pt x="154" y="49"/>
                  </a:lnTo>
                  <a:lnTo>
                    <a:pt x="154" y="52"/>
                  </a:lnTo>
                  <a:lnTo>
                    <a:pt x="154" y="54"/>
                  </a:lnTo>
                  <a:lnTo>
                    <a:pt x="157" y="54"/>
                  </a:lnTo>
                  <a:lnTo>
                    <a:pt x="154" y="54"/>
                  </a:lnTo>
                  <a:lnTo>
                    <a:pt x="154" y="57"/>
                  </a:lnTo>
                  <a:lnTo>
                    <a:pt x="152" y="57"/>
                  </a:lnTo>
                  <a:lnTo>
                    <a:pt x="152" y="59"/>
                  </a:lnTo>
                  <a:lnTo>
                    <a:pt x="152" y="61"/>
                  </a:lnTo>
                  <a:lnTo>
                    <a:pt x="152" y="64"/>
                  </a:lnTo>
                  <a:lnTo>
                    <a:pt x="152" y="66"/>
                  </a:lnTo>
                  <a:lnTo>
                    <a:pt x="152" y="68"/>
                  </a:lnTo>
                  <a:lnTo>
                    <a:pt x="150" y="68"/>
                  </a:lnTo>
                  <a:lnTo>
                    <a:pt x="150" y="71"/>
                  </a:lnTo>
                  <a:lnTo>
                    <a:pt x="147" y="71"/>
                  </a:lnTo>
                  <a:lnTo>
                    <a:pt x="145" y="71"/>
                  </a:lnTo>
                  <a:lnTo>
                    <a:pt x="143" y="71"/>
                  </a:lnTo>
                  <a:lnTo>
                    <a:pt x="143" y="73"/>
                  </a:lnTo>
                  <a:lnTo>
                    <a:pt x="140" y="73"/>
                  </a:lnTo>
                  <a:lnTo>
                    <a:pt x="138" y="76"/>
                  </a:lnTo>
                  <a:lnTo>
                    <a:pt x="138" y="78"/>
                  </a:lnTo>
                  <a:lnTo>
                    <a:pt x="135" y="78"/>
                  </a:lnTo>
                  <a:lnTo>
                    <a:pt x="135" y="80"/>
                  </a:lnTo>
                  <a:lnTo>
                    <a:pt x="133" y="80"/>
                  </a:lnTo>
                  <a:lnTo>
                    <a:pt x="133" y="83"/>
                  </a:lnTo>
                  <a:lnTo>
                    <a:pt x="133" y="85"/>
                  </a:lnTo>
                  <a:lnTo>
                    <a:pt x="131" y="85"/>
                  </a:lnTo>
                  <a:lnTo>
                    <a:pt x="133" y="85"/>
                  </a:lnTo>
                  <a:lnTo>
                    <a:pt x="133" y="87"/>
                  </a:lnTo>
                  <a:lnTo>
                    <a:pt x="135" y="87"/>
                  </a:lnTo>
                  <a:lnTo>
                    <a:pt x="138" y="87"/>
                  </a:lnTo>
                  <a:lnTo>
                    <a:pt x="140" y="90"/>
                  </a:lnTo>
                  <a:lnTo>
                    <a:pt x="143" y="90"/>
                  </a:lnTo>
                  <a:lnTo>
                    <a:pt x="145" y="92"/>
                  </a:lnTo>
                  <a:lnTo>
                    <a:pt x="145" y="90"/>
                  </a:lnTo>
                  <a:lnTo>
                    <a:pt x="145" y="92"/>
                  </a:lnTo>
                  <a:lnTo>
                    <a:pt x="147" y="92"/>
                  </a:lnTo>
                  <a:lnTo>
                    <a:pt x="147" y="90"/>
                  </a:lnTo>
                  <a:lnTo>
                    <a:pt x="150" y="90"/>
                  </a:lnTo>
                  <a:lnTo>
                    <a:pt x="150" y="92"/>
                  </a:lnTo>
                  <a:lnTo>
                    <a:pt x="150" y="95"/>
                  </a:lnTo>
                  <a:lnTo>
                    <a:pt x="152" y="95"/>
                  </a:lnTo>
                  <a:lnTo>
                    <a:pt x="152" y="97"/>
                  </a:lnTo>
                  <a:lnTo>
                    <a:pt x="154" y="97"/>
                  </a:lnTo>
                  <a:lnTo>
                    <a:pt x="157" y="99"/>
                  </a:lnTo>
                  <a:lnTo>
                    <a:pt x="157" y="102"/>
                  </a:lnTo>
                  <a:lnTo>
                    <a:pt x="159" y="102"/>
                  </a:lnTo>
                  <a:lnTo>
                    <a:pt x="159" y="104"/>
                  </a:lnTo>
                  <a:lnTo>
                    <a:pt x="159" y="106"/>
                  </a:lnTo>
                  <a:lnTo>
                    <a:pt x="162" y="106"/>
                  </a:lnTo>
                  <a:lnTo>
                    <a:pt x="162" y="109"/>
                  </a:lnTo>
                  <a:lnTo>
                    <a:pt x="164" y="109"/>
                  </a:lnTo>
                  <a:lnTo>
                    <a:pt x="162" y="109"/>
                  </a:lnTo>
                  <a:lnTo>
                    <a:pt x="162" y="106"/>
                  </a:lnTo>
                  <a:lnTo>
                    <a:pt x="159" y="104"/>
                  </a:lnTo>
                  <a:lnTo>
                    <a:pt x="159" y="102"/>
                  </a:lnTo>
                  <a:lnTo>
                    <a:pt x="157" y="99"/>
                  </a:lnTo>
                  <a:lnTo>
                    <a:pt x="157" y="97"/>
                  </a:lnTo>
                  <a:lnTo>
                    <a:pt x="154" y="97"/>
                  </a:lnTo>
                  <a:lnTo>
                    <a:pt x="154" y="95"/>
                  </a:lnTo>
                  <a:lnTo>
                    <a:pt x="152" y="95"/>
                  </a:lnTo>
                  <a:lnTo>
                    <a:pt x="150" y="95"/>
                  </a:lnTo>
                  <a:lnTo>
                    <a:pt x="150" y="92"/>
                  </a:lnTo>
                  <a:lnTo>
                    <a:pt x="150" y="90"/>
                  </a:lnTo>
                  <a:lnTo>
                    <a:pt x="147" y="90"/>
                  </a:lnTo>
                  <a:lnTo>
                    <a:pt x="147" y="92"/>
                  </a:lnTo>
                  <a:lnTo>
                    <a:pt x="145" y="92"/>
                  </a:lnTo>
                  <a:lnTo>
                    <a:pt x="145" y="90"/>
                  </a:lnTo>
                  <a:lnTo>
                    <a:pt x="143" y="90"/>
                  </a:lnTo>
                  <a:lnTo>
                    <a:pt x="140" y="90"/>
                  </a:lnTo>
                  <a:lnTo>
                    <a:pt x="138" y="87"/>
                  </a:lnTo>
                  <a:lnTo>
                    <a:pt x="135" y="87"/>
                  </a:lnTo>
                  <a:lnTo>
                    <a:pt x="133" y="87"/>
                  </a:lnTo>
                  <a:lnTo>
                    <a:pt x="133" y="85"/>
                  </a:lnTo>
                  <a:lnTo>
                    <a:pt x="133" y="83"/>
                  </a:lnTo>
                  <a:lnTo>
                    <a:pt x="133" y="80"/>
                  </a:lnTo>
                  <a:lnTo>
                    <a:pt x="135" y="80"/>
                  </a:lnTo>
                  <a:lnTo>
                    <a:pt x="138" y="78"/>
                  </a:lnTo>
                  <a:lnTo>
                    <a:pt x="138" y="76"/>
                  </a:lnTo>
                  <a:lnTo>
                    <a:pt x="140" y="73"/>
                  </a:lnTo>
                  <a:lnTo>
                    <a:pt x="143" y="73"/>
                  </a:lnTo>
                  <a:lnTo>
                    <a:pt x="143" y="71"/>
                  </a:lnTo>
                  <a:lnTo>
                    <a:pt x="145" y="71"/>
                  </a:lnTo>
                  <a:lnTo>
                    <a:pt x="147" y="71"/>
                  </a:lnTo>
                  <a:lnTo>
                    <a:pt x="150" y="71"/>
                  </a:lnTo>
                  <a:lnTo>
                    <a:pt x="150" y="68"/>
                  </a:lnTo>
                  <a:lnTo>
                    <a:pt x="152" y="68"/>
                  </a:lnTo>
                  <a:lnTo>
                    <a:pt x="152" y="66"/>
                  </a:lnTo>
                  <a:lnTo>
                    <a:pt x="152" y="64"/>
                  </a:lnTo>
                  <a:lnTo>
                    <a:pt x="152" y="61"/>
                  </a:lnTo>
                  <a:lnTo>
                    <a:pt x="152" y="59"/>
                  </a:lnTo>
                  <a:lnTo>
                    <a:pt x="152" y="57"/>
                  </a:lnTo>
                  <a:lnTo>
                    <a:pt x="154" y="57"/>
                  </a:lnTo>
                  <a:lnTo>
                    <a:pt x="154" y="54"/>
                  </a:lnTo>
                  <a:lnTo>
                    <a:pt x="157" y="54"/>
                  </a:lnTo>
                  <a:lnTo>
                    <a:pt x="154" y="54"/>
                  </a:lnTo>
                  <a:lnTo>
                    <a:pt x="154" y="52"/>
                  </a:lnTo>
                  <a:lnTo>
                    <a:pt x="154" y="49"/>
                  </a:lnTo>
                  <a:lnTo>
                    <a:pt x="157" y="49"/>
                  </a:lnTo>
                  <a:lnTo>
                    <a:pt x="157" y="47"/>
                  </a:lnTo>
                  <a:lnTo>
                    <a:pt x="157" y="45"/>
                  </a:lnTo>
                  <a:lnTo>
                    <a:pt x="157" y="42"/>
                  </a:lnTo>
                  <a:lnTo>
                    <a:pt x="154" y="42"/>
                  </a:lnTo>
                  <a:lnTo>
                    <a:pt x="154" y="40"/>
                  </a:lnTo>
                  <a:lnTo>
                    <a:pt x="154" y="38"/>
                  </a:lnTo>
                  <a:lnTo>
                    <a:pt x="154" y="35"/>
                  </a:lnTo>
                  <a:lnTo>
                    <a:pt x="154" y="33"/>
                  </a:lnTo>
                  <a:lnTo>
                    <a:pt x="157" y="33"/>
                  </a:lnTo>
                  <a:lnTo>
                    <a:pt x="157" y="30"/>
                  </a:lnTo>
                  <a:lnTo>
                    <a:pt x="159" y="30"/>
                  </a:lnTo>
                  <a:lnTo>
                    <a:pt x="159" y="28"/>
                  </a:lnTo>
                  <a:lnTo>
                    <a:pt x="159" y="26"/>
                  </a:lnTo>
                  <a:lnTo>
                    <a:pt x="159" y="23"/>
                  </a:lnTo>
                  <a:lnTo>
                    <a:pt x="162" y="23"/>
                  </a:lnTo>
                  <a:lnTo>
                    <a:pt x="166" y="23"/>
                  </a:lnTo>
                  <a:lnTo>
                    <a:pt x="169" y="23"/>
                  </a:lnTo>
                  <a:lnTo>
                    <a:pt x="171" y="23"/>
                  </a:lnTo>
                  <a:lnTo>
                    <a:pt x="173" y="23"/>
                  </a:lnTo>
                  <a:lnTo>
                    <a:pt x="176" y="21"/>
                  </a:lnTo>
                  <a:lnTo>
                    <a:pt x="178" y="21"/>
                  </a:lnTo>
                  <a:lnTo>
                    <a:pt x="181" y="19"/>
                  </a:lnTo>
                  <a:lnTo>
                    <a:pt x="183" y="19"/>
                  </a:lnTo>
                  <a:lnTo>
                    <a:pt x="181" y="19"/>
                  </a:lnTo>
                  <a:lnTo>
                    <a:pt x="181" y="21"/>
                  </a:lnTo>
                  <a:lnTo>
                    <a:pt x="178" y="21"/>
                  </a:lnTo>
                  <a:lnTo>
                    <a:pt x="176" y="21"/>
                  </a:lnTo>
                  <a:lnTo>
                    <a:pt x="176" y="23"/>
                  </a:lnTo>
                  <a:lnTo>
                    <a:pt x="173" y="23"/>
                  </a:lnTo>
                  <a:lnTo>
                    <a:pt x="171" y="23"/>
                  </a:lnTo>
                  <a:lnTo>
                    <a:pt x="169" y="23"/>
                  </a:lnTo>
                  <a:lnTo>
                    <a:pt x="169" y="26"/>
                  </a:lnTo>
                  <a:lnTo>
                    <a:pt x="169" y="28"/>
                  </a:lnTo>
                  <a:lnTo>
                    <a:pt x="171" y="28"/>
                  </a:lnTo>
                  <a:lnTo>
                    <a:pt x="171" y="30"/>
                  </a:lnTo>
                  <a:lnTo>
                    <a:pt x="171" y="33"/>
                  </a:lnTo>
                  <a:lnTo>
                    <a:pt x="169" y="33"/>
                  </a:lnTo>
                  <a:lnTo>
                    <a:pt x="169" y="35"/>
                  </a:lnTo>
                  <a:lnTo>
                    <a:pt x="166" y="38"/>
                  </a:lnTo>
                  <a:lnTo>
                    <a:pt x="164" y="38"/>
                  </a:lnTo>
                  <a:lnTo>
                    <a:pt x="164" y="40"/>
                  </a:lnTo>
                  <a:close/>
                  <a:moveTo>
                    <a:pt x="171" y="123"/>
                  </a:moveTo>
                  <a:lnTo>
                    <a:pt x="169" y="123"/>
                  </a:lnTo>
                  <a:lnTo>
                    <a:pt x="171" y="12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0" name="Freeform 55037"/>
            <p:cNvSpPr>
              <a:spLocks noEditPoints="1"/>
            </p:cNvSpPr>
            <p:nvPr/>
          </p:nvSpPr>
          <p:spPr bwMode="auto">
            <a:xfrm>
              <a:off x="2774948" y="4354528"/>
              <a:ext cx="236538" cy="79375"/>
            </a:xfrm>
            <a:custGeom>
              <a:avLst/>
              <a:gdLst>
                <a:gd name="T0" fmla="*/ 12 w 149"/>
                <a:gd name="T1" fmla="*/ 47 h 50"/>
                <a:gd name="T2" fmla="*/ 12 w 149"/>
                <a:gd name="T3" fmla="*/ 47 h 50"/>
                <a:gd name="T4" fmla="*/ 9 w 149"/>
                <a:gd name="T5" fmla="*/ 47 h 50"/>
                <a:gd name="T6" fmla="*/ 12 w 149"/>
                <a:gd name="T7" fmla="*/ 50 h 50"/>
                <a:gd name="T8" fmla="*/ 9 w 149"/>
                <a:gd name="T9" fmla="*/ 47 h 50"/>
                <a:gd name="T10" fmla="*/ 12 w 149"/>
                <a:gd name="T11" fmla="*/ 47 h 50"/>
                <a:gd name="T12" fmla="*/ 12 w 149"/>
                <a:gd name="T13" fmla="*/ 45 h 50"/>
                <a:gd name="T14" fmla="*/ 12 w 149"/>
                <a:gd name="T15" fmla="*/ 47 h 50"/>
                <a:gd name="T16" fmla="*/ 12 w 149"/>
                <a:gd name="T17" fmla="*/ 45 h 50"/>
                <a:gd name="T18" fmla="*/ 9 w 149"/>
                <a:gd name="T19" fmla="*/ 40 h 50"/>
                <a:gd name="T20" fmla="*/ 9 w 149"/>
                <a:gd name="T21" fmla="*/ 43 h 50"/>
                <a:gd name="T22" fmla="*/ 7 w 149"/>
                <a:gd name="T23" fmla="*/ 36 h 50"/>
                <a:gd name="T24" fmla="*/ 2 w 149"/>
                <a:gd name="T25" fmla="*/ 28 h 50"/>
                <a:gd name="T26" fmla="*/ 5 w 149"/>
                <a:gd name="T27" fmla="*/ 26 h 50"/>
                <a:gd name="T28" fmla="*/ 5 w 149"/>
                <a:gd name="T29" fmla="*/ 28 h 50"/>
                <a:gd name="T30" fmla="*/ 5 w 149"/>
                <a:gd name="T31" fmla="*/ 26 h 50"/>
                <a:gd name="T32" fmla="*/ 2 w 149"/>
                <a:gd name="T33" fmla="*/ 28 h 50"/>
                <a:gd name="T34" fmla="*/ 2 w 149"/>
                <a:gd name="T35" fmla="*/ 28 h 50"/>
                <a:gd name="T36" fmla="*/ 2 w 149"/>
                <a:gd name="T37" fmla="*/ 28 h 50"/>
                <a:gd name="T38" fmla="*/ 0 w 149"/>
                <a:gd name="T39" fmla="*/ 28 h 50"/>
                <a:gd name="T40" fmla="*/ 2 w 149"/>
                <a:gd name="T41" fmla="*/ 26 h 50"/>
                <a:gd name="T42" fmla="*/ 2 w 149"/>
                <a:gd name="T43" fmla="*/ 28 h 50"/>
                <a:gd name="T44" fmla="*/ 0 w 149"/>
                <a:gd name="T45" fmla="*/ 26 h 50"/>
                <a:gd name="T46" fmla="*/ 17 w 149"/>
                <a:gd name="T47" fmla="*/ 21 h 50"/>
                <a:gd name="T48" fmla="*/ 14 w 149"/>
                <a:gd name="T49" fmla="*/ 24 h 50"/>
                <a:gd name="T50" fmla="*/ 14 w 149"/>
                <a:gd name="T51" fmla="*/ 24 h 50"/>
                <a:gd name="T52" fmla="*/ 14 w 149"/>
                <a:gd name="T53" fmla="*/ 21 h 50"/>
                <a:gd name="T54" fmla="*/ 17 w 149"/>
                <a:gd name="T55" fmla="*/ 21 h 50"/>
                <a:gd name="T56" fmla="*/ 14 w 149"/>
                <a:gd name="T57" fmla="*/ 21 h 50"/>
                <a:gd name="T58" fmla="*/ 14 w 149"/>
                <a:gd name="T59" fmla="*/ 21 h 50"/>
                <a:gd name="T60" fmla="*/ 14 w 149"/>
                <a:gd name="T61" fmla="*/ 24 h 50"/>
                <a:gd name="T62" fmla="*/ 12 w 149"/>
                <a:gd name="T63" fmla="*/ 26 h 50"/>
                <a:gd name="T64" fmla="*/ 12 w 149"/>
                <a:gd name="T65" fmla="*/ 26 h 50"/>
                <a:gd name="T66" fmla="*/ 12 w 149"/>
                <a:gd name="T67" fmla="*/ 28 h 50"/>
                <a:gd name="T68" fmla="*/ 9 w 149"/>
                <a:gd name="T69" fmla="*/ 28 h 50"/>
                <a:gd name="T70" fmla="*/ 9 w 149"/>
                <a:gd name="T71" fmla="*/ 31 h 50"/>
                <a:gd name="T72" fmla="*/ 9 w 149"/>
                <a:gd name="T73" fmla="*/ 28 h 50"/>
                <a:gd name="T74" fmla="*/ 7 w 149"/>
                <a:gd name="T75" fmla="*/ 26 h 50"/>
                <a:gd name="T76" fmla="*/ 5 w 149"/>
                <a:gd name="T77" fmla="*/ 28 h 50"/>
                <a:gd name="T78" fmla="*/ 5 w 149"/>
                <a:gd name="T79" fmla="*/ 26 h 50"/>
                <a:gd name="T80" fmla="*/ 5 w 149"/>
                <a:gd name="T81" fmla="*/ 26 h 50"/>
                <a:gd name="T82" fmla="*/ 5 w 149"/>
                <a:gd name="T83" fmla="*/ 26 h 50"/>
                <a:gd name="T84" fmla="*/ 2 w 149"/>
                <a:gd name="T85" fmla="*/ 26 h 50"/>
                <a:gd name="T86" fmla="*/ 2 w 149"/>
                <a:gd name="T87" fmla="*/ 26 h 50"/>
                <a:gd name="T88" fmla="*/ 2 w 149"/>
                <a:gd name="T89" fmla="*/ 28 h 50"/>
                <a:gd name="T90" fmla="*/ 0 w 149"/>
                <a:gd name="T91" fmla="*/ 26 h 50"/>
                <a:gd name="T92" fmla="*/ 0 w 149"/>
                <a:gd name="T93" fmla="*/ 26 h 50"/>
                <a:gd name="T94" fmla="*/ 2 w 149"/>
                <a:gd name="T95" fmla="*/ 24 h 50"/>
                <a:gd name="T96" fmla="*/ 7 w 149"/>
                <a:gd name="T97" fmla="*/ 21 h 50"/>
                <a:gd name="T98" fmla="*/ 12 w 149"/>
                <a:gd name="T99" fmla="*/ 21 h 50"/>
                <a:gd name="T100" fmla="*/ 14 w 149"/>
                <a:gd name="T101" fmla="*/ 19 h 50"/>
                <a:gd name="T102" fmla="*/ 17 w 149"/>
                <a:gd name="T103" fmla="*/ 19 h 50"/>
                <a:gd name="T104" fmla="*/ 145 w 149"/>
                <a:gd name="T105" fmla="*/ 0 h 50"/>
                <a:gd name="T106" fmla="*/ 147 w 149"/>
                <a:gd name="T107" fmla="*/ 0 h 50"/>
                <a:gd name="T108" fmla="*/ 145 w 149"/>
                <a:gd name="T109" fmla="*/ 0 h 50"/>
                <a:gd name="T110" fmla="*/ 147 w 149"/>
                <a:gd name="T111" fmla="*/ 0 h 50"/>
                <a:gd name="T112" fmla="*/ 147 w 149"/>
                <a:gd name="T113" fmla="*/ 2 h 50"/>
                <a:gd name="T114" fmla="*/ 147 w 149"/>
                <a:gd name="T115" fmla="*/ 2 h 50"/>
                <a:gd name="T116" fmla="*/ 147 w 149"/>
                <a:gd name="T117" fmla="*/ 2 h 50"/>
                <a:gd name="T118" fmla="*/ 145 w 149"/>
                <a:gd name="T119" fmla="*/ 2 h 50"/>
                <a:gd name="T120" fmla="*/ 145 w 149"/>
                <a:gd name="T121" fmla="*/ 2 h 50"/>
                <a:gd name="T122" fmla="*/ 145 w 149"/>
                <a:gd name="T12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 h="50">
                  <a:moveTo>
                    <a:pt x="12" y="47"/>
                  </a:moveTo>
                  <a:lnTo>
                    <a:pt x="12" y="47"/>
                  </a:lnTo>
                  <a:lnTo>
                    <a:pt x="12" y="47"/>
                  </a:lnTo>
                  <a:lnTo>
                    <a:pt x="12" y="47"/>
                  </a:lnTo>
                  <a:lnTo>
                    <a:pt x="12" y="47"/>
                  </a:lnTo>
                  <a:lnTo>
                    <a:pt x="12" y="47"/>
                  </a:lnTo>
                  <a:lnTo>
                    <a:pt x="12" y="47"/>
                  </a:lnTo>
                  <a:lnTo>
                    <a:pt x="12" y="47"/>
                  </a:lnTo>
                  <a:lnTo>
                    <a:pt x="12" y="47"/>
                  </a:lnTo>
                  <a:lnTo>
                    <a:pt x="12" y="47"/>
                  </a:lnTo>
                  <a:lnTo>
                    <a:pt x="12" y="47"/>
                  </a:lnTo>
                  <a:lnTo>
                    <a:pt x="12" y="47"/>
                  </a:lnTo>
                  <a:lnTo>
                    <a:pt x="12" y="47"/>
                  </a:lnTo>
                  <a:lnTo>
                    <a:pt x="12" y="47"/>
                  </a:lnTo>
                  <a:lnTo>
                    <a:pt x="12" y="47"/>
                  </a:lnTo>
                  <a:lnTo>
                    <a:pt x="9" y="47"/>
                  </a:lnTo>
                  <a:lnTo>
                    <a:pt x="9" y="47"/>
                  </a:lnTo>
                  <a:lnTo>
                    <a:pt x="9" y="47"/>
                  </a:lnTo>
                  <a:lnTo>
                    <a:pt x="9" y="47"/>
                  </a:lnTo>
                  <a:lnTo>
                    <a:pt x="9" y="47"/>
                  </a:lnTo>
                  <a:lnTo>
                    <a:pt x="9" y="47"/>
                  </a:lnTo>
                  <a:lnTo>
                    <a:pt x="9" y="47"/>
                  </a:lnTo>
                  <a:lnTo>
                    <a:pt x="12" y="50"/>
                  </a:lnTo>
                  <a:lnTo>
                    <a:pt x="12" y="50"/>
                  </a:lnTo>
                  <a:lnTo>
                    <a:pt x="12" y="50"/>
                  </a:lnTo>
                  <a:lnTo>
                    <a:pt x="12" y="50"/>
                  </a:lnTo>
                  <a:lnTo>
                    <a:pt x="12" y="50"/>
                  </a:lnTo>
                  <a:lnTo>
                    <a:pt x="12" y="50"/>
                  </a:lnTo>
                  <a:lnTo>
                    <a:pt x="12" y="50"/>
                  </a:lnTo>
                  <a:lnTo>
                    <a:pt x="12" y="50"/>
                  </a:lnTo>
                  <a:lnTo>
                    <a:pt x="12" y="50"/>
                  </a:lnTo>
                  <a:lnTo>
                    <a:pt x="12" y="50"/>
                  </a:lnTo>
                  <a:lnTo>
                    <a:pt x="12" y="50"/>
                  </a:lnTo>
                  <a:lnTo>
                    <a:pt x="12" y="50"/>
                  </a:lnTo>
                  <a:lnTo>
                    <a:pt x="9" y="47"/>
                  </a:lnTo>
                  <a:lnTo>
                    <a:pt x="9" y="47"/>
                  </a:lnTo>
                  <a:lnTo>
                    <a:pt x="9" y="47"/>
                  </a:lnTo>
                  <a:lnTo>
                    <a:pt x="9" y="47"/>
                  </a:lnTo>
                  <a:lnTo>
                    <a:pt x="9" y="47"/>
                  </a:lnTo>
                  <a:lnTo>
                    <a:pt x="9" y="47"/>
                  </a:lnTo>
                  <a:lnTo>
                    <a:pt x="12" y="47"/>
                  </a:lnTo>
                  <a:lnTo>
                    <a:pt x="12" y="47"/>
                  </a:lnTo>
                  <a:lnTo>
                    <a:pt x="12" y="45"/>
                  </a:lnTo>
                  <a:lnTo>
                    <a:pt x="12" y="45"/>
                  </a:lnTo>
                  <a:lnTo>
                    <a:pt x="12" y="45"/>
                  </a:lnTo>
                  <a:lnTo>
                    <a:pt x="12" y="45"/>
                  </a:lnTo>
                  <a:lnTo>
                    <a:pt x="12" y="45"/>
                  </a:lnTo>
                  <a:lnTo>
                    <a:pt x="12" y="45"/>
                  </a:lnTo>
                  <a:lnTo>
                    <a:pt x="12" y="45"/>
                  </a:lnTo>
                  <a:lnTo>
                    <a:pt x="12" y="45"/>
                  </a:lnTo>
                  <a:lnTo>
                    <a:pt x="12" y="45"/>
                  </a:lnTo>
                  <a:lnTo>
                    <a:pt x="12" y="47"/>
                  </a:lnTo>
                  <a:lnTo>
                    <a:pt x="12" y="47"/>
                  </a:lnTo>
                  <a:lnTo>
                    <a:pt x="12" y="47"/>
                  </a:lnTo>
                  <a:lnTo>
                    <a:pt x="12" y="47"/>
                  </a:lnTo>
                  <a:lnTo>
                    <a:pt x="12" y="47"/>
                  </a:lnTo>
                  <a:lnTo>
                    <a:pt x="12" y="47"/>
                  </a:lnTo>
                  <a:close/>
                  <a:moveTo>
                    <a:pt x="12" y="45"/>
                  </a:moveTo>
                  <a:lnTo>
                    <a:pt x="12" y="45"/>
                  </a:lnTo>
                  <a:lnTo>
                    <a:pt x="12" y="45"/>
                  </a:lnTo>
                  <a:lnTo>
                    <a:pt x="12" y="45"/>
                  </a:lnTo>
                  <a:lnTo>
                    <a:pt x="12" y="45"/>
                  </a:lnTo>
                  <a:lnTo>
                    <a:pt x="12" y="45"/>
                  </a:lnTo>
                  <a:lnTo>
                    <a:pt x="12" y="45"/>
                  </a:lnTo>
                  <a:lnTo>
                    <a:pt x="12" y="45"/>
                  </a:lnTo>
                  <a:lnTo>
                    <a:pt x="12" y="45"/>
                  </a:lnTo>
                  <a:close/>
                  <a:moveTo>
                    <a:pt x="9" y="43"/>
                  </a:moveTo>
                  <a:lnTo>
                    <a:pt x="9" y="43"/>
                  </a:lnTo>
                  <a:lnTo>
                    <a:pt x="9" y="40"/>
                  </a:lnTo>
                  <a:lnTo>
                    <a:pt x="9" y="40"/>
                  </a:lnTo>
                  <a:lnTo>
                    <a:pt x="9" y="40"/>
                  </a:lnTo>
                  <a:lnTo>
                    <a:pt x="9" y="40"/>
                  </a:lnTo>
                  <a:lnTo>
                    <a:pt x="9" y="40"/>
                  </a:lnTo>
                  <a:lnTo>
                    <a:pt x="9" y="40"/>
                  </a:lnTo>
                  <a:lnTo>
                    <a:pt x="9" y="43"/>
                  </a:lnTo>
                  <a:lnTo>
                    <a:pt x="9" y="43"/>
                  </a:lnTo>
                  <a:lnTo>
                    <a:pt x="9" y="43"/>
                  </a:lnTo>
                  <a:close/>
                  <a:moveTo>
                    <a:pt x="7" y="36"/>
                  </a:moveTo>
                  <a:lnTo>
                    <a:pt x="7" y="38"/>
                  </a:lnTo>
                  <a:lnTo>
                    <a:pt x="7" y="36"/>
                  </a:lnTo>
                  <a:lnTo>
                    <a:pt x="7" y="36"/>
                  </a:lnTo>
                  <a:lnTo>
                    <a:pt x="7" y="36"/>
                  </a:lnTo>
                  <a:lnTo>
                    <a:pt x="7" y="36"/>
                  </a:lnTo>
                  <a:lnTo>
                    <a:pt x="7" y="36"/>
                  </a:lnTo>
                  <a:lnTo>
                    <a:pt x="7" y="36"/>
                  </a:lnTo>
                  <a:close/>
                  <a:moveTo>
                    <a:pt x="5" y="28"/>
                  </a:moveTo>
                  <a:lnTo>
                    <a:pt x="5" y="28"/>
                  </a:lnTo>
                  <a:lnTo>
                    <a:pt x="5" y="28"/>
                  </a:lnTo>
                  <a:lnTo>
                    <a:pt x="2" y="28"/>
                  </a:lnTo>
                  <a:lnTo>
                    <a:pt x="2" y="28"/>
                  </a:lnTo>
                  <a:lnTo>
                    <a:pt x="2" y="28"/>
                  </a:lnTo>
                  <a:lnTo>
                    <a:pt x="2" y="28"/>
                  </a:lnTo>
                  <a:lnTo>
                    <a:pt x="2" y="28"/>
                  </a:lnTo>
                  <a:lnTo>
                    <a:pt x="2" y="28"/>
                  </a:lnTo>
                  <a:lnTo>
                    <a:pt x="2" y="28"/>
                  </a:lnTo>
                  <a:lnTo>
                    <a:pt x="5" y="26"/>
                  </a:lnTo>
                  <a:lnTo>
                    <a:pt x="5" y="26"/>
                  </a:lnTo>
                  <a:lnTo>
                    <a:pt x="5" y="26"/>
                  </a:lnTo>
                  <a:lnTo>
                    <a:pt x="5" y="28"/>
                  </a:lnTo>
                  <a:lnTo>
                    <a:pt x="5" y="28"/>
                  </a:lnTo>
                  <a:lnTo>
                    <a:pt x="5" y="28"/>
                  </a:lnTo>
                  <a:lnTo>
                    <a:pt x="5" y="28"/>
                  </a:lnTo>
                  <a:lnTo>
                    <a:pt x="5" y="28"/>
                  </a:lnTo>
                  <a:lnTo>
                    <a:pt x="5" y="28"/>
                  </a:lnTo>
                  <a:lnTo>
                    <a:pt x="5" y="28"/>
                  </a:lnTo>
                  <a:close/>
                  <a:moveTo>
                    <a:pt x="2" y="28"/>
                  </a:moveTo>
                  <a:lnTo>
                    <a:pt x="2" y="28"/>
                  </a:lnTo>
                  <a:lnTo>
                    <a:pt x="2" y="28"/>
                  </a:lnTo>
                  <a:lnTo>
                    <a:pt x="2" y="26"/>
                  </a:lnTo>
                  <a:lnTo>
                    <a:pt x="5" y="26"/>
                  </a:lnTo>
                  <a:lnTo>
                    <a:pt x="5" y="26"/>
                  </a:lnTo>
                  <a:lnTo>
                    <a:pt x="5" y="26"/>
                  </a:lnTo>
                  <a:lnTo>
                    <a:pt x="5" y="26"/>
                  </a:lnTo>
                  <a:lnTo>
                    <a:pt x="5" y="26"/>
                  </a:lnTo>
                  <a:lnTo>
                    <a:pt x="2" y="28"/>
                  </a:lnTo>
                  <a:close/>
                  <a:moveTo>
                    <a:pt x="2" y="28"/>
                  </a:move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31"/>
                  </a:lnTo>
                  <a:lnTo>
                    <a:pt x="2" y="31"/>
                  </a:lnTo>
                  <a:lnTo>
                    <a:pt x="0" y="28"/>
                  </a:lnTo>
                  <a:lnTo>
                    <a:pt x="0" y="28"/>
                  </a:lnTo>
                  <a:lnTo>
                    <a:pt x="0" y="28"/>
                  </a:lnTo>
                  <a:lnTo>
                    <a:pt x="0" y="28"/>
                  </a:lnTo>
                  <a:lnTo>
                    <a:pt x="0" y="28"/>
                  </a:lnTo>
                  <a:lnTo>
                    <a:pt x="0" y="28"/>
                  </a:lnTo>
                  <a:lnTo>
                    <a:pt x="0" y="28"/>
                  </a:lnTo>
                  <a:lnTo>
                    <a:pt x="0" y="28"/>
                  </a:lnTo>
                  <a:lnTo>
                    <a:pt x="0" y="28"/>
                  </a:lnTo>
                  <a:lnTo>
                    <a:pt x="0" y="26"/>
                  </a:lnTo>
                  <a:lnTo>
                    <a:pt x="0" y="26"/>
                  </a:lnTo>
                  <a:lnTo>
                    <a:pt x="2" y="26"/>
                  </a:lnTo>
                  <a:lnTo>
                    <a:pt x="2" y="26"/>
                  </a:lnTo>
                  <a:lnTo>
                    <a:pt x="2" y="26"/>
                  </a:lnTo>
                  <a:lnTo>
                    <a:pt x="2" y="26"/>
                  </a:lnTo>
                  <a:lnTo>
                    <a:pt x="2" y="26"/>
                  </a:lnTo>
                  <a:lnTo>
                    <a:pt x="2" y="26"/>
                  </a:lnTo>
                  <a:lnTo>
                    <a:pt x="2" y="28"/>
                  </a:lnTo>
                  <a:lnTo>
                    <a:pt x="2" y="28"/>
                  </a:lnTo>
                  <a:close/>
                  <a:moveTo>
                    <a:pt x="0" y="26"/>
                  </a:moveTo>
                  <a:lnTo>
                    <a:pt x="0" y="26"/>
                  </a:lnTo>
                  <a:lnTo>
                    <a:pt x="0" y="26"/>
                  </a:lnTo>
                  <a:lnTo>
                    <a:pt x="0" y="26"/>
                  </a:lnTo>
                  <a:lnTo>
                    <a:pt x="0" y="26"/>
                  </a:lnTo>
                  <a:lnTo>
                    <a:pt x="0" y="26"/>
                  </a:lnTo>
                  <a:lnTo>
                    <a:pt x="0" y="26"/>
                  </a:lnTo>
                  <a:lnTo>
                    <a:pt x="0" y="26"/>
                  </a:lnTo>
                  <a:lnTo>
                    <a:pt x="0" y="26"/>
                  </a:lnTo>
                  <a:lnTo>
                    <a:pt x="0" y="26"/>
                  </a:lnTo>
                  <a:lnTo>
                    <a:pt x="0" y="26"/>
                  </a:lnTo>
                  <a:lnTo>
                    <a:pt x="0" y="26"/>
                  </a:lnTo>
                  <a:close/>
                  <a:moveTo>
                    <a:pt x="17" y="21"/>
                  </a:moveTo>
                  <a:lnTo>
                    <a:pt x="17" y="21"/>
                  </a:lnTo>
                  <a:lnTo>
                    <a:pt x="17" y="21"/>
                  </a:lnTo>
                  <a:lnTo>
                    <a:pt x="17" y="21"/>
                  </a:lnTo>
                  <a:lnTo>
                    <a:pt x="17" y="24"/>
                  </a:lnTo>
                  <a:lnTo>
                    <a:pt x="14" y="24"/>
                  </a:lnTo>
                  <a:lnTo>
                    <a:pt x="14" y="24"/>
                  </a:lnTo>
                  <a:lnTo>
                    <a:pt x="14" y="24"/>
                  </a:lnTo>
                  <a:lnTo>
                    <a:pt x="14" y="24"/>
                  </a:lnTo>
                  <a:lnTo>
                    <a:pt x="14" y="24"/>
                  </a:lnTo>
                  <a:lnTo>
                    <a:pt x="14" y="24"/>
                  </a:lnTo>
                  <a:lnTo>
                    <a:pt x="14" y="24"/>
                  </a:lnTo>
                  <a:lnTo>
                    <a:pt x="14" y="24"/>
                  </a:lnTo>
                  <a:lnTo>
                    <a:pt x="14" y="24"/>
                  </a:lnTo>
                  <a:lnTo>
                    <a:pt x="14" y="24"/>
                  </a:lnTo>
                  <a:lnTo>
                    <a:pt x="14" y="24"/>
                  </a:lnTo>
                  <a:lnTo>
                    <a:pt x="14" y="24"/>
                  </a:lnTo>
                  <a:lnTo>
                    <a:pt x="14" y="24"/>
                  </a:lnTo>
                  <a:lnTo>
                    <a:pt x="14" y="21"/>
                  </a:lnTo>
                  <a:lnTo>
                    <a:pt x="14" y="21"/>
                  </a:lnTo>
                  <a:lnTo>
                    <a:pt x="14" y="21"/>
                  </a:lnTo>
                  <a:lnTo>
                    <a:pt x="14" y="21"/>
                  </a:lnTo>
                  <a:lnTo>
                    <a:pt x="14" y="21"/>
                  </a:lnTo>
                  <a:lnTo>
                    <a:pt x="14" y="21"/>
                  </a:lnTo>
                  <a:lnTo>
                    <a:pt x="14" y="21"/>
                  </a:lnTo>
                  <a:lnTo>
                    <a:pt x="14" y="21"/>
                  </a:lnTo>
                  <a:lnTo>
                    <a:pt x="14" y="21"/>
                  </a:lnTo>
                  <a:lnTo>
                    <a:pt x="14" y="21"/>
                  </a:lnTo>
                  <a:lnTo>
                    <a:pt x="14" y="21"/>
                  </a:lnTo>
                  <a:lnTo>
                    <a:pt x="17" y="21"/>
                  </a:lnTo>
                  <a:lnTo>
                    <a:pt x="17" y="21"/>
                  </a:lnTo>
                  <a:close/>
                  <a:moveTo>
                    <a:pt x="17" y="19"/>
                  </a:moveTo>
                  <a:lnTo>
                    <a:pt x="17" y="19"/>
                  </a:lnTo>
                  <a:lnTo>
                    <a:pt x="17" y="19"/>
                  </a:lnTo>
                  <a:lnTo>
                    <a:pt x="14" y="19"/>
                  </a:lnTo>
                  <a:lnTo>
                    <a:pt x="14" y="19"/>
                  </a:lnTo>
                  <a:lnTo>
                    <a:pt x="14" y="21"/>
                  </a:lnTo>
                  <a:lnTo>
                    <a:pt x="14" y="21"/>
                  </a:lnTo>
                  <a:lnTo>
                    <a:pt x="14" y="21"/>
                  </a:lnTo>
                  <a:lnTo>
                    <a:pt x="14" y="21"/>
                  </a:lnTo>
                  <a:lnTo>
                    <a:pt x="14" y="21"/>
                  </a:lnTo>
                  <a:lnTo>
                    <a:pt x="14" y="21"/>
                  </a:lnTo>
                  <a:lnTo>
                    <a:pt x="14" y="21"/>
                  </a:lnTo>
                  <a:lnTo>
                    <a:pt x="14" y="21"/>
                  </a:lnTo>
                  <a:lnTo>
                    <a:pt x="14" y="21"/>
                  </a:lnTo>
                  <a:lnTo>
                    <a:pt x="14" y="21"/>
                  </a:lnTo>
                  <a:lnTo>
                    <a:pt x="14" y="21"/>
                  </a:lnTo>
                  <a:lnTo>
                    <a:pt x="14" y="24"/>
                  </a:lnTo>
                  <a:lnTo>
                    <a:pt x="14" y="24"/>
                  </a:lnTo>
                  <a:lnTo>
                    <a:pt x="14" y="24"/>
                  </a:lnTo>
                  <a:lnTo>
                    <a:pt x="14" y="24"/>
                  </a:lnTo>
                  <a:lnTo>
                    <a:pt x="14" y="24"/>
                  </a:lnTo>
                  <a:lnTo>
                    <a:pt x="12" y="24"/>
                  </a:lnTo>
                  <a:lnTo>
                    <a:pt x="12" y="24"/>
                  </a:lnTo>
                  <a:lnTo>
                    <a:pt x="12" y="24"/>
                  </a:lnTo>
                  <a:lnTo>
                    <a:pt x="12" y="24"/>
                  </a:lnTo>
                  <a:lnTo>
                    <a:pt x="12" y="26"/>
                  </a:lnTo>
                  <a:lnTo>
                    <a:pt x="12" y="26"/>
                  </a:lnTo>
                  <a:lnTo>
                    <a:pt x="12" y="26"/>
                  </a:lnTo>
                  <a:lnTo>
                    <a:pt x="12" y="26"/>
                  </a:lnTo>
                  <a:lnTo>
                    <a:pt x="12" y="26"/>
                  </a:lnTo>
                  <a:lnTo>
                    <a:pt x="12" y="26"/>
                  </a:lnTo>
                  <a:lnTo>
                    <a:pt x="12" y="26"/>
                  </a:lnTo>
                  <a:lnTo>
                    <a:pt x="12" y="26"/>
                  </a:lnTo>
                  <a:lnTo>
                    <a:pt x="12" y="26"/>
                  </a:lnTo>
                  <a:lnTo>
                    <a:pt x="12" y="26"/>
                  </a:lnTo>
                  <a:lnTo>
                    <a:pt x="12" y="28"/>
                  </a:lnTo>
                  <a:lnTo>
                    <a:pt x="12" y="28"/>
                  </a:lnTo>
                  <a:lnTo>
                    <a:pt x="12" y="28"/>
                  </a:lnTo>
                  <a:lnTo>
                    <a:pt x="12" y="28"/>
                  </a:lnTo>
                  <a:lnTo>
                    <a:pt x="12" y="28"/>
                  </a:lnTo>
                  <a:lnTo>
                    <a:pt x="12" y="28"/>
                  </a:lnTo>
                  <a:lnTo>
                    <a:pt x="12" y="28"/>
                  </a:lnTo>
                  <a:lnTo>
                    <a:pt x="9" y="28"/>
                  </a:lnTo>
                  <a:lnTo>
                    <a:pt x="9" y="28"/>
                  </a:lnTo>
                  <a:lnTo>
                    <a:pt x="9" y="28"/>
                  </a:lnTo>
                  <a:lnTo>
                    <a:pt x="9" y="28"/>
                  </a:lnTo>
                  <a:lnTo>
                    <a:pt x="9" y="28"/>
                  </a:lnTo>
                  <a:lnTo>
                    <a:pt x="9" y="28"/>
                  </a:lnTo>
                  <a:lnTo>
                    <a:pt x="9" y="31"/>
                  </a:lnTo>
                  <a:lnTo>
                    <a:pt x="9" y="31"/>
                  </a:lnTo>
                  <a:lnTo>
                    <a:pt x="9" y="31"/>
                  </a:lnTo>
                  <a:lnTo>
                    <a:pt x="9" y="31"/>
                  </a:lnTo>
                  <a:lnTo>
                    <a:pt x="9" y="31"/>
                  </a:lnTo>
                  <a:lnTo>
                    <a:pt x="9" y="31"/>
                  </a:lnTo>
                  <a:lnTo>
                    <a:pt x="9" y="31"/>
                  </a:lnTo>
                  <a:lnTo>
                    <a:pt x="9" y="31"/>
                  </a:lnTo>
                  <a:lnTo>
                    <a:pt x="9" y="28"/>
                  </a:lnTo>
                  <a:lnTo>
                    <a:pt x="9" y="28"/>
                  </a:lnTo>
                  <a:lnTo>
                    <a:pt x="9" y="28"/>
                  </a:lnTo>
                  <a:lnTo>
                    <a:pt x="9" y="28"/>
                  </a:lnTo>
                  <a:lnTo>
                    <a:pt x="9" y="28"/>
                  </a:lnTo>
                  <a:lnTo>
                    <a:pt x="9" y="28"/>
                  </a:lnTo>
                  <a:lnTo>
                    <a:pt x="9" y="28"/>
                  </a:lnTo>
                  <a:lnTo>
                    <a:pt x="9" y="28"/>
                  </a:lnTo>
                  <a:lnTo>
                    <a:pt x="9" y="28"/>
                  </a:lnTo>
                  <a:lnTo>
                    <a:pt x="7" y="28"/>
                  </a:lnTo>
                  <a:lnTo>
                    <a:pt x="7" y="28"/>
                  </a:lnTo>
                  <a:lnTo>
                    <a:pt x="7" y="28"/>
                  </a:lnTo>
                  <a:lnTo>
                    <a:pt x="7" y="26"/>
                  </a:lnTo>
                  <a:lnTo>
                    <a:pt x="7" y="28"/>
                  </a:lnTo>
                  <a:lnTo>
                    <a:pt x="7" y="26"/>
                  </a:lnTo>
                  <a:lnTo>
                    <a:pt x="5" y="26"/>
                  </a:lnTo>
                  <a:lnTo>
                    <a:pt x="5" y="26"/>
                  </a:lnTo>
                  <a:lnTo>
                    <a:pt x="5" y="26"/>
                  </a:lnTo>
                  <a:lnTo>
                    <a:pt x="5" y="28"/>
                  </a:lnTo>
                  <a:lnTo>
                    <a:pt x="5" y="28"/>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8"/>
                  </a:lnTo>
                  <a:lnTo>
                    <a:pt x="2" y="28"/>
                  </a:lnTo>
                  <a:lnTo>
                    <a:pt x="2" y="28"/>
                  </a:lnTo>
                  <a:lnTo>
                    <a:pt x="2" y="28"/>
                  </a:lnTo>
                  <a:lnTo>
                    <a:pt x="2" y="26"/>
                  </a:lnTo>
                  <a:lnTo>
                    <a:pt x="2" y="26"/>
                  </a:lnTo>
                  <a:lnTo>
                    <a:pt x="2" y="26"/>
                  </a:lnTo>
                  <a:lnTo>
                    <a:pt x="0" y="26"/>
                  </a:lnTo>
                  <a:lnTo>
                    <a:pt x="0" y="26"/>
                  </a:lnTo>
                  <a:lnTo>
                    <a:pt x="0" y="28"/>
                  </a:lnTo>
                  <a:lnTo>
                    <a:pt x="0" y="28"/>
                  </a:lnTo>
                  <a:lnTo>
                    <a:pt x="0" y="28"/>
                  </a:lnTo>
                  <a:lnTo>
                    <a:pt x="0" y="26"/>
                  </a:lnTo>
                  <a:lnTo>
                    <a:pt x="0" y="26"/>
                  </a:lnTo>
                  <a:lnTo>
                    <a:pt x="0" y="26"/>
                  </a:lnTo>
                  <a:lnTo>
                    <a:pt x="0" y="26"/>
                  </a:lnTo>
                  <a:lnTo>
                    <a:pt x="0" y="26"/>
                  </a:lnTo>
                  <a:lnTo>
                    <a:pt x="0" y="26"/>
                  </a:lnTo>
                  <a:lnTo>
                    <a:pt x="0" y="26"/>
                  </a:lnTo>
                  <a:lnTo>
                    <a:pt x="0" y="24"/>
                  </a:lnTo>
                  <a:lnTo>
                    <a:pt x="0" y="24"/>
                  </a:lnTo>
                  <a:lnTo>
                    <a:pt x="2" y="24"/>
                  </a:lnTo>
                  <a:lnTo>
                    <a:pt x="2" y="24"/>
                  </a:lnTo>
                  <a:lnTo>
                    <a:pt x="2" y="24"/>
                  </a:lnTo>
                  <a:lnTo>
                    <a:pt x="2" y="24"/>
                  </a:lnTo>
                  <a:lnTo>
                    <a:pt x="5" y="24"/>
                  </a:lnTo>
                  <a:lnTo>
                    <a:pt x="5" y="24"/>
                  </a:lnTo>
                  <a:lnTo>
                    <a:pt x="5" y="24"/>
                  </a:lnTo>
                  <a:lnTo>
                    <a:pt x="7" y="21"/>
                  </a:lnTo>
                  <a:lnTo>
                    <a:pt x="7" y="21"/>
                  </a:lnTo>
                  <a:lnTo>
                    <a:pt x="7" y="21"/>
                  </a:lnTo>
                  <a:lnTo>
                    <a:pt x="7" y="21"/>
                  </a:lnTo>
                  <a:lnTo>
                    <a:pt x="7" y="21"/>
                  </a:lnTo>
                  <a:lnTo>
                    <a:pt x="9" y="21"/>
                  </a:lnTo>
                  <a:lnTo>
                    <a:pt x="9" y="21"/>
                  </a:lnTo>
                  <a:lnTo>
                    <a:pt x="12" y="21"/>
                  </a:lnTo>
                  <a:lnTo>
                    <a:pt x="12" y="21"/>
                  </a:lnTo>
                  <a:lnTo>
                    <a:pt x="12" y="21"/>
                  </a:lnTo>
                  <a:lnTo>
                    <a:pt x="12" y="21"/>
                  </a:lnTo>
                  <a:lnTo>
                    <a:pt x="12" y="21"/>
                  </a:lnTo>
                  <a:lnTo>
                    <a:pt x="14" y="19"/>
                  </a:lnTo>
                  <a:lnTo>
                    <a:pt x="14" y="19"/>
                  </a:lnTo>
                  <a:lnTo>
                    <a:pt x="14" y="19"/>
                  </a:lnTo>
                  <a:lnTo>
                    <a:pt x="14" y="19"/>
                  </a:lnTo>
                  <a:lnTo>
                    <a:pt x="14" y="19"/>
                  </a:lnTo>
                  <a:lnTo>
                    <a:pt x="14" y="19"/>
                  </a:lnTo>
                  <a:lnTo>
                    <a:pt x="17" y="19"/>
                  </a:lnTo>
                  <a:lnTo>
                    <a:pt x="17" y="19"/>
                  </a:lnTo>
                  <a:lnTo>
                    <a:pt x="17" y="19"/>
                  </a:lnTo>
                  <a:lnTo>
                    <a:pt x="17" y="19"/>
                  </a:lnTo>
                  <a:close/>
                  <a:moveTo>
                    <a:pt x="145" y="0"/>
                  </a:moveTo>
                  <a:lnTo>
                    <a:pt x="145" y="0"/>
                  </a:lnTo>
                  <a:lnTo>
                    <a:pt x="145" y="0"/>
                  </a:lnTo>
                  <a:lnTo>
                    <a:pt x="145" y="0"/>
                  </a:lnTo>
                  <a:lnTo>
                    <a:pt x="145" y="0"/>
                  </a:lnTo>
                  <a:lnTo>
                    <a:pt x="147" y="0"/>
                  </a:lnTo>
                  <a:lnTo>
                    <a:pt x="145" y="0"/>
                  </a:lnTo>
                  <a:lnTo>
                    <a:pt x="147" y="0"/>
                  </a:lnTo>
                  <a:lnTo>
                    <a:pt x="147" y="0"/>
                  </a:lnTo>
                  <a:lnTo>
                    <a:pt x="147" y="0"/>
                  </a:lnTo>
                  <a:lnTo>
                    <a:pt x="147" y="0"/>
                  </a:lnTo>
                  <a:lnTo>
                    <a:pt x="147" y="0"/>
                  </a:lnTo>
                  <a:lnTo>
                    <a:pt x="147" y="0"/>
                  </a:lnTo>
                  <a:lnTo>
                    <a:pt x="147" y="0"/>
                  </a:lnTo>
                  <a:lnTo>
                    <a:pt x="145" y="0"/>
                  </a:lnTo>
                  <a:lnTo>
                    <a:pt x="145" y="0"/>
                  </a:lnTo>
                  <a:lnTo>
                    <a:pt x="145" y="0"/>
                  </a:lnTo>
                  <a:lnTo>
                    <a:pt x="145" y="0"/>
                  </a:lnTo>
                  <a:lnTo>
                    <a:pt x="145" y="0"/>
                  </a:lnTo>
                  <a:lnTo>
                    <a:pt x="145" y="0"/>
                  </a:lnTo>
                  <a:lnTo>
                    <a:pt x="145" y="0"/>
                  </a:lnTo>
                  <a:lnTo>
                    <a:pt x="145" y="0"/>
                  </a:lnTo>
                  <a:lnTo>
                    <a:pt x="145" y="0"/>
                  </a:lnTo>
                  <a:lnTo>
                    <a:pt x="145" y="0"/>
                  </a:lnTo>
                  <a:lnTo>
                    <a:pt x="145" y="0"/>
                  </a:lnTo>
                  <a:lnTo>
                    <a:pt x="145" y="0"/>
                  </a:lnTo>
                  <a:lnTo>
                    <a:pt x="145" y="0"/>
                  </a:lnTo>
                  <a:lnTo>
                    <a:pt x="147" y="0"/>
                  </a:lnTo>
                  <a:lnTo>
                    <a:pt x="147" y="0"/>
                  </a:lnTo>
                  <a:lnTo>
                    <a:pt x="145" y="0"/>
                  </a:lnTo>
                  <a:lnTo>
                    <a:pt x="147" y="0"/>
                  </a:lnTo>
                  <a:lnTo>
                    <a:pt x="145" y="0"/>
                  </a:lnTo>
                  <a:lnTo>
                    <a:pt x="147" y="0"/>
                  </a:lnTo>
                  <a:lnTo>
                    <a:pt x="147" y="2"/>
                  </a:lnTo>
                  <a:lnTo>
                    <a:pt x="147" y="2"/>
                  </a:lnTo>
                  <a:lnTo>
                    <a:pt x="147" y="2"/>
                  </a:lnTo>
                  <a:lnTo>
                    <a:pt x="147" y="2"/>
                  </a:lnTo>
                  <a:lnTo>
                    <a:pt x="147" y="2"/>
                  </a:lnTo>
                  <a:lnTo>
                    <a:pt x="147" y="2"/>
                  </a:lnTo>
                  <a:lnTo>
                    <a:pt x="147" y="2"/>
                  </a:lnTo>
                  <a:lnTo>
                    <a:pt x="147" y="2"/>
                  </a:lnTo>
                  <a:lnTo>
                    <a:pt x="147" y="2"/>
                  </a:lnTo>
                  <a:lnTo>
                    <a:pt x="147" y="2"/>
                  </a:lnTo>
                  <a:lnTo>
                    <a:pt x="147" y="2"/>
                  </a:lnTo>
                  <a:lnTo>
                    <a:pt x="149" y="2"/>
                  </a:lnTo>
                  <a:lnTo>
                    <a:pt x="149" y="2"/>
                  </a:lnTo>
                  <a:lnTo>
                    <a:pt x="149" y="2"/>
                  </a:lnTo>
                  <a:lnTo>
                    <a:pt x="147" y="2"/>
                  </a:lnTo>
                  <a:lnTo>
                    <a:pt x="147" y="2"/>
                  </a:lnTo>
                  <a:lnTo>
                    <a:pt x="147" y="2"/>
                  </a:lnTo>
                  <a:lnTo>
                    <a:pt x="147" y="2"/>
                  </a:lnTo>
                  <a:lnTo>
                    <a:pt x="147" y="2"/>
                  </a:lnTo>
                  <a:lnTo>
                    <a:pt x="147" y="2"/>
                  </a:lnTo>
                  <a:lnTo>
                    <a:pt x="145" y="2"/>
                  </a:lnTo>
                  <a:lnTo>
                    <a:pt x="145" y="2"/>
                  </a:lnTo>
                  <a:lnTo>
                    <a:pt x="145" y="2"/>
                  </a:lnTo>
                  <a:lnTo>
                    <a:pt x="145" y="2"/>
                  </a:lnTo>
                  <a:lnTo>
                    <a:pt x="145" y="2"/>
                  </a:lnTo>
                  <a:lnTo>
                    <a:pt x="145" y="2"/>
                  </a:lnTo>
                  <a:lnTo>
                    <a:pt x="145" y="2"/>
                  </a:lnTo>
                  <a:lnTo>
                    <a:pt x="145" y="2"/>
                  </a:lnTo>
                  <a:lnTo>
                    <a:pt x="145" y="2"/>
                  </a:lnTo>
                  <a:lnTo>
                    <a:pt x="145" y="2"/>
                  </a:lnTo>
                  <a:lnTo>
                    <a:pt x="145" y="2"/>
                  </a:lnTo>
                  <a:lnTo>
                    <a:pt x="145" y="2"/>
                  </a:lnTo>
                  <a:lnTo>
                    <a:pt x="145" y="0"/>
                  </a:lnTo>
                  <a:lnTo>
                    <a:pt x="145" y="0"/>
                  </a:lnTo>
                  <a:lnTo>
                    <a:pt x="145" y="0"/>
                  </a:lnTo>
                  <a:lnTo>
                    <a:pt x="145" y="0"/>
                  </a:lnTo>
                  <a:lnTo>
                    <a:pt x="145" y="0"/>
                  </a:lnTo>
                  <a:lnTo>
                    <a:pt x="145" y="0"/>
                  </a:lnTo>
                  <a:lnTo>
                    <a:pt x="14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1" name="Freeform 55038"/>
            <p:cNvSpPr>
              <a:spLocks noEditPoints="1"/>
            </p:cNvSpPr>
            <p:nvPr/>
          </p:nvSpPr>
          <p:spPr bwMode="auto">
            <a:xfrm>
              <a:off x="2774948" y="4357703"/>
              <a:ext cx="236538" cy="79375"/>
            </a:xfrm>
            <a:custGeom>
              <a:avLst/>
              <a:gdLst>
                <a:gd name="T0" fmla="*/ 12 w 149"/>
                <a:gd name="T1" fmla="*/ 50 h 50"/>
                <a:gd name="T2" fmla="*/ 12 w 149"/>
                <a:gd name="T3" fmla="*/ 50 h 50"/>
                <a:gd name="T4" fmla="*/ 12 w 149"/>
                <a:gd name="T5" fmla="*/ 50 h 50"/>
                <a:gd name="T6" fmla="*/ 12 w 149"/>
                <a:gd name="T7" fmla="*/ 43 h 50"/>
                <a:gd name="T8" fmla="*/ 12 w 149"/>
                <a:gd name="T9" fmla="*/ 43 h 50"/>
                <a:gd name="T10" fmla="*/ 12 w 149"/>
                <a:gd name="T11" fmla="*/ 43 h 50"/>
                <a:gd name="T12" fmla="*/ 12 w 149"/>
                <a:gd name="T13" fmla="*/ 43 h 50"/>
                <a:gd name="T14" fmla="*/ 12 w 149"/>
                <a:gd name="T15" fmla="*/ 43 h 50"/>
                <a:gd name="T16" fmla="*/ 12 w 149"/>
                <a:gd name="T17" fmla="*/ 41 h 50"/>
                <a:gd name="T18" fmla="*/ 12 w 149"/>
                <a:gd name="T19" fmla="*/ 41 h 50"/>
                <a:gd name="T20" fmla="*/ 12 w 149"/>
                <a:gd name="T21" fmla="*/ 41 h 50"/>
                <a:gd name="T22" fmla="*/ 12 w 149"/>
                <a:gd name="T23" fmla="*/ 41 h 50"/>
                <a:gd name="T24" fmla="*/ 9 w 149"/>
                <a:gd name="T25" fmla="*/ 36 h 50"/>
                <a:gd name="T26" fmla="*/ 9 w 149"/>
                <a:gd name="T27" fmla="*/ 36 h 50"/>
                <a:gd name="T28" fmla="*/ 9 w 149"/>
                <a:gd name="T29" fmla="*/ 36 h 50"/>
                <a:gd name="T30" fmla="*/ 9 w 149"/>
                <a:gd name="T31" fmla="*/ 36 h 50"/>
                <a:gd name="T32" fmla="*/ 9 w 149"/>
                <a:gd name="T33" fmla="*/ 36 h 50"/>
                <a:gd name="T34" fmla="*/ 0 w 149"/>
                <a:gd name="T35" fmla="*/ 31 h 50"/>
                <a:gd name="T36" fmla="*/ 0 w 149"/>
                <a:gd name="T37" fmla="*/ 31 h 50"/>
                <a:gd name="T38" fmla="*/ 0 w 149"/>
                <a:gd name="T39" fmla="*/ 31 h 50"/>
                <a:gd name="T40" fmla="*/ 0 w 149"/>
                <a:gd name="T41" fmla="*/ 31 h 50"/>
                <a:gd name="T42" fmla="*/ 0 w 149"/>
                <a:gd name="T43" fmla="*/ 26 h 50"/>
                <a:gd name="T44" fmla="*/ 0 w 149"/>
                <a:gd name="T45" fmla="*/ 24 h 50"/>
                <a:gd name="T46" fmla="*/ 0 w 149"/>
                <a:gd name="T47" fmla="*/ 26 h 50"/>
                <a:gd name="T48" fmla="*/ 0 w 149"/>
                <a:gd name="T49" fmla="*/ 24 h 50"/>
                <a:gd name="T50" fmla="*/ 0 w 149"/>
                <a:gd name="T51" fmla="*/ 26 h 50"/>
                <a:gd name="T52" fmla="*/ 0 w 149"/>
                <a:gd name="T53" fmla="*/ 24 h 50"/>
                <a:gd name="T54" fmla="*/ 0 w 149"/>
                <a:gd name="T55" fmla="*/ 26 h 50"/>
                <a:gd name="T56" fmla="*/ 0 w 149"/>
                <a:gd name="T57" fmla="*/ 24 h 50"/>
                <a:gd name="T58" fmla="*/ 5 w 149"/>
                <a:gd name="T59" fmla="*/ 24 h 50"/>
                <a:gd name="T60" fmla="*/ 5 w 149"/>
                <a:gd name="T61" fmla="*/ 24 h 50"/>
                <a:gd name="T62" fmla="*/ 5 w 149"/>
                <a:gd name="T63" fmla="*/ 24 h 50"/>
                <a:gd name="T64" fmla="*/ 2 w 149"/>
                <a:gd name="T65" fmla="*/ 24 h 50"/>
                <a:gd name="T66" fmla="*/ 2 w 149"/>
                <a:gd name="T67" fmla="*/ 24 h 50"/>
                <a:gd name="T68" fmla="*/ 5 w 149"/>
                <a:gd name="T69" fmla="*/ 24 h 50"/>
                <a:gd name="T70" fmla="*/ 2 w 149"/>
                <a:gd name="T71" fmla="*/ 24 h 50"/>
                <a:gd name="T72" fmla="*/ 5 w 149"/>
                <a:gd name="T73" fmla="*/ 24 h 50"/>
                <a:gd name="T74" fmla="*/ 149 w 149"/>
                <a:gd name="T75" fmla="*/ 0 h 50"/>
                <a:gd name="T76" fmla="*/ 149 w 149"/>
                <a:gd name="T77" fmla="*/ 0 h 50"/>
                <a:gd name="T78" fmla="*/ 149 w 149"/>
                <a:gd name="T7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50">
                  <a:moveTo>
                    <a:pt x="12" y="50"/>
                  </a:moveTo>
                  <a:lnTo>
                    <a:pt x="12" y="50"/>
                  </a:lnTo>
                  <a:lnTo>
                    <a:pt x="12" y="48"/>
                  </a:lnTo>
                  <a:lnTo>
                    <a:pt x="12" y="50"/>
                  </a:lnTo>
                  <a:lnTo>
                    <a:pt x="12" y="50"/>
                  </a:lnTo>
                  <a:lnTo>
                    <a:pt x="12" y="50"/>
                  </a:lnTo>
                  <a:close/>
                  <a:moveTo>
                    <a:pt x="12" y="43"/>
                  </a:moveTo>
                  <a:lnTo>
                    <a:pt x="12" y="43"/>
                  </a:lnTo>
                  <a:lnTo>
                    <a:pt x="12" y="43"/>
                  </a:lnTo>
                  <a:lnTo>
                    <a:pt x="12" y="43"/>
                  </a:lnTo>
                  <a:lnTo>
                    <a:pt x="12" y="43"/>
                  </a:lnTo>
                  <a:lnTo>
                    <a:pt x="12" y="43"/>
                  </a:lnTo>
                  <a:close/>
                  <a:moveTo>
                    <a:pt x="12" y="43"/>
                  </a:moveTo>
                  <a:lnTo>
                    <a:pt x="12" y="43"/>
                  </a:lnTo>
                  <a:lnTo>
                    <a:pt x="12" y="43"/>
                  </a:lnTo>
                  <a:lnTo>
                    <a:pt x="12" y="43"/>
                  </a:lnTo>
                  <a:lnTo>
                    <a:pt x="12" y="43"/>
                  </a:lnTo>
                  <a:close/>
                  <a:moveTo>
                    <a:pt x="12" y="41"/>
                  </a:moveTo>
                  <a:lnTo>
                    <a:pt x="12" y="41"/>
                  </a:lnTo>
                  <a:lnTo>
                    <a:pt x="12" y="41"/>
                  </a:lnTo>
                  <a:lnTo>
                    <a:pt x="12" y="41"/>
                  </a:lnTo>
                  <a:lnTo>
                    <a:pt x="12" y="41"/>
                  </a:lnTo>
                  <a:lnTo>
                    <a:pt x="12" y="41"/>
                  </a:lnTo>
                  <a:lnTo>
                    <a:pt x="12" y="41"/>
                  </a:lnTo>
                  <a:lnTo>
                    <a:pt x="12" y="41"/>
                  </a:lnTo>
                  <a:close/>
                  <a:moveTo>
                    <a:pt x="9" y="36"/>
                  </a:moveTo>
                  <a:lnTo>
                    <a:pt x="9" y="36"/>
                  </a:lnTo>
                  <a:lnTo>
                    <a:pt x="9" y="36"/>
                  </a:lnTo>
                  <a:lnTo>
                    <a:pt x="9" y="36"/>
                  </a:lnTo>
                  <a:lnTo>
                    <a:pt x="9" y="36"/>
                  </a:lnTo>
                  <a:lnTo>
                    <a:pt x="9" y="36"/>
                  </a:lnTo>
                  <a:lnTo>
                    <a:pt x="9" y="36"/>
                  </a:lnTo>
                  <a:lnTo>
                    <a:pt x="9" y="36"/>
                  </a:lnTo>
                  <a:lnTo>
                    <a:pt x="9" y="36"/>
                  </a:lnTo>
                  <a:close/>
                  <a:moveTo>
                    <a:pt x="0" y="31"/>
                  </a:moveTo>
                  <a:lnTo>
                    <a:pt x="0" y="31"/>
                  </a:lnTo>
                  <a:lnTo>
                    <a:pt x="0" y="31"/>
                  </a:lnTo>
                  <a:lnTo>
                    <a:pt x="0" y="31"/>
                  </a:lnTo>
                  <a:lnTo>
                    <a:pt x="0" y="31"/>
                  </a:lnTo>
                  <a:lnTo>
                    <a:pt x="0" y="31"/>
                  </a:lnTo>
                  <a:lnTo>
                    <a:pt x="0" y="31"/>
                  </a:lnTo>
                  <a:lnTo>
                    <a:pt x="0" y="31"/>
                  </a:lnTo>
                  <a:lnTo>
                    <a:pt x="0" y="31"/>
                  </a:lnTo>
                  <a:close/>
                  <a:moveTo>
                    <a:pt x="0" y="26"/>
                  </a:moveTo>
                  <a:lnTo>
                    <a:pt x="0" y="26"/>
                  </a:lnTo>
                  <a:lnTo>
                    <a:pt x="0" y="24"/>
                  </a:lnTo>
                  <a:lnTo>
                    <a:pt x="0" y="24"/>
                  </a:lnTo>
                  <a:lnTo>
                    <a:pt x="0" y="26"/>
                  </a:lnTo>
                  <a:lnTo>
                    <a:pt x="0" y="26"/>
                  </a:lnTo>
                  <a:close/>
                  <a:moveTo>
                    <a:pt x="0" y="24"/>
                  </a:moveTo>
                  <a:lnTo>
                    <a:pt x="0" y="26"/>
                  </a:lnTo>
                  <a:lnTo>
                    <a:pt x="0" y="26"/>
                  </a:lnTo>
                  <a:lnTo>
                    <a:pt x="0" y="24"/>
                  </a:lnTo>
                  <a:lnTo>
                    <a:pt x="0" y="24"/>
                  </a:lnTo>
                  <a:close/>
                  <a:moveTo>
                    <a:pt x="0" y="24"/>
                  </a:moveTo>
                  <a:lnTo>
                    <a:pt x="0" y="26"/>
                  </a:lnTo>
                  <a:lnTo>
                    <a:pt x="0" y="24"/>
                  </a:lnTo>
                  <a:lnTo>
                    <a:pt x="0" y="24"/>
                  </a:lnTo>
                  <a:lnTo>
                    <a:pt x="0" y="24"/>
                  </a:lnTo>
                  <a:close/>
                  <a:moveTo>
                    <a:pt x="5" y="24"/>
                  </a:moveTo>
                  <a:lnTo>
                    <a:pt x="5" y="24"/>
                  </a:lnTo>
                  <a:lnTo>
                    <a:pt x="5" y="24"/>
                  </a:lnTo>
                  <a:lnTo>
                    <a:pt x="5" y="24"/>
                  </a:lnTo>
                  <a:lnTo>
                    <a:pt x="5" y="24"/>
                  </a:lnTo>
                  <a:close/>
                  <a:moveTo>
                    <a:pt x="2" y="24"/>
                  </a:moveTo>
                  <a:lnTo>
                    <a:pt x="2" y="24"/>
                  </a:lnTo>
                  <a:lnTo>
                    <a:pt x="2" y="24"/>
                  </a:lnTo>
                  <a:lnTo>
                    <a:pt x="2" y="24"/>
                  </a:lnTo>
                  <a:lnTo>
                    <a:pt x="2" y="24"/>
                  </a:lnTo>
                  <a:close/>
                  <a:moveTo>
                    <a:pt x="5" y="24"/>
                  </a:moveTo>
                  <a:lnTo>
                    <a:pt x="2" y="24"/>
                  </a:lnTo>
                  <a:lnTo>
                    <a:pt x="2" y="24"/>
                  </a:lnTo>
                  <a:lnTo>
                    <a:pt x="2" y="24"/>
                  </a:lnTo>
                  <a:lnTo>
                    <a:pt x="5" y="24"/>
                  </a:lnTo>
                  <a:close/>
                  <a:moveTo>
                    <a:pt x="149" y="0"/>
                  </a:moveTo>
                  <a:lnTo>
                    <a:pt x="149" y="0"/>
                  </a:lnTo>
                  <a:lnTo>
                    <a:pt x="149" y="0"/>
                  </a:lnTo>
                  <a:lnTo>
                    <a:pt x="149" y="0"/>
                  </a:lnTo>
                  <a:lnTo>
                    <a:pt x="149" y="0"/>
                  </a:lnTo>
                  <a:lnTo>
                    <a:pt x="14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2" name="Freeform 55039"/>
            <p:cNvSpPr>
              <a:spLocks/>
            </p:cNvSpPr>
            <p:nvPr/>
          </p:nvSpPr>
          <p:spPr bwMode="auto">
            <a:xfrm>
              <a:off x="1120774" y="5942032"/>
              <a:ext cx="34925" cy="15875"/>
            </a:xfrm>
            <a:custGeom>
              <a:avLst/>
              <a:gdLst>
                <a:gd name="T0" fmla="*/ 5 w 22"/>
                <a:gd name="T1" fmla="*/ 0 h 10"/>
                <a:gd name="T2" fmla="*/ 5 w 22"/>
                <a:gd name="T3" fmla="*/ 0 h 10"/>
                <a:gd name="T4" fmla="*/ 5 w 22"/>
                <a:gd name="T5" fmla="*/ 2 h 10"/>
                <a:gd name="T6" fmla="*/ 5 w 22"/>
                <a:gd name="T7" fmla="*/ 2 h 10"/>
                <a:gd name="T8" fmla="*/ 8 w 22"/>
                <a:gd name="T9" fmla="*/ 2 h 10"/>
                <a:gd name="T10" fmla="*/ 8 w 22"/>
                <a:gd name="T11" fmla="*/ 2 h 10"/>
                <a:gd name="T12" fmla="*/ 8 w 22"/>
                <a:gd name="T13" fmla="*/ 2 h 10"/>
                <a:gd name="T14" fmla="*/ 8 w 22"/>
                <a:gd name="T15" fmla="*/ 2 h 10"/>
                <a:gd name="T16" fmla="*/ 8 w 22"/>
                <a:gd name="T17" fmla="*/ 2 h 10"/>
                <a:gd name="T18" fmla="*/ 10 w 22"/>
                <a:gd name="T19" fmla="*/ 2 h 10"/>
                <a:gd name="T20" fmla="*/ 10 w 22"/>
                <a:gd name="T21" fmla="*/ 2 h 10"/>
                <a:gd name="T22" fmla="*/ 12 w 22"/>
                <a:gd name="T23" fmla="*/ 2 h 10"/>
                <a:gd name="T24" fmla="*/ 12 w 22"/>
                <a:gd name="T25" fmla="*/ 2 h 10"/>
                <a:gd name="T26" fmla="*/ 12 w 22"/>
                <a:gd name="T27" fmla="*/ 2 h 10"/>
                <a:gd name="T28" fmla="*/ 15 w 22"/>
                <a:gd name="T29" fmla="*/ 2 h 10"/>
                <a:gd name="T30" fmla="*/ 15 w 22"/>
                <a:gd name="T31" fmla="*/ 2 h 10"/>
                <a:gd name="T32" fmla="*/ 15 w 22"/>
                <a:gd name="T33" fmla="*/ 2 h 10"/>
                <a:gd name="T34" fmla="*/ 15 w 22"/>
                <a:gd name="T35" fmla="*/ 2 h 10"/>
                <a:gd name="T36" fmla="*/ 15 w 22"/>
                <a:gd name="T37" fmla="*/ 2 h 10"/>
                <a:gd name="T38" fmla="*/ 15 w 22"/>
                <a:gd name="T39" fmla="*/ 5 h 10"/>
                <a:gd name="T40" fmla="*/ 15 w 22"/>
                <a:gd name="T41" fmla="*/ 5 h 10"/>
                <a:gd name="T42" fmla="*/ 17 w 22"/>
                <a:gd name="T43" fmla="*/ 5 h 10"/>
                <a:gd name="T44" fmla="*/ 17 w 22"/>
                <a:gd name="T45" fmla="*/ 5 h 10"/>
                <a:gd name="T46" fmla="*/ 17 w 22"/>
                <a:gd name="T47" fmla="*/ 5 h 10"/>
                <a:gd name="T48" fmla="*/ 19 w 22"/>
                <a:gd name="T49" fmla="*/ 5 h 10"/>
                <a:gd name="T50" fmla="*/ 19 w 22"/>
                <a:gd name="T51" fmla="*/ 5 h 10"/>
                <a:gd name="T52" fmla="*/ 19 w 22"/>
                <a:gd name="T53" fmla="*/ 5 h 10"/>
                <a:gd name="T54" fmla="*/ 19 w 22"/>
                <a:gd name="T55" fmla="*/ 5 h 10"/>
                <a:gd name="T56" fmla="*/ 19 w 22"/>
                <a:gd name="T57" fmla="*/ 5 h 10"/>
                <a:gd name="T58" fmla="*/ 22 w 22"/>
                <a:gd name="T59" fmla="*/ 7 h 10"/>
                <a:gd name="T60" fmla="*/ 19 w 22"/>
                <a:gd name="T61" fmla="*/ 5 h 10"/>
                <a:gd name="T62" fmla="*/ 19 w 22"/>
                <a:gd name="T63" fmla="*/ 7 h 10"/>
                <a:gd name="T64" fmla="*/ 19 w 22"/>
                <a:gd name="T65" fmla="*/ 5 h 10"/>
                <a:gd name="T66" fmla="*/ 19 w 22"/>
                <a:gd name="T67" fmla="*/ 7 h 10"/>
                <a:gd name="T68" fmla="*/ 19 w 22"/>
                <a:gd name="T69" fmla="*/ 7 h 10"/>
                <a:gd name="T70" fmla="*/ 19 w 22"/>
                <a:gd name="T71" fmla="*/ 7 h 10"/>
                <a:gd name="T72" fmla="*/ 17 w 22"/>
                <a:gd name="T73" fmla="*/ 7 h 10"/>
                <a:gd name="T74" fmla="*/ 17 w 22"/>
                <a:gd name="T75" fmla="*/ 7 h 10"/>
                <a:gd name="T76" fmla="*/ 17 w 22"/>
                <a:gd name="T77" fmla="*/ 10 h 10"/>
                <a:gd name="T78" fmla="*/ 17 w 22"/>
                <a:gd name="T79" fmla="*/ 10 h 10"/>
                <a:gd name="T80" fmla="*/ 15 w 22"/>
                <a:gd name="T81" fmla="*/ 10 h 10"/>
                <a:gd name="T82" fmla="*/ 15 w 22"/>
                <a:gd name="T83" fmla="*/ 10 h 10"/>
                <a:gd name="T84" fmla="*/ 12 w 22"/>
                <a:gd name="T85" fmla="*/ 10 h 10"/>
                <a:gd name="T86" fmla="*/ 12 w 22"/>
                <a:gd name="T87" fmla="*/ 10 h 10"/>
                <a:gd name="T88" fmla="*/ 12 w 22"/>
                <a:gd name="T89" fmla="*/ 10 h 10"/>
                <a:gd name="T90" fmla="*/ 10 w 22"/>
                <a:gd name="T91" fmla="*/ 10 h 10"/>
                <a:gd name="T92" fmla="*/ 10 w 22"/>
                <a:gd name="T93" fmla="*/ 10 h 10"/>
                <a:gd name="T94" fmla="*/ 8 w 22"/>
                <a:gd name="T95" fmla="*/ 10 h 10"/>
                <a:gd name="T96" fmla="*/ 8 w 22"/>
                <a:gd name="T97" fmla="*/ 10 h 10"/>
                <a:gd name="T98" fmla="*/ 8 w 22"/>
                <a:gd name="T99" fmla="*/ 7 h 10"/>
                <a:gd name="T100" fmla="*/ 5 w 22"/>
                <a:gd name="T101" fmla="*/ 7 h 10"/>
                <a:gd name="T102" fmla="*/ 5 w 22"/>
                <a:gd name="T103" fmla="*/ 7 h 10"/>
                <a:gd name="T104" fmla="*/ 5 w 22"/>
                <a:gd name="T105" fmla="*/ 7 h 10"/>
                <a:gd name="T106" fmla="*/ 3 w 22"/>
                <a:gd name="T107" fmla="*/ 7 h 10"/>
                <a:gd name="T108" fmla="*/ 3 w 22"/>
                <a:gd name="T109" fmla="*/ 5 h 10"/>
                <a:gd name="T110" fmla="*/ 3 w 22"/>
                <a:gd name="T111" fmla="*/ 5 h 10"/>
                <a:gd name="T112" fmla="*/ 0 w 22"/>
                <a:gd name="T113" fmla="*/ 2 h 10"/>
                <a:gd name="T114" fmla="*/ 3 w 22"/>
                <a:gd name="T115" fmla="*/ 2 h 10"/>
                <a:gd name="T116" fmla="*/ 3 w 22"/>
                <a:gd name="T117" fmla="*/ 0 h 10"/>
                <a:gd name="T118" fmla="*/ 3 w 22"/>
                <a:gd name="T1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0">
                  <a:moveTo>
                    <a:pt x="3" y="0"/>
                  </a:moveTo>
                  <a:lnTo>
                    <a:pt x="5" y="0"/>
                  </a:lnTo>
                  <a:lnTo>
                    <a:pt x="5" y="0"/>
                  </a:lnTo>
                  <a:lnTo>
                    <a:pt x="5" y="0"/>
                  </a:lnTo>
                  <a:lnTo>
                    <a:pt x="5" y="0"/>
                  </a:lnTo>
                  <a:lnTo>
                    <a:pt x="5" y="0"/>
                  </a:lnTo>
                  <a:lnTo>
                    <a:pt x="5" y="0"/>
                  </a:lnTo>
                  <a:lnTo>
                    <a:pt x="5" y="0"/>
                  </a:lnTo>
                  <a:lnTo>
                    <a:pt x="5" y="0"/>
                  </a:lnTo>
                  <a:lnTo>
                    <a:pt x="5" y="0"/>
                  </a:lnTo>
                  <a:lnTo>
                    <a:pt x="5" y="0"/>
                  </a:lnTo>
                  <a:lnTo>
                    <a:pt x="5" y="0"/>
                  </a:lnTo>
                  <a:lnTo>
                    <a:pt x="5" y="2"/>
                  </a:lnTo>
                  <a:lnTo>
                    <a:pt x="5" y="2"/>
                  </a:lnTo>
                  <a:lnTo>
                    <a:pt x="5" y="2"/>
                  </a:lnTo>
                  <a:lnTo>
                    <a:pt x="5" y="2"/>
                  </a:lnTo>
                  <a:lnTo>
                    <a:pt x="5" y="2"/>
                  </a:lnTo>
                  <a:lnTo>
                    <a:pt x="5" y="2"/>
                  </a:lnTo>
                  <a:lnTo>
                    <a:pt x="5" y="2"/>
                  </a:lnTo>
                  <a:lnTo>
                    <a:pt x="5" y="2"/>
                  </a:lnTo>
                  <a:lnTo>
                    <a:pt x="5" y="2"/>
                  </a:lnTo>
                  <a:lnTo>
                    <a:pt x="5" y="2"/>
                  </a:lnTo>
                  <a:lnTo>
                    <a:pt x="5" y="2"/>
                  </a:lnTo>
                  <a:lnTo>
                    <a:pt x="5"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10" y="2"/>
                  </a:lnTo>
                  <a:lnTo>
                    <a:pt x="10" y="2"/>
                  </a:lnTo>
                  <a:lnTo>
                    <a:pt x="10" y="2"/>
                  </a:lnTo>
                  <a:lnTo>
                    <a:pt x="10" y="2"/>
                  </a:lnTo>
                  <a:lnTo>
                    <a:pt x="10" y="2"/>
                  </a:lnTo>
                  <a:lnTo>
                    <a:pt x="10" y="2"/>
                  </a:lnTo>
                  <a:lnTo>
                    <a:pt x="10" y="2"/>
                  </a:lnTo>
                  <a:lnTo>
                    <a:pt x="10" y="2"/>
                  </a:lnTo>
                  <a:lnTo>
                    <a:pt x="10" y="2"/>
                  </a:lnTo>
                  <a:lnTo>
                    <a:pt x="10"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5" y="2"/>
                  </a:lnTo>
                  <a:lnTo>
                    <a:pt x="15" y="2"/>
                  </a:lnTo>
                  <a:lnTo>
                    <a:pt x="12"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5"/>
                  </a:lnTo>
                  <a:lnTo>
                    <a:pt x="15" y="5"/>
                  </a:lnTo>
                  <a:lnTo>
                    <a:pt x="15" y="2"/>
                  </a:lnTo>
                  <a:lnTo>
                    <a:pt x="15" y="5"/>
                  </a:lnTo>
                  <a:lnTo>
                    <a:pt x="15" y="5"/>
                  </a:lnTo>
                  <a:lnTo>
                    <a:pt x="15" y="5"/>
                  </a:lnTo>
                  <a:lnTo>
                    <a:pt x="15" y="5"/>
                  </a:lnTo>
                  <a:lnTo>
                    <a:pt x="15" y="5"/>
                  </a:lnTo>
                  <a:lnTo>
                    <a:pt x="15" y="5"/>
                  </a:lnTo>
                  <a:lnTo>
                    <a:pt x="15" y="5"/>
                  </a:lnTo>
                  <a:lnTo>
                    <a:pt x="15" y="5"/>
                  </a:lnTo>
                  <a:lnTo>
                    <a:pt x="15" y="5"/>
                  </a:lnTo>
                  <a:lnTo>
                    <a:pt x="15"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22" y="5"/>
                  </a:lnTo>
                  <a:lnTo>
                    <a:pt x="22" y="5"/>
                  </a:lnTo>
                  <a:lnTo>
                    <a:pt x="22" y="5"/>
                  </a:lnTo>
                  <a:lnTo>
                    <a:pt x="22" y="7"/>
                  </a:lnTo>
                  <a:lnTo>
                    <a:pt x="22" y="7"/>
                  </a:lnTo>
                  <a:lnTo>
                    <a:pt x="22" y="7"/>
                  </a:lnTo>
                  <a:lnTo>
                    <a:pt x="22" y="5"/>
                  </a:lnTo>
                  <a:lnTo>
                    <a:pt x="19" y="5"/>
                  </a:lnTo>
                  <a:lnTo>
                    <a:pt x="19" y="5"/>
                  </a:lnTo>
                  <a:lnTo>
                    <a:pt x="19" y="5"/>
                  </a:lnTo>
                  <a:lnTo>
                    <a:pt x="19" y="5"/>
                  </a:lnTo>
                  <a:lnTo>
                    <a:pt x="19" y="5"/>
                  </a:lnTo>
                  <a:lnTo>
                    <a:pt x="19" y="5"/>
                  </a:lnTo>
                  <a:lnTo>
                    <a:pt x="19" y="7"/>
                  </a:lnTo>
                  <a:lnTo>
                    <a:pt x="19" y="7"/>
                  </a:lnTo>
                  <a:lnTo>
                    <a:pt x="19" y="5"/>
                  </a:lnTo>
                  <a:lnTo>
                    <a:pt x="19" y="5"/>
                  </a:lnTo>
                  <a:lnTo>
                    <a:pt x="19" y="5"/>
                  </a:lnTo>
                  <a:lnTo>
                    <a:pt x="19" y="5"/>
                  </a:lnTo>
                  <a:lnTo>
                    <a:pt x="19" y="5"/>
                  </a:lnTo>
                  <a:lnTo>
                    <a:pt x="19" y="5"/>
                  </a:lnTo>
                  <a:lnTo>
                    <a:pt x="19" y="5"/>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7" y="7"/>
                  </a:lnTo>
                  <a:lnTo>
                    <a:pt x="17" y="7"/>
                  </a:lnTo>
                  <a:lnTo>
                    <a:pt x="17" y="7"/>
                  </a:lnTo>
                  <a:lnTo>
                    <a:pt x="17" y="7"/>
                  </a:lnTo>
                  <a:lnTo>
                    <a:pt x="17" y="7"/>
                  </a:lnTo>
                  <a:lnTo>
                    <a:pt x="17" y="7"/>
                  </a:lnTo>
                  <a:lnTo>
                    <a:pt x="17" y="7"/>
                  </a:lnTo>
                  <a:lnTo>
                    <a:pt x="17" y="7"/>
                  </a:lnTo>
                  <a:lnTo>
                    <a:pt x="17" y="7"/>
                  </a:lnTo>
                  <a:lnTo>
                    <a:pt x="17" y="7"/>
                  </a:lnTo>
                  <a:lnTo>
                    <a:pt x="17" y="7"/>
                  </a:lnTo>
                  <a:lnTo>
                    <a:pt x="17" y="10"/>
                  </a:lnTo>
                  <a:lnTo>
                    <a:pt x="17" y="10"/>
                  </a:lnTo>
                  <a:lnTo>
                    <a:pt x="17" y="10"/>
                  </a:lnTo>
                  <a:lnTo>
                    <a:pt x="17" y="10"/>
                  </a:lnTo>
                  <a:lnTo>
                    <a:pt x="17" y="10"/>
                  </a:lnTo>
                  <a:lnTo>
                    <a:pt x="17" y="10"/>
                  </a:lnTo>
                  <a:lnTo>
                    <a:pt x="17" y="10"/>
                  </a:lnTo>
                  <a:lnTo>
                    <a:pt x="17" y="10"/>
                  </a:lnTo>
                  <a:lnTo>
                    <a:pt x="17" y="10"/>
                  </a:lnTo>
                  <a:lnTo>
                    <a:pt x="15" y="10"/>
                  </a:lnTo>
                  <a:lnTo>
                    <a:pt x="15" y="10"/>
                  </a:lnTo>
                  <a:lnTo>
                    <a:pt x="15" y="10"/>
                  </a:lnTo>
                  <a:lnTo>
                    <a:pt x="15" y="10"/>
                  </a:lnTo>
                  <a:lnTo>
                    <a:pt x="15" y="10"/>
                  </a:lnTo>
                  <a:lnTo>
                    <a:pt x="15" y="10"/>
                  </a:lnTo>
                  <a:lnTo>
                    <a:pt x="15" y="10"/>
                  </a:lnTo>
                  <a:lnTo>
                    <a:pt x="15" y="10"/>
                  </a:lnTo>
                  <a:lnTo>
                    <a:pt x="15" y="10"/>
                  </a:lnTo>
                  <a:lnTo>
                    <a:pt x="15"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0" y="10"/>
                  </a:lnTo>
                  <a:lnTo>
                    <a:pt x="10" y="10"/>
                  </a:lnTo>
                  <a:lnTo>
                    <a:pt x="10" y="10"/>
                  </a:lnTo>
                  <a:lnTo>
                    <a:pt x="10" y="10"/>
                  </a:lnTo>
                  <a:lnTo>
                    <a:pt x="10" y="10"/>
                  </a:lnTo>
                  <a:lnTo>
                    <a:pt x="10" y="10"/>
                  </a:lnTo>
                  <a:lnTo>
                    <a:pt x="10" y="10"/>
                  </a:lnTo>
                  <a:lnTo>
                    <a:pt x="10" y="10"/>
                  </a:lnTo>
                  <a:lnTo>
                    <a:pt x="10" y="10"/>
                  </a:lnTo>
                  <a:lnTo>
                    <a:pt x="10" y="10"/>
                  </a:lnTo>
                  <a:lnTo>
                    <a:pt x="8" y="10"/>
                  </a:lnTo>
                  <a:lnTo>
                    <a:pt x="8" y="10"/>
                  </a:lnTo>
                  <a:lnTo>
                    <a:pt x="8" y="10"/>
                  </a:lnTo>
                  <a:lnTo>
                    <a:pt x="8" y="10"/>
                  </a:lnTo>
                  <a:lnTo>
                    <a:pt x="8" y="10"/>
                  </a:lnTo>
                  <a:lnTo>
                    <a:pt x="8" y="10"/>
                  </a:lnTo>
                  <a:lnTo>
                    <a:pt x="8" y="10"/>
                  </a:lnTo>
                  <a:lnTo>
                    <a:pt x="8" y="10"/>
                  </a:lnTo>
                  <a:lnTo>
                    <a:pt x="8" y="10"/>
                  </a:lnTo>
                  <a:lnTo>
                    <a:pt x="8" y="10"/>
                  </a:lnTo>
                  <a:lnTo>
                    <a:pt x="8"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3" y="7"/>
                  </a:lnTo>
                  <a:lnTo>
                    <a:pt x="3" y="7"/>
                  </a:lnTo>
                  <a:lnTo>
                    <a:pt x="3" y="7"/>
                  </a:lnTo>
                  <a:lnTo>
                    <a:pt x="3" y="7"/>
                  </a:lnTo>
                  <a:lnTo>
                    <a:pt x="3" y="7"/>
                  </a:lnTo>
                  <a:lnTo>
                    <a:pt x="3" y="7"/>
                  </a:lnTo>
                  <a:lnTo>
                    <a:pt x="3" y="5"/>
                  </a:lnTo>
                  <a:lnTo>
                    <a:pt x="3" y="5"/>
                  </a:lnTo>
                  <a:lnTo>
                    <a:pt x="3" y="5"/>
                  </a:lnTo>
                  <a:lnTo>
                    <a:pt x="3" y="5"/>
                  </a:lnTo>
                  <a:lnTo>
                    <a:pt x="3" y="5"/>
                  </a:lnTo>
                  <a:lnTo>
                    <a:pt x="3" y="5"/>
                  </a:lnTo>
                  <a:lnTo>
                    <a:pt x="3" y="5"/>
                  </a:lnTo>
                  <a:lnTo>
                    <a:pt x="3" y="5"/>
                  </a:lnTo>
                  <a:lnTo>
                    <a:pt x="3" y="5"/>
                  </a:lnTo>
                  <a:lnTo>
                    <a:pt x="3" y="5"/>
                  </a:lnTo>
                  <a:lnTo>
                    <a:pt x="3" y="5"/>
                  </a:lnTo>
                  <a:lnTo>
                    <a:pt x="3" y="2"/>
                  </a:lnTo>
                  <a:lnTo>
                    <a:pt x="0" y="2"/>
                  </a:lnTo>
                  <a:lnTo>
                    <a:pt x="0" y="2"/>
                  </a:lnTo>
                  <a:lnTo>
                    <a:pt x="3" y="2"/>
                  </a:lnTo>
                  <a:lnTo>
                    <a:pt x="3" y="2"/>
                  </a:lnTo>
                  <a:lnTo>
                    <a:pt x="3" y="2"/>
                  </a:lnTo>
                  <a:lnTo>
                    <a:pt x="3" y="2"/>
                  </a:lnTo>
                  <a:lnTo>
                    <a:pt x="3" y="2"/>
                  </a:lnTo>
                  <a:lnTo>
                    <a:pt x="3" y="2"/>
                  </a:lnTo>
                  <a:lnTo>
                    <a:pt x="3" y="2"/>
                  </a:lnTo>
                  <a:lnTo>
                    <a:pt x="3" y="2"/>
                  </a:lnTo>
                  <a:lnTo>
                    <a:pt x="3" y="2"/>
                  </a:lnTo>
                  <a:lnTo>
                    <a:pt x="3" y="0"/>
                  </a:lnTo>
                  <a:lnTo>
                    <a:pt x="3" y="0"/>
                  </a:lnTo>
                  <a:lnTo>
                    <a:pt x="3" y="0"/>
                  </a:ln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3" name="Freeform 55040"/>
            <p:cNvSpPr>
              <a:spLocks/>
            </p:cNvSpPr>
            <p:nvPr/>
          </p:nvSpPr>
          <p:spPr bwMode="auto">
            <a:xfrm>
              <a:off x="673099" y="5591193"/>
              <a:ext cx="38100" cy="15875"/>
            </a:xfrm>
            <a:custGeom>
              <a:avLst/>
              <a:gdLst>
                <a:gd name="T0" fmla="*/ 5 w 24"/>
                <a:gd name="T1" fmla="*/ 0 h 10"/>
                <a:gd name="T2" fmla="*/ 5 w 24"/>
                <a:gd name="T3" fmla="*/ 3 h 10"/>
                <a:gd name="T4" fmla="*/ 5 w 24"/>
                <a:gd name="T5" fmla="*/ 3 h 10"/>
                <a:gd name="T6" fmla="*/ 5 w 24"/>
                <a:gd name="T7" fmla="*/ 3 h 10"/>
                <a:gd name="T8" fmla="*/ 7 w 24"/>
                <a:gd name="T9" fmla="*/ 3 h 10"/>
                <a:gd name="T10" fmla="*/ 7 w 24"/>
                <a:gd name="T11" fmla="*/ 3 h 10"/>
                <a:gd name="T12" fmla="*/ 7 w 24"/>
                <a:gd name="T13" fmla="*/ 3 h 10"/>
                <a:gd name="T14" fmla="*/ 10 w 24"/>
                <a:gd name="T15" fmla="*/ 5 h 10"/>
                <a:gd name="T16" fmla="*/ 10 w 24"/>
                <a:gd name="T17" fmla="*/ 5 h 10"/>
                <a:gd name="T18" fmla="*/ 10 w 24"/>
                <a:gd name="T19" fmla="*/ 5 h 10"/>
                <a:gd name="T20" fmla="*/ 12 w 24"/>
                <a:gd name="T21" fmla="*/ 5 h 10"/>
                <a:gd name="T22" fmla="*/ 12 w 24"/>
                <a:gd name="T23" fmla="*/ 3 h 10"/>
                <a:gd name="T24" fmla="*/ 12 w 24"/>
                <a:gd name="T25" fmla="*/ 3 h 10"/>
                <a:gd name="T26" fmla="*/ 12 w 24"/>
                <a:gd name="T27" fmla="*/ 3 h 10"/>
                <a:gd name="T28" fmla="*/ 12 w 24"/>
                <a:gd name="T29" fmla="*/ 3 h 10"/>
                <a:gd name="T30" fmla="*/ 14 w 24"/>
                <a:gd name="T31" fmla="*/ 3 h 10"/>
                <a:gd name="T32" fmla="*/ 14 w 24"/>
                <a:gd name="T33" fmla="*/ 3 h 10"/>
                <a:gd name="T34" fmla="*/ 14 w 24"/>
                <a:gd name="T35" fmla="*/ 5 h 10"/>
                <a:gd name="T36" fmla="*/ 14 w 24"/>
                <a:gd name="T37" fmla="*/ 3 h 10"/>
                <a:gd name="T38" fmla="*/ 17 w 24"/>
                <a:gd name="T39" fmla="*/ 3 h 10"/>
                <a:gd name="T40" fmla="*/ 17 w 24"/>
                <a:gd name="T41" fmla="*/ 3 h 10"/>
                <a:gd name="T42" fmla="*/ 17 w 24"/>
                <a:gd name="T43" fmla="*/ 3 h 10"/>
                <a:gd name="T44" fmla="*/ 19 w 24"/>
                <a:gd name="T45" fmla="*/ 3 h 10"/>
                <a:gd name="T46" fmla="*/ 19 w 24"/>
                <a:gd name="T47" fmla="*/ 3 h 10"/>
                <a:gd name="T48" fmla="*/ 19 w 24"/>
                <a:gd name="T49" fmla="*/ 3 h 10"/>
                <a:gd name="T50" fmla="*/ 21 w 24"/>
                <a:gd name="T51" fmla="*/ 3 h 10"/>
                <a:gd name="T52" fmla="*/ 24 w 24"/>
                <a:gd name="T53" fmla="*/ 3 h 10"/>
                <a:gd name="T54" fmla="*/ 24 w 24"/>
                <a:gd name="T55" fmla="*/ 5 h 10"/>
                <a:gd name="T56" fmla="*/ 24 w 24"/>
                <a:gd name="T57" fmla="*/ 5 h 10"/>
                <a:gd name="T58" fmla="*/ 24 w 24"/>
                <a:gd name="T59" fmla="*/ 7 h 10"/>
                <a:gd name="T60" fmla="*/ 21 w 24"/>
                <a:gd name="T61" fmla="*/ 7 h 10"/>
                <a:gd name="T62" fmla="*/ 21 w 24"/>
                <a:gd name="T63" fmla="*/ 7 h 10"/>
                <a:gd name="T64" fmla="*/ 21 w 24"/>
                <a:gd name="T65" fmla="*/ 7 h 10"/>
                <a:gd name="T66" fmla="*/ 19 w 24"/>
                <a:gd name="T67" fmla="*/ 7 h 10"/>
                <a:gd name="T68" fmla="*/ 19 w 24"/>
                <a:gd name="T69" fmla="*/ 7 h 10"/>
                <a:gd name="T70" fmla="*/ 19 w 24"/>
                <a:gd name="T71" fmla="*/ 7 h 10"/>
                <a:gd name="T72" fmla="*/ 17 w 24"/>
                <a:gd name="T73" fmla="*/ 7 h 10"/>
                <a:gd name="T74" fmla="*/ 17 w 24"/>
                <a:gd name="T75" fmla="*/ 7 h 10"/>
                <a:gd name="T76" fmla="*/ 17 w 24"/>
                <a:gd name="T77" fmla="*/ 10 h 10"/>
                <a:gd name="T78" fmla="*/ 14 w 24"/>
                <a:gd name="T79" fmla="*/ 10 h 10"/>
                <a:gd name="T80" fmla="*/ 14 w 24"/>
                <a:gd name="T81" fmla="*/ 10 h 10"/>
                <a:gd name="T82" fmla="*/ 12 w 24"/>
                <a:gd name="T83" fmla="*/ 10 h 10"/>
                <a:gd name="T84" fmla="*/ 12 w 24"/>
                <a:gd name="T85" fmla="*/ 10 h 10"/>
                <a:gd name="T86" fmla="*/ 12 w 24"/>
                <a:gd name="T87" fmla="*/ 10 h 10"/>
                <a:gd name="T88" fmla="*/ 10 w 24"/>
                <a:gd name="T89" fmla="*/ 7 h 10"/>
                <a:gd name="T90" fmla="*/ 10 w 24"/>
                <a:gd name="T91" fmla="*/ 7 h 10"/>
                <a:gd name="T92" fmla="*/ 10 w 24"/>
                <a:gd name="T93" fmla="*/ 7 h 10"/>
                <a:gd name="T94" fmla="*/ 7 w 24"/>
                <a:gd name="T95" fmla="*/ 7 h 10"/>
                <a:gd name="T96" fmla="*/ 7 w 24"/>
                <a:gd name="T97" fmla="*/ 7 h 10"/>
                <a:gd name="T98" fmla="*/ 7 w 24"/>
                <a:gd name="T99" fmla="*/ 7 h 10"/>
                <a:gd name="T100" fmla="*/ 7 w 24"/>
                <a:gd name="T101" fmla="*/ 7 h 10"/>
                <a:gd name="T102" fmla="*/ 7 w 24"/>
                <a:gd name="T103" fmla="*/ 7 h 10"/>
                <a:gd name="T104" fmla="*/ 5 w 24"/>
                <a:gd name="T105" fmla="*/ 7 h 10"/>
                <a:gd name="T106" fmla="*/ 5 w 24"/>
                <a:gd name="T107" fmla="*/ 7 h 10"/>
                <a:gd name="T108" fmla="*/ 2 w 24"/>
                <a:gd name="T109" fmla="*/ 5 h 10"/>
                <a:gd name="T110" fmla="*/ 2 w 24"/>
                <a:gd name="T111" fmla="*/ 5 h 10"/>
                <a:gd name="T112" fmla="*/ 2 w 24"/>
                <a:gd name="T113" fmla="*/ 5 h 10"/>
                <a:gd name="T114" fmla="*/ 0 w 24"/>
                <a:gd name="T115" fmla="*/ 3 h 10"/>
                <a:gd name="T116" fmla="*/ 0 w 24"/>
                <a:gd name="T117" fmla="*/ 3 h 10"/>
                <a:gd name="T118" fmla="*/ 0 w 24"/>
                <a:gd name="T119" fmla="*/ 3 h 10"/>
                <a:gd name="T120" fmla="*/ 0 w 24"/>
                <a:gd name="T121" fmla="*/ 0 h 10"/>
                <a:gd name="T122" fmla="*/ 2 w 24"/>
                <a:gd name="T123" fmla="*/ 0 h 10"/>
                <a:gd name="T124" fmla="*/ 2 w 24"/>
                <a:gd name="T1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 h="10">
                  <a:moveTo>
                    <a:pt x="2" y="0"/>
                  </a:moveTo>
                  <a:lnTo>
                    <a:pt x="5" y="0"/>
                  </a:lnTo>
                  <a:lnTo>
                    <a:pt x="5" y="0"/>
                  </a:lnTo>
                  <a:lnTo>
                    <a:pt x="5" y="0"/>
                  </a:lnTo>
                  <a:lnTo>
                    <a:pt x="5" y="0"/>
                  </a:lnTo>
                  <a:lnTo>
                    <a:pt x="5" y="0"/>
                  </a:lnTo>
                  <a:lnTo>
                    <a:pt x="5" y="0"/>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5"/>
                  </a:lnTo>
                  <a:lnTo>
                    <a:pt x="7"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2" y="5"/>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5"/>
                  </a:lnTo>
                  <a:lnTo>
                    <a:pt x="12" y="3"/>
                  </a:lnTo>
                  <a:lnTo>
                    <a:pt x="14" y="5"/>
                  </a:lnTo>
                  <a:lnTo>
                    <a:pt x="14" y="3"/>
                  </a:lnTo>
                  <a:lnTo>
                    <a:pt x="14" y="3"/>
                  </a:lnTo>
                  <a:lnTo>
                    <a:pt x="14" y="5"/>
                  </a:lnTo>
                  <a:lnTo>
                    <a:pt x="14" y="5"/>
                  </a:lnTo>
                  <a:lnTo>
                    <a:pt x="14" y="3"/>
                  </a:lnTo>
                  <a:lnTo>
                    <a:pt x="14" y="3"/>
                  </a:lnTo>
                  <a:lnTo>
                    <a:pt x="14" y="3"/>
                  </a:lnTo>
                  <a:lnTo>
                    <a:pt x="14" y="3"/>
                  </a:lnTo>
                  <a:lnTo>
                    <a:pt x="14" y="3"/>
                  </a:lnTo>
                  <a:lnTo>
                    <a:pt x="14" y="5"/>
                  </a:lnTo>
                  <a:lnTo>
                    <a:pt x="14" y="5"/>
                  </a:lnTo>
                  <a:lnTo>
                    <a:pt x="14" y="5"/>
                  </a:lnTo>
                  <a:lnTo>
                    <a:pt x="14" y="5"/>
                  </a:lnTo>
                  <a:lnTo>
                    <a:pt x="14" y="3"/>
                  </a:lnTo>
                  <a:lnTo>
                    <a:pt x="14" y="3"/>
                  </a:lnTo>
                  <a:lnTo>
                    <a:pt x="14" y="3"/>
                  </a:lnTo>
                  <a:lnTo>
                    <a:pt x="14" y="3"/>
                  </a:lnTo>
                  <a:lnTo>
                    <a:pt x="14"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9" y="3"/>
                  </a:lnTo>
                  <a:lnTo>
                    <a:pt x="19" y="3"/>
                  </a:lnTo>
                  <a:lnTo>
                    <a:pt x="19" y="3"/>
                  </a:lnTo>
                  <a:lnTo>
                    <a:pt x="19" y="3"/>
                  </a:lnTo>
                  <a:lnTo>
                    <a:pt x="19" y="3"/>
                  </a:lnTo>
                  <a:lnTo>
                    <a:pt x="19" y="3"/>
                  </a:lnTo>
                  <a:lnTo>
                    <a:pt x="19" y="3"/>
                  </a:lnTo>
                  <a:lnTo>
                    <a:pt x="19" y="3"/>
                  </a:lnTo>
                  <a:lnTo>
                    <a:pt x="19" y="3"/>
                  </a:lnTo>
                  <a:lnTo>
                    <a:pt x="19" y="3"/>
                  </a:lnTo>
                  <a:lnTo>
                    <a:pt x="19" y="3"/>
                  </a:lnTo>
                  <a:lnTo>
                    <a:pt x="19" y="3"/>
                  </a:lnTo>
                  <a:lnTo>
                    <a:pt x="19" y="3"/>
                  </a:lnTo>
                  <a:lnTo>
                    <a:pt x="19" y="3"/>
                  </a:lnTo>
                  <a:lnTo>
                    <a:pt x="21" y="3"/>
                  </a:lnTo>
                  <a:lnTo>
                    <a:pt x="21" y="3"/>
                  </a:lnTo>
                  <a:lnTo>
                    <a:pt x="21" y="3"/>
                  </a:lnTo>
                  <a:lnTo>
                    <a:pt x="21" y="3"/>
                  </a:lnTo>
                  <a:lnTo>
                    <a:pt x="21" y="3"/>
                  </a:lnTo>
                  <a:lnTo>
                    <a:pt x="21" y="3"/>
                  </a:lnTo>
                  <a:lnTo>
                    <a:pt x="21" y="3"/>
                  </a:lnTo>
                  <a:lnTo>
                    <a:pt x="21" y="3"/>
                  </a:lnTo>
                  <a:lnTo>
                    <a:pt x="24" y="3"/>
                  </a:lnTo>
                  <a:lnTo>
                    <a:pt x="24" y="3"/>
                  </a:lnTo>
                  <a:lnTo>
                    <a:pt x="24" y="3"/>
                  </a:lnTo>
                  <a:lnTo>
                    <a:pt x="24" y="3"/>
                  </a:lnTo>
                  <a:lnTo>
                    <a:pt x="24" y="3"/>
                  </a:lnTo>
                  <a:lnTo>
                    <a:pt x="24" y="5"/>
                  </a:lnTo>
                  <a:lnTo>
                    <a:pt x="24" y="5"/>
                  </a:lnTo>
                  <a:lnTo>
                    <a:pt x="24" y="5"/>
                  </a:lnTo>
                  <a:lnTo>
                    <a:pt x="24" y="5"/>
                  </a:lnTo>
                  <a:lnTo>
                    <a:pt x="24" y="5"/>
                  </a:lnTo>
                  <a:lnTo>
                    <a:pt x="24" y="5"/>
                  </a:lnTo>
                  <a:lnTo>
                    <a:pt x="24" y="5"/>
                  </a:lnTo>
                  <a:lnTo>
                    <a:pt x="24" y="5"/>
                  </a:lnTo>
                  <a:lnTo>
                    <a:pt x="24" y="5"/>
                  </a:lnTo>
                  <a:lnTo>
                    <a:pt x="24" y="7"/>
                  </a:lnTo>
                  <a:lnTo>
                    <a:pt x="24" y="7"/>
                  </a:lnTo>
                  <a:lnTo>
                    <a:pt x="24" y="7"/>
                  </a:lnTo>
                  <a:lnTo>
                    <a:pt x="24" y="7"/>
                  </a:lnTo>
                  <a:lnTo>
                    <a:pt x="24" y="7"/>
                  </a:lnTo>
                  <a:lnTo>
                    <a:pt x="24" y="7"/>
                  </a:lnTo>
                  <a:lnTo>
                    <a:pt x="21" y="7"/>
                  </a:lnTo>
                  <a:lnTo>
                    <a:pt x="21" y="7"/>
                  </a:lnTo>
                  <a:lnTo>
                    <a:pt x="21" y="7"/>
                  </a:lnTo>
                  <a:lnTo>
                    <a:pt x="21" y="7"/>
                  </a:lnTo>
                  <a:lnTo>
                    <a:pt x="21" y="7"/>
                  </a:lnTo>
                  <a:lnTo>
                    <a:pt x="21" y="7"/>
                  </a:lnTo>
                  <a:lnTo>
                    <a:pt x="21" y="7"/>
                  </a:lnTo>
                  <a:lnTo>
                    <a:pt x="21" y="7"/>
                  </a:lnTo>
                  <a:lnTo>
                    <a:pt x="21" y="7"/>
                  </a:lnTo>
                  <a:lnTo>
                    <a:pt x="21" y="7"/>
                  </a:lnTo>
                  <a:lnTo>
                    <a:pt x="21"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7" y="7"/>
                  </a:lnTo>
                  <a:lnTo>
                    <a:pt x="17" y="7"/>
                  </a:lnTo>
                  <a:lnTo>
                    <a:pt x="17" y="7"/>
                  </a:lnTo>
                  <a:lnTo>
                    <a:pt x="17" y="7"/>
                  </a:lnTo>
                  <a:lnTo>
                    <a:pt x="17" y="7"/>
                  </a:lnTo>
                  <a:lnTo>
                    <a:pt x="17" y="7"/>
                  </a:lnTo>
                  <a:lnTo>
                    <a:pt x="17" y="7"/>
                  </a:lnTo>
                  <a:lnTo>
                    <a:pt x="17" y="7"/>
                  </a:lnTo>
                  <a:lnTo>
                    <a:pt x="17" y="7"/>
                  </a:lnTo>
                  <a:lnTo>
                    <a:pt x="17" y="10"/>
                  </a:lnTo>
                  <a:lnTo>
                    <a:pt x="17" y="10"/>
                  </a:lnTo>
                  <a:lnTo>
                    <a:pt x="17" y="10"/>
                  </a:lnTo>
                  <a:lnTo>
                    <a:pt x="14" y="10"/>
                  </a:lnTo>
                  <a:lnTo>
                    <a:pt x="14" y="10"/>
                  </a:lnTo>
                  <a:lnTo>
                    <a:pt x="14" y="10"/>
                  </a:lnTo>
                  <a:lnTo>
                    <a:pt x="14" y="10"/>
                  </a:lnTo>
                  <a:lnTo>
                    <a:pt x="14" y="10"/>
                  </a:lnTo>
                  <a:lnTo>
                    <a:pt x="14" y="10"/>
                  </a:lnTo>
                  <a:lnTo>
                    <a:pt x="14" y="10"/>
                  </a:lnTo>
                  <a:lnTo>
                    <a:pt x="14" y="10"/>
                  </a:lnTo>
                  <a:lnTo>
                    <a:pt x="14" y="10"/>
                  </a:lnTo>
                  <a:lnTo>
                    <a:pt x="14" y="10"/>
                  </a:lnTo>
                  <a:lnTo>
                    <a:pt x="14"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2" y="7"/>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0" y="3"/>
                  </a:lnTo>
                  <a:lnTo>
                    <a:pt x="0" y="3"/>
                  </a:lnTo>
                  <a:lnTo>
                    <a:pt x="0" y="3"/>
                  </a:lnTo>
                  <a:lnTo>
                    <a:pt x="0" y="3"/>
                  </a:lnTo>
                  <a:lnTo>
                    <a:pt x="0" y="3"/>
                  </a:lnTo>
                  <a:lnTo>
                    <a:pt x="0" y="3"/>
                  </a:lnTo>
                  <a:lnTo>
                    <a:pt x="0" y="3"/>
                  </a:lnTo>
                  <a:lnTo>
                    <a:pt x="0" y="3"/>
                  </a:lnTo>
                  <a:lnTo>
                    <a:pt x="0" y="3"/>
                  </a:lnTo>
                  <a:lnTo>
                    <a:pt x="0" y="3"/>
                  </a:lnTo>
                  <a:lnTo>
                    <a:pt x="0" y="3"/>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4" name="Freeform 55041"/>
            <p:cNvSpPr>
              <a:spLocks/>
            </p:cNvSpPr>
            <p:nvPr/>
          </p:nvSpPr>
          <p:spPr bwMode="auto">
            <a:xfrm>
              <a:off x="1528761" y="5286392"/>
              <a:ext cx="173038" cy="369889"/>
            </a:xfrm>
            <a:custGeom>
              <a:avLst/>
              <a:gdLst>
                <a:gd name="T0" fmla="*/ 30 w 109"/>
                <a:gd name="T1" fmla="*/ 47 h 233"/>
                <a:gd name="T2" fmla="*/ 26 w 109"/>
                <a:gd name="T3" fmla="*/ 38 h 233"/>
                <a:gd name="T4" fmla="*/ 23 w 109"/>
                <a:gd name="T5" fmla="*/ 23 h 233"/>
                <a:gd name="T6" fmla="*/ 23 w 109"/>
                <a:gd name="T7" fmla="*/ 14 h 233"/>
                <a:gd name="T8" fmla="*/ 38 w 109"/>
                <a:gd name="T9" fmla="*/ 2 h 233"/>
                <a:gd name="T10" fmla="*/ 45 w 109"/>
                <a:gd name="T11" fmla="*/ 7 h 233"/>
                <a:gd name="T12" fmla="*/ 52 w 109"/>
                <a:gd name="T13" fmla="*/ 14 h 233"/>
                <a:gd name="T14" fmla="*/ 66 w 109"/>
                <a:gd name="T15" fmla="*/ 14 h 233"/>
                <a:gd name="T16" fmla="*/ 80 w 109"/>
                <a:gd name="T17" fmla="*/ 9 h 233"/>
                <a:gd name="T18" fmla="*/ 97 w 109"/>
                <a:gd name="T19" fmla="*/ 9 h 233"/>
                <a:gd name="T20" fmla="*/ 99 w 109"/>
                <a:gd name="T21" fmla="*/ 23 h 233"/>
                <a:gd name="T22" fmla="*/ 106 w 109"/>
                <a:gd name="T23" fmla="*/ 33 h 233"/>
                <a:gd name="T24" fmla="*/ 97 w 109"/>
                <a:gd name="T25" fmla="*/ 42 h 233"/>
                <a:gd name="T26" fmla="*/ 87 w 109"/>
                <a:gd name="T27" fmla="*/ 52 h 233"/>
                <a:gd name="T28" fmla="*/ 90 w 109"/>
                <a:gd name="T29" fmla="*/ 64 h 233"/>
                <a:gd name="T30" fmla="*/ 87 w 109"/>
                <a:gd name="T31" fmla="*/ 76 h 233"/>
                <a:gd name="T32" fmla="*/ 83 w 109"/>
                <a:gd name="T33" fmla="*/ 92 h 233"/>
                <a:gd name="T34" fmla="*/ 87 w 109"/>
                <a:gd name="T35" fmla="*/ 102 h 233"/>
                <a:gd name="T36" fmla="*/ 76 w 109"/>
                <a:gd name="T37" fmla="*/ 114 h 233"/>
                <a:gd name="T38" fmla="*/ 73 w 109"/>
                <a:gd name="T39" fmla="*/ 121 h 233"/>
                <a:gd name="T40" fmla="*/ 80 w 109"/>
                <a:gd name="T41" fmla="*/ 138 h 233"/>
                <a:gd name="T42" fmla="*/ 80 w 109"/>
                <a:gd name="T43" fmla="*/ 149 h 233"/>
                <a:gd name="T44" fmla="*/ 73 w 109"/>
                <a:gd name="T45" fmla="*/ 161 h 233"/>
                <a:gd name="T46" fmla="*/ 83 w 109"/>
                <a:gd name="T47" fmla="*/ 180 h 233"/>
                <a:gd name="T48" fmla="*/ 76 w 109"/>
                <a:gd name="T49" fmla="*/ 187 h 233"/>
                <a:gd name="T50" fmla="*/ 68 w 109"/>
                <a:gd name="T51" fmla="*/ 202 h 233"/>
                <a:gd name="T52" fmla="*/ 68 w 109"/>
                <a:gd name="T53" fmla="*/ 216 h 233"/>
                <a:gd name="T54" fmla="*/ 61 w 109"/>
                <a:gd name="T55" fmla="*/ 228 h 233"/>
                <a:gd name="T56" fmla="*/ 49 w 109"/>
                <a:gd name="T57" fmla="*/ 233 h 233"/>
                <a:gd name="T58" fmla="*/ 40 w 109"/>
                <a:gd name="T59" fmla="*/ 228 h 233"/>
                <a:gd name="T60" fmla="*/ 28 w 109"/>
                <a:gd name="T61" fmla="*/ 228 h 233"/>
                <a:gd name="T62" fmla="*/ 19 w 109"/>
                <a:gd name="T63" fmla="*/ 233 h 233"/>
                <a:gd name="T64" fmla="*/ 19 w 109"/>
                <a:gd name="T65" fmla="*/ 223 h 233"/>
                <a:gd name="T66" fmla="*/ 23 w 109"/>
                <a:gd name="T67" fmla="*/ 209 h 233"/>
                <a:gd name="T68" fmla="*/ 23 w 109"/>
                <a:gd name="T69" fmla="*/ 199 h 233"/>
                <a:gd name="T70" fmla="*/ 23 w 109"/>
                <a:gd name="T71" fmla="*/ 185 h 233"/>
                <a:gd name="T72" fmla="*/ 21 w 109"/>
                <a:gd name="T73" fmla="*/ 168 h 233"/>
                <a:gd name="T74" fmla="*/ 26 w 109"/>
                <a:gd name="T75" fmla="*/ 168 h 233"/>
                <a:gd name="T76" fmla="*/ 28 w 109"/>
                <a:gd name="T77" fmla="*/ 168 h 233"/>
                <a:gd name="T78" fmla="*/ 26 w 109"/>
                <a:gd name="T79" fmla="*/ 161 h 233"/>
                <a:gd name="T80" fmla="*/ 21 w 109"/>
                <a:gd name="T81" fmla="*/ 166 h 233"/>
                <a:gd name="T82" fmla="*/ 11 w 109"/>
                <a:gd name="T83" fmla="*/ 168 h 233"/>
                <a:gd name="T84" fmla="*/ 14 w 109"/>
                <a:gd name="T85" fmla="*/ 159 h 233"/>
                <a:gd name="T86" fmla="*/ 16 w 109"/>
                <a:gd name="T87" fmla="*/ 157 h 233"/>
                <a:gd name="T88" fmla="*/ 19 w 109"/>
                <a:gd name="T89" fmla="*/ 149 h 233"/>
                <a:gd name="T90" fmla="*/ 19 w 109"/>
                <a:gd name="T91" fmla="*/ 142 h 233"/>
                <a:gd name="T92" fmla="*/ 9 w 109"/>
                <a:gd name="T93" fmla="*/ 157 h 233"/>
                <a:gd name="T94" fmla="*/ 0 w 109"/>
                <a:gd name="T95" fmla="*/ 152 h 233"/>
                <a:gd name="T96" fmla="*/ 2 w 109"/>
                <a:gd name="T97" fmla="*/ 140 h 233"/>
                <a:gd name="T98" fmla="*/ 7 w 109"/>
                <a:gd name="T99" fmla="*/ 130 h 233"/>
                <a:gd name="T100" fmla="*/ 9 w 109"/>
                <a:gd name="T101" fmla="*/ 123 h 233"/>
                <a:gd name="T102" fmla="*/ 16 w 109"/>
                <a:gd name="T103" fmla="*/ 107 h 233"/>
                <a:gd name="T104" fmla="*/ 21 w 109"/>
                <a:gd name="T105" fmla="*/ 92 h 233"/>
                <a:gd name="T106" fmla="*/ 26 w 109"/>
                <a:gd name="T107" fmla="*/ 69 h 233"/>
                <a:gd name="T108" fmla="*/ 30 w 109"/>
                <a:gd name="T109" fmla="*/ 64 h 233"/>
                <a:gd name="T110" fmla="*/ 28 w 109"/>
                <a:gd name="T111" fmla="*/ 64 h 233"/>
                <a:gd name="T112" fmla="*/ 28 w 109"/>
                <a:gd name="T113" fmla="*/ 61 h 233"/>
                <a:gd name="T114" fmla="*/ 35 w 109"/>
                <a:gd name="T115" fmla="*/ 5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 h="233">
                  <a:moveTo>
                    <a:pt x="42" y="50"/>
                  </a:moveTo>
                  <a:lnTo>
                    <a:pt x="40" y="50"/>
                  </a:lnTo>
                  <a:lnTo>
                    <a:pt x="38" y="52"/>
                  </a:lnTo>
                  <a:lnTo>
                    <a:pt x="38" y="50"/>
                  </a:lnTo>
                  <a:lnTo>
                    <a:pt x="35" y="50"/>
                  </a:lnTo>
                  <a:lnTo>
                    <a:pt x="35" y="52"/>
                  </a:lnTo>
                  <a:lnTo>
                    <a:pt x="35" y="50"/>
                  </a:lnTo>
                  <a:lnTo>
                    <a:pt x="33" y="50"/>
                  </a:lnTo>
                  <a:lnTo>
                    <a:pt x="33" y="47"/>
                  </a:lnTo>
                  <a:lnTo>
                    <a:pt x="30" y="47"/>
                  </a:lnTo>
                  <a:lnTo>
                    <a:pt x="28" y="47"/>
                  </a:lnTo>
                  <a:lnTo>
                    <a:pt x="28" y="45"/>
                  </a:lnTo>
                  <a:lnTo>
                    <a:pt x="26" y="45"/>
                  </a:lnTo>
                  <a:lnTo>
                    <a:pt x="28" y="45"/>
                  </a:lnTo>
                  <a:lnTo>
                    <a:pt x="26" y="45"/>
                  </a:lnTo>
                  <a:lnTo>
                    <a:pt x="28" y="45"/>
                  </a:lnTo>
                  <a:lnTo>
                    <a:pt x="26" y="45"/>
                  </a:lnTo>
                  <a:lnTo>
                    <a:pt x="26" y="42"/>
                  </a:lnTo>
                  <a:lnTo>
                    <a:pt x="26" y="40"/>
                  </a:lnTo>
                  <a:lnTo>
                    <a:pt x="26" y="38"/>
                  </a:lnTo>
                  <a:lnTo>
                    <a:pt x="26" y="35"/>
                  </a:lnTo>
                  <a:lnTo>
                    <a:pt x="23" y="35"/>
                  </a:lnTo>
                  <a:lnTo>
                    <a:pt x="23" y="33"/>
                  </a:lnTo>
                  <a:lnTo>
                    <a:pt x="23" y="31"/>
                  </a:lnTo>
                  <a:lnTo>
                    <a:pt x="23" y="28"/>
                  </a:lnTo>
                  <a:lnTo>
                    <a:pt x="23" y="31"/>
                  </a:lnTo>
                  <a:lnTo>
                    <a:pt x="26" y="31"/>
                  </a:lnTo>
                  <a:lnTo>
                    <a:pt x="23" y="28"/>
                  </a:lnTo>
                  <a:lnTo>
                    <a:pt x="23" y="26"/>
                  </a:lnTo>
                  <a:lnTo>
                    <a:pt x="23" y="23"/>
                  </a:lnTo>
                  <a:lnTo>
                    <a:pt x="23" y="21"/>
                  </a:lnTo>
                  <a:lnTo>
                    <a:pt x="26" y="21"/>
                  </a:lnTo>
                  <a:lnTo>
                    <a:pt x="28" y="21"/>
                  </a:lnTo>
                  <a:lnTo>
                    <a:pt x="26" y="21"/>
                  </a:lnTo>
                  <a:lnTo>
                    <a:pt x="23" y="21"/>
                  </a:lnTo>
                  <a:lnTo>
                    <a:pt x="21" y="21"/>
                  </a:lnTo>
                  <a:lnTo>
                    <a:pt x="21" y="19"/>
                  </a:lnTo>
                  <a:lnTo>
                    <a:pt x="21" y="16"/>
                  </a:lnTo>
                  <a:lnTo>
                    <a:pt x="21" y="14"/>
                  </a:lnTo>
                  <a:lnTo>
                    <a:pt x="23" y="14"/>
                  </a:lnTo>
                  <a:lnTo>
                    <a:pt x="23" y="12"/>
                  </a:lnTo>
                  <a:lnTo>
                    <a:pt x="26" y="12"/>
                  </a:lnTo>
                  <a:lnTo>
                    <a:pt x="26" y="9"/>
                  </a:lnTo>
                  <a:lnTo>
                    <a:pt x="28" y="7"/>
                  </a:lnTo>
                  <a:lnTo>
                    <a:pt x="28" y="4"/>
                  </a:lnTo>
                  <a:lnTo>
                    <a:pt x="30" y="4"/>
                  </a:lnTo>
                  <a:lnTo>
                    <a:pt x="33" y="4"/>
                  </a:lnTo>
                  <a:lnTo>
                    <a:pt x="35" y="4"/>
                  </a:lnTo>
                  <a:lnTo>
                    <a:pt x="38" y="4"/>
                  </a:lnTo>
                  <a:lnTo>
                    <a:pt x="38" y="2"/>
                  </a:lnTo>
                  <a:lnTo>
                    <a:pt x="38" y="4"/>
                  </a:lnTo>
                  <a:lnTo>
                    <a:pt x="40" y="4"/>
                  </a:lnTo>
                  <a:lnTo>
                    <a:pt x="40" y="2"/>
                  </a:lnTo>
                  <a:lnTo>
                    <a:pt x="42" y="2"/>
                  </a:lnTo>
                  <a:lnTo>
                    <a:pt x="42" y="0"/>
                  </a:lnTo>
                  <a:lnTo>
                    <a:pt x="45" y="2"/>
                  </a:lnTo>
                  <a:lnTo>
                    <a:pt x="45" y="4"/>
                  </a:lnTo>
                  <a:lnTo>
                    <a:pt x="47" y="4"/>
                  </a:lnTo>
                  <a:lnTo>
                    <a:pt x="47" y="7"/>
                  </a:lnTo>
                  <a:lnTo>
                    <a:pt x="45" y="7"/>
                  </a:lnTo>
                  <a:lnTo>
                    <a:pt x="45" y="9"/>
                  </a:lnTo>
                  <a:lnTo>
                    <a:pt x="42" y="9"/>
                  </a:lnTo>
                  <a:lnTo>
                    <a:pt x="42" y="12"/>
                  </a:lnTo>
                  <a:lnTo>
                    <a:pt x="42" y="14"/>
                  </a:lnTo>
                  <a:lnTo>
                    <a:pt x="45" y="14"/>
                  </a:lnTo>
                  <a:lnTo>
                    <a:pt x="45" y="16"/>
                  </a:lnTo>
                  <a:lnTo>
                    <a:pt x="47" y="16"/>
                  </a:lnTo>
                  <a:lnTo>
                    <a:pt x="49" y="16"/>
                  </a:lnTo>
                  <a:lnTo>
                    <a:pt x="49" y="14"/>
                  </a:lnTo>
                  <a:lnTo>
                    <a:pt x="52" y="14"/>
                  </a:lnTo>
                  <a:lnTo>
                    <a:pt x="52" y="12"/>
                  </a:lnTo>
                  <a:lnTo>
                    <a:pt x="54" y="12"/>
                  </a:lnTo>
                  <a:lnTo>
                    <a:pt x="54" y="14"/>
                  </a:lnTo>
                  <a:lnTo>
                    <a:pt x="57" y="12"/>
                  </a:lnTo>
                  <a:lnTo>
                    <a:pt x="59" y="12"/>
                  </a:lnTo>
                  <a:lnTo>
                    <a:pt x="61" y="12"/>
                  </a:lnTo>
                  <a:lnTo>
                    <a:pt x="61" y="14"/>
                  </a:lnTo>
                  <a:lnTo>
                    <a:pt x="64" y="12"/>
                  </a:lnTo>
                  <a:lnTo>
                    <a:pt x="64" y="14"/>
                  </a:lnTo>
                  <a:lnTo>
                    <a:pt x="66" y="14"/>
                  </a:lnTo>
                  <a:lnTo>
                    <a:pt x="68" y="14"/>
                  </a:lnTo>
                  <a:lnTo>
                    <a:pt x="68" y="16"/>
                  </a:lnTo>
                  <a:lnTo>
                    <a:pt x="71" y="14"/>
                  </a:lnTo>
                  <a:lnTo>
                    <a:pt x="73" y="14"/>
                  </a:lnTo>
                  <a:lnTo>
                    <a:pt x="76" y="14"/>
                  </a:lnTo>
                  <a:lnTo>
                    <a:pt x="76" y="12"/>
                  </a:lnTo>
                  <a:lnTo>
                    <a:pt x="78" y="12"/>
                  </a:lnTo>
                  <a:lnTo>
                    <a:pt x="78" y="9"/>
                  </a:lnTo>
                  <a:lnTo>
                    <a:pt x="78" y="7"/>
                  </a:lnTo>
                  <a:lnTo>
                    <a:pt x="80" y="9"/>
                  </a:lnTo>
                  <a:lnTo>
                    <a:pt x="83" y="9"/>
                  </a:lnTo>
                  <a:lnTo>
                    <a:pt x="85" y="9"/>
                  </a:lnTo>
                  <a:lnTo>
                    <a:pt x="87" y="9"/>
                  </a:lnTo>
                  <a:lnTo>
                    <a:pt x="90" y="9"/>
                  </a:lnTo>
                  <a:lnTo>
                    <a:pt x="90" y="7"/>
                  </a:lnTo>
                  <a:lnTo>
                    <a:pt x="90" y="9"/>
                  </a:lnTo>
                  <a:lnTo>
                    <a:pt x="92" y="9"/>
                  </a:lnTo>
                  <a:lnTo>
                    <a:pt x="92" y="12"/>
                  </a:lnTo>
                  <a:lnTo>
                    <a:pt x="95" y="9"/>
                  </a:lnTo>
                  <a:lnTo>
                    <a:pt x="97" y="9"/>
                  </a:lnTo>
                  <a:lnTo>
                    <a:pt x="97" y="12"/>
                  </a:lnTo>
                  <a:lnTo>
                    <a:pt x="97" y="14"/>
                  </a:lnTo>
                  <a:lnTo>
                    <a:pt x="99" y="14"/>
                  </a:lnTo>
                  <a:lnTo>
                    <a:pt x="99" y="16"/>
                  </a:lnTo>
                  <a:lnTo>
                    <a:pt x="97" y="16"/>
                  </a:lnTo>
                  <a:lnTo>
                    <a:pt x="99" y="16"/>
                  </a:lnTo>
                  <a:lnTo>
                    <a:pt x="97" y="16"/>
                  </a:lnTo>
                  <a:lnTo>
                    <a:pt x="97" y="19"/>
                  </a:lnTo>
                  <a:lnTo>
                    <a:pt x="97" y="21"/>
                  </a:lnTo>
                  <a:lnTo>
                    <a:pt x="99" y="23"/>
                  </a:lnTo>
                  <a:lnTo>
                    <a:pt x="102" y="21"/>
                  </a:lnTo>
                  <a:lnTo>
                    <a:pt x="104" y="21"/>
                  </a:lnTo>
                  <a:lnTo>
                    <a:pt x="106" y="23"/>
                  </a:lnTo>
                  <a:lnTo>
                    <a:pt x="109" y="26"/>
                  </a:lnTo>
                  <a:lnTo>
                    <a:pt x="109" y="28"/>
                  </a:lnTo>
                  <a:lnTo>
                    <a:pt x="109" y="31"/>
                  </a:lnTo>
                  <a:lnTo>
                    <a:pt x="106" y="31"/>
                  </a:lnTo>
                  <a:lnTo>
                    <a:pt x="109" y="31"/>
                  </a:lnTo>
                  <a:lnTo>
                    <a:pt x="106" y="31"/>
                  </a:lnTo>
                  <a:lnTo>
                    <a:pt x="106" y="33"/>
                  </a:lnTo>
                  <a:lnTo>
                    <a:pt x="104" y="33"/>
                  </a:lnTo>
                  <a:lnTo>
                    <a:pt x="104" y="35"/>
                  </a:lnTo>
                  <a:lnTo>
                    <a:pt x="106" y="35"/>
                  </a:lnTo>
                  <a:lnTo>
                    <a:pt x="104" y="35"/>
                  </a:lnTo>
                  <a:lnTo>
                    <a:pt x="104" y="38"/>
                  </a:lnTo>
                  <a:lnTo>
                    <a:pt x="102" y="38"/>
                  </a:lnTo>
                  <a:lnTo>
                    <a:pt x="102" y="40"/>
                  </a:lnTo>
                  <a:lnTo>
                    <a:pt x="99" y="40"/>
                  </a:lnTo>
                  <a:lnTo>
                    <a:pt x="97" y="40"/>
                  </a:lnTo>
                  <a:lnTo>
                    <a:pt x="97" y="42"/>
                  </a:lnTo>
                  <a:lnTo>
                    <a:pt x="95" y="42"/>
                  </a:lnTo>
                  <a:lnTo>
                    <a:pt x="92" y="42"/>
                  </a:lnTo>
                  <a:lnTo>
                    <a:pt x="92" y="45"/>
                  </a:lnTo>
                  <a:lnTo>
                    <a:pt x="92" y="47"/>
                  </a:lnTo>
                  <a:lnTo>
                    <a:pt x="90" y="47"/>
                  </a:lnTo>
                  <a:lnTo>
                    <a:pt x="92" y="47"/>
                  </a:lnTo>
                  <a:lnTo>
                    <a:pt x="90" y="47"/>
                  </a:lnTo>
                  <a:lnTo>
                    <a:pt x="90" y="50"/>
                  </a:lnTo>
                  <a:lnTo>
                    <a:pt x="90" y="52"/>
                  </a:lnTo>
                  <a:lnTo>
                    <a:pt x="87" y="52"/>
                  </a:lnTo>
                  <a:lnTo>
                    <a:pt x="85" y="52"/>
                  </a:lnTo>
                  <a:lnTo>
                    <a:pt x="85" y="54"/>
                  </a:lnTo>
                  <a:lnTo>
                    <a:pt x="87" y="54"/>
                  </a:lnTo>
                  <a:lnTo>
                    <a:pt x="87" y="57"/>
                  </a:lnTo>
                  <a:lnTo>
                    <a:pt x="87" y="59"/>
                  </a:lnTo>
                  <a:lnTo>
                    <a:pt x="90" y="59"/>
                  </a:lnTo>
                  <a:lnTo>
                    <a:pt x="90" y="61"/>
                  </a:lnTo>
                  <a:lnTo>
                    <a:pt x="87" y="61"/>
                  </a:lnTo>
                  <a:lnTo>
                    <a:pt x="87" y="64"/>
                  </a:lnTo>
                  <a:lnTo>
                    <a:pt x="90" y="64"/>
                  </a:lnTo>
                  <a:lnTo>
                    <a:pt x="87" y="64"/>
                  </a:lnTo>
                  <a:lnTo>
                    <a:pt x="87" y="66"/>
                  </a:lnTo>
                  <a:lnTo>
                    <a:pt x="90" y="66"/>
                  </a:lnTo>
                  <a:lnTo>
                    <a:pt x="90" y="69"/>
                  </a:lnTo>
                  <a:lnTo>
                    <a:pt x="90" y="71"/>
                  </a:lnTo>
                  <a:lnTo>
                    <a:pt x="87" y="71"/>
                  </a:lnTo>
                  <a:lnTo>
                    <a:pt x="87" y="73"/>
                  </a:lnTo>
                  <a:lnTo>
                    <a:pt x="90" y="73"/>
                  </a:lnTo>
                  <a:lnTo>
                    <a:pt x="90" y="76"/>
                  </a:lnTo>
                  <a:lnTo>
                    <a:pt x="87" y="76"/>
                  </a:lnTo>
                  <a:lnTo>
                    <a:pt x="87" y="78"/>
                  </a:lnTo>
                  <a:lnTo>
                    <a:pt x="87" y="80"/>
                  </a:lnTo>
                  <a:lnTo>
                    <a:pt x="90" y="80"/>
                  </a:lnTo>
                  <a:lnTo>
                    <a:pt x="90" y="83"/>
                  </a:lnTo>
                  <a:lnTo>
                    <a:pt x="87" y="85"/>
                  </a:lnTo>
                  <a:lnTo>
                    <a:pt x="87" y="88"/>
                  </a:lnTo>
                  <a:lnTo>
                    <a:pt x="85" y="88"/>
                  </a:lnTo>
                  <a:lnTo>
                    <a:pt x="83" y="88"/>
                  </a:lnTo>
                  <a:lnTo>
                    <a:pt x="83" y="90"/>
                  </a:lnTo>
                  <a:lnTo>
                    <a:pt x="83" y="92"/>
                  </a:lnTo>
                  <a:lnTo>
                    <a:pt x="85" y="92"/>
                  </a:lnTo>
                  <a:lnTo>
                    <a:pt x="85" y="95"/>
                  </a:lnTo>
                  <a:lnTo>
                    <a:pt x="87" y="95"/>
                  </a:lnTo>
                  <a:lnTo>
                    <a:pt x="87" y="97"/>
                  </a:lnTo>
                  <a:lnTo>
                    <a:pt x="87" y="100"/>
                  </a:lnTo>
                  <a:lnTo>
                    <a:pt x="87" y="102"/>
                  </a:lnTo>
                  <a:lnTo>
                    <a:pt x="85" y="102"/>
                  </a:lnTo>
                  <a:lnTo>
                    <a:pt x="87" y="102"/>
                  </a:lnTo>
                  <a:lnTo>
                    <a:pt x="85" y="102"/>
                  </a:lnTo>
                  <a:lnTo>
                    <a:pt x="87" y="102"/>
                  </a:lnTo>
                  <a:lnTo>
                    <a:pt x="85" y="102"/>
                  </a:lnTo>
                  <a:lnTo>
                    <a:pt x="85" y="104"/>
                  </a:lnTo>
                  <a:lnTo>
                    <a:pt x="85" y="107"/>
                  </a:lnTo>
                  <a:lnTo>
                    <a:pt x="83" y="107"/>
                  </a:lnTo>
                  <a:lnTo>
                    <a:pt x="83" y="109"/>
                  </a:lnTo>
                  <a:lnTo>
                    <a:pt x="83" y="111"/>
                  </a:lnTo>
                  <a:lnTo>
                    <a:pt x="83" y="114"/>
                  </a:lnTo>
                  <a:lnTo>
                    <a:pt x="80" y="114"/>
                  </a:lnTo>
                  <a:lnTo>
                    <a:pt x="78" y="114"/>
                  </a:lnTo>
                  <a:lnTo>
                    <a:pt x="76" y="114"/>
                  </a:lnTo>
                  <a:lnTo>
                    <a:pt x="73" y="114"/>
                  </a:lnTo>
                  <a:lnTo>
                    <a:pt x="71" y="114"/>
                  </a:lnTo>
                  <a:lnTo>
                    <a:pt x="68" y="114"/>
                  </a:lnTo>
                  <a:lnTo>
                    <a:pt x="66" y="114"/>
                  </a:lnTo>
                  <a:lnTo>
                    <a:pt x="66" y="116"/>
                  </a:lnTo>
                  <a:lnTo>
                    <a:pt x="68" y="116"/>
                  </a:lnTo>
                  <a:lnTo>
                    <a:pt x="68" y="119"/>
                  </a:lnTo>
                  <a:lnTo>
                    <a:pt x="71" y="119"/>
                  </a:lnTo>
                  <a:lnTo>
                    <a:pt x="71" y="121"/>
                  </a:lnTo>
                  <a:lnTo>
                    <a:pt x="73" y="121"/>
                  </a:lnTo>
                  <a:lnTo>
                    <a:pt x="73" y="123"/>
                  </a:lnTo>
                  <a:lnTo>
                    <a:pt x="73" y="126"/>
                  </a:lnTo>
                  <a:lnTo>
                    <a:pt x="73" y="128"/>
                  </a:lnTo>
                  <a:lnTo>
                    <a:pt x="73" y="130"/>
                  </a:lnTo>
                  <a:lnTo>
                    <a:pt x="76" y="130"/>
                  </a:lnTo>
                  <a:lnTo>
                    <a:pt x="76" y="133"/>
                  </a:lnTo>
                  <a:lnTo>
                    <a:pt x="76" y="135"/>
                  </a:lnTo>
                  <a:lnTo>
                    <a:pt x="78" y="135"/>
                  </a:lnTo>
                  <a:lnTo>
                    <a:pt x="78" y="138"/>
                  </a:lnTo>
                  <a:lnTo>
                    <a:pt x="80" y="138"/>
                  </a:lnTo>
                  <a:lnTo>
                    <a:pt x="83" y="138"/>
                  </a:lnTo>
                  <a:lnTo>
                    <a:pt x="83" y="140"/>
                  </a:lnTo>
                  <a:lnTo>
                    <a:pt x="85" y="140"/>
                  </a:lnTo>
                  <a:lnTo>
                    <a:pt x="85" y="142"/>
                  </a:lnTo>
                  <a:lnTo>
                    <a:pt x="83" y="145"/>
                  </a:lnTo>
                  <a:lnTo>
                    <a:pt x="83" y="147"/>
                  </a:lnTo>
                  <a:lnTo>
                    <a:pt x="80" y="147"/>
                  </a:lnTo>
                  <a:lnTo>
                    <a:pt x="83" y="147"/>
                  </a:lnTo>
                  <a:lnTo>
                    <a:pt x="83" y="149"/>
                  </a:lnTo>
                  <a:lnTo>
                    <a:pt x="80" y="149"/>
                  </a:lnTo>
                  <a:lnTo>
                    <a:pt x="80" y="152"/>
                  </a:lnTo>
                  <a:lnTo>
                    <a:pt x="78" y="152"/>
                  </a:lnTo>
                  <a:lnTo>
                    <a:pt x="78" y="154"/>
                  </a:lnTo>
                  <a:lnTo>
                    <a:pt x="76" y="154"/>
                  </a:lnTo>
                  <a:lnTo>
                    <a:pt x="76" y="157"/>
                  </a:lnTo>
                  <a:lnTo>
                    <a:pt x="73" y="157"/>
                  </a:lnTo>
                  <a:lnTo>
                    <a:pt x="73" y="159"/>
                  </a:lnTo>
                  <a:lnTo>
                    <a:pt x="76" y="159"/>
                  </a:lnTo>
                  <a:lnTo>
                    <a:pt x="76" y="161"/>
                  </a:lnTo>
                  <a:lnTo>
                    <a:pt x="73" y="161"/>
                  </a:lnTo>
                  <a:lnTo>
                    <a:pt x="73" y="164"/>
                  </a:lnTo>
                  <a:lnTo>
                    <a:pt x="73" y="166"/>
                  </a:lnTo>
                  <a:lnTo>
                    <a:pt x="73" y="168"/>
                  </a:lnTo>
                  <a:lnTo>
                    <a:pt x="73" y="171"/>
                  </a:lnTo>
                  <a:lnTo>
                    <a:pt x="76" y="171"/>
                  </a:lnTo>
                  <a:lnTo>
                    <a:pt x="76" y="173"/>
                  </a:lnTo>
                  <a:lnTo>
                    <a:pt x="78" y="176"/>
                  </a:lnTo>
                  <a:lnTo>
                    <a:pt x="78" y="178"/>
                  </a:lnTo>
                  <a:lnTo>
                    <a:pt x="80" y="180"/>
                  </a:lnTo>
                  <a:lnTo>
                    <a:pt x="83" y="180"/>
                  </a:lnTo>
                  <a:lnTo>
                    <a:pt x="83" y="178"/>
                  </a:lnTo>
                  <a:lnTo>
                    <a:pt x="85" y="178"/>
                  </a:lnTo>
                  <a:lnTo>
                    <a:pt x="85" y="180"/>
                  </a:lnTo>
                  <a:lnTo>
                    <a:pt x="83" y="183"/>
                  </a:lnTo>
                  <a:lnTo>
                    <a:pt x="83" y="185"/>
                  </a:lnTo>
                  <a:lnTo>
                    <a:pt x="83" y="187"/>
                  </a:lnTo>
                  <a:lnTo>
                    <a:pt x="80" y="187"/>
                  </a:lnTo>
                  <a:lnTo>
                    <a:pt x="80" y="185"/>
                  </a:lnTo>
                  <a:lnTo>
                    <a:pt x="78" y="187"/>
                  </a:lnTo>
                  <a:lnTo>
                    <a:pt x="76" y="187"/>
                  </a:lnTo>
                  <a:lnTo>
                    <a:pt x="73" y="190"/>
                  </a:lnTo>
                  <a:lnTo>
                    <a:pt x="76" y="190"/>
                  </a:lnTo>
                  <a:lnTo>
                    <a:pt x="76" y="192"/>
                  </a:lnTo>
                  <a:lnTo>
                    <a:pt x="73" y="192"/>
                  </a:lnTo>
                  <a:lnTo>
                    <a:pt x="73" y="195"/>
                  </a:lnTo>
                  <a:lnTo>
                    <a:pt x="73" y="197"/>
                  </a:lnTo>
                  <a:lnTo>
                    <a:pt x="71" y="197"/>
                  </a:lnTo>
                  <a:lnTo>
                    <a:pt x="71" y="199"/>
                  </a:lnTo>
                  <a:lnTo>
                    <a:pt x="68" y="199"/>
                  </a:lnTo>
                  <a:lnTo>
                    <a:pt x="68" y="202"/>
                  </a:lnTo>
                  <a:lnTo>
                    <a:pt x="68" y="204"/>
                  </a:lnTo>
                  <a:lnTo>
                    <a:pt x="66" y="204"/>
                  </a:lnTo>
                  <a:lnTo>
                    <a:pt x="66" y="206"/>
                  </a:lnTo>
                  <a:lnTo>
                    <a:pt x="66" y="209"/>
                  </a:lnTo>
                  <a:lnTo>
                    <a:pt x="66" y="206"/>
                  </a:lnTo>
                  <a:lnTo>
                    <a:pt x="66" y="209"/>
                  </a:lnTo>
                  <a:lnTo>
                    <a:pt x="66" y="211"/>
                  </a:lnTo>
                  <a:lnTo>
                    <a:pt x="68" y="211"/>
                  </a:lnTo>
                  <a:lnTo>
                    <a:pt x="68" y="214"/>
                  </a:lnTo>
                  <a:lnTo>
                    <a:pt x="68" y="216"/>
                  </a:lnTo>
                  <a:lnTo>
                    <a:pt x="68" y="218"/>
                  </a:lnTo>
                  <a:lnTo>
                    <a:pt x="68" y="221"/>
                  </a:lnTo>
                  <a:lnTo>
                    <a:pt x="68" y="223"/>
                  </a:lnTo>
                  <a:lnTo>
                    <a:pt x="68" y="225"/>
                  </a:lnTo>
                  <a:lnTo>
                    <a:pt x="71" y="225"/>
                  </a:lnTo>
                  <a:lnTo>
                    <a:pt x="68" y="225"/>
                  </a:lnTo>
                  <a:lnTo>
                    <a:pt x="66" y="225"/>
                  </a:lnTo>
                  <a:lnTo>
                    <a:pt x="64" y="225"/>
                  </a:lnTo>
                  <a:lnTo>
                    <a:pt x="64" y="228"/>
                  </a:lnTo>
                  <a:lnTo>
                    <a:pt x="61" y="228"/>
                  </a:lnTo>
                  <a:lnTo>
                    <a:pt x="64" y="228"/>
                  </a:lnTo>
                  <a:lnTo>
                    <a:pt x="61" y="228"/>
                  </a:lnTo>
                  <a:lnTo>
                    <a:pt x="61" y="230"/>
                  </a:lnTo>
                  <a:lnTo>
                    <a:pt x="59" y="230"/>
                  </a:lnTo>
                  <a:lnTo>
                    <a:pt x="57" y="230"/>
                  </a:lnTo>
                  <a:lnTo>
                    <a:pt x="57" y="233"/>
                  </a:lnTo>
                  <a:lnTo>
                    <a:pt x="57" y="230"/>
                  </a:lnTo>
                  <a:lnTo>
                    <a:pt x="54" y="233"/>
                  </a:lnTo>
                  <a:lnTo>
                    <a:pt x="52" y="233"/>
                  </a:lnTo>
                  <a:lnTo>
                    <a:pt x="49" y="233"/>
                  </a:lnTo>
                  <a:lnTo>
                    <a:pt x="49" y="230"/>
                  </a:lnTo>
                  <a:lnTo>
                    <a:pt x="49" y="233"/>
                  </a:lnTo>
                  <a:lnTo>
                    <a:pt x="52" y="233"/>
                  </a:lnTo>
                  <a:lnTo>
                    <a:pt x="49" y="233"/>
                  </a:lnTo>
                  <a:lnTo>
                    <a:pt x="47" y="230"/>
                  </a:lnTo>
                  <a:lnTo>
                    <a:pt x="45" y="230"/>
                  </a:lnTo>
                  <a:lnTo>
                    <a:pt x="45" y="228"/>
                  </a:lnTo>
                  <a:lnTo>
                    <a:pt x="42" y="228"/>
                  </a:lnTo>
                  <a:lnTo>
                    <a:pt x="40" y="230"/>
                  </a:lnTo>
                  <a:lnTo>
                    <a:pt x="40" y="228"/>
                  </a:lnTo>
                  <a:lnTo>
                    <a:pt x="38" y="228"/>
                  </a:lnTo>
                  <a:lnTo>
                    <a:pt x="35" y="228"/>
                  </a:lnTo>
                  <a:lnTo>
                    <a:pt x="33" y="228"/>
                  </a:lnTo>
                  <a:lnTo>
                    <a:pt x="33" y="225"/>
                  </a:lnTo>
                  <a:lnTo>
                    <a:pt x="33" y="228"/>
                  </a:lnTo>
                  <a:lnTo>
                    <a:pt x="30" y="228"/>
                  </a:lnTo>
                  <a:lnTo>
                    <a:pt x="30" y="225"/>
                  </a:lnTo>
                  <a:lnTo>
                    <a:pt x="30" y="228"/>
                  </a:lnTo>
                  <a:lnTo>
                    <a:pt x="30" y="225"/>
                  </a:lnTo>
                  <a:lnTo>
                    <a:pt x="28" y="228"/>
                  </a:lnTo>
                  <a:lnTo>
                    <a:pt x="30" y="228"/>
                  </a:lnTo>
                  <a:lnTo>
                    <a:pt x="28" y="228"/>
                  </a:lnTo>
                  <a:lnTo>
                    <a:pt x="26" y="228"/>
                  </a:lnTo>
                  <a:lnTo>
                    <a:pt x="26" y="230"/>
                  </a:lnTo>
                  <a:lnTo>
                    <a:pt x="23" y="230"/>
                  </a:lnTo>
                  <a:lnTo>
                    <a:pt x="21" y="230"/>
                  </a:lnTo>
                  <a:lnTo>
                    <a:pt x="21" y="233"/>
                  </a:lnTo>
                  <a:lnTo>
                    <a:pt x="21" y="230"/>
                  </a:lnTo>
                  <a:lnTo>
                    <a:pt x="21" y="233"/>
                  </a:lnTo>
                  <a:lnTo>
                    <a:pt x="19" y="233"/>
                  </a:lnTo>
                  <a:lnTo>
                    <a:pt x="19" y="230"/>
                  </a:lnTo>
                  <a:lnTo>
                    <a:pt x="19" y="233"/>
                  </a:lnTo>
                  <a:lnTo>
                    <a:pt x="16" y="233"/>
                  </a:lnTo>
                  <a:lnTo>
                    <a:pt x="16" y="230"/>
                  </a:lnTo>
                  <a:lnTo>
                    <a:pt x="19" y="230"/>
                  </a:lnTo>
                  <a:lnTo>
                    <a:pt x="19" y="228"/>
                  </a:lnTo>
                  <a:lnTo>
                    <a:pt x="19" y="225"/>
                  </a:lnTo>
                  <a:lnTo>
                    <a:pt x="21" y="225"/>
                  </a:lnTo>
                  <a:lnTo>
                    <a:pt x="21" y="223"/>
                  </a:lnTo>
                  <a:lnTo>
                    <a:pt x="19" y="223"/>
                  </a:lnTo>
                  <a:lnTo>
                    <a:pt x="21" y="223"/>
                  </a:lnTo>
                  <a:lnTo>
                    <a:pt x="21" y="221"/>
                  </a:lnTo>
                  <a:lnTo>
                    <a:pt x="21" y="218"/>
                  </a:lnTo>
                  <a:lnTo>
                    <a:pt x="21" y="216"/>
                  </a:lnTo>
                  <a:lnTo>
                    <a:pt x="23" y="218"/>
                  </a:lnTo>
                  <a:lnTo>
                    <a:pt x="21" y="216"/>
                  </a:lnTo>
                  <a:lnTo>
                    <a:pt x="23" y="216"/>
                  </a:lnTo>
                  <a:lnTo>
                    <a:pt x="23" y="214"/>
                  </a:lnTo>
                  <a:lnTo>
                    <a:pt x="23" y="211"/>
                  </a:lnTo>
                  <a:lnTo>
                    <a:pt x="23" y="209"/>
                  </a:lnTo>
                  <a:lnTo>
                    <a:pt x="23" y="206"/>
                  </a:lnTo>
                  <a:lnTo>
                    <a:pt x="23" y="204"/>
                  </a:lnTo>
                  <a:lnTo>
                    <a:pt x="23" y="202"/>
                  </a:lnTo>
                  <a:lnTo>
                    <a:pt x="23" y="199"/>
                  </a:lnTo>
                  <a:lnTo>
                    <a:pt x="26" y="199"/>
                  </a:lnTo>
                  <a:lnTo>
                    <a:pt x="26" y="202"/>
                  </a:lnTo>
                  <a:lnTo>
                    <a:pt x="26" y="199"/>
                  </a:lnTo>
                  <a:lnTo>
                    <a:pt x="23" y="199"/>
                  </a:lnTo>
                  <a:lnTo>
                    <a:pt x="23" y="202"/>
                  </a:lnTo>
                  <a:lnTo>
                    <a:pt x="23" y="199"/>
                  </a:lnTo>
                  <a:lnTo>
                    <a:pt x="23" y="197"/>
                  </a:lnTo>
                  <a:lnTo>
                    <a:pt x="23" y="195"/>
                  </a:lnTo>
                  <a:lnTo>
                    <a:pt x="23" y="192"/>
                  </a:lnTo>
                  <a:lnTo>
                    <a:pt x="23" y="190"/>
                  </a:lnTo>
                  <a:lnTo>
                    <a:pt x="21" y="190"/>
                  </a:lnTo>
                  <a:lnTo>
                    <a:pt x="21" y="192"/>
                  </a:lnTo>
                  <a:lnTo>
                    <a:pt x="21" y="190"/>
                  </a:lnTo>
                  <a:lnTo>
                    <a:pt x="21" y="187"/>
                  </a:lnTo>
                  <a:lnTo>
                    <a:pt x="23" y="187"/>
                  </a:lnTo>
                  <a:lnTo>
                    <a:pt x="23" y="185"/>
                  </a:lnTo>
                  <a:lnTo>
                    <a:pt x="23" y="183"/>
                  </a:lnTo>
                  <a:lnTo>
                    <a:pt x="23" y="180"/>
                  </a:lnTo>
                  <a:lnTo>
                    <a:pt x="23" y="178"/>
                  </a:lnTo>
                  <a:lnTo>
                    <a:pt x="23" y="176"/>
                  </a:lnTo>
                  <a:lnTo>
                    <a:pt x="23" y="173"/>
                  </a:lnTo>
                  <a:lnTo>
                    <a:pt x="23" y="171"/>
                  </a:lnTo>
                  <a:lnTo>
                    <a:pt x="23" y="168"/>
                  </a:lnTo>
                  <a:lnTo>
                    <a:pt x="21" y="168"/>
                  </a:lnTo>
                  <a:lnTo>
                    <a:pt x="21" y="166"/>
                  </a:lnTo>
                  <a:lnTo>
                    <a:pt x="21" y="168"/>
                  </a:lnTo>
                  <a:lnTo>
                    <a:pt x="23" y="168"/>
                  </a:lnTo>
                  <a:lnTo>
                    <a:pt x="23" y="171"/>
                  </a:lnTo>
                  <a:lnTo>
                    <a:pt x="23" y="168"/>
                  </a:lnTo>
                  <a:lnTo>
                    <a:pt x="26" y="168"/>
                  </a:lnTo>
                  <a:lnTo>
                    <a:pt x="23" y="168"/>
                  </a:lnTo>
                  <a:lnTo>
                    <a:pt x="23" y="171"/>
                  </a:lnTo>
                  <a:lnTo>
                    <a:pt x="23" y="168"/>
                  </a:lnTo>
                  <a:lnTo>
                    <a:pt x="26" y="168"/>
                  </a:lnTo>
                  <a:lnTo>
                    <a:pt x="26" y="171"/>
                  </a:lnTo>
                  <a:lnTo>
                    <a:pt x="26" y="168"/>
                  </a:lnTo>
                  <a:lnTo>
                    <a:pt x="28" y="168"/>
                  </a:lnTo>
                  <a:lnTo>
                    <a:pt x="28" y="171"/>
                  </a:lnTo>
                  <a:lnTo>
                    <a:pt x="30" y="171"/>
                  </a:lnTo>
                  <a:lnTo>
                    <a:pt x="30" y="168"/>
                  </a:lnTo>
                  <a:lnTo>
                    <a:pt x="33" y="171"/>
                  </a:lnTo>
                  <a:lnTo>
                    <a:pt x="33" y="168"/>
                  </a:lnTo>
                  <a:lnTo>
                    <a:pt x="30" y="168"/>
                  </a:lnTo>
                  <a:lnTo>
                    <a:pt x="30" y="171"/>
                  </a:lnTo>
                  <a:lnTo>
                    <a:pt x="28" y="171"/>
                  </a:lnTo>
                  <a:lnTo>
                    <a:pt x="28" y="168"/>
                  </a:lnTo>
                  <a:lnTo>
                    <a:pt x="28" y="171"/>
                  </a:lnTo>
                  <a:lnTo>
                    <a:pt x="28" y="168"/>
                  </a:lnTo>
                  <a:lnTo>
                    <a:pt x="26" y="168"/>
                  </a:lnTo>
                  <a:lnTo>
                    <a:pt x="26" y="166"/>
                  </a:lnTo>
                  <a:lnTo>
                    <a:pt x="26" y="164"/>
                  </a:lnTo>
                  <a:lnTo>
                    <a:pt x="26" y="166"/>
                  </a:lnTo>
                  <a:lnTo>
                    <a:pt x="26" y="164"/>
                  </a:lnTo>
                  <a:lnTo>
                    <a:pt x="26" y="161"/>
                  </a:lnTo>
                  <a:lnTo>
                    <a:pt x="26" y="164"/>
                  </a:lnTo>
                  <a:lnTo>
                    <a:pt x="26" y="161"/>
                  </a:lnTo>
                  <a:lnTo>
                    <a:pt x="26" y="164"/>
                  </a:lnTo>
                  <a:lnTo>
                    <a:pt x="26" y="161"/>
                  </a:lnTo>
                  <a:lnTo>
                    <a:pt x="26" y="164"/>
                  </a:lnTo>
                  <a:lnTo>
                    <a:pt x="23" y="164"/>
                  </a:lnTo>
                  <a:lnTo>
                    <a:pt x="23" y="166"/>
                  </a:lnTo>
                  <a:lnTo>
                    <a:pt x="26" y="166"/>
                  </a:lnTo>
                  <a:lnTo>
                    <a:pt x="23" y="166"/>
                  </a:lnTo>
                  <a:lnTo>
                    <a:pt x="21" y="166"/>
                  </a:lnTo>
                  <a:lnTo>
                    <a:pt x="23" y="166"/>
                  </a:lnTo>
                  <a:lnTo>
                    <a:pt x="21" y="166"/>
                  </a:lnTo>
                  <a:lnTo>
                    <a:pt x="21" y="164"/>
                  </a:lnTo>
                  <a:lnTo>
                    <a:pt x="21" y="166"/>
                  </a:lnTo>
                  <a:lnTo>
                    <a:pt x="19" y="166"/>
                  </a:lnTo>
                  <a:lnTo>
                    <a:pt x="16" y="168"/>
                  </a:lnTo>
                  <a:lnTo>
                    <a:pt x="14" y="168"/>
                  </a:lnTo>
                  <a:lnTo>
                    <a:pt x="11" y="168"/>
                  </a:lnTo>
                  <a:lnTo>
                    <a:pt x="11" y="171"/>
                  </a:lnTo>
                  <a:lnTo>
                    <a:pt x="9" y="171"/>
                  </a:lnTo>
                  <a:lnTo>
                    <a:pt x="9" y="168"/>
                  </a:lnTo>
                  <a:lnTo>
                    <a:pt x="11" y="168"/>
                  </a:lnTo>
                  <a:lnTo>
                    <a:pt x="11" y="166"/>
                  </a:lnTo>
                  <a:lnTo>
                    <a:pt x="11" y="164"/>
                  </a:lnTo>
                  <a:lnTo>
                    <a:pt x="11" y="166"/>
                  </a:lnTo>
                  <a:lnTo>
                    <a:pt x="11" y="164"/>
                  </a:lnTo>
                  <a:lnTo>
                    <a:pt x="9" y="161"/>
                  </a:lnTo>
                  <a:lnTo>
                    <a:pt x="9" y="159"/>
                  </a:lnTo>
                  <a:lnTo>
                    <a:pt x="9" y="157"/>
                  </a:lnTo>
                  <a:lnTo>
                    <a:pt x="11" y="157"/>
                  </a:lnTo>
                  <a:lnTo>
                    <a:pt x="11" y="159"/>
                  </a:lnTo>
                  <a:lnTo>
                    <a:pt x="14" y="159"/>
                  </a:lnTo>
                  <a:lnTo>
                    <a:pt x="11" y="159"/>
                  </a:lnTo>
                  <a:lnTo>
                    <a:pt x="14" y="159"/>
                  </a:lnTo>
                  <a:lnTo>
                    <a:pt x="14" y="161"/>
                  </a:lnTo>
                  <a:lnTo>
                    <a:pt x="14" y="159"/>
                  </a:lnTo>
                  <a:lnTo>
                    <a:pt x="14" y="161"/>
                  </a:lnTo>
                  <a:lnTo>
                    <a:pt x="16" y="161"/>
                  </a:lnTo>
                  <a:lnTo>
                    <a:pt x="16" y="159"/>
                  </a:lnTo>
                  <a:lnTo>
                    <a:pt x="14" y="159"/>
                  </a:lnTo>
                  <a:lnTo>
                    <a:pt x="14" y="157"/>
                  </a:lnTo>
                  <a:lnTo>
                    <a:pt x="16" y="157"/>
                  </a:lnTo>
                  <a:lnTo>
                    <a:pt x="16" y="159"/>
                  </a:lnTo>
                  <a:lnTo>
                    <a:pt x="16" y="157"/>
                  </a:lnTo>
                  <a:lnTo>
                    <a:pt x="19" y="157"/>
                  </a:lnTo>
                  <a:lnTo>
                    <a:pt x="16" y="157"/>
                  </a:lnTo>
                  <a:lnTo>
                    <a:pt x="19" y="157"/>
                  </a:lnTo>
                  <a:lnTo>
                    <a:pt x="16" y="157"/>
                  </a:lnTo>
                  <a:lnTo>
                    <a:pt x="16" y="154"/>
                  </a:lnTo>
                  <a:lnTo>
                    <a:pt x="19" y="154"/>
                  </a:lnTo>
                  <a:lnTo>
                    <a:pt x="19" y="152"/>
                  </a:lnTo>
                  <a:lnTo>
                    <a:pt x="19" y="149"/>
                  </a:lnTo>
                  <a:lnTo>
                    <a:pt x="19" y="152"/>
                  </a:lnTo>
                  <a:lnTo>
                    <a:pt x="19" y="149"/>
                  </a:lnTo>
                  <a:lnTo>
                    <a:pt x="16" y="149"/>
                  </a:lnTo>
                  <a:lnTo>
                    <a:pt x="19" y="149"/>
                  </a:lnTo>
                  <a:lnTo>
                    <a:pt x="16" y="149"/>
                  </a:lnTo>
                  <a:lnTo>
                    <a:pt x="16" y="147"/>
                  </a:lnTo>
                  <a:lnTo>
                    <a:pt x="19" y="145"/>
                  </a:lnTo>
                  <a:lnTo>
                    <a:pt x="19" y="142"/>
                  </a:lnTo>
                  <a:lnTo>
                    <a:pt x="21" y="142"/>
                  </a:lnTo>
                  <a:lnTo>
                    <a:pt x="19" y="142"/>
                  </a:lnTo>
                  <a:lnTo>
                    <a:pt x="19" y="145"/>
                  </a:lnTo>
                  <a:lnTo>
                    <a:pt x="16" y="145"/>
                  </a:lnTo>
                  <a:lnTo>
                    <a:pt x="16" y="147"/>
                  </a:lnTo>
                  <a:lnTo>
                    <a:pt x="16" y="149"/>
                  </a:lnTo>
                  <a:lnTo>
                    <a:pt x="14" y="149"/>
                  </a:lnTo>
                  <a:lnTo>
                    <a:pt x="14" y="152"/>
                  </a:lnTo>
                  <a:lnTo>
                    <a:pt x="14" y="154"/>
                  </a:lnTo>
                  <a:lnTo>
                    <a:pt x="14" y="157"/>
                  </a:lnTo>
                  <a:lnTo>
                    <a:pt x="11" y="157"/>
                  </a:lnTo>
                  <a:lnTo>
                    <a:pt x="9" y="157"/>
                  </a:lnTo>
                  <a:lnTo>
                    <a:pt x="7" y="157"/>
                  </a:lnTo>
                  <a:lnTo>
                    <a:pt x="7" y="159"/>
                  </a:lnTo>
                  <a:lnTo>
                    <a:pt x="7" y="157"/>
                  </a:lnTo>
                  <a:lnTo>
                    <a:pt x="4" y="157"/>
                  </a:lnTo>
                  <a:lnTo>
                    <a:pt x="2" y="157"/>
                  </a:lnTo>
                  <a:lnTo>
                    <a:pt x="4" y="157"/>
                  </a:lnTo>
                  <a:lnTo>
                    <a:pt x="2" y="157"/>
                  </a:lnTo>
                  <a:lnTo>
                    <a:pt x="2" y="154"/>
                  </a:lnTo>
                  <a:lnTo>
                    <a:pt x="0" y="154"/>
                  </a:lnTo>
                  <a:lnTo>
                    <a:pt x="0" y="152"/>
                  </a:lnTo>
                  <a:lnTo>
                    <a:pt x="2" y="152"/>
                  </a:lnTo>
                  <a:lnTo>
                    <a:pt x="2" y="149"/>
                  </a:lnTo>
                  <a:lnTo>
                    <a:pt x="2" y="147"/>
                  </a:lnTo>
                  <a:lnTo>
                    <a:pt x="4" y="145"/>
                  </a:lnTo>
                  <a:lnTo>
                    <a:pt x="4" y="147"/>
                  </a:lnTo>
                  <a:lnTo>
                    <a:pt x="4" y="145"/>
                  </a:lnTo>
                  <a:lnTo>
                    <a:pt x="2" y="145"/>
                  </a:lnTo>
                  <a:lnTo>
                    <a:pt x="2" y="142"/>
                  </a:lnTo>
                  <a:lnTo>
                    <a:pt x="4" y="142"/>
                  </a:lnTo>
                  <a:lnTo>
                    <a:pt x="2" y="140"/>
                  </a:lnTo>
                  <a:lnTo>
                    <a:pt x="4" y="140"/>
                  </a:lnTo>
                  <a:lnTo>
                    <a:pt x="2" y="140"/>
                  </a:lnTo>
                  <a:lnTo>
                    <a:pt x="4" y="140"/>
                  </a:lnTo>
                  <a:lnTo>
                    <a:pt x="4" y="138"/>
                  </a:lnTo>
                  <a:lnTo>
                    <a:pt x="4" y="135"/>
                  </a:lnTo>
                  <a:lnTo>
                    <a:pt x="7" y="135"/>
                  </a:lnTo>
                  <a:lnTo>
                    <a:pt x="7" y="133"/>
                  </a:lnTo>
                  <a:lnTo>
                    <a:pt x="4" y="133"/>
                  </a:lnTo>
                  <a:lnTo>
                    <a:pt x="7" y="133"/>
                  </a:lnTo>
                  <a:lnTo>
                    <a:pt x="7" y="130"/>
                  </a:lnTo>
                  <a:lnTo>
                    <a:pt x="4" y="130"/>
                  </a:lnTo>
                  <a:lnTo>
                    <a:pt x="7" y="130"/>
                  </a:lnTo>
                  <a:lnTo>
                    <a:pt x="4" y="130"/>
                  </a:lnTo>
                  <a:lnTo>
                    <a:pt x="4" y="128"/>
                  </a:lnTo>
                  <a:lnTo>
                    <a:pt x="4" y="126"/>
                  </a:lnTo>
                  <a:lnTo>
                    <a:pt x="7" y="126"/>
                  </a:lnTo>
                  <a:lnTo>
                    <a:pt x="9" y="123"/>
                  </a:lnTo>
                  <a:lnTo>
                    <a:pt x="9" y="126"/>
                  </a:lnTo>
                  <a:lnTo>
                    <a:pt x="11" y="126"/>
                  </a:lnTo>
                  <a:lnTo>
                    <a:pt x="9" y="123"/>
                  </a:lnTo>
                  <a:lnTo>
                    <a:pt x="9" y="121"/>
                  </a:lnTo>
                  <a:lnTo>
                    <a:pt x="11" y="121"/>
                  </a:lnTo>
                  <a:lnTo>
                    <a:pt x="11" y="119"/>
                  </a:lnTo>
                  <a:lnTo>
                    <a:pt x="14" y="119"/>
                  </a:lnTo>
                  <a:lnTo>
                    <a:pt x="14" y="116"/>
                  </a:lnTo>
                  <a:lnTo>
                    <a:pt x="14" y="114"/>
                  </a:lnTo>
                  <a:lnTo>
                    <a:pt x="14" y="111"/>
                  </a:lnTo>
                  <a:lnTo>
                    <a:pt x="16" y="111"/>
                  </a:lnTo>
                  <a:lnTo>
                    <a:pt x="16" y="109"/>
                  </a:lnTo>
                  <a:lnTo>
                    <a:pt x="16" y="107"/>
                  </a:lnTo>
                  <a:lnTo>
                    <a:pt x="19" y="104"/>
                  </a:lnTo>
                  <a:lnTo>
                    <a:pt x="19" y="102"/>
                  </a:lnTo>
                  <a:lnTo>
                    <a:pt x="19" y="100"/>
                  </a:lnTo>
                  <a:lnTo>
                    <a:pt x="21" y="97"/>
                  </a:lnTo>
                  <a:lnTo>
                    <a:pt x="21" y="95"/>
                  </a:lnTo>
                  <a:lnTo>
                    <a:pt x="21" y="92"/>
                  </a:lnTo>
                  <a:lnTo>
                    <a:pt x="23" y="92"/>
                  </a:lnTo>
                  <a:lnTo>
                    <a:pt x="21" y="92"/>
                  </a:lnTo>
                  <a:lnTo>
                    <a:pt x="23" y="92"/>
                  </a:lnTo>
                  <a:lnTo>
                    <a:pt x="21" y="92"/>
                  </a:lnTo>
                  <a:lnTo>
                    <a:pt x="21" y="90"/>
                  </a:lnTo>
                  <a:lnTo>
                    <a:pt x="21" y="88"/>
                  </a:lnTo>
                  <a:lnTo>
                    <a:pt x="23" y="83"/>
                  </a:lnTo>
                  <a:lnTo>
                    <a:pt x="23" y="80"/>
                  </a:lnTo>
                  <a:lnTo>
                    <a:pt x="23" y="78"/>
                  </a:lnTo>
                  <a:lnTo>
                    <a:pt x="23" y="76"/>
                  </a:lnTo>
                  <a:lnTo>
                    <a:pt x="23" y="73"/>
                  </a:lnTo>
                  <a:lnTo>
                    <a:pt x="26" y="73"/>
                  </a:lnTo>
                  <a:lnTo>
                    <a:pt x="26" y="71"/>
                  </a:lnTo>
                  <a:lnTo>
                    <a:pt x="26" y="69"/>
                  </a:lnTo>
                  <a:lnTo>
                    <a:pt x="28" y="69"/>
                  </a:lnTo>
                  <a:lnTo>
                    <a:pt x="26" y="69"/>
                  </a:lnTo>
                  <a:lnTo>
                    <a:pt x="28" y="69"/>
                  </a:lnTo>
                  <a:lnTo>
                    <a:pt x="28" y="66"/>
                  </a:lnTo>
                  <a:lnTo>
                    <a:pt x="28" y="69"/>
                  </a:lnTo>
                  <a:lnTo>
                    <a:pt x="28" y="66"/>
                  </a:lnTo>
                  <a:lnTo>
                    <a:pt x="28" y="69"/>
                  </a:lnTo>
                  <a:lnTo>
                    <a:pt x="28" y="66"/>
                  </a:lnTo>
                  <a:lnTo>
                    <a:pt x="30" y="66"/>
                  </a:lnTo>
                  <a:lnTo>
                    <a:pt x="30" y="64"/>
                  </a:lnTo>
                  <a:lnTo>
                    <a:pt x="28" y="66"/>
                  </a:lnTo>
                  <a:lnTo>
                    <a:pt x="28" y="64"/>
                  </a:lnTo>
                  <a:lnTo>
                    <a:pt x="28" y="61"/>
                  </a:lnTo>
                  <a:lnTo>
                    <a:pt x="30" y="61"/>
                  </a:lnTo>
                  <a:lnTo>
                    <a:pt x="28" y="61"/>
                  </a:lnTo>
                  <a:lnTo>
                    <a:pt x="28" y="59"/>
                  </a:lnTo>
                  <a:lnTo>
                    <a:pt x="28" y="61"/>
                  </a:lnTo>
                  <a:lnTo>
                    <a:pt x="28" y="59"/>
                  </a:lnTo>
                  <a:lnTo>
                    <a:pt x="28" y="61"/>
                  </a:lnTo>
                  <a:lnTo>
                    <a:pt x="28" y="64"/>
                  </a:lnTo>
                  <a:lnTo>
                    <a:pt x="26" y="64"/>
                  </a:lnTo>
                  <a:lnTo>
                    <a:pt x="28" y="64"/>
                  </a:lnTo>
                  <a:lnTo>
                    <a:pt x="28" y="66"/>
                  </a:lnTo>
                  <a:lnTo>
                    <a:pt x="26" y="66"/>
                  </a:lnTo>
                  <a:lnTo>
                    <a:pt x="28" y="66"/>
                  </a:lnTo>
                  <a:lnTo>
                    <a:pt x="26" y="66"/>
                  </a:lnTo>
                  <a:lnTo>
                    <a:pt x="26" y="69"/>
                  </a:lnTo>
                  <a:lnTo>
                    <a:pt x="26" y="66"/>
                  </a:lnTo>
                  <a:lnTo>
                    <a:pt x="26" y="64"/>
                  </a:lnTo>
                  <a:lnTo>
                    <a:pt x="28" y="61"/>
                  </a:lnTo>
                  <a:lnTo>
                    <a:pt x="28" y="59"/>
                  </a:lnTo>
                  <a:lnTo>
                    <a:pt x="28" y="57"/>
                  </a:lnTo>
                  <a:lnTo>
                    <a:pt x="28" y="54"/>
                  </a:lnTo>
                  <a:lnTo>
                    <a:pt x="28" y="52"/>
                  </a:lnTo>
                  <a:lnTo>
                    <a:pt x="28" y="50"/>
                  </a:lnTo>
                  <a:lnTo>
                    <a:pt x="28" y="47"/>
                  </a:lnTo>
                  <a:lnTo>
                    <a:pt x="30" y="47"/>
                  </a:lnTo>
                  <a:lnTo>
                    <a:pt x="33" y="47"/>
                  </a:lnTo>
                  <a:lnTo>
                    <a:pt x="33" y="50"/>
                  </a:lnTo>
                  <a:lnTo>
                    <a:pt x="35" y="50"/>
                  </a:lnTo>
                  <a:lnTo>
                    <a:pt x="35" y="52"/>
                  </a:lnTo>
                  <a:lnTo>
                    <a:pt x="35" y="50"/>
                  </a:lnTo>
                  <a:lnTo>
                    <a:pt x="38" y="50"/>
                  </a:lnTo>
                  <a:lnTo>
                    <a:pt x="38" y="52"/>
                  </a:lnTo>
                  <a:lnTo>
                    <a:pt x="40" y="50"/>
                  </a:lnTo>
                  <a:lnTo>
                    <a:pt x="42" y="5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5" name="Freeform 55042"/>
            <p:cNvSpPr>
              <a:spLocks noEditPoints="1"/>
            </p:cNvSpPr>
            <p:nvPr/>
          </p:nvSpPr>
          <p:spPr bwMode="auto">
            <a:xfrm>
              <a:off x="3087685" y="4833954"/>
              <a:ext cx="496888" cy="346076"/>
            </a:xfrm>
            <a:custGeom>
              <a:avLst/>
              <a:gdLst>
                <a:gd name="T0" fmla="*/ 254 w 313"/>
                <a:gd name="T1" fmla="*/ 202 h 218"/>
                <a:gd name="T2" fmla="*/ 230 w 313"/>
                <a:gd name="T3" fmla="*/ 194 h 218"/>
                <a:gd name="T4" fmla="*/ 204 w 313"/>
                <a:gd name="T5" fmla="*/ 199 h 218"/>
                <a:gd name="T6" fmla="*/ 185 w 313"/>
                <a:gd name="T7" fmla="*/ 209 h 218"/>
                <a:gd name="T8" fmla="*/ 164 w 313"/>
                <a:gd name="T9" fmla="*/ 213 h 218"/>
                <a:gd name="T10" fmla="*/ 145 w 313"/>
                <a:gd name="T11" fmla="*/ 211 h 218"/>
                <a:gd name="T12" fmla="*/ 123 w 313"/>
                <a:gd name="T13" fmla="*/ 211 h 218"/>
                <a:gd name="T14" fmla="*/ 102 w 313"/>
                <a:gd name="T15" fmla="*/ 206 h 218"/>
                <a:gd name="T16" fmla="*/ 88 w 313"/>
                <a:gd name="T17" fmla="*/ 202 h 218"/>
                <a:gd name="T18" fmla="*/ 78 w 313"/>
                <a:gd name="T19" fmla="*/ 187 h 218"/>
                <a:gd name="T20" fmla="*/ 81 w 313"/>
                <a:gd name="T21" fmla="*/ 173 h 218"/>
                <a:gd name="T22" fmla="*/ 64 w 313"/>
                <a:gd name="T23" fmla="*/ 178 h 218"/>
                <a:gd name="T24" fmla="*/ 45 w 313"/>
                <a:gd name="T25" fmla="*/ 168 h 218"/>
                <a:gd name="T26" fmla="*/ 43 w 313"/>
                <a:gd name="T27" fmla="*/ 159 h 218"/>
                <a:gd name="T28" fmla="*/ 40 w 313"/>
                <a:gd name="T29" fmla="*/ 147 h 218"/>
                <a:gd name="T30" fmla="*/ 26 w 313"/>
                <a:gd name="T31" fmla="*/ 140 h 218"/>
                <a:gd name="T32" fmla="*/ 17 w 313"/>
                <a:gd name="T33" fmla="*/ 126 h 218"/>
                <a:gd name="T34" fmla="*/ 14 w 313"/>
                <a:gd name="T35" fmla="*/ 116 h 218"/>
                <a:gd name="T36" fmla="*/ 7 w 313"/>
                <a:gd name="T37" fmla="*/ 99 h 218"/>
                <a:gd name="T38" fmla="*/ 24 w 313"/>
                <a:gd name="T39" fmla="*/ 95 h 218"/>
                <a:gd name="T40" fmla="*/ 36 w 313"/>
                <a:gd name="T41" fmla="*/ 80 h 218"/>
                <a:gd name="T42" fmla="*/ 43 w 313"/>
                <a:gd name="T43" fmla="*/ 71 h 218"/>
                <a:gd name="T44" fmla="*/ 47 w 313"/>
                <a:gd name="T45" fmla="*/ 57 h 218"/>
                <a:gd name="T46" fmla="*/ 57 w 313"/>
                <a:gd name="T47" fmla="*/ 38 h 218"/>
                <a:gd name="T48" fmla="*/ 69 w 313"/>
                <a:gd name="T49" fmla="*/ 23 h 218"/>
                <a:gd name="T50" fmla="*/ 85 w 313"/>
                <a:gd name="T51" fmla="*/ 16 h 218"/>
                <a:gd name="T52" fmla="*/ 100 w 313"/>
                <a:gd name="T53" fmla="*/ 7 h 218"/>
                <a:gd name="T54" fmla="*/ 116 w 313"/>
                <a:gd name="T55" fmla="*/ 12 h 218"/>
                <a:gd name="T56" fmla="*/ 130 w 313"/>
                <a:gd name="T57" fmla="*/ 16 h 218"/>
                <a:gd name="T58" fmla="*/ 149 w 313"/>
                <a:gd name="T59" fmla="*/ 19 h 218"/>
                <a:gd name="T60" fmla="*/ 161 w 313"/>
                <a:gd name="T61" fmla="*/ 21 h 218"/>
                <a:gd name="T62" fmla="*/ 187 w 313"/>
                <a:gd name="T63" fmla="*/ 14 h 218"/>
                <a:gd name="T64" fmla="*/ 199 w 313"/>
                <a:gd name="T65" fmla="*/ 4 h 218"/>
                <a:gd name="T66" fmla="*/ 216 w 313"/>
                <a:gd name="T67" fmla="*/ 0 h 218"/>
                <a:gd name="T68" fmla="*/ 223 w 313"/>
                <a:gd name="T69" fmla="*/ 7 h 218"/>
                <a:gd name="T70" fmla="*/ 230 w 313"/>
                <a:gd name="T71" fmla="*/ 23 h 218"/>
                <a:gd name="T72" fmla="*/ 240 w 313"/>
                <a:gd name="T73" fmla="*/ 35 h 218"/>
                <a:gd name="T74" fmla="*/ 242 w 313"/>
                <a:gd name="T75" fmla="*/ 42 h 218"/>
                <a:gd name="T76" fmla="*/ 249 w 313"/>
                <a:gd name="T77" fmla="*/ 50 h 218"/>
                <a:gd name="T78" fmla="*/ 256 w 313"/>
                <a:gd name="T79" fmla="*/ 59 h 218"/>
                <a:gd name="T80" fmla="*/ 261 w 313"/>
                <a:gd name="T81" fmla="*/ 73 h 218"/>
                <a:gd name="T82" fmla="*/ 263 w 313"/>
                <a:gd name="T83" fmla="*/ 85 h 218"/>
                <a:gd name="T84" fmla="*/ 261 w 313"/>
                <a:gd name="T85" fmla="*/ 92 h 218"/>
                <a:gd name="T86" fmla="*/ 261 w 313"/>
                <a:gd name="T87" fmla="*/ 97 h 218"/>
                <a:gd name="T88" fmla="*/ 259 w 313"/>
                <a:gd name="T89" fmla="*/ 107 h 218"/>
                <a:gd name="T90" fmla="*/ 259 w 313"/>
                <a:gd name="T91" fmla="*/ 123 h 218"/>
                <a:gd name="T92" fmla="*/ 266 w 313"/>
                <a:gd name="T93" fmla="*/ 135 h 218"/>
                <a:gd name="T94" fmla="*/ 282 w 313"/>
                <a:gd name="T95" fmla="*/ 145 h 218"/>
                <a:gd name="T96" fmla="*/ 282 w 313"/>
                <a:gd name="T97" fmla="*/ 145 h 218"/>
                <a:gd name="T98" fmla="*/ 289 w 313"/>
                <a:gd name="T99" fmla="*/ 137 h 218"/>
                <a:gd name="T100" fmla="*/ 304 w 313"/>
                <a:gd name="T101" fmla="*/ 135 h 218"/>
                <a:gd name="T102" fmla="*/ 308 w 313"/>
                <a:gd name="T103" fmla="*/ 147 h 218"/>
                <a:gd name="T104" fmla="*/ 301 w 313"/>
                <a:gd name="T105" fmla="*/ 154 h 218"/>
                <a:gd name="T106" fmla="*/ 301 w 313"/>
                <a:gd name="T107" fmla="*/ 161 h 218"/>
                <a:gd name="T108" fmla="*/ 285 w 313"/>
                <a:gd name="T109" fmla="*/ 175 h 218"/>
                <a:gd name="T110" fmla="*/ 278 w 313"/>
                <a:gd name="T111" fmla="*/ 192 h 218"/>
                <a:gd name="T112" fmla="*/ 278 w 313"/>
                <a:gd name="T113" fmla="*/ 194 h 218"/>
                <a:gd name="T114" fmla="*/ 301 w 313"/>
                <a:gd name="T115" fmla="*/ 154 h 218"/>
                <a:gd name="T116" fmla="*/ 292 w 313"/>
                <a:gd name="T117" fmla="*/ 149 h 218"/>
                <a:gd name="T118" fmla="*/ 292 w 313"/>
                <a:gd name="T119" fmla="*/ 14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3" h="218">
                  <a:moveTo>
                    <a:pt x="275" y="209"/>
                  </a:moveTo>
                  <a:lnTo>
                    <a:pt x="273" y="209"/>
                  </a:lnTo>
                  <a:lnTo>
                    <a:pt x="275" y="209"/>
                  </a:lnTo>
                  <a:lnTo>
                    <a:pt x="275" y="211"/>
                  </a:lnTo>
                  <a:lnTo>
                    <a:pt x="275" y="213"/>
                  </a:lnTo>
                  <a:lnTo>
                    <a:pt x="270" y="213"/>
                  </a:lnTo>
                  <a:lnTo>
                    <a:pt x="266" y="211"/>
                  </a:lnTo>
                  <a:lnTo>
                    <a:pt x="263" y="211"/>
                  </a:lnTo>
                  <a:lnTo>
                    <a:pt x="259" y="209"/>
                  </a:lnTo>
                  <a:lnTo>
                    <a:pt x="256" y="209"/>
                  </a:lnTo>
                  <a:lnTo>
                    <a:pt x="254" y="204"/>
                  </a:lnTo>
                  <a:lnTo>
                    <a:pt x="254" y="202"/>
                  </a:lnTo>
                  <a:lnTo>
                    <a:pt x="251" y="199"/>
                  </a:lnTo>
                  <a:lnTo>
                    <a:pt x="249" y="202"/>
                  </a:lnTo>
                  <a:lnTo>
                    <a:pt x="247" y="202"/>
                  </a:lnTo>
                  <a:lnTo>
                    <a:pt x="244" y="202"/>
                  </a:lnTo>
                  <a:lnTo>
                    <a:pt x="244" y="199"/>
                  </a:lnTo>
                  <a:lnTo>
                    <a:pt x="242" y="199"/>
                  </a:lnTo>
                  <a:lnTo>
                    <a:pt x="237" y="199"/>
                  </a:lnTo>
                  <a:lnTo>
                    <a:pt x="235" y="199"/>
                  </a:lnTo>
                  <a:lnTo>
                    <a:pt x="235" y="197"/>
                  </a:lnTo>
                  <a:lnTo>
                    <a:pt x="232" y="197"/>
                  </a:lnTo>
                  <a:lnTo>
                    <a:pt x="232" y="194"/>
                  </a:lnTo>
                  <a:lnTo>
                    <a:pt x="230" y="194"/>
                  </a:lnTo>
                  <a:lnTo>
                    <a:pt x="228" y="194"/>
                  </a:lnTo>
                  <a:lnTo>
                    <a:pt x="225" y="194"/>
                  </a:lnTo>
                  <a:lnTo>
                    <a:pt x="223" y="194"/>
                  </a:lnTo>
                  <a:lnTo>
                    <a:pt x="221" y="194"/>
                  </a:lnTo>
                  <a:lnTo>
                    <a:pt x="218" y="194"/>
                  </a:lnTo>
                  <a:lnTo>
                    <a:pt x="216" y="194"/>
                  </a:lnTo>
                  <a:lnTo>
                    <a:pt x="216" y="197"/>
                  </a:lnTo>
                  <a:lnTo>
                    <a:pt x="213" y="197"/>
                  </a:lnTo>
                  <a:lnTo>
                    <a:pt x="211" y="197"/>
                  </a:lnTo>
                  <a:lnTo>
                    <a:pt x="209" y="197"/>
                  </a:lnTo>
                  <a:lnTo>
                    <a:pt x="206" y="197"/>
                  </a:lnTo>
                  <a:lnTo>
                    <a:pt x="204" y="199"/>
                  </a:lnTo>
                  <a:lnTo>
                    <a:pt x="202" y="199"/>
                  </a:lnTo>
                  <a:lnTo>
                    <a:pt x="199" y="199"/>
                  </a:lnTo>
                  <a:lnTo>
                    <a:pt x="197" y="199"/>
                  </a:lnTo>
                  <a:lnTo>
                    <a:pt x="197" y="202"/>
                  </a:lnTo>
                  <a:lnTo>
                    <a:pt x="194" y="202"/>
                  </a:lnTo>
                  <a:lnTo>
                    <a:pt x="192" y="202"/>
                  </a:lnTo>
                  <a:lnTo>
                    <a:pt x="192" y="204"/>
                  </a:lnTo>
                  <a:lnTo>
                    <a:pt x="190" y="204"/>
                  </a:lnTo>
                  <a:lnTo>
                    <a:pt x="190" y="206"/>
                  </a:lnTo>
                  <a:lnTo>
                    <a:pt x="187" y="206"/>
                  </a:lnTo>
                  <a:lnTo>
                    <a:pt x="187" y="209"/>
                  </a:lnTo>
                  <a:lnTo>
                    <a:pt x="185" y="209"/>
                  </a:lnTo>
                  <a:lnTo>
                    <a:pt x="185" y="211"/>
                  </a:lnTo>
                  <a:lnTo>
                    <a:pt x="183" y="211"/>
                  </a:lnTo>
                  <a:lnTo>
                    <a:pt x="183" y="213"/>
                  </a:lnTo>
                  <a:lnTo>
                    <a:pt x="180" y="213"/>
                  </a:lnTo>
                  <a:lnTo>
                    <a:pt x="178" y="216"/>
                  </a:lnTo>
                  <a:lnTo>
                    <a:pt x="176" y="216"/>
                  </a:lnTo>
                  <a:lnTo>
                    <a:pt x="173" y="216"/>
                  </a:lnTo>
                  <a:lnTo>
                    <a:pt x="171" y="218"/>
                  </a:lnTo>
                  <a:lnTo>
                    <a:pt x="168" y="218"/>
                  </a:lnTo>
                  <a:lnTo>
                    <a:pt x="166" y="216"/>
                  </a:lnTo>
                  <a:lnTo>
                    <a:pt x="164" y="216"/>
                  </a:lnTo>
                  <a:lnTo>
                    <a:pt x="164" y="213"/>
                  </a:lnTo>
                  <a:lnTo>
                    <a:pt x="161" y="213"/>
                  </a:lnTo>
                  <a:lnTo>
                    <a:pt x="161" y="216"/>
                  </a:lnTo>
                  <a:lnTo>
                    <a:pt x="159" y="216"/>
                  </a:lnTo>
                  <a:lnTo>
                    <a:pt x="159" y="213"/>
                  </a:lnTo>
                  <a:lnTo>
                    <a:pt x="157" y="213"/>
                  </a:lnTo>
                  <a:lnTo>
                    <a:pt x="154" y="213"/>
                  </a:lnTo>
                  <a:lnTo>
                    <a:pt x="152" y="213"/>
                  </a:lnTo>
                  <a:lnTo>
                    <a:pt x="149" y="213"/>
                  </a:lnTo>
                  <a:lnTo>
                    <a:pt x="149" y="216"/>
                  </a:lnTo>
                  <a:lnTo>
                    <a:pt x="147" y="216"/>
                  </a:lnTo>
                  <a:lnTo>
                    <a:pt x="145" y="213"/>
                  </a:lnTo>
                  <a:lnTo>
                    <a:pt x="145" y="211"/>
                  </a:lnTo>
                  <a:lnTo>
                    <a:pt x="142" y="211"/>
                  </a:lnTo>
                  <a:lnTo>
                    <a:pt x="140" y="211"/>
                  </a:lnTo>
                  <a:lnTo>
                    <a:pt x="138" y="211"/>
                  </a:lnTo>
                  <a:lnTo>
                    <a:pt x="138" y="213"/>
                  </a:lnTo>
                  <a:lnTo>
                    <a:pt x="135" y="213"/>
                  </a:lnTo>
                  <a:lnTo>
                    <a:pt x="133" y="213"/>
                  </a:lnTo>
                  <a:lnTo>
                    <a:pt x="130" y="213"/>
                  </a:lnTo>
                  <a:lnTo>
                    <a:pt x="130" y="216"/>
                  </a:lnTo>
                  <a:lnTo>
                    <a:pt x="128" y="216"/>
                  </a:lnTo>
                  <a:lnTo>
                    <a:pt x="128" y="213"/>
                  </a:lnTo>
                  <a:lnTo>
                    <a:pt x="126" y="213"/>
                  </a:lnTo>
                  <a:lnTo>
                    <a:pt x="123" y="211"/>
                  </a:lnTo>
                  <a:lnTo>
                    <a:pt x="121" y="211"/>
                  </a:lnTo>
                  <a:lnTo>
                    <a:pt x="119" y="211"/>
                  </a:lnTo>
                  <a:lnTo>
                    <a:pt x="116" y="211"/>
                  </a:lnTo>
                  <a:lnTo>
                    <a:pt x="116" y="209"/>
                  </a:lnTo>
                  <a:lnTo>
                    <a:pt x="114" y="209"/>
                  </a:lnTo>
                  <a:lnTo>
                    <a:pt x="111" y="209"/>
                  </a:lnTo>
                  <a:lnTo>
                    <a:pt x="111" y="211"/>
                  </a:lnTo>
                  <a:lnTo>
                    <a:pt x="111" y="209"/>
                  </a:lnTo>
                  <a:lnTo>
                    <a:pt x="109" y="209"/>
                  </a:lnTo>
                  <a:lnTo>
                    <a:pt x="107" y="209"/>
                  </a:lnTo>
                  <a:lnTo>
                    <a:pt x="104" y="206"/>
                  </a:lnTo>
                  <a:lnTo>
                    <a:pt x="102" y="206"/>
                  </a:lnTo>
                  <a:lnTo>
                    <a:pt x="100" y="206"/>
                  </a:lnTo>
                  <a:lnTo>
                    <a:pt x="100" y="209"/>
                  </a:lnTo>
                  <a:lnTo>
                    <a:pt x="97" y="209"/>
                  </a:lnTo>
                  <a:lnTo>
                    <a:pt x="95" y="209"/>
                  </a:lnTo>
                  <a:lnTo>
                    <a:pt x="92" y="209"/>
                  </a:lnTo>
                  <a:lnTo>
                    <a:pt x="90" y="209"/>
                  </a:lnTo>
                  <a:lnTo>
                    <a:pt x="88" y="209"/>
                  </a:lnTo>
                  <a:lnTo>
                    <a:pt x="85" y="209"/>
                  </a:lnTo>
                  <a:lnTo>
                    <a:pt x="85" y="206"/>
                  </a:lnTo>
                  <a:lnTo>
                    <a:pt x="85" y="204"/>
                  </a:lnTo>
                  <a:lnTo>
                    <a:pt x="85" y="202"/>
                  </a:lnTo>
                  <a:lnTo>
                    <a:pt x="88" y="202"/>
                  </a:lnTo>
                  <a:lnTo>
                    <a:pt x="88" y="199"/>
                  </a:lnTo>
                  <a:lnTo>
                    <a:pt x="90" y="199"/>
                  </a:lnTo>
                  <a:lnTo>
                    <a:pt x="92" y="197"/>
                  </a:lnTo>
                  <a:lnTo>
                    <a:pt x="90" y="197"/>
                  </a:lnTo>
                  <a:lnTo>
                    <a:pt x="88" y="197"/>
                  </a:lnTo>
                  <a:lnTo>
                    <a:pt x="88" y="194"/>
                  </a:lnTo>
                  <a:lnTo>
                    <a:pt x="85" y="194"/>
                  </a:lnTo>
                  <a:lnTo>
                    <a:pt x="85" y="192"/>
                  </a:lnTo>
                  <a:lnTo>
                    <a:pt x="83" y="192"/>
                  </a:lnTo>
                  <a:lnTo>
                    <a:pt x="81" y="190"/>
                  </a:lnTo>
                  <a:lnTo>
                    <a:pt x="81" y="187"/>
                  </a:lnTo>
                  <a:lnTo>
                    <a:pt x="78" y="187"/>
                  </a:lnTo>
                  <a:lnTo>
                    <a:pt x="76" y="187"/>
                  </a:lnTo>
                  <a:lnTo>
                    <a:pt x="76" y="185"/>
                  </a:lnTo>
                  <a:lnTo>
                    <a:pt x="73" y="183"/>
                  </a:lnTo>
                  <a:lnTo>
                    <a:pt x="73" y="180"/>
                  </a:lnTo>
                  <a:lnTo>
                    <a:pt x="73" y="178"/>
                  </a:lnTo>
                  <a:lnTo>
                    <a:pt x="76" y="178"/>
                  </a:lnTo>
                  <a:lnTo>
                    <a:pt x="76" y="175"/>
                  </a:lnTo>
                  <a:lnTo>
                    <a:pt x="78" y="175"/>
                  </a:lnTo>
                  <a:lnTo>
                    <a:pt x="81" y="175"/>
                  </a:lnTo>
                  <a:lnTo>
                    <a:pt x="83" y="175"/>
                  </a:lnTo>
                  <a:lnTo>
                    <a:pt x="83" y="173"/>
                  </a:lnTo>
                  <a:lnTo>
                    <a:pt x="81" y="173"/>
                  </a:lnTo>
                  <a:lnTo>
                    <a:pt x="81" y="171"/>
                  </a:lnTo>
                  <a:lnTo>
                    <a:pt x="78" y="171"/>
                  </a:lnTo>
                  <a:lnTo>
                    <a:pt x="76" y="171"/>
                  </a:lnTo>
                  <a:lnTo>
                    <a:pt x="73" y="166"/>
                  </a:lnTo>
                  <a:lnTo>
                    <a:pt x="71" y="166"/>
                  </a:lnTo>
                  <a:lnTo>
                    <a:pt x="71" y="168"/>
                  </a:lnTo>
                  <a:lnTo>
                    <a:pt x="69" y="168"/>
                  </a:lnTo>
                  <a:lnTo>
                    <a:pt x="66" y="171"/>
                  </a:lnTo>
                  <a:lnTo>
                    <a:pt x="66" y="173"/>
                  </a:lnTo>
                  <a:lnTo>
                    <a:pt x="64" y="173"/>
                  </a:lnTo>
                  <a:lnTo>
                    <a:pt x="64" y="175"/>
                  </a:lnTo>
                  <a:lnTo>
                    <a:pt x="64" y="178"/>
                  </a:lnTo>
                  <a:lnTo>
                    <a:pt x="62" y="178"/>
                  </a:lnTo>
                  <a:lnTo>
                    <a:pt x="59" y="178"/>
                  </a:lnTo>
                  <a:lnTo>
                    <a:pt x="59" y="175"/>
                  </a:lnTo>
                  <a:lnTo>
                    <a:pt x="59" y="173"/>
                  </a:lnTo>
                  <a:lnTo>
                    <a:pt x="57" y="173"/>
                  </a:lnTo>
                  <a:lnTo>
                    <a:pt x="57" y="171"/>
                  </a:lnTo>
                  <a:lnTo>
                    <a:pt x="55" y="171"/>
                  </a:lnTo>
                  <a:lnTo>
                    <a:pt x="52" y="171"/>
                  </a:lnTo>
                  <a:lnTo>
                    <a:pt x="50" y="171"/>
                  </a:lnTo>
                  <a:lnTo>
                    <a:pt x="47" y="171"/>
                  </a:lnTo>
                  <a:lnTo>
                    <a:pt x="47" y="168"/>
                  </a:lnTo>
                  <a:lnTo>
                    <a:pt x="45" y="168"/>
                  </a:lnTo>
                  <a:lnTo>
                    <a:pt x="45" y="166"/>
                  </a:lnTo>
                  <a:lnTo>
                    <a:pt x="43" y="164"/>
                  </a:lnTo>
                  <a:lnTo>
                    <a:pt x="40" y="164"/>
                  </a:lnTo>
                  <a:lnTo>
                    <a:pt x="38" y="164"/>
                  </a:lnTo>
                  <a:lnTo>
                    <a:pt x="38" y="161"/>
                  </a:lnTo>
                  <a:lnTo>
                    <a:pt x="36" y="161"/>
                  </a:lnTo>
                  <a:lnTo>
                    <a:pt x="38" y="161"/>
                  </a:lnTo>
                  <a:lnTo>
                    <a:pt x="38" y="159"/>
                  </a:lnTo>
                  <a:lnTo>
                    <a:pt x="40" y="159"/>
                  </a:lnTo>
                  <a:lnTo>
                    <a:pt x="38" y="159"/>
                  </a:lnTo>
                  <a:lnTo>
                    <a:pt x="40" y="159"/>
                  </a:lnTo>
                  <a:lnTo>
                    <a:pt x="43" y="159"/>
                  </a:lnTo>
                  <a:lnTo>
                    <a:pt x="43" y="156"/>
                  </a:lnTo>
                  <a:lnTo>
                    <a:pt x="40" y="156"/>
                  </a:lnTo>
                  <a:lnTo>
                    <a:pt x="38" y="156"/>
                  </a:lnTo>
                  <a:lnTo>
                    <a:pt x="38" y="154"/>
                  </a:lnTo>
                  <a:lnTo>
                    <a:pt x="36" y="154"/>
                  </a:lnTo>
                  <a:lnTo>
                    <a:pt x="36" y="152"/>
                  </a:lnTo>
                  <a:lnTo>
                    <a:pt x="38" y="152"/>
                  </a:lnTo>
                  <a:lnTo>
                    <a:pt x="40" y="152"/>
                  </a:lnTo>
                  <a:lnTo>
                    <a:pt x="38" y="152"/>
                  </a:lnTo>
                  <a:lnTo>
                    <a:pt x="40" y="152"/>
                  </a:lnTo>
                  <a:lnTo>
                    <a:pt x="40" y="149"/>
                  </a:lnTo>
                  <a:lnTo>
                    <a:pt x="40" y="147"/>
                  </a:lnTo>
                  <a:lnTo>
                    <a:pt x="43" y="147"/>
                  </a:lnTo>
                  <a:lnTo>
                    <a:pt x="40" y="145"/>
                  </a:lnTo>
                  <a:lnTo>
                    <a:pt x="38" y="145"/>
                  </a:lnTo>
                  <a:lnTo>
                    <a:pt x="38" y="142"/>
                  </a:lnTo>
                  <a:lnTo>
                    <a:pt x="38" y="145"/>
                  </a:lnTo>
                  <a:lnTo>
                    <a:pt x="36" y="142"/>
                  </a:lnTo>
                  <a:lnTo>
                    <a:pt x="33" y="142"/>
                  </a:lnTo>
                  <a:lnTo>
                    <a:pt x="31" y="142"/>
                  </a:lnTo>
                  <a:lnTo>
                    <a:pt x="31" y="140"/>
                  </a:lnTo>
                  <a:lnTo>
                    <a:pt x="31" y="137"/>
                  </a:lnTo>
                  <a:lnTo>
                    <a:pt x="28" y="140"/>
                  </a:lnTo>
                  <a:lnTo>
                    <a:pt x="26" y="140"/>
                  </a:lnTo>
                  <a:lnTo>
                    <a:pt x="26" y="137"/>
                  </a:lnTo>
                  <a:lnTo>
                    <a:pt x="24" y="137"/>
                  </a:lnTo>
                  <a:lnTo>
                    <a:pt x="24" y="135"/>
                  </a:lnTo>
                  <a:lnTo>
                    <a:pt x="21" y="135"/>
                  </a:lnTo>
                  <a:lnTo>
                    <a:pt x="21" y="133"/>
                  </a:lnTo>
                  <a:lnTo>
                    <a:pt x="19" y="133"/>
                  </a:lnTo>
                  <a:lnTo>
                    <a:pt x="19" y="130"/>
                  </a:lnTo>
                  <a:lnTo>
                    <a:pt x="17" y="130"/>
                  </a:lnTo>
                  <a:lnTo>
                    <a:pt x="19" y="130"/>
                  </a:lnTo>
                  <a:lnTo>
                    <a:pt x="19" y="128"/>
                  </a:lnTo>
                  <a:lnTo>
                    <a:pt x="19" y="126"/>
                  </a:lnTo>
                  <a:lnTo>
                    <a:pt x="17" y="126"/>
                  </a:lnTo>
                  <a:lnTo>
                    <a:pt x="17" y="123"/>
                  </a:lnTo>
                  <a:lnTo>
                    <a:pt x="19" y="123"/>
                  </a:lnTo>
                  <a:lnTo>
                    <a:pt x="19" y="121"/>
                  </a:lnTo>
                  <a:lnTo>
                    <a:pt x="17" y="121"/>
                  </a:lnTo>
                  <a:lnTo>
                    <a:pt x="19" y="121"/>
                  </a:lnTo>
                  <a:lnTo>
                    <a:pt x="19" y="118"/>
                  </a:lnTo>
                  <a:lnTo>
                    <a:pt x="17" y="116"/>
                  </a:lnTo>
                  <a:lnTo>
                    <a:pt x="17" y="118"/>
                  </a:lnTo>
                  <a:lnTo>
                    <a:pt x="14" y="118"/>
                  </a:lnTo>
                  <a:lnTo>
                    <a:pt x="14" y="116"/>
                  </a:lnTo>
                  <a:lnTo>
                    <a:pt x="12" y="116"/>
                  </a:lnTo>
                  <a:lnTo>
                    <a:pt x="14" y="116"/>
                  </a:lnTo>
                  <a:lnTo>
                    <a:pt x="12" y="114"/>
                  </a:lnTo>
                  <a:lnTo>
                    <a:pt x="9" y="114"/>
                  </a:lnTo>
                  <a:lnTo>
                    <a:pt x="9" y="111"/>
                  </a:lnTo>
                  <a:lnTo>
                    <a:pt x="7" y="109"/>
                  </a:lnTo>
                  <a:lnTo>
                    <a:pt x="5" y="109"/>
                  </a:lnTo>
                  <a:lnTo>
                    <a:pt x="2" y="107"/>
                  </a:lnTo>
                  <a:lnTo>
                    <a:pt x="2" y="104"/>
                  </a:lnTo>
                  <a:lnTo>
                    <a:pt x="2" y="102"/>
                  </a:lnTo>
                  <a:lnTo>
                    <a:pt x="0" y="102"/>
                  </a:lnTo>
                  <a:lnTo>
                    <a:pt x="2" y="99"/>
                  </a:lnTo>
                  <a:lnTo>
                    <a:pt x="5" y="99"/>
                  </a:lnTo>
                  <a:lnTo>
                    <a:pt x="7" y="99"/>
                  </a:lnTo>
                  <a:lnTo>
                    <a:pt x="7" y="97"/>
                  </a:lnTo>
                  <a:lnTo>
                    <a:pt x="9" y="99"/>
                  </a:lnTo>
                  <a:lnTo>
                    <a:pt x="12" y="99"/>
                  </a:lnTo>
                  <a:lnTo>
                    <a:pt x="12" y="102"/>
                  </a:lnTo>
                  <a:lnTo>
                    <a:pt x="12" y="99"/>
                  </a:lnTo>
                  <a:lnTo>
                    <a:pt x="14" y="99"/>
                  </a:lnTo>
                  <a:lnTo>
                    <a:pt x="14" y="97"/>
                  </a:lnTo>
                  <a:lnTo>
                    <a:pt x="17" y="97"/>
                  </a:lnTo>
                  <a:lnTo>
                    <a:pt x="17" y="95"/>
                  </a:lnTo>
                  <a:lnTo>
                    <a:pt x="21" y="92"/>
                  </a:lnTo>
                  <a:lnTo>
                    <a:pt x="21" y="95"/>
                  </a:lnTo>
                  <a:lnTo>
                    <a:pt x="24" y="95"/>
                  </a:lnTo>
                  <a:lnTo>
                    <a:pt x="26" y="95"/>
                  </a:lnTo>
                  <a:lnTo>
                    <a:pt x="28" y="95"/>
                  </a:lnTo>
                  <a:lnTo>
                    <a:pt x="28" y="92"/>
                  </a:lnTo>
                  <a:lnTo>
                    <a:pt x="31" y="92"/>
                  </a:lnTo>
                  <a:lnTo>
                    <a:pt x="31" y="90"/>
                  </a:lnTo>
                  <a:lnTo>
                    <a:pt x="31" y="88"/>
                  </a:lnTo>
                  <a:lnTo>
                    <a:pt x="33" y="88"/>
                  </a:lnTo>
                  <a:lnTo>
                    <a:pt x="36" y="85"/>
                  </a:lnTo>
                  <a:lnTo>
                    <a:pt x="33" y="85"/>
                  </a:lnTo>
                  <a:lnTo>
                    <a:pt x="33" y="83"/>
                  </a:lnTo>
                  <a:lnTo>
                    <a:pt x="33" y="80"/>
                  </a:lnTo>
                  <a:lnTo>
                    <a:pt x="36" y="80"/>
                  </a:lnTo>
                  <a:lnTo>
                    <a:pt x="36" y="78"/>
                  </a:lnTo>
                  <a:lnTo>
                    <a:pt x="36" y="76"/>
                  </a:lnTo>
                  <a:lnTo>
                    <a:pt x="38" y="78"/>
                  </a:lnTo>
                  <a:lnTo>
                    <a:pt x="38" y="76"/>
                  </a:lnTo>
                  <a:lnTo>
                    <a:pt x="40" y="76"/>
                  </a:lnTo>
                  <a:lnTo>
                    <a:pt x="38" y="76"/>
                  </a:lnTo>
                  <a:lnTo>
                    <a:pt x="38" y="73"/>
                  </a:lnTo>
                  <a:lnTo>
                    <a:pt x="40" y="73"/>
                  </a:lnTo>
                  <a:lnTo>
                    <a:pt x="40" y="76"/>
                  </a:lnTo>
                  <a:lnTo>
                    <a:pt x="40" y="73"/>
                  </a:lnTo>
                  <a:lnTo>
                    <a:pt x="43" y="73"/>
                  </a:lnTo>
                  <a:lnTo>
                    <a:pt x="43" y="71"/>
                  </a:lnTo>
                  <a:lnTo>
                    <a:pt x="40" y="71"/>
                  </a:lnTo>
                  <a:lnTo>
                    <a:pt x="40" y="69"/>
                  </a:lnTo>
                  <a:lnTo>
                    <a:pt x="43" y="69"/>
                  </a:lnTo>
                  <a:lnTo>
                    <a:pt x="43" y="66"/>
                  </a:lnTo>
                  <a:lnTo>
                    <a:pt x="45" y="66"/>
                  </a:lnTo>
                  <a:lnTo>
                    <a:pt x="45" y="64"/>
                  </a:lnTo>
                  <a:lnTo>
                    <a:pt x="45" y="61"/>
                  </a:lnTo>
                  <a:lnTo>
                    <a:pt x="47" y="61"/>
                  </a:lnTo>
                  <a:lnTo>
                    <a:pt x="47" y="59"/>
                  </a:lnTo>
                  <a:lnTo>
                    <a:pt x="45" y="59"/>
                  </a:lnTo>
                  <a:lnTo>
                    <a:pt x="45" y="57"/>
                  </a:lnTo>
                  <a:lnTo>
                    <a:pt x="47" y="57"/>
                  </a:lnTo>
                  <a:lnTo>
                    <a:pt x="47" y="54"/>
                  </a:lnTo>
                  <a:lnTo>
                    <a:pt x="50" y="54"/>
                  </a:lnTo>
                  <a:lnTo>
                    <a:pt x="52" y="52"/>
                  </a:lnTo>
                  <a:lnTo>
                    <a:pt x="52" y="50"/>
                  </a:lnTo>
                  <a:lnTo>
                    <a:pt x="52" y="47"/>
                  </a:lnTo>
                  <a:lnTo>
                    <a:pt x="55" y="47"/>
                  </a:lnTo>
                  <a:lnTo>
                    <a:pt x="55" y="45"/>
                  </a:lnTo>
                  <a:lnTo>
                    <a:pt x="55" y="42"/>
                  </a:lnTo>
                  <a:lnTo>
                    <a:pt x="57" y="42"/>
                  </a:lnTo>
                  <a:lnTo>
                    <a:pt x="59" y="40"/>
                  </a:lnTo>
                  <a:lnTo>
                    <a:pt x="59" y="38"/>
                  </a:lnTo>
                  <a:lnTo>
                    <a:pt x="57" y="38"/>
                  </a:lnTo>
                  <a:lnTo>
                    <a:pt x="57" y="35"/>
                  </a:lnTo>
                  <a:lnTo>
                    <a:pt x="59" y="35"/>
                  </a:lnTo>
                  <a:lnTo>
                    <a:pt x="59" y="33"/>
                  </a:lnTo>
                  <a:lnTo>
                    <a:pt x="59" y="35"/>
                  </a:lnTo>
                  <a:lnTo>
                    <a:pt x="59" y="33"/>
                  </a:lnTo>
                  <a:lnTo>
                    <a:pt x="62" y="33"/>
                  </a:lnTo>
                  <a:lnTo>
                    <a:pt x="62" y="31"/>
                  </a:lnTo>
                  <a:lnTo>
                    <a:pt x="64" y="31"/>
                  </a:lnTo>
                  <a:lnTo>
                    <a:pt x="64" y="28"/>
                  </a:lnTo>
                  <a:lnTo>
                    <a:pt x="64" y="26"/>
                  </a:lnTo>
                  <a:lnTo>
                    <a:pt x="66" y="26"/>
                  </a:lnTo>
                  <a:lnTo>
                    <a:pt x="69" y="23"/>
                  </a:lnTo>
                  <a:lnTo>
                    <a:pt x="71" y="23"/>
                  </a:lnTo>
                  <a:lnTo>
                    <a:pt x="71" y="21"/>
                  </a:lnTo>
                  <a:lnTo>
                    <a:pt x="73" y="21"/>
                  </a:lnTo>
                  <a:lnTo>
                    <a:pt x="76" y="23"/>
                  </a:lnTo>
                  <a:lnTo>
                    <a:pt x="78" y="23"/>
                  </a:lnTo>
                  <a:lnTo>
                    <a:pt x="81" y="23"/>
                  </a:lnTo>
                  <a:lnTo>
                    <a:pt x="81" y="21"/>
                  </a:lnTo>
                  <a:lnTo>
                    <a:pt x="81" y="19"/>
                  </a:lnTo>
                  <a:lnTo>
                    <a:pt x="83" y="21"/>
                  </a:lnTo>
                  <a:lnTo>
                    <a:pt x="83" y="19"/>
                  </a:lnTo>
                  <a:lnTo>
                    <a:pt x="83" y="16"/>
                  </a:lnTo>
                  <a:lnTo>
                    <a:pt x="85" y="16"/>
                  </a:lnTo>
                  <a:lnTo>
                    <a:pt x="85" y="14"/>
                  </a:lnTo>
                  <a:lnTo>
                    <a:pt x="88" y="14"/>
                  </a:lnTo>
                  <a:lnTo>
                    <a:pt x="88" y="12"/>
                  </a:lnTo>
                  <a:lnTo>
                    <a:pt x="90" y="12"/>
                  </a:lnTo>
                  <a:lnTo>
                    <a:pt x="90" y="14"/>
                  </a:lnTo>
                  <a:lnTo>
                    <a:pt x="90" y="12"/>
                  </a:lnTo>
                  <a:lnTo>
                    <a:pt x="92" y="12"/>
                  </a:lnTo>
                  <a:lnTo>
                    <a:pt x="95" y="12"/>
                  </a:lnTo>
                  <a:lnTo>
                    <a:pt x="95" y="9"/>
                  </a:lnTo>
                  <a:lnTo>
                    <a:pt x="95" y="7"/>
                  </a:lnTo>
                  <a:lnTo>
                    <a:pt x="97" y="7"/>
                  </a:lnTo>
                  <a:lnTo>
                    <a:pt x="100" y="7"/>
                  </a:lnTo>
                  <a:lnTo>
                    <a:pt x="100" y="9"/>
                  </a:lnTo>
                  <a:lnTo>
                    <a:pt x="102" y="9"/>
                  </a:lnTo>
                  <a:lnTo>
                    <a:pt x="102" y="12"/>
                  </a:lnTo>
                  <a:lnTo>
                    <a:pt x="104" y="12"/>
                  </a:lnTo>
                  <a:lnTo>
                    <a:pt x="104" y="14"/>
                  </a:lnTo>
                  <a:lnTo>
                    <a:pt x="107" y="14"/>
                  </a:lnTo>
                  <a:lnTo>
                    <a:pt x="109" y="12"/>
                  </a:lnTo>
                  <a:lnTo>
                    <a:pt x="111" y="12"/>
                  </a:lnTo>
                  <a:lnTo>
                    <a:pt x="111" y="14"/>
                  </a:lnTo>
                  <a:lnTo>
                    <a:pt x="111" y="12"/>
                  </a:lnTo>
                  <a:lnTo>
                    <a:pt x="114" y="12"/>
                  </a:lnTo>
                  <a:lnTo>
                    <a:pt x="116" y="12"/>
                  </a:lnTo>
                  <a:lnTo>
                    <a:pt x="116" y="14"/>
                  </a:lnTo>
                  <a:lnTo>
                    <a:pt x="119" y="14"/>
                  </a:lnTo>
                  <a:lnTo>
                    <a:pt x="116" y="14"/>
                  </a:lnTo>
                  <a:lnTo>
                    <a:pt x="119" y="14"/>
                  </a:lnTo>
                  <a:lnTo>
                    <a:pt x="119" y="16"/>
                  </a:lnTo>
                  <a:lnTo>
                    <a:pt x="119" y="14"/>
                  </a:lnTo>
                  <a:lnTo>
                    <a:pt x="121" y="14"/>
                  </a:lnTo>
                  <a:lnTo>
                    <a:pt x="123" y="14"/>
                  </a:lnTo>
                  <a:lnTo>
                    <a:pt x="126" y="14"/>
                  </a:lnTo>
                  <a:lnTo>
                    <a:pt x="126" y="16"/>
                  </a:lnTo>
                  <a:lnTo>
                    <a:pt x="128" y="16"/>
                  </a:lnTo>
                  <a:lnTo>
                    <a:pt x="130" y="16"/>
                  </a:lnTo>
                  <a:lnTo>
                    <a:pt x="133" y="16"/>
                  </a:lnTo>
                  <a:lnTo>
                    <a:pt x="135" y="16"/>
                  </a:lnTo>
                  <a:lnTo>
                    <a:pt x="135" y="14"/>
                  </a:lnTo>
                  <a:lnTo>
                    <a:pt x="138" y="14"/>
                  </a:lnTo>
                  <a:lnTo>
                    <a:pt x="140" y="14"/>
                  </a:lnTo>
                  <a:lnTo>
                    <a:pt x="142" y="14"/>
                  </a:lnTo>
                  <a:lnTo>
                    <a:pt x="145" y="14"/>
                  </a:lnTo>
                  <a:lnTo>
                    <a:pt x="145" y="16"/>
                  </a:lnTo>
                  <a:lnTo>
                    <a:pt x="145" y="19"/>
                  </a:lnTo>
                  <a:lnTo>
                    <a:pt x="147" y="19"/>
                  </a:lnTo>
                  <a:lnTo>
                    <a:pt x="147" y="21"/>
                  </a:lnTo>
                  <a:lnTo>
                    <a:pt x="149" y="19"/>
                  </a:lnTo>
                  <a:lnTo>
                    <a:pt x="149" y="21"/>
                  </a:lnTo>
                  <a:lnTo>
                    <a:pt x="152" y="21"/>
                  </a:lnTo>
                  <a:lnTo>
                    <a:pt x="149" y="21"/>
                  </a:lnTo>
                  <a:lnTo>
                    <a:pt x="152" y="21"/>
                  </a:lnTo>
                  <a:lnTo>
                    <a:pt x="152" y="23"/>
                  </a:lnTo>
                  <a:lnTo>
                    <a:pt x="152" y="26"/>
                  </a:lnTo>
                  <a:lnTo>
                    <a:pt x="154" y="26"/>
                  </a:lnTo>
                  <a:lnTo>
                    <a:pt x="157" y="26"/>
                  </a:lnTo>
                  <a:lnTo>
                    <a:pt x="159" y="26"/>
                  </a:lnTo>
                  <a:lnTo>
                    <a:pt x="159" y="23"/>
                  </a:lnTo>
                  <a:lnTo>
                    <a:pt x="161" y="23"/>
                  </a:lnTo>
                  <a:lnTo>
                    <a:pt x="161" y="21"/>
                  </a:lnTo>
                  <a:lnTo>
                    <a:pt x="164" y="21"/>
                  </a:lnTo>
                  <a:lnTo>
                    <a:pt x="164" y="19"/>
                  </a:lnTo>
                  <a:lnTo>
                    <a:pt x="164" y="16"/>
                  </a:lnTo>
                  <a:lnTo>
                    <a:pt x="166" y="16"/>
                  </a:lnTo>
                  <a:lnTo>
                    <a:pt x="168" y="16"/>
                  </a:lnTo>
                  <a:lnTo>
                    <a:pt x="173" y="16"/>
                  </a:lnTo>
                  <a:lnTo>
                    <a:pt x="176" y="14"/>
                  </a:lnTo>
                  <a:lnTo>
                    <a:pt x="178" y="14"/>
                  </a:lnTo>
                  <a:lnTo>
                    <a:pt x="180" y="14"/>
                  </a:lnTo>
                  <a:lnTo>
                    <a:pt x="183" y="14"/>
                  </a:lnTo>
                  <a:lnTo>
                    <a:pt x="185" y="14"/>
                  </a:lnTo>
                  <a:lnTo>
                    <a:pt x="187" y="14"/>
                  </a:lnTo>
                  <a:lnTo>
                    <a:pt x="190" y="14"/>
                  </a:lnTo>
                  <a:lnTo>
                    <a:pt x="190" y="12"/>
                  </a:lnTo>
                  <a:lnTo>
                    <a:pt x="192" y="12"/>
                  </a:lnTo>
                  <a:lnTo>
                    <a:pt x="192" y="14"/>
                  </a:lnTo>
                  <a:lnTo>
                    <a:pt x="194" y="12"/>
                  </a:lnTo>
                  <a:lnTo>
                    <a:pt x="194" y="14"/>
                  </a:lnTo>
                  <a:lnTo>
                    <a:pt x="194" y="12"/>
                  </a:lnTo>
                  <a:lnTo>
                    <a:pt x="197" y="12"/>
                  </a:lnTo>
                  <a:lnTo>
                    <a:pt x="197" y="9"/>
                  </a:lnTo>
                  <a:lnTo>
                    <a:pt x="199" y="9"/>
                  </a:lnTo>
                  <a:lnTo>
                    <a:pt x="199" y="7"/>
                  </a:lnTo>
                  <a:lnTo>
                    <a:pt x="199" y="4"/>
                  </a:lnTo>
                  <a:lnTo>
                    <a:pt x="199" y="2"/>
                  </a:lnTo>
                  <a:lnTo>
                    <a:pt x="202" y="4"/>
                  </a:lnTo>
                  <a:lnTo>
                    <a:pt x="202" y="2"/>
                  </a:lnTo>
                  <a:lnTo>
                    <a:pt x="202" y="4"/>
                  </a:lnTo>
                  <a:lnTo>
                    <a:pt x="202" y="2"/>
                  </a:lnTo>
                  <a:lnTo>
                    <a:pt x="204" y="2"/>
                  </a:lnTo>
                  <a:lnTo>
                    <a:pt x="206" y="2"/>
                  </a:lnTo>
                  <a:lnTo>
                    <a:pt x="209" y="2"/>
                  </a:lnTo>
                  <a:lnTo>
                    <a:pt x="209" y="0"/>
                  </a:lnTo>
                  <a:lnTo>
                    <a:pt x="211" y="0"/>
                  </a:lnTo>
                  <a:lnTo>
                    <a:pt x="213" y="0"/>
                  </a:lnTo>
                  <a:lnTo>
                    <a:pt x="216" y="0"/>
                  </a:lnTo>
                  <a:lnTo>
                    <a:pt x="216" y="2"/>
                  </a:lnTo>
                  <a:lnTo>
                    <a:pt x="218" y="2"/>
                  </a:lnTo>
                  <a:lnTo>
                    <a:pt x="218" y="4"/>
                  </a:lnTo>
                  <a:lnTo>
                    <a:pt x="221" y="4"/>
                  </a:lnTo>
                  <a:lnTo>
                    <a:pt x="221" y="2"/>
                  </a:lnTo>
                  <a:lnTo>
                    <a:pt x="221" y="4"/>
                  </a:lnTo>
                  <a:lnTo>
                    <a:pt x="223" y="4"/>
                  </a:lnTo>
                  <a:lnTo>
                    <a:pt x="221" y="4"/>
                  </a:lnTo>
                  <a:lnTo>
                    <a:pt x="221" y="7"/>
                  </a:lnTo>
                  <a:lnTo>
                    <a:pt x="223" y="7"/>
                  </a:lnTo>
                  <a:lnTo>
                    <a:pt x="223" y="4"/>
                  </a:lnTo>
                  <a:lnTo>
                    <a:pt x="223" y="7"/>
                  </a:lnTo>
                  <a:lnTo>
                    <a:pt x="223" y="9"/>
                  </a:lnTo>
                  <a:lnTo>
                    <a:pt x="225" y="9"/>
                  </a:lnTo>
                  <a:lnTo>
                    <a:pt x="225" y="12"/>
                  </a:lnTo>
                  <a:lnTo>
                    <a:pt x="228" y="12"/>
                  </a:lnTo>
                  <a:lnTo>
                    <a:pt x="225" y="12"/>
                  </a:lnTo>
                  <a:lnTo>
                    <a:pt x="228" y="12"/>
                  </a:lnTo>
                  <a:lnTo>
                    <a:pt x="228" y="14"/>
                  </a:lnTo>
                  <a:lnTo>
                    <a:pt x="228" y="16"/>
                  </a:lnTo>
                  <a:lnTo>
                    <a:pt x="230" y="16"/>
                  </a:lnTo>
                  <a:lnTo>
                    <a:pt x="230" y="19"/>
                  </a:lnTo>
                  <a:lnTo>
                    <a:pt x="230" y="21"/>
                  </a:lnTo>
                  <a:lnTo>
                    <a:pt x="230" y="23"/>
                  </a:lnTo>
                  <a:lnTo>
                    <a:pt x="232" y="23"/>
                  </a:lnTo>
                  <a:lnTo>
                    <a:pt x="232" y="26"/>
                  </a:lnTo>
                  <a:lnTo>
                    <a:pt x="230" y="26"/>
                  </a:lnTo>
                  <a:lnTo>
                    <a:pt x="232" y="26"/>
                  </a:lnTo>
                  <a:lnTo>
                    <a:pt x="232" y="28"/>
                  </a:lnTo>
                  <a:lnTo>
                    <a:pt x="232" y="31"/>
                  </a:lnTo>
                  <a:lnTo>
                    <a:pt x="235" y="31"/>
                  </a:lnTo>
                  <a:lnTo>
                    <a:pt x="235" y="33"/>
                  </a:lnTo>
                  <a:lnTo>
                    <a:pt x="237" y="33"/>
                  </a:lnTo>
                  <a:lnTo>
                    <a:pt x="237" y="35"/>
                  </a:lnTo>
                  <a:lnTo>
                    <a:pt x="237" y="38"/>
                  </a:lnTo>
                  <a:lnTo>
                    <a:pt x="240" y="35"/>
                  </a:lnTo>
                  <a:lnTo>
                    <a:pt x="240" y="38"/>
                  </a:lnTo>
                  <a:lnTo>
                    <a:pt x="240" y="35"/>
                  </a:lnTo>
                  <a:lnTo>
                    <a:pt x="240" y="38"/>
                  </a:lnTo>
                  <a:lnTo>
                    <a:pt x="240" y="35"/>
                  </a:lnTo>
                  <a:lnTo>
                    <a:pt x="240" y="38"/>
                  </a:lnTo>
                  <a:lnTo>
                    <a:pt x="242" y="38"/>
                  </a:lnTo>
                  <a:lnTo>
                    <a:pt x="240" y="38"/>
                  </a:lnTo>
                  <a:lnTo>
                    <a:pt x="242" y="38"/>
                  </a:lnTo>
                  <a:lnTo>
                    <a:pt x="242" y="40"/>
                  </a:lnTo>
                  <a:lnTo>
                    <a:pt x="240" y="40"/>
                  </a:lnTo>
                  <a:lnTo>
                    <a:pt x="242" y="40"/>
                  </a:lnTo>
                  <a:lnTo>
                    <a:pt x="242" y="42"/>
                  </a:lnTo>
                  <a:lnTo>
                    <a:pt x="242" y="45"/>
                  </a:lnTo>
                  <a:lnTo>
                    <a:pt x="244" y="45"/>
                  </a:lnTo>
                  <a:lnTo>
                    <a:pt x="244" y="47"/>
                  </a:lnTo>
                  <a:lnTo>
                    <a:pt x="244" y="45"/>
                  </a:lnTo>
                  <a:lnTo>
                    <a:pt x="247" y="45"/>
                  </a:lnTo>
                  <a:lnTo>
                    <a:pt x="247" y="47"/>
                  </a:lnTo>
                  <a:lnTo>
                    <a:pt x="247" y="50"/>
                  </a:lnTo>
                  <a:lnTo>
                    <a:pt x="247" y="47"/>
                  </a:lnTo>
                  <a:lnTo>
                    <a:pt x="247" y="50"/>
                  </a:lnTo>
                  <a:lnTo>
                    <a:pt x="249" y="50"/>
                  </a:lnTo>
                  <a:lnTo>
                    <a:pt x="247" y="50"/>
                  </a:lnTo>
                  <a:lnTo>
                    <a:pt x="249" y="50"/>
                  </a:lnTo>
                  <a:lnTo>
                    <a:pt x="249" y="52"/>
                  </a:lnTo>
                  <a:lnTo>
                    <a:pt x="249" y="54"/>
                  </a:lnTo>
                  <a:lnTo>
                    <a:pt x="249" y="52"/>
                  </a:lnTo>
                  <a:lnTo>
                    <a:pt x="249" y="54"/>
                  </a:lnTo>
                  <a:lnTo>
                    <a:pt x="251" y="54"/>
                  </a:lnTo>
                  <a:lnTo>
                    <a:pt x="249" y="54"/>
                  </a:lnTo>
                  <a:lnTo>
                    <a:pt x="251" y="54"/>
                  </a:lnTo>
                  <a:lnTo>
                    <a:pt x="251" y="57"/>
                  </a:lnTo>
                  <a:lnTo>
                    <a:pt x="254" y="57"/>
                  </a:lnTo>
                  <a:lnTo>
                    <a:pt x="254" y="59"/>
                  </a:lnTo>
                  <a:lnTo>
                    <a:pt x="256" y="57"/>
                  </a:lnTo>
                  <a:lnTo>
                    <a:pt x="256" y="59"/>
                  </a:lnTo>
                  <a:lnTo>
                    <a:pt x="259" y="59"/>
                  </a:lnTo>
                  <a:lnTo>
                    <a:pt x="259" y="61"/>
                  </a:lnTo>
                  <a:lnTo>
                    <a:pt x="259" y="64"/>
                  </a:lnTo>
                  <a:lnTo>
                    <a:pt x="259" y="61"/>
                  </a:lnTo>
                  <a:lnTo>
                    <a:pt x="259" y="64"/>
                  </a:lnTo>
                  <a:lnTo>
                    <a:pt x="259" y="66"/>
                  </a:lnTo>
                  <a:lnTo>
                    <a:pt x="259" y="69"/>
                  </a:lnTo>
                  <a:lnTo>
                    <a:pt x="261" y="69"/>
                  </a:lnTo>
                  <a:lnTo>
                    <a:pt x="261" y="71"/>
                  </a:lnTo>
                  <a:lnTo>
                    <a:pt x="261" y="69"/>
                  </a:lnTo>
                  <a:lnTo>
                    <a:pt x="261" y="71"/>
                  </a:lnTo>
                  <a:lnTo>
                    <a:pt x="261" y="73"/>
                  </a:lnTo>
                  <a:lnTo>
                    <a:pt x="263" y="73"/>
                  </a:lnTo>
                  <a:lnTo>
                    <a:pt x="261" y="73"/>
                  </a:lnTo>
                  <a:lnTo>
                    <a:pt x="263" y="73"/>
                  </a:lnTo>
                  <a:lnTo>
                    <a:pt x="263" y="76"/>
                  </a:lnTo>
                  <a:lnTo>
                    <a:pt x="263" y="73"/>
                  </a:lnTo>
                  <a:lnTo>
                    <a:pt x="263" y="76"/>
                  </a:lnTo>
                  <a:lnTo>
                    <a:pt x="263" y="78"/>
                  </a:lnTo>
                  <a:lnTo>
                    <a:pt x="263" y="80"/>
                  </a:lnTo>
                  <a:lnTo>
                    <a:pt x="263" y="83"/>
                  </a:lnTo>
                  <a:lnTo>
                    <a:pt x="263" y="80"/>
                  </a:lnTo>
                  <a:lnTo>
                    <a:pt x="263" y="83"/>
                  </a:lnTo>
                  <a:lnTo>
                    <a:pt x="263" y="85"/>
                  </a:lnTo>
                  <a:lnTo>
                    <a:pt x="263" y="88"/>
                  </a:lnTo>
                  <a:lnTo>
                    <a:pt x="263" y="90"/>
                  </a:lnTo>
                  <a:lnTo>
                    <a:pt x="261" y="90"/>
                  </a:lnTo>
                  <a:lnTo>
                    <a:pt x="263" y="90"/>
                  </a:lnTo>
                  <a:lnTo>
                    <a:pt x="261" y="90"/>
                  </a:lnTo>
                  <a:lnTo>
                    <a:pt x="263" y="90"/>
                  </a:lnTo>
                  <a:lnTo>
                    <a:pt x="261" y="90"/>
                  </a:lnTo>
                  <a:lnTo>
                    <a:pt x="263" y="90"/>
                  </a:lnTo>
                  <a:lnTo>
                    <a:pt x="261" y="90"/>
                  </a:lnTo>
                  <a:lnTo>
                    <a:pt x="261" y="92"/>
                  </a:lnTo>
                  <a:lnTo>
                    <a:pt x="261" y="90"/>
                  </a:lnTo>
                  <a:lnTo>
                    <a:pt x="261" y="92"/>
                  </a:lnTo>
                  <a:lnTo>
                    <a:pt x="263" y="92"/>
                  </a:lnTo>
                  <a:lnTo>
                    <a:pt x="261" y="92"/>
                  </a:lnTo>
                  <a:lnTo>
                    <a:pt x="261" y="95"/>
                  </a:lnTo>
                  <a:lnTo>
                    <a:pt x="261" y="92"/>
                  </a:lnTo>
                  <a:lnTo>
                    <a:pt x="261" y="95"/>
                  </a:lnTo>
                  <a:lnTo>
                    <a:pt x="261" y="92"/>
                  </a:lnTo>
                  <a:lnTo>
                    <a:pt x="261" y="95"/>
                  </a:lnTo>
                  <a:lnTo>
                    <a:pt x="259" y="95"/>
                  </a:lnTo>
                  <a:lnTo>
                    <a:pt x="261" y="95"/>
                  </a:lnTo>
                  <a:lnTo>
                    <a:pt x="259" y="95"/>
                  </a:lnTo>
                  <a:lnTo>
                    <a:pt x="259" y="97"/>
                  </a:lnTo>
                  <a:lnTo>
                    <a:pt x="261" y="97"/>
                  </a:lnTo>
                  <a:lnTo>
                    <a:pt x="261" y="99"/>
                  </a:lnTo>
                  <a:lnTo>
                    <a:pt x="259" y="97"/>
                  </a:lnTo>
                  <a:lnTo>
                    <a:pt x="259" y="99"/>
                  </a:lnTo>
                  <a:lnTo>
                    <a:pt x="261" y="99"/>
                  </a:lnTo>
                  <a:lnTo>
                    <a:pt x="259" y="99"/>
                  </a:lnTo>
                  <a:lnTo>
                    <a:pt x="261" y="99"/>
                  </a:lnTo>
                  <a:lnTo>
                    <a:pt x="259" y="99"/>
                  </a:lnTo>
                  <a:lnTo>
                    <a:pt x="259" y="102"/>
                  </a:lnTo>
                  <a:lnTo>
                    <a:pt x="261" y="102"/>
                  </a:lnTo>
                  <a:lnTo>
                    <a:pt x="259" y="102"/>
                  </a:lnTo>
                  <a:lnTo>
                    <a:pt x="259" y="104"/>
                  </a:lnTo>
                  <a:lnTo>
                    <a:pt x="259" y="107"/>
                  </a:lnTo>
                  <a:lnTo>
                    <a:pt x="259" y="109"/>
                  </a:lnTo>
                  <a:lnTo>
                    <a:pt x="259" y="111"/>
                  </a:lnTo>
                  <a:lnTo>
                    <a:pt x="259" y="114"/>
                  </a:lnTo>
                  <a:lnTo>
                    <a:pt x="259" y="116"/>
                  </a:lnTo>
                  <a:lnTo>
                    <a:pt x="261" y="118"/>
                  </a:lnTo>
                  <a:lnTo>
                    <a:pt x="261" y="116"/>
                  </a:lnTo>
                  <a:lnTo>
                    <a:pt x="261" y="118"/>
                  </a:lnTo>
                  <a:lnTo>
                    <a:pt x="261" y="121"/>
                  </a:lnTo>
                  <a:lnTo>
                    <a:pt x="261" y="123"/>
                  </a:lnTo>
                  <a:lnTo>
                    <a:pt x="261" y="126"/>
                  </a:lnTo>
                  <a:lnTo>
                    <a:pt x="259" y="126"/>
                  </a:lnTo>
                  <a:lnTo>
                    <a:pt x="259" y="123"/>
                  </a:lnTo>
                  <a:lnTo>
                    <a:pt x="259" y="126"/>
                  </a:lnTo>
                  <a:lnTo>
                    <a:pt x="259" y="128"/>
                  </a:lnTo>
                  <a:lnTo>
                    <a:pt x="261" y="128"/>
                  </a:lnTo>
                  <a:lnTo>
                    <a:pt x="261" y="126"/>
                  </a:lnTo>
                  <a:lnTo>
                    <a:pt x="261" y="128"/>
                  </a:lnTo>
                  <a:lnTo>
                    <a:pt x="261" y="130"/>
                  </a:lnTo>
                  <a:lnTo>
                    <a:pt x="261" y="133"/>
                  </a:lnTo>
                  <a:lnTo>
                    <a:pt x="263" y="133"/>
                  </a:lnTo>
                  <a:lnTo>
                    <a:pt x="266" y="133"/>
                  </a:lnTo>
                  <a:lnTo>
                    <a:pt x="266" y="135"/>
                  </a:lnTo>
                  <a:lnTo>
                    <a:pt x="263" y="135"/>
                  </a:lnTo>
                  <a:lnTo>
                    <a:pt x="266" y="135"/>
                  </a:lnTo>
                  <a:lnTo>
                    <a:pt x="266" y="137"/>
                  </a:lnTo>
                  <a:lnTo>
                    <a:pt x="266" y="140"/>
                  </a:lnTo>
                  <a:lnTo>
                    <a:pt x="268" y="140"/>
                  </a:lnTo>
                  <a:lnTo>
                    <a:pt x="270" y="140"/>
                  </a:lnTo>
                  <a:lnTo>
                    <a:pt x="270" y="142"/>
                  </a:lnTo>
                  <a:lnTo>
                    <a:pt x="273" y="142"/>
                  </a:lnTo>
                  <a:lnTo>
                    <a:pt x="275" y="142"/>
                  </a:lnTo>
                  <a:lnTo>
                    <a:pt x="278" y="142"/>
                  </a:lnTo>
                  <a:lnTo>
                    <a:pt x="278" y="145"/>
                  </a:lnTo>
                  <a:lnTo>
                    <a:pt x="280" y="142"/>
                  </a:lnTo>
                  <a:lnTo>
                    <a:pt x="280" y="145"/>
                  </a:lnTo>
                  <a:lnTo>
                    <a:pt x="282" y="145"/>
                  </a:lnTo>
                  <a:lnTo>
                    <a:pt x="285" y="145"/>
                  </a:lnTo>
                  <a:lnTo>
                    <a:pt x="285" y="147"/>
                  </a:lnTo>
                  <a:lnTo>
                    <a:pt x="287" y="147"/>
                  </a:lnTo>
                  <a:lnTo>
                    <a:pt x="289" y="147"/>
                  </a:lnTo>
                  <a:lnTo>
                    <a:pt x="289" y="149"/>
                  </a:lnTo>
                  <a:lnTo>
                    <a:pt x="292" y="149"/>
                  </a:lnTo>
                  <a:lnTo>
                    <a:pt x="289" y="149"/>
                  </a:lnTo>
                  <a:lnTo>
                    <a:pt x="289" y="147"/>
                  </a:lnTo>
                  <a:lnTo>
                    <a:pt x="287" y="147"/>
                  </a:lnTo>
                  <a:lnTo>
                    <a:pt x="285" y="147"/>
                  </a:lnTo>
                  <a:lnTo>
                    <a:pt x="285" y="145"/>
                  </a:lnTo>
                  <a:lnTo>
                    <a:pt x="282" y="145"/>
                  </a:lnTo>
                  <a:lnTo>
                    <a:pt x="280" y="145"/>
                  </a:lnTo>
                  <a:lnTo>
                    <a:pt x="280" y="142"/>
                  </a:lnTo>
                  <a:lnTo>
                    <a:pt x="282" y="142"/>
                  </a:lnTo>
                  <a:lnTo>
                    <a:pt x="280" y="142"/>
                  </a:lnTo>
                  <a:lnTo>
                    <a:pt x="280" y="140"/>
                  </a:lnTo>
                  <a:lnTo>
                    <a:pt x="282" y="140"/>
                  </a:lnTo>
                  <a:lnTo>
                    <a:pt x="282" y="137"/>
                  </a:lnTo>
                  <a:lnTo>
                    <a:pt x="282" y="140"/>
                  </a:lnTo>
                  <a:lnTo>
                    <a:pt x="285" y="140"/>
                  </a:lnTo>
                  <a:lnTo>
                    <a:pt x="287" y="140"/>
                  </a:lnTo>
                  <a:lnTo>
                    <a:pt x="287" y="137"/>
                  </a:lnTo>
                  <a:lnTo>
                    <a:pt x="289" y="137"/>
                  </a:lnTo>
                  <a:lnTo>
                    <a:pt x="292" y="137"/>
                  </a:lnTo>
                  <a:lnTo>
                    <a:pt x="292" y="135"/>
                  </a:lnTo>
                  <a:lnTo>
                    <a:pt x="294" y="135"/>
                  </a:lnTo>
                  <a:lnTo>
                    <a:pt x="297" y="135"/>
                  </a:lnTo>
                  <a:lnTo>
                    <a:pt x="297" y="133"/>
                  </a:lnTo>
                  <a:lnTo>
                    <a:pt x="299" y="133"/>
                  </a:lnTo>
                  <a:lnTo>
                    <a:pt x="301" y="135"/>
                  </a:lnTo>
                  <a:lnTo>
                    <a:pt x="304" y="135"/>
                  </a:lnTo>
                  <a:lnTo>
                    <a:pt x="301" y="135"/>
                  </a:lnTo>
                  <a:lnTo>
                    <a:pt x="301" y="133"/>
                  </a:lnTo>
                  <a:lnTo>
                    <a:pt x="304" y="133"/>
                  </a:lnTo>
                  <a:lnTo>
                    <a:pt x="304" y="135"/>
                  </a:lnTo>
                  <a:lnTo>
                    <a:pt x="306" y="135"/>
                  </a:lnTo>
                  <a:lnTo>
                    <a:pt x="308" y="135"/>
                  </a:lnTo>
                  <a:lnTo>
                    <a:pt x="308" y="137"/>
                  </a:lnTo>
                  <a:lnTo>
                    <a:pt x="311" y="137"/>
                  </a:lnTo>
                  <a:lnTo>
                    <a:pt x="311" y="140"/>
                  </a:lnTo>
                  <a:lnTo>
                    <a:pt x="311" y="142"/>
                  </a:lnTo>
                  <a:lnTo>
                    <a:pt x="311" y="145"/>
                  </a:lnTo>
                  <a:lnTo>
                    <a:pt x="308" y="145"/>
                  </a:lnTo>
                  <a:lnTo>
                    <a:pt x="311" y="147"/>
                  </a:lnTo>
                  <a:lnTo>
                    <a:pt x="308" y="147"/>
                  </a:lnTo>
                  <a:lnTo>
                    <a:pt x="306" y="145"/>
                  </a:lnTo>
                  <a:lnTo>
                    <a:pt x="308" y="147"/>
                  </a:lnTo>
                  <a:lnTo>
                    <a:pt x="311" y="147"/>
                  </a:lnTo>
                  <a:lnTo>
                    <a:pt x="313" y="147"/>
                  </a:lnTo>
                  <a:lnTo>
                    <a:pt x="311" y="147"/>
                  </a:lnTo>
                  <a:lnTo>
                    <a:pt x="311" y="149"/>
                  </a:lnTo>
                  <a:lnTo>
                    <a:pt x="311" y="152"/>
                  </a:lnTo>
                  <a:lnTo>
                    <a:pt x="308" y="154"/>
                  </a:lnTo>
                  <a:lnTo>
                    <a:pt x="308" y="156"/>
                  </a:lnTo>
                  <a:lnTo>
                    <a:pt x="308" y="159"/>
                  </a:lnTo>
                  <a:lnTo>
                    <a:pt x="306" y="156"/>
                  </a:lnTo>
                  <a:lnTo>
                    <a:pt x="304" y="156"/>
                  </a:lnTo>
                  <a:lnTo>
                    <a:pt x="304" y="154"/>
                  </a:lnTo>
                  <a:lnTo>
                    <a:pt x="301" y="154"/>
                  </a:lnTo>
                  <a:lnTo>
                    <a:pt x="301" y="156"/>
                  </a:lnTo>
                  <a:lnTo>
                    <a:pt x="301" y="154"/>
                  </a:lnTo>
                  <a:lnTo>
                    <a:pt x="304" y="154"/>
                  </a:lnTo>
                  <a:lnTo>
                    <a:pt x="304" y="156"/>
                  </a:lnTo>
                  <a:lnTo>
                    <a:pt x="306" y="156"/>
                  </a:lnTo>
                  <a:lnTo>
                    <a:pt x="306" y="159"/>
                  </a:lnTo>
                  <a:lnTo>
                    <a:pt x="308" y="159"/>
                  </a:lnTo>
                  <a:lnTo>
                    <a:pt x="308" y="161"/>
                  </a:lnTo>
                  <a:lnTo>
                    <a:pt x="306" y="161"/>
                  </a:lnTo>
                  <a:lnTo>
                    <a:pt x="304" y="161"/>
                  </a:lnTo>
                  <a:lnTo>
                    <a:pt x="304" y="164"/>
                  </a:lnTo>
                  <a:lnTo>
                    <a:pt x="301" y="161"/>
                  </a:lnTo>
                  <a:lnTo>
                    <a:pt x="301" y="164"/>
                  </a:lnTo>
                  <a:lnTo>
                    <a:pt x="299" y="164"/>
                  </a:lnTo>
                  <a:lnTo>
                    <a:pt x="297" y="164"/>
                  </a:lnTo>
                  <a:lnTo>
                    <a:pt x="294" y="164"/>
                  </a:lnTo>
                  <a:lnTo>
                    <a:pt x="292" y="164"/>
                  </a:lnTo>
                  <a:lnTo>
                    <a:pt x="292" y="166"/>
                  </a:lnTo>
                  <a:lnTo>
                    <a:pt x="289" y="166"/>
                  </a:lnTo>
                  <a:lnTo>
                    <a:pt x="289" y="168"/>
                  </a:lnTo>
                  <a:lnTo>
                    <a:pt x="287" y="168"/>
                  </a:lnTo>
                  <a:lnTo>
                    <a:pt x="287" y="171"/>
                  </a:lnTo>
                  <a:lnTo>
                    <a:pt x="287" y="173"/>
                  </a:lnTo>
                  <a:lnTo>
                    <a:pt x="285" y="175"/>
                  </a:lnTo>
                  <a:lnTo>
                    <a:pt x="282" y="178"/>
                  </a:lnTo>
                  <a:lnTo>
                    <a:pt x="280" y="180"/>
                  </a:lnTo>
                  <a:lnTo>
                    <a:pt x="280" y="183"/>
                  </a:lnTo>
                  <a:lnTo>
                    <a:pt x="278" y="183"/>
                  </a:lnTo>
                  <a:lnTo>
                    <a:pt x="278" y="185"/>
                  </a:lnTo>
                  <a:lnTo>
                    <a:pt x="275" y="185"/>
                  </a:lnTo>
                  <a:lnTo>
                    <a:pt x="278" y="185"/>
                  </a:lnTo>
                  <a:lnTo>
                    <a:pt x="275" y="185"/>
                  </a:lnTo>
                  <a:lnTo>
                    <a:pt x="275" y="187"/>
                  </a:lnTo>
                  <a:lnTo>
                    <a:pt x="275" y="190"/>
                  </a:lnTo>
                  <a:lnTo>
                    <a:pt x="278" y="190"/>
                  </a:lnTo>
                  <a:lnTo>
                    <a:pt x="278" y="192"/>
                  </a:lnTo>
                  <a:lnTo>
                    <a:pt x="278" y="190"/>
                  </a:lnTo>
                  <a:lnTo>
                    <a:pt x="278" y="192"/>
                  </a:lnTo>
                  <a:lnTo>
                    <a:pt x="278" y="194"/>
                  </a:lnTo>
                  <a:lnTo>
                    <a:pt x="278" y="192"/>
                  </a:lnTo>
                  <a:lnTo>
                    <a:pt x="278" y="194"/>
                  </a:lnTo>
                  <a:lnTo>
                    <a:pt x="275" y="194"/>
                  </a:lnTo>
                  <a:lnTo>
                    <a:pt x="278" y="197"/>
                  </a:lnTo>
                  <a:lnTo>
                    <a:pt x="278" y="194"/>
                  </a:lnTo>
                  <a:lnTo>
                    <a:pt x="278" y="197"/>
                  </a:lnTo>
                  <a:lnTo>
                    <a:pt x="278" y="194"/>
                  </a:lnTo>
                  <a:lnTo>
                    <a:pt x="278" y="197"/>
                  </a:lnTo>
                  <a:lnTo>
                    <a:pt x="278" y="194"/>
                  </a:lnTo>
                  <a:lnTo>
                    <a:pt x="278" y="197"/>
                  </a:lnTo>
                  <a:lnTo>
                    <a:pt x="278" y="194"/>
                  </a:lnTo>
                  <a:lnTo>
                    <a:pt x="278" y="197"/>
                  </a:lnTo>
                  <a:lnTo>
                    <a:pt x="278" y="199"/>
                  </a:lnTo>
                  <a:lnTo>
                    <a:pt x="278" y="202"/>
                  </a:lnTo>
                  <a:lnTo>
                    <a:pt x="275" y="202"/>
                  </a:lnTo>
                  <a:lnTo>
                    <a:pt x="278" y="204"/>
                  </a:lnTo>
                  <a:lnTo>
                    <a:pt x="275" y="204"/>
                  </a:lnTo>
                  <a:lnTo>
                    <a:pt x="275" y="206"/>
                  </a:lnTo>
                  <a:lnTo>
                    <a:pt x="275" y="209"/>
                  </a:lnTo>
                  <a:close/>
                  <a:moveTo>
                    <a:pt x="301" y="156"/>
                  </a:moveTo>
                  <a:lnTo>
                    <a:pt x="301" y="154"/>
                  </a:lnTo>
                  <a:lnTo>
                    <a:pt x="301" y="156"/>
                  </a:lnTo>
                  <a:close/>
                  <a:moveTo>
                    <a:pt x="299" y="156"/>
                  </a:moveTo>
                  <a:lnTo>
                    <a:pt x="299" y="154"/>
                  </a:lnTo>
                  <a:lnTo>
                    <a:pt x="299" y="156"/>
                  </a:lnTo>
                  <a:close/>
                  <a:moveTo>
                    <a:pt x="299" y="154"/>
                  </a:moveTo>
                  <a:lnTo>
                    <a:pt x="299" y="152"/>
                  </a:lnTo>
                  <a:lnTo>
                    <a:pt x="297" y="152"/>
                  </a:lnTo>
                  <a:lnTo>
                    <a:pt x="294" y="152"/>
                  </a:lnTo>
                  <a:lnTo>
                    <a:pt x="297" y="152"/>
                  </a:lnTo>
                  <a:lnTo>
                    <a:pt x="297" y="149"/>
                  </a:lnTo>
                  <a:lnTo>
                    <a:pt x="294" y="149"/>
                  </a:lnTo>
                  <a:lnTo>
                    <a:pt x="292" y="149"/>
                  </a:lnTo>
                  <a:lnTo>
                    <a:pt x="294" y="149"/>
                  </a:lnTo>
                  <a:lnTo>
                    <a:pt x="297" y="149"/>
                  </a:lnTo>
                  <a:lnTo>
                    <a:pt x="297" y="152"/>
                  </a:lnTo>
                  <a:lnTo>
                    <a:pt x="294" y="152"/>
                  </a:lnTo>
                  <a:lnTo>
                    <a:pt x="297" y="152"/>
                  </a:lnTo>
                  <a:lnTo>
                    <a:pt x="299" y="152"/>
                  </a:lnTo>
                  <a:lnTo>
                    <a:pt x="299" y="154"/>
                  </a:lnTo>
                  <a:lnTo>
                    <a:pt x="297" y="154"/>
                  </a:lnTo>
                  <a:lnTo>
                    <a:pt x="299" y="154"/>
                  </a:lnTo>
                  <a:close/>
                  <a:moveTo>
                    <a:pt x="292" y="149"/>
                  </a:moveTo>
                  <a:lnTo>
                    <a:pt x="294" y="149"/>
                  </a:lnTo>
                  <a:lnTo>
                    <a:pt x="292" y="149"/>
                  </a:lnTo>
                  <a:close/>
                  <a:moveTo>
                    <a:pt x="301" y="156"/>
                  </a:moveTo>
                  <a:lnTo>
                    <a:pt x="299" y="156"/>
                  </a:lnTo>
                  <a:lnTo>
                    <a:pt x="301" y="156"/>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6" name="Freeform 55043"/>
            <p:cNvSpPr>
              <a:spLocks/>
            </p:cNvSpPr>
            <p:nvPr/>
          </p:nvSpPr>
          <p:spPr bwMode="auto">
            <a:xfrm>
              <a:off x="3570286" y="5089542"/>
              <a:ext cx="6350" cy="4763"/>
            </a:xfrm>
            <a:custGeom>
              <a:avLst/>
              <a:gdLst>
                <a:gd name="T0" fmla="*/ 2 w 4"/>
                <a:gd name="T1" fmla="*/ 3 h 3"/>
                <a:gd name="T2" fmla="*/ 2 w 4"/>
                <a:gd name="T3" fmla="*/ 3 h 3"/>
                <a:gd name="T4" fmla="*/ 2 w 4"/>
                <a:gd name="T5" fmla="*/ 3 h 3"/>
                <a:gd name="T6" fmla="*/ 2 w 4"/>
                <a:gd name="T7" fmla="*/ 3 h 3"/>
                <a:gd name="T8" fmla="*/ 2 w 4"/>
                <a:gd name="T9" fmla="*/ 3 h 3"/>
                <a:gd name="T10" fmla="*/ 2 w 4"/>
                <a:gd name="T11" fmla="*/ 3 h 3"/>
                <a:gd name="T12" fmla="*/ 2 w 4"/>
                <a:gd name="T13" fmla="*/ 3 h 3"/>
                <a:gd name="T14" fmla="*/ 2 w 4"/>
                <a:gd name="T15" fmla="*/ 3 h 3"/>
                <a:gd name="T16" fmla="*/ 2 w 4"/>
                <a:gd name="T17" fmla="*/ 3 h 3"/>
                <a:gd name="T18" fmla="*/ 2 w 4"/>
                <a:gd name="T19" fmla="*/ 3 h 3"/>
                <a:gd name="T20" fmla="*/ 2 w 4"/>
                <a:gd name="T21" fmla="*/ 3 h 3"/>
                <a:gd name="T22" fmla="*/ 2 w 4"/>
                <a:gd name="T23" fmla="*/ 3 h 3"/>
                <a:gd name="T24" fmla="*/ 2 w 4"/>
                <a:gd name="T25" fmla="*/ 3 h 3"/>
                <a:gd name="T26" fmla="*/ 0 w 4"/>
                <a:gd name="T27" fmla="*/ 3 h 3"/>
                <a:gd name="T28" fmla="*/ 0 w 4"/>
                <a:gd name="T29" fmla="*/ 3 h 3"/>
                <a:gd name="T30" fmla="*/ 0 w 4"/>
                <a:gd name="T31" fmla="*/ 3 h 3"/>
                <a:gd name="T32" fmla="*/ 0 w 4"/>
                <a:gd name="T33" fmla="*/ 3 h 3"/>
                <a:gd name="T34" fmla="*/ 0 w 4"/>
                <a:gd name="T35" fmla="*/ 3 h 3"/>
                <a:gd name="T36" fmla="*/ 0 w 4"/>
                <a:gd name="T37" fmla="*/ 3 h 3"/>
                <a:gd name="T38" fmla="*/ 0 w 4"/>
                <a:gd name="T39" fmla="*/ 3 h 3"/>
                <a:gd name="T40" fmla="*/ 2 w 4"/>
                <a:gd name="T41" fmla="*/ 3 h 3"/>
                <a:gd name="T42" fmla="*/ 2 w 4"/>
                <a:gd name="T43" fmla="*/ 3 h 3"/>
                <a:gd name="T44" fmla="*/ 2 w 4"/>
                <a:gd name="T45" fmla="*/ 3 h 3"/>
                <a:gd name="T46" fmla="*/ 2 w 4"/>
                <a:gd name="T47" fmla="*/ 3 h 3"/>
                <a:gd name="T48" fmla="*/ 2 w 4"/>
                <a:gd name="T49" fmla="*/ 3 h 3"/>
                <a:gd name="T50" fmla="*/ 2 w 4"/>
                <a:gd name="T51" fmla="*/ 3 h 3"/>
                <a:gd name="T52" fmla="*/ 2 w 4"/>
                <a:gd name="T53" fmla="*/ 3 h 3"/>
                <a:gd name="T54" fmla="*/ 2 w 4"/>
                <a:gd name="T55" fmla="*/ 3 h 3"/>
                <a:gd name="T56" fmla="*/ 2 w 4"/>
                <a:gd name="T57" fmla="*/ 3 h 3"/>
                <a:gd name="T58" fmla="*/ 2 w 4"/>
                <a:gd name="T59" fmla="*/ 3 h 3"/>
                <a:gd name="T60" fmla="*/ 2 w 4"/>
                <a:gd name="T61" fmla="*/ 3 h 3"/>
                <a:gd name="T62" fmla="*/ 2 w 4"/>
                <a:gd name="T63" fmla="*/ 3 h 3"/>
                <a:gd name="T64" fmla="*/ 2 w 4"/>
                <a:gd name="T65" fmla="*/ 3 h 3"/>
                <a:gd name="T66" fmla="*/ 2 w 4"/>
                <a:gd name="T67" fmla="*/ 3 h 3"/>
                <a:gd name="T68" fmla="*/ 2 w 4"/>
                <a:gd name="T69" fmla="*/ 3 h 3"/>
                <a:gd name="T70" fmla="*/ 2 w 4"/>
                <a:gd name="T71" fmla="*/ 3 h 3"/>
                <a:gd name="T72" fmla="*/ 2 w 4"/>
                <a:gd name="T73" fmla="*/ 3 h 3"/>
                <a:gd name="T74" fmla="*/ 2 w 4"/>
                <a:gd name="T75" fmla="*/ 3 h 3"/>
                <a:gd name="T76" fmla="*/ 2 w 4"/>
                <a:gd name="T77" fmla="*/ 3 h 3"/>
                <a:gd name="T78" fmla="*/ 4 w 4"/>
                <a:gd name="T79" fmla="*/ 0 h 3"/>
                <a:gd name="T80" fmla="*/ 4 w 4"/>
                <a:gd name="T81" fmla="*/ 0 h 3"/>
                <a:gd name="T82" fmla="*/ 4 w 4"/>
                <a:gd name="T83" fmla="*/ 3 h 3"/>
                <a:gd name="T84" fmla="*/ 2 w 4"/>
                <a:gd name="T85" fmla="*/ 3 h 3"/>
                <a:gd name="T86" fmla="*/ 2 w 4"/>
                <a:gd name="T8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 h="3">
                  <a:moveTo>
                    <a:pt x="2" y="3"/>
                  </a:moveTo>
                  <a:lnTo>
                    <a:pt x="2" y="3"/>
                  </a:lnTo>
                  <a:lnTo>
                    <a:pt x="2" y="3"/>
                  </a:lnTo>
                  <a:lnTo>
                    <a:pt x="2" y="3"/>
                  </a:lnTo>
                  <a:lnTo>
                    <a:pt x="2" y="3"/>
                  </a:lnTo>
                  <a:lnTo>
                    <a:pt x="2" y="3"/>
                  </a:lnTo>
                  <a:lnTo>
                    <a:pt x="2" y="3"/>
                  </a:lnTo>
                  <a:lnTo>
                    <a:pt x="2" y="3"/>
                  </a:lnTo>
                  <a:lnTo>
                    <a:pt x="2" y="3"/>
                  </a:lnTo>
                  <a:lnTo>
                    <a:pt x="2" y="3"/>
                  </a:lnTo>
                  <a:lnTo>
                    <a:pt x="2" y="3"/>
                  </a:lnTo>
                  <a:lnTo>
                    <a:pt x="2" y="3"/>
                  </a:lnTo>
                  <a:lnTo>
                    <a:pt x="2" y="3"/>
                  </a:lnTo>
                  <a:lnTo>
                    <a:pt x="0" y="3"/>
                  </a:lnTo>
                  <a:lnTo>
                    <a:pt x="0" y="3"/>
                  </a:lnTo>
                  <a:lnTo>
                    <a:pt x="0" y="3"/>
                  </a:lnTo>
                  <a:lnTo>
                    <a:pt x="0" y="3"/>
                  </a:lnTo>
                  <a:lnTo>
                    <a:pt x="0" y="3"/>
                  </a:lnTo>
                  <a:lnTo>
                    <a:pt x="0" y="3"/>
                  </a:lnTo>
                  <a:lnTo>
                    <a:pt x="0"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4" y="0"/>
                  </a:lnTo>
                  <a:lnTo>
                    <a:pt x="4" y="0"/>
                  </a:lnTo>
                  <a:lnTo>
                    <a:pt x="4" y="3"/>
                  </a:lnTo>
                  <a:lnTo>
                    <a:pt x="2" y="3"/>
                  </a:lnTo>
                  <a:lnTo>
                    <a:pt x="2"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7" name="Freeform 55044"/>
            <p:cNvSpPr>
              <a:spLocks noEditPoints="1"/>
            </p:cNvSpPr>
            <p:nvPr/>
          </p:nvSpPr>
          <p:spPr bwMode="auto">
            <a:xfrm>
              <a:off x="3516310" y="5056205"/>
              <a:ext cx="60325" cy="109538"/>
            </a:xfrm>
            <a:custGeom>
              <a:avLst/>
              <a:gdLst>
                <a:gd name="T0" fmla="*/ 5 w 38"/>
                <a:gd name="T1" fmla="*/ 69 h 69"/>
                <a:gd name="T2" fmla="*/ 5 w 38"/>
                <a:gd name="T3" fmla="*/ 69 h 69"/>
                <a:gd name="T4" fmla="*/ 5 w 38"/>
                <a:gd name="T5" fmla="*/ 69 h 69"/>
                <a:gd name="T6" fmla="*/ 5 w 38"/>
                <a:gd name="T7" fmla="*/ 69 h 69"/>
                <a:gd name="T8" fmla="*/ 5 w 38"/>
                <a:gd name="T9" fmla="*/ 69 h 69"/>
                <a:gd name="T10" fmla="*/ 8 w 38"/>
                <a:gd name="T11" fmla="*/ 54 h 69"/>
                <a:gd name="T12" fmla="*/ 8 w 38"/>
                <a:gd name="T13" fmla="*/ 54 h 69"/>
                <a:gd name="T14" fmla="*/ 8 w 38"/>
                <a:gd name="T15" fmla="*/ 54 h 69"/>
                <a:gd name="T16" fmla="*/ 8 w 38"/>
                <a:gd name="T17" fmla="*/ 54 h 69"/>
                <a:gd name="T18" fmla="*/ 8 w 38"/>
                <a:gd name="T19" fmla="*/ 54 h 69"/>
                <a:gd name="T20" fmla="*/ 8 w 38"/>
                <a:gd name="T21" fmla="*/ 54 h 69"/>
                <a:gd name="T22" fmla="*/ 8 w 38"/>
                <a:gd name="T23" fmla="*/ 54 h 69"/>
                <a:gd name="T24" fmla="*/ 8 w 38"/>
                <a:gd name="T25" fmla="*/ 45 h 69"/>
                <a:gd name="T26" fmla="*/ 8 w 38"/>
                <a:gd name="T27" fmla="*/ 45 h 69"/>
                <a:gd name="T28" fmla="*/ 8 w 38"/>
                <a:gd name="T29" fmla="*/ 45 h 69"/>
                <a:gd name="T30" fmla="*/ 8 w 38"/>
                <a:gd name="T31" fmla="*/ 45 h 69"/>
                <a:gd name="T32" fmla="*/ 8 w 38"/>
                <a:gd name="T33" fmla="*/ 45 h 69"/>
                <a:gd name="T34" fmla="*/ 8 w 38"/>
                <a:gd name="T35" fmla="*/ 45 h 69"/>
                <a:gd name="T36" fmla="*/ 8 w 38"/>
                <a:gd name="T37" fmla="*/ 45 h 69"/>
                <a:gd name="T38" fmla="*/ 8 w 38"/>
                <a:gd name="T39" fmla="*/ 45 h 69"/>
                <a:gd name="T40" fmla="*/ 36 w 38"/>
                <a:gd name="T41" fmla="*/ 24 h 69"/>
                <a:gd name="T42" fmla="*/ 36 w 38"/>
                <a:gd name="T43" fmla="*/ 24 h 69"/>
                <a:gd name="T44" fmla="*/ 36 w 38"/>
                <a:gd name="T45" fmla="*/ 24 h 69"/>
                <a:gd name="T46" fmla="*/ 36 w 38"/>
                <a:gd name="T47" fmla="*/ 24 h 69"/>
                <a:gd name="T48" fmla="*/ 36 w 38"/>
                <a:gd name="T49" fmla="*/ 24 h 69"/>
                <a:gd name="T50" fmla="*/ 36 w 38"/>
                <a:gd name="T51" fmla="*/ 24 h 69"/>
                <a:gd name="T52" fmla="*/ 38 w 38"/>
                <a:gd name="T53" fmla="*/ 21 h 69"/>
                <a:gd name="T54" fmla="*/ 38 w 38"/>
                <a:gd name="T55" fmla="*/ 21 h 69"/>
                <a:gd name="T56" fmla="*/ 38 w 38"/>
                <a:gd name="T57" fmla="*/ 21 h 69"/>
                <a:gd name="T58" fmla="*/ 38 w 38"/>
                <a:gd name="T59" fmla="*/ 21 h 69"/>
                <a:gd name="T60" fmla="*/ 38 w 38"/>
                <a:gd name="T61" fmla="*/ 21 h 69"/>
                <a:gd name="T62" fmla="*/ 38 w 38"/>
                <a:gd name="T63" fmla="*/ 21 h 69"/>
                <a:gd name="T64" fmla="*/ 38 w 38"/>
                <a:gd name="T65" fmla="*/ 21 h 69"/>
                <a:gd name="T66" fmla="*/ 17 w 38"/>
                <a:gd name="T67" fmla="*/ 7 h 69"/>
                <a:gd name="T68" fmla="*/ 17 w 38"/>
                <a:gd name="T69" fmla="*/ 7 h 69"/>
                <a:gd name="T70" fmla="*/ 17 w 38"/>
                <a:gd name="T71" fmla="*/ 7 h 69"/>
                <a:gd name="T72" fmla="*/ 17 w 38"/>
                <a:gd name="T73" fmla="*/ 7 h 69"/>
                <a:gd name="T74" fmla="*/ 17 w 38"/>
                <a:gd name="T75" fmla="*/ 7 h 69"/>
                <a:gd name="T76" fmla="*/ 0 w 38"/>
                <a:gd name="T77" fmla="*/ 0 h 69"/>
                <a:gd name="T78" fmla="*/ 0 w 38"/>
                <a:gd name="T79" fmla="*/ 0 h 69"/>
                <a:gd name="T80" fmla="*/ 0 w 38"/>
                <a:gd name="T81" fmla="*/ 0 h 69"/>
                <a:gd name="T82" fmla="*/ 0 w 38"/>
                <a:gd name="T83" fmla="*/ 0 h 69"/>
                <a:gd name="T84" fmla="*/ 0 w 38"/>
                <a:gd name="T85" fmla="*/ 0 h 69"/>
                <a:gd name="T86" fmla="*/ 0 w 38"/>
                <a:gd name="T8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69">
                  <a:moveTo>
                    <a:pt x="5" y="69"/>
                  </a:moveTo>
                  <a:lnTo>
                    <a:pt x="5" y="69"/>
                  </a:lnTo>
                  <a:lnTo>
                    <a:pt x="5" y="69"/>
                  </a:lnTo>
                  <a:lnTo>
                    <a:pt x="5" y="69"/>
                  </a:lnTo>
                  <a:lnTo>
                    <a:pt x="5" y="69"/>
                  </a:lnTo>
                  <a:close/>
                  <a:moveTo>
                    <a:pt x="8" y="54"/>
                  </a:moveTo>
                  <a:lnTo>
                    <a:pt x="8" y="54"/>
                  </a:lnTo>
                  <a:lnTo>
                    <a:pt x="8" y="54"/>
                  </a:lnTo>
                  <a:lnTo>
                    <a:pt x="8" y="54"/>
                  </a:lnTo>
                  <a:lnTo>
                    <a:pt x="8" y="54"/>
                  </a:lnTo>
                  <a:lnTo>
                    <a:pt x="8" y="54"/>
                  </a:lnTo>
                  <a:lnTo>
                    <a:pt x="8" y="54"/>
                  </a:lnTo>
                  <a:close/>
                  <a:moveTo>
                    <a:pt x="8" y="45"/>
                  </a:moveTo>
                  <a:lnTo>
                    <a:pt x="8" y="45"/>
                  </a:lnTo>
                  <a:lnTo>
                    <a:pt x="8" y="45"/>
                  </a:lnTo>
                  <a:lnTo>
                    <a:pt x="8" y="45"/>
                  </a:lnTo>
                  <a:lnTo>
                    <a:pt x="8" y="45"/>
                  </a:lnTo>
                  <a:lnTo>
                    <a:pt x="8" y="45"/>
                  </a:lnTo>
                  <a:lnTo>
                    <a:pt x="8" y="45"/>
                  </a:lnTo>
                  <a:lnTo>
                    <a:pt x="8" y="45"/>
                  </a:lnTo>
                  <a:close/>
                  <a:moveTo>
                    <a:pt x="36" y="24"/>
                  </a:moveTo>
                  <a:lnTo>
                    <a:pt x="36" y="24"/>
                  </a:lnTo>
                  <a:lnTo>
                    <a:pt x="36" y="24"/>
                  </a:lnTo>
                  <a:lnTo>
                    <a:pt x="36" y="24"/>
                  </a:lnTo>
                  <a:lnTo>
                    <a:pt x="36" y="24"/>
                  </a:lnTo>
                  <a:lnTo>
                    <a:pt x="36" y="24"/>
                  </a:lnTo>
                  <a:close/>
                  <a:moveTo>
                    <a:pt x="38" y="21"/>
                  </a:moveTo>
                  <a:lnTo>
                    <a:pt x="38" y="21"/>
                  </a:lnTo>
                  <a:lnTo>
                    <a:pt x="38" y="21"/>
                  </a:lnTo>
                  <a:lnTo>
                    <a:pt x="38" y="21"/>
                  </a:lnTo>
                  <a:lnTo>
                    <a:pt x="38" y="21"/>
                  </a:lnTo>
                  <a:lnTo>
                    <a:pt x="38" y="21"/>
                  </a:lnTo>
                  <a:lnTo>
                    <a:pt x="38" y="21"/>
                  </a:lnTo>
                  <a:close/>
                  <a:moveTo>
                    <a:pt x="17" y="7"/>
                  </a:moveTo>
                  <a:lnTo>
                    <a:pt x="17" y="7"/>
                  </a:lnTo>
                  <a:lnTo>
                    <a:pt x="17" y="7"/>
                  </a:lnTo>
                  <a:lnTo>
                    <a:pt x="17" y="7"/>
                  </a:lnTo>
                  <a:lnTo>
                    <a:pt x="17" y="7"/>
                  </a:lnTo>
                  <a:close/>
                  <a:moveTo>
                    <a:pt x="0" y="0"/>
                  </a:move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8" name="Freeform 55045"/>
            <p:cNvSpPr>
              <a:spLocks noEditPoints="1"/>
            </p:cNvSpPr>
            <p:nvPr/>
          </p:nvSpPr>
          <p:spPr bwMode="auto">
            <a:xfrm>
              <a:off x="4473572" y="1865320"/>
              <a:ext cx="979487" cy="1263653"/>
            </a:xfrm>
            <a:custGeom>
              <a:avLst/>
              <a:gdLst>
                <a:gd name="T0" fmla="*/ 107 w 617"/>
                <a:gd name="T1" fmla="*/ 774 h 796"/>
                <a:gd name="T2" fmla="*/ 102 w 617"/>
                <a:gd name="T3" fmla="*/ 779 h 796"/>
                <a:gd name="T4" fmla="*/ 100 w 617"/>
                <a:gd name="T5" fmla="*/ 782 h 796"/>
                <a:gd name="T6" fmla="*/ 93 w 617"/>
                <a:gd name="T7" fmla="*/ 786 h 796"/>
                <a:gd name="T8" fmla="*/ 74 w 617"/>
                <a:gd name="T9" fmla="*/ 793 h 796"/>
                <a:gd name="T10" fmla="*/ 67 w 617"/>
                <a:gd name="T11" fmla="*/ 793 h 796"/>
                <a:gd name="T12" fmla="*/ 59 w 617"/>
                <a:gd name="T13" fmla="*/ 791 h 796"/>
                <a:gd name="T14" fmla="*/ 50 w 617"/>
                <a:gd name="T15" fmla="*/ 784 h 796"/>
                <a:gd name="T16" fmla="*/ 55 w 617"/>
                <a:gd name="T17" fmla="*/ 793 h 796"/>
                <a:gd name="T18" fmla="*/ 52 w 617"/>
                <a:gd name="T19" fmla="*/ 763 h 796"/>
                <a:gd name="T20" fmla="*/ 78 w 617"/>
                <a:gd name="T21" fmla="*/ 746 h 796"/>
                <a:gd name="T22" fmla="*/ 102 w 617"/>
                <a:gd name="T23" fmla="*/ 758 h 796"/>
                <a:gd name="T24" fmla="*/ 112 w 617"/>
                <a:gd name="T25" fmla="*/ 774 h 796"/>
                <a:gd name="T26" fmla="*/ 112 w 617"/>
                <a:gd name="T27" fmla="*/ 770 h 796"/>
                <a:gd name="T28" fmla="*/ 427 w 617"/>
                <a:gd name="T29" fmla="*/ 708 h 796"/>
                <a:gd name="T30" fmla="*/ 451 w 617"/>
                <a:gd name="T31" fmla="*/ 722 h 796"/>
                <a:gd name="T32" fmla="*/ 441 w 617"/>
                <a:gd name="T33" fmla="*/ 734 h 796"/>
                <a:gd name="T34" fmla="*/ 425 w 617"/>
                <a:gd name="T35" fmla="*/ 729 h 796"/>
                <a:gd name="T36" fmla="*/ 406 w 617"/>
                <a:gd name="T37" fmla="*/ 720 h 796"/>
                <a:gd name="T38" fmla="*/ 394 w 617"/>
                <a:gd name="T39" fmla="*/ 717 h 796"/>
                <a:gd name="T40" fmla="*/ 387 w 617"/>
                <a:gd name="T41" fmla="*/ 708 h 796"/>
                <a:gd name="T42" fmla="*/ 384 w 617"/>
                <a:gd name="T43" fmla="*/ 703 h 796"/>
                <a:gd name="T44" fmla="*/ 394 w 617"/>
                <a:gd name="T45" fmla="*/ 701 h 796"/>
                <a:gd name="T46" fmla="*/ 406 w 617"/>
                <a:gd name="T47" fmla="*/ 691 h 796"/>
                <a:gd name="T48" fmla="*/ 510 w 617"/>
                <a:gd name="T49" fmla="*/ 33 h 796"/>
                <a:gd name="T50" fmla="*/ 491 w 617"/>
                <a:gd name="T51" fmla="*/ 50 h 796"/>
                <a:gd name="T52" fmla="*/ 458 w 617"/>
                <a:gd name="T53" fmla="*/ 57 h 796"/>
                <a:gd name="T54" fmla="*/ 422 w 617"/>
                <a:gd name="T55" fmla="*/ 55 h 796"/>
                <a:gd name="T56" fmla="*/ 420 w 617"/>
                <a:gd name="T57" fmla="*/ 36 h 796"/>
                <a:gd name="T58" fmla="*/ 434 w 617"/>
                <a:gd name="T59" fmla="*/ 28 h 796"/>
                <a:gd name="T60" fmla="*/ 449 w 617"/>
                <a:gd name="T61" fmla="*/ 31 h 796"/>
                <a:gd name="T62" fmla="*/ 486 w 617"/>
                <a:gd name="T63" fmla="*/ 26 h 796"/>
                <a:gd name="T64" fmla="*/ 121 w 617"/>
                <a:gd name="T65" fmla="*/ 28 h 796"/>
                <a:gd name="T66" fmla="*/ 123 w 617"/>
                <a:gd name="T67" fmla="*/ 33 h 796"/>
                <a:gd name="T68" fmla="*/ 152 w 617"/>
                <a:gd name="T69" fmla="*/ 28 h 796"/>
                <a:gd name="T70" fmla="*/ 150 w 617"/>
                <a:gd name="T71" fmla="*/ 40 h 796"/>
                <a:gd name="T72" fmla="*/ 109 w 617"/>
                <a:gd name="T73" fmla="*/ 47 h 796"/>
                <a:gd name="T74" fmla="*/ 95 w 617"/>
                <a:gd name="T75" fmla="*/ 59 h 796"/>
                <a:gd name="T76" fmla="*/ 67 w 617"/>
                <a:gd name="T77" fmla="*/ 62 h 796"/>
                <a:gd name="T78" fmla="*/ 74 w 617"/>
                <a:gd name="T79" fmla="*/ 66 h 796"/>
                <a:gd name="T80" fmla="*/ 67 w 617"/>
                <a:gd name="T81" fmla="*/ 74 h 796"/>
                <a:gd name="T82" fmla="*/ 45 w 617"/>
                <a:gd name="T83" fmla="*/ 76 h 796"/>
                <a:gd name="T84" fmla="*/ 48 w 617"/>
                <a:gd name="T85" fmla="*/ 69 h 796"/>
                <a:gd name="T86" fmla="*/ 26 w 617"/>
                <a:gd name="T87" fmla="*/ 66 h 796"/>
                <a:gd name="T88" fmla="*/ 7 w 617"/>
                <a:gd name="T89" fmla="*/ 66 h 796"/>
                <a:gd name="T90" fmla="*/ 21 w 617"/>
                <a:gd name="T91" fmla="*/ 62 h 796"/>
                <a:gd name="T92" fmla="*/ 48 w 617"/>
                <a:gd name="T93" fmla="*/ 59 h 796"/>
                <a:gd name="T94" fmla="*/ 50 w 617"/>
                <a:gd name="T95" fmla="*/ 55 h 796"/>
                <a:gd name="T96" fmla="*/ 26 w 617"/>
                <a:gd name="T97" fmla="*/ 50 h 796"/>
                <a:gd name="T98" fmla="*/ 64 w 617"/>
                <a:gd name="T99" fmla="*/ 47 h 796"/>
                <a:gd name="T100" fmla="*/ 83 w 617"/>
                <a:gd name="T101" fmla="*/ 43 h 796"/>
                <a:gd name="T102" fmla="*/ 95 w 617"/>
                <a:gd name="T103" fmla="*/ 36 h 796"/>
                <a:gd name="T104" fmla="*/ 81 w 617"/>
                <a:gd name="T105" fmla="*/ 33 h 796"/>
                <a:gd name="T106" fmla="*/ 90 w 617"/>
                <a:gd name="T107" fmla="*/ 26 h 796"/>
                <a:gd name="T108" fmla="*/ 123 w 617"/>
                <a:gd name="T109" fmla="*/ 19 h 796"/>
                <a:gd name="T110" fmla="*/ 116 w 617"/>
                <a:gd name="T111" fmla="*/ 24 h 796"/>
                <a:gd name="T112" fmla="*/ 596 w 617"/>
                <a:gd name="T113" fmla="*/ 2 h 796"/>
                <a:gd name="T114" fmla="*/ 612 w 617"/>
                <a:gd name="T115" fmla="*/ 14 h 796"/>
                <a:gd name="T116" fmla="*/ 593 w 617"/>
                <a:gd name="T117" fmla="*/ 31 h 796"/>
                <a:gd name="T118" fmla="*/ 560 w 617"/>
                <a:gd name="T119" fmla="*/ 36 h 796"/>
                <a:gd name="T120" fmla="*/ 529 w 617"/>
                <a:gd name="T121" fmla="*/ 33 h 796"/>
                <a:gd name="T122" fmla="*/ 543 w 617"/>
                <a:gd name="T123" fmla="*/ 17 h 796"/>
                <a:gd name="T124" fmla="*/ 574 w 617"/>
                <a:gd name="T125" fmla="*/ 1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7" h="796">
                  <a:moveTo>
                    <a:pt x="112" y="770"/>
                  </a:moveTo>
                  <a:lnTo>
                    <a:pt x="109" y="770"/>
                  </a:lnTo>
                  <a:lnTo>
                    <a:pt x="112" y="770"/>
                  </a:lnTo>
                  <a:lnTo>
                    <a:pt x="109" y="770"/>
                  </a:lnTo>
                  <a:lnTo>
                    <a:pt x="112" y="770"/>
                  </a:lnTo>
                  <a:lnTo>
                    <a:pt x="109" y="770"/>
                  </a:lnTo>
                  <a:lnTo>
                    <a:pt x="109" y="772"/>
                  </a:lnTo>
                  <a:lnTo>
                    <a:pt x="109" y="770"/>
                  </a:lnTo>
                  <a:lnTo>
                    <a:pt x="109" y="772"/>
                  </a:lnTo>
                  <a:lnTo>
                    <a:pt x="107" y="772"/>
                  </a:lnTo>
                  <a:lnTo>
                    <a:pt x="107" y="774"/>
                  </a:lnTo>
                  <a:lnTo>
                    <a:pt x="107" y="772"/>
                  </a:lnTo>
                  <a:lnTo>
                    <a:pt x="107" y="774"/>
                  </a:lnTo>
                  <a:lnTo>
                    <a:pt x="107" y="772"/>
                  </a:lnTo>
                  <a:lnTo>
                    <a:pt x="107" y="774"/>
                  </a:lnTo>
                  <a:lnTo>
                    <a:pt x="107" y="772"/>
                  </a:lnTo>
                  <a:lnTo>
                    <a:pt x="104" y="772"/>
                  </a:lnTo>
                  <a:lnTo>
                    <a:pt x="104" y="774"/>
                  </a:lnTo>
                  <a:lnTo>
                    <a:pt x="104" y="777"/>
                  </a:lnTo>
                  <a:lnTo>
                    <a:pt x="104" y="774"/>
                  </a:lnTo>
                  <a:lnTo>
                    <a:pt x="107" y="777"/>
                  </a:lnTo>
                  <a:lnTo>
                    <a:pt x="104" y="777"/>
                  </a:lnTo>
                  <a:lnTo>
                    <a:pt x="107" y="777"/>
                  </a:lnTo>
                  <a:lnTo>
                    <a:pt x="104" y="777"/>
                  </a:lnTo>
                  <a:lnTo>
                    <a:pt x="107" y="777"/>
                  </a:lnTo>
                  <a:lnTo>
                    <a:pt x="104" y="777"/>
                  </a:lnTo>
                  <a:lnTo>
                    <a:pt x="107" y="777"/>
                  </a:lnTo>
                  <a:lnTo>
                    <a:pt x="104" y="777"/>
                  </a:lnTo>
                  <a:lnTo>
                    <a:pt x="104" y="779"/>
                  </a:lnTo>
                  <a:lnTo>
                    <a:pt x="102" y="779"/>
                  </a:lnTo>
                  <a:lnTo>
                    <a:pt x="104" y="779"/>
                  </a:lnTo>
                  <a:lnTo>
                    <a:pt x="102" y="779"/>
                  </a:lnTo>
                  <a:lnTo>
                    <a:pt x="104" y="779"/>
                  </a:lnTo>
                  <a:lnTo>
                    <a:pt x="102" y="779"/>
                  </a:lnTo>
                  <a:lnTo>
                    <a:pt x="104" y="779"/>
                  </a:lnTo>
                  <a:lnTo>
                    <a:pt x="102" y="779"/>
                  </a:lnTo>
                  <a:lnTo>
                    <a:pt x="104" y="779"/>
                  </a:lnTo>
                  <a:lnTo>
                    <a:pt x="102" y="779"/>
                  </a:lnTo>
                  <a:lnTo>
                    <a:pt x="100" y="779"/>
                  </a:lnTo>
                  <a:lnTo>
                    <a:pt x="102" y="779"/>
                  </a:lnTo>
                  <a:lnTo>
                    <a:pt x="100" y="779"/>
                  </a:lnTo>
                  <a:lnTo>
                    <a:pt x="102" y="779"/>
                  </a:lnTo>
                  <a:lnTo>
                    <a:pt x="100" y="779"/>
                  </a:lnTo>
                  <a:lnTo>
                    <a:pt x="102" y="779"/>
                  </a:lnTo>
                  <a:lnTo>
                    <a:pt x="100" y="782"/>
                  </a:lnTo>
                  <a:lnTo>
                    <a:pt x="100" y="779"/>
                  </a:lnTo>
                  <a:lnTo>
                    <a:pt x="100" y="782"/>
                  </a:lnTo>
                  <a:lnTo>
                    <a:pt x="100" y="784"/>
                  </a:lnTo>
                  <a:lnTo>
                    <a:pt x="97" y="784"/>
                  </a:lnTo>
                  <a:lnTo>
                    <a:pt x="100" y="784"/>
                  </a:lnTo>
                  <a:lnTo>
                    <a:pt x="97" y="784"/>
                  </a:lnTo>
                  <a:lnTo>
                    <a:pt x="100" y="784"/>
                  </a:lnTo>
                  <a:lnTo>
                    <a:pt x="97" y="784"/>
                  </a:lnTo>
                  <a:lnTo>
                    <a:pt x="97" y="786"/>
                  </a:lnTo>
                  <a:lnTo>
                    <a:pt x="97" y="784"/>
                  </a:lnTo>
                  <a:lnTo>
                    <a:pt x="97" y="786"/>
                  </a:lnTo>
                  <a:lnTo>
                    <a:pt x="95" y="786"/>
                  </a:lnTo>
                  <a:lnTo>
                    <a:pt x="93" y="786"/>
                  </a:lnTo>
                  <a:lnTo>
                    <a:pt x="95" y="786"/>
                  </a:lnTo>
                  <a:lnTo>
                    <a:pt x="93" y="786"/>
                  </a:lnTo>
                  <a:lnTo>
                    <a:pt x="93" y="789"/>
                  </a:lnTo>
                  <a:lnTo>
                    <a:pt x="90" y="789"/>
                  </a:lnTo>
                  <a:lnTo>
                    <a:pt x="90" y="786"/>
                  </a:lnTo>
                  <a:lnTo>
                    <a:pt x="90" y="789"/>
                  </a:lnTo>
                  <a:lnTo>
                    <a:pt x="88" y="789"/>
                  </a:lnTo>
                  <a:lnTo>
                    <a:pt x="85" y="789"/>
                  </a:lnTo>
                  <a:lnTo>
                    <a:pt x="83" y="789"/>
                  </a:lnTo>
                  <a:lnTo>
                    <a:pt x="83" y="791"/>
                  </a:lnTo>
                  <a:lnTo>
                    <a:pt x="81" y="791"/>
                  </a:lnTo>
                  <a:lnTo>
                    <a:pt x="78" y="791"/>
                  </a:lnTo>
                  <a:lnTo>
                    <a:pt x="76" y="791"/>
                  </a:lnTo>
                  <a:lnTo>
                    <a:pt x="74" y="791"/>
                  </a:lnTo>
                  <a:lnTo>
                    <a:pt x="74" y="793"/>
                  </a:lnTo>
                  <a:lnTo>
                    <a:pt x="71" y="793"/>
                  </a:lnTo>
                  <a:lnTo>
                    <a:pt x="74" y="793"/>
                  </a:lnTo>
                  <a:lnTo>
                    <a:pt x="74" y="796"/>
                  </a:lnTo>
                  <a:lnTo>
                    <a:pt x="74" y="793"/>
                  </a:lnTo>
                  <a:lnTo>
                    <a:pt x="74" y="796"/>
                  </a:lnTo>
                  <a:lnTo>
                    <a:pt x="74" y="793"/>
                  </a:lnTo>
                  <a:lnTo>
                    <a:pt x="74" y="796"/>
                  </a:lnTo>
                  <a:lnTo>
                    <a:pt x="74" y="793"/>
                  </a:lnTo>
                  <a:lnTo>
                    <a:pt x="74" y="796"/>
                  </a:lnTo>
                  <a:lnTo>
                    <a:pt x="74" y="793"/>
                  </a:lnTo>
                  <a:lnTo>
                    <a:pt x="76" y="796"/>
                  </a:lnTo>
                  <a:lnTo>
                    <a:pt x="78" y="796"/>
                  </a:lnTo>
                  <a:lnTo>
                    <a:pt x="74" y="796"/>
                  </a:lnTo>
                  <a:lnTo>
                    <a:pt x="71" y="796"/>
                  </a:lnTo>
                  <a:lnTo>
                    <a:pt x="67" y="793"/>
                  </a:lnTo>
                  <a:lnTo>
                    <a:pt x="69" y="793"/>
                  </a:lnTo>
                  <a:lnTo>
                    <a:pt x="67" y="793"/>
                  </a:lnTo>
                  <a:lnTo>
                    <a:pt x="64" y="791"/>
                  </a:lnTo>
                  <a:lnTo>
                    <a:pt x="67" y="791"/>
                  </a:lnTo>
                  <a:lnTo>
                    <a:pt x="64" y="791"/>
                  </a:lnTo>
                  <a:lnTo>
                    <a:pt x="67" y="791"/>
                  </a:lnTo>
                  <a:lnTo>
                    <a:pt x="64" y="791"/>
                  </a:lnTo>
                  <a:lnTo>
                    <a:pt x="67" y="793"/>
                  </a:lnTo>
                  <a:lnTo>
                    <a:pt x="64" y="793"/>
                  </a:lnTo>
                  <a:lnTo>
                    <a:pt x="62" y="793"/>
                  </a:lnTo>
                  <a:lnTo>
                    <a:pt x="59" y="793"/>
                  </a:lnTo>
                  <a:lnTo>
                    <a:pt x="57" y="793"/>
                  </a:lnTo>
                  <a:lnTo>
                    <a:pt x="55" y="791"/>
                  </a:lnTo>
                  <a:lnTo>
                    <a:pt x="57" y="791"/>
                  </a:lnTo>
                  <a:lnTo>
                    <a:pt x="59" y="791"/>
                  </a:lnTo>
                  <a:lnTo>
                    <a:pt x="57" y="791"/>
                  </a:lnTo>
                  <a:lnTo>
                    <a:pt x="59" y="791"/>
                  </a:lnTo>
                  <a:lnTo>
                    <a:pt x="59" y="793"/>
                  </a:lnTo>
                  <a:lnTo>
                    <a:pt x="59" y="791"/>
                  </a:lnTo>
                  <a:lnTo>
                    <a:pt x="59" y="793"/>
                  </a:lnTo>
                  <a:lnTo>
                    <a:pt x="62" y="793"/>
                  </a:lnTo>
                  <a:lnTo>
                    <a:pt x="62" y="791"/>
                  </a:lnTo>
                  <a:lnTo>
                    <a:pt x="59" y="793"/>
                  </a:lnTo>
                  <a:lnTo>
                    <a:pt x="59" y="791"/>
                  </a:lnTo>
                  <a:lnTo>
                    <a:pt x="57" y="791"/>
                  </a:lnTo>
                  <a:lnTo>
                    <a:pt x="57" y="789"/>
                  </a:lnTo>
                  <a:lnTo>
                    <a:pt x="55" y="789"/>
                  </a:lnTo>
                  <a:lnTo>
                    <a:pt x="57" y="789"/>
                  </a:lnTo>
                  <a:lnTo>
                    <a:pt x="55" y="789"/>
                  </a:lnTo>
                  <a:lnTo>
                    <a:pt x="52" y="786"/>
                  </a:lnTo>
                  <a:lnTo>
                    <a:pt x="50" y="786"/>
                  </a:lnTo>
                  <a:lnTo>
                    <a:pt x="50" y="784"/>
                  </a:lnTo>
                  <a:lnTo>
                    <a:pt x="52" y="786"/>
                  </a:lnTo>
                  <a:lnTo>
                    <a:pt x="52" y="784"/>
                  </a:lnTo>
                  <a:lnTo>
                    <a:pt x="50" y="784"/>
                  </a:lnTo>
                  <a:lnTo>
                    <a:pt x="50" y="786"/>
                  </a:lnTo>
                  <a:lnTo>
                    <a:pt x="50" y="789"/>
                  </a:lnTo>
                  <a:lnTo>
                    <a:pt x="52" y="789"/>
                  </a:lnTo>
                  <a:lnTo>
                    <a:pt x="50" y="789"/>
                  </a:lnTo>
                  <a:lnTo>
                    <a:pt x="52" y="789"/>
                  </a:lnTo>
                  <a:lnTo>
                    <a:pt x="52" y="791"/>
                  </a:lnTo>
                  <a:lnTo>
                    <a:pt x="52" y="789"/>
                  </a:lnTo>
                  <a:lnTo>
                    <a:pt x="52" y="791"/>
                  </a:lnTo>
                  <a:lnTo>
                    <a:pt x="55" y="791"/>
                  </a:lnTo>
                  <a:lnTo>
                    <a:pt x="52" y="791"/>
                  </a:lnTo>
                  <a:lnTo>
                    <a:pt x="55" y="791"/>
                  </a:lnTo>
                  <a:lnTo>
                    <a:pt x="55" y="793"/>
                  </a:lnTo>
                  <a:lnTo>
                    <a:pt x="57" y="793"/>
                  </a:lnTo>
                  <a:lnTo>
                    <a:pt x="55" y="793"/>
                  </a:lnTo>
                  <a:lnTo>
                    <a:pt x="55" y="791"/>
                  </a:lnTo>
                  <a:lnTo>
                    <a:pt x="52" y="791"/>
                  </a:lnTo>
                  <a:lnTo>
                    <a:pt x="50" y="789"/>
                  </a:lnTo>
                  <a:lnTo>
                    <a:pt x="50" y="786"/>
                  </a:lnTo>
                  <a:lnTo>
                    <a:pt x="50" y="784"/>
                  </a:lnTo>
                  <a:lnTo>
                    <a:pt x="50" y="782"/>
                  </a:lnTo>
                  <a:lnTo>
                    <a:pt x="50" y="779"/>
                  </a:lnTo>
                  <a:lnTo>
                    <a:pt x="50" y="777"/>
                  </a:lnTo>
                  <a:lnTo>
                    <a:pt x="50" y="774"/>
                  </a:lnTo>
                  <a:lnTo>
                    <a:pt x="50" y="772"/>
                  </a:lnTo>
                  <a:lnTo>
                    <a:pt x="50" y="770"/>
                  </a:lnTo>
                  <a:lnTo>
                    <a:pt x="50" y="767"/>
                  </a:lnTo>
                  <a:lnTo>
                    <a:pt x="52" y="763"/>
                  </a:lnTo>
                  <a:lnTo>
                    <a:pt x="52" y="760"/>
                  </a:lnTo>
                  <a:lnTo>
                    <a:pt x="55" y="760"/>
                  </a:lnTo>
                  <a:lnTo>
                    <a:pt x="55" y="758"/>
                  </a:lnTo>
                  <a:lnTo>
                    <a:pt x="57" y="758"/>
                  </a:lnTo>
                  <a:lnTo>
                    <a:pt x="57" y="755"/>
                  </a:lnTo>
                  <a:lnTo>
                    <a:pt x="59" y="755"/>
                  </a:lnTo>
                  <a:lnTo>
                    <a:pt x="59" y="753"/>
                  </a:lnTo>
                  <a:lnTo>
                    <a:pt x="62" y="753"/>
                  </a:lnTo>
                  <a:lnTo>
                    <a:pt x="67" y="751"/>
                  </a:lnTo>
                  <a:lnTo>
                    <a:pt x="67" y="748"/>
                  </a:lnTo>
                  <a:lnTo>
                    <a:pt x="69" y="748"/>
                  </a:lnTo>
                  <a:lnTo>
                    <a:pt x="71" y="748"/>
                  </a:lnTo>
                  <a:lnTo>
                    <a:pt x="74" y="748"/>
                  </a:lnTo>
                  <a:lnTo>
                    <a:pt x="74" y="746"/>
                  </a:lnTo>
                  <a:lnTo>
                    <a:pt x="78" y="746"/>
                  </a:lnTo>
                  <a:lnTo>
                    <a:pt x="78" y="748"/>
                  </a:lnTo>
                  <a:lnTo>
                    <a:pt x="78" y="746"/>
                  </a:lnTo>
                  <a:lnTo>
                    <a:pt x="83" y="746"/>
                  </a:lnTo>
                  <a:lnTo>
                    <a:pt x="83" y="748"/>
                  </a:lnTo>
                  <a:lnTo>
                    <a:pt x="83" y="746"/>
                  </a:lnTo>
                  <a:lnTo>
                    <a:pt x="85" y="748"/>
                  </a:lnTo>
                  <a:lnTo>
                    <a:pt x="88" y="748"/>
                  </a:lnTo>
                  <a:lnTo>
                    <a:pt x="90" y="748"/>
                  </a:lnTo>
                  <a:lnTo>
                    <a:pt x="90" y="751"/>
                  </a:lnTo>
                  <a:lnTo>
                    <a:pt x="93" y="751"/>
                  </a:lnTo>
                  <a:lnTo>
                    <a:pt x="95" y="753"/>
                  </a:lnTo>
                  <a:lnTo>
                    <a:pt x="97" y="753"/>
                  </a:lnTo>
                  <a:lnTo>
                    <a:pt x="100" y="755"/>
                  </a:lnTo>
                  <a:lnTo>
                    <a:pt x="102" y="755"/>
                  </a:lnTo>
                  <a:lnTo>
                    <a:pt x="102" y="758"/>
                  </a:lnTo>
                  <a:lnTo>
                    <a:pt x="104" y="758"/>
                  </a:lnTo>
                  <a:lnTo>
                    <a:pt x="107" y="758"/>
                  </a:lnTo>
                  <a:lnTo>
                    <a:pt x="109" y="760"/>
                  </a:lnTo>
                  <a:lnTo>
                    <a:pt x="112" y="760"/>
                  </a:lnTo>
                  <a:lnTo>
                    <a:pt x="112" y="763"/>
                  </a:lnTo>
                  <a:lnTo>
                    <a:pt x="114" y="763"/>
                  </a:lnTo>
                  <a:lnTo>
                    <a:pt x="116" y="765"/>
                  </a:lnTo>
                  <a:lnTo>
                    <a:pt x="116" y="767"/>
                  </a:lnTo>
                  <a:lnTo>
                    <a:pt x="119" y="767"/>
                  </a:lnTo>
                  <a:lnTo>
                    <a:pt x="119" y="770"/>
                  </a:lnTo>
                  <a:lnTo>
                    <a:pt x="119" y="772"/>
                  </a:lnTo>
                  <a:lnTo>
                    <a:pt x="116" y="772"/>
                  </a:lnTo>
                  <a:lnTo>
                    <a:pt x="114" y="774"/>
                  </a:lnTo>
                  <a:lnTo>
                    <a:pt x="112" y="777"/>
                  </a:lnTo>
                  <a:lnTo>
                    <a:pt x="112" y="774"/>
                  </a:lnTo>
                  <a:lnTo>
                    <a:pt x="114" y="774"/>
                  </a:lnTo>
                  <a:lnTo>
                    <a:pt x="114" y="772"/>
                  </a:lnTo>
                  <a:lnTo>
                    <a:pt x="114" y="774"/>
                  </a:lnTo>
                  <a:lnTo>
                    <a:pt x="112" y="774"/>
                  </a:lnTo>
                  <a:lnTo>
                    <a:pt x="114" y="774"/>
                  </a:lnTo>
                  <a:lnTo>
                    <a:pt x="112" y="774"/>
                  </a:lnTo>
                  <a:lnTo>
                    <a:pt x="114" y="772"/>
                  </a:lnTo>
                  <a:lnTo>
                    <a:pt x="114" y="770"/>
                  </a:lnTo>
                  <a:lnTo>
                    <a:pt x="114" y="767"/>
                  </a:lnTo>
                  <a:lnTo>
                    <a:pt x="114" y="770"/>
                  </a:lnTo>
                  <a:lnTo>
                    <a:pt x="114" y="767"/>
                  </a:lnTo>
                  <a:lnTo>
                    <a:pt x="114" y="770"/>
                  </a:lnTo>
                  <a:lnTo>
                    <a:pt x="112" y="770"/>
                  </a:lnTo>
                  <a:lnTo>
                    <a:pt x="114" y="770"/>
                  </a:lnTo>
                  <a:lnTo>
                    <a:pt x="112" y="770"/>
                  </a:lnTo>
                  <a:close/>
                  <a:moveTo>
                    <a:pt x="408" y="691"/>
                  </a:moveTo>
                  <a:lnTo>
                    <a:pt x="406" y="691"/>
                  </a:lnTo>
                  <a:lnTo>
                    <a:pt x="408" y="691"/>
                  </a:lnTo>
                  <a:lnTo>
                    <a:pt x="411" y="694"/>
                  </a:lnTo>
                  <a:lnTo>
                    <a:pt x="413" y="694"/>
                  </a:lnTo>
                  <a:lnTo>
                    <a:pt x="415" y="696"/>
                  </a:lnTo>
                  <a:lnTo>
                    <a:pt x="418" y="696"/>
                  </a:lnTo>
                  <a:lnTo>
                    <a:pt x="418" y="698"/>
                  </a:lnTo>
                  <a:lnTo>
                    <a:pt x="420" y="701"/>
                  </a:lnTo>
                  <a:lnTo>
                    <a:pt x="422" y="701"/>
                  </a:lnTo>
                  <a:lnTo>
                    <a:pt x="422" y="703"/>
                  </a:lnTo>
                  <a:lnTo>
                    <a:pt x="425" y="703"/>
                  </a:lnTo>
                  <a:lnTo>
                    <a:pt x="425" y="706"/>
                  </a:lnTo>
                  <a:lnTo>
                    <a:pt x="427" y="706"/>
                  </a:lnTo>
                  <a:lnTo>
                    <a:pt x="427" y="708"/>
                  </a:lnTo>
                  <a:lnTo>
                    <a:pt x="430" y="708"/>
                  </a:lnTo>
                  <a:lnTo>
                    <a:pt x="432" y="708"/>
                  </a:lnTo>
                  <a:lnTo>
                    <a:pt x="432" y="710"/>
                  </a:lnTo>
                  <a:lnTo>
                    <a:pt x="434" y="710"/>
                  </a:lnTo>
                  <a:lnTo>
                    <a:pt x="434" y="713"/>
                  </a:lnTo>
                  <a:lnTo>
                    <a:pt x="437" y="713"/>
                  </a:lnTo>
                  <a:lnTo>
                    <a:pt x="439" y="713"/>
                  </a:lnTo>
                  <a:lnTo>
                    <a:pt x="441" y="715"/>
                  </a:lnTo>
                  <a:lnTo>
                    <a:pt x="444" y="715"/>
                  </a:lnTo>
                  <a:lnTo>
                    <a:pt x="444" y="717"/>
                  </a:lnTo>
                  <a:lnTo>
                    <a:pt x="446" y="720"/>
                  </a:lnTo>
                  <a:lnTo>
                    <a:pt x="449" y="720"/>
                  </a:lnTo>
                  <a:lnTo>
                    <a:pt x="449" y="722"/>
                  </a:lnTo>
                  <a:lnTo>
                    <a:pt x="451" y="720"/>
                  </a:lnTo>
                  <a:lnTo>
                    <a:pt x="451" y="722"/>
                  </a:lnTo>
                  <a:lnTo>
                    <a:pt x="453" y="722"/>
                  </a:lnTo>
                  <a:lnTo>
                    <a:pt x="453" y="725"/>
                  </a:lnTo>
                  <a:lnTo>
                    <a:pt x="453" y="727"/>
                  </a:lnTo>
                  <a:lnTo>
                    <a:pt x="456" y="727"/>
                  </a:lnTo>
                  <a:lnTo>
                    <a:pt x="456" y="729"/>
                  </a:lnTo>
                  <a:lnTo>
                    <a:pt x="453" y="732"/>
                  </a:lnTo>
                  <a:lnTo>
                    <a:pt x="453" y="734"/>
                  </a:lnTo>
                  <a:lnTo>
                    <a:pt x="451" y="734"/>
                  </a:lnTo>
                  <a:lnTo>
                    <a:pt x="449" y="734"/>
                  </a:lnTo>
                  <a:lnTo>
                    <a:pt x="449" y="736"/>
                  </a:lnTo>
                  <a:lnTo>
                    <a:pt x="446" y="736"/>
                  </a:lnTo>
                  <a:lnTo>
                    <a:pt x="444" y="736"/>
                  </a:lnTo>
                  <a:lnTo>
                    <a:pt x="441" y="734"/>
                  </a:lnTo>
                  <a:lnTo>
                    <a:pt x="439" y="734"/>
                  </a:lnTo>
                  <a:lnTo>
                    <a:pt x="441" y="734"/>
                  </a:lnTo>
                  <a:lnTo>
                    <a:pt x="439" y="734"/>
                  </a:lnTo>
                  <a:lnTo>
                    <a:pt x="437" y="734"/>
                  </a:lnTo>
                  <a:lnTo>
                    <a:pt x="439" y="736"/>
                  </a:lnTo>
                  <a:lnTo>
                    <a:pt x="437" y="734"/>
                  </a:lnTo>
                  <a:lnTo>
                    <a:pt x="437" y="736"/>
                  </a:lnTo>
                  <a:lnTo>
                    <a:pt x="434" y="736"/>
                  </a:lnTo>
                  <a:lnTo>
                    <a:pt x="432" y="736"/>
                  </a:lnTo>
                  <a:lnTo>
                    <a:pt x="430" y="736"/>
                  </a:lnTo>
                  <a:lnTo>
                    <a:pt x="430" y="734"/>
                  </a:lnTo>
                  <a:lnTo>
                    <a:pt x="427" y="734"/>
                  </a:lnTo>
                  <a:lnTo>
                    <a:pt x="425" y="734"/>
                  </a:lnTo>
                  <a:lnTo>
                    <a:pt x="425" y="732"/>
                  </a:lnTo>
                  <a:lnTo>
                    <a:pt x="425" y="729"/>
                  </a:lnTo>
                  <a:lnTo>
                    <a:pt x="425" y="732"/>
                  </a:lnTo>
                  <a:lnTo>
                    <a:pt x="425" y="729"/>
                  </a:lnTo>
                  <a:lnTo>
                    <a:pt x="427" y="729"/>
                  </a:lnTo>
                  <a:lnTo>
                    <a:pt x="427" y="732"/>
                  </a:lnTo>
                  <a:lnTo>
                    <a:pt x="430" y="729"/>
                  </a:lnTo>
                  <a:lnTo>
                    <a:pt x="427" y="729"/>
                  </a:lnTo>
                  <a:lnTo>
                    <a:pt x="425" y="727"/>
                  </a:lnTo>
                  <a:lnTo>
                    <a:pt x="422" y="725"/>
                  </a:lnTo>
                  <a:lnTo>
                    <a:pt x="420" y="725"/>
                  </a:lnTo>
                  <a:lnTo>
                    <a:pt x="418" y="725"/>
                  </a:lnTo>
                  <a:lnTo>
                    <a:pt x="415" y="725"/>
                  </a:lnTo>
                  <a:lnTo>
                    <a:pt x="413" y="725"/>
                  </a:lnTo>
                  <a:lnTo>
                    <a:pt x="413" y="722"/>
                  </a:lnTo>
                  <a:lnTo>
                    <a:pt x="411" y="722"/>
                  </a:lnTo>
                  <a:lnTo>
                    <a:pt x="408" y="722"/>
                  </a:lnTo>
                  <a:lnTo>
                    <a:pt x="406" y="722"/>
                  </a:lnTo>
                  <a:lnTo>
                    <a:pt x="406" y="720"/>
                  </a:lnTo>
                  <a:lnTo>
                    <a:pt x="406" y="722"/>
                  </a:lnTo>
                  <a:lnTo>
                    <a:pt x="403" y="722"/>
                  </a:lnTo>
                  <a:lnTo>
                    <a:pt x="406" y="722"/>
                  </a:lnTo>
                  <a:lnTo>
                    <a:pt x="408" y="722"/>
                  </a:lnTo>
                  <a:lnTo>
                    <a:pt x="408" y="725"/>
                  </a:lnTo>
                  <a:lnTo>
                    <a:pt x="411" y="725"/>
                  </a:lnTo>
                  <a:lnTo>
                    <a:pt x="411" y="727"/>
                  </a:lnTo>
                  <a:lnTo>
                    <a:pt x="408" y="727"/>
                  </a:lnTo>
                  <a:lnTo>
                    <a:pt x="406" y="727"/>
                  </a:lnTo>
                  <a:lnTo>
                    <a:pt x="406" y="725"/>
                  </a:lnTo>
                  <a:lnTo>
                    <a:pt x="403" y="722"/>
                  </a:lnTo>
                  <a:lnTo>
                    <a:pt x="401" y="720"/>
                  </a:lnTo>
                  <a:lnTo>
                    <a:pt x="399" y="720"/>
                  </a:lnTo>
                  <a:lnTo>
                    <a:pt x="396" y="717"/>
                  </a:lnTo>
                  <a:lnTo>
                    <a:pt x="394" y="717"/>
                  </a:lnTo>
                  <a:lnTo>
                    <a:pt x="394" y="715"/>
                  </a:lnTo>
                  <a:lnTo>
                    <a:pt x="392" y="713"/>
                  </a:lnTo>
                  <a:lnTo>
                    <a:pt x="392" y="710"/>
                  </a:lnTo>
                  <a:lnTo>
                    <a:pt x="394" y="713"/>
                  </a:lnTo>
                  <a:lnTo>
                    <a:pt x="392" y="710"/>
                  </a:lnTo>
                  <a:lnTo>
                    <a:pt x="389" y="710"/>
                  </a:lnTo>
                  <a:lnTo>
                    <a:pt x="392" y="710"/>
                  </a:lnTo>
                  <a:lnTo>
                    <a:pt x="394" y="710"/>
                  </a:lnTo>
                  <a:lnTo>
                    <a:pt x="392" y="708"/>
                  </a:lnTo>
                  <a:lnTo>
                    <a:pt x="392" y="706"/>
                  </a:lnTo>
                  <a:lnTo>
                    <a:pt x="392" y="708"/>
                  </a:lnTo>
                  <a:lnTo>
                    <a:pt x="389" y="708"/>
                  </a:lnTo>
                  <a:lnTo>
                    <a:pt x="389" y="706"/>
                  </a:lnTo>
                  <a:lnTo>
                    <a:pt x="389" y="708"/>
                  </a:lnTo>
                  <a:lnTo>
                    <a:pt x="387" y="708"/>
                  </a:lnTo>
                  <a:lnTo>
                    <a:pt x="387" y="706"/>
                  </a:lnTo>
                  <a:lnTo>
                    <a:pt x="389" y="706"/>
                  </a:lnTo>
                  <a:lnTo>
                    <a:pt x="392" y="706"/>
                  </a:lnTo>
                  <a:lnTo>
                    <a:pt x="389" y="706"/>
                  </a:lnTo>
                  <a:lnTo>
                    <a:pt x="389" y="703"/>
                  </a:lnTo>
                  <a:lnTo>
                    <a:pt x="387" y="703"/>
                  </a:lnTo>
                  <a:lnTo>
                    <a:pt x="389" y="703"/>
                  </a:lnTo>
                  <a:lnTo>
                    <a:pt x="387" y="703"/>
                  </a:lnTo>
                  <a:lnTo>
                    <a:pt x="387" y="706"/>
                  </a:lnTo>
                  <a:lnTo>
                    <a:pt x="389" y="706"/>
                  </a:lnTo>
                  <a:lnTo>
                    <a:pt x="387" y="706"/>
                  </a:lnTo>
                  <a:lnTo>
                    <a:pt x="389" y="706"/>
                  </a:lnTo>
                  <a:lnTo>
                    <a:pt x="387" y="706"/>
                  </a:lnTo>
                  <a:lnTo>
                    <a:pt x="387" y="703"/>
                  </a:lnTo>
                  <a:lnTo>
                    <a:pt x="384" y="703"/>
                  </a:lnTo>
                  <a:lnTo>
                    <a:pt x="387" y="703"/>
                  </a:lnTo>
                  <a:lnTo>
                    <a:pt x="384" y="703"/>
                  </a:lnTo>
                  <a:lnTo>
                    <a:pt x="384" y="701"/>
                  </a:lnTo>
                  <a:lnTo>
                    <a:pt x="387" y="701"/>
                  </a:lnTo>
                  <a:lnTo>
                    <a:pt x="387" y="703"/>
                  </a:lnTo>
                  <a:lnTo>
                    <a:pt x="389" y="703"/>
                  </a:lnTo>
                  <a:lnTo>
                    <a:pt x="392" y="703"/>
                  </a:lnTo>
                  <a:lnTo>
                    <a:pt x="394" y="703"/>
                  </a:lnTo>
                  <a:lnTo>
                    <a:pt x="394" y="706"/>
                  </a:lnTo>
                  <a:lnTo>
                    <a:pt x="396" y="706"/>
                  </a:lnTo>
                  <a:lnTo>
                    <a:pt x="399" y="706"/>
                  </a:lnTo>
                  <a:lnTo>
                    <a:pt x="399" y="703"/>
                  </a:lnTo>
                  <a:lnTo>
                    <a:pt x="396" y="703"/>
                  </a:lnTo>
                  <a:lnTo>
                    <a:pt x="396" y="701"/>
                  </a:lnTo>
                  <a:lnTo>
                    <a:pt x="394" y="701"/>
                  </a:lnTo>
                  <a:lnTo>
                    <a:pt x="392" y="701"/>
                  </a:lnTo>
                  <a:lnTo>
                    <a:pt x="392" y="698"/>
                  </a:lnTo>
                  <a:lnTo>
                    <a:pt x="389" y="698"/>
                  </a:lnTo>
                  <a:lnTo>
                    <a:pt x="392" y="698"/>
                  </a:lnTo>
                  <a:lnTo>
                    <a:pt x="394" y="698"/>
                  </a:lnTo>
                  <a:lnTo>
                    <a:pt x="394" y="696"/>
                  </a:lnTo>
                  <a:lnTo>
                    <a:pt x="396" y="696"/>
                  </a:lnTo>
                  <a:lnTo>
                    <a:pt x="399" y="696"/>
                  </a:lnTo>
                  <a:lnTo>
                    <a:pt x="399" y="694"/>
                  </a:lnTo>
                  <a:lnTo>
                    <a:pt x="396" y="694"/>
                  </a:lnTo>
                  <a:lnTo>
                    <a:pt x="399" y="694"/>
                  </a:lnTo>
                  <a:lnTo>
                    <a:pt x="399" y="691"/>
                  </a:lnTo>
                  <a:lnTo>
                    <a:pt x="401" y="691"/>
                  </a:lnTo>
                  <a:lnTo>
                    <a:pt x="403" y="691"/>
                  </a:lnTo>
                  <a:lnTo>
                    <a:pt x="406" y="691"/>
                  </a:lnTo>
                  <a:lnTo>
                    <a:pt x="406" y="689"/>
                  </a:lnTo>
                  <a:lnTo>
                    <a:pt x="408" y="689"/>
                  </a:lnTo>
                  <a:lnTo>
                    <a:pt x="408" y="691"/>
                  </a:lnTo>
                  <a:lnTo>
                    <a:pt x="406" y="691"/>
                  </a:lnTo>
                  <a:lnTo>
                    <a:pt x="408" y="691"/>
                  </a:lnTo>
                  <a:close/>
                  <a:moveTo>
                    <a:pt x="498" y="24"/>
                  </a:moveTo>
                  <a:lnTo>
                    <a:pt x="501" y="24"/>
                  </a:lnTo>
                  <a:lnTo>
                    <a:pt x="503" y="24"/>
                  </a:lnTo>
                  <a:lnTo>
                    <a:pt x="505" y="24"/>
                  </a:lnTo>
                  <a:lnTo>
                    <a:pt x="505" y="26"/>
                  </a:lnTo>
                  <a:lnTo>
                    <a:pt x="508" y="26"/>
                  </a:lnTo>
                  <a:lnTo>
                    <a:pt x="508" y="28"/>
                  </a:lnTo>
                  <a:lnTo>
                    <a:pt x="510" y="28"/>
                  </a:lnTo>
                  <a:lnTo>
                    <a:pt x="510" y="31"/>
                  </a:lnTo>
                  <a:lnTo>
                    <a:pt x="510" y="33"/>
                  </a:lnTo>
                  <a:lnTo>
                    <a:pt x="510" y="36"/>
                  </a:lnTo>
                  <a:lnTo>
                    <a:pt x="510" y="38"/>
                  </a:lnTo>
                  <a:lnTo>
                    <a:pt x="508" y="38"/>
                  </a:lnTo>
                  <a:lnTo>
                    <a:pt x="505" y="40"/>
                  </a:lnTo>
                  <a:lnTo>
                    <a:pt x="505" y="43"/>
                  </a:lnTo>
                  <a:lnTo>
                    <a:pt x="508" y="43"/>
                  </a:lnTo>
                  <a:lnTo>
                    <a:pt x="505" y="43"/>
                  </a:lnTo>
                  <a:lnTo>
                    <a:pt x="503" y="43"/>
                  </a:lnTo>
                  <a:lnTo>
                    <a:pt x="501" y="45"/>
                  </a:lnTo>
                  <a:lnTo>
                    <a:pt x="498" y="45"/>
                  </a:lnTo>
                  <a:lnTo>
                    <a:pt x="496" y="45"/>
                  </a:lnTo>
                  <a:lnTo>
                    <a:pt x="494" y="45"/>
                  </a:lnTo>
                  <a:lnTo>
                    <a:pt x="494" y="47"/>
                  </a:lnTo>
                  <a:lnTo>
                    <a:pt x="491" y="47"/>
                  </a:lnTo>
                  <a:lnTo>
                    <a:pt x="491" y="50"/>
                  </a:lnTo>
                  <a:lnTo>
                    <a:pt x="494" y="50"/>
                  </a:lnTo>
                  <a:lnTo>
                    <a:pt x="491" y="52"/>
                  </a:lnTo>
                  <a:lnTo>
                    <a:pt x="489" y="52"/>
                  </a:lnTo>
                  <a:lnTo>
                    <a:pt x="486" y="52"/>
                  </a:lnTo>
                  <a:lnTo>
                    <a:pt x="484" y="52"/>
                  </a:lnTo>
                  <a:lnTo>
                    <a:pt x="484" y="55"/>
                  </a:lnTo>
                  <a:lnTo>
                    <a:pt x="482" y="55"/>
                  </a:lnTo>
                  <a:lnTo>
                    <a:pt x="482" y="57"/>
                  </a:lnTo>
                  <a:lnTo>
                    <a:pt x="479" y="57"/>
                  </a:lnTo>
                  <a:lnTo>
                    <a:pt x="477" y="57"/>
                  </a:lnTo>
                  <a:lnTo>
                    <a:pt x="475" y="59"/>
                  </a:lnTo>
                  <a:lnTo>
                    <a:pt x="470" y="57"/>
                  </a:lnTo>
                  <a:lnTo>
                    <a:pt x="468" y="57"/>
                  </a:lnTo>
                  <a:lnTo>
                    <a:pt x="460" y="57"/>
                  </a:lnTo>
                  <a:lnTo>
                    <a:pt x="458" y="57"/>
                  </a:lnTo>
                  <a:lnTo>
                    <a:pt x="456" y="55"/>
                  </a:lnTo>
                  <a:lnTo>
                    <a:pt x="453" y="55"/>
                  </a:lnTo>
                  <a:lnTo>
                    <a:pt x="451" y="52"/>
                  </a:lnTo>
                  <a:lnTo>
                    <a:pt x="449" y="52"/>
                  </a:lnTo>
                  <a:lnTo>
                    <a:pt x="444" y="52"/>
                  </a:lnTo>
                  <a:lnTo>
                    <a:pt x="444" y="55"/>
                  </a:lnTo>
                  <a:lnTo>
                    <a:pt x="441" y="55"/>
                  </a:lnTo>
                  <a:lnTo>
                    <a:pt x="439" y="55"/>
                  </a:lnTo>
                  <a:lnTo>
                    <a:pt x="437" y="55"/>
                  </a:lnTo>
                  <a:lnTo>
                    <a:pt x="437" y="57"/>
                  </a:lnTo>
                  <a:lnTo>
                    <a:pt x="430" y="57"/>
                  </a:lnTo>
                  <a:lnTo>
                    <a:pt x="427" y="57"/>
                  </a:lnTo>
                  <a:lnTo>
                    <a:pt x="427" y="55"/>
                  </a:lnTo>
                  <a:lnTo>
                    <a:pt x="425" y="55"/>
                  </a:lnTo>
                  <a:lnTo>
                    <a:pt x="422" y="55"/>
                  </a:lnTo>
                  <a:lnTo>
                    <a:pt x="422" y="52"/>
                  </a:lnTo>
                  <a:lnTo>
                    <a:pt x="420" y="52"/>
                  </a:lnTo>
                  <a:lnTo>
                    <a:pt x="418" y="52"/>
                  </a:lnTo>
                  <a:lnTo>
                    <a:pt x="418" y="50"/>
                  </a:lnTo>
                  <a:lnTo>
                    <a:pt x="420" y="50"/>
                  </a:lnTo>
                  <a:lnTo>
                    <a:pt x="420" y="47"/>
                  </a:lnTo>
                  <a:lnTo>
                    <a:pt x="418" y="47"/>
                  </a:lnTo>
                  <a:lnTo>
                    <a:pt x="418" y="45"/>
                  </a:lnTo>
                  <a:lnTo>
                    <a:pt x="418" y="43"/>
                  </a:lnTo>
                  <a:lnTo>
                    <a:pt x="420" y="43"/>
                  </a:lnTo>
                  <a:lnTo>
                    <a:pt x="420" y="40"/>
                  </a:lnTo>
                  <a:lnTo>
                    <a:pt x="418" y="40"/>
                  </a:lnTo>
                  <a:lnTo>
                    <a:pt x="418" y="38"/>
                  </a:lnTo>
                  <a:lnTo>
                    <a:pt x="420" y="38"/>
                  </a:lnTo>
                  <a:lnTo>
                    <a:pt x="420" y="36"/>
                  </a:lnTo>
                  <a:lnTo>
                    <a:pt x="422" y="33"/>
                  </a:lnTo>
                  <a:lnTo>
                    <a:pt x="425" y="33"/>
                  </a:lnTo>
                  <a:lnTo>
                    <a:pt x="427" y="33"/>
                  </a:lnTo>
                  <a:lnTo>
                    <a:pt x="425" y="31"/>
                  </a:lnTo>
                  <a:lnTo>
                    <a:pt x="427" y="31"/>
                  </a:lnTo>
                  <a:lnTo>
                    <a:pt x="427" y="28"/>
                  </a:lnTo>
                  <a:lnTo>
                    <a:pt x="430" y="28"/>
                  </a:lnTo>
                  <a:lnTo>
                    <a:pt x="432" y="28"/>
                  </a:lnTo>
                  <a:lnTo>
                    <a:pt x="434" y="28"/>
                  </a:lnTo>
                  <a:lnTo>
                    <a:pt x="437" y="28"/>
                  </a:lnTo>
                  <a:lnTo>
                    <a:pt x="434" y="28"/>
                  </a:lnTo>
                  <a:lnTo>
                    <a:pt x="432" y="28"/>
                  </a:lnTo>
                  <a:lnTo>
                    <a:pt x="430" y="28"/>
                  </a:lnTo>
                  <a:lnTo>
                    <a:pt x="432" y="28"/>
                  </a:lnTo>
                  <a:lnTo>
                    <a:pt x="434" y="28"/>
                  </a:lnTo>
                  <a:lnTo>
                    <a:pt x="434" y="26"/>
                  </a:lnTo>
                  <a:lnTo>
                    <a:pt x="437" y="26"/>
                  </a:lnTo>
                  <a:lnTo>
                    <a:pt x="439" y="26"/>
                  </a:lnTo>
                  <a:lnTo>
                    <a:pt x="441" y="26"/>
                  </a:lnTo>
                  <a:lnTo>
                    <a:pt x="444" y="26"/>
                  </a:lnTo>
                  <a:lnTo>
                    <a:pt x="446" y="26"/>
                  </a:lnTo>
                  <a:lnTo>
                    <a:pt x="449" y="28"/>
                  </a:lnTo>
                  <a:lnTo>
                    <a:pt x="446" y="28"/>
                  </a:lnTo>
                  <a:lnTo>
                    <a:pt x="444" y="28"/>
                  </a:lnTo>
                  <a:lnTo>
                    <a:pt x="441" y="28"/>
                  </a:lnTo>
                  <a:lnTo>
                    <a:pt x="439" y="28"/>
                  </a:lnTo>
                  <a:lnTo>
                    <a:pt x="444" y="28"/>
                  </a:lnTo>
                  <a:lnTo>
                    <a:pt x="446" y="28"/>
                  </a:lnTo>
                  <a:lnTo>
                    <a:pt x="449" y="28"/>
                  </a:lnTo>
                  <a:lnTo>
                    <a:pt x="449" y="31"/>
                  </a:lnTo>
                  <a:lnTo>
                    <a:pt x="451" y="31"/>
                  </a:lnTo>
                  <a:lnTo>
                    <a:pt x="453" y="31"/>
                  </a:lnTo>
                  <a:lnTo>
                    <a:pt x="456" y="31"/>
                  </a:lnTo>
                  <a:lnTo>
                    <a:pt x="458" y="28"/>
                  </a:lnTo>
                  <a:lnTo>
                    <a:pt x="460" y="28"/>
                  </a:lnTo>
                  <a:lnTo>
                    <a:pt x="463" y="28"/>
                  </a:lnTo>
                  <a:lnTo>
                    <a:pt x="465" y="28"/>
                  </a:lnTo>
                  <a:lnTo>
                    <a:pt x="468" y="28"/>
                  </a:lnTo>
                  <a:lnTo>
                    <a:pt x="470" y="28"/>
                  </a:lnTo>
                  <a:lnTo>
                    <a:pt x="472" y="28"/>
                  </a:lnTo>
                  <a:lnTo>
                    <a:pt x="477" y="26"/>
                  </a:lnTo>
                  <a:lnTo>
                    <a:pt x="479" y="26"/>
                  </a:lnTo>
                  <a:lnTo>
                    <a:pt x="482" y="26"/>
                  </a:lnTo>
                  <a:lnTo>
                    <a:pt x="484" y="26"/>
                  </a:lnTo>
                  <a:lnTo>
                    <a:pt x="486" y="26"/>
                  </a:lnTo>
                  <a:lnTo>
                    <a:pt x="489" y="26"/>
                  </a:lnTo>
                  <a:lnTo>
                    <a:pt x="489" y="24"/>
                  </a:lnTo>
                  <a:lnTo>
                    <a:pt x="491" y="24"/>
                  </a:lnTo>
                  <a:lnTo>
                    <a:pt x="494" y="24"/>
                  </a:lnTo>
                  <a:lnTo>
                    <a:pt x="496" y="24"/>
                  </a:lnTo>
                  <a:lnTo>
                    <a:pt x="498" y="24"/>
                  </a:lnTo>
                  <a:close/>
                  <a:moveTo>
                    <a:pt x="140" y="24"/>
                  </a:moveTo>
                  <a:lnTo>
                    <a:pt x="138" y="26"/>
                  </a:lnTo>
                  <a:lnTo>
                    <a:pt x="135" y="26"/>
                  </a:lnTo>
                  <a:lnTo>
                    <a:pt x="133" y="26"/>
                  </a:lnTo>
                  <a:lnTo>
                    <a:pt x="131" y="26"/>
                  </a:lnTo>
                  <a:lnTo>
                    <a:pt x="128" y="26"/>
                  </a:lnTo>
                  <a:lnTo>
                    <a:pt x="126" y="26"/>
                  </a:lnTo>
                  <a:lnTo>
                    <a:pt x="123" y="26"/>
                  </a:lnTo>
                  <a:lnTo>
                    <a:pt x="121" y="28"/>
                  </a:lnTo>
                  <a:lnTo>
                    <a:pt x="123" y="28"/>
                  </a:lnTo>
                  <a:lnTo>
                    <a:pt x="121" y="28"/>
                  </a:lnTo>
                  <a:lnTo>
                    <a:pt x="123" y="28"/>
                  </a:lnTo>
                  <a:lnTo>
                    <a:pt x="126" y="28"/>
                  </a:lnTo>
                  <a:lnTo>
                    <a:pt x="123" y="28"/>
                  </a:lnTo>
                  <a:lnTo>
                    <a:pt x="123" y="31"/>
                  </a:lnTo>
                  <a:lnTo>
                    <a:pt x="121" y="31"/>
                  </a:lnTo>
                  <a:lnTo>
                    <a:pt x="119" y="31"/>
                  </a:lnTo>
                  <a:lnTo>
                    <a:pt x="116" y="31"/>
                  </a:lnTo>
                  <a:lnTo>
                    <a:pt x="114" y="31"/>
                  </a:lnTo>
                  <a:lnTo>
                    <a:pt x="116" y="31"/>
                  </a:lnTo>
                  <a:lnTo>
                    <a:pt x="119" y="31"/>
                  </a:lnTo>
                  <a:lnTo>
                    <a:pt x="119" y="33"/>
                  </a:lnTo>
                  <a:lnTo>
                    <a:pt x="121" y="33"/>
                  </a:lnTo>
                  <a:lnTo>
                    <a:pt x="123" y="33"/>
                  </a:lnTo>
                  <a:lnTo>
                    <a:pt x="126" y="33"/>
                  </a:lnTo>
                  <a:lnTo>
                    <a:pt x="128" y="31"/>
                  </a:lnTo>
                  <a:lnTo>
                    <a:pt x="131" y="31"/>
                  </a:lnTo>
                  <a:lnTo>
                    <a:pt x="133" y="31"/>
                  </a:lnTo>
                  <a:lnTo>
                    <a:pt x="135" y="31"/>
                  </a:lnTo>
                  <a:lnTo>
                    <a:pt x="135" y="28"/>
                  </a:lnTo>
                  <a:lnTo>
                    <a:pt x="138" y="28"/>
                  </a:lnTo>
                  <a:lnTo>
                    <a:pt x="140" y="28"/>
                  </a:lnTo>
                  <a:lnTo>
                    <a:pt x="140" y="31"/>
                  </a:lnTo>
                  <a:lnTo>
                    <a:pt x="142" y="31"/>
                  </a:lnTo>
                  <a:lnTo>
                    <a:pt x="145" y="31"/>
                  </a:lnTo>
                  <a:lnTo>
                    <a:pt x="145" y="28"/>
                  </a:lnTo>
                  <a:lnTo>
                    <a:pt x="147" y="28"/>
                  </a:lnTo>
                  <a:lnTo>
                    <a:pt x="150" y="28"/>
                  </a:lnTo>
                  <a:lnTo>
                    <a:pt x="152" y="28"/>
                  </a:lnTo>
                  <a:lnTo>
                    <a:pt x="154" y="31"/>
                  </a:lnTo>
                  <a:lnTo>
                    <a:pt x="157" y="31"/>
                  </a:lnTo>
                  <a:lnTo>
                    <a:pt x="157" y="33"/>
                  </a:lnTo>
                  <a:lnTo>
                    <a:pt x="159" y="33"/>
                  </a:lnTo>
                  <a:lnTo>
                    <a:pt x="161" y="33"/>
                  </a:lnTo>
                  <a:lnTo>
                    <a:pt x="164" y="33"/>
                  </a:lnTo>
                  <a:lnTo>
                    <a:pt x="169" y="33"/>
                  </a:lnTo>
                  <a:lnTo>
                    <a:pt x="166" y="36"/>
                  </a:lnTo>
                  <a:lnTo>
                    <a:pt x="164" y="36"/>
                  </a:lnTo>
                  <a:lnTo>
                    <a:pt x="161" y="38"/>
                  </a:lnTo>
                  <a:lnTo>
                    <a:pt x="159" y="38"/>
                  </a:lnTo>
                  <a:lnTo>
                    <a:pt x="157" y="38"/>
                  </a:lnTo>
                  <a:lnTo>
                    <a:pt x="154" y="40"/>
                  </a:lnTo>
                  <a:lnTo>
                    <a:pt x="152" y="40"/>
                  </a:lnTo>
                  <a:lnTo>
                    <a:pt x="150" y="40"/>
                  </a:lnTo>
                  <a:lnTo>
                    <a:pt x="147" y="40"/>
                  </a:lnTo>
                  <a:lnTo>
                    <a:pt x="145" y="40"/>
                  </a:lnTo>
                  <a:lnTo>
                    <a:pt x="145" y="43"/>
                  </a:lnTo>
                  <a:lnTo>
                    <a:pt x="142" y="45"/>
                  </a:lnTo>
                  <a:lnTo>
                    <a:pt x="140" y="45"/>
                  </a:lnTo>
                  <a:lnTo>
                    <a:pt x="138" y="45"/>
                  </a:lnTo>
                  <a:lnTo>
                    <a:pt x="138" y="47"/>
                  </a:lnTo>
                  <a:lnTo>
                    <a:pt x="135" y="47"/>
                  </a:lnTo>
                  <a:lnTo>
                    <a:pt x="133" y="47"/>
                  </a:lnTo>
                  <a:lnTo>
                    <a:pt x="128" y="47"/>
                  </a:lnTo>
                  <a:lnTo>
                    <a:pt x="126" y="47"/>
                  </a:lnTo>
                  <a:lnTo>
                    <a:pt x="121" y="47"/>
                  </a:lnTo>
                  <a:lnTo>
                    <a:pt x="119" y="47"/>
                  </a:lnTo>
                  <a:lnTo>
                    <a:pt x="112" y="47"/>
                  </a:lnTo>
                  <a:lnTo>
                    <a:pt x="109" y="47"/>
                  </a:lnTo>
                  <a:lnTo>
                    <a:pt x="109" y="50"/>
                  </a:lnTo>
                  <a:lnTo>
                    <a:pt x="107" y="50"/>
                  </a:lnTo>
                  <a:lnTo>
                    <a:pt x="104" y="50"/>
                  </a:lnTo>
                  <a:lnTo>
                    <a:pt x="102" y="50"/>
                  </a:lnTo>
                  <a:lnTo>
                    <a:pt x="100" y="50"/>
                  </a:lnTo>
                  <a:lnTo>
                    <a:pt x="97" y="50"/>
                  </a:lnTo>
                  <a:lnTo>
                    <a:pt x="95" y="52"/>
                  </a:lnTo>
                  <a:lnTo>
                    <a:pt x="97" y="52"/>
                  </a:lnTo>
                  <a:lnTo>
                    <a:pt x="100" y="52"/>
                  </a:lnTo>
                  <a:lnTo>
                    <a:pt x="102" y="52"/>
                  </a:lnTo>
                  <a:lnTo>
                    <a:pt x="100" y="55"/>
                  </a:lnTo>
                  <a:lnTo>
                    <a:pt x="102" y="57"/>
                  </a:lnTo>
                  <a:lnTo>
                    <a:pt x="100" y="57"/>
                  </a:lnTo>
                  <a:lnTo>
                    <a:pt x="97" y="57"/>
                  </a:lnTo>
                  <a:lnTo>
                    <a:pt x="95" y="59"/>
                  </a:lnTo>
                  <a:lnTo>
                    <a:pt x="93" y="59"/>
                  </a:lnTo>
                  <a:lnTo>
                    <a:pt x="90" y="59"/>
                  </a:lnTo>
                  <a:lnTo>
                    <a:pt x="85" y="59"/>
                  </a:lnTo>
                  <a:lnTo>
                    <a:pt x="83" y="57"/>
                  </a:lnTo>
                  <a:lnTo>
                    <a:pt x="81" y="57"/>
                  </a:lnTo>
                  <a:lnTo>
                    <a:pt x="78" y="57"/>
                  </a:lnTo>
                  <a:lnTo>
                    <a:pt x="76" y="57"/>
                  </a:lnTo>
                  <a:lnTo>
                    <a:pt x="74" y="57"/>
                  </a:lnTo>
                  <a:lnTo>
                    <a:pt x="71" y="57"/>
                  </a:lnTo>
                  <a:lnTo>
                    <a:pt x="69" y="57"/>
                  </a:lnTo>
                  <a:lnTo>
                    <a:pt x="67" y="57"/>
                  </a:lnTo>
                  <a:lnTo>
                    <a:pt x="67" y="59"/>
                  </a:lnTo>
                  <a:lnTo>
                    <a:pt x="69" y="59"/>
                  </a:lnTo>
                  <a:lnTo>
                    <a:pt x="67" y="59"/>
                  </a:lnTo>
                  <a:lnTo>
                    <a:pt x="67" y="62"/>
                  </a:lnTo>
                  <a:lnTo>
                    <a:pt x="64" y="62"/>
                  </a:lnTo>
                  <a:lnTo>
                    <a:pt x="62" y="59"/>
                  </a:lnTo>
                  <a:lnTo>
                    <a:pt x="59" y="62"/>
                  </a:lnTo>
                  <a:lnTo>
                    <a:pt x="59" y="64"/>
                  </a:lnTo>
                  <a:lnTo>
                    <a:pt x="62" y="64"/>
                  </a:lnTo>
                  <a:lnTo>
                    <a:pt x="64" y="64"/>
                  </a:lnTo>
                  <a:lnTo>
                    <a:pt x="67" y="64"/>
                  </a:lnTo>
                  <a:lnTo>
                    <a:pt x="69" y="64"/>
                  </a:lnTo>
                  <a:lnTo>
                    <a:pt x="71" y="64"/>
                  </a:lnTo>
                  <a:lnTo>
                    <a:pt x="74" y="64"/>
                  </a:lnTo>
                  <a:lnTo>
                    <a:pt x="74" y="66"/>
                  </a:lnTo>
                  <a:lnTo>
                    <a:pt x="71" y="66"/>
                  </a:lnTo>
                  <a:lnTo>
                    <a:pt x="74" y="66"/>
                  </a:lnTo>
                  <a:lnTo>
                    <a:pt x="76" y="66"/>
                  </a:lnTo>
                  <a:lnTo>
                    <a:pt x="74" y="66"/>
                  </a:lnTo>
                  <a:lnTo>
                    <a:pt x="71" y="66"/>
                  </a:lnTo>
                  <a:lnTo>
                    <a:pt x="69" y="69"/>
                  </a:lnTo>
                  <a:lnTo>
                    <a:pt x="71" y="69"/>
                  </a:lnTo>
                  <a:lnTo>
                    <a:pt x="74" y="69"/>
                  </a:lnTo>
                  <a:lnTo>
                    <a:pt x="76" y="69"/>
                  </a:lnTo>
                  <a:lnTo>
                    <a:pt x="78" y="69"/>
                  </a:lnTo>
                  <a:lnTo>
                    <a:pt x="78" y="71"/>
                  </a:lnTo>
                  <a:lnTo>
                    <a:pt x="76" y="71"/>
                  </a:lnTo>
                  <a:lnTo>
                    <a:pt x="74" y="71"/>
                  </a:lnTo>
                  <a:lnTo>
                    <a:pt x="71" y="71"/>
                  </a:lnTo>
                  <a:lnTo>
                    <a:pt x="71" y="74"/>
                  </a:lnTo>
                  <a:lnTo>
                    <a:pt x="74" y="74"/>
                  </a:lnTo>
                  <a:lnTo>
                    <a:pt x="71" y="74"/>
                  </a:lnTo>
                  <a:lnTo>
                    <a:pt x="69" y="74"/>
                  </a:lnTo>
                  <a:lnTo>
                    <a:pt x="67" y="74"/>
                  </a:lnTo>
                  <a:lnTo>
                    <a:pt x="64" y="71"/>
                  </a:lnTo>
                  <a:lnTo>
                    <a:pt x="62" y="71"/>
                  </a:lnTo>
                  <a:lnTo>
                    <a:pt x="59" y="69"/>
                  </a:lnTo>
                  <a:lnTo>
                    <a:pt x="57" y="69"/>
                  </a:lnTo>
                  <a:lnTo>
                    <a:pt x="57" y="71"/>
                  </a:lnTo>
                  <a:lnTo>
                    <a:pt x="57" y="74"/>
                  </a:lnTo>
                  <a:lnTo>
                    <a:pt x="59" y="74"/>
                  </a:lnTo>
                  <a:lnTo>
                    <a:pt x="59" y="76"/>
                  </a:lnTo>
                  <a:lnTo>
                    <a:pt x="57" y="76"/>
                  </a:lnTo>
                  <a:lnTo>
                    <a:pt x="55" y="78"/>
                  </a:lnTo>
                  <a:lnTo>
                    <a:pt x="52" y="78"/>
                  </a:lnTo>
                  <a:lnTo>
                    <a:pt x="52" y="76"/>
                  </a:lnTo>
                  <a:lnTo>
                    <a:pt x="50" y="76"/>
                  </a:lnTo>
                  <a:lnTo>
                    <a:pt x="48" y="74"/>
                  </a:lnTo>
                  <a:lnTo>
                    <a:pt x="45" y="76"/>
                  </a:lnTo>
                  <a:lnTo>
                    <a:pt x="43" y="76"/>
                  </a:lnTo>
                  <a:lnTo>
                    <a:pt x="43" y="78"/>
                  </a:lnTo>
                  <a:lnTo>
                    <a:pt x="40" y="78"/>
                  </a:lnTo>
                  <a:lnTo>
                    <a:pt x="38" y="78"/>
                  </a:lnTo>
                  <a:lnTo>
                    <a:pt x="36" y="78"/>
                  </a:lnTo>
                  <a:lnTo>
                    <a:pt x="33" y="78"/>
                  </a:lnTo>
                  <a:lnTo>
                    <a:pt x="31" y="78"/>
                  </a:lnTo>
                  <a:lnTo>
                    <a:pt x="31" y="76"/>
                  </a:lnTo>
                  <a:lnTo>
                    <a:pt x="33" y="76"/>
                  </a:lnTo>
                  <a:lnTo>
                    <a:pt x="36" y="74"/>
                  </a:lnTo>
                  <a:lnTo>
                    <a:pt x="36" y="71"/>
                  </a:lnTo>
                  <a:lnTo>
                    <a:pt x="38" y="71"/>
                  </a:lnTo>
                  <a:lnTo>
                    <a:pt x="40" y="71"/>
                  </a:lnTo>
                  <a:lnTo>
                    <a:pt x="43" y="71"/>
                  </a:lnTo>
                  <a:lnTo>
                    <a:pt x="48" y="69"/>
                  </a:lnTo>
                  <a:lnTo>
                    <a:pt x="45" y="69"/>
                  </a:lnTo>
                  <a:lnTo>
                    <a:pt x="43" y="69"/>
                  </a:lnTo>
                  <a:lnTo>
                    <a:pt x="40" y="69"/>
                  </a:lnTo>
                  <a:lnTo>
                    <a:pt x="36" y="69"/>
                  </a:lnTo>
                  <a:lnTo>
                    <a:pt x="38" y="69"/>
                  </a:lnTo>
                  <a:lnTo>
                    <a:pt x="40" y="69"/>
                  </a:lnTo>
                  <a:lnTo>
                    <a:pt x="40" y="66"/>
                  </a:lnTo>
                  <a:lnTo>
                    <a:pt x="43" y="66"/>
                  </a:lnTo>
                  <a:lnTo>
                    <a:pt x="40" y="66"/>
                  </a:lnTo>
                  <a:lnTo>
                    <a:pt x="38" y="66"/>
                  </a:lnTo>
                  <a:lnTo>
                    <a:pt x="36" y="66"/>
                  </a:lnTo>
                  <a:lnTo>
                    <a:pt x="33" y="66"/>
                  </a:lnTo>
                  <a:lnTo>
                    <a:pt x="31" y="66"/>
                  </a:lnTo>
                  <a:lnTo>
                    <a:pt x="29" y="66"/>
                  </a:lnTo>
                  <a:lnTo>
                    <a:pt x="26" y="66"/>
                  </a:lnTo>
                  <a:lnTo>
                    <a:pt x="24" y="66"/>
                  </a:lnTo>
                  <a:lnTo>
                    <a:pt x="21" y="69"/>
                  </a:lnTo>
                  <a:lnTo>
                    <a:pt x="24" y="69"/>
                  </a:lnTo>
                  <a:lnTo>
                    <a:pt x="24" y="71"/>
                  </a:lnTo>
                  <a:lnTo>
                    <a:pt x="21" y="71"/>
                  </a:lnTo>
                  <a:lnTo>
                    <a:pt x="19" y="69"/>
                  </a:lnTo>
                  <a:lnTo>
                    <a:pt x="17" y="71"/>
                  </a:lnTo>
                  <a:lnTo>
                    <a:pt x="14" y="71"/>
                  </a:lnTo>
                  <a:lnTo>
                    <a:pt x="12" y="71"/>
                  </a:lnTo>
                  <a:lnTo>
                    <a:pt x="10" y="71"/>
                  </a:lnTo>
                  <a:lnTo>
                    <a:pt x="7" y="71"/>
                  </a:lnTo>
                  <a:lnTo>
                    <a:pt x="7" y="69"/>
                  </a:lnTo>
                  <a:lnTo>
                    <a:pt x="10" y="69"/>
                  </a:lnTo>
                  <a:lnTo>
                    <a:pt x="10" y="66"/>
                  </a:lnTo>
                  <a:lnTo>
                    <a:pt x="7" y="66"/>
                  </a:lnTo>
                  <a:lnTo>
                    <a:pt x="5" y="66"/>
                  </a:lnTo>
                  <a:lnTo>
                    <a:pt x="2" y="64"/>
                  </a:lnTo>
                  <a:lnTo>
                    <a:pt x="0" y="64"/>
                  </a:lnTo>
                  <a:lnTo>
                    <a:pt x="0" y="62"/>
                  </a:lnTo>
                  <a:lnTo>
                    <a:pt x="2" y="62"/>
                  </a:lnTo>
                  <a:lnTo>
                    <a:pt x="7" y="59"/>
                  </a:lnTo>
                  <a:lnTo>
                    <a:pt x="10" y="57"/>
                  </a:lnTo>
                  <a:lnTo>
                    <a:pt x="14" y="57"/>
                  </a:lnTo>
                  <a:lnTo>
                    <a:pt x="17" y="57"/>
                  </a:lnTo>
                  <a:lnTo>
                    <a:pt x="19" y="57"/>
                  </a:lnTo>
                  <a:lnTo>
                    <a:pt x="19" y="59"/>
                  </a:lnTo>
                  <a:lnTo>
                    <a:pt x="17" y="59"/>
                  </a:lnTo>
                  <a:lnTo>
                    <a:pt x="17" y="62"/>
                  </a:lnTo>
                  <a:lnTo>
                    <a:pt x="19" y="62"/>
                  </a:lnTo>
                  <a:lnTo>
                    <a:pt x="21" y="62"/>
                  </a:lnTo>
                  <a:lnTo>
                    <a:pt x="24" y="62"/>
                  </a:lnTo>
                  <a:lnTo>
                    <a:pt x="26" y="62"/>
                  </a:lnTo>
                  <a:lnTo>
                    <a:pt x="29" y="62"/>
                  </a:lnTo>
                  <a:lnTo>
                    <a:pt x="31" y="62"/>
                  </a:lnTo>
                  <a:lnTo>
                    <a:pt x="33" y="62"/>
                  </a:lnTo>
                  <a:lnTo>
                    <a:pt x="36" y="62"/>
                  </a:lnTo>
                  <a:lnTo>
                    <a:pt x="38" y="62"/>
                  </a:lnTo>
                  <a:lnTo>
                    <a:pt x="40" y="62"/>
                  </a:lnTo>
                  <a:lnTo>
                    <a:pt x="43" y="62"/>
                  </a:lnTo>
                  <a:lnTo>
                    <a:pt x="38" y="62"/>
                  </a:lnTo>
                  <a:lnTo>
                    <a:pt x="38" y="59"/>
                  </a:lnTo>
                  <a:lnTo>
                    <a:pt x="40" y="59"/>
                  </a:lnTo>
                  <a:lnTo>
                    <a:pt x="43" y="59"/>
                  </a:lnTo>
                  <a:lnTo>
                    <a:pt x="45" y="59"/>
                  </a:lnTo>
                  <a:lnTo>
                    <a:pt x="48" y="59"/>
                  </a:lnTo>
                  <a:lnTo>
                    <a:pt x="45" y="59"/>
                  </a:lnTo>
                  <a:lnTo>
                    <a:pt x="43" y="59"/>
                  </a:lnTo>
                  <a:lnTo>
                    <a:pt x="36" y="59"/>
                  </a:lnTo>
                  <a:lnTo>
                    <a:pt x="31" y="57"/>
                  </a:lnTo>
                  <a:lnTo>
                    <a:pt x="29" y="57"/>
                  </a:lnTo>
                  <a:lnTo>
                    <a:pt x="29" y="55"/>
                  </a:lnTo>
                  <a:lnTo>
                    <a:pt x="31" y="55"/>
                  </a:lnTo>
                  <a:lnTo>
                    <a:pt x="33" y="55"/>
                  </a:lnTo>
                  <a:lnTo>
                    <a:pt x="36" y="55"/>
                  </a:lnTo>
                  <a:lnTo>
                    <a:pt x="38" y="55"/>
                  </a:lnTo>
                  <a:lnTo>
                    <a:pt x="40" y="55"/>
                  </a:lnTo>
                  <a:lnTo>
                    <a:pt x="43" y="55"/>
                  </a:lnTo>
                  <a:lnTo>
                    <a:pt x="45" y="55"/>
                  </a:lnTo>
                  <a:lnTo>
                    <a:pt x="48" y="55"/>
                  </a:lnTo>
                  <a:lnTo>
                    <a:pt x="50" y="55"/>
                  </a:lnTo>
                  <a:lnTo>
                    <a:pt x="52" y="55"/>
                  </a:lnTo>
                  <a:lnTo>
                    <a:pt x="50" y="55"/>
                  </a:lnTo>
                  <a:lnTo>
                    <a:pt x="48" y="55"/>
                  </a:lnTo>
                  <a:lnTo>
                    <a:pt x="48" y="52"/>
                  </a:lnTo>
                  <a:lnTo>
                    <a:pt x="50" y="52"/>
                  </a:lnTo>
                  <a:lnTo>
                    <a:pt x="48" y="52"/>
                  </a:lnTo>
                  <a:lnTo>
                    <a:pt x="40" y="52"/>
                  </a:lnTo>
                  <a:lnTo>
                    <a:pt x="38" y="52"/>
                  </a:lnTo>
                  <a:lnTo>
                    <a:pt x="36" y="50"/>
                  </a:lnTo>
                  <a:lnTo>
                    <a:pt x="33" y="50"/>
                  </a:lnTo>
                  <a:lnTo>
                    <a:pt x="31" y="52"/>
                  </a:lnTo>
                  <a:lnTo>
                    <a:pt x="29" y="52"/>
                  </a:lnTo>
                  <a:lnTo>
                    <a:pt x="26" y="52"/>
                  </a:lnTo>
                  <a:lnTo>
                    <a:pt x="24" y="52"/>
                  </a:lnTo>
                  <a:lnTo>
                    <a:pt x="26" y="50"/>
                  </a:lnTo>
                  <a:lnTo>
                    <a:pt x="29" y="50"/>
                  </a:lnTo>
                  <a:lnTo>
                    <a:pt x="31" y="50"/>
                  </a:lnTo>
                  <a:lnTo>
                    <a:pt x="36" y="47"/>
                  </a:lnTo>
                  <a:lnTo>
                    <a:pt x="38" y="47"/>
                  </a:lnTo>
                  <a:lnTo>
                    <a:pt x="40" y="47"/>
                  </a:lnTo>
                  <a:lnTo>
                    <a:pt x="45" y="45"/>
                  </a:lnTo>
                  <a:lnTo>
                    <a:pt x="48" y="45"/>
                  </a:lnTo>
                  <a:lnTo>
                    <a:pt x="48" y="47"/>
                  </a:lnTo>
                  <a:lnTo>
                    <a:pt x="50" y="47"/>
                  </a:lnTo>
                  <a:lnTo>
                    <a:pt x="52" y="45"/>
                  </a:lnTo>
                  <a:lnTo>
                    <a:pt x="55" y="45"/>
                  </a:lnTo>
                  <a:lnTo>
                    <a:pt x="57" y="45"/>
                  </a:lnTo>
                  <a:lnTo>
                    <a:pt x="59" y="47"/>
                  </a:lnTo>
                  <a:lnTo>
                    <a:pt x="62" y="47"/>
                  </a:lnTo>
                  <a:lnTo>
                    <a:pt x="64" y="47"/>
                  </a:lnTo>
                  <a:lnTo>
                    <a:pt x="67" y="50"/>
                  </a:lnTo>
                  <a:lnTo>
                    <a:pt x="69" y="50"/>
                  </a:lnTo>
                  <a:lnTo>
                    <a:pt x="71" y="50"/>
                  </a:lnTo>
                  <a:lnTo>
                    <a:pt x="71" y="47"/>
                  </a:lnTo>
                  <a:lnTo>
                    <a:pt x="69" y="47"/>
                  </a:lnTo>
                  <a:lnTo>
                    <a:pt x="71" y="47"/>
                  </a:lnTo>
                  <a:lnTo>
                    <a:pt x="74" y="47"/>
                  </a:lnTo>
                  <a:lnTo>
                    <a:pt x="76" y="47"/>
                  </a:lnTo>
                  <a:lnTo>
                    <a:pt x="78" y="47"/>
                  </a:lnTo>
                  <a:lnTo>
                    <a:pt x="81" y="47"/>
                  </a:lnTo>
                  <a:lnTo>
                    <a:pt x="83" y="47"/>
                  </a:lnTo>
                  <a:lnTo>
                    <a:pt x="83" y="45"/>
                  </a:lnTo>
                  <a:lnTo>
                    <a:pt x="81" y="45"/>
                  </a:lnTo>
                  <a:lnTo>
                    <a:pt x="83" y="45"/>
                  </a:lnTo>
                  <a:lnTo>
                    <a:pt x="83" y="43"/>
                  </a:lnTo>
                  <a:lnTo>
                    <a:pt x="85" y="43"/>
                  </a:lnTo>
                  <a:lnTo>
                    <a:pt x="88" y="43"/>
                  </a:lnTo>
                  <a:lnTo>
                    <a:pt x="88" y="40"/>
                  </a:lnTo>
                  <a:lnTo>
                    <a:pt x="85" y="40"/>
                  </a:lnTo>
                  <a:lnTo>
                    <a:pt x="83" y="40"/>
                  </a:lnTo>
                  <a:lnTo>
                    <a:pt x="85" y="40"/>
                  </a:lnTo>
                  <a:lnTo>
                    <a:pt x="88" y="38"/>
                  </a:lnTo>
                  <a:lnTo>
                    <a:pt x="90" y="38"/>
                  </a:lnTo>
                  <a:lnTo>
                    <a:pt x="93" y="38"/>
                  </a:lnTo>
                  <a:lnTo>
                    <a:pt x="93" y="40"/>
                  </a:lnTo>
                  <a:lnTo>
                    <a:pt x="93" y="38"/>
                  </a:lnTo>
                  <a:lnTo>
                    <a:pt x="95" y="38"/>
                  </a:lnTo>
                  <a:lnTo>
                    <a:pt x="97" y="38"/>
                  </a:lnTo>
                  <a:lnTo>
                    <a:pt x="97" y="36"/>
                  </a:lnTo>
                  <a:lnTo>
                    <a:pt x="95" y="36"/>
                  </a:lnTo>
                  <a:lnTo>
                    <a:pt x="97" y="36"/>
                  </a:lnTo>
                  <a:lnTo>
                    <a:pt x="95" y="36"/>
                  </a:lnTo>
                  <a:lnTo>
                    <a:pt x="95" y="33"/>
                  </a:lnTo>
                  <a:lnTo>
                    <a:pt x="90" y="33"/>
                  </a:lnTo>
                  <a:lnTo>
                    <a:pt x="88" y="36"/>
                  </a:lnTo>
                  <a:lnTo>
                    <a:pt x="85" y="36"/>
                  </a:lnTo>
                  <a:lnTo>
                    <a:pt x="83" y="36"/>
                  </a:lnTo>
                  <a:lnTo>
                    <a:pt x="81" y="36"/>
                  </a:lnTo>
                  <a:lnTo>
                    <a:pt x="81" y="33"/>
                  </a:lnTo>
                  <a:lnTo>
                    <a:pt x="83" y="33"/>
                  </a:lnTo>
                  <a:lnTo>
                    <a:pt x="85" y="33"/>
                  </a:lnTo>
                  <a:lnTo>
                    <a:pt x="85" y="31"/>
                  </a:lnTo>
                  <a:lnTo>
                    <a:pt x="83" y="31"/>
                  </a:lnTo>
                  <a:lnTo>
                    <a:pt x="83" y="33"/>
                  </a:lnTo>
                  <a:lnTo>
                    <a:pt x="81" y="33"/>
                  </a:lnTo>
                  <a:lnTo>
                    <a:pt x="78" y="33"/>
                  </a:lnTo>
                  <a:lnTo>
                    <a:pt x="76" y="33"/>
                  </a:lnTo>
                  <a:lnTo>
                    <a:pt x="74" y="33"/>
                  </a:lnTo>
                  <a:lnTo>
                    <a:pt x="74" y="31"/>
                  </a:lnTo>
                  <a:lnTo>
                    <a:pt x="76" y="31"/>
                  </a:lnTo>
                  <a:lnTo>
                    <a:pt x="78" y="31"/>
                  </a:lnTo>
                  <a:lnTo>
                    <a:pt x="81" y="31"/>
                  </a:lnTo>
                  <a:lnTo>
                    <a:pt x="78" y="31"/>
                  </a:lnTo>
                  <a:lnTo>
                    <a:pt x="76" y="31"/>
                  </a:lnTo>
                  <a:lnTo>
                    <a:pt x="78" y="28"/>
                  </a:lnTo>
                  <a:lnTo>
                    <a:pt x="81" y="28"/>
                  </a:lnTo>
                  <a:lnTo>
                    <a:pt x="83" y="28"/>
                  </a:lnTo>
                  <a:lnTo>
                    <a:pt x="85" y="26"/>
                  </a:lnTo>
                  <a:lnTo>
                    <a:pt x="88" y="26"/>
                  </a:lnTo>
                  <a:lnTo>
                    <a:pt x="90" y="26"/>
                  </a:lnTo>
                  <a:lnTo>
                    <a:pt x="93" y="26"/>
                  </a:lnTo>
                  <a:lnTo>
                    <a:pt x="95" y="26"/>
                  </a:lnTo>
                  <a:lnTo>
                    <a:pt x="97" y="24"/>
                  </a:lnTo>
                  <a:lnTo>
                    <a:pt x="100" y="24"/>
                  </a:lnTo>
                  <a:lnTo>
                    <a:pt x="100" y="21"/>
                  </a:lnTo>
                  <a:lnTo>
                    <a:pt x="102" y="21"/>
                  </a:lnTo>
                  <a:lnTo>
                    <a:pt x="104" y="21"/>
                  </a:lnTo>
                  <a:lnTo>
                    <a:pt x="104" y="19"/>
                  </a:lnTo>
                  <a:lnTo>
                    <a:pt x="107" y="19"/>
                  </a:lnTo>
                  <a:lnTo>
                    <a:pt x="112" y="19"/>
                  </a:lnTo>
                  <a:lnTo>
                    <a:pt x="114" y="19"/>
                  </a:lnTo>
                  <a:lnTo>
                    <a:pt x="116" y="19"/>
                  </a:lnTo>
                  <a:lnTo>
                    <a:pt x="119" y="19"/>
                  </a:lnTo>
                  <a:lnTo>
                    <a:pt x="121" y="19"/>
                  </a:lnTo>
                  <a:lnTo>
                    <a:pt x="123" y="19"/>
                  </a:lnTo>
                  <a:lnTo>
                    <a:pt x="121" y="19"/>
                  </a:lnTo>
                  <a:lnTo>
                    <a:pt x="119" y="21"/>
                  </a:lnTo>
                  <a:lnTo>
                    <a:pt x="116" y="21"/>
                  </a:lnTo>
                  <a:lnTo>
                    <a:pt x="114" y="21"/>
                  </a:lnTo>
                  <a:lnTo>
                    <a:pt x="112" y="21"/>
                  </a:lnTo>
                  <a:lnTo>
                    <a:pt x="109" y="21"/>
                  </a:lnTo>
                  <a:lnTo>
                    <a:pt x="107" y="21"/>
                  </a:lnTo>
                  <a:lnTo>
                    <a:pt x="104" y="21"/>
                  </a:lnTo>
                  <a:lnTo>
                    <a:pt x="107" y="21"/>
                  </a:lnTo>
                  <a:lnTo>
                    <a:pt x="109" y="21"/>
                  </a:lnTo>
                  <a:lnTo>
                    <a:pt x="107" y="24"/>
                  </a:lnTo>
                  <a:lnTo>
                    <a:pt x="109" y="24"/>
                  </a:lnTo>
                  <a:lnTo>
                    <a:pt x="112" y="24"/>
                  </a:lnTo>
                  <a:lnTo>
                    <a:pt x="114" y="24"/>
                  </a:lnTo>
                  <a:lnTo>
                    <a:pt x="116" y="24"/>
                  </a:lnTo>
                  <a:lnTo>
                    <a:pt x="119" y="24"/>
                  </a:lnTo>
                  <a:lnTo>
                    <a:pt x="121" y="24"/>
                  </a:lnTo>
                  <a:lnTo>
                    <a:pt x="123" y="21"/>
                  </a:lnTo>
                  <a:lnTo>
                    <a:pt x="126" y="21"/>
                  </a:lnTo>
                  <a:lnTo>
                    <a:pt x="128" y="21"/>
                  </a:lnTo>
                  <a:lnTo>
                    <a:pt x="131" y="21"/>
                  </a:lnTo>
                  <a:lnTo>
                    <a:pt x="133" y="19"/>
                  </a:lnTo>
                  <a:lnTo>
                    <a:pt x="135" y="19"/>
                  </a:lnTo>
                  <a:lnTo>
                    <a:pt x="138" y="19"/>
                  </a:lnTo>
                  <a:lnTo>
                    <a:pt x="138" y="21"/>
                  </a:lnTo>
                  <a:lnTo>
                    <a:pt x="140" y="21"/>
                  </a:lnTo>
                  <a:lnTo>
                    <a:pt x="140" y="24"/>
                  </a:lnTo>
                  <a:close/>
                  <a:moveTo>
                    <a:pt x="591" y="0"/>
                  </a:moveTo>
                  <a:lnTo>
                    <a:pt x="593" y="2"/>
                  </a:lnTo>
                  <a:lnTo>
                    <a:pt x="596" y="2"/>
                  </a:lnTo>
                  <a:lnTo>
                    <a:pt x="598" y="2"/>
                  </a:lnTo>
                  <a:lnTo>
                    <a:pt x="600" y="2"/>
                  </a:lnTo>
                  <a:lnTo>
                    <a:pt x="603" y="2"/>
                  </a:lnTo>
                  <a:lnTo>
                    <a:pt x="605" y="2"/>
                  </a:lnTo>
                  <a:lnTo>
                    <a:pt x="607" y="5"/>
                  </a:lnTo>
                  <a:lnTo>
                    <a:pt x="610" y="5"/>
                  </a:lnTo>
                  <a:lnTo>
                    <a:pt x="612" y="5"/>
                  </a:lnTo>
                  <a:lnTo>
                    <a:pt x="612" y="7"/>
                  </a:lnTo>
                  <a:lnTo>
                    <a:pt x="612" y="9"/>
                  </a:lnTo>
                  <a:lnTo>
                    <a:pt x="610" y="9"/>
                  </a:lnTo>
                  <a:lnTo>
                    <a:pt x="612" y="9"/>
                  </a:lnTo>
                  <a:lnTo>
                    <a:pt x="615" y="9"/>
                  </a:lnTo>
                  <a:lnTo>
                    <a:pt x="615" y="12"/>
                  </a:lnTo>
                  <a:lnTo>
                    <a:pt x="615" y="14"/>
                  </a:lnTo>
                  <a:lnTo>
                    <a:pt x="612" y="14"/>
                  </a:lnTo>
                  <a:lnTo>
                    <a:pt x="610" y="14"/>
                  </a:lnTo>
                  <a:lnTo>
                    <a:pt x="610" y="17"/>
                  </a:lnTo>
                  <a:lnTo>
                    <a:pt x="612" y="17"/>
                  </a:lnTo>
                  <a:lnTo>
                    <a:pt x="615" y="17"/>
                  </a:lnTo>
                  <a:lnTo>
                    <a:pt x="617" y="19"/>
                  </a:lnTo>
                  <a:lnTo>
                    <a:pt x="615" y="19"/>
                  </a:lnTo>
                  <a:lnTo>
                    <a:pt x="615" y="21"/>
                  </a:lnTo>
                  <a:lnTo>
                    <a:pt x="612" y="24"/>
                  </a:lnTo>
                  <a:lnTo>
                    <a:pt x="610" y="26"/>
                  </a:lnTo>
                  <a:lnTo>
                    <a:pt x="607" y="26"/>
                  </a:lnTo>
                  <a:lnTo>
                    <a:pt x="603" y="28"/>
                  </a:lnTo>
                  <a:lnTo>
                    <a:pt x="600" y="31"/>
                  </a:lnTo>
                  <a:lnTo>
                    <a:pt x="598" y="31"/>
                  </a:lnTo>
                  <a:lnTo>
                    <a:pt x="596" y="31"/>
                  </a:lnTo>
                  <a:lnTo>
                    <a:pt x="593" y="31"/>
                  </a:lnTo>
                  <a:lnTo>
                    <a:pt x="591" y="33"/>
                  </a:lnTo>
                  <a:lnTo>
                    <a:pt x="589" y="33"/>
                  </a:lnTo>
                  <a:lnTo>
                    <a:pt x="584" y="36"/>
                  </a:lnTo>
                  <a:lnTo>
                    <a:pt x="581" y="36"/>
                  </a:lnTo>
                  <a:lnTo>
                    <a:pt x="579" y="36"/>
                  </a:lnTo>
                  <a:lnTo>
                    <a:pt x="577" y="36"/>
                  </a:lnTo>
                  <a:lnTo>
                    <a:pt x="574" y="36"/>
                  </a:lnTo>
                  <a:lnTo>
                    <a:pt x="570" y="36"/>
                  </a:lnTo>
                  <a:lnTo>
                    <a:pt x="567" y="36"/>
                  </a:lnTo>
                  <a:lnTo>
                    <a:pt x="565" y="36"/>
                  </a:lnTo>
                  <a:lnTo>
                    <a:pt x="562" y="38"/>
                  </a:lnTo>
                  <a:lnTo>
                    <a:pt x="560" y="38"/>
                  </a:lnTo>
                  <a:lnTo>
                    <a:pt x="560" y="36"/>
                  </a:lnTo>
                  <a:lnTo>
                    <a:pt x="562" y="36"/>
                  </a:lnTo>
                  <a:lnTo>
                    <a:pt x="560" y="36"/>
                  </a:lnTo>
                  <a:lnTo>
                    <a:pt x="558" y="36"/>
                  </a:lnTo>
                  <a:lnTo>
                    <a:pt x="555" y="38"/>
                  </a:lnTo>
                  <a:lnTo>
                    <a:pt x="551" y="38"/>
                  </a:lnTo>
                  <a:lnTo>
                    <a:pt x="548" y="38"/>
                  </a:lnTo>
                  <a:lnTo>
                    <a:pt x="546" y="38"/>
                  </a:lnTo>
                  <a:lnTo>
                    <a:pt x="543" y="38"/>
                  </a:lnTo>
                  <a:lnTo>
                    <a:pt x="546" y="38"/>
                  </a:lnTo>
                  <a:lnTo>
                    <a:pt x="543" y="38"/>
                  </a:lnTo>
                  <a:lnTo>
                    <a:pt x="543" y="40"/>
                  </a:lnTo>
                  <a:lnTo>
                    <a:pt x="541" y="40"/>
                  </a:lnTo>
                  <a:lnTo>
                    <a:pt x="539" y="40"/>
                  </a:lnTo>
                  <a:lnTo>
                    <a:pt x="539" y="38"/>
                  </a:lnTo>
                  <a:lnTo>
                    <a:pt x="536" y="38"/>
                  </a:lnTo>
                  <a:lnTo>
                    <a:pt x="536" y="36"/>
                  </a:lnTo>
                  <a:lnTo>
                    <a:pt x="529" y="33"/>
                  </a:lnTo>
                  <a:lnTo>
                    <a:pt x="527" y="33"/>
                  </a:lnTo>
                  <a:lnTo>
                    <a:pt x="527" y="31"/>
                  </a:lnTo>
                  <a:lnTo>
                    <a:pt x="522" y="31"/>
                  </a:lnTo>
                  <a:lnTo>
                    <a:pt x="520" y="28"/>
                  </a:lnTo>
                  <a:lnTo>
                    <a:pt x="522" y="28"/>
                  </a:lnTo>
                  <a:lnTo>
                    <a:pt x="527" y="24"/>
                  </a:lnTo>
                  <a:lnTo>
                    <a:pt x="532" y="24"/>
                  </a:lnTo>
                  <a:lnTo>
                    <a:pt x="534" y="24"/>
                  </a:lnTo>
                  <a:lnTo>
                    <a:pt x="534" y="21"/>
                  </a:lnTo>
                  <a:lnTo>
                    <a:pt x="536" y="21"/>
                  </a:lnTo>
                  <a:lnTo>
                    <a:pt x="539" y="21"/>
                  </a:lnTo>
                  <a:lnTo>
                    <a:pt x="541" y="21"/>
                  </a:lnTo>
                  <a:lnTo>
                    <a:pt x="541" y="19"/>
                  </a:lnTo>
                  <a:lnTo>
                    <a:pt x="543" y="19"/>
                  </a:lnTo>
                  <a:lnTo>
                    <a:pt x="543" y="17"/>
                  </a:lnTo>
                  <a:lnTo>
                    <a:pt x="546" y="19"/>
                  </a:lnTo>
                  <a:lnTo>
                    <a:pt x="546" y="17"/>
                  </a:lnTo>
                  <a:lnTo>
                    <a:pt x="548" y="17"/>
                  </a:lnTo>
                  <a:lnTo>
                    <a:pt x="551" y="17"/>
                  </a:lnTo>
                  <a:lnTo>
                    <a:pt x="553" y="17"/>
                  </a:lnTo>
                  <a:lnTo>
                    <a:pt x="555" y="17"/>
                  </a:lnTo>
                  <a:lnTo>
                    <a:pt x="558" y="17"/>
                  </a:lnTo>
                  <a:lnTo>
                    <a:pt x="560" y="17"/>
                  </a:lnTo>
                  <a:lnTo>
                    <a:pt x="562" y="17"/>
                  </a:lnTo>
                  <a:lnTo>
                    <a:pt x="565" y="17"/>
                  </a:lnTo>
                  <a:lnTo>
                    <a:pt x="567" y="17"/>
                  </a:lnTo>
                  <a:lnTo>
                    <a:pt x="570" y="17"/>
                  </a:lnTo>
                  <a:lnTo>
                    <a:pt x="572" y="17"/>
                  </a:lnTo>
                  <a:lnTo>
                    <a:pt x="574" y="17"/>
                  </a:lnTo>
                  <a:lnTo>
                    <a:pt x="574" y="14"/>
                  </a:lnTo>
                  <a:lnTo>
                    <a:pt x="577" y="14"/>
                  </a:lnTo>
                  <a:lnTo>
                    <a:pt x="574" y="12"/>
                  </a:lnTo>
                  <a:lnTo>
                    <a:pt x="574" y="9"/>
                  </a:lnTo>
                  <a:lnTo>
                    <a:pt x="574" y="7"/>
                  </a:lnTo>
                  <a:lnTo>
                    <a:pt x="577" y="7"/>
                  </a:lnTo>
                  <a:lnTo>
                    <a:pt x="577" y="5"/>
                  </a:lnTo>
                  <a:lnTo>
                    <a:pt x="579" y="2"/>
                  </a:lnTo>
                  <a:lnTo>
                    <a:pt x="584" y="2"/>
                  </a:lnTo>
                  <a:lnTo>
                    <a:pt x="584" y="0"/>
                  </a:lnTo>
                  <a:lnTo>
                    <a:pt x="586" y="0"/>
                  </a:lnTo>
                  <a:lnTo>
                    <a:pt x="589" y="0"/>
                  </a:lnTo>
                  <a:lnTo>
                    <a:pt x="59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9" name="Freeform 55046"/>
            <p:cNvSpPr>
              <a:spLocks noEditPoints="1"/>
            </p:cNvSpPr>
            <p:nvPr/>
          </p:nvSpPr>
          <p:spPr bwMode="auto">
            <a:xfrm>
              <a:off x="4383085" y="1793883"/>
              <a:ext cx="982662" cy="1112843"/>
            </a:xfrm>
            <a:custGeom>
              <a:avLst/>
              <a:gdLst>
                <a:gd name="T0" fmla="*/ 261 w 619"/>
                <a:gd name="T1" fmla="*/ 698 h 701"/>
                <a:gd name="T2" fmla="*/ 249 w 619"/>
                <a:gd name="T3" fmla="*/ 689 h 701"/>
                <a:gd name="T4" fmla="*/ 254 w 619"/>
                <a:gd name="T5" fmla="*/ 682 h 701"/>
                <a:gd name="T6" fmla="*/ 266 w 619"/>
                <a:gd name="T7" fmla="*/ 684 h 701"/>
                <a:gd name="T8" fmla="*/ 259 w 619"/>
                <a:gd name="T9" fmla="*/ 684 h 701"/>
                <a:gd name="T10" fmla="*/ 477 w 619"/>
                <a:gd name="T11" fmla="*/ 133 h 701"/>
                <a:gd name="T12" fmla="*/ 209 w 619"/>
                <a:gd name="T13" fmla="*/ 123 h 701"/>
                <a:gd name="T14" fmla="*/ 180 w 619"/>
                <a:gd name="T15" fmla="*/ 133 h 701"/>
                <a:gd name="T16" fmla="*/ 173 w 619"/>
                <a:gd name="T17" fmla="*/ 119 h 701"/>
                <a:gd name="T18" fmla="*/ 157 w 619"/>
                <a:gd name="T19" fmla="*/ 114 h 701"/>
                <a:gd name="T20" fmla="*/ 399 w 619"/>
                <a:gd name="T21" fmla="*/ 121 h 701"/>
                <a:gd name="T22" fmla="*/ 368 w 619"/>
                <a:gd name="T23" fmla="*/ 116 h 701"/>
                <a:gd name="T24" fmla="*/ 399 w 619"/>
                <a:gd name="T25" fmla="*/ 104 h 701"/>
                <a:gd name="T26" fmla="*/ 287 w 619"/>
                <a:gd name="T27" fmla="*/ 114 h 701"/>
                <a:gd name="T28" fmla="*/ 242 w 619"/>
                <a:gd name="T29" fmla="*/ 114 h 701"/>
                <a:gd name="T30" fmla="*/ 259 w 619"/>
                <a:gd name="T31" fmla="*/ 104 h 701"/>
                <a:gd name="T32" fmla="*/ 472 w 619"/>
                <a:gd name="T33" fmla="*/ 107 h 701"/>
                <a:gd name="T34" fmla="*/ 441 w 619"/>
                <a:gd name="T35" fmla="*/ 114 h 701"/>
                <a:gd name="T36" fmla="*/ 425 w 619"/>
                <a:gd name="T37" fmla="*/ 121 h 701"/>
                <a:gd name="T38" fmla="*/ 406 w 619"/>
                <a:gd name="T39" fmla="*/ 97 h 701"/>
                <a:gd name="T40" fmla="*/ 311 w 619"/>
                <a:gd name="T41" fmla="*/ 92 h 701"/>
                <a:gd name="T42" fmla="*/ 297 w 619"/>
                <a:gd name="T43" fmla="*/ 92 h 701"/>
                <a:gd name="T44" fmla="*/ 413 w 619"/>
                <a:gd name="T45" fmla="*/ 85 h 701"/>
                <a:gd name="T46" fmla="*/ 377 w 619"/>
                <a:gd name="T47" fmla="*/ 88 h 701"/>
                <a:gd name="T48" fmla="*/ 349 w 619"/>
                <a:gd name="T49" fmla="*/ 81 h 701"/>
                <a:gd name="T50" fmla="*/ 105 w 619"/>
                <a:gd name="T51" fmla="*/ 73 h 701"/>
                <a:gd name="T52" fmla="*/ 109 w 619"/>
                <a:gd name="T53" fmla="*/ 83 h 701"/>
                <a:gd name="T54" fmla="*/ 78 w 619"/>
                <a:gd name="T55" fmla="*/ 81 h 701"/>
                <a:gd name="T56" fmla="*/ 52 w 619"/>
                <a:gd name="T57" fmla="*/ 90 h 701"/>
                <a:gd name="T58" fmla="*/ 19 w 619"/>
                <a:gd name="T59" fmla="*/ 92 h 701"/>
                <a:gd name="T60" fmla="*/ 50 w 619"/>
                <a:gd name="T61" fmla="*/ 81 h 701"/>
                <a:gd name="T62" fmla="*/ 83 w 619"/>
                <a:gd name="T63" fmla="*/ 69 h 701"/>
                <a:gd name="T64" fmla="*/ 339 w 619"/>
                <a:gd name="T65" fmla="*/ 78 h 701"/>
                <a:gd name="T66" fmla="*/ 304 w 619"/>
                <a:gd name="T67" fmla="*/ 69 h 701"/>
                <a:gd name="T68" fmla="*/ 453 w 619"/>
                <a:gd name="T69" fmla="*/ 76 h 701"/>
                <a:gd name="T70" fmla="*/ 453 w 619"/>
                <a:gd name="T71" fmla="*/ 69 h 701"/>
                <a:gd name="T72" fmla="*/ 432 w 619"/>
                <a:gd name="T73" fmla="*/ 62 h 701"/>
                <a:gd name="T74" fmla="*/ 354 w 619"/>
                <a:gd name="T75" fmla="*/ 59 h 701"/>
                <a:gd name="T76" fmla="*/ 399 w 619"/>
                <a:gd name="T77" fmla="*/ 69 h 701"/>
                <a:gd name="T78" fmla="*/ 396 w 619"/>
                <a:gd name="T79" fmla="*/ 81 h 701"/>
                <a:gd name="T80" fmla="*/ 358 w 619"/>
                <a:gd name="T81" fmla="*/ 69 h 701"/>
                <a:gd name="T82" fmla="*/ 313 w 619"/>
                <a:gd name="T83" fmla="*/ 59 h 701"/>
                <a:gd name="T84" fmla="*/ 401 w 619"/>
                <a:gd name="T85" fmla="*/ 57 h 701"/>
                <a:gd name="T86" fmla="*/ 439 w 619"/>
                <a:gd name="T87" fmla="*/ 66 h 701"/>
                <a:gd name="T88" fmla="*/ 392 w 619"/>
                <a:gd name="T89" fmla="*/ 59 h 701"/>
                <a:gd name="T90" fmla="*/ 548 w 619"/>
                <a:gd name="T91" fmla="*/ 52 h 701"/>
                <a:gd name="T92" fmla="*/ 506 w 619"/>
                <a:gd name="T93" fmla="*/ 64 h 701"/>
                <a:gd name="T94" fmla="*/ 192 w 619"/>
                <a:gd name="T95" fmla="*/ 47 h 701"/>
                <a:gd name="T96" fmla="*/ 176 w 619"/>
                <a:gd name="T97" fmla="*/ 50 h 701"/>
                <a:gd name="T98" fmla="*/ 413 w 619"/>
                <a:gd name="T99" fmla="*/ 52 h 701"/>
                <a:gd name="T100" fmla="*/ 427 w 619"/>
                <a:gd name="T101" fmla="*/ 45 h 701"/>
                <a:gd name="T102" fmla="*/ 418 w 619"/>
                <a:gd name="T103" fmla="*/ 38 h 701"/>
                <a:gd name="T104" fmla="*/ 385 w 619"/>
                <a:gd name="T105" fmla="*/ 47 h 701"/>
                <a:gd name="T106" fmla="*/ 347 w 619"/>
                <a:gd name="T107" fmla="*/ 45 h 701"/>
                <a:gd name="T108" fmla="*/ 377 w 619"/>
                <a:gd name="T109" fmla="*/ 40 h 701"/>
                <a:gd name="T110" fmla="*/ 470 w 619"/>
                <a:gd name="T111" fmla="*/ 33 h 701"/>
                <a:gd name="T112" fmla="*/ 422 w 619"/>
                <a:gd name="T113" fmla="*/ 21 h 701"/>
                <a:gd name="T114" fmla="*/ 415 w 619"/>
                <a:gd name="T115" fmla="*/ 31 h 701"/>
                <a:gd name="T116" fmla="*/ 399 w 619"/>
                <a:gd name="T117" fmla="*/ 24 h 701"/>
                <a:gd name="T118" fmla="*/ 605 w 619"/>
                <a:gd name="T119" fmla="*/ 19 h 701"/>
                <a:gd name="T120" fmla="*/ 589 w 619"/>
                <a:gd name="T121" fmla="*/ 12 h 701"/>
                <a:gd name="T122" fmla="*/ 463 w 619"/>
                <a:gd name="T123" fmla="*/ 9 h 701"/>
                <a:gd name="T124" fmla="*/ 430 w 619"/>
                <a:gd name="T125" fmla="*/ 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9" h="701">
                  <a:moveTo>
                    <a:pt x="268" y="689"/>
                  </a:moveTo>
                  <a:lnTo>
                    <a:pt x="271" y="689"/>
                  </a:lnTo>
                  <a:lnTo>
                    <a:pt x="268" y="689"/>
                  </a:lnTo>
                  <a:lnTo>
                    <a:pt x="268" y="686"/>
                  </a:lnTo>
                  <a:lnTo>
                    <a:pt x="268" y="689"/>
                  </a:lnTo>
                  <a:lnTo>
                    <a:pt x="268" y="686"/>
                  </a:lnTo>
                  <a:lnTo>
                    <a:pt x="271" y="686"/>
                  </a:lnTo>
                  <a:lnTo>
                    <a:pt x="271" y="689"/>
                  </a:lnTo>
                  <a:lnTo>
                    <a:pt x="271" y="691"/>
                  </a:lnTo>
                  <a:lnTo>
                    <a:pt x="271" y="694"/>
                  </a:lnTo>
                  <a:lnTo>
                    <a:pt x="273" y="694"/>
                  </a:lnTo>
                  <a:lnTo>
                    <a:pt x="271" y="694"/>
                  </a:lnTo>
                  <a:lnTo>
                    <a:pt x="271" y="696"/>
                  </a:lnTo>
                  <a:lnTo>
                    <a:pt x="268" y="696"/>
                  </a:lnTo>
                  <a:lnTo>
                    <a:pt x="268" y="698"/>
                  </a:lnTo>
                  <a:lnTo>
                    <a:pt x="271" y="698"/>
                  </a:lnTo>
                  <a:lnTo>
                    <a:pt x="268" y="698"/>
                  </a:lnTo>
                  <a:lnTo>
                    <a:pt x="266" y="698"/>
                  </a:lnTo>
                  <a:lnTo>
                    <a:pt x="264" y="698"/>
                  </a:lnTo>
                  <a:lnTo>
                    <a:pt x="261" y="698"/>
                  </a:lnTo>
                  <a:lnTo>
                    <a:pt x="264" y="698"/>
                  </a:lnTo>
                  <a:lnTo>
                    <a:pt x="261" y="698"/>
                  </a:lnTo>
                  <a:lnTo>
                    <a:pt x="264" y="701"/>
                  </a:lnTo>
                  <a:lnTo>
                    <a:pt x="261" y="701"/>
                  </a:lnTo>
                  <a:lnTo>
                    <a:pt x="261" y="698"/>
                  </a:lnTo>
                  <a:lnTo>
                    <a:pt x="261" y="701"/>
                  </a:lnTo>
                  <a:lnTo>
                    <a:pt x="261" y="698"/>
                  </a:lnTo>
                  <a:lnTo>
                    <a:pt x="259" y="698"/>
                  </a:lnTo>
                  <a:lnTo>
                    <a:pt x="256" y="698"/>
                  </a:lnTo>
                  <a:lnTo>
                    <a:pt x="259" y="698"/>
                  </a:lnTo>
                  <a:lnTo>
                    <a:pt x="259" y="696"/>
                  </a:lnTo>
                  <a:lnTo>
                    <a:pt x="256" y="696"/>
                  </a:lnTo>
                  <a:lnTo>
                    <a:pt x="259" y="696"/>
                  </a:lnTo>
                  <a:lnTo>
                    <a:pt x="256" y="696"/>
                  </a:lnTo>
                  <a:lnTo>
                    <a:pt x="256" y="694"/>
                  </a:lnTo>
                  <a:lnTo>
                    <a:pt x="254" y="694"/>
                  </a:lnTo>
                  <a:lnTo>
                    <a:pt x="254" y="691"/>
                  </a:lnTo>
                  <a:lnTo>
                    <a:pt x="254" y="689"/>
                  </a:lnTo>
                  <a:lnTo>
                    <a:pt x="252" y="689"/>
                  </a:lnTo>
                  <a:lnTo>
                    <a:pt x="254" y="689"/>
                  </a:lnTo>
                  <a:lnTo>
                    <a:pt x="252" y="689"/>
                  </a:lnTo>
                  <a:lnTo>
                    <a:pt x="249" y="689"/>
                  </a:lnTo>
                  <a:lnTo>
                    <a:pt x="252" y="689"/>
                  </a:lnTo>
                  <a:lnTo>
                    <a:pt x="249" y="689"/>
                  </a:lnTo>
                  <a:lnTo>
                    <a:pt x="249" y="686"/>
                  </a:lnTo>
                  <a:lnTo>
                    <a:pt x="249" y="689"/>
                  </a:lnTo>
                  <a:lnTo>
                    <a:pt x="247" y="689"/>
                  </a:lnTo>
                  <a:lnTo>
                    <a:pt x="245" y="689"/>
                  </a:lnTo>
                  <a:lnTo>
                    <a:pt x="242" y="689"/>
                  </a:lnTo>
                  <a:lnTo>
                    <a:pt x="240" y="686"/>
                  </a:lnTo>
                  <a:lnTo>
                    <a:pt x="240" y="684"/>
                  </a:lnTo>
                  <a:lnTo>
                    <a:pt x="240" y="682"/>
                  </a:lnTo>
                  <a:lnTo>
                    <a:pt x="242" y="682"/>
                  </a:lnTo>
                  <a:lnTo>
                    <a:pt x="245" y="682"/>
                  </a:lnTo>
                  <a:lnTo>
                    <a:pt x="247" y="682"/>
                  </a:lnTo>
                  <a:lnTo>
                    <a:pt x="247" y="679"/>
                  </a:lnTo>
                  <a:lnTo>
                    <a:pt x="247" y="682"/>
                  </a:lnTo>
                  <a:lnTo>
                    <a:pt x="249" y="682"/>
                  </a:lnTo>
                  <a:lnTo>
                    <a:pt x="252" y="682"/>
                  </a:lnTo>
                  <a:lnTo>
                    <a:pt x="252" y="679"/>
                  </a:lnTo>
                  <a:lnTo>
                    <a:pt x="249" y="679"/>
                  </a:lnTo>
                  <a:lnTo>
                    <a:pt x="252" y="679"/>
                  </a:lnTo>
                  <a:lnTo>
                    <a:pt x="252" y="682"/>
                  </a:lnTo>
                  <a:lnTo>
                    <a:pt x="254" y="682"/>
                  </a:lnTo>
                  <a:lnTo>
                    <a:pt x="254" y="679"/>
                  </a:lnTo>
                  <a:lnTo>
                    <a:pt x="254" y="682"/>
                  </a:lnTo>
                  <a:lnTo>
                    <a:pt x="254" y="679"/>
                  </a:lnTo>
                  <a:lnTo>
                    <a:pt x="254" y="682"/>
                  </a:lnTo>
                  <a:lnTo>
                    <a:pt x="256" y="682"/>
                  </a:lnTo>
                  <a:lnTo>
                    <a:pt x="256" y="684"/>
                  </a:lnTo>
                  <a:lnTo>
                    <a:pt x="256" y="682"/>
                  </a:lnTo>
                  <a:lnTo>
                    <a:pt x="254" y="682"/>
                  </a:lnTo>
                  <a:lnTo>
                    <a:pt x="254" y="679"/>
                  </a:lnTo>
                  <a:lnTo>
                    <a:pt x="256" y="679"/>
                  </a:lnTo>
                  <a:lnTo>
                    <a:pt x="254" y="679"/>
                  </a:lnTo>
                  <a:lnTo>
                    <a:pt x="256" y="679"/>
                  </a:lnTo>
                  <a:lnTo>
                    <a:pt x="259" y="679"/>
                  </a:lnTo>
                  <a:lnTo>
                    <a:pt x="261" y="679"/>
                  </a:lnTo>
                  <a:lnTo>
                    <a:pt x="261" y="682"/>
                  </a:lnTo>
                  <a:lnTo>
                    <a:pt x="261" y="679"/>
                  </a:lnTo>
                  <a:lnTo>
                    <a:pt x="261" y="682"/>
                  </a:lnTo>
                  <a:lnTo>
                    <a:pt x="264" y="682"/>
                  </a:lnTo>
                  <a:lnTo>
                    <a:pt x="264" y="684"/>
                  </a:lnTo>
                  <a:lnTo>
                    <a:pt x="266" y="684"/>
                  </a:lnTo>
                  <a:lnTo>
                    <a:pt x="264" y="684"/>
                  </a:lnTo>
                  <a:lnTo>
                    <a:pt x="266" y="684"/>
                  </a:lnTo>
                  <a:lnTo>
                    <a:pt x="266" y="686"/>
                  </a:lnTo>
                  <a:lnTo>
                    <a:pt x="266" y="684"/>
                  </a:lnTo>
                  <a:lnTo>
                    <a:pt x="266" y="686"/>
                  </a:lnTo>
                  <a:lnTo>
                    <a:pt x="264" y="686"/>
                  </a:lnTo>
                  <a:lnTo>
                    <a:pt x="264" y="684"/>
                  </a:lnTo>
                  <a:lnTo>
                    <a:pt x="264" y="686"/>
                  </a:lnTo>
                  <a:lnTo>
                    <a:pt x="264" y="684"/>
                  </a:lnTo>
                  <a:lnTo>
                    <a:pt x="261" y="684"/>
                  </a:lnTo>
                  <a:lnTo>
                    <a:pt x="261" y="682"/>
                  </a:lnTo>
                  <a:lnTo>
                    <a:pt x="259" y="682"/>
                  </a:lnTo>
                  <a:lnTo>
                    <a:pt x="256" y="682"/>
                  </a:lnTo>
                  <a:lnTo>
                    <a:pt x="256" y="679"/>
                  </a:lnTo>
                  <a:lnTo>
                    <a:pt x="256" y="682"/>
                  </a:lnTo>
                  <a:lnTo>
                    <a:pt x="259" y="682"/>
                  </a:lnTo>
                  <a:lnTo>
                    <a:pt x="261" y="684"/>
                  </a:lnTo>
                  <a:lnTo>
                    <a:pt x="261" y="682"/>
                  </a:lnTo>
                  <a:lnTo>
                    <a:pt x="261" y="684"/>
                  </a:lnTo>
                  <a:lnTo>
                    <a:pt x="261" y="682"/>
                  </a:lnTo>
                  <a:lnTo>
                    <a:pt x="261" y="684"/>
                  </a:lnTo>
                  <a:lnTo>
                    <a:pt x="259" y="684"/>
                  </a:lnTo>
                  <a:lnTo>
                    <a:pt x="261" y="684"/>
                  </a:lnTo>
                  <a:lnTo>
                    <a:pt x="259" y="684"/>
                  </a:lnTo>
                  <a:lnTo>
                    <a:pt x="256" y="684"/>
                  </a:lnTo>
                  <a:lnTo>
                    <a:pt x="259" y="684"/>
                  </a:lnTo>
                  <a:lnTo>
                    <a:pt x="261" y="684"/>
                  </a:lnTo>
                  <a:lnTo>
                    <a:pt x="261" y="686"/>
                  </a:lnTo>
                  <a:lnTo>
                    <a:pt x="264" y="686"/>
                  </a:lnTo>
                  <a:lnTo>
                    <a:pt x="261" y="686"/>
                  </a:lnTo>
                  <a:lnTo>
                    <a:pt x="264" y="686"/>
                  </a:lnTo>
                  <a:lnTo>
                    <a:pt x="266" y="689"/>
                  </a:lnTo>
                  <a:lnTo>
                    <a:pt x="268" y="689"/>
                  </a:lnTo>
                  <a:close/>
                  <a:moveTo>
                    <a:pt x="477" y="121"/>
                  </a:moveTo>
                  <a:lnTo>
                    <a:pt x="479" y="121"/>
                  </a:lnTo>
                  <a:lnTo>
                    <a:pt x="482" y="121"/>
                  </a:lnTo>
                  <a:lnTo>
                    <a:pt x="484" y="123"/>
                  </a:lnTo>
                  <a:lnTo>
                    <a:pt x="487" y="123"/>
                  </a:lnTo>
                  <a:lnTo>
                    <a:pt x="489" y="123"/>
                  </a:lnTo>
                  <a:lnTo>
                    <a:pt x="491" y="126"/>
                  </a:lnTo>
                  <a:lnTo>
                    <a:pt x="491" y="128"/>
                  </a:lnTo>
                  <a:lnTo>
                    <a:pt x="489" y="128"/>
                  </a:lnTo>
                  <a:lnTo>
                    <a:pt x="487" y="130"/>
                  </a:lnTo>
                  <a:lnTo>
                    <a:pt x="484" y="130"/>
                  </a:lnTo>
                  <a:lnTo>
                    <a:pt x="484" y="133"/>
                  </a:lnTo>
                  <a:lnTo>
                    <a:pt x="482" y="133"/>
                  </a:lnTo>
                  <a:lnTo>
                    <a:pt x="479" y="133"/>
                  </a:lnTo>
                  <a:lnTo>
                    <a:pt x="477" y="133"/>
                  </a:lnTo>
                  <a:lnTo>
                    <a:pt x="475" y="133"/>
                  </a:lnTo>
                  <a:lnTo>
                    <a:pt x="475" y="135"/>
                  </a:lnTo>
                  <a:lnTo>
                    <a:pt x="472" y="133"/>
                  </a:lnTo>
                  <a:lnTo>
                    <a:pt x="470" y="133"/>
                  </a:lnTo>
                  <a:lnTo>
                    <a:pt x="468" y="133"/>
                  </a:lnTo>
                  <a:lnTo>
                    <a:pt x="468" y="130"/>
                  </a:lnTo>
                  <a:lnTo>
                    <a:pt x="465" y="130"/>
                  </a:lnTo>
                  <a:lnTo>
                    <a:pt x="463" y="130"/>
                  </a:lnTo>
                  <a:lnTo>
                    <a:pt x="460" y="130"/>
                  </a:lnTo>
                  <a:lnTo>
                    <a:pt x="458" y="128"/>
                  </a:lnTo>
                  <a:lnTo>
                    <a:pt x="456" y="128"/>
                  </a:lnTo>
                  <a:lnTo>
                    <a:pt x="456" y="126"/>
                  </a:lnTo>
                  <a:lnTo>
                    <a:pt x="458" y="126"/>
                  </a:lnTo>
                  <a:lnTo>
                    <a:pt x="460" y="126"/>
                  </a:lnTo>
                  <a:lnTo>
                    <a:pt x="463" y="123"/>
                  </a:lnTo>
                  <a:lnTo>
                    <a:pt x="465" y="123"/>
                  </a:lnTo>
                  <a:lnTo>
                    <a:pt x="468" y="123"/>
                  </a:lnTo>
                  <a:lnTo>
                    <a:pt x="472" y="121"/>
                  </a:lnTo>
                  <a:lnTo>
                    <a:pt x="475" y="121"/>
                  </a:lnTo>
                  <a:lnTo>
                    <a:pt x="477" y="121"/>
                  </a:lnTo>
                  <a:close/>
                  <a:moveTo>
                    <a:pt x="207" y="123"/>
                  </a:moveTo>
                  <a:lnTo>
                    <a:pt x="209" y="123"/>
                  </a:lnTo>
                  <a:lnTo>
                    <a:pt x="207" y="126"/>
                  </a:lnTo>
                  <a:lnTo>
                    <a:pt x="207" y="128"/>
                  </a:lnTo>
                  <a:lnTo>
                    <a:pt x="204" y="128"/>
                  </a:lnTo>
                  <a:lnTo>
                    <a:pt x="207" y="128"/>
                  </a:lnTo>
                  <a:lnTo>
                    <a:pt x="207" y="130"/>
                  </a:lnTo>
                  <a:lnTo>
                    <a:pt x="209" y="130"/>
                  </a:lnTo>
                  <a:lnTo>
                    <a:pt x="211" y="130"/>
                  </a:lnTo>
                  <a:lnTo>
                    <a:pt x="209" y="130"/>
                  </a:lnTo>
                  <a:lnTo>
                    <a:pt x="211" y="133"/>
                  </a:lnTo>
                  <a:lnTo>
                    <a:pt x="214" y="133"/>
                  </a:lnTo>
                  <a:lnTo>
                    <a:pt x="211" y="133"/>
                  </a:lnTo>
                  <a:lnTo>
                    <a:pt x="209" y="133"/>
                  </a:lnTo>
                  <a:lnTo>
                    <a:pt x="207" y="133"/>
                  </a:lnTo>
                  <a:lnTo>
                    <a:pt x="199" y="133"/>
                  </a:lnTo>
                  <a:lnTo>
                    <a:pt x="197" y="133"/>
                  </a:lnTo>
                  <a:lnTo>
                    <a:pt x="195" y="133"/>
                  </a:lnTo>
                  <a:lnTo>
                    <a:pt x="192" y="133"/>
                  </a:lnTo>
                  <a:lnTo>
                    <a:pt x="190" y="133"/>
                  </a:lnTo>
                  <a:lnTo>
                    <a:pt x="188" y="133"/>
                  </a:lnTo>
                  <a:lnTo>
                    <a:pt x="185" y="133"/>
                  </a:lnTo>
                  <a:lnTo>
                    <a:pt x="183" y="133"/>
                  </a:lnTo>
                  <a:lnTo>
                    <a:pt x="180" y="133"/>
                  </a:lnTo>
                  <a:lnTo>
                    <a:pt x="178" y="133"/>
                  </a:lnTo>
                  <a:lnTo>
                    <a:pt x="176" y="133"/>
                  </a:lnTo>
                  <a:lnTo>
                    <a:pt x="176" y="130"/>
                  </a:lnTo>
                  <a:lnTo>
                    <a:pt x="178" y="130"/>
                  </a:lnTo>
                  <a:lnTo>
                    <a:pt x="180" y="130"/>
                  </a:lnTo>
                  <a:lnTo>
                    <a:pt x="185" y="128"/>
                  </a:lnTo>
                  <a:lnTo>
                    <a:pt x="183" y="128"/>
                  </a:lnTo>
                  <a:lnTo>
                    <a:pt x="185" y="128"/>
                  </a:lnTo>
                  <a:lnTo>
                    <a:pt x="185" y="126"/>
                  </a:lnTo>
                  <a:lnTo>
                    <a:pt x="188" y="126"/>
                  </a:lnTo>
                  <a:lnTo>
                    <a:pt x="190" y="123"/>
                  </a:lnTo>
                  <a:lnTo>
                    <a:pt x="192" y="123"/>
                  </a:lnTo>
                  <a:lnTo>
                    <a:pt x="195" y="123"/>
                  </a:lnTo>
                  <a:lnTo>
                    <a:pt x="197" y="123"/>
                  </a:lnTo>
                  <a:lnTo>
                    <a:pt x="197" y="121"/>
                  </a:lnTo>
                  <a:lnTo>
                    <a:pt x="199" y="121"/>
                  </a:lnTo>
                  <a:lnTo>
                    <a:pt x="202" y="121"/>
                  </a:lnTo>
                  <a:lnTo>
                    <a:pt x="202" y="123"/>
                  </a:lnTo>
                  <a:lnTo>
                    <a:pt x="204" y="123"/>
                  </a:lnTo>
                  <a:lnTo>
                    <a:pt x="207" y="123"/>
                  </a:lnTo>
                  <a:close/>
                  <a:moveTo>
                    <a:pt x="176" y="119"/>
                  </a:moveTo>
                  <a:lnTo>
                    <a:pt x="173" y="119"/>
                  </a:lnTo>
                  <a:lnTo>
                    <a:pt x="171" y="119"/>
                  </a:lnTo>
                  <a:lnTo>
                    <a:pt x="169" y="119"/>
                  </a:lnTo>
                  <a:lnTo>
                    <a:pt x="169" y="121"/>
                  </a:lnTo>
                  <a:lnTo>
                    <a:pt x="169" y="123"/>
                  </a:lnTo>
                  <a:lnTo>
                    <a:pt x="171" y="123"/>
                  </a:lnTo>
                  <a:lnTo>
                    <a:pt x="169" y="123"/>
                  </a:lnTo>
                  <a:lnTo>
                    <a:pt x="169" y="126"/>
                  </a:lnTo>
                  <a:lnTo>
                    <a:pt x="166" y="126"/>
                  </a:lnTo>
                  <a:lnTo>
                    <a:pt x="164" y="126"/>
                  </a:lnTo>
                  <a:lnTo>
                    <a:pt x="164" y="123"/>
                  </a:lnTo>
                  <a:lnTo>
                    <a:pt x="161" y="123"/>
                  </a:lnTo>
                  <a:lnTo>
                    <a:pt x="161" y="121"/>
                  </a:lnTo>
                  <a:lnTo>
                    <a:pt x="159" y="121"/>
                  </a:lnTo>
                  <a:lnTo>
                    <a:pt x="157" y="121"/>
                  </a:lnTo>
                  <a:lnTo>
                    <a:pt x="154" y="121"/>
                  </a:lnTo>
                  <a:lnTo>
                    <a:pt x="154" y="119"/>
                  </a:lnTo>
                  <a:lnTo>
                    <a:pt x="152" y="119"/>
                  </a:lnTo>
                  <a:lnTo>
                    <a:pt x="150" y="119"/>
                  </a:lnTo>
                  <a:lnTo>
                    <a:pt x="150" y="116"/>
                  </a:lnTo>
                  <a:lnTo>
                    <a:pt x="152" y="116"/>
                  </a:lnTo>
                  <a:lnTo>
                    <a:pt x="154" y="116"/>
                  </a:lnTo>
                  <a:lnTo>
                    <a:pt x="157" y="114"/>
                  </a:lnTo>
                  <a:lnTo>
                    <a:pt x="159" y="114"/>
                  </a:lnTo>
                  <a:lnTo>
                    <a:pt x="161" y="114"/>
                  </a:lnTo>
                  <a:lnTo>
                    <a:pt x="164" y="114"/>
                  </a:lnTo>
                  <a:lnTo>
                    <a:pt x="166" y="111"/>
                  </a:lnTo>
                  <a:lnTo>
                    <a:pt x="169" y="111"/>
                  </a:lnTo>
                  <a:lnTo>
                    <a:pt x="171" y="114"/>
                  </a:lnTo>
                  <a:lnTo>
                    <a:pt x="173" y="114"/>
                  </a:lnTo>
                  <a:lnTo>
                    <a:pt x="176" y="114"/>
                  </a:lnTo>
                  <a:lnTo>
                    <a:pt x="178" y="114"/>
                  </a:lnTo>
                  <a:lnTo>
                    <a:pt x="178" y="116"/>
                  </a:lnTo>
                  <a:lnTo>
                    <a:pt x="176" y="116"/>
                  </a:lnTo>
                  <a:lnTo>
                    <a:pt x="176" y="119"/>
                  </a:lnTo>
                  <a:close/>
                  <a:moveTo>
                    <a:pt x="403" y="107"/>
                  </a:moveTo>
                  <a:lnTo>
                    <a:pt x="401" y="109"/>
                  </a:lnTo>
                  <a:lnTo>
                    <a:pt x="401" y="111"/>
                  </a:lnTo>
                  <a:lnTo>
                    <a:pt x="401" y="114"/>
                  </a:lnTo>
                  <a:lnTo>
                    <a:pt x="403" y="114"/>
                  </a:lnTo>
                  <a:lnTo>
                    <a:pt x="401" y="114"/>
                  </a:lnTo>
                  <a:lnTo>
                    <a:pt x="401" y="116"/>
                  </a:lnTo>
                  <a:lnTo>
                    <a:pt x="399" y="116"/>
                  </a:lnTo>
                  <a:lnTo>
                    <a:pt x="399" y="119"/>
                  </a:lnTo>
                  <a:lnTo>
                    <a:pt x="399" y="121"/>
                  </a:lnTo>
                  <a:lnTo>
                    <a:pt x="399" y="123"/>
                  </a:lnTo>
                  <a:lnTo>
                    <a:pt x="396" y="123"/>
                  </a:lnTo>
                  <a:lnTo>
                    <a:pt x="394" y="123"/>
                  </a:lnTo>
                  <a:lnTo>
                    <a:pt x="392" y="123"/>
                  </a:lnTo>
                  <a:lnTo>
                    <a:pt x="389" y="123"/>
                  </a:lnTo>
                  <a:lnTo>
                    <a:pt x="387" y="123"/>
                  </a:lnTo>
                  <a:lnTo>
                    <a:pt x="385" y="123"/>
                  </a:lnTo>
                  <a:lnTo>
                    <a:pt x="382" y="123"/>
                  </a:lnTo>
                  <a:lnTo>
                    <a:pt x="380" y="123"/>
                  </a:lnTo>
                  <a:lnTo>
                    <a:pt x="377" y="123"/>
                  </a:lnTo>
                  <a:lnTo>
                    <a:pt x="375" y="123"/>
                  </a:lnTo>
                  <a:lnTo>
                    <a:pt x="373" y="123"/>
                  </a:lnTo>
                  <a:lnTo>
                    <a:pt x="370" y="123"/>
                  </a:lnTo>
                  <a:lnTo>
                    <a:pt x="368" y="123"/>
                  </a:lnTo>
                  <a:lnTo>
                    <a:pt x="366" y="123"/>
                  </a:lnTo>
                  <a:lnTo>
                    <a:pt x="363" y="123"/>
                  </a:lnTo>
                  <a:lnTo>
                    <a:pt x="361" y="123"/>
                  </a:lnTo>
                  <a:lnTo>
                    <a:pt x="358" y="121"/>
                  </a:lnTo>
                  <a:lnTo>
                    <a:pt x="356" y="121"/>
                  </a:lnTo>
                  <a:lnTo>
                    <a:pt x="358" y="121"/>
                  </a:lnTo>
                  <a:lnTo>
                    <a:pt x="366" y="116"/>
                  </a:lnTo>
                  <a:lnTo>
                    <a:pt x="368" y="116"/>
                  </a:lnTo>
                  <a:lnTo>
                    <a:pt x="368" y="114"/>
                  </a:lnTo>
                  <a:lnTo>
                    <a:pt x="366" y="114"/>
                  </a:lnTo>
                  <a:lnTo>
                    <a:pt x="366" y="111"/>
                  </a:lnTo>
                  <a:lnTo>
                    <a:pt x="366" y="109"/>
                  </a:lnTo>
                  <a:lnTo>
                    <a:pt x="363" y="109"/>
                  </a:lnTo>
                  <a:lnTo>
                    <a:pt x="361" y="107"/>
                  </a:lnTo>
                  <a:lnTo>
                    <a:pt x="366" y="107"/>
                  </a:lnTo>
                  <a:lnTo>
                    <a:pt x="368" y="107"/>
                  </a:lnTo>
                  <a:lnTo>
                    <a:pt x="370" y="104"/>
                  </a:lnTo>
                  <a:lnTo>
                    <a:pt x="373" y="104"/>
                  </a:lnTo>
                  <a:lnTo>
                    <a:pt x="375" y="107"/>
                  </a:lnTo>
                  <a:lnTo>
                    <a:pt x="377" y="107"/>
                  </a:lnTo>
                  <a:lnTo>
                    <a:pt x="380" y="107"/>
                  </a:lnTo>
                  <a:lnTo>
                    <a:pt x="380" y="104"/>
                  </a:lnTo>
                  <a:lnTo>
                    <a:pt x="380" y="107"/>
                  </a:lnTo>
                  <a:lnTo>
                    <a:pt x="382" y="107"/>
                  </a:lnTo>
                  <a:lnTo>
                    <a:pt x="387" y="107"/>
                  </a:lnTo>
                  <a:lnTo>
                    <a:pt x="387" y="104"/>
                  </a:lnTo>
                  <a:lnTo>
                    <a:pt x="392" y="104"/>
                  </a:lnTo>
                  <a:lnTo>
                    <a:pt x="394" y="104"/>
                  </a:lnTo>
                  <a:lnTo>
                    <a:pt x="396" y="104"/>
                  </a:lnTo>
                  <a:lnTo>
                    <a:pt x="399" y="104"/>
                  </a:lnTo>
                  <a:lnTo>
                    <a:pt x="401" y="107"/>
                  </a:lnTo>
                  <a:lnTo>
                    <a:pt x="403" y="107"/>
                  </a:lnTo>
                  <a:close/>
                  <a:moveTo>
                    <a:pt x="268" y="102"/>
                  </a:moveTo>
                  <a:lnTo>
                    <a:pt x="271" y="102"/>
                  </a:lnTo>
                  <a:lnTo>
                    <a:pt x="273" y="102"/>
                  </a:lnTo>
                  <a:lnTo>
                    <a:pt x="275" y="102"/>
                  </a:lnTo>
                  <a:lnTo>
                    <a:pt x="278" y="102"/>
                  </a:lnTo>
                  <a:lnTo>
                    <a:pt x="278" y="104"/>
                  </a:lnTo>
                  <a:lnTo>
                    <a:pt x="278" y="107"/>
                  </a:lnTo>
                  <a:lnTo>
                    <a:pt x="280" y="107"/>
                  </a:lnTo>
                  <a:lnTo>
                    <a:pt x="282" y="107"/>
                  </a:lnTo>
                  <a:lnTo>
                    <a:pt x="285" y="107"/>
                  </a:lnTo>
                  <a:lnTo>
                    <a:pt x="285" y="109"/>
                  </a:lnTo>
                  <a:lnTo>
                    <a:pt x="287" y="109"/>
                  </a:lnTo>
                  <a:lnTo>
                    <a:pt x="290" y="109"/>
                  </a:lnTo>
                  <a:lnTo>
                    <a:pt x="292" y="111"/>
                  </a:lnTo>
                  <a:lnTo>
                    <a:pt x="294" y="111"/>
                  </a:lnTo>
                  <a:lnTo>
                    <a:pt x="290" y="114"/>
                  </a:lnTo>
                  <a:lnTo>
                    <a:pt x="290" y="116"/>
                  </a:lnTo>
                  <a:lnTo>
                    <a:pt x="287" y="114"/>
                  </a:lnTo>
                  <a:lnTo>
                    <a:pt x="290" y="114"/>
                  </a:lnTo>
                  <a:lnTo>
                    <a:pt x="287" y="114"/>
                  </a:lnTo>
                  <a:lnTo>
                    <a:pt x="285" y="114"/>
                  </a:lnTo>
                  <a:lnTo>
                    <a:pt x="282" y="114"/>
                  </a:lnTo>
                  <a:lnTo>
                    <a:pt x="282" y="116"/>
                  </a:lnTo>
                  <a:lnTo>
                    <a:pt x="282" y="119"/>
                  </a:lnTo>
                  <a:lnTo>
                    <a:pt x="280" y="119"/>
                  </a:lnTo>
                  <a:lnTo>
                    <a:pt x="278" y="119"/>
                  </a:lnTo>
                  <a:lnTo>
                    <a:pt x="275" y="119"/>
                  </a:lnTo>
                  <a:lnTo>
                    <a:pt x="275" y="116"/>
                  </a:lnTo>
                  <a:lnTo>
                    <a:pt x="273" y="116"/>
                  </a:lnTo>
                  <a:lnTo>
                    <a:pt x="271" y="119"/>
                  </a:lnTo>
                  <a:lnTo>
                    <a:pt x="268" y="116"/>
                  </a:lnTo>
                  <a:lnTo>
                    <a:pt x="266" y="119"/>
                  </a:lnTo>
                  <a:lnTo>
                    <a:pt x="264" y="119"/>
                  </a:lnTo>
                  <a:lnTo>
                    <a:pt x="261" y="116"/>
                  </a:lnTo>
                  <a:lnTo>
                    <a:pt x="259" y="116"/>
                  </a:lnTo>
                  <a:lnTo>
                    <a:pt x="254" y="116"/>
                  </a:lnTo>
                  <a:lnTo>
                    <a:pt x="252" y="116"/>
                  </a:lnTo>
                  <a:lnTo>
                    <a:pt x="249" y="116"/>
                  </a:lnTo>
                  <a:lnTo>
                    <a:pt x="247" y="114"/>
                  </a:lnTo>
                  <a:lnTo>
                    <a:pt x="245" y="114"/>
                  </a:lnTo>
                  <a:lnTo>
                    <a:pt x="245" y="116"/>
                  </a:lnTo>
                  <a:lnTo>
                    <a:pt x="242" y="114"/>
                  </a:lnTo>
                  <a:lnTo>
                    <a:pt x="240" y="114"/>
                  </a:lnTo>
                  <a:lnTo>
                    <a:pt x="240" y="111"/>
                  </a:lnTo>
                  <a:lnTo>
                    <a:pt x="240" y="109"/>
                  </a:lnTo>
                  <a:lnTo>
                    <a:pt x="242" y="109"/>
                  </a:lnTo>
                  <a:lnTo>
                    <a:pt x="245" y="109"/>
                  </a:lnTo>
                  <a:lnTo>
                    <a:pt x="247" y="109"/>
                  </a:lnTo>
                  <a:lnTo>
                    <a:pt x="249" y="109"/>
                  </a:lnTo>
                  <a:lnTo>
                    <a:pt x="252" y="109"/>
                  </a:lnTo>
                  <a:lnTo>
                    <a:pt x="254" y="109"/>
                  </a:lnTo>
                  <a:lnTo>
                    <a:pt x="256" y="107"/>
                  </a:lnTo>
                  <a:lnTo>
                    <a:pt x="256" y="109"/>
                  </a:lnTo>
                  <a:lnTo>
                    <a:pt x="256" y="107"/>
                  </a:lnTo>
                  <a:lnTo>
                    <a:pt x="259" y="107"/>
                  </a:lnTo>
                  <a:lnTo>
                    <a:pt x="261" y="107"/>
                  </a:lnTo>
                  <a:lnTo>
                    <a:pt x="259" y="107"/>
                  </a:lnTo>
                  <a:lnTo>
                    <a:pt x="256" y="107"/>
                  </a:lnTo>
                  <a:lnTo>
                    <a:pt x="259" y="107"/>
                  </a:lnTo>
                  <a:lnTo>
                    <a:pt x="261" y="107"/>
                  </a:lnTo>
                  <a:lnTo>
                    <a:pt x="261" y="104"/>
                  </a:lnTo>
                  <a:lnTo>
                    <a:pt x="259" y="104"/>
                  </a:lnTo>
                  <a:lnTo>
                    <a:pt x="256" y="104"/>
                  </a:lnTo>
                  <a:lnTo>
                    <a:pt x="259" y="104"/>
                  </a:lnTo>
                  <a:lnTo>
                    <a:pt x="261" y="102"/>
                  </a:lnTo>
                  <a:lnTo>
                    <a:pt x="264" y="102"/>
                  </a:lnTo>
                  <a:lnTo>
                    <a:pt x="266" y="102"/>
                  </a:lnTo>
                  <a:lnTo>
                    <a:pt x="268" y="102"/>
                  </a:lnTo>
                  <a:close/>
                  <a:moveTo>
                    <a:pt x="427" y="95"/>
                  </a:moveTo>
                  <a:lnTo>
                    <a:pt x="430" y="95"/>
                  </a:lnTo>
                  <a:lnTo>
                    <a:pt x="432" y="95"/>
                  </a:lnTo>
                  <a:lnTo>
                    <a:pt x="434" y="97"/>
                  </a:lnTo>
                  <a:lnTo>
                    <a:pt x="437" y="97"/>
                  </a:lnTo>
                  <a:lnTo>
                    <a:pt x="439" y="97"/>
                  </a:lnTo>
                  <a:lnTo>
                    <a:pt x="446" y="97"/>
                  </a:lnTo>
                  <a:lnTo>
                    <a:pt x="449" y="97"/>
                  </a:lnTo>
                  <a:lnTo>
                    <a:pt x="451" y="97"/>
                  </a:lnTo>
                  <a:lnTo>
                    <a:pt x="453" y="100"/>
                  </a:lnTo>
                  <a:lnTo>
                    <a:pt x="456" y="100"/>
                  </a:lnTo>
                  <a:lnTo>
                    <a:pt x="460" y="100"/>
                  </a:lnTo>
                  <a:lnTo>
                    <a:pt x="465" y="102"/>
                  </a:lnTo>
                  <a:lnTo>
                    <a:pt x="468" y="102"/>
                  </a:lnTo>
                  <a:lnTo>
                    <a:pt x="468" y="104"/>
                  </a:lnTo>
                  <a:lnTo>
                    <a:pt x="470" y="104"/>
                  </a:lnTo>
                  <a:lnTo>
                    <a:pt x="472" y="104"/>
                  </a:lnTo>
                  <a:lnTo>
                    <a:pt x="472" y="107"/>
                  </a:lnTo>
                  <a:lnTo>
                    <a:pt x="470" y="107"/>
                  </a:lnTo>
                  <a:lnTo>
                    <a:pt x="468" y="107"/>
                  </a:lnTo>
                  <a:lnTo>
                    <a:pt x="465" y="107"/>
                  </a:lnTo>
                  <a:lnTo>
                    <a:pt x="463" y="107"/>
                  </a:lnTo>
                  <a:lnTo>
                    <a:pt x="460" y="107"/>
                  </a:lnTo>
                  <a:lnTo>
                    <a:pt x="453" y="107"/>
                  </a:lnTo>
                  <a:lnTo>
                    <a:pt x="451" y="107"/>
                  </a:lnTo>
                  <a:lnTo>
                    <a:pt x="449" y="107"/>
                  </a:lnTo>
                  <a:lnTo>
                    <a:pt x="446" y="107"/>
                  </a:lnTo>
                  <a:lnTo>
                    <a:pt x="444" y="107"/>
                  </a:lnTo>
                  <a:lnTo>
                    <a:pt x="441" y="109"/>
                  </a:lnTo>
                  <a:lnTo>
                    <a:pt x="439" y="109"/>
                  </a:lnTo>
                  <a:lnTo>
                    <a:pt x="437" y="109"/>
                  </a:lnTo>
                  <a:lnTo>
                    <a:pt x="434" y="109"/>
                  </a:lnTo>
                  <a:lnTo>
                    <a:pt x="434" y="111"/>
                  </a:lnTo>
                  <a:lnTo>
                    <a:pt x="432" y="111"/>
                  </a:lnTo>
                  <a:lnTo>
                    <a:pt x="434" y="111"/>
                  </a:lnTo>
                  <a:lnTo>
                    <a:pt x="434" y="114"/>
                  </a:lnTo>
                  <a:lnTo>
                    <a:pt x="437" y="114"/>
                  </a:lnTo>
                  <a:lnTo>
                    <a:pt x="437" y="111"/>
                  </a:lnTo>
                  <a:lnTo>
                    <a:pt x="439" y="114"/>
                  </a:lnTo>
                  <a:lnTo>
                    <a:pt x="441" y="114"/>
                  </a:lnTo>
                  <a:lnTo>
                    <a:pt x="444" y="114"/>
                  </a:lnTo>
                  <a:lnTo>
                    <a:pt x="446" y="114"/>
                  </a:lnTo>
                  <a:lnTo>
                    <a:pt x="444" y="114"/>
                  </a:lnTo>
                  <a:lnTo>
                    <a:pt x="444" y="116"/>
                  </a:lnTo>
                  <a:lnTo>
                    <a:pt x="441" y="116"/>
                  </a:lnTo>
                  <a:lnTo>
                    <a:pt x="444" y="116"/>
                  </a:lnTo>
                  <a:lnTo>
                    <a:pt x="444" y="119"/>
                  </a:lnTo>
                  <a:lnTo>
                    <a:pt x="439" y="119"/>
                  </a:lnTo>
                  <a:lnTo>
                    <a:pt x="437" y="119"/>
                  </a:lnTo>
                  <a:lnTo>
                    <a:pt x="434" y="116"/>
                  </a:lnTo>
                  <a:lnTo>
                    <a:pt x="432" y="116"/>
                  </a:lnTo>
                  <a:lnTo>
                    <a:pt x="430" y="116"/>
                  </a:lnTo>
                  <a:lnTo>
                    <a:pt x="427" y="116"/>
                  </a:lnTo>
                  <a:lnTo>
                    <a:pt x="427" y="119"/>
                  </a:lnTo>
                  <a:lnTo>
                    <a:pt x="430" y="119"/>
                  </a:lnTo>
                  <a:lnTo>
                    <a:pt x="432" y="119"/>
                  </a:lnTo>
                  <a:lnTo>
                    <a:pt x="432" y="121"/>
                  </a:lnTo>
                  <a:lnTo>
                    <a:pt x="430" y="121"/>
                  </a:lnTo>
                  <a:lnTo>
                    <a:pt x="432" y="121"/>
                  </a:lnTo>
                  <a:lnTo>
                    <a:pt x="430" y="121"/>
                  </a:lnTo>
                  <a:lnTo>
                    <a:pt x="427" y="121"/>
                  </a:lnTo>
                  <a:lnTo>
                    <a:pt x="425" y="121"/>
                  </a:lnTo>
                  <a:lnTo>
                    <a:pt x="422" y="121"/>
                  </a:lnTo>
                  <a:lnTo>
                    <a:pt x="420" y="121"/>
                  </a:lnTo>
                  <a:lnTo>
                    <a:pt x="415" y="119"/>
                  </a:lnTo>
                  <a:lnTo>
                    <a:pt x="413" y="119"/>
                  </a:lnTo>
                  <a:lnTo>
                    <a:pt x="411" y="119"/>
                  </a:lnTo>
                  <a:lnTo>
                    <a:pt x="408" y="116"/>
                  </a:lnTo>
                  <a:lnTo>
                    <a:pt x="406" y="116"/>
                  </a:lnTo>
                  <a:lnTo>
                    <a:pt x="408" y="116"/>
                  </a:lnTo>
                  <a:lnTo>
                    <a:pt x="406" y="114"/>
                  </a:lnTo>
                  <a:lnTo>
                    <a:pt x="406" y="111"/>
                  </a:lnTo>
                  <a:lnTo>
                    <a:pt x="406" y="109"/>
                  </a:lnTo>
                  <a:lnTo>
                    <a:pt x="406" y="107"/>
                  </a:lnTo>
                  <a:lnTo>
                    <a:pt x="406" y="104"/>
                  </a:lnTo>
                  <a:lnTo>
                    <a:pt x="403" y="104"/>
                  </a:lnTo>
                  <a:lnTo>
                    <a:pt x="403" y="102"/>
                  </a:lnTo>
                  <a:lnTo>
                    <a:pt x="401" y="100"/>
                  </a:lnTo>
                  <a:lnTo>
                    <a:pt x="399" y="100"/>
                  </a:lnTo>
                  <a:lnTo>
                    <a:pt x="396" y="97"/>
                  </a:lnTo>
                  <a:lnTo>
                    <a:pt x="399" y="97"/>
                  </a:lnTo>
                  <a:lnTo>
                    <a:pt x="401" y="97"/>
                  </a:lnTo>
                  <a:lnTo>
                    <a:pt x="403" y="97"/>
                  </a:lnTo>
                  <a:lnTo>
                    <a:pt x="406" y="97"/>
                  </a:lnTo>
                  <a:lnTo>
                    <a:pt x="408" y="97"/>
                  </a:lnTo>
                  <a:lnTo>
                    <a:pt x="411" y="97"/>
                  </a:lnTo>
                  <a:lnTo>
                    <a:pt x="413" y="97"/>
                  </a:lnTo>
                  <a:lnTo>
                    <a:pt x="415" y="97"/>
                  </a:lnTo>
                  <a:lnTo>
                    <a:pt x="418" y="97"/>
                  </a:lnTo>
                  <a:lnTo>
                    <a:pt x="420" y="95"/>
                  </a:lnTo>
                  <a:lnTo>
                    <a:pt x="420" y="97"/>
                  </a:lnTo>
                  <a:lnTo>
                    <a:pt x="422" y="97"/>
                  </a:lnTo>
                  <a:lnTo>
                    <a:pt x="422" y="95"/>
                  </a:lnTo>
                  <a:lnTo>
                    <a:pt x="425" y="95"/>
                  </a:lnTo>
                  <a:lnTo>
                    <a:pt x="427" y="95"/>
                  </a:lnTo>
                  <a:close/>
                  <a:moveTo>
                    <a:pt x="297" y="88"/>
                  </a:moveTo>
                  <a:lnTo>
                    <a:pt x="299" y="88"/>
                  </a:lnTo>
                  <a:lnTo>
                    <a:pt x="301" y="88"/>
                  </a:lnTo>
                  <a:lnTo>
                    <a:pt x="306" y="88"/>
                  </a:lnTo>
                  <a:lnTo>
                    <a:pt x="306" y="90"/>
                  </a:lnTo>
                  <a:lnTo>
                    <a:pt x="301" y="90"/>
                  </a:lnTo>
                  <a:lnTo>
                    <a:pt x="304" y="90"/>
                  </a:lnTo>
                  <a:lnTo>
                    <a:pt x="306" y="90"/>
                  </a:lnTo>
                  <a:lnTo>
                    <a:pt x="306" y="92"/>
                  </a:lnTo>
                  <a:lnTo>
                    <a:pt x="309" y="92"/>
                  </a:lnTo>
                  <a:lnTo>
                    <a:pt x="311" y="92"/>
                  </a:lnTo>
                  <a:lnTo>
                    <a:pt x="309" y="92"/>
                  </a:lnTo>
                  <a:lnTo>
                    <a:pt x="309" y="95"/>
                  </a:lnTo>
                  <a:lnTo>
                    <a:pt x="311" y="95"/>
                  </a:lnTo>
                  <a:lnTo>
                    <a:pt x="313" y="95"/>
                  </a:lnTo>
                  <a:lnTo>
                    <a:pt x="311" y="95"/>
                  </a:lnTo>
                  <a:lnTo>
                    <a:pt x="311" y="97"/>
                  </a:lnTo>
                  <a:lnTo>
                    <a:pt x="309" y="97"/>
                  </a:lnTo>
                  <a:lnTo>
                    <a:pt x="311" y="100"/>
                  </a:lnTo>
                  <a:lnTo>
                    <a:pt x="309" y="100"/>
                  </a:lnTo>
                  <a:lnTo>
                    <a:pt x="306" y="100"/>
                  </a:lnTo>
                  <a:lnTo>
                    <a:pt x="304" y="100"/>
                  </a:lnTo>
                  <a:lnTo>
                    <a:pt x="304" y="97"/>
                  </a:lnTo>
                  <a:lnTo>
                    <a:pt x="301" y="97"/>
                  </a:lnTo>
                  <a:lnTo>
                    <a:pt x="299" y="97"/>
                  </a:lnTo>
                  <a:lnTo>
                    <a:pt x="297" y="97"/>
                  </a:lnTo>
                  <a:lnTo>
                    <a:pt x="294" y="97"/>
                  </a:lnTo>
                  <a:lnTo>
                    <a:pt x="292" y="97"/>
                  </a:lnTo>
                  <a:lnTo>
                    <a:pt x="294" y="95"/>
                  </a:lnTo>
                  <a:lnTo>
                    <a:pt x="292" y="95"/>
                  </a:lnTo>
                  <a:lnTo>
                    <a:pt x="294" y="95"/>
                  </a:lnTo>
                  <a:lnTo>
                    <a:pt x="294" y="92"/>
                  </a:lnTo>
                  <a:lnTo>
                    <a:pt x="297" y="92"/>
                  </a:lnTo>
                  <a:lnTo>
                    <a:pt x="294" y="92"/>
                  </a:lnTo>
                  <a:lnTo>
                    <a:pt x="294" y="90"/>
                  </a:lnTo>
                  <a:lnTo>
                    <a:pt x="292" y="90"/>
                  </a:lnTo>
                  <a:lnTo>
                    <a:pt x="292" y="88"/>
                  </a:lnTo>
                  <a:lnTo>
                    <a:pt x="294" y="88"/>
                  </a:lnTo>
                  <a:lnTo>
                    <a:pt x="297" y="88"/>
                  </a:lnTo>
                  <a:close/>
                  <a:moveTo>
                    <a:pt x="432" y="85"/>
                  </a:moveTo>
                  <a:lnTo>
                    <a:pt x="432" y="88"/>
                  </a:lnTo>
                  <a:lnTo>
                    <a:pt x="430" y="88"/>
                  </a:lnTo>
                  <a:lnTo>
                    <a:pt x="430" y="90"/>
                  </a:lnTo>
                  <a:lnTo>
                    <a:pt x="427" y="90"/>
                  </a:lnTo>
                  <a:lnTo>
                    <a:pt x="427" y="92"/>
                  </a:lnTo>
                  <a:lnTo>
                    <a:pt x="422" y="92"/>
                  </a:lnTo>
                  <a:lnTo>
                    <a:pt x="420" y="92"/>
                  </a:lnTo>
                  <a:lnTo>
                    <a:pt x="418" y="92"/>
                  </a:lnTo>
                  <a:lnTo>
                    <a:pt x="415" y="92"/>
                  </a:lnTo>
                  <a:lnTo>
                    <a:pt x="408" y="90"/>
                  </a:lnTo>
                  <a:lnTo>
                    <a:pt x="406" y="90"/>
                  </a:lnTo>
                  <a:lnTo>
                    <a:pt x="406" y="88"/>
                  </a:lnTo>
                  <a:lnTo>
                    <a:pt x="408" y="88"/>
                  </a:lnTo>
                  <a:lnTo>
                    <a:pt x="411" y="88"/>
                  </a:lnTo>
                  <a:lnTo>
                    <a:pt x="413" y="85"/>
                  </a:lnTo>
                  <a:lnTo>
                    <a:pt x="415" y="85"/>
                  </a:lnTo>
                  <a:lnTo>
                    <a:pt x="418" y="85"/>
                  </a:lnTo>
                  <a:lnTo>
                    <a:pt x="420" y="85"/>
                  </a:lnTo>
                  <a:lnTo>
                    <a:pt x="422" y="85"/>
                  </a:lnTo>
                  <a:lnTo>
                    <a:pt x="425" y="85"/>
                  </a:lnTo>
                  <a:lnTo>
                    <a:pt x="427" y="85"/>
                  </a:lnTo>
                  <a:lnTo>
                    <a:pt x="430" y="85"/>
                  </a:lnTo>
                  <a:lnTo>
                    <a:pt x="432" y="85"/>
                  </a:lnTo>
                  <a:close/>
                  <a:moveTo>
                    <a:pt x="380" y="76"/>
                  </a:moveTo>
                  <a:lnTo>
                    <a:pt x="382" y="78"/>
                  </a:lnTo>
                  <a:lnTo>
                    <a:pt x="387" y="78"/>
                  </a:lnTo>
                  <a:lnTo>
                    <a:pt x="389" y="78"/>
                  </a:lnTo>
                  <a:lnTo>
                    <a:pt x="394" y="81"/>
                  </a:lnTo>
                  <a:lnTo>
                    <a:pt x="396" y="83"/>
                  </a:lnTo>
                  <a:lnTo>
                    <a:pt x="394" y="83"/>
                  </a:lnTo>
                  <a:lnTo>
                    <a:pt x="394" y="85"/>
                  </a:lnTo>
                  <a:lnTo>
                    <a:pt x="392" y="85"/>
                  </a:lnTo>
                  <a:lnTo>
                    <a:pt x="387" y="88"/>
                  </a:lnTo>
                  <a:lnTo>
                    <a:pt x="385" y="88"/>
                  </a:lnTo>
                  <a:lnTo>
                    <a:pt x="382" y="88"/>
                  </a:lnTo>
                  <a:lnTo>
                    <a:pt x="380" y="88"/>
                  </a:lnTo>
                  <a:lnTo>
                    <a:pt x="377" y="88"/>
                  </a:lnTo>
                  <a:lnTo>
                    <a:pt x="373" y="88"/>
                  </a:lnTo>
                  <a:lnTo>
                    <a:pt x="373" y="85"/>
                  </a:lnTo>
                  <a:lnTo>
                    <a:pt x="370" y="85"/>
                  </a:lnTo>
                  <a:lnTo>
                    <a:pt x="368" y="85"/>
                  </a:lnTo>
                  <a:lnTo>
                    <a:pt x="366" y="85"/>
                  </a:lnTo>
                  <a:lnTo>
                    <a:pt x="366" y="88"/>
                  </a:lnTo>
                  <a:lnTo>
                    <a:pt x="363" y="88"/>
                  </a:lnTo>
                  <a:lnTo>
                    <a:pt x="361" y="88"/>
                  </a:lnTo>
                  <a:lnTo>
                    <a:pt x="358" y="88"/>
                  </a:lnTo>
                  <a:lnTo>
                    <a:pt x="354" y="85"/>
                  </a:lnTo>
                  <a:lnTo>
                    <a:pt x="351" y="85"/>
                  </a:lnTo>
                  <a:lnTo>
                    <a:pt x="349" y="85"/>
                  </a:lnTo>
                  <a:lnTo>
                    <a:pt x="347" y="85"/>
                  </a:lnTo>
                  <a:lnTo>
                    <a:pt x="349" y="85"/>
                  </a:lnTo>
                  <a:lnTo>
                    <a:pt x="349" y="83"/>
                  </a:lnTo>
                  <a:lnTo>
                    <a:pt x="351" y="83"/>
                  </a:lnTo>
                  <a:lnTo>
                    <a:pt x="351" y="81"/>
                  </a:lnTo>
                  <a:lnTo>
                    <a:pt x="349" y="81"/>
                  </a:lnTo>
                  <a:lnTo>
                    <a:pt x="342" y="81"/>
                  </a:lnTo>
                  <a:lnTo>
                    <a:pt x="344" y="81"/>
                  </a:lnTo>
                  <a:lnTo>
                    <a:pt x="347" y="81"/>
                  </a:lnTo>
                  <a:lnTo>
                    <a:pt x="349" y="81"/>
                  </a:lnTo>
                  <a:lnTo>
                    <a:pt x="354" y="81"/>
                  </a:lnTo>
                  <a:lnTo>
                    <a:pt x="354" y="78"/>
                  </a:lnTo>
                  <a:lnTo>
                    <a:pt x="356" y="78"/>
                  </a:lnTo>
                  <a:lnTo>
                    <a:pt x="358" y="78"/>
                  </a:lnTo>
                  <a:lnTo>
                    <a:pt x="361" y="78"/>
                  </a:lnTo>
                  <a:lnTo>
                    <a:pt x="363" y="78"/>
                  </a:lnTo>
                  <a:lnTo>
                    <a:pt x="368" y="78"/>
                  </a:lnTo>
                  <a:lnTo>
                    <a:pt x="370" y="76"/>
                  </a:lnTo>
                  <a:lnTo>
                    <a:pt x="375" y="76"/>
                  </a:lnTo>
                  <a:lnTo>
                    <a:pt x="377" y="76"/>
                  </a:lnTo>
                  <a:lnTo>
                    <a:pt x="380" y="76"/>
                  </a:lnTo>
                  <a:close/>
                  <a:moveTo>
                    <a:pt x="83" y="69"/>
                  </a:moveTo>
                  <a:lnTo>
                    <a:pt x="86" y="71"/>
                  </a:lnTo>
                  <a:lnTo>
                    <a:pt x="88" y="71"/>
                  </a:lnTo>
                  <a:lnTo>
                    <a:pt x="90" y="71"/>
                  </a:lnTo>
                  <a:lnTo>
                    <a:pt x="93" y="71"/>
                  </a:lnTo>
                  <a:lnTo>
                    <a:pt x="95" y="71"/>
                  </a:lnTo>
                  <a:lnTo>
                    <a:pt x="95" y="73"/>
                  </a:lnTo>
                  <a:lnTo>
                    <a:pt x="97" y="73"/>
                  </a:lnTo>
                  <a:lnTo>
                    <a:pt x="100" y="73"/>
                  </a:lnTo>
                  <a:lnTo>
                    <a:pt x="102" y="73"/>
                  </a:lnTo>
                  <a:lnTo>
                    <a:pt x="105" y="73"/>
                  </a:lnTo>
                  <a:lnTo>
                    <a:pt x="107" y="73"/>
                  </a:lnTo>
                  <a:lnTo>
                    <a:pt x="107" y="71"/>
                  </a:lnTo>
                  <a:lnTo>
                    <a:pt x="105" y="71"/>
                  </a:lnTo>
                  <a:lnTo>
                    <a:pt x="107" y="71"/>
                  </a:lnTo>
                  <a:lnTo>
                    <a:pt x="109" y="71"/>
                  </a:lnTo>
                  <a:lnTo>
                    <a:pt x="114" y="73"/>
                  </a:lnTo>
                  <a:lnTo>
                    <a:pt x="119" y="76"/>
                  </a:lnTo>
                  <a:lnTo>
                    <a:pt x="116" y="76"/>
                  </a:lnTo>
                  <a:lnTo>
                    <a:pt x="114" y="78"/>
                  </a:lnTo>
                  <a:lnTo>
                    <a:pt x="116" y="78"/>
                  </a:lnTo>
                  <a:lnTo>
                    <a:pt x="119" y="78"/>
                  </a:lnTo>
                  <a:lnTo>
                    <a:pt x="119" y="81"/>
                  </a:lnTo>
                  <a:lnTo>
                    <a:pt x="124" y="83"/>
                  </a:lnTo>
                  <a:lnTo>
                    <a:pt x="124" y="85"/>
                  </a:lnTo>
                  <a:lnTo>
                    <a:pt x="121" y="85"/>
                  </a:lnTo>
                  <a:lnTo>
                    <a:pt x="119" y="85"/>
                  </a:lnTo>
                  <a:lnTo>
                    <a:pt x="116" y="85"/>
                  </a:lnTo>
                  <a:lnTo>
                    <a:pt x="114" y="85"/>
                  </a:lnTo>
                  <a:lnTo>
                    <a:pt x="116" y="85"/>
                  </a:lnTo>
                  <a:lnTo>
                    <a:pt x="114" y="83"/>
                  </a:lnTo>
                  <a:lnTo>
                    <a:pt x="112" y="83"/>
                  </a:lnTo>
                  <a:lnTo>
                    <a:pt x="109" y="83"/>
                  </a:lnTo>
                  <a:lnTo>
                    <a:pt x="107" y="83"/>
                  </a:lnTo>
                  <a:lnTo>
                    <a:pt x="102" y="83"/>
                  </a:lnTo>
                  <a:lnTo>
                    <a:pt x="100" y="83"/>
                  </a:lnTo>
                  <a:lnTo>
                    <a:pt x="100" y="81"/>
                  </a:lnTo>
                  <a:lnTo>
                    <a:pt x="100" y="78"/>
                  </a:lnTo>
                  <a:lnTo>
                    <a:pt x="97" y="78"/>
                  </a:lnTo>
                  <a:lnTo>
                    <a:pt x="95" y="78"/>
                  </a:lnTo>
                  <a:lnTo>
                    <a:pt x="95" y="76"/>
                  </a:lnTo>
                  <a:lnTo>
                    <a:pt x="88" y="76"/>
                  </a:lnTo>
                  <a:lnTo>
                    <a:pt x="86" y="76"/>
                  </a:lnTo>
                  <a:lnTo>
                    <a:pt x="83" y="76"/>
                  </a:lnTo>
                  <a:lnTo>
                    <a:pt x="86" y="76"/>
                  </a:lnTo>
                  <a:lnTo>
                    <a:pt x="86" y="78"/>
                  </a:lnTo>
                  <a:lnTo>
                    <a:pt x="88" y="78"/>
                  </a:lnTo>
                  <a:lnTo>
                    <a:pt x="86" y="78"/>
                  </a:lnTo>
                  <a:lnTo>
                    <a:pt x="83" y="78"/>
                  </a:lnTo>
                  <a:lnTo>
                    <a:pt x="81" y="78"/>
                  </a:lnTo>
                  <a:lnTo>
                    <a:pt x="83" y="81"/>
                  </a:lnTo>
                  <a:lnTo>
                    <a:pt x="86" y="81"/>
                  </a:lnTo>
                  <a:lnTo>
                    <a:pt x="83" y="83"/>
                  </a:lnTo>
                  <a:lnTo>
                    <a:pt x="81" y="81"/>
                  </a:lnTo>
                  <a:lnTo>
                    <a:pt x="78" y="81"/>
                  </a:lnTo>
                  <a:lnTo>
                    <a:pt x="76" y="81"/>
                  </a:lnTo>
                  <a:lnTo>
                    <a:pt x="76" y="83"/>
                  </a:lnTo>
                  <a:lnTo>
                    <a:pt x="76" y="85"/>
                  </a:lnTo>
                  <a:lnTo>
                    <a:pt x="78" y="85"/>
                  </a:lnTo>
                  <a:lnTo>
                    <a:pt x="78" y="88"/>
                  </a:lnTo>
                  <a:lnTo>
                    <a:pt x="81" y="88"/>
                  </a:lnTo>
                  <a:lnTo>
                    <a:pt x="78" y="88"/>
                  </a:lnTo>
                  <a:lnTo>
                    <a:pt x="76" y="88"/>
                  </a:lnTo>
                  <a:lnTo>
                    <a:pt x="74" y="88"/>
                  </a:lnTo>
                  <a:lnTo>
                    <a:pt x="71" y="88"/>
                  </a:lnTo>
                  <a:lnTo>
                    <a:pt x="69" y="85"/>
                  </a:lnTo>
                  <a:lnTo>
                    <a:pt x="69" y="88"/>
                  </a:lnTo>
                  <a:lnTo>
                    <a:pt x="67" y="88"/>
                  </a:lnTo>
                  <a:lnTo>
                    <a:pt x="64" y="88"/>
                  </a:lnTo>
                  <a:lnTo>
                    <a:pt x="64" y="90"/>
                  </a:lnTo>
                  <a:lnTo>
                    <a:pt x="62" y="90"/>
                  </a:lnTo>
                  <a:lnTo>
                    <a:pt x="62" y="92"/>
                  </a:lnTo>
                  <a:lnTo>
                    <a:pt x="59" y="92"/>
                  </a:lnTo>
                  <a:lnTo>
                    <a:pt x="57" y="92"/>
                  </a:lnTo>
                  <a:lnTo>
                    <a:pt x="55" y="92"/>
                  </a:lnTo>
                  <a:lnTo>
                    <a:pt x="55" y="90"/>
                  </a:lnTo>
                  <a:lnTo>
                    <a:pt x="52" y="90"/>
                  </a:lnTo>
                  <a:lnTo>
                    <a:pt x="52" y="92"/>
                  </a:lnTo>
                  <a:lnTo>
                    <a:pt x="50" y="92"/>
                  </a:lnTo>
                  <a:lnTo>
                    <a:pt x="52" y="92"/>
                  </a:lnTo>
                  <a:lnTo>
                    <a:pt x="52" y="95"/>
                  </a:lnTo>
                  <a:lnTo>
                    <a:pt x="50" y="95"/>
                  </a:lnTo>
                  <a:lnTo>
                    <a:pt x="48" y="92"/>
                  </a:lnTo>
                  <a:lnTo>
                    <a:pt x="45" y="92"/>
                  </a:lnTo>
                  <a:lnTo>
                    <a:pt x="45" y="95"/>
                  </a:lnTo>
                  <a:lnTo>
                    <a:pt x="45" y="97"/>
                  </a:lnTo>
                  <a:lnTo>
                    <a:pt x="40" y="97"/>
                  </a:lnTo>
                  <a:lnTo>
                    <a:pt x="38" y="97"/>
                  </a:lnTo>
                  <a:lnTo>
                    <a:pt x="33" y="97"/>
                  </a:lnTo>
                  <a:lnTo>
                    <a:pt x="33" y="95"/>
                  </a:lnTo>
                  <a:lnTo>
                    <a:pt x="36" y="95"/>
                  </a:lnTo>
                  <a:lnTo>
                    <a:pt x="36" y="92"/>
                  </a:lnTo>
                  <a:lnTo>
                    <a:pt x="36" y="90"/>
                  </a:lnTo>
                  <a:lnTo>
                    <a:pt x="31" y="90"/>
                  </a:lnTo>
                  <a:lnTo>
                    <a:pt x="29" y="90"/>
                  </a:lnTo>
                  <a:lnTo>
                    <a:pt x="26" y="90"/>
                  </a:lnTo>
                  <a:lnTo>
                    <a:pt x="21" y="90"/>
                  </a:lnTo>
                  <a:lnTo>
                    <a:pt x="21" y="92"/>
                  </a:lnTo>
                  <a:lnTo>
                    <a:pt x="19" y="92"/>
                  </a:lnTo>
                  <a:lnTo>
                    <a:pt x="17" y="92"/>
                  </a:lnTo>
                  <a:lnTo>
                    <a:pt x="12" y="90"/>
                  </a:lnTo>
                  <a:lnTo>
                    <a:pt x="7" y="90"/>
                  </a:lnTo>
                  <a:lnTo>
                    <a:pt x="5" y="90"/>
                  </a:lnTo>
                  <a:lnTo>
                    <a:pt x="3" y="88"/>
                  </a:lnTo>
                  <a:lnTo>
                    <a:pt x="0" y="88"/>
                  </a:lnTo>
                  <a:lnTo>
                    <a:pt x="0" y="85"/>
                  </a:lnTo>
                  <a:lnTo>
                    <a:pt x="7" y="85"/>
                  </a:lnTo>
                  <a:lnTo>
                    <a:pt x="10" y="85"/>
                  </a:lnTo>
                  <a:lnTo>
                    <a:pt x="17" y="83"/>
                  </a:lnTo>
                  <a:lnTo>
                    <a:pt x="19" y="83"/>
                  </a:lnTo>
                  <a:lnTo>
                    <a:pt x="26" y="83"/>
                  </a:lnTo>
                  <a:lnTo>
                    <a:pt x="29" y="83"/>
                  </a:lnTo>
                  <a:lnTo>
                    <a:pt x="31" y="83"/>
                  </a:lnTo>
                  <a:lnTo>
                    <a:pt x="33" y="83"/>
                  </a:lnTo>
                  <a:lnTo>
                    <a:pt x="38" y="83"/>
                  </a:lnTo>
                  <a:lnTo>
                    <a:pt x="40" y="83"/>
                  </a:lnTo>
                  <a:lnTo>
                    <a:pt x="40" y="81"/>
                  </a:lnTo>
                  <a:lnTo>
                    <a:pt x="43" y="81"/>
                  </a:lnTo>
                  <a:lnTo>
                    <a:pt x="45" y="81"/>
                  </a:lnTo>
                  <a:lnTo>
                    <a:pt x="48" y="81"/>
                  </a:lnTo>
                  <a:lnTo>
                    <a:pt x="50" y="81"/>
                  </a:lnTo>
                  <a:lnTo>
                    <a:pt x="48" y="78"/>
                  </a:lnTo>
                  <a:lnTo>
                    <a:pt x="50" y="78"/>
                  </a:lnTo>
                  <a:lnTo>
                    <a:pt x="52" y="78"/>
                  </a:lnTo>
                  <a:lnTo>
                    <a:pt x="55" y="78"/>
                  </a:lnTo>
                  <a:lnTo>
                    <a:pt x="57" y="78"/>
                  </a:lnTo>
                  <a:lnTo>
                    <a:pt x="59" y="78"/>
                  </a:lnTo>
                  <a:lnTo>
                    <a:pt x="62" y="78"/>
                  </a:lnTo>
                  <a:lnTo>
                    <a:pt x="64" y="76"/>
                  </a:lnTo>
                  <a:lnTo>
                    <a:pt x="67" y="76"/>
                  </a:lnTo>
                  <a:lnTo>
                    <a:pt x="69" y="76"/>
                  </a:lnTo>
                  <a:lnTo>
                    <a:pt x="69" y="73"/>
                  </a:lnTo>
                  <a:lnTo>
                    <a:pt x="71" y="73"/>
                  </a:lnTo>
                  <a:lnTo>
                    <a:pt x="74" y="73"/>
                  </a:lnTo>
                  <a:lnTo>
                    <a:pt x="71" y="73"/>
                  </a:lnTo>
                  <a:lnTo>
                    <a:pt x="71" y="71"/>
                  </a:lnTo>
                  <a:lnTo>
                    <a:pt x="69" y="71"/>
                  </a:lnTo>
                  <a:lnTo>
                    <a:pt x="71" y="71"/>
                  </a:lnTo>
                  <a:lnTo>
                    <a:pt x="74" y="71"/>
                  </a:lnTo>
                  <a:lnTo>
                    <a:pt x="76" y="71"/>
                  </a:lnTo>
                  <a:lnTo>
                    <a:pt x="78" y="69"/>
                  </a:lnTo>
                  <a:lnTo>
                    <a:pt x="81" y="69"/>
                  </a:lnTo>
                  <a:lnTo>
                    <a:pt x="83" y="69"/>
                  </a:lnTo>
                  <a:close/>
                  <a:moveTo>
                    <a:pt x="330" y="69"/>
                  </a:moveTo>
                  <a:lnTo>
                    <a:pt x="332" y="69"/>
                  </a:lnTo>
                  <a:lnTo>
                    <a:pt x="335" y="69"/>
                  </a:lnTo>
                  <a:lnTo>
                    <a:pt x="337" y="69"/>
                  </a:lnTo>
                  <a:lnTo>
                    <a:pt x="339" y="69"/>
                  </a:lnTo>
                  <a:lnTo>
                    <a:pt x="339" y="71"/>
                  </a:lnTo>
                  <a:lnTo>
                    <a:pt x="342" y="71"/>
                  </a:lnTo>
                  <a:lnTo>
                    <a:pt x="344" y="71"/>
                  </a:lnTo>
                  <a:lnTo>
                    <a:pt x="347" y="71"/>
                  </a:lnTo>
                  <a:lnTo>
                    <a:pt x="349" y="71"/>
                  </a:lnTo>
                  <a:lnTo>
                    <a:pt x="349" y="73"/>
                  </a:lnTo>
                  <a:lnTo>
                    <a:pt x="351" y="73"/>
                  </a:lnTo>
                  <a:lnTo>
                    <a:pt x="354" y="73"/>
                  </a:lnTo>
                  <a:lnTo>
                    <a:pt x="356" y="73"/>
                  </a:lnTo>
                  <a:lnTo>
                    <a:pt x="358" y="76"/>
                  </a:lnTo>
                  <a:lnTo>
                    <a:pt x="356" y="76"/>
                  </a:lnTo>
                  <a:lnTo>
                    <a:pt x="354" y="76"/>
                  </a:lnTo>
                  <a:lnTo>
                    <a:pt x="351" y="76"/>
                  </a:lnTo>
                  <a:lnTo>
                    <a:pt x="347" y="76"/>
                  </a:lnTo>
                  <a:lnTo>
                    <a:pt x="344" y="78"/>
                  </a:lnTo>
                  <a:lnTo>
                    <a:pt x="342" y="78"/>
                  </a:lnTo>
                  <a:lnTo>
                    <a:pt x="339" y="78"/>
                  </a:lnTo>
                  <a:lnTo>
                    <a:pt x="337" y="78"/>
                  </a:lnTo>
                  <a:lnTo>
                    <a:pt x="335" y="78"/>
                  </a:lnTo>
                  <a:lnTo>
                    <a:pt x="332" y="78"/>
                  </a:lnTo>
                  <a:lnTo>
                    <a:pt x="330" y="78"/>
                  </a:lnTo>
                  <a:lnTo>
                    <a:pt x="328" y="78"/>
                  </a:lnTo>
                  <a:lnTo>
                    <a:pt x="325" y="78"/>
                  </a:lnTo>
                  <a:lnTo>
                    <a:pt x="323" y="78"/>
                  </a:lnTo>
                  <a:lnTo>
                    <a:pt x="320" y="78"/>
                  </a:lnTo>
                  <a:lnTo>
                    <a:pt x="318" y="78"/>
                  </a:lnTo>
                  <a:lnTo>
                    <a:pt x="320" y="76"/>
                  </a:lnTo>
                  <a:lnTo>
                    <a:pt x="320" y="73"/>
                  </a:lnTo>
                  <a:lnTo>
                    <a:pt x="316" y="73"/>
                  </a:lnTo>
                  <a:lnTo>
                    <a:pt x="313" y="73"/>
                  </a:lnTo>
                  <a:lnTo>
                    <a:pt x="311" y="73"/>
                  </a:lnTo>
                  <a:lnTo>
                    <a:pt x="309" y="73"/>
                  </a:lnTo>
                  <a:lnTo>
                    <a:pt x="306" y="76"/>
                  </a:lnTo>
                  <a:lnTo>
                    <a:pt x="304" y="73"/>
                  </a:lnTo>
                  <a:lnTo>
                    <a:pt x="301" y="73"/>
                  </a:lnTo>
                  <a:lnTo>
                    <a:pt x="299" y="73"/>
                  </a:lnTo>
                  <a:lnTo>
                    <a:pt x="299" y="71"/>
                  </a:lnTo>
                  <a:lnTo>
                    <a:pt x="301" y="71"/>
                  </a:lnTo>
                  <a:lnTo>
                    <a:pt x="304" y="69"/>
                  </a:lnTo>
                  <a:lnTo>
                    <a:pt x="306" y="69"/>
                  </a:lnTo>
                  <a:lnTo>
                    <a:pt x="309" y="69"/>
                  </a:lnTo>
                  <a:lnTo>
                    <a:pt x="311" y="69"/>
                  </a:lnTo>
                  <a:lnTo>
                    <a:pt x="313" y="69"/>
                  </a:lnTo>
                  <a:lnTo>
                    <a:pt x="316" y="69"/>
                  </a:lnTo>
                  <a:lnTo>
                    <a:pt x="320" y="69"/>
                  </a:lnTo>
                  <a:lnTo>
                    <a:pt x="323" y="69"/>
                  </a:lnTo>
                  <a:lnTo>
                    <a:pt x="323" y="71"/>
                  </a:lnTo>
                  <a:lnTo>
                    <a:pt x="325" y="71"/>
                  </a:lnTo>
                  <a:lnTo>
                    <a:pt x="325" y="69"/>
                  </a:lnTo>
                  <a:lnTo>
                    <a:pt x="328" y="69"/>
                  </a:lnTo>
                  <a:lnTo>
                    <a:pt x="330" y="69"/>
                  </a:lnTo>
                  <a:close/>
                  <a:moveTo>
                    <a:pt x="456" y="69"/>
                  </a:moveTo>
                  <a:lnTo>
                    <a:pt x="460" y="69"/>
                  </a:lnTo>
                  <a:lnTo>
                    <a:pt x="460" y="71"/>
                  </a:lnTo>
                  <a:lnTo>
                    <a:pt x="463" y="71"/>
                  </a:lnTo>
                  <a:lnTo>
                    <a:pt x="463" y="73"/>
                  </a:lnTo>
                  <a:lnTo>
                    <a:pt x="463" y="76"/>
                  </a:lnTo>
                  <a:lnTo>
                    <a:pt x="460" y="76"/>
                  </a:lnTo>
                  <a:lnTo>
                    <a:pt x="458" y="76"/>
                  </a:lnTo>
                  <a:lnTo>
                    <a:pt x="456" y="76"/>
                  </a:lnTo>
                  <a:lnTo>
                    <a:pt x="453" y="76"/>
                  </a:lnTo>
                  <a:lnTo>
                    <a:pt x="451" y="78"/>
                  </a:lnTo>
                  <a:lnTo>
                    <a:pt x="449" y="78"/>
                  </a:lnTo>
                  <a:lnTo>
                    <a:pt x="444" y="78"/>
                  </a:lnTo>
                  <a:lnTo>
                    <a:pt x="441" y="78"/>
                  </a:lnTo>
                  <a:lnTo>
                    <a:pt x="439" y="78"/>
                  </a:lnTo>
                  <a:lnTo>
                    <a:pt x="437" y="78"/>
                  </a:lnTo>
                  <a:lnTo>
                    <a:pt x="437" y="76"/>
                  </a:lnTo>
                  <a:lnTo>
                    <a:pt x="434" y="76"/>
                  </a:lnTo>
                  <a:lnTo>
                    <a:pt x="432" y="76"/>
                  </a:lnTo>
                  <a:lnTo>
                    <a:pt x="430" y="76"/>
                  </a:lnTo>
                  <a:lnTo>
                    <a:pt x="425" y="76"/>
                  </a:lnTo>
                  <a:lnTo>
                    <a:pt x="425" y="73"/>
                  </a:lnTo>
                  <a:lnTo>
                    <a:pt x="427" y="73"/>
                  </a:lnTo>
                  <a:lnTo>
                    <a:pt x="430" y="73"/>
                  </a:lnTo>
                  <a:lnTo>
                    <a:pt x="430" y="71"/>
                  </a:lnTo>
                  <a:lnTo>
                    <a:pt x="434" y="71"/>
                  </a:lnTo>
                  <a:lnTo>
                    <a:pt x="437" y="69"/>
                  </a:lnTo>
                  <a:lnTo>
                    <a:pt x="439" y="69"/>
                  </a:lnTo>
                  <a:lnTo>
                    <a:pt x="441" y="69"/>
                  </a:lnTo>
                  <a:lnTo>
                    <a:pt x="446" y="69"/>
                  </a:lnTo>
                  <a:lnTo>
                    <a:pt x="451" y="69"/>
                  </a:lnTo>
                  <a:lnTo>
                    <a:pt x="453" y="69"/>
                  </a:lnTo>
                  <a:lnTo>
                    <a:pt x="456" y="69"/>
                  </a:lnTo>
                  <a:close/>
                  <a:moveTo>
                    <a:pt x="437" y="54"/>
                  </a:moveTo>
                  <a:lnTo>
                    <a:pt x="439" y="54"/>
                  </a:lnTo>
                  <a:lnTo>
                    <a:pt x="441" y="54"/>
                  </a:lnTo>
                  <a:lnTo>
                    <a:pt x="444" y="57"/>
                  </a:lnTo>
                  <a:lnTo>
                    <a:pt x="446" y="57"/>
                  </a:lnTo>
                  <a:lnTo>
                    <a:pt x="449" y="57"/>
                  </a:lnTo>
                  <a:lnTo>
                    <a:pt x="451" y="57"/>
                  </a:lnTo>
                  <a:lnTo>
                    <a:pt x="451" y="59"/>
                  </a:lnTo>
                  <a:lnTo>
                    <a:pt x="453" y="59"/>
                  </a:lnTo>
                  <a:lnTo>
                    <a:pt x="453" y="62"/>
                  </a:lnTo>
                  <a:lnTo>
                    <a:pt x="451" y="62"/>
                  </a:lnTo>
                  <a:lnTo>
                    <a:pt x="449" y="62"/>
                  </a:lnTo>
                  <a:lnTo>
                    <a:pt x="449" y="64"/>
                  </a:lnTo>
                  <a:lnTo>
                    <a:pt x="446" y="64"/>
                  </a:lnTo>
                  <a:lnTo>
                    <a:pt x="444" y="64"/>
                  </a:lnTo>
                  <a:lnTo>
                    <a:pt x="441" y="64"/>
                  </a:lnTo>
                  <a:lnTo>
                    <a:pt x="439" y="64"/>
                  </a:lnTo>
                  <a:lnTo>
                    <a:pt x="437" y="64"/>
                  </a:lnTo>
                  <a:lnTo>
                    <a:pt x="437" y="62"/>
                  </a:lnTo>
                  <a:lnTo>
                    <a:pt x="434" y="62"/>
                  </a:lnTo>
                  <a:lnTo>
                    <a:pt x="432" y="62"/>
                  </a:lnTo>
                  <a:lnTo>
                    <a:pt x="432" y="59"/>
                  </a:lnTo>
                  <a:lnTo>
                    <a:pt x="430" y="59"/>
                  </a:lnTo>
                  <a:lnTo>
                    <a:pt x="427" y="57"/>
                  </a:lnTo>
                  <a:lnTo>
                    <a:pt x="425" y="57"/>
                  </a:lnTo>
                  <a:lnTo>
                    <a:pt x="427" y="57"/>
                  </a:lnTo>
                  <a:lnTo>
                    <a:pt x="430" y="57"/>
                  </a:lnTo>
                  <a:lnTo>
                    <a:pt x="432" y="57"/>
                  </a:lnTo>
                  <a:lnTo>
                    <a:pt x="432" y="54"/>
                  </a:lnTo>
                  <a:lnTo>
                    <a:pt x="434" y="54"/>
                  </a:lnTo>
                  <a:lnTo>
                    <a:pt x="437" y="54"/>
                  </a:lnTo>
                  <a:close/>
                  <a:moveTo>
                    <a:pt x="328" y="54"/>
                  </a:moveTo>
                  <a:lnTo>
                    <a:pt x="330" y="54"/>
                  </a:lnTo>
                  <a:lnTo>
                    <a:pt x="332" y="54"/>
                  </a:lnTo>
                  <a:lnTo>
                    <a:pt x="335" y="54"/>
                  </a:lnTo>
                  <a:lnTo>
                    <a:pt x="337" y="54"/>
                  </a:lnTo>
                  <a:lnTo>
                    <a:pt x="337" y="57"/>
                  </a:lnTo>
                  <a:lnTo>
                    <a:pt x="339" y="57"/>
                  </a:lnTo>
                  <a:lnTo>
                    <a:pt x="342" y="57"/>
                  </a:lnTo>
                  <a:lnTo>
                    <a:pt x="344" y="59"/>
                  </a:lnTo>
                  <a:lnTo>
                    <a:pt x="347" y="59"/>
                  </a:lnTo>
                  <a:lnTo>
                    <a:pt x="349" y="59"/>
                  </a:lnTo>
                  <a:lnTo>
                    <a:pt x="354" y="59"/>
                  </a:lnTo>
                  <a:lnTo>
                    <a:pt x="356" y="59"/>
                  </a:lnTo>
                  <a:lnTo>
                    <a:pt x="358" y="59"/>
                  </a:lnTo>
                  <a:lnTo>
                    <a:pt x="361" y="59"/>
                  </a:lnTo>
                  <a:lnTo>
                    <a:pt x="363" y="59"/>
                  </a:lnTo>
                  <a:lnTo>
                    <a:pt x="366" y="59"/>
                  </a:lnTo>
                  <a:lnTo>
                    <a:pt x="366" y="57"/>
                  </a:lnTo>
                  <a:lnTo>
                    <a:pt x="368" y="59"/>
                  </a:lnTo>
                  <a:lnTo>
                    <a:pt x="370" y="59"/>
                  </a:lnTo>
                  <a:lnTo>
                    <a:pt x="373" y="59"/>
                  </a:lnTo>
                  <a:lnTo>
                    <a:pt x="375" y="62"/>
                  </a:lnTo>
                  <a:lnTo>
                    <a:pt x="377" y="62"/>
                  </a:lnTo>
                  <a:lnTo>
                    <a:pt x="380" y="62"/>
                  </a:lnTo>
                  <a:lnTo>
                    <a:pt x="382" y="62"/>
                  </a:lnTo>
                  <a:lnTo>
                    <a:pt x="385" y="62"/>
                  </a:lnTo>
                  <a:lnTo>
                    <a:pt x="385" y="64"/>
                  </a:lnTo>
                  <a:lnTo>
                    <a:pt x="387" y="64"/>
                  </a:lnTo>
                  <a:lnTo>
                    <a:pt x="387" y="66"/>
                  </a:lnTo>
                  <a:lnTo>
                    <a:pt x="389" y="66"/>
                  </a:lnTo>
                  <a:lnTo>
                    <a:pt x="392" y="66"/>
                  </a:lnTo>
                  <a:lnTo>
                    <a:pt x="394" y="69"/>
                  </a:lnTo>
                  <a:lnTo>
                    <a:pt x="396" y="69"/>
                  </a:lnTo>
                  <a:lnTo>
                    <a:pt x="399" y="69"/>
                  </a:lnTo>
                  <a:lnTo>
                    <a:pt x="401" y="69"/>
                  </a:lnTo>
                  <a:lnTo>
                    <a:pt x="401" y="71"/>
                  </a:lnTo>
                  <a:lnTo>
                    <a:pt x="403" y="71"/>
                  </a:lnTo>
                  <a:lnTo>
                    <a:pt x="406" y="71"/>
                  </a:lnTo>
                  <a:lnTo>
                    <a:pt x="408" y="71"/>
                  </a:lnTo>
                  <a:lnTo>
                    <a:pt x="411" y="71"/>
                  </a:lnTo>
                  <a:lnTo>
                    <a:pt x="413" y="71"/>
                  </a:lnTo>
                  <a:lnTo>
                    <a:pt x="415" y="71"/>
                  </a:lnTo>
                  <a:lnTo>
                    <a:pt x="418" y="73"/>
                  </a:lnTo>
                  <a:lnTo>
                    <a:pt x="420" y="73"/>
                  </a:lnTo>
                  <a:lnTo>
                    <a:pt x="422" y="76"/>
                  </a:lnTo>
                  <a:lnTo>
                    <a:pt x="420" y="78"/>
                  </a:lnTo>
                  <a:lnTo>
                    <a:pt x="418" y="78"/>
                  </a:lnTo>
                  <a:lnTo>
                    <a:pt x="415" y="81"/>
                  </a:lnTo>
                  <a:lnTo>
                    <a:pt x="413" y="81"/>
                  </a:lnTo>
                  <a:lnTo>
                    <a:pt x="411" y="81"/>
                  </a:lnTo>
                  <a:lnTo>
                    <a:pt x="406" y="81"/>
                  </a:lnTo>
                  <a:lnTo>
                    <a:pt x="403" y="83"/>
                  </a:lnTo>
                  <a:lnTo>
                    <a:pt x="401" y="83"/>
                  </a:lnTo>
                  <a:lnTo>
                    <a:pt x="399" y="83"/>
                  </a:lnTo>
                  <a:lnTo>
                    <a:pt x="396" y="83"/>
                  </a:lnTo>
                  <a:lnTo>
                    <a:pt x="396" y="81"/>
                  </a:lnTo>
                  <a:lnTo>
                    <a:pt x="394" y="81"/>
                  </a:lnTo>
                  <a:lnTo>
                    <a:pt x="394" y="78"/>
                  </a:lnTo>
                  <a:lnTo>
                    <a:pt x="392" y="78"/>
                  </a:lnTo>
                  <a:lnTo>
                    <a:pt x="387" y="78"/>
                  </a:lnTo>
                  <a:lnTo>
                    <a:pt x="387" y="76"/>
                  </a:lnTo>
                  <a:lnTo>
                    <a:pt x="385" y="76"/>
                  </a:lnTo>
                  <a:lnTo>
                    <a:pt x="385" y="73"/>
                  </a:lnTo>
                  <a:lnTo>
                    <a:pt x="382" y="73"/>
                  </a:lnTo>
                  <a:lnTo>
                    <a:pt x="380" y="73"/>
                  </a:lnTo>
                  <a:lnTo>
                    <a:pt x="377" y="73"/>
                  </a:lnTo>
                  <a:lnTo>
                    <a:pt x="375" y="73"/>
                  </a:lnTo>
                  <a:lnTo>
                    <a:pt x="373" y="73"/>
                  </a:lnTo>
                  <a:lnTo>
                    <a:pt x="370" y="71"/>
                  </a:lnTo>
                  <a:lnTo>
                    <a:pt x="368" y="71"/>
                  </a:lnTo>
                  <a:lnTo>
                    <a:pt x="366" y="73"/>
                  </a:lnTo>
                  <a:lnTo>
                    <a:pt x="361" y="71"/>
                  </a:lnTo>
                  <a:lnTo>
                    <a:pt x="358" y="71"/>
                  </a:lnTo>
                  <a:lnTo>
                    <a:pt x="356" y="71"/>
                  </a:lnTo>
                  <a:lnTo>
                    <a:pt x="354" y="71"/>
                  </a:lnTo>
                  <a:lnTo>
                    <a:pt x="354" y="69"/>
                  </a:lnTo>
                  <a:lnTo>
                    <a:pt x="356" y="69"/>
                  </a:lnTo>
                  <a:lnTo>
                    <a:pt x="358" y="69"/>
                  </a:lnTo>
                  <a:lnTo>
                    <a:pt x="356" y="69"/>
                  </a:lnTo>
                  <a:lnTo>
                    <a:pt x="354" y="69"/>
                  </a:lnTo>
                  <a:lnTo>
                    <a:pt x="349" y="69"/>
                  </a:lnTo>
                  <a:lnTo>
                    <a:pt x="349" y="66"/>
                  </a:lnTo>
                  <a:lnTo>
                    <a:pt x="347" y="66"/>
                  </a:lnTo>
                  <a:lnTo>
                    <a:pt x="344" y="66"/>
                  </a:lnTo>
                  <a:lnTo>
                    <a:pt x="344" y="64"/>
                  </a:lnTo>
                  <a:lnTo>
                    <a:pt x="342" y="64"/>
                  </a:lnTo>
                  <a:lnTo>
                    <a:pt x="339" y="64"/>
                  </a:lnTo>
                  <a:lnTo>
                    <a:pt x="337" y="64"/>
                  </a:lnTo>
                  <a:lnTo>
                    <a:pt x="335" y="64"/>
                  </a:lnTo>
                  <a:lnTo>
                    <a:pt x="332" y="64"/>
                  </a:lnTo>
                  <a:lnTo>
                    <a:pt x="330" y="64"/>
                  </a:lnTo>
                  <a:lnTo>
                    <a:pt x="328" y="64"/>
                  </a:lnTo>
                  <a:lnTo>
                    <a:pt x="325" y="62"/>
                  </a:lnTo>
                  <a:lnTo>
                    <a:pt x="328" y="62"/>
                  </a:lnTo>
                  <a:lnTo>
                    <a:pt x="325" y="59"/>
                  </a:lnTo>
                  <a:lnTo>
                    <a:pt x="323" y="59"/>
                  </a:lnTo>
                  <a:lnTo>
                    <a:pt x="320" y="59"/>
                  </a:lnTo>
                  <a:lnTo>
                    <a:pt x="318" y="62"/>
                  </a:lnTo>
                  <a:lnTo>
                    <a:pt x="316" y="59"/>
                  </a:lnTo>
                  <a:lnTo>
                    <a:pt x="313" y="59"/>
                  </a:lnTo>
                  <a:lnTo>
                    <a:pt x="311" y="57"/>
                  </a:lnTo>
                  <a:lnTo>
                    <a:pt x="313" y="57"/>
                  </a:lnTo>
                  <a:lnTo>
                    <a:pt x="316" y="57"/>
                  </a:lnTo>
                  <a:lnTo>
                    <a:pt x="318" y="54"/>
                  </a:lnTo>
                  <a:lnTo>
                    <a:pt x="318" y="52"/>
                  </a:lnTo>
                  <a:lnTo>
                    <a:pt x="320" y="52"/>
                  </a:lnTo>
                  <a:lnTo>
                    <a:pt x="323" y="52"/>
                  </a:lnTo>
                  <a:lnTo>
                    <a:pt x="325" y="52"/>
                  </a:lnTo>
                  <a:lnTo>
                    <a:pt x="325" y="54"/>
                  </a:lnTo>
                  <a:lnTo>
                    <a:pt x="328" y="54"/>
                  </a:lnTo>
                  <a:close/>
                  <a:moveTo>
                    <a:pt x="377" y="54"/>
                  </a:moveTo>
                  <a:lnTo>
                    <a:pt x="380" y="54"/>
                  </a:lnTo>
                  <a:lnTo>
                    <a:pt x="382" y="52"/>
                  </a:lnTo>
                  <a:lnTo>
                    <a:pt x="385" y="52"/>
                  </a:lnTo>
                  <a:lnTo>
                    <a:pt x="387" y="54"/>
                  </a:lnTo>
                  <a:lnTo>
                    <a:pt x="389" y="54"/>
                  </a:lnTo>
                  <a:lnTo>
                    <a:pt x="392" y="54"/>
                  </a:lnTo>
                  <a:lnTo>
                    <a:pt x="394" y="54"/>
                  </a:lnTo>
                  <a:lnTo>
                    <a:pt x="394" y="57"/>
                  </a:lnTo>
                  <a:lnTo>
                    <a:pt x="396" y="57"/>
                  </a:lnTo>
                  <a:lnTo>
                    <a:pt x="399" y="57"/>
                  </a:lnTo>
                  <a:lnTo>
                    <a:pt x="401" y="57"/>
                  </a:lnTo>
                  <a:lnTo>
                    <a:pt x="403" y="57"/>
                  </a:lnTo>
                  <a:lnTo>
                    <a:pt x="406" y="57"/>
                  </a:lnTo>
                  <a:lnTo>
                    <a:pt x="408" y="57"/>
                  </a:lnTo>
                  <a:lnTo>
                    <a:pt x="411" y="57"/>
                  </a:lnTo>
                  <a:lnTo>
                    <a:pt x="413" y="57"/>
                  </a:lnTo>
                  <a:lnTo>
                    <a:pt x="415" y="57"/>
                  </a:lnTo>
                  <a:lnTo>
                    <a:pt x="415" y="59"/>
                  </a:lnTo>
                  <a:lnTo>
                    <a:pt x="418" y="59"/>
                  </a:lnTo>
                  <a:lnTo>
                    <a:pt x="420" y="59"/>
                  </a:lnTo>
                  <a:lnTo>
                    <a:pt x="418" y="59"/>
                  </a:lnTo>
                  <a:lnTo>
                    <a:pt x="420" y="62"/>
                  </a:lnTo>
                  <a:lnTo>
                    <a:pt x="422" y="62"/>
                  </a:lnTo>
                  <a:lnTo>
                    <a:pt x="425" y="62"/>
                  </a:lnTo>
                  <a:lnTo>
                    <a:pt x="427" y="64"/>
                  </a:lnTo>
                  <a:lnTo>
                    <a:pt x="430" y="64"/>
                  </a:lnTo>
                  <a:lnTo>
                    <a:pt x="427" y="64"/>
                  </a:lnTo>
                  <a:lnTo>
                    <a:pt x="430" y="64"/>
                  </a:lnTo>
                  <a:lnTo>
                    <a:pt x="432" y="64"/>
                  </a:lnTo>
                  <a:lnTo>
                    <a:pt x="434" y="64"/>
                  </a:lnTo>
                  <a:lnTo>
                    <a:pt x="437" y="64"/>
                  </a:lnTo>
                  <a:lnTo>
                    <a:pt x="439" y="64"/>
                  </a:lnTo>
                  <a:lnTo>
                    <a:pt x="439" y="66"/>
                  </a:lnTo>
                  <a:lnTo>
                    <a:pt x="437" y="66"/>
                  </a:lnTo>
                  <a:lnTo>
                    <a:pt x="434" y="66"/>
                  </a:lnTo>
                  <a:lnTo>
                    <a:pt x="434" y="69"/>
                  </a:lnTo>
                  <a:lnTo>
                    <a:pt x="432" y="69"/>
                  </a:lnTo>
                  <a:lnTo>
                    <a:pt x="430" y="69"/>
                  </a:lnTo>
                  <a:lnTo>
                    <a:pt x="430" y="71"/>
                  </a:lnTo>
                  <a:lnTo>
                    <a:pt x="425" y="71"/>
                  </a:lnTo>
                  <a:lnTo>
                    <a:pt x="422" y="71"/>
                  </a:lnTo>
                  <a:lnTo>
                    <a:pt x="420" y="71"/>
                  </a:lnTo>
                  <a:lnTo>
                    <a:pt x="418" y="71"/>
                  </a:lnTo>
                  <a:lnTo>
                    <a:pt x="415" y="71"/>
                  </a:lnTo>
                  <a:lnTo>
                    <a:pt x="413" y="71"/>
                  </a:lnTo>
                  <a:lnTo>
                    <a:pt x="411" y="71"/>
                  </a:lnTo>
                  <a:lnTo>
                    <a:pt x="408" y="69"/>
                  </a:lnTo>
                  <a:lnTo>
                    <a:pt x="406" y="69"/>
                  </a:lnTo>
                  <a:lnTo>
                    <a:pt x="406" y="66"/>
                  </a:lnTo>
                  <a:lnTo>
                    <a:pt x="403" y="64"/>
                  </a:lnTo>
                  <a:lnTo>
                    <a:pt x="401" y="64"/>
                  </a:lnTo>
                  <a:lnTo>
                    <a:pt x="396" y="64"/>
                  </a:lnTo>
                  <a:lnTo>
                    <a:pt x="394" y="62"/>
                  </a:lnTo>
                  <a:lnTo>
                    <a:pt x="394" y="59"/>
                  </a:lnTo>
                  <a:lnTo>
                    <a:pt x="392" y="59"/>
                  </a:lnTo>
                  <a:lnTo>
                    <a:pt x="389" y="59"/>
                  </a:lnTo>
                  <a:lnTo>
                    <a:pt x="389" y="57"/>
                  </a:lnTo>
                  <a:lnTo>
                    <a:pt x="387" y="57"/>
                  </a:lnTo>
                  <a:lnTo>
                    <a:pt x="385" y="57"/>
                  </a:lnTo>
                  <a:lnTo>
                    <a:pt x="380" y="57"/>
                  </a:lnTo>
                  <a:lnTo>
                    <a:pt x="377" y="57"/>
                  </a:lnTo>
                  <a:lnTo>
                    <a:pt x="375" y="54"/>
                  </a:lnTo>
                  <a:lnTo>
                    <a:pt x="373" y="54"/>
                  </a:lnTo>
                  <a:lnTo>
                    <a:pt x="370" y="54"/>
                  </a:lnTo>
                  <a:lnTo>
                    <a:pt x="368" y="54"/>
                  </a:lnTo>
                  <a:lnTo>
                    <a:pt x="366" y="54"/>
                  </a:lnTo>
                  <a:lnTo>
                    <a:pt x="366" y="52"/>
                  </a:lnTo>
                  <a:lnTo>
                    <a:pt x="368" y="52"/>
                  </a:lnTo>
                  <a:lnTo>
                    <a:pt x="370" y="52"/>
                  </a:lnTo>
                  <a:lnTo>
                    <a:pt x="373" y="52"/>
                  </a:lnTo>
                  <a:lnTo>
                    <a:pt x="375" y="54"/>
                  </a:lnTo>
                  <a:lnTo>
                    <a:pt x="377" y="54"/>
                  </a:lnTo>
                  <a:close/>
                  <a:moveTo>
                    <a:pt x="534" y="52"/>
                  </a:moveTo>
                  <a:lnTo>
                    <a:pt x="536" y="52"/>
                  </a:lnTo>
                  <a:lnTo>
                    <a:pt x="539" y="52"/>
                  </a:lnTo>
                  <a:lnTo>
                    <a:pt x="543" y="52"/>
                  </a:lnTo>
                  <a:lnTo>
                    <a:pt x="548" y="52"/>
                  </a:lnTo>
                  <a:lnTo>
                    <a:pt x="551" y="52"/>
                  </a:lnTo>
                  <a:lnTo>
                    <a:pt x="548" y="52"/>
                  </a:lnTo>
                  <a:lnTo>
                    <a:pt x="546" y="54"/>
                  </a:lnTo>
                  <a:lnTo>
                    <a:pt x="546" y="57"/>
                  </a:lnTo>
                  <a:lnTo>
                    <a:pt x="548" y="57"/>
                  </a:lnTo>
                  <a:lnTo>
                    <a:pt x="546" y="59"/>
                  </a:lnTo>
                  <a:lnTo>
                    <a:pt x="543" y="59"/>
                  </a:lnTo>
                  <a:lnTo>
                    <a:pt x="541" y="62"/>
                  </a:lnTo>
                  <a:lnTo>
                    <a:pt x="539" y="62"/>
                  </a:lnTo>
                  <a:lnTo>
                    <a:pt x="539" y="64"/>
                  </a:lnTo>
                  <a:lnTo>
                    <a:pt x="536" y="64"/>
                  </a:lnTo>
                  <a:lnTo>
                    <a:pt x="534" y="66"/>
                  </a:lnTo>
                  <a:lnTo>
                    <a:pt x="532" y="66"/>
                  </a:lnTo>
                  <a:lnTo>
                    <a:pt x="529" y="66"/>
                  </a:lnTo>
                  <a:lnTo>
                    <a:pt x="527" y="66"/>
                  </a:lnTo>
                  <a:lnTo>
                    <a:pt x="525" y="66"/>
                  </a:lnTo>
                  <a:lnTo>
                    <a:pt x="522" y="66"/>
                  </a:lnTo>
                  <a:lnTo>
                    <a:pt x="520" y="66"/>
                  </a:lnTo>
                  <a:lnTo>
                    <a:pt x="517" y="66"/>
                  </a:lnTo>
                  <a:lnTo>
                    <a:pt x="515" y="66"/>
                  </a:lnTo>
                  <a:lnTo>
                    <a:pt x="508" y="66"/>
                  </a:lnTo>
                  <a:lnTo>
                    <a:pt x="506" y="64"/>
                  </a:lnTo>
                  <a:lnTo>
                    <a:pt x="503" y="64"/>
                  </a:lnTo>
                  <a:lnTo>
                    <a:pt x="501" y="62"/>
                  </a:lnTo>
                  <a:lnTo>
                    <a:pt x="498" y="62"/>
                  </a:lnTo>
                  <a:lnTo>
                    <a:pt x="496" y="62"/>
                  </a:lnTo>
                  <a:lnTo>
                    <a:pt x="498" y="59"/>
                  </a:lnTo>
                  <a:lnTo>
                    <a:pt x="501" y="59"/>
                  </a:lnTo>
                  <a:lnTo>
                    <a:pt x="503" y="59"/>
                  </a:lnTo>
                  <a:lnTo>
                    <a:pt x="503" y="57"/>
                  </a:lnTo>
                  <a:lnTo>
                    <a:pt x="506" y="57"/>
                  </a:lnTo>
                  <a:lnTo>
                    <a:pt x="508" y="57"/>
                  </a:lnTo>
                  <a:lnTo>
                    <a:pt x="510" y="57"/>
                  </a:lnTo>
                  <a:lnTo>
                    <a:pt x="513" y="57"/>
                  </a:lnTo>
                  <a:lnTo>
                    <a:pt x="515" y="54"/>
                  </a:lnTo>
                  <a:lnTo>
                    <a:pt x="520" y="54"/>
                  </a:lnTo>
                  <a:lnTo>
                    <a:pt x="522" y="52"/>
                  </a:lnTo>
                  <a:lnTo>
                    <a:pt x="525" y="52"/>
                  </a:lnTo>
                  <a:lnTo>
                    <a:pt x="527" y="52"/>
                  </a:lnTo>
                  <a:lnTo>
                    <a:pt x="529" y="52"/>
                  </a:lnTo>
                  <a:lnTo>
                    <a:pt x="532" y="52"/>
                  </a:lnTo>
                  <a:lnTo>
                    <a:pt x="534" y="52"/>
                  </a:lnTo>
                  <a:close/>
                  <a:moveTo>
                    <a:pt x="190" y="47"/>
                  </a:moveTo>
                  <a:lnTo>
                    <a:pt x="192" y="47"/>
                  </a:lnTo>
                  <a:lnTo>
                    <a:pt x="195" y="47"/>
                  </a:lnTo>
                  <a:lnTo>
                    <a:pt x="197" y="50"/>
                  </a:lnTo>
                  <a:lnTo>
                    <a:pt x="199" y="50"/>
                  </a:lnTo>
                  <a:lnTo>
                    <a:pt x="199" y="52"/>
                  </a:lnTo>
                  <a:lnTo>
                    <a:pt x="197" y="52"/>
                  </a:lnTo>
                  <a:lnTo>
                    <a:pt x="195" y="52"/>
                  </a:lnTo>
                  <a:lnTo>
                    <a:pt x="192" y="52"/>
                  </a:lnTo>
                  <a:lnTo>
                    <a:pt x="190" y="52"/>
                  </a:lnTo>
                  <a:lnTo>
                    <a:pt x="190" y="54"/>
                  </a:lnTo>
                  <a:lnTo>
                    <a:pt x="192" y="54"/>
                  </a:lnTo>
                  <a:lnTo>
                    <a:pt x="190" y="54"/>
                  </a:lnTo>
                  <a:lnTo>
                    <a:pt x="188" y="54"/>
                  </a:lnTo>
                  <a:lnTo>
                    <a:pt x="185" y="54"/>
                  </a:lnTo>
                  <a:lnTo>
                    <a:pt x="185" y="57"/>
                  </a:lnTo>
                  <a:lnTo>
                    <a:pt x="183" y="57"/>
                  </a:lnTo>
                  <a:lnTo>
                    <a:pt x="180" y="57"/>
                  </a:lnTo>
                  <a:lnTo>
                    <a:pt x="178" y="57"/>
                  </a:lnTo>
                  <a:lnTo>
                    <a:pt x="180" y="54"/>
                  </a:lnTo>
                  <a:lnTo>
                    <a:pt x="178" y="52"/>
                  </a:lnTo>
                  <a:lnTo>
                    <a:pt x="180" y="52"/>
                  </a:lnTo>
                  <a:lnTo>
                    <a:pt x="178" y="50"/>
                  </a:lnTo>
                  <a:lnTo>
                    <a:pt x="176" y="50"/>
                  </a:lnTo>
                  <a:lnTo>
                    <a:pt x="178" y="50"/>
                  </a:lnTo>
                  <a:lnTo>
                    <a:pt x="180" y="50"/>
                  </a:lnTo>
                  <a:lnTo>
                    <a:pt x="183" y="50"/>
                  </a:lnTo>
                  <a:lnTo>
                    <a:pt x="183" y="47"/>
                  </a:lnTo>
                  <a:lnTo>
                    <a:pt x="180" y="47"/>
                  </a:lnTo>
                  <a:lnTo>
                    <a:pt x="185" y="47"/>
                  </a:lnTo>
                  <a:lnTo>
                    <a:pt x="188" y="47"/>
                  </a:lnTo>
                  <a:lnTo>
                    <a:pt x="190" y="47"/>
                  </a:lnTo>
                  <a:close/>
                  <a:moveTo>
                    <a:pt x="430" y="45"/>
                  </a:moveTo>
                  <a:lnTo>
                    <a:pt x="432" y="47"/>
                  </a:lnTo>
                  <a:lnTo>
                    <a:pt x="430" y="47"/>
                  </a:lnTo>
                  <a:lnTo>
                    <a:pt x="430" y="45"/>
                  </a:lnTo>
                  <a:lnTo>
                    <a:pt x="427" y="45"/>
                  </a:lnTo>
                  <a:lnTo>
                    <a:pt x="427" y="47"/>
                  </a:lnTo>
                  <a:lnTo>
                    <a:pt x="425" y="47"/>
                  </a:lnTo>
                  <a:lnTo>
                    <a:pt x="425" y="50"/>
                  </a:lnTo>
                  <a:lnTo>
                    <a:pt x="422" y="50"/>
                  </a:lnTo>
                  <a:lnTo>
                    <a:pt x="422" y="52"/>
                  </a:lnTo>
                  <a:lnTo>
                    <a:pt x="420" y="52"/>
                  </a:lnTo>
                  <a:lnTo>
                    <a:pt x="418" y="52"/>
                  </a:lnTo>
                  <a:lnTo>
                    <a:pt x="415" y="52"/>
                  </a:lnTo>
                  <a:lnTo>
                    <a:pt x="413" y="52"/>
                  </a:lnTo>
                  <a:lnTo>
                    <a:pt x="411" y="52"/>
                  </a:lnTo>
                  <a:lnTo>
                    <a:pt x="408" y="52"/>
                  </a:lnTo>
                  <a:lnTo>
                    <a:pt x="406" y="52"/>
                  </a:lnTo>
                  <a:lnTo>
                    <a:pt x="403" y="52"/>
                  </a:lnTo>
                  <a:lnTo>
                    <a:pt x="401" y="52"/>
                  </a:lnTo>
                  <a:lnTo>
                    <a:pt x="399" y="50"/>
                  </a:lnTo>
                  <a:lnTo>
                    <a:pt x="396" y="50"/>
                  </a:lnTo>
                  <a:lnTo>
                    <a:pt x="394" y="50"/>
                  </a:lnTo>
                  <a:lnTo>
                    <a:pt x="396" y="47"/>
                  </a:lnTo>
                  <a:lnTo>
                    <a:pt x="399" y="47"/>
                  </a:lnTo>
                  <a:lnTo>
                    <a:pt x="401" y="47"/>
                  </a:lnTo>
                  <a:lnTo>
                    <a:pt x="403" y="47"/>
                  </a:lnTo>
                  <a:lnTo>
                    <a:pt x="406" y="45"/>
                  </a:lnTo>
                  <a:lnTo>
                    <a:pt x="408" y="45"/>
                  </a:lnTo>
                  <a:lnTo>
                    <a:pt x="411" y="45"/>
                  </a:lnTo>
                  <a:lnTo>
                    <a:pt x="413" y="45"/>
                  </a:lnTo>
                  <a:lnTo>
                    <a:pt x="415" y="45"/>
                  </a:lnTo>
                  <a:lnTo>
                    <a:pt x="418" y="45"/>
                  </a:lnTo>
                  <a:lnTo>
                    <a:pt x="420" y="45"/>
                  </a:lnTo>
                  <a:lnTo>
                    <a:pt x="422" y="45"/>
                  </a:lnTo>
                  <a:lnTo>
                    <a:pt x="425" y="45"/>
                  </a:lnTo>
                  <a:lnTo>
                    <a:pt x="427" y="45"/>
                  </a:lnTo>
                  <a:lnTo>
                    <a:pt x="430" y="45"/>
                  </a:lnTo>
                  <a:close/>
                  <a:moveTo>
                    <a:pt x="385" y="31"/>
                  </a:moveTo>
                  <a:lnTo>
                    <a:pt x="387" y="31"/>
                  </a:lnTo>
                  <a:lnTo>
                    <a:pt x="389" y="31"/>
                  </a:lnTo>
                  <a:lnTo>
                    <a:pt x="389" y="33"/>
                  </a:lnTo>
                  <a:lnTo>
                    <a:pt x="392" y="33"/>
                  </a:lnTo>
                  <a:lnTo>
                    <a:pt x="394" y="33"/>
                  </a:lnTo>
                  <a:lnTo>
                    <a:pt x="396" y="33"/>
                  </a:lnTo>
                  <a:lnTo>
                    <a:pt x="399" y="33"/>
                  </a:lnTo>
                  <a:lnTo>
                    <a:pt x="401" y="33"/>
                  </a:lnTo>
                  <a:lnTo>
                    <a:pt x="403" y="35"/>
                  </a:lnTo>
                  <a:lnTo>
                    <a:pt x="406" y="35"/>
                  </a:lnTo>
                  <a:lnTo>
                    <a:pt x="408" y="35"/>
                  </a:lnTo>
                  <a:lnTo>
                    <a:pt x="411" y="38"/>
                  </a:lnTo>
                  <a:lnTo>
                    <a:pt x="413" y="38"/>
                  </a:lnTo>
                  <a:lnTo>
                    <a:pt x="411" y="38"/>
                  </a:lnTo>
                  <a:lnTo>
                    <a:pt x="413" y="38"/>
                  </a:lnTo>
                  <a:lnTo>
                    <a:pt x="415" y="38"/>
                  </a:lnTo>
                  <a:lnTo>
                    <a:pt x="418" y="38"/>
                  </a:lnTo>
                  <a:lnTo>
                    <a:pt x="415" y="38"/>
                  </a:lnTo>
                  <a:lnTo>
                    <a:pt x="418" y="35"/>
                  </a:lnTo>
                  <a:lnTo>
                    <a:pt x="418" y="38"/>
                  </a:lnTo>
                  <a:lnTo>
                    <a:pt x="420" y="38"/>
                  </a:lnTo>
                  <a:lnTo>
                    <a:pt x="422" y="38"/>
                  </a:lnTo>
                  <a:lnTo>
                    <a:pt x="425" y="38"/>
                  </a:lnTo>
                  <a:lnTo>
                    <a:pt x="427" y="40"/>
                  </a:lnTo>
                  <a:lnTo>
                    <a:pt x="425" y="40"/>
                  </a:lnTo>
                  <a:lnTo>
                    <a:pt x="422" y="40"/>
                  </a:lnTo>
                  <a:lnTo>
                    <a:pt x="420" y="40"/>
                  </a:lnTo>
                  <a:lnTo>
                    <a:pt x="418" y="40"/>
                  </a:lnTo>
                  <a:lnTo>
                    <a:pt x="415" y="40"/>
                  </a:lnTo>
                  <a:lnTo>
                    <a:pt x="413" y="40"/>
                  </a:lnTo>
                  <a:lnTo>
                    <a:pt x="411" y="40"/>
                  </a:lnTo>
                  <a:lnTo>
                    <a:pt x="408" y="40"/>
                  </a:lnTo>
                  <a:lnTo>
                    <a:pt x="403" y="43"/>
                  </a:lnTo>
                  <a:lnTo>
                    <a:pt x="401" y="43"/>
                  </a:lnTo>
                  <a:lnTo>
                    <a:pt x="399" y="43"/>
                  </a:lnTo>
                  <a:lnTo>
                    <a:pt x="396" y="43"/>
                  </a:lnTo>
                  <a:lnTo>
                    <a:pt x="394" y="45"/>
                  </a:lnTo>
                  <a:lnTo>
                    <a:pt x="392" y="45"/>
                  </a:lnTo>
                  <a:lnTo>
                    <a:pt x="389" y="45"/>
                  </a:lnTo>
                  <a:lnTo>
                    <a:pt x="389" y="47"/>
                  </a:lnTo>
                  <a:lnTo>
                    <a:pt x="387" y="47"/>
                  </a:lnTo>
                  <a:lnTo>
                    <a:pt x="385" y="47"/>
                  </a:lnTo>
                  <a:lnTo>
                    <a:pt x="382" y="47"/>
                  </a:lnTo>
                  <a:lnTo>
                    <a:pt x="380" y="50"/>
                  </a:lnTo>
                  <a:lnTo>
                    <a:pt x="377" y="50"/>
                  </a:lnTo>
                  <a:lnTo>
                    <a:pt x="375" y="47"/>
                  </a:lnTo>
                  <a:lnTo>
                    <a:pt x="375" y="45"/>
                  </a:lnTo>
                  <a:lnTo>
                    <a:pt x="373" y="45"/>
                  </a:lnTo>
                  <a:lnTo>
                    <a:pt x="370" y="45"/>
                  </a:lnTo>
                  <a:lnTo>
                    <a:pt x="368" y="45"/>
                  </a:lnTo>
                  <a:lnTo>
                    <a:pt x="368" y="47"/>
                  </a:lnTo>
                  <a:lnTo>
                    <a:pt x="368" y="45"/>
                  </a:lnTo>
                  <a:lnTo>
                    <a:pt x="366" y="45"/>
                  </a:lnTo>
                  <a:lnTo>
                    <a:pt x="363" y="45"/>
                  </a:lnTo>
                  <a:lnTo>
                    <a:pt x="363" y="47"/>
                  </a:lnTo>
                  <a:lnTo>
                    <a:pt x="361" y="47"/>
                  </a:lnTo>
                  <a:lnTo>
                    <a:pt x="358" y="47"/>
                  </a:lnTo>
                  <a:lnTo>
                    <a:pt x="356" y="47"/>
                  </a:lnTo>
                  <a:lnTo>
                    <a:pt x="358" y="47"/>
                  </a:lnTo>
                  <a:lnTo>
                    <a:pt x="356" y="47"/>
                  </a:lnTo>
                  <a:lnTo>
                    <a:pt x="354" y="45"/>
                  </a:lnTo>
                  <a:lnTo>
                    <a:pt x="351" y="45"/>
                  </a:lnTo>
                  <a:lnTo>
                    <a:pt x="349" y="45"/>
                  </a:lnTo>
                  <a:lnTo>
                    <a:pt x="347" y="45"/>
                  </a:lnTo>
                  <a:lnTo>
                    <a:pt x="349" y="45"/>
                  </a:lnTo>
                  <a:lnTo>
                    <a:pt x="349" y="43"/>
                  </a:lnTo>
                  <a:lnTo>
                    <a:pt x="347" y="43"/>
                  </a:lnTo>
                  <a:lnTo>
                    <a:pt x="344" y="40"/>
                  </a:lnTo>
                  <a:lnTo>
                    <a:pt x="347" y="40"/>
                  </a:lnTo>
                  <a:lnTo>
                    <a:pt x="347" y="38"/>
                  </a:lnTo>
                  <a:lnTo>
                    <a:pt x="344" y="38"/>
                  </a:lnTo>
                  <a:lnTo>
                    <a:pt x="347" y="38"/>
                  </a:lnTo>
                  <a:lnTo>
                    <a:pt x="349" y="38"/>
                  </a:lnTo>
                  <a:lnTo>
                    <a:pt x="351" y="38"/>
                  </a:lnTo>
                  <a:lnTo>
                    <a:pt x="354" y="38"/>
                  </a:lnTo>
                  <a:lnTo>
                    <a:pt x="356" y="38"/>
                  </a:lnTo>
                  <a:lnTo>
                    <a:pt x="358" y="38"/>
                  </a:lnTo>
                  <a:lnTo>
                    <a:pt x="361" y="38"/>
                  </a:lnTo>
                  <a:lnTo>
                    <a:pt x="363" y="38"/>
                  </a:lnTo>
                  <a:lnTo>
                    <a:pt x="363" y="40"/>
                  </a:lnTo>
                  <a:lnTo>
                    <a:pt x="366" y="40"/>
                  </a:lnTo>
                  <a:lnTo>
                    <a:pt x="368" y="40"/>
                  </a:lnTo>
                  <a:lnTo>
                    <a:pt x="370" y="40"/>
                  </a:lnTo>
                  <a:lnTo>
                    <a:pt x="373" y="40"/>
                  </a:lnTo>
                  <a:lnTo>
                    <a:pt x="375" y="40"/>
                  </a:lnTo>
                  <a:lnTo>
                    <a:pt x="377" y="40"/>
                  </a:lnTo>
                  <a:lnTo>
                    <a:pt x="380" y="43"/>
                  </a:lnTo>
                  <a:lnTo>
                    <a:pt x="382" y="43"/>
                  </a:lnTo>
                  <a:lnTo>
                    <a:pt x="385" y="43"/>
                  </a:lnTo>
                  <a:lnTo>
                    <a:pt x="382" y="40"/>
                  </a:lnTo>
                  <a:lnTo>
                    <a:pt x="380" y="40"/>
                  </a:lnTo>
                  <a:lnTo>
                    <a:pt x="377" y="38"/>
                  </a:lnTo>
                  <a:lnTo>
                    <a:pt x="377" y="35"/>
                  </a:lnTo>
                  <a:lnTo>
                    <a:pt x="380" y="35"/>
                  </a:lnTo>
                  <a:lnTo>
                    <a:pt x="377" y="35"/>
                  </a:lnTo>
                  <a:lnTo>
                    <a:pt x="375" y="33"/>
                  </a:lnTo>
                  <a:lnTo>
                    <a:pt x="377" y="33"/>
                  </a:lnTo>
                  <a:lnTo>
                    <a:pt x="375" y="33"/>
                  </a:lnTo>
                  <a:lnTo>
                    <a:pt x="377" y="31"/>
                  </a:lnTo>
                  <a:lnTo>
                    <a:pt x="380" y="31"/>
                  </a:lnTo>
                  <a:lnTo>
                    <a:pt x="382" y="31"/>
                  </a:lnTo>
                  <a:lnTo>
                    <a:pt x="385" y="31"/>
                  </a:lnTo>
                  <a:close/>
                  <a:moveTo>
                    <a:pt x="463" y="31"/>
                  </a:moveTo>
                  <a:lnTo>
                    <a:pt x="465" y="31"/>
                  </a:lnTo>
                  <a:lnTo>
                    <a:pt x="468" y="31"/>
                  </a:lnTo>
                  <a:lnTo>
                    <a:pt x="465" y="31"/>
                  </a:lnTo>
                  <a:lnTo>
                    <a:pt x="468" y="33"/>
                  </a:lnTo>
                  <a:lnTo>
                    <a:pt x="470" y="33"/>
                  </a:lnTo>
                  <a:lnTo>
                    <a:pt x="470" y="35"/>
                  </a:lnTo>
                  <a:lnTo>
                    <a:pt x="472" y="35"/>
                  </a:lnTo>
                  <a:lnTo>
                    <a:pt x="472" y="38"/>
                  </a:lnTo>
                  <a:lnTo>
                    <a:pt x="470" y="38"/>
                  </a:lnTo>
                  <a:lnTo>
                    <a:pt x="468" y="38"/>
                  </a:lnTo>
                  <a:lnTo>
                    <a:pt x="463" y="38"/>
                  </a:lnTo>
                  <a:lnTo>
                    <a:pt x="463" y="40"/>
                  </a:lnTo>
                  <a:lnTo>
                    <a:pt x="460" y="38"/>
                  </a:lnTo>
                  <a:lnTo>
                    <a:pt x="458" y="38"/>
                  </a:lnTo>
                  <a:lnTo>
                    <a:pt x="456" y="38"/>
                  </a:lnTo>
                  <a:lnTo>
                    <a:pt x="453" y="38"/>
                  </a:lnTo>
                  <a:lnTo>
                    <a:pt x="451" y="38"/>
                  </a:lnTo>
                  <a:lnTo>
                    <a:pt x="446" y="35"/>
                  </a:lnTo>
                  <a:lnTo>
                    <a:pt x="446" y="33"/>
                  </a:lnTo>
                  <a:lnTo>
                    <a:pt x="449" y="33"/>
                  </a:lnTo>
                  <a:lnTo>
                    <a:pt x="451" y="33"/>
                  </a:lnTo>
                  <a:lnTo>
                    <a:pt x="456" y="31"/>
                  </a:lnTo>
                  <a:lnTo>
                    <a:pt x="460" y="31"/>
                  </a:lnTo>
                  <a:lnTo>
                    <a:pt x="463" y="31"/>
                  </a:lnTo>
                  <a:close/>
                  <a:moveTo>
                    <a:pt x="418" y="21"/>
                  </a:moveTo>
                  <a:lnTo>
                    <a:pt x="420" y="21"/>
                  </a:lnTo>
                  <a:lnTo>
                    <a:pt x="422" y="21"/>
                  </a:lnTo>
                  <a:lnTo>
                    <a:pt x="422" y="24"/>
                  </a:lnTo>
                  <a:lnTo>
                    <a:pt x="425" y="24"/>
                  </a:lnTo>
                  <a:lnTo>
                    <a:pt x="427" y="26"/>
                  </a:lnTo>
                  <a:lnTo>
                    <a:pt x="430" y="26"/>
                  </a:lnTo>
                  <a:lnTo>
                    <a:pt x="432" y="26"/>
                  </a:lnTo>
                  <a:lnTo>
                    <a:pt x="434" y="26"/>
                  </a:lnTo>
                  <a:lnTo>
                    <a:pt x="439" y="26"/>
                  </a:lnTo>
                  <a:lnTo>
                    <a:pt x="444" y="28"/>
                  </a:lnTo>
                  <a:lnTo>
                    <a:pt x="446" y="28"/>
                  </a:lnTo>
                  <a:lnTo>
                    <a:pt x="446" y="31"/>
                  </a:lnTo>
                  <a:lnTo>
                    <a:pt x="444" y="33"/>
                  </a:lnTo>
                  <a:lnTo>
                    <a:pt x="441" y="33"/>
                  </a:lnTo>
                  <a:lnTo>
                    <a:pt x="439" y="33"/>
                  </a:lnTo>
                  <a:lnTo>
                    <a:pt x="437" y="33"/>
                  </a:lnTo>
                  <a:lnTo>
                    <a:pt x="434" y="33"/>
                  </a:lnTo>
                  <a:lnTo>
                    <a:pt x="432" y="33"/>
                  </a:lnTo>
                  <a:lnTo>
                    <a:pt x="427" y="33"/>
                  </a:lnTo>
                  <a:lnTo>
                    <a:pt x="422" y="33"/>
                  </a:lnTo>
                  <a:lnTo>
                    <a:pt x="418" y="33"/>
                  </a:lnTo>
                  <a:lnTo>
                    <a:pt x="415" y="31"/>
                  </a:lnTo>
                  <a:lnTo>
                    <a:pt x="415" y="33"/>
                  </a:lnTo>
                  <a:lnTo>
                    <a:pt x="415" y="31"/>
                  </a:lnTo>
                  <a:lnTo>
                    <a:pt x="413" y="31"/>
                  </a:lnTo>
                  <a:lnTo>
                    <a:pt x="411" y="31"/>
                  </a:lnTo>
                  <a:lnTo>
                    <a:pt x="411" y="28"/>
                  </a:lnTo>
                  <a:lnTo>
                    <a:pt x="408" y="28"/>
                  </a:lnTo>
                  <a:lnTo>
                    <a:pt x="408" y="31"/>
                  </a:lnTo>
                  <a:lnTo>
                    <a:pt x="406" y="28"/>
                  </a:lnTo>
                  <a:lnTo>
                    <a:pt x="403" y="28"/>
                  </a:lnTo>
                  <a:lnTo>
                    <a:pt x="401" y="31"/>
                  </a:lnTo>
                  <a:lnTo>
                    <a:pt x="401" y="28"/>
                  </a:lnTo>
                  <a:lnTo>
                    <a:pt x="399" y="28"/>
                  </a:lnTo>
                  <a:lnTo>
                    <a:pt x="396" y="28"/>
                  </a:lnTo>
                  <a:lnTo>
                    <a:pt x="394" y="28"/>
                  </a:lnTo>
                  <a:lnTo>
                    <a:pt x="392" y="28"/>
                  </a:lnTo>
                  <a:lnTo>
                    <a:pt x="389" y="28"/>
                  </a:lnTo>
                  <a:lnTo>
                    <a:pt x="389" y="26"/>
                  </a:lnTo>
                  <a:lnTo>
                    <a:pt x="392" y="26"/>
                  </a:lnTo>
                  <a:lnTo>
                    <a:pt x="394" y="26"/>
                  </a:lnTo>
                  <a:lnTo>
                    <a:pt x="394" y="24"/>
                  </a:lnTo>
                  <a:lnTo>
                    <a:pt x="396" y="24"/>
                  </a:lnTo>
                  <a:lnTo>
                    <a:pt x="394" y="24"/>
                  </a:lnTo>
                  <a:lnTo>
                    <a:pt x="396" y="24"/>
                  </a:lnTo>
                  <a:lnTo>
                    <a:pt x="399" y="24"/>
                  </a:lnTo>
                  <a:lnTo>
                    <a:pt x="399" y="21"/>
                  </a:lnTo>
                  <a:lnTo>
                    <a:pt x="401" y="21"/>
                  </a:lnTo>
                  <a:lnTo>
                    <a:pt x="403" y="24"/>
                  </a:lnTo>
                  <a:lnTo>
                    <a:pt x="406" y="24"/>
                  </a:lnTo>
                  <a:lnTo>
                    <a:pt x="406" y="21"/>
                  </a:lnTo>
                  <a:lnTo>
                    <a:pt x="408" y="21"/>
                  </a:lnTo>
                  <a:lnTo>
                    <a:pt x="411" y="21"/>
                  </a:lnTo>
                  <a:lnTo>
                    <a:pt x="408" y="21"/>
                  </a:lnTo>
                  <a:lnTo>
                    <a:pt x="411" y="21"/>
                  </a:lnTo>
                  <a:lnTo>
                    <a:pt x="413" y="21"/>
                  </a:lnTo>
                  <a:lnTo>
                    <a:pt x="415" y="21"/>
                  </a:lnTo>
                  <a:lnTo>
                    <a:pt x="418" y="21"/>
                  </a:lnTo>
                  <a:close/>
                  <a:moveTo>
                    <a:pt x="615" y="12"/>
                  </a:moveTo>
                  <a:lnTo>
                    <a:pt x="617" y="12"/>
                  </a:lnTo>
                  <a:lnTo>
                    <a:pt x="617" y="14"/>
                  </a:lnTo>
                  <a:lnTo>
                    <a:pt x="619" y="14"/>
                  </a:lnTo>
                  <a:lnTo>
                    <a:pt x="619" y="16"/>
                  </a:lnTo>
                  <a:lnTo>
                    <a:pt x="617" y="19"/>
                  </a:lnTo>
                  <a:lnTo>
                    <a:pt x="615" y="19"/>
                  </a:lnTo>
                  <a:lnTo>
                    <a:pt x="612" y="19"/>
                  </a:lnTo>
                  <a:lnTo>
                    <a:pt x="608" y="19"/>
                  </a:lnTo>
                  <a:lnTo>
                    <a:pt x="605" y="19"/>
                  </a:lnTo>
                  <a:lnTo>
                    <a:pt x="603" y="19"/>
                  </a:lnTo>
                  <a:lnTo>
                    <a:pt x="598" y="19"/>
                  </a:lnTo>
                  <a:lnTo>
                    <a:pt x="593" y="19"/>
                  </a:lnTo>
                  <a:lnTo>
                    <a:pt x="586" y="19"/>
                  </a:lnTo>
                  <a:lnTo>
                    <a:pt x="584" y="19"/>
                  </a:lnTo>
                  <a:lnTo>
                    <a:pt x="581" y="16"/>
                  </a:lnTo>
                  <a:lnTo>
                    <a:pt x="579" y="16"/>
                  </a:lnTo>
                  <a:lnTo>
                    <a:pt x="579" y="14"/>
                  </a:lnTo>
                  <a:lnTo>
                    <a:pt x="577" y="16"/>
                  </a:lnTo>
                  <a:lnTo>
                    <a:pt x="574" y="14"/>
                  </a:lnTo>
                  <a:lnTo>
                    <a:pt x="572" y="14"/>
                  </a:lnTo>
                  <a:lnTo>
                    <a:pt x="567" y="14"/>
                  </a:lnTo>
                  <a:lnTo>
                    <a:pt x="565" y="14"/>
                  </a:lnTo>
                  <a:lnTo>
                    <a:pt x="567" y="14"/>
                  </a:lnTo>
                  <a:lnTo>
                    <a:pt x="567" y="12"/>
                  </a:lnTo>
                  <a:lnTo>
                    <a:pt x="570" y="12"/>
                  </a:lnTo>
                  <a:lnTo>
                    <a:pt x="574" y="12"/>
                  </a:lnTo>
                  <a:lnTo>
                    <a:pt x="579" y="12"/>
                  </a:lnTo>
                  <a:lnTo>
                    <a:pt x="581" y="12"/>
                  </a:lnTo>
                  <a:lnTo>
                    <a:pt x="586" y="9"/>
                  </a:lnTo>
                  <a:lnTo>
                    <a:pt x="586" y="12"/>
                  </a:lnTo>
                  <a:lnTo>
                    <a:pt x="589" y="12"/>
                  </a:lnTo>
                  <a:lnTo>
                    <a:pt x="584" y="12"/>
                  </a:lnTo>
                  <a:lnTo>
                    <a:pt x="589" y="12"/>
                  </a:lnTo>
                  <a:lnTo>
                    <a:pt x="591" y="12"/>
                  </a:lnTo>
                  <a:lnTo>
                    <a:pt x="593" y="12"/>
                  </a:lnTo>
                  <a:lnTo>
                    <a:pt x="598" y="9"/>
                  </a:lnTo>
                  <a:lnTo>
                    <a:pt x="605" y="9"/>
                  </a:lnTo>
                  <a:lnTo>
                    <a:pt x="608" y="12"/>
                  </a:lnTo>
                  <a:lnTo>
                    <a:pt x="615" y="12"/>
                  </a:lnTo>
                  <a:close/>
                  <a:moveTo>
                    <a:pt x="458" y="0"/>
                  </a:moveTo>
                  <a:lnTo>
                    <a:pt x="460" y="0"/>
                  </a:lnTo>
                  <a:lnTo>
                    <a:pt x="463" y="0"/>
                  </a:lnTo>
                  <a:lnTo>
                    <a:pt x="465" y="0"/>
                  </a:lnTo>
                  <a:lnTo>
                    <a:pt x="468" y="0"/>
                  </a:lnTo>
                  <a:lnTo>
                    <a:pt x="470" y="0"/>
                  </a:lnTo>
                  <a:lnTo>
                    <a:pt x="470" y="2"/>
                  </a:lnTo>
                  <a:lnTo>
                    <a:pt x="472" y="2"/>
                  </a:lnTo>
                  <a:lnTo>
                    <a:pt x="472" y="5"/>
                  </a:lnTo>
                  <a:lnTo>
                    <a:pt x="470" y="5"/>
                  </a:lnTo>
                  <a:lnTo>
                    <a:pt x="472" y="7"/>
                  </a:lnTo>
                  <a:lnTo>
                    <a:pt x="470" y="9"/>
                  </a:lnTo>
                  <a:lnTo>
                    <a:pt x="465" y="9"/>
                  </a:lnTo>
                  <a:lnTo>
                    <a:pt x="463" y="9"/>
                  </a:lnTo>
                  <a:lnTo>
                    <a:pt x="456" y="9"/>
                  </a:lnTo>
                  <a:lnTo>
                    <a:pt x="453" y="9"/>
                  </a:lnTo>
                  <a:lnTo>
                    <a:pt x="451" y="9"/>
                  </a:lnTo>
                  <a:lnTo>
                    <a:pt x="449" y="9"/>
                  </a:lnTo>
                  <a:lnTo>
                    <a:pt x="446" y="9"/>
                  </a:lnTo>
                  <a:lnTo>
                    <a:pt x="444" y="9"/>
                  </a:lnTo>
                  <a:lnTo>
                    <a:pt x="441" y="9"/>
                  </a:lnTo>
                  <a:lnTo>
                    <a:pt x="439" y="9"/>
                  </a:lnTo>
                  <a:lnTo>
                    <a:pt x="439" y="12"/>
                  </a:lnTo>
                  <a:lnTo>
                    <a:pt x="437" y="12"/>
                  </a:lnTo>
                  <a:lnTo>
                    <a:pt x="434" y="12"/>
                  </a:lnTo>
                  <a:lnTo>
                    <a:pt x="432" y="12"/>
                  </a:lnTo>
                  <a:lnTo>
                    <a:pt x="430" y="9"/>
                  </a:lnTo>
                  <a:lnTo>
                    <a:pt x="427" y="9"/>
                  </a:lnTo>
                  <a:lnTo>
                    <a:pt x="427" y="7"/>
                  </a:lnTo>
                  <a:lnTo>
                    <a:pt x="430" y="7"/>
                  </a:lnTo>
                  <a:lnTo>
                    <a:pt x="430" y="5"/>
                  </a:lnTo>
                  <a:lnTo>
                    <a:pt x="427" y="5"/>
                  </a:lnTo>
                  <a:lnTo>
                    <a:pt x="425" y="5"/>
                  </a:lnTo>
                  <a:lnTo>
                    <a:pt x="425" y="2"/>
                  </a:lnTo>
                  <a:lnTo>
                    <a:pt x="427" y="2"/>
                  </a:lnTo>
                  <a:lnTo>
                    <a:pt x="430" y="2"/>
                  </a:lnTo>
                  <a:lnTo>
                    <a:pt x="432" y="2"/>
                  </a:lnTo>
                  <a:lnTo>
                    <a:pt x="434" y="2"/>
                  </a:lnTo>
                  <a:lnTo>
                    <a:pt x="437" y="2"/>
                  </a:lnTo>
                  <a:lnTo>
                    <a:pt x="439" y="2"/>
                  </a:lnTo>
                  <a:lnTo>
                    <a:pt x="441" y="2"/>
                  </a:lnTo>
                  <a:lnTo>
                    <a:pt x="444" y="2"/>
                  </a:lnTo>
                  <a:lnTo>
                    <a:pt x="446" y="2"/>
                  </a:lnTo>
                  <a:lnTo>
                    <a:pt x="449" y="0"/>
                  </a:lnTo>
                  <a:lnTo>
                    <a:pt x="451" y="0"/>
                  </a:lnTo>
                  <a:lnTo>
                    <a:pt x="456" y="0"/>
                  </a:lnTo>
                  <a:lnTo>
                    <a:pt x="45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0" name="Freeform 55071"/>
            <p:cNvSpPr>
              <a:spLocks noEditPoints="1"/>
            </p:cNvSpPr>
            <p:nvPr/>
          </p:nvSpPr>
          <p:spPr bwMode="auto">
            <a:xfrm>
              <a:off x="3054348" y="2314583"/>
              <a:ext cx="2587624" cy="3043247"/>
            </a:xfrm>
            <a:custGeom>
              <a:avLst/>
              <a:gdLst>
                <a:gd name="T0" fmla="*/ 690 w 1630"/>
                <a:gd name="T1" fmla="*/ 748 h 1917"/>
                <a:gd name="T2" fmla="*/ 1086 w 1630"/>
                <a:gd name="T3" fmla="*/ 651 h 1917"/>
                <a:gd name="T4" fmla="*/ 1096 w 1630"/>
                <a:gd name="T5" fmla="*/ 572 h 1917"/>
                <a:gd name="T6" fmla="*/ 1134 w 1630"/>
                <a:gd name="T7" fmla="*/ 544 h 1917"/>
                <a:gd name="T8" fmla="*/ 1143 w 1630"/>
                <a:gd name="T9" fmla="*/ 534 h 1917"/>
                <a:gd name="T10" fmla="*/ 415 w 1630"/>
                <a:gd name="T11" fmla="*/ 510 h 1917"/>
                <a:gd name="T12" fmla="*/ 619 w 1630"/>
                <a:gd name="T13" fmla="*/ 532 h 1917"/>
                <a:gd name="T14" fmla="*/ 692 w 1630"/>
                <a:gd name="T15" fmla="*/ 639 h 1917"/>
                <a:gd name="T16" fmla="*/ 443 w 1630"/>
                <a:gd name="T17" fmla="*/ 617 h 1917"/>
                <a:gd name="T18" fmla="*/ 481 w 1630"/>
                <a:gd name="T19" fmla="*/ 655 h 1917"/>
                <a:gd name="T20" fmla="*/ 472 w 1630"/>
                <a:gd name="T21" fmla="*/ 724 h 1917"/>
                <a:gd name="T22" fmla="*/ 666 w 1630"/>
                <a:gd name="T23" fmla="*/ 843 h 1917"/>
                <a:gd name="T24" fmla="*/ 567 w 1630"/>
                <a:gd name="T25" fmla="*/ 722 h 1917"/>
                <a:gd name="T26" fmla="*/ 740 w 1630"/>
                <a:gd name="T27" fmla="*/ 817 h 1917"/>
                <a:gd name="T28" fmla="*/ 745 w 1630"/>
                <a:gd name="T29" fmla="*/ 943 h 1917"/>
                <a:gd name="T30" fmla="*/ 828 w 1630"/>
                <a:gd name="T31" fmla="*/ 869 h 1917"/>
                <a:gd name="T32" fmla="*/ 787 w 1630"/>
                <a:gd name="T33" fmla="*/ 739 h 1917"/>
                <a:gd name="T34" fmla="*/ 794 w 1630"/>
                <a:gd name="T35" fmla="*/ 653 h 1917"/>
                <a:gd name="T36" fmla="*/ 809 w 1630"/>
                <a:gd name="T37" fmla="*/ 662 h 1917"/>
                <a:gd name="T38" fmla="*/ 892 w 1630"/>
                <a:gd name="T39" fmla="*/ 563 h 1917"/>
                <a:gd name="T40" fmla="*/ 930 w 1630"/>
                <a:gd name="T41" fmla="*/ 577 h 1917"/>
                <a:gd name="T42" fmla="*/ 1103 w 1630"/>
                <a:gd name="T43" fmla="*/ 508 h 1917"/>
                <a:gd name="T44" fmla="*/ 1103 w 1630"/>
                <a:gd name="T45" fmla="*/ 560 h 1917"/>
                <a:gd name="T46" fmla="*/ 1067 w 1630"/>
                <a:gd name="T47" fmla="*/ 696 h 1917"/>
                <a:gd name="T48" fmla="*/ 1115 w 1630"/>
                <a:gd name="T49" fmla="*/ 710 h 1917"/>
                <a:gd name="T50" fmla="*/ 1250 w 1630"/>
                <a:gd name="T51" fmla="*/ 767 h 1917"/>
                <a:gd name="T52" fmla="*/ 1262 w 1630"/>
                <a:gd name="T53" fmla="*/ 731 h 1917"/>
                <a:gd name="T54" fmla="*/ 1333 w 1630"/>
                <a:gd name="T55" fmla="*/ 646 h 1917"/>
                <a:gd name="T56" fmla="*/ 1252 w 1630"/>
                <a:gd name="T57" fmla="*/ 670 h 1917"/>
                <a:gd name="T58" fmla="*/ 1084 w 1630"/>
                <a:gd name="T59" fmla="*/ 605 h 1917"/>
                <a:gd name="T60" fmla="*/ 1179 w 1630"/>
                <a:gd name="T61" fmla="*/ 520 h 1917"/>
                <a:gd name="T62" fmla="*/ 1300 w 1630"/>
                <a:gd name="T63" fmla="*/ 494 h 1917"/>
                <a:gd name="T64" fmla="*/ 1380 w 1630"/>
                <a:gd name="T65" fmla="*/ 515 h 1917"/>
                <a:gd name="T66" fmla="*/ 1357 w 1630"/>
                <a:gd name="T67" fmla="*/ 446 h 1917"/>
                <a:gd name="T68" fmla="*/ 1532 w 1630"/>
                <a:gd name="T69" fmla="*/ 558 h 1917"/>
                <a:gd name="T70" fmla="*/ 1314 w 1630"/>
                <a:gd name="T71" fmla="*/ 893 h 1917"/>
                <a:gd name="T72" fmla="*/ 1312 w 1630"/>
                <a:gd name="T73" fmla="*/ 1223 h 1917"/>
                <a:gd name="T74" fmla="*/ 1293 w 1630"/>
                <a:gd name="T75" fmla="*/ 1375 h 1917"/>
                <a:gd name="T76" fmla="*/ 1153 w 1630"/>
                <a:gd name="T77" fmla="*/ 1456 h 1917"/>
                <a:gd name="T78" fmla="*/ 918 w 1630"/>
                <a:gd name="T79" fmla="*/ 1484 h 1917"/>
                <a:gd name="T80" fmla="*/ 965 w 1630"/>
                <a:gd name="T81" fmla="*/ 1705 h 1917"/>
                <a:gd name="T82" fmla="*/ 925 w 1630"/>
                <a:gd name="T83" fmla="*/ 1701 h 1917"/>
                <a:gd name="T84" fmla="*/ 937 w 1630"/>
                <a:gd name="T85" fmla="*/ 1862 h 1917"/>
                <a:gd name="T86" fmla="*/ 697 w 1630"/>
                <a:gd name="T87" fmla="*/ 1810 h 1917"/>
                <a:gd name="T88" fmla="*/ 638 w 1630"/>
                <a:gd name="T89" fmla="*/ 1648 h 1917"/>
                <a:gd name="T90" fmla="*/ 647 w 1630"/>
                <a:gd name="T91" fmla="*/ 1513 h 1917"/>
                <a:gd name="T92" fmla="*/ 398 w 1630"/>
                <a:gd name="T93" fmla="*/ 1392 h 1917"/>
                <a:gd name="T94" fmla="*/ 296 w 1630"/>
                <a:gd name="T95" fmla="*/ 1199 h 1917"/>
                <a:gd name="T96" fmla="*/ 341 w 1630"/>
                <a:gd name="T97" fmla="*/ 993 h 1917"/>
                <a:gd name="T98" fmla="*/ 360 w 1630"/>
                <a:gd name="T99" fmla="*/ 769 h 1917"/>
                <a:gd name="T100" fmla="*/ 417 w 1630"/>
                <a:gd name="T101" fmla="*/ 442 h 1917"/>
                <a:gd name="T102" fmla="*/ 1188 w 1630"/>
                <a:gd name="T103" fmla="*/ 273 h 1917"/>
                <a:gd name="T104" fmla="*/ 1224 w 1630"/>
                <a:gd name="T105" fmla="*/ 399 h 1917"/>
                <a:gd name="T106" fmla="*/ 1131 w 1630"/>
                <a:gd name="T107" fmla="*/ 389 h 1917"/>
                <a:gd name="T108" fmla="*/ 1074 w 1630"/>
                <a:gd name="T109" fmla="*/ 347 h 1917"/>
                <a:gd name="T110" fmla="*/ 1112 w 1630"/>
                <a:gd name="T111" fmla="*/ 259 h 1917"/>
                <a:gd name="T112" fmla="*/ 1601 w 1630"/>
                <a:gd name="T113" fmla="*/ 45 h 1917"/>
                <a:gd name="T114" fmla="*/ 1340 w 1630"/>
                <a:gd name="T115" fmla="*/ 137 h 1917"/>
                <a:gd name="T116" fmla="*/ 1259 w 1630"/>
                <a:gd name="T117" fmla="*/ 199 h 1917"/>
                <a:gd name="T118" fmla="*/ 1148 w 1630"/>
                <a:gd name="T119" fmla="*/ 218 h 1917"/>
                <a:gd name="T120" fmla="*/ 1188 w 1630"/>
                <a:gd name="T121" fmla="*/ 171 h 1917"/>
                <a:gd name="T122" fmla="*/ 1233 w 1630"/>
                <a:gd name="T123" fmla="*/ 104 h 1917"/>
                <a:gd name="T124" fmla="*/ 1414 w 1630"/>
                <a:gd name="T125" fmla="*/ 54 h 1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0" h="1917">
                  <a:moveTo>
                    <a:pt x="2" y="1283"/>
                  </a:moveTo>
                  <a:lnTo>
                    <a:pt x="0" y="1283"/>
                  </a:lnTo>
                  <a:lnTo>
                    <a:pt x="2" y="1283"/>
                  </a:lnTo>
                  <a:lnTo>
                    <a:pt x="2" y="1280"/>
                  </a:lnTo>
                  <a:lnTo>
                    <a:pt x="4" y="1280"/>
                  </a:lnTo>
                  <a:lnTo>
                    <a:pt x="4" y="1278"/>
                  </a:lnTo>
                  <a:lnTo>
                    <a:pt x="7" y="1278"/>
                  </a:lnTo>
                  <a:lnTo>
                    <a:pt x="7" y="1275"/>
                  </a:lnTo>
                  <a:lnTo>
                    <a:pt x="9" y="1273"/>
                  </a:lnTo>
                  <a:lnTo>
                    <a:pt x="9" y="1275"/>
                  </a:lnTo>
                  <a:lnTo>
                    <a:pt x="7" y="1275"/>
                  </a:lnTo>
                  <a:lnTo>
                    <a:pt x="7" y="1278"/>
                  </a:lnTo>
                  <a:lnTo>
                    <a:pt x="4" y="1278"/>
                  </a:lnTo>
                  <a:lnTo>
                    <a:pt x="4" y="1280"/>
                  </a:lnTo>
                  <a:lnTo>
                    <a:pt x="2" y="1280"/>
                  </a:lnTo>
                  <a:lnTo>
                    <a:pt x="2" y="1283"/>
                  </a:lnTo>
                  <a:close/>
                  <a:moveTo>
                    <a:pt x="33" y="1259"/>
                  </a:moveTo>
                  <a:lnTo>
                    <a:pt x="35" y="1259"/>
                  </a:lnTo>
                  <a:lnTo>
                    <a:pt x="38" y="1259"/>
                  </a:lnTo>
                  <a:lnTo>
                    <a:pt x="38" y="1256"/>
                  </a:lnTo>
                  <a:lnTo>
                    <a:pt x="38" y="1259"/>
                  </a:lnTo>
                  <a:lnTo>
                    <a:pt x="40" y="1259"/>
                  </a:lnTo>
                  <a:lnTo>
                    <a:pt x="42" y="1259"/>
                  </a:lnTo>
                  <a:lnTo>
                    <a:pt x="42" y="1261"/>
                  </a:lnTo>
                  <a:lnTo>
                    <a:pt x="42" y="1259"/>
                  </a:lnTo>
                  <a:lnTo>
                    <a:pt x="42" y="1261"/>
                  </a:lnTo>
                  <a:lnTo>
                    <a:pt x="45" y="1261"/>
                  </a:lnTo>
                  <a:lnTo>
                    <a:pt x="47" y="1261"/>
                  </a:lnTo>
                  <a:lnTo>
                    <a:pt x="47" y="1259"/>
                  </a:lnTo>
                  <a:lnTo>
                    <a:pt x="47" y="1261"/>
                  </a:lnTo>
                  <a:lnTo>
                    <a:pt x="49" y="1261"/>
                  </a:lnTo>
                  <a:lnTo>
                    <a:pt x="49" y="1259"/>
                  </a:lnTo>
                  <a:lnTo>
                    <a:pt x="52" y="1259"/>
                  </a:lnTo>
                  <a:lnTo>
                    <a:pt x="54" y="1259"/>
                  </a:lnTo>
                  <a:lnTo>
                    <a:pt x="54" y="1256"/>
                  </a:lnTo>
                  <a:lnTo>
                    <a:pt x="52" y="1256"/>
                  </a:lnTo>
                  <a:lnTo>
                    <a:pt x="54" y="1256"/>
                  </a:lnTo>
                  <a:lnTo>
                    <a:pt x="54" y="1254"/>
                  </a:lnTo>
                  <a:lnTo>
                    <a:pt x="52" y="1254"/>
                  </a:lnTo>
                  <a:lnTo>
                    <a:pt x="52" y="1252"/>
                  </a:lnTo>
                  <a:lnTo>
                    <a:pt x="52" y="1249"/>
                  </a:lnTo>
                  <a:lnTo>
                    <a:pt x="52" y="1247"/>
                  </a:lnTo>
                  <a:lnTo>
                    <a:pt x="52" y="1245"/>
                  </a:lnTo>
                  <a:lnTo>
                    <a:pt x="54" y="1245"/>
                  </a:lnTo>
                  <a:lnTo>
                    <a:pt x="52" y="1245"/>
                  </a:lnTo>
                  <a:lnTo>
                    <a:pt x="54" y="1245"/>
                  </a:lnTo>
                  <a:lnTo>
                    <a:pt x="54" y="1242"/>
                  </a:lnTo>
                  <a:lnTo>
                    <a:pt x="57" y="1242"/>
                  </a:lnTo>
                  <a:lnTo>
                    <a:pt x="57" y="1240"/>
                  </a:lnTo>
                  <a:lnTo>
                    <a:pt x="59" y="1240"/>
                  </a:lnTo>
                  <a:lnTo>
                    <a:pt x="59" y="1242"/>
                  </a:lnTo>
                  <a:lnTo>
                    <a:pt x="61" y="1245"/>
                  </a:lnTo>
                  <a:lnTo>
                    <a:pt x="64" y="1245"/>
                  </a:lnTo>
                  <a:lnTo>
                    <a:pt x="66" y="1245"/>
                  </a:lnTo>
                  <a:lnTo>
                    <a:pt x="66" y="1247"/>
                  </a:lnTo>
                  <a:lnTo>
                    <a:pt x="68" y="1247"/>
                  </a:lnTo>
                  <a:lnTo>
                    <a:pt x="68" y="1249"/>
                  </a:lnTo>
                  <a:lnTo>
                    <a:pt x="71" y="1249"/>
                  </a:lnTo>
                  <a:lnTo>
                    <a:pt x="73" y="1249"/>
                  </a:lnTo>
                  <a:lnTo>
                    <a:pt x="76" y="1249"/>
                  </a:lnTo>
                  <a:lnTo>
                    <a:pt x="76" y="1252"/>
                  </a:lnTo>
                  <a:lnTo>
                    <a:pt x="78" y="1252"/>
                  </a:lnTo>
                  <a:lnTo>
                    <a:pt x="80" y="1252"/>
                  </a:lnTo>
                  <a:lnTo>
                    <a:pt x="80" y="1254"/>
                  </a:lnTo>
                  <a:lnTo>
                    <a:pt x="83" y="1254"/>
                  </a:lnTo>
                  <a:lnTo>
                    <a:pt x="83" y="1252"/>
                  </a:lnTo>
                  <a:lnTo>
                    <a:pt x="85" y="1252"/>
                  </a:lnTo>
                  <a:lnTo>
                    <a:pt x="87" y="1252"/>
                  </a:lnTo>
                  <a:lnTo>
                    <a:pt x="90" y="1252"/>
                  </a:lnTo>
                  <a:lnTo>
                    <a:pt x="92" y="1252"/>
                  </a:lnTo>
                  <a:lnTo>
                    <a:pt x="94" y="1252"/>
                  </a:lnTo>
                  <a:lnTo>
                    <a:pt x="97" y="1252"/>
                  </a:lnTo>
                  <a:lnTo>
                    <a:pt x="97" y="1254"/>
                  </a:lnTo>
                  <a:lnTo>
                    <a:pt x="99" y="1254"/>
                  </a:lnTo>
                  <a:lnTo>
                    <a:pt x="99" y="1256"/>
                  </a:lnTo>
                  <a:lnTo>
                    <a:pt x="102" y="1256"/>
                  </a:lnTo>
                  <a:lnTo>
                    <a:pt x="99" y="1256"/>
                  </a:lnTo>
                  <a:lnTo>
                    <a:pt x="102" y="1256"/>
                  </a:lnTo>
                  <a:lnTo>
                    <a:pt x="104" y="1259"/>
                  </a:lnTo>
                  <a:lnTo>
                    <a:pt x="106" y="1259"/>
                  </a:lnTo>
                  <a:lnTo>
                    <a:pt x="106" y="1261"/>
                  </a:lnTo>
                  <a:lnTo>
                    <a:pt x="106" y="1264"/>
                  </a:lnTo>
                  <a:lnTo>
                    <a:pt x="109" y="1264"/>
                  </a:lnTo>
                  <a:lnTo>
                    <a:pt x="106" y="1264"/>
                  </a:lnTo>
                  <a:lnTo>
                    <a:pt x="106" y="1266"/>
                  </a:lnTo>
                  <a:lnTo>
                    <a:pt x="104" y="1268"/>
                  </a:lnTo>
                  <a:lnTo>
                    <a:pt x="102" y="1268"/>
                  </a:lnTo>
                  <a:lnTo>
                    <a:pt x="102" y="1271"/>
                  </a:lnTo>
                  <a:lnTo>
                    <a:pt x="104" y="1271"/>
                  </a:lnTo>
                  <a:lnTo>
                    <a:pt x="102" y="1271"/>
                  </a:lnTo>
                  <a:lnTo>
                    <a:pt x="102" y="1273"/>
                  </a:lnTo>
                  <a:lnTo>
                    <a:pt x="104" y="1273"/>
                  </a:lnTo>
                  <a:lnTo>
                    <a:pt x="102" y="1273"/>
                  </a:lnTo>
                  <a:lnTo>
                    <a:pt x="102" y="1275"/>
                  </a:lnTo>
                  <a:lnTo>
                    <a:pt x="102" y="1278"/>
                  </a:lnTo>
                  <a:lnTo>
                    <a:pt x="102" y="1280"/>
                  </a:lnTo>
                  <a:lnTo>
                    <a:pt x="102" y="1283"/>
                  </a:lnTo>
                  <a:lnTo>
                    <a:pt x="104" y="1285"/>
                  </a:lnTo>
                  <a:lnTo>
                    <a:pt x="104" y="1287"/>
                  </a:lnTo>
                  <a:lnTo>
                    <a:pt x="102" y="1287"/>
                  </a:lnTo>
                  <a:lnTo>
                    <a:pt x="99" y="1287"/>
                  </a:lnTo>
                  <a:lnTo>
                    <a:pt x="92" y="1287"/>
                  </a:lnTo>
                  <a:lnTo>
                    <a:pt x="90" y="1287"/>
                  </a:lnTo>
                  <a:lnTo>
                    <a:pt x="85" y="1287"/>
                  </a:lnTo>
                  <a:lnTo>
                    <a:pt x="83" y="1287"/>
                  </a:lnTo>
                  <a:lnTo>
                    <a:pt x="80" y="1287"/>
                  </a:lnTo>
                  <a:lnTo>
                    <a:pt x="78" y="1287"/>
                  </a:lnTo>
                  <a:lnTo>
                    <a:pt x="78" y="1290"/>
                  </a:lnTo>
                  <a:lnTo>
                    <a:pt x="76" y="1290"/>
                  </a:lnTo>
                  <a:lnTo>
                    <a:pt x="71" y="1290"/>
                  </a:lnTo>
                  <a:lnTo>
                    <a:pt x="66" y="1290"/>
                  </a:lnTo>
                  <a:lnTo>
                    <a:pt x="64" y="1290"/>
                  </a:lnTo>
                  <a:lnTo>
                    <a:pt x="61" y="1290"/>
                  </a:lnTo>
                  <a:lnTo>
                    <a:pt x="59" y="1290"/>
                  </a:lnTo>
                  <a:lnTo>
                    <a:pt x="57" y="1290"/>
                  </a:lnTo>
                  <a:lnTo>
                    <a:pt x="54" y="1290"/>
                  </a:lnTo>
                  <a:lnTo>
                    <a:pt x="52" y="1287"/>
                  </a:lnTo>
                  <a:lnTo>
                    <a:pt x="49" y="1287"/>
                  </a:lnTo>
                  <a:lnTo>
                    <a:pt x="47" y="1287"/>
                  </a:lnTo>
                  <a:lnTo>
                    <a:pt x="40" y="1287"/>
                  </a:lnTo>
                  <a:lnTo>
                    <a:pt x="38" y="1287"/>
                  </a:lnTo>
                  <a:lnTo>
                    <a:pt x="35" y="1287"/>
                  </a:lnTo>
                  <a:lnTo>
                    <a:pt x="33" y="1287"/>
                  </a:lnTo>
                  <a:lnTo>
                    <a:pt x="26" y="1285"/>
                  </a:lnTo>
                  <a:lnTo>
                    <a:pt x="21" y="1285"/>
                  </a:lnTo>
                  <a:lnTo>
                    <a:pt x="19" y="1285"/>
                  </a:lnTo>
                  <a:lnTo>
                    <a:pt x="14" y="1285"/>
                  </a:lnTo>
                  <a:lnTo>
                    <a:pt x="9" y="1283"/>
                  </a:lnTo>
                  <a:lnTo>
                    <a:pt x="7" y="1283"/>
                  </a:lnTo>
                  <a:lnTo>
                    <a:pt x="9" y="1280"/>
                  </a:lnTo>
                  <a:lnTo>
                    <a:pt x="11" y="1280"/>
                  </a:lnTo>
                  <a:lnTo>
                    <a:pt x="11" y="1278"/>
                  </a:lnTo>
                  <a:lnTo>
                    <a:pt x="11" y="1275"/>
                  </a:lnTo>
                  <a:lnTo>
                    <a:pt x="14" y="1275"/>
                  </a:lnTo>
                  <a:lnTo>
                    <a:pt x="14" y="1278"/>
                  </a:lnTo>
                  <a:lnTo>
                    <a:pt x="16" y="1278"/>
                  </a:lnTo>
                  <a:lnTo>
                    <a:pt x="16" y="1275"/>
                  </a:lnTo>
                  <a:lnTo>
                    <a:pt x="19" y="1275"/>
                  </a:lnTo>
                  <a:lnTo>
                    <a:pt x="21" y="1275"/>
                  </a:lnTo>
                  <a:lnTo>
                    <a:pt x="21" y="1273"/>
                  </a:lnTo>
                  <a:lnTo>
                    <a:pt x="23" y="1273"/>
                  </a:lnTo>
                  <a:lnTo>
                    <a:pt x="26" y="1273"/>
                  </a:lnTo>
                  <a:lnTo>
                    <a:pt x="26" y="1271"/>
                  </a:lnTo>
                  <a:lnTo>
                    <a:pt x="28" y="1271"/>
                  </a:lnTo>
                  <a:lnTo>
                    <a:pt x="26" y="1271"/>
                  </a:lnTo>
                  <a:lnTo>
                    <a:pt x="23" y="1271"/>
                  </a:lnTo>
                  <a:lnTo>
                    <a:pt x="21" y="1271"/>
                  </a:lnTo>
                  <a:lnTo>
                    <a:pt x="19" y="1271"/>
                  </a:lnTo>
                  <a:lnTo>
                    <a:pt x="16" y="1271"/>
                  </a:lnTo>
                  <a:lnTo>
                    <a:pt x="16" y="1273"/>
                  </a:lnTo>
                  <a:lnTo>
                    <a:pt x="16" y="1271"/>
                  </a:lnTo>
                  <a:lnTo>
                    <a:pt x="16" y="1273"/>
                  </a:lnTo>
                  <a:lnTo>
                    <a:pt x="14" y="1273"/>
                  </a:lnTo>
                  <a:lnTo>
                    <a:pt x="14" y="1271"/>
                  </a:lnTo>
                  <a:lnTo>
                    <a:pt x="14" y="1268"/>
                  </a:lnTo>
                  <a:lnTo>
                    <a:pt x="11" y="1268"/>
                  </a:lnTo>
                  <a:lnTo>
                    <a:pt x="11" y="1271"/>
                  </a:lnTo>
                  <a:lnTo>
                    <a:pt x="11" y="1273"/>
                  </a:lnTo>
                  <a:lnTo>
                    <a:pt x="9" y="1273"/>
                  </a:lnTo>
                  <a:lnTo>
                    <a:pt x="9" y="1271"/>
                  </a:lnTo>
                  <a:lnTo>
                    <a:pt x="11" y="1268"/>
                  </a:lnTo>
                  <a:lnTo>
                    <a:pt x="11" y="1266"/>
                  </a:lnTo>
                  <a:lnTo>
                    <a:pt x="11" y="1264"/>
                  </a:lnTo>
                  <a:lnTo>
                    <a:pt x="11" y="1261"/>
                  </a:lnTo>
                  <a:lnTo>
                    <a:pt x="9" y="1261"/>
                  </a:lnTo>
                  <a:lnTo>
                    <a:pt x="11" y="1261"/>
                  </a:lnTo>
                  <a:lnTo>
                    <a:pt x="9" y="1261"/>
                  </a:lnTo>
                  <a:lnTo>
                    <a:pt x="9" y="1259"/>
                  </a:lnTo>
                  <a:lnTo>
                    <a:pt x="11" y="1259"/>
                  </a:lnTo>
                  <a:lnTo>
                    <a:pt x="11" y="1256"/>
                  </a:lnTo>
                  <a:lnTo>
                    <a:pt x="14" y="1256"/>
                  </a:lnTo>
                  <a:lnTo>
                    <a:pt x="14" y="1259"/>
                  </a:lnTo>
                  <a:lnTo>
                    <a:pt x="14" y="1256"/>
                  </a:lnTo>
                  <a:lnTo>
                    <a:pt x="16" y="1256"/>
                  </a:lnTo>
                  <a:lnTo>
                    <a:pt x="16" y="1259"/>
                  </a:lnTo>
                  <a:lnTo>
                    <a:pt x="19" y="1256"/>
                  </a:lnTo>
                  <a:lnTo>
                    <a:pt x="21" y="1256"/>
                  </a:lnTo>
                  <a:lnTo>
                    <a:pt x="23" y="1259"/>
                  </a:lnTo>
                  <a:lnTo>
                    <a:pt x="26" y="1259"/>
                  </a:lnTo>
                  <a:lnTo>
                    <a:pt x="26" y="1256"/>
                  </a:lnTo>
                  <a:lnTo>
                    <a:pt x="28" y="1256"/>
                  </a:lnTo>
                  <a:lnTo>
                    <a:pt x="30" y="1256"/>
                  </a:lnTo>
                  <a:lnTo>
                    <a:pt x="30" y="1254"/>
                  </a:lnTo>
                  <a:lnTo>
                    <a:pt x="33" y="1254"/>
                  </a:lnTo>
                  <a:lnTo>
                    <a:pt x="35" y="1252"/>
                  </a:lnTo>
                  <a:lnTo>
                    <a:pt x="38" y="1249"/>
                  </a:lnTo>
                  <a:lnTo>
                    <a:pt x="38" y="1247"/>
                  </a:lnTo>
                  <a:lnTo>
                    <a:pt x="40" y="1245"/>
                  </a:lnTo>
                  <a:lnTo>
                    <a:pt x="42" y="1245"/>
                  </a:lnTo>
                  <a:lnTo>
                    <a:pt x="42" y="1242"/>
                  </a:lnTo>
                  <a:lnTo>
                    <a:pt x="45" y="1240"/>
                  </a:lnTo>
                  <a:lnTo>
                    <a:pt x="45" y="1242"/>
                  </a:lnTo>
                  <a:lnTo>
                    <a:pt x="42" y="1242"/>
                  </a:lnTo>
                  <a:lnTo>
                    <a:pt x="42" y="1245"/>
                  </a:lnTo>
                  <a:lnTo>
                    <a:pt x="42" y="1247"/>
                  </a:lnTo>
                  <a:lnTo>
                    <a:pt x="40" y="1247"/>
                  </a:lnTo>
                  <a:lnTo>
                    <a:pt x="40" y="1249"/>
                  </a:lnTo>
                  <a:lnTo>
                    <a:pt x="38" y="1249"/>
                  </a:lnTo>
                  <a:lnTo>
                    <a:pt x="38" y="1252"/>
                  </a:lnTo>
                  <a:lnTo>
                    <a:pt x="35" y="1252"/>
                  </a:lnTo>
                  <a:lnTo>
                    <a:pt x="35" y="1254"/>
                  </a:lnTo>
                  <a:lnTo>
                    <a:pt x="33" y="1254"/>
                  </a:lnTo>
                  <a:lnTo>
                    <a:pt x="30" y="1256"/>
                  </a:lnTo>
                  <a:lnTo>
                    <a:pt x="28" y="1256"/>
                  </a:lnTo>
                  <a:lnTo>
                    <a:pt x="30" y="1256"/>
                  </a:lnTo>
                  <a:lnTo>
                    <a:pt x="30" y="1259"/>
                  </a:lnTo>
                  <a:lnTo>
                    <a:pt x="30" y="1256"/>
                  </a:lnTo>
                  <a:lnTo>
                    <a:pt x="30" y="1259"/>
                  </a:lnTo>
                  <a:lnTo>
                    <a:pt x="33" y="1259"/>
                  </a:lnTo>
                  <a:close/>
                  <a:moveTo>
                    <a:pt x="334" y="997"/>
                  </a:moveTo>
                  <a:lnTo>
                    <a:pt x="336" y="997"/>
                  </a:lnTo>
                  <a:lnTo>
                    <a:pt x="334" y="997"/>
                  </a:lnTo>
                  <a:close/>
                  <a:moveTo>
                    <a:pt x="334" y="997"/>
                  </a:moveTo>
                  <a:lnTo>
                    <a:pt x="334" y="995"/>
                  </a:lnTo>
                  <a:lnTo>
                    <a:pt x="332" y="995"/>
                  </a:lnTo>
                  <a:lnTo>
                    <a:pt x="329" y="993"/>
                  </a:lnTo>
                  <a:lnTo>
                    <a:pt x="329" y="995"/>
                  </a:lnTo>
                  <a:lnTo>
                    <a:pt x="329" y="993"/>
                  </a:lnTo>
                  <a:lnTo>
                    <a:pt x="332" y="995"/>
                  </a:lnTo>
                  <a:lnTo>
                    <a:pt x="334" y="995"/>
                  </a:lnTo>
                  <a:lnTo>
                    <a:pt x="336" y="995"/>
                  </a:lnTo>
                  <a:lnTo>
                    <a:pt x="336" y="997"/>
                  </a:lnTo>
                  <a:lnTo>
                    <a:pt x="334" y="997"/>
                  </a:lnTo>
                  <a:lnTo>
                    <a:pt x="336" y="997"/>
                  </a:lnTo>
                  <a:lnTo>
                    <a:pt x="334" y="997"/>
                  </a:lnTo>
                  <a:close/>
                  <a:moveTo>
                    <a:pt x="270" y="971"/>
                  </a:moveTo>
                  <a:lnTo>
                    <a:pt x="268" y="971"/>
                  </a:lnTo>
                  <a:lnTo>
                    <a:pt x="270" y="971"/>
                  </a:lnTo>
                  <a:close/>
                  <a:moveTo>
                    <a:pt x="678" y="741"/>
                  </a:moveTo>
                  <a:lnTo>
                    <a:pt x="681" y="741"/>
                  </a:lnTo>
                  <a:lnTo>
                    <a:pt x="681" y="743"/>
                  </a:lnTo>
                  <a:lnTo>
                    <a:pt x="681" y="741"/>
                  </a:lnTo>
                  <a:lnTo>
                    <a:pt x="681" y="743"/>
                  </a:lnTo>
                  <a:lnTo>
                    <a:pt x="681" y="741"/>
                  </a:lnTo>
                  <a:lnTo>
                    <a:pt x="681" y="743"/>
                  </a:lnTo>
                  <a:lnTo>
                    <a:pt x="678" y="743"/>
                  </a:lnTo>
                  <a:lnTo>
                    <a:pt x="678" y="741"/>
                  </a:lnTo>
                  <a:close/>
                  <a:moveTo>
                    <a:pt x="690" y="743"/>
                  </a:moveTo>
                  <a:lnTo>
                    <a:pt x="690" y="741"/>
                  </a:lnTo>
                  <a:lnTo>
                    <a:pt x="688" y="741"/>
                  </a:lnTo>
                  <a:lnTo>
                    <a:pt x="688" y="739"/>
                  </a:lnTo>
                  <a:lnTo>
                    <a:pt x="690" y="739"/>
                  </a:lnTo>
                  <a:lnTo>
                    <a:pt x="692" y="739"/>
                  </a:lnTo>
                  <a:lnTo>
                    <a:pt x="690" y="739"/>
                  </a:lnTo>
                  <a:lnTo>
                    <a:pt x="692" y="739"/>
                  </a:lnTo>
                  <a:lnTo>
                    <a:pt x="692" y="741"/>
                  </a:lnTo>
                  <a:lnTo>
                    <a:pt x="695" y="741"/>
                  </a:lnTo>
                  <a:lnTo>
                    <a:pt x="692" y="741"/>
                  </a:lnTo>
                  <a:lnTo>
                    <a:pt x="692" y="743"/>
                  </a:lnTo>
                  <a:lnTo>
                    <a:pt x="692" y="746"/>
                  </a:lnTo>
                  <a:lnTo>
                    <a:pt x="690" y="746"/>
                  </a:lnTo>
                  <a:lnTo>
                    <a:pt x="690" y="748"/>
                  </a:lnTo>
                  <a:lnTo>
                    <a:pt x="688" y="748"/>
                  </a:lnTo>
                  <a:lnTo>
                    <a:pt x="690" y="748"/>
                  </a:lnTo>
                  <a:lnTo>
                    <a:pt x="690" y="746"/>
                  </a:lnTo>
                  <a:lnTo>
                    <a:pt x="688" y="746"/>
                  </a:lnTo>
                  <a:lnTo>
                    <a:pt x="688" y="743"/>
                  </a:lnTo>
                  <a:lnTo>
                    <a:pt x="690" y="743"/>
                  </a:lnTo>
                  <a:close/>
                  <a:moveTo>
                    <a:pt x="688" y="739"/>
                  </a:moveTo>
                  <a:lnTo>
                    <a:pt x="685" y="739"/>
                  </a:lnTo>
                  <a:lnTo>
                    <a:pt x="685" y="736"/>
                  </a:lnTo>
                  <a:lnTo>
                    <a:pt x="688" y="736"/>
                  </a:lnTo>
                  <a:lnTo>
                    <a:pt x="688" y="739"/>
                  </a:lnTo>
                  <a:lnTo>
                    <a:pt x="690" y="739"/>
                  </a:lnTo>
                  <a:lnTo>
                    <a:pt x="688" y="739"/>
                  </a:lnTo>
                  <a:lnTo>
                    <a:pt x="688" y="741"/>
                  </a:lnTo>
                  <a:lnTo>
                    <a:pt x="690" y="741"/>
                  </a:lnTo>
                  <a:lnTo>
                    <a:pt x="688" y="741"/>
                  </a:lnTo>
                  <a:lnTo>
                    <a:pt x="690" y="741"/>
                  </a:lnTo>
                  <a:lnTo>
                    <a:pt x="690" y="743"/>
                  </a:lnTo>
                  <a:lnTo>
                    <a:pt x="688" y="743"/>
                  </a:lnTo>
                  <a:lnTo>
                    <a:pt x="688" y="746"/>
                  </a:lnTo>
                  <a:lnTo>
                    <a:pt x="688" y="743"/>
                  </a:lnTo>
                  <a:lnTo>
                    <a:pt x="685" y="743"/>
                  </a:lnTo>
                  <a:lnTo>
                    <a:pt x="685" y="741"/>
                  </a:lnTo>
                  <a:lnTo>
                    <a:pt x="685" y="739"/>
                  </a:lnTo>
                  <a:lnTo>
                    <a:pt x="688" y="739"/>
                  </a:lnTo>
                  <a:close/>
                  <a:moveTo>
                    <a:pt x="683" y="736"/>
                  </a:moveTo>
                  <a:lnTo>
                    <a:pt x="683" y="739"/>
                  </a:lnTo>
                  <a:lnTo>
                    <a:pt x="685" y="739"/>
                  </a:lnTo>
                  <a:lnTo>
                    <a:pt x="685" y="741"/>
                  </a:lnTo>
                  <a:lnTo>
                    <a:pt x="685" y="743"/>
                  </a:lnTo>
                  <a:lnTo>
                    <a:pt x="683" y="743"/>
                  </a:lnTo>
                  <a:lnTo>
                    <a:pt x="683" y="741"/>
                  </a:lnTo>
                  <a:lnTo>
                    <a:pt x="681" y="741"/>
                  </a:lnTo>
                  <a:lnTo>
                    <a:pt x="681" y="739"/>
                  </a:lnTo>
                  <a:lnTo>
                    <a:pt x="678" y="739"/>
                  </a:lnTo>
                  <a:lnTo>
                    <a:pt x="678" y="736"/>
                  </a:lnTo>
                  <a:lnTo>
                    <a:pt x="678" y="739"/>
                  </a:lnTo>
                  <a:lnTo>
                    <a:pt x="676" y="739"/>
                  </a:lnTo>
                  <a:lnTo>
                    <a:pt x="676" y="736"/>
                  </a:lnTo>
                  <a:lnTo>
                    <a:pt x="678" y="736"/>
                  </a:lnTo>
                  <a:lnTo>
                    <a:pt x="681" y="736"/>
                  </a:lnTo>
                  <a:lnTo>
                    <a:pt x="681" y="739"/>
                  </a:lnTo>
                  <a:lnTo>
                    <a:pt x="681" y="736"/>
                  </a:lnTo>
                  <a:lnTo>
                    <a:pt x="681" y="739"/>
                  </a:lnTo>
                  <a:lnTo>
                    <a:pt x="678" y="739"/>
                  </a:lnTo>
                  <a:lnTo>
                    <a:pt x="678" y="736"/>
                  </a:lnTo>
                  <a:lnTo>
                    <a:pt x="678" y="739"/>
                  </a:lnTo>
                  <a:lnTo>
                    <a:pt x="678" y="736"/>
                  </a:lnTo>
                  <a:lnTo>
                    <a:pt x="678" y="739"/>
                  </a:lnTo>
                  <a:lnTo>
                    <a:pt x="681" y="739"/>
                  </a:lnTo>
                  <a:lnTo>
                    <a:pt x="681" y="736"/>
                  </a:lnTo>
                  <a:lnTo>
                    <a:pt x="681" y="739"/>
                  </a:lnTo>
                  <a:lnTo>
                    <a:pt x="681" y="736"/>
                  </a:lnTo>
                  <a:lnTo>
                    <a:pt x="683" y="736"/>
                  </a:lnTo>
                  <a:lnTo>
                    <a:pt x="681" y="736"/>
                  </a:lnTo>
                  <a:lnTo>
                    <a:pt x="683" y="736"/>
                  </a:lnTo>
                  <a:lnTo>
                    <a:pt x="681" y="736"/>
                  </a:lnTo>
                  <a:lnTo>
                    <a:pt x="683" y="736"/>
                  </a:lnTo>
                  <a:lnTo>
                    <a:pt x="681" y="736"/>
                  </a:lnTo>
                  <a:lnTo>
                    <a:pt x="683" y="736"/>
                  </a:lnTo>
                  <a:close/>
                  <a:moveTo>
                    <a:pt x="1262" y="739"/>
                  </a:moveTo>
                  <a:lnTo>
                    <a:pt x="1264" y="739"/>
                  </a:lnTo>
                  <a:lnTo>
                    <a:pt x="1264" y="736"/>
                  </a:lnTo>
                  <a:lnTo>
                    <a:pt x="1264" y="739"/>
                  </a:lnTo>
                  <a:lnTo>
                    <a:pt x="1262" y="739"/>
                  </a:lnTo>
                  <a:lnTo>
                    <a:pt x="1262" y="736"/>
                  </a:lnTo>
                  <a:lnTo>
                    <a:pt x="1264" y="736"/>
                  </a:lnTo>
                  <a:lnTo>
                    <a:pt x="1264" y="739"/>
                  </a:lnTo>
                  <a:lnTo>
                    <a:pt x="1262" y="739"/>
                  </a:lnTo>
                  <a:lnTo>
                    <a:pt x="1264" y="739"/>
                  </a:lnTo>
                  <a:lnTo>
                    <a:pt x="1262" y="741"/>
                  </a:lnTo>
                  <a:lnTo>
                    <a:pt x="1262" y="739"/>
                  </a:lnTo>
                  <a:close/>
                  <a:moveTo>
                    <a:pt x="1262" y="736"/>
                  </a:moveTo>
                  <a:lnTo>
                    <a:pt x="1262" y="734"/>
                  </a:lnTo>
                  <a:lnTo>
                    <a:pt x="1262" y="736"/>
                  </a:lnTo>
                  <a:close/>
                  <a:moveTo>
                    <a:pt x="1255" y="729"/>
                  </a:moveTo>
                  <a:lnTo>
                    <a:pt x="1255" y="727"/>
                  </a:lnTo>
                  <a:lnTo>
                    <a:pt x="1255" y="729"/>
                  </a:lnTo>
                  <a:lnTo>
                    <a:pt x="1255" y="731"/>
                  </a:lnTo>
                  <a:lnTo>
                    <a:pt x="1255" y="729"/>
                  </a:lnTo>
                  <a:lnTo>
                    <a:pt x="1255" y="731"/>
                  </a:lnTo>
                  <a:lnTo>
                    <a:pt x="1255" y="729"/>
                  </a:lnTo>
                  <a:close/>
                  <a:moveTo>
                    <a:pt x="1096" y="705"/>
                  </a:moveTo>
                  <a:lnTo>
                    <a:pt x="1098" y="705"/>
                  </a:lnTo>
                  <a:lnTo>
                    <a:pt x="1096" y="705"/>
                  </a:lnTo>
                  <a:lnTo>
                    <a:pt x="1098" y="705"/>
                  </a:lnTo>
                  <a:lnTo>
                    <a:pt x="1098" y="708"/>
                  </a:lnTo>
                  <a:lnTo>
                    <a:pt x="1096" y="708"/>
                  </a:lnTo>
                  <a:lnTo>
                    <a:pt x="1096" y="705"/>
                  </a:lnTo>
                  <a:close/>
                  <a:moveTo>
                    <a:pt x="1093" y="703"/>
                  </a:moveTo>
                  <a:lnTo>
                    <a:pt x="1096" y="703"/>
                  </a:lnTo>
                  <a:lnTo>
                    <a:pt x="1093" y="703"/>
                  </a:lnTo>
                  <a:lnTo>
                    <a:pt x="1091" y="703"/>
                  </a:lnTo>
                  <a:lnTo>
                    <a:pt x="1093" y="703"/>
                  </a:lnTo>
                  <a:close/>
                  <a:moveTo>
                    <a:pt x="1236" y="703"/>
                  </a:moveTo>
                  <a:lnTo>
                    <a:pt x="1233" y="703"/>
                  </a:lnTo>
                  <a:lnTo>
                    <a:pt x="1236" y="703"/>
                  </a:lnTo>
                  <a:lnTo>
                    <a:pt x="1236" y="705"/>
                  </a:lnTo>
                  <a:lnTo>
                    <a:pt x="1233" y="705"/>
                  </a:lnTo>
                  <a:lnTo>
                    <a:pt x="1236" y="705"/>
                  </a:lnTo>
                  <a:lnTo>
                    <a:pt x="1233" y="708"/>
                  </a:lnTo>
                  <a:lnTo>
                    <a:pt x="1233" y="705"/>
                  </a:lnTo>
                  <a:lnTo>
                    <a:pt x="1233" y="703"/>
                  </a:lnTo>
                  <a:lnTo>
                    <a:pt x="1236" y="703"/>
                  </a:lnTo>
                  <a:close/>
                  <a:moveTo>
                    <a:pt x="1236" y="691"/>
                  </a:moveTo>
                  <a:lnTo>
                    <a:pt x="1236" y="693"/>
                  </a:lnTo>
                  <a:lnTo>
                    <a:pt x="1233" y="693"/>
                  </a:lnTo>
                  <a:lnTo>
                    <a:pt x="1233" y="691"/>
                  </a:lnTo>
                  <a:lnTo>
                    <a:pt x="1233" y="693"/>
                  </a:lnTo>
                  <a:lnTo>
                    <a:pt x="1233" y="691"/>
                  </a:lnTo>
                  <a:lnTo>
                    <a:pt x="1236" y="691"/>
                  </a:lnTo>
                  <a:close/>
                  <a:moveTo>
                    <a:pt x="1074" y="684"/>
                  </a:moveTo>
                  <a:lnTo>
                    <a:pt x="1074" y="682"/>
                  </a:lnTo>
                  <a:lnTo>
                    <a:pt x="1074" y="684"/>
                  </a:lnTo>
                  <a:close/>
                  <a:moveTo>
                    <a:pt x="1165" y="677"/>
                  </a:moveTo>
                  <a:lnTo>
                    <a:pt x="1162" y="677"/>
                  </a:lnTo>
                  <a:lnTo>
                    <a:pt x="1162" y="679"/>
                  </a:lnTo>
                  <a:lnTo>
                    <a:pt x="1162" y="677"/>
                  </a:lnTo>
                  <a:lnTo>
                    <a:pt x="1165" y="677"/>
                  </a:lnTo>
                  <a:lnTo>
                    <a:pt x="1165" y="674"/>
                  </a:lnTo>
                  <a:lnTo>
                    <a:pt x="1167" y="674"/>
                  </a:lnTo>
                  <a:lnTo>
                    <a:pt x="1165" y="677"/>
                  </a:lnTo>
                  <a:lnTo>
                    <a:pt x="1162" y="679"/>
                  </a:lnTo>
                  <a:lnTo>
                    <a:pt x="1165" y="677"/>
                  </a:lnTo>
                  <a:lnTo>
                    <a:pt x="1162" y="679"/>
                  </a:lnTo>
                  <a:lnTo>
                    <a:pt x="1165" y="677"/>
                  </a:lnTo>
                  <a:close/>
                  <a:moveTo>
                    <a:pt x="1226" y="670"/>
                  </a:moveTo>
                  <a:lnTo>
                    <a:pt x="1229" y="670"/>
                  </a:lnTo>
                  <a:lnTo>
                    <a:pt x="1229" y="672"/>
                  </a:lnTo>
                  <a:lnTo>
                    <a:pt x="1229" y="670"/>
                  </a:lnTo>
                  <a:lnTo>
                    <a:pt x="1229" y="672"/>
                  </a:lnTo>
                  <a:lnTo>
                    <a:pt x="1226" y="672"/>
                  </a:lnTo>
                  <a:lnTo>
                    <a:pt x="1226" y="670"/>
                  </a:lnTo>
                  <a:close/>
                  <a:moveTo>
                    <a:pt x="1169" y="674"/>
                  </a:moveTo>
                  <a:lnTo>
                    <a:pt x="1169" y="672"/>
                  </a:lnTo>
                  <a:lnTo>
                    <a:pt x="1172" y="672"/>
                  </a:lnTo>
                  <a:lnTo>
                    <a:pt x="1172" y="670"/>
                  </a:lnTo>
                  <a:lnTo>
                    <a:pt x="1174" y="670"/>
                  </a:lnTo>
                  <a:lnTo>
                    <a:pt x="1174" y="667"/>
                  </a:lnTo>
                  <a:lnTo>
                    <a:pt x="1174" y="670"/>
                  </a:lnTo>
                  <a:lnTo>
                    <a:pt x="1174" y="672"/>
                  </a:lnTo>
                  <a:lnTo>
                    <a:pt x="1174" y="670"/>
                  </a:lnTo>
                  <a:lnTo>
                    <a:pt x="1172" y="670"/>
                  </a:lnTo>
                  <a:lnTo>
                    <a:pt x="1174" y="670"/>
                  </a:lnTo>
                  <a:lnTo>
                    <a:pt x="1174" y="672"/>
                  </a:lnTo>
                  <a:lnTo>
                    <a:pt x="1172" y="672"/>
                  </a:lnTo>
                  <a:lnTo>
                    <a:pt x="1172" y="674"/>
                  </a:lnTo>
                  <a:lnTo>
                    <a:pt x="1169" y="674"/>
                  </a:lnTo>
                  <a:close/>
                  <a:moveTo>
                    <a:pt x="1174" y="672"/>
                  </a:moveTo>
                  <a:lnTo>
                    <a:pt x="1172" y="672"/>
                  </a:lnTo>
                  <a:lnTo>
                    <a:pt x="1174" y="672"/>
                  </a:lnTo>
                  <a:close/>
                  <a:moveTo>
                    <a:pt x="1084" y="662"/>
                  </a:moveTo>
                  <a:lnTo>
                    <a:pt x="1084" y="665"/>
                  </a:lnTo>
                  <a:lnTo>
                    <a:pt x="1084" y="667"/>
                  </a:lnTo>
                  <a:lnTo>
                    <a:pt x="1084" y="665"/>
                  </a:lnTo>
                  <a:lnTo>
                    <a:pt x="1084" y="662"/>
                  </a:lnTo>
                  <a:lnTo>
                    <a:pt x="1084" y="665"/>
                  </a:lnTo>
                  <a:lnTo>
                    <a:pt x="1086" y="665"/>
                  </a:lnTo>
                  <a:lnTo>
                    <a:pt x="1086" y="667"/>
                  </a:lnTo>
                  <a:lnTo>
                    <a:pt x="1084" y="667"/>
                  </a:lnTo>
                  <a:lnTo>
                    <a:pt x="1084" y="670"/>
                  </a:lnTo>
                  <a:lnTo>
                    <a:pt x="1082" y="670"/>
                  </a:lnTo>
                  <a:lnTo>
                    <a:pt x="1082" y="672"/>
                  </a:lnTo>
                  <a:lnTo>
                    <a:pt x="1082" y="670"/>
                  </a:lnTo>
                  <a:lnTo>
                    <a:pt x="1082" y="667"/>
                  </a:lnTo>
                  <a:lnTo>
                    <a:pt x="1082" y="665"/>
                  </a:lnTo>
                  <a:lnTo>
                    <a:pt x="1084" y="665"/>
                  </a:lnTo>
                  <a:lnTo>
                    <a:pt x="1082" y="665"/>
                  </a:lnTo>
                  <a:lnTo>
                    <a:pt x="1082" y="662"/>
                  </a:lnTo>
                  <a:lnTo>
                    <a:pt x="1084" y="662"/>
                  </a:lnTo>
                  <a:close/>
                  <a:moveTo>
                    <a:pt x="1226" y="665"/>
                  </a:moveTo>
                  <a:lnTo>
                    <a:pt x="1224" y="665"/>
                  </a:lnTo>
                  <a:lnTo>
                    <a:pt x="1224" y="662"/>
                  </a:lnTo>
                  <a:lnTo>
                    <a:pt x="1226" y="662"/>
                  </a:lnTo>
                  <a:lnTo>
                    <a:pt x="1229" y="662"/>
                  </a:lnTo>
                  <a:lnTo>
                    <a:pt x="1229" y="665"/>
                  </a:lnTo>
                  <a:lnTo>
                    <a:pt x="1229" y="667"/>
                  </a:lnTo>
                  <a:lnTo>
                    <a:pt x="1229" y="665"/>
                  </a:lnTo>
                  <a:lnTo>
                    <a:pt x="1229" y="667"/>
                  </a:lnTo>
                  <a:lnTo>
                    <a:pt x="1226" y="667"/>
                  </a:lnTo>
                  <a:lnTo>
                    <a:pt x="1226" y="665"/>
                  </a:lnTo>
                  <a:close/>
                  <a:moveTo>
                    <a:pt x="1226" y="665"/>
                  </a:moveTo>
                  <a:lnTo>
                    <a:pt x="1229" y="665"/>
                  </a:lnTo>
                  <a:lnTo>
                    <a:pt x="1226" y="665"/>
                  </a:lnTo>
                  <a:close/>
                  <a:moveTo>
                    <a:pt x="1222" y="658"/>
                  </a:moveTo>
                  <a:lnTo>
                    <a:pt x="1222" y="660"/>
                  </a:lnTo>
                  <a:lnTo>
                    <a:pt x="1222" y="658"/>
                  </a:lnTo>
                  <a:lnTo>
                    <a:pt x="1224" y="658"/>
                  </a:lnTo>
                  <a:lnTo>
                    <a:pt x="1222" y="658"/>
                  </a:lnTo>
                  <a:lnTo>
                    <a:pt x="1224" y="658"/>
                  </a:lnTo>
                  <a:lnTo>
                    <a:pt x="1224" y="660"/>
                  </a:lnTo>
                  <a:lnTo>
                    <a:pt x="1222" y="660"/>
                  </a:lnTo>
                  <a:lnTo>
                    <a:pt x="1224" y="660"/>
                  </a:lnTo>
                  <a:lnTo>
                    <a:pt x="1224" y="662"/>
                  </a:lnTo>
                  <a:lnTo>
                    <a:pt x="1222" y="662"/>
                  </a:lnTo>
                  <a:lnTo>
                    <a:pt x="1222" y="660"/>
                  </a:lnTo>
                  <a:lnTo>
                    <a:pt x="1222" y="658"/>
                  </a:lnTo>
                  <a:close/>
                  <a:moveTo>
                    <a:pt x="1328" y="655"/>
                  </a:moveTo>
                  <a:lnTo>
                    <a:pt x="1328" y="658"/>
                  </a:lnTo>
                  <a:lnTo>
                    <a:pt x="1328" y="655"/>
                  </a:lnTo>
                  <a:close/>
                  <a:moveTo>
                    <a:pt x="1176" y="658"/>
                  </a:moveTo>
                  <a:lnTo>
                    <a:pt x="1174" y="658"/>
                  </a:lnTo>
                  <a:lnTo>
                    <a:pt x="1174" y="655"/>
                  </a:lnTo>
                  <a:lnTo>
                    <a:pt x="1176" y="655"/>
                  </a:lnTo>
                  <a:lnTo>
                    <a:pt x="1179" y="655"/>
                  </a:lnTo>
                  <a:lnTo>
                    <a:pt x="1179" y="658"/>
                  </a:lnTo>
                  <a:lnTo>
                    <a:pt x="1176" y="658"/>
                  </a:lnTo>
                  <a:lnTo>
                    <a:pt x="1174" y="658"/>
                  </a:lnTo>
                  <a:lnTo>
                    <a:pt x="1176" y="658"/>
                  </a:lnTo>
                  <a:close/>
                  <a:moveTo>
                    <a:pt x="1086" y="653"/>
                  </a:moveTo>
                  <a:lnTo>
                    <a:pt x="1086" y="655"/>
                  </a:lnTo>
                  <a:lnTo>
                    <a:pt x="1086" y="658"/>
                  </a:lnTo>
                  <a:lnTo>
                    <a:pt x="1086" y="655"/>
                  </a:lnTo>
                  <a:lnTo>
                    <a:pt x="1086" y="653"/>
                  </a:lnTo>
                  <a:close/>
                  <a:moveTo>
                    <a:pt x="1326" y="648"/>
                  </a:moveTo>
                  <a:lnTo>
                    <a:pt x="1326" y="651"/>
                  </a:lnTo>
                  <a:lnTo>
                    <a:pt x="1326" y="648"/>
                  </a:lnTo>
                  <a:close/>
                  <a:moveTo>
                    <a:pt x="1193" y="648"/>
                  </a:moveTo>
                  <a:lnTo>
                    <a:pt x="1191" y="651"/>
                  </a:lnTo>
                  <a:lnTo>
                    <a:pt x="1191" y="648"/>
                  </a:lnTo>
                  <a:lnTo>
                    <a:pt x="1193" y="648"/>
                  </a:lnTo>
                  <a:lnTo>
                    <a:pt x="1195" y="648"/>
                  </a:lnTo>
                  <a:lnTo>
                    <a:pt x="1195" y="651"/>
                  </a:lnTo>
                  <a:lnTo>
                    <a:pt x="1193" y="651"/>
                  </a:lnTo>
                  <a:lnTo>
                    <a:pt x="1191" y="651"/>
                  </a:lnTo>
                  <a:lnTo>
                    <a:pt x="1193" y="648"/>
                  </a:lnTo>
                  <a:close/>
                  <a:moveTo>
                    <a:pt x="1212" y="646"/>
                  </a:moveTo>
                  <a:lnTo>
                    <a:pt x="1214" y="646"/>
                  </a:lnTo>
                  <a:lnTo>
                    <a:pt x="1214" y="648"/>
                  </a:lnTo>
                  <a:lnTo>
                    <a:pt x="1212" y="648"/>
                  </a:lnTo>
                  <a:lnTo>
                    <a:pt x="1214" y="648"/>
                  </a:lnTo>
                  <a:lnTo>
                    <a:pt x="1212" y="648"/>
                  </a:lnTo>
                  <a:lnTo>
                    <a:pt x="1210" y="648"/>
                  </a:lnTo>
                  <a:lnTo>
                    <a:pt x="1207" y="648"/>
                  </a:lnTo>
                  <a:lnTo>
                    <a:pt x="1210" y="646"/>
                  </a:lnTo>
                  <a:lnTo>
                    <a:pt x="1207" y="648"/>
                  </a:lnTo>
                  <a:lnTo>
                    <a:pt x="1210" y="648"/>
                  </a:lnTo>
                  <a:lnTo>
                    <a:pt x="1210" y="646"/>
                  </a:lnTo>
                  <a:lnTo>
                    <a:pt x="1212" y="646"/>
                  </a:lnTo>
                  <a:close/>
                  <a:moveTo>
                    <a:pt x="1082" y="643"/>
                  </a:moveTo>
                  <a:lnTo>
                    <a:pt x="1084" y="643"/>
                  </a:lnTo>
                  <a:lnTo>
                    <a:pt x="1082" y="643"/>
                  </a:lnTo>
                  <a:lnTo>
                    <a:pt x="1084" y="643"/>
                  </a:lnTo>
                  <a:lnTo>
                    <a:pt x="1082" y="643"/>
                  </a:lnTo>
                  <a:lnTo>
                    <a:pt x="1084" y="643"/>
                  </a:lnTo>
                  <a:lnTo>
                    <a:pt x="1084" y="641"/>
                  </a:lnTo>
                  <a:lnTo>
                    <a:pt x="1084" y="643"/>
                  </a:lnTo>
                  <a:lnTo>
                    <a:pt x="1082" y="643"/>
                  </a:lnTo>
                  <a:close/>
                  <a:moveTo>
                    <a:pt x="1084" y="641"/>
                  </a:moveTo>
                  <a:lnTo>
                    <a:pt x="1084" y="643"/>
                  </a:lnTo>
                  <a:lnTo>
                    <a:pt x="1086" y="643"/>
                  </a:lnTo>
                  <a:lnTo>
                    <a:pt x="1086" y="646"/>
                  </a:lnTo>
                  <a:lnTo>
                    <a:pt x="1086" y="648"/>
                  </a:lnTo>
                  <a:lnTo>
                    <a:pt x="1084" y="648"/>
                  </a:lnTo>
                  <a:lnTo>
                    <a:pt x="1086" y="648"/>
                  </a:lnTo>
                  <a:lnTo>
                    <a:pt x="1086" y="651"/>
                  </a:lnTo>
                  <a:lnTo>
                    <a:pt x="1084" y="651"/>
                  </a:lnTo>
                  <a:lnTo>
                    <a:pt x="1084" y="648"/>
                  </a:lnTo>
                  <a:lnTo>
                    <a:pt x="1084" y="646"/>
                  </a:lnTo>
                  <a:lnTo>
                    <a:pt x="1082" y="646"/>
                  </a:lnTo>
                  <a:lnTo>
                    <a:pt x="1082" y="643"/>
                  </a:lnTo>
                  <a:lnTo>
                    <a:pt x="1084" y="643"/>
                  </a:lnTo>
                  <a:lnTo>
                    <a:pt x="1084" y="641"/>
                  </a:lnTo>
                  <a:lnTo>
                    <a:pt x="1084" y="643"/>
                  </a:lnTo>
                  <a:lnTo>
                    <a:pt x="1086" y="643"/>
                  </a:lnTo>
                  <a:lnTo>
                    <a:pt x="1084" y="643"/>
                  </a:lnTo>
                  <a:lnTo>
                    <a:pt x="1084" y="641"/>
                  </a:lnTo>
                  <a:close/>
                  <a:moveTo>
                    <a:pt x="1082" y="639"/>
                  </a:moveTo>
                  <a:lnTo>
                    <a:pt x="1082" y="641"/>
                  </a:lnTo>
                  <a:lnTo>
                    <a:pt x="1082" y="639"/>
                  </a:lnTo>
                  <a:lnTo>
                    <a:pt x="1082" y="641"/>
                  </a:lnTo>
                  <a:lnTo>
                    <a:pt x="1082" y="639"/>
                  </a:lnTo>
                  <a:lnTo>
                    <a:pt x="1082" y="641"/>
                  </a:lnTo>
                  <a:lnTo>
                    <a:pt x="1082" y="639"/>
                  </a:lnTo>
                  <a:lnTo>
                    <a:pt x="1084" y="641"/>
                  </a:lnTo>
                  <a:lnTo>
                    <a:pt x="1082" y="641"/>
                  </a:lnTo>
                  <a:lnTo>
                    <a:pt x="1084" y="641"/>
                  </a:lnTo>
                  <a:lnTo>
                    <a:pt x="1082" y="641"/>
                  </a:lnTo>
                  <a:lnTo>
                    <a:pt x="1082" y="643"/>
                  </a:lnTo>
                  <a:lnTo>
                    <a:pt x="1082" y="641"/>
                  </a:lnTo>
                  <a:lnTo>
                    <a:pt x="1082" y="639"/>
                  </a:lnTo>
                  <a:lnTo>
                    <a:pt x="1079" y="639"/>
                  </a:lnTo>
                  <a:lnTo>
                    <a:pt x="1082" y="639"/>
                  </a:lnTo>
                  <a:close/>
                  <a:moveTo>
                    <a:pt x="1086" y="632"/>
                  </a:moveTo>
                  <a:lnTo>
                    <a:pt x="1084" y="632"/>
                  </a:lnTo>
                  <a:lnTo>
                    <a:pt x="1086" y="632"/>
                  </a:lnTo>
                  <a:lnTo>
                    <a:pt x="1084" y="632"/>
                  </a:lnTo>
                  <a:lnTo>
                    <a:pt x="1086" y="632"/>
                  </a:lnTo>
                  <a:close/>
                  <a:moveTo>
                    <a:pt x="1082" y="629"/>
                  </a:moveTo>
                  <a:lnTo>
                    <a:pt x="1084" y="629"/>
                  </a:lnTo>
                  <a:lnTo>
                    <a:pt x="1082" y="629"/>
                  </a:lnTo>
                  <a:lnTo>
                    <a:pt x="1084" y="629"/>
                  </a:lnTo>
                  <a:lnTo>
                    <a:pt x="1084" y="632"/>
                  </a:lnTo>
                  <a:lnTo>
                    <a:pt x="1082" y="632"/>
                  </a:lnTo>
                  <a:lnTo>
                    <a:pt x="1082" y="629"/>
                  </a:lnTo>
                  <a:lnTo>
                    <a:pt x="1079" y="627"/>
                  </a:lnTo>
                  <a:lnTo>
                    <a:pt x="1082" y="627"/>
                  </a:lnTo>
                  <a:lnTo>
                    <a:pt x="1082" y="629"/>
                  </a:lnTo>
                  <a:lnTo>
                    <a:pt x="1082" y="627"/>
                  </a:lnTo>
                  <a:lnTo>
                    <a:pt x="1082" y="629"/>
                  </a:lnTo>
                  <a:lnTo>
                    <a:pt x="1084" y="629"/>
                  </a:lnTo>
                  <a:lnTo>
                    <a:pt x="1082" y="629"/>
                  </a:lnTo>
                  <a:lnTo>
                    <a:pt x="1082" y="627"/>
                  </a:lnTo>
                  <a:lnTo>
                    <a:pt x="1084" y="629"/>
                  </a:lnTo>
                  <a:lnTo>
                    <a:pt x="1082" y="629"/>
                  </a:lnTo>
                  <a:close/>
                  <a:moveTo>
                    <a:pt x="1082" y="624"/>
                  </a:moveTo>
                  <a:lnTo>
                    <a:pt x="1079" y="624"/>
                  </a:lnTo>
                  <a:lnTo>
                    <a:pt x="1082" y="624"/>
                  </a:lnTo>
                  <a:close/>
                  <a:moveTo>
                    <a:pt x="1079" y="622"/>
                  </a:moveTo>
                  <a:lnTo>
                    <a:pt x="1079" y="624"/>
                  </a:lnTo>
                  <a:lnTo>
                    <a:pt x="1079" y="622"/>
                  </a:lnTo>
                  <a:lnTo>
                    <a:pt x="1079" y="624"/>
                  </a:lnTo>
                  <a:lnTo>
                    <a:pt x="1079" y="622"/>
                  </a:lnTo>
                  <a:close/>
                  <a:moveTo>
                    <a:pt x="821" y="617"/>
                  </a:moveTo>
                  <a:lnTo>
                    <a:pt x="821" y="620"/>
                  </a:lnTo>
                  <a:lnTo>
                    <a:pt x="818" y="620"/>
                  </a:lnTo>
                  <a:lnTo>
                    <a:pt x="821" y="620"/>
                  </a:lnTo>
                  <a:lnTo>
                    <a:pt x="818" y="620"/>
                  </a:lnTo>
                  <a:lnTo>
                    <a:pt x="821" y="620"/>
                  </a:lnTo>
                  <a:lnTo>
                    <a:pt x="821" y="617"/>
                  </a:lnTo>
                  <a:close/>
                  <a:moveTo>
                    <a:pt x="1079" y="620"/>
                  </a:moveTo>
                  <a:lnTo>
                    <a:pt x="1079" y="617"/>
                  </a:lnTo>
                  <a:lnTo>
                    <a:pt x="1082" y="617"/>
                  </a:lnTo>
                  <a:lnTo>
                    <a:pt x="1079" y="620"/>
                  </a:lnTo>
                  <a:lnTo>
                    <a:pt x="1079" y="617"/>
                  </a:lnTo>
                  <a:lnTo>
                    <a:pt x="1079" y="620"/>
                  </a:lnTo>
                  <a:lnTo>
                    <a:pt x="1079" y="617"/>
                  </a:lnTo>
                  <a:lnTo>
                    <a:pt x="1079" y="620"/>
                  </a:lnTo>
                  <a:lnTo>
                    <a:pt x="1079" y="617"/>
                  </a:lnTo>
                  <a:lnTo>
                    <a:pt x="1079" y="620"/>
                  </a:lnTo>
                  <a:close/>
                  <a:moveTo>
                    <a:pt x="1082" y="613"/>
                  </a:moveTo>
                  <a:lnTo>
                    <a:pt x="1082" y="615"/>
                  </a:lnTo>
                  <a:lnTo>
                    <a:pt x="1082" y="613"/>
                  </a:lnTo>
                  <a:lnTo>
                    <a:pt x="1082" y="615"/>
                  </a:lnTo>
                  <a:lnTo>
                    <a:pt x="1079" y="615"/>
                  </a:lnTo>
                  <a:lnTo>
                    <a:pt x="1082" y="613"/>
                  </a:lnTo>
                  <a:lnTo>
                    <a:pt x="1079" y="613"/>
                  </a:lnTo>
                  <a:lnTo>
                    <a:pt x="1082" y="613"/>
                  </a:lnTo>
                  <a:close/>
                  <a:moveTo>
                    <a:pt x="1079" y="608"/>
                  </a:moveTo>
                  <a:lnTo>
                    <a:pt x="1082" y="610"/>
                  </a:lnTo>
                  <a:lnTo>
                    <a:pt x="1079" y="610"/>
                  </a:lnTo>
                  <a:lnTo>
                    <a:pt x="1079" y="608"/>
                  </a:lnTo>
                  <a:lnTo>
                    <a:pt x="1082" y="608"/>
                  </a:lnTo>
                  <a:lnTo>
                    <a:pt x="1079" y="608"/>
                  </a:lnTo>
                  <a:close/>
                  <a:moveTo>
                    <a:pt x="1089" y="608"/>
                  </a:moveTo>
                  <a:lnTo>
                    <a:pt x="1086" y="608"/>
                  </a:lnTo>
                  <a:lnTo>
                    <a:pt x="1089" y="608"/>
                  </a:lnTo>
                  <a:close/>
                  <a:moveTo>
                    <a:pt x="1086" y="608"/>
                  </a:moveTo>
                  <a:lnTo>
                    <a:pt x="1089" y="608"/>
                  </a:lnTo>
                  <a:lnTo>
                    <a:pt x="1086" y="608"/>
                  </a:lnTo>
                  <a:close/>
                  <a:moveTo>
                    <a:pt x="1082" y="603"/>
                  </a:moveTo>
                  <a:lnTo>
                    <a:pt x="1082" y="605"/>
                  </a:lnTo>
                  <a:lnTo>
                    <a:pt x="1082" y="603"/>
                  </a:lnTo>
                  <a:lnTo>
                    <a:pt x="1079" y="603"/>
                  </a:lnTo>
                  <a:lnTo>
                    <a:pt x="1082" y="603"/>
                  </a:lnTo>
                  <a:lnTo>
                    <a:pt x="1079" y="603"/>
                  </a:lnTo>
                  <a:lnTo>
                    <a:pt x="1082" y="603"/>
                  </a:lnTo>
                  <a:close/>
                  <a:moveTo>
                    <a:pt x="1079" y="603"/>
                  </a:moveTo>
                  <a:lnTo>
                    <a:pt x="1077" y="603"/>
                  </a:lnTo>
                  <a:lnTo>
                    <a:pt x="1077" y="601"/>
                  </a:lnTo>
                  <a:lnTo>
                    <a:pt x="1079" y="601"/>
                  </a:lnTo>
                  <a:lnTo>
                    <a:pt x="1079" y="603"/>
                  </a:lnTo>
                  <a:lnTo>
                    <a:pt x="1079" y="605"/>
                  </a:lnTo>
                  <a:lnTo>
                    <a:pt x="1082" y="605"/>
                  </a:lnTo>
                  <a:lnTo>
                    <a:pt x="1079" y="605"/>
                  </a:lnTo>
                  <a:lnTo>
                    <a:pt x="1079" y="608"/>
                  </a:lnTo>
                  <a:lnTo>
                    <a:pt x="1079" y="610"/>
                  </a:lnTo>
                  <a:lnTo>
                    <a:pt x="1079" y="608"/>
                  </a:lnTo>
                  <a:lnTo>
                    <a:pt x="1079" y="610"/>
                  </a:lnTo>
                  <a:lnTo>
                    <a:pt x="1079" y="613"/>
                  </a:lnTo>
                  <a:lnTo>
                    <a:pt x="1079" y="615"/>
                  </a:lnTo>
                  <a:lnTo>
                    <a:pt x="1077" y="615"/>
                  </a:lnTo>
                  <a:lnTo>
                    <a:pt x="1077" y="613"/>
                  </a:lnTo>
                  <a:lnTo>
                    <a:pt x="1074" y="613"/>
                  </a:lnTo>
                  <a:lnTo>
                    <a:pt x="1074" y="610"/>
                  </a:lnTo>
                  <a:lnTo>
                    <a:pt x="1072" y="610"/>
                  </a:lnTo>
                  <a:lnTo>
                    <a:pt x="1072" y="608"/>
                  </a:lnTo>
                  <a:lnTo>
                    <a:pt x="1074" y="605"/>
                  </a:lnTo>
                  <a:lnTo>
                    <a:pt x="1072" y="605"/>
                  </a:lnTo>
                  <a:lnTo>
                    <a:pt x="1074" y="605"/>
                  </a:lnTo>
                  <a:lnTo>
                    <a:pt x="1072" y="605"/>
                  </a:lnTo>
                  <a:lnTo>
                    <a:pt x="1074" y="605"/>
                  </a:lnTo>
                  <a:lnTo>
                    <a:pt x="1072" y="605"/>
                  </a:lnTo>
                  <a:lnTo>
                    <a:pt x="1070" y="605"/>
                  </a:lnTo>
                  <a:lnTo>
                    <a:pt x="1070" y="603"/>
                  </a:lnTo>
                  <a:lnTo>
                    <a:pt x="1067" y="603"/>
                  </a:lnTo>
                  <a:lnTo>
                    <a:pt x="1070" y="603"/>
                  </a:lnTo>
                  <a:lnTo>
                    <a:pt x="1072" y="603"/>
                  </a:lnTo>
                  <a:lnTo>
                    <a:pt x="1074" y="603"/>
                  </a:lnTo>
                  <a:lnTo>
                    <a:pt x="1072" y="603"/>
                  </a:lnTo>
                  <a:lnTo>
                    <a:pt x="1074" y="603"/>
                  </a:lnTo>
                  <a:lnTo>
                    <a:pt x="1072" y="601"/>
                  </a:lnTo>
                  <a:lnTo>
                    <a:pt x="1074" y="601"/>
                  </a:lnTo>
                  <a:lnTo>
                    <a:pt x="1072" y="601"/>
                  </a:lnTo>
                  <a:lnTo>
                    <a:pt x="1074" y="601"/>
                  </a:lnTo>
                  <a:lnTo>
                    <a:pt x="1072" y="601"/>
                  </a:lnTo>
                  <a:lnTo>
                    <a:pt x="1072" y="598"/>
                  </a:lnTo>
                  <a:lnTo>
                    <a:pt x="1074" y="598"/>
                  </a:lnTo>
                  <a:lnTo>
                    <a:pt x="1074" y="601"/>
                  </a:lnTo>
                  <a:lnTo>
                    <a:pt x="1077" y="601"/>
                  </a:lnTo>
                  <a:lnTo>
                    <a:pt x="1077" y="603"/>
                  </a:lnTo>
                  <a:lnTo>
                    <a:pt x="1079" y="603"/>
                  </a:lnTo>
                  <a:close/>
                  <a:moveTo>
                    <a:pt x="1074" y="601"/>
                  </a:moveTo>
                  <a:lnTo>
                    <a:pt x="1074" y="598"/>
                  </a:lnTo>
                  <a:lnTo>
                    <a:pt x="1074" y="601"/>
                  </a:lnTo>
                  <a:close/>
                  <a:moveTo>
                    <a:pt x="1060" y="598"/>
                  </a:moveTo>
                  <a:lnTo>
                    <a:pt x="1060" y="596"/>
                  </a:lnTo>
                  <a:lnTo>
                    <a:pt x="1060" y="598"/>
                  </a:lnTo>
                  <a:lnTo>
                    <a:pt x="1060" y="596"/>
                  </a:lnTo>
                  <a:lnTo>
                    <a:pt x="1060" y="598"/>
                  </a:lnTo>
                  <a:close/>
                  <a:moveTo>
                    <a:pt x="1060" y="598"/>
                  </a:moveTo>
                  <a:lnTo>
                    <a:pt x="1060" y="596"/>
                  </a:lnTo>
                  <a:lnTo>
                    <a:pt x="1060" y="598"/>
                  </a:lnTo>
                  <a:close/>
                  <a:moveTo>
                    <a:pt x="1074" y="596"/>
                  </a:moveTo>
                  <a:lnTo>
                    <a:pt x="1072" y="596"/>
                  </a:lnTo>
                  <a:lnTo>
                    <a:pt x="1074" y="596"/>
                  </a:lnTo>
                  <a:close/>
                  <a:moveTo>
                    <a:pt x="1060" y="596"/>
                  </a:moveTo>
                  <a:lnTo>
                    <a:pt x="1060" y="594"/>
                  </a:lnTo>
                  <a:lnTo>
                    <a:pt x="1060" y="596"/>
                  </a:lnTo>
                  <a:close/>
                  <a:moveTo>
                    <a:pt x="1060" y="594"/>
                  </a:moveTo>
                  <a:lnTo>
                    <a:pt x="1060" y="596"/>
                  </a:lnTo>
                  <a:lnTo>
                    <a:pt x="1060" y="594"/>
                  </a:lnTo>
                  <a:close/>
                  <a:moveTo>
                    <a:pt x="1074" y="596"/>
                  </a:moveTo>
                  <a:lnTo>
                    <a:pt x="1072" y="596"/>
                  </a:lnTo>
                  <a:lnTo>
                    <a:pt x="1072" y="594"/>
                  </a:lnTo>
                  <a:lnTo>
                    <a:pt x="1070" y="594"/>
                  </a:lnTo>
                  <a:lnTo>
                    <a:pt x="1070" y="596"/>
                  </a:lnTo>
                  <a:lnTo>
                    <a:pt x="1072" y="594"/>
                  </a:lnTo>
                  <a:lnTo>
                    <a:pt x="1074" y="594"/>
                  </a:lnTo>
                  <a:lnTo>
                    <a:pt x="1074" y="596"/>
                  </a:lnTo>
                  <a:close/>
                  <a:moveTo>
                    <a:pt x="1074" y="586"/>
                  </a:moveTo>
                  <a:lnTo>
                    <a:pt x="1074" y="589"/>
                  </a:lnTo>
                  <a:lnTo>
                    <a:pt x="1074" y="586"/>
                  </a:lnTo>
                  <a:close/>
                  <a:moveTo>
                    <a:pt x="1074" y="586"/>
                  </a:moveTo>
                  <a:lnTo>
                    <a:pt x="1074" y="589"/>
                  </a:lnTo>
                  <a:lnTo>
                    <a:pt x="1072" y="589"/>
                  </a:lnTo>
                  <a:lnTo>
                    <a:pt x="1072" y="591"/>
                  </a:lnTo>
                  <a:lnTo>
                    <a:pt x="1072" y="589"/>
                  </a:lnTo>
                  <a:lnTo>
                    <a:pt x="1074" y="589"/>
                  </a:lnTo>
                  <a:lnTo>
                    <a:pt x="1074" y="586"/>
                  </a:lnTo>
                  <a:close/>
                  <a:moveTo>
                    <a:pt x="1070" y="579"/>
                  </a:moveTo>
                  <a:lnTo>
                    <a:pt x="1067" y="579"/>
                  </a:lnTo>
                  <a:lnTo>
                    <a:pt x="1070" y="579"/>
                  </a:lnTo>
                  <a:close/>
                  <a:moveTo>
                    <a:pt x="1070" y="579"/>
                  </a:moveTo>
                  <a:lnTo>
                    <a:pt x="1070" y="582"/>
                  </a:lnTo>
                  <a:lnTo>
                    <a:pt x="1070" y="579"/>
                  </a:lnTo>
                  <a:lnTo>
                    <a:pt x="1067" y="579"/>
                  </a:lnTo>
                  <a:lnTo>
                    <a:pt x="1070" y="579"/>
                  </a:lnTo>
                  <a:lnTo>
                    <a:pt x="1067" y="579"/>
                  </a:lnTo>
                  <a:lnTo>
                    <a:pt x="1070" y="579"/>
                  </a:lnTo>
                  <a:close/>
                  <a:moveTo>
                    <a:pt x="1067" y="579"/>
                  </a:moveTo>
                  <a:lnTo>
                    <a:pt x="1070" y="579"/>
                  </a:lnTo>
                  <a:lnTo>
                    <a:pt x="1067" y="579"/>
                  </a:lnTo>
                  <a:close/>
                  <a:moveTo>
                    <a:pt x="1074" y="584"/>
                  </a:moveTo>
                  <a:lnTo>
                    <a:pt x="1072" y="584"/>
                  </a:lnTo>
                  <a:lnTo>
                    <a:pt x="1074" y="584"/>
                  </a:lnTo>
                  <a:lnTo>
                    <a:pt x="1077" y="584"/>
                  </a:lnTo>
                  <a:lnTo>
                    <a:pt x="1074" y="584"/>
                  </a:lnTo>
                  <a:lnTo>
                    <a:pt x="1074" y="586"/>
                  </a:lnTo>
                  <a:lnTo>
                    <a:pt x="1072" y="586"/>
                  </a:lnTo>
                  <a:lnTo>
                    <a:pt x="1072" y="589"/>
                  </a:lnTo>
                  <a:lnTo>
                    <a:pt x="1070" y="589"/>
                  </a:lnTo>
                  <a:lnTo>
                    <a:pt x="1072" y="591"/>
                  </a:lnTo>
                  <a:lnTo>
                    <a:pt x="1070" y="591"/>
                  </a:lnTo>
                  <a:lnTo>
                    <a:pt x="1067" y="591"/>
                  </a:lnTo>
                  <a:lnTo>
                    <a:pt x="1065" y="591"/>
                  </a:lnTo>
                  <a:lnTo>
                    <a:pt x="1065" y="589"/>
                  </a:lnTo>
                  <a:lnTo>
                    <a:pt x="1065" y="586"/>
                  </a:lnTo>
                  <a:lnTo>
                    <a:pt x="1065" y="584"/>
                  </a:lnTo>
                  <a:lnTo>
                    <a:pt x="1063" y="584"/>
                  </a:lnTo>
                  <a:lnTo>
                    <a:pt x="1063" y="582"/>
                  </a:lnTo>
                  <a:lnTo>
                    <a:pt x="1065" y="582"/>
                  </a:lnTo>
                  <a:lnTo>
                    <a:pt x="1065" y="579"/>
                  </a:lnTo>
                  <a:lnTo>
                    <a:pt x="1065" y="577"/>
                  </a:lnTo>
                  <a:lnTo>
                    <a:pt x="1067" y="577"/>
                  </a:lnTo>
                  <a:lnTo>
                    <a:pt x="1070" y="577"/>
                  </a:lnTo>
                  <a:lnTo>
                    <a:pt x="1070" y="579"/>
                  </a:lnTo>
                  <a:lnTo>
                    <a:pt x="1070" y="577"/>
                  </a:lnTo>
                  <a:lnTo>
                    <a:pt x="1067" y="577"/>
                  </a:lnTo>
                  <a:lnTo>
                    <a:pt x="1070" y="579"/>
                  </a:lnTo>
                  <a:lnTo>
                    <a:pt x="1067" y="579"/>
                  </a:lnTo>
                  <a:lnTo>
                    <a:pt x="1067" y="582"/>
                  </a:lnTo>
                  <a:lnTo>
                    <a:pt x="1067" y="579"/>
                  </a:lnTo>
                  <a:lnTo>
                    <a:pt x="1067" y="582"/>
                  </a:lnTo>
                  <a:lnTo>
                    <a:pt x="1070" y="582"/>
                  </a:lnTo>
                  <a:lnTo>
                    <a:pt x="1070" y="579"/>
                  </a:lnTo>
                  <a:lnTo>
                    <a:pt x="1070" y="582"/>
                  </a:lnTo>
                  <a:lnTo>
                    <a:pt x="1070" y="579"/>
                  </a:lnTo>
                  <a:lnTo>
                    <a:pt x="1070" y="582"/>
                  </a:lnTo>
                  <a:lnTo>
                    <a:pt x="1070" y="579"/>
                  </a:lnTo>
                  <a:lnTo>
                    <a:pt x="1070" y="582"/>
                  </a:lnTo>
                  <a:lnTo>
                    <a:pt x="1070" y="579"/>
                  </a:lnTo>
                  <a:lnTo>
                    <a:pt x="1070" y="577"/>
                  </a:lnTo>
                  <a:lnTo>
                    <a:pt x="1072" y="577"/>
                  </a:lnTo>
                  <a:lnTo>
                    <a:pt x="1070" y="577"/>
                  </a:lnTo>
                  <a:lnTo>
                    <a:pt x="1072" y="577"/>
                  </a:lnTo>
                  <a:lnTo>
                    <a:pt x="1070" y="577"/>
                  </a:lnTo>
                  <a:lnTo>
                    <a:pt x="1072" y="577"/>
                  </a:lnTo>
                  <a:lnTo>
                    <a:pt x="1072" y="579"/>
                  </a:lnTo>
                  <a:lnTo>
                    <a:pt x="1072" y="582"/>
                  </a:lnTo>
                  <a:lnTo>
                    <a:pt x="1072" y="584"/>
                  </a:lnTo>
                  <a:lnTo>
                    <a:pt x="1074" y="584"/>
                  </a:lnTo>
                  <a:close/>
                  <a:moveTo>
                    <a:pt x="1067" y="582"/>
                  </a:moveTo>
                  <a:lnTo>
                    <a:pt x="1065" y="582"/>
                  </a:lnTo>
                  <a:lnTo>
                    <a:pt x="1067" y="582"/>
                  </a:lnTo>
                  <a:lnTo>
                    <a:pt x="1067" y="584"/>
                  </a:lnTo>
                  <a:lnTo>
                    <a:pt x="1067" y="582"/>
                  </a:lnTo>
                  <a:close/>
                  <a:moveTo>
                    <a:pt x="1096" y="572"/>
                  </a:moveTo>
                  <a:lnTo>
                    <a:pt x="1096" y="570"/>
                  </a:lnTo>
                  <a:lnTo>
                    <a:pt x="1096" y="572"/>
                  </a:lnTo>
                  <a:lnTo>
                    <a:pt x="1093" y="570"/>
                  </a:lnTo>
                  <a:lnTo>
                    <a:pt x="1096" y="570"/>
                  </a:lnTo>
                  <a:lnTo>
                    <a:pt x="1098" y="572"/>
                  </a:lnTo>
                  <a:lnTo>
                    <a:pt x="1096" y="572"/>
                  </a:lnTo>
                  <a:close/>
                  <a:moveTo>
                    <a:pt x="1105" y="563"/>
                  </a:moveTo>
                  <a:lnTo>
                    <a:pt x="1105" y="565"/>
                  </a:lnTo>
                  <a:lnTo>
                    <a:pt x="1105" y="563"/>
                  </a:lnTo>
                  <a:lnTo>
                    <a:pt x="1105" y="565"/>
                  </a:lnTo>
                  <a:lnTo>
                    <a:pt x="1105" y="563"/>
                  </a:lnTo>
                  <a:lnTo>
                    <a:pt x="1105" y="565"/>
                  </a:lnTo>
                  <a:lnTo>
                    <a:pt x="1105" y="563"/>
                  </a:lnTo>
                  <a:lnTo>
                    <a:pt x="1108" y="563"/>
                  </a:lnTo>
                  <a:lnTo>
                    <a:pt x="1105" y="563"/>
                  </a:lnTo>
                  <a:lnTo>
                    <a:pt x="1108" y="563"/>
                  </a:lnTo>
                  <a:lnTo>
                    <a:pt x="1108" y="560"/>
                  </a:lnTo>
                  <a:lnTo>
                    <a:pt x="1108" y="563"/>
                  </a:lnTo>
                  <a:lnTo>
                    <a:pt x="1108" y="565"/>
                  </a:lnTo>
                  <a:lnTo>
                    <a:pt x="1105" y="565"/>
                  </a:lnTo>
                  <a:lnTo>
                    <a:pt x="1103" y="565"/>
                  </a:lnTo>
                  <a:lnTo>
                    <a:pt x="1101" y="565"/>
                  </a:lnTo>
                  <a:lnTo>
                    <a:pt x="1103" y="565"/>
                  </a:lnTo>
                  <a:lnTo>
                    <a:pt x="1105" y="565"/>
                  </a:lnTo>
                  <a:lnTo>
                    <a:pt x="1108" y="565"/>
                  </a:lnTo>
                  <a:lnTo>
                    <a:pt x="1108" y="563"/>
                  </a:lnTo>
                  <a:lnTo>
                    <a:pt x="1108" y="560"/>
                  </a:lnTo>
                  <a:lnTo>
                    <a:pt x="1110" y="560"/>
                  </a:lnTo>
                  <a:lnTo>
                    <a:pt x="1108" y="563"/>
                  </a:lnTo>
                  <a:lnTo>
                    <a:pt x="1108" y="565"/>
                  </a:lnTo>
                  <a:lnTo>
                    <a:pt x="1105" y="565"/>
                  </a:lnTo>
                  <a:lnTo>
                    <a:pt x="1108" y="565"/>
                  </a:lnTo>
                  <a:lnTo>
                    <a:pt x="1105" y="565"/>
                  </a:lnTo>
                  <a:lnTo>
                    <a:pt x="1108" y="565"/>
                  </a:lnTo>
                  <a:lnTo>
                    <a:pt x="1105" y="565"/>
                  </a:lnTo>
                  <a:lnTo>
                    <a:pt x="1103" y="565"/>
                  </a:lnTo>
                  <a:lnTo>
                    <a:pt x="1103" y="567"/>
                  </a:lnTo>
                  <a:lnTo>
                    <a:pt x="1103" y="565"/>
                  </a:lnTo>
                  <a:lnTo>
                    <a:pt x="1105" y="565"/>
                  </a:lnTo>
                  <a:lnTo>
                    <a:pt x="1108" y="565"/>
                  </a:lnTo>
                  <a:lnTo>
                    <a:pt x="1105" y="567"/>
                  </a:lnTo>
                  <a:lnTo>
                    <a:pt x="1103" y="567"/>
                  </a:lnTo>
                  <a:lnTo>
                    <a:pt x="1103" y="570"/>
                  </a:lnTo>
                  <a:lnTo>
                    <a:pt x="1103" y="567"/>
                  </a:lnTo>
                  <a:lnTo>
                    <a:pt x="1103" y="570"/>
                  </a:lnTo>
                  <a:lnTo>
                    <a:pt x="1101" y="570"/>
                  </a:lnTo>
                  <a:lnTo>
                    <a:pt x="1098" y="570"/>
                  </a:lnTo>
                  <a:lnTo>
                    <a:pt x="1101" y="570"/>
                  </a:lnTo>
                  <a:lnTo>
                    <a:pt x="1101" y="572"/>
                  </a:lnTo>
                  <a:lnTo>
                    <a:pt x="1098" y="572"/>
                  </a:lnTo>
                  <a:lnTo>
                    <a:pt x="1096" y="570"/>
                  </a:lnTo>
                  <a:lnTo>
                    <a:pt x="1093" y="570"/>
                  </a:lnTo>
                  <a:lnTo>
                    <a:pt x="1091" y="570"/>
                  </a:lnTo>
                  <a:lnTo>
                    <a:pt x="1091" y="567"/>
                  </a:lnTo>
                  <a:lnTo>
                    <a:pt x="1093" y="567"/>
                  </a:lnTo>
                  <a:lnTo>
                    <a:pt x="1096" y="567"/>
                  </a:lnTo>
                  <a:lnTo>
                    <a:pt x="1093" y="567"/>
                  </a:lnTo>
                  <a:lnTo>
                    <a:pt x="1091" y="567"/>
                  </a:lnTo>
                  <a:lnTo>
                    <a:pt x="1091" y="570"/>
                  </a:lnTo>
                  <a:lnTo>
                    <a:pt x="1089" y="570"/>
                  </a:lnTo>
                  <a:lnTo>
                    <a:pt x="1086" y="570"/>
                  </a:lnTo>
                  <a:lnTo>
                    <a:pt x="1086" y="567"/>
                  </a:lnTo>
                  <a:lnTo>
                    <a:pt x="1089" y="567"/>
                  </a:lnTo>
                  <a:lnTo>
                    <a:pt x="1091" y="567"/>
                  </a:lnTo>
                  <a:lnTo>
                    <a:pt x="1093" y="567"/>
                  </a:lnTo>
                  <a:lnTo>
                    <a:pt x="1091" y="567"/>
                  </a:lnTo>
                  <a:lnTo>
                    <a:pt x="1093" y="567"/>
                  </a:lnTo>
                  <a:lnTo>
                    <a:pt x="1093" y="565"/>
                  </a:lnTo>
                  <a:lnTo>
                    <a:pt x="1096" y="565"/>
                  </a:lnTo>
                  <a:lnTo>
                    <a:pt x="1098" y="565"/>
                  </a:lnTo>
                  <a:lnTo>
                    <a:pt x="1101" y="565"/>
                  </a:lnTo>
                  <a:lnTo>
                    <a:pt x="1101" y="563"/>
                  </a:lnTo>
                  <a:lnTo>
                    <a:pt x="1103" y="563"/>
                  </a:lnTo>
                  <a:lnTo>
                    <a:pt x="1103" y="565"/>
                  </a:lnTo>
                  <a:lnTo>
                    <a:pt x="1101" y="565"/>
                  </a:lnTo>
                  <a:lnTo>
                    <a:pt x="1103" y="565"/>
                  </a:lnTo>
                  <a:lnTo>
                    <a:pt x="1101" y="565"/>
                  </a:lnTo>
                  <a:lnTo>
                    <a:pt x="1098" y="565"/>
                  </a:lnTo>
                  <a:lnTo>
                    <a:pt x="1101" y="565"/>
                  </a:lnTo>
                  <a:lnTo>
                    <a:pt x="1098" y="565"/>
                  </a:lnTo>
                  <a:lnTo>
                    <a:pt x="1098" y="567"/>
                  </a:lnTo>
                  <a:lnTo>
                    <a:pt x="1098" y="565"/>
                  </a:lnTo>
                  <a:lnTo>
                    <a:pt x="1101" y="565"/>
                  </a:lnTo>
                  <a:lnTo>
                    <a:pt x="1098" y="565"/>
                  </a:lnTo>
                  <a:lnTo>
                    <a:pt x="1101" y="565"/>
                  </a:lnTo>
                  <a:lnTo>
                    <a:pt x="1103" y="565"/>
                  </a:lnTo>
                  <a:lnTo>
                    <a:pt x="1103" y="563"/>
                  </a:lnTo>
                  <a:lnTo>
                    <a:pt x="1105" y="563"/>
                  </a:lnTo>
                  <a:lnTo>
                    <a:pt x="1105" y="560"/>
                  </a:lnTo>
                  <a:lnTo>
                    <a:pt x="1108" y="560"/>
                  </a:lnTo>
                  <a:lnTo>
                    <a:pt x="1108" y="558"/>
                  </a:lnTo>
                  <a:lnTo>
                    <a:pt x="1110" y="558"/>
                  </a:lnTo>
                  <a:lnTo>
                    <a:pt x="1108" y="558"/>
                  </a:lnTo>
                  <a:lnTo>
                    <a:pt x="1108" y="560"/>
                  </a:lnTo>
                  <a:lnTo>
                    <a:pt x="1110" y="560"/>
                  </a:lnTo>
                  <a:lnTo>
                    <a:pt x="1108" y="560"/>
                  </a:lnTo>
                  <a:lnTo>
                    <a:pt x="1110" y="560"/>
                  </a:lnTo>
                  <a:lnTo>
                    <a:pt x="1108" y="560"/>
                  </a:lnTo>
                  <a:lnTo>
                    <a:pt x="1108" y="563"/>
                  </a:lnTo>
                  <a:lnTo>
                    <a:pt x="1105" y="563"/>
                  </a:lnTo>
                  <a:close/>
                  <a:moveTo>
                    <a:pt x="1103" y="567"/>
                  </a:moveTo>
                  <a:lnTo>
                    <a:pt x="1101" y="567"/>
                  </a:lnTo>
                  <a:lnTo>
                    <a:pt x="1103" y="567"/>
                  </a:lnTo>
                  <a:lnTo>
                    <a:pt x="1103" y="565"/>
                  </a:lnTo>
                  <a:lnTo>
                    <a:pt x="1103" y="567"/>
                  </a:lnTo>
                  <a:close/>
                  <a:moveTo>
                    <a:pt x="1093" y="567"/>
                  </a:moveTo>
                  <a:lnTo>
                    <a:pt x="1096" y="567"/>
                  </a:lnTo>
                  <a:lnTo>
                    <a:pt x="1093" y="565"/>
                  </a:lnTo>
                  <a:lnTo>
                    <a:pt x="1093" y="567"/>
                  </a:lnTo>
                  <a:close/>
                  <a:moveTo>
                    <a:pt x="1098" y="567"/>
                  </a:moveTo>
                  <a:lnTo>
                    <a:pt x="1096" y="567"/>
                  </a:lnTo>
                  <a:lnTo>
                    <a:pt x="1098" y="567"/>
                  </a:lnTo>
                  <a:close/>
                  <a:moveTo>
                    <a:pt x="1124" y="558"/>
                  </a:moveTo>
                  <a:lnTo>
                    <a:pt x="1122" y="558"/>
                  </a:lnTo>
                  <a:lnTo>
                    <a:pt x="1119" y="558"/>
                  </a:lnTo>
                  <a:lnTo>
                    <a:pt x="1122" y="558"/>
                  </a:lnTo>
                  <a:lnTo>
                    <a:pt x="1124" y="558"/>
                  </a:lnTo>
                  <a:lnTo>
                    <a:pt x="1122" y="558"/>
                  </a:lnTo>
                  <a:lnTo>
                    <a:pt x="1119" y="558"/>
                  </a:lnTo>
                  <a:lnTo>
                    <a:pt x="1119" y="560"/>
                  </a:lnTo>
                  <a:lnTo>
                    <a:pt x="1122" y="560"/>
                  </a:lnTo>
                  <a:lnTo>
                    <a:pt x="1122" y="558"/>
                  </a:lnTo>
                  <a:lnTo>
                    <a:pt x="1122" y="560"/>
                  </a:lnTo>
                  <a:lnTo>
                    <a:pt x="1122" y="558"/>
                  </a:lnTo>
                  <a:lnTo>
                    <a:pt x="1124" y="558"/>
                  </a:lnTo>
                  <a:lnTo>
                    <a:pt x="1124" y="560"/>
                  </a:lnTo>
                  <a:lnTo>
                    <a:pt x="1122" y="560"/>
                  </a:lnTo>
                  <a:lnTo>
                    <a:pt x="1119" y="560"/>
                  </a:lnTo>
                  <a:lnTo>
                    <a:pt x="1122" y="560"/>
                  </a:lnTo>
                  <a:lnTo>
                    <a:pt x="1119" y="560"/>
                  </a:lnTo>
                  <a:lnTo>
                    <a:pt x="1119" y="563"/>
                  </a:lnTo>
                  <a:lnTo>
                    <a:pt x="1117" y="563"/>
                  </a:lnTo>
                  <a:lnTo>
                    <a:pt x="1117" y="565"/>
                  </a:lnTo>
                  <a:lnTo>
                    <a:pt x="1115" y="565"/>
                  </a:lnTo>
                  <a:lnTo>
                    <a:pt x="1112" y="565"/>
                  </a:lnTo>
                  <a:lnTo>
                    <a:pt x="1110" y="565"/>
                  </a:lnTo>
                  <a:lnTo>
                    <a:pt x="1110" y="563"/>
                  </a:lnTo>
                  <a:lnTo>
                    <a:pt x="1112" y="563"/>
                  </a:lnTo>
                  <a:lnTo>
                    <a:pt x="1112" y="560"/>
                  </a:lnTo>
                  <a:lnTo>
                    <a:pt x="1115" y="558"/>
                  </a:lnTo>
                  <a:lnTo>
                    <a:pt x="1117" y="558"/>
                  </a:lnTo>
                  <a:lnTo>
                    <a:pt x="1119" y="558"/>
                  </a:lnTo>
                  <a:lnTo>
                    <a:pt x="1122" y="558"/>
                  </a:lnTo>
                  <a:lnTo>
                    <a:pt x="1124" y="558"/>
                  </a:lnTo>
                  <a:close/>
                  <a:moveTo>
                    <a:pt x="1122" y="544"/>
                  </a:moveTo>
                  <a:lnTo>
                    <a:pt x="1122" y="546"/>
                  </a:lnTo>
                  <a:lnTo>
                    <a:pt x="1122" y="544"/>
                  </a:lnTo>
                  <a:close/>
                  <a:moveTo>
                    <a:pt x="1138" y="537"/>
                  </a:moveTo>
                  <a:lnTo>
                    <a:pt x="1138" y="539"/>
                  </a:lnTo>
                  <a:lnTo>
                    <a:pt x="1141" y="539"/>
                  </a:lnTo>
                  <a:lnTo>
                    <a:pt x="1138" y="541"/>
                  </a:lnTo>
                  <a:lnTo>
                    <a:pt x="1138" y="544"/>
                  </a:lnTo>
                  <a:lnTo>
                    <a:pt x="1136" y="541"/>
                  </a:lnTo>
                  <a:lnTo>
                    <a:pt x="1136" y="539"/>
                  </a:lnTo>
                  <a:lnTo>
                    <a:pt x="1136" y="541"/>
                  </a:lnTo>
                  <a:lnTo>
                    <a:pt x="1138" y="539"/>
                  </a:lnTo>
                  <a:lnTo>
                    <a:pt x="1138" y="541"/>
                  </a:lnTo>
                  <a:lnTo>
                    <a:pt x="1136" y="541"/>
                  </a:lnTo>
                  <a:lnTo>
                    <a:pt x="1138" y="541"/>
                  </a:lnTo>
                  <a:lnTo>
                    <a:pt x="1138" y="539"/>
                  </a:lnTo>
                  <a:lnTo>
                    <a:pt x="1138" y="537"/>
                  </a:lnTo>
                  <a:close/>
                  <a:moveTo>
                    <a:pt x="1138" y="539"/>
                  </a:moveTo>
                  <a:lnTo>
                    <a:pt x="1138" y="541"/>
                  </a:lnTo>
                  <a:lnTo>
                    <a:pt x="1138" y="539"/>
                  </a:lnTo>
                  <a:close/>
                  <a:moveTo>
                    <a:pt x="1136" y="544"/>
                  </a:moveTo>
                  <a:lnTo>
                    <a:pt x="1138" y="544"/>
                  </a:lnTo>
                  <a:lnTo>
                    <a:pt x="1138" y="546"/>
                  </a:lnTo>
                  <a:lnTo>
                    <a:pt x="1138" y="544"/>
                  </a:lnTo>
                  <a:lnTo>
                    <a:pt x="1138" y="546"/>
                  </a:lnTo>
                  <a:lnTo>
                    <a:pt x="1136" y="548"/>
                  </a:lnTo>
                  <a:lnTo>
                    <a:pt x="1134" y="548"/>
                  </a:lnTo>
                  <a:lnTo>
                    <a:pt x="1134" y="551"/>
                  </a:lnTo>
                  <a:lnTo>
                    <a:pt x="1131" y="551"/>
                  </a:lnTo>
                  <a:lnTo>
                    <a:pt x="1129" y="551"/>
                  </a:lnTo>
                  <a:lnTo>
                    <a:pt x="1129" y="553"/>
                  </a:lnTo>
                  <a:lnTo>
                    <a:pt x="1129" y="551"/>
                  </a:lnTo>
                  <a:lnTo>
                    <a:pt x="1131" y="551"/>
                  </a:lnTo>
                  <a:lnTo>
                    <a:pt x="1129" y="551"/>
                  </a:lnTo>
                  <a:lnTo>
                    <a:pt x="1129" y="553"/>
                  </a:lnTo>
                  <a:lnTo>
                    <a:pt x="1129" y="551"/>
                  </a:lnTo>
                  <a:lnTo>
                    <a:pt x="1129" y="553"/>
                  </a:lnTo>
                  <a:lnTo>
                    <a:pt x="1127" y="551"/>
                  </a:lnTo>
                  <a:lnTo>
                    <a:pt x="1127" y="553"/>
                  </a:lnTo>
                  <a:lnTo>
                    <a:pt x="1127" y="551"/>
                  </a:lnTo>
                  <a:lnTo>
                    <a:pt x="1127" y="548"/>
                  </a:lnTo>
                  <a:lnTo>
                    <a:pt x="1129" y="548"/>
                  </a:lnTo>
                  <a:lnTo>
                    <a:pt x="1129" y="546"/>
                  </a:lnTo>
                  <a:lnTo>
                    <a:pt x="1131" y="546"/>
                  </a:lnTo>
                  <a:lnTo>
                    <a:pt x="1131" y="544"/>
                  </a:lnTo>
                  <a:lnTo>
                    <a:pt x="1131" y="541"/>
                  </a:lnTo>
                  <a:lnTo>
                    <a:pt x="1131" y="544"/>
                  </a:lnTo>
                  <a:lnTo>
                    <a:pt x="1131" y="546"/>
                  </a:lnTo>
                  <a:lnTo>
                    <a:pt x="1129" y="546"/>
                  </a:lnTo>
                  <a:lnTo>
                    <a:pt x="1129" y="548"/>
                  </a:lnTo>
                  <a:lnTo>
                    <a:pt x="1127" y="548"/>
                  </a:lnTo>
                  <a:lnTo>
                    <a:pt x="1127" y="551"/>
                  </a:lnTo>
                  <a:lnTo>
                    <a:pt x="1127" y="553"/>
                  </a:lnTo>
                  <a:lnTo>
                    <a:pt x="1127" y="551"/>
                  </a:lnTo>
                  <a:lnTo>
                    <a:pt x="1127" y="553"/>
                  </a:lnTo>
                  <a:lnTo>
                    <a:pt x="1124" y="556"/>
                  </a:lnTo>
                  <a:lnTo>
                    <a:pt x="1122" y="556"/>
                  </a:lnTo>
                  <a:lnTo>
                    <a:pt x="1119" y="558"/>
                  </a:lnTo>
                  <a:lnTo>
                    <a:pt x="1117" y="558"/>
                  </a:lnTo>
                  <a:lnTo>
                    <a:pt x="1115" y="558"/>
                  </a:lnTo>
                  <a:lnTo>
                    <a:pt x="1112" y="558"/>
                  </a:lnTo>
                  <a:lnTo>
                    <a:pt x="1115" y="558"/>
                  </a:lnTo>
                  <a:lnTo>
                    <a:pt x="1117" y="558"/>
                  </a:lnTo>
                  <a:lnTo>
                    <a:pt x="1115" y="558"/>
                  </a:lnTo>
                  <a:lnTo>
                    <a:pt x="1112" y="558"/>
                  </a:lnTo>
                  <a:lnTo>
                    <a:pt x="1110" y="560"/>
                  </a:lnTo>
                  <a:lnTo>
                    <a:pt x="1112" y="558"/>
                  </a:lnTo>
                  <a:lnTo>
                    <a:pt x="1112" y="560"/>
                  </a:lnTo>
                  <a:lnTo>
                    <a:pt x="1110" y="560"/>
                  </a:lnTo>
                  <a:lnTo>
                    <a:pt x="1110" y="558"/>
                  </a:lnTo>
                  <a:lnTo>
                    <a:pt x="1112" y="558"/>
                  </a:lnTo>
                  <a:lnTo>
                    <a:pt x="1112" y="556"/>
                  </a:lnTo>
                  <a:lnTo>
                    <a:pt x="1115" y="556"/>
                  </a:lnTo>
                  <a:lnTo>
                    <a:pt x="1112" y="556"/>
                  </a:lnTo>
                  <a:lnTo>
                    <a:pt x="1115" y="556"/>
                  </a:lnTo>
                  <a:lnTo>
                    <a:pt x="1115" y="553"/>
                  </a:lnTo>
                  <a:lnTo>
                    <a:pt x="1117" y="553"/>
                  </a:lnTo>
                  <a:lnTo>
                    <a:pt x="1119" y="553"/>
                  </a:lnTo>
                  <a:lnTo>
                    <a:pt x="1117" y="553"/>
                  </a:lnTo>
                  <a:lnTo>
                    <a:pt x="1117" y="551"/>
                  </a:lnTo>
                  <a:lnTo>
                    <a:pt x="1119" y="551"/>
                  </a:lnTo>
                  <a:lnTo>
                    <a:pt x="1122" y="551"/>
                  </a:lnTo>
                  <a:lnTo>
                    <a:pt x="1119" y="551"/>
                  </a:lnTo>
                  <a:lnTo>
                    <a:pt x="1122" y="551"/>
                  </a:lnTo>
                  <a:lnTo>
                    <a:pt x="1122" y="548"/>
                  </a:lnTo>
                  <a:lnTo>
                    <a:pt x="1122" y="546"/>
                  </a:lnTo>
                  <a:lnTo>
                    <a:pt x="1124" y="546"/>
                  </a:lnTo>
                  <a:lnTo>
                    <a:pt x="1122" y="544"/>
                  </a:lnTo>
                  <a:lnTo>
                    <a:pt x="1124" y="544"/>
                  </a:lnTo>
                  <a:lnTo>
                    <a:pt x="1124" y="541"/>
                  </a:lnTo>
                  <a:lnTo>
                    <a:pt x="1127" y="541"/>
                  </a:lnTo>
                  <a:lnTo>
                    <a:pt x="1127" y="544"/>
                  </a:lnTo>
                  <a:lnTo>
                    <a:pt x="1127" y="541"/>
                  </a:lnTo>
                  <a:lnTo>
                    <a:pt x="1129" y="541"/>
                  </a:lnTo>
                  <a:lnTo>
                    <a:pt x="1131" y="541"/>
                  </a:lnTo>
                  <a:lnTo>
                    <a:pt x="1129" y="541"/>
                  </a:lnTo>
                  <a:lnTo>
                    <a:pt x="1131" y="541"/>
                  </a:lnTo>
                  <a:lnTo>
                    <a:pt x="1131" y="539"/>
                  </a:lnTo>
                  <a:lnTo>
                    <a:pt x="1134" y="539"/>
                  </a:lnTo>
                  <a:lnTo>
                    <a:pt x="1131" y="541"/>
                  </a:lnTo>
                  <a:lnTo>
                    <a:pt x="1134" y="541"/>
                  </a:lnTo>
                  <a:lnTo>
                    <a:pt x="1131" y="541"/>
                  </a:lnTo>
                  <a:lnTo>
                    <a:pt x="1134" y="541"/>
                  </a:lnTo>
                  <a:lnTo>
                    <a:pt x="1131" y="541"/>
                  </a:lnTo>
                  <a:lnTo>
                    <a:pt x="1134" y="541"/>
                  </a:lnTo>
                  <a:lnTo>
                    <a:pt x="1134" y="539"/>
                  </a:lnTo>
                  <a:lnTo>
                    <a:pt x="1134" y="541"/>
                  </a:lnTo>
                  <a:lnTo>
                    <a:pt x="1134" y="544"/>
                  </a:lnTo>
                  <a:lnTo>
                    <a:pt x="1134" y="541"/>
                  </a:lnTo>
                  <a:lnTo>
                    <a:pt x="1134" y="544"/>
                  </a:lnTo>
                  <a:lnTo>
                    <a:pt x="1131" y="544"/>
                  </a:lnTo>
                  <a:lnTo>
                    <a:pt x="1134" y="544"/>
                  </a:lnTo>
                  <a:lnTo>
                    <a:pt x="1134" y="546"/>
                  </a:lnTo>
                  <a:lnTo>
                    <a:pt x="1131" y="546"/>
                  </a:lnTo>
                  <a:lnTo>
                    <a:pt x="1134" y="546"/>
                  </a:lnTo>
                  <a:lnTo>
                    <a:pt x="1134" y="544"/>
                  </a:lnTo>
                  <a:lnTo>
                    <a:pt x="1131" y="544"/>
                  </a:lnTo>
                  <a:lnTo>
                    <a:pt x="1134" y="544"/>
                  </a:lnTo>
                  <a:lnTo>
                    <a:pt x="1134" y="541"/>
                  </a:lnTo>
                  <a:lnTo>
                    <a:pt x="1134" y="539"/>
                  </a:lnTo>
                  <a:lnTo>
                    <a:pt x="1134" y="541"/>
                  </a:lnTo>
                  <a:lnTo>
                    <a:pt x="1134" y="544"/>
                  </a:lnTo>
                  <a:lnTo>
                    <a:pt x="1134" y="541"/>
                  </a:lnTo>
                  <a:lnTo>
                    <a:pt x="1136" y="541"/>
                  </a:lnTo>
                  <a:lnTo>
                    <a:pt x="1134" y="541"/>
                  </a:lnTo>
                  <a:lnTo>
                    <a:pt x="1134" y="539"/>
                  </a:lnTo>
                  <a:lnTo>
                    <a:pt x="1134" y="541"/>
                  </a:lnTo>
                  <a:lnTo>
                    <a:pt x="1136" y="541"/>
                  </a:lnTo>
                  <a:lnTo>
                    <a:pt x="1136" y="539"/>
                  </a:lnTo>
                  <a:lnTo>
                    <a:pt x="1136" y="537"/>
                  </a:lnTo>
                  <a:lnTo>
                    <a:pt x="1136" y="539"/>
                  </a:lnTo>
                  <a:lnTo>
                    <a:pt x="1138" y="539"/>
                  </a:lnTo>
                  <a:lnTo>
                    <a:pt x="1136" y="539"/>
                  </a:lnTo>
                  <a:lnTo>
                    <a:pt x="1136" y="541"/>
                  </a:lnTo>
                  <a:lnTo>
                    <a:pt x="1136" y="544"/>
                  </a:lnTo>
                  <a:close/>
                  <a:moveTo>
                    <a:pt x="1134" y="544"/>
                  </a:moveTo>
                  <a:lnTo>
                    <a:pt x="1131" y="544"/>
                  </a:lnTo>
                  <a:lnTo>
                    <a:pt x="1134" y="544"/>
                  </a:lnTo>
                  <a:close/>
                  <a:moveTo>
                    <a:pt x="1127" y="544"/>
                  </a:moveTo>
                  <a:lnTo>
                    <a:pt x="1124" y="544"/>
                  </a:lnTo>
                  <a:lnTo>
                    <a:pt x="1127" y="544"/>
                  </a:lnTo>
                  <a:lnTo>
                    <a:pt x="1124" y="544"/>
                  </a:lnTo>
                  <a:lnTo>
                    <a:pt x="1127" y="544"/>
                  </a:lnTo>
                  <a:lnTo>
                    <a:pt x="1127" y="546"/>
                  </a:lnTo>
                  <a:lnTo>
                    <a:pt x="1127" y="544"/>
                  </a:lnTo>
                  <a:close/>
                  <a:moveTo>
                    <a:pt x="1124" y="546"/>
                  </a:moveTo>
                  <a:lnTo>
                    <a:pt x="1127" y="546"/>
                  </a:lnTo>
                  <a:lnTo>
                    <a:pt x="1124" y="546"/>
                  </a:lnTo>
                  <a:close/>
                  <a:moveTo>
                    <a:pt x="1117" y="553"/>
                  </a:moveTo>
                  <a:lnTo>
                    <a:pt x="1117" y="556"/>
                  </a:lnTo>
                  <a:lnTo>
                    <a:pt x="1115" y="556"/>
                  </a:lnTo>
                  <a:lnTo>
                    <a:pt x="1117" y="556"/>
                  </a:lnTo>
                  <a:lnTo>
                    <a:pt x="1119" y="556"/>
                  </a:lnTo>
                  <a:lnTo>
                    <a:pt x="1117" y="556"/>
                  </a:lnTo>
                  <a:lnTo>
                    <a:pt x="1117" y="553"/>
                  </a:lnTo>
                  <a:lnTo>
                    <a:pt x="1119" y="553"/>
                  </a:lnTo>
                  <a:lnTo>
                    <a:pt x="1117" y="553"/>
                  </a:lnTo>
                  <a:close/>
                  <a:moveTo>
                    <a:pt x="1117" y="544"/>
                  </a:moveTo>
                  <a:lnTo>
                    <a:pt x="1119" y="544"/>
                  </a:lnTo>
                  <a:lnTo>
                    <a:pt x="1117" y="544"/>
                  </a:lnTo>
                  <a:lnTo>
                    <a:pt x="1119" y="544"/>
                  </a:lnTo>
                  <a:lnTo>
                    <a:pt x="1119" y="541"/>
                  </a:lnTo>
                  <a:lnTo>
                    <a:pt x="1119" y="544"/>
                  </a:lnTo>
                  <a:lnTo>
                    <a:pt x="1117" y="544"/>
                  </a:lnTo>
                  <a:lnTo>
                    <a:pt x="1117" y="546"/>
                  </a:lnTo>
                  <a:lnTo>
                    <a:pt x="1119" y="546"/>
                  </a:lnTo>
                  <a:lnTo>
                    <a:pt x="1117" y="546"/>
                  </a:lnTo>
                  <a:lnTo>
                    <a:pt x="1119" y="546"/>
                  </a:lnTo>
                  <a:lnTo>
                    <a:pt x="1117" y="546"/>
                  </a:lnTo>
                  <a:lnTo>
                    <a:pt x="1119" y="544"/>
                  </a:lnTo>
                  <a:lnTo>
                    <a:pt x="1122" y="544"/>
                  </a:lnTo>
                  <a:lnTo>
                    <a:pt x="1119" y="544"/>
                  </a:lnTo>
                  <a:lnTo>
                    <a:pt x="1122" y="546"/>
                  </a:lnTo>
                  <a:lnTo>
                    <a:pt x="1119" y="546"/>
                  </a:lnTo>
                  <a:lnTo>
                    <a:pt x="1119" y="548"/>
                  </a:lnTo>
                  <a:lnTo>
                    <a:pt x="1122" y="548"/>
                  </a:lnTo>
                  <a:lnTo>
                    <a:pt x="1122" y="551"/>
                  </a:lnTo>
                  <a:lnTo>
                    <a:pt x="1119" y="551"/>
                  </a:lnTo>
                  <a:lnTo>
                    <a:pt x="1117" y="551"/>
                  </a:lnTo>
                  <a:lnTo>
                    <a:pt x="1117" y="553"/>
                  </a:lnTo>
                  <a:lnTo>
                    <a:pt x="1115" y="553"/>
                  </a:lnTo>
                  <a:lnTo>
                    <a:pt x="1112" y="553"/>
                  </a:lnTo>
                  <a:lnTo>
                    <a:pt x="1112" y="551"/>
                  </a:lnTo>
                  <a:lnTo>
                    <a:pt x="1110" y="551"/>
                  </a:lnTo>
                  <a:lnTo>
                    <a:pt x="1112" y="551"/>
                  </a:lnTo>
                  <a:lnTo>
                    <a:pt x="1112" y="548"/>
                  </a:lnTo>
                  <a:lnTo>
                    <a:pt x="1115" y="548"/>
                  </a:lnTo>
                  <a:lnTo>
                    <a:pt x="1112" y="548"/>
                  </a:lnTo>
                  <a:lnTo>
                    <a:pt x="1112" y="551"/>
                  </a:lnTo>
                  <a:lnTo>
                    <a:pt x="1110" y="551"/>
                  </a:lnTo>
                  <a:lnTo>
                    <a:pt x="1112" y="551"/>
                  </a:lnTo>
                  <a:lnTo>
                    <a:pt x="1112" y="553"/>
                  </a:lnTo>
                  <a:lnTo>
                    <a:pt x="1112" y="556"/>
                  </a:lnTo>
                  <a:lnTo>
                    <a:pt x="1112" y="558"/>
                  </a:lnTo>
                  <a:lnTo>
                    <a:pt x="1110" y="558"/>
                  </a:lnTo>
                  <a:lnTo>
                    <a:pt x="1110" y="556"/>
                  </a:lnTo>
                  <a:lnTo>
                    <a:pt x="1108" y="556"/>
                  </a:lnTo>
                  <a:lnTo>
                    <a:pt x="1105" y="556"/>
                  </a:lnTo>
                  <a:lnTo>
                    <a:pt x="1103" y="556"/>
                  </a:lnTo>
                  <a:lnTo>
                    <a:pt x="1101" y="553"/>
                  </a:lnTo>
                  <a:lnTo>
                    <a:pt x="1103" y="553"/>
                  </a:lnTo>
                  <a:lnTo>
                    <a:pt x="1103" y="551"/>
                  </a:lnTo>
                  <a:lnTo>
                    <a:pt x="1105" y="551"/>
                  </a:lnTo>
                  <a:lnTo>
                    <a:pt x="1103" y="551"/>
                  </a:lnTo>
                  <a:lnTo>
                    <a:pt x="1101" y="551"/>
                  </a:lnTo>
                  <a:lnTo>
                    <a:pt x="1103" y="548"/>
                  </a:lnTo>
                  <a:lnTo>
                    <a:pt x="1103" y="546"/>
                  </a:lnTo>
                  <a:lnTo>
                    <a:pt x="1103" y="548"/>
                  </a:lnTo>
                  <a:lnTo>
                    <a:pt x="1103" y="546"/>
                  </a:lnTo>
                  <a:lnTo>
                    <a:pt x="1105" y="546"/>
                  </a:lnTo>
                  <a:lnTo>
                    <a:pt x="1105" y="544"/>
                  </a:lnTo>
                  <a:lnTo>
                    <a:pt x="1108" y="544"/>
                  </a:lnTo>
                  <a:lnTo>
                    <a:pt x="1105" y="544"/>
                  </a:lnTo>
                  <a:lnTo>
                    <a:pt x="1108" y="544"/>
                  </a:lnTo>
                  <a:lnTo>
                    <a:pt x="1108" y="541"/>
                  </a:lnTo>
                  <a:lnTo>
                    <a:pt x="1108" y="544"/>
                  </a:lnTo>
                  <a:lnTo>
                    <a:pt x="1108" y="541"/>
                  </a:lnTo>
                  <a:lnTo>
                    <a:pt x="1110" y="541"/>
                  </a:lnTo>
                  <a:lnTo>
                    <a:pt x="1110" y="544"/>
                  </a:lnTo>
                  <a:lnTo>
                    <a:pt x="1108" y="544"/>
                  </a:lnTo>
                  <a:lnTo>
                    <a:pt x="1110" y="541"/>
                  </a:lnTo>
                  <a:lnTo>
                    <a:pt x="1108" y="541"/>
                  </a:lnTo>
                  <a:lnTo>
                    <a:pt x="1110" y="541"/>
                  </a:lnTo>
                  <a:lnTo>
                    <a:pt x="1110" y="544"/>
                  </a:lnTo>
                  <a:lnTo>
                    <a:pt x="1108" y="544"/>
                  </a:lnTo>
                  <a:lnTo>
                    <a:pt x="1108" y="546"/>
                  </a:lnTo>
                  <a:lnTo>
                    <a:pt x="1110" y="546"/>
                  </a:lnTo>
                  <a:lnTo>
                    <a:pt x="1108" y="546"/>
                  </a:lnTo>
                  <a:lnTo>
                    <a:pt x="1110" y="546"/>
                  </a:lnTo>
                  <a:lnTo>
                    <a:pt x="1108" y="546"/>
                  </a:lnTo>
                  <a:lnTo>
                    <a:pt x="1108" y="544"/>
                  </a:lnTo>
                  <a:lnTo>
                    <a:pt x="1110" y="544"/>
                  </a:lnTo>
                  <a:lnTo>
                    <a:pt x="1110" y="541"/>
                  </a:lnTo>
                  <a:lnTo>
                    <a:pt x="1108" y="541"/>
                  </a:lnTo>
                  <a:lnTo>
                    <a:pt x="1108" y="539"/>
                  </a:lnTo>
                  <a:lnTo>
                    <a:pt x="1110" y="539"/>
                  </a:lnTo>
                  <a:lnTo>
                    <a:pt x="1112" y="539"/>
                  </a:lnTo>
                  <a:lnTo>
                    <a:pt x="1115" y="539"/>
                  </a:lnTo>
                  <a:lnTo>
                    <a:pt x="1115" y="537"/>
                  </a:lnTo>
                  <a:lnTo>
                    <a:pt x="1115" y="539"/>
                  </a:lnTo>
                  <a:lnTo>
                    <a:pt x="1117" y="539"/>
                  </a:lnTo>
                  <a:lnTo>
                    <a:pt x="1115" y="537"/>
                  </a:lnTo>
                  <a:lnTo>
                    <a:pt x="1117" y="537"/>
                  </a:lnTo>
                  <a:lnTo>
                    <a:pt x="1117" y="539"/>
                  </a:lnTo>
                  <a:lnTo>
                    <a:pt x="1117" y="537"/>
                  </a:lnTo>
                  <a:lnTo>
                    <a:pt x="1117" y="539"/>
                  </a:lnTo>
                  <a:lnTo>
                    <a:pt x="1117" y="541"/>
                  </a:lnTo>
                  <a:lnTo>
                    <a:pt x="1119" y="541"/>
                  </a:lnTo>
                  <a:lnTo>
                    <a:pt x="1117" y="544"/>
                  </a:lnTo>
                  <a:close/>
                  <a:moveTo>
                    <a:pt x="1112" y="541"/>
                  </a:moveTo>
                  <a:lnTo>
                    <a:pt x="1112" y="544"/>
                  </a:lnTo>
                  <a:lnTo>
                    <a:pt x="1112" y="541"/>
                  </a:lnTo>
                  <a:close/>
                  <a:moveTo>
                    <a:pt x="1112" y="541"/>
                  </a:moveTo>
                  <a:lnTo>
                    <a:pt x="1112" y="544"/>
                  </a:lnTo>
                  <a:lnTo>
                    <a:pt x="1112" y="541"/>
                  </a:lnTo>
                  <a:close/>
                  <a:moveTo>
                    <a:pt x="1112" y="541"/>
                  </a:moveTo>
                  <a:lnTo>
                    <a:pt x="1115" y="541"/>
                  </a:lnTo>
                  <a:lnTo>
                    <a:pt x="1112" y="541"/>
                  </a:lnTo>
                  <a:close/>
                  <a:moveTo>
                    <a:pt x="1115" y="539"/>
                  </a:moveTo>
                  <a:lnTo>
                    <a:pt x="1115" y="541"/>
                  </a:lnTo>
                  <a:lnTo>
                    <a:pt x="1115" y="539"/>
                  </a:lnTo>
                  <a:close/>
                  <a:moveTo>
                    <a:pt x="1112" y="546"/>
                  </a:moveTo>
                  <a:lnTo>
                    <a:pt x="1112" y="544"/>
                  </a:lnTo>
                  <a:lnTo>
                    <a:pt x="1112" y="546"/>
                  </a:lnTo>
                  <a:close/>
                  <a:moveTo>
                    <a:pt x="1110" y="548"/>
                  </a:moveTo>
                  <a:lnTo>
                    <a:pt x="1110" y="551"/>
                  </a:lnTo>
                  <a:lnTo>
                    <a:pt x="1110" y="548"/>
                  </a:lnTo>
                  <a:lnTo>
                    <a:pt x="1110" y="546"/>
                  </a:lnTo>
                  <a:lnTo>
                    <a:pt x="1112" y="546"/>
                  </a:lnTo>
                  <a:lnTo>
                    <a:pt x="1110" y="546"/>
                  </a:lnTo>
                  <a:lnTo>
                    <a:pt x="1110" y="548"/>
                  </a:lnTo>
                  <a:close/>
                  <a:moveTo>
                    <a:pt x="1115" y="546"/>
                  </a:moveTo>
                  <a:lnTo>
                    <a:pt x="1115" y="548"/>
                  </a:lnTo>
                  <a:lnTo>
                    <a:pt x="1115" y="546"/>
                  </a:lnTo>
                  <a:close/>
                  <a:moveTo>
                    <a:pt x="1105" y="551"/>
                  </a:moveTo>
                  <a:lnTo>
                    <a:pt x="1103" y="551"/>
                  </a:lnTo>
                  <a:lnTo>
                    <a:pt x="1105" y="551"/>
                  </a:lnTo>
                  <a:close/>
                  <a:moveTo>
                    <a:pt x="1105" y="551"/>
                  </a:moveTo>
                  <a:lnTo>
                    <a:pt x="1105" y="553"/>
                  </a:lnTo>
                  <a:lnTo>
                    <a:pt x="1105" y="551"/>
                  </a:lnTo>
                  <a:lnTo>
                    <a:pt x="1105" y="553"/>
                  </a:lnTo>
                  <a:lnTo>
                    <a:pt x="1105" y="551"/>
                  </a:lnTo>
                  <a:lnTo>
                    <a:pt x="1105" y="553"/>
                  </a:lnTo>
                  <a:lnTo>
                    <a:pt x="1105" y="551"/>
                  </a:lnTo>
                  <a:close/>
                  <a:moveTo>
                    <a:pt x="1108" y="553"/>
                  </a:moveTo>
                  <a:lnTo>
                    <a:pt x="1105" y="553"/>
                  </a:lnTo>
                  <a:lnTo>
                    <a:pt x="1108" y="553"/>
                  </a:lnTo>
                  <a:close/>
                  <a:moveTo>
                    <a:pt x="1112" y="556"/>
                  </a:moveTo>
                  <a:lnTo>
                    <a:pt x="1110" y="556"/>
                  </a:lnTo>
                  <a:lnTo>
                    <a:pt x="1110" y="558"/>
                  </a:lnTo>
                  <a:lnTo>
                    <a:pt x="1110" y="556"/>
                  </a:lnTo>
                  <a:lnTo>
                    <a:pt x="1112" y="556"/>
                  </a:lnTo>
                  <a:lnTo>
                    <a:pt x="1112" y="553"/>
                  </a:lnTo>
                  <a:lnTo>
                    <a:pt x="1112" y="556"/>
                  </a:lnTo>
                  <a:close/>
                  <a:moveTo>
                    <a:pt x="1129" y="539"/>
                  </a:moveTo>
                  <a:lnTo>
                    <a:pt x="1127" y="539"/>
                  </a:lnTo>
                  <a:lnTo>
                    <a:pt x="1129" y="539"/>
                  </a:lnTo>
                  <a:lnTo>
                    <a:pt x="1131" y="539"/>
                  </a:lnTo>
                  <a:lnTo>
                    <a:pt x="1129" y="539"/>
                  </a:lnTo>
                  <a:lnTo>
                    <a:pt x="1129" y="541"/>
                  </a:lnTo>
                  <a:lnTo>
                    <a:pt x="1127" y="541"/>
                  </a:lnTo>
                  <a:lnTo>
                    <a:pt x="1124" y="541"/>
                  </a:lnTo>
                  <a:lnTo>
                    <a:pt x="1127" y="541"/>
                  </a:lnTo>
                  <a:lnTo>
                    <a:pt x="1124" y="541"/>
                  </a:lnTo>
                  <a:lnTo>
                    <a:pt x="1124" y="539"/>
                  </a:lnTo>
                  <a:lnTo>
                    <a:pt x="1124" y="541"/>
                  </a:lnTo>
                  <a:lnTo>
                    <a:pt x="1122" y="541"/>
                  </a:lnTo>
                  <a:lnTo>
                    <a:pt x="1122" y="539"/>
                  </a:lnTo>
                  <a:lnTo>
                    <a:pt x="1124" y="537"/>
                  </a:lnTo>
                  <a:lnTo>
                    <a:pt x="1127" y="537"/>
                  </a:lnTo>
                  <a:lnTo>
                    <a:pt x="1124" y="537"/>
                  </a:lnTo>
                  <a:lnTo>
                    <a:pt x="1124" y="539"/>
                  </a:lnTo>
                  <a:lnTo>
                    <a:pt x="1127" y="539"/>
                  </a:lnTo>
                  <a:lnTo>
                    <a:pt x="1124" y="539"/>
                  </a:lnTo>
                  <a:lnTo>
                    <a:pt x="1127" y="539"/>
                  </a:lnTo>
                  <a:lnTo>
                    <a:pt x="1127" y="537"/>
                  </a:lnTo>
                  <a:lnTo>
                    <a:pt x="1127" y="539"/>
                  </a:lnTo>
                  <a:lnTo>
                    <a:pt x="1129" y="539"/>
                  </a:lnTo>
                  <a:lnTo>
                    <a:pt x="1127" y="539"/>
                  </a:lnTo>
                  <a:lnTo>
                    <a:pt x="1129" y="539"/>
                  </a:lnTo>
                  <a:close/>
                  <a:moveTo>
                    <a:pt x="1124" y="539"/>
                  </a:moveTo>
                  <a:lnTo>
                    <a:pt x="1127" y="539"/>
                  </a:lnTo>
                  <a:lnTo>
                    <a:pt x="1124" y="539"/>
                  </a:lnTo>
                  <a:lnTo>
                    <a:pt x="1127" y="539"/>
                  </a:lnTo>
                  <a:lnTo>
                    <a:pt x="1124" y="539"/>
                  </a:lnTo>
                  <a:close/>
                  <a:moveTo>
                    <a:pt x="1119" y="539"/>
                  </a:moveTo>
                  <a:lnTo>
                    <a:pt x="1119" y="537"/>
                  </a:lnTo>
                  <a:lnTo>
                    <a:pt x="1122" y="537"/>
                  </a:lnTo>
                  <a:lnTo>
                    <a:pt x="1122" y="539"/>
                  </a:lnTo>
                  <a:lnTo>
                    <a:pt x="1122" y="537"/>
                  </a:lnTo>
                  <a:lnTo>
                    <a:pt x="1122" y="539"/>
                  </a:lnTo>
                  <a:lnTo>
                    <a:pt x="1124" y="537"/>
                  </a:lnTo>
                  <a:lnTo>
                    <a:pt x="1122" y="539"/>
                  </a:lnTo>
                  <a:lnTo>
                    <a:pt x="1122" y="541"/>
                  </a:lnTo>
                  <a:lnTo>
                    <a:pt x="1124" y="541"/>
                  </a:lnTo>
                  <a:lnTo>
                    <a:pt x="1124" y="544"/>
                  </a:lnTo>
                  <a:lnTo>
                    <a:pt x="1122" y="544"/>
                  </a:lnTo>
                  <a:lnTo>
                    <a:pt x="1124" y="544"/>
                  </a:lnTo>
                  <a:lnTo>
                    <a:pt x="1122" y="544"/>
                  </a:lnTo>
                  <a:lnTo>
                    <a:pt x="1122" y="546"/>
                  </a:lnTo>
                  <a:lnTo>
                    <a:pt x="1119" y="544"/>
                  </a:lnTo>
                  <a:lnTo>
                    <a:pt x="1122" y="544"/>
                  </a:lnTo>
                  <a:lnTo>
                    <a:pt x="1119" y="544"/>
                  </a:lnTo>
                  <a:lnTo>
                    <a:pt x="1119" y="541"/>
                  </a:lnTo>
                  <a:lnTo>
                    <a:pt x="1117" y="541"/>
                  </a:lnTo>
                  <a:lnTo>
                    <a:pt x="1119" y="539"/>
                  </a:lnTo>
                  <a:lnTo>
                    <a:pt x="1119" y="541"/>
                  </a:lnTo>
                  <a:lnTo>
                    <a:pt x="1119" y="539"/>
                  </a:lnTo>
                  <a:close/>
                  <a:moveTo>
                    <a:pt x="1119" y="537"/>
                  </a:moveTo>
                  <a:lnTo>
                    <a:pt x="1119" y="539"/>
                  </a:lnTo>
                  <a:lnTo>
                    <a:pt x="1117" y="541"/>
                  </a:lnTo>
                  <a:lnTo>
                    <a:pt x="1117" y="539"/>
                  </a:lnTo>
                  <a:lnTo>
                    <a:pt x="1117" y="537"/>
                  </a:lnTo>
                  <a:lnTo>
                    <a:pt x="1119" y="537"/>
                  </a:lnTo>
                  <a:lnTo>
                    <a:pt x="1117" y="537"/>
                  </a:lnTo>
                  <a:lnTo>
                    <a:pt x="1119" y="539"/>
                  </a:lnTo>
                  <a:lnTo>
                    <a:pt x="1119" y="537"/>
                  </a:lnTo>
                  <a:lnTo>
                    <a:pt x="1119" y="539"/>
                  </a:lnTo>
                  <a:lnTo>
                    <a:pt x="1119" y="537"/>
                  </a:lnTo>
                  <a:close/>
                  <a:moveTo>
                    <a:pt x="1129" y="537"/>
                  </a:moveTo>
                  <a:lnTo>
                    <a:pt x="1131" y="537"/>
                  </a:lnTo>
                  <a:lnTo>
                    <a:pt x="1131" y="539"/>
                  </a:lnTo>
                  <a:lnTo>
                    <a:pt x="1129" y="539"/>
                  </a:lnTo>
                  <a:lnTo>
                    <a:pt x="1129" y="537"/>
                  </a:lnTo>
                  <a:close/>
                  <a:moveTo>
                    <a:pt x="1146" y="534"/>
                  </a:moveTo>
                  <a:lnTo>
                    <a:pt x="1143" y="534"/>
                  </a:lnTo>
                  <a:lnTo>
                    <a:pt x="1146" y="534"/>
                  </a:lnTo>
                  <a:lnTo>
                    <a:pt x="1146" y="537"/>
                  </a:lnTo>
                  <a:lnTo>
                    <a:pt x="1143" y="537"/>
                  </a:lnTo>
                  <a:lnTo>
                    <a:pt x="1141" y="537"/>
                  </a:lnTo>
                  <a:lnTo>
                    <a:pt x="1141" y="534"/>
                  </a:lnTo>
                  <a:lnTo>
                    <a:pt x="1143" y="534"/>
                  </a:lnTo>
                  <a:lnTo>
                    <a:pt x="1146" y="534"/>
                  </a:lnTo>
                  <a:close/>
                  <a:moveTo>
                    <a:pt x="1143" y="534"/>
                  </a:moveTo>
                  <a:lnTo>
                    <a:pt x="1141" y="534"/>
                  </a:lnTo>
                  <a:lnTo>
                    <a:pt x="1141" y="537"/>
                  </a:lnTo>
                  <a:lnTo>
                    <a:pt x="1141" y="534"/>
                  </a:lnTo>
                  <a:lnTo>
                    <a:pt x="1143" y="534"/>
                  </a:lnTo>
                  <a:lnTo>
                    <a:pt x="1143" y="532"/>
                  </a:lnTo>
                  <a:lnTo>
                    <a:pt x="1146" y="532"/>
                  </a:lnTo>
                  <a:lnTo>
                    <a:pt x="1143" y="534"/>
                  </a:lnTo>
                  <a:lnTo>
                    <a:pt x="1146" y="534"/>
                  </a:lnTo>
                  <a:lnTo>
                    <a:pt x="1143" y="534"/>
                  </a:lnTo>
                  <a:close/>
                  <a:moveTo>
                    <a:pt x="1079" y="525"/>
                  </a:moveTo>
                  <a:lnTo>
                    <a:pt x="1082" y="525"/>
                  </a:lnTo>
                  <a:lnTo>
                    <a:pt x="1079" y="525"/>
                  </a:lnTo>
                  <a:close/>
                  <a:moveTo>
                    <a:pt x="1302" y="515"/>
                  </a:moveTo>
                  <a:lnTo>
                    <a:pt x="1305" y="515"/>
                  </a:lnTo>
                  <a:lnTo>
                    <a:pt x="1302" y="515"/>
                  </a:lnTo>
                  <a:lnTo>
                    <a:pt x="1305" y="515"/>
                  </a:lnTo>
                  <a:lnTo>
                    <a:pt x="1302" y="515"/>
                  </a:lnTo>
                  <a:lnTo>
                    <a:pt x="1305" y="515"/>
                  </a:lnTo>
                  <a:lnTo>
                    <a:pt x="1302" y="515"/>
                  </a:lnTo>
                  <a:lnTo>
                    <a:pt x="1302" y="518"/>
                  </a:lnTo>
                  <a:lnTo>
                    <a:pt x="1302" y="515"/>
                  </a:lnTo>
                  <a:lnTo>
                    <a:pt x="1302" y="518"/>
                  </a:lnTo>
                  <a:lnTo>
                    <a:pt x="1302" y="515"/>
                  </a:lnTo>
                  <a:close/>
                  <a:moveTo>
                    <a:pt x="1302" y="515"/>
                  </a:moveTo>
                  <a:lnTo>
                    <a:pt x="1305" y="515"/>
                  </a:lnTo>
                  <a:lnTo>
                    <a:pt x="1302" y="515"/>
                  </a:lnTo>
                  <a:close/>
                  <a:moveTo>
                    <a:pt x="1319" y="499"/>
                  </a:moveTo>
                  <a:lnTo>
                    <a:pt x="1319" y="501"/>
                  </a:lnTo>
                  <a:lnTo>
                    <a:pt x="1319" y="499"/>
                  </a:lnTo>
                  <a:lnTo>
                    <a:pt x="1319" y="501"/>
                  </a:lnTo>
                  <a:lnTo>
                    <a:pt x="1319" y="499"/>
                  </a:lnTo>
                  <a:close/>
                  <a:moveTo>
                    <a:pt x="1316" y="499"/>
                  </a:moveTo>
                  <a:lnTo>
                    <a:pt x="1314" y="499"/>
                  </a:lnTo>
                  <a:lnTo>
                    <a:pt x="1316" y="499"/>
                  </a:lnTo>
                  <a:close/>
                  <a:moveTo>
                    <a:pt x="1001" y="491"/>
                  </a:moveTo>
                  <a:lnTo>
                    <a:pt x="1001" y="494"/>
                  </a:lnTo>
                  <a:lnTo>
                    <a:pt x="1001" y="491"/>
                  </a:lnTo>
                  <a:lnTo>
                    <a:pt x="1001" y="494"/>
                  </a:lnTo>
                  <a:lnTo>
                    <a:pt x="1001" y="491"/>
                  </a:lnTo>
                  <a:lnTo>
                    <a:pt x="998" y="491"/>
                  </a:lnTo>
                  <a:lnTo>
                    <a:pt x="1001" y="491"/>
                  </a:lnTo>
                  <a:close/>
                  <a:moveTo>
                    <a:pt x="1001" y="491"/>
                  </a:moveTo>
                  <a:lnTo>
                    <a:pt x="1003" y="491"/>
                  </a:lnTo>
                  <a:lnTo>
                    <a:pt x="1003" y="494"/>
                  </a:lnTo>
                  <a:lnTo>
                    <a:pt x="1001" y="494"/>
                  </a:lnTo>
                  <a:lnTo>
                    <a:pt x="1001" y="491"/>
                  </a:lnTo>
                  <a:lnTo>
                    <a:pt x="1001" y="494"/>
                  </a:lnTo>
                  <a:lnTo>
                    <a:pt x="1003" y="491"/>
                  </a:lnTo>
                  <a:lnTo>
                    <a:pt x="1001" y="491"/>
                  </a:lnTo>
                  <a:lnTo>
                    <a:pt x="1003" y="491"/>
                  </a:lnTo>
                  <a:lnTo>
                    <a:pt x="1001" y="491"/>
                  </a:lnTo>
                  <a:close/>
                  <a:moveTo>
                    <a:pt x="1001" y="491"/>
                  </a:moveTo>
                  <a:lnTo>
                    <a:pt x="998" y="491"/>
                  </a:lnTo>
                  <a:lnTo>
                    <a:pt x="1001" y="491"/>
                  </a:lnTo>
                  <a:close/>
                  <a:moveTo>
                    <a:pt x="1485" y="487"/>
                  </a:moveTo>
                  <a:lnTo>
                    <a:pt x="1487" y="487"/>
                  </a:lnTo>
                  <a:lnTo>
                    <a:pt x="1485" y="487"/>
                  </a:lnTo>
                  <a:lnTo>
                    <a:pt x="1485" y="489"/>
                  </a:lnTo>
                  <a:lnTo>
                    <a:pt x="1483" y="489"/>
                  </a:lnTo>
                  <a:lnTo>
                    <a:pt x="1480" y="489"/>
                  </a:lnTo>
                  <a:lnTo>
                    <a:pt x="1483" y="489"/>
                  </a:lnTo>
                  <a:lnTo>
                    <a:pt x="1483" y="487"/>
                  </a:lnTo>
                  <a:lnTo>
                    <a:pt x="1485" y="487"/>
                  </a:lnTo>
                  <a:close/>
                  <a:moveTo>
                    <a:pt x="424" y="465"/>
                  </a:moveTo>
                  <a:lnTo>
                    <a:pt x="422" y="465"/>
                  </a:lnTo>
                  <a:lnTo>
                    <a:pt x="422" y="468"/>
                  </a:lnTo>
                  <a:lnTo>
                    <a:pt x="420" y="468"/>
                  </a:lnTo>
                  <a:lnTo>
                    <a:pt x="420" y="465"/>
                  </a:lnTo>
                  <a:lnTo>
                    <a:pt x="420" y="468"/>
                  </a:lnTo>
                  <a:lnTo>
                    <a:pt x="417" y="468"/>
                  </a:lnTo>
                  <a:lnTo>
                    <a:pt x="417" y="470"/>
                  </a:lnTo>
                  <a:lnTo>
                    <a:pt x="417" y="468"/>
                  </a:lnTo>
                  <a:lnTo>
                    <a:pt x="415" y="468"/>
                  </a:lnTo>
                  <a:lnTo>
                    <a:pt x="415" y="470"/>
                  </a:lnTo>
                  <a:lnTo>
                    <a:pt x="412" y="470"/>
                  </a:lnTo>
                  <a:lnTo>
                    <a:pt x="415" y="470"/>
                  </a:lnTo>
                  <a:lnTo>
                    <a:pt x="415" y="468"/>
                  </a:lnTo>
                  <a:lnTo>
                    <a:pt x="415" y="470"/>
                  </a:lnTo>
                  <a:lnTo>
                    <a:pt x="417" y="470"/>
                  </a:lnTo>
                  <a:lnTo>
                    <a:pt x="417" y="468"/>
                  </a:lnTo>
                  <a:lnTo>
                    <a:pt x="420" y="468"/>
                  </a:lnTo>
                  <a:lnTo>
                    <a:pt x="422" y="468"/>
                  </a:lnTo>
                  <a:lnTo>
                    <a:pt x="422" y="465"/>
                  </a:lnTo>
                  <a:lnTo>
                    <a:pt x="424" y="465"/>
                  </a:lnTo>
                  <a:lnTo>
                    <a:pt x="427" y="465"/>
                  </a:lnTo>
                  <a:lnTo>
                    <a:pt x="427" y="468"/>
                  </a:lnTo>
                  <a:lnTo>
                    <a:pt x="429" y="468"/>
                  </a:lnTo>
                  <a:lnTo>
                    <a:pt x="427" y="468"/>
                  </a:lnTo>
                  <a:lnTo>
                    <a:pt x="429" y="468"/>
                  </a:lnTo>
                  <a:lnTo>
                    <a:pt x="427" y="468"/>
                  </a:lnTo>
                  <a:lnTo>
                    <a:pt x="429" y="468"/>
                  </a:lnTo>
                  <a:lnTo>
                    <a:pt x="429" y="465"/>
                  </a:lnTo>
                  <a:lnTo>
                    <a:pt x="431" y="465"/>
                  </a:lnTo>
                  <a:lnTo>
                    <a:pt x="429" y="465"/>
                  </a:lnTo>
                  <a:lnTo>
                    <a:pt x="431" y="465"/>
                  </a:lnTo>
                  <a:lnTo>
                    <a:pt x="434" y="465"/>
                  </a:lnTo>
                  <a:lnTo>
                    <a:pt x="431" y="465"/>
                  </a:lnTo>
                  <a:lnTo>
                    <a:pt x="434" y="465"/>
                  </a:lnTo>
                  <a:lnTo>
                    <a:pt x="431" y="465"/>
                  </a:lnTo>
                  <a:lnTo>
                    <a:pt x="434" y="465"/>
                  </a:lnTo>
                  <a:lnTo>
                    <a:pt x="436" y="465"/>
                  </a:lnTo>
                  <a:lnTo>
                    <a:pt x="439" y="465"/>
                  </a:lnTo>
                  <a:lnTo>
                    <a:pt x="436" y="468"/>
                  </a:lnTo>
                  <a:lnTo>
                    <a:pt x="434" y="470"/>
                  </a:lnTo>
                  <a:lnTo>
                    <a:pt x="436" y="470"/>
                  </a:lnTo>
                  <a:lnTo>
                    <a:pt x="434" y="470"/>
                  </a:lnTo>
                  <a:lnTo>
                    <a:pt x="434" y="472"/>
                  </a:lnTo>
                  <a:lnTo>
                    <a:pt x="434" y="470"/>
                  </a:lnTo>
                  <a:lnTo>
                    <a:pt x="436" y="470"/>
                  </a:lnTo>
                  <a:lnTo>
                    <a:pt x="436" y="468"/>
                  </a:lnTo>
                  <a:lnTo>
                    <a:pt x="439" y="468"/>
                  </a:lnTo>
                  <a:lnTo>
                    <a:pt x="441" y="468"/>
                  </a:lnTo>
                  <a:lnTo>
                    <a:pt x="441" y="465"/>
                  </a:lnTo>
                  <a:lnTo>
                    <a:pt x="441" y="468"/>
                  </a:lnTo>
                  <a:lnTo>
                    <a:pt x="443" y="468"/>
                  </a:lnTo>
                  <a:lnTo>
                    <a:pt x="443" y="465"/>
                  </a:lnTo>
                  <a:lnTo>
                    <a:pt x="443" y="468"/>
                  </a:lnTo>
                  <a:lnTo>
                    <a:pt x="441" y="468"/>
                  </a:lnTo>
                  <a:lnTo>
                    <a:pt x="441" y="470"/>
                  </a:lnTo>
                  <a:lnTo>
                    <a:pt x="439" y="470"/>
                  </a:lnTo>
                  <a:lnTo>
                    <a:pt x="439" y="472"/>
                  </a:lnTo>
                  <a:lnTo>
                    <a:pt x="439" y="475"/>
                  </a:lnTo>
                  <a:lnTo>
                    <a:pt x="436" y="475"/>
                  </a:lnTo>
                  <a:lnTo>
                    <a:pt x="436" y="477"/>
                  </a:lnTo>
                  <a:lnTo>
                    <a:pt x="434" y="477"/>
                  </a:lnTo>
                  <a:lnTo>
                    <a:pt x="436" y="477"/>
                  </a:lnTo>
                  <a:lnTo>
                    <a:pt x="436" y="475"/>
                  </a:lnTo>
                  <a:lnTo>
                    <a:pt x="436" y="477"/>
                  </a:lnTo>
                  <a:lnTo>
                    <a:pt x="439" y="477"/>
                  </a:lnTo>
                  <a:lnTo>
                    <a:pt x="439" y="475"/>
                  </a:lnTo>
                  <a:lnTo>
                    <a:pt x="439" y="472"/>
                  </a:lnTo>
                  <a:lnTo>
                    <a:pt x="441" y="472"/>
                  </a:lnTo>
                  <a:lnTo>
                    <a:pt x="443" y="472"/>
                  </a:lnTo>
                  <a:lnTo>
                    <a:pt x="443" y="470"/>
                  </a:lnTo>
                  <a:lnTo>
                    <a:pt x="446" y="470"/>
                  </a:lnTo>
                  <a:lnTo>
                    <a:pt x="448" y="470"/>
                  </a:lnTo>
                  <a:lnTo>
                    <a:pt x="450" y="470"/>
                  </a:lnTo>
                  <a:lnTo>
                    <a:pt x="450" y="468"/>
                  </a:lnTo>
                  <a:lnTo>
                    <a:pt x="453" y="468"/>
                  </a:lnTo>
                  <a:lnTo>
                    <a:pt x="453" y="470"/>
                  </a:lnTo>
                  <a:lnTo>
                    <a:pt x="453" y="468"/>
                  </a:lnTo>
                  <a:lnTo>
                    <a:pt x="453" y="470"/>
                  </a:lnTo>
                  <a:lnTo>
                    <a:pt x="455" y="470"/>
                  </a:lnTo>
                  <a:lnTo>
                    <a:pt x="455" y="468"/>
                  </a:lnTo>
                  <a:lnTo>
                    <a:pt x="455" y="470"/>
                  </a:lnTo>
                  <a:lnTo>
                    <a:pt x="458" y="470"/>
                  </a:lnTo>
                  <a:lnTo>
                    <a:pt x="458" y="472"/>
                  </a:lnTo>
                  <a:lnTo>
                    <a:pt x="455" y="472"/>
                  </a:lnTo>
                  <a:lnTo>
                    <a:pt x="458" y="472"/>
                  </a:lnTo>
                  <a:lnTo>
                    <a:pt x="458" y="475"/>
                  </a:lnTo>
                  <a:lnTo>
                    <a:pt x="455" y="475"/>
                  </a:lnTo>
                  <a:lnTo>
                    <a:pt x="458" y="475"/>
                  </a:lnTo>
                  <a:lnTo>
                    <a:pt x="455" y="475"/>
                  </a:lnTo>
                  <a:lnTo>
                    <a:pt x="453" y="475"/>
                  </a:lnTo>
                  <a:lnTo>
                    <a:pt x="453" y="477"/>
                  </a:lnTo>
                  <a:lnTo>
                    <a:pt x="455" y="477"/>
                  </a:lnTo>
                  <a:lnTo>
                    <a:pt x="453" y="477"/>
                  </a:lnTo>
                  <a:lnTo>
                    <a:pt x="450" y="477"/>
                  </a:lnTo>
                  <a:lnTo>
                    <a:pt x="448" y="477"/>
                  </a:lnTo>
                  <a:lnTo>
                    <a:pt x="448" y="480"/>
                  </a:lnTo>
                  <a:lnTo>
                    <a:pt x="448" y="477"/>
                  </a:lnTo>
                  <a:lnTo>
                    <a:pt x="448" y="480"/>
                  </a:lnTo>
                  <a:lnTo>
                    <a:pt x="450" y="480"/>
                  </a:lnTo>
                  <a:lnTo>
                    <a:pt x="448" y="480"/>
                  </a:lnTo>
                  <a:lnTo>
                    <a:pt x="450" y="480"/>
                  </a:lnTo>
                  <a:lnTo>
                    <a:pt x="450" y="477"/>
                  </a:lnTo>
                  <a:lnTo>
                    <a:pt x="453" y="477"/>
                  </a:lnTo>
                  <a:lnTo>
                    <a:pt x="455" y="477"/>
                  </a:lnTo>
                  <a:lnTo>
                    <a:pt x="458" y="477"/>
                  </a:lnTo>
                  <a:lnTo>
                    <a:pt x="455" y="480"/>
                  </a:lnTo>
                  <a:lnTo>
                    <a:pt x="458" y="480"/>
                  </a:lnTo>
                  <a:lnTo>
                    <a:pt x="455" y="480"/>
                  </a:lnTo>
                  <a:lnTo>
                    <a:pt x="453" y="480"/>
                  </a:lnTo>
                  <a:lnTo>
                    <a:pt x="450" y="480"/>
                  </a:lnTo>
                  <a:lnTo>
                    <a:pt x="450" y="482"/>
                  </a:lnTo>
                  <a:lnTo>
                    <a:pt x="450" y="480"/>
                  </a:lnTo>
                  <a:lnTo>
                    <a:pt x="450" y="482"/>
                  </a:lnTo>
                  <a:lnTo>
                    <a:pt x="450" y="480"/>
                  </a:lnTo>
                  <a:lnTo>
                    <a:pt x="453" y="480"/>
                  </a:lnTo>
                  <a:lnTo>
                    <a:pt x="450" y="480"/>
                  </a:lnTo>
                  <a:lnTo>
                    <a:pt x="453" y="480"/>
                  </a:lnTo>
                  <a:lnTo>
                    <a:pt x="453" y="482"/>
                  </a:lnTo>
                  <a:lnTo>
                    <a:pt x="453" y="480"/>
                  </a:lnTo>
                  <a:lnTo>
                    <a:pt x="453" y="482"/>
                  </a:lnTo>
                  <a:lnTo>
                    <a:pt x="455" y="480"/>
                  </a:lnTo>
                  <a:lnTo>
                    <a:pt x="453" y="480"/>
                  </a:lnTo>
                  <a:lnTo>
                    <a:pt x="455" y="480"/>
                  </a:lnTo>
                  <a:lnTo>
                    <a:pt x="455" y="482"/>
                  </a:lnTo>
                  <a:lnTo>
                    <a:pt x="453" y="482"/>
                  </a:lnTo>
                  <a:lnTo>
                    <a:pt x="455" y="482"/>
                  </a:lnTo>
                  <a:lnTo>
                    <a:pt x="455" y="480"/>
                  </a:lnTo>
                  <a:lnTo>
                    <a:pt x="455" y="482"/>
                  </a:lnTo>
                  <a:lnTo>
                    <a:pt x="458" y="482"/>
                  </a:lnTo>
                  <a:lnTo>
                    <a:pt x="458" y="484"/>
                  </a:lnTo>
                  <a:lnTo>
                    <a:pt x="455" y="484"/>
                  </a:lnTo>
                  <a:lnTo>
                    <a:pt x="455" y="487"/>
                  </a:lnTo>
                  <a:lnTo>
                    <a:pt x="453" y="487"/>
                  </a:lnTo>
                  <a:lnTo>
                    <a:pt x="450" y="487"/>
                  </a:lnTo>
                  <a:lnTo>
                    <a:pt x="450" y="489"/>
                  </a:lnTo>
                  <a:lnTo>
                    <a:pt x="448" y="489"/>
                  </a:lnTo>
                  <a:lnTo>
                    <a:pt x="446" y="489"/>
                  </a:lnTo>
                  <a:lnTo>
                    <a:pt x="443" y="489"/>
                  </a:lnTo>
                  <a:lnTo>
                    <a:pt x="443" y="491"/>
                  </a:lnTo>
                  <a:lnTo>
                    <a:pt x="441" y="491"/>
                  </a:lnTo>
                  <a:lnTo>
                    <a:pt x="441" y="494"/>
                  </a:lnTo>
                  <a:lnTo>
                    <a:pt x="443" y="494"/>
                  </a:lnTo>
                  <a:lnTo>
                    <a:pt x="441" y="496"/>
                  </a:lnTo>
                  <a:lnTo>
                    <a:pt x="441" y="499"/>
                  </a:lnTo>
                  <a:lnTo>
                    <a:pt x="443" y="499"/>
                  </a:lnTo>
                  <a:lnTo>
                    <a:pt x="441" y="499"/>
                  </a:lnTo>
                  <a:lnTo>
                    <a:pt x="441" y="501"/>
                  </a:lnTo>
                  <a:lnTo>
                    <a:pt x="439" y="501"/>
                  </a:lnTo>
                  <a:lnTo>
                    <a:pt x="436" y="503"/>
                  </a:lnTo>
                  <a:lnTo>
                    <a:pt x="434" y="503"/>
                  </a:lnTo>
                  <a:lnTo>
                    <a:pt x="431" y="503"/>
                  </a:lnTo>
                  <a:lnTo>
                    <a:pt x="431" y="506"/>
                  </a:lnTo>
                  <a:lnTo>
                    <a:pt x="431" y="503"/>
                  </a:lnTo>
                  <a:lnTo>
                    <a:pt x="431" y="506"/>
                  </a:lnTo>
                  <a:lnTo>
                    <a:pt x="429" y="506"/>
                  </a:lnTo>
                  <a:lnTo>
                    <a:pt x="427" y="506"/>
                  </a:lnTo>
                  <a:lnTo>
                    <a:pt x="424" y="506"/>
                  </a:lnTo>
                  <a:lnTo>
                    <a:pt x="422" y="506"/>
                  </a:lnTo>
                  <a:lnTo>
                    <a:pt x="422" y="508"/>
                  </a:lnTo>
                  <a:lnTo>
                    <a:pt x="420" y="508"/>
                  </a:lnTo>
                  <a:lnTo>
                    <a:pt x="417" y="508"/>
                  </a:lnTo>
                  <a:lnTo>
                    <a:pt x="420" y="508"/>
                  </a:lnTo>
                  <a:lnTo>
                    <a:pt x="417" y="508"/>
                  </a:lnTo>
                  <a:lnTo>
                    <a:pt x="415" y="508"/>
                  </a:lnTo>
                  <a:lnTo>
                    <a:pt x="415" y="510"/>
                  </a:lnTo>
                  <a:lnTo>
                    <a:pt x="412" y="510"/>
                  </a:lnTo>
                  <a:lnTo>
                    <a:pt x="410" y="510"/>
                  </a:lnTo>
                  <a:lnTo>
                    <a:pt x="410" y="513"/>
                  </a:lnTo>
                  <a:lnTo>
                    <a:pt x="408" y="513"/>
                  </a:lnTo>
                  <a:lnTo>
                    <a:pt x="405" y="513"/>
                  </a:lnTo>
                  <a:lnTo>
                    <a:pt x="405" y="515"/>
                  </a:lnTo>
                  <a:lnTo>
                    <a:pt x="405" y="513"/>
                  </a:lnTo>
                  <a:lnTo>
                    <a:pt x="405" y="515"/>
                  </a:lnTo>
                  <a:lnTo>
                    <a:pt x="405" y="513"/>
                  </a:lnTo>
                  <a:lnTo>
                    <a:pt x="408" y="513"/>
                  </a:lnTo>
                  <a:lnTo>
                    <a:pt x="410" y="513"/>
                  </a:lnTo>
                  <a:lnTo>
                    <a:pt x="412" y="510"/>
                  </a:lnTo>
                  <a:lnTo>
                    <a:pt x="412" y="513"/>
                  </a:lnTo>
                  <a:lnTo>
                    <a:pt x="412" y="510"/>
                  </a:lnTo>
                  <a:lnTo>
                    <a:pt x="415" y="510"/>
                  </a:lnTo>
                  <a:lnTo>
                    <a:pt x="412" y="510"/>
                  </a:lnTo>
                  <a:lnTo>
                    <a:pt x="415" y="510"/>
                  </a:lnTo>
                  <a:lnTo>
                    <a:pt x="412" y="510"/>
                  </a:lnTo>
                  <a:lnTo>
                    <a:pt x="415" y="510"/>
                  </a:lnTo>
                  <a:lnTo>
                    <a:pt x="417" y="510"/>
                  </a:lnTo>
                  <a:lnTo>
                    <a:pt x="417" y="508"/>
                  </a:lnTo>
                  <a:lnTo>
                    <a:pt x="420" y="508"/>
                  </a:lnTo>
                  <a:lnTo>
                    <a:pt x="422" y="508"/>
                  </a:lnTo>
                  <a:lnTo>
                    <a:pt x="424" y="506"/>
                  </a:lnTo>
                  <a:lnTo>
                    <a:pt x="427" y="506"/>
                  </a:lnTo>
                  <a:lnTo>
                    <a:pt x="429" y="506"/>
                  </a:lnTo>
                  <a:lnTo>
                    <a:pt x="431" y="506"/>
                  </a:lnTo>
                  <a:lnTo>
                    <a:pt x="434" y="503"/>
                  </a:lnTo>
                  <a:lnTo>
                    <a:pt x="436" y="503"/>
                  </a:lnTo>
                  <a:lnTo>
                    <a:pt x="439" y="503"/>
                  </a:lnTo>
                  <a:lnTo>
                    <a:pt x="439" y="501"/>
                  </a:lnTo>
                  <a:lnTo>
                    <a:pt x="441" y="501"/>
                  </a:lnTo>
                  <a:lnTo>
                    <a:pt x="443" y="501"/>
                  </a:lnTo>
                  <a:lnTo>
                    <a:pt x="443" y="499"/>
                  </a:lnTo>
                  <a:lnTo>
                    <a:pt x="443" y="496"/>
                  </a:lnTo>
                  <a:lnTo>
                    <a:pt x="443" y="494"/>
                  </a:lnTo>
                  <a:lnTo>
                    <a:pt x="443" y="491"/>
                  </a:lnTo>
                  <a:lnTo>
                    <a:pt x="446" y="489"/>
                  </a:lnTo>
                  <a:lnTo>
                    <a:pt x="446" y="491"/>
                  </a:lnTo>
                  <a:lnTo>
                    <a:pt x="446" y="489"/>
                  </a:lnTo>
                  <a:lnTo>
                    <a:pt x="448" y="489"/>
                  </a:lnTo>
                  <a:lnTo>
                    <a:pt x="448" y="491"/>
                  </a:lnTo>
                  <a:lnTo>
                    <a:pt x="448" y="489"/>
                  </a:lnTo>
                  <a:lnTo>
                    <a:pt x="450" y="489"/>
                  </a:lnTo>
                  <a:lnTo>
                    <a:pt x="450" y="491"/>
                  </a:lnTo>
                  <a:lnTo>
                    <a:pt x="450" y="489"/>
                  </a:lnTo>
                  <a:lnTo>
                    <a:pt x="453" y="489"/>
                  </a:lnTo>
                  <a:lnTo>
                    <a:pt x="455" y="489"/>
                  </a:lnTo>
                  <a:lnTo>
                    <a:pt x="458" y="489"/>
                  </a:lnTo>
                  <a:lnTo>
                    <a:pt x="455" y="489"/>
                  </a:lnTo>
                  <a:lnTo>
                    <a:pt x="458" y="489"/>
                  </a:lnTo>
                  <a:lnTo>
                    <a:pt x="458" y="487"/>
                  </a:lnTo>
                  <a:lnTo>
                    <a:pt x="455" y="487"/>
                  </a:lnTo>
                  <a:lnTo>
                    <a:pt x="458" y="487"/>
                  </a:lnTo>
                  <a:lnTo>
                    <a:pt x="458" y="484"/>
                  </a:lnTo>
                  <a:lnTo>
                    <a:pt x="460" y="484"/>
                  </a:lnTo>
                  <a:lnTo>
                    <a:pt x="460" y="487"/>
                  </a:lnTo>
                  <a:lnTo>
                    <a:pt x="460" y="484"/>
                  </a:lnTo>
                  <a:lnTo>
                    <a:pt x="460" y="482"/>
                  </a:lnTo>
                  <a:lnTo>
                    <a:pt x="462" y="482"/>
                  </a:lnTo>
                  <a:lnTo>
                    <a:pt x="462" y="484"/>
                  </a:lnTo>
                  <a:lnTo>
                    <a:pt x="462" y="482"/>
                  </a:lnTo>
                  <a:lnTo>
                    <a:pt x="462" y="484"/>
                  </a:lnTo>
                  <a:lnTo>
                    <a:pt x="462" y="482"/>
                  </a:lnTo>
                  <a:lnTo>
                    <a:pt x="460" y="482"/>
                  </a:lnTo>
                  <a:lnTo>
                    <a:pt x="460" y="480"/>
                  </a:lnTo>
                  <a:lnTo>
                    <a:pt x="460" y="477"/>
                  </a:lnTo>
                  <a:lnTo>
                    <a:pt x="462" y="477"/>
                  </a:lnTo>
                  <a:lnTo>
                    <a:pt x="460" y="477"/>
                  </a:lnTo>
                  <a:lnTo>
                    <a:pt x="460" y="480"/>
                  </a:lnTo>
                  <a:lnTo>
                    <a:pt x="460" y="477"/>
                  </a:lnTo>
                  <a:lnTo>
                    <a:pt x="460" y="475"/>
                  </a:lnTo>
                  <a:lnTo>
                    <a:pt x="462" y="475"/>
                  </a:lnTo>
                  <a:lnTo>
                    <a:pt x="462" y="477"/>
                  </a:lnTo>
                  <a:lnTo>
                    <a:pt x="462" y="475"/>
                  </a:lnTo>
                  <a:lnTo>
                    <a:pt x="465" y="475"/>
                  </a:lnTo>
                  <a:lnTo>
                    <a:pt x="467" y="475"/>
                  </a:lnTo>
                  <a:lnTo>
                    <a:pt x="465" y="477"/>
                  </a:lnTo>
                  <a:lnTo>
                    <a:pt x="467" y="477"/>
                  </a:lnTo>
                  <a:lnTo>
                    <a:pt x="467" y="475"/>
                  </a:lnTo>
                  <a:lnTo>
                    <a:pt x="467" y="477"/>
                  </a:lnTo>
                  <a:lnTo>
                    <a:pt x="469" y="477"/>
                  </a:lnTo>
                  <a:lnTo>
                    <a:pt x="469" y="475"/>
                  </a:lnTo>
                  <a:lnTo>
                    <a:pt x="472" y="475"/>
                  </a:lnTo>
                  <a:lnTo>
                    <a:pt x="472" y="477"/>
                  </a:lnTo>
                  <a:lnTo>
                    <a:pt x="472" y="475"/>
                  </a:lnTo>
                  <a:lnTo>
                    <a:pt x="474" y="475"/>
                  </a:lnTo>
                  <a:lnTo>
                    <a:pt x="476" y="475"/>
                  </a:lnTo>
                  <a:lnTo>
                    <a:pt x="479" y="475"/>
                  </a:lnTo>
                  <a:lnTo>
                    <a:pt x="481" y="475"/>
                  </a:lnTo>
                  <a:lnTo>
                    <a:pt x="484" y="475"/>
                  </a:lnTo>
                  <a:lnTo>
                    <a:pt x="486" y="475"/>
                  </a:lnTo>
                  <a:lnTo>
                    <a:pt x="486" y="477"/>
                  </a:lnTo>
                  <a:lnTo>
                    <a:pt x="488" y="477"/>
                  </a:lnTo>
                  <a:lnTo>
                    <a:pt x="486" y="477"/>
                  </a:lnTo>
                  <a:lnTo>
                    <a:pt x="488" y="477"/>
                  </a:lnTo>
                  <a:lnTo>
                    <a:pt x="491" y="477"/>
                  </a:lnTo>
                  <a:lnTo>
                    <a:pt x="488" y="477"/>
                  </a:lnTo>
                  <a:lnTo>
                    <a:pt x="491" y="477"/>
                  </a:lnTo>
                  <a:lnTo>
                    <a:pt x="491" y="480"/>
                  </a:lnTo>
                  <a:lnTo>
                    <a:pt x="491" y="477"/>
                  </a:lnTo>
                  <a:lnTo>
                    <a:pt x="493" y="477"/>
                  </a:lnTo>
                  <a:lnTo>
                    <a:pt x="491" y="477"/>
                  </a:lnTo>
                  <a:lnTo>
                    <a:pt x="493" y="477"/>
                  </a:lnTo>
                  <a:lnTo>
                    <a:pt x="493" y="480"/>
                  </a:lnTo>
                  <a:lnTo>
                    <a:pt x="493" y="477"/>
                  </a:lnTo>
                  <a:lnTo>
                    <a:pt x="493" y="480"/>
                  </a:lnTo>
                  <a:lnTo>
                    <a:pt x="493" y="477"/>
                  </a:lnTo>
                  <a:lnTo>
                    <a:pt x="495" y="477"/>
                  </a:lnTo>
                  <a:lnTo>
                    <a:pt x="495" y="480"/>
                  </a:lnTo>
                  <a:lnTo>
                    <a:pt x="498" y="480"/>
                  </a:lnTo>
                  <a:lnTo>
                    <a:pt x="500" y="480"/>
                  </a:lnTo>
                  <a:lnTo>
                    <a:pt x="500" y="482"/>
                  </a:lnTo>
                  <a:lnTo>
                    <a:pt x="500" y="480"/>
                  </a:lnTo>
                  <a:lnTo>
                    <a:pt x="500" y="482"/>
                  </a:lnTo>
                  <a:lnTo>
                    <a:pt x="500" y="480"/>
                  </a:lnTo>
                  <a:lnTo>
                    <a:pt x="500" y="482"/>
                  </a:lnTo>
                  <a:lnTo>
                    <a:pt x="500" y="480"/>
                  </a:lnTo>
                  <a:lnTo>
                    <a:pt x="503" y="480"/>
                  </a:lnTo>
                  <a:lnTo>
                    <a:pt x="505" y="480"/>
                  </a:lnTo>
                  <a:lnTo>
                    <a:pt x="505" y="482"/>
                  </a:lnTo>
                  <a:lnTo>
                    <a:pt x="505" y="480"/>
                  </a:lnTo>
                  <a:lnTo>
                    <a:pt x="507" y="480"/>
                  </a:lnTo>
                  <a:lnTo>
                    <a:pt x="507" y="482"/>
                  </a:lnTo>
                  <a:lnTo>
                    <a:pt x="505" y="482"/>
                  </a:lnTo>
                  <a:lnTo>
                    <a:pt x="505" y="484"/>
                  </a:lnTo>
                  <a:lnTo>
                    <a:pt x="505" y="482"/>
                  </a:lnTo>
                  <a:lnTo>
                    <a:pt x="507" y="482"/>
                  </a:lnTo>
                  <a:lnTo>
                    <a:pt x="510" y="482"/>
                  </a:lnTo>
                  <a:lnTo>
                    <a:pt x="512" y="482"/>
                  </a:lnTo>
                  <a:lnTo>
                    <a:pt x="512" y="484"/>
                  </a:lnTo>
                  <a:lnTo>
                    <a:pt x="512" y="487"/>
                  </a:lnTo>
                  <a:lnTo>
                    <a:pt x="512" y="484"/>
                  </a:lnTo>
                  <a:lnTo>
                    <a:pt x="512" y="482"/>
                  </a:lnTo>
                  <a:lnTo>
                    <a:pt x="514" y="482"/>
                  </a:lnTo>
                  <a:lnTo>
                    <a:pt x="517" y="482"/>
                  </a:lnTo>
                  <a:lnTo>
                    <a:pt x="514" y="482"/>
                  </a:lnTo>
                  <a:lnTo>
                    <a:pt x="517" y="482"/>
                  </a:lnTo>
                  <a:lnTo>
                    <a:pt x="517" y="480"/>
                  </a:lnTo>
                  <a:lnTo>
                    <a:pt x="514" y="480"/>
                  </a:lnTo>
                  <a:lnTo>
                    <a:pt x="512" y="480"/>
                  </a:lnTo>
                  <a:lnTo>
                    <a:pt x="514" y="480"/>
                  </a:lnTo>
                  <a:lnTo>
                    <a:pt x="517" y="480"/>
                  </a:lnTo>
                  <a:lnTo>
                    <a:pt x="519" y="480"/>
                  </a:lnTo>
                  <a:lnTo>
                    <a:pt x="522" y="480"/>
                  </a:lnTo>
                  <a:lnTo>
                    <a:pt x="524" y="480"/>
                  </a:lnTo>
                  <a:lnTo>
                    <a:pt x="526" y="480"/>
                  </a:lnTo>
                  <a:lnTo>
                    <a:pt x="524" y="482"/>
                  </a:lnTo>
                  <a:lnTo>
                    <a:pt x="526" y="482"/>
                  </a:lnTo>
                  <a:lnTo>
                    <a:pt x="529" y="482"/>
                  </a:lnTo>
                  <a:lnTo>
                    <a:pt x="531" y="482"/>
                  </a:lnTo>
                  <a:lnTo>
                    <a:pt x="533" y="482"/>
                  </a:lnTo>
                  <a:lnTo>
                    <a:pt x="533" y="484"/>
                  </a:lnTo>
                  <a:lnTo>
                    <a:pt x="531" y="487"/>
                  </a:lnTo>
                  <a:lnTo>
                    <a:pt x="533" y="487"/>
                  </a:lnTo>
                  <a:lnTo>
                    <a:pt x="531" y="487"/>
                  </a:lnTo>
                  <a:lnTo>
                    <a:pt x="533" y="489"/>
                  </a:lnTo>
                  <a:lnTo>
                    <a:pt x="533" y="487"/>
                  </a:lnTo>
                  <a:lnTo>
                    <a:pt x="533" y="489"/>
                  </a:lnTo>
                  <a:lnTo>
                    <a:pt x="533" y="491"/>
                  </a:lnTo>
                  <a:lnTo>
                    <a:pt x="531" y="491"/>
                  </a:lnTo>
                  <a:lnTo>
                    <a:pt x="533" y="491"/>
                  </a:lnTo>
                  <a:lnTo>
                    <a:pt x="533" y="489"/>
                  </a:lnTo>
                  <a:lnTo>
                    <a:pt x="533" y="487"/>
                  </a:lnTo>
                  <a:lnTo>
                    <a:pt x="533" y="484"/>
                  </a:lnTo>
                  <a:lnTo>
                    <a:pt x="533" y="482"/>
                  </a:lnTo>
                  <a:lnTo>
                    <a:pt x="536" y="482"/>
                  </a:lnTo>
                  <a:lnTo>
                    <a:pt x="536" y="484"/>
                  </a:lnTo>
                  <a:lnTo>
                    <a:pt x="538" y="484"/>
                  </a:lnTo>
                  <a:lnTo>
                    <a:pt x="541" y="484"/>
                  </a:lnTo>
                  <a:lnTo>
                    <a:pt x="541" y="487"/>
                  </a:lnTo>
                  <a:lnTo>
                    <a:pt x="543" y="487"/>
                  </a:lnTo>
                  <a:lnTo>
                    <a:pt x="541" y="489"/>
                  </a:lnTo>
                  <a:lnTo>
                    <a:pt x="543" y="489"/>
                  </a:lnTo>
                  <a:lnTo>
                    <a:pt x="543" y="487"/>
                  </a:lnTo>
                  <a:lnTo>
                    <a:pt x="541" y="487"/>
                  </a:lnTo>
                  <a:lnTo>
                    <a:pt x="541" y="484"/>
                  </a:lnTo>
                  <a:lnTo>
                    <a:pt x="543" y="484"/>
                  </a:lnTo>
                  <a:lnTo>
                    <a:pt x="543" y="487"/>
                  </a:lnTo>
                  <a:lnTo>
                    <a:pt x="545" y="487"/>
                  </a:lnTo>
                  <a:lnTo>
                    <a:pt x="548" y="487"/>
                  </a:lnTo>
                  <a:lnTo>
                    <a:pt x="550" y="487"/>
                  </a:lnTo>
                  <a:lnTo>
                    <a:pt x="550" y="489"/>
                  </a:lnTo>
                  <a:lnTo>
                    <a:pt x="548" y="489"/>
                  </a:lnTo>
                  <a:lnTo>
                    <a:pt x="550" y="489"/>
                  </a:lnTo>
                  <a:lnTo>
                    <a:pt x="552" y="491"/>
                  </a:lnTo>
                  <a:lnTo>
                    <a:pt x="552" y="489"/>
                  </a:lnTo>
                  <a:lnTo>
                    <a:pt x="552" y="491"/>
                  </a:lnTo>
                  <a:lnTo>
                    <a:pt x="555" y="491"/>
                  </a:lnTo>
                  <a:lnTo>
                    <a:pt x="557" y="491"/>
                  </a:lnTo>
                  <a:lnTo>
                    <a:pt x="557" y="494"/>
                  </a:lnTo>
                  <a:lnTo>
                    <a:pt x="560" y="494"/>
                  </a:lnTo>
                  <a:lnTo>
                    <a:pt x="560" y="491"/>
                  </a:lnTo>
                  <a:lnTo>
                    <a:pt x="560" y="494"/>
                  </a:lnTo>
                  <a:lnTo>
                    <a:pt x="562" y="494"/>
                  </a:lnTo>
                  <a:lnTo>
                    <a:pt x="560" y="494"/>
                  </a:lnTo>
                  <a:lnTo>
                    <a:pt x="562" y="494"/>
                  </a:lnTo>
                  <a:lnTo>
                    <a:pt x="560" y="494"/>
                  </a:lnTo>
                  <a:lnTo>
                    <a:pt x="562" y="494"/>
                  </a:lnTo>
                  <a:lnTo>
                    <a:pt x="564" y="494"/>
                  </a:lnTo>
                  <a:lnTo>
                    <a:pt x="564" y="496"/>
                  </a:lnTo>
                  <a:lnTo>
                    <a:pt x="567" y="496"/>
                  </a:lnTo>
                  <a:lnTo>
                    <a:pt x="567" y="499"/>
                  </a:lnTo>
                  <a:lnTo>
                    <a:pt x="569" y="499"/>
                  </a:lnTo>
                  <a:lnTo>
                    <a:pt x="571" y="499"/>
                  </a:lnTo>
                  <a:lnTo>
                    <a:pt x="571" y="501"/>
                  </a:lnTo>
                  <a:lnTo>
                    <a:pt x="574" y="501"/>
                  </a:lnTo>
                  <a:lnTo>
                    <a:pt x="576" y="501"/>
                  </a:lnTo>
                  <a:lnTo>
                    <a:pt x="576" y="503"/>
                  </a:lnTo>
                  <a:lnTo>
                    <a:pt x="579" y="503"/>
                  </a:lnTo>
                  <a:lnTo>
                    <a:pt x="581" y="503"/>
                  </a:lnTo>
                  <a:lnTo>
                    <a:pt x="581" y="506"/>
                  </a:lnTo>
                  <a:lnTo>
                    <a:pt x="583" y="506"/>
                  </a:lnTo>
                  <a:lnTo>
                    <a:pt x="586" y="506"/>
                  </a:lnTo>
                  <a:lnTo>
                    <a:pt x="586" y="508"/>
                  </a:lnTo>
                  <a:lnTo>
                    <a:pt x="588" y="508"/>
                  </a:lnTo>
                  <a:lnTo>
                    <a:pt x="590" y="508"/>
                  </a:lnTo>
                  <a:lnTo>
                    <a:pt x="590" y="510"/>
                  </a:lnTo>
                  <a:lnTo>
                    <a:pt x="590" y="508"/>
                  </a:lnTo>
                  <a:lnTo>
                    <a:pt x="590" y="510"/>
                  </a:lnTo>
                  <a:lnTo>
                    <a:pt x="590" y="508"/>
                  </a:lnTo>
                  <a:lnTo>
                    <a:pt x="590" y="510"/>
                  </a:lnTo>
                  <a:lnTo>
                    <a:pt x="593" y="510"/>
                  </a:lnTo>
                  <a:lnTo>
                    <a:pt x="593" y="513"/>
                  </a:lnTo>
                  <a:lnTo>
                    <a:pt x="593" y="510"/>
                  </a:lnTo>
                  <a:lnTo>
                    <a:pt x="595" y="510"/>
                  </a:lnTo>
                  <a:lnTo>
                    <a:pt x="595" y="513"/>
                  </a:lnTo>
                  <a:lnTo>
                    <a:pt x="595" y="510"/>
                  </a:lnTo>
                  <a:lnTo>
                    <a:pt x="595" y="513"/>
                  </a:lnTo>
                  <a:lnTo>
                    <a:pt x="597" y="513"/>
                  </a:lnTo>
                  <a:lnTo>
                    <a:pt x="600" y="513"/>
                  </a:lnTo>
                  <a:lnTo>
                    <a:pt x="600" y="515"/>
                  </a:lnTo>
                  <a:lnTo>
                    <a:pt x="597" y="515"/>
                  </a:lnTo>
                  <a:lnTo>
                    <a:pt x="600" y="515"/>
                  </a:lnTo>
                  <a:lnTo>
                    <a:pt x="600" y="518"/>
                  </a:lnTo>
                  <a:lnTo>
                    <a:pt x="600" y="515"/>
                  </a:lnTo>
                  <a:lnTo>
                    <a:pt x="602" y="515"/>
                  </a:lnTo>
                  <a:lnTo>
                    <a:pt x="602" y="518"/>
                  </a:lnTo>
                  <a:lnTo>
                    <a:pt x="602" y="515"/>
                  </a:lnTo>
                  <a:lnTo>
                    <a:pt x="602" y="518"/>
                  </a:lnTo>
                  <a:lnTo>
                    <a:pt x="605" y="518"/>
                  </a:lnTo>
                  <a:lnTo>
                    <a:pt x="605" y="520"/>
                  </a:lnTo>
                  <a:lnTo>
                    <a:pt x="607" y="520"/>
                  </a:lnTo>
                  <a:lnTo>
                    <a:pt x="605" y="520"/>
                  </a:lnTo>
                  <a:lnTo>
                    <a:pt x="607" y="520"/>
                  </a:lnTo>
                  <a:lnTo>
                    <a:pt x="605" y="520"/>
                  </a:lnTo>
                  <a:lnTo>
                    <a:pt x="607" y="520"/>
                  </a:lnTo>
                  <a:lnTo>
                    <a:pt x="605" y="520"/>
                  </a:lnTo>
                  <a:lnTo>
                    <a:pt x="607" y="520"/>
                  </a:lnTo>
                  <a:lnTo>
                    <a:pt x="607" y="522"/>
                  </a:lnTo>
                  <a:lnTo>
                    <a:pt x="607" y="520"/>
                  </a:lnTo>
                  <a:lnTo>
                    <a:pt x="607" y="522"/>
                  </a:lnTo>
                  <a:lnTo>
                    <a:pt x="609" y="522"/>
                  </a:lnTo>
                  <a:lnTo>
                    <a:pt x="607" y="522"/>
                  </a:lnTo>
                  <a:lnTo>
                    <a:pt x="609" y="522"/>
                  </a:lnTo>
                  <a:lnTo>
                    <a:pt x="609" y="525"/>
                  </a:lnTo>
                  <a:lnTo>
                    <a:pt x="609" y="522"/>
                  </a:lnTo>
                  <a:lnTo>
                    <a:pt x="609" y="525"/>
                  </a:lnTo>
                  <a:lnTo>
                    <a:pt x="612" y="525"/>
                  </a:lnTo>
                  <a:lnTo>
                    <a:pt x="614" y="525"/>
                  </a:lnTo>
                  <a:lnTo>
                    <a:pt x="612" y="527"/>
                  </a:lnTo>
                  <a:lnTo>
                    <a:pt x="614" y="527"/>
                  </a:lnTo>
                  <a:lnTo>
                    <a:pt x="612" y="527"/>
                  </a:lnTo>
                  <a:lnTo>
                    <a:pt x="614" y="527"/>
                  </a:lnTo>
                  <a:lnTo>
                    <a:pt x="614" y="525"/>
                  </a:lnTo>
                  <a:lnTo>
                    <a:pt x="614" y="527"/>
                  </a:lnTo>
                  <a:lnTo>
                    <a:pt x="616" y="527"/>
                  </a:lnTo>
                  <a:lnTo>
                    <a:pt x="619" y="529"/>
                  </a:lnTo>
                  <a:lnTo>
                    <a:pt x="616" y="529"/>
                  </a:lnTo>
                  <a:lnTo>
                    <a:pt x="619" y="529"/>
                  </a:lnTo>
                  <a:lnTo>
                    <a:pt x="619" y="532"/>
                  </a:lnTo>
                  <a:lnTo>
                    <a:pt x="619" y="529"/>
                  </a:lnTo>
                  <a:lnTo>
                    <a:pt x="616" y="532"/>
                  </a:lnTo>
                  <a:lnTo>
                    <a:pt x="619" y="532"/>
                  </a:lnTo>
                  <a:lnTo>
                    <a:pt x="619" y="529"/>
                  </a:lnTo>
                  <a:lnTo>
                    <a:pt x="619" y="532"/>
                  </a:lnTo>
                  <a:lnTo>
                    <a:pt x="619" y="529"/>
                  </a:lnTo>
                  <a:lnTo>
                    <a:pt x="621" y="529"/>
                  </a:lnTo>
                  <a:lnTo>
                    <a:pt x="619" y="532"/>
                  </a:lnTo>
                  <a:lnTo>
                    <a:pt x="621" y="532"/>
                  </a:lnTo>
                  <a:lnTo>
                    <a:pt x="619" y="532"/>
                  </a:lnTo>
                  <a:lnTo>
                    <a:pt x="621" y="532"/>
                  </a:lnTo>
                  <a:lnTo>
                    <a:pt x="619" y="532"/>
                  </a:lnTo>
                  <a:lnTo>
                    <a:pt x="619" y="534"/>
                  </a:lnTo>
                  <a:lnTo>
                    <a:pt x="621" y="534"/>
                  </a:lnTo>
                  <a:lnTo>
                    <a:pt x="621" y="532"/>
                  </a:lnTo>
                  <a:lnTo>
                    <a:pt x="624" y="532"/>
                  </a:lnTo>
                  <a:lnTo>
                    <a:pt x="624" y="534"/>
                  </a:lnTo>
                  <a:lnTo>
                    <a:pt x="626" y="534"/>
                  </a:lnTo>
                  <a:lnTo>
                    <a:pt x="628" y="534"/>
                  </a:lnTo>
                  <a:lnTo>
                    <a:pt x="628" y="537"/>
                  </a:lnTo>
                  <a:lnTo>
                    <a:pt x="631" y="537"/>
                  </a:lnTo>
                  <a:lnTo>
                    <a:pt x="628" y="537"/>
                  </a:lnTo>
                  <a:lnTo>
                    <a:pt x="631" y="537"/>
                  </a:lnTo>
                  <a:lnTo>
                    <a:pt x="631" y="534"/>
                  </a:lnTo>
                  <a:lnTo>
                    <a:pt x="628" y="534"/>
                  </a:lnTo>
                  <a:lnTo>
                    <a:pt x="626" y="534"/>
                  </a:lnTo>
                  <a:lnTo>
                    <a:pt x="626" y="532"/>
                  </a:lnTo>
                  <a:lnTo>
                    <a:pt x="624" y="532"/>
                  </a:lnTo>
                  <a:lnTo>
                    <a:pt x="626" y="532"/>
                  </a:lnTo>
                  <a:lnTo>
                    <a:pt x="626" y="529"/>
                  </a:lnTo>
                  <a:lnTo>
                    <a:pt x="628" y="529"/>
                  </a:lnTo>
                  <a:lnTo>
                    <a:pt x="628" y="532"/>
                  </a:lnTo>
                  <a:lnTo>
                    <a:pt x="631" y="532"/>
                  </a:lnTo>
                  <a:lnTo>
                    <a:pt x="631" y="534"/>
                  </a:lnTo>
                  <a:lnTo>
                    <a:pt x="633" y="534"/>
                  </a:lnTo>
                  <a:lnTo>
                    <a:pt x="635" y="534"/>
                  </a:lnTo>
                  <a:lnTo>
                    <a:pt x="638" y="534"/>
                  </a:lnTo>
                  <a:lnTo>
                    <a:pt x="638" y="537"/>
                  </a:lnTo>
                  <a:lnTo>
                    <a:pt x="638" y="534"/>
                  </a:lnTo>
                  <a:lnTo>
                    <a:pt x="638" y="537"/>
                  </a:lnTo>
                  <a:lnTo>
                    <a:pt x="635" y="537"/>
                  </a:lnTo>
                  <a:lnTo>
                    <a:pt x="638" y="537"/>
                  </a:lnTo>
                  <a:lnTo>
                    <a:pt x="638" y="539"/>
                  </a:lnTo>
                  <a:lnTo>
                    <a:pt x="638" y="537"/>
                  </a:lnTo>
                  <a:lnTo>
                    <a:pt x="638" y="539"/>
                  </a:lnTo>
                  <a:lnTo>
                    <a:pt x="640" y="539"/>
                  </a:lnTo>
                  <a:lnTo>
                    <a:pt x="643" y="539"/>
                  </a:lnTo>
                  <a:lnTo>
                    <a:pt x="643" y="541"/>
                  </a:lnTo>
                  <a:lnTo>
                    <a:pt x="645" y="541"/>
                  </a:lnTo>
                  <a:lnTo>
                    <a:pt x="647" y="541"/>
                  </a:lnTo>
                  <a:lnTo>
                    <a:pt x="647" y="544"/>
                  </a:lnTo>
                  <a:lnTo>
                    <a:pt x="650" y="544"/>
                  </a:lnTo>
                  <a:lnTo>
                    <a:pt x="650" y="546"/>
                  </a:lnTo>
                  <a:lnTo>
                    <a:pt x="652" y="546"/>
                  </a:lnTo>
                  <a:lnTo>
                    <a:pt x="654" y="546"/>
                  </a:lnTo>
                  <a:lnTo>
                    <a:pt x="654" y="548"/>
                  </a:lnTo>
                  <a:lnTo>
                    <a:pt x="657" y="548"/>
                  </a:lnTo>
                  <a:lnTo>
                    <a:pt x="654" y="548"/>
                  </a:lnTo>
                  <a:lnTo>
                    <a:pt x="657" y="548"/>
                  </a:lnTo>
                  <a:lnTo>
                    <a:pt x="657" y="551"/>
                  </a:lnTo>
                  <a:lnTo>
                    <a:pt x="659" y="548"/>
                  </a:lnTo>
                  <a:lnTo>
                    <a:pt x="659" y="551"/>
                  </a:lnTo>
                  <a:lnTo>
                    <a:pt x="662" y="551"/>
                  </a:lnTo>
                  <a:lnTo>
                    <a:pt x="659" y="551"/>
                  </a:lnTo>
                  <a:lnTo>
                    <a:pt x="662" y="548"/>
                  </a:lnTo>
                  <a:lnTo>
                    <a:pt x="662" y="551"/>
                  </a:lnTo>
                  <a:lnTo>
                    <a:pt x="664" y="551"/>
                  </a:lnTo>
                  <a:lnTo>
                    <a:pt x="666" y="551"/>
                  </a:lnTo>
                  <a:lnTo>
                    <a:pt x="669" y="551"/>
                  </a:lnTo>
                  <a:lnTo>
                    <a:pt x="669" y="548"/>
                  </a:lnTo>
                  <a:lnTo>
                    <a:pt x="666" y="548"/>
                  </a:lnTo>
                  <a:lnTo>
                    <a:pt x="666" y="546"/>
                  </a:lnTo>
                  <a:lnTo>
                    <a:pt x="664" y="544"/>
                  </a:lnTo>
                  <a:lnTo>
                    <a:pt x="666" y="544"/>
                  </a:lnTo>
                  <a:lnTo>
                    <a:pt x="666" y="546"/>
                  </a:lnTo>
                  <a:lnTo>
                    <a:pt x="669" y="546"/>
                  </a:lnTo>
                  <a:lnTo>
                    <a:pt x="666" y="546"/>
                  </a:lnTo>
                  <a:lnTo>
                    <a:pt x="669" y="546"/>
                  </a:lnTo>
                  <a:lnTo>
                    <a:pt x="669" y="548"/>
                  </a:lnTo>
                  <a:lnTo>
                    <a:pt x="671" y="548"/>
                  </a:lnTo>
                  <a:lnTo>
                    <a:pt x="669" y="548"/>
                  </a:lnTo>
                  <a:lnTo>
                    <a:pt x="671" y="548"/>
                  </a:lnTo>
                  <a:lnTo>
                    <a:pt x="671" y="551"/>
                  </a:lnTo>
                  <a:lnTo>
                    <a:pt x="671" y="553"/>
                  </a:lnTo>
                  <a:lnTo>
                    <a:pt x="673" y="553"/>
                  </a:lnTo>
                  <a:lnTo>
                    <a:pt x="676" y="553"/>
                  </a:lnTo>
                  <a:lnTo>
                    <a:pt x="676" y="556"/>
                  </a:lnTo>
                  <a:lnTo>
                    <a:pt x="678" y="556"/>
                  </a:lnTo>
                  <a:lnTo>
                    <a:pt x="681" y="556"/>
                  </a:lnTo>
                  <a:lnTo>
                    <a:pt x="678" y="556"/>
                  </a:lnTo>
                  <a:lnTo>
                    <a:pt x="681" y="556"/>
                  </a:lnTo>
                  <a:lnTo>
                    <a:pt x="681" y="558"/>
                  </a:lnTo>
                  <a:lnTo>
                    <a:pt x="681" y="556"/>
                  </a:lnTo>
                  <a:lnTo>
                    <a:pt x="681" y="558"/>
                  </a:lnTo>
                  <a:lnTo>
                    <a:pt x="681" y="556"/>
                  </a:lnTo>
                  <a:lnTo>
                    <a:pt x="681" y="558"/>
                  </a:lnTo>
                  <a:lnTo>
                    <a:pt x="681" y="556"/>
                  </a:lnTo>
                  <a:lnTo>
                    <a:pt x="681" y="558"/>
                  </a:lnTo>
                  <a:lnTo>
                    <a:pt x="683" y="558"/>
                  </a:lnTo>
                  <a:lnTo>
                    <a:pt x="685" y="558"/>
                  </a:lnTo>
                  <a:lnTo>
                    <a:pt x="685" y="560"/>
                  </a:lnTo>
                  <a:lnTo>
                    <a:pt x="683" y="560"/>
                  </a:lnTo>
                  <a:lnTo>
                    <a:pt x="681" y="560"/>
                  </a:lnTo>
                  <a:lnTo>
                    <a:pt x="683" y="563"/>
                  </a:lnTo>
                  <a:lnTo>
                    <a:pt x="685" y="563"/>
                  </a:lnTo>
                  <a:lnTo>
                    <a:pt x="685" y="565"/>
                  </a:lnTo>
                  <a:lnTo>
                    <a:pt x="688" y="565"/>
                  </a:lnTo>
                  <a:lnTo>
                    <a:pt x="688" y="567"/>
                  </a:lnTo>
                  <a:lnTo>
                    <a:pt x="690" y="567"/>
                  </a:lnTo>
                  <a:lnTo>
                    <a:pt x="690" y="565"/>
                  </a:lnTo>
                  <a:lnTo>
                    <a:pt x="690" y="563"/>
                  </a:lnTo>
                  <a:lnTo>
                    <a:pt x="692" y="563"/>
                  </a:lnTo>
                  <a:lnTo>
                    <a:pt x="692" y="565"/>
                  </a:lnTo>
                  <a:lnTo>
                    <a:pt x="692" y="563"/>
                  </a:lnTo>
                  <a:lnTo>
                    <a:pt x="695" y="563"/>
                  </a:lnTo>
                  <a:lnTo>
                    <a:pt x="692" y="563"/>
                  </a:lnTo>
                  <a:lnTo>
                    <a:pt x="695" y="563"/>
                  </a:lnTo>
                  <a:lnTo>
                    <a:pt x="695" y="565"/>
                  </a:lnTo>
                  <a:lnTo>
                    <a:pt x="695" y="563"/>
                  </a:lnTo>
                  <a:lnTo>
                    <a:pt x="695" y="565"/>
                  </a:lnTo>
                  <a:lnTo>
                    <a:pt x="697" y="565"/>
                  </a:lnTo>
                  <a:lnTo>
                    <a:pt x="697" y="567"/>
                  </a:lnTo>
                  <a:lnTo>
                    <a:pt x="697" y="565"/>
                  </a:lnTo>
                  <a:lnTo>
                    <a:pt x="697" y="567"/>
                  </a:lnTo>
                  <a:lnTo>
                    <a:pt x="697" y="565"/>
                  </a:lnTo>
                  <a:lnTo>
                    <a:pt x="697" y="567"/>
                  </a:lnTo>
                  <a:lnTo>
                    <a:pt x="700" y="567"/>
                  </a:lnTo>
                  <a:lnTo>
                    <a:pt x="702" y="567"/>
                  </a:lnTo>
                  <a:lnTo>
                    <a:pt x="702" y="570"/>
                  </a:lnTo>
                  <a:lnTo>
                    <a:pt x="702" y="567"/>
                  </a:lnTo>
                  <a:lnTo>
                    <a:pt x="702" y="570"/>
                  </a:lnTo>
                  <a:lnTo>
                    <a:pt x="702" y="567"/>
                  </a:lnTo>
                  <a:lnTo>
                    <a:pt x="704" y="567"/>
                  </a:lnTo>
                  <a:lnTo>
                    <a:pt x="704" y="570"/>
                  </a:lnTo>
                  <a:lnTo>
                    <a:pt x="704" y="567"/>
                  </a:lnTo>
                  <a:lnTo>
                    <a:pt x="704" y="570"/>
                  </a:lnTo>
                  <a:lnTo>
                    <a:pt x="704" y="572"/>
                  </a:lnTo>
                  <a:lnTo>
                    <a:pt x="707" y="572"/>
                  </a:lnTo>
                  <a:lnTo>
                    <a:pt x="704" y="572"/>
                  </a:lnTo>
                  <a:lnTo>
                    <a:pt x="707" y="572"/>
                  </a:lnTo>
                  <a:lnTo>
                    <a:pt x="707" y="575"/>
                  </a:lnTo>
                  <a:lnTo>
                    <a:pt x="707" y="577"/>
                  </a:lnTo>
                  <a:lnTo>
                    <a:pt x="704" y="577"/>
                  </a:lnTo>
                  <a:lnTo>
                    <a:pt x="704" y="579"/>
                  </a:lnTo>
                  <a:lnTo>
                    <a:pt x="707" y="579"/>
                  </a:lnTo>
                  <a:lnTo>
                    <a:pt x="704" y="579"/>
                  </a:lnTo>
                  <a:lnTo>
                    <a:pt x="707" y="579"/>
                  </a:lnTo>
                  <a:lnTo>
                    <a:pt x="704" y="579"/>
                  </a:lnTo>
                  <a:lnTo>
                    <a:pt x="704" y="582"/>
                  </a:lnTo>
                  <a:lnTo>
                    <a:pt x="704" y="584"/>
                  </a:lnTo>
                  <a:lnTo>
                    <a:pt x="704" y="582"/>
                  </a:lnTo>
                  <a:lnTo>
                    <a:pt x="704" y="584"/>
                  </a:lnTo>
                  <a:lnTo>
                    <a:pt x="704" y="582"/>
                  </a:lnTo>
                  <a:lnTo>
                    <a:pt x="704" y="584"/>
                  </a:lnTo>
                  <a:lnTo>
                    <a:pt x="704" y="582"/>
                  </a:lnTo>
                  <a:lnTo>
                    <a:pt x="704" y="584"/>
                  </a:lnTo>
                  <a:lnTo>
                    <a:pt x="707" y="582"/>
                  </a:lnTo>
                  <a:lnTo>
                    <a:pt x="707" y="584"/>
                  </a:lnTo>
                  <a:lnTo>
                    <a:pt x="709" y="584"/>
                  </a:lnTo>
                  <a:lnTo>
                    <a:pt x="709" y="586"/>
                  </a:lnTo>
                  <a:lnTo>
                    <a:pt x="709" y="584"/>
                  </a:lnTo>
                  <a:lnTo>
                    <a:pt x="709" y="586"/>
                  </a:lnTo>
                  <a:lnTo>
                    <a:pt x="709" y="589"/>
                  </a:lnTo>
                  <a:lnTo>
                    <a:pt x="709" y="591"/>
                  </a:lnTo>
                  <a:lnTo>
                    <a:pt x="709" y="594"/>
                  </a:lnTo>
                  <a:lnTo>
                    <a:pt x="707" y="594"/>
                  </a:lnTo>
                  <a:lnTo>
                    <a:pt x="709" y="594"/>
                  </a:lnTo>
                  <a:lnTo>
                    <a:pt x="707" y="594"/>
                  </a:lnTo>
                  <a:lnTo>
                    <a:pt x="709" y="594"/>
                  </a:lnTo>
                  <a:lnTo>
                    <a:pt x="707" y="596"/>
                  </a:lnTo>
                  <a:lnTo>
                    <a:pt x="709" y="596"/>
                  </a:lnTo>
                  <a:lnTo>
                    <a:pt x="711" y="596"/>
                  </a:lnTo>
                  <a:lnTo>
                    <a:pt x="711" y="598"/>
                  </a:lnTo>
                  <a:lnTo>
                    <a:pt x="714" y="598"/>
                  </a:lnTo>
                  <a:lnTo>
                    <a:pt x="714" y="596"/>
                  </a:lnTo>
                  <a:lnTo>
                    <a:pt x="714" y="598"/>
                  </a:lnTo>
                  <a:lnTo>
                    <a:pt x="714" y="596"/>
                  </a:lnTo>
                  <a:lnTo>
                    <a:pt x="716" y="596"/>
                  </a:lnTo>
                  <a:lnTo>
                    <a:pt x="716" y="598"/>
                  </a:lnTo>
                  <a:lnTo>
                    <a:pt x="716" y="601"/>
                  </a:lnTo>
                  <a:lnTo>
                    <a:pt x="714" y="601"/>
                  </a:lnTo>
                  <a:lnTo>
                    <a:pt x="716" y="601"/>
                  </a:lnTo>
                  <a:lnTo>
                    <a:pt x="716" y="603"/>
                  </a:lnTo>
                  <a:lnTo>
                    <a:pt x="719" y="603"/>
                  </a:lnTo>
                  <a:lnTo>
                    <a:pt x="716" y="603"/>
                  </a:lnTo>
                  <a:lnTo>
                    <a:pt x="716" y="605"/>
                  </a:lnTo>
                  <a:lnTo>
                    <a:pt x="716" y="608"/>
                  </a:lnTo>
                  <a:lnTo>
                    <a:pt x="716" y="610"/>
                  </a:lnTo>
                  <a:lnTo>
                    <a:pt x="714" y="610"/>
                  </a:lnTo>
                  <a:lnTo>
                    <a:pt x="714" y="608"/>
                  </a:lnTo>
                  <a:lnTo>
                    <a:pt x="711" y="608"/>
                  </a:lnTo>
                  <a:lnTo>
                    <a:pt x="711" y="605"/>
                  </a:lnTo>
                  <a:lnTo>
                    <a:pt x="709" y="605"/>
                  </a:lnTo>
                  <a:lnTo>
                    <a:pt x="709" y="603"/>
                  </a:lnTo>
                  <a:lnTo>
                    <a:pt x="707" y="603"/>
                  </a:lnTo>
                  <a:lnTo>
                    <a:pt x="707" y="601"/>
                  </a:lnTo>
                  <a:lnTo>
                    <a:pt x="704" y="601"/>
                  </a:lnTo>
                  <a:lnTo>
                    <a:pt x="704" y="603"/>
                  </a:lnTo>
                  <a:lnTo>
                    <a:pt x="702" y="603"/>
                  </a:lnTo>
                  <a:lnTo>
                    <a:pt x="700" y="603"/>
                  </a:lnTo>
                  <a:lnTo>
                    <a:pt x="697" y="603"/>
                  </a:lnTo>
                  <a:lnTo>
                    <a:pt x="697" y="601"/>
                  </a:lnTo>
                  <a:lnTo>
                    <a:pt x="695" y="601"/>
                  </a:lnTo>
                  <a:lnTo>
                    <a:pt x="692" y="601"/>
                  </a:lnTo>
                  <a:lnTo>
                    <a:pt x="692" y="603"/>
                  </a:lnTo>
                  <a:lnTo>
                    <a:pt x="690" y="601"/>
                  </a:lnTo>
                  <a:lnTo>
                    <a:pt x="690" y="603"/>
                  </a:lnTo>
                  <a:lnTo>
                    <a:pt x="690" y="601"/>
                  </a:lnTo>
                  <a:lnTo>
                    <a:pt x="692" y="603"/>
                  </a:lnTo>
                  <a:lnTo>
                    <a:pt x="692" y="601"/>
                  </a:lnTo>
                  <a:lnTo>
                    <a:pt x="695" y="601"/>
                  </a:lnTo>
                  <a:lnTo>
                    <a:pt x="697" y="601"/>
                  </a:lnTo>
                  <a:lnTo>
                    <a:pt x="697" y="603"/>
                  </a:lnTo>
                  <a:lnTo>
                    <a:pt x="700" y="603"/>
                  </a:lnTo>
                  <a:lnTo>
                    <a:pt x="702" y="603"/>
                  </a:lnTo>
                  <a:lnTo>
                    <a:pt x="704" y="603"/>
                  </a:lnTo>
                  <a:lnTo>
                    <a:pt x="704" y="601"/>
                  </a:lnTo>
                  <a:lnTo>
                    <a:pt x="707" y="601"/>
                  </a:lnTo>
                  <a:lnTo>
                    <a:pt x="707" y="603"/>
                  </a:lnTo>
                  <a:lnTo>
                    <a:pt x="709" y="603"/>
                  </a:lnTo>
                  <a:lnTo>
                    <a:pt x="709" y="605"/>
                  </a:lnTo>
                  <a:lnTo>
                    <a:pt x="711" y="608"/>
                  </a:lnTo>
                  <a:lnTo>
                    <a:pt x="714" y="608"/>
                  </a:lnTo>
                  <a:lnTo>
                    <a:pt x="714" y="610"/>
                  </a:lnTo>
                  <a:lnTo>
                    <a:pt x="714" y="613"/>
                  </a:lnTo>
                  <a:lnTo>
                    <a:pt x="714" y="615"/>
                  </a:lnTo>
                  <a:lnTo>
                    <a:pt x="714" y="617"/>
                  </a:lnTo>
                  <a:lnTo>
                    <a:pt x="711" y="617"/>
                  </a:lnTo>
                  <a:lnTo>
                    <a:pt x="711" y="620"/>
                  </a:lnTo>
                  <a:lnTo>
                    <a:pt x="711" y="622"/>
                  </a:lnTo>
                  <a:lnTo>
                    <a:pt x="709" y="622"/>
                  </a:lnTo>
                  <a:lnTo>
                    <a:pt x="709" y="624"/>
                  </a:lnTo>
                  <a:lnTo>
                    <a:pt x="707" y="624"/>
                  </a:lnTo>
                  <a:lnTo>
                    <a:pt x="704" y="624"/>
                  </a:lnTo>
                  <a:lnTo>
                    <a:pt x="704" y="627"/>
                  </a:lnTo>
                  <a:lnTo>
                    <a:pt x="704" y="624"/>
                  </a:lnTo>
                  <a:lnTo>
                    <a:pt x="704" y="627"/>
                  </a:lnTo>
                  <a:lnTo>
                    <a:pt x="704" y="624"/>
                  </a:lnTo>
                  <a:lnTo>
                    <a:pt x="704" y="627"/>
                  </a:lnTo>
                  <a:lnTo>
                    <a:pt x="702" y="629"/>
                  </a:lnTo>
                  <a:lnTo>
                    <a:pt x="700" y="629"/>
                  </a:lnTo>
                  <a:lnTo>
                    <a:pt x="702" y="629"/>
                  </a:lnTo>
                  <a:lnTo>
                    <a:pt x="700" y="629"/>
                  </a:lnTo>
                  <a:lnTo>
                    <a:pt x="700" y="632"/>
                  </a:lnTo>
                  <a:lnTo>
                    <a:pt x="700" y="629"/>
                  </a:lnTo>
                  <a:lnTo>
                    <a:pt x="700" y="632"/>
                  </a:lnTo>
                  <a:lnTo>
                    <a:pt x="697" y="632"/>
                  </a:lnTo>
                  <a:lnTo>
                    <a:pt x="697" y="634"/>
                  </a:lnTo>
                  <a:lnTo>
                    <a:pt x="695" y="634"/>
                  </a:lnTo>
                  <a:lnTo>
                    <a:pt x="695" y="636"/>
                  </a:lnTo>
                  <a:lnTo>
                    <a:pt x="692" y="636"/>
                  </a:lnTo>
                  <a:lnTo>
                    <a:pt x="692" y="639"/>
                  </a:lnTo>
                  <a:lnTo>
                    <a:pt x="692" y="636"/>
                  </a:lnTo>
                  <a:lnTo>
                    <a:pt x="692" y="639"/>
                  </a:lnTo>
                  <a:lnTo>
                    <a:pt x="690" y="639"/>
                  </a:lnTo>
                  <a:lnTo>
                    <a:pt x="690" y="641"/>
                  </a:lnTo>
                  <a:lnTo>
                    <a:pt x="688" y="641"/>
                  </a:lnTo>
                  <a:lnTo>
                    <a:pt x="690" y="641"/>
                  </a:lnTo>
                  <a:lnTo>
                    <a:pt x="688" y="641"/>
                  </a:lnTo>
                  <a:lnTo>
                    <a:pt x="688" y="643"/>
                  </a:lnTo>
                  <a:lnTo>
                    <a:pt x="685" y="643"/>
                  </a:lnTo>
                  <a:lnTo>
                    <a:pt x="685" y="646"/>
                  </a:lnTo>
                  <a:lnTo>
                    <a:pt x="683" y="646"/>
                  </a:lnTo>
                  <a:lnTo>
                    <a:pt x="683" y="643"/>
                  </a:lnTo>
                  <a:lnTo>
                    <a:pt x="683" y="646"/>
                  </a:lnTo>
                  <a:lnTo>
                    <a:pt x="683" y="643"/>
                  </a:lnTo>
                  <a:lnTo>
                    <a:pt x="683" y="646"/>
                  </a:lnTo>
                  <a:lnTo>
                    <a:pt x="681" y="646"/>
                  </a:lnTo>
                  <a:lnTo>
                    <a:pt x="678" y="646"/>
                  </a:lnTo>
                  <a:lnTo>
                    <a:pt x="681" y="646"/>
                  </a:lnTo>
                  <a:lnTo>
                    <a:pt x="678" y="646"/>
                  </a:lnTo>
                  <a:lnTo>
                    <a:pt x="678" y="648"/>
                  </a:lnTo>
                  <a:lnTo>
                    <a:pt x="676" y="648"/>
                  </a:lnTo>
                  <a:lnTo>
                    <a:pt x="676" y="651"/>
                  </a:lnTo>
                  <a:lnTo>
                    <a:pt x="673" y="651"/>
                  </a:lnTo>
                  <a:lnTo>
                    <a:pt x="671" y="653"/>
                  </a:lnTo>
                  <a:lnTo>
                    <a:pt x="671" y="651"/>
                  </a:lnTo>
                  <a:lnTo>
                    <a:pt x="671" y="653"/>
                  </a:lnTo>
                  <a:lnTo>
                    <a:pt x="669" y="653"/>
                  </a:lnTo>
                  <a:lnTo>
                    <a:pt x="666" y="653"/>
                  </a:lnTo>
                  <a:lnTo>
                    <a:pt x="664" y="653"/>
                  </a:lnTo>
                  <a:lnTo>
                    <a:pt x="664" y="655"/>
                  </a:lnTo>
                  <a:lnTo>
                    <a:pt x="662" y="655"/>
                  </a:lnTo>
                  <a:lnTo>
                    <a:pt x="659" y="655"/>
                  </a:lnTo>
                  <a:lnTo>
                    <a:pt x="657" y="655"/>
                  </a:lnTo>
                  <a:lnTo>
                    <a:pt x="654" y="655"/>
                  </a:lnTo>
                  <a:lnTo>
                    <a:pt x="652" y="658"/>
                  </a:lnTo>
                  <a:lnTo>
                    <a:pt x="650" y="658"/>
                  </a:lnTo>
                  <a:lnTo>
                    <a:pt x="647" y="658"/>
                  </a:lnTo>
                  <a:lnTo>
                    <a:pt x="645" y="660"/>
                  </a:lnTo>
                  <a:lnTo>
                    <a:pt x="643" y="660"/>
                  </a:lnTo>
                  <a:lnTo>
                    <a:pt x="640" y="660"/>
                  </a:lnTo>
                  <a:lnTo>
                    <a:pt x="638" y="660"/>
                  </a:lnTo>
                  <a:lnTo>
                    <a:pt x="635" y="660"/>
                  </a:lnTo>
                  <a:lnTo>
                    <a:pt x="633" y="660"/>
                  </a:lnTo>
                  <a:lnTo>
                    <a:pt x="633" y="662"/>
                  </a:lnTo>
                  <a:lnTo>
                    <a:pt x="631" y="662"/>
                  </a:lnTo>
                  <a:lnTo>
                    <a:pt x="628" y="662"/>
                  </a:lnTo>
                  <a:lnTo>
                    <a:pt x="626" y="662"/>
                  </a:lnTo>
                  <a:lnTo>
                    <a:pt x="624" y="662"/>
                  </a:lnTo>
                  <a:lnTo>
                    <a:pt x="621" y="662"/>
                  </a:lnTo>
                  <a:lnTo>
                    <a:pt x="619" y="662"/>
                  </a:lnTo>
                  <a:lnTo>
                    <a:pt x="621" y="662"/>
                  </a:lnTo>
                  <a:lnTo>
                    <a:pt x="619" y="662"/>
                  </a:lnTo>
                  <a:lnTo>
                    <a:pt x="616" y="662"/>
                  </a:lnTo>
                  <a:lnTo>
                    <a:pt x="614" y="662"/>
                  </a:lnTo>
                  <a:lnTo>
                    <a:pt x="612" y="662"/>
                  </a:lnTo>
                  <a:lnTo>
                    <a:pt x="609" y="662"/>
                  </a:lnTo>
                  <a:lnTo>
                    <a:pt x="607" y="662"/>
                  </a:lnTo>
                  <a:lnTo>
                    <a:pt x="605" y="662"/>
                  </a:lnTo>
                  <a:lnTo>
                    <a:pt x="602" y="662"/>
                  </a:lnTo>
                  <a:lnTo>
                    <a:pt x="602" y="660"/>
                  </a:lnTo>
                  <a:lnTo>
                    <a:pt x="600" y="660"/>
                  </a:lnTo>
                  <a:lnTo>
                    <a:pt x="597" y="660"/>
                  </a:lnTo>
                  <a:lnTo>
                    <a:pt x="595" y="660"/>
                  </a:lnTo>
                  <a:lnTo>
                    <a:pt x="593" y="660"/>
                  </a:lnTo>
                  <a:lnTo>
                    <a:pt x="593" y="658"/>
                  </a:lnTo>
                  <a:lnTo>
                    <a:pt x="590" y="658"/>
                  </a:lnTo>
                  <a:lnTo>
                    <a:pt x="588" y="658"/>
                  </a:lnTo>
                  <a:lnTo>
                    <a:pt x="588" y="655"/>
                  </a:lnTo>
                  <a:lnTo>
                    <a:pt x="586" y="655"/>
                  </a:lnTo>
                  <a:lnTo>
                    <a:pt x="583" y="655"/>
                  </a:lnTo>
                  <a:lnTo>
                    <a:pt x="581" y="653"/>
                  </a:lnTo>
                  <a:lnTo>
                    <a:pt x="579" y="653"/>
                  </a:lnTo>
                  <a:lnTo>
                    <a:pt x="576" y="653"/>
                  </a:lnTo>
                  <a:lnTo>
                    <a:pt x="571" y="651"/>
                  </a:lnTo>
                  <a:lnTo>
                    <a:pt x="569" y="651"/>
                  </a:lnTo>
                  <a:lnTo>
                    <a:pt x="569" y="648"/>
                  </a:lnTo>
                  <a:lnTo>
                    <a:pt x="569" y="651"/>
                  </a:lnTo>
                  <a:lnTo>
                    <a:pt x="567" y="651"/>
                  </a:lnTo>
                  <a:lnTo>
                    <a:pt x="567" y="648"/>
                  </a:lnTo>
                  <a:lnTo>
                    <a:pt x="567" y="651"/>
                  </a:lnTo>
                  <a:lnTo>
                    <a:pt x="567" y="648"/>
                  </a:lnTo>
                  <a:lnTo>
                    <a:pt x="564" y="648"/>
                  </a:lnTo>
                  <a:lnTo>
                    <a:pt x="562" y="646"/>
                  </a:lnTo>
                  <a:lnTo>
                    <a:pt x="564" y="646"/>
                  </a:lnTo>
                  <a:lnTo>
                    <a:pt x="562" y="646"/>
                  </a:lnTo>
                  <a:lnTo>
                    <a:pt x="562" y="643"/>
                  </a:lnTo>
                  <a:lnTo>
                    <a:pt x="560" y="643"/>
                  </a:lnTo>
                  <a:lnTo>
                    <a:pt x="562" y="643"/>
                  </a:lnTo>
                  <a:lnTo>
                    <a:pt x="562" y="646"/>
                  </a:lnTo>
                  <a:lnTo>
                    <a:pt x="562" y="648"/>
                  </a:lnTo>
                  <a:lnTo>
                    <a:pt x="564" y="648"/>
                  </a:lnTo>
                  <a:lnTo>
                    <a:pt x="562" y="648"/>
                  </a:lnTo>
                  <a:lnTo>
                    <a:pt x="564" y="648"/>
                  </a:lnTo>
                  <a:lnTo>
                    <a:pt x="567" y="648"/>
                  </a:lnTo>
                  <a:lnTo>
                    <a:pt x="567" y="651"/>
                  </a:lnTo>
                  <a:lnTo>
                    <a:pt x="569" y="651"/>
                  </a:lnTo>
                  <a:lnTo>
                    <a:pt x="571" y="651"/>
                  </a:lnTo>
                  <a:lnTo>
                    <a:pt x="569" y="651"/>
                  </a:lnTo>
                  <a:lnTo>
                    <a:pt x="567" y="651"/>
                  </a:lnTo>
                  <a:lnTo>
                    <a:pt x="564" y="651"/>
                  </a:lnTo>
                  <a:lnTo>
                    <a:pt x="562" y="651"/>
                  </a:lnTo>
                  <a:lnTo>
                    <a:pt x="560" y="651"/>
                  </a:lnTo>
                  <a:lnTo>
                    <a:pt x="557" y="651"/>
                  </a:lnTo>
                  <a:lnTo>
                    <a:pt x="555" y="651"/>
                  </a:lnTo>
                  <a:lnTo>
                    <a:pt x="552" y="651"/>
                  </a:lnTo>
                  <a:lnTo>
                    <a:pt x="550" y="648"/>
                  </a:lnTo>
                  <a:lnTo>
                    <a:pt x="548" y="648"/>
                  </a:lnTo>
                  <a:lnTo>
                    <a:pt x="545" y="648"/>
                  </a:lnTo>
                  <a:lnTo>
                    <a:pt x="541" y="648"/>
                  </a:lnTo>
                  <a:lnTo>
                    <a:pt x="541" y="646"/>
                  </a:lnTo>
                  <a:lnTo>
                    <a:pt x="538" y="646"/>
                  </a:lnTo>
                  <a:lnTo>
                    <a:pt x="536" y="646"/>
                  </a:lnTo>
                  <a:lnTo>
                    <a:pt x="533" y="646"/>
                  </a:lnTo>
                  <a:lnTo>
                    <a:pt x="531" y="646"/>
                  </a:lnTo>
                  <a:lnTo>
                    <a:pt x="529" y="646"/>
                  </a:lnTo>
                  <a:lnTo>
                    <a:pt x="526" y="646"/>
                  </a:lnTo>
                  <a:lnTo>
                    <a:pt x="526" y="643"/>
                  </a:lnTo>
                  <a:lnTo>
                    <a:pt x="524" y="643"/>
                  </a:lnTo>
                  <a:lnTo>
                    <a:pt x="522" y="643"/>
                  </a:lnTo>
                  <a:lnTo>
                    <a:pt x="519" y="643"/>
                  </a:lnTo>
                  <a:lnTo>
                    <a:pt x="519" y="641"/>
                  </a:lnTo>
                  <a:lnTo>
                    <a:pt x="517" y="641"/>
                  </a:lnTo>
                  <a:lnTo>
                    <a:pt x="517" y="639"/>
                  </a:lnTo>
                  <a:lnTo>
                    <a:pt x="517" y="641"/>
                  </a:lnTo>
                  <a:lnTo>
                    <a:pt x="517" y="639"/>
                  </a:lnTo>
                  <a:lnTo>
                    <a:pt x="514" y="639"/>
                  </a:lnTo>
                  <a:lnTo>
                    <a:pt x="512" y="639"/>
                  </a:lnTo>
                  <a:lnTo>
                    <a:pt x="512" y="636"/>
                  </a:lnTo>
                  <a:lnTo>
                    <a:pt x="512" y="639"/>
                  </a:lnTo>
                  <a:lnTo>
                    <a:pt x="510" y="636"/>
                  </a:lnTo>
                  <a:lnTo>
                    <a:pt x="507" y="636"/>
                  </a:lnTo>
                  <a:lnTo>
                    <a:pt x="507" y="634"/>
                  </a:lnTo>
                  <a:lnTo>
                    <a:pt x="505" y="634"/>
                  </a:lnTo>
                  <a:lnTo>
                    <a:pt x="505" y="632"/>
                  </a:lnTo>
                  <a:lnTo>
                    <a:pt x="503" y="632"/>
                  </a:lnTo>
                  <a:lnTo>
                    <a:pt x="500" y="632"/>
                  </a:lnTo>
                  <a:lnTo>
                    <a:pt x="498" y="632"/>
                  </a:lnTo>
                  <a:lnTo>
                    <a:pt x="498" y="634"/>
                  </a:lnTo>
                  <a:lnTo>
                    <a:pt x="495" y="634"/>
                  </a:lnTo>
                  <a:lnTo>
                    <a:pt x="498" y="634"/>
                  </a:lnTo>
                  <a:lnTo>
                    <a:pt x="495" y="634"/>
                  </a:lnTo>
                  <a:lnTo>
                    <a:pt x="495" y="636"/>
                  </a:lnTo>
                  <a:lnTo>
                    <a:pt x="493" y="636"/>
                  </a:lnTo>
                  <a:lnTo>
                    <a:pt x="491" y="636"/>
                  </a:lnTo>
                  <a:lnTo>
                    <a:pt x="488" y="634"/>
                  </a:lnTo>
                  <a:lnTo>
                    <a:pt x="486" y="634"/>
                  </a:lnTo>
                  <a:lnTo>
                    <a:pt x="486" y="632"/>
                  </a:lnTo>
                  <a:lnTo>
                    <a:pt x="488" y="632"/>
                  </a:lnTo>
                  <a:lnTo>
                    <a:pt x="488" y="629"/>
                  </a:lnTo>
                  <a:lnTo>
                    <a:pt x="488" y="632"/>
                  </a:lnTo>
                  <a:lnTo>
                    <a:pt x="491" y="632"/>
                  </a:lnTo>
                  <a:lnTo>
                    <a:pt x="491" y="629"/>
                  </a:lnTo>
                  <a:lnTo>
                    <a:pt x="491" y="632"/>
                  </a:lnTo>
                  <a:lnTo>
                    <a:pt x="493" y="632"/>
                  </a:lnTo>
                  <a:lnTo>
                    <a:pt x="491" y="629"/>
                  </a:lnTo>
                  <a:lnTo>
                    <a:pt x="488" y="629"/>
                  </a:lnTo>
                  <a:lnTo>
                    <a:pt x="486" y="629"/>
                  </a:lnTo>
                  <a:lnTo>
                    <a:pt x="488" y="629"/>
                  </a:lnTo>
                  <a:lnTo>
                    <a:pt x="486" y="629"/>
                  </a:lnTo>
                  <a:lnTo>
                    <a:pt x="486" y="627"/>
                  </a:lnTo>
                  <a:lnTo>
                    <a:pt x="486" y="629"/>
                  </a:lnTo>
                  <a:lnTo>
                    <a:pt x="486" y="627"/>
                  </a:lnTo>
                  <a:lnTo>
                    <a:pt x="486" y="629"/>
                  </a:lnTo>
                  <a:lnTo>
                    <a:pt x="484" y="629"/>
                  </a:lnTo>
                  <a:lnTo>
                    <a:pt x="484" y="627"/>
                  </a:lnTo>
                  <a:lnTo>
                    <a:pt x="484" y="629"/>
                  </a:lnTo>
                  <a:lnTo>
                    <a:pt x="481" y="629"/>
                  </a:lnTo>
                  <a:lnTo>
                    <a:pt x="481" y="627"/>
                  </a:lnTo>
                  <a:lnTo>
                    <a:pt x="484" y="627"/>
                  </a:lnTo>
                  <a:lnTo>
                    <a:pt x="481" y="627"/>
                  </a:lnTo>
                  <a:lnTo>
                    <a:pt x="484" y="627"/>
                  </a:lnTo>
                  <a:lnTo>
                    <a:pt x="481" y="627"/>
                  </a:lnTo>
                  <a:lnTo>
                    <a:pt x="481" y="629"/>
                  </a:lnTo>
                  <a:lnTo>
                    <a:pt x="481" y="627"/>
                  </a:lnTo>
                  <a:lnTo>
                    <a:pt x="479" y="627"/>
                  </a:lnTo>
                  <a:lnTo>
                    <a:pt x="481" y="627"/>
                  </a:lnTo>
                  <a:lnTo>
                    <a:pt x="479" y="627"/>
                  </a:lnTo>
                  <a:lnTo>
                    <a:pt x="479" y="629"/>
                  </a:lnTo>
                  <a:lnTo>
                    <a:pt x="476" y="627"/>
                  </a:lnTo>
                  <a:lnTo>
                    <a:pt x="479" y="627"/>
                  </a:lnTo>
                  <a:lnTo>
                    <a:pt x="479" y="624"/>
                  </a:lnTo>
                  <a:lnTo>
                    <a:pt x="481" y="624"/>
                  </a:lnTo>
                  <a:lnTo>
                    <a:pt x="479" y="622"/>
                  </a:lnTo>
                  <a:lnTo>
                    <a:pt x="479" y="624"/>
                  </a:lnTo>
                  <a:lnTo>
                    <a:pt x="479" y="627"/>
                  </a:lnTo>
                  <a:lnTo>
                    <a:pt x="476" y="627"/>
                  </a:lnTo>
                  <a:lnTo>
                    <a:pt x="476" y="624"/>
                  </a:lnTo>
                  <a:lnTo>
                    <a:pt x="474" y="624"/>
                  </a:lnTo>
                  <a:lnTo>
                    <a:pt x="476" y="624"/>
                  </a:lnTo>
                  <a:lnTo>
                    <a:pt x="476" y="622"/>
                  </a:lnTo>
                  <a:lnTo>
                    <a:pt x="476" y="624"/>
                  </a:lnTo>
                  <a:lnTo>
                    <a:pt x="474" y="624"/>
                  </a:lnTo>
                  <a:lnTo>
                    <a:pt x="476" y="624"/>
                  </a:lnTo>
                  <a:lnTo>
                    <a:pt x="476" y="627"/>
                  </a:lnTo>
                  <a:lnTo>
                    <a:pt x="474" y="627"/>
                  </a:lnTo>
                  <a:lnTo>
                    <a:pt x="476" y="627"/>
                  </a:lnTo>
                  <a:lnTo>
                    <a:pt x="474" y="627"/>
                  </a:lnTo>
                  <a:lnTo>
                    <a:pt x="472" y="627"/>
                  </a:lnTo>
                  <a:lnTo>
                    <a:pt x="472" y="624"/>
                  </a:lnTo>
                  <a:lnTo>
                    <a:pt x="469" y="627"/>
                  </a:lnTo>
                  <a:lnTo>
                    <a:pt x="469" y="624"/>
                  </a:lnTo>
                  <a:lnTo>
                    <a:pt x="469" y="627"/>
                  </a:lnTo>
                  <a:lnTo>
                    <a:pt x="469" y="624"/>
                  </a:lnTo>
                  <a:lnTo>
                    <a:pt x="469" y="627"/>
                  </a:lnTo>
                  <a:lnTo>
                    <a:pt x="469" y="624"/>
                  </a:lnTo>
                  <a:lnTo>
                    <a:pt x="469" y="627"/>
                  </a:lnTo>
                  <a:lnTo>
                    <a:pt x="469" y="624"/>
                  </a:lnTo>
                  <a:lnTo>
                    <a:pt x="467" y="624"/>
                  </a:lnTo>
                  <a:lnTo>
                    <a:pt x="469" y="624"/>
                  </a:lnTo>
                  <a:lnTo>
                    <a:pt x="467" y="624"/>
                  </a:lnTo>
                  <a:lnTo>
                    <a:pt x="469" y="624"/>
                  </a:lnTo>
                  <a:lnTo>
                    <a:pt x="467" y="624"/>
                  </a:lnTo>
                  <a:lnTo>
                    <a:pt x="469" y="624"/>
                  </a:lnTo>
                  <a:lnTo>
                    <a:pt x="467" y="624"/>
                  </a:lnTo>
                  <a:lnTo>
                    <a:pt x="467" y="622"/>
                  </a:lnTo>
                  <a:lnTo>
                    <a:pt x="469" y="622"/>
                  </a:lnTo>
                  <a:lnTo>
                    <a:pt x="467" y="622"/>
                  </a:lnTo>
                  <a:lnTo>
                    <a:pt x="467" y="624"/>
                  </a:lnTo>
                  <a:lnTo>
                    <a:pt x="467" y="622"/>
                  </a:lnTo>
                  <a:lnTo>
                    <a:pt x="465" y="622"/>
                  </a:lnTo>
                  <a:lnTo>
                    <a:pt x="465" y="620"/>
                  </a:lnTo>
                  <a:lnTo>
                    <a:pt x="462" y="620"/>
                  </a:lnTo>
                  <a:lnTo>
                    <a:pt x="465" y="620"/>
                  </a:lnTo>
                  <a:lnTo>
                    <a:pt x="462" y="620"/>
                  </a:lnTo>
                  <a:lnTo>
                    <a:pt x="462" y="617"/>
                  </a:lnTo>
                  <a:lnTo>
                    <a:pt x="462" y="620"/>
                  </a:lnTo>
                  <a:lnTo>
                    <a:pt x="460" y="620"/>
                  </a:lnTo>
                  <a:lnTo>
                    <a:pt x="462" y="622"/>
                  </a:lnTo>
                  <a:lnTo>
                    <a:pt x="460" y="622"/>
                  </a:lnTo>
                  <a:lnTo>
                    <a:pt x="460" y="620"/>
                  </a:lnTo>
                  <a:lnTo>
                    <a:pt x="460" y="622"/>
                  </a:lnTo>
                  <a:lnTo>
                    <a:pt x="462" y="624"/>
                  </a:lnTo>
                  <a:lnTo>
                    <a:pt x="460" y="624"/>
                  </a:lnTo>
                  <a:lnTo>
                    <a:pt x="462" y="622"/>
                  </a:lnTo>
                  <a:lnTo>
                    <a:pt x="460" y="622"/>
                  </a:lnTo>
                  <a:lnTo>
                    <a:pt x="462" y="622"/>
                  </a:lnTo>
                  <a:lnTo>
                    <a:pt x="462" y="624"/>
                  </a:lnTo>
                  <a:lnTo>
                    <a:pt x="460" y="624"/>
                  </a:lnTo>
                  <a:lnTo>
                    <a:pt x="460" y="622"/>
                  </a:lnTo>
                  <a:lnTo>
                    <a:pt x="460" y="624"/>
                  </a:lnTo>
                  <a:lnTo>
                    <a:pt x="462" y="624"/>
                  </a:lnTo>
                  <a:lnTo>
                    <a:pt x="460" y="624"/>
                  </a:lnTo>
                  <a:lnTo>
                    <a:pt x="462" y="624"/>
                  </a:lnTo>
                  <a:lnTo>
                    <a:pt x="462" y="627"/>
                  </a:lnTo>
                  <a:lnTo>
                    <a:pt x="460" y="624"/>
                  </a:lnTo>
                  <a:lnTo>
                    <a:pt x="458" y="624"/>
                  </a:lnTo>
                  <a:lnTo>
                    <a:pt x="460" y="624"/>
                  </a:lnTo>
                  <a:lnTo>
                    <a:pt x="458" y="624"/>
                  </a:lnTo>
                  <a:lnTo>
                    <a:pt x="455" y="624"/>
                  </a:lnTo>
                  <a:lnTo>
                    <a:pt x="453" y="622"/>
                  </a:lnTo>
                  <a:lnTo>
                    <a:pt x="450" y="622"/>
                  </a:lnTo>
                  <a:lnTo>
                    <a:pt x="450" y="620"/>
                  </a:lnTo>
                  <a:lnTo>
                    <a:pt x="448" y="620"/>
                  </a:lnTo>
                  <a:lnTo>
                    <a:pt x="446" y="620"/>
                  </a:lnTo>
                  <a:lnTo>
                    <a:pt x="446" y="617"/>
                  </a:lnTo>
                  <a:lnTo>
                    <a:pt x="443" y="617"/>
                  </a:lnTo>
                  <a:lnTo>
                    <a:pt x="443" y="615"/>
                  </a:lnTo>
                  <a:lnTo>
                    <a:pt x="441" y="615"/>
                  </a:lnTo>
                  <a:lnTo>
                    <a:pt x="439" y="615"/>
                  </a:lnTo>
                  <a:lnTo>
                    <a:pt x="439" y="613"/>
                  </a:lnTo>
                  <a:lnTo>
                    <a:pt x="436" y="613"/>
                  </a:lnTo>
                  <a:lnTo>
                    <a:pt x="436" y="610"/>
                  </a:lnTo>
                  <a:lnTo>
                    <a:pt x="434" y="608"/>
                  </a:lnTo>
                  <a:lnTo>
                    <a:pt x="434" y="605"/>
                  </a:lnTo>
                  <a:lnTo>
                    <a:pt x="436" y="605"/>
                  </a:lnTo>
                  <a:lnTo>
                    <a:pt x="439" y="605"/>
                  </a:lnTo>
                  <a:lnTo>
                    <a:pt x="441" y="605"/>
                  </a:lnTo>
                  <a:lnTo>
                    <a:pt x="439" y="605"/>
                  </a:lnTo>
                  <a:lnTo>
                    <a:pt x="436" y="605"/>
                  </a:lnTo>
                  <a:lnTo>
                    <a:pt x="434" y="605"/>
                  </a:lnTo>
                  <a:lnTo>
                    <a:pt x="431" y="605"/>
                  </a:lnTo>
                  <a:lnTo>
                    <a:pt x="431" y="603"/>
                  </a:lnTo>
                  <a:lnTo>
                    <a:pt x="429" y="603"/>
                  </a:lnTo>
                  <a:lnTo>
                    <a:pt x="427" y="603"/>
                  </a:lnTo>
                  <a:lnTo>
                    <a:pt x="424" y="603"/>
                  </a:lnTo>
                  <a:lnTo>
                    <a:pt x="422" y="603"/>
                  </a:lnTo>
                  <a:lnTo>
                    <a:pt x="422" y="601"/>
                  </a:lnTo>
                  <a:lnTo>
                    <a:pt x="420" y="601"/>
                  </a:lnTo>
                  <a:lnTo>
                    <a:pt x="417" y="601"/>
                  </a:lnTo>
                  <a:lnTo>
                    <a:pt x="417" y="603"/>
                  </a:lnTo>
                  <a:lnTo>
                    <a:pt x="417" y="601"/>
                  </a:lnTo>
                  <a:lnTo>
                    <a:pt x="417" y="603"/>
                  </a:lnTo>
                  <a:lnTo>
                    <a:pt x="415" y="601"/>
                  </a:lnTo>
                  <a:lnTo>
                    <a:pt x="412" y="601"/>
                  </a:lnTo>
                  <a:lnTo>
                    <a:pt x="412" y="603"/>
                  </a:lnTo>
                  <a:lnTo>
                    <a:pt x="415" y="603"/>
                  </a:lnTo>
                  <a:lnTo>
                    <a:pt x="412" y="603"/>
                  </a:lnTo>
                  <a:lnTo>
                    <a:pt x="415" y="603"/>
                  </a:lnTo>
                  <a:lnTo>
                    <a:pt x="417" y="603"/>
                  </a:lnTo>
                  <a:lnTo>
                    <a:pt x="417" y="605"/>
                  </a:lnTo>
                  <a:lnTo>
                    <a:pt x="417" y="603"/>
                  </a:lnTo>
                  <a:lnTo>
                    <a:pt x="420" y="603"/>
                  </a:lnTo>
                  <a:lnTo>
                    <a:pt x="417" y="605"/>
                  </a:lnTo>
                  <a:lnTo>
                    <a:pt x="420" y="605"/>
                  </a:lnTo>
                  <a:lnTo>
                    <a:pt x="417" y="605"/>
                  </a:lnTo>
                  <a:lnTo>
                    <a:pt x="420" y="605"/>
                  </a:lnTo>
                  <a:lnTo>
                    <a:pt x="420" y="608"/>
                  </a:lnTo>
                  <a:lnTo>
                    <a:pt x="422" y="608"/>
                  </a:lnTo>
                  <a:lnTo>
                    <a:pt x="424" y="608"/>
                  </a:lnTo>
                  <a:lnTo>
                    <a:pt x="427" y="608"/>
                  </a:lnTo>
                  <a:lnTo>
                    <a:pt x="427" y="610"/>
                  </a:lnTo>
                  <a:lnTo>
                    <a:pt x="427" y="613"/>
                  </a:lnTo>
                  <a:lnTo>
                    <a:pt x="424" y="613"/>
                  </a:lnTo>
                  <a:lnTo>
                    <a:pt x="427" y="613"/>
                  </a:lnTo>
                  <a:lnTo>
                    <a:pt x="424" y="613"/>
                  </a:lnTo>
                  <a:lnTo>
                    <a:pt x="422" y="613"/>
                  </a:lnTo>
                  <a:lnTo>
                    <a:pt x="424" y="613"/>
                  </a:lnTo>
                  <a:lnTo>
                    <a:pt x="427" y="613"/>
                  </a:lnTo>
                  <a:lnTo>
                    <a:pt x="427" y="615"/>
                  </a:lnTo>
                  <a:lnTo>
                    <a:pt x="424" y="615"/>
                  </a:lnTo>
                  <a:lnTo>
                    <a:pt x="424" y="613"/>
                  </a:lnTo>
                  <a:lnTo>
                    <a:pt x="424" y="615"/>
                  </a:lnTo>
                  <a:lnTo>
                    <a:pt x="424" y="613"/>
                  </a:lnTo>
                  <a:lnTo>
                    <a:pt x="424" y="615"/>
                  </a:lnTo>
                  <a:lnTo>
                    <a:pt x="424" y="613"/>
                  </a:lnTo>
                  <a:lnTo>
                    <a:pt x="424" y="615"/>
                  </a:lnTo>
                  <a:lnTo>
                    <a:pt x="424" y="617"/>
                  </a:lnTo>
                  <a:lnTo>
                    <a:pt x="424" y="615"/>
                  </a:lnTo>
                  <a:lnTo>
                    <a:pt x="424" y="617"/>
                  </a:lnTo>
                  <a:lnTo>
                    <a:pt x="424" y="615"/>
                  </a:lnTo>
                  <a:lnTo>
                    <a:pt x="424" y="617"/>
                  </a:lnTo>
                  <a:lnTo>
                    <a:pt x="424" y="615"/>
                  </a:lnTo>
                  <a:lnTo>
                    <a:pt x="422" y="615"/>
                  </a:lnTo>
                  <a:lnTo>
                    <a:pt x="422" y="617"/>
                  </a:lnTo>
                  <a:lnTo>
                    <a:pt x="424" y="617"/>
                  </a:lnTo>
                  <a:lnTo>
                    <a:pt x="427" y="617"/>
                  </a:lnTo>
                  <a:lnTo>
                    <a:pt x="429" y="617"/>
                  </a:lnTo>
                  <a:lnTo>
                    <a:pt x="429" y="620"/>
                  </a:lnTo>
                  <a:lnTo>
                    <a:pt x="431" y="620"/>
                  </a:lnTo>
                  <a:lnTo>
                    <a:pt x="431" y="622"/>
                  </a:lnTo>
                  <a:lnTo>
                    <a:pt x="434" y="622"/>
                  </a:lnTo>
                  <a:lnTo>
                    <a:pt x="436" y="622"/>
                  </a:lnTo>
                  <a:lnTo>
                    <a:pt x="439" y="624"/>
                  </a:lnTo>
                  <a:lnTo>
                    <a:pt x="441" y="624"/>
                  </a:lnTo>
                  <a:lnTo>
                    <a:pt x="439" y="624"/>
                  </a:lnTo>
                  <a:lnTo>
                    <a:pt x="436" y="624"/>
                  </a:lnTo>
                  <a:lnTo>
                    <a:pt x="439" y="624"/>
                  </a:lnTo>
                  <a:lnTo>
                    <a:pt x="439" y="627"/>
                  </a:lnTo>
                  <a:lnTo>
                    <a:pt x="436" y="627"/>
                  </a:lnTo>
                  <a:lnTo>
                    <a:pt x="436" y="624"/>
                  </a:lnTo>
                  <a:lnTo>
                    <a:pt x="434" y="624"/>
                  </a:lnTo>
                  <a:lnTo>
                    <a:pt x="436" y="624"/>
                  </a:lnTo>
                  <a:lnTo>
                    <a:pt x="434" y="624"/>
                  </a:lnTo>
                  <a:lnTo>
                    <a:pt x="436" y="624"/>
                  </a:lnTo>
                  <a:lnTo>
                    <a:pt x="434" y="624"/>
                  </a:lnTo>
                  <a:lnTo>
                    <a:pt x="431" y="624"/>
                  </a:lnTo>
                  <a:lnTo>
                    <a:pt x="434" y="624"/>
                  </a:lnTo>
                  <a:lnTo>
                    <a:pt x="434" y="627"/>
                  </a:lnTo>
                  <a:lnTo>
                    <a:pt x="436" y="627"/>
                  </a:lnTo>
                  <a:lnTo>
                    <a:pt x="436" y="629"/>
                  </a:lnTo>
                  <a:lnTo>
                    <a:pt x="436" y="627"/>
                  </a:lnTo>
                  <a:lnTo>
                    <a:pt x="439" y="627"/>
                  </a:lnTo>
                  <a:lnTo>
                    <a:pt x="441" y="627"/>
                  </a:lnTo>
                  <a:lnTo>
                    <a:pt x="443" y="627"/>
                  </a:lnTo>
                  <a:lnTo>
                    <a:pt x="443" y="629"/>
                  </a:lnTo>
                  <a:lnTo>
                    <a:pt x="443" y="627"/>
                  </a:lnTo>
                  <a:lnTo>
                    <a:pt x="443" y="629"/>
                  </a:lnTo>
                  <a:lnTo>
                    <a:pt x="446" y="629"/>
                  </a:lnTo>
                  <a:lnTo>
                    <a:pt x="443" y="629"/>
                  </a:lnTo>
                  <a:lnTo>
                    <a:pt x="443" y="627"/>
                  </a:lnTo>
                  <a:lnTo>
                    <a:pt x="446" y="629"/>
                  </a:lnTo>
                  <a:lnTo>
                    <a:pt x="446" y="627"/>
                  </a:lnTo>
                  <a:lnTo>
                    <a:pt x="446" y="629"/>
                  </a:lnTo>
                  <a:lnTo>
                    <a:pt x="448" y="629"/>
                  </a:lnTo>
                  <a:lnTo>
                    <a:pt x="448" y="627"/>
                  </a:lnTo>
                  <a:lnTo>
                    <a:pt x="448" y="629"/>
                  </a:lnTo>
                  <a:lnTo>
                    <a:pt x="450" y="629"/>
                  </a:lnTo>
                  <a:lnTo>
                    <a:pt x="453" y="629"/>
                  </a:lnTo>
                  <a:lnTo>
                    <a:pt x="450" y="629"/>
                  </a:lnTo>
                  <a:lnTo>
                    <a:pt x="450" y="632"/>
                  </a:lnTo>
                  <a:lnTo>
                    <a:pt x="453" y="632"/>
                  </a:lnTo>
                  <a:lnTo>
                    <a:pt x="450" y="632"/>
                  </a:lnTo>
                  <a:lnTo>
                    <a:pt x="450" y="629"/>
                  </a:lnTo>
                  <a:lnTo>
                    <a:pt x="448" y="629"/>
                  </a:lnTo>
                  <a:lnTo>
                    <a:pt x="448" y="632"/>
                  </a:lnTo>
                  <a:lnTo>
                    <a:pt x="448" y="629"/>
                  </a:lnTo>
                  <a:lnTo>
                    <a:pt x="446" y="629"/>
                  </a:lnTo>
                  <a:lnTo>
                    <a:pt x="446" y="632"/>
                  </a:lnTo>
                  <a:lnTo>
                    <a:pt x="443" y="632"/>
                  </a:lnTo>
                  <a:lnTo>
                    <a:pt x="443" y="634"/>
                  </a:lnTo>
                  <a:lnTo>
                    <a:pt x="446" y="634"/>
                  </a:lnTo>
                  <a:lnTo>
                    <a:pt x="443" y="634"/>
                  </a:lnTo>
                  <a:lnTo>
                    <a:pt x="441" y="634"/>
                  </a:lnTo>
                  <a:lnTo>
                    <a:pt x="441" y="632"/>
                  </a:lnTo>
                  <a:lnTo>
                    <a:pt x="441" y="634"/>
                  </a:lnTo>
                  <a:lnTo>
                    <a:pt x="441" y="632"/>
                  </a:lnTo>
                  <a:lnTo>
                    <a:pt x="439" y="634"/>
                  </a:lnTo>
                  <a:lnTo>
                    <a:pt x="439" y="632"/>
                  </a:lnTo>
                  <a:lnTo>
                    <a:pt x="439" y="634"/>
                  </a:lnTo>
                  <a:lnTo>
                    <a:pt x="439" y="632"/>
                  </a:lnTo>
                  <a:lnTo>
                    <a:pt x="436" y="632"/>
                  </a:lnTo>
                  <a:lnTo>
                    <a:pt x="436" y="634"/>
                  </a:lnTo>
                  <a:lnTo>
                    <a:pt x="436" y="632"/>
                  </a:lnTo>
                  <a:lnTo>
                    <a:pt x="436" y="634"/>
                  </a:lnTo>
                  <a:lnTo>
                    <a:pt x="436" y="632"/>
                  </a:lnTo>
                  <a:lnTo>
                    <a:pt x="436" y="634"/>
                  </a:lnTo>
                  <a:lnTo>
                    <a:pt x="439" y="634"/>
                  </a:lnTo>
                  <a:lnTo>
                    <a:pt x="441" y="634"/>
                  </a:lnTo>
                  <a:lnTo>
                    <a:pt x="439" y="634"/>
                  </a:lnTo>
                  <a:lnTo>
                    <a:pt x="441" y="634"/>
                  </a:lnTo>
                  <a:lnTo>
                    <a:pt x="443" y="634"/>
                  </a:lnTo>
                  <a:lnTo>
                    <a:pt x="446" y="634"/>
                  </a:lnTo>
                  <a:lnTo>
                    <a:pt x="446" y="636"/>
                  </a:lnTo>
                  <a:lnTo>
                    <a:pt x="446" y="634"/>
                  </a:lnTo>
                  <a:lnTo>
                    <a:pt x="446" y="636"/>
                  </a:lnTo>
                  <a:lnTo>
                    <a:pt x="448" y="636"/>
                  </a:lnTo>
                  <a:lnTo>
                    <a:pt x="446" y="636"/>
                  </a:lnTo>
                  <a:lnTo>
                    <a:pt x="443" y="636"/>
                  </a:lnTo>
                  <a:lnTo>
                    <a:pt x="446" y="636"/>
                  </a:lnTo>
                  <a:lnTo>
                    <a:pt x="443" y="636"/>
                  </a:lnTo>
                  <a:lnTo>
                    <a:pt x="441" y="636"/>
                  </a:lnTo>
                  <a:lnTo>
                    <a:pt x="439" y="636"/>
                  </a:lnTo>
                  <a:lnTo>
                    <a:pt x="441" y="636"/>
                  </a:lnTo>
                  <a:lnTo>
                    <a:pt x="441" y="639"/>
                  </a:lnTo>
                  <a:lnTo>
                    <a:pt x="443" y="639"/>
                  </a:lnTo>
                  <a:lnTo>
                    <a:pt x="446" y="639"/>
                  </a:lnTo>
                  <a:lnTo>
                    <a:pt x="446" y="636"/>
                  </a:lnTo>
                  <a:lnTo>
                    <a:pt x="446" y="639"/>
                  </a:lnTo>
                  <a:lnTo>
                    <a:pt x="446" y="636"/>
                  </a:lnTo>
                  <a:lnTo>
                    <a:pt x="448" y="636"/>
                  </a:lnTo>
                  <a:lnTo>
                    <a:pt x="450" y="636"/>
                  </a:lnTo>
                  <a:lnTo>
                    <a:pt x="448" y="636"/>
                  </a:lnTo>
                  <a:lnTo>
                    <a:pt x="450" y="636"/>
                  </a:lnTo>
                  <a:lnTo>
                    <a:pt x="450" y="639"/>
                  </a:lnTo>
                  <a:lnTo>
                    <a:pt x="453" y="639"/>
                  </a:lnTo>
                  <a:lnTo>
                    <a:pt x="453" y="641"/>
                  </a:lnTo>
                  <a:lnTo>
                    <a:pt x="455" y="641"/>
                  </a:lnTo>
                  <a:lnTo>
                    <a:pt x="458" y="641"/>
                  </a:lnTo>
                  <a:lnTo>
                    <a:pt x="460" y="641"/>
                  </a:lnTo>
                  <a:lnTo>
                    <a:pt x="458" y="641"/>
                  </a:lnTo>
                  <a:lnTo>
                    <a:pt x="460" y="641"/>
                  </a:lnTo>
                  <a:lnTo>
                    <a:pt x="458" y="641"/>
                  </a:lnTo>
                  <a:lnTo>
                    <a:pt x="460" y="639"/>
                  </a:lnTo>
                  <a:lnTo>
                    <a:pt x="462" y="639"/>
                  </a:lnTo>
                  <a:lnTo>
                    <a:pt x="462" y="641"/>
                  </a:lnTo>
                  <a:lnTo>
                    <a:pt x="460" y="641"/>
                  </a:lnTo>
                  <a:lnTo>
                    <a:pt x="462" y="641"/>
                  </a:lnTo>
                  <a:lnTo>
                    <a:pt x="462" y="643"/>
                  </a:lnTo>
                  <a:lnTo>
                    <a:pt x="465" y="643"/>
                  </a:lnTo>
                  <a:lnTo>
                    <a:pt x="462" y="643"/>
                  </a:lnTo>
                  <a:lnTo>
                    <a:pt x="460" y="643"/>
                  </a:lnTo>
                  <a:lnTo>
                    <a:pt x="458" y="643"/>
                  </a:lnTo>
                  <a:lnTo>
                    <a:pt x="460" y="643"/>
                  </a:lnTo>
                  <a:lnTo>
                    <a:pt x="458" y="643"/>
                  </a:lnTo>
                  <a:lnTo>
                    <a:pt x="458" y="646"/>
                  </a:lnTo>
                  <a:lnTo>
                    <a:pt x="460" y="646"/>
                  </a:lnTo>
                  <a:lnTo>
                    <a:pt x="462" y="646"/>
                  </a:lnTo>
                  <a:lnTo>
                    <a:pt x="460" y="646"/>
                  </a:lnTo>
                  <a:lnTo>
                    <a:pt x="462" y="646"/>
                  </a:lnTo>
                  <a:lnTo>
                    <a:pt x="465" y="648"/>
                  </a:lnTo>
                  <a:lnTo>
                    <a:pt x="462" y="648"/>
                  </a:lnTo>
                  <a:lnTo>
                    <a:pt x="460" y="648"/>
                  </a:lnTo>
                  <a:lnTo>
                    <a:pt x="458" y="648"/>
                  </a:lnTo>
                  <a:lnTo>
                    <a:pt x="455" y="648"/>
                  </a:lnTo>
                  <a:lnTo>
                    <a:pt x="453" y="648"/>
                  </a:lnTo>
                  <a:lnTo>
                    <a:pt x="450" y="648"/>
                  </a:lnTo>
                  <a:lnTo>
                    <a:pt x="450" y="651"/>
                  </a:lnTo>
                  <a:lnTo>
                    <a:pt x="448" y="651"/>
                  </a:lnTo>
                  <a:lnTo>
                    <a:pt x="446" y="651"/>
                  </a:lnTo>
                  <a:lnTo>
                    <a:pt x="443" y="651"/>
                  </a:lnTo>
                  <a:lnTo>
                    <a:pt x="441" y="651"/>
                  </a:lnTo>
                  <a:lnTo>
                    <a:pt x="441" y="653"/>
                  </a:lnTo>
                  <a:lnTo>
                    <a:pt x="443" y="653"/>
                  </a:lnTo>
                  <a:lnTo>
                    <a:pt x="443" y="651"/>
                  </a:lnTo>
                  <a:lnTo>
                    <a:pt x="446" y="651"/>
                  </a:lnTo>
                  <a:lnTo>
                    <a:pt x="448" y="651"/>
                  </a:lnTo>
                  <a:lnTo>
                    <a:pt x="450" y="651"/>
                  </a:lnTo>
                  <a:lnTo>
                    <a:pt x="453" y="651"/>
                  </a:lnTo>
                  <a:lnTo>
                    <a:pt x="450" y="651"/>
                  </a:lnTo>
                  <a:lnTo>
                    <a:pt x="453" y="651"/>
                  </a:lnTo>
                  <a:lnTo>
                    <a:pt x="453" y="648"/>
                  </a:lnTo>
                  <a:lnTo>
                    <a:pt x="453" y="651"/>
                  </a:lnTo>
                  <a:lnTo>
                    <a:pt x="455" y="648"/>
                  </a:lnTo>
                  <a:lnTo>
                    <a:pt x="455" y="651"/>
                  </a:lnTo>
                  <a:lnTo>
                    <a:pt x="455" y="648"/>
                  </a:lnTo>
                  <a:lnTo>
                    <a:pt x="458" y="648"/>
                  </a:lnTo>
                  <a:lnTo>
                    <a:pt x="455" y="651"/>
                  </a:lnTo>
                  <a:lnTo>
                    <a:pt x="458" y="651"/>
                  </a:lnTo>
                  <a:lnTo>
                    <a:pt x="458" y="648"/>
                  </a:lnTo>
                  <a:lnTo>
                    <a:pt x="460" y="648"/>
                  </a:lnTo>
                  <a:lnTo>
                    <a:pt x="462" y="648"/>
                  </a:lnTo>
                  <a:lnTo>
                    <a:pt x="462" y="651"/>
                  </a:lnTo>
                  <a:lnTo>
                    <a:pt x="460" y="651"/>
                  </a:lnTo>
                  <a:lnTo>
                    <a:pt x="462" y="648"/>
                  </a:lnTo>
                  <a:lnTo>
                    <a:pt x="460" y="651"/>
                  </a:lnTo>
                  <a:lnTo>
                    <a:pt x="462" y="651"/>
                  </a:lnTo>
                  <a:lnTo>
                    <a:pt x="460" y="651"/>
                  </a:lnTo>
                  <a:lnTo>
                    <a:pt x="462" y="651"/>
                  </a:lnTo>
                  <a:lnTo>
                    <a:pt x="467" y="651"/>
                  </a:lnTo>
                  <a:lnTo>
                    <a:pt x="467" y="653"/>
                  </a:lnTo>
                  <a:lnTo>
                    <a:pt x="469" y="653"/>
                  </a:lnTo>
                  <a:lnTo>
                    <a:pt x="467" y="653"/>
                  </a:lnTo>
                  <a:lnTo>
                    <a:pt x="469" y="653"/>
                  </a:lnTo>
                  <a:lnTo>
                    <a:pt x="472" y="653"/>
                  </a:lnTo>
                  <a:lnTo>
                    <a:pt x="469" y="653"/>
                  </a:lnTo>
                  <a:lnTo>
                    <a:pt x="472" y="653"/>
                  </a:lnTo>
                  <a:lnTo>
                    <a:pt x="469" y="653"/>
                  </a:lnTo>
                  <a:lnTo>
                    <a:pt x="472" y="655"/>
                  </a:lnTo>
                  <a:lnTo>
                    <a:pt x="469" y="655"/>
                  </a:lnTo>
                  <a:lnTo>
                    <a:pt x="472" y="655"/>
                  </a:lnTo>
                  <a:lnTo>
                    <a:pt x="472" y="653"/>
                  </a:lnTo>
                  <a:lnTo>
                    <a:pt x="474" y="653"/>
                  </a:lnTo>
                  <a:lnTo>
                    <a:pt x="476" y="653"/>
                  </a:lnTo>
                  <a:lnTo>
                    <a:pt x="479" y="653"/>
                  </a:lnTo>
                  <a:lnTo>
                    <a:pt x="479" y="655"/>
                  </a:lnTo>
                  <a:lnTo>
                    <a:pt x="481" y="655"/>
                  </a:lnTo>
                  <a:lnTo>
                    <a:pt x="479" y="655"/>
                  </a:lnTo>
                  <a:lnTo>
                    <a:pt x="479" y="658"/>
                  </a:lnTo>
                  <a:lnTo>
                    <a:pt x="481" y="658"/>
                  </a:lnTo>
                  <a:lnTo>
                    <a:pt x="481" y="655"/>
                  </a:lnTo>
                  <a:lnTo>
                    <a:pt x="481" y="658"/>
                  </a:lnTo>
                  <a:lnTo>
                    <a:pt x="484" y="658"/>
                  </a:lnTo>
                  <a:lnTo>
                    <a:pt x="486" y="658"/>
                  </a:lnTo>
                  <a:lnTo>
                    <a:pt x="486" y="660"/>
                  </a:lnTo>
                  <a:lnTo>
                    <a:pt x="486" y="662"/>
                  </a:lnTo>
                  <a:lnTo>
                    <a:pt x="484" y="662"/>
                  </a:lnTo>
                  <a:lnTo>
                    <a:pt x="486" y="662"/>
                  </a:lnTo>
                  <a:lnTo>
                    <a:pt x="488" y="662"/>
                  </a:lnTo>
                  <a:lnTo>
                    <a:pt x="486" y="662"/>
                  </a:lnTo>
                  <a:lnTo>
                    <a:pt x="486" y="660"/>
                  </a:lnTo>
                  <a:lnTo>
                    <a:pt x="488" y="660"/>
                  </a:lnTo>
                  <a:lnTo>
                    <a:pt x="491" y="662"/>
                  </a:lnTo>
                  <a:lnTo>
                    <a:pt x="493" y="662"/>
                  </a:lnTo>
                  <a:lnTo>
                    <a:pt x="493" y="665"/>
                  </a:lnTo>
                  <a:lnTo>
                    <a:pt x="493" y="662"/>
                  </a:lnTo>
                  <a:lnTo>
                    <a:pt x="493" y="665"/>
                  </a:lnTo>
                  <a:lnTo>
                    <a:pt x="495" y="665"/>
                  </a:lnTo>
                  <a:lnTo>
                    <a:pt x="495" y="667"/>
                  </a:lnTo>
                  <a:lnTo>
                    <a:pt x="498" y="667"/>
                  </a:lnTo>
                  <a:lnTo>
                    <a:pt x="498" y="670"/>
                  </a:lnTo>
                  <a:lnTo>
                    <a:pt x="495" y="670"/>
                  </a:lnTo>
                  <a:lnTo>
                    <a:pt x="498" y="670"/>
                  </a:lnTo>
                  <a:lnTo>
                    <a:pt x="495" y="670"/>
                  </a:lnTo>
                  <a:lnTo>
                    <a:pt x="495" y="672"/>
                  </a:lnTo>
                  <a:lnTo>
                    <a:pt x="495" y="670"/>
                  </a:lnTo>
                  <a:lnTo>
                    <a:pt x="498" y="670"/>
                  </a:lnTo>
                  <a:lnTo>
                    <a:pt x="495" y="670"/>
                  </a:lnTo>
                  <a:lnTo>
                    <a:pt x="498" y="670"/>
                  </a:lnTo>
                  <a:lnTo>
                    <a:pt x="495" y="670"/>
                  </a:lnTo>
                  <a:lnTo>
                    <a:pt x="498" y="670"/>
                  </a:lnTo>
                  <a:lnTo>
                    <a:pt x="495" y="672"/>
                  </a:lnTo>
                  <a:lnTo>
                    <a:pt x="498" y="672"/>
                  </a:lnTo>
                  <a:lnTo>
                    <a:pt x="495" y="672"/>
                  </a:lnTo>
                  <a:lnTo>
                    <a:pt x="498" y="672"/>
                  </a:lnTo>
                  <a:lnTo>
                    <a:pt x="498" y="674"/>
                  </a:lnTo>
                  <a:lnTo>
                    <a:pt x="498" y="672"/>
                  </a:lnTo>
                  <a:lnTo>
                    <a:pt x="498" y="674"/>
                  </a:lnTo>
                  <a:lnTo>
                    <a:pt x="498" y="672"/>
                  </a:lnTo>
                  <a:lnTo>
                    <a:pt x="500" y="672"/>
                  </a:lnTo>
                  <a:lnTo>
                    <a:pt x="503" y="672"/>
                  </a:lnTo>
                  <a:lnTo>
                    <a:pt x="503" y="674"/>
                  </a:lnTo>
                  <a:lnTo>
                    <a:pt x="500" y="674"/>
                  </a:lnTo>
                  <a:lnTo>
                    <a:pt x="503" y="674"/>
                  </a:lnTo>
                  <a:lnTo>
                    <a:pt x="500" y="674"/>
                  </a:lnTo>
                  <a:lnTo>
                    <a:pt x="500" y="677"/>
                  </a:lnTo>
                  <a:lnTo>
                    <a:pt x="500" y="674"/>
                  </a:lnTo>
                  <a:lnTo>
                    <a:pt x="503" y="677"/>
                  </a:lnTo>
                  <a:lnTo>
                    <a:pt x="500" y="677"/>
                  </a:lnTo>
                  <a:lnTo>
                    <a:pt x="503" y="677"/>
                  </a:lnTo>
                  <a:lnTo>
                    <a:pt x="500" y="677"/>
                  </a:lnTo>
                  <a:lnTo>
                    <a:pt x="503" y="677"/>
                  </a:lnTo>
                  <a:lnTo>
                    <a:pt x="500" y="677"/>
                  </a:lnTo>
                  <a:lnTo>
                    <a:pt x="503" y="677"/>
                  </a:lnTo>
                  <a:lnTo>
                    <a:pt x="505" y="677"/>
                  </a:lnTo>
                  <a:lnTo>
                    <a:pt x="503" y="677"/>
                  </a:lnTo>
                  <a:lnTo>
                    <a:pt x="505" y="677"/>
                  </a:lnTo>
                  <a:lnTo>
                    <a:pt x="503" y="677"/>
                  </a:lnTo>
                  <a:lnTo>
                    <a:pt x="505" y="677"/>
                  </a:lnTo>
                  <a:lnTo>
                    <a:pt x="503" y="677"/>
                  </a:lnTo>
                  <a:lnTo>
                    <a:pt x="505" y="677"/>
                  </a:lnTo>
                  <a:lnTo>
                    <a:pt x="503" y="677"/>
                  </a:lnTo>
                  <a:lnTo>
                    <a:pt x="505" y="677"/>
                  </a:lnTo>
                  <a:lnTo>
                    <a:pt x="505" y="679"/>
                  </a:lnTo>
                  <a:lnTo>
                    <a:pt x="503" y="677"/>
                  </a:lnTo>
                  <a:lnTo>
                    <a:pt x="503" y="679"/>
                  </a:lnTo>
                  <a:lnTo>
                    <a:pt x="505" y="679"/>
                  </a:lnTo>
                  <a:lnTo>
                    <a:pt x="507" y="679"/>
                  </a:lnTo>
                  <a:lnTo>
                    <a:pt x="507" y="682"/>
                  </a:lnTo>
                  <a:lnTo>
                    <a:pt x="505" y="682"/>
                  </a:lnTo>
                  <a:lnTo>
                    <a:pt x="507" y="682"/>
                  </a:lnTo>
                  <a:lnTo>
                    <a:pt x="505" y="682"/>
                  </a:lnTo>
                  <a:lnTo>
                    <a:pt x="507" y="682"/>
                  </a:lnTo>
                  <a:lnTo>
                    <a:pt x="505" y="682"/>
                  </a:lnTo>
                  <a:lnTo>
                    <a:pt x="505" y="679"/>
                  </a:lnTo>
                  <a:lnTo>
                    <a:pt x="503" y="679"/>
                  </a:lnTo>
                  <a:lnTo>
                    <a:pt x="503" y="682"/>
                  </a:lnTo>
                  <a:lnTo>
                    <a:pt x="503" y="679"/>
                  </a:lnTo>
                  <a:lnTo>
                    <a:pt x="503" y="682"/>
                  </a:lnTo>
                  <a:lnTo>
                    <a:pt x="505" y="682"/>
                  </a:lnTo>
                  <a:lnTo>
                    <a:pt x="503" y="682"/>
                  </a:lnTo>
                  <a:lnTo>
                    <a:pt x="505" y="682"/>
                  </a:lnTo>
                  <a:lnTo>
                    <a:pt x="507" y="682"/>
                  </a:lnTo>
                  <a:lnTo>
                    <a:pt x="505" y="682"/>
                  </a:lnTo>
                  <a:lnTo>
                    <a:pt x="505" y="684"/>
                  </a:lnTo>
                  <a:lnTo>
                    <a:pt x="507" y="684"/>
                  </a:lnTo>
                  <a:lnTo>
                    <a:pt x="505" y="684"/>
                  </a:lnTo>
                  <a:lnTo>
                    <a:pt x="503" y="684"/>
                  </a:lnTo>
                  <a:lnTo>
                    <a:pt x="503" y="682"/>
                  </a:lnTo>
                  <a:lnTo>
                    <a:pt x="500" y="682"/>
                  </a:lnTo>
                  <a:lnTo>
                    <a:pt x="500" y="679"/>
                  </a:lnTo>
                  <a:lnTo>
                    <a:pt x="498" y="679"/>
                  </a:lnTo>
                  <a:lnTo>
                    <a:pt x="495" y="679"/>
                  </a:lnTo>
                  <a:lnTo>
                    <a:pt x="498" y="679"/>
                  </a:lnTo>
                  <a:lnTo>
                    <a:pt x="495" y="679"/>
                  </a:lnTo>
                  <a:lnTo>
                    <a:pt x="498" y="677"/>
                  </a:lnTo>
                  <a:lnTo>
                    <a:pt x="495" y="677"/>
                  </a:lnTo>
                  <a:lnTo>
                    <a:pt x="495" y="679"/>
                  </a:lnTo>
                  <a:lnTo>
                    <a:pt x="498" y="679"/>
                  </a:lnTo>
                  <a:lnTo>
                    <a:pt x="495" y="679"/>
                  </a:lnTo>
                  <a:lnTo>
                    <a:pt x="498" y="679"/>
                  </a:lnTo>
                  <a:lnTo>
                    <a:pt x="495" y="679"/>
                  </a:lnTo>
                  <a:lnTo>
                    <a:pt x="498" y="679"/>
                  </a:lnTo>
                  <a:lnTo>
                    <a:pt x="495" y="679"/>
                  </a:lnTo>
                  <a:lnTo>
                    <a:pt x="495" y="682"/>
                  </a:lnTo>
                  <a:lnTo>
                    <a:pt x="498" y="682"/>
                  </a:lnTo>
                  <a:lnTo>
                    <a:pt x="495" y="682"/>
                  </a:lnTo>
                  <a:lnTo>
                    <a:pt x="498" y="682"/>
                  </a:lnTo>
                  <a:lnTo>
                    <a:pt x="495" y="682"/>
                  </a:lnTo>
                  <a:lnTo>
                    <a:pt x="498" y="682"/>
                  </a:lnTo>
                  <a:lnTo>
                    <a:pt x="498" y="684"/>
                  </a:lnTo>
                  <a:lnTo>
                    <a:pt x="500" y="684"/>
                  </a:lnTo>
                  <a:lnTo>
                    <a:pt x="498" y="684"/>
                  </a:lnTo>
                  <a:lnTo>
                    <a:pt x="498" y="686"/>
                  </a:lnTo>
                  <a:lnTo>
                    <a:pt x="500" y="686"/>
                  </a:lnTo>
                  <a:lnTo>
                    <a:pt x="498" y="686"/>
                  </a:lnTo>
                  <a:lnTo>
                    <a:pt x="498" y="689"/>
                  </a:lnTo>
                  <a:lnTo>
                    <a:pt x="498" y="686"/>
                  </a:lnTo>
                  <a:lnTo>
                    <a:pt x="498" y="689"/>
                  </a:lnTo>
                  <a:lnTo>
                    <a:pt x="498" y="686"/>
                  </a:lnTo>
                  <a:lnTo>
                    <a:pt x="500" y="689"/>
                  </a:lnTo>
                  <a:lnTo>
                    <a:pt x="498" y="689"/>
                  </a:lnTo>
                  <a:lnTo>
                    <a:pt x="500" y="689"/>
                  </a:lnTo>
                  <a:lnTo>
                    <a:pt x="498" y="689"/>
                  </a:lnTo>
                  <a:lnTo>
                    <a:pt x="500" y="689"/>
                  </a:lnTo>
                  <a:lnTo>
                    <a:pt x="500" y="691"/>
                  </a:lnTo>
                  <a:lnTo>
                    <a:pt x="498" y="691"/>
                  </a:lnTo>
                  <a:lnTo>
                    <a:pt x="500" y="691"/>
                  </a:lnTo>
                  <a:lnTo>
                    <a:pt x="498" y="691"/>
                  </a:lnTo>
                  <a:lnTo>
                    <a:pt x="498" y="693"/>
                  </a:lnTo>
                  <a:lnTo>
                    <a:pt x="498" y="691"/>
                  </a:lnTo>
                  <a:lnTo>
                    <a:pt x="498" y="693"/>
                  </a:lnTo>
                  <a:lnTo>
                    <a:pt x="500" y="693"/>
                  </a:lnTo>
                  <a:lnTo>
                    <a:pt x="498" y="693"/>
                  </a:lnTo>
                  <a:lnTo>
                    <a:pt x="495" y="693"/>
                  </a:lnTo>
                  <a:lnTo>
                    <a:pt x="495" y="696"/>
                  </a:lnTo>
                  <a:lnTo>
                    <a:pt x="495" y="698"/>
                  </a:lnTo>
                  <a:lnTo>
                    <a:pt x="498" y="698"/>
                  </a:lnTo>
                  <a:lnTo>
                    <a:pt x="495" y="698"/>
                  </a:lnTo>
                  <a:lnTo>
                    <a:pt x="498" y="698"/>
                  </a:lnTo>
                  <a:lnTo>
                    <a:pt x="495" y="698"/>
                  </a:lnTo>
                  <a:lnTo>
                    <a:pt x="498" y="698"/>
                  </a:lnTo>
                  <a:lnTo>
                    <a:pt x="495" y="698"/>
                  </a:lnTo>
                  <a:lnTo>
                    <a:pt x="493" y="698"/>
                  </a:lnTo>
                  <a:lnTo>
                    <a:pt x="491" y="698"/>
                  </a:lnTo>
                  <a:lnTo>
                    <a:pt x="488" y="698"/>
                  </a:lnTo>
                  <a:lnTo>
                    <a:pt x="491" y="698"/>
                  </a:lnTo>
                  <a:lnTo>
                    <a:pt x="491" y="701"/>
                  </a:lnTo>
                  <a:lnTo>
                    <a:pt x="488" y="701"/>
                  </a:lnTo>
                  <a:lnTo>
                    <a:pt x="486" y="701"/>
                  </a:lnTo>
                  <a:lnTo>
                    <a:pt x="488" y="701"/>
                  </a:lnTo>
                  <a:lnTo>
                    <a:pt x="486" y="701"/>
                  </a:lnTo>
                  <a:lnTo>
                    <a:pt x="488" y="701"/>
                  </a:lnTo>
                  <a:lnTo>
                    <a:pt x="486" y="701"/>
                  </a:lnTo>
                  <a:lnTo>
                    <a:pt x="488" y="701"/>
                  </a:lnTo>
                  <a:lnTo>
                    <a:pt x="488" y="703"/>
                  </a:lnTo>
                  <a:lnTo>
                    <a:pt x="488" y="701"/>
                  </a:lnTo>
                  <a:lnTo>
                    <a:pt x="486" y="701"/>
                  </a:lnTo>
                  <a:lnTo>
                    <a:pt x="484" y="701"/>
                  </a:lnTo>
                  <a:lnTo>
                    <a:pt x="484" y="703"/>
                  </a:lnTo>
                  <a:lnTo>
                    <a:pt x="481" y="701"/>
                  </a:lnTo>
                  <a:lnTo>
                    <a:pt x="481" y="703"/>
                  </a:lnTo>
                  <a:lnTo>
                    <a:pt x="484" y="703"/>
                  </a:lnTo>
                  <a:lnTo>
                    <a:pt x="486" y="703"/>
                  </a:lnTo>
                  <a:lnTo>
                    <a:pt x="488" y="703"/>
                  </a:lnTo>
                  <a:lnTo>
                    <a:pt x="491" y="703"/>
                  </a:lnTo>
                  <a:lnTo>
                    <a:pt x="488" y="703"/>
                  </a:lnTo>
                  <a:lnTo>
                    <a:pt x="491" y="703"/>
                  </a:lnTo>
                  <a:lnTo>
                    <a:pt x="491" y="705"/>
                  </a:lnTo>
                  <a:lnTo>
                    <a:pt x="491" y="703"/>
                  </a:lnTo>
                  <a:lnTo>
                    <a:pt x="491" y="705"/>
                  </a:lnTo>
                  <a:lnTo>
                    <a:pt x="488" y="705"/>
                  </a:lnTo>
                  <a:lnTo>
                    <a:pt x="491" y="705"/>
                  </a:lnTo>
                  <a:lnTo>
                    <a:pt x="488" y="705"/>
                  </a:lnTo>
                  <a:lnTo>
                    <a:pt x="491" y="705"/>
                  </a:lnTo>
                  <a:lnTo>
                    <a:pt x="491" y="708"/>
                  </a:lnTo>
                  <a:lnTo>
                    <a:pt x="488" y="708"/>
                  </a:lnTo>
                  <a:lnTo>
                    <a:pt x="491" y="708"/>
                  </a:lnTo>
                  <a:lnTo>
                    <a:pt x="488" y="708"/>
                  </a:lnTo>
                  <a:lnTo>
                    <a:pt x="491" y="708"/>
                  </a:lnTo>
                  <a:lnTo>
                    <a:pt x="491" y="710"/>
                  </a:lnTo>
                  <a:lnTo>
                    <a:pt x="491" y="708"/>
                  </a:lnTo>
                  <a:lnTo>
                    <a:pt x="491" y="710"/>
                  </a:lnTo>
                  <a:lnTo>
                    <a:pt x="493" y="710"/>
                  </a:lnTo>
                  <a:lnTo>
                    <a:pt x="491" y="710"/>
                  </a:lnTo>
                  <a:lnTo>
                    <a:pt x="493" y="710"/>
                  </a:lnTo>
                  <a:lnTo>
                    <a:pt x="491" y="710"/>
                  </a:lnTo>
                  <a:lnTo>
                    <a:pt x="493" y="710"/>
                  </a:lnTo>
                  <a:lnTo>
                    <a:pt x="495" y="710"/>
                  </a:lnTo>
                  <a:lnTo>
                    <a:pt x="493" y="710"/>
                  </a:lnTo>
                  <a:lnTo>
                    <a:pt x="495" y="710"/>
                  </a:lnTo>
                  <a:lnTo>
                    <a:pt x="495" y="712"/>
                  </a:lnTo>
                  <a:lnTo>
                    <a:pt x="493" y="712"/>
                  </a:lnTo>
                  <a:lnTo>
                    <a:pt x="495" y="712"/>
                  </a:lnTo>
                  <a:lnTo>
                    <a:pt x="498" y="712"/>
                  </a:lnTo>
                  <a:lnTo>
                    <a:pt x="495" y="712"/>
                  </a:lnTo>
                  <a:lnTo>
                    <a:pt x="495" y="715"/>
                  </a:lnTo>
                  <a:lnTo>
                    <a:pt x="495" y="712"/>
                  </a:lnTo>
                  <a:lnTo>
                    <a:pt x="495" y="715"/>
                  </a:lnTo>
                  <a:lnTo>
                    <a:pt x="498" y="715"/>
                  </a:lnTo>
                  <a:lnTo>
                    <a:pt x="495" y="715"/>
                  </a:lnTo>
                  <a:lnTo>
                    <a:pt x="498" y="715"/>
                  </a:lnTo>
                  <a:lnTo>
                    <a:pt x="495" y="715"/>
                  </a:lnTo>
                  <a:lnTo>
                    <a:pt x="493" y="715"/>
                  </a:lnTo>
                  <a:lnTo>
                    <a:pt x="491" y="715"/>
                  </a:lnTo>
                  <a:lnTo>
                    <a:pt x="493" y="715"/>
                  </a:lnTo>
                  <a:lnTo>
                    <a:pt x="495" y="715"/>
                  </a:lnTo>
                  <a:lnTo>
                    <a:pt x="493" y="715"/>
                  </a:lnTo>
                  <a:lnTo>
                    <a:pt x="495" y="715"/>
                  </a:lnTo>
                  <a:lnTo>
                    <a:pt x="495" y="717"/>
                  </a:lnTo>
                  <a:lnTo>
                    <a:pt x="495" y="715"/>
                  </a:lnTo>
                  <a:lnTo>
                    <a:pt x="495" y="717"/>
                  </a:lnTo>
                  <a:lnTo>
                    <a:pt x="498" y="717"/>
                  </a:lnTo>
                  <a:lnTo>
                    <a:pt x="495" y="717"/>
                  </a:lnTo>
                  <a:lnTo>
                    <a:pt x="498" y="717"/>
                  </a:lnTo>
                  <a:lnTo>
                    <a:pt x="498" y="720"/>
                  </a:lnTo>
                  <a:lnTo>
                    <a:pt x="498" y="717"/>
                  </a:lnTo>
                  <a:lnTo>
                    <a:pt x="498" y="720"/>
                  </a:lnTo>
                  <a:lnTo>
                    <a:pt x="498" y="717"/>
                  </a:lnTo>
                  <a:lnTo>
                    <a:pt x="498" y="720"/>
                  </a:lnTo>
                  <a:lnTo>
                    <a:pt x="500" y="720"/>
                  </a:lnTo>
                  <a:lnTo>
                    <a:pt x="500" y="717"/>
                  </a:lnTo>
                  <a:lnTo>
                    <a:pt x="500" y="720"/>
                  </a:lnTo>
                  <a:lnTo>
                    <a:pt x="500" y="722"/>
                  </a:lnTo>
                  <a:lnTo>
                    <a:pt x="500" y="724"/>
                  </a:lnTo>
                  <a:lnTo>
                    <a:pt x="500" y="722"/>
                  </a:lnTo>
                  <a:lnTo>
                    <a:pt x="503" y="722"/>
                  </a:lnTo>
                  <a:lnTo>
                    <a:pt x="500" y="722"/>
                  </a:lnTo>
                  <a:lnTo>
                    <a:pt x="500" y="724"/>
                  </a:lnTo>
                  <a:lnTo>
                    <a:pt x="498" y="724"/>
                  </a:lnTo>
                  <a:lnTo>
                    <a:pt x="495" y="724"/>
                  </a:lnTo>
                  <a:lnTo>
                    <a:pt x="495" y="727"/>
                  </a:lnTo>
                  <a:lnTo>
                    <a:pt x="493" y="727"/>
                  </a:lnTo>
                  <a:lnTo>
                    <a:pt x="491" y="727"/>
                  </a:lnTo>
                  <a:lnTo>
                    <a:pt x="493" y="727"/>
                  </a:lnTo>
                  <a:lnTo>
                    <a:pt x="491" y="727"/>
                  </a:lnTo>
                  <a:lnTo>
                    <a:pt x="488" y="727"/>
                  </a:lnTo>
                  <a:lnTo>
                    <a:pt x="486" y="727"/>
                  </a:lnTo>
                  <a:lnTo>
                    <a:pt x="484" y="727"/>
                  </a:lnTo>
                  <a:lnTo>
                    <a:pt x="481" y="727"/>
                  </a:lnTo>
                  <a:lnTo>
                    <a:pt x="479" y="727"/>
                  </a:lnTo>
                  <a:lnTo>
                    <a:pt x="481" y="727"/>
                  </a:lnTo>
                  <a:lnTo>
                    <a:pt x="479" y="727"/>
                  </a:lnTo>
                  <a:lnTo>
                    <a:pt x="476" y="727"/>
                  </a:lnTo>
                  <a:lnTo>
                    <a:pt x="476" y="724"/>
                  </a:lnTo>
                  <a:lnTo>
                    <a:pt x="474" y="724"/>
                  </a:lnTo>
                  <a:lnTo>
                    <a:pt x="472" y="724"/>
                  </a:lnTo>
                  <a:lnTo>
                    <a:pt x="469" y="722"/>
                  </a:lnTo>
                  <a:lnTo>
                    <a:pt x="467" y="722"/>
                  </a:lnTo>
                  <a:lnTo>
                    <a:pt x="465" y="722"/>
                  </a:lnTo>
                  <a:lnTo>
                    <a:pt x="462" y="722"/>
                  </a:lnTo>
                  <a:lnTo>
                    <a:pt x="465" y="722"/>
                  </a:lnTo>
                  <a:lnTo>
                    <a:pt x="467" y="722"/>
                  </a:lnTo>
                  <a:lnTo>
                    <a:pt x="469" y="722"/>
                  </a:lnTo>
                  <a:lnTo>
                    <a:pt x="472" y="724"/>
                  </a:lnTo>
                  <a:lnTo>
                    <a:pt x="474" y="724"/>
                  </a:lnTo>
                  <a:lnTo>
                    <a:pt x="476" y="724"/>
                  </a:lnTo>
                  <a:lnTo>
                    <a:pt x="476" y="727"/>
                  </a:lnTo>
                  <a:lnTo>
                    <a:pt x="479" y="727"/>
                  </a:lnTo>
                  <a:lnTo>
                    <a:pt x="481" y="727"/>
                  </a:lnTo>
                  <a:lnTo>
                    <a:pt x="481" y="729"/>
                  </a:lnTo>
                  <a:lnTo>
                    <a:pt x="479" y="729"/>
                  </a:lnTo>
                  <a:lnTo>
                    <a:pt x="479" y="727"/>
                  </a:lnTo>
                  <a:lnTo>
                    <a:pt x="479" y="729"/>
                  </a:lnTo>
                  <a:lnTo>
                    <a:pt x="481" y="729"/>
                  </a:lnTo>
                  <a:lnTo>
                    <a:pt x="481" y="727"/>
                  </a:lnTo>
                  <a:lnTo>
                    <a:pt x="481" y="729"/>
                  </a:lnTo>
                  <a:lnTo>
                    <a:pt x="481" y="727"/>
                  </a:lnTo>
                  <a:lnTo>
                    <a:pt x="484" y="729"/>
                  </a:lnTo>
                  <a:lnTo>
                    <a:pt x="484" y="727"/>
                  </a:lnTo>
                  <a:lnTo>
                    <a:pt x="484" y="729"/>
                  </a:lnTo>
                  <a:lnTo>
                    <a:pt x="484" y="727"/>
                  </a:lnTo>
                  <a:lnTo>
                    <a:pt x="486" y="727"/>
                  </a:lnTo>
                  <a:lnTo>
                    <a:pt x="488" y="727"/>
                  </a:lnTo>
                  <a:lnTo>
                    <a:pt x="491" y="727"/>
                  </a:lnTo>
                  <a:lnTo>
                    <a:pt x="493" y="727"/>
                  </a:lnTo>
                  <a:lnTo>
                    <a:pt x="495" y="727"/>
                  </a:lnTo>
                  <a:lnTo>
                    <a:pt x="495" y="724"/>
                  </a:lnTo>
                  <a:lnTo>
                    <a:pt x="498" y="727"/>
                  </a:lnTo>
                  <a:lnTo>
                    <a:pt x="500" y="727"/>
                  </a:lnTo>
                  <a:lnTo>
                    <a:pt x="500" y="724"/>
                  </a:lnTo>
                  <a:lnTo>
                    <a:pt x="500" y="727"/>
                  </a:lnTo>
                  <a:lnTo>
                    <a:pt x="503" y="727"/>
                  </a:lnTo>
                  <a:lnTo>
                    <a:pt x="503" y="729"/>
                  </a:lnTo>
                  <a:lnTo>
                    <a:pt x="500" y="729"/>
                  </a:lnTo>
                  <a:lnTo>
                    <a:pt x="503" y="729"/>
                  </a:lnTo>
                  <a:lnTo>
                    <a:pt x="500" y="729"/>
                  </a:lnTo>
                  <a:lnTo>
                    <a:pt x="503" y="729"/>
                  </a:lnTo>
                  <a:lnTo>
                    <a:pt x="503" y="727"/>
                  </a:lnTo>
                  <a:lnTo>
                    <a:pt x="503" y="729"/>
                  </a:lnTo>
                  <a:lnTo>
                    <a:pt x="505" y="729"/>
                  </a:lnTo>
                  <a:lnTo>
                    <a:pt x="503" y="729"/>
                  </a:lnTo>
                  <a:lnTo>
                    <a:pt x="503" y="731"/>
                  </a:lnTo>
                  <a:lnTo>
                    <a:pt x="505" y="731"/>
                  </a:lnTo>
                  <a:lnTo>
                    <a:pt x="505" y="729"/>
                  </a:lnTo>
                  <a:lnTo>
                    <a:pt x="505" y="731"/>
                  </a:lnTo>
                  <a:lnTo>
                    <a:pt x="505" y="734"/>
                  </a:lnTo>
                  <a:lnTo>
                    <a:pt x="503" y="734"/>
                  </a:lnTo>
                  <a:lnTo>
                    <a:pt x="503" y="736"/>
                  </a:lnTo>
                  <a:lnTo>
                    <a:pt x="500" y="736"/>
                  </a:lnTo>
                  <a:lnTo>
                    <a:pt x="498" y="736"/>
                  </a:lnTo>
                  <a:lnTo>
                    <a:pt x="498" y="739"/>
                  </a:lnTo>
                  <a:lnTo>
                    <a:pt x="498" y="736"/>
                  </a:lnTo>
                  <a:lnTo>
                    <a:pt x="498" y="739"/>
                  </a:lnTo>
                  <a:lnTo>
                    <a:pt x="498" y="736"/>
                  </a:lnTo>
                  <a:lnTo>
                    <a:pt x="500" y="736"/>
                  </a:lnTo>
                  <a:lnTo>
                    <a:pt x="500" y="739"/>
                  </a:lnTo>
                  <a:lnTo>
                    <a:pt x="503" y="739"/>
                  </a:lnTo>
                  <a:lnTo>
                    <a:pt x="503" y="741"/>
                  </a:lnTo>
                  <a:lnTo>
                    <a:pt x="505" y="741"/>
                  </a:lnTo>
                  <a:lnTo>
                    <a:pt x="503" y="741"/>
                  </a:lnTo>
                  <a:lnTo>
                    <a:pt x="505" y="741"/>
                  </a:lnTo>
                  <a:lnTo>
                    <a:pt x="505" y="743"/>
                  </a:lnTo>
                  <a:lnTo>
                    <a:pt x="507" y="743"/>
                  </a:lnTo>
                  <a:lnTo>
                    <a:pt x="505" y="743"/>
                  </a:lnTo>
                  <a:lnTo>
                    <a:pt x="507" y="743"/>
                  </a:lnTo>
                  <a:lnTo>
                    <a:pt x="507" y="746"/>
                  </a:lnTo>
                  <a:lnTo>
                    <a:pt x="505" y="746"/>
                  </a:lnTo>
                  <a:lnTo>
                    <a:pt x="503" y="746"/>
                  </a:lnTo>
                  <a:lnTo>
                    <a:pt x="503" y="748"/>
                  </a:lnTo>
                  <a:lnTo>
                    <a:pt x="500" y="748"/>
                  </a:lnTo>
                  <a:lnTo>
                    <a:pt x="498" y="748"/>
                  </a:lnTo>
                  <a:lnTo>
                    <a:pt x="498" y="750"/>
                  </a:lnTo>
                  <a:lnTo>
                    <a:pt x="498" y="748"/>
                  </a:lnTo>
                  <a:lnTo>
                    <a:pt x="500" y="748"/>
                  </a:lnTo>
                  <a:lnTo>
                    <a:pt x="498" y="748"/>
                  </a:lnTo>
                  <a:lnTo>
                    <a:pt x="500" y="750"/>
                  </a:lnTo>
                  <a:lnTo>
                    <a:pt x="500" y="748"/>
                  </a:lnTo>
                  <a:lnTo>
                    <a:pt x="498" y="750"/>
                  </a:lnTo>
                  <a:lnTo>
                    <a:pt x="500" y="750"/>
                  </a:lnTo>
                  <a:lnTo>
                    <a:pt x="503" y="750"/>
                  </a:lnTo>
                  <a:lnTo>
                    <a:pt x="500" y="750"/>
                  </a:lnTo>
                  <a:lnTo>
                    <a:pt x="503" y="750"/>
                  </a:lnTo>
                  <a:lnTo>
                    <a:pt x="500" y="750"/>
                  </a:lnTo>
                  <a:lnTo>
                    <a:pt x="503" y="750"/>
                  </a:lnTo>
                  <a:lnTo>
                    <a:pt x="503" y="753"/>
                  </a:lnTo>
                  <a:lnTo>
                    <a:pt x="503" y="750"/>
                  </a:lnTo>
                  <a:lnTo>
                    <a:pt x="505" y="750"/>
                  </a:lnTo>
                  <a:lnTo>
                    <a:pt x="507" y="750"/>
                  </a:lnTo>
                  <a:lnTo>
                    <a:pt x="505" y="750"/>
                  </a:lnTo>
                  <a:lnTo>
                    <a:pt x="507" y="750"/>
                  </a:lnTo>
                  <a:lnTo>
                    <a:pt x="507" y="753"/>
                  </a:lnTo>
                  <a:lnTo>
                    <a:pt x="507" y="755"/>
                  </a:lnTo>
                  <a:lnTo>
                    <a:pt x="505" y="755"/>
                  </a:lnTo>
                  <a:lnTo>
                    <a:pt x="507" y="755"/>
                  </a:lnTo>
                  <a:lnTo>
                    <a:pt x="510" y="755"/>
                  </a:lnTo>
                  <a:lnTo>
                    <a:pt x="512" y="755"/>
                  </a:lnTo>
                  <a:lnTo>
                    <a:pt x="512" y="758"/>
                  </a:lnTo>
                  <a:lnTo>
                    <a:pt x="512" y="760"/>
                  </a:lnTo>
                  <a:lnTo>
                    <a:pt x="514" y="760"/>
                  </a:lnTo>
                  <a:lnTo>
                    <a:pt x="517" y="760"/>
                  </a:lnTo>
                  <a:lnTo>
                    <a:pt x="517" y="758"/>
                  </a:lnTo>
                  <a:lnTo>
                    <a:pt x="514" y="758"/>
                  </a:lnTo>
                  <a:lnTo>
                    <a:pt x="517" y="758"/>
                  </a:lnTo>
                  <a:lnTo>
                    <a:pt x="517" y="755"/>
                  </a:lnTo>
                  <a:lnTo>
                    <a:pt x="517" y="758"/>
                  </a:lnTo>
                  <a:lnTo>
                    <a:pt x="517" y="755"/>
                  </a:lnTo>
                  <a:lnTo>
                    <a:pt x="517" y="758"/>
                  </a:lnTo>
                  <a:lnTo>
                    <a:pt x="517" y="760"/>
                  </a:lnTo>
                  <a:lnTo>
                    <a:pt x="519" y="760"/>
                  </a:lnTo>
                  <a:lnTo>
                    <a:pt x="517" y="760"/>
                  </a:lnTo>
                  <a:lnTo>
                    <a:pt x="517" y="762"/>
                  </a:lnTo>
                  <a:lnTo>
                    <a:pt x="519" y="762"/>
                  </a:lnTo>
                  <a:lnTo>
                    <a:pt x="522" y="762"/>
                  </a:lnTo>
                  <a:lnTo>
                    <a:pt x="522" y="760"/>
                  </a:lnTo>
                  <a:lnTo>
                    <a:pt x="524" y="762"/>
                  </a:lnTo>
                  <a:lnTo>
                    <a:pt x="524" y="760"/>
                  </a:lnTo>
                  <a:lnTo>
                    <a:pt x="526" y="760"/>
                  </a:lnTo>
                  <a:lnTo>
                    <a:pt x="529" y="760"/>
                  </a:lnTo>
                  <a:lnTo>
                    <a:pt x="526" y="760"/>
                  </a:lnTo>
                  <a:lnTo>
                    <a:pt x="526" y="758"/>
                  </a:lnTo>
                  <a:lnTo>
                    <a:pt x="529" y="758"/>
                  </a:lnTo>
                  <a:lnTo>
                    <a:pt x="531" y="758"/>
                  </a:lnTo>
                  <a:lnTo>
                    <a:pt x="531" y="760"/>
                  </a:lnTo>
                  <a:lnTo>
                    <a:pt x="531" y="758"/>
                  </a:lnTo>
                  <a:lnTo>
                    <a:pt x="531" y="760"/>
                  </a:lnTo>
                  <a:lnTo>
                    <a:pt x="533" y="760"/>
                  </a:lnTo>
                  <a:lnTo>
                    <a:pt x="536" y="760"/>
                  </a:lnTo>
                  <a:lnTo>
                    <a:pt x="533" y="760"/>
                  </a:lnTo>
                  <a:lnTo>
                    <a:pt x="536" y="762"/>
                  </a:lnTo>
                  <a:lnTo>
                    <a:pt x="536" y="760"/>
                  </a:lnTo>
                  <a:lnTo>
                    <a:pt x="536" y="762"/>
                  </a:lnTo>
                  <a:lnTo>
                    <a:pt x="538" y="762"/>
                  </a:lnTo>
                  <a:lnTo>
                    <a:pt x="538" y="765"/>
                  </a:lnTo>
                  <a:lnTo>
                    <a:pt x="536" y="765"/>
                  </a:lnTo>
                  <a:lnTo>
                    <a:pt x="538" y="765"/>
                  </a:lnTo>
                  <a:lnTo>
                    <a:pt x="538" y="767"/>
                  </a:lnTo>
                  <a:lnTo>
                    <a:pt x="541" y="769"/>
                  </a:lnTo>
                  <a:lnTo>
                    <a:pt x="541" y="767"/>
                  </a:lnTo>
                  <a:lnTo>
                    <a:pt x="541" y="769"/>
                  </a:lnTo>
                  <a:lnTo>
                    <a:pt x="541" y="767"/>
                  </a:lnTo>
                  <a:lnTo>
                    <a:pt x="543" y="767"/>
                  </a:lnTo>
                  <a:lnTo>
                    <a:pt x="543" y="769"/>
                  </a:lnTo>
                  <a:lnTo>
                    <a:pt x="545" y="769"/>
                  </a:lnTo>
                  <a:lnTo>
                    <a:pt x="548" y="769"/>
                  </a:lnTo>
                  <a:lnTo>
                    <a:pt x="548" y="772"/>
                  </a:lnTo>
                  <a:lnTo>
                    <a:pt x="545" y="772"/>
                  </a:lnTo>
                  <a:lnTo>
                    <a:pt x="545" y="774"/>
                  </a:lnTo>
                  <a:lnTo>
                    <a:pt x="548" y="774"/>
                  </a:lnTo>
                  <a:lnTo>
                    <a:pt x="548" y="777"/>
                  </a:lnTo>
                  <a:lnTo>
                    <a:pt x="548" y="779"/>
                  </a:lnTo>
                  <a:lnTo>
                    <a:pt x="550" y="779"/>
                  </a:lnTo>
                  <a:lnTo>
                    <a:pt x="548" y="779"/>
                  </a:lnTo>
                  <a:lnTo>
                    <a:pt x="550" y="779"/>
                  </a:lnTo>
                  <a:lnTo>
                    <a:pt x="550" y="781"/>
                  </a:lnTo>
                  <a:lnTo>
                    <a:pt x="550" y="779"/>
                  </a:lnTo>
                  <a:lnTo>
                    <a:pt x="552" y="779"/>
                  </a:lnTo>
                  <a:lnTo>
                    <a:pt x="555" y="779"/>
                  </a:lnTo>
                  <a:lnTo>
                    <a:pt x="555" y="781"/>
                  </a:lnTo>
                  <a:lnTo>
                    <a:pt x="557" y="781"/>
                  </a:lnTo>
                  <a:lnTo>
                    <a:pt x="560" y="781"/>
                  </a:lnTo>
                  <a:lnTo>
                    <a:pt x="562" y="781"/>
                  </a:lnTo>
                  <a:lnTo>
                    <a:pt x="562" y="784"/>
                  </a:lnTo>
                  <a:lnTo>
                    <a:pt x="564" y="784"/>
                  </a:lnTo>
                  <a:lnTo>
                    <a:pt x="567" y="784"/>
                  </a:lnTo>
                  <a:lnTo>
                    <a:pt x="569" y="784"/>
                  </a:lnTo>
                  <a:lnTo>
                    <a:pt x="571" y="784"/>
                  </a:lnTo>
                  <a:lnTo>
                    <a:pt x="574" y="784"/>
                  </a:lnTo>
                  <a:lnTo>
                    <a:pt x="574" y="786"/>
                  </a:lnTo>
                  <a:lnTo>
                    <a:pt x="576" y="786"/>
                  </a:lnTo>
                  <a:lnTo>
                    <a:pt x="576" y="784"/>
                  </a:lnTo>
                  <a:lnTo>
                    <a:pt x="576" y="786"/>
                  </a:lnTo>
                  <a:lnTo>
                    <a:pt x="576" y="784"/>
                  </a:lnTo>
                  <a:lnTo>
                    <a:pt x="579" y="784"/>
                  </a:lnTo>
                  <a:lnTo>
                    <a:pt x="579" y="786"/>
                  </a:lnTo>
                  <a:lnTo>
                    <a:pt x="581" y="786"/>
                  </a:lnTo>
                  <a:lnTo>
                    <a:pt x="581" y="788"/>
                  </a:lnTo>
                  <a:lnTo>
                    <a:pt x="583" y="788"/>
                  </a:lnTo>
                  <a:lnTo>
                    <a:pt x="583" y="791"/>
                  </a:lnTo>
                  <a:lnTo>
                    <a:pt x="586" y="791"/>
                  </a:lnTo>
                  <a:lnTo>
                    <a:pt x="588" y="791"/>
                  </a:lnTo>
                  <a:lnTo>
                    <a:pt x="586" y="791"/>
                  </a:lnTo>
                  <a:lnTo>
                    <a:pt x="588" y="791"/>
                  </a:lnTo>
                  <a:lnTo>
                    <a:pt x="590" y="791"/>
                  </a:lnTo>
                  <a:lnTo>
                    <a:pt x="590" y="788"/>
                  </a:lnTo>
                  <a:lnTo>
                    <a:pt x="593" y="788"/>
                  </a:lnTo>
                  <a:lnTo>
                    <a:pt x="590" y="788"/>
                  </a:lnTo>
                  <a:lnTo>
                    <a:pt x="593" y="788"/>
                  </a:lnTo>
                  <a:lnTo>
                    <a:pt x="595" y="788"/>
                  </a:lnTo>
                  <a:lnTo>
                    <a:pt x="593" y="788"/>
                  </a:lnTo>
                  <a:lnTo>
                    <a:pt x="595" y="788"/>
                  </a:lnTo>
                  <a:lnTo>
                    <a:pt x="595" y="786"/>
                  </a:lnTo>
                  <a:lnTo>
                    <a:pt x="593" y="786"/>
                  </a:lnTo>
                  <a:lnTo>
                    <a:pt x="595" y="786"/>
                  </a:lnTo>
                  <a:lnTo>
                    <a:pt x="593" y="786"/>
                  </a:lnTo>
                  <a:lnTo>
                    <a:pt x="595" y="786"/>
                  </a:lnTo>
                  <a:lnTo>
                    <a:pt x="595" y="784"/>
                  </a:lnTo>
                  <a:lnTo>
                    <a:pt x="597" y="784"/>
                  </a:lnTo>
                  <a:lnTo>
                    <a:pt x="600" y="784"/>
                  </a:lnTo>
                  <a:lnTo>
                    <a:pt x="602" y="784"/>
                  </a:lnTo>
                  <a:lnTo>
                    <a:pt x="605" y="784"/>
                  </a:lnTo>
                  <a:lnTo>
                    <a:pt x="607" y="784"/>
                  </a:lnTo>
                  <a:lnTo>
                    <a:pt x="609" y="784"/>
                  </a:lnTo>
                  <a:lnTo>
                    <a:pt x="612" y="784"/>
                  </a:lnTo>
                  <a:lnTo>
                    <a:pt x="612" y="786"/>
                  </a:lnTo>
                  <a:lnTo>
                    <a:pt x="614" y="786"/>
                  </a:lnTo>
                  <a:lnTo>
                    <a:pt x="614" y="788"/>
                  </a:lnTo>
                  <a:lnTo>
                    <a:pt x="616" y="788"/>
                  </a:lnTo>
                  <a:lnTo>
                    <a:pt x="619" y="788"/>
                  </a:lnTo>
                  <a:lnTo>
                    <a:pt x="621" y="788"/>
                  </a:lnTo>
                  <a:lnTo>
                    <a:pt x="624" y="788"/>
                  </a:lnTo>
                  <a:lnTo>
                    <a:pt x="624" y="791"/>
                  </a:lnTo>
                  <a:lnTo>
                    <a:pt x="624" y="793"/>
                  </a:lnTo>
                  <a:lnTo>
                    <a:pt x="624" y="796"/>
                  </a:lnTo>
                  <a:lnTo>
                    <a:pt x="626" y="796"/>
                  </a:lnTo>
                  <a:lnTo>
                    <a:pt x="628" y="796"/>
                  </a:lnTo>
                  <a:lnTo>
                    <a:pt x="628" y="798"/>
                  </a:lnTo>
                  <a:lnTo>
                    <a:pt x="631" y="798"/>
                  </a:lnTo>
                  <a:lnTo>
                    <a:pt x="631" y="800"/>
                  </a:lnTo>
                  <a:lnTo>
                    <a:pt x="628" y="800"/>
                  </a:lnTo>
                  <a:lnTo>
                    <a:pt x="631" y="800"/>
                  </a:lnTo>
                  <a:lnTo>
                    <a:pt x="633" y="800"/>
                  </a:lnTo>
                  <a:lnTo>
                    <a:pt x="635" y="800"/>
                  </a:lnTo>
                  <a:lnTo>
                    <a:pt x="635" y="803"/>
                  </a:lnTo>
                  <a:lnTo>
                    <a:pt x="638" y="803"/>
                  </a:lnTo>
                  <a:lnTo>
                    <a:pt x="638" y="800"/>
                  </a:lnTo>
                  <a:lnTo>
                    <a:pt x="638" y="803"/>
                  </a:lnTo>
                  <a:lnTo>
                    <a:pt x="638" y="805"/>
                  </a:lnTo>
                  <a:lnTo>
                    <a:pt x="640" y="805"/>
                  </a:lnTo>
                  <a:lnTo>
                    <a:pt x="640" y="807"/>
                  </a:lnTo>
                  <a:lnTo>
                    <a:pt x="640" y="810"/>
                  </a:lnTo>
                  <a:lnTo>
                    <a:pt x="643" y="812"/>
                  </a:lnTo>
                  <a:lnTo>
                    <a:pt x="643" y="815"/>
                  </a:lnTo>
                  <a:lnTo>
                    <a:pt x="643" y="817"/>
                  </a:lnTo>
                  <a:lnTo>
                    <a:pt x="643" y="819"/>
                  </a:lnTo>
                  <a:lnTo>
                    <a:pt x="645" y="819"/>
                  </a:lnTo>
                  <a:lnTo>
                    <a:pt x="643" y="819"/>
                  </a:lnTo>
                  <a:lnTo>
                    <a:pt x="643" y="822"/>
                  </a:lnTo>
                  <a:lnTo>
                    <a:pt x="645" y="822"/>
                  </a:lnTo>
                  <a:lnTo>
                    <a:pt x="645" y="824"/>
                  </a:lnTo>
                  <a:lnTo>
                    <a:pt x="645" y="826"/>
                  </a:lnTo>
                  <a:lnTo>
                    <a:pt x="647" y="826"/>
                  </a:lnTo>
                  <a:lnTo>
                    <a:pt x="647" y="829"/>
                  </a:lnTo>
                  <a:lnTo>
                    <a:pt x="647" y="831"/>
                  </a:lnTo>
                  <a:lnTo>
                    <a:pt x="650" y="831"/>
                  </a:lnTo>
                  <a:lnTo>
                    <a:pt x="647" y="831"/>
                  </a:lnTo>
                  <a:lnTo>
                    <a:pt x="647" y="834"/>
                  </a:lnTo>
                  <a:lnTo>
                    <a:pt x="650" y="834"/>
                  </a:lnTo>
                  <a:lnTo>
                    <a:pt x="650" y="836"/>
                  </a:lnTo>
                  <a:lnTo>
                    <a:pt x="652" y="836"/>
                  </a:lnTo>
                  <a:lnTo>
                    <a:pt x="654" y="836"/>
                  </a:lnTo>
                  <a:lnTo>
                    <a:pt x="657" y="836"/>
                  </a:lnTo>
                  <a:lnTo>
                    <a:pt x="659" y="836"/>
                  </a:lnTo>
                  <a:lnTo>
                    <a:pt x="659" y="838"/>
                  </a:lnTo>
                  <a:lnTo>
                    <a:pt x="662" y="838"/>
                  </a:lnTo>
                  <a:lnTo>
                    <a:pt x="662" y="841"/>
                  </a:lnTo>
                  <a:lnTo>
                    <a:pt x="664" y="841"/>
                  </a:lnTo>
                  <a:lnTo>
                    <a:pt x="664" y="843"/>
                  </a:lnTo>
                  <a:lnTo>
                    <a:pt x="666" y="843"/>
                  </a:lnTo>
                  <a:lnTo>
                    <a:pt x="666" y="845"/>
                  </a:lnTo>
                  <a:lnTo>
                    <a:pt x="669" y="845"/>
                  </a:lnTo>
                  <a:lnTo>
                    <a:pt x="669" y="848"/>
                  </a:lnTo>
                  <a:lnTo>
                    <a:pt x="669" y="850"/>
                  </a:lnTo>
                  <a:lnTo>
                    <a:pt x="669" y="853"/>
                  </a:lnTo>
                  <a:lnTo>
                    <a:pt x="669" y="855"/>
                  </a:lnTo>
                  <a:lnTo>
                    <a:pt x="666" y="857"/>
                  </a:lnTo>
                  <a:lnTo>
                    <a:pt x="666" y="860"/>
                  </a:lnTo>
                  <a:lnTo>
                    <a:pt x="666" y="862"/>
                  </a:lnTo>
                  <a:lnTo>
                    <a:pt x="664" y="862"/>
                  </a:lnTo>
                  <a:lnTo>
                    <a:pt x="666" y="862"/>
                  </a:lnTo>
                  <a:lnTo>
                    <a:pt x="666" y="864"/>
                  </a:lnTo>
                  <a:lnTo>
                    <a:pt x="664" y="864"/>
                  </a:lnTo>
                  <a:lnTo>
                    <a:pt x="662" y="864"/>
                  </a:lnTo>
                  <a:lnTo>
                    <a:pt x="662" y="867"/>
                  </a:lnTo>
                  <a:lnTo>
                    <a:pt x="662" y="869"/>
                  </a:lnTo>
                  <a:lnTo>
                    <a:pt x="659" y="869"/>
                  </a:lnTo>
                  <a:lnTo>
                    <a:pt x="657" y="872"/>
                  </a:lnTo>
                  <a:lnTo>
                    <a:pt x="654" y="874"/>
                  </a:lnTo>
                  <a:lnTo>
                    <a:pt x="654" y="876"/>
                  </a:lnTo>
                  <a:lnTo>
                    <a:pt x="652" y="876"/>
                  </a:lnTo>
                  <a:lnTo>
                    <a:pt x="652" y="879"/>
                  </a:lnTo>
                  <a:lnTo>
                    <a:pt x="650" y="879"/>
                  </a:lnTo>
                  <a:lnTo>
                    <a:pt x="650" y="881"/>
                  </a:lnTo>
                  <a:lnTo>
                    <a:pt x="647" y="881"/>
                  </a:lnTo>
                  <a:lnTo>
                    <a:pt x="645" y="881"/>
                  </a:lnTo>
                  <a:lnTo>
                    <a:pt x="643" y="881"/>
                  </a:lnTo>
                  <a:lnTo>
                    <a:pt x="640" y="881"/>
                  </a:lnTo>
                  <a:lnTo>
                    <a:pt x="640" y="883"/>
                  </a:lnTo>
                  <a:lnTo>
                    <a:pt x="638" y="883"/>
                  </a:lnTo>
                  <a:lnTo>
                    <a:pt x="640" y="883"/>
                  </a:lnTo>
                  <a:lnTo>
                    <a:pt x="638" y="883"/>
                  </a:lnTo>
                  <a:lnTo>
                    <a:pt x="638" y="886"/>
                  </a:lnTo>
                  <a:lnTo>
                    <a:pt x="638" y="888"/>
                  </a:lnTo>
                  <a:lnTo>
                    <a:pt x="640" y="888"/>
                  </a:lnTo>
                  <a:lnTo>
                    <a:pt x="640" y="891"/>
                  </a:lnTo>
                  <a:lnTo>
                    <a:pt x="638" y="891"/>
                  </a:lnTo>
                  <a:lnTo>
                    <a:pt x="640" y="891"/>
                  </a:lnTo>
                  <a:lnTo>
                    <a:pt x="643" y="891"/>
                  </a:lnTo>
                  <a:lnTo>
                    <a:pt x="643" y="893"/>
                  </a:lnTo>
                  <a:lnTo>
                    <a:pt x="643" y="895"/>
                  </a:lnTo>
                  <a:lnTo>
                    <a:pt x="643" y="898"/>
                  </a:lnTo>
                  <a:lnTo>
                    <a:pt x="645" y="898"/>
                  </a:lnTo>
                  <a:lnTo>
                    <a:pt x="645" y="900"/>
                  </a:lnTo>
                  <a:lnTo>
                    <a:pt x="645" y="902"/>
                  </a:lnTo>
                  <a:lnTo>
                    <a:pt x="647" y="902"/>
                  </a:lnTo>
                  <a:lnTo>
                    <a:pt x="647" y="905"/>
                  </a:lnTo>
                  <a:lnTo>
                    <a:pt x="645" y="905"/>
                  </a:lnTo>
                  <a:lnTo>
                    <a:pt x="647" y="905"/>
                  </a:lnTo>
                  <a:lnTo>
                    <a:pt x="650" y="905"/>
                  </a:lnTo>
                  <a:lnTo>
                    <a:pt x="652" y="905"/>
                  </a:lnTo>
                  <a:lnTo>
                    <a:pt x="650" y="905"/>
                  </a:lnTo>
                  <a:lnTo>
                    <a:pt x="647" y="905"/>
                  </a:lnTo>
                  <a:lnTo>
                    <a:pt x="647" y="902"/>
                  </a:lnTo>
                  <a:lnTo>
                    <a:pt x="645" y="902"/>
                  </a:lnTo>
                  <a:lnTo>
                    <a:pt x="647" y="902"/>
                  </a:lnTo>
                  <a:lnTo>
                    <a:pt x="645" y="900"/>
                  </a:lnTo>
                  <a:lnTo>
                    <a:pt x="645" y="898"/>
                  </a:lnTo>
                  <a:lnTo>
                    <a:pt x="643" y="898"/>
                  </a:lnTo>
                  <a:lnTo>
                    <a:pt x="643" y="895"/>
                  </a:lnTo>
                  <a:lnTo>
                    <a:pt x="643" y="893"/>
                  </a:lnTo>
                  <a:lnTo>
                    <a:pt x="643" y="891"/>
                  </a:lnTo>
                  <a:lnTo>
                    <a:pt x="640" y="891"/>
                  </a:lnTo>
                  <a:lnTo>
                    <a:pt x="638" y="891"/>
                  </a:lnTo>
                  <a:lnTo>
                    <a:pt x="640" y="891"/>
                  </a:lnTo>
                  <a:lnTo>
                    <a:pt x="640" y="888"/>
                  </a:lnTo>
                  <a:lnTo>
                    <a:pt x="638" y="888"/>
                  </a:lnTo>
                  <a:lnTo>
                    <a:pt x="638" y="886"/>
                  </a:lnTo>
                  <a:lnTo>
                    <a:pt x="638" y="883"/>
                  </a:lnTo>
                  <a:lnTo>
                    <a:pt x="640" y="883"/>
                  </a:lnTo>
                  <a:lnTo>
                    <a:pt x="643" y="883"/>
                  </a:lnTo>
                  <a:lnTo>
                    <a:pt x="640" y="883"/>
                  </a:lnTo>
                  <a:lnTo>
                    <a:pt x="643" y="883"/>
                  </a:lnTo>
                  <a:lnTo>
                    <a:pt x="640" y="883"/>
                  </a:lnTo>
                  <a:lnTo>
                    <a:pt x="643" y="881"/>
                  </a:lnTo>
                  <a:lnTo>
                    <a:pt x="645" y="881"/>
                  </a:lnTo>
                  <a:lnTo>
                    <a:pt x="647" y="881"/>
                  </a:lnTo>
                  <a:lnTo>
                    <a:pt x="650" y="881"/>
                  </a:lnTo>
                  <a:lnTo>
                    <a:pt x="652" y="879"/>
                  </a:lnTo>
                  <a:lnTo>
                    <a:pt x="652" y="876"/>
                  </a:lnTo>
                  <a:lnTo>
                    <a:pt x="654" y="876"/>
                  </a:lnTo>
                  <a:lnTo>
                    <a:pt x="654" y="874"/>
                  </a:lnTo>
                  <a:lnTo>
                    <a:pt x="657" y="874"/>
                  </a:lnTo>
                  <a:lnTo>
                    <a:pt x="657" y="872"/>
                  </a:lnTo>
                  <a:lnTo>
                    <a:pt x="659" y="869"/>
                  </a:lnTo>
                  <a:lnTo>
                    <a:pt x="662" y="869"/>
                  </a:lnTo>
                  <a:lnTo>
                    <a:pt x="662" y="867"/>
                  </a:lnTo>
                  <a:lnTo>
                    <a:pt x="664" y="867"/>
                  </a:lnTo>
                  <a:lnTo>
                    <a:pt x="662" y="867"/>
                  </a:lnTo>
                  <a:lnTo>
                    <a:pt x="664" y="867"/>
                  </a:lnTo>
                  <a:lnTo>
                    <a:pt x="664" y="864"/>
                  </a:lnTo>
                  <a:lnTo>
                    <a:pt x="664" y="867"/>
                  </a:lnTo>
                  <a:lnTo>
                    <a:pt x="666" y="864"/>
                  </a:lnTo>
                  <a:lnTo>
                    <a:pt x="666" y="867"/>
                  </a:lnTo>
                  <a:lnTo>
                    <a:pt x="666" y="869"/>
                  </a:lnTo>
                  <a:lnTo>
                    <a:pt x="669" y="869"/>
                  </a:lnTo>
                  <a:lnTo>
                    <a:pt x="671" y="869"/>
                  </a:lnTo>
                  <a:lnTo>
                    <a:pt x="673" y="869"/>
                  </a:lnTo>
                  <a:lnTo>
                    <a:pt x="676" y="869"/>
                  </a:lnTo>
                  <a:lnTo>
                    <a:pt x="673" y="869"/>
                  </a:lnTo>
                  <a:lnTo>
                    <a:pt x="671" y="869"/>
                  </a:lnTo>
                  <a:lnTo>
                    <a:pt x="669" y="869"/>
                  </a:lnTo>
                  <a:lnTo>
                    <a:pt x="666" y="869"/>
                  </a:lnTo>
                  <a:lnTo>
                    <a:pt x="666" y="867"/>
                  </a:lnTo>
                  <a:lnTo>
                    <a:pt x="666" y="864"/>
                  </a:lnTo>
                  <a:lnTo>
                    <a:pt x="666" y="862"/>
                  </a:lnTo>
                  <a:lnTo>
                    <a:pt x="666" y="860"/>
                  </a:lnTo>
                  <a:lnTo>
                    <a:pt x="666" y="857"/>
                  </a:lnTo>
                  <a:lnTo>
                    <a:pt x="669" y="855"/>
                  </a:lnTo>
                  <a:lnTo>
                    <a:pt x="669" y="853"/>
                  </a:lnTo>
                  <a:lnTo>
                    <a:pt x="671" y="850"/>
                  </a:lnTo>
                  <a:lnTo>
                    <a:pt x="669" y="850"/>
                  </a:lnTo>
                  <a:lnTo>
                    <a:pt x="671" y="848"/>
                  </a:lnTo>
                  <a:lnTo>
                    <a:pt x="669" y="848"/>
                  </a:lnTo>
                  <a:lnTo>
                    <a:pt x="669" y="845"/>
                  </a:lnTo>
                  <a:lnTo>
                    <a:pt x="666" y="845"/>
                  </a:lnTo>
                  <a:lnTo>
                    <a:pt x="666" y="843"/>
                  </a:lnTo>
                  <a:lnTo>
                    <a:pt x="664" y="843"/>
                  </a:lnTo>
                  <a:lnTo>
                    <a:pt x="664" y="841"/>
                  </a:lnTo>
                  <a:lnTo>
                    <a:pt x="666" y="841"/>
                  </a:lnTo>
                  <a:lnTo>
                    <a:pt x="664" y="841"/>
                  </a:lnTo>
                  <a:lnTo>
                    <a:pt x="662" y="841"/>
                  </a:lnTo>
                  <a:lnTo>
                    <a:pt x="662" y="838"/>
                  </a:lnTo>
                  <a:lnTo>
                    <a:pt x="659" y="838"/>
                  </a:lnTo>
                  <a:lnTo>
                    <a:pt x="659" y="836"/>
                  </a:lnTo>
                  <a:lnTo>
                    <a:pt x="657" y="836"/>
                  </a:lnTo>
                  <a:lnTo>
                    <a:pt x="654" y="836"/>
                  </a:lnTo>
                  <a:lnTo>
                    <a:pt x="652" y="836"/>
                  </a:lnTo>
                  <a:lnTo>
                    <a:pt x="650" y="836"/>
                  </a:lnTo>
                  <a:lnTo>
                    <a:pt x="650" y="834"/>
                  </a:lnTo>
                  <a:lnTo>
                    <a:pt x="650" y="831"/>
                  </a:lnTo>
                  <a:lnTo>
                    <a:pt x="647" y="831"/>
                  </a:lnTo>
                  <a:lnTo>
                    <a:pt x="650" y="829"/>
                  </a:lnTo>
                  <a:lnTo>
                    <a:pt x="647" y="829"/>
                  </a:lnTo>
                  <a:lnTo>
                    <a:pt x="647" y="826"/>
                  </a:lnTo>
                  <a:lnTo>
                    <a:pt x="645" y="826"/>
                  </a:lnTo>
                  <a:lnTo>
                    <a:pt x="645" y="824"/>
                  </a:lnTo>
                  <a:lnTo>
                    <a:pt x="645" y="822"/>
                  </a:lnTo>
                  <a:lnTo>
                    <a:pt x="643" y="819"/>
                  </a:lnTo>
                  <a:lnTo>
                    <a:pt x="645" y="819"/>
                  </a:lnTo>
                  <a:lnTo>
                    <a:pt x="643" y="819"/>
                  </a:lnTo>
                  <a:lnTo>
                    <a:pt x="643" y="817"/>
                  </a:lnTo>
                  <a:lnTo>
                    <a:pt x="645" y="817"/>
                  </a:lnTo>
                  <a:lnTo>
                    <a:pt x="645" y="815"/>
                  </a:lnTo>
                  <a:lnTo>
                    <a:pt x="643" y="815"/>
                  </a:lnTo>
                  <a:lnTo>
                    <a:pt x="643" y="812"/>
                  </a:lnTo>
                  <a:lnTo>
                    <a:pt x="643" y="810"/>
                  </a:lnTo>
                  <a:lnTo>
                    <a:pt x="640" y="810"/>
                  </a:lnTo>
                  <a:lnTo>
                    <a:pt x="640" y="807"/>
                  </a:lnTo>
                  <a:lnTo>
                    <a:pt x="640" y="805"/>
                  </a:lnTo>
                  <a:lnTo>
                    <a:pt x="638" y="805"/>
                  </a:lnTo>
                  <a:lnTo>
                    <a:pt x="638" y="803"/>
                  </a:lnTo>
                  <a:lnTo>
                    <a:pt x="640" y="803"/>
                  </a:lnTo>
                  <a:lnTo>
                    <a:pt x="638" y="803"/>
                  </a:lnTo>
                  <a:lnTo>
                    <a:pt x="638" y="800"/>
                  </a:lnTo>
                  <a:lnTo>
                    <a:pt x="640" y="800"/>
                  </a:lnTo>
                  <a:lnTo>
                    <a:pt x="640" y="798"/>
                  </a:lnTo>
                  <a:lnTo>
                    <a:pt x="638" y="798"/>
                  </a:lnTo>
                  <a:lnTo>
                    <a:pt x="638" y="796"/>
                  </a:lnTo>
                  <a:lnTo>
                    <a:pt x="635" y="796"/>
                  </a:lnTo>
                  <a:lnTo>
                    <a:pt x="633" y="796"/>
                  </a:lnTo>
                  <a:lnTo>
                    <a:pt x="633" y="793"/>
                  </a:lnTo>
                  <a:lnTo>
                    <a:pt x="633" y="796"/>
                  </a:lnTo>
                  <a:lnTo>
                    <a:pt x="631" y="796"/>
                  </a:lnTo>
                  <a:lnTo>
                    <a:pt x="631" y="798"/>
                  </a:lnTo>
                  <a:lnTo>
                    <a:pt x="628" y="798"/>
                  </a:lnTo>
                  <a:lnTo>
                    <a:pt x="628" y="796"/>
                  </a:lnTo>
                  <a:lnTo>
                    <a:pt x="626" y="796"/>
                  </a:lnTo>
                  <a:lnTo>
                    <a:pt x="624" y="796"/>
                  </a:lnTo>
                  <a:lnTo>
                    <a:pt x="626" y="793"/>
                  </a:lnTo>
                  <a:lnTo>
                    <a:pt x="624" y="793"/>
                  </a:lnTo>
                  <a:lnTo>
                    <a:pt x="624" y="791"/>
                  </a:lnTo>
                  <a:lnTo>
                    <a:pt x="624" y="788"/>
                  </a:lnTo>
                  <a:lnTo>
                    <a:pt x="621" y="788"/>
                  </a:lnTo>
                  <a:lnTo>
                    <a:pt x="619" y="788"/>
                  </a:lnTo>
                  <a:lnTo>
                    <a:pt x="616" y="788"/>
                  </a:lnTo>
                  <a:lnTo>
                    <a:pt x="614" y="788"/>
                  </a:lnTo>
                  <a:lnTo>
                    <a:pt x="614" y="786"/>
                  </a:lnTo>
                  <a:lnTo>
                    <a:pt x="612" y="786"/>
                  </a:lnTo>
                  <a:lnTo>
                    <a:pt x="612" y="784"/>
                  </a:lnTo>
                  <a:lnTo>
                    <a:pt x="609" y="784"/>
                  </a:lnTo>
                  <a:lnTo>
                    <a:pt x="607" y="784"/>
                  </a:lnTo>
                  <a:lnTo>
                    <a:pt x="607" y="781"/>
                  </a:lnTo>
                  <a:lnTo>
                    <a:pt x="607" y="779"/>
                  </a:lnTo>
                  <a:lnTo>
                    <a:pt x="609" y="779"/>
                  </a:lnTo>
                  <a:lnTo>
                    <a:pt x="609" y="777"/>
                  </a:lnTo>
                  <a:lnTo>
                    <a:pt x="607" y="777"/>
                  </a:lnTo>
                  <a:lnTo>
                    <a:pt x="607" y="774"/>
                  </a:lnTo>
                  <a:lnTo>
                    <a:pt x="607" y="772"/>
                  </a:lnTo>
                  <a:lnTo>
                    <a:pt x="607" y="769"/>
                  </a:lnTo>
                  <a:lnTo>
                    <a:pt x="607" y="772"/>
                  </a:lnTo>
                  <a:lnTo>
                    <a:pt x="607" y="769"/>
                  </a:lnTo>
                  <a:lnTo>
                    <a:pt x="605" y="769"/>
                  </a:lnTo>
                  <a:lnTo>
                    <a:pt x="602" y="769"/>
                  </a:lnTo>
                  <a:lnTo>
                    <a:pt x="602" y="767"/>
                  </a:lnTo>
                  <a:lnTo>
                    <a:pt x="602" y="765"/>
                  </a:lnTo>
                  <a:lnTo>
                    <a:pt x="605" y="765"/>
                  </a:lnTo>
                  <a:lnTo>
                    <a:pt x="605" y="762"/>
                  </a:lnTo>
                  <a:lnTo>
                    <a:pt x="607" y="762"/>
                  </a:lnTo>
                  <a:lnTo>
                    <a:pt x="605" y="762"/>
                  </a:lnTo>
                  <a:lnTo>
                    <a:pt x="602" y="762"/>
                  </a:lnTo>
                  <a:lnTo>
                    <a:pt x="602" y="760"/>
                  </a:lnTo>
                  <a:lnTo>
                    <a:pt x="605" y="760"/>
                  </a:lnTo>
                  <a:lnTo>
                    <a:pt x="602" y="760"/>
                  </a:lnTo>
                  <a:lnTo>
                    <a:pt x="600" y="760"/>
                  </a:lnTo>
                  <a:lnTo>
                    <a:pt x="600" y="758"/>
                  </a:lnTo>
                  <a:lnTo>
                    <a:pt x="600" y="755"/>
                  </a:lnTo>
                  <a:lnTo>
                    <a:pt x="597" y="753"/>
                  </a:lnTo>
                  <a:lnTo>
                    <a:pt x="595" y="755"/>
                  </a:lnTo>
                  <a:lnTo>
                    <a:pt x="595" y="758"/>
                  </a:lnTo>
                  <a:lnTo>
                    <a:pt x="593" y="758"/>
                  </a:lnTo>
                  <a:lnTo>
                    <a:pt x="593" y="760"/>
                  </a:lnTo>
                  <a:lnTo>
                    <a:pt x="593" y="758"/>
                  </a:lnTo>
                  <a:lnTo>
                    <a:pt x="590" y="758"/>
                  </a:lnTo>
                  <a:lnTo>
                    <a:pt x="588" y="758"/>
                  </a:lnTo>
                  <a:lnTo>
                    <a:pt x="586" y="758"/>
                  </a:lnTo>
                  <a:lnTo>
                    <a:pt x="586" y="760"/>
                  </a:lnTo>
                  <a:lnTo>
                    <a:pt x="583" y="760"/>
                  </a:lnTo>
                  <a:lnTo>
                    <a:pt x="581" y="758"/>
                  </a:lnTo>
                  <a:lnTo>
                    <a:pt x="579" y="758"/>
                  </a:lnTo>
                  <a:lnTo>
                    <a:pt x="576" y="758"/>
                  </a:lnTo>
                  <a:lnTo>
                    <a:pt x="576" y="755"/>
                  </a:lnTo>
                  <a:lnTo>
                    <a:pt x="576" y="753"/>
                  </a:lnTo>
                  <a:lnTo>
                    <a:pt x="576" y="755"/>
                  </a:lnTo>
                  <a:lnTo>
                    <a:pt x="576" y="753"/>
                  </a:lnTo>
                  <a:lnTo>
                    <a:pt x="574" y="753"/>
                  </a:lnTo>
                  <a:lnTo>
                    <a:pt x="571" y="750"/>
                  </a:lnTo>
                  <a:lnTo>
                    <a:pt x="571" y="748"/>
                  </a:lnTo>
                  <a:lnTo>
                    <a:pt x="569" y="748"/>
                  </a:lnTo>
                  <a:lnTo>
                    <a:pt x="569" y="746"/>
                  </a:lnTo>
                  <a:lnTo>
                    <a:pt x="567" y="746"/>
                  </a:lnTo>
                  <a:lnTo>
                    <a:pt x="567" y="743"/>
                  </a:lnTo>
                  <a:lnTo>
                    <a:pt x="564" y="741"/>
                  </a:lnTo>
                  <a:lnTo>
                    <a:pt x="564" y="739"/>
                  </a:lnTo>
                  <a:lnTo>
                    <a:pt x="562" y="739"/>
                  </a:lnTo>
                  <a:lnTo>
                    <a:pt x="560" y="739"/>
                  </a:lnTo>
                  <a:lnTo>
                    <a:pt x="557" y="739"/>
                  </a:lnTo>
                  <a:lnTo>
                    <a:pt x="557" y="736"/>
                  </a:lnTo>
                  <a:lnTo>
                    <a:pt x="557" y="734"/>
                  </a:lnTo>
                  <a:lnTo>
                    <a:pt x="560" y="734"/>
                  </a:lnTo>
                  <a:lnTo>
                    <a:pt x="557" y="734"/>
                  </a:lnTo>
                  <a:lnTo>
                    <a:pt x="557" y="731"/>
                  </a:lnTo>
                  <a:lnTo>
                    <a:pt x="555" y="731"/>
                  </a:lnTo>
                  <a:lnTo>
                    <a:pt x="555" y="729"/>
                  </a:lnTo>
                  <a:lnTo>
                    <a:pt x="555" y="727"/>
                  </a:lnTo>
                  <a:lnTo>
                    <a:pt x="557" y="727"/>
                  </a:lnTo>
                  <a:lnTo>
                    <a:pt x="560" y="729"/>
                  </a:lnTo>
                  <a:lnTo>
                    <a:pt x="562" y="729"/>
                  </a:lnTo>
                  <a:lnTo>
                    <a:pt x="562" y="727"/>
                  </a:lnTo>
                  <a:lnTo>
                    <a:pt x="564" y="727"/>
                  </a:lnTo>
                  <a:lnTo>
                    <a:pt x="567" y="724"/>
                  </a:lnTo>
                  <a:lnTo>
                    <a:pt x="567" y="722"/>
                  </a:lnTo>
                  <a:lnTo>
                    <a:pt x="569" y="722"/>
                  </a:lnTo>
                  <a:lnTo>
                    <a:pt x="567" y="722"/>
                  </a:lnTo>
                  <a:lnTo>
                    <a:pt x="569" y="720"/>
                  </a:lnTo>
                  <a:lnTo>
                    <a:pt x="569" y="717"/>
                  </a:lnTo>
                  <a:lnTo>
                    <a:pt x="567" y="717"/>
                  </a:lnTo>
                  <a:lnTo>
                    <a:pt x="567" y="715"/>
                  </a:lnTo>
                  <a:lnTo>
                    <a:pt x="569" y="715"/>
                  </a:lnTo>
                  <a:lnTo>
                    <a:pt x="571" y="715"/>
                  </a:lnTo>
                  <a:lnTo>
                    <a:pt x="571" y="712"/>
                  </a:lnTo>
                  <a:lnTo>
                    <a:pt x="574" y="712"/>
                  </a:lnTo>
                  <a:lnTo>
                    <a:pt x="576" y="712"/>
                  </a:lnTo>
                  <a:lnTo>
                    <a:pt x="576" y="715"/>
                  </a:lnTo>
                  <a:lnTo>
                    <a:pt x="576" y="712"/>
                  </a:lnTo>
                  <a:lnTo>
                    <a:pt x="576" y="715"/>
                  </a:lnTo>
                  <a:lnTo>
                    <a:pt x="579" y="715"/>
                  </a:lnTo>
                  <a:lnTo>
                    <a:pt x="581" y="715"/>
                  </a:lnTo>
                  <a:lnTo>
                    <a:pt x="583" y="717"/>
                  </a:lnTo>
                  <a:lnTo>
                    <a:pt x="586" y="717"/>
                  </a:lnTo>
                  <a:lnTo>
                    <a:pt x="588" y="717"/>
                  </a:lnTo>
                  <a:lnTo>
                    <a:pt x="590" y="720"/>
                  </a:lnTo>
                  <a:lnTo>
                    <a:pt x="593" y="720"/>
                  </a:lnTo>
                  <a:lnTo>
                    <a:pt x="595" y="720"/>
                  </a:lnTo>
                  <a:lnTo>
                    <a:pt x="595" y="722"/>
                  </a:lnTo>
                  <a:lnTo>
                    <a:pt x="597" y="722"/>
                  </a:lnTo>
                  <a:lnTo>
                    <a:pt x="595" y="724"/>
                  </a:lnTo>
                  <a:lnTo>
                    <a:pt x="597" y="724"/>
                  </a:lnTo>
                  <a:lnTo>
                    <a:pt x="597" y="727"/>
                  </a:lnTo>
                  <a:lnTo>
                    <a:pt x="600" y="727"/>
                  </a:lnTo>
                  <a:lnTo>
                    <a:pt x="602" y="729"/>
                  </a:lnTo>
                  <a:lnTo>
                    <a:pt x="605" y="729"/>
                  </a:lnTo>
                  <a:lnTo>
                    <a:pt x="607" y="731"/>
                  </a:lnTo>
                  <a:lnTo>
                    <a:pt x="609" y="731"/>
                  </a:lnTo>
                  <a:lnTo>
                    <a:pt x="612" y="731"/>
                  </a:lnTo>
                  <a:lnTo>
                    <a:pt x="614" y="731"/>
                  </a:lnTo>
                  <a:lnTo>
                    <a:pt x="616" y="731"/>
                  </a:lnTo>
                  <a:lnTo>
                    <a:pt x="619" y="731"/>
                  </a:lnTo>
                  <a:lnTo>
                    <a:pt x="616" y="734"/>
                  </a:lnTo>
                  <a:lnTo>
                    <a:pt x="619" y="734"/>
                  </a:lnTo>
                  <a:lnTo>
                    <a:pt x="619" y="736"/>
                  </a:lnTo>
                  <a:lnTo>
                    <a:pt x="616" y="736"/>
                  </a:lnTo>
                  <a:lnTo>
                    <a:pt x="616" y="734"/>
                  </a:lnTo>
                  <a:lnTo>
                    <a:pt x="614" y="734"/>
                  </a:lnTo>
                  <a:lnTo>
                    <a:pt x="614" y="736"/>
                  </a:lnTo>
                  <a:lnTo>
                    <a:pt x="612" y="736"/>
                  </a:lnTo>
                  <a:lnTo>
                    <a:pt x="612" y="734"/>
                  </a:lnTo>
                  <a:lnTo>
                    <a:pt x="609" y="736"/>
                  </a:lnTo>
                  <a:lnTo>
                    <a:pt x="607" y="736"/>
                  </a:lnTo>
                  <a:lnTo>
                    <a:pt x="607" y="739"/>
                  </a:lnTo>
                  <a:lnTo>
                    <a:pt x="609" y="739"/>
                  </a:lnTo>
                  <a:lnTo>
                    <a:pt x="609" y="741"/>
                  </a:lnTo>
                  <a:lnTo>
                    <a:pt x="609" y="743"/>
                  </a:lnTo>
                  <a:lnTo>
                    <a:pt x="607" y="743"/>
                  </a:lnTo>
                  <a:lnTo>
                    <a:pt x="607" y="746"/>
                  </a:lnTo>
                  <a:lnTo>
                    <a:pt x="605" y="746"/>
                  </a:lnTo>
                  <a:lnTo>
                    <a:pt x="607" y="746"/>
                  </a:lnTo>
                  <a:lnTo>
                    <a:pt x="607" y="743"/>
                  </a:lnTo>
                  <a:lnTo>
                    <a:pt x="609" y="743"/>
                  </a:lnTo>
                  <a:lnTo>
                    <a:pt x="609" y="741"/>
                  </a:lnTo>
                  <a:lnTo>
                    <a:pt x="612" y="741"/>
                  </a:lnTo>
                  <a:lnTo>
                    <a:pt x="612" y="743"/>
                  </a:lnTo>
                  <a:lnTo>
                    <a:pt x="612" y="741"/>
                  </a:lnTo>
                  <a:lnTo>
                    <a:pt x="609" y="741"/>
                  </a:lnTo>
                  <a:lnTo>
                    <a:pt x="612" y="739"/>
                  </a:lnTo>
                  <a:lnTo>
                    <a:pt x="614" y="739"/>
                  </a:lnTo>
                  <a:lnTo>
                    <a:pt x="616" y="739"/>
                  </a:lnTo>
                  <a:lnTo>
                    <a:pt x="619" y="736"/>
                  </a:lnTo>
                  <a:lnTo>
                    <a:pt x="621" y="736"/>
                  </a:lnTo>
                  <a:lnTo>
                    <a:pt x="621" y="739"/>
                  </a:lnTo>
                  <a:lnTo>
                    <a:pt x="621" y="736"/>
                  </a:lnTo>
                  <a:lnTo>
                    <a:pt x="621" y="739"/>
                  </a:lnTo>
                  <a:lnTo>
                    <a:pt x="621" y="736"/>
                  </a:lnTo>
                  <a:lnTo>
                    <a:pt x="619" y="734"/>
                  </a:lnTo>
                  <a:lnTo>
                    <a:pt x="621" y="734"/>
                  </a:lnTo>
                  <a:lnTo>
                    <a:pt x="624" y="736"/>
                  </a:lnTo>
                  <a:lnTo>
                    <a:pt x="626" y="736"/>
                  </a:lnTo>
                  <a:lnTo>
                    <a:pt x="628" y="736"/>
                  </a:lnTo>
                  <a:lnTo>
                    <a:pt x="631" y="736"/>
                  </a:lnTo>
                  <a:lnTo>
                    <a:pt x="633" y="736"/>
                  </a:lnTo>
                  <a:lnTo>
                    <a:pt x="635" y="736"/>
                  </a:lnTo>
                  <a:lnTo>
                    <a:pt x="635" y="739"/>
                  </a:lnTo>
                  <a:lnTo>
                    <a:pt x="638" y="739"/>
                  </a:lnTo>
                  <a:lnTo>
                    <a:pt x="640" y="739"/>
                  </a:lnTo>
                  <a:lnTo>
                    <a:pt x="640" y="741"/>
                  </a:lnTo>
                  <a:lnTo>
                    <a:pt x="640" y="739"/>
                  </a:lnTo>
                  <a:lnTo>
                    <a:pt x="638" y="739"/>
                  </a:lnTo>
                  <a:lnTo>
                    <a:pt x="638" y="741"/>
                  </a:lnTo>
                  <a:lnTo>
                    <a:pt x="640" y="739"/>
                  </a:lnTo>
                  <a:lnTo>
                    <a:pt x="640" y="741"/>
                  </a:lnTo>
                  <a:lnTo>
                    <a:pt x="643" y="741"/>
                  </a:lnTo>
                  <a:lnTo>
                    <a:pt x="645" y="743"/>
                  </a:lnTo>
                  <a:lnTo>
                    <a:pt x="647" y="743"/>
                  </a:lnTo>
                  <a:lnTo>
                    <a:pt x="650" y="743"/>
                  </a:lnTo>
                  <a:lnTo>
                    <a:pt x="652" y="746"/>
                  </a:lnTo>
                  <a:lnTo>
                    <a:pt x="654" y="746"/>
                  </a:lnTo>
                  <a:lnTo>
                    <a:pt x="654" y="748"/>
                  </a:lnTo>
                  <a:lnTo>
                    <a:pt x="657" y="748"/>
                  </a:lnTo>
                  <a:lnTo>
                    <a:pt x="657" y="750"/>
                  </a:lnTo>
                  <a:lnTo>
                    <a:pt x="657" y="748"/>
                  </a:lnTo>
                  <a:lnTo>
                    <a:pt x="659" y="748"/>
                  </a:lnTo>
                  <a:lnTo>
                    <a:pt x="657" y="748"/>
                  </a:lnTo>
                  <a:lnTo>
                    <a:pt x="659" y="748"/>
                  </a:lnTo>
                  <a:lnTo>
                    <a:pt x="657" y="748"/>
                  </a:lnTo>
                  <a:lnTo>
                    <a:pt x="659" y="748"/>
                  </a:lnTo>
                  <a:lnTo>
                    <a:pt x="662" y="748"/>
                  </a:lnTo>
                  <a:lnTo>
                    <a:pt x="664" y="748"/>
                  </a:lnTo>
                  <a:lnTo>
                    <a:pt x="662" y="748"/>
                  </a:lnTo>
                  <a:lnTo>
                    <a:pt x="664" y="748"/>
                  </a:lnTo>
                  <a:lnTo>
                    <a:pt x="662" y="748"/>
                  </a:lnTo>
                  <a:lnTo>
                    <a:pt x="664" y="748"/>
                  </a:lnTo>
                  <a:lnTo>
                    <a:pt x="664" y="750"/>
                  </a:lnTo>
                  <a:lnTo>
                    <a:pt x="664" y="748"/>
                  </a:lnTo>
                  <a:lnTo>
                    <a:pt x="664" y="746"/>
                  </a:lnTo>
                  <a:lnTo>
                    <a:pt x="666" y="746"/>
                  </a:lnTo>
                  <a:lnTo>
                    <a:pt x="669" y="746"/>
                  </a:lnTo>
                  <a:lnTo>
                    <a:pt x="666" y="746"/>
                  </a:lnTo>
                  <a:lnTo>
                    <a:pt x="669" y="746"/>
                  </a:lnTo>
                  <a:lnTo>
                    <a:pt x="671" y="746"/>
                  </a:lnTo>
                  <a:lnTo>
                    <a:pt x="669" y="746"/>
                  </a:lnTo>
                  <a:lnTo>
                    <a:pt x="669" y="743"/>
                  </a:lnTo>
                  <a:lnTo>
                    <a:pt x="669" y="746"/>
                  </a:lnTo>
                  <a:lnTo>
                    <a:pt x="671" y="746"/>
                  </a:lnTo>
                  <a:lnTo>
                    <a:pt x="671" y="743"/>
                  </a:lnTo>
                  <a:lnTo>
                    <a:pt x="673" y="743"/>
                  </a:lnTo>
                  <a:lnTo>
                    <a:pt x="673" y="746"/>
                  </a:lnTo>
                  <a:lnTo>
                    <a:pt x="676" y="746"/>
                  </a:lnTo>
                  <a:lnTo>
                    <a:pt x="673" y="746"/>
                  </a:lnTo>
                  <a:lnTo>
                    <a:pt x="673" y="743"/>
                  </a:lnTo>
                  <a:lnTo>
                    <a:pt x="676" y="746"/>
                  </a:lnTo>
                  <a:lnTo>
                    <a:pt x="673" y="746"/>
                  </a:lnTo>
                  <a:lnTo>
                    <a:pt x="676" y="746"/>
                  </a:lnTo>
                  <a:lnTo>
                    <a:pt x="676" y="748"/>
                  </a:lnTo>
                  <a:lnTo>
                    <a:pt x="678" y="748"/>
                  </a:lnTo>
                  <a:lnTo>
                    <a:pt x="681" y="748"/>
                  </a:lnTo>
                  <a:lnTo>
                    <a:pt x="681" y="750"/>
                  </a:lnTo>
                  <a:lnTo>
                    <a:pt x="681" y="753"/>
                  </a:lnTo>
                  <a:lnTo>
                    <a:pt x="681" y="750"/>
                  </a:lnTo>
                  <a:lnTo>
                    <a:pt x="681" y="748"/>
                  </a:lnTo>
                  <a:lnTo>
                    <a:pt x="683" y="748"/>
                  </a:lnTo>
                  <a:lnTo>
                    <a:pt x="683" y="750"/>
                  </a:lnTo>
                  <a:lnTo>
                    <a:pt x="685" y="750"/>
                  </a:lnTo>
                  <a:lnTo>
                    <a:pt x="685" y="753"/>
                  </a:lnTo>
                  <a:lnTo>
                    <a:pt x="688" y="753"/>
                  </a:lnTo>
                  <a:lnTo>
                    <a:pt x="690" y="753"/>
                  </a:lnTo>
                  <a:lnTo>
                    <a:pt x="688" y="753"/>
                  </a:lnTo>
                  <a:lnTo>
                    <a:pt x="685" y="753"/>
                  </a:lnTo>
                  <a:lnTo>
                    <a:pt x="685" y="750"/>
                  </a:lnTo>
                  <a:lnTo>
                    <a:pt x="685" y="748"/>
                  </a:lnTo>
                  <a:lnTo>
                    <a:pt x="685" y="750"/>
                  </a:lnTo>
                  <a:lnTo>
                    <a:pt x="688" y="750"/>
                  </a:lnTo>
                  <a:lnTo>
                    <a:pt x="690" y="750"/>
                  </a:lnTo>
                  <a:lnTo>
                    <a:pt x="692" y="750"/>
                  </a:lnTo>
                  <a:lnTo>
                    <a:pt x="692" y="753"/>
                  </a:lnTo>
                  <a:lnTo>
                    <a:pt x="695" y="753"/>
                  </a:lnTo>
                  <a:lnTo>
                    <a:pt x="692" y="753"/>
                  </a:lnTo>
                  <a:lnTo>
                    <a:pt x="695" y="753"/>
                  </a:lnTo>
                  <a:lnTo>
                    <a:pt x="692" y="753"/>
                  </a:lnTo>
                  <a:lnTo>
                    <a:pt x="695" y="753"/>
                  </a:lnTo>
                  <a:lnTo>
                    <a:pt x="697" y="753"/>
                  </a:lnTo>
                  <a:lnTo>
                    <a:pt x="700" y="753"/>
                  </a:lnTo>
                  <a:lnTo>
                    <a:pt x="700" y="755"/>
                  </a:lnTo>
                  <a:lnTo>
                    <a:pt x="700" y="758"/>
                  </a:lnTo>
                  <a:lnTo>
                    <a:pt x="702" y="758"/>
                  </a:lnTo>
                  <a:lnTo>
                    <a:pt x="702" y="760"/>
                  </a:lnTo>
                  <a:lnTo>
                    <a:pt x="704" y="760"/>
                  </a:lnTo>
                  <a:lnTo>
                    <a:pt x="707" y="760"/>
                  </a:lnTo>
                  <a:lnTo>
                    <a:pt x="704" y="760"/>
                  </a:lnTo>
                  <a:lnTo>
                    <a:pt x="704" y="758"/>
                  </a:lnTo>
                  <a:lnTo>
                    <a:pt x="707" y="758"/>
                  </a:lnTo>
                  <a:lnTo>
                    <a:pt x="707" y="760"/>
                  </a:lnTo>
                  <a:lnTo>
                    <a:pt x="709" y="760"/>
                  </a:lnTo>
                  <a:lnTo>
                    <a:pt x="711" y="760"/>
                  </a:lnTo>
                  <a:lnTo>
                    <a:pt x="714" y="760"/>
                  </a:lnTo>
                  <a:lnTo>
                    <a:pt x="714" y="762"/>
                  </a:lnTo>
                  <a:lnTo>
                    <a:pt x="714" y="760"/>
                  </a:lnTo>
                  <a:lnTo>
                    <a:pt x="711" y="760"/>
                  </a:lnTo>
                  <a:lnTo>
                    <a:pt x="714" y="760"/>
                  </a:lnTo>
                  <a:lnTo>
                    <a:pt x="716" y="760"/>
                  </a:lnTo>
                  <a:lnTo>
                    <a:pt x="719" y="760"/>
                  </a:lnTo>
                  <a:lnTo>
                    <a:pt x="716" y="760"/>
                  </a:lnTo>
                  <a:lnTo>
                    <a:pt x="719" y="760"/>
                  </a:lnTo>
                  <a:lnTo>
                    <a:pt x="721" y="760"/>
                  </a:lnTo>
                  <a:lnTo>
                    <a:pt x="721" y="762"/>
                  </a:lnTo>
                  <a:lnTo>
                    <a:pt x="723" y="762"/>
                  </a:lnTo>
                  <a:lnTo>
                    <a:pt x="723" y="765"/>
                  </a:lnTo>
                  <a:lnTo>
                    <a:pt x="726" y="765"/>
                  </a:lnTo>
                  <a:lnTo>
                    <a:pt x="728" y="767"/>
                  </a:lnTo>
                  <a:lnTo>
                    <a:pt x="726" y="767"/>
                  </a:lnTo>
                  <a:lnTo>
                    <a:pt x="728" y="767"/>
                  </a:lnTo>
                  <a:lnTo>
                    <a:pt x="728" y="769"/>
                  </a:lnTo>
                  <a:lnTo>
                    <a:pt x="728" y="767"/>
                  </a:lnTo>
                  <a:lnTo>
                    <a:pt x="726" y="767"/>
                  </a:lnTo>
                  <a:lnTo>
                    <a:pt x="728" y="767"/>
                  </a:lnTo>
                  <a:lnTo>
                    <a:pt x="730" y="767"/>
                  </a:lnTo>
                  <a:lnTo>
                    <a:pt x="733" y="767"/>
                  </a:lnTo>
                  <a:lnTo>
                    <a:pt x="735" y="767"/>
                  </a:lnTo>
                  <a:lnTo>
                    <a:pt x="735" y="769"/>
                  </a:lnTo>
                  <a:lnTo>
                    <a:pt x="733" y="772"/>
                  </a:lnTo>
                  <a:lnTo>
                    <a:pt x="730" y="772"/>
                  </a:lnTo>
                  <a:lnTo>
                    <a:pt x="728" y="772"/>
                  </a:lnTo>
                  <a:lnTo>
                    <a:pt x="728" y="774"/>
                  </a:lnTo>
                  <a:lnTo>
                    <a:pt x="728" y="777"/>
                  </a:lnTo>
                  <a:lnTo>
                    <a:pt x="730" y="777"/>
                  </a:lnTo>
                  <a:lnTo>
                    <a:pt x="730" y="779"/>
                  </a:lnTo>
                  <a:lnTo>
                    <a:pt x="728" y="781"/>
                  </a:lnTo>
                  <a:lnTo>
                    <a:pt x="728" y="784"/>
                  </a:lnTo>
                  <a:lnTo>
                    <a:pt x="726" y="784"/>
                  </a:lnTo>
                  <a:lnTo>
                    <a:pt x="726" y="786"/>
                  </a:lnTo>
                  <a:lnTo>
                    <a:pt x="723" y="788"/>
                  </a:lnTo>
                  <a:lnTo>
                    <a:pt x="721" y="788"/>
                  </a:lnTo>
                  <a:lnTo>
                    <a:pt x="721" y="791"/>
                  </a:lnTo>
                  <a:lnTo>
                    <a:pt x="719" y="791"/>
                  </a:lnTo>
                  <a:lnTo>
                    <a:pt x="719" y="793"/>
                  </a:lnTo>
                  <a:lnTo>
                    <a:pt x="721" y="796"/>
                  </a:lnTo>
                  <a:lnTo>
                    <a:pt x="721" y="798"/>
                  </a:lnTo>
                  <a:lnTo>
                    <a:pt x="723" y="798"/>
                  </a:lnTo>
                  <a:lnTo>
                    <a:pt x="726" y="798"/>
                  </a:lnTo>
                  <a:lnTo>
                    <a:pt x="728" y="798"/>
                  </a:lnTo>
                  <a:lnTo>
                    <a:pt x="730" y="798"/>
                  </a:lnTo>
                  <a:lnTo>
                    <a:pt x="730" y="800"/>
                  </a:lnTo>
                  <a:lnTo>
                    <a:pt x="733" y="800"/>
                  </a:lnTo>
                  <a:lnTo>
                    <a:pt x="733" y="803"/>
                  </a:lnTo>
                  <a:lnTo>
                    <a:pt x="735" y="803"/>
                  </a:lnTo>
                  <a:lnTo>
                    <a:pt x="735" y="805"/>
                  </a:lnTo>
                  <a:lnTo>
                    <a:pt x="733" y="805"/>
                  </a:lnTo>
                  <a:lnTo>
                    <a:pt x="733" y="807"/>
                  </a:lnTo>
                  <a:lnTo>
                    <a:pt x="730" y="807"/>
                  </a:lnTo>
                  <a:lnTo>
                    <a:pt x="728" y="807"/>
                  </a:lnTo>
                  <a:lnTo>
                    <a:pt x="730" y="807"/>
                  </a:lnTo>
                  <a:lnTo>
                    <a:pt x="728" y="807"/>
                  </a:lnTo>
                  <a:lnTo>
                    <a:pt x="726" y="807"/>
                  </a:lnTo>
                  <a:lnTo>
                    <a:pt x="723" y="807"/>
                  </a:lnTo>
                  <a:lnTo>
                    <a:pt x="726" y="807"/>
                  </a:lnTo>
                  <a:lnTo>
                    <a:pt x="728" y="807"/>
                  </a:lnTo>
                  <a:lnTo>
                    <a:pt x="730" y="807"/>
                  </a:lnTo>
                  <a:lnTo>
                    <a:pt x="728" y="807"/>
                  </a:lnTo>
                  <a:lnTo>
                    <a:pt x="730" y="807"/>
                  </a:lnTo>
                  <a:lnTo>
                    <a:pt x="728" y="810"/>
                  </a:lnTo>
                  <a:lnTo>
                    <a:pt x="728" y="807"/>
                  </a:lnTo>
                  <a:lnTo>
                    <a:pt x="728" y="810"/>
                  </a:lnTo>
                  <a:lnTo>
                    <a:pt x="728" y="807"/>
                  </a:lnTo>
                  <a:lnTo>
                    <a:pt x="730" y="807"/>
                  </a:lnTo>
                  <a:lnTo>
                    <a:pt x="733" y="807"/>
                  </a:lnTo>
                  <a:lnTo>
                    <a:pt x="733" y="805"/>
                  </a:lnTo>
                  <a:lnTo>
                    <a:pt x="735" y="805"/>
                  </a:lnTo>
                  <a:lnTo>
                    <a:pt x="733" y="805"/>
                  </a:lnTo>
                  <a:lnTo>
                    <a:pt x="733" y="807"/>
                  </a:lnTo>
                  <a:lnTo>
                    <a:pt x="733" y="810"/>
                  </a:lnTo>
                  <a:lnTo>
                    <a:pt x="733" y="812"/>
                  </a:lnTo>
                  <a:lnTo>
                    <a:pt x="735" y="812"/>
                  </a:lnTo>
                  <a:lnTo>
                    <a:pt x="733" y="812"/>
                  </a:lnTo>
                  <a:lnTo>
                    <a:pt x="735" y="812"/>
                  </a:lnTo>
                  <a:lnTo>
                    <a:pt x="735" y="815"/>
                  </a:lnTo>
                  <a:lnTo>
                    <a:pt x="737" y="815"/>
                  </a:lnTo>
                  <a:lnTo>
                    <a:pt x="737" y="817"/>
                  </a:lnTo>
                  <a:lnTo>
                    <a:pt x="737" y="815"/>
                  </a:lnTo>
                  <a:lnTo>
                    <a:pt x="740" y="817"/>
                  </a:lnTo>
                  <a:lnTo>
                    <a:pt x="737" y="815"/>
                  </a:lnTo>
                  <a:lnTo>
                    <a:pt x="740" y="817"/>
                  </a:lnTo>
                  <a:lnTo>
                    <a:pt x="740" y="819"/>
                  </a:lnTo>
                  <a:lnTo>
                    <a:pt x="737" y="819"/>
                  </a:lnTo>
                  <a:lnTo>
                    <a:pt x="737" y="822"/>
                  </a:lnTo>
                  <a:lnTo>
                    <a:pt x="737" y="824"/>
                  </a:lnTo>
                  <a:lnTo>
                    <a:pt x="740" y="824"/>
                  </a:lnTo>
                  <a:lnTo>
                    <a:pt x="737" y="826"/>
                  </a:lnTo>
                  <a:lnTo>
                    <a:pt x="740" y="829"/>
                  </a:lnTo>
                  <a:lnTo>
                    <a:pt x="740" y="831"/>
                  </a:lnTo>
                  <a:lnTo>
                    <a:pt x="737" y="831"/>
                  </a:lnTo>
                  <a:lnTo>
                    <a:pt x="737" y="829"/>
                  </a:lnTo>
                  <a:lnTo>
                    <a:pt x="737" y="831"/>
                  </a:lnTo>
                  <a:lnTo>
                    <a:pt x="740" y="831"/>
                  </a:lnTo>
                  <a:lnTo>
                    <a:pt x="740" y="829"/>
                  </a:lnTo>
                  <a:lnTo>
                    <a:pt x="740" y="831"/>
                  </a:lnTo>
                  <a:lnTo>
                    <a:pt x="740" y="829"/>
                  </a:lnTo>
                  <a:lnTo>
                    <a:pt x="742" y="831"/>
                  </a:lnTo>
                  <a:lnTo>
                    <a:pt x="745" y="831"/>
                  </a:lnTo>
                  <a:lnTo>
                    <a:pt x="747" y="831"/>
                  </a:lnTo>
                  <a:lnTo>
                    <a:pt x="749" y="831"/>
                  </a:lnTo>
                  <a:lnTo>
                    <a:pt x="749" y="834"/>
                  </a:lnTo>
                  <a:lnTo>
                    <a:pt x="747" y="834"/>
                  </a:lnTo>
                  <a:lnTo>
                    <a:pt x="749" y="834"/>
                  </a:lnTo>
                  <a:lnTo>
                    <a:pt x="749" y="831"/>
                  </a:lnTo>
                  <a:lnTo>
                    <a:pt x="747" y="831"/>
                  </a:lnTo>
                  <a:lnTo>
                    <a:pt x="749" y="831"/>
                  </a:lnTo>
                  <a:lnTo>
                    <a:pt x="747" y="831"/>
                  </a:lnTo>
                  <a:lnTo>
                    <a:pt x="749" y="831"/>
                  </a:lnTo>
                  <a:lnTo>
                    <a:pt x="752" y="831"/>
                  </a:lnTo>
                  <a:lnTo>
                    <a:pt x="754" y="831"/>
                  </a:lnTo>
                  <a:lnTo>
                    <a:pt x="756" y="831"/>
                  </a:lnTo>
                  <a:lnTo>
                    <a:pt x="756" y="834"/>
                  </a:lnTo>
                  <a:lnTo>
                    <a:pt x="759" y="834"/>
                  </a:lnTo>
                  <a:lnTo>
                    <a:pt x="759" y="836"/>
                  </a:lnTo>
                  <a:lnTo>
                    <a:pt x="756" y="836"/>
                  </a:lnTo>
                  <a:lnTo>
                    <a:pt x="756" y="838"/>
                  </a:lnTo>
                  <a:lnTo>
                    <a:pt x="756" y="836"/>
                  </a:lnTo>
                  <a:lnTo>
                    <a:pt x="754" y="838"/>
                  </a:lnTo>
                  <a:lnTo>
                    <a:pt x="756" y="838"/>
                  </a:lnTo>
                  <a:lnTo>
                    <a:pt x="756" y="836"/>
                  </a:lnTo>
                  <a:lnTo>
                    <a:pt x="756" y="838"/>
                  </a:lnTo>
                  <a:lnTo>
                    <a:pt x="756" y="836"/>
                  </a:lnTo>
                  <a:lnTo>
                    <a:pt x="756" y="838"/>
                  </a:lnTo>
                  <a:lnTo>
                    <a:pt x="759" y="838"/>
                  </a:lnTo>
                  <a:lnTo>
                    <a:pt x="756" y="838"/>
                  </a:lnTo>
                  <a:lnTo>
                    <a:pt x="756" y="841"/>
                  </a:lnTo>
                  <a:lnTo>
                    <a:pt x="759" y="841"/>
                  </a:lnTo>
                  <a:lnTo>
                    <a:pt x="756" y="841"/>
                  </a:lnTo>
                  <a:lnTo>
                    <a:pt x="759" y="841"/>
                  </a:lnTo>
                  <a:lnTo>
                    <a:pt x="759" y="843"/>
                  </a:lnTo>
                  <a:lnTo>
                    <a:pt x="759" y="841"/>
                  </a:lnTo>
                  <a:lnTo>
                    <a:pt x="756" y="841"/>
                  </a:lnTo>
                  <a:lnTo>
                    <a:pt x="759" y="838"/>
                  </a:lnTo>
                  <a:lnTo>
                    <a:pt x="756" y="838"/>
                  </a:lnTo>
                  <a:lnTo>
                    <a:pt x="756" y="836"/>
                  </a:lnTo>
                  <a:lnTo>
                    <a:pt x="756" y="838"/>
                  </a:lnTo>
                  <a:lnTo>
                    <a:pt x="759" y="838"/>
                  </a:lnTo>
                  <a:lnTo>
                    <a:pt x="759" y="841"/>
                  </a:lnTo>
                  <a:lnTo>
                    <a:pt x="759" y="838"/>
                  </a:lnTo>
                  <a:lnTo>
                    <a:pt x="759" y="841"/>
                  </a:lnTo>
                  <a:lnTo>
                    <a:pt x="761" y="841"/>
                  </a:lnTo>
                  <a:lnTo>
                    <a:pt x="764" y="843"/>
                  </a:lnTo>
                  <a:lnTo>
                    <a:pt x="766" y="843"/>
                  </a:lnTo>
                  <a:lnTo>
                    <a:pt x="764" y="843"/>
                  </a:lnTo>
                  <a:lnTo>
                    <a:pt x="766" y="843"/>
                  </a:lnTo>
                  <a:lnTo>
                    <a:pt x="764" y="843"/>
                  </a:lnTo>
                  <a:lnTo>
                    <a:pt x="764" y="841"/>
                  </a:lnTo>
                  <a:lnTo>
                    <a:pt x="764" y="843"/>
                  </a:lnTo>
                  <a:lnTo>
                    <a:pt x="766" y="843"/>
                  </a:lnTo>
                  <a:lnTo>
                    <a:pt x="766" y="845"/>
                  </a:lnTo>
                  <a:lnTo>
                    <a:pt x="764" y="845"/>
                  </a:lnTo>
                  <a:lnTo>
                    <a:pt x="764" y="848"/>
                  </a:lnTo>
                  <a:lnTo>
                    <a:pt x="764" y="845"/>
                  </a:lnTo>
                  <a:lnTo>
                    <a:pt x="764" y="848"/>
                  </a:lnTo>
                  <a:lnTo>
                    <a:pt x="764" y="845"/>
                  </a:lnTo>
                  <a:lnTo>
                    <a:pt x="764" y="848"/>
                  </a:lnTo>
                  <a:lnTo>
                    <a:pt x="766" y="848"/>
                  </a:lnTo>
                  <a:lnTo>
                    <a:pt x="768" y="848"/>
                  </a:lnTo>
                  <a:lnTo>
                    <a:pt x="768" y="850"/>
                  </a:lnTo>
                  <a:lnTo>
                    <a:pt x="768" y="853"/>
                  </a:lnTo>
                  <a:lnTo>
                    <a:pt x="771" y="853"/>
                  </a:lnTo>
                  <a:lnTo>
                    <a:pt x="768" y="853"/>
                  </a:lnTo>
                  <a:lnTo>
                    <a:pt x="771" y="853"/>
                  </a:lnTo>
                  <a:lnTo>
                    <a:pt x="768" y="855"/>
                  </a:lnTo>
                  <a:lnTo>
                    <a:pt x="771" y="855"/>
                  </a:lnTo>
                  <a:lnTo>
                    <a:pt x="768" y="857"/>
                  </a:lnTo>
                  <a:lnTo>
                    <a:pt x="766" y="857"/>
                  </a:lnTo>
                  <a:lnTo>
                    <a:pt x="768" y="857"/>
                  </a:lnTo>
                  <a:lnTo>
                    <a:pt x="768" y="860"/>
                  </a:lnTo>
                  <a:lnTo>
                    <a:pt x="766" y="860"/>
                  </a:lnTo>
                  <a:lnTo>
                    <a:pt x="768" y="860"/>
                  </a:lnTo>
                  <a:lnTo>
                    <a:pt x="766" y="860"/>
                  </a:lnTo>
                  <a:lnTo>
                    <a:pt x="766" y="857"/>
                  </a:lnTo>
                  <a:lnTo>
                    <a:pt x="764" y="857"/>
                  </a:lnTo>
                  <a:lnTo>
                    <a:pt x="764" y="860"/>
                  </a:lnTo>
                  <a:lnTo>
                    <a:pt x="764" y="862"/>
                  </a:lnTo>
                  <a:lnTo>
                    <a:pt x="764" y="860"/>
                  </a:lnTo>
                  <a:lnTo>
                    <a:pt x="764" y="862"/>
                  </a:lnTo>
                  <a:lnTo>
                    <a:pt x="764" y="860"/>
                  </a:lnTo>
                  <a:lnTo>
                    <a:pt x="764" y="862"/>
                  </a:lnTo>
                  <a:lnTo>
                    <a:pt x="764" y="860"/>
                  </a:lnTo>
                  <a:lnTo>
                    <a:pt x="764" y="862"/>
                  </a:lnTo>
                  <a:lnTo>
                    <a:pt x="764" y="860"/>
                  </a:lnTo>
                  <a:lnTo>
                    <a:pt x="766" y="862"/>
                  </a:lnTo>
                  <a:lnTo>
                    <a:pt x="768" y="862"/>
                  </a:lnTo>
                  <a:lnTo>
                    <a:pt x="766" y="862"/>
                  </a:lnTo>
                  <a:lnTo>
                    <a:pt x="766" y="864"/>
                  </a:lnTo>
                  <a:lnTo>
                    <a:pt x="768" y="864"/>
                  </a:lnTo>
                  <a:lnTo>
                    <a:pt x="768" y="867"/>
                  </a:lnTo>
                  <a:lnTo>
                    <a:pt x="768" y="869"/>
                  </a:lnTo>
                  <a:lnTo>
                    <a:pt x="768" y="867"/>
                  </a:lnTo>
                  <a:lnTo>
                    <a:pt x="771" y="867"/>
                  </a:lnTo>
                  <a:lnTo>
                    <a:pt x="771" y="869"/>
                  </a:lnTo>
                  <a:lnTo>
                    <a:pt x="771" y="872"/>
                  </a:lnTo>
                  <a:lnTo>
                    <a:pt x="771" y="869"/>
                  </a:lnTo>
                  <a:lnTo>
                    <a:pt x="771" y="872"/>
                  </a:lnTo>
                  <a:lnTo>
                    <a:pt x="768" y="872"/>
                  </a:lnTo>
                  <a:lnTo>
                    <a:pt x="771" y="872"/>
                  </a:lnTo>
                  <a:lnTo>
                    <a:pt x="771" y="869"/>
                  </a:lnTo>
                  <a:lnTo>
                    <a:pt x="771" y="872"/>
                  </a:lnTo>
                  <a:lnTo>
                    <a:pt x="773" y="872"/>
                  </a:lnTo>
                  <a:lnTo>
                    <a:pt x="773" y="874"/>
                  </a:lnTo>
                  <a:lnTo>
                    <a:pt x="775" y="874"/>
                  </a:lnTo>
                  <a:lnTo>
                    <a:pt x="775" y="876"/>
                  </a:lnTo>
                  <a:lnTo>
                    <a:pt x="775" y="874"/>
                  </a:lnTo>
                  <a:lnTo>
                    <a:pt x="773" y="874"/>
                  </a:lnTo>
                  <a:lnTo>
                    <a:pt x="775" y="874"/>
                  </a:lnTo>
                  <a:lnTo>
                    <a:pt x="775" y="876"/>
                  </a:lnTo>
                  <a:lnTo>
                    <a:pt x="773" y="876"/>
                  </a:lnTo>
                  <a:lnTo>
                    <a:pt x="775" y="876"/>
                  </a:lnTo>
                  <a:lnTo>
                    <a:pt x="773" y="876"/>
                  </a:lnTo>
                  <a:lnTo>
                    <a:pt x="771" y="876"/>
                  </a:lnTo>
                  <a:lnTo>
                    <a:pt x="773" y="876"/>
                  </a:lnTo>
                  <a:lnTo>
                    <a:pt x="771" y="876"/>
                  </a:lnTo>
                  <a:lnTo>
                    <a:pt x="768" y="874"/>
                  </a:lnTo>
                  <a:lnTo>
                    <a:pt x="766" y="874"/>
                  </a:lnTo>
                  <a:lnTo>
                    <a:pt x="766" y="876"/>
                  </a:lnTo>
                  <a:lnTo>
                    <a:pt x="768" y="876"/>
                  </a:lnTo>
                  <a:lnTo>
                    <a:pt x="768" y="879"/>
                  </a:lnTo>
                  <a:lnTo>
                    <a:pt x="771" y="879"/>
                  </a:lnTo>
                  <a:lnTo>
                    <a:pt x="771" y="881"/>
                  </a:lnTo>
                  <a:lnTo>
                    <a:pt x="768" y="881"/>
                  </a:lnTo>
                  <a:lnTo>
                    <a:pt x="766" y="881"/>
                  </a:lnTo>
                  <a:lnTo>
                    <a:pt x="764" y="881"/>
                  </a:lnTo>
                  <a:lnTo>
                    <a:pt x="764" y="883"/>
                  </a:lnTo>
                  <a:lnTo>
                    <a:pt x="766" y="883"/>
                  </a:lnTo>
                  <a:lnTo>
                    <a:pt x="768" y="883"/>
                  </a:lnTo>
                  <a:lnTo>
                    <a:pt x="766" y="883"/>
                  </a:lnTo>
                  <a:lnTo>
                    <a:pt x="768" y="883"/>
                  </a:lnTo>
                  <a:lnTo>
                    <a:pt x="766" y="883"/>
                  </a:lnTo>
                  <a:lnTo>
                    <a:pt x="766" y="881"/>
                  </a:lnTo>
                  <a:lnTo>
                    <a:pt x="768" y="883"/>
                  </a:lnTo>
                  <a:lnTo>
                    <a:pt x="768" y="886"/>
                  </a:lnTo>
                  <a:lnTo>
                    <a:pt x="766" y="886"/>
                  </a:lnTo>
                  <a:lnTo>
                    <a:pt x="766" y="883"/>
                  </a:lnTo>
                  <a:lnTo>
                    <a:pt x="764" y="886"/>
                  </a:lnTo>
                  <a:lnTo>
                    <a:pt x="766" y="883"/>
                  </a:lnTo>
                  <a:lnTo>
                    <a:pt x="766" y="886"/>
                  </a:lnTo>
                  <a:lnTo>
                    <a:pt x="764" y="886"/>
                  </a:lnTo>
                  <a:lnTo>
                    <a:pt x="766" y="886"/>
                  </a:lnTo>
                  <a:lnTo>
                    <a:pt x="764" y="886"/>
                  </a:lnTo>
                  <a:lnTo>
                    <a:pt x="766" y="886"/>
                  </a:lnTo>
                  <a:lnTo>
                    <a:pt x="764" y="886"/>
                  </a:lnTo>
                  <a:lnTo>
                    <a:pt x="764" y="888"/>
                  </a:lnTo>
                  <a:lnTo>
                    <a:pt x="764" y="891"/>
                  </a:lnTo>
                  <a:lnTo>
                    <a:pt x="761" y="891"/>
                  </a:lnTo>
                  <a:lnTo>
                    <a:pt x="761" y="893"/>
                  </a:lnTo>
                  <a:lnTo>
                    <a:pt x="759" y="893"/>
                  </a:lnTo>
                  <a:lnTo>
                    <a:pt x="759" y="895"/>
                  </a:lnTo>
                  <a:lnTo>
                    <a:pt x="759" y="898"/>
                  </a:lnTo>
                  <a:lnTo>
                    <a:pt x="759" y="900"/>
                  </a:lnTo>
                  <a:lnTo>
                    <a:pt x="756" y="900"/>
                  </a:lnTo>
                  <a:lnTo>
                    <a:pt x="756" y="902"/>
                  </a:lnTo>
                  <a:lnTo>
                    <a:pt x="756" y="905"/>
                  </a:lnTo>
                  <a:lnTo>
                    <a:pt x="756" y="902"/>
                  </a:lnTo>
                  <a:lnTo>
                    <a:pt x="756" y="905"/>
                  </a:lnTo>
                  <a:lnTo>
                    <a:pt x="756" y="902"/>
                  </a:lnTo>
                  <a:lnTo>
                    <a:pt x="756" y="905"/>
                  </a:lnTo>
                  <a:lnTo>
                    <a:pt x="759" y="905"/>
                  </a:lnTo>
                  <a:lnTo>
                    <a:pt x="756" y="905"/>
                  </a:lnTo>
                  <a:lnTo>
                    <a:pt x="756" y="907"/>
                  </a:lnTo>
                  <a:lnTo>
                    <a:pt x="756" y="905"/>
                  </a:lnTo>
                  <a:lnTo>
                    <a:pt x="754" y="905"/>
                  </a:lnTo>
                  <a:lnTo>
                    <a:pt x="754" y="907"/>
                  </a:lnTo>
                  <a:lnTo>
                    <a:pt x="754" y="905"/>
                  </a:lnTo>
                  <a:lnTo>
                    <a:pt x="754" y="907"/>
                  </a:lnTo>
                  <a:lnTo>
                    <a:pt x="754" y="905"/>
                  </a:lnTo>
                  <a:lnTo>
                    <a:pt x="754" y="907"/>
                  </a:lnTo>
                  <a:lnTo>
                    <a:pt x="756" y="907"/>
                  </a:lnTo>
                  <a:lnTo>
                    <a:pt x="754" y="907"/>
                  </a:lnTo>
                  <a:lnTo>
                    <a:pt x="754" y="905"/>
                  </a:lnTo>
                  <a:lnTo>
                    <a:pt x="756" y="905"/>
                  </a:lnTo>
                  <a:lnTo>
                    <a:pt x="756" y="907"/>
                  </a:lnTo>
                  <a:lnTo>
                    <a:pt x="759" y="907"/>
                  </a:lnTo>
                  <a:lnTo>
                    <a:pt x="759" y="910"/>
                  </a:lnTo>
                  <a:lnTo>
                    <a:pt x="761" y="910"/>
                  </a:lnTo>
                  <a:lnTo>
                    <a:pt x="759" y="910"/>
                  </a:lnTo>
                  <a:lnTo>
                    <a:pt x="759" y="912"/>
                  </a:lnTo>
                  <a:lnTo>
                    <a:pt x="759" y="910"/>
                  </a:lnTo>
                  <a:lnTo>
                    <a:pt x="759" y="912"/>
                  </a:lnTo>
                  <a:lnTo>
                    <a:pt x="759" y="910"/>
                  </a:lnTo>
                  <a:lnTo>
                    <a:pt x="756" y="910"/>
                  </a:lnTo>
                  <a:lnTo>
                    <a:pt x="756" y="912"/>
                  </a:lnTo>
                  <a:lnTo>
                    <a:pt x="756" y="910"/>
                  </a:lnTo>
                  <a:lnTo>
                    <a:pt x="754" y="910"/>
                  </a:lnTo>
                  <a:lnTo>
                    <a:pt x="756" y="912"/>
                  </a:lnTo>
                  <a:lnTo>
                    <a:pt x="754" y="910"/>
                  </a:lnTo>
                  <a:lnTo>
                    <a:pt x="756" y="910"/>
                  </a:lnTo>
                  <a:lnTo>
                    <a:pt x="756" y="912"/>
                  </a:lnTo>
                  <a:lnTo>
                    <a:pt x="759" y="912"/>
                  </a:lnTo>
                  <a:lnTo>
                    <a:pt x="759" y="914"/>
                  </a:lnTo>
                  <a:lnTo>
                    <a:pt x="759" y="912"/>
                  </a:lnTo>
                  <a:lnTo>
                    <a:pt x="759" y="914"/>
                  </a:lnTo>
                  <a:lnTo>
                    <a:pt x="756" y="914"/>
                  </a:lnTo>
                  <a:lnTo>
                    <a:pt x="754" y="917"/>
                  </a:lnTo>
                  <a:lnTo>
                    <a:pt x="752" y="917"/>
                  </a:lnTo>
                  <a:lnTo>
                    <a:pt x="752" y="919"/>
                  </a:lnTo>
                  <a:lnTo>
                    <a:pt x="754" y="919"/>
                  </a:lnTo>
                  <a:lnTo>
                    <a:pt x="754" y="921"/>
                  </a:lnTo>
                  <a:lnTo>
                    <a:pt x="756" y="921"/>
                  </a:lnTo>
                  <a:lnTo>
                    <a:pt x="754" y="921"/>
                  </a:lnTo>
                  <a:lnTo>
                    <a:pt x="754" y="924"/>
                  </a:lnTo>
                  <a:lnTo>
                    <a:pt x="754" y="921"/>
                  </a:lnTo>
                  <a:lnTo>
                    <a:pt x="752" y="921"/>
                  </a:lnTo>
                  <a:lnTo>
                    <a:pt x="752" y="924"/>
                  </a:lnTo>
                  <a:lnTo>
                    <a:pt x="754" y="924"/>
                  </a:lnTo>
                  <a:lnTo>
                    <a:pt x="752" y="924"/>
                  </a:lnTo>
                  <a:lnTo>
                    <a:pt x="752" y="926"/>
                  </a:lnTo>
                  <a:lnTo>
                    <a:pt x="752" y="929"/>
                  </a:lnTo>
                  <a:lnTo>
                    <a:pt x="749" y="931"/>
                  </a:lnTo>
                  <a:lnTo>
                    <a:pt x="752" y="931"/>
                  </a:lnTo>
                  <a:lnTo>
                    <a:pt x="752" y="933"/>
                  </a:lnTo>
                  <a:lnTo>
                    <a:pt x="749" y="933"/>
                  </a:lnTo>
                  <a:lnTo>
                    <a:pt x="747" y="933"/>
                  </a:lnTo>
                  <a:lnTo>
                    <a:pt x="745" y="933"/>
                  </a:lnTo>
                  <a:lnTo>
                    <a:pt x="745" y="936"/>
                  </a:lnTo>
                  <a:lnTo>
                    <a:pt x="742" y="936"/>
                  </a:lnTo>
                  <a:lnTo>
                    <a:pt x="742" y="938"/>
                  </a:lnTo>
                  <a:lnTo>
                    <a:pt x="740" y="938"/>
                  </a:lnTo>
                  <a:lnTo>
                    <a:pt x="737" y="938"/>
                  </a:lnTo>
                  <a:lnTo>
                    <a:pt x="737" y="936"/>
                  </a:lnTo>
                  <a:lnTo>
                    <a:pt x="737" y="933"/>
                  </a:lnTo>
                  <a:lnTo>
                    <a:pt x="737" y="936"/>
                  </a:lnTo>
                  <a:lnTo>
                    <a:pt x="737" y="938"/>
                  </a:lnTo>
                  <a:lnTo>
                    <a:pt x="740" y="938"/>
                  </a:lnTo>
                  <a:lnTo>
                    <a:pt x="742" y="938"/>
                  </a:lnTo>
                  <a:lnTo>
                    <a:pt x="742" y="940"/>
                  </a:lnTo>
                  <a:lnTo>
                    <a:pt x="745" y="940"/>
                  </a:lnTo>
                  <a:lnTo>
                    <a:pt x="745" y="943"/>
                  </a:lnTo>
                  <a:lnTo>
                    <a:pt x="742" y="943"/>
                  </a:lnTo>
                  <a:lnTo>
                    <a:pt x="745" y="943"/>
                  </a:lnTo>
                  <a:lnTo>
                    <a:pt x="745" y="945"/>
                  </a:lnTo>
                  <a:lnTo>
                    <a:pt x="745" y="943"/>
                  </a:lnTo>
                  <a:lnTo>
                    <a:pt x="745" y="945"/>
                  </a:lnTo>
                  <a:lnTo>
                    <a:pt x="742" y="945"/>
                  </a:lnTo>
                  <a:lnTo>
                    <a:pt x="745" y="945"/>
                  </a:lnTo>
                  <a:lnTo>
                    <a:pt x="745" y="943"/>
                  </a:lnTo>
                  <a:lnTo>
                    <a:pt x="742" y="943"/>
                  </a:lnTo>
                  <a:lnTo>
                    <a:pt x="745" y="943"/>
                  </a:lnTo>
                  <a:lnTo>
                    <a:pt x="745" y="940"/>
                  </a:lnTo>
                  <a:lnTo>
                    <a:pt x="742" y="940"/>
                  </a:lnTo>
                  <a:lnTo>
                    <a:pt x="742" y="938"/>
                  </a:lnTo>
                  <a:lnTo>
                    <a:pt x="745" y="938"/>
                  </a:lnTo>
                  <a:lnTo>
                    <a:pt x="742" y="936"/>
                  </a:lnTo>
                  <a:lnTo>
                    <a:pt x="745" y="936"/>
                  </a:lnTo>
                  <a:lnTo>
                    <a:pt x="745" y="933"/>
                  </a:lnTo>
                  <a:lnTo>
                    <a:pt x="747" y="933"/>
                  </a:lnTo>
                  <a:lnTo>
                    <a:pt x="749" y="933"/>
                  </a:lnTo>
                  <a:lnTo>
                    <a:pt x="752" y="933"/>
                  </a:lnTo>
                  <a:lnTo>
                    <a:pt x="752" y="931"/>
                  </a:lnTo>
                  <a:lnTo>
                    <a:pt x="749" y="931"/>
                  </a:lnTo>
                  <a:lnTo>
                    <a:pt x="752" y="931"/>
                  </a:lnTo>
                  <a:lnTo>
                    <a:pt x="752" y="929"/>
                  </a:lnTo>
                  <a:lnTo>
                    <a:pt x="752" y="926"/>
                  </a:lnTo>
                  <a:lnTo>
                    <a:pt x="752" y="924"/>
                  </a:lnTo>
                  <a:lnTo>
                    <a:pt x="752" y="926"/>
                  </a:lnTo>
                  <a:lnTo>
                    <a:pt x="752" y="924"/>
                  </a:lnTo>
                  <a:lnTo>
                    <a:pt x="754" y="924"/>
                  </a:lnTo>
                  <a:lnTo>
                    <a:pt x="752" y="924"/>
                  </a:lnTo>
                  <a:lnTo>
                    <a:pt x="752" y="921"/>
                  </a:lnTo>
                  <a:lnTo>
                    <a:pt x="754" y="921"/>
                  </a:lnTo>
                  <a:lnTo>
                    <a:pt x="754" y="924"/>
                  </a:lnTo>
                  <a:lnTo>
                    <a:pt x="756" y="921"/>
                  </a:lnTo>
                  <a:lnTo>
                    <a:pt x="754" y="921"/>
                  </a:lnTo>
                  <a:lnTo>
                    <a:pt x="754" y="919"/>
                  </a:lnTo>
                  <a:lnTo>
                    <a:pt x="752" y="919"/>
                  </a:lnTo>
                  <a:lnTo>
                    <a:pt x="752" y="917"/>
                  </a:lnTo>
                  <a:lnTo>
                    <a:pt x="754" y="917"/>
                  </a:lnTo>
                  <a:lnTo>
                    <a:pt x="756" y="917"/>
                  </a:lnTo>
                  <a:lnTo>
                    <a:pt x="756" y="914"/>
                  </a:lnTo>
                  <a:lnTo>
                    <a:pt x="756" y="917"/>
                  </a:lnTo>
                  <a:lnTo>
                    <a:pt x="756" y="914"/>
                  </a:lnTo>
                  <a:lnTo>
                    <a:pt x="759" y="914"/>
                  </a:lnTo>
                  <a:lnTo>
                    <a:pt x="759" y="917"/>
                  </a:lnTo>
                  <a:lnTo>
                    <a:pt x="756" y="917"/>
                  </a:lnTo>
                  <a:lnTo>
                    <a:pt x="756" y="919"/>
                  </a:lnTo>
                  <a:lnTo>
                    <a:pt x="759" y="919"/>
                  </a:lnTo>
                  <a:lnTo>
                    <a:pt x="756" y="919"/>
                  </a:lnTo>
                  <a:lnTo>
                    <a:pt x="756" y="921"/>
                  </a:lnTo>
                  <a:lnTo>
                    <a:pt x="756" y="924"/>
                  </a:lnTo>
                  <a:lnTo>
                    <a:pt x="756" y="926"/>
                  </a:lnTo>
                  <a:lnTo>
                    <a:pt x="756" y="929"/>
                  </a:lnTo>
                  <a:lnTo>
                    <a:pt x="759" y="929"/>
                  </a:lnTo>
                  <a:lnTo>
                    <a:pt x="756" y="929"/>
                  </a:lnTo>
                  <a:lnTo>
                    <a:pt x="756" y="926"/>
                  </a:lnTo>
                  <a:lnTo>
                    <a:pt x="756" y="924"/>
                  </a:lnTo>
                  <a:lnTo>
                    <a:pt x="756" y="921"/>
                  </a:lnTo>
                  <a:lnTo>
                    <a:pt x="756" y="919"/>
                  </a:lnTo>
                  <a:lnTo>
                    <a:pt x="759" y="919"/>
                  </a:lnTo>
                  <a:lnTo>
                    <a:pt x="761" y="919"/>
                  </a:lnTo>
                  <a:lnTo>
                    <a:pt x="761" y="921"/>
                  </a:lnTo>
                  <a:lnTo>
                    <a:pt x="764" y="921"/>
                  </a:lnTo>
                  <a:lnTo>
                    <a:pt x="764" y="924"/>
                  </a:lnTo>
                  <a:lnTo>
                    <a:pt x="764" y="926"/>
                  </a:lnTo>
                  <a:lnTo>
                    <a:pt x="766" y="926"/>
                  </a:lnTo>
                  <a:lnTo>
                    <a:pt x="766" y="929"/>
                  </a:lnTo>
                  <a:lnTo>
                    <a:pt x="766" y="931"/>
                  </a:lnTo>
                  <a:lnTo>
                    <a:pt x="768" y="931"/>
                  </a:lnTo>
                  <a:lnTo>
                    <a:pt x="766" y="929"/>
                  </a:lnTo>
                  <a:lnTo>
                    <a:pt x="766" y="926"/>
                  </a:lnTo>
                  <a:lnTo>
                    <a:pt x="764" y="926"/>
                  </a:lnTo>
                  <a:lnTo>
                    <a:pt x="764" y="924"/>
                  </a:lnTo>
                  <a:lnTo>
                    <a:pt x="764" y="921"/>
                  </a:lnTo>
                  <a:lnTo>
                    <a:pt x="761" y="921"/>
                  </a:lnTo>
                  <a:lnTo>
                    <a:pt x="761" y="919"/>
                  </a:lnTo>
                  <a:lnTo>
                    <a:pt x="759" y="919"/>
                  </a:lnTo>
                  <a:lnTo>
                    <a:pt x="756" y="919"/>
                  </a:lnTo>
                  <a:lnTo>
                    <a:pt x="756" y="917"/>
                  </a:lnTo>
                  <a:lnTo>
                    <a:pt x="759" y="917"/>
                  </a:lnTo>
                  <a:lnTo>
                    <a:pt x="759" y="914"/>
                  </a:lnTo>
                  <a:lnTo>
                    <a:pt x="759" y="912"/>
                  </a:lnTo>
                  <a:lnTo>
                    <a:pt x="756" y="912"/>
                  </a:lnTo>
                  <a:lnTo>
                    <a:pt x="756" y="910"/>
                  </a:lnTo>
                  <a:lnTo>
                    <a:pt x="759" y="912"/>
                  </a:lnTo>
                  <a:lnTo>
                    <a:pt x="759" y="910"/>
                  </a:lnTo>
                  <a:lnTo>
                    <a:pt x="761" y="910"/>
                  </a:lnTo>
                  <a:lnTo>
                    <a:pt x="761" y="912"/>
                  </a:lnTo>
                  <a:lnTo>
                    <a:pt x="761" y="910"/>
                  </a:lnTo>
                  <a:lnTo>
                    <a:pt x="761" y="912"/>
                  </a:lnTo>
                  <a:lnTo>
                    <a:pt x="761" y="910"/>
                  </a:lnTo>
                  <a:lnTo>
                    <a:pt x="759" y="910"/>
                  </a:lnTo>
                  <a:lnTo>
                    <a:pt x="759" y="907"/>
                  </a:lnTo>
                  <a:lnTo>
                    <a:pt x="756" y="907"/>
                  </a:lnTo>
                  <a:lnTo>
                    <a:pt x="756" y="905"/>
                  </a:lnTo>
                  <a:lnTo>
                    <a:pt x="756" y="907"/>
                  </a:lnTo>
                  <a:lnTo>
                    <a:pt x="756" y="905"/>
                  </a:lnTo>
                  <a:lnTo>
                    <a:pt x="759" y="905"/>
                  </a:lnTo>
                  <a:lnTo>
                    <a:pt x="759" y="907"/>
                  </a:lnTo>
                  <a:lnTo>
                    <a:pt x="759" y="905"/>
                  </a:lnTo>
                  <a:lnTo>
                    <a:pt x="756" y="905"/>
                  </a:lnTo>
                  <a:lnTo>
                    <a:pt x="756" y="902"/>
                  </a:lnTo>
                  <a:lnTo>
                    <a:pt x="756" y="900"/>
                  </a:lnTo>
                  <a:lnTo>
                    <a:pt x="759" y="900"/>
                  </a:lnTo>
                  <a:lnTo>
                    <a:pt x="759" y="898"/>
                  </a:lnTo>
                  <a:lnTo>
                    <a:pt x="759" y="895"/>
                  </a:lnTo>
                  <a:lnTo>
                    <a:pt x="759" y="893"/>
                  </a:lnTo>
                  <a:lnTo>
                    <a:pt x="761" y="893"/>
                  </a:lnTo>
                  <a:lnTo>
                    <a:pt x="761" y="891"/>
                  </a:lnTo>
                  <a:lnTo>
                    <a:pt x="764" y="891"/>
                  </a:lnTo>
                  <a:lnTo>
                    <a:pt x="764" y="888"/>
                  </a:lnTo>
                  <a:lnTo>
                    <a:pt x="766" y="886"/>
                  </a:lnTo>
                  <a:lnTo>
                    <a:pt x="764" y="888"/>
                  </a:lnTo>
                  <a:lnTo>
                    <a:pt x="766" y="886"/>
                  </a:lnTo>
                  <a:lnTo>
                    <a:pt x="768" y="886"/>
                  </a:lnTo>
                  <a:lnTo>
                    <a:pt x="768" y="883"/>
                  </a:lnTo>
                  <a:lnTo>
                    <a:pt x="768" y="886"/>
                  </a:lnTo>
                  <a:lnTo>
                    <a:pt x="766" y="886"/>
                  </a:lnTo>
                  <a:lnTo>
                    <a:pt x="768" y="886"/>
                  </a:lnTo>
                  <a:lnTo>
                    <a:pt x="766" y="886"/>
                  </a:lnTo>
                  <a:lnTo>
                    <a:pt x="768" y="886"/>
                  </a:lnTo>
                  <a:lnTo>
                    <a:pt x="768" y="883"/>
                  </a:lnTo>
                  <a:lnTo>
                    <a:pt x="768" y="881"/>
                  </a:lnTo>
                  <a:lnTo>
                    <a:pt x="766" y="881"/>
                  </a:lnTo>
                  <a:lnTo>
                    <a:pt x="768" y="881"/>
                  </a:lnTo>
                  <a:lnTo>
                    <a:pt x="771" y="881"/>
                  </a:lnTo>
                  <a:lnTo>
                    <a:pt x="771" y="879"/>
                  </a:lnTo>
                  <a:lnTo>
                    <a:pt x="768" y="876"/>
                  </a:lnTo>
                  <a:lnTo>
                    <a:pt x="768" y="874"/>
                  </a:lnTo>
                  <a:lnTo>
                    <a:pt x="768" y="876"/>
                  </a:lnTo>
                  <a:lnTo>
                    <a:pt x="768" y="874"/>
                  </a:lnTo>
                  <a:lnTo>
                    <a:pt x="768" y="876"/>
                  </a:lnTo>
                  <a:lnTo>
                    <a:pt x="768" y="874"/>
                  </a:lnTo>
                  <a:lnTo>
                    <a:pt x="768" y="876"/>
                  </a:lnTo>
                  <a:lnTo>
                    <a:pt x="771" y="876"/>
                  </a:lnTo>
                  <a:lnTo>
                    <a:pt x="773" y="876"/>
                  </a:lnTo>
                  <a:lnTo>
                    <a:pt x="775" y="876"/>
                  </a:lnTo>
                  <a:lnTo>
                    <a:pt x="775" y="874"/>
                  </a:lnTo>
                  <a:lnTo>
                    <a:pt x="773" y="874"/>
                  </a:lnTo>
                  <a:lnTo>
                    <a:pt x="773" y="872"/>
                  </a:lnTo>
                  <a:lnTo>
                    <a:pt x="773" y="874"/>
                  </a:lnTo>
                  <a:lnTo>
                    <a:pt x="773" y="872"/>
                  </a:lnTo>
                  <a:lnTo>
                    <a:pt x="773" y="874"/>
                  </a:lnTo>
                  <a:lnTo>
                    <a:pt x="773" y="872"/>
                  </a:lnTo>
                  <a:lnTo>
                    <a:pt x="773" y="869"/>
                  </a:lnTo>
                  <a:lnTo>
                    <a:pt x="771" y="869"/>
                  </a:lnTo>
                  <a:lnTo>
                    <a:pt x="773" y="869"/>
                  </a:lnTo>
                  <a:lnTo>
                    <a:pt x="771" y="869"/>
                  </a:lnTo>
                  <a:lnTo>
                    <a:pt x="773" y="869"/>
                  </a:lnTo>
                  <a:lnTo>
                    <a:pt x="771" y="869"/>
                  </a:lnTo>
                  <a:lnTo>
                    <a:pt x="771" y="867"/>
                  </a:lnTo>
                  <a:lnTo>
                    <a:pt x="773" y="867"/>
                  </a:lnTo>
                  <a:lnTo>
                    <a:pt x="773" y="869"/>
                  </a:lnTo>
                  <a:lnTo>
                    <a:pt x="773" y="867"/>
                  </a:lnTo>
                  <a:lnTo>
                    <a:pt x="775" y="867"/>
                  </a:lnTo>
                  <a:lnTo>
                    <a:pt x="773" y="867"/>
                  </a:lnTo>
                  <a:lnTo>
                    <a:pt x="771" y="867"/>
                  </a:lnTo>
                  <a:lnTo>
                    <a:pt x="768" y="867"/>
                  </a:lnTo>
                  <a:lnTo>
                    <a:pt x="768" y="864"/>
                  </a:lnTo>
                  <a:lnTo>
                    <a:pt x="766" y="864"/>
                  </a:lnTo>
                  <a:lnTo>
                    <a:pt x="768" y="864"/>
                  </a:lnTo>
                  <a:lnTo>
                    <a:pt x="768" y="862"/>
                  </a:lnTo>
                  <a:lnTo>
                    <a:pt x="768" y="864"/>
                  </a:lnTo>
                  <a:lnTo>
                    <a:pt x="768" y="862"/>
                  </a:lnTo>
                  <a:lnTo>
                    <a:pt x="766" y="862"/>
                  </a:lnTo>
                  <a:lnTo>
                    <a:pt x="766" y="860"/>
                  </a:lnTo>
                  <a:lnTo>
                    <a:pt x="764" y="860"/>
                  </a:lnTo>
                  <a:lnTo>
                    <a:pt x="766" y="860"/>
                  </a:lnTo>
                  <a:lnTo>
                    <a:pt x="766" y="857"/>
                  </a:lnTo>
                  <a:lnTo>
                    <a:pt x="766" y="860"/>
                  </a:lnTo>
                  <a:lnTo>
                    <a:pt x="766" y="857"/>
                  </a:lnTo>
                  <a:lnTo>
                    <a:pt x="766" y="860"/>
                  </a:lnTo>
                  <a:lnTo>
                    <a:pt x="768" y="860"/>
                  </a:lnTo>
                  <a:lnTo>
                    <a:pt x="768" y="857"/>
                  </a:lnTo>
                  <a:lnTo>
                    <a:pt x="771" y="857"/>
                  </a:lnTo>
                  <a:lnTo>
                    <a:pt x="771" y="855"/>
                  </a:lnTo>
                  <a:lnTo>
                    <a:pt x="768" y="855"/>
                  </a:lnTo>
                  <a:lnTo>
                    <a:pt x="771" y="853"/>
                  </a:lnTo>
                  <a:lnTo>
                    <a:pt x="768" y="853"/>
                  </a:lnTo>
                  <a:lnTo>
                    <a:pt x="768" y="850"/>
                  </a:lnTo>
                  <a:lnTo>
                    <a:pt x="768" y="848"/>
                  </a:lnTo>
                  <a:lnTo>
                    <a:pt x="766" y="848"/>
                  </a:lnTo>
                  <a:lnTo>
                    <a:pt x="766" y="845"/>
                  </a:lnTo>
                  <a:lnTo>
                    <a:pt x="768" y="845"/>
                  </a:lnTo>
                  <a:lnTo>
                    <a:pt x="766" y="845"/>
                  </a:lnTo>
                  <a:lnTo>
                    <a:pt x="768" y="845"/>
                  </a:lnTo>
                  <a:lnTo>
                    <a:pt x="766" y="845"/>
                  </a:lnTo>
                  <a:lnTo>
                    <a:pt x="768" y="845"/>
                  </a:lnTo>
                  <a:lnTo>
                    <a:pt x="771" y="845"/>
                  </a:lnTo>
                  <a:lnTo>
                    <a:pt x="768" y="845"/>
                  </a:lnTo>
                  <a:lnTo>
                    <a:pt x="771" y="845"/>
                  </a:lnTo>
                  <a:lnTo>
                    <a:pt x="773" y="845"/>
                  </a:lnTo>
                  <a:lnTo>
                    <a:pt x="773" y="848"/>
                  </a:lnTo>
                  <a:lnTo>
                    <a:pt x="775" y="848"/>
                  </a:lnTo>
                  <a:lnTo>
                    <a:pt x="778" y="848"/>
                  </a:lnTo>
                  <a:lnTo>
                    <a:pt x="778" y="850"/>
                  </a:lnTo>
                  <a:lnTo>
                    <a:pt x="780" y="850"/>
                  </a:lnTo>
                  <a:lnTo>
                    <a:pt x="780" y="853"/>
                  </a:lnTo>
                  <a:lnTo>
                    <a:pt x="780" y="850"/>
                  </a:lnTo>
                  <a:lnTo>
                    <a:pt x="780" y="853"/>
                  </a:lnTo>
                  <a:lnTo>
                    <a:pt x="780" y="850"/>
                  </a:lnTo>
                  <a:lnTo>
                    <a:pt x="780" y="853"/>
                  </a:lnTo>
                  <a:lnTo>
                    <a:pt x="783" y="853"/>
                  </a:lnTo>
                  <a:lnTo>
                    <a:pt x="785" y="853"/>
                  </a:lnTo>
                  <a:lnTo>
                    <a:pt x="785" y="855"/>
                  </a:lnTo>
                  <a:lnTo>
                    <a:pt x="787" y="855"/>
                  </a:lnTo>
                  <a:lnTo>
                    <a:pt x="790" y="857"/>
                  </a:lnTo>
                  <a:lnTo>
                    <a:pt x="792" y="857"/>
                  </a:lnTo>
                  <a:lnTo>
                    <a:pt x="790" y="857"/>
                  </a:lnTo>
                  <a:lnTo>
                    <a:pt x="792" y="857"/>
                  </a:lnTo>
                  <a:lnTo>
                    <a:pt x="792" y="860"/>
                  </a:lnTo>
                  <a:lnTo>
                    <a:pt x="794" y="860"/>
                  </a:lnTo>
                  <a:lnTo>
                    <a:pt x="792" y="860"/>
                  </a:lnTo>
                  <a:lnTo>
                    <a:pt x="794" y="860"/>
                  </a:lnTo>
                  <a:lnTo>
                    <a:pt x="792" y="860"/>
                  </a:lnTo>
                  <a:lnTo>
                    <a:pt x="794" y="860"/>
                  </a:lnTo>
                  <a:lnTo>
                    <a:pt x="792" y="860"/>
                  </a:lnTo>
                  <a:lnTo>
                    <a:pt x="792" y="862"/>
                  </a:lnTo>
                  <a:lnTo>
                    <a:pt x="792" y="860"/>
                  </a:lnTo>
                  <a:lnTo>
                    <a:pt x="794" y="860"/>
                  </a:lnTo>
                  <a:lnTo>
                    <a:pt x="797" y="862"/>
                  </a:lnTo>
                  <a:lnTo>
                    <a:pt x="794" y="862"/>
                  </a:lnTo>
                  <a:lnTo>
                    <a:pt x="797" y="862"/>
                  </a:lnTo>
                  <a:lnTo>
                    <a:pt x="794" y="862"/>
                  </a:lnTo>
                  <a:lnTo>
                    <a:pt x="797" y="862"/>
                  </a:lnTo>
                  <a:lnTo>
                    <a:pt x="799" y="864"/>
                  </a:lnTo>
                  <a:lnTo>
                    <a:pt x="802" y="867"/>
                  </a:lnTo>
                  <a:lnTo>
                    <a:pt x="799" y="867"/>
                  </a:lnTo>
                  <a:lnTo>
                    <a:pt x="802" y="867"/>
                  </a:lnTo>
                  <a:lnTo>
                    <a:pt x="804" y="867"/>
                  </a:lnTo>
                  <a:lnTo>
                    <a:pt x="806" y="867"/>
                  </a:lnTo>
                  <a:lnTo>
                    <a:pt x="809" y="867"/>
                  </a:lnTo>
                  <a:lnTo>
                    <a:pt x="809" y="869"/>
                  </a:lnTo>
                  <a:lnTo>
                    <a:pt x="809" y="867"/>
                  </a:lnTo>
                  <a:lnTo>
                    <a:pt x="809" y="869"/>
                  </a:lnTo>
                  <a:lnTo>
                    <a:pt x="809" y="867"/>
                  </a:lnTo>
                  <a:lnTo>
                    <a:pt x="806" y="867"/>
                  </a:lnTo>
                  <a:lnTo>
                    <a:pt x="809" y="867"/>
                  </a:lnTo>
                  <a:lnTo>
                    <a:pt x="811" y="867"/>
                  </a:lnTo>
                  <a:lnTo>
                    <a:pt x="811" y="869"/>
                  </a:lnTo>
                  <a:lnTo>
                    <a:pt x="813" y="869"/>
                  </a:lnTo>
                  <a:lnTo>
                    <a:pt x="816" y="869"/>
                  </a:lnTo>
                  <a:lnTo>
                    <a:pt x="818" y="869"/>
                  </a:lnTo>
                  <a:lnTo>
                    <a:pt x="818" y="872"/>
                  </a:lnTo>
                  <a:lnTo>
                    <a:pt x="818" y="869"/>
                  </a:lnTo>
                  <a:lnTo>
                    <a:pt x="821" y="869"/>
                  </a:lnTo>
                  <a:lnTo>
                    <a:pt x="818" y="869"/>
                  </a:lnTo>
                  <a:lnTo>
                    <a:pt x="821" y="869"/>
                  </a:lnTo>
                  <a:lnTo>
                    <a:pt x="823" y="869"/>
                  </a:lnTo>
                  <a:lnTo>
                    <a:pt x="825" y="869"/>
                  </a:lnTo>
                  <a:lnTo>
                    <a:pt x="828" y="869"/>
                  </a:lnTo>
                  <a:lnTo>
                    <a:pt x="828" y="872"/>
                  </a:lnTo>
                  <a:lnTo>
                    <a:pt x="830" y="872"/>
                  </a:lnTo>
                  <a:lnTo>
                    <a:pt x="830" y="874"/>
                  </a:lnTo>
                  <a:lnTo>
                    <a:pt x="830" y="872"/>
                  </a:lnTo>
                  <a:lnTo>
                    <a:pt x="830" y="874"/>
                  </a:lnTo>
                  <a:lnTo>
                    <a:pt x="830" y="872"/>
                  </a:lnTo>
                  <a:lnTo>
                    <a:pt x="828" y="869"/>
                  </a:lnTo>
                  <a:lnTo>
                    <a:pt x="825" y="869"/>
                  </a:lnTo>
                  <a:lnTo>
                    <a:pt x="823" y="869"/>
                  </a:lnTo>
                  <a:lnTo>
                    <a:pt x="821" y="869"/>
                  </a:lnTo>
                  <a:lnTo>
                    <a:pt x="818" y="869"/>
                  </a:lnTo>
                  <a:lnTo>
                    <a:pt x="816" y="869"/>
                  </a:lnTo>
                  <a:lnTo>
                    <a:pt x="813" y="869"/>
                  </a:lnTo>
                  <a:lnTo>
                    <a:pt x="811" y="869"/>
                  </a:lnTo>
                  <a:lnTo>
                    <a:pt x="809" y="867"/>
                  </a:lnTo>
                  <a:lnTo>
                    <a:pt x="806" y="867"/>
                  </a:lnTo>
                  <a:lnTo>
                    <a:pt x="804" y="867"/>
                  </a:lnTo>
                  <a:lnTo>
                    <a:pt x="802" y="867"/>
                  </a:lnTo>
                  <a:lnTo>
                    <a:pt x="802" y="864"/>
                  </a:lnTo>
                  <a:lnTo>
                    <a:pt x="802" y="862"/>
                  </a:lnTo>
                  <a:lnTo>
                    <a:pt x="799" y="862"/>
                  </a:lnTo>
                  <a:lnTo>
                    <a:pt x="797" y="860"/>
                  </a:lnTo>
                  <a:lnTo>
                    <a:pt x="797" y="862"/>
                  </a:lnTo>
                  <a:lnTo>
                    <a:pt x="799" y="862"/>
                  </a:lnTo>
                  <a:lnTo>
                    <a:pt x="802" y="862"/>
                  </a:lnTo>
                  <a:lnTo>
                    <a:pt x="799" y="862"/>
                  </a:lnTo>
                  <a:lnTo>
                    <a:pt x="802" y="862"/>
                  </a:lnTo>
                  <a:lnTo>
                    <a:pt x="799" y="862"/>
                  </a:lnTo>
                  <a:lnTo>
                    <a:pt x="802" y="862"/>
                  </a:lnTo>
                  <a:lnTo>
                    <a:pt x="799" y="862"/>
                  </a:lnTo>
                  <a:lnTo>
                    <a:pt x="802" y="862"/>
                  </a:lnTo>
                  <a:lnTo>
                    <a:pt x="799" y="862"/>
                  </a:lnTo>
                  <a:lnTo>
                    <a:pt x="797" y="860"/>
                  </a:lnTo>
                  <a:lnTo>
                    <a:pt x="794" y="857"/>
                  </a:lnTo>
                  <a:lnTo>
                    <a:pt x="792" y="857"/>
                  </a:lnTo>
                  <a:lnTo>
                    <a:pt x="792" y="855"/>
                  </a:lnTo>
                  <a:lnTo>
                    <a:pt x="790" y="855"/>
                  </a:lnTo>
                  <a:lnTo>
                    <a:pt x="792" y="855"/>
                  </a:lnTo>
                  <a:lnTo>
                    <a:pt x="790" y="855"/>
                  </a:lnTo>
                  <a:lnTo>
                    <a:pt x="790" y="853"/>
                  </a:lnTo>
                  <a:lnTo>
                    <a:pt x="787" y="853"/>
                  </a:lnTo>
                  <a:lnTo>
                    <a:pt x="787" y="855"/>
                  </a:lnTo>
                  <a:lnTo>
                    <a:pt x="787" y="853"/>
                  </a:lnTo>
                  <a:lnTo>
                    <a:pt x="785" y="853"/>
                  </a:lnTo>
                  <a:lnTo>
                    <a:pt x="783" y="850"/>
                  </a:lnTo>
                  <a:lnTo>
                    <a:pt x="780" y="850"/>
                  </a:lnTo>
                  <a:lnTo>
                    <a:pt x="780" y="848"/>
                  </a:lnTo>
                  <a:lnTo>
                    <a:pt x="778" y="848"/>
                  </a:lnTo>
                  <a:lnTo>
                    <a:pt x="778" y="845"/>
                  </a:lnTo>
                  <a:lnTo>
                    <a:pt x="778" y="848"/>
                  </a:lnTo>
                  <a:lnTo>
                    <a:pt x="778" y="845"/>
                  </a:lnTo>
                  <a:lnTo>
                    <a:pt x="775" y="845"/>
                  </a:lnTo>
                  <a:lnTo>
                    <a:pt x="773" y="843"/>
                  </a:lnTo>
                  <a:lnTo>
                    <a:pt x="771" y="843"/>
                  </a:lnTo>
                  <a:lnTo>
                    <a:pt x="768" y="843"/>
                  </a:lnTo>
                  <a:lnTo>
                    <a:pt x="771" y="843"/>
                  </a:lnTo>
                  <a:lnTo>
                    <a:pt x="768" y="843"/>
                  </a:lnTo>
                  <a:lnTo>
                    <a:pt x="766" y="843"/>
                  </a:lnTo>
                  <a:lnTo>
                    <a:pt x="766" y="841"/>
                  </a:lnTo>
                  <a:lnTo>
                    <a:pt x="764" y="841"/>
                  </a:lnTo>
                  <a:lnTo>
                    <a:pt x="766" y="841"/>
                  </a:lnTo>
                  <a:lnTo>
                    <a:pt x="764" y="841"/>
                  </a:lnTo>
                  <a:lnTo>
                    <a:pt x="761" y="841"/>
                  </a:lnTo>
                  <a:lnTo>
                    <a:pt x="759" y="838"/>
                  </a:lnTo>
                  <a:lnTo>
                    <a:pt x="759" y="836"/>
                  </a:lnTo>
                  <a:lnTo>
                    <a:pt x="759" y="834"/>
                  </a:lnTo>
                  <a:lnTo>
                    <a:pt x="761" y="834"/>
                  </a:lnTo>
                  <a:lnTo>
                    <a:pt x="761" y="836"/>
                  </a:lnTo>
                  <a:lnTo>
                    <a:pt x="761" y="834"/>
                  </a:lnTo>
                  <a:lnTo>
                    <a:pt x="761" y="836"/>
                  </a:lnTo>
                  <a:lnTo>
                    <a:pt x="761" y="834"/>
                  </a:lnTo>
                  <a:lnTo>
                    <a:pt x="761" y="836"/>
                  </a:lnTo>
                  <a:lnTo>
                    <a:pt x="764" y="836"/>
                  </a:lnTo>
                  <a:lnTo>
                    <a:pt x="761" y="834"/>
                  </a:lnTo>
                  <a:lnTo>
                    <a:pt x="764" y="834"/>
                  </a:lnTo>
                  <a:lnTo>
                    <a:pt x="764" y="836"/>
                  </a:lnTo>
                  <a:lnTo>
                    <a:pt x="766" y="834"/>
                  </a:lnTo>
                  <a:lnTo>
                    <a:pt x="766" y="836"/>
                  </a:lnTo>
                  <a:lnTo>
                    <a:pt x="768" y="836"/>
                  </a:lnTo>
                  <a:lnTo>
                    <a:pt x="766" y="836"/>
                  </a:lnTo>
                  <a:lnTo>
                    <a:pt x="768" y="836"/>
                  </a:lnTo>
                  <a:lnTo>
                    <a:pt x="768" y="838"/>
                  </a:lnTo>
                  <a:lnTo>
                    <a:pt x="771" y="838"/>
                  </a:lnTo>
                  <a:lnTo>
                    <a:pt x="768" y="838"/>
                  </a:lnTo>
                  <a:lnTo>
                    <a:pt x="771" y="838"/>
                  </a:lnTo>
                  <a:lnTo>
                    <a:pt x="773" y="838"/>
                  </a:lnTo>
                  <a:lnTo>
                    <a:pt x="771" y="838"/>
                  </a:lnTo>
                  <a:lnTo>
                    <a:pt x="768" y="838"/>
                  </a:lnTo>
                  <a:lnTo>
                    <a:pt x="768" y="836"/>
                  </a:lnTo>
                  <a:lnTo>
                    <a:pt x="768" y="838"/>
                  </a:lnTo>
                  <a:lnTo>
                    <a:pt x="768" y="836"/>
                  </a:lnTo>
                  <a:lnTo>
                    <a:pt x="768" y="838"/>
                  </a:lnTo>
                  <a:lnTo>
                    <a:pt x="768" y="836"/>
                  </a:lnTo>
                  <a:lnTo>
                    <a:pt x="768" y="838"/>
                  </a:lnTo>
                  <a:lnTo>
                    <a:pt x="768" y="836"/>
                  </a:lnTo>
                  <a:lnTo>
                    <a:pt x="771" y="836"/>
                  </a:lnTo>
                  <a:lnTo>
                    <a:pt x="771" y="838"/>
                  </a:lnTo>
                  <a:lnTo>
                    <a:pt x="771" y="836"/>
                  </a:lnTo>
                  <a:lnTo>
                    <a:pt x="771" y="838"/>
                  </a:lnTo>
                  <a:lnTo>
                    <a:pt x="768" y="836"/>
                  </a:lnTo>
                  <a:lnTo>
                    <a:pt x="771" y="836"/>
                  </a:lnTo>
                  <a:lnTo>
                    <a:pt x="768" y="836"/>
                  </a:lnTo>
                  <a:lnTo>
                    <a:pt x="768" y="838"/>
                  </a:lnTo>
                  <a:lnTo>
                    <a:pt x="768" y="836"/>
                  </a:lnTo>
                  <a:lnTo>
                    <a:pt x="766" y="836"/>
                  </a:lnTo>
                  <a:lnTo>
                    <a:pt x="768" y="836"/>
                  </a:lnTo>
                  <a:lnTo>
                    <a:pt x="766" y="836"/>
                  </a:lnTo>
                  <a:lnTo>
                    <a:pt x="766" y="834"/>
                  </a:lnTo>
                  <a:lnTo>
                    <a:pt x="764" y="834"/>
                  </a:lnTo>
                  <a:lnTo>
                    <a:pt x="761" y="834"/>
                  </a:lnTo>
                  <a:lnTo>
                    <a:pt x="759" y="834"/>
                  </a:lnTo>
                  <a:lnTo>
                    <a:pt x="756" y="831"/>
                  </a:lnTo>
                  <a:lnTo>
                    <a:pt x="754" y="831"/>
                  </a:lnTo>
                  <a:lnTo>
                    <a:pt x="752" y="831"/>
                  </a:lnTo>
                  <a:lnTo>
                    <a:pt x="749" y="831"/>
                  </a:lnTo>
                  <a:lnTo>
                    <a:pt x="747" y="831"/>
                  </a:lnTo>
                  <a:lnTo>
                    <a:pt x="747" y="829"/>
                  </a:lnTo>
                  <a:lnTo>
                    <a:pt x="747" y="831"/>
                  </a:lnTo>
                  <a:lnTo>
                    <a:pt x="745" y="829"/>
                  </a:lnTo>
                  <a:lnTo>
                    <a:pt x="742" y="829"/>
                  </a:lnTo>
                  <a:lnTo>
                    <a:pt x="740" y="829"/>
                  </a:lnTo>
                  <a:lnTo>
                    <a:pt x="740" y="826"/>
                  </a:lnTo>
                  <a:lnTo>
                    <a:pt x="740" y="829"/>
                  </a:lnTo>
                  <a:lnTo>
                    <a:pt x="740" y="826"/>
                  </a:lnTo>
                  <a:lnTo>
                    <a:pt x="740" y="824"/>
                  </a:lnTo>
                  <a:lnTo>
                    <a:pt x="740" y="822"/>
                  </a:lnTo>
                  <a:lnTo>
                    <a:pt x="737" y="822"/>
                  </a:lnTo>
                  <a:lnTo>
                    <a:pt x="740" y="819"/>
                  </a:lnTo>
                  <a:lnTo>
                    <a:pt x="742" y="819"/>
                  </a:lnTo>
                  <a:lnTo>
                    <a:pt x="740" y="819"/>
                  </a:lnTo>
                  <a:lnTo>
                    <a:pt x="742" y="819"/>
                  </a:lnTo>
                  <a:lnTo>
                    <a:pt x="740" y="819"/>
                  </a:lnTo>
                  <a:lnTo>
                    <a:pt x="740" y="817"/>
                  </a:lnTo>
                  <a:lnTo>
                    <a:pt x="742" y="817"/>
                  </a:lnTo>
                  <a:lnTo>
                    <a:pt x="740" y="817"/>
                  </a:lnTo>
                  <a:lnTo>
                    <a:pt x="740" y="815"/>
                  </a:lnTo>
                  <a:lnTo>
                    <a:pt x="737" y="815"/>
                  </a:lnTo>
                  <a:lnTo>
                    <a:pt x="737" y="812"/>
                  </a:lnTo>
                  <a:lnTo>
                    <a:pt x="735" y="812"/>
                  </a:lnTo>
                  <a:lnTo>
                    <a:pt x="735" y="810"/>
                  </a:lnTo>
                  <a:lnTo>
                    <a:pt x="733" y="810"/>
                  </a:lnTo>
                  <a:lnTo>
                    <a:pt x="735" y="807"/>
                  </a:lnTo>
                  <a:lnTo>
                    <a:pt x="735" y="805"/>
                  </a:lnTo>
                  <a:lnTo>
                    <a:pt x="735" y="803"/>
                  </a:lnTo>
                  <a:lnTo>
                    <a:pt x="737" y="803"/>
                  </a:lnTo>
                  <a:lnTo>
                    <a:pt x="737" y="805"/>
                  </a:lnTo>
                  <a:lnTo>
                    <a:pt x="735" y="805"/>
                  </a:lnTo>
                  <a:lnTo>
                    <a:pt x="737" y="805"/>
                  </a:lnTo>
                  <a:lnTo>
                    <a:pt x="735" y="805"/>
                  </a:lnTo>
                  <a:lnTo>
                    <a:pt x="737" y="805"/>
                  </a:lnTo>
                  <a:lnTo>
                    <a:pt x="737" y="803"/>
                  </a:lnTo>
                  <a:lnTo>
                    <a:pt x="735" y="803"/>
                  </a:lnTo>
                  <a:lnTo>
                    <a:pt x="735" y="800"/>
                  </a:lnTo>
                  <a:lnTo>
                    <a:pt x="733" y="800"/>
                  </a:lnTo>
                  <a:lnTo>
                    <a:pt x="730" y="800"/>
                  </a:lnTo>
                  <a:lnTo>
                    <a:pt x="730" y="798"/>
                  </a:lnTo>
                  <a:lnTo>
                    <a:pt x="728" y="798"/>
                  </a:lnTo>
                  <a:lnTo>
                    <a:pt x="726" y="798"/>
                  </a:lnTo>
                  <a:lnTo>
                    <a:pt x="723" y="798"/>
                  </a:lnTo>
                  <a:lnTo>
                    <a:pt x="723" y="796"/>
                  </a:lnTo>
                  <a:lnTo>
                    <a:pt x="721" y="796"/>
                  </a:lnTo>
                  <a:lnTo>
                    <a:pt x="721" y="793"/>
                  </a:lnTo>
                  <a:lnTo>
                    <a:pt x="719" y="793"/>
                  </a:lnTo>
                  <a:lnTo>
                    <a:pt x="721" y="791"/>
                  </a:lnTo>
                  <a:lnTo>
                    <a:pt x="721" y="788"/>
                  </a:lnTo>
                  <a:lnTo>
                    <a:pt x="723" y="788"/>
                  </a:lnTo>
                  <a:lnTo>
                    <a:pt x="726" y="788"/>
                  </a:lnTo>
                  <a:lnTo>
                    <a:pt x="726" y="786"/>
                  </a:lnTo>
                  <a:lnTo>
                    <a:pt x="728" y="786"/>
                  </a:lnTo>
                  <a:lnTo>
                    <a:pt x="726" y="784"/>
                  </a:lnTo>
                  <a:lnTo>
                    <a:pt x="728" y="784"/>
                  </a:lnTo>
                  <a:lnTo>
                    <a:pt x="728" y="781"/>
                  </a:lnTo>
                  <a:lnTo>
                    <a:pt x="730" y="779"/>
                  </a:lnTo>
                  <a:lnTo>
                    <a:pt x="730" y="777"/>
                  </a:lnTo>
                  <a:lnTo>
                    <a:pt x="728" y="777"/>
                  </a:lnTo>
                  <a:lnTo>
                    <a:pt x="730" y="774"/>
                  </a:lnTo>
                  <a:lnTo>
                    <a:pt x="730" y="772"/>
                  </a:lnTo>
                  <a:lnTo>
                    <a:pt x="733" y="772"/>
                  </a:lnTo>
                  <a:lnTo>
                    <a:pt x="735" y="772"/>
                  </a:lnTo>
                  <a:lnTo>
                    <a:pt x="737" y="772"/>
                  </a:lnTo>
                  <a:lnTo>
                    <a:pt x="740" y="772"/>
                  </a:lnTo>
                  <a:lnTo>
                    <a:pt x="742" y="772"/>
                  </a:lnTo>
                  <a:lnTo>
                    <a:pt x="745" y="772"/>
                  </a:lnTo>
                  <a:lnTo>
                    <a:pt x="747" y="772"/>
                  </a:lnTo>
                  <a:lnTo>
                    <a:pt x="747" y="769"/>
                  </a:lnTo>
                  <a:lnTo>
                    <a:pt x="749" y="769"/>
                  </a:lnTo>
                  <a:lnTo>
                    <a:pt x="749" y="767"/>
                  </a:lnTo>
                  <a:lnTo>
                    <a:pt x="752" y="767"/>
                  </a:lnTo>
                  <a:lnTo>
                    <a:pt x="754" y="767"/>
                  </a:lnTo>
                  <a:lnTo>
                    <a:pt x="756" y="767"/>
                  </a:lnTo>
                  <a:lnTo>
                    <a:pt x="759" y="767"/>
                  </a:lnTo>
                  <a:lnTo>
                    <a:pt x="761" y="767"/>
                  </a:lnTo>
                  <a:lnTo>
                    <a:pt x="761" y="765"/>
                  </a:lnTo>
                  <a:lnTo>
                    <a:pt x="761" y="767"/>
                  </a:lnTo>
                  <a:lnTo>
                    <a:pt x="761" y="765"/>
                  </a:lnTo>
                  <a:lnTo>
                    <a:pt x="764" y="765"/>
                  </a:lnTo>
                  <a:lnTo>
                    <a:pt x="766" y="765"/>
                  </a:lnTo>
                  <a:lnTo>
                    <a:pt x="768" y="765"/>
                  </a:lnTo>
                  <a:lnTo>
                    <a:pt x="771" y="762"/>
                  </a:lnTo>
                  <a:lnTo>
                    <a:pt x="773" y="760"/>
                  </a:lnTo>
                  <a:lnTo>
                    <a:pt x="773" y="762"/>
                  </a:lnTo>
                  <a:lnTo>
                    <a:pt x="773" y="760"/>
                  </a:lnTo>
                  <a:lnTo>
                    <a:pt x="775" y="760"/>
                  </a:lnTo>
                  <a:lnTo>
                    <a:pt x="775" y="758"/>
                  </a:lnTo>
                  <a:lnTo>
                    <a:pt x="778" y="758"/>
                  </a:lnTo>
                  <a:lnTo>
                    <a:pt x="778" y="755"/>
                  </a:lnTo>
                  <a:lnTo>
                    <a:pt x="778" y="758"/>
                  </a:lnTo>
                  <a:lnTo>
                    <a:pt x="778" y="755"/>
                  </a:lnTo>
                  <a:lnTo>
                    <a:pt x="778" y="753"/>
                  </a:lnTo>
                  <a:lnTo>
                    <a:pt x="780" y="753"/>
                  </a:lnTo>
                  <a:lnTo>
                    <a:pt x="780" y="750"/>
                  </a:lnTo>
                  <a:lnTo>
                    <a:pt x="780" y="748"/>
                  </a:lnTo>
                  <a:lnTo>
                    <a:pt x="783" y="746"/>
                  </a:lnTo>
                  <a:lnTo>
                    <a:pt x="780" y="746"/>
                  </a:lnTo>
                  <a:lnTo>
                    <a:pt x="783" y="746"/>
                  </a:lnTo>
                  <a:lnTo>
                    <a:pt x="780" y="746"/>
                  </a:lnTo>
                  <a:lnTo>
                    <a:pt x="783" y="746"/>
                  </a:lnTo>
                  <a:lnTo>
                    <a:pt x="785" y="743"/>
                  </a:lnTo>
                  <a:lnTo>
                    <a:pt x="785" y="741"/>
                  </a:lnTo>
                  <a:lnTo>
                    <a:pt x="785" y="739"/>
                  </a:lnTo>
                  <a:lnTo>
                    <a:pt x="787" y="739"/>
                  </a:lnTo>
                  <a:lnTo>
                    <a:pt x="790" y="739"/>
                  </a:lnTo>
                  <a:lnTo>
                    <a:pt x="792" y="739"/>
                  </a:lnTo>
                  <a:lnTo>
                    <a:pt x="794" y="739"/>
                  </a:lnTo>
                  <a:lnTo>
                    <a:pt x="797" y="739"/>
                  </a:lnTo>
                  <a:lnTo>
                    <a:pt x="797" y="741"/>
                  </a:lnTo>
                  <a:lnTo>
                    <a:pt x="799" y="741"/>
                  </a:lnTo>
                  <a:lnTo>
                    <a:pt x="799" y="743"/>
                  </a:lnTo>
                  <a:lnTo>
                    <a:pt x="802" y="743"/>
                  </a:lnTo>
                  <a:lnTo>
                    <a:pt x="802" y="746"/>
                  </a:lnTo>
                  <a:lnTo>
                    <a:pt x="802" y="748"/>
                  </a:lnTo>
                  <a:lnTo>
                    <a:pt x="804" y="748"/>
                  </a:lnTo>
                  <a:lnTo>
                    <a:pt x="806" y="748"/>
                  </a:lnTo>
                  <a:lnTo>
                    <a:pt x="809" y="750"/>
                  </a:lnTo>
                  <a:lnTo>
                    <a:pt x="806" y="750"/>
                  </a:lnTo>
                  <a:lnTo>
                    <a:pt x="809" y="750"/>
                  </a:lnTo>
                  <a:lnTo>
                    <a:pt x="809" y="753"/>
                  </a:lnTo>
                  <a:lnTo>
                    <a:pt x="809" y="750"/>
                  </a:lnTo>
                  <a:lnTo>
                    <a:pt x="809" y="753"/>
                  </a:lnTo>
                  <a:lnTo>
                    <a:pt x="811" y="753"/>
                  </a:lnTo>
                  <a:lnTo>
                    <a:pt x="811" y="750"/>
                  </a:lnTo>
                  <a:lnTo>
                    <a:pt x="809" y="750"/>
                  </a:lnTo>
                  <a:lnTo>
                    <a:pt x="809" y="753"/>
                  </a:lnTo>
                  <a:lnTo>
                    <a:pt x="809" y="750"/>
                  </a:lnTo>
                  <a:lnTo>
                    <a:pt x="809" y="753"/>
                  </a:lnTo>
                  <a:lnTo>
                    <a:pt x="809" y="750"/>
                  </a:lnTo>
                  <a:lnTo>
                    <a:pt x="809" y="748"/>
                  </a:lnTo>
                  <a:lnTo>
                    <a:pt x="806" y="748"/>
                  </a:lnTo>
                  <a:lnTo>
                    <a:pt x="804" y="748"/>
                  </a:lnTo>
                  <a:lnTo>
                    <a:pt x="802" y="748"/>
                  </a:lnTo>
                  <a:lnTo>
                    <a:pt x="802" y="746"/>
                  </a:lnTo>
                  <a:lnTo>
                    <a:pt x="802" y="743"/>
                  </a:lnTo>
                  <a:lnTo>
                    <a:pt x="799" y="743"/>
                  </a:lnTo>
                  <a:lnTo>
                    <a:pt x="799" y="741"/>
                  </a:lnTo>
                  <a:lnTo>
                    <a:pt x="797" y="739"/>
                  </a:lnTo>
                  <a:lnTo>
                    <a:pt x="794" y="739"/>
                  </a:lnTo>
                  <a:lnTo>
                    <a:pt x="792" y="739"/>
                  </a:lnTo>
                  <a:lnTo>
                    <a:pt x="794" y="739"/>
                  </a:lnTo>
                  <a:lnTo>
                    <a:pt x="792" y="739"/>
                  </a:lnTo>
                  <a:lnTo>
                    <a:pt x="790" y="739"/>
                  </a:lnTo>
                  <a:lnTo>
                    <a:pt x="787" y="739"/>
                  </a:lnTo>
                  <a:lnTo>
                    <a:pt x="785" y="739"/>
                  </a:lnTo>
                  <a:lnTo>
                    <a:pt x="785" y="741"/>
                  </a:lnTo>
                  <a:lnTo>
                    <a:pt x="785" y="743"/>
                  </a:lnTo>
                  <a:lnTo>
                    <a:pt x="783" y="743"/>
                  </a:lnTo>
                  <a:lnTo>
                    <a:pt x="785" y="743"/>
                  </a:lnTo>
                  <a:lnTo>
                    <a:pt x="783" y="743"/>
                  </a:lnTo>
                  <a:lnTo>
                    <a:pt x="783" y="746"/>
                  </a:lnTo>
                  <a:lnTo>
                    <a:pt x="780" y="746"/>
                  </a:lnTo>
                  <a:lnTo>
                    <a:pt x="780" y="748"/>
                  </a:lnTo>
                  <a:lnTo>
                    <a:pt x="780" y="750"/>
                  </a:lnTo>
                  <a:lnTo>
                    <a:pt x="778" y="750"/>
                  </a:lnTo>
                  <a:lnTo>
                    <a:pt x="778" y="753"/>
                  </a:lnTo>
                  <a:lnTo>
                    <a:pt x="778" y="755"/>
                  </a:lnTo>
                  <a:lnTo>
                    <a:pt x="775" y="755"/>
                  </a:lnTo>
                  <a:lnTo>
                    <a:pt x="778" y="755"/>
                  </a:lnTo>
                  <a:lnTo>
                    <a:pt x="778" y="758"/>
                  </a:lnTo>
                  <a:lnTo>
                    <a:pt x="775" y="758"/>
                  </a:lnTo>
                  <a:lnTo>
                    <a:pt x="775" y="760"/>
                  </a:lnTo>
                  <a:lnTo>
                    <a:pt x="773" y="760"/>
                  </a:lnTo>
                  <a:lnTo>
                    <a:pt x="771" y="762"/>
                  </a:lnTo>
                  <a:lnTo>
                    <a:pt x="768" y="762"/>
                  </a:lnTo>
                  <a:lnTo>
                    <a:pt x="768" y="765"/>
                  </a:lnTo>
                  <a:lnTo>
                    <a:pt x="766" y="765"/>
                  </a:lnTo>
                  <a:lnTo>
                    <a:pt x="764" y="765"/>
                  </a:lnTo>
                  <a:lnTo>
                    <a:pt x="761" y="765"/>
                  </a:lnTo>
                  <a:lnTo>
                    <a:pt x="759" y="765"/>
                  </a:lnTo>
                  <a:lnTo>
                    <a:pt x="759" y="767"/>
                  </a:lnTo>
                  <a:lnTo>
                    <a:pt x="756" y="767"/>
                  </a:lnTo>
                  <a:lnTo>
                    <a:pt x="754" y="767"/>
                  </a:lnTo>
                  <a:lnTo>
                    <a:pt x="752" y="767"/>
                  </a:lnTo>
                  <a:lnTo>
                    <a:pt x="749" y="767"/>
                  </a:lnTo>
                  <a:lnTo>
                    <a:pt x="749" y="769"/>
                  </a:lnTo>
                  <a:lnTo>
                    <a:pt x="747" y="769"/>
                  </a:lnTo>
                  <a:lnTo>
                    <a:pt x="745" y="772"/>
                  </a:lnTo>
                  <a:lnTo>
                    <a:pt x="742" y="772"/>
                  </a:lnTo>
                  <a:lnTo>
                    <a:pt x="740" y="772"/>
                  </a:lnTo>
                  <a:lnTo>
                    <a:pt x="737" y="772"/>
                  </a:lnTo>
                  <a:lnTo>
                    <a:pt x="735" y="772"/>
                  </a:lnTo>
                  <a:lnTo>
                    <a:pt x="735" y="769"/>
                  </a:lnTo>
                  <a:lnTo>
                    <a:pt x="735" y="767"/>
                  </a:lnTo>
                  <a:lnTo>
                    <a:pt x="735" y="765"/>
                  </a:lnTo>
                  <a:lnTo>
                    <a:pt x="733" y="765"/>
                  </a:lnTo>
                  <a:lnTo>
                    <a:pt x="733" y="762"/>
                  </a:lnTo>
                  <a:lnTo>
                    <a:pt x="733" y="760"/>
                  </a:lnTo>
                  <a:lnTo>
                    <a:pt x="730" y="760"/>
                  </a:lnTo>
                  <a:lnTo>
                    <a:pt x="728" y="760"/>
                  </a:lnTo>
                  <a:lnTo>
                    <a:pt x="728" y="762"/>
                  </a:lnTo>
                  <a:lnTo>
                    <a:pt x="726" y="762"/>
                  </a:lnTo>
                  <a:lnTo>
                    <a:pt x="723" y="760"/>
                  </a:lnTo>
                  <a:lnTo>
                    <a:pt x="721" y="760"/>
                  </a:lnTo>
                  <a:lnTo>
                    <a:pt x="719" y="760"/>
                  </a:lnTo>
                  <a:lnTo>
                    <a:pt x="716" y="760"/>
                  </a:lnTo>
                  <a:lnTo>
                    <a:pt x="714" y="760"/>
                  </a:lnTo>
                  <a:lnTo>
                    <a:pt x="711" y="760"/>
                  </a:lnTo>
                  <a:lnTo>
                    <a:pt x="709" y="760"/>
                  </a:lnTo>
                  <a:lnTo>
                    <a:pt x="707" y="760"/>
                  </a:lnTo>
                  <a:lnTo>
                    <a:pt x="707" y="758"/>
                  </a:lnTo>
                  <a:lnTo>
                    <a:pt x="704" y="755"/>
                  </a:lnTo>
                  <a:lnTo>
                    <a:pt x="702" y="755"/>
                  </a:lnTo>
                  <a:lnTo>
                    <a:pt x="702" y="753"/>
                  </a:lnTo>
                  <a:lnTo>
                    <a:pt x="702" y="755"/>
                  </a:lnTo>
                  <a:lnTo>
                    <a:pt x="702" y="753"/>
                  </a:lnTo>
                  <a:lnTo>
                    <a:pt x="700" y="753"/>
                  </a:lnTo>
                  <a:lnTo>
                    <a:pt x="702" y="753"/>
                  </a:lnTo>
                  <a:lnTo>
                    <a:pt x="700" y="753"/>
                  </a:lnTo>
                  <a:lnTo>
                    <a:pt x="702" y="753"/>
                  </a:lnTo>
                  <a:lnTo>
                    <a:pt x="700" y="753"/>
                  </a:lnTo>
                  <a:lnTo>
                    <a:pt x="697" y="753"/>
                  </a:lnTo>
                  <a:lnTo>
                    <a:pt x="695" y="753"/>
                  </a:lnTo>
                  <a:lnTo>
                    <a:pt x="695" y="750"/>
                  </a:lnTo>
                  <a:lnTo>
                    <a:pt x="692" y="750"/>
                  </a:lnTo>
                  <a:lnTo>
                    <a:pt x="690" y="750"/>
                  </a:lnTo>
                  <a:lnTo>
                    <a:pt x="690" y="748"/>
                  </a:lnTo>
                  <a:lnTo>
                    <a:pt x="688" y="748"/>
                  </a:lnTo>
                  <a:lnTo>
                    <a:pt x="690" y="748"/>
                  </a:lnTo>
                  <a:lnTo>
                    <a:pt x="690" y="746"/>
                  </a:lnTo>
                  <a:lnTo>
                    <a:pt x="692" y="746"/>
                  </a:lnTo>
                  <a:lnTo>
                    <a:pt x="695" y="746"/>
                  </a:lnTo>
                  <a:lnTo>
                    <a:pt x="692" y="746"/>
                  </a:lnTo>
                  <a:lnTo>
                    <a:pt x="692" y="743"/>
                  </a:lnTo>
                  <a:lnTo>
                    <a:pt x="695" y="743"/>
                  </a:lnTo>
                  <a:lnTo>
                    <a:pt x="695" y="741"/>
                  </a:lnTo>
                  <a:lnTo>
                    <a:pt x="697" y="741"/>
                  </a:lnTo>
                  <a:lnTo>
                    <a:pt x="700" y="741"/>
                  </a:lnTo>
                  <a:lnTo>
                    <a:pt x="700" y="743"/>
                  </a:lnTo>
                  <a:lnTo>
                    <a:pt x="702" y="743"/>
                  </a:lnTo>
                  <a:lnTo>
                    <a:pt x="704" y="743"/>
                  </a:lnTo>
                  <a:lnTo>
                    <a:pt x="702" y="743"/>
                  </a:lnTo>
                  <a:lnTo>
                    <a:pt x="700" y="743"/>
                  </a:lnTo>
                  <a:lnTo>
                    <a:pt x="700" y="741"/>
                  </a:lnTo>
                  <a:lnTo>
                    <a:pt x="697" y="741"/>
                  </a:lnTo>
                  <a:lnTo>
                    <a:pt x="700" y="741"/>
                  </a:lnTo>
                  <a:lnTo>
                    <a:pt x="697" y="741"/>
                  </a:lnTo>
                  <a:lnTo>
                    <a:pt x="695" y="741"/>
                  </a:lnTo>
                  <a:lnTo>
                    <a:pt x="692" y="741"/>
                  </a:lnTo>
                  <a:lnTo>
                    <a:pt x="692" y="739"/>
                  </a:lnTo>
                  <a:lnTo>
                    <a:pt x="690" y="739"/>
                  </a:lnTo>
                  <a:lnTo>
                    <a:pt x="690" y="736"/>
                  </a:lnTo>
                  <a:lnTo>
                    <a:pt x="690" y="739"/>
                  </a:lnTo>
                  <a:lnTo>
                    <a:pt x="690" y="736"/>
                  </a:lnTo>
                  <a:lnTo>
                    <a:pt x="688" y="736"/>
                  </a:lnTo>
                  <a:lnTo>
                    <a:pt x="688" y="734"/>
                  </a:lnTo>
                  <a:lnTo>
                    <a:pt x="688" y="736"/>
                  </a:lnTo>
                  <a:lnTo>
                    <a:pt x="685" y="734"/>
                  </a:lnTo>
                  <a:lnTo>
                    <a:pt x="683" y="734"/>
                  </a:lnTo>
                  <a:lnTo>
                    <a:pt x="683" y="731"/>
                  </a:lnTo>
                  <a:lnTo>
                    <a:pt x="685" y="731"/>
                  </a:lnTo>
                  <a:lnTo>
                    <a:pt x="685" y="734"/>
                  </a:lnTo>
                  <a:lnTo>
                    <a:pt x="685" y="731"/>
                  </a:lnTo>
                  <a:lnTo>
                    <a:pt x="685" y="729"/>
                  </a:lnTo>
                  <a:lnTo>
                    <a:pt x="685" y="727"/>
                  </a:lnTo>
                  <a:lnTo>
                    <a:pt x="683" y="727"/>
                  </a:lnTo>
                  <a:lnTo>
                    <a:pt x="683" y="724"/>
                  </a:lnTo>
                  <a:lnTo>
                    <a:pt x="681" y="724"/>
                  </a:lnTo>
                  <a:lnTo>
                    <a:pt x="683" y="722"/>
                  </a:lnTo>
                  <a:lnTo>
                    <a:pt x="681" y="722"/>
                  </a:lnTo>
                  <a:lnTo>
                    <a:pt x="678" y="720"/>
                  </a:lnTo>
                  <a:lnTo>
                    <a:pt x="678" y="722"/>
                  </a:lnTo>
                  <a:lnTo>
                    <a:pt x="678" y="720"/>
                  </a:lnTo>
                  <a:lnTo>
                    <a:pt x="676" y="720"/>
                  </a:lnTo>
                  <a:lnTo>
                    <a:pt x="676" y="717"/>
                  </a:lnTo>
                  <a:lnTo>
                    <a:pt x="673" y="717"/>
                  </a:lnTo>
                  <a:lnTo>
                    <a:pt x="673" y="715"/>
                  </a:lnTo>
                  <a:lnTo>
                    <a:pt x="673" y="712"/>
                  </a:lnTo>
                  <a:lnTo>
                    <a:pt x="671" y="712"/>
                  </a:lnTo>
                  <a:lnTo>
                    <a:pt x="671" y="710"/>
                  </a:lnTo>
                  <a:lnTo>
                    <a:pt x="669" y="710"/>
                  </a:lnTo>
                  <a:lnTo>
                    <a:pt x="669" y="708"/>
                  </a:lnTo>
                  <a:lnTo>
                    <a:pt x="666" y="708"/>
                  </a:lnTo>
                  <a:lnTo>
                    <a:pt x="666" y="705"/>
                  </a:lnTo>
                  <a:lnTo>
                    <a:pt x="664" y="705"/>
                  </a:lnTo>
                  <a:lnTo>
                    <a:pt x="664" y="703"/>
                  </a:lnTo>
                  <a:lnTo>
                    <a:pt x="662" y="701"/>
                  </a:lnTo>
                  <a:lnTo>
                    <a:pt x="662" y="698"/>
                  </a:lnTo>
                  <a:lnTo>
                    <a:pt x="662" y="696"/>
                  </a:lnTo>
                  <a:lnTo>
                    <a:pt x="664" y="693"/>
                  </a:lnTo>
                  <a:lnTo>
                    <a:pt x="664" y="691"/>
                  </a:lnTo>
                  <a:lnTo>
                    <a:pt x="666" y="689"/>
                  </a:lnTo>
                  <a:lnTo>
                    <a:pt x="669" y="689"/>
                  </a:lnTo>
                  <a:lnTo>
                    <a:pt x="669" y="686"/>
                  </a:lnTo>
                  <a:lnTo>
                    <a:pt x="671" y="686"/>
                  </a:lnTo>
                  <a:lnTo>
                    <a:pt x="673" y="686"/>
                  </a:lnTo>
                  <a:lnTo>
                    <a:pt x="676" y="686"/>
                  </a:lnTo>
                  <a:lnTo>
                    <a:pt x="676" y="684"/>
                  </a:lnTo>
                  <a:lnTo>
                    <a:pt x="678" y="684"/>
                  </a:lnTo>
                  <a:lnTo>
                    <a:pt x="681" y="684"/>
                  </a:lnTo>
                  <a:lnTo>
                    <a:pt x="678" y="684"/>
                  </a:lnTo>
                  <a:lnTo>
                    <a:pt x="681" y="684"/>
                  </a:lnTo>
                  <a:lnTo>
                    <a:pt x="683" y="684"/>
                  </a:lnTo>
                  <a:lnTo>
                    <a:pt x="685" y="684"/>
                  </a:lnTo>
                  <a:lnTo>
                    <a:pt x="683" y="684"/>
                  </a:lnTo>
                  <a:lnTo>
                    <a:pt x="681" y="684"/>
                  </a:lnTo>
                  <a:lnTo>
                    <a:pt x="678" y="684"/>
                  </a:lnTo>
                  <a:lnTo>
                    <a:pt x="681" y="682"/>
                  </a:lnTo>
                  <a:lnTo>
                    <a:pt x="683" y="682"/>
                  </a:lnTo>
                  <a:lnTo>
                    <a:pt x="683" y="679"/>
                  </a:lnTo>
                  <a:lnTo>
                    <a:pt x="685" y="679"/>
                  </a:lnTo>
                  <a:lnTo>
                    <a:pt x="688" y="677"/>
                  </a:lnTo>
                  <a:lnTo>
                    <a:pt x="690" y="674"/>
                  </a:lnTo>
                  <a:lnTo>
                    <a:pt x="690" y="672"/>
                  </a:lnTo>
                  <a:lnTo>
                    <a:pt x="692" y="672"/>
                  </a:lnTo>
                  <a:lnTo>
                    <a:pt x="692" y="670"/>
                  </a:lnTo>
                  <a:lnTo>
                    <a:pt x="695" y="670"/>
                  </a:lnTo>
                  <a:lnTo>
                    <a:pt x="695" y="667"/>
                  </a:lnTo>
                  <a:lnTo>
                    <a:pt x="697" y="667"/>
                  </a:lnTo>
                  <a:lnTo>
                    <a:pt x="700" y="667"/>
                  </a:lnTo>
                  <a:lnTo>
                    <a:pt x="702" y="667"/>
                  </a:lnTo>
                  <a:lnTo>
                    <a:pt x="704" y="665"/>
                  </a:lnTo>
                  <a:lnTo>
                    <a:pt x="707" y="665"/>
                  </a:lnTo>
                  <a:lnTo>
                    <a:pt x="711" y="665"/>
                  </a:lnTo>
                  <a:lnTo>
                    <a:pt x="714" y="665"/>
                  </a:lnTo>
                  <a:lnTo>
                    <a:pt x="711" y="665"/>
                  </a:lnTo>
                  <a:lnTo>
                    <a:pt x="714" y="665"/>
                  </a:lnTo>
                  <a:lnTo>
                    <a:pt x="714" y="662"/>
                  </a:lnTo>
                  <a:lnTo>
                    <a:pt x="714" y="665"/>
                  </a:lnTo>
                  <a:lnTo>
                    <a:pt x="714" y="662"/>
                  </a:lnTo>
                  <a:lnTo>
                    <a:pt x="716" y="662"/>
                  </a:lnTo>
                  <a:lnTo>
                    <a:pt x="719" y="662"/>
                  </a:lnTo>
                  <a:lnTo>
                    <a:pt x="721" y="660"/>
                  </a:lnTo>
                  <a:lnTo>
                    <a:pt x="723" y="660"/>
                  </a:lnTo>
                  <a:lnTo>
                    <a:pt x="723" y="658"/>
                  </a:lnTo>
                  <a:lnTo>
                    <a:pt x="726" y="658"/>
                  </a:lnTo>
                  <a:lnTo>
                    <a:pt x="726" y="660"/>
                  </a:lnTo>
                  <a:lnTo>
                    <a:pt x="728" y="660"/>
                  </a:lnTo>
                  <a:lnTo>
                    <a:pt x="728" y="658"/>
                  </a:lnTo>
                  <a:lnTo>
                    <a:pt x="728" y="660"/>
                  </a:lnTo>
                  <a:lnTo>
                    <a:pt x="730" y="660"/>
                  </a:lnTo>
                  <a:lnTo>
                    <a:pt x="728" y="660"/>
                  </a:lnTo>
                  <a:lnTo>
                    <a:pt x="730" y="660"/>
                  </a:lnTo>
                  <a:lnTo>
                    <a:pt x="728" y="660"/>
                  </a:lnTo>
                  <a:lnTo>
                    <a:pt x="728" y="662"/>
                  </a:lnTo>
                  <a:lnTo>
                    <a:pt x="728" y="660"/>
                  </a:lnTo>
                  <a:lnTo>
                    <a:pt x="730" y="660"/>
                  </a:lnTo>
                  <a:lnTo>
                    <a:pt x="728" y="660"/>
                  </a:lnTo>
                  <a:lnTo>
                    <a:pt x="730" y="660"/>
                  </a:lnTo>
                  <a:lnTo>
                    <a:pt x="728" y="660"/>
                  </a:lnTo>
                  <a:lnTo>
                    <a:pt x="728" y="658"/>
                  </a:lnTo>
                  <a:lnTo>
                    <a:pt x="728" y="660"/>
                  </a:lnTo>
                  <a:lnTo>
                    <a:pt x="726" y="658"/>
                  </a:lnTo>
                  <a:lnTo>
                    <a:pt x="726" y="655"/>
                  </a:lnTo>
                  <a:lnTo>
                    <a:pt x="728" y="655"/>
                  </a:lnTo>
                  <a:lnTo>
                    <a:pt x="728" y="653"/>
                  </a:lnTo>
                  <a:lnTo>
                    <a:pt x="730" y="653"/>
                  </a:lnTo>
                  <a:lnTo>
                    <a:pt x="730" y="651"/>
                  </a:lnTo>
                  <a:lnTo>
                    <a:pt x="733" y="651"/>
                  </a:lnTo>
                  <a:lnTo>
                    <a:pt x="733" y="648"/>
                  </a:lnTo>
                  <a:lnTo>
                    <a:pt x="735" y="648"/>
                  </a:lnTo>
                  <a:lnTo>
                    <a:pt x="737" y="648"/>
                  </a:lnTo>
                  <a:lnTo>
                    <a:pt x="737" y="646"/>
                  </a:lnTo>
                  <a:lnTo>
                    <a:pt x="735" y="646"/>
                  </a:lnTo>
                  <a:lnTo>
                    <a:pt x="735" y="648"/>
                  </a:lnTo>
                  <a:lnTo>
                    <a:pt x="737" y="646"/>
                  </a:lnTo>
                  <a:lnTo>
                    <a:pt x="737" y="643"/>
                  </a:lnTo>
                  <a:lnTo>
                    <a:pt x="740" y="641"/>
                  </a:lnTo>
                  <a:lnTo>
                    <a:pt x="742" y="639"/>
                  </a:lnTo>
                  <a:lnTo>
                    <a:pt x="745" y="636"/>
                  </a:lnTo>
                  <a:lnTo>
                    <a:pt x="747" y="636"/>
                  </a:lnTo>
                  <a:lnTo>
                    <a:pt x="749" y="636"/>
                  </a:lnTo>
                  <a:lnTo>
                    <a:pt x="749" y="639"/>
                  </a:lnTo>
                  <a:lnTo>
                    <a:pt x="752" y="639"/>
                  </a:lnTo>
                  <a:lnTo>
                    <a:pt x="754" y="639"/>
                  </a:lnTo>
                  <a:lnTo>
                    <a:pt x="754" y="641"/>
                  </a:lnTo>
                  <a:lnTo>
                    <a:pt x="756" y="641"/>
                  </a:lnTo>
                  <a:lnTo>
                    <a:pt x="759" y="641"/>
                  </a:lnTo>
                  <a:lnTo>
                    <a:pt x="759" y="643"/>
                  </a:lnTo>
                  <a:lnTo>
                    <a:pt x="756" y="643"/>
                  </a:lnTo>
                  <a:lnTo>
                    <a:pt x="754" y="646"/>
                  </a:lnTo>
                  <a:lnTo>
                    <a:pt x="756" y="646"/>
                  </a:lnTo>
                  <a:lnTo>
                    <a:pt x="754" y="646"/>
                  </a:lnTo>
                  <a:lnTo>
                    <a:pt x="756" y="646"/>
                  </a:lnTo>
                  <a:lnTo>
                    <a:pt x="756" y="643"/>
                  </a:lnTo>
                  <a:lnTo>
                    <a:pt x="759" y="643"/>
                  </a:lnTo>
                  <a:lnTo>
                    <a:pt x="761" y="643"/>
                  </a:lnTo>
                  <a:lnTo>
                    <a:pt x="764" y="643"/>
                  </a:lnTo>
                  <a:lnTo>
                    <a:pt x="766" y="643"/>
                  </a:lnTo>
                  <a:lnTo>
                    <a:pt x="768" y="643"/>
                  </a:lnTo>
                  <a:lnTo>
                    <a:pt x="771" y="643"/>
                  </a:lnTo>
                  <a:lnTo>
                    <a:pt x="773" y="643"/>
                  </a:lnTo>
                  <a:lnTo>
                    <a:pt x="775" y="643"/>
                  </a:lnTo>
                  <a:lnTo>
                    <a:pt x="778" y="643"/>
                  </a:lnTo>
                  <a:lnTo>
                    <a:pt x="775" y="643"/>
                  </a:lnTo>
                  <a:lnTo>
                    <a:pt x="778" y="643"/>
                  </a:lnTo>
                  <a:lnTo>
                    <a:pt x="780" y="643"/>
                  </a:lnTo>
                  <a:lnTo>
                    <a:pt x="783" y="643"/>
                  </a:lnTo>
                  <a:lnTo>
                    <a:pt x="783" y="646"/>
                  </a:lnTo>
                  <a:lnTo>
                    <a:pt x="783" y="648"/>
                  </a:lnTo>
                  <a:lnTo>
                    <a:pt x="785" y="648"/>
                  </a:lnTo>
                  <a:lnTo>
                    <a:pt x="787" y="648"/>
                  </a:lnTo>
                  <a:lnTo>
                    <a:pt x="790" y="648"/>
                  </a:lnTo>
                  <a:lnTo>
                    <a:pt x="790" y="651"/>
                  </a:lnTo>
                  <a:lnTo>
                    <a:pt x="790" y="648"/>
                  </a:lnTo>
                  <a:lnTo>
                    <a:pt x="790" y="651"/>
                  </a:lnTo>
                  <a:lnTo>
                    <a:pt x="792" y="651"/>
                  </a:lnTo>
                  <a:lnTo>
                    <a:pt x="794" y="653"/>
                  </a:lnTo>
                  <a:lnTo>
                    <a:pt x="792" y="653"/>
                  </a:lnTo>
                  <a:lnTo>
                    <a:pt x="792" y="655"/>
                  </a:lnTo>
                  <a:lnTo>
                    <a:pt x="792" y="653"/>
                  </a:lnTo>
                  <a:lnTo>
                    <a:pt x="792" y="655"/>
                  </a:lnTo>
                  <a:lnTo>
                    <a:pt x="790" y="655"/>
                  </a:lnTo>
                  <a:lnTo>
                    <a:pt x="787" y="655"/>
                  </a:lnTo>
                  <a:lnTo>
                    <a:pt x="787" y="658"/>
                  </a:lnTo>
                  <a:lnTo>
                    <a:pt x="785" y="658"/>
                  </a:lnTo>
                  <a:lnTo>
                    <a:pt x="787" y="658"/>
                  </a:lnTo>
                  <a:lnTo>
                    <a:pt x="785" y="658"/>
                  </a:lnTo>
                  <a:lnTo>
                    <a:pt x="785" y="660"/>
                  </a:lnTo>
                  <a:lnTo>
                    <a:pt x="783" y="660"/>
                  </a:lnTo>
                  <a:lnTo>
                    <a:pt x="780" y="660"/>
                  </a:lnTo>
                  <a:lnTo>
                    <a:pt x="783" y="660"/>
                  </a:lnTo>
                  <a:lnTo>
                    <a:pt x="783" y="662"/>
                  </a:lnTo>
                  <a:lnTo>
                    <a:pt x="783" y="660"/>
                  </a:lnTo>
                  <a:lnTo>
                    <a:pt x="783" y="662"/>
                  </a:lnTo>
                  <a:lnTo>
                    <a:pt x="783" y="665"/>
                  </a:lnTo>
                  <a:lnTo>
                    <a:pt x="785" y="665"/>
                  </a:lnTo>
                  <a:lnTo>
                    <a:pt x="787" y="667"/>
                  </a:lnTo>
                  <a:lnTo>
                    <a:pt x="787" y="670"/>
                  </a:lnTo>
                  <a:lnTo>
                    <a:pt x="787" y="672"/>
                  </a:lnTo>
                  <a:lnTo>
                    <a:pt x="787" y="674"/>
                  </a:lnTo>
                  <a:lnTo>
                    <a:pt x="785" y="674"/>
                  </a:lnTo>
                  <a:lnTo>
                    <a:pt x="785" y="677"/>
                  </a:lnTo>
                  <a:lnTo>
                    <a:pt x="783" y="677"/>
                  </a:lnTo>
                  <a:lnTo>
                    <a:pt x="783" y="679"/>
                  </a:lnTo>
                  <a:lnTo>
                    <a:pt x="785" y="679"/>
                  </a:lnTo>
                  <a:lnTo>
                    <a:pt x="783" y="679"/>
                  </a:lnTo>
                  <a:lnTo>
                    <a:pt x="783" y="677"/>
                  </a:lnTo>
                  <a:lnTo>
                    <a:pt x="785" y="677"/>
                  </a:lnTo>
                  <a:lnTo>
                    <a:pt x="785" y="674"/>
                  </a:lnTo>
                  <a:lnTo>
                    <a:pt x="787" y="674"/>
                  </a:lnTo>
                  <a:lnTo>
                    <a:pt x="787" y="672"/>
                  </a:lnTo>
                  <a:lnTo>
                    <a:pt x="787" y="674"/>
                  </a:lnTo>
                  <a:lnTo>
                    <a:pt x="790" y="674"/>
                  </a:lnTo>
                  <a:lnTo>
                    <a:pt x="790" y="677"/>
                  </a:lnTo>
                  <a:lnTo>
                    <a:pt x="787" y="679"/>
                  </a:lnTo>
                  <a:lnTo>
                    <a:pt x="787" y="682"/>
                  </a:lnTo>
                  <a:lnTo>
                    <a:pt x="787" y="684"/>
                  </a:lnTo>
                  <a:lnTo>
                    <a:pt x="787" y="682"/>
                  </a:lnTo>
                  <a:lnTo>
                    <a:pt x="787" y="684"/>
                  </a:lnTo>
                  <a:lnTo>
                    <a:pt x="790" y="684"/>
                  </a:lnTo>
                  <a:lnTo>
                    <a:pt x="790" y="686"/>
                  </a:lnTo>
                  <a:lnTo>
                    <a:pt x="790" y="689"/>
                  </a:lnTo>
                  <a:lnTo>
                    <a:pt x="792" y="689"/>
                  </a:lnTo>
                  <a:lnTo>
                    <a:pt x="792" y="691"/>
                  </a:lnTo>
                  <a:lnTo>
                    <a:pt x="794" y="693"/>
                  </a:lnTo>
                  <a:lnTo>
                    <a:pt x="794" y="696"/>
                  </a:lnTo>
                  <a:lnTo>
                    <a:pt x="797" y="696"/>
                  </a:lnTo>
                  <a:lnTo>
                    <a:pt x="794" y="696"/>
                  </a:lnTo>
                  <a:lnTo>
                    <a:pt x="794" y="693"/>
                  </a:lnTo>
                  <a:lnTo>
                    <a:pt x="792" y="691"/>
                  </a:lnTo>
                  <a:lnTo>
                    <a:pt x="792" y="689"/>
                  </a:lnTo>
                  <a:lnTo>
                    <a:pt x="790" y="689"/>
                  </a:lnTo>
                  <a:lnTo>
                    <a:pt x="790" y="686"/>
                  </a:lnTo>
                  <a:lnTo>
                    <a:pt x="790" y="684"/>
                  </a:lnTo>
                  <a:lnTo>
                    <a:pt x="787" y="684"/>
                  </a:lnTo>
                  <a:lnTo>
                    <a:pt x="787" y="682"/>
                  </a:lnTo>
                  <a:lnTo>
                    <a:pt x="790" y="682"/>
                  </a:lnTo>
                  <a:lnTo>
                    <a:pt x="787" y="682"/>
                  </a:lnTo>
                  <a:lnTo>
                    <a:pt x="787" y="679"/>
                  </a:lnTo>
                  <a:lnTo>
                    <a:pt x="790" y="677"/>
                  </a:lnTo>
                  <a:lnTo>
                    <a:pt x="790" y="674"/>
                  </a:lnTo>
                  <a:lnTo>
                    <a:pt x="787" y="674"/>
                  </a:lnTo>
                  <a:lnTo>
                    <a:pt x="787" y="672"/>
                  </a:lnTo>
                  <a:lnTo>
                    <a:pt x="787" y="670"/>
                  </a:lnTo>
                  <a:lnTo>
                    <a:pt x="787" y="667"/>
                  </a:lnTo>
                  <a:lnTo>
                    <a:pt x="787" y="665"/>
                  </a:lnTo>
                  <a:lnTo>
                    <a:pt x="785" y="662"/>
                  </a:lnTo>
                  <a:lnTo>
                    <a:pt x="783" y="665"/>
                  </a:lnTo>
                  <a:lnTo>
                    <a:pt x="783" y="662"/>
                  </a:lnTo>
                  <a:lnTo>
                    <a:pt x="785" y="662"/>
                  </a:lnTo>
                  <a:lnTo>
                    <a:pt x="785" y="660"/>
                  </a:lnTo>
                  <a:lnTo>
                    <a:pt x="787" y="658"/>
                  </a:lnTo>
                  <a:lnTo>
                    <a:pt x="790" y="658"/>
                  </a:lnTo>
                  <a:lnTo>
                    <a:pt x="792" y="658"/>
                  </a:lnTo>
                  <a:lnTo>
                    <a:pt x="794" y="655"/>
                  </a:lnTo>
                  <a:lnTo>
                    <a:pt x="797" y="655"/>
                  </a:lnTo>
                  <a:lnTo>
                    <a:pt x="794" y="655"/>
                  </a:lnTo>
                  <a:lnTo>
                    <a:pt x="797" y="655"/>
                  </a:lnTo>
                  <a:lnTo>
                    <a:pt x="799" y="655"/>
                  </a:lnTo>
                  <a:lnTo>
                    <a:pt x="802" y="655"/>
                  </a:lnTo>
                  <a:lnTo>
                    <a:pt x="802" y="658"/>
                  </a:lnTo>
                  <a:lnTo>
                    <a:pt x="802" y="660"/>
                  </a:lnTo>
                  <a:lnTo>
                    <a:pt x="804" y="662"/>
                  </a:lnTo>
                  <a:lnTo>
                    <a:pt x="806" y="662"/>
                  </a:lnTo>
                  <a:lnTo>
                    <a:pt x="806" y="665"/>
                  </a:lnTo>
                  <a:lnTo>
                    <a:pt x="804" y="665"/>
                  </a:lnTo>
                  <a:lnTo>
                    <a:pt x="806" y="667"/>
                  </a:lnTo>
                  <a:lnTo>
                    <a:pt x="804" y="667"/>
                  </a:lnTo>
                  <a:lnTo>
                    <a:pt x="806" y="667"/>
                  </a:lnTo>
                  <a:lnTo>
                    <a:pt x="806" y="670"/>
                  </a:lnTo>
                  <a:lnTo>
                    <a:pt x="809" y="670"/>
                  </a:lnTo>
                  <a:lnTo>
                    <a:pt x="809" y="672"/>
                  </a:lnTo>
                  <a:lnTo>
                    <a:pt x="809" y="674"/>
                  </a:lnTo>
                  <a:lnTo>
                    <a:pt x="811" y="677"/>
                  </a:lnTo>
                  <a:lnTo>
                    <a:pt x="811" y="679"/>
                  </a:lnTo>
                  <a:lnTo>
                    <a:pt x="811" y="682"/>
                  </a:lnTo>
                  <a:lnTo>
                    <a:pt x="811" y="684"/>
                  </a:lnTo>
                  <a:lnTo>
                    <a:pt x="813" y="684"/>
                  </a:lnTo>
                  <a:lnTo>
                    <a:pt x="816" y="684"/>
                  </a:lnTo>
                  <a:lnTo>
                    <a:pt x="816" y="686"/>
                  </a:lnTo>
                  <a:lnTo>
                    <a:pt x="816" y="689"/>
                  </a:lnTo>
                  <a:lnTo>
                    <a:pt x="818" y="689"/>
                  </a:lnTo>
                  <a:lnTo>
                    <a:pt x="816" y="689"/>
                  </a:lnTo>
                  <a:lnTo>
                    <a:pt x="816" y="686"/>
                  </a:lnTo>
                  <a:lnTo>
                    <a:pt x="818" y="689"/>
                  </a:lnTo>
                  <a:lnTo>
                    <a:pt x="821" y="689"/>
                  </a:lnTo>
                  <a:lnTo>
                    <a:pt x="818" y="689"/>
                  </a:lnTo>
                  <a:lnTo>
                    <a:pt x="821" y="689"/>
                  </a:lnTo>
                  <a:lnTo>
                    <a:pt x="823" y="689"/>
                  </a:lnTo>
                  <a:lnTo>
                    <a:pt x="821" y="689"/>
                  </a:lnTo>
                  <a:lnTo>
                    <a:pt x="823" y="689"/>
                  </a:lnTo>
                  <a:lnTo>
                    <a:pt x="825" y="689"/>
                  </a:lnTo>
                  <a:lnTo>
                    <a:pt x="825" y="691"/>
                  </a:lnTo>
                  <a:lnTo>
                    <a:pt x="825" y="693"/>
                  </a:lnTo>
                  <a:lnTo>
                    <a:pt x="828" y="693"/>
                  </a:lnTo>
                  <a:lnTo>
                    <a:pt x="830" y="693"/>
                  </a:lnTo>
                  <a:lnTo>
                    <a:pt x="832" y="693"/>
                  </a:lnTo>
                  <a:lnTo>
                    <a:pt x="830" y="693"/>
                  </a:lnTo>
                  <a:lnTo>
                    <a:pt x="832" y="693"/>
                  </a:lnTo>
                  <a:lnTo>
                    <a:pt x="835" y="693"/>
                  </a:lnTo>
                  <a:lnTo>
                    <a:pt x="835" y="696"/>
                  </a:lnTo>
                  <a:lnTo>
                    <a:pt x="832" y="696"/>
                  </a:lnTo>
                  <a:lnTo>
                    <a:pt x="832" y="693"/>
                  </a:lnTo>
                  <a:lnTo>
                    <a:pt x="832" y="696"/>
                  </a:lnTo>
                  <a:lnTo>
                    <a:pt x="835" y="696"/>
                  </a:lnTo>
                  <a:lnTo>
                    <a:pt x="837" y="698"/>
                  </a:lnTo>
                  <a:lnTo>
                    <a:pt x="837" y="701"/>
                  </a:lnTo>
                  <a:lnTo>
                    <a:pt x="840" y="701"/>
                  </a:lnTo>
                  <a:lnTo>
                    <a:pt x="840" y="703"/>
                  </a:lnTo>
                  <a:lnTo>
                    <a:pt x="840" y="705"/>
                  </a:lnTo>
                  <a:lnTo>
                    <a:pt x="842" y="705"/>
                  </a:lnTo>
                  <a:lnTo>
                    <a:pt x="844" y="705"/>
                  </a:lnTo>
                  <a:lnTo>
                    <a:pt x="842" y="708"/>
                  </a:lnTo>
                  <a:lnTo>
                    <a:pt x="844" y="708"/>
                  </a:lnTo>
                  <a:lnTo>
                    <a:pt x="844" y="710"/>
                  </a:lnTo>
                  <a:lnTo>
                    <a:pt x="847" y="710"/>
                  </a:lnTo>
                  <a:lnTo>
                    <a:pt x="849" y="712"/>
                  </a:lnTo>
                  <a:lnTo>
                    <a:pt x="851" y="712"/>
                  </a:lnTo>
                  <a:lnTo>
                    <a:pt x="854" y="712"/>
                  </a:lnTo>
                  <a:lnTo>
                    <a:pt x="851" y="712"/>
                  </a:lnTo>
                  <a:lnTo>
                    <a:pt x="854" y="712"/>
                  </a:lnTo>
                  <a:lnTo>
                    <a:pt x="854" y="715"/>
                  </a:lnTo>
                  <a:lnTo>
                    <a:pt x="856" y="715"/>
                  </a:lnTo>
                  <a:lnTo>
                    <a:pt x="856" y="717"/>
                  </a:lnTo>
                  <a:lnTo>
                    <a:pt x="858" y="717"/>
                  </a:lnTo>
                  <a:lnTo>
                    <a:pt x="858" y="720"/>
                  </a:lnTo>
                  <a:lnTo>
                    <a:pt x="858" y="722"/>
                  </a:lnTo>
                  <a:lnTo>
                    <a:pt x="858" y="720"/>
                  </a:lnTo>
                  <a:lnTo>
                    <a:pt x="858" y="717"/>
                  </a:lnTo>
                  <a:lnTo>
                    <a:pt x="858" y="715"/>
                  </a:lnTo>
                  <a:lnTo>
                    <a:pt x="858" y="717"/>
                  </a:lnTo>
                  <a:lnTo>
                    <a:pt x="858" y="715"/>
                  </a:lnTo>
                  <a:lnTo>
                    <a:pt x="856" y="715"/>
                  </a:lnTo>
                  <a:lnTo>
                    <a:pt x="854" y="715"/>
                  </a:lnTo>
                  <a:lnTo>
                    <a:pt x="854" y="712"/>
                  </a:lnTo>
                  <a:lnTo>
                    <a:pt x="851" y="712"/>
                  </a:lnTo>
                  <a:lnTo>
                    <a:pt x="849" y="712"/>
                  </a:lnTo>
                  <a:lnTo>
                    <a:pt x="849" y="710"/>
                  </a:lnTo>
                  <a:lnTo>
                    <a:pt x="847" y="710"/>
                  </a:lnTo>
                  <a:lnTo>
                    <a:pt x="844" y="710"/>
                  </a:lnTo>
                  <a:lnTo>
                    <a:pt x="844" y="708"/>
                  </a:lnTo>
                  <a:lnTo>
                    <a:pt x="844" y="705"/>
                  </a:lnTo>
                  <a:lnTo>
                    <a:pt x="842" y="705"/>
                  </a:lnTo>
                  <a:lnTo>
                    <a:pt x="844" y="705"/>
                  </a:lnTo>
                  <a:lnTo>
                    <a:pt x="842" y="705"/>
                  </a:lnTo>
                  <a:lnTo>
                    <a:pt x="840" y="705"/>
                  </a:lnTo>
                  <a:lnTo>
                    <a:pt x="840" y="703"/>
                  </a:lnTo>
                  <a:lnTo>
                    <a:pt x="840" y="701"/>
                  </a:lnTo>
                  <a:lnTo>
                    <a:pt x="840" y="698"/>
                  </a:lnTo>
                  <a:lnTo>
                    <a:pt x="837" y="698"/>
                  </a:lnTo>
                  <a:lnTo>
                    <a:pt x="840" y="698"/>
                  </a:lnTo>
                  <a:lnTo>
                    <a:pt x="837" y="698"/>
                  </a:lnTo>
                  <a:lnTo>
                    <a:pt x="837" y="696"/>
                  </a:lnTo>
                  <a:lnTo>
                    <a:pt x="835" y="696"/>
                  </a:lnTo>
                  <a:lnTo>
                    <a:pt x="837" y="696"/>
                  </a:lnTo>
                  <a:lnTo>
                    <a:pt x="835" y="696"/>
                  </a:lnTo>
                  <a:lnTo>
                    <a:pt x="835" y="693"/>
                  </a:lnTo>
                  <a:lnTo>
                    <a:pt x="832" y="693"/>
                  </a:lnTo>
                  <a:lnTo>
                    <a:pt x="830" y="693"/>
                  </a:lnTo>
                  <a:lnTo>
                    <a:pt x="828" y="693"/>
                  </a:lnTo>
                  <a:lnTo>
                    <a:pt x="825" y="693"/>
                  </a:lnTo>
                  <a:lnTo>
                    <a:pt x="825" y="691"/>
                  </a:lnTo>
                  <a:lnTo>
                    <a:pt x="825" y="689"/>
                  </a:lnTo>
                  <a:lnTo>
                    <a:pt x="823" y="686"/>
                  </a:lnTo>
                  <a:lnTo>
                    <a:pt x="825" y="686"/>
                  </a:lnTo>
                  <a:lnTo>
                    <a:pt x="828" y="686"/>
                  </a:lnTo>
                  <a:lnTo>
                    <a:pt x="828" y="684"/>
                  </a:lnTo>
                  <a:lnTo>
                    <a:pt x="830" y="684"/>
                  </a:lnTo>
                  <a:lnTo>
                    <a:pt x="830" y="686"/>
                  </a:lnTo>
                  <a:lnTo>
                    <a:pt x="830" y="684"/>
                  </a:lnTo>
                  <a:lnTo>
                    <a:pt x="828" y="684"/>
                  </a:lnTo>
                  <a:lnTo>
                    <a:pt x="828" y="682"/>
                  </a:lnTo>
                  <a:lnTo>
                    <a:pt x="828" y="679"/>
                  </a:lnTo>
                  <a:lnTo>
                    <a:pt x="830" y="679"/>
                  </a:lnTo>
                  <a:lnTo>
                    <a:pt x="832" y="682"/>
                  </a:lnTo>
                  <a:lnTo>
                    <a:pt x="832" y="679"/>
                  </a:lnTo>
                  <a:lnTo>
                    <a:pt x="835" y="679"/>
                  </a:lnTo>
                  <a:lnTo>
                    <a:pt x="837" y="679"/>
                  </a:lnTo>
                  <a:lnTo>
                    <a:pt x="835" y="679"/>
                  </a:lnTo>
                  <a:lnTo>
                    <a:pt x="832" y="679"/>
                  </a:lnTo>
                  <a:lnTo>
                    <a:pt x="832" y="682"/>
                  </a:lnTo>
                  <a:lnTo>
                    <a:pt x="830" y="682"/>
                  </a:lnTo>
                  <a:lnTo>
                    <a:pt x="830" y="679"/>
                  </a:lnTo>
                  <a:lnTo>
                    <a:pt x="828" y="677"/>
                  </a:lnTo>
                  <a:lnTo>
                    <a:pt x="828" y="679"/>
                  </a:lnTo>
                  <a:lnTo>
                    <a:pt x="828" y="682"/>
                  </a:lnTo>
                  <a:lnTo>
                    <a:pt x="828" y="684"/>
                  </a:lnTo>
                  <a:lnTo>
                    <a:pt x="830" y="684"/>
                  </a:lnTo>
                  <a:lnTo>
                    <a:pt x="828" y="684"/>
                  </a:lnTo>
                  <a:lnTo>
                    <a:pt x="828" y="686"/>
                  </a:lnTo>
                  <a:lnTo>
                    <a:pt x="825" y="686"/>
                  </a:lnTo>
                  <a:lnTo>
                    <a:pt x="823" y="686"/>
                  </a:lnTo>
                  <a:lnTo>
                    <a:pt x="823" y="689"/>
                  </a:lnTo>
                  <a:lnTo>
                    <a:pt x="825" y="689"/>
                  </a:lnTo>
                  <a:lnTo>
                    <a:pt x="823" y="689"/>
                  </a:lnTo>
                  <a:lnTo>
                    <a:pt x="821" y="689"/>
                  </a:lnTo>
                  <a:lnTo>
                    <a:pt x="818" y="689"/>
                  </a:lnTo>
                  <a:lnTo>
                    <a:pt x="818" y="686"/>
                  </a:lnTo>
                  <a:lnTo>
                    <a:pt x="816" y="686"/>
                  </a:lnTo>
                  <a:lnTo>
                    <a:pt x="818" y="686"/>
                  </a:lnTo>
                  <a:lnTo>
                    <a:pt x="816" y="686"/>
                  </a:lnTo>
                  <a:lnTo>
                    <a:pt x="816" y="684"/>
                  </a:lnTo>
                  <a:lnTo>
                    <a:pt x="816" y="686"/>
                  </a:lnTo>
                  <a:lnTo>
                    <a:pt x="816" y="684"/>
                  </a:lnTo>
                  <a:lnTo>
                    <a:pt x="816" y="686"/>
                  </a:lnTo>
                  <a:lnTo>
                    <a:pt x="816" y="684"/>
                  </a:lnTo>
                  <a:lnTo>
                    <a:pt x="813" y="684"/>
                  </a:lnTo>
                  <a:lnTo>
                    <a:pt x="813" y="682"/>
                  </a:lnTo>
                  <a:lnTo>
                    <a:pt x="813" y="684"/>
                  </a:lnTo>
                  <a:lnTo>
                    <a:pt x="813" y="682"/>
                  </a:lnTo>
                  <a:lnTo>
                    <a:pt x="813" y="679"/>
                  </a:lnTo>
                  <a:lnTo>
                    <a:pt x="813" y="682"/>
                  </a:lnTo>
                  <a:lnTo>
                    <a:pt x="813" y="679"/>
                  </a:lnTo>
                  <a:lnTo>
                    <a:pt x="811" y="679"/>
                  </a:lnTo>
                  <a:lnTo>
                    <a:pt x="811" y="677"/>
                  </a:lnTo>
                  <a:lnTo>
                    <a:pt x="813" y="677"/>
                  </a:lnTo>
                  <a:lnTo>
                    <a:pt x="813" y="679"/>
                  </a:lnTo>
                  <a:lnTo>
                    <a:pt x="813" y="677"/>
                  </a:lnTo>
                  <a:lnTo>
                    <a:pt x="811" y="677"/>
                  </a:lnTo>
                  <a:lnTo>
                    <a:pt x="811" y="674"/>
                  </a:lnTo>
                  <a:lnTo>
                    <a:pt x="811" y="672"/>
                  </a:lnTo>
                  <a:lnTo>
                    <a:pt x="809" y="672"/>
                  </a:lnTo>
                  <a:lnTo>
                    <a:pt x="811" y="672"/>
                  </a:lnTo>
                  <a:lnTo>
                    <a:pt x="809" y="672"/>
                  </a:lnTo>
                  <a:lnTo>
                    <a:pt x="809" y="670"/>
                  </a:lnTo>
                  <a:lnTo>
                    <a:pt x="806" y="667"/>
                  </a:lnTo>
                  <a:lnTo>
                    <a:pt x="806" y="665"/>
                  </a:lnTo>
                  <a:lnTo>
                    <a:pt x="809" y="665"/>
                  </a:lnTo>
                  <a:lnTo>
                    <a:pt x="809" y="662"/>
                  </a:lnTo>
                  <a:lnTo>
                    <a:pt x="809" y="660"/>
                  </a:lnTo>
                  <a:lnTo>
                    <a:pt x="809" y="662"/>
                  </a:lnTo>
                  <a:lnTo>
                    <a:pt x="809" y="660"/>
                  </a:lnTo>
                  <a:lnTo>
                    <a:pt x="809" y="658"/>
                  </a:lnTo>
                  <a:lnTo>
                    <a:pt x="806" y="658"/>
                  </a:lnTo>
                  <a:lnTo>
                    <a:pt x="809" y="658"/>
                  </a:lnTo>
                  <a:lnTo>
                    <a:pt x="806" y="658"/>
                  </a:lnTo>
                  <a:lnTo>
                    <a:pt x="806" y="655"/>
                  </a:lnTo>
                  <a:lnTo>
                    <a:pt x="806" y="653"/>
                  </a:lnTo>
                  <a:lnTo>
                    <a:pt x="806" y="651"/>
                  </a:lnTo>
                  <a:lnTo>
                    <a:pt x="809" y="651"/>
                  </a:lnTo>
                  <a:lnTo>
                    <a:pt x="806" y="651"/>
                  </a:lnTo>
                  <a:lnTo>
                    <a:pt x="809" y="651"/>
                  </a:lnTo>
                  <a:lnTo>
                    <a:pt x="809" y="648"/>
                  </a:lnTo>
                  <a:lnTo>
                    <a:pt x="809" y="646"/>
                  </a:lnTo>
                  <a:lnTo>
                    <a:pt x="811" y="646"/>
                  </a:lnTo>
                  <a:lnTo>
                    <a:pt x="811" y="643"/>
                  </a:lnTo>
                  <a:lnTo>
                    <a:pt x="811" y="641"/>
                  </a:lnTo>
                  <a:lnTo>
                    <a:pt x="813" y="641"/>
                  </a:lnTo>
                  <a:lnTo>
                    <a:pt x="813" y="639"/>
                  </a:lnTo>
                  <a:lnTo>
                    <a:pt x="816" y="639"/>
                  </a:lnTo>
                  <a:lnTo>
                    <a:pt x="816" y="636"/>
                  </a:lnTo>
                  <a:lnTo>
                    <a:pt x="816" y="634"/>
                  </a:lnTo>
                  <a:lnTo>
                    <a:pt x="818" y="632"/>
                  </a:lnTo>
                  <a:lnTo>
                    <a:pt x="818" y="629"/>
                  </a:lnTo>
                  <a:lnTo>
                    <a:pt x="821" y="629"/>
                  </a:lnTo>
                  <a:lnTo>
                    <a:pt x="823" y="629"/>
                  </a:lnTo>
                  <a:lnTo>
                    <a:pt x="823" y="632"/>
                  </a:lnTo>
                  <a:lnTo>
                    <a:pt x="825" y="629"/>
                  </a:lnTo>
                  <a:lnTo>
                    <a:pt x="823" y="629"/>
                  </a:lnTo>
                  <a:lnTo>
                    <a:pt x="825" y="629"/>
                  </a:lnTo>
                  <a:lnTo>
                    <a:pt x="823" y="629"/>
                  </a:lnTo>
                  <a:lnTo>
                    <a:pt x="821" y="629"/>
                  </a:lnTo>
                  <a:lnTo>
                    <a:pt x="818" y="627"/>
                  </a:lnTo>
                  <a:lnTo>
                    <a:pt x="816" y="624"/>
                  </a:lnTo>
                  <a:lnTo>
                    <a:pt x="816" y="622"/>
                  </a:lnTo>
                  <a:lnTo>
                    <a:pt x="818" y="620"/>
                  </a:lnTo>
                  <a:lnTo>
                    <a:pt x="821" y="620"/>
                  </a:lnTo>
                  <a:lnTo>
                    <a:pt x="821" y="617"/>
                  </a:lnTo>
                  <a:lnTo>
                    <a:pt x="821" y="620"/>
                  </a:lnTo>
                  <a:lnTo>
                    <a:pt x="821" y="617"/>
                  </a:lnTo>
                  <a:lnTo>
                    <a:pt x="818" y="617"/>
                  </a:lnTo>
                  <a:lnTo>
                    <a:pt x="821" y="617"/>
                  </a:lnTo>
                  <a:lnTo>
                    <a:pt x="818" y="617"/>
                  </a:lnTo>
                  <a:lnTo>
                    <a:pt x="821" y="617"/>
                  </a:lnTo>
                  <a:lnTo>
                    <a:pt x="821" y="615"/>
                  </a:lnTo>
                  <a:lnTo>
                    <a:pt x="821" y="617"/>
                  </a:lnTo>
                  <a:lnTo>
                    <a:pt x="818" y="615"/>
                  </a:lnTo>
                  <a:lnTo>
                    <a:pt x="821" y="615"/>
                  </a:lnTo>
                  <a:lnTo>
                    <a:pt x="821" y="613"/>
                  </a:lnTo>
                  <a:lnTo>
                    <a:pt x="818" y="613"/>
                  </a:lnTo>
                  <a:lnTo>
                    <a:pt x="821" y="613"/>
                  </a:lnTo>
                  <a:lnTo>
                    <a:pt x="818" y="613"/>
                  </a:lnTo>
                  <a:lnTo>
                    <a:pt x="818" y="610"/>
                  </a:lnTo>
                  <a:lnTo>
                    <a:pt x="816" y="610"/>
                  </a:lnTo>
                  <a:lnTo>
                    <a:pt x="816" y="608"/>
                  </a:lnTo>
                  <a:lnTo>
                    <a:pt x="813" y="608"/>
                  </a:lnTo>
                  <a:lnTo>
                    <a:pt x="813" y="605"/>
                  </a:lnTo>
                  <a:lnTo>
                    <a:pt x="816" y="605"/>
                  </a:lnTo>
                  <a:lnTo>
                    <a:pt x="818" y="603"/>
                  </a:lnTo>
                  <a:lnTo>
                    <a:pt x="816" y="603"/>
                  </a:lnTo>
                  <a:lnTo>
                    <a:pt x="816" y="605"/>
                  </a:lnTo>
                  <a:lnTo>
                    <a:pt x="813" y="605"/>
                  </a:lnTo>
                  <a:lnTo>
                    <a:pt x="811" y="605"/>
                  </a:lnTo>
                  <a:lnTo>
                    <a:pt x="811" y="603"/>
                  </a:lnTo>
                  <a:lnTo>
                    <a:pt x="809" y="603"/>
                  </a:lnTo>
                  <a:lnTo>
                    <a:pt x="811" y="603"/>
                  </a:lnTo>
                  <a:lnTo>
                    <a:pt x="809" y="603"/>
                  </a:lnTo>
                  <a:lnTo>
                    <a:pt x="809" y="601"/>
                  </a:lnTo>
                  <a:lnTo>
                    <a:pt x="811" y="601"/>
                  </a:lnTo>
                  <a:lnTo>
                    <a:pt x="809" y="601"/>
                  </a:lnTo>
                  <a:lnTo>
                    <a:pt x="809" y="603"/>
                  </a:lnTo>
                  <a:lnTo>
                    <a:pt x="809" y="601"/>
                  </a:lnTo>
                  <a:lnTo>
                    <a:pt x="806" y="601"/>
                  </a:lnTo>
                  <a:lnTo>
                    <a:pt x="804" y="601"/>
                  </a:lnTo>
                  <a:lnTo>
                    <a:pt x="802" y="601"/>
                  </a:lnTo>
                  <a:lnTo>
                    <a:pt x="799" y="598"/>
                  </a:lnTo>
                  <a:lnTo>
                    <a:pt x="797" y="598"/>
                  </a:lnTo>
                  <a:lnTo>
                    <a:pt x="797" y="596"/>
                  </a:lnTo>
                  <a:lnTo>
                    <a:pt x="797" y="594"/>
                  </a:lnTo>
                  <a:lnTo>
                    <a:pt x="797" y="591"/>
                  </a:lnTo>
                  <a:lnTo>
                    <a:pt x="797" y="589"/>
                  </a:lnTo>
                  <a:lnTo>
                    <a:pt x="799" y="589"/>
                  </a:lnTo>
                  <a:lnTo>
                    <a:pt x="799" y="586"/>
                  </a:lnTo>
                  <a:lnTo>
                    <a:pt x="799" y="584"/>
                  </a:lnTo>
                  <a:lnTo>
                    <a:pt x="802" y="582"/>
                  </a:lnTo>
                  <a:lnTo>
                    <a:pt x="802" y="579"/>
                  </a:lnTo>
                  <a:lnTo>
                    <a:pt x="804" y="577"/>
                  </a:lnTo>
                  <a:lnTo>
                    <a:pt x="806" y="575"/>
                  </a:lnTo>
                  <a:lnTo>
                    <a:pt x="806" y="572"/>
                  </a:lnTo>
                  <a:lnTo>
                    <a:pt x="809" y="572"/>
                  </a:lnTo>
                  <a:lnTo>
                    <a:pt x="809" y="570"/>
                  </a:lnTo>
                  <a:lnTo>
                    <a:pt x="809" y="572"/>
                  </a:lnTo>
                  <a:lnTo>
                    <a:pt x="809" y="575"/>
                  </a:lnTo>
                  <a:lnTo>
                    <a:pt x="806" y="575"/>
                  </a:lnTo>
                  <a:lnTo>
                    <a:pt x="809" y="575"/>
                  </a:lnTo>
                  <a:lnTo>
                    <a:pt x="806" y="575"/>
                  </a:lnTo>
                  <a:lnTo>
                    <a:pt x="809" y="575"/>
                  </a:lnTo>
                  <a:lnTo>
                    <a:pt x="809" y="572"/>
                  </a:lnTo>
                  <a:lnTo>
                    <a:pt x="809" y="570"/>
                  </a:lnTo>
                  <a:lnTo>
                    <a:pt x="811" y="570"/>
                  </a:lnTo>
                  <a:lnTo>
                    <a:pt x="811" y="572"/>
                  </a:lnTo>
                  <a:lnTo>
                    <a:pt x="811" y="570"/>
                  </a:lnTo>
                  <a:lnTo>
                    <a:pt x="811" y="572"/>
                  </a:lnTo>
                  <a:lnTo>
                    <a:pt x="811" y="570"/>
                  </a:lnTo>
                  <a:lnTo>
                    <a:pt x="809" y="570"/>
                  </a:lnTo>
                  <a:lnTo>
                    <a:pt x="806" y="570"/>
                  </a:lnTo>
                  <a:lnTo>
                    <a:pt x="809" y="567"/>
                  </a:lnTo>
                  <a:lnTo>
                    <a:pt x="809" y="565"/>
                  </a:lnTo>
                  <a:lnTo>
                    <a:pt x="809" y="563"/>
                  </a:lnTo>
                  <a:lnTo>
                    <a:pt x="806" y="563"/>
                  </a:lnTo>
                  <a:lnTo>
                    <a:pt x="806" y="560"/>
                  </a:lnTo>
                  <a:lnTo>
                    <a:pt x="809" y="560"/>
                  </a:lnTo>
                  <a:lnTo>
                    <a:pt x="809" y="558"/>
                  </a:lnTo>
                  <a:lnTo>
                    <a:pt x="811" y="558"/>
                  </a:lnTo>
                  <a:lnTo>
                    <a:pt x="813" y="558"/>
                  </a:lnTo>
                  <a:lnTo>
                    <a:pt x="811" y="558"/>
                  </a:lnTo>
                  <a:lnTo>
                    <a:pt x="813" y="558"/>
                  </a:lnTo>
                  <a:lnTo>
                    <a:pt x="816" y="558"/>
                  </a:lnTo>
                  <a:lnTo>
                    <a:pt x="818" y="558"/>
                  </a:lnTo>
                  <a:lnTo>
                    <a:pt x="816" y="558"/>
                  </a:lnTo>
                  <a:lnTo>
                    <a:pt x="816" y="556"/>
                  </a:lnTo>
                  <a:lnTo>
                    <a:pt x="816" y="558"/>
                  </a:lnTo>
                  <a:lnTo>
                    <a:pt x="813" y="558"/>
                  </a:lnTo>
                  <a:lnTo>
                    <a:pt x="813" y="556"/>
                  </a:lnTo>
                  <a:lnTo>
                    <a:pt x="813" y="558"/>
                  </a:lnTo>
                  <a:lnTo>
                    <a:pt x="813" y="556"/>
                  </a:lnTo>
                  <a:lnTo>
                    <a:pt x="813" y="558"/>
                  </a:lnTo>
                  <a:lnTo>
                    <a:pt x="813" y="556"/>
                  </a:lnTo>
                  <a:lnTo>
                    <a:pt x="811" y="556"/>
                  </a:lnTo>
                  <a:lnTo>
                    <a:pt x="811" y="558"/>
                  </a:lnTo>
                  <a:lnTo>
                    <a:pt x="809" y="558"/>
                  </a:lnTo>
                  <a:lnTo>
                    <a:pt x="809" y="556"/>
                  </a:lnTo>
                  <a:lnTo>
                    <a:pt x="809" y="553"/>
                  </a:lnTo>
                  <a:lnTo>
                    <a:pt x="811" y="553"/>
                  </a:lnTo>
                  <a:lnTo>
                    <a:pt x="809" y="553"/>
                  </a:lnTo>
                  <a:lnTo>
                    <a:pt x="809" y="551"/>
                  </a:lnTo>
                  <a:lnTo>
                    <a:pt x="811" y="551"/>
                  </a:lnTo>
                  <a:lnTo>
                    <a:pt x="813" y="551"/>
                  </a:lnTo>
                  <a:lnTo>
                    <a:pt x="813" y="548"/>
                  </a:lnTo>
                  <a:lnTo>
                    <a:pt x="816" y="548"/>
                  </a:lnTo>
                  <a:lnTo>
                    <a:pt x="813" y="548"/>
                  </a:lnTo>
                  <a:lnTo>
                    <a:pt x="813" y="551"/>
                  </a:lnTo>
                  <a:lnTo>
                    <a:pt x="811" y="551"/>
                  </a:lnTo>
                  <a:lnTo>
                    <a:pt x="809" y="551"/>
                  </a:lnTo>
                  <a:lnTo>
                    <a:pt x="811" y="551"/>
                  </a:lnTo>
                  <a:lnTo>
                    <a:pt x="811" y="548"/>
                  </a:lnTo>
                  <a:lnTo>
                    <a:pt x="809" y="551"/>
                  </a:lnTo>
                  <a:lnTo>
                    <a:pt x="809" y="548"/>
                  </a:lnTo>
                  <a:lnTo>
                    <a:pt x="811" y="548"/>
                  </a:lnTo>
                  <a:lnTo>
                    <a:pt x="811" y="546"/>
                  </a:lnTo>
                  <a:lnTo>
                    <a:pt x="811" y="544"/>
                  </a:lnTo>
                  <a:lnTo>
                    <a:pt x="811" y="541"/>
                  </a:lnTo>
                  <a:lnTo>
                    <a:pt x="811" y="539"/>
                  </a:lnTo>
                  <a:lnTo>
                    <a:pt x="811" y="537"/>
                  </a:lnTo>
                  <a:lnTo>
                    <a:pt x="811" y="534"/>
                  </a:lnTo>
                  <a:lnTo>
                    <a:pt x="809" y="534"/>
                  </a:lnTo>
                  <a:lnTo>
                    <a:pt x="809" y="532"/>
                  </a:lnTo>
                  <a:lnTo>
                    <a:pt x="804" y="529"/>
                  </a:lnTo>
                  <a:lnTo>
                    <a:pt x="802" y="527"/>
                  </a:lnTo>
                  <a:lnTo>
                    <a:pt x="799" y="527"/>
                  </a:lnTo>
                  <a:lnTo>
                    <a:pt x="797" y="525"/>
                  </a:lnTo>
                  <a:lnTo>
                    <a:pt x="794" y="525"/>
                  </a:lnTo>
                  <a:lnTo>
                    <a:pt x="794" y="522"/>
                  </a:lnTo>
                  <a:lnTo>
                    <a:pt x="792" y="522"/>
                  </a:lnTo>
                  <a:lnTo>
                    <a:pt x="790" y="522"/>
                  </a:lnTo>
                  <a:lnTo>
                    <a:pt x="790" y="520"/>
                  </a:lnTo>
                  <a:lnTo>
                    <a:pt x="787" y="520"/>
                  </a:lnTo>
                  <a:lnTo>
                    <a:pt x="785" y="518"/>
                  </a:lnTo>
                  <a:lnTo>
                    <a:pt x="783" y="518"/>
                  </a:lnTo>
                  <a:lnTo>
                    <a:pt x="783" y="515"/>
                  </a:lnTo>
                  <a:lnTo>
                    <a:pt x="780" y="515"/>
                  </a:lnTo>
                  <a:lnTo>
                    <a:pt x="780" y="513"/>
                  </a:lnTo>
                  <a:lnTo>
                    <a:pt x="783" y="513"/>
                  </a:lnTo>
                  <a:lnTo>
                    <a:pt x="785" y="513"/>
                  </a:lnTo>
                  <a:lnTo>
                    <a:pt x="787" y="513"/>
                  </a:lnTo>
                  <a:lnTo>
                    <a:pt x="790" y="513"/>
                  </a:lnTo>
                  <a:lnTo>
                    <a:pt x="790" y="515"/>
                  </a:lnTo>
                  <a:lnTo>
                    <a:pt x="792" y="515"/>
                  </a:lnTo>
                  <a:lnTo>
                    <a:pt x="794" y="515"/>
                  </a:lnTo>
                  <a:lnTo>
                    <a:pt x="797" y="518"/>
                  </a:lnTo>
                  <a:lnTo>
                    <a:pt x="799" y="518"/>
                  </a:lnTo>
                  <a:lnTo>
                    <a:pt x="802" y="520"/>
                  </a:lnTo>
                  <a:lnTo>
                    <a:pt x="804" y="520"/>
                  </a:lnTo>
                  <a:lnTo>
                    <a:pt x="806" y="520"/>
                  </a:lnTo>
                  <a:lnTo>
                    <a:pt x="809" y="520"/>
                  </a:lnTo>
                  <a:lnTo>
                    <a:pt x="811" y="520"/>
                  </a:lnTo>
                  <a:lnTo>
                    <a:pt x="813" y="520"/>
                  </a:lnTo>
                  <a:lnTo>
                    <a:pt x="816" y="520"/>
                  </a:lnTo>
                  <a:lnTo>
                    <a:pt x="818" y="520"/>
                  </a:lnTo>
                  <a:lnTo>
                    <a:pt x="821" y="520"/>
                  </a:lnTo>
                  <a:lnTo>
                    <a:pt x="823" y="520"/>
                  </a:lnTo>
                  <a:lnTo>
                    <a:pt x="825" y="520"/>
                  </a:lnTo>
                  <a:lnTo>
                    <a:pt x="828" y="520"/>
                  </a:lnTo>
                  <a:lnTo>
                    <a:pt x="830" y="520"/>
                  </a:lnTo>
                  <a:lnTo>
                    <a:pt x="832" y="520"/>
                  </a:lnTo>
                  <a:lnTo>
                    <a:pt x="835" y="520"/>
                  </a:lnTo>
                  <a:lnTo>
                    <a:pt x="837" y="520"/>
                  </a:lnTo>
                  <a:lnTo>
                    <a:pt x="840" y="520"/>
                  </a:lnTo>
                  <a:lnTo>
                    <a:pt x="842" y="520"/>
                  </a:lnTo>
                  <a:lnTo>
                    <a:pt x="847" y="520"/>
                  </a:lnTo>
                  <a:lnTo>
                    <a:pt x="851" y="522"/>
                  </a:lnTo>
                  <a:lnTo>
                    <a:pt x="854" y="522"/>
                  </a:lnTo>
                  <a:lnTo>
                    <a:pt x="856" y="522"/>
                  </a:lnTo>
                  <a:lnTo>
                    <a:pt x="858" y="522"/>
                  </a:lnTo>
                  <a:lnTo>
                    <a:pt x="861" y="522"/>
                  </a:lnTo>
                  <a:lnTo>
                    <a:pt x="861" y="525"/>
                  </a:lnTo>
                  <a:lnTo>
                    <a:pt x="863" y="525"/>
                  </a:lnTo>
                  <a:lnTo>
                    <a:pt x="866" y="525"/>
                  </a:lnTo>
                  <a:lnTo>
                    <a:pt x="868" y="525"/>
                  </a:lnTo>
                  <a:lnTo>
                    <a:pt x="870" y="527"/>
                  </a:lnTo>
                  <a:lnTo>
                    <a:pt x="868" y="527"/>
                  </a:lnTo>
                  <a:lnTo>
                    <a:pt x="868" y="525"/>
                  </a:lnTo>
                  <a:lnTo>
                    <a:pt x="868" y="527"/>
                  </a:lnTo>
                  <a:lnTo>
                    <a:pt x="866" y="527"/>
                  </a:lnTo>
                  <a:lnTo>
                    <a:pt x="868" y="527"/>
                  </a:lnTo>
                  <a:lnTo>
                    <a:pt x="866" y="527"/>
                  </a:lnTo>
                  <a:lnTo>
                    <a:pt x="868" y="527"/>
                  </a:lnTo>
                  <a:lnTo>
                    <a:pt x="868" y="529"/>
                  </a:lnTo>
                  <a:lnTo>
                    <a:pt x="870" y="529"/>
                  </a:lnTo>
                  <a:lnTo>
                    <a:pt x="870" y="532"/>
                  </a:lnTo>
                  <a:lnTo>
                    <a:pt x="870" y="534"/>
                  </a:lnTo>
                  <a:lnTo>
                    <a:pt x="873" y="534"/>
                  </a:lnTo>
                  <a:lnTo>
                    <a:pt x="875" y="534"/>
                  </a:lnTo>
                  <a:lnTo>
                    <a:pt x="875" y="537"/>
                  </a:lnTo>
                  <a:lnTo>
                    <a:pt x="877" y="537"/>
                  </a:lnTo>
                  <a:lnTo>
                    <a:pt x="877" y="539"/>
                  </a:lnTo>
                  <a:lnTo>
                    <a:pt x="880" y="539"/>
                  </a:lnTo>
                  <a:lnTo>
                    <a:pt x="880" y="541"/>
                  </a:lnTo>
                  <a:lnTo>
                    <a:pt x="882" y="541"/>
                  </a:lnTo>
                  <a:lnTo>
                    <a:pt x="882" y="539"/>
                  </a:lnTo>
                  <a:lnTo>
                    <a:pt x="882" y="541"/>
                  </a:lnTo>
                  <a:lnTo>
                    <a:pt x="885" y="541"/>
                  </a:lnTo>
                  <a:lnTo>
                    <a:pt x="885" y="544"/>
                  </a:lnTo>
                  <a:lnTo>
                    <a:pt x="887" y="544"/>
                  </a:lnTo>
                  <a:lnTo>
                    <a:pt x="887" y="546"/>
                  </a:lnTo>
                  <a:lnTo>
                    <a:pt x="889" y="546"/>
                  </a:lnTo>
                  <a:lnTo>
                    <a:pt x="887" y="546"/>
                  </a:lnTo>
                  <a:lnTo>
                    <a:pt x="885" y="546"/>
                  </a:lnTo>
                  <a:lnTo>
                    <a:pt x="882" y="546"/>
                  </a:lnTo>
                  <a:lnTo>
                    <a:pt x="885" y="546"/>
                  </a:lnTo>
                  <a:lnTo>
                    <a:pt x="887" y="546"/>
                  </a:lnTo>
                  <a:lnTo>
                    <a:pt x="887" y="548"/>
                  </a:lnTo>
                  <a:lnTo>
                    <a:pt x="887" y="551"/>
                  </a:lnTo>
                  <a:lnTo>
                    <a:pt x="889" y="551"/>
                  </a:lnTo>
                  <a:lnTo>
                    <a:pt x="889" y="553"/>
                  </a:lnTo>
                  <a:lnTo>
                    <a:pt x="892" y="556"/>
                  </a:lnTo>
                  <a:lnTo>
                    <a:pt x="892" y="558"/>
                  </a:lnTo>
                  <a:lnTo>
                    <a:pt x="894" y="558"/>
                  </a:lnTo>
                  <a:lnTo>
                    <a:pt x="892" y="558"/>
                  </a:lnTo>
                  <a:lnTo>
                    <a:pt x="892" y="560"/>
                  </a:lnTo>
                  <a:lnTo>
                    <a:pt x="894" y="560"/>
                  </a:lnTo>
                  <a:lnTo>
                    <a:pt x="894" y="563"/>
                  </a:lnTo>
                  <a:lnTo>
                    <a:pt x="892" y="563"/>
                  </a:lnTo>
                  <a:lnTo>
                    <a:pt x="894" y="563"/>
                  </a:lnTo>
                  <a:lnTo>
                    <a:pt x="892" y="563"/>
                  </a:lnTo>
                  <a:lnTo>
                    <a:pt x="889" y="563"/>
                  </a:lnTo>
                  <a:lnTo>
                    <a:pt x="887" y="563"/>
                  </a:lnTo>
                  <a:lnTo>
                    <a:pt x="885" y="563"/>
                  </a:lnTo>
                  <a:lnTo>
                    <a:pt x="882" y="563"/>
                  </a:lnTo>
                  <a:lnTo>
                    <a:pt x="880" y="563"/>
                  </a:lnTo>
                  <a:lnTo>
                    <a:pt x="880" y="560"/>
                  </a:lnTo>
                  <a:lnTo>
                    <a:pt x="880" y="563"/>
                  </a:lnTo>
                  <a:lnTo>
                    <a:pt x="875" y="563"/>
                  </a:lnTo>
                  <a:lnTo>
                    <a:pt x="873" y="565"/>
                  </a:lnTo>
                  <a:lnTo>
                    <a:pt x="870" y="565"/>
                  </a:lnTo>
                  <a:lnTo>
                    <a:pt x="870" y="563"/>
                  </a:lnTo>
                  <a:lnTo>
                    <a:pt x="868" y="565"/>
                  </a:lnTo>
                  <a:lnTo>
                    <a:pt x="866" y="565"/>
                  </a:lnTo>
                  <a:lnTo>
                    <a:pt x="863" y="565"/>
                  </a:lnTo>
                  <a:lnTo>
                    <a:pt x="861" y="565"/>
                  </a:lnTo>
                  <a:lnTo>
                    <a:pt x="861" y="567"/>
                  </a:lnTo>
                  <a:lnTo>
                    <a:pt x="858" y="567"/>
                  </a:lnTo>
                  <a:lnTo>
                    <a:pt x="858" y="565"/>
                  </a:lnTo>
                  <a:lnTo>
                    <a:pt x="856" y="565"/>
                  </a:lnTo>
                  <a:lnTo>
                    <a:pt x="854" y="567"/>
                  </a:lnTo>
                  <a:lnTo>
                    <a:pt x="851" y="567"/>
                  </a:lnTo>
                  <a:lnTo>
                    <a:pt x="849" y="567"/>
                  </a:lnTo>
                  <a:lnTo>
                    <a:pt x="849" y="570"/>
                  </a:lnTo>
                  <a:lnTo>
                    <a:pt x="847" y="570"/>
                  </a:lnTo>
                  <a:lnTo>
                    <a:pt x="844" y="570"/>
                  </a:lnTo>
                  <a:lnTo>
                    <a:pt x="847" y="570"/>
                  </a:lnTo>
                  <a:lnTo>
                    <a:pt x="844" y="570"/>
                  </a:lnTo>
                  <a:lnTo>
                    <a:pt x="847" y="570"/>
                  </a:lnTo>
                  <a:lnTo>
                    <a:pt x="849" y="570"/>
                  </a:lnTo>
                  <a:lnTo>
                    <a:pt x="849" y="572"/>
                  </a:lnTo>
                  <a:lnTo>
                    <a:pt x="849" y="575"/>
                  </a:lnTo>
                  <a:lnTo>
                    <a:pt x="847" y="575"/>
                  </a:lnTo>
                  <a:lnTo>
                    <a:pt x="847" y="577"/>
                  </a:lnTo>
                  <a:lnTo>
                    <a:pt x="844" y="577"/>
                  </a:lnTo>
                  <a:lnTo>
                    <a:pt x="842" y="577"/>
                  </a:lnTo>
                  <a:lnTo>
                    <a:pt x="840" y="579"/>
                  </a:lnTo>
                  <a:lnTo>
                    <a:pt x="837" y="579"/>
                  </a:lnTo>
                  <a:lnTo>
                    <a:pt x="837" y="582"/>
                  </a:lnTo>
                  <a:lnTo>
                    <a:pt x="835" y="582"/>
                  </a:lnTo>
                  <a:lnTo>
                    <a:pt x="835" y="584"/>
                  </a:lnTo>
                  <a:lnTo>
                    <a:pt x="835" y="586"/>
                  </a:lnTo>
                  <a:lnTo>
                    <a:pt x="835" y="589"/>
                  </a:lnTo>
                  <a:lnTo>
                    <a:pt x="835" y="591"/>
                  </a:lnTo>
                  <a:lnTo>
                    <a:pt x="832" y="591"/>
                  </a:lnTo>
                  <a:lnTo>
                    <a:pt x="835" y="591"/>
                  </a:lnTo>
                  <a:lnTo>
                    <a:pt x="832" y="591"/>
                  </a:lnTo>
                  <a:lnTo>
                    <a:pt x="835" y="591"/>
                  </a:lnTo>
                  <a:lnTo>
                    <a:pt x="837" y="591"/>
                  </a:lnTo>
                  <a:lnTo>
                    <a:pt x="837" y="594"/>
                  </a:lnTo>
                  <a:lnTo>
                    <a:pt x="840" y="594"/>
                  </a:lnTo>
                  <a:lnTo>
                    <a:pt x="842" y="594"/>
                  </a:lnTo>
                  <a:lnTo>
                    <a:pt x="842" y="596"/>
                  </a:lnTo>
                  <a:lnTo>
                    <a:pt x="844" y="596"/>
                  </a:lnTo>
                  <a:lnTo>
                    <a:pt x="847" y="596"/>
                  </a:lnTo>
                  <a:lnTo>
                    <a:pt x="849" y="598"/>
                  </a:lnTo>
                  <a:lnTo>
                    <a:pt x="851" y="598"/>
                  </a:lnTo>
                  <a:lnTo>
                    <a:pt x="854" y="598"/>
                  </a:lnTo>
                  <a:lnTo>
                    <a:pt x="856" y="601"/>
                  </a:lnTo>
                  <a:lnTo>
                    <a:pt x="858" y="603"/>
                  </a:lnTo>
                  <a:lnTo>
                    <a:pt x="856" y="605"/>
                  </a:lnTo>
                  <a:lnTo>
                    <a:pt x="858" y="605"/>
                  </a:lnTo>
                  <a:lnTo>
                    <a:pt x="856" y="605"/>
                  </a:lnTo>
                  <a:lnTo>
                    <a:pt x="854" y="605"/>
                  </a:lnTo>
                  <a:lnTo>
                    <a:pt x="854" y="608"/>
                  </a:lnTo>
                  <a:lnTo>
                    <a:pt x="854" y="605"/>
                  </a:lnTo>
                  <a:lnTo>
                    <a:pt x="856" y="605"/>
                  </a:lnTo>
                  <a:lnTo>
                    <a:pt x="858" y="605"/>
                  </a:lnTo>
                  <a:lnTo>
                    <a:pt x="858" y="608"/>
                  </a:lnTo>
                  <a:lnTo>
                    <a:pt x="861" y="608"/>
                  </a:lnTo>
                  <a:lnTo>
                    <a:pt x="861" y="610"/>
                  </a:lnTo>
                  <a:lnTo>
                    <a:pt x="863" y="613"/>
                  </a:lnTo>
                  <a:lnTo>
                    <a:pt x="863" y="615"/>
                  </a:lnTo>
                  <a:lnTo>
                    <a:pt x="866" y="615"/>
                  </a:lnTo>
                  <a:lnTo>
                    <a:pt x="866" y="617"/>
                  </a:lnTo>
                  <a:lnTo>
                    <a:pt x="868" y="617"/>
                  </a:lnTo>
                  <a:lnTo>
                    <a:pt x="870" y="617"/>
                  </a:lnTo>
                  <a:lnTo>
                    <a:pt x="870" y="620"/>
                  </a:lnTo>
                  <a:lnTo>
                    <a:pt x="868" y="620"/>
                  </a:lnTo>
                  <a:lnTo>
                    <a:pt x="868" y="622"/>
                  </a:lnTo>
                  <a:lnTo>
                    <a:pt x="866" y="622"/>
                  </a:lnTo>
                  <a:lnTo>
                    <a:pt x="866" y="624"/>
                  </a:lnTo>
                  <a:lnTo>
                    <a:pt x="868" y="624"/>
                  </a:lnTo>
                  <a:lnTo>
                    <a:pt x="866" y="624"/>
                  </a:lnTo>
                  <a:lnTo>
                    <a:pt x="866" y="627"/>
                  </a:lnTo>
                  <a:lnTo>
                    <a:pt x="866" y="629"/>
                  </a:lnTo>
                  <a:lnTo>
                    <a:pt x="866" y="627"/>
                  </a:lnTo>
                  <a:lnTo>
                    <a:pt x="866" y="624"/>
                  </a:lnTo>
                  <a:lnTo>
                    <a:pt x="868" y="624"/>
                  </a:lnTo>
                  <a:lnTo>
                    <a:pt x="866" y="624"/>
                  </a:lnTo>
                  <a:lnTo>
                    <a:pt x="866" y="622"/>
                  </a:lnTo>
                  <a:lnTo>
                    <a:pt x="868" y="622"/>
                  </a:lnTo>
                  <a:lnTo>
                    <a:pt x="868" y="620"/>
                  </a:lnTo>
                  <a:lnTo>
                    <a:pt x="870" y="620"/>
                  </a:lnTo>
                  <a:lnTo>
                    <a:pt x="873" y="620"/>
                  </a:lnTo>
                  <a:lnTo>
                    <a:pt x="875" y="620"/>
                  </a:lnTo>
                  <a:lnTo>
                    <a:pt x="877" y="620"/>
                  </a:lnTo>
                  <a:lnTo>
                    <a:pt x="880" y="620"/>
                  </a:lnTo>
                  <a:lnTo>
                    <a:pt x="882" y="617"/>
                  </a:lnTo>
                  <a:lnTo>
                    <a:pt x="885" y="617"/>
                  </a:lnTo>
                  <a:lnTo>
                    <a:pt x="887" y="617"/>
                  </a:lnTo>
                  <a:lnTo>
                    <a:pt x="889" y="617"/>
                  </a:lnTo>
                  <a:lnTo>
                    <a:pt x="889" y="620"/>
                  </a:lnTo>
                  <a:lnTo>
                    <a:pt x="887" y="620"/>
                  </a:lnTo>
                  <a:lnTo>
                    <a:pt x="887" y="622"/>
                  </a:lnTo>
                  <a:lnTo>
                    <a:pt x="885" y="622"/>
                  </a:lnTo>
                  <a:lnTo>
                    <a:pt x="882" y="622"/>
                  </a:lnTo>
                  <a:lnTo>
                    <a:pt x="882" y="624"/>
                  </a:lnTo>
                  <a:lnTo>
                    <a:pt x="885" y="624"/>
                  </a:lnTo>
                  <a:lnTo>
                    <a:pt x="885" y="627"/>
                  </a:lnTo>
                  <a:lnTo>
                    <a:pt x="882" y="627"/>
                  </a:lnTo>
                  <a:lnTo>
                    <a:pt x="885" y="627"/>
                  </a:lnTo>
                  <a:lnTo>
                    <a:pt x="885" y="629"/>
                  </a:lnTo>
                  <a:lnTo>
                    <a:pt x="887" y="629"/>
                  </a:lnTo>
                  <a:lnTo>
                    <a:pt x="885" y="629"/>
                  </a:lnTo>
                  <a:lnTo>
                    <a:pt x="885" y="632"/>
                  </a:lnTo>
                  <a:lnTo>
                    <a:pt x="887" y="632"/>
                  </a:lnTo>
                  <a:lnTo>
                    <a:pt x="885" y="632"/>
                  </a:lnTo>
                  <a:lnTo>
                    <a:pt x="887" y="632"/>
                  </a:lnTo>
                  <a:lnTo>
                    <a:pt x="885" y="632"/>
                  </a:lnTo>
                  <a:lnTo>
                    <a:pt x="885" y="629"/>
                  </a:lnTo>
                  <a:lnTo>
                    <a:pt x="887" y="629"/>
                  </a:lnTo>
                  <a:lnTo>
                    <a:pt x="885" y="629"/>
                  </a:lnTo>
                  <a:lnTo>
                    <a:pt x="885" y="627"/>
                  </a:lnTo>
                  <a:lnTo>
                    <a:pt x="882" y="627"/>
                  </a:lnTo>
                  <a:lnTo>
                    <a:pt x="885" y="627"/>
                  </a:lnTo>
                  <a:lnTo>
                    <a:pt x="885" y="624"/>
                  </a:lnTo>
                  <a:lnTo>
                    <a:pt x="882" y="624"/>
                  </a:lnTo>
                  <a:lnTo>
                    <a:pt x="885" y="624"/>
                  </a:lnTo>
                  <a:lnTo>
                    <a:pt x="885" y="622"/>
                  </a:lnTo>
                  <a:lnTo>
                    <a:pt x="887" y="622"/>
                  </a:lnTo>
                  <a:lnTo>
                    <a:pt x="889" y="620"/>
                  </a:lnTo>
                  <a:lnTo>
                    <a:pt x="887" y="620"/>
                  </a:lnTo>
                  <a:lnTo>
                    <a:pt x="889" y="620"/>
                  </a:lnTo>
                  <a:lnTo>
                    <a:pt x="887" y="620"/>
                  </a:lnTo>
                  <a:lnTo>
                    <a:pt x="889" y="620"/>
                  </a:lnTo>
                  <a:lnTo>
                    <a:pt x="892" y="620"/>
                  </a:lnTo>
                  <a:lnTo>
                    <a:pt x="894" y="620"/>
                  </a:lnTo>
                  <a:lnTo>
                    <a:pt x="896" y="620"/>
                  </a:lnTo>
                  <a:lnTo>
                    <a:pt x="899" y="617"/>
                  </a:lnTo>
                  <a:lnTo>
                    <a:pt x="899" y="620"/>
                  </a:lnTo>
                  <a:lnTo>
                    <a:pt x="901" y="620"/>
                  </a:lnTo>
                  <a:lnTo>
                    <a:pt x="899" y="620"/>
                  </a:lnTo>
                  <a:lnTo>
                    <a:pt x="901" y="620"/>
                  </a:lnTo>
                  <a:lnTo>
                    <a:pt x="899" y="620"/>
                  </a:lnTo>
                  <a:lnTo>
                    <a:pt x="901" y="620"/>
                  </a:lnTo>
                  <a:lnTo>
                    <a:pt x="899" y="620"/>
                  </a:lnTo>
                  <a:lnTo>
                    <a:pt x="901" y="620"/>
                  </a:lnTo>
                  <a:lnTo>
                    <a:pt x="899" y="620"/>
                  </a:lnTo>
                  <a:lnTo>
                    <a:pt x="899" y="622"/>
                  </a:lnTo>
                  <a:lnTo>
                    <a:pt x="901" y="620"/>
                  </a:lnTo>
                  <a:lnTo>
                    <a:pt x="901" y="622"/>
                  </a:lnTo>
                  <a:lnTo>
                    <a:pt x="901" y="620"/>
                  </a:lnTo>
                  <a:lnTo>
                    <a:pt x="899" y="620"/>
                  </a:lnTo>
                  <a:lnTo>
                    <a:pt x="901" y="620"/>
                  </a:lnTo>
                  <a:lnTo>
                    <a:pt x="899" y="620"/>
                  </a:lnTo>
                  <a:lnTo>
                    <a:pt x="901" y="620"/>
                  </a:lnTo>
                  <a:lnTo>
                    <a:pt x="899" y="620"/>
                  </a:lnTo>
                  <a:lnTo>
                    <a:pt x="901" y="620"/>
                  </a:lnTo>
                  <a:lnTo>
                    <a:pt x="901" y="617"/>
                  </a:lnTo>
                  <a:lnTo>
                    <a:pt x="904" y="617"/>
                  </a:lnTo>
                  <a:lnTo>
                    <a:pt x="906" y="617"/>
                  </a:lnTo>
                  <a:lnTo>
                    <a:pt x="908" y="617"/>
                  </a:lnTo>
                  <a:lnTo>
                    <a:pt x="911" y="615"/>
                  </a:lnTo>
                  <a:lnTo>
                    <a:pt x="913" y="615"/>
                  </a:lnTo>
                  <a:lnTo>
                    <a:pt x="915" y="615"/>
                  </a:lnTo>
                  <a:lnTo>
                    <a:pt x="918" y="615"/>
                  </a:lnTo>
                  <a:lnTo>
                    <a:pt x="920" y="615"/>
                  </a:lnTo>
                  <a:lnTo>
                    <a:pt x="923" y="615"/>
                  </a:lnTo>
                  <a:lnTo>
                    <a:pt x="923" y="617"/>
                  </a:lnTo>
                  <a:lnTo>
                    <a:pt x="920" y="617"/>
                  </a:lnTo>
                  <a:lnTo>
                    <a:pt x="923" y="617"/>
                  </a:lnTo>
                  <a:lnTo>
                    <a:pt x="925" y="617"/>
                  </a:lnTo>
                  <a:lnTo>
                    <a:pt x="925" y="620"/>
                  </a:lnTo>
                  <a:lnTo>
                    <a:pt x="927" y="620"/>
                  </a:lnTo>
                  <a:lnTo>
                    <a:pt x="925" y="620"/>
                  </a:lnTo>
                  <a:lnTo>
                    <a:pt x="927" y="622"/>
                  </a:lnTo>
                  <a:lnTo>
                    <a:pt x="927" y="624"/>
                  </a:lnTo>
                  <a:lnTo>
                    <a:pt x="927" y="622"/>
                  </a:lnTo>
                  <a:lnTo>
                    <a:pt x="930" y="622"/>
                  </a:lnTo>
                  <a:lnTo>
                    <a:pt x="930" y="624"/>
                  </a:lnTo>
                  <a:lnTo>
                    <a:pt x="927" y="624"/>
                  </a:lnTo>
                  <a:lnTo>
                    <a:pt x="930" y="624"/>
                  </a:lnTo>
                  <a:lnTo>
                    <a:pt x="932" y="624"/>
                  </a:lnTo>
                  <a:lnTo>
                    <a:pt x="930" y="624"/>
                  </a:lnTo>
                  <a:lnTo>
                    <a:pt x="930" y="627"/>
                  </a:lnTo>
                  <a:lnTo>
                    <a:pt x="932" y="627"/>
                  </a:lnTo>
                  <a:lnTo>
                    <a:pt x="934" y="627"/>
                  </a:lnTo>
                  <a:lnTo>
                    <a:pt x="932" y="627"/>
                  </a:lnTo>
                  <a:lnTo>
                    <a:pt x="932" y="629"/>
                  </a:lnTo>
                  <a:lnTo>
                    <a:pt x="932" y="627"/>
                  </a:lnTo>
                  <a:lnTo>
                    <a:pt x="934" y="627"/>
                  </a:lnTo>
                  <a:lnTo>
                    <a:pt x="932" y="627"/>
                  </a:lnTo>
                  <a:lnTo>
                    <a:pt x="930" y="627"/>
                  </a:lnTo>
                  <a:lnTo>
                    <a:pt x="930" y="624"/>
                  </a:lnTo>
                  <a:lnTo>
                    <a:pt x="932" y="624"/>
                  </a:lnTo>
                  <a:lnTo>
                    <a:pt x="930" y="624"/>
                  </a:lnTo>
                  <a:lnTo>
                    <a:pt x="927" y="624"/>
                  </a:lnTo>
                  <a:lnTo>
                    <a:pt x="930" y="624"/>
                  </a:lnTo>
                  <a:lnTo>
                    <a:pt x="930" y="622"/>
                  </a:lnTo>
                  <a:lnTo>
                    <a:pt x="927" y="622"/>
                  </a:lnTo>
                  <a:lnTo>
                    <a:pt x="925" y="622"/>
                  </a:lnTo>
                  <a:lnTo>
                    <a:pt x="925" y="620"/>
                  </a:lnTo>
                  <a:lnTo>
                    <a:pt x="927" y="620"/>
                  </a:lnTo>
                  <a:lnTo>
                    <a:pt x="925" y="620"/>
                  </a:lnTo>
                  <a:lnTo>
                    <a:pt x="925" y="617"/>
                  </a:lnTo>
                  <a:lnTo>
                    <a:pt x="923" y="617"/>
                  </a:lnTo>
                  <a:lnTo>
                    <a:pt x="923" y="615"/>
                  </a:lnTo>
                  <a:lnTo>
                    <a:pt x="923" y="613"/>
                  </a:lnTo>
                  <a:lnTo>
                    <a:pt x="925" y="613"/>
                  </a:lnTo>
                  <a:lnTo>
                    <a:pt x="925" y="610"/>
                  </a:lnTo>
                  <a:lnTo>
                    <a:pt x="927" y="610"/>
                  </a:lnTo>
                  <a:lnTo>
                    <a:pt x="927" y="608"/>
                  </a:lnTo>
                  <a:lnTo>
                    <a:pt x="927" y="605"/>
                  </a:lnTo>
                  <a:lnTo>
                    <a:pt x="927" y="603"/>
                  </a:lnTo>
                  <a:lnTo>
                    <a:pt x="927" y="601"/>
                  </a:lnTo>
                  <a:lnTo>
                    <a:pt x="930" y="601"/>
                  </a:lnTo>
                  <a:lnTo>
                    <a:pt x="930" y="603"/>
                  </a:lnTo>
                  <a:lnTo>
                    <a:pt x="930" y="601"/>
                  </a:lnTo>
                  <a:lnTo>
                    <a:pt x="930" y="603"/>
                  </a:lnTo>
                  <a:lnTo>
                    <a:pt x="932" y="603"/>
                  </a:lnTo>
                  <a:lnTo>
                    <a:pt x="930" y="603"/>
                  </a:lnTo>
                  <a:lnTo>
                    <a:pt x="930" y="601"/>
                  </a:lnTo>
                  <a:lnTo>
                    <a:pt x="930" y="603"/>
                  </a:lnTo>
                  <a:lnTo>
                    <a:pt x="930" y="601"/>
                  </a:lnTo>
                  <a:lnTo>
                    <a:pt x="927" y="601"/>
                  </a:lnTo>
                  <a:lnTo>
                    <a:pt x="927" y="598"/>
                  </a:lnTo>
                  <a:lnTo>
                    <a:pt x="925" y="598"/>
                  </a:lnTo>
                  <a:lnTo>
                    <a:pt x="927" y="598"/>
                  </a:lnTo>
                  <a:lnTo>
                    <a:pt x="927" y="596"/>
                  </a:lnTo>
                  <a:lnTo>
                    <a:pt x="930" y="596"/>
                  </a:lnTo>
                  <a:lnTo>
                    <a:pt x="930" y="594"/>
                  </a:lnTo>
                  <a:lnTo>
                    <a:pt x="927" y="594"/>
                  </a:lnTo>
                  <a:lnTo>
                    <a:pt x="927" y="591"/>
                  </a:lnTo>
                  <a:lnTo>
                    <a:pt x="930" y="591"/>
                  </a:lnTo>
                  <a:lnTo>
                    <a:pt x="932" y="591"/>
                  </a:lnTo>
                  <a:lnTo>
                    <a:pt x="930" y="591"/>
                  </a:lnTo>
                  <a:lnTo>
                    <a:pt x="927" y="591"/>
                  </a:lnTo>
                  <a:lnTo>
                    <a:pt x="930" y="591"/>
                  </a:lnTo>
                  <a:lnTo>
                    <a:pt x="930" y="589"/>
                  </a:lnTo>
                  <a:lnTo>
                    <a:pt x="932" y="589"/>
                  </a:lnTo>
                  <a:lnTo>
                    <a:pt x="934" y="589"/>
                  </a:lnTo>
                  <a:lnTo>
                    <a:pt x="932" y="589"/>
                  </a:lnTo>
                  <a:lnTo>
                    <a:pt x="930" y="589"/>
                  </a:lnTo>
                  <a:lnTo>
                    <a:pt x="932" y="586"/>
                  </a:lnTo>
                  <a:lnTo>
                    <a:pt x="934" y="586"/>
                  </a:lnTo>
                  <a:lnTo>
                    <a:pt x="932" y="586"/>
                  </a:lnTo>
                  <a:lnTo>
                    <a:pt x="934" y="584"/>
                  </a:lnTo>
                  <a:lnTo>
                    <a:pt x="934" y="582"/>
                  </a:lnTo>
                  <a:lnTo>
                    <a:pt x="937" y="582"/>
                  </a:lnTo>
                  <a:lnTo>
                    <a:pt x="934" y="582"/>
                  </a:lnTo>
                  <a:lnTo>
                    <a:pt x="932" y="582"/>
                  </a:lnTo>
                  <a:lnTo>
                    <a:pt x="932" y="579"/>
                  </a:lnTo>
                  <a:lnTo>
                    <a:pt x="932" y="577"/>
                  </a:lnTo>
                  <a:lnTo>
                    <a:pt x="930" y="577"/>
                  </a:lnTo>
                  <a:lnTo>
                    <a:pt x="932" y="575"/>
                  </a:lnTo>
                  <a:lnTo>
                    <a:pt x="934" y="575"/>
                  </a:lnTo>
                  <a:lnTo>
                    <a:pt x="937" y="572"/>
                  </a:lnTo>
                  <a:lnTo>
                    <a:pt x="937" y="575"/>
                  </a:lnTo>
                  <a:lnTo>
                    <a:pt x="939" y="575"/>
                  </a:lnTo>
                  <a:lnTo>
                    <a:pt x="939" y="577"/>
                  </a:lnTo>
                  <a:lnTo>
                    <a:pt x="939" y="575"/>
                  </a:lnTo>
                  <a:lnTo>
                    <a:pt x="942" y="575"/>
                  </a:lnTo>
                  <a:lnTo>
                    <a:pt x="944" y="572"/>
                  </a:lnTo>
                  <a:lnTo>
                    <a:pt x="946" y="572"/>
                  </a:lnTo>
                  <a:lnTo>
                    <a:pt x="949" y="572"/>
                  </a:lnTo>
                  <a:lnTo>
                    <a:pt x="951" y="572"/>
                  </a:lnTo>
                  <a:lnTo>
                    <a:pt x="953" y="572"/>
                  </a:lnTo>
                  <a:lnTo>
                    <a:pt x="956" y="570"/>
                  </a:lnTo>
                  <a:lnTo>
                    <a:pt x="958" y="570"/>
                  </a:lnTo>
                  <a:lnTo>
                    <a:pt x="961" y="570"/>
                  </a:lnTo>
                  <a:lnTo>
                    <a:pt x="958" y="570"/>
                  </a:lnTo>
                  <a:lnTo>
                    <a:pt x="961" y="570"/>
                  </a:lnTo>
                  <a:lnTo>
                    <a:pt x="963" y="570"/>
                  </a:lnTo>
                  <a:lnTo>
                    <a:pt x="961" y="570"/>
                  </a:lnTo>
                  <a:lnTo>
                    <a:pt x="963" y="570"/>
                  </a:lnTo>
                  <a:lnTo>
                    <a:pt x="965" y="570"/>
                  </a:lnTo>
                  <a:lnTo>
                    <a:pt x="965" y="572"/>
                  </a:lnTo>
                  <a:lnTo>
                    <a:pt x="968" y="572"/>
                  </a:lnTo>
                  <a:lnTo>
                    <a:pt x="970" y="572"/>
                  </a:lnTo>
                  <a:lnTo>
                    <a:pt x="968" y="572"/>
                  </a:lnTo>
                  <a:lnTo>
                    <a:pt x="968" y="575"/>
                  </a:lnTo>
                  <a:lnTo>
                    <a:pt x="965" y="575"/>
                  </a:lnTo>
                  <a:lnTo>
                    <a:pt x="968" y="575"/>
                  </a:lnTo>
                  <a:lnTo>
                    <a:pt x="965" y="575"/>
                  </a:lnTo>
                  <a:lnTo>
                    <a:pt x="968" y="575"/>
                  </a:lnTo>
                  <a:lnTo>
                    <a:pt x="968" y="572"/>
                  </a:lnTo>
                  <a:lnTo>
                    <a:pt x="968" y="575"/>
                  </a:lnTo>
                  <a:lnTo>
                    <a:pt x="970" y="575"/>
                  </a:lnTo>
                  <a:lnTo>
                    <a:pt x="970" y="577"/>
                  </a:lnTo>
                  <a:lnTo>
                    <a:pt x="970" y="575"/>
                  </a:lnTo>
                  <a:lnTo>
                    <a:pt x="970" y="577"/>
                  </a:lnTo>
                  <a:lnTo>
                    <a:pt x="972" y="577"/>
                  </a:lnTo>
                  <a:lnTo>
                    <a:pt x="970" y="575"/>
                  </a:lnTo>
                  <a:lnTo>
                    <a:pt x="972" y="575"/>
                  </a:lnTo>
                  <a:lnTo>
                    <a:pt x="972" y="577"/>
                  </a:lnTo>
                  <a:lnTo>
                    <a:pt x="972" y="575"/>
                  </a:lnTo>
                  <a:lnTo>
                    <a:pt x="972" y="577"/>
                  </a:lnTo>
                  <a:lnTo>
                    <a:pt x="970" y="577"/>
                  </a:lnTo>
                  <a:lnTo>
                    <a:pt x="972" y="577"/>
                  </a:lnTo>
                  <a:lnTo>
                    <a:pt x="970" y="577"/>
                  </a:lnTo>
                  <a:lnTo>
                    <a:pt x="972" y="579"/>
                  </a:lnTo>
                  <a:lnTo>
                    <a:pt x="970" y="579"/>
                  </a:lnTo>
                  <a:lnTo>
                    <a:pt x="972" y="579"/>
                  </a:lnTo>
                  <a:lnTo>
                    <a:pt x="970" y="579"/>
                  </a:lnTo>
                  <a:lnTo>
                    <a:pt x="972" y="579"/>
                  </a:lnTo>
                  <a:lnTo>
                    <a:pt x="975" y="579"/>
                  </a:lnTo>
                  <a:lnTo>
                    <a:pt x="977" y="579"/>
                  </a:lnTo>
                  <a:lnTo>
                    <a:pt x="975" y="579"/>
                  </a:lnTo>
                  <a:lnTo>
                    <a:pt x="972" y="579"/>
                  </a:lnTo>
                  <a:lnTo>
                    <a:pt x="970" y="579"/>
                  </a:lnTo>
                  <a:lnTo>
                    <a:pt x="972" y="579"/>
                  </a:lnTo>
                  <a:lnTo>
                    <a:pt x="972" y="577"/>
                  </a:lnTo>
                  <a:lnTo>
                    <a:pt x="970" y="577"/>
                  </a:lnTo>
                  <a:lnTo>
                    <a:pt x="972" y="577"/>
                  </a:lnTo>
                  <a:lnTo>
                    <a:pt x="970" y="577"/>
                  </a:lnTo>
                  <a:lnTo>
                    <a:pt x="972" y="577"/>
                  </a:lnTo>
                  <a:lnTo>
                    <a:pt x="972" y="575"/>
                  </a:lnTo>
                  <a:lnTo>
                    <a:pt x="970" y="575"/>
                  </a:lnTo>
                  <a:lnTo>
                    <a:pt x="972" y="575"/>
                  </a:lnTo>
                  <a:lnTo>
                    <a:pt x="970" y="575"/>
                  </a:lnTo>
                  <a:lnTo>
                    <a:pt x="970" y="572"/>
                  </a:lnTo>
                  <a:lnTo>
                    <a:pt x="970" y="575"/>
                  </a:lnTo>
                  <a:lnTo>
                    <a:pt x="970" y="572"/>
                  </a:lnTo>
                  <a:lnTo>
                    <a:pt x="968" y="572"/>
                  </a:lnTo>
                  <a:lnTo>
                    <a:pt x="968" y="570"/>
                  </a:lnTo>
                  <a:lnTo>
                    <a:pt x="965" y="570"/>
                  </a:lnTo>
                  <a:lnTo>
                    <a:pt x="965" y="567"/>
                  </a:lnTo>
                  <a:lnTo>
                    <a:pt x="963" y="567"/>
                  </a:lnTo>
                  <a:lnTo>
                    <a:pt x="961" y="567"/>
                  </a:lnTo>
                  <a:lnTo>
                    <a:pt x="961" y="570"/>
                  </a:lnTo>
                  <a:lnTo>
                    <a:pt x="961" y="567"/>
                  </a:lnTo>
                  <a:lnTo>
                    <a:pt x="963" y="565"/>
                  </a:lnTo>
                  <a:lnTo>
                    <a:pt x="961" y="565"/>
                  </a:lnTo>
                  <a:lnTo>
                    <a:pt x="963" y="565"/>
                  </a:lnTo>
                  <a:lnTo>
                    <a:pt x="963" y="563"/>
                  </a:lnTo>
                  <a:lnTo>
                    <a:pt x="961" y="563"/>
                  </a:lnTo>
                  <a:lnTo>
                    <a:pt x="961" y="560"/>
                  </a:lnTo>
                  <a:lnTo>
                    <a:pt x="958" y="560"/>
                  </a:lnTo>
                  <a:lnTo>
                    <a:pt x="961" y="560"/>
                  </a:lnTo>
                  <a:lnTo>
                    <a:pt x="958" y="558"/>
                  </a:lnTo>
                  <a:lnTo>
                    <a:pt x="958" y="560"/>
                  </a:lnTo>
                  <a:lnTo>
                    <a:pt x="958" y="558"/>
                  </a:lnTo>
                  <a:lnTo>
                    <a:pt x="956" y="558"/>
                  </a:lnTo>
                  <a:lnTo>
                    <a:pt x="956" y="556"/>
                  </a:lnTo>
                  <a:lnTo>
                    <a:pt x="956" y="558"/>
                  </a:lnTo>
                  <a:lnTo>
                    <a:pt x="958" y="558"/>
                  </a:lnTo>
                  <a:lnTo>
                    <a:pt x="961" y="560"/>
                  </a:lnTo>
                  <a:lnTo>
                    <a:pt x="963" y="560"/>
                  </a:lnTo>
                  <a:lnTo>
                    <a:pt x="965" y="563"/>
                  </a:lnTo>
                  <a:lnTo>
                    <a:pt x="968" y="563"/>
                  </a:lnTo>
                  <a:lnTo>
                    <a:pt x="970" y="560"/>
                  </a:lnTo>
                  <a:lnTo>
                    <a:pt x="972" y="560"/>
                  </a:lnTo>
                  <a:lnTo>
                    <a:pt x="975" y="560"/>
                  </a:lnTo>
                  <a:lnTo>
                    <a:pt x="982" y="558"/>
                  </a:lnTo>
                  <a:lnTo>
                    <a:pt x="984" y="556"/>
                  </a:lnTo>
                  <a:lnTo>
                    <a:pt x="987" y="556"/>
                  </a:lnTo>
                  <a:lnTo>
                    <a:pt x="989" y="553"/>
                  </a:lnTo>
                  <a:lnTo>
                    <a:pt x="996" y="551"/>
                  </a:lnTo>
                  <a:lnTo>
                    <a:pt x="998" y="551"/>
                  </a:lnTo>
                  <a:lnTo>
                    <a:pt x="1001" y="548"/>
                  </a:lnTo>
                  <a:lnTo>
                    <a:pt x="1003" y="546"/>
                  </a:lnTo>
                  <a:lnTo>
                    <a:pt x="1003" y="548"/>
                  </a:lnTo>
                  <a:lnTo>
                    <a:pt x="1001" y="548"/>
                  </a:lnTo>
                  <a:lnTo>
                    <a:pt x="1001" y="551"/>
                  </a:lnTo>
                  <a:lnTo>
                    <a:pt x="998" y="551"/>
                  </a:lnTo>
                  <a:lnTo>
                    <a:pt x="996" y="551"/>
                  </a:lnTo>
                  <a:lnTo>
                    <a:pt x="996" y="553"/>
                  </a:lnTo>
                  <a:lnTo>
                    <a:pt x="996" y="551"/>
                  </a:lnTo>
                  <a:lnTo>
                    <a:pt x="996" y="553"/>
                  </a:lnTo>
                  <a:lnTo>
                    <a:pt x="998" y="553"/>
                  </a:lnTo>
                  <a:lnTo>
                    <a:pt x="998" y="551"/>
                  </a:lnTo>
                  <a:lnTo>
                    <a:pt x="1001" y="551"/>
                  </a:lnTo>
                  <a:lnTo>
                    <a:pt x="1001" y="548"/>
                  </a:lnTo>
                  <a:lnTo>
                    <a:pt x="1003" y="548"/>
                  </a:lnTo>
                  <a:lnTo>
                    <a:pt x="1003" y="551"/>
                  </a:lnTo>
                  <a:lnTo>
                    <a:pt x="1003" y="548"/>
                  </a:lnTo>
                  <a:lnTo>
                    <a:pt x="1003" y="546"/>
                  </a:lnTo>
                  <a:lnTo>
                    <a:pt x="1003" y="548"/>
                  </a:lnTo>
                  <a:lnTo>
                    <a:pt x="1003" y="546"/>
                  </a:lnTo>
                  <a:lnTo>
                    <a:pt x="1006" y="546"/>
                  </a:lnTo>
                  <a:lnTo>
                    <a:pt x="1006" y="544"/>
                  </a:lnTo>
                  <a:lnTo>
                    <a:pt x="1010" y="544"/>
                  </a:lnTo>
                  <a:lnTo>
                    <a:pt x="1013" y="541"/>
                  </a:lnTo>
                  <a:lnTo>
                    <a:pt x="1017" y="539"/>
                  </a:lnTo>
                  <a:lnTo>
                    <a:pt x="1017" y="537"/>
                  </a:lnTo>
                  <a:lnTo>
                    <a:pt x="1022" y="534"/>
                  </a:lnTo>
                  <a:lnTo>
                    <a:pt x="1025" y="534"/>
                  </a:lnTo>
                  <a:lnTo>
                    <a:pt x="1025" y="532"/>
                  </a:lnTo>
                  <a:lnTo>
                    <a:pt x="1027" y="532"/>
                  </a:lnTo>
                  <a:lnTo>
                    <a:pt x="1027" y="529"/>
                  </a:lnTo>
                  <a:lnTo>
                    <a:pt x="1029" y="529"/>
                  </a:lnTo>
                  <a:lnTo>
                    <a:pt x="1029" y="532"/>
                  </a:lnTo>
                  <a:lnTo>
                    <a:pt x="1032" y="532"/>
                  </a:lnTo>
                  <a:lnTo>
                    <a:pt x="1034" y="532"/>
                  </a:lnTo>
                  <a:lnTo>
                    <a:pt x="1036" y="532"/>
                  </a:lnTo>
                  <a:lnTo>
                    <a:pt x="1039" y="532"/>
                  </a:lnTo>
                  <a:lnTo>
                    <a:pt x="1039" y="529"/>
                  </a:lnTo>
                  <a:lnTo>
                    <a:pt x="1041" y="529"/>
                  </a:lnTo>
                  <a:lnTo>
                    <a:pt x="1044" y="529"/>
                  </a:lnTo>
                  <a:lnTo>
                    <a:pt x="1046" y="529"/>
                  </a:lnTo>
                  <a:lnTo>
                    <a:pt x="1046" y="527"/>
                  </a:lnTo>
                  <a:lnTo>
                    <a:pt x="1048" y="527"/>
                  </a:lnTo>
                  <a:lnTo>
                    <a:pt x="1051" y="527"/>
                  </a:lnTo>
                  <a:lnTo>
                    <a:pt x="1053" y="527"/>
                  </a:lnTo>
                  <a:lnTo>
                    <a:pt x="1055" y="527"/>
                  </a:lnTo>
                  <a:lnTo>
                    <a:pt x="1053" y="527"/>
                  </a:lnTo>
                  <a:lnTo>
                    <a:pt x="1055" y="525"/>
                  </a:lnTo>
                  <a:lnTo>
                    <a:pt x="1053" y="525"/>
                  </a:lnTo>
                  <a:lnTo>
                    <a:pt x="1053" y="527"/>
                  </a:lnTo>
                  <a:lnTo>
                    <a:pt x="1053" y="525"/>
                  </a:lnTo>
                  <a:lnTo>
                    <a:pt x="1053" y="527"/>
                  </a:lnTo>
                  <a:lnTo>
                    <a:pt x="1051" y="527"/>
                  </a:lnTo>
                  <a:lnTo>
                    <a:pt x="1051" y="525"/>
                  </a:lnTo>
                  <a:lnTo>
                    <a:pt x="1053" y="525"/>
                  </a:lnTo>
                  <a:lnTo>
                    <a:pt x="1053" y="522"/>
                  </a:lnTo>
                  <a:lnTo>
                    <a:pt x="1055" y="522"/>
                  </a:lnTo>
                  <a:lnTo>
                    <a:pt x="1058" y="522"/>
                  </a:lnTo>
                  <a:lnTo>
                    <a:pt x="1060" y="522"/>
                  </a:lnTo>
                  <a:lnTo>
                    <a:pt x="1063" y="522"/>
                  </a:lnTo>
                  <a:lnTo>
                    <a:pt x="1065" y="522"/>
                  </a:lnTo>
                  <a:lnTo>
                    <a:pt x="1067" y="522"/>
                  </a:lnTo>
                  <a:lnTo>
                    <a:pt x="1067" y="520"/>
                  </a:lnTo>
                  <a:lnTo>
                    <a:pt x="1070" y="520"/>
                  </a:lnTo>
                  <a:lnTo>
                    <a:pt x="1074" y="518"/>
                  </a:lnTo>
                  <a:lnTo>
                    <a:pt x="1077" y="518"/>
                  </a:lnTo>
                  <a:lnTo>
                    <a:pt x="1077" y="520"/>
                  </a:lnTo>
                  <a:lnTo>
                    <a:pt x="1077" y="518"/>
                  </a:lnTo>
                  <a:lnTo>
                    <a:pt x="1077" y="520"/>
                  </a:lnTo>
                  <a:lnTo>
                    <a:pt x="1074" y="520"/>
                  </a:lnTo>
                  <a:lnTo>
                    <a:pt x="1077" y="520"/>
                  </a:lnTo>
                  <a:lnTo>
                    <a:pt x="1074" y="520"/>
                  </a:lnTo>
                  <a:lnTo>
                    <a:pt x="1072" y="520"/>
                  </a:lnTo>
                  <a:lnTo>
                    <a:pt x="1072" y="522"/>
                  </a:lnTo>
                  <a:lnTo>
                    <a:pt x="1070" y="522"/>
                  </a:lnTo>
                  <a:lnTo>
                    <a:pt x="1067" y="522"/>
                  </a:lnTo>
                  <a:lnTo>
                    <a:pt x="1070" y="522"/>
                  </a:lnTo>
                  <a:lnTo>
                    <a:pt x="1070" y="525"/>
                  </a:lnTo>
                  <a:lnTo>
                    <a:pt x="1070" y="522"/>
                  </a:lnTo>
                  <a:lnTo>
                    <a:pt x="1072" y="522"/>
                  </a:lnTo>
                  <a:lnTo>
                    <a:pt x="1074" y="522"/>
                  </a:lnTo>
                  <a:lnTo>
                    <a:pt x="1074" y="525"/>
                  </a:lnTo>
                  <a:lnTo>
                    <a:pt x="1077" y="525"/>
                  </a:lnTo>
                  <a:lnTo>
                    <a:pt x="1074" y="525"/>
                  </a:lnTo>
                  <a:lnTo>
                    <a:pt x="1077" y="525"/>
                  </a:lnTo>
                  <a:lnTo>
                    <a:pt x="1079" y="525"/>
                  </a:lnTo>
                  <a:lnTo>
                    <a:pt x="1077" y="525"/>
                  </a:lnTo>
                  <a:lnTo>
                    <a:pt x="1079" y="527"/>
                  </a:lnTo>
                  <a:lnTo>
                    <a:pt x="1077" y="527"/>
                  </a:lnTo>
                  <a:lnTo>
                    <a:pt x="1074" y="529"/>
                  </a:lnTo>
                  <a:lnTo>
                    <a:pt x="1072" y="529"/>
                  </a:lnTo>
                  <a:lnTo>
                    <a:pt x="1074" y="529"/>
                  </a:lnTo>
                  <a:lnTo>
                    <a:pt x="1072" y="529"/>
                  </a:lnTo>
                  <a:lnTo>
                    <a:pt x="1072" y="532"/>
                  </a:lnTo>
                  <a:lnTo>
                    <a:pt x="1074" y="532"/>
                  </a:lnTo>
                  <a:lnTo>
                    <a:pt x="1077" y="532"/>
                  </a:lnTo>
                  <a:lnTo>
                    <a:pt x="1077" y="534"/>
                  </a:lnTo>
                  <a:lnTo>
                    <a:pt x="1077" y="532"/>
                  </a:lnTo>
                  <a:lnTo>
                    <a:pt x="1077" y="534"/>
                  </a:lnTo>
                  <a:lnTo>
                    <a:pt x="1077" y="537"/>
                  </a:lnTo>
                  <a:lnTo>
                    <a:pt x="1077" y="534"/>
                  </a:lnTo>
                  <a:lnTo>
                    <a:pt x="1079" y="534"/>
                  </a:lnTo>
                  <a:lnTo>
                    <a:pt x="1077" y="534"/>
                  </a:lnTo>
                  <a:lnTo>
                    <a:pt x="1079" y="534"/>
                  </a:lnTo>
                  <a:lnTo>
                    <a:pt x="1079" y="532"/>
                  </a:lnTo>
                  <a:lnTo>
                    <a:pt x="1079" y="534"/>
                  </a:lnTo>
                  <a:lnTo>
                    <a:pt x="1079" y="532"/>
                  </a:lnTo>
                  <a:lnTo>
                    <a:pt x="1082" y="532"/>
                  </a:lnTo>
                  <a:lnTo>
                    <a:pt x="1084" y="532"/>
                  </a:lnTo>
                  <a:lnTo>
                    <a:pt x="1086" y="529"/>
                  </a:lnTo>
                  <a:lnTo>
                    <a:pt x="1086" y="532"/>
                  </a:lnTo>
                  <a:lnTo>
                    <a:pt x="1086" y="529"/>
                  </a:lnTo>
                  <a:lnTo>
                    <a:pt x="1089" y="529"/>
                  </a:lnTo>
                  <a:lnTo>
                    <a:pt x="1089" y="527"/>
                  </a:lnTo>
                  <a:lnTo>
                    <a:pt x="1091" y="527"/>
                  </a:lnTo>
                  <a:lnTo>
                    <a:pt x="1091" y="525"/>
                  </a:lnTo>
                  <a:lnTo>
                    <a:pt x="1093" y="525"/>
                  </a:lnTo>
                  <a:lnTo>
                    <a:pt x="1091" y="525"/>
                  </a:lnTo>
                  <a:lnTo>
                    <a:pt x="1093" y="525"/>
                  </a:lnTo>
                  <a:lnTo>
                    <a:pt x="1093" y="522"/>
                  </a:lnTo>
                  <a:lnTo>
                    <a:pt x="1091" y="525"/>
                  </a:lnTo>
                  <a:lnTo>
                    <a:pt x="1091" y="522"/>
                  </a:lnTo>
                  <a:lnTo>
                    <a:pt x="1089" y="522"/>
                  </a:lnTo>
                  <a:lnTo>
                    <a:pt x="1086" y="522"/>
                  </a:lnTo>
                  <a:lnTo>
                    <a:pt x="1086" y="520"/>
                  </a:lnTo>
                  <a:lnTo>
                    <a:pt x="1086" y="518"/>
                  </a:lnTo>
                  <a:lnTo>
                    <a:pt x="1084" y="518"/>
                  </a:lnTo>
                  <a:lnTo>
                    <a:pt x="1084" y="515"/>
                  </a:lnTo>
                  <a:lnTo>
                    <a:pt x="1084" y="518"/>
                  </a:lnTo>
                  <a:lnTo>
                    <a:pt x="1084" y="515"/>
                  </a:lnTo>
                  <a:lnTo>
                    <a:pt x="1086" y="515"/>
                  </a:lnTo>
                  <a:lnTo>
                    <a:pt x="1089" y="515"/>
                  </a:lnTo>
                  <a:lnTo>
                    <a:pt x="1086" y="515"/>
                  </a:lnTo>
                  <a:lnTo>
                    <a:pt x="1084" y="515"/>
                  </a:lnTo>
                  <a:lnTo>
                    <a:pt x="1086" y="515"/>
                  </a:lnTo>
                  <a:lnTo>
                    <a:pt x="1084" y="515"/>
                  </a:lnTo>
                  <a:lnTo>
                    <a:pt x="1084" y="518"/>
                  </a:lnTo>
                  <a:lnTo>
                    <a:pt x="1082" y="518"/>
                  </a:lnTo>
                  <a:lnTo>
                    <a:pt x="1079" y="518"/>
                  </a:lnTo>
                  <a:lnTo>
                    <a:pt x="1077" y="518"/>
                  </a:lnTo>
                  <a:lnTo>
                    <a:pt x="1084" y="513"/>
                  </a:lnTo>
                  <a:lnTo>
                    <a:pt x="1086" y="513"/>
                  </a:lnTo>
                  <a:lnTo>
                    <a:pt x="1091" y="510"/>
                  </a:lnTo>
                  <a:lnTo>
                    <a:pt x="1096" y="508"/>
                  </a:lnTo>
                  <a:lnTo>
                    <a:pt x="1101" y="506"/>
                  </a:lnTo>
                  <a:lnTo>
                    <a:pt x="1103" y="506"/>
                  </a:lnTo>
                  <a:lnTo>
                    <a:pt x="1103" y="508"/>
                  </a:lnTo>
                  <a:lnTo>
                    <a:pt x="1101" y="508"/>
                  </a:lnTo>
                  <a:lnTo>
                    <a:pt x="1103" y="508"/>
                  </a:lnTo>
                  <a:lnTo>
                    <a:pt x="1101" y="508"/>
                  </a:lnTo>
                  <a:lnTo>
                    <a:pt x="1101" y="510"/>
                  </a:lnTo>
                  <a:lnTo>
                    <a:pt x="1098" y="510"/>
                  </a:lnTo>
                  <a:lnTo>
                    <a:pt x="1096" y="510"/>
                  </a:lnTo>
                  <a:lnTo>
                    <a:pt x="1096" y="513"/>
                  </a:lnTo>
                  <a:lnTo>
                    <a:pt x="1098" y="513"/>
                  </a:lnTo>
                  <a:lnTo>
                    <a:pt x="1101" y="513"/>
                  </a:lnTo>
                  <a:lnTo>
                    <a:pt x="1101" y="515"/>
                  </a:lnTo>
                  <a:lnTo>
                    <a:pt x="1103" y="515"/>
                  </a:lnTo>
                  <a:lnTo>
                    <a:pt x="1103" y="518"/>
                  </a:lnTo>
                  <a:lnTo>
                    <a:pt x="1105" y="518"/>
                  </a:lnTo>
                  <a:lnTo>
                    <a:pt x="1108" y="518"/>
                  </a:lnTo>
                  <a:lnTo>
                    <a:pt x="1108" y="515"/>
                  </a:lnTo>
                  <a:lnTo>
                    <a:pt x="1108" y="518"/>
                  </a:lnTo>
                  <a:lnTo>
                    <a:pt x="1108" y="515"/>
                  </a:lnTo>
                  <a:lnTo>
                    <a:pt x="1110" y="515"/>
                  </a:lnTo>
                  <a:lnTo>
                    <a:pt x="1110" y="513"/>
                  </a:lnTo>
                  <a:lnTo>
                    <a:pt x="1108" y="513"/>
                  </a:lnTo>
                  <a:lnTo>
                    <a:pt x="1108" y="515"/>
                  </a:lnTo>
                  <a:lnTo>
                    <a:pt x="1105" y="515"/>
                  </a:lnTo>
                  <a:lnTo>
                    <a:pt x="1103" y="515"/>
                  </a:lnTo>
                  <a:lnTo>
                    <a:pt x="1105" y="513"/>
                  </a:lnTo>
                  <a:lnTo>
                    <a:pt x="1103" y="513"/>
                  </a:lnTo>
                  <a:lnTo>
                    <a:pt x="1105" y="513"/>
                  </a:lnTo>
                  <a:lnTo>
                    <a:pt x="1103" y="513"/>
                  </a:lnTo>
                  <a:lnTo>
                    <a:pt x="1105" y="513"/>
                  </a:lnTo>
                  <a:lnTo>
                    <a:pt x="1103" y="513"/>
                  </a:lnTo>
                  <a:lnTo>
                    <a:pt x="1105" y="513"/>
                  </a:lnTo>
                  <a:lnTo>
                    <a:pt x="1103" y="513"/>
                  </a:lnTo>
                  <a:lnTo>
                    <a:pt x="1103" y="510"/>
                  </a:lnTo>
                  <a:lnTo>
                    <a:pt x="1101" y="510"/>
                  </a:lnTo>
                  <a:lnTo>
                    <a:pt x="1103" y="510"/>
                  </a:lnTo>
                  <a:lnTo>
                    <a:pt x="1105" y="510"/>
                  </a:lnTo>
                  <a:lnTo>
                    <a:pt x="1105" y="513"/>
                  </a:lnTo>
                  <a:lnTo>
                    <a:pt x="1108" y="513"/>
                  </a:lnTo>
                  <a:lnTo>
                    <a:pt x="1108" y="510"/>
                  </a:lnTo>
                  <a:lnTo>
                    <a:pt x="1105" y="510"/>
                  </a:lnTo>
                  <a:lnTo>
                    <a:pt x="1108" y="510"/>
                  </a:lnTo>
                  <a:lnTo>
                    <a:pt x="1105" y="510"/>
                  </a:lnTo>
                  <a:lnTo>
                    <a:pt x="1105" y="508"/>
                  </a:lnTo>
                  <a:lnTo>
                    <a:pt x="1108" y="508"/>
                  </a:lnTo>
                  <a:lnTo>
                    <a:pt x="1108" y="510"/>
                  </a:lnTo>
                  <a:lnTo>
                    <a:pt x="1108" y="508"/>
                  </a:lnTo>
                  <a:lnTo>
                    <a:pt x="1105" y="508"/>
                  </a:lnTo>
                  <a:lnTo>
                    <a:pt x="1105" y="506"/>
                  </a:lnTo>
                  <a:lnTo>
                    <a:pt x="1105" y="508"/>
                  </a:lnTo>
                  <a:lnTo>
                    <a:pt x="1105" y="506"/>
                  </a:lnTo>
                  <a:lnTo>
                    <a:pt x="1103" y="506"/>
                  </a:lnTo>
                  <a:lnTo>
                    <a:pt x="1103" y="503"/>
                  </a:lnTo>
                  <a:lnTo>
                    <a:pt x="1112" y="501"/>
                  </a:lnTo>
                  <a:lnTo>
                    <a:pt x="1115" y="499"/>
                  </a:lnTo>
                  <a:lnTo>
                    <a:pt x="1117" y="499"/>
                  </a:lnTo>
                  <a:lnTo>
                    <a:pt x="1122" y="499"/>
                  </a:lnTo>
                  <a:lnTo>
                    <a:pt x="1127" y="496"/>
                  </a:lnTo>
                  <a:lnTo>
                    <a:pt x="1129" y="496"/>
                  </a:lnTo>
                  <a:lnTo>
                    <a:pt x="1131" y="496"/>
                  </a:lnTo>
                  <a:lnTo>
                    <a:pt x="1134" y="494"/>
                  </a:lnTo>
                  <a:lnTo>
                    <a:pt x="1136" y="494"/>
                  </a:lnTo>
                  <a:lnTo>
                    <a:pt x="1138" y="494"/>
                  </a:lnTo>
                  <a:lnTo>
                    <a:pt x="1141" y="494"/>
                  </a:lnTo>
                  <a:lnTo>
                    <a:pt x="1143" y="494"/>
                  </a:lnTo>
                  <a:lnTo>
                    <a:pt x="1146" y="494"/>
                  </a:lnTo>
                  <a:lnTo>
                    <a:pt x="1148" y="494"/>
                  </a:lnTo>
                  <a:lnTo>
                    <a:pt x="1150" y="494"/>
                  </a:lnTo>
                  <a:lnTo>
                    <a:pt x="1153" y="494"/>
                  </a:lnTo>
                  <a:lnTo>
                    <a:pt x="1150" y="496"/>
                  </a:lnTo>
                  <a:lnTo>
                    <a:pt x="1148" y="494"/>
                  </a:lnTo>
                  <a:lnTo>
                    <a:pt x="1148" y="496"/>
                  </a:lnTo>
                  <a:lnTo>
                    <a:pt x="1146" y="496"/>
                  </a:lnTo>
                  <a:lnTo>
                    <a:pt x="1143" y="496"/>
                  </a:lnTo>
                  <a:lnTo>
                    <a:pt x="1141" y="496"/>
                  </a:lnTo>
                  <a:lnTo>
                    <a:pt x="1138" y="496"/>
                  </a:lnTo>
                  <a:lnTo>
                    <a:pt x="1136" y="496"/>
                  </a:lnTo>
                  <a:lnTo>
                    <a:pt x="1136" y="499"/>
                  </a:lnTo>
                  <a:lnTo>
                    <a:pt x="1134" y="499"/>
                  </a:lnTo>
                  <a:lnTo>
                    <a:pt x="1129" y="499"/>
                  </a:lnTo>
                  <a:lnTo>
                    <a:pt x="1127" y="499"/>
                  </a:lnTo>
                  <a:lnTo>
                    <a:pt x="1124" y="499"/>
                  </a:lnTo>
                  <a:lnTo>
                    <a:pt x="1122" y="499"/>
                  </a:lnTo>
                  <a:lnTo>
                    <a:pt x="1119" y="499"/>
                  </a:lnTo>
                  <a:lnTo>
                    <a:pt x="1119" y="501"/>
                  </a:lnTo>
                  <a:lnTo>
                    <a:pt x="1119" y="499"/>
                  </a:lnTo>
                  <a:lnTo>
                    <a:pt x="1122" y="499"/>
                  </a:lnTo>
                  <a:lnTo>
                    <a:pt x="1122" y="501"/>
                  </a:lnTo>
                  <a:lnTo>
                    <a:pt x="1119" y="501"/>
                  </a:lnTo>
                  <a:lnTo>
                    <a:pt x="1122" y="501"/>
                  </a:lnTo>
                  <a:lnTo>
                    <a:pt x="1122" y="503"/>
                  </a:lnTo>
                  <a:lnTo>
                    <a:pt x="1124" y="503"/>
                  </a:lnTo>
                  <a:lnTo>
                    <a:pt x="1124" y="501"/>
                  </a:lnTo>
                  <a:lnTo>
                    <a:pt x="1124" y="503"/>
                  </a:lnTo>
                  <a:lnTo>
                    <a:pt x="1124" y="501"/>
                  </a:lnTo>
                  <a:lnTo>
                    <a:pt x="1124" y="503"/>
                  </a:lnTo>
                  <a:lnTo>
                    <a:pt x="1124" y="501"/>
                  </a:lnTo>
                  <a:lnTo>
                    <a:pt x="1122" y="501"/>
                  </a:lnTo>
                  <a:lnTo>
                    <a:pt x="1124" y="501"/>
                  </a:lnTo>
                  <a:lnTo>
                    <a:pt x="1127" y="501"/>
                  </a:lnTo>
                  <a:lnTo>
                    <a:pt x="1129" y="501"/>
                  </a:lnTo>
                  <a:lnTo>
                    <a:pt x="1131" y="501"/>
                  </a:lnTo>
                  <a:lnTo>
                    <a:pt x="1131" y="503"/>
                  </a:lnTo>
                  <a:lnTo>
                    <a:pt x="1134" y="503"/>
                  </a:lnTo>
                  <a:lnTo>
                    <a:pt x="1134" y="506"/>
                  </a:lnTo>
                  <a:lnTo>
                    <a:pt x="1131" y="506"/>
                  </a:lnTo>
                  <a:lnTo>
                    <a:pt x="1129" y="506"/>
                  </a:lnTo>
                  <a:lnTo>
                    <a:pt x="1129" y="508"/>
                  </a:lnTo>
                  <a:lnTo>
                    <a:pt x="1129" y="510"/>
                  </a:lnTo>
                  <a:lnTo>
                    <a:pt x="1129" y="513"/>
                  </a:lnTo>
                  <a:lnTo>
                    <a:pt x="1127" y="513"/>
                  </a:lnTo>
                  <a:lnTo>
                    <a:pt x="1124" y="513"/>
                  </a:lnTo>
                  <a:lnTo>
                    <a:pt x="1124" y="515"/>
                  </a:lnTo>
                  <a:lnTo>
                    <a:pt x="1124" y="518"/>
                  </a:lnTo>
                  <a:lnTo>
                    <a:pt x="1127" y="518"/>
                  </a:lnTo>
                  <a:lnTo>
                    <a:pt x="1127" y="520"/>
                  </a:lnTo>
                  <a:lnTo>
                    <a:pt x="1129" y="520"/>
                  </a:lnTo>
                  <a:lnTo>
                    <a:pt x="1131" y="520"/>
                  </a:lnTo>
                  <a:lnTo>
                    <a:pt x="1129" y="520"/>
                  </a:lnTo>
                  <a:lnTo>
                    <a:pt x="1131" y="520"/>
                  </a:lnTo>
                  <a:lnTo>
                    <a:pt x="1131" y="522"/>
                  </a:lnTo>
                  <a:lnTo>
                    <a:pt x="1131" y="525"/>
                  </a:lnTo>
                  <a:lnTo>
                    <a:pt x="1131" y="527"/>
                  </a:lnTo>
                  <a:lnTo>
                    <a:pt x="1131" y="529"/>
                  </a:lnTo>
                  <a:lnTo>
                    <a:pt x="1129" y="529"/>
                  </a:lnTo>
                  <a:lnTo>
                    <a:pt x="1127" y="529"/>
                  </a:lnTo>
                  <a:lnTo>
                    <a:pt x="1127" y="532"/>
                  </a:lnTo>
                  <a:lnTo>
                    <a:pt x="1129" y="532"/>
                  </a:lnTo>
                  <a:lnTo>
                    <a:pt x="1127" y="532"/>
                  </a:lnTo>
                  <a:lnTo>
                    <a:pt x="1124" y="532"/>
                  </a:lnTo>
                  <a:lnTo>
                    <a:pt x="1124" y="529"/>
                  </a:lnTo>
                  <a:lnTo>
                    <a:pt x="1122" y="529"/>
                  </a:lnTo>
                  <a:lnTo>
                    <a:pt x="1122" y="527"/>
                  </a:lnTo>
                  <a:lnTo>
                    <a:pt x="1122" y="529"/>
                  </a:lnTo>
                  <a:lnTo>
                    <a:pt x="1119" y="529"/>
                  </a:lnTo>
                  <a:lnTo>
                    <a:pt x="1122" y="529"/>
                  </a:lnTo>
                  <a:lnTo>
                    <a:pt x="1119" y="529"/>
                  </a:lnTo>
                  <a:lnTo>
                    <a:pt x="1122" y="529"/>
                  </a:lnTo>
                  <a:lnTo>
                    <a:pt x="1122" y="532"/>
                  </a:lnTo>
                  <a:lnTo>
                    <a:pt x="1122" y="529"/>
                  </a:lnTo>
                  <a:lnTo>
                    <a:pt x="1122" y="532"/>
                  </a:lnTo>
                  <a:lnTo>
                    <a:pt x="1122" y="534"/>
                  </a:lnTo>
                  <a:lnTo>
                    <a:pt x="1122" y="532"/>
                  </a:lnTo>
                  <a:lnTo>
                    <a:pt x="1119" y="532"/>
                  </a:lnTo>
                  <a:lnTo>
                    <a:pt x="1122" y="532"/>
                  </a:lnTo>
                  <a:lnTo>
                    <a:pt x="1119" y="532"/>
                  </a:lnTo>
                  <a:lnTo>
                    <a:pt x="1119" y="529"/>
                  </a:lnTo>
                  <a:lnTo>
                    <a:pt x="1119" y="532"/>
                  </a:lnTo>
                  <a:lnTo>
                    <a:pt x="1122" y="532"/>
                  </a:lnTo>
                  <a:lnTo>
                    <a:pt x="1119" y="532"/>
                  </a:lnTo>
                  <a:lnTo>
                    <a:pt x="1117" y="532"/>
                  </a:lnTo>
                  <a:lnTo>
                    <a:pt x="1117" y="529"/>
                  </a:lnTo>
                  <a:lnTo>
                    <a:pt x="1117" y="532"/>
                  </a:lnTo>
                  <a:lnTo>
                    <a:pt x="1117" y="529"/>
                  </a:lnTo>
                  <a:lnTo>
                    <a:pt x="1115" y="529"/>
                  </a:lnTo>
                  <a:lnTo>
                    <a:pt x="1117" y="529"/>
                  </a:lnTo>
                  <a:lnTo>
                    <a:pt x="1115" y="529"/>
                  </a:lnTo>
                  <a:lnTo>
                    <a:pt x="1117" y="529"/>
                  </a:lnTo>
                  <a:lnTo>
                    <a:pt x="1115" y="529"/>
                  </a:lnTo>
                  <a:lnTo>
                    <a:pt x="1115" y="532"/>
                  </a:lnTo>
                  <a:lnTo>
                    <a:pt x="1112" y="532"/>
                  </a:lnTo>
                  <a:lnTo>
                    <a:pt x="1110" y="532"/>
                  </a:lnTo>
                  <a:lnTo>
                    <a:pt x="1112" y="532"/>
                  </a:lnTo>
                  <a:lnTo>
                    <a:pt x="1110" y="532"/>
                  </a:lnTo>
                  <a:lnTo>
                    <a:pt x="1110" y="534"/>
                  </a:lnTo>
                  <a:lnTo>
                    <a:pt x="1108" y="534"/>
                  </a:lnTo>
                  <a:lnTo>
                    <a:pt x="1108" y="537"/>
                  </a:lnTo>
                  <a:lnTo>
                    <a:pt x="1108" y="539"/>
                  </a:lnTo>
                  <a:lnTo>
                    <a:pt x="1105" y="539"/>
                  </a:lnTo>
                  <a:lnTo>
                    <a:pt x="1108" y="539"/>
                  </a:lnTo>
                  <a:lnTo>
                    <a:pt x="1105" y="539"/>
                  </a:lnTo>
                  <a:lnTo>
                    <a:pt x="1105" y="541"/>
                  </a:lnTo>
                  <a:lnTo>
                    <a:pt x="1108" y="541"/>
                  </a:lnTo>
                  <a:lnTo>
                    <a:pt x="1105" y="541"/>
                  </a:lnTo>
                  <a:lnTo>
                    <a:pt x="1108" y="541"/>
                  </a:lnTo>
                  <a:lnTo>
                    <a:pt x="1108" y="544"/>
                  </a:lnTo>
                  <a:lnTo>
                    <a:pt x="1105" y="544"/>
                  </a:lnTo>
                  <a:lnTo>
                    <a:pt x="1103" y="544"/>
                  </a:lnTo>
                  <a:lnTo>
                    <a:pt x="1105" y="544"/>
                  </a:lnTo>
                  <a:lnTo>
                    <a:pt x="1103" y="544"/>
                  </a:lnTo>
                  <a:lnTo>
                    <a:pt x="1103" y="546"/>
                  </a:lnTo>
                  <a:lnTo>
                    <a:pt x="1101" y="546"/>
                  </a:lnTo>
                  <a:lnTo>
                    <a:pt x="1101" y="548"/>
                  </a:lnTo>
                  <a:lnTo>
                    <a:pt x="1101" y="546"/>
                  </a:lnTo>
                  <a:lnTo>
                    <a:pt x="1103" y="546"/>
                  </a:lnTo>
                  <a:lnTo>
                    <a:pt x="1101" y="546"/>
                  </a:lnTo>
                  <a:lnTo>
                    <a:pt x="1101" y="548"/>
                  </a:lnTo>
                  <a:lnTo>
                    <a:pt x="1101" y="551"/>
                  </a:lnTo>
                  <a:lnTo>
                    <a:pt x="1098" y="551"/>
                  </a:lnTo>
                  <a:lnTo>
                    <a:pt x="1101" y="551"/>
                  </a:lnTo>
                  <a:lnTo>
                    <a:pt x="1101" y="553"/>
                  </a:lnTo>
                  <a:lnTo>
                    <a:pt x="1098" y="553"/>
                  </a:lnTo>
                  <a:lnTo>
                    <a:pt x="1101" y="553"/>
                  </a:lnTo>
                  <a:lnTo>
                    <a:pt x="1098" y="553"/>
                  </a:lnTo>
                  <a:lnTo>
                    <a:pt x="1098" y="556"/>
                  </a:lnTo>
                  <a:lnTo>
                    <a:pt x="1098" y="553"/>
                  </a:lnTo>
                  <a:lnTo>
                    <a:pt x="1096" y="553"/>
                  </a:lnTo>
                  <a:lnTo>
                    <a:pt x="1096" y="556"/>
                  </a:lnTo>
                  <a:lnTo>
                    <a:pt x="1093" y="556"/>
                  </a:lnTo>
                  <a:lnTo>
                    <a:pt x="1091" y="556"/>
                  </a:lnTo>
                  <a:lnTo>
                    <a:pt x="1091" y="558"/>
                  </a:lnTo>
                  <a:lnTo>
                    <a:pt x="1089" y="558"/>
                  </a:lnTo>
                  <a:lnTo>
                    <a:pt x="1089" y="560"/>
                  </a:lnTo>
                  <a:lnTo>
                    <a:pt x="1086" y="560"/>
                  </a:lnTo>
                  <a:lnTo>
                    <a:pt x="1089" y="560"/>
                  </a:lnTo>
                  <a:lnTo>
                    <a:pt x="1086" y="560"/>
                  </a:lnTo>
                  <a:lnTo>
                    <a:pt x="1084" y="560"/>
                  </a:lnTo>
                  <a:lnTo>
                    <a:pt x="1086" y="560"/>
                  </a:lnTo>
                  <a:lnTo>
                    <a:pt x="1086" y="563"/>
                  </a:lnTo>
                  <a:lnTo>
                    <a:pt x="1084" y="563"/>
                  </a:lnTo>
                  <a:lnTo>
                    <a:pt x="1082" y="563"/>
                  </a:lnTo>
                  <a:lnTo>
                    <a:pt x="1079" y="563"/>
                  </a:lnTo>
                  <a:lnTo>
                    <a:pt x="1079" y="565"/>
                  </a:lnTo>
                  <a:lnTo>
                    <a:pt x="1077" y="565"/>
                  </a:lnTo>
                  <a:lnTo>
                    <a:pt x="1077" y="567"/>
                  </a:lnTo>
                  <a:lnTo>
                    <a:pt x="1077" y="565"/>
                  </a:lnTo>
                  <a:lnTo>
                    <a:pt x="1077" y="567"/>
                  </a:lnTo>
                  <a:lnTo>
                    <a:pt x="1079" y="567"/>
                  </a:lnTo>
                  <a:lnTo>
                    <a:pt x="1079" y="565"/>
                  </a:lnTo>
                  <a:lnTo>
                    <a:pt x="1082" y="565"/>
                  </a:lnTo>
                  <a:lnTo>
                    <a:pt x="1084" y="565"/>
                  </a:lnTo>
                  <a:lnTo>
                    <a:pt x="1086" y="565"/>
                  </a:lnTo>
                  <a:lnTo>
                    <a:pt x="1086" y="563"/>
                  </a:lnTo>
                  <a:lnTo>
                    <a:pt x="1089" y="563"/>
                  </a:lnTo>
                  <a:lnTo>
                    <a:pt x="1091" y="563"/>
                  </a:lnTo>
                  <a:lnTo>
                    <a:pt x="1091" y="560"/>
                  </a:lnTo>
                  <a:lnTo>
                    <a:pt x="1089" y="560"/>
                  </a:lnTo>
                  <a:lnTo>
                    <a:pt x="1091" y="560"/>
                  </a:lnTo>
                  <a:lnTo>
                    <a:pt x="1093" y="560"/>
                  </a:lnTo>
                  <a:lnTo>
                    <a:pt x="1096" y="560"/>
                  </a:lnTo>
                  <a:lnTo>
                    <a:pt x="1098" y="560"/>
                  </a:lnTo>
                  <a:lnTo>
                    <a:pt x="1098" y="558"/>
                  </a:lnTo>
                  <a:lnTo>
                    <a:pt x="1101" y="558"/>
                  </a:lnTo>
                  <a:lnTo>
                    <a:pt x="1103" y="558"/>
                  </a:lnTo>
                  <a:lnTo>
                    <a:pt x="1103" y="556"/>
                  </a:lnTo>
                  <a:lnTo>
                    <a:pt x="1101" y="556"/>
                  </a:lnTo>
                  <a:lnTo>
                    <a:pt x="1101" y="558"/>
                  </a:lnTo>
                  <a:lnTo>
                    <a:pt x="1101" y="556"/>
                  </a:lnTo>
                  <a:lnTo>
                    <a:pt x="1098" y="556"/>
                  </a:lnTo>
                  <a:lnTo>
                    <a:pt x="1098" y="553"/>
                  </a:lnTo>
                  <a:lnTo>
                    <a:pt x="1101" y="553"/>
                  </a:lnTo>
                  <a:lnTo>
                    <a:pt x="1103" y="556"/>
                  </a:lnTo>
                  <a:lnTo>
                    <a:pt x="1105" y="556"/>
                  </a:lnTo>
                  <a:lnTo>
                    <a:pt x="1108" y="556"/>
                  </a:lnTo>
                  <a:lnTo>
                    <a:pt x="1108" y="558"/>
                  </a:lnTo>
                  <a:lnTo>
                    <a:pt x="1108" y="556"/>
                  </a:lnTo>
                  <a:lnTo>
                    <a:pt x="1110" y="556"/>
                  </a:lnTo>
                  <a:lnTo>
                    <a:pt x="1108" y="558"/>
                  </a:lnTo>
                  <a:lnTo>
                    <a:pt x="1105" y="558"/>
                  </a:lnTo>
                  <a:lnTo>
                    <a:pt x="1105" y="560"/>
                  </a:lnTo>
                  <a:lnTo>
                    <a:pt x="1103" y="560"/>
                  </a:lnTo>
                  <a:lnTo>
                    <a:pt x="1101" y="563"/>
                  </a:lnTo>
                  <a:lnTo>
                    <a:pt x="1098" y="563"/>
                  </a:lnTo>
                  <a:lnTo>
                    <a:pt x="1101" y="563"/>
                  </a:lnTo>
                  <a:lnTo>
                    <a:pt x="1103" y="563"/>
                  </a:lnTo>
                  <a:lnTo>
                    <a:pt x="1103" y="560"/>
                  </a:lnTo>
                  <a:lnTo>
                    <a:pt x="1105" y="560"/>
                  </a:lnTo>
                  <a:lnTo>
                    <a:pt x="1103" y="560"/>
                  </a:lnTo>
                  <a:lnTo>
                    <a:pt x="1103" y="563"/>
                  </a:lnTo>
                  <a:lnTo>
                    <a:pt x="1103" y="560"/>
                  </a:lnTo>
                  <a:lnTo>
                    <a:pt x="1105" y="560"/>
                  </a:lnTo>
                  <a:lnTo>
                    <a:pt x="1105" y="563"/>
                  </a:lnTo>
                  <a:lnTo>
                    <a:pt x="1103" y="563"/>
                  </a:lnTo>
                  <a:lnTo>
                    <a:pt x="1101" y="563"/>
                  </a:lnTo>
                  <a:lnTo>
                    <a:pt x="1098" y="563"/>
                  </a:lnTo>
                  <a:lnTo>
                    <a:pt x="1098" y="565"/>
                  </a:lnTo>
                  <a:lnTo>
                    <a:pt x="1096" y="565"/>
                  </a:lnTo>
                  <a:lnTo>
                    <a:pt x="1093" y="565"/>
                  </a:lnTo>
                  <a:lnTo>
                    <a:pt x="1096" y="565"/>
                  </a:lnTo>
                  <a:lnTo>
                    <a:pt x="1096" y="563"/>
                  </a:lnTo>
                  <a:lnTo>
                    <a:pt x="1098" y="563"/>
                  </a:lnTo>
                  <a:lnTo>
                    <a:pt x="1096" y="563"/>
                  </a:lnTo>
                  <a:lnTo>
                    <a:pt x="1096" y="565"/>
                  </a:lnTo>
                  <a:lnTo>
                    <a:pt x="1093" y="565"/>
                  </a:lnTo>
                  <a:lnTo>
                    <a:pt x="1091" y="565"/>
                  </a:lnTo>
                  <a:lnTo>
                    <a:pt x="1089" y="567"/>
                  </a:lnTo>
                  <a:lnTo>
                    <a:pt x="1089" y="565"/>
                  </a:lnTo>
                  <a:lnTo>
                    <a:pt x="1089" y="567"/>
                  </a:lnTo>
                  <a:lnTo>
                    <a:pt x="1086" y="567"/>
                  </a:lnTo>
                  <a:lnTo>
                    <a:pt x="1086" y="570"/>
                  </a:lnTo>
                  <a:lnTo>
                    <a:pt x="1084" y="570"/>
                  </a:lnTo>
                  <a:lnTo>
                    <a:pt x="1082" y="570"/>
                  </a:lnTo>
                  <a:lnTo>
                    <a:pt x="1079" y="570"/>
                  </a:lnTo>
                  <a:lnTo>
                    <a:pt x="1079" y="572"/>
                  </a:lnTo>
                  <a:lnTo>
                    <a:pt x="1077" y="572"/>
                  </a:lnTo>
                  <a:lnTo>
                    <a:pt x="1074" y="572"/>
                  </a:lnTo>
                  <a:lnTo>
                    <a:pt x="1074" y="575"/>
                  </a:lnTo>
                  <a:lnTo>
                    <a:pt x="1072" y="575"/>
                  </a:lnTo>
                  <a:lnTo>
                    <a:pt x="1070" y="575"/>
                  </a:lnTo>
                  <a:lnTo>
                    <a:pt x="1070" y="577"/>
                  </a:lnTo>
                  <a:lnTo>
                    <a:pt x="1067" y="577"/>
                  </a:lnTo>
                  <a:lnTo>
                    <a:pt x="1065" y="577"/>
                  </a:lnTo>
                  <a:lnTo>
                    <a:pt x="1065" y="579"/>
                  </a:lnTo>
                  <a:lnTo>
                    <a:pt x="1065" y="582"/>
                  </a:lnTo>
                  <a:lnTo>
                    <a:pt x="1063" y="582"/>
                  </a:lnTo>
                  <a:lnTo>
                    <a:pt x="1063" y="584"/>
                  </a:lnTo>
                  <a:lnTo>
                    <a:pt x="1060" y="584"/>
                  </a:lnTo>
                  <a:lnTo>
                    <a:pt x="1063" y="584"/>
                  </a:lnTo>
                  <a:lnTo>
                    <a:pt x="1060" y="584"/>
                  </a:lnTo>
                  <a:lnTo>
                    <a:pt x="1060" y="586"/>
                  </a:lnTo>
                  <a:lnTo>
                    <a:pt x="1063" y="586"/>
                  </a:lnTo>
                  <a:lnTo>
                    <a:pt x="1063" y="584"/>
                  </a:lnTo>
                  <a:lnTo>
                    <a:pt x="1063" y="586"/>
                  </a:lnTo>
                  <a:lnTo>
                    <a:pt x="1060" y="586"/>
                  </a:lnTo>
                  <a:lnTo>
                    <a:pt x="1058" y="586"/>
                  </a:lnTo>
                  <a:lnTo>
                    <a:pt x="1060" y="586"/>
                  </a:lnTo>
                  <a:lnTo>
                    <a:pt x="1058" y="586"/>
                  </a:lnTo>
                  <a:lnTo>
                    <a:pt x="1055" y="589"/>
                  </a:lnTo>
                  <a:lnTo>
                    <a:pt x="1058" y="589"/>
                  </a:lnTo>
                  <a:lnTo>
                    <a:pt x="1058" y="591"/>
                  </a:lnTo>
                  <a:lnTo>
                    <a:pt x="1058" y="589"/>
                  </a:lnTo>
                  <a:lnTo>
                    <a:pt x="1058" y="591"/>
                  </a:lnTo>
                  <a:lnTo>
                    <a:pt x="1058" y="589"/>
                  </a:lnTo>
                  <a:lnTo>
                    <a:pt x="1058" y="591"/>
                  </a:lnTo>
                  <a:lnTo>
                    <a:pt x="1055" y="591"/>
                  </a:lnTo>
                  <a:lnTo>
                    <a:pt x="1058" y="591"/>
                  </a:lnTo>
                  <a:lnTo>
                    <a:pt x="1055" y="591"/>
                  </a:lnTo>
                  <a:lnTo>
                    <a:pt x="1055" y="594"/>
                  </a:lnTo>
                  <a:lnTo>
                    <a:pt x="1055" y="596"/>
                  </a:lnTo>
                  <a:lnTo>
                    <a:pt x="1058" y="596"/>
                  </a:lnTo>
                  <a:lnTo>
                    <a:pt x="1058" y="598"/>
                  </a:lnTo>
                  <a:lnTo>
                    <a:pt x="1058" y="596"/>
                  </a:lnTo>
                  <a:lnTo>
                    <a:pt x="1058" y="598"/>
                  </a:lnTo>
                  <a:lnTo>
                    <a:pt x="1060" y="598"/>
                  </a:lnTo>
                  <a:lnTo>
                    <a:pt x="1058" y="598"/>
                  </a:lnTo>
                  <a:lnTo>
                    <a:pt x="1060" y="598"/>
                  </a:lnTo>
                  <a:lnTo>
                    <a:pt x="1058" y="598"/>
                  </a:lnTo>
                  <a:lnTo>
                    <a:pt x="1060" y="598"/>
                  </a:lnTo>
                  <a:lnTo>
                    <a:pt x="1060" y="601"/>
                  </a:lnTo>
                  <a:lnTo>
                    <a:pt x="1063" y="601"/>
                  </a:lnTo>
                  <a:lnTo>
                    <a:pt x="1060" y="601"/>
                  </a:lnTo>
                  <a:lnTo>
                    <a:pt x="1063" y="601"/>
                  </a:lnTo>
                  <a:lnTo>
                    <a:pt x="1063" y="598"/>
                  </a:lnTo>
                  <a:lnTo>
                    <a:pt x="1060" y="598"/>
                  </a:lnTo>
                  <a:lnTo>
                    <a:pt x="1063" y="598"/>
                  </a:lnTo>
                  <a:lnTo>
                    <a:pt x="1060" y="598"/>
                  </a:lnTo>
                  <a:lnTo>
                    <a:pt x="1060" y="596"/>
                  </a:lnTo>
                  <a:lnTo>
                    <a:pt x="1063" y="596"/>
                  </a:lnTo>
                  <a:lnTo>
                    <a:pt x="1065" y="596"/>
                  </a:lnTo>
                  <a:lnTo>
                    <a:pt x="1067" y="596"/>
                  </a:lnTo>
                  <a:lnTo>
                    <a:pt x="1065" y="596"/>
                  </a:lnTo>
                  <a:lnTo>
                    <a:pt x="1067" y="596"/>
                  </a:lnTo>
                  <a:lnTo>
                    <a:pt x="1065" y="596"/>
                  </a:lnTo>
                  <a:lnTo>
                    <a:pt x="1063" y="596"/>
                  </a:lnTo>
                  <a:lnTo>
                    <a:pt x="1063" y="594"/>
                  </a:lnTo>
                  <a:lnTo>
                    <a:pt x="1063" y="596"/>
                  </a:lnTo>
                  <a:lnTo>
                    <a:pt x="1060" y="596"/>
                  </a:lnTo>
                  <a:lnTo>
                    <a:pt x="1063" y="596"/>
                  </a:lnTo>
                  <a:lnTo>
                    <a:pt x="1063" y="594"/>
                  </a:lnTo>
                  <a:lnTo>
                    <a:pt x="1063" y="596"/>
                  </a:lnTo>
                  <a:lnTo>
                    <a:pt x="1060" y="596"/>
                  </a:lnTo>
                  <a:lnTo>
                    <a:pt x="1063" y="596"/>
                  </a:lnTo>
                  <a:lnTo>
                    <a:pt x="1060" y="596"/>
                  </a:lnTo>
                  <a:lnTo>
                    <a:pt x="1060" y="594"/>
                  </a:lnTo>
                  <a:lnTo>
                    <a:pt x="1060" y="596"/>
                  </a:lnTo>
                  <a:lnTo>
                    <a:pt x="1060" y="594"/>
                  </a:lnTo>
                  <a:lnTo>
                    <a:pt x="1063" y="596"/>
                  </a:lnTo>
                  <a:lnTo>
                    <a:pt x="1063" y="594"/>
                  </a:lnTo>
                  <a:lnTo>
                    <a:pt x="1060" y="594"/>
                  </a:lnTo>
                  <a:lnTo>
                    <a:pt x="1063" y="594"/>
                  </a:lnTo>
                  <a:lnTo>
                    <a:pt x="1060" y="594"/>
                  </a:lnTo>
                  <a:lnTo>
                    <a:pt x="1060" y="591"/>
                  </a:lnTo>
                  <a:lnTo>
                    <a:pt x="1063" y="591"/>
                  </a:lnTo>
                  <a:lnTo>
                    <a:pt x="1063" y="594"/>
                  </a:lnTo>
                  <a:lnTo>
                    <a:pt x="1063" y="591"/>
                  </a:lnTo>
                  <a:lnTo>
                    <a:pt x="1060" y="591"/>
                  </a:lnTo>
                  <a:lnTo>
                    <a:pt x="1063" y="591"/>
                  </a:lnTo>
                  <a:lnTo>
                    <a:pt x="1060" y="591"/>
                  </a:lnTo>
                  <a:lnTo>
                    <a:pt x="1063" y="589"/>
                  </a:lnTo>
                  <a:lnTo>
                    <a:pt x="1060" y="589"/>
                  </a:lnTo>
                  <a:lnTo>
                    <a:pt x="1063" y="589"/>
                  </a:lnTo>
                  <a:lnTo>
                    <a:pt x="1063" y="591"/>
                  </a:lnTo>
                  <a:lnTo>
                    <a:pt x="1063" y="589"/>
                  </a:lnTo>
                  <a:lnTo>
                    <a:pt x="1060" y="589"/>
                  </a:lnTo>
                  <a:lnTo>
                    <a:pt x="1063" y="589"/>
                  </a:lnTo>
                  <a:lnTo>
                    <a:pt x="1063" y="586"/>
                  </a:lnTo>
                  <a:lnTo>
                    <a:pt x="1063" y="584"/>
                  </a:lnTo>
                  <a:lnTo>
                    <a:pt x="1063" y="586"/>
                  </a:lnTo>
                  <a:lnTo>
                    <a:pt x="1063" y="589"/>
                  </a:lnTo>
                  <a:lnTo>
                    <a:pt x="1065" y="589"/>
                  </a:lnTo>
                  <a:lnTo>
                    <a:pt x="1065" y="591"/>
                  </a:lnTo>
                  <a:lnTo>
                    <a:pt x="1067" y="591"/>
                  </a:lnTo>
                  <a:lnTo>
                    <a:pt x="1070" y="591"/>
                  </a:lnTo>
                  <a:lnTo>
                    <a:pt x="1070" y="594"/>
                  </a:lnTo>
                  <a:lnTo>
                    <a:pt x="1070" y="596"/>
                  </a:lnTo>
                  <a:lnTo>
                    <a:pt x="1070" y="594"/>
                  </a:lnTo>
                  <a:lnTo>
                    <a:pt x="1067" y="594"/>
                  </a:lnTo>
                  <a:lnTo>
                    <a:pt x="1067" y="596"/>
                  </a:lnTo>
                  <a:lnTo>
                    <a:pt x="1070" y="596"/>
                  </a:lnTo>
                  <a:lnTo>
                    <a:pt x="1072" y="596"/>
                  </a:lnTo>
                  <a:lnTo>
                    <a:pt x="1070" y="596"/>
                  </a:lnTo>
                  <a:lnTo>
                    <a:pt x="1070" y="598"/>
                  </a:lnTo>
                  <a:lnTo>
                    <a:pt x="1072" y="598"/>
                  </a:lnTo>
                  <a:lnTo>
                    <a:pt x="1072" y="601"/>
                  </a:lnTo>
                  <a:lnTo>
                    <a:pt x="1072" y="603"/>
                  </a:lnTo>
                  <a:lnTo>
                    <a:pt x="1070" y="603"/>
                  </a:lnTo>
                  <a:lnTo>
                    <a:pt x="1067" y="603"/>
                  </a:lnTo>
                  <a:lnTo>
                    <a:pt x="1070" y="603"/>
                  </a:lnTo>
                  <a:lnTo>
                    <a:pt x="1070" y="605"/>
                  </a:lnTo>
                  <a:lnTo>
                    <a:pt x="1072" y="605"/>
                  </a:lnTo>
                  <a:lnTo>
                    <a:pt x="1074" y="605"/>
                  </a:lnTo>
                  <a:lnTo>
                    <a:pt x="1072" y="608"/>
                  </a:lnTo>
                  <a:lnTo>
                    <a:pt x="1072" y="610"/>
                  </a:lnTo>
                  <a:lnTo>
                    <a:pt x="1074" y="610"/>
                  </a:lnTo>
                  <a:lnTo>
                    <a:pt x="1074" y="613"/>
                  </a:lnTo>
                  <a:lnTo>
                    <a:pt x="1074" y="615"/>
                  </a:lnTo>
                  <a:lnTo>
                    <a:pt x="1074" y="613"/>
                  </a:lnTo>
                  <a:lnTo>
                    <a:pt x="1077" y="613"/>
                  </a:lnTo>
                  <a:lnTo>
                    <a:pt x="1077" y="615"/>
                  </a:lnTo>
                  <a:lnTo>
                    <a:pt x="1079" y="615"/>
                  </a:lnTo>
                  <a:lnTo>
                    <a:pt x="1079" y="617"/>
                  </a:lnTo>
                  <a:lnTo>
                    <a:pt x="1077" y="617"/>
                  </a:lnTo>
                  <a:lnTo>
                    <a:pt x="1077" y="620"/>
                  </a:lnTo>
                  <a:lnTo>
                    <a:pt x="1077" y="622"/>
                  </a:lnTo>
                  <a:lnTo>
                    <a:pt x="1077" y="620"/>
                  </a:lnTo>
                  <a:lnTo>
                    <a:pt x="1079" y="620"/>
                  </a:lnTo>
                  <a:lnTo>
                    <a:pt x="1079" y="622"/>
                  </a:lnTo>
                  <a:lnTo>
                    <a:pt x="1077" y="622"/>
                  </a:lnTo>
                  <a:lnTo>
                    <a:pt x="1077" y="624"/>
                  </a:lnTo>
                  <a:lnTo>
                    <a:pt x="1079" y="624"/>
                  </a:lnTo>
                  <a:lnTo>
                    <a:pt x="1079" y="627"/>
                  </a:lnTo>
                  <a:lnTo>
                    <a:pt x="1079" y="629"/>
                  </a:lnTo>
                  <a:lnTo>
                    <a:pt x="1079" y="627"/>
                  </a:lnTo>
                  <a:lnTo>
                    <a:pt x="1079" y="629"/>
                  </a:lnTo>
                  <a:lnTo>
                    <a:pt x="1079" y="627"/>
                  </a:lnTo>
                  <a:lnTo>
                    <a:pt x="1079" y="624"/>
                  </a:lnTo>
                  <a:lnTo>
                    <a:pt x="1079" y="627"/>
                  </a:lnTo>
                  <a:lnTo>
                    <a:pt x="1079" y="629"/>
                  </a:lnTo>
                  <a:lnTo>
                    <a:pt x="1082" y="629"/>
                  </a:lnTo>
                  <a:lnTo>
                    <a:pt x="1082" y="632"/>
                  </a:lnTo>
                  <a:lnTo>
                    <a:pt x="1084" y="632"/>
                  </a:lnTo>
                  <a:lnTo>
                    <a:pt x="1082" y="634"/>
                  </a:lnTo>
                  <a:lnTo>
                    <a:pt x="1082" y="636"/>
                  </a:lnTo>
                  <a:lnTo>
                    <a:pt x="1082" y="634"/>
                  </a:lnTo>
                  <a:lnTo>
                    <a:pt x="1082" y="636"/>
                  </a:lnTo>
                  <a:lnTo>
                    <a:pt x="1082" y="639"/>
                  </a:lnTo>
                  <a:lnTo>
                    <a:pt x="1079" y="639"/>
                  </a:lnTo>
                  <a:lnTo>
                    <a:pt x="1079" y="641"/>
                  </a:lnTo>
                  <a:lnTo>
                    <a:pt x="1082" y="641"/>
                  </a:lnTo>
                  <a:lnTo>
                    <a:pt x="1082" y="643"/>
                  </a:lnTo>
                  <a:lnTo>
                    <a:pt x="1082" y="646"/>
                  </a:lnTo>
                  <a:lnTo>
                    <a:pt x="1082" y="648"/>
                  </a:lnTo>
                  <a:lnTo>
                    <a:pt x="1084" y="648"/>
                  </a:lnTo>
                  <a:lnTo>
                    <a:pt x="1084" y="651"/>
                  </a:lnTo>
                  <a:lnTo>
                    <a:pt x="1084" y="653"/>
                  </a:lnTo>
                  <a:lnTo>
                    <a:pt x="1082" y="653"/>
                  </a:lnTo>
                  <a:lnTo>
                    <a:pt x="1084" y="651"/>
                  </a:lnTo>
                  <a:lnTo>
                    <a:pt x="1082" y="653"/>
                  </a:lnTo>
                  <a:lnTo>
                    <a:pt x="1084" y="653"/>
                  </a:lnTo>
                  <a:lnTo>
                    <a:pt x="1084" y="655"/>
                  </a:lnTo>
                  <a:lnTo>
                    <a:pt x="1084" y="658"/>
                  </a:lnTo>
                  <a:lnTo>
                    <a:pt x="1084" y="660"/>
                  </a:lnTo>
                  <a:lnTo>
                    <a:pt x="1084" y="662"/>
                  </a:lnTo>
                  <a:lnTo>
                    <a:pt x="1082" y="662"/>
                  </a:lnTo>
                  <a:lnTo>
                    <a:pt x="1082" y="665"/>
                  </a:lnTo>
                  <a:lnTo>
                    <a:pt x="1084" y="665"/>
                  </a:lnTo>
                  <a:lnTo>
                    <a:pt x="1082" y="665"/>
                  </a:lnTo>
                  <a:lnTo>
                    <a:pt x="1084" y="665"/>
                  </a:lnTo>
                  <a:lnTo>
                    <a:pt x="1082" y="665"/>
                  </a:lnTo>
                  <a:lnTo>
                    <a:pt x="1082" y="667"/>
                  </a:lnTo>
                  <a:lnTo>
                    <a:pt x="1082" y="670"/>
                  </a:lnTo>
                  <a:lnTo>
                    <a:pt x="1082" y="672"/>
                  </a:lnTo>
                  <a:lnTo>
                    <a:pt x="1079" y="672"/>
                  </a:lnTo>
                  <a:lnTo>
                    <a:pt x="1077" y="672"/>
                  </a:lnTo>
                  <a:lnTo>
                    <a:pt x="1077" y="674"/>
                  </a:lnTo>
                  <a:lnTo>
                    <a:pt x="1077" y="672"/>
                  </a:lnTo>
                  <a:lnTo>
                    <a:pt x="1074" y="672"/>
                  </a:lnTo>
                  <a:lnTo>
                    <a:pt x="1077" y="672"/>
                  </a:lnTo>
                  <a:lnTo>
                    <a:pt x="1077" y="674"/>
                  </a:lnTo>
                  <a:lnTo>
                    <a:pt x="1074" y="674"/>
                  </a:lnTo>
                  <a:lnTo>
                    <a:pt x="1077" y="674"/>
                  </a:lnTo>
                  <a:lnTo>
                    <a:pt x="1077" y="672"/>
                  </a:lnTo>
                  <a:lnTo>
                    <a:pt x="1077" y="674"/>
                  </a:lnTo>
                  <a:lnTo>
                    <a:pt x="1077" y="672"/>
                  </a:lnTo>
                  <a:lnTo>
                    <a:pt x="1077" y="674"/>
                  </a:lnTo>
                  <a:lnTo>
                    <a:pt x="1077" y="672"/>
                  </a:lnTo>
                  <a:lnTo>
                    <a:pt x="1079" y="672"/>
                  </a:lnTo>
                  <a:lnTo>
                    <a:pt x="1077" y="672"/>
                  </a:lnTo>
                  <a:lnTo>
                    <a:pt x="1079" y="672"/>
                  </a:lnTo>
                  <a:lnTo>
                    <a:pt x="1077" y="672"/>
                  </a:lnTo>
                  <a:lnTo>
                    <a:pt x="1077" y="674"/>
                  </a:lnTo>
                  <a:lnTo>
                    <a:pt x="1074" y="674"/>
                  </a:lnTo>
                  <a:lnTo>
                    <a:pt x="1074" y="677"/>
                  </a:lnTo>
                  <a:lnTo>
                    <a:pt x="1074" y="674"/>
                  </a:lnTo>
                  <a:lnTo>
                    <a:pt x="1077" y="674"/>
                  </a:lnTo>
                  <a:lnTo>
                    <a:pt x="1074" y="677"/>
                  </a:lnTo>
                  <a:lnTo>
                    <a:pt x="1074" y="679"/>
                  </a:lnTo>
                  <a:lnTo>
                    <a:pt x="1072" y="679"/>
                  </a:lnTo>
                  <a:lnTo>
                    <a:pt x="1072" y="682"/>
                  </a:lnTo>
                  <a:lnTo>
                    <a:pt x="1074" y="679"/>
                  </a:lnTo>
                  <a:lnTo>
                    <a:pt x="1074" y="682"/>
                  </a:lnTo>
                  <a:lnTo>
                    <a:pt x="1074" y="684"/>
                  </a:lnTo>
                  <a:lnTo>
                    <a:pt x="1072" y="684"/>
                  </a:lnTo>
                  <a:lnTo>
                    <a:pt x="1074" y="684"/>
                  </a:lnTo>
                  <a:lnTo>
                    <a:pt x="1072" y="686"/>
                  </a:lnTo>
                  <a:lnTo>
                    <a:pt x="1072" y="689"/>
                  </a:lnTo>
                  <a:lnTo>
                    <a:pt x="1072" y="691"/>
                  </a:lnTo>
                  <a:lnTo>
                    <a:pt x="1072" y="693"/>
                  </a:lnTo>
                  <a:lnTo>
                    <a:pt x="1070" y="693"/>
                  </a:lnTo>
                  <a:lnTo>
                    <a:pt x="1072" y="693"/>
                  </a:lnTo>
                  <a:lnTo>
                    <a:pt x="1070" y="696"/>
                  </a:lnTo>
                  <a:lnTo>
                    <a:pt x="1070" y="693"/>
                  </a:lnTo>
                  <a:lnTo>
                    <a:pt x="1067" y="693"/>
                  </a:lnTo>
                  <a:lnTo>
                    <a:pt x="1070" y="693"/>
                  </a:lnTo>
                  <a:lnTo>
                    <a:pt x="1070" y="696"/>
                  </a:lnTo>
                  <a:lnTo>
                    <a:pt x="1072" y="696"/>
                  </a:lnTo>
                  <a:lnTo>
                    <a:pt x="1070" y="696"/>
                  </a:lnTo>
                  <a:lnTo>
                    <a:pt x="1072" y="696"/>
                  </a:lnTo>
                  <a:lnTo>
                    <a:pt x="1072" y="698"/>
                  </a:lnTo>
                  <a:lnTo>
                    <a:pt x="1070" y="698"/>
                  </a:lnTo>
                  <a:lnTo>
                    <a:pt x="1070" y="696"/>
                  </a:lnTo>
                  <a:lnTo>
                    <a:pt x="1067" y="696"/>
                  </a:lnTo>
                  <a:lnTo>
                    <a:pt x="1070" y="696"/>
                  </a:lnTo>
                  <a:lnTo>
                    <a:pt x="1070" y="698"/>
                  </a:lnTo>
                  <a:lnTo>
                    <a:pt x="1067" y="698"/>
                  </a:lnTo>
                  <a:lnTo>
                    <a:pt x="1070" y="698"/>
                  </a:lnTo>
                  <a:lnTo>
                    <a:pt x="1067" y="698"/>
                  </a:lnTo>
                  <a:lnTo>
                    <a:pt x="1067" y="696"/>
                  </a:lnTo>
                  <a:lnTo>
                    <a:pt x="1065" y="696"/>
                  </a:lnTo>
                  <a:lnTo>
                    <a:pt x="1065" y="698"/>
                  </a:lnTo>
                  <a:lnTo>
                    <a:pt x="1063" y="698"/>
                  </a:lnTo>
                  <a:lnTo>
                    <a:pt x="1060" y="701"/>
                  </a:lnTo>
                  <a:lnTo>
                    <a:pt x="1060" y="698"/>
                  </a:lnTo>
                  <a:lnTo>
                    <a:pt x="1060" y="696"/>
                  </a:lnTo>
                  <a:lnTo>
                    <a:pt x="1058" y="696"/>
                  </a:lnTo>
                  <a:lnTo>
                    <a:pt x="1055" y="698"/>
                  </a:lnTo>
                  <a:lnTo>
                    <a:pt x="1055" y="696"/>
                  </a:lnTo>
                  <a:lnTo>
                    <a:pt x="1053" y="696"/>
                  </a:lnTo>
                  <a:lnTo>
                    <a:pt x="1053" y="698"/>
                  </a:lnTo>
                  <a:lnTo>
                    <a:pt x="1051" y="698"/>
                  </a:lnTo>
                  <a:lnTo>
                    <a:pt x="1051" y="696"/>
                  </a:lnTo>
                  <a:lnTo>
                    <a:pt x="1048" y="696"/>
                  </a:lnTo>
                  <a:lnTo>
                    <a:pt x="1048" y="698"/>
                  </a:lnTo>
                  <a:lnTo>
                    <a:pt x="1051" y="698"/>
                  </a:lnTo>
                  <a:lnTo>
                    <a:pt x="1048" y="698"/>
                  </a:lnTo>
                  <a:lnTo>
                    <a:pt x="1046" y="698"/>
                  </a:lnTo>
                  <a:lnTo>
                    <a:pt x="1046" y="696"/>
                  </a:lnTo>
                  <a:lnTo>
                    <a:pt x="1046" y="698"/>
                  </a:lnTo>
                  <a:lnTo>
                    <a:pt x="1044" y="698"/>
                  </a:lnTo>
                  <a:lnTo>
                    <a:pt x="1041" y="698"/>
                  </a:lnTo>
                  <a:lnTo>
                    <a:pt x="1039" y="698"/>
                  </a:lnTo>
                  <a:lnTo>
                    <a:pt x="1041" y="696"/>
                  </a:lnTo>
                  <a:lnTo>
                    <a:pt x="1039" y="696"/>
                  </a:lnTo>
                  <a:lnTo>
                    <a:pt x="1036" y="696"/>
                  </a:lnTo>
                  <a:lnTo>
                    <a:pt x="1034" y="696"/>
                  </a:lnTo>
                  <a:lnTo>
                    <a:pt x="1032" y="698"/>
                  </a:lnTo>
                  <a:lnTo>
                    <a:pt x="1034" y="698"/>
                  </a:lnTo>
                  <a:lnTo>
                    <a:pt x="1034" y="696"/>
                  </a:lnTo>
                  <a:lnTo>
                    <a:pt x="1036" y="696"/>
                  </a:lnTo>
                  <a:lnTo>
                    <a:pt x="1039" y="696"/>
                  </a:lnTo>
                  <a:lnTo>
                    <a:pt x="1036" y="696"/>
                  </a:lnTo>
                  <a:lnTo>
                    <a:pt x="1039" y="696"/>
                  </a:lnTo>
                  <a:lnTo>
                    <a:pt x="1041" y="696"/>
                  </a:lnTo>
                  <a:lnTo>
                    <a:pt x="1039" y="696"/>
                  </a:lnTo>
                  <a:lnTo>
                    <a:pt x="1039" y="698"/>
                  </a:lnTo>
                  <a:lnTo>
                    <a:pt x="1041" y="698"/>
                  </a:lnTo>
                  <a:lnTo>
                    <a:pt x="1044" y="698"/>
                  </a:lnTo>
                  <a:lnTo>
                    <a:pt x="1046" y="698"/>
                  </a:lnTo>
                  <a:lnTo>
                    <a:pt x="1046" y="696"/>
                  </a:lnTo>
                  <a:lnTo>
                    <a:pt x="1046" y="698"/>
                  </a:lnTo>
                  <a:lnTo>
                    <a:pt x="1048" y="698"/>
                  </a:lnTo>
                  <a:lnTo>
                    <a:pt x="1051" y="698"/>
                  </a:lnTo>
                  <a:lnTo>
                    <a:pt x="1048" y="698"/>
                  </a:lnTo>
                  <a:lnTo>
                    <a:pt x="1048" y="696"/>
                  </a:lnTo>
                  <a:lnTo>
                    <a:pt x="1051" y="698"/>
                  </a:lnTo>
                  <a:lnTo>
                    <a:pt x="1053" y="698"/>
                  </a:lnTo>
                  <a:lnTo>
                    <a:pt x="1053" y="696"/>
                  </a:lnTo>
                  <a:lnTo>
                    <a:pt x="1055" y="696"/>
                  </a:lnTo>
                  <a:lnTo>
                    <a:pt x="1055" y="698"/>
                  </a:lnTo>
                  <a:lnTo>
                    <a:pt x="1058" y="698"/>
                  </a:lnTo>
                  <a:lnTo>
                    <a:pt x="1058" y="696"/>
                  </a:lnTo>
                  <a:lnTo>
                    <a:pt x="1060" y="698"/>
                  </a:lnTo>
                  <a:lnTo>
                    <a:pt x="1060" y="701"/>
                  </a:lnTo>
                  <a:lnTo>
                    <a:pt x="1063" y="698"/>
                  </a:lnTo>
                  <a:lnTo>
                    <a:pt x="1065" y="698"/>
                  </a:lnTo>
                  <a:lnTo>
                    <a:pt x="1065" y="696"/>
                  </a:lnTo>
                  <a:lnTo>
                    <a:pt x="1067" y="698"/>
                  </a:lnTo>
                  <a:lnTo>
                    <a:pt x="1065" y="698"/>
                  </a:lnTo>
                  <a:lnTo>
                    <a:pt x="1067" y="698"/>
                  </a:lnTo>
                  <a:lnTo>
                    <a:pt x="1070" y="698"/>
                  </a:lnTo>
                  <a:lnTo>
                    <a:pt x="1067" y="698"/>
                  </a:lnTo>
                  <a:lnTo>
                    <a:pt x="1070" y="698"/>
                  </a:lnTo>
                  <a:lnTo>
                    <a:pt x="1072" y="698"/>
                  </a:lnTo>
                  <a:lnTo>
                    <a:pt x="1070" y="698"/>
                  </a:lnTo>
                  <a:lnTo>
                    <a:pt x="1072" y="698"/>
                  </a:lnTo>
                  <a:lnTo>
                    <a:pt x="1072" y="701"/>
                  </a:lnTo>
                  <a:lnTo>
                    <a:pt x="1070" y="701"/>
                  </a:lnTo>
                  <a:lnTo>
                    <a:pt x="1072" y="701"/>
                  </a:lnTo>
                  <a:lnTo>
                    <a:pt x="1074" y="701"/>
                  </a:lnTo>
                  <a:lnTo>
                    <a:pt x="1077" y="701"/>
                  </a:lnTo>
                  <a:lnTo>
                    <a:pt x="1079" y="701"/>
                  </a:lnTo>
                  <a:lnTo>
                    <a:pt x="1082" y="701"/>
                  </a:lnTo>
                  <a:lnTo>
                    <a:pt x="1084" y="701"/>
                  </a:lnTo>
                  <a:lnTo>
                    <a:pt x="1086" y="701"/>
                  </a:lnTo>
                  <a:lnTo>
                    <a:pt x="1089" y="701"/>
                  </a:lnTo>
                  <a:lnTo>
                    <a:pt x="1091" y="703"/>
                  </a:lnTo>
                  <a:lnTo>
                    <a:pt x="1093" y="703"/>
                  </a:lnTo>
                  <a:lnTo>
                    <a:pt x="1091" y="703"/>
                  </a:lnTo>
                  <a:lnTo>
                    <a:pt x="1093" y="703"/>
                  </a:lnTo>
                  <a:lnTo>
                    <a:pt x="1093" y="705"/>
                  </a:lnTo>
                  <a:lnTo>
                    <a:pt x="1091" y="705"/>
                  </a:lnTo>
                  <a:lnTo>
                    <a:pt x="1089" y="705"/>
                  </a:lnTo>
                  <a:lnTo>
                    <a:pt x="1089" y="708"/>
                  </a:lnTo>
                  <a:lnTo>
                    <a:pt x="1089" y="705"/>
                  </a:lnTo>
                  <a:lnTo>
                    <a:pt x="1091" y="705"/>
                  </a:lnTo>
                  <a:lnTo>
                    <a:pt x="1093" y="705"/>
                  </a:lnTo>
                  <a:lnTo>
                    <a:pt x="1093" y="703"/>
                  </a:lnTo>
                  <a:lnTo>
                    <a:pt x="1093" y="705"/>
                  </a:lnTo>
                  <a:lnTo>
                    <a:pt x="1093" y="703"/>
                  </a:lnTo>
                  <a:lnTo>
                    <a:pt x="1093" y="705"/>
                  </a:lnTo>
                  <a:lnTo>
                    <a:pt x="1096" y="705"/>
                  </a:lnTo>
                  <a:lnTo>
                    <a:pt x="1096" y="703"/>
                  </a:lnTo>
                  <a:lnTo>
                    <a:pt x="1096" y="705"/>
                  </a:lnTo>
                  <a:lnTo>
                    <a:pt x="1096" y="703"/>
                  </a:lnTo>
                  <a:lnTo>
                    <a:pt x="1096" y="705"/>
                  </a:lnTo>
                  <a:lnTo>
                    <a:pt x="1096" y="708"/>
                  </a:lnTo>
                  <a:lnTo>
                    <a:pt x="1098" y="708"/>
                  </a:lnTo>
                  <a:lnTo>
                    <a:pt x="1101" y="708"/>
                  </a:lnTo>
                  <a:lnTo>
                    <a:pt x="1103" y="708"/>
                  </a:lnTo>
                  <a:lnTo>
                    <a:pt x="1105" y="708"/>
                  </a:lnTo>
                  <a:lnTo>
                    <a:pt x="1108" y="708"/>
                  </a:lnTo>
                  <a:lnTo>
                    <a:pt x="1105" y="708"/>
                  </a:lnTo>
                  <a:lnTo>
                    <a:pt x="1108" y="708"/>
                  </a:lnTo>
                  <a:lnTo>
                    <a:pt x="1110" y="708"/>
                  </a:lnTo>
                  <a:lnTo>
                    <a:pt x="1112" y="708"/>
                  </a:lnTo>
                  <a:lnTo>
                    <a:pt x="1110" y="708"/>
                  </a:lnTo>
                  <a:lnTo>
                    <a:pt x="1112" y="708"/>
                  </a:lnTo>
                  <a:lnTo>
                    <a:pt x="1115" y="708"/>
                  </a:lnTo>
                  <a:lnTo>
                    <a:pt x="1115" y="710"/>
                  </a:lnTo>
                  <a:lnTo>
                    <a:pt x="1117" y="710"/>
                  </a:lnTo>
                  <a:lnTo>
                    <a:pt x="1119" y="710"/>
                  </a:lnTo>
                  <a:lnTo>
                    <a:pt x="1122" y="710"/>
                  </a:lnTo>
                  <a:lnTo>
                    <a:pt x="1122" y="712"/>
                  </a:lnTo>
                  <a:lnTo>
                    <a:pt x="1124" y="715"/>
                  </a:lnTo>
                  <a:lnTo>
                    <a:pt x="1127" y="715"/>
                  </a:lnTo>
                  <a:lnTo>
                    <a:pt x="1127" y="717"/>
                  </a:lnTo>
                  <a:lnTo>
                    <a:pt x="1129" y="717"/>
                  </a:lnTo>
                  <a:lnTo>
                    <a:pt x="1129" y="720"/>
                  </a:lnTo>
                  <a:lnTo>
                    <a:pt x="1131" y="720"/>
                  </a:lnTo>
                  <a:lnTo>
                    <a:pt x="1131" y="722"/>
                  </a:lnTo>
                  <a:lnTo>
                    <a:pt x="1129" y="722"/>
                  </a:lnTo>
                  <a:lnTo>
                    <a:pt x="1131" y="722"/>
                  </a:lnTo>
                  <a:lnTo>
                    <a:pt x="1129" y="722"/>
                  </a:lnTo>
                  <a:lnTo>
                    <a:pt x="1129" y="724"/>
                  </a:lnTo>
                  <a:lnTo>
                    <a:pt x="1127" y="727"/>
                  </a:lnTo>
                  <a:lnTo>
                    <a:pt x="1127" y="729"/>
                  </a:lnTo>
                  <a:lnTo>
                    <a:pt x="1127" y="731"/>
                  </a:lnTo>
                  <a:lnTo>
                    <a:pt x="1127" y="734"/>
                  </a:lnTo>
                  <a:lnTo>
                    <a:pt x="1124" y="734"/>
                  </a:lnTo>
                  <a:lnTo>
                    <a:pt x="1122" y="734"/>
                  </a:lnTo>
                  <a:lnTo>
                    <a:pt x="1119" y="734"/>
                  </a:lnTo>
                  <a:lnTo>
                    <a:pt x="1119" y="736"/>
                  </a:lnTo>
                  <a:lnTo>
                    <a:pt x="1117" y="736"/>
                  </a:lnTo>
                  <a:lnTo>
                    <a:pt x="1115" y="736"/>
                  </a:lnTo>
                  <a:lnTo>
                    <a:pt x="1112" y="739"/>
                  </a:lnTo>
                  <a:lnTo>
                    <a:pt x="1112" y="741"/>
                  </a:lnTo>
                  <a:lnTo>
                    <a:pt x="1110" y="741"/>
                  </a:lnTo>
                  <a:lnTo>
                    <a:pt x="1110" y="743"/>
                  </a:lnTo>
                  <a:lnTo>
                    <a:pt x="1112" y="743"/>
                  </a:lnTo>
                  <a:lnTo>
                    <a:pt x="1112" y="746"/>
                  </a:lnTo>
                  <a:lnTo>
                    <a:pt x="1115" y="746"/>
                  </a:lnTo>
                  <a:lnTo>
                    <a:pt x="1112" y="748"/>
                  </a:lnTo>
                  <a:lnTo>
                    <a:pt x="1112" y="750"/>
                  </a:lnTo>
                  <a:lnTo>
                    <a:pt x="1112" y="753"/>
                  </a:lnTo>
                  <a:lnTo>
                    <a:pt x="1112" y="755"/>
                  </a:lnTo>
                  <a:lnTo>
                    <a:pt x="1115" y="755"/>
                  </a:lnTo>
                  <a:lnTo>
                    <a:pt x="1117" y="755"/>
                  </a:lnTo>
                  <a:lnTo>
                    <a:pt x="1117" y="758"/>
                  </a:lnTo>
                  <a:lnTo>
                    <a:pt x="1119" y="758"/>
                  </a:lnTo>
                  <a:lnTo>
                    <a:pt x="1119" y="755"/>
                  </a:lnTo>
                  <a:lnTo>
                    <a:pt x="1122" y="755"/>
                  </a:lnTo>
                  <a:lnTo>
                    <a:pt x="1122" y="758"/>
                  </a:lnTo>
                  <a:lnTo>
                    <a:pt x="1124" y="758"/>
                  </a:lnTo>
                  <a:lnTo>
                    <a:pt x="1122" y="758"/>
                  </a:lnTo>
                  <a:lnTo>
                    <a:pt x="1122" y="760"/>
                  </a:lnTo>
                  <a:lnTo>
                    <a:pt x="1119" y="760"/>
                  </a:lnTo>
                  <a:lnTo>
                    <a:pt x="1119" y="762"/>
                  </a:lnTo>
                  <a:lnTo>
                    <a:pt x="1122" y="765"/>
                  </a:lnTo>
                  <a:lnTo>
                    <a:pt x="1119" y="765"/>
                  </a:lnTo>
                  <a:lnTo>
                    <a:pt x="1119" y="767"/>
                  </a:lnTo>
                  <a:lnTo>
                    <a:pt x="1119" y="769"/>
                  </a:lnTo>
                  <a:lnTo>
                    <a:pt x="1117" y="769"/>
                  </a:lnTo>
                  <a:lnTo>
                    <a:pt x="1115" y="769"/>
                  </a:lnTo>
                  <a:lnTo>
                    <a:pt x="1115" y="772"/>
                  </a:lnTo>
                  <a:lnTo>
                    <a:pt x="1117" y="772"/>
                  </a:lnTo>
                  <a:lnTo>
                    <a:pt x="1117" y="774"/>
                  </a:lnTo>
                  <a:lnTo>
                    <a:pt x="1119" y="774"/>
                  </a:lnTo>
                  <a:lnTo>
                    <a:pt x="1117" y="774"/>
                  </a:lnTo>
                  <a:lnTo>
                    <a:pt x="1117" y="777"/>
                  </a:lnTo>
                  <a:lnTo>
                    <a:pt x="1119" y="777"/>
                  </a:lnTo>
                  <a:lnTo>
                    <a:pt x="1122" y="777"/>
                  </a:lnTo>
                  <a:lnTo>
                    <a:pt x="1122" y="779"/>
                  </a:lnTo>
                  <a:lnTo>
                    <a:pt x="1122" y="781"/>
                  </a:lnTo>
                  <a:lnTo>
                    <a:pt x="1124" y="781"/>
                  </a:lnTo>
                  <a:lnTo>
                    <a:pt x="1124" y="784"/>
                  </a:lnTo>
                  <a:lnTo>
                    <a:pt x="1127" y="784"/>
                  </a:lnTo>
                  <a:lnTo>
                    <a:pt x="1124" y="784"/>
                  </a:lnTo>
                  <a:lnTo>
                    <a:pt x="1127" y="784"/>
                  </a:lnTo>
                  <a:lnTo>
                    <a:pt x="1124" y="784"/>
                  </a:lnTo>
                  <a:lnTo>
                    <a:pt x="1127" y="784"/>
                  </a:lnTo>
                  <a:lnTo>
                    <a:pt x="1124" y="784"/>
                  </a:lnTo>
                  <a:lnTo>
                    <a:pt x="1124" y="781"/>
                  </a:lnTo>
                  <a:lnTo>
                    <a:pt x="1122" y="781"/>
                  </a:lnTo>
                  <a:lnTo>
                    <a:pt x="1122" y="779"/>
                  </a:lnTo>
                  <a:lnTo>
                    <a:pt x="1122" y="777"/>
                  </a:lnTo>
                  <a:lnTo>
                    <a:pt x="1119" y="777"/>
                  </a:lnTo>
                  <a:lnTo>
                    <a:pt x="1117" y="777"/>
                  </a:lnTo>
                  <a:lnTo>
                    <a:pt x="1117" y="774"/>
                  </a:lnTo>
                  <a:lnTo>
                    <a:pt x="1119" y="774"/>
                  </a:lnTo>
                  <a:lnTo>
                    <a:pt x="1117" y="774"/>
                  </a:lnTo>
                  <a:lnTo>
                    <a:pt x="1117" y="772"/>
                  </a:lnTo>
                  <a:lnTo>
                    <a:pt x="1115" y="772"/>
                  </a:lnTo>
                  <a:lnTo>
                    <a:pt x="1115" y="769"/>
                  </a:lnTo>
                  <a:lnTo>
                    <a:pt x="1117" y="769"/>
                  </a:lnTo>
                  <a:lnTo>
                    <a:pt x="1119" y="769"/>
                  </a:lnTo>
                  <a:lnTo>
                    <a:pt x="1119" y="767"/>
                  </a:lnTo>
                  <a:lnTo>
                    <a:pt x="1119" y="765"/>
                  </a:lnTo>
                  <a:lnTo>
                    <a:pt x="1122" y="765"/>
                  </a:lnTo>
                  <a:lnTo>
                    <a:pt x="1122" y="762"/>
                  </a:lnTo>
                  <a:lnTo>
                    <a:pt x="1119" y="760"/>
                  </a:lnTo>
                  <a:lnTo>
                    <a:pt x="1122" y="760"/>
                  </a:lnTo>
                  <a:lnTo>
                    <a:pt x="1124" y="758"/>
                  </a:lnTo>
                  <a:lnTo>
                    <a:pt x="1122" y="758"/>
                  </a:lnTo>
                  <a:lnTo>
                    <a:pt x="1122" y="755"/>
                  </a:lnTo>
                  <a:lnTo>
                    <a:pt x="1119" y="755"/>
                  </a:lnTo>
                  <a:lnTo>
                    <a:pt x="1117" y="758"/>
                  </a:lnTo>
                  <a:lnTo>
                    <a:pt x="1117" y="755"/>
                  </a:lnTo>
                  <a:lnTo>
                    <a:pt x="1115" y="755"/>
                  </a:lnTo>
                  <a:lnTo>
                    <a:pt x="1112" y="755"/>
                  </a:lnTo>
                  <a:lnTo>
                    <a:pt x="1112" y="753"/>
                  </a:lnTo>
                  <a:lnTo>
                    <a:pt x="1112" y="750"/>
                  </a:lnTo>
                  <a:lnTo>
                    <a:pt x="1112" y="748"/>
                  </a:lnTo>
                  <a:lnTo>
                    <a:pt x="1115" y="748"/>
                  </a:lnTo>
                  <a:lnTo>
                    <a:pt x="1115" y="746"/>
                  </a:lnTo>
                  <a:lnTo>
                    <a:pt x="1112" y="746"/>
                  </a:lnTo>
                  <a:lnTo>
                    <a:pt x="1112" y="743"/>
                  </a:lnTo>
                  <a:lnTo>
                    <a:pt x="1110" y="743"/>
                  </a:lnTo>
                  <a:lnTo>
                    <a:pt x="1110" y="741"/>
                  </a:lnTo>
                  <a:lnTo>
                    <a:pt x="1112" y="741"/>
                  </a:lnTo>
                  <a:lnTo>
                    <a:pt x="1112" y="739"/>
                  </a:lnTo>
                  <a:lnTo>
                    <a:pt x="1115" y="739"/>
                  </a:lnTo>
                  <a:lnTo>
                    <a:pt x="1115" y="736"/>
                  </a:lnTo>
                  <a:lnTo>
                    <a:pt x="1117" y="736"/>
                  </a:lnTo>
                  <a:lnTo>
                    <a:pt x="1119" y="736"/>
                  </a:lnTo>
                  <a:lnTo>
                    <a:pt x="1119" y="734"/>
                  </a:lnTo>
                  <a:lnTo>
                    <a:pt x="1122" y="734"/>
                  </a:lnTo>
                  <a:lnTo>
                    <a:pt x="1124" y="734"/>
                  </a:lnTo>
                  <a:lnTo>
                    <a:pt x="1127" y="734"/>
                  </a:lnTo>
                  <a:lnTo>
                    <a:pt x="1127" y="731"/>
                  </a:lnTo>
                  <a:lnTo>
                    <a:pt x="1127" y="729"/>
                  </a:lnTo>
                  <a:lnTo>
                    <a:pt x="1127" y="727"/>
                  </a:lnTo>
                  <a:lnTo>
                    <a:pt x="1127" y="724"/>
                  </a:lnTo>
                  <a:lnTo>
                    <a:pt x="1129" y="724"/>
                  </a:lnTo>
                  <a:lnTo>
                    <a:pt x="1129" y="722"/>
                  </a:lnTo>
                  <a:lnTo>
                    <a:pt x="1131" y="722"/>
                  </a:lnTo>
                  <a:lnTo>
                    <a:pt x="1131" y="720"/>
                  </a:lnTo>
                  <a:lnTo>
                    <a:pt x="1131" y="717"/>
                  </a:lnTo>
                  <a:lnTo>
                    <a:pt x="1129" y="717"/>
                  </a:lnTo>
                  <a:lnTo>
                    <a:pt x="1127" y="715"/>
                  </a:lnTo>
                  <a:lnTo>
                    <a:pt x="1124" y="715"/>
                  </a:lnTo>
                  <a:lnTo>
                    <a:pt x="1124" y="712"/>
                  </a:lnTo>
                  <a:lnTo>
                    <a:pt x="1122" y="712"/>
                  </a:lnTo>
                  <a:lnTo>
                    <a:pt x="1122" y="710"/>
                  </a:lnTo>
                  <a:lnTo>
                    <a:pt x="1119" y="710"/>
                  </a:lnTo>
                  <a:lnTo>
                    <a:pt x="1117" y="710"/>
                  </a:lnTo>
                  <a:lnTo>
                    <a:pt x="1115" y="710"/>
                  </a:lnTo>
                  <a:lnTo>
                    <a:pt x="1115" y="708"/>
                  </a:lnTo>
                  <a:lnTo>
                    <a:pt x="1112" y="708"/>
                  </a:lnTo>
                  <a:lnTo>
                    <a:pt x="1110" y="708"/>
                  </a:lnTo>
                  <a:lnTo>
                    <a:pt x="1108" y="708"/>
                  </a:lnTo>
                  <a:lnTo>
                    <a:pt x="1108" y="705"/>
                  </a:lnTo>
                  <a:lnTo>
                    <a:pt x="1110" y="708"/>
                  </a:lnTo>
                  <a:lnTo>
                    <a:pt x="1110" y="705"/>
                  </a:lnTo>
                  <a:lnTo>
                    <a:pt x="1108" y="705"/>
                  </a:lnTo>
                  <a:lnTo>
                    <a:pt x="1105" y="708"/>
                  </a:lnTo>
                  <a:lnTo>
                    <a:pt x="1103" y="708"/>
                  </a:lnTo>
                  <a:lnTo>
                    <a:pt x="1101" y="708"/>
                  </a:lnTo>
                  <a:lnTo>
                    <a:pt x="1103" y="708"/>
                  </a:lnTo>
                  <a:lnTo>
                    <a:pt x="1101" y="708"/>
                  </a:lnTo>
                  <a:lnTo>
                    <a:pt x="1098" y="708"/>
                  </a:lnTo>
                  <a:lnTo>
                    <a:pt x="1098" y="705"/>
                  </a:lnTo>
                  <a:lnTo>
                    <a:pt x="1101" y="703"/>
                  </a:lnTo>
                  <a:lnTo>
                    <a:pt x="1103" y="703"/>
                  </a:lnTo>
                  <a:lnTo>
                    <a:pt x="1105" y="703"/>
                  </a:lnTo>
                  <a:lnTo>
                    <a:pt x="1108" y="703"/>
                  </a:lnTo>
                  <a:lnTo>
                    <a:pt x="1110" y="703"/>
                  </a:lnTo>
                  <a:lnTo>
                    <a:pt x="1112" y="705"/>
                  </a:lnTo>
                  <a:lnTo>
                    <a:pt x="1115" y="705"/>
                  </a:lnTo>
                  <a:lnTo>
                    <a:pt x="1115" y="703"/>
                  </a:lnTo>
                  <a:lnTo>
                    <a:pt x="1115" y="705"/>
                  </a:lnTo>
                  <a:lnTo>
                    <a:pt x="1115" y="703"/>
                  </a:lnTo>
                  <a:lnTo>
                    <a:pt x="1117" y="703"/>
                  </a:lnTo>
                  <a:lnTo>
                    <a:pt x="1115" y="703"/>
                  </a:lnTo>
                  <a:lnTo>
                    <a:pt x="1115" y="705"/>
                  </a:lnTo>
                  <a:lnTo>
                    <a:pt x="1115" y="703"/>
                  </a:lnTo>
                  <a:lnTo>
                    <a:pt x="1117" y="703"/>
                  </a:lnTo>
                  <a:lnTo>
                    <a:pt x="1119" y="701"/>
                  </a:lnTo>
                  <a:lnTo>
                    <a:pt x="1122" y="701"/>
                  </a:lnTo>
                  <a:lnTo>
                    <a:pt x="1124" y="698"/>
                  </a:lnTo>
                  <a:lnTo>
                    <a:pt x="1127" y="698"/>
                  </a:lnTo>
                  <a:lnTo>
                    <a:pt x="1129" y="698"/>
                  </a:lnTo>
                  <a:lnTo>
                    <a:pt x="1131" y="698"/>
                  </a:lnTo>
                  <a:lnTo>
                    <a:pt x="1134" y="698"/>
                  </a:lnTo>
                  <a:lnTo>
                    <a:pt x="1134" y="696"/>
                  </a:lnTo>
                  <a:lnTo>
                    <a:pt x="1136" y="696"/>
                  </a:lnTo>
                  <a:lnTo>
                    <a:pt x="1138" y="696"/>
                  </a:lnTo>
                  <a:lnTo>
                    <a:pt x="1141" y="698"/>
                  </a:lnTo>
                  <a:lnTo>
                    <a:pt x="1143" y="698"/>
                  </a:lnTo>
                  <a:lnTo>
                    <a:pt x="1146" y="698"/>
                  </a:lnTo>
                  <a:lnTo>
                    <a:pt x="1146" y="696"/>
                  </a:lnTo>
                  <a:lnTo>
                    <a:pt x="1148" y="693"/>
                  </a:lnTo>
                  <a:lnTo>
                    <a:pt x="1148" y="696"/>
                  </a:lnTo>
                  <a:lnTo>
                    <a:pt x="1148" y="693"/>
                  </a:lnTo>
                  <a:lnTo>
                    <a:pt x="1150" y="693"/>
                  </a:lnTo>
                  <a:lnTo>
                    <a:pt x="1153" y="693"/>
                  </a:lnTo>
                  <a:lnTo>
                    <a:pt x="1153" y="691"/>
                  </a:lnTo>
                  <a:lnTo>
                    <a:pt x="1153" y="693"/>
                  </a:lnTo>
                  <a:lnTo>
                    <a:pt x="1153" y="691"/>
                  </a:lnTo>
                  <a:lnTo>
                    <a:pt x="1150" y="693"/>
                  </a:lnTo>
                  <a:lnTo>
                    <a:pt x="1148" y="693"/>
                  </a:lnTo>
                  <a:lnTo>
                    <a:pt x="1150" y="693"/>
                  </a:lnTo>
                  <a:lnTo>
                    <a:pt x="1148" y="693"/>
                  </a:lnTo>
                  <a:lnTo>
                    <a:pt x="1146" y="696"/>
                  </a:lnTo>
                  <a:lnTo>
                    <a:pt x="1146" y="693"/>
                  </a:lnTo>
                  <a:lnTo>
                    <a:pt x="1148" y="693"/>
                  </a:lnTo>
                  <a:lnTo>
                    <a:pt x="1146" y="693"/>
                  </a:lnTo>
                  <a:lnTo>
                    <a:pt x="1146" y="696"/>
                  </a:lnTo>
                  <a:lnTo>
                    <a:pt x="1146" y="693"/>
                  </a:lnTo>
                  <a:lnTo>
                    <a:pt x="1148" y="693"/>
                  </a:lnTo>
                  <a:lnTo>
                    <a:pt x="1148" y="691"/>
                  </a:lnTo>
                  <a:lnTo>
                    <a:pt x="1150" y="689"/>
                  </a:lnTo>
                  <a:lnTo>
                    <a:pt x="1150" y="686"/>
                  </a:lnTo>
                  <a:lnTo>
                    <a:pt x="1150" y="689"/>
                  </a:lnTo>
                  <a:lnTo>
                    <a:pt x="1150" y="686"/>
                  </a:lnTo>
                  <a:lnTo>
                    <a:pt x="1153" y="686"/>
                  </a:lnTo>
                  <a:lnTo>
                    <a:pt x="1153" y="684"/>
                  </a:lnTo>
                  <a:lnTo>
                    <a:pt x="1155" y="684"/>
                  </a:lnTo>
                  <a:lnTo>
                    <a:pt x="1157" y="684"/>
                  </a:lnTo>
                  <a:lnTo>
                    <a:pt x="1160" y="684"/>
                  </a:lnTo>
                  <a:lnTo>
                    <a:pt x="1162" y="682"/>
                  </a:lnTo>
                  <a:lnTo>
                    <a:pt x="1165" y="679"/>
                  </a:lnTo>
                  <a:lnTo>
                    <a:pt x="1165" y="677"/>
                  </a:lnTo>
                  <a:lnTo>
                    <a:pt x="1167" y="677"/>
                  </a:lnTo>
                  <a:lnTo>
                    <a:pt x="1167" y="674"/>
                  </a:lnTo>
                  <a:lnTo>
                    <a:pt x="1169" y="674"/>
                  </a:lnTo>
                  <a:lnTo>
                    <a:pt x="1172" y="674"/>
                  </a:lnTo>
                  <a:lnTo>
                    <a:pt x="1172" y="672"/>
                  </a:lnTo>
                  <a:lnTo>
                    <a:pt x="1174" y="672"/>
                  </a:lnTo>
                  <a:lnTo>
                    <a:pt x="1174" y="670"/>
                  </a:lnTo>
                  <a:lnTo>
                    <a:pt x="1174" y="667"/>
                  </a:lnTo>
                  <a:lnTo>
                    <a:pt x="1172" y="667"/>
                  </a:lnTo>
                  <a:lnTo>
                    <a:pt x="1174" y="667"/>
                  </a:lnTo>
                  <a:lnTo>
                    <a:pt x="1172" y="667"/>
                  </a:lnTo>
                  <a:lnTo>
                    <a:pt x="1172" y="665"/>
                  </a:lnTo>
                  <a:lnTo>
                    <a:pt x="1172" y="662"/>
                  </a:lnTo>
                  <a:lnTo>
                    <a:pt x="1174" y="662"/>
                  </a:lnTo>
                  <a:lnTo>
                    <a:pt x="1174" y="660"/>
                  </a:lnTo>
                  <a:lnTo>
                    <a:pt x="1176" y="660"/>
                  </a:lnTo>
                  <a:lnTo>
                    <a:pt x="1176" y="658"/>
                  </a:lnTo>
                  <a:lnTo>
                    <a:pt x="1179" y="658"/>
                  </a:lnTo>
                  <a:lnTo>
                    <a:pt x="1181" y="658"/>
                  </a:lnTo>
                  <a:lnTo>
                    <a:pt x="1181" y="655"/>
                  </a:lnTo>
                  <a:lnTo>
                    <a:pt x="1181" y="658"/>
                  </a:lnTo>
                  <a:lnTo>
                    <a:pt x="1179" y="658"/>
                  </a:lnTo>
                  <a:lnTo>
                    <a:pt x="1181" y="658"/>
                  </a:lnTo>
                  <a:lnTo>
                    <a:pt x="1179" y="658"/>
                  </a:lnTo>
                  <a:lnTo>
                    <a:pt x="1181" y="655"/>
                  </a:lnTo>
                  <a:lnTo>
                    <a:pt x="1184" y="655"/>
                  </a:lnTo>
                  <a:lnTo>
                    <a:pt x="1184" y="653"/>
                  </a:lnTo>
                  <a:lnTo>
                    <a:pt x="1186" y="653"/>
                  </a:lnTo>
                  <a:lnTo>
                    <a:pt x="1188" y="651"/>
                  </a:lnTo>
                  <a:lnTo>
                    <a:pt x="1191" y="651"/>
                  </a:lnTo>
                  <a:lnTo>
                    <a:pt x="1193" y="651"/>
                  </a:lnTo>
                  <a:lnTo>
                    <a:pt x="1195" y="651"/>
                  </a:lnTo>
                  <a:lnTo>
                    <a:pt x="1195" y="648"/>
                  </a:lnTo>
                  <a:lnTo>
                    <a:pt x="1195" y="651"/>
                  </a:lnTo>
                  <a:lnTo>
                    <a:pt x="1195" y="648"/>
                  </a:lnTo>
                  <a:lnTo>
                    <a:pt x="1198" y="648"/>
                  </a:lnTo>
                  <a:lnTo>
                    <a:pt x="1200" y="648"/>
                  </a:lnTo>
                  <a:lnTo>
                    <a:pt x="1200" y="651"/>
                  </a:lnTo>
                  <a:lnTo>
                    <a:pt x="1200" y="648"/>
                  </a:lnTo>
                  <a:lnTo>
                    <a:pt x="1203" y="648"/>
                  </a:lnTo>
                  <a:lnTo>
                    <a:pt x="1200" y="648"/>
                  </a:lnTo>
                  <a:lnTo>
                    <a:pt x="1198" y="648"/>
                  </a:lnTo>
                  <a:lnTo>
                    <a:pt x="1200" y="648"/>
                  </a:lnTo>
                  <a:lnTo>
                    <a:pt x="1198" y="648"/>
                  </a:lnTo>
                  <a:lnTo>
                    <a:pt x="1200" y="648"/>
                  </a:lnTo>
                  <a:lnTo>
                    <a:pt x="1203" y="648"/>
                  </a:lnTo>
                  <a:lnTo>
                    <a:pt x="1205" y="648"/>
                  </a:lnTo>
                  <a:lnTo>
                    <a:pt x="1203" y="648"/>
                  </a:lnTo>
                  <a:lnTo>
                    <a:pt x="1205" y="648"/>
                  </a:lnTo>
                  <a:lnTo>
                    <a:pt x="1207" y="648"/>
                  </a:lnTo>
                  <a:lnTo>
                    <a:pt x="1210" y="648"/>
                  </a:lnTo>
                  <a:lnTo>
                    <a:pt x="1207" y="648"/>
                  </a:lnTo>
                  <a:lnTo>
                    <a:pt x="1210" y="648"/>
                  </a:lnTo>
                  <a:lnTo>
                    <a:pt x="1212" y="648"/>
                  </a:lnTo>
                  <a:lnTo>
                    <a:pt x="1214" y="648"/>
                  </a:lnTo>
                  <a:lnTo>
                    <a:pt x="1214" y="651"/>
                  </a:lnTo>
                  <a:lnTo>
                    <a:pt x="1214" y="653"/>
                  </a:lnTo>
                  <a:lnTo>
                    <a:pt x="1217" y="653"/>
                  </a:lnTo>
                  <a:lnTo>
                    <a:pt x="1217" y="655"/>
                  </a:lnTo>
                  <a:lnTo>
                    <a:pt x="1219" y="658"/>
                  </a:lnTo>
                  <a:lnTo>
                    <a:pt x="1219" y="655"/>
                  </a:lnTo>
                  <a:lnTo>
                    <a:pt x="1222" y="655"/>
                  </a:lnTo>
                  <a:lnTo>
                    <a:pt x="1222" y="658"/>
                  </a:lnTo>
                  <a:lnTo>
                    <a:pt x="1222" y="660"/>
                  </a:lnTo>
                  <a:lnTo>
                    <a:pt x="1222" y="662"/>
                  </a:lnTo>
                  <a:lnTo>
                    <a:pt x="1222" y="660"/>
                  </a:lnTo>
                  <a:lnTo>
                    <a:pt x="1222" y="662"/>
                  </a:lnTo>
                  <a:lnTo>
                    <a:pt x="1222" y="665"/>
                  </a:lnTo>
                  <a:lnTo>
                    <a:pt x="1224" y="665"/>
                  </a:lnTo>
                  <a:lnTo>
                    <a:pt x="1224" y="667"/>
                  </a:lnTo>
                  <a:lnTo>
                    <a:pt x="1224" y="665"/>
                  </a:lnTo>
                  <a:lnTo>
                    <a:pt x="1226" y="667"/>
                  </a:lnTo>
                  <a:lnTo>
                    <a:pt x="1229" y="667"/>
                  </a:lnTo>
                  <a:lnTo>
                    <a:pt x="1231" y="667"/>
                  </a:lnTo>
                  <a:lnTo>
                    <a:pt x="1231" y="670"/>
                  </a:lnTo>
                  <a:lnTo>
                    <a:pt x="1229" y="670"/>
                  </a:lnTo>
                  <a:lnTo>
                    <a:pt x="1226" y="670"/>
                  </a:lnTo>
                  <a:lnTo>
                    <a:pt x="1226" y="672"/>
                  </a:lnTo>
                  <a:lnTo>
                    <a:pt x="1226" y="674"/>
                  </a:lnTo>
                  <a:lnTo>
                    <a:pt x="1224" y="674"/>
                  </a:lnTo>
                  <a:lnTo>
                    <a:pt x="1224" y="677"/>
                  </a:lnTo>
                  <a:lnTo>
                    <a:pt x="1224" y="679"/>
                  </a:lnTo>
                  <a:lnTo>
                    <a:pt x="1222" y="679"/>
                  </a:lnTo>
                  <a:lnTo>
                    <a:pt x="1222" y="682"/>
                  </a:lnTo>
                  <a:lnTo>
                    <a:pt x="1224" y="684"/>
                  </a:lnTo>
                  <a:lnTo>
                    <a:pt x="1224" y="682"/>
                  </a:lnTo>
                  <a:lnTo>
                    <a:pt x="1224" y="684"/>
                  </a:lnTo>
                  <a:lnTo>
                    <a:pt x="1226" y="684"/>
                  </a:lnTo>
                  <a:lnTo>
                    <a:pt x="1224" y="684"/>
                  </a:lnTo>
                  <a:lnTo>
                    <a:pt x="1226" y="684"/>
                  </a:lnTo>
                  <a:lnTo>
                    <a:pt x="1229" y="684"/>
                  </a:lnTo>
                  <a:lnTo>
                    <a:pt x="1226" y="686"/>
                  </a:lnTo>
                  <a:lnTo>
                    <a:pt x="1226" y="689"/>
                  </a:lnTo>
                  <a:lnTo>
                    <a:pt x="1229" y="689"/>
                  </a:lnTo>
                  <a:lnTo>
                    <a:pt x="1231" y="689"/>
                  </a:lnTo>
                  <a:lnTo>
                    <a:pt x="1229" y="689"/>
                  </a:lnTo>
                  <a:lnTo>
                    <a:pt x="1229" y="691"/>
                  </a:lnTo>
                  <a:lnTo>
                    <a:pt x="1231" y="691"/>
                  </a:lnTo>
                  <a:lnTo>
                    <a:pt x="1233" y="693"/>
                  </a:lnTo>
                  <a:lnTo>
                    <a:pt x="1233" y="696"/>
                  </a:lnTo>
                  <a:lnTo>
                    <a:pt x="1236" y="693"/>
                  </a:lnTo>
                  <a:lnTo>
                    <a:pt x="1236" y="696"/>
                  </a:lnTo>
                  <a:lnTo>
                    <a:pt x="1233" y="698"/>
                  </a:lnTo>
                  <a:lnTo>
                    <a:pt x="1236" y="698"/>
                  </a:lnTo>
                  <a:lnTo>
                    <a:pt x="1233" y="698"/>
                  </a:lnTo>
                  <a:lnTo>
                    <a:pt x="1233" y="701"/>
                  </a:lnTo>
                  <a:lnTo>
                    <a:pt x="1233" y="703"/>
                  </a:lnTo>
                  <a:lnTo>
                    <a:pt x="1233" y="705"/>
                  </a:lnTo>
                  <a:lnTo>
                    <a:pt x="1233" y="708"/>
                  </a:lnTo>
                  <a:lnTo>
                    <a:pt x="1233" y="710"/>
                  </a:lnTo>
                  <a:lnTo>
                    <a:pt x="1233" y="712"/>
                  </a:lnTo>
                  <a:lnTo>
                    <a:pt x="1231" y="715"/>
                  </a:lnTo>
                  <a:lnTo>
                    <a:pt x="1233" y="715"/>
                  </a:lnTo>
                  <a:lnTo>
                    <a:pt x="1233" y="712"/>
                  </a:lnTo>
                  <a:lnTo>
                    <a:pt x="1233" y="715"/>
                  </a:lnTo>
                  <a:lnTo>
                    <a:pt x="1236" y="715"/>
                  </a:lnTo>
                  <a:lnTo>
                    <a:pt x="1236" y="717"/>
                  </a:lnTo>
                  <a:lnTo>
                    <a:pt x="1238" y="717"/>
                  </a:lnTo>
                  <a:lnTo>
                    <a:pt x="1240" y="717"/>
                  </a:lnTo>
                  <a:lnTo>
                    <a:pt x="1240" y="715"/>
                  </a:lnTo>
                  <a:lnTo>
                    <a:pt x="1240" y="717"/>
                  </a:lnTo>
                  <a:lnTo>
                    <a:pt x="1240" y="715"/>
                  </a:lnTo>
                  <a:lnTo>
                    <a:pt x="1243" y="715"/>
                  </a:lnTo>
                  <a:lnTo>
                    <a:pt x="1243" y="717"/>
                  </a:lnTo>
                  <a:lnTo>
                    <a:pt x="1243" y="720"/>
                  </a:lnTo>
                  <a:lnTo>
                    <a:pt x="1240" y="720"/>
                  </a:lnTo>
                  <a:lnTo>
                    <a:pt x="1240" y="722"/>
                  </a:lnTo>
                  <a:lnTo>
                    <a:pt x="1243" y="722"/>
                  </a:lnTo>
                  <a:lnTo>
                    <a:pt x="1245" y="722"/>
                  </a:lnTo>
                  <a:lnTo>
                    <a:pt x="1248" y="722"/>
                  </a:lnTo>
                  <a:lnTo>
                    <a:pt x="1248" y="724"/>
                  </a:lnTo>
                  <a:lnTo>
                    <a:pt x="1250" y="727"/>
                  </a:lnTo>
                  <a:lnTo>
                    <a:pt x="1252" y="727"/>
                  </a:lnTo>
                  <a:lnTo>
                    <a:pt x="1250" y="727"/>
                  </a:lnTo>
                  <a:lnTo>
                    <a:pt x="1252" y="727"/>
                  </a:lnTo>
                  <a:lnTo>
                    <a:pt x="1252" y="729"/>
                  </a:lnTo>
                  <a:lnTo>
                    <a:pt x="1255" y="729"/>
                  </a:lnTo>
                  <a:lnTo>
                    <a:pt x="1255" y="731"/>
                  </a:lnTo>
                  <a:lnTo>
                    <a:pt x="1257" y="731"/>
                  </a:lnTo>
                  <a:lnTo>
                    <a:pt x="1255" y="731"/>
                  </a:lnTo>
                  <a:lnTo>
                    <a:pt x="1257" y="731"/>
                  </a:lnTo>
                  <a:lnTo>
                    <a:pt x="1259" y="731"/>
                  </a:lnTo>
                  <a:lnTo>
                    <a:pt x="1257" y="731"/>
                  </a:lnTo>
                  <a:lnTo>
                    <a:pt x="1259" y="731"/>
                  </a:lnTo>
                  <a:lnTo>
                    <a:pt x="1259" y="734"/>
                  </a:lnTo>
                  <a:lnTo>
                    <a:pt x="1262" y="734"/>
                  </a:lnTo>
                  <a:lnTo>
                    <a:pt x="1262" y="736"/>
                  </a:lnTo>
                  <a:lnTo>
                    <a:pt x="1262" y="739"/>
                  </a:lnTo>
                  <a:lnTo>
                    <a:pt x="1262" y="741"/>
                  </a:lnTo>
                  <a:lnTo>
                    <a:pt x="1262" y="743"/>
                  </a:lnTo>
                  <a:lnTo>
                    <a:pt x="1262" y="741"/>
                  </a:lnTo>
                  <a:lnTo>
                    <a:pt x="1262" y="743"/>
                  </a:lnTo>
                  <a:lnTo>
                    <a:pt x="1259" y="743"/>
                  </a:lnTo>
                  <a:lnTo>
                    <a:pt x="1259" y="746"/>
                  </a:lnTo>
                  <a:lnTo>
                    <a:pt x="1259" y="748"/>
                  </a:lnTo>
                  <a:lnTo>
                    <a:pt x="1259" y="750"/>
                  </a:lnTo>
                  <a:lnTo>
                    <a:pt x="1259" y="753"/>
                  </a:lnTo>
                  <a:lnTo>
                    <a:pt x="1257" y="753"/>
                  </a:lnTo>
                  <a:lnTo>
                    <a:pt x="1257" y="750"/>
                  </a:lnTo>
                  <a:lnTo>
                    <a:pt x="1255" y="750"/>
                  </a:lnTo>
                  <a:lnTo>
                    <a:pt x="1255" y="753"/>
                  </a:lnTo>
                  <a:lnTo>
                    <a:pt x="1257" y="753"/>
                  </a:lnTo>
                  <a:lnTo>
                    <a:pt x="1259" y="755"/>
                  </a:lnTo>
                  <a:lnTo>
                    <a:pt x="1259" y="758"/>
                  </a:lnTo>
                  <a:lnTo>
                    <a:pt x="1257" y="758"/>
                  </a:lnTo>
                  <a:lnTo>
                    <a:pt x="1255" y="758"/>
                  </a:lnTo>
                  <a:lnTo>
                    <a:pt x="1255" y="760"/>
                  </a:lnTo>
                  <a:lnTo>
                    <a:pt x="1255" y="758"/>
                  </a:lnTo>
                  <a:lnTo>
                    <a:pt x="1257" y="760"/>
                  </a:lnTo>
                  <a:lnTo>
                    <a:pt x="1257" y="762"/>
                  </a:lnTo>
                  <a:lnTo>
                    <a:pt x="1255" y="760"/>
                  </a:lnTo>
                  <a:lnTo>
                    <a:pt x="1252" y="760"/>
                  </a:lnTo>
                  <a:lnTo>
                    <a:pt x="1252" y="762"/>
                  </a:lnTo>
                  <a:lnTo>
                    <a:pt x="1255" y="762"/>
                  </a:lnTo>
                  <a:lnTo>
                    <a:pt x="1255" y="765"/>
                  </a:lnTo>
                  <a:lnTo>
                    <a:pt x="1252" y="765"/>
                  </a:lnTo>
                  <a:lnTo>
                    <a:pt x="1250" y="765"/>
                  </a:lnTo>
                  <a:lnTo>
                    <a:pt x="1250" y="767"/>
                  </a:lnTo>
                  <a:lnTo>
                    <a:pt x="1248" y="767"/>
                  </a:lnTo>
                  <a:lnTo>
                    <a:pt x="1248" y="769"/>
                  </a:lnTo>
                  <a:lnTo>
                    <a:pt x="1250" y="769"/>
                  </a:lnTo>
                  <a:lnTo>
                    <a:pt x="1252" y="769"/>
                  </a:lnTo>
                  <a:lnTo>
                    <a:pt x="1255" y="769"/>
                  </a:lnTo>
                  <a:lnTo>
                    <a:pt x="1255" y="772"/>
                  </a:lnTo>
                  <a:lnTo>
                    <a:pt x="1252" y="772"/>
                  </a:lnTo>
                  <a:lnTo>
                    <a:pt x="1250" y="772"/>
                  </a:lnTo>
                  <a:lnTo>
                    <a:pt x="1252" y="772"/>
                  </a:lnTo>
                  <a:lnTo>
                    <a:pt x="1252" y="774"/>
                  </a:lnTo>
                  <a:lnTo>
                    <a:pt x="1255" y="774"/>
                  </a:lnTo>
                  <a:lnTo>
                    <a:pt x="1255" y="777"/>
                  </a:lnTo>
                  <a:lnTo>
                    <a:pt x="1252" y="777"/>
                  </a:lnTo>
                  <a:lnTo>
                    <a:pt x="1250" y="779"/>
                  </a:lnTo>
                  <a:lnTo>
                    <a:pt x="1250" y="781"/>
                  </a:lnTo>
                  <a:lnTo>
                    <a:pt x="1250" y="784"/>
                  </a:lnTo>
                  <a:lnTo>
                    <a:pt x="1248" y="784"/>
                  </a:lnTo>
                  <a:lnTo>
                    <a:pt x="1245" y="784"/>
                  </a:lnTo>
                  <a:lnTo>
                    <a:pt x="1243" y="784"/>
                  </a:lnTo>
                  <a:lnTo>
                    <a:pt x="1243" y="786"/>
                  </a:lnTo>
                  <a:lnTo>
                    <a:pt x="1243" y="784"/>
                  </a:lnTo>
                  <a:lnTo>
                    <a:pt x="1243" y="786"/>
                  </a:lnTo>
                  <a:lnTo>
                    <a:pt x="1240" y="786"/>
                  </a:lnTo>
                  <a:lnTo>
                    <a:pt x="1238" y="786"/>
                  </a:lnTo>
                  <a:lnTo>
                    <a:pt x="1236" y="786"/>
                  </a:lnTo>
                  <a:lnTo>
                    <a:pt x="1233" y="786"/>
                  </a:lnTo>
                  <a:lnTo>
                    <a:pt x="1233" y="784"/>
                  </a:lnTo>
                  <a:lnTo>
                    <a:pt x="1233" y="786"/>
                  </a:lnTo>
                  <a:lnTo>
                    <a:pt x="1231" y="786"/>
                  </a:lnTo>
                  <a:lnTo>
                    <a:pt x="1231" y="784"/>
                  </a:lnTo>
                  <a:lnTo>
                    <a:pt x="1229" y="784"/>
                  </a:lnTo>
                  <a:lnTo>
                    <a:pt x="1229" y="786"/>
                  </a:lnTo>
                  <a:lnTo>
                    <a:pt x="1229" y="784"/>
                  </a:lnTo>
                  <a:lnTo>
                    <a:pt x="1231" y="784"/>
                  </a:lnTo>
                  <a:lnTo>
                    <a:pt x="1231" y="786"/>
                  </a:lnTo>
                  <a:lnTo>
                    <a:pt x="1229" y="786"/>
                  </a:lnTo>
                  <a:lnTo>
                    <a:pt x="1226" y="786"/>
                  </a:lnTo>
                  <a:lnTo>
                    <a:pt x="1226" y="788"/>
                  </a:lnTo>
                  <a:lnTo>
                    <a:pt x="1224" y="788"/>
                  </a:lnTo>
                  <a:lnTo>
                    <a:pt x="1224" y="791"/>
                  </a:lnTo>
                  <a:lnTo>
                    <a:pt x="1224" y="793"/>
                  </a:lnTo>
                  <a:lnTo>
                    <a:pt x="1222" y="796"/>
                  </a:lnTo>
                  <a:lnTo>
                    <a:pt x="1224" y="796"/>
                  </a:lnTo>
                  <a:lnTo>
                    <a:pt x="1222" y="796"/>
                  </a:lnTo>
                  <a:lnTo>
                    <a:pt x="1222" y="798"/>
                  </a:lnTo>
                  <a:lnTo>
                    <a:pt x="1222" y="800"/>
                  </a:lnTo>
                  <a:lnTo>
                    <a:pt x="1219" y="800"/>
                  </a:lnTo>
                  <a:lnTo>
                    <a:pt x="1219" y="803"/>
                  </a:lnTo>
                  <a:lnTo>
                    <a:pt x="1217" y="803"/>
                  </a:lnTo>
                  <a:lnTo>
                    <a:pt x="1214" y="803"/>
                  </a:lnTo>
                  <a:lnTo>
                    <a:pt x="1214" y="805"/>
                  </a:lnTo>
                  <a:lnTo>
                    <a:pt x="1214" y="807"/>
                  </a:lnTo>
                  <a:lnTo>
                    <a:pt x="1217" y="807"/>
                  </a:lnTo>
                  <a:lnTo>
                    <a:pt x="1219" y="807"/>
                  </a:lnTo>
                  <a:lnTo>
                    <a:pt x="1219" y="810"/>
                  </a:lnTo>
                  <a:lnTo>
                    <a:pt x="1219" y="812"/>
                  </a:lnTo>
                  <a:lnTo>
                    <a:pt x="1217" y="812"/>
                  </a:lnTo>
                  <a:lnTo>
                    <a:pt x="1217" y="810"/>
                  </a:lnTo>
                  <a:lnTo>
                    <a:pt x="1214" y="810"/>
                  </a:lnTo>
                  <a:lnTo>
                    <a:pt x="1212" y="812"/>
                  </a:lnTo>
                  <a:lnTo>
                    <a:pt x="1214" y="810"/>
                  </a:lnTo>
                  <a:lnTo>
                    <a:pt x="1214" y="812"/>
                  </a:lnTo>
                  <a:lnTo>
                    <a:pt x="1214" y="815"/>
                  </a:lnTo>
                  <a:lnTo>
                    <a:pt x="1217" y="815"/>
                  </a:lnTo>
                  <a:lnTo>
                    <a:pt x="1217" y="817"/>
                  </a:lnTo>
                  <a:lnTo>
                    <a:pt x="1214" y="817"/>
                  </a:lnTo>
                  <a:lnTo>
                    <a:pt x="1212" y="817"/>
                  </a:lnTo>
                  <a:lnTo>
                    <a:pt x="1210" y="817"/>
                  </a:lnTo>
                  <a:lnTo>
                    <a:pt x="1210" y="819"/>
                  </a:lnTo>
                  <a:lnTo>
                    <a:pt x="1207" y="819"/>
                  </a:lnTo>
                  <a:lnTo>
                    <a:pt x="1205" y="819"/>
                  </a:lnTo>
                  <a:lnTo>
                    <a:pt x="1205" y="822"/>
                  </a:lnTo>
                  <a:lnTo>
                    <a:pt x="1205" y="824"/>
                  </a:lnTo>
                  <a:lnTo>
                    <a:pt x="1203" y="824"/>
                  </a:lnTo>
                  <a:lnTo>
                    <a:pt x="1200" y="824"/>
                  </a:lnTo>
                  <a:lnTo>
                    <a:pt x="1200" y="822"/>
                  </a:lnTo>
                  <a:lnTo>
                    <a:pt x="1200" y="824"/>
                  </a:lnTo>
                  <a:lnTo>
                    <a:pt x="1200" y="822"/>
                  </a:lnTo>
                  <a:lnTo>
                    <a:pt x="1198" y="822"/>
                  </a:lnTo>
                  <a:lnTo>
                    <a:pt x="1195" y="822"/>
                  </a:lnTo>
                  <a:lnTo>
                    <a:pt x="1195" y="824"/>
                  </a:lnTo>
                  <a:lnTo>
                    <a:pt x="1195" y="826"/>
                  </a:lnTo>
                  <a:lnTo>
                    <a:pt x="1198" y="826"/>
                  </a:lnTo>
                  <a:lnTo>
                    <a:pt x="1200" y="826"/>
                  </a:lnTo>
                  <a:lnTo>
                    <a:pt x="1198" y="826"/>
                  </a:lnTo>
                  <a:lnTo>
                    <a:pt x="1200" y="829"/>
                  </a:lnTo>
                  <a:lnTo>
                    <a:pt x="1198" y="829"/>
                  </a:lnTo>
                  <a:lnTo>
                    <a:pt x="1200" y="829"/>
                  </a:lnTo>
                  <a:lnTo>
                    <a:pt x="1198" y="829"/>
                  </a:lnTo>
                  <a:lnTo>
                    <a:pt x="1198" y="831"/>
                  </a:lnTo>
                  <a:lnTo>
                    <a:pt x="1200" y="831"/>
                  </a:lnTo>
                  <a:lnTo>
                    <a:pt x="1203" y="831"/>
                  </a:lnTo>
                  <a:lnTo>
                    <a:pt x="1203" y="834"/>
                  </a:lnTo>
                  <a:lnTo>
                    <a:pt x="1203" y="836"/>
                  </a:lnTo>
                  <a:lnTo>
                    <a:pt x="1205" y="836"/>
                  </a:lnTo>
                  <a:lnTo>
                    <a:pt x="1205" y="838"/>
                  </a:lnTo>
                  <a:lnTo>
                    <a:pt x="1207" y="838"/>
                  </a:lnTo>
                  <a:lnTo>
                    <a:pt x="1207" y="841"/>
                  </a:lnTo>
                  <a:lnTo>
                    <a:pt x="1207" y="843"/>
                  </a:lnTo>
                  <a:lnTo>
                    <a:pt x="1210" y="843"/>
                  </a:lnTo>
                  <a:lnTo>
                    <a:pt x="1207" y="845"/>
                  </a:lnTo>
                  <a:lnTo>
                    <a:pt x="1207" y="848"/>
                  </a:lnTo>
                  <a:lnTo>
                    <a:pt x="1207" y="850"/>
                  </a:lnTo>
                  <a:lnTo>
                    <a:pt x="1210" y="850"/>
                  </a:lnTo>
                  <a:lnTo>
                    <a:pt x="1212" y="850"/>
                  </a:lnTo>
                  <a:lnTo>
                    <a:pt x="1214" y="850"/>
                  </a:lnTo>
                  <a:lnTo>
                    <a:pt x="1214" y="853"/>
                  </a:lnTo>
                  <a:lnTo>
                    <a:pt x="1217" y="853"/>
                  </a:lnTo>
                  <a:lnTo>
                    <a:pt x="1217" y="855"/>
                  </a:lnTo>
                  <a:lnTo>
                    <a:pt x="1219" y="855"/>
                  </a:lnTo>
                  <a:lnTo>
                    <a:pt x="1222" y="855"/>
                  </a:lnTo>
                  <a:lnTo>
                    <a:pt x="1224" y="857"/>
                  </a:lnTo>
                  <a:lnTo>
                    <a:pt x="1224" y="860"/>
                  </a:lnTo>
                  <a:lnTo>
                    <a:pt x="1224" y="857"/>
                  </a:lnTo>
                  <a:lnTo>
                    <a:pt x="1222" y="855"/>
                  </a:lnTo>
                  <a:lnTo>
                    <a:pt x="1219" y="855"/>
                  </a:lnTo>
                  <a:lnTo>
                    <a:pt x="1217" y="855"/>
                  </a:lnTo>
                  <a:lnTo>
                    <a:pt x="1217" y="853"/>
                  </a:lnTo>
                  <a:lnTo>
                    <a:pt x="1214" y="853"/>
                  </a:lnTo>
                  <a:lnTo>
                    <a:pt x="1214" y="850"/>
                  </a:lnTo>
                  <a:lnTo>
                    <a:pt x="1212" y="850"/>
                  </a:lnTo>
                  <a:lnTo>
                    <a:pt x="1210" y="850"/>
                  </a:lnTo>
                  <a:lnTo>
                    <a:pt x="1207" y="850"/>
                  </a:lnTo>
                  <a:lnTo>
                    <a:pt x="1207" y="848"/>
                  </a:lnTo>
                  <a:lnTo>
                    <a:pt x="1207" y="845"/>
                  </a:lnTo>
                  <a:lnTo>
                    <a:pt x="1210" y="843"/>
                  </a:lnTo>
                  <a:lnTo>
                    <a:pt x="1207" y="843"/>
                  </a:lnTo>
                  <a:lnTo>
                    <a:pt x="1207" y="841"/>
                  </a:lnTo>
                  <a:lnTo>
                    <a:pt x="1207" y="838"/>
                  </a:lnTo>
                  <a:lnTo>
                    <a:pt x="1205" y="838"/>
                  </a:lnTo>
                  <a:lnTo>
                    <a:pt x="1205" y="836"/>
                  </a:lnTo>
                  <a:lnTo>
                    <a:pt x="1205" y="834"/>
                  </a:lnTo>
                  <a:lnTo>
                    <a:pt x="1203" y="834"/>
                  </a:lnTo>
                  <a:lnTo>
                    <a:pt x="1203" y="831"/>
                  </a:lnTo>
                  <a:lnTo>
                    <a:pt x="1200" y="831"/>
                  </a:lnTo>
                  <a:lnTo>
                    <a:pt x="1203" y="831"/>
                  </a:lnTo>
                  <a:lnTo>
                    <a:pt x="1200" y="831"/>
                  </a:lnTo>
                  <a:lnTo>
                    <a:pt x="1203" y="831"/>
                  </a:lnTo>
                  <a:lnTo>
                    <a:pt x="1200" y="831"/>
                  </a:lnTo>
                  <a:lnTo>
                    <a:pt x="1198" y="831"/>
                  </a:lnTo>
                  <a:lnTo>
                    <a:pt x="1198" y="829"/>
                  </a:lnTo>
                  <a:lnTo>
                    <a:pt x="1200" y="829"/>
                  </a:lnTo>
                  <a:lnTo>
                    <a:pt x="1200" y="826"/>
                  </a:lnTo>
                  <a:lnTo>
                    <a:pt x="1198" y="826"/>
                  </a:lnTo>
                  <a:lnTo>
                    <a:pt x="1195" y="824"/>
                  </a:lnTo>
                  <a:lnTo>
                    <a:pt x="1195" y="822"/>
                  </a:lnTo>
                  <a:lnTo>
                    <a:pt x="1198" y="822"/>
                  </a:lnTo>
                  <a:lnTo>
                    <a:pt x="1200" y="822"/>
                  </a:lnTo>
                  <a:lnTo>
                    <a:pt x="1200" y="824"/>
                  </a:lnTo>
                  <a:lnTo>
                    <a:pt x="1203" y="824"/>
                  </a:lnTo>
                  <a:lnTo>
                    <a:pt x="1205" y="824"/>
                  </a:lnTo>
                  <a:lnTo>
                    <a:pt x="1205" y="822"/>
                  </a:lnTo>
                  <a:lnTo>
                    <a:pt x="1205" y="819"/>
                  </a:lnTo>
                  <a:lnTo>
                    <a:pt x="1207" y="819"/>
                  </a:lnTo>
                  <a:lnTo>
                    <a:pt x="1210" y="822"/>
                  </a:lnTo>
                  <a:lnTo>
                    <a:pt x="1210" y="819"/>
                  </a:lnTo>
                  <a:lnTo>
                    <a:pt x="1212" y="819"/>
                  </a:lnTo>
                  <a:lnTo>
                    <a:pt x="1210" y="817"/>
                  </a:lnTo>
                  <a:lnTo>
                    <a:pt x="1212" y="817"/>
                  </a:lnTo>
                  <a:lnTo>
                    <a:pt x="1214" y="817"/>
                  </a:lnTo>
                  <a:lnTo>
                    <a:pt x="1217" y="817"/>
                  </a:lnTo>
                  <a:lnTo>
                    <a:pt x="1217" y="815"/>
                  </a:lnTo>
                  <a:lnTo>
                    <a:pt x="1214" y="815"/>
                  </a:lnTo>
                  <a:lnTo>
                    <a:pt x="1214" y="812"/>
                  </a:lnTo>
                  <a:lnTo>
                    <a:pt x="1214" y="810"/>
                  </a:lnTo>
                  <a:lnTo>
                    <a:pt x="1217" y="810"/>
                  </a:lnTo>
                  <a:lnTo>
                    <a:pt x="1217" y="812"/>
                  </a:lnTo>
                  <a:lnTo>
                    <a:pt x="1219" y="812"/>
                  </a:lnTo>
                  <a:lnTo>
                    <a:pt x="1219" y="810"/>
                  </a:lnTo>
                  <a:lnTo>
                    <a:pt x="1219" y="807"/>
                  </a:lnTo>
                  <a:lnTo>
                    <a:pt x="1217" y="807"/>
                  </a:lnTo>
                  <a:lnTo>
                    <a:pt x="1214" y="807"/>
                  </a:lnTo>
                  <a:lnTo>
                    <a:pt x="1214" y="805"/>
                  </a:lnTo>
                  <a:lnTo>
                    <a:pt x="1214" y="803"/>
                  </a:lnTo>
                  <a:lnTo>
                    <a:pt x="1217" y="803"/>
                  </a:lnTo>
                  <a:lnTo>
                    <a:pt x="1219" y="803"/>
                  </a:lnTo>
                  <a:lnTo>
                    <a:pt x="1219" y="800"/>
                  </a:lnTo>
                  <a:lnTo>
                    <a:pt x="1222" y="800"/>
                  </a:lnTo>
                  <a:lnTo>
                    <a:pt x="1222" y="798"/>
                  </a:lnTo>
                  <a:lnTo>
                    <a:pt x="1224" y="796"/>
                  </a:lnTo>
                  <a:lnTo>
                    <a:pt x="1224" y="798"/>
                  </a:lnTo>
                  <a:lnTo>
                    <a:pt x="1224" y="796"/>
                  </a:lnTo>
                  <a:lnTo>
                    <a:pt x="1222" y="796"/>
                  </a:lnTo>
                  <a:lnTo>
                    <a:pt x="1224" y="796"/>
                  </a:lnTo>
                  <a:lnTo>
                    <a:pt x="1224" y="793"/>
                  </a:lnTo>
                  <a:lnTo>
                    <a:pt x="1224" y="791"/>
                  </a:lnTo>
                  <a:lnTo>
                    <a:pt x="1224" y="788"/>
                  </a:lnTo>
                  <a:lnTo>
                    <a:pt x="1226" y="788"/>
                  </a:lnTo>
                  <a:lnTo>
                    <a:pt x="1226" y="786"/>
                  </a:lnTo>
                  <a:lnTo>
                    <a:pt x="1229" y="786"/>
                  </a:lnTo>
                  <a:lnTo>
                    <a:pt x="1231" y="786"/>
                  </a:lnTo>
                  <a:lnTo>
                    <a:pt x="1233" y="786"/>
                  </a:lnTo>
                  <a:lnTo>
                    <a:pt x="1236" y="786"/>
                  </a:lnTo>
                  <a:lnTo>
                    <a:pt x="1238" y="788"/>
                  </a:lnTo>
                  <a:lnTo>
                    <a:pt x="1238" y="786"/>
                  </a:lnTo>
                  <a:lnTo>
                    <a:pt x="1240" y="786"/>
                  </a:lnTo>
                  <a:lnTo>
                    <a:pt x="1240" y="788"/>
                  </a:lnTo>
                  <a:lnTo>
                    <a:pt x="1240" y="786"/>
                  </a:lnTo>
                  <a:lnTo>
                    <a:pt x="1243" y="786"/>
                  </a:lnTo>
                  <a:lnTo>
                    <a:pt x="1240" y="788"/>
                  </a:lnTo>
                  <a:lnTo>
                    <a:pt x="1240" y="786"/>
                  </a:lnTo>
                  <a:lnTo>
                    <a:pt x="1243" y="786"/>
                  </a:lnTo>
                  <a:lnTo>
                    <a:pt x="1243" y="784"/>
                  </a:lnTo>
                  <a:lnTo>
                    <a:pt x="1245" y="784"/>
                  </a:lnTo>
                  <a:lnTo>
                    <a:pt x="1248" y="784"/>
                  </a:lnTo>
                  <a:lnTo>
                    <a:pt x="1250" y="784"/>
                  </a:lnTo>
                  <a:lnTo>
                    <a:pt x="1252" y="784"/>
                  </a:lnTo>
                  <a:lnTo>
                    <a:pt x="1252" y="781"/>
                  </a:lnTo>
                  <a:lnTo>
                    <a:pt x="1250" y="781"/>
                  </a:lnTo>
                  <a:lnTo>
                    <a:pt x="1250" y="779"/>
                  </a:lnTo>
                  <a:lnTo>
                    <a:pt x="1252" y="779"/>
                  </a:lnTo>
                  <a:lnTo>
                    <a:pt x="1252" y="777"/>
                  </a:lnTo>
                  <a:lnTo>
                    <a:pt x="1255" y="777"/>
                  </a:lnTo>
                  <a:lnTo>
                    <a:pt x="1255" y="774"/>
                  </a:lnTo>
                  <a:lnTo>
                    <a:pt x="1252" y="772"/>
                  </a:lnTo>
                  <a:lnTo>
                    <a:pt x="1250" y="772"/>
                  </a:lnTo>
                  <a:lnTo>
                    <a:pt x="1252" y="772"/>
                  </a:lnTo>
                  <a:lnTo>
                    <a:pt x="1255" y="772"/>
                  </a:lnTo>
                  <a:lnTo>
                    <a:pt x="1255" y="769"/>
                  </a:lnTo>
                  <a:lnTo>
                    <a:pt x="1252" y="769"/>
                  </a:lnTo>
                  <a:lnTo>
                    <a:pt x="1250" y="769"/>
                  </a:lnTo>
                  <a:lnTo>
                    <a:pt x="1248" y="769"/>
                  </a:lnTo>
                  <a:lnTo>
                    <a:pt x="1248" y="767"/>
                  </a:lnTo>
                  <a:lnTo>
                    <a:pt x="1250" y="767"/>
                  </a:lnTo>
                  <a:lnTo>
                    <a:pt x="1252" y="765"/>
                  </a:lnTo>
                  <a:lnTo>
                    <a:pt x="1255" y="765"/>
                  </a:lnTo>
                  <a:lnTo>
                    <a:pt x="1255" y="762"/>
                  </a:lnTo>
                  <a:lnTo>
                    <a:pt x="1255" y="760"/>
                  </a:lnTo>
                  <a:lnTo>
                    <a:pt x="1255" y="762"/>
                  </a:lnTo>
                  <a:lnTo>
                    <a:pt x="1257" y="762"/>
                  </a:lnTo>
                  <a:lnTo>
                    <a:pt x="1257" y="760"/>
                  </a:lnTo>
                  <a:lnTo>
                    <a:pt x="1257" y="758"/>
                  </a:lnTo>
                  <a:lnTo>
                    <a:pt x="1255" y="758"/>
                  </a:lnTo>
                  <a:lnTo>
                    <a:pt x="1257" y="758"/>
                  </a:lnTo>
                  <a:lnTo>
                    <a:pt x="1259" y="758"/>
                  </a:lnTo>
                  <a:lnTo>
                    <a:pt x="1259" y="755"/>
                  </a:lnTo>
                  <a:lnTo>
                    <a:pt x="1257" y="753"/>
                  </a:lnTo>
                  <a:lnTo>
                    <a:pt x="1257" y="750"/>
                  </a:lnTo>
                  <a:lnTo>
                    <a:pt x="1257" y="753"/>
                  </a:lnTo>
                  <a:lnTo>
                    <a:pt x="1259" y="753"/>
                  </a:lnTo>
                  <a:lnTo>
                    <a:pt x="1262" y="750"/>
                  </a:lnTo>
                  <a:lnTo>
                    <a:pt x="1259" y="750"/>
                  </a:lnTo>
                  <a:lnTo>
                    <a:pt x="1259" y="748"/>
                  </a:lnTo>
                  <a:lnTo>
                    <a:pt x="1259" y="746"/>
                  </a:lnTo>
                  <a:lnTo>
                    <a:pt x="1259" y="743"/>
                  </a:lnTo>
                  <a:lnTo>
                    <a:pt x="1262" y="743"/>
                  </a:lnTo>
                  <a:lnTo>
                    <a:pt x="1262" y="741"/>
                  </a:lnTo>
                  <a:lnTo>
                    <a:pt x="1262" y="739"/>
                  </a:lnTo>
                  <a:lnTo>
                    <a:pt x="1262" y="741"/>
                  </a:lnTo>
                  <a:lnTo>
                    <a:pt x="1264" y="739"/>
                  </a:lnTo>
                  <a:lnTo>
                    <a:pt x="1264" y="736"/>
                  </a:lnTo>
                  <a:lnTo>
                    <a:pt x="1264" y="734"/>
                  </a:lnTo>
                  <a:lnTo>
                    <a:pt x="1262" y="734"/>
                  </a:lnTo>
                  <a:lnTo>
                    <a:pt x="1262" y="731"/>
                  </a:lnTo>
                  <a:lnTo>
                    <a:pt x="1259" y="731"/>
                  </a:lnTo>
                  <a:lnTo>
                    <a:pt x="1257" y="731"/>
                  </a:lnTo>
                  <a:lnTo>
                    <a:pt x="1255" y="731"/>
                  </a:lnTo>
                  <a:lnTo>
                    <a:pt x="1255" y="729"/>
                  </a:lnTo>
                  <a:lnTo>
                    <a:pt x="1255" y="727"/>
                  </a:lnTo>
                  <a:lnTo>
                    <a:pt x="1252" y="727"/>
                  </a:lnTo>
                  <a:lnTo>
                    <a:pt x="1250" y="724"/>
                  </a:lnTo>
                  <a:lnTo>
                    <a:pt x="1250" y="727"/>
                  </a:lnTo>
                  <a:lnTo>
                    <a:pt x="1250" y="724"/>
                  </a:lnTo>
                  <a:lnTo>
                    <a:pt x="1248" y="724"/>
                  </a:lnTo>
                  <a:lnTo>
                    <a:pt x="1248" y="722"/>
                  </a:lnTo>
                  <a:lnTo>
                    <a:pt x="1250" y="722"/>
                  </a:lnTo>
                  <a:lnTo>
                    <a:pt x="1248" y="722"/>
                  </a:lnTo>
                  <a:lnTo>
                    <a:pt x="1245" y="722"/>
                  </a:lnTo>
                  <a:lnTo>
                    <a:pt x="1243" y="722"/>
                  </a:lnTo>
                  <a:lnTo>
                    <a:pt x="1240" y="722"/>
                  </a:lnTo>
                  <a:lnTo>
                    <a:pt x="1240" y="720"/>
                  </a:lnTo>
                  <a:lnTo>
                    <a:pt x="1243" y="720"/>
                  </a:lnTo>
                  <a:lnTo>
                    <a:pt x="1243" y="717"/>
                  </a:lnTo>
                  <a:lnTo>
                    <a:pt x="1243" y="720"/>
                  </a:lnTo>
                  <a:lnTo>
                    <a:pt x="1243" y="717"/>
                  </a:lnTo>
                  <a:lnTo>
                    <a:pt x="1243" y="715"/>
                  </a:lnTo>
                  <a:lnTo>
                    <a:pt x="1243" y="717"/>
                  </a:lnTo>
                  <a:lnTo>
                    <a:pt x="1243" y="715"/>
                  </a:lnTo>
                  <a:lnTo>
                    <a:pt x="1243" y="717"/>
                  </a:lnTo>
                  <a:lnTo>
                    <a:pt x="1243" y="715"/>
                  </a:lnTo>
                  <a:lnTo>
                    <a:pt x="1240" y="715"/>
                  </a:lnTo>
                  <a:lnTo>
                    <a:pt x="1238" y="715"/>
                  </a:lnTo>
                  <a:lnTo>
                    <a:pt x="1238" y="717"/>
                  </a:lnTo>
                  <a:lnTo>
                    <a:pt x="1238" y="715"/>
                  </a:lnTo>
                  <a:lnTo>
                    <a:pt x="1238" y="717"/>
                  </a:lnTo>
                  <a:lnTo>
                    <a:pt x="1236" y="717"/>
                  </a:lnTo>
                  <a:lnTo>
                    <a:pt x="1236" y="715"/>
                  </a:lnTo>
                  <a:lnTo>
                    <a:pt x="1233" y="715"/>
                  </a:lnTo>
                  <a:lnTo>
                    <a:pt x="1236" y="715"/>
                  </a:lnTo>
                  <a:lnTo>
                    <a:pt x="1236" y="712"/>
                  </a:lnTo>
                  <a:lnTo>
                    <a:pt x="1233" y="710"/>
                  </a:lnTo>
                  <a:lnTo>
                    <a:pt x="1236" y="710"/>
                  </a:lnTo>
                  <a:lnTo>
                    <a:pt x="1236" y="712"/>
                  </a:lnTo>
                  <a:lnTo>
                    <a:pt x="1236" y="710"/>
                  </a:lnTo>
                  <a:lnTo>
                    <a:pt x="1236" y="712"/>
                  </a:lnTo>
                  <a:lnTo>
                    <a:pt x="1236" y="710"/>
                  </a:lnTo>
                  <a:lnTo>
                    <a:pt x="1236" y="708"/>
                  </a:lnTo>
                  <a:lnTo>
                    <a:pt x="1236" y="705"/>
                  </a:lnTo>
                  <a:lnTo>
                    <a:pt x="1236" y="703"/>
                  </a:lnTo>
                  <a:lnTo>
                    <a:pt x="1233" y="703"/>
                  </a:lnTo>
                  <a:lnTo>
                    <a:pt x="1236" y="703"/>
                  </a:lnTo>
                  <a:lnTo>
                    <a:pt x="1236" y="701"/>
                  </a:lnTo>
                  <a:lnTo>
                    <a:pt x="1236" y="703"/>
                  </a:lnTo>
                  <a:lnTo>
                    <a:pt x="1236" y="701"/>
                  </a:lnTo>
                  <a:lnTo>
                    <a:pt x="1236" y="698"/>
                  </a:lnTo>
                  <a:lnTo>
                    <a:pt x="1236" y="696"/>
                  </a:lnTo>
                  <a:lnTo>
                    <a:pt x="1236" y="698"/>
                  </a:lnTo>
                  <a:lnTo>
                    <a:pt x="1236" y="696"/>
                  </a:lnTo>
                  <a:lnTo>
                    <a:pt x="1236" y="698"/>
                  </a:lnTo>
                  <a:lnTo>
                    <a:pt x="1236" y="696"/>
                  </a:lnTo>
                  <a:lnTo>
                    <a:pt x="1238" y="696"/>
                  </a:lnTo>
                  <a:lnTo>
                    <a:pt x="1236" y="696"/>
                  </a:lnTo>
                  <a:lnTo>
                    <a:pt x="1236" y="693"/>
                  </a:lnTo>
                  <a:lnTo>
                    <a:pt x="1236" y="691"/>
                  </a:lnTo>
                  <a:lnTo>
                    <a:pt x="1233" y="691"/>
                  </a:lnTo>
                  <a:lnTo>
                    <a:pt x="1236" y="691"/>
                  </a:lnTo>
                  <a:lnTo>
                    <a:pt x="1233" y="691"/>
                  </a:lnTo>
                  <a:lnTo>
                    <a:pt x="1233" y="689"/>
                  </a:lnTo>
                  <a:lnTo>
                    <a:pt x="1231" y="689"/>
                  </a:lnTo>
                  <a:lnTo>
                    <a:pt x="1229" y="689"/>
                  </a:lnTo>
                  <a:lnTo>
                    <a:pt x="1229" y="686"/>
                  </a:lnTo>
                  <a:lnTo>
                    <a:pt x="1226" y="686"/>
                  </a:lnTo>
                  <a:lnTo>
                    <a:pt x="1229" y="686"/>
                  </a:lnTo>
                  <a:lnTo>
                    <a:pt x="1226" y="686"/>
                  </a:lnTo>
                  <a:lnTo>
                    <a:pt x="1229" y="686"/>
                  </a:lnTo>
                  <a:lnTo>
                    <a:pt x="1231" y="689"/>
                  </a:lnTo>
                  <a:lnTo>
                    <a:pt x="1231" y="686"/>
                  </a:lnTo>
                  <a:lnTo>
                    <a:pt x="1229" y="686"/>
                  </a:lnTo>
                  <a:lnTo>
                    <a:pt x="1229" y="684"/>
                  </a:lnTo>
                  <a:lnTo>
                    <a:pt x="1226" y="684"/>
                  </a:lnTo>
                  <a:lnTo>
                    <a:pt x="1224" y="684"/>
                  </a:lnTo>
                  <a:lnTo>
                    <a:pt x="1226" y="684"/>
                  </a:lnTo>
                  <a:lnTo>
                    <a:pt x="1224" y="684"/>
                  </a:lnTo>
                  <a:lnTo>
                    <a:pt x="1224" y="682"/>
                  </a:lnTo>
                  <a:lnTo>
                    <a:pt x="1224" y="679"/>
                  </a:lnTo>
                  <a:lnTo>
                    <a:pt x="1224" y="677"/>
                  </a:lnTo>
                  <a:lnTo>
                    <a:pt x="1226" y="677"/>
                  </a:lnTo>
                  <a:lnTo>
                    <a:pt x="1226" y="674"/>
                  </a:lnTo>
                  <a:lnTo>
                    <a:pt x="1226" y="677"/>
                  </a:lnTo>
                  <a:lnTo>
                    <a:pt x="1224" y="677"/>
                  </a:lnTo>
                  <a:lnTo>
                    <a:pt x="1226" y="677"/>
                  </a:lnTo>
                  <a:lnTo>
                    <a:pt x="1226" y="674"/>
                  </a:lnTo>
                  <a:lnTo>
                    <a:pt x="1229" y="674"/>
                  </a:lnTo>
                  <a:lnTo>
                    <a:pt x="1229" y="672"/>
                  </a:lnTo>
                  <a:lnTo>
                    <a:pt x="1229" y="670"/>
                  </a:lnTo>
                  <a:lnTo>
                    <a:pt x="1231" y="670"/>
                  </a:lnTo>
                  <a:lnTo>
                    <a:pt x="1233" y="670"/>
                  </a:lnTo>
                  <a:lnTo>
                    <a:pt x="1236" y="672"/>
                  </a:lnTo>
                  <a:lnTo>
                    <a:pt x="1238" y="672"/>
                  </a:lnTo>
                  <a:lnTo>
                    <a:pt x="1240" y="672"/>
                  </a:lnTo>
                  <a:lnTo>
                    <a:pt x="1238" y="672"/>
                  </a:lnTo>
                  <a:lnTo>
                    <a:pt x="1240" y="672"/>
                  </a:lnTo>
                  <a:lnTo>
                    <a:pt x="1243" y="672"/>
                  </a:lnTo>
                  <a:lnTo>
                    <a:pt x="1245" y="672"/>
                  </a:lnTo>
                  <a:lnTo>
                    <a:pt x="1245" y="670"/>
                  </a:lnTo>
                  <a:lnTo>
                    <a:pt x="1248" y="670"/>
                  </a:lnTo>
                  <a:lnTo>
                    <a:pt x="1250" y="670"/>
                  </a:lnTo>
                  <a:lnTo>
                    <a:pt x="1252" y="670"/>
                  </a:lnTo>
                  <a:lnTo>
                    <a:pt x="1255" y="670"/>
                  </a:lnTo>
                  <a:lnTo>
                    <a:pt x="1257" y="670"/>
                  </a:lnTo>
                  <a:lnTo>
                    <a:pt x="1257" y="667"/>
                  </a:lnTo>
                  <a:lnTo>
                    <a:pt x="1257" y="670"/>
                  </a:lnTo>
                  <a:lnTo>
                    <a:pt x="1257" y="667"/>
                  </a:lnTo>
                  <a:lnTo>
                    <a:pt x="1259" y="667"/>
                  </a:lnTo>
                  <a:lnTo>
                    <a:pt x="1262" y="667"/>
                  </a:lnTo>
                  <a:lnTo>
                    <a:pt x="1264" y="667"/>
                  </a:lnTo>
                  <a:lnTo>
                    <a:pt x="1267" y="667"/>
                  </a:lnTo>
                  <a:lnTo>
                    <a:pt x="1267" y="670"/>
                  </a:lnTo>
                  <a:lnTo>
                    <a:pt x="1264" y="670"/>
                  </a:lnTo>
                  <a:lnTo>
                    <a:pt x="1264" y="672"/>
                  </a:lnTo>
                  <a:lnTo>
                    <a:pt x="1267" y="670"/>
                  </a:lnTo>
                  <a:lnTo>
                    <a:pt x="1267" y="667"/>
                  </a:lnTo>
                  <a:lnTo>
                    <a:pt x="1269" y="667"/>
                  </a:lnTo>
                  <a:lnTo>
                    <a:pt x="1269" y="665"/>
                  </a:lnTo>
                  <a:lnTo>
                    <a:pt x="1271" y="665"/>
                  </a:lnTo>
                  <a:lnTo>
                    <a:pt x="1269" y="662"/>
                  </a:lnTo>
                  <a:lnTo>
                    <a:pt x="1269" y="660"/>
                  </a:lnTo>
                  <a:lnTo>
                    <a:pt x="1271" y="660"/>
                  </a:lnTo>
                  <a:lnTo>
                    <a:pt x="1271" y="658"/>
                  </a:lnTo>
                  <a:lnTo>
                    <a:pt x="1271" y="660"/>
                  </a:lnTo>
                  <a:lnTo>
                    <a:pt x="1274" y="658"/>
                  </a:lnTo>
                  <a:lnTo>
                    <a:pt x="1274" y="655"/>
                  </a:lnTo>
                  <a:lnTo>
                    <a:pt x="1274" y="658"/>
                  </a:lnTo>
                  <a:lnTo>
                    <a:pt x="1274" y="655"/>
                  </a:lnTo>
                  <a:lnTo>
                    <a:pt x="1276" y="655"/>
                  </a:lnTo>
                  <a:lnTo>
                    <a:pt x="1278" y="653"/>
                  </a:lnTo>
                  <a:lnTo>
                    <a:pt x="1281" y="653"/>
                  </a:lnTo>
                  <a:lnTo>
                    <a:pt x="1283" y="653"/>
                  </a:lnTo>
                  <a:lnTo>
                    <a:pt x="1283" y="651"/>
                  </a:lnTo>
                  <a:lnTo>
                    <a:pt x="1283" y="648"/>
                  </a:lnTo>
                  <a:lnTo>
                    <a:pt x="1286" y="648"/>
                  </a:lnTo>
                  <a:lnTo>
                    <a:pt x="1288" y="648"/>
                  </a:lnTo>
                  <a:lnTo>
                    <a:pt x="1286" y="648"/>
                  </a:lnTo>
                  <a:lnTo>
                    <a:pt x="1288" y="648"/>
                  </a:lnTo>
                  <a:lnTo>
                    <a:pt x="1288" y="646"/>
                  </a:lnTo>
                  <a:lnTo>
                    <a:pt x="1290" y="646"/>
                  </a:lnTo>
                  <a:lnTo>
                    <a:pt x="1293" y="643"/>
                  </a:lnTo>
                  <a:lnTo>
                    <a:pt x="1295" y="643"/>
                  </a:lnTo>
                  <a:lnTo>
                    <a:pt x="1293" y="643"/>
                  </a:lnTo>
                  <a:lnTo>
                    <a:pt x="1295" y="643"/>
                  </a:lnTo>
                  <a:lnTo>
                    <a:pt x="1297" y="643"/>
                  </a:lnTo>
                  <a:lnTo>
                    <a:pt x="1300" y="643"/>
                  </a:lnTo>
                  <a:lnTo>
                    <a:pt x="1302" y="641"/>
                  </a:lnTo>
                  <a:lnTo>
                    <a:pt x="1302" y="639"/>
                  </a:lnTo>
                  <a:lnTo>
                    <a:pt x="1302" y="636"/>
                  </a:lnTo>
                  <a:lnTo>
                    <a:pt x="1305" y="636"/>
                  </a:lnTo>
                  <a:lnTo>
                    <a:pt x="1305" y="634"/>
                  </a:lnTo>
                  <a:lnTo>
                    <a:pt x="1307" y="634"/>
                  </a:lnTo>
                  <a:lnTo>
                    <a:pt x="1309" y="634"/>
                  </a:lnTo>
                  <a:lnTo>
                    <a:pt x="1312" y="634"/>
                  </a:lnTo>
                  <a:lnTo>
                    <a:pt x="1312" y="636"/>
                  </a:lnTo>
                  <a:lnTo>
                    <a:pt x="1314" y="636"/>
                  </a:lnTo>
                  <a:lnTo>
                    <a:pt x="1316" y="636"/>
                  </a:lnTo>
                  <a:lnTo>
                    <a:pt x="1316" y="639"/>
                  </a:lnTo>
                  <a:lnTo>
                    <a:pt x="1319" y="639"/>
                  </a:lnTo>
                  <a:lnTo>
                    <a:pt x="1319" y="641"/>
                  </a:lnTo>
                  <a:lnTo>
                    <a:pt x="1321" y="641"/>
                  </a:lnTo>
                  <a:lnTo>
                    <a:pt x="1319" y="641"/>
                  </a:lnTo>
                  <a:lnTo>
                    <a:pt x="1321" y="641"/>
                  </a:lnTo>
                  <a:lnTo>
                    <a:pt x="1321" y="643"/>
                  </a:lnTo>
                  <a:lnTo>
                    <a:pt x="1321" y="646"/>
                  </a:lnTo>
                  <a:lnTo>
                    <a:pt x="1321" y="648"/>
                  </a:lnTo>
                  <a:lnTo>
                    <a:pt x="1324" y="648"/>
                  </a:lnTo>
                  <a:lnTo>
                    <a:pt x="1324" y="651"/>
                  </a:lnTo>
                  <a:lnTo>
                    <a:pt x="1326" y="651"/>
                  </a:lnTo>
                  <a:lnTo>
                    <a:pt x="1324" y="651"/>
                  </a:lnTo>
                  <a:lnTo>
                    <a:pt x="1324" y="648"/>
                  </a:lnTo>
                  <a:lnTo>
                    <a:pt x="1326" y="651"/>
                  </a:lnTo>
                  <a:lnTo>
                    <a:pt x="1328" y="651"/>
                  </a:lnTo>
                  <a:lnTo>
                    <a:pt x="1326" y="653"/>
                  </a:lnTo>
                  <a:lnTo>
                    <a:pt x="1328" y="655"/>
                  </a:lnTo>
                  <a:lnTo>
                    <a:pt x="1331" y="655"/>
                  </a:lnTo>
                  <a:lnTo>
                    <a:pt x="1328" y="655"/>
                  </a:lnTo>
                  <a:lnTo>
                    <a:pt x="1328" y="658"/>
                  </a:lnTo>
                  <a:lnTo>
                    <a:pt x="1326" y="658"/>
                  </a:lnTo>
                  <a:lnTo>
                    <a:pt x="1326" y="660"/>
                  </a:lnTo>
                  <a:lnTo>
                    <a:pt x="1328" y="660"/>
                  </a:lnTo>
                  <a:lnTo>
                    <a:pt x="1326" y="660"/>
                  </a:lnTo>
                  <a:lnTo>
                    <a:pt x="1326" y="662"/>
                  </a:lnTo>
                  <a:lnTo>
                    <a:pt x="1326" y="665"/>
                  </a:lnTo>
                  <a:lnTo>
                    <a:pt x="1324" y="662"/>
                  </a:lnTo>
                  <a:lnTo>
                    <a:pt x="1321" y="662"/>
                  </a:lnTo>
                  <a:lnTo>
                    <a:pt x="1321" y="665"/>
                  </a:lnTo>
                  <a:lnTo>
                    <a:pt x="1324" y="665"/>
                  </a:lnTo>
                  <a:lnTo>
                    <a:pt x="1326" y="665"/>
                  </a:lnTo>
                  <a:lnTo>
                    <a:pt x="1324" y="665"/>
                  </a:lnTo>
                  <a:lnTo>
                    <a:pt x="1324" y="667"/>
                  </a:lnTo>
                  <a:lnTo>
                    <a:pt x="1321" y="667"/>
                  </a:lnTo>
                  <a:lnTo>
                    <a:pt x="1321" y="670"/>
                  </a:lnTo>
                  <a:lnTo>
                    <a:pt x="1319" y="670"/>
                  </a:lnTo>
                  <a:lnTo>
                    <a:pt x="1319" y="672"/>
                  </a:lnTo>
                  <a:lnTo>
                    <a:pt x="1316" y="672"/>
                  </a:lnTo>
                  <a:lnTo>
                    <a:pt x="1314" y="672"/>
                  </a:lnTo>
                  <a:lnTo>
                    <a:pt x="1314" y="674"/>
                  </a:lnTo>
                  <a:lnTo>
                    <a:pt x="1312" y="674"/>
                  </a:lnTo>
                  <a:lnTo>
                    <a:pt x="1309" y="677"/>
                  </a:lnTo>
                  <a:lnTo>
                    <a:pt x="1309" y="679"/>
                  </a:lnTo>
                  <a:lnTo>
                    <a:pt x="1307" y="679"/>
                  </a:lnTo>
                  <a:lnTo>
                    <a:pt x="1305" y="679"/>
                  </a:lnTo>
                  <a:lnTo>
                    <a:pt x="1305" y="682"/>
                  </a:lnTo>
                  <a:lnTo>
                    <a:pt x="1302" y="682"/>
                  </a:lnTo>
                  <a:lnTo>
                    <a:pt x="1305" y="682"/>
                  </a:lnTo>
                  <a:lnTo>
                    <a:pt x="1302" y="682"/>
                  </a:lnTo>
                  <a:lnTo>
                    <a:pt x="1302" y="684"/>
                  </a:lnTo>
                  <a:lnTo>
                    <a:pt x="1305" y="684"/>
                  </a:lnTo>
                  <a:lnTo>
                    <a:pt x="1302" y="682"/>
                  </a:lnTo>
                  <a:lnTo>
                    <a:pt x="1305" y="682"/>
                  </a:lnTo>
                  <a:lnTo>
                    <a:pt x="1302" y="682"/>
                  </a:lnTo>
                  <a:lnTo>
                    <a:pt x="1305" y="682"/>
                  </a:lnTo>
                  <a:lnTo>
                    <a:pt x="1305" y="679"/>
                  </a:lnTo>
                  <a:lnTo>
                    <a:pt x="1307" y="679"/>
                  </a:lnTo>
                  <a:lnTo>
                    <a:pt x="1309" y="679"/>
                  </a:lnTo>
                  <a:lnTo>
                    <a:pt x="1309" y="677"/>
                  </a:lnTo>
                  <a:lnTo>
                    <a:pt x="1309" y="674"/>
                  </a:lnTo>
                  <a:lnTo>
                    <a:pt x="1312" y="674"/>
                  </a:lnTo>
                  <a:lnTo>
                    <a:pt x="1314" y="674"/>
                  </a:lnTo>
                  <a:lnTo>
                    <a:pt x="1314" y="672"/>
                  </a:lnTo>
                  <a:lnTo>
                    <a:pt x="1316" y="672"/>
                  </a:lnTo>
                  <a:lnTo>
                    <a:pt x="1319" y="672"/>
                  </a:lnTo>
                  <a:lnTo>
                    <a:pt x="1319" y="670"/>
                  </a:lnTo>
                  <a:lnTo>
                    <a:pt x="1321" y="670"/>
                  </a:lnTo>
                  <a:lnTo>
                    <a:pt x="1321" y="667"/>
                  </a:lnTo>
                  <a:lnTo>
                    <a:pt x="1324" y="665"/>
                  </a:lnTo>
                  <a:lnTo>
                    <a:pt x="1326" y="665"/>
                  </a:lnTo>
                  <a:lnTo>
                    <a:pt x="1324" y="665"/>
                  </a:lnTo>
                  <a:lnTo>
                    <a:pt x="1321" y="665"/>
                  </a:lnTo>
                  <a:lnTo>
                    <a:pt x="1321" y="662"/>
                  </a:lnTo>
                  <a:lnTo>
                    <a:pt x="1324" y="662"/>
                  </a:lnTo>
                  <a:lnTo>
                    <a:pt x="1324" y="665"/>
                  </a:lnTo>
                  <a:lnTo>
                    <a:pt x="1326" y="665"/>
                  </a:lnTo>
                  <a:lnTo>
                    <a:pt x="1326" y="662"/>
                  </a:lnTo>
                  <a:lnTo>
                    <a:pt x="1326" y="660"/>
                  </a:lnTo>
                  <a:lnTo>
                    <a:pt x="1328" y="660"/>
                  </a:lnTo>
                  <a:lnTo>
                    <a:pt x="1326" y="660"/>
                  </a:lnTo>
                  <a:lnTo>
                    <a:pt x="1328" y="660"/>
                  </a:lnTo>
                  <a:lnTo>
                    <a:pt x="1328" y="658"/>
                  </a:lnTo>
                  <a:lnTo>
                    <a:pt x="1328" y="655"/>
                  </a:lnTo>
                  <a:lnTo>
                    <a:pt x="1331" y="655"/>
                  </a:lnTo>
                  <a:lnTo>
                    <a:pt x="1328" y="655"/>
                  </a:lnTo>
                  <a:lnTo>
                    <a:pt x="1326" y="653"/>
                  </a:lnTo>
                  <a:lnTo>
                    <a:pt x="1328" y="653"/>
                  </a:lnTo>
                  <a:lnTo>
                    <a:pt x="1328" y="651"/>
                  </a:lnTo>
                  <a:lnTo>
                    <a:pt x="1331" y="651"/>
                  </a:lnTo>
                  <a:lnTo>
                    <a:pt x="1328" y="651"/>
                  </a:lnTo>
                  <a:lnTo>
                    <a:pt x="1328" y="648"/>
                  </a:lnTo>
                  <a:lnTo>
                    <a:pt x="1331" y="648"/>
                  </a:lnTo>
                  <a:lnTo>
                    <a:pt x="1331" y="646"/>
                  </a:lnTo>
                  <a:lnTo>
                    <a:pt x="1333" y="646"/>
                  </a:lnTo>
                  <a:lnTo>
                    <a:pt x="1335" y="646"/>
                  </a:lnTo>
                  <a:lnTo>
                    <a:pt x="1338" y="646"/>
                  </a:lnTo>
                  <a:lnTo>
                    <a:pt x="1340" y="646"/>
                  </a:lnTo>
                  <a:lnTo>
                    <a:pt x="1340" y="643"/>
                  </a:lnTo>
                  <a:lnTo>
                    <a:pt x="1343" y="643"/>
                  </a:lnTo>
                  <a:lnTo>
                    <a:pt x="1345" y="643"/>
                  </a:lnTo>
                  <a:lnTo>
                    <a:pt x="1345" y="641"/>
                  </a:lnTo>
                  <a:lnTo>
                    <a:pt x="1347" y="641"/>
                  </a:lnTo>
                  <a:lnTo>
                    <a:pt x="1347" y="639"/>
                  </a:lnTo>
                  <a:lnTo>
                    <a:pt x="1350" y="636"/>
                  </a:lnTo>
                  <a:lnTo>
                    <a:pt x="1352" y="639"/>
                  </a:lnTo>
                  <a:lnTo>
                    <a:pt x="1354" y="639"/>
                  </a:lnTo>
                  <a:lnTo>
                    <a:pt x="1357" y="641"/>
                  </a:lnTo>
                  <a:lnTo>
                    <a:pt x="1359" y="641"/>
                  </a:lnTo>
                  <a:lnTo>
                    <a:pt x="1362" y="641"/>
                  </a:lnTo>
                  <a:lnTo>
                    <a:pt x="1364" y="641"/>
                  </a:lnTo>
                  <a:lnTo>
                    <a:pt x="1364" y="639"/>
                  </a:lnTo>
                  <a:lnTo>
                    <a:pt x="1366" y="636"/>
                  </a:lnTo>
                  <a:lnTo>
                    <a:pt x="1369" y="639"/>
                  </a:lnTo>
                  <a:lnTo>
                    <a:pt x="1371" y="639"/>
                  </a:lnTo>
                  <a:lnTo>
                    <a:pt x="1373" y="639"/>
                  </a:lnTo>
                  <a:lnTo>
                    <a:pt x="1376" y="639"/>
                  </a:lnTo>
                  <a:lnTo>
                    <a:pt x="1376" y="636"/>
                  </a:lnTo>
                  <a:lnTo>
                    <a:pt x="1378" y="636"/>
                  </a:lnTo>
                  <a:lnTo>
                    <a:pt x="1380" y="636"/>
                  </a:lnTo>
                  <a:lnTo>
                    <a:pt x="1383" y="636"/>
                  </a:lnTo>
                  <a:lnTo>
                    <a:pt x="1385" y="636"/>
                  </a:lnTo>
                  <a:lnTo>
                    <a:pt x="1388" y="636"/>
                  </a:lnTo>
                  <a:lnTo>
                    <a:pt x="1390" y="636"/>
                  </a:lnTo>
                  <a:lnTo>
                    <a:pt x="1390" y="639"/>
                  </a:lnTo>
                  <a:lnTo>
                    <a:pt x="1392" y="639"/>
                  </a:lnTo>
                  <a:lnTo>
                    <a:pt x="1395" y="639"/>
                  </a:lnTo>
                  <a:lnTo>
                    <a:pt x="1397" y="639"/>
                  </a:lnTo>
                  <a:lnTo>
                    <a:pt x="1399" y="641"/>
                  </a:lnTo>
                  <a:lnTo>
                    <a:pt x="1397" y="641"/>
                  </a:lnTo>
                  <a:lnTo>
                    <a:pt x="1399" y="641"/>
                  </a:lnTo>
                  <a:lnTo>
                    <a:pt x="1397" y="639"/>
                  </a:lnTo>
                  <a:lnTo>
                    <a:pt x="1395" y="639"/>
                  </a:lnTo>
                  <a:lnTo>
                    <a:pt x="1392" y="639"/>
                  </a:lnTo>
                  <a:lnTo>
                    <a:pt x="1390" y="636"/>
                  </a:lnTo>
                  <a:lnTo>
                    <a:pt x="1392" y="639"/>
                  </a:lnTo>
                  <a:lnTo>
                    <a:pt x="1395" y="639"/>
                  </a:lnTo>
                  <a:lnTo>
                    <a:pt x="1395" y="636"/>
                  </a:lnTo>
                  <a:lnTo>
                    <a:pt x="1397" y="639"/>
                  </a:lnTo>
                  <a:lnTo>
                    <a:pt x="1397" y="636"/>
                  </a:lnTo>
                  <a:lnTo>
                    <a:pt x="1399" y="636"/>
                  </a:lnTo>
                  <a:lnTo>
                    <a:pt x="1402" y="636"/>
                  </a:lnTo>
                  <a:lnTo>
                    <a:pt x="1404" y="636"/>
                  </a:lnTo>
                  <a:lnTo>
                    <a:pt x="1404" y="634"/>
                  </a:lnTo>
                  <a:lnTo>
                    <a:pt x="1407" y="634"/>
                  </a:lnTo>
                  <a:lnTo>
                    <a:pt x="1409" y="634"/>
                  </a:lnTo>
                  <a:lnTo>
                    <a:pt x="1411" y="634"/>
                  </a:lnTo>
                  <a:lnTo>
                    <a:pt x="1414" y="634"/>
                  </a:lnTo>
                  <a:lnTo>
                    <a:pt x="1414" y="632"/>
                  </a:lnTo>
                  <a:lnTo>
                    <a:pt x="1416" y="632"/>
                  </a:lnTo>
                  <a:lnTo>
                    <a:pt x="1418" y="632"/>
                  </a:lnTo>
                  <a:lnTo>
                    <a:pt x="1418" y="629"/>
                  </a:lnTo>
                  <a:lnTo>
                    <a:pt x="1421" y="629"/>
                  </a:lnTo>
                  <a:lnTo>
                    <a:pt x="1421" y="627"/>
                  </a:lnTo>
                  <a:lnTo>
                    <a:pt x="1423" y="627"/>
                  </a:lnTo>
                  <a:lnTo>
                    <a:pt x="1426" y="627"/>
                  </a:lnTo>
                  <a:lnTo>
                    <a:pt x="1423" y="627"/>
                  </a:lnTo>
                  <a:lnTo>
                    <a:pt x="1423" y="624"/>
                  </a:lnTo>
                  <a:lnTo>
                    <a:pt x="1426" y="624"/>
                  </a:lnTo>
                  <a:lnTo>
                    <a:pt x="1428" y="624"/>
                  </a:lnTo>
                  <a:lnTo>
                    <a:pt x="1428" y="622"/>
                  </a:lnTo>
                  <a:lnTo>
                    <a:pt x="1430" y="622"/>
                  </a:lnTo>
                  <a:lnTo>
                    <a:pt x="1430" y="620"/>
                  </a:lnTo>
                  <a:lnTo>
                    <a:pt x="1428" y="620"/>
                  </a:lnTo>
                  <a:lnTo>
                    <a:pt x="1428" y="617"/>
                  </a:lnTo>
                  <a:lnTo>
                    <a:pt x="1430" y="617"/>
                  </a:lnTo>
                  <a:lnTo>
                    <a:pt x="1428" y="617"/>
                  </a:lnTo>
                  <a:lnTo>
                    <a:pt x="1428" y="615"/>
                  </a:lnTo>
                  <a:lnTo>
                    <a:pt x="1430" y="613"/>
                  </a:lnTo>
                  <a:lnTo>
                    <a:pt x="1428" y="613"/>
                  </a:lnTo>
                  <a:lnTo>
                    <a:pt x="1430" y="610"/>
                  </a:lnTo>
                  <a:lnTo>
                    <a:pt x="1430" y="608"/>
                  </a:lnTo>
                  <a:lnTo>
                    <a:pt x="1433" y="608"/>
                  </a:lnTo>
                  <a:lnTo>
                    <a:pt x="1435" y="608"/>
                  </a:lnTo>
                  <a:lnTo>
                    <a:pt x="1435" y="605"/>
                  </a:lnTo>
                  <a:lnTo>
                    <a:pt x="1433" y="605"/>
                  </a:lnTo>
                  <a:lnTo>
                    <a:pt x="1435" y="605"/>
                  </a:lnTo>
                  <a:lnTo>
                    <a:pt x="1437" y="605"/>
                  </a:lnTo>
                  <a:lnTo>
                    <a:pt x="1440" y="605"/>
                  </a:lnTo>
                  <a:lnTo>
                    <a:pt x="1440" y="608"/>
                  </a:lnTo>
                  <a:lnTo>
                    <a:pt x="1442" y="608"/>
                  </a:lnTo>
                  <a:lnTo>
                    <a:pt x="1445" y="608"/>
                  </a:lnTo>
                  <a:lnTo>
                    <a:pt x="1447" y="608"/>
                  </a:lnTo>
                  <a:lnTo>
                    <a:pt x="1449" y="608"/>
                  </a:lnTo>
                  <a:lnTo>
                    <a:pt x="1447" y="608"/>
                  </a:lnTo>
                  <a:lnTo>
                    <a:pt x="1445" y="608"/>
                  </a:lnTo>
                  <a:lnTo>
                    <a:pt x="1442" y="608"/>
                  </a:lnTo>
                  <a:lnTo>
                    <a:pt x="1440" y="608"/>
                  </a:lnTo>
                  <a:lnTo>
                    <a:pt x="1440" y="605"/>
                  </a:lnTo>
                  <a:lnTo>
                    <a:pt x="1437" y="605"/>
                  </a:lnTo>
                  <a:lnTo>
                    <a:pt x="1435" y="605"/>
                  </a:lnTo>
                  <a:lnTo>
                    <a:pt x="1433" y="605"/>
                  </a:lnTo>
                  <a:lnTo>
                    <a:pt x="1433" y="608"/>
                  </a:lnTo>
                  <a:lnTo>
                    <a:pt x="1430" y="608"/>
                  </a:lnTo>
                  <a:lnTo>
                    <a:pt x="1430" y="610"/>
                  </a:lnTo>
                  <a:lnTo>
                    <a:pt x="1428" y="610"/>
                  </a:lnTo>
                  <a:lnTo>
                    <a:pt x="1428" y="613"/>
                  </a:lnTo>
                  <a:lnTo>
                    <a:pt x="1428" y="615"/>
                  </a:lnTo>
                  <a:lnTo>
                    <a:pt x="1428" y="617"/>
                  </a:lnTo>
                  <a:lnTo>
                    <a:pt x="1430" y="617"/>
                  </a:lnTo>
                  <a:lnTo>
                    <a:pt x="1428" y="617"/>
                  </a:lnTo>
                  <a:lnTo>
                    <a:pt x="1428" y="620"/>
                  </a:lnTo>
                  <a:lnTo>
                    <a:pt x="1430" y="620"/>
                  </a:lnTo>
                  <a:lnTo>
                    <a:pt x="1430" y="622"/>
                  </a:lnTo>
                  <a:lnTo>
                    <a:pt x="1428" y="622"/>
                  </a:lnTo>
                  <a:lnTo>
                    <a:pt x="1428" y="624"/>
                  </a:lnTo>
                  <a:lnTo>
                    <a:pt x="1426" y="624"/>
                  </a:lnTo>
                  <a:lnTo>
                    <a:pt x="1423" y="624"/>
                  </a:lnTo>
                  <a:lnTo>
                    <a:pt x="1423" y="627"/>
                  </a:lnTo>
                  <a:lnTo>
                    <a:pt x="1426" y="627"/>
                  </a:lnTo>
                  <a:lnTo>
                    <a:pt x="1423" y="627"/>
                  </a:lnTo>
                  <a:lnTo>
                    <a:pt x="1421" y="627"/>
                  </a:lnTo>
                  <a:lnTo>
                    <a:pt x="1421" y="629"/>
                  </a:lnTo>
                  <a:lnTo>
                    <a:pt x="1418" y="629"/>
                  </a:lnTo>
                  <a:lnTo>
                    <a:pt x="1418" y="632"/>
                  </a:lnTo>
                  <a:lnTo>
                    <a:pt x="1416" y="632"/>
                  </a:lnTo>
                  <a:lnTo>
                    <a:pt x="1414" y="632"/>
                  </a:lnTo>
                  <a:lnTo>
                    <a:pt x="1414" y="634"/>
                  </a:lnTo>
                  <a:lnTo>
                    <a:pt x="1411" y="634"/>
                  </a:lnTo>
                  <a:lnTo>
                    <a:pt x="1409" y="634"/>
                  </a:lnTo>
                  <a:lnTo>
                    <a:pt x="1407" y="634"/>
                  </a:lnTo>
                  <a:lnTo>
                    <a:pt x="1404" y="634"/>
                  </a:lnTo>
                  <a:lnTo>
                    <a:pt x="1404" y="636"/>
                  </a:lnTo>
                  <a:lnTo>
                    <a:pt x="1402" y="636"/>
                  </a:lnTo>
                  <a:lnTo>
                    <a:pt x="1399" y="636"/>
                  </a:lnTo>
                  <a:lnTo>
                    <a:pt x="1397" y="636"/>
                  </a:lnTo>
                  <a:lnTo>
                    <a:pt x="1395" y="636"/>
                  </a:lnTo>
                  <a:lnTo>
                    <a:pt x="1395" y="639"/>
                  </a:lnTo>
                  <a:lnTo>
                    <a:pt x="1392" y="636"/>
                  </a:lnTo>
                  <a:lnTo>
                    <a:pt x="1392" y="639"/>
                  </a:lnTo>
                  <a:lnTo>
                    <a:pt x="1392" y="636"/>
                  </a:lnTo>
                  <a:lnTo>
                    <a:pt x="1390" y="636"/>
                  </a:lnTo>
                  <a:lnTo>
                    <a:pt x="1388" y="636"/>
                  </a:lnTo>
                  <a:lnTo>
                    <a:pt x="1390" y="636"/>
                  </a:lnTo>
                  <a:lnTo>
                    <a:pt x="1388" y="636"/>
                  </a:lnTo>
                  <a:lnTo>
                    <a:pt x="1385" y="636"/>
                  </a:lnTo>
                  <a:lnTo>
                    <a:pt x="1383" y="636"/>
                  </a:lnTo>
                  <a:lnTo>
                    <a:pt x="1380" y="636"/>
                  </a:lnTo>
                  <a:lnTo>
                    <a:pt x="1378" y="636"/>
                  </a:lnTo>
                  <a:lnTo>
                    <a:pt x="1376" y="636"/>
                  </a:lnTo>
                  <a:lnTo>
                    <a:pt x="1376" y="639"/>
                  </a:lnTo>
                  <a:lnTo>
                    <a:pt x="1373" y="639"/>
                  </a:lnTo>
                  <a:lnTo>
                    <a:pt x="1371" y="636"/>
                  </a:lnTo>
                  <a:lnTo>
                    <a:pt x="1369" y="636"/>
                  </a:lnTo>
                  <a:lnTo>
                    <a:pt x="1366" y="636"/>
                  </a:lnTo>
                  <a:lnTo>
                    <a:pt x="1364" y="636"/>
                  </a:lnTo>
                  <a:lnTo>
                    <a:pt x="1364" y="639"/>
                  </a:lnTo>
                  <a:lnTo>
                    <a:pt x="1364" y="641"/>
                  </a:lnTo>
                  <a:lnTo>
                    <a:pt x="1362" y="641"/>
                  </a:lnTo>
                  <a:lnTo>
                    <a:pt x="1359" y="641"/>
                  </a:lnTo>
                  <a:lnTo>
                    <a:pt x="1357" y="641"/>
                  </a:lnTo>
                  <a:lnTo>
                    <a:pt x="1357" y="639"/>
                  </a:lnTo>
                  <a:lnTo>
                    <a:pt x="1354" y="639"/>
                  </a:lnTo>
                  <a:lnTo>
                    <a:pt x="1352" y="639"/>
                  </a:lnTo>
                  <a:lnTo>
                    <a:pt x="1352" y="636"/>
                  </a:lnTo>
                  <a:lnTo>
                    <a:pt x="1350" y="636"/>
                  </a:lnTo>
                  <a:lnTo>
                    <a:pt x="1352" y="636"/>
                  </a:lnTo>
                  <a:lnTo>
                    <a:pt x="1352" y="639"/>
                  </a:lnTo>
                  <a:lnTo>
                    <a:pt x="1352" y="636"/>
                  </a:lnTo>
                  <a:lnTo>
                    <a:pt x="1350" y="636"/>
                  </a:lnTo>
                  <a:lnTo>
                    <a:pt x="1347" y="636"/>
                  </a:lnTo>
                  <a:lnTo>
                    <a:pt x="1347" y="639"/>
                  </a:lnTo>
                  <a:lnTo>
                    <a:pt x="1345" y="641"/>
                  </a:lnTo>
                  <a:lnTo>
                    <a:pt x="1345" y="643"/>
                  </a:lnTo>
                  <a:lnTo>
                    <a:pt x="1343" y="643"/>
                  </a:lnTo>
                  <a:lnTo>
                    <a:pt x="1340" y="643"/>
                  </a:lnTo>
                  <a:lnTo>
                    <a:pt x="1338" y="646"/>
                  </a:lnTo>
                  <a:lnTo>
                    <a:pt x="1340" y="643"/>
                  </a:lnTo>
                  <a:lnTo>
                    <a:pt x="1338" y="646"/>
                  </a:lnTo>
                  <a:lnTo>
                    <a:pt x="1338" y="643"/>
                  </a:lnTo>
                  <a:lnTo>
                    <a:pt x="1335" y="646"/>
                  </a:lnTo>
                  <a:lnTo>
                    <a:pt x="1333" y="646"/>
                  </a:lnTo>
                  <a:lnTo>
                    <a:pt x="1335" y="646"/>
                  </a:lnTo>
                  <a:lnTo>
                    <a:pt x="1338" y="646"/>
                  </a:lnTo>
                  <a:lnTo>
                    <a:pt x="1340" y="643"/>
                  </a:lnTo>
                  <a:lnTo>
                    <a:pt x="1340" y="646"/>
                  </a:lnTo>
                  <a:lnTo>
                    <a:pt x="1340" y="643"/>
                  </a:lnTo>
                  <a:lnTo>
                    <a:pt x="1340" y="646"/>
                  </a:lnTo>
                  <a:lnTo>
                    <a:pt x="1338" y="646"/>
                  </a:lnTo>
                  <a:lnTo>
                    <a:pt x="1335" y="646"/>
                  </a:lnTo>
                  <a:lnTo>
                    <a:pt x="1333" y="646"/>
                  </a:lnTo>
                  <a:lnTo>
                    <a:pt x="1331" y="646"/>
                  </a:lnTo>
                  <a:lnTo>
                    <a:pt x="1331" y="648"/>
                  </a:lnTo>
                  <a:lnTo>
                    <a:pt x="1328" y="648"/>
                  </a:lnTo>
                  <a:lnTo>
                    <a:pt x="1326" y="648"/>
                  </a:lnTo>
                  <a:lnTo>
                    <a:pt x="1324" y="648"/>
                  </a:lnTo>
                  <a:lnTo>
                    <a:pt x="1321" y="648"/>
                  </a:lnTo>
                  <a:lnTo>
                    <a:pt x="1321" y="646"/>
                  </a:lnTo>
                  <a:lnTo>
                    <a:pt x="1321" y="648"/>
                  </a:lnTo>
                  <a:lnTo>
                    <a:pt x="1321" y="646"/>
                  </a:lnTo>
                  <a:lnTo>
                    <a:pt x="1321" y="648"/>
                  </a:lnTo>
                  <a:lnTo>
                    <a:pt x="1321" y="646"/>
                  </a:lnTo>
                  <a:lnTo>
                    <a:pt x="1321" y="643"/>
                  </a:lnTo>
                  <a:lnTo>
                    <a:pt x="1321" y="641"/>
                  </a:lnTo>
                  <a:lnTo>
                    <a:pt x="1321" y="639"/>
                  </a:lnTo>
                  <a:lnTo>
                    <a:pt x="1319" y="639"/>
                  </a:lnTo>
                  <a:lnTo>
                    <a:pt x="1316" y="636"/>
                  </a:lnTo>
                  <a:lnTo>
                    <a:pt x="1314" y="636"/>
                  </a:lnTo>
                  <a:lnTo>
                    <a:pt x="1312" y="634"/>
                  </a:lnTo>
                  <a:lnTo>
                    <a:pt x="1309" y="634"/>
                  </a:lnTo>
                  <a:lnTo>
                    <a:pt x="1309" y="632"/>
                  </a:lnTo>
                  <a:lnTo>
                    <a:pt x="1307" y="634"/>
                  </a:lnTo>
                  <a:lnTo>
                    <a:pt x="1305" y="634"/>
                  </a:lnTo>
                  <a:lnTo>
                    <a:pt x="1305" y="636"/>
                  </a:lnTo>
                  <a:lnTo>
                    <a:pt x="1302" y="636"/>
                  </a:lnTo>
                  <a:lnTo>
                    <a:pt x="1302" y="639"/>
                  </a:lnTo>
                  <a:lnTo>
                    <a:pt x="1302" y="641"/>
                  </a:lnTo>
                  <a:lnTo>
                    <a:pt x="1300" y="641"/>
                  </a:lnTo>
                  <a:lnTo>
                    <a:pt x="1297" y="643"/>
                  </a:lnTo>
                  <a:lnTo>
                    <a:pt x="1295" y="643"/>
                  </a:lnTo>
                  <a:lnTo>
                    <a:pt x="1293" y="643"/>
                  </a:lnTo>
                  <a:lnTo>
                    <a:pt x="1290" y="643"/>
                  </a:lnTo>
                  <a:lnTo>
                    <a:pt x="1293" y="643"/>
                  </a:lnTo>
                  <a:lnTo>
                    <a:pt x="1290" y="643"/>
                  </a:lnTo>
                  <a:lnTo>
                    <a:pt x="1290" y="646"/>
                  </a:lnTo>
                  <a:lnTo>
                    <a:pt x="1288" y="646"/>
                  </a:lnTo>
                  <a:lnTo>
                    <a:pt x="1288" y="648"/>
                  </a:lnTo>
                  <a:lnTo>
                    <a:pt x="1286" y="648"/>
                  </a:lnTo>
                  <a:lnTo>
                    <a:pt x="1283" y="648"/>
                  </a:lnTo>
                  <a:lnTo>
                    <a:pt x="1286" y="648"/>
                  </a:lnTo>
                  <a:lnTo>
                    <a:pt x="1283" y="648"/>
                  </a:lnTo>
                  <a:lnTo>
                    <a:pt x="1283" y="651"/>
                  </a:lnTo>
                  <a:lnTo>
                    <a:pt x="1283" y="653"/>
                  </a:lnTo>
                  <a:lnTo>
                    <a:pt x="1281" y="653"/>
                  </a:lnTo>
                  <a:lnTo>
                    <a:pt x="1278" y="653"/>
                  </a:lnTo>
                  <a:lnTo>
                    <a:pt x="1278" y="651"/>
                  </a:lnTo>
                  <a:lnTo>
                    <a:pt x="1276" y="653"/>
                  </a:lnTo>
                  <a:lnTo>
                    <a:pt x="1278" y="653"/>
                  </a:lnTo>
                  <a:lnTo>
                    <a:pt x="1278" y="651"/>
                  </a:lnTo>
                  <a:lnTo>
                    <a:pt x="1278" y="653"/>
                  </a:lnTo>
                  <a:lnTo>
                    <a:pt x="1276" y="653"/>
                  </a:lnTo>
                  <a:lnTo>
                    <a:pt x="1276" y="655"/>
                  </a:lnTo>
                  <a:lnTo>
                    <a:pt x="1274" y="655"/>
                  </a:lnTo>
                  <a:lnTo>
                    <a:pt x="1274" y="658"/>
                  </a:lnTo>
                  <a:lnTo>
                    <a:pt x="1271" y="658"/>
                  </a:lnTo>
                  <a:lnTo>
                    <a:pt x="1271" y="660"/>
                  </a:lnTo>
                  <a:lnTo>
                    <a:pt x="1269" y="660"/>
                  </a:lnTo>
                  <a:lnTo>
                    <a:pt x="1269" y="662"/>
                  </a:lnTo>
                  <a:lnTo>
                    <a:pt x="1269" y="665"/>
                  </a:lnTo>
                  <a:lnTo>
                    <a:pt x="1269" y="667"/>
                  </a:lnTo>
                  <a:lnTo>
                    <a:pt x="1267" y="667"/>
                  </a:lnTo>
                  <a:lnTo>
                    <a:pt x="1264" y="667"/>
                  </a:lnTo>
                  <a:lnTo>
                    <a:pt x="1262" y="667"/>
                  </a:lnTo>
                  <a:lnTo>
                    <a:pt x="1259" y="667"/>
                  </a:lnTo>
                  <a:lnTo>
                    <a:pt x="1257" y="667"/>
                  </a:lnTo>
                  <a:lnTo>
                    <a:pt x="1255" y="670"/>
                  </a:lnTo>
                  <a:lnTo>
                    <a:pt x="1255" y="667"/>
                  </a:lnTo>
                  <a:lnTo>
                    <a:pt x="1252" y="667"/>
                  </a:lnTo>
                  <a:lnTo>
                    <a:pt x="1252" y="670"/>
                  </a:lnTo>
                  <a:lnTo>
                    <a:pt x="1250" y="670"/>
                  </a:lnTo>
                  <a:lnTo>
                    <a:pt x="1248" y="670"/>
                  </a:lnTo>
                  <a:lnTo>
                    <a:pt x="1245" y="670"/>
                  </a:lnTo>
                  <a:lnTo>
                    <a:pt x="1243" y="670"/>
                  </a:lnTo>
                  <a:lnTo>
                    <a:pt x="1245" y="670"/>
                  </a:lnTo>
                  <a:lnTo>
                    <a:pt x="1245" y="667"/>
                  </a:lnTo>
                  <a:lnTo>
                    <a:pt x="1243" y="667"/>
                  </a:lnTo>
                  <a:lnTo>
                    <a:pt x="1240" y="667"/>
                  </a:lnTo>
                  <a:lnTo>
                    <a:pt x="1240" y="665"/>
                  </a:lnTo>
                  <a:lnTo>
                    <a:pt x="1238" y="665"/>
                  </a:lnTo>
                  <a:lnTo>
                    <a:pt x="1238" y="662"/>
                  </a:lnTo>
                  <a:lnTo>
                    <a:pt x="1240" y="662"/>
                  </a:lnTo>
                  <a:lnTo>
                    <a:pt x="1240" y="660"/>
                  </a:lnTo>
                  <a:lnTo>
                    <a:pt x="1240" y="658"/>
                  </a:lnTo>
                  <a:lnTo>
                    <a:pt x="1243" y="658"/>
                  </a:lnTo>
                  <a:lnTo>
                    <a:pt x="1243" y="655"/>
                  </a:lnTo>
                  <a:lnTo>
                    <a:pt x="1243" y="653"/>
                  </a:lnTo>
                  <a:lnTo>
                    <a:pt x="1240" y="653"/>
                  </a:lnTo>
                  <a:lnTo>
                    <a:pt x="1243" y="653"/>
                  </a:lnTo>
                  <a:lnTo>
                    <a:pt x="1243" y="651"/>
                  </a:lnTo>
                  <a:lnTo>
                    <a:pt x="1243" y="648"/>
                  </a:lnTo>
                  <a:lnTo>
                    <a:pt x="1245" y="648"/>
                  </a:lnTo>
                  <a:lnTo>
                    <a:pt x="1245" y="646"/>
                  </a:lnTo>
                  <a:lnTo>
                    <a:pt x="1243" y="646"/>
                  </a:lnTo>
                  <a:lnTo>
                    <a:pt x="1240" y="646"/>
                  </a:lnTo>
                  <a:lnTo>
                    <a:pt x="1238" y="646"/>
                  </a:lnTo>
                  <a:lnTo>
                    <a:pt x="1238" y="643"/>
                  </a:lnTo>
                  <a:lnTo>
                    <a:pt x="1238" y="646"/>
                  </a:lnTo>
                  <a:lnTo>
                    <a:pt x="1240" y="646"/>
                  </a:lnTo>
                  <a:lnTo>
                    <a:pt x="1243" y="646"/>
                  </a:lnTo>
                  <a:lnTo>
                    <a:pt x="1245" y="646"/>
                  </a:lnTo>
                  <a:lnTo>
                    <a:pt x="1245" y="648"/>
                  </a:lnTo>
                  <a:lnTo>
                    <a:pt x="1243" y="648"/>
                  </a:lnTo>
                  <a:lnTo>
                    <a:pt x="1243" y="651"/>
                  </a:lnTo>
                  <a:lnTo>
                    <a:pt x="1243" y="653"/>
                  </a:lnTo>
                  <a:lnTo>
                    <a:pt x="1240" y="653"/>
                  </a:lnTo>
                  <a:lnTo>
                    <a:pt x="1243" y="653"/>
                  </a:lnTo>
                  <a:lnTo>
                    <a:pt x="1243" y="655"/>
                  </a:lnTo>
                  <a:lnTo>
                    <a:pt x="1243" y="658"/>
                  </a:lnTo>
                  <a:lnTo>
                    <a:pt x="1240" y="658"/>
                  </a:lnTo>
                  <a:lnTo>
                    <a:pt x="1240" y="660"/>
                  </a:lnTo>
                  <a:lnTo>
                    <a:pt x="1240" y="662"/>
                  </a:lnTo>
                  <a:lnTo>
                    <a:pt x="1238" y="662"/>
                  </a:lnTo>
                  <a:lnTo>
                    <a:pt x="1238" y="665"/>
                  </a:lnTo>
                  <a:lnTo>
                    <a:pt x="1240" y="667"/>
                  </a:lnTo>
                  <a:lnTo>
                    <a:pt x="1243" y="667"/>
                  </a:lnTo>
                  <a:lnTo>
                    <a:pt x="1245" y="667"/>
                  </a:lnTo>
                  <a:lnTo>
                    <a:pt x="1245" y="670"/>
                  </a:lnTo>
                  <a:lnTo>
                    <a:pt x="1243" y="670"/>
                  </a:lnTo>
                  <a:lnTo>
                    <a:pt x="1243" y="672"/>
                  </a:lnTo>
                  <a:lnTo>
                    <a:pt x="1240" y="672"/>
                  </a:lnTo>
                  <a:lnTo>
                    <a:pt x="1238" y="672"/>
                  </a:lnTo>
                  <a:lnTo>
                    <a:pt x="1236" y="672"/>
                  </a:lnTo>
                  <a:lnTo>
                    <a:pt x="1236" y="670"/>
                  </a:lnTo>
                  <a:lnTo>
                    <a:pt x="1233" y="670"/>
                  </a:lnTo>
                  <a:lnTo>
                    <a:pt x="1236" y="670"/>
                  </a:lnTo>
                  <a:lnTo>
                    <a:pt x="1233" y="670"/>
                  </a:lnTo>
                  <a:lnTo>
                    <a:pt x="1231" y="670"/>
                  </a:lnTo>
                  <a:lnTo>
                    <a:pt x="1231" y="667"/>
                  </a:lnTo>
                  <a:lnTo>
                    <a:pt x="1229" y="667"/>
                  </a:lnTo>
                  <a:lnTo>
                    <a:pt x="1229" y="665"/>
                  </a:lnTo>
                  <a:lnTo>
                    <a:pt x="1229" y="662"/>
                  </a:lnTo>
                  <a:lnTo>
                    <a:pt x="1226" y="662"/>
                  </a:lnTo>
                  <a:lnTo>
                    <a:pt x="1224" y="662"/>
                  </a:lnTo>
                  <a:lnTo>
                    <a:pt x="1224" y="660"/>
                  </a:lnTo>
                  <a:lnTo>
                    <a:pt x="1224" y="658"/>
                  </a:lnTo>
                  <a:lnTo>
                    <a:pt x="1222" y="658"/>
                  </a:lnTo>
                  <a:lnTo>
                    <a:pt x="1222" y="655"/>
                  </a:lnTo>
                  <a:lnTo>
                    <a:pt x="1219" y="655"/>
                  </a:lnTo>
                  <a:lnTo>
                    <a:pt x="1217" y="655"/>
                  </a:lnTo>
                  <a:lnTo>
                    <a:pt x="1217" y="653"/>
                  </a:lnTo>
                  <a:lnTo>
                    <a:pt x="1217" y="651"/>
                  </a:lnTo>
                  <a:lnTo>
                    <a:pt x="1217" y="653"/>
                  </a:lnTo>
                  <a:lnTo>
                    <a:pt x="1217" y="651"/>
                  </a:lnTo>
                  <a:lnTo>
                    <a:pt x="1217" y="648"/>
                  </a:lnTo>
                  <a:lnTo>
                    <a:pt x="1214" y="646"/>
                  </a:lnTo>
                  <a:lnTo>
                    <a:pt x="1212" y="646"/>
                  </a:lnTo>
                  <a:lnTo>
                    <a:pt x="1210" y="646"/>
                  </a:lnTo>
                  <a:lnTo>
                    <a:pt x="1207" y="646"/>
                  </a:lnTo>
                  <a:lnTo>
                    <a:pt x="1205" y="646"/>
                  </a:lnTo>
                  <a:lnTo>
                    <a:pt x="1203" y="646"/>
                  </a:lnTo>
                  <a:lnTo>
                    <a:pt x="1200" y="646"/>
                  </a:lnTo>
                  <a:lnTo>
                    <a:pt x="1198" y="646"/>
                  </a:lnTo>
                  <a:lnTo>
                    <a:pt x="1195" y="648"/>
                  </a:lnTo>
                  <a:lnTo>
                    <a:pt x="1193" y="648"/>
                  </a:lnTo>
                  <a:lnTo>
                    <a:pt x="1191" y="648"/>
                  </a:lnTo>
                  <a:lnTo>
                    <a:pt x="1188" y="651"/>
                  </a:lnTo>
                  <a:lnTo>
                    <a:pt x="1186" y="651"/>
                  </a:lnTo>
                  <a:lnTo>
                    <a:pt x="1184" y="653"/>
                  </a:lnTo>
                  <a:lnTo>
                    <a:pt x="1181" y="655"/>
                  </a:lnTo>
                  <a:lnTo>
                    <a:pt x="1179" y="655"/>
                  </a:lnTo>
                  <a:lnTo>
                    <a:pt x="1176" y="655"/>
                  </a:lnTo>
                  <a:lnTo>
                    <a:pt x="1174" y="655"/>
                  </a:lnTo>
                  <a:lnTo>
                    <a:pt x="1176" y="655"/>
                  </a:lnTo>
                  <a:lnTo>
                    <a:pt x="1174" y="655"/>
                  </a:lnTo>
                  <a:lnTo>
                    <a:pt x="1174" y="658"/>
                  </a:lnTo>
                  <a:lnTo>
                    <a:pt x="1172" y="658"/>
                  </a:lnTo>
                  <a:lnTo>
                    <a:pt x="1172" y="660"/>
                  </a:lnTo>
                  <a:lnTo>
                    <a:pt x="1172" y="662"/>
                  </a:lnTo>
                  <a:lnTo>
                    <a:pt x="1172" y="665"/>
                  </a:lnTo>
                  <a:lnTo>
                    <a:pt x="1172" y="667"/>
                  </a:lnTo>
                  <a:lnTo>
                    <a:pt x="1172" y="670"/>
                  </a:lnTo>
                  <a:lnTo>
                    <a:pt x="1169" y="672"/>
                  </a:lnTo>
                  <a:lnTo>
                    <a:pt x="1167" y="672"/>
                  </a:lnTo>
                  <a:lnTo>
                    <a:pt x="1167" y="674"/>
                  </a:lnTo>
                  <a:lnTo>
                    <a:pt x="1165" y="674"/>
                  </a:lnTo>
                  <a:lnTo>
                    <a:pt x="1162" y="677"/>
                  </a:lnTo>
                  <a:lnTo>
                    <a:pt x="1162" y="679"/>
                  </a:lnTo>
                  <a:lnTo>
                    <a:pt x="1162" y="682"/>
                  </a:lnTo>
                  <a:lnTo>
                    <a:pt x="1160" y="682"/>
                  </a:lnTo>
                  <a:lnTo>
                    <a:pt x="1160" y="684"/>
                  </a:lnTo>
                  <a:lnTo>
                    <a:pt x="1160" y="682"/>
                  </a:lnTo>
                  <a:lnTo>
                    <a:pt x="1157" y="682"/>
                  </a:lnTo>
                  <a:lnTo>
                    <a:pt x="1160" y="682"/>
                  </a:lnTo>
                  <a:lnTo>
                    <a:pt x="1157" y="682"/>
                  </a:lnTo>
                  <a:lnTo>
                    <a:pt x="1160" y="682"/>
                  </a:lnTo>
                  <a:lnTo>
                    <a:pt x="1157" y="682"/>
                  </a:lnTo>
                  <a:lnTo>
                    <a:pt x="1157" y="684"/>
                  </a:lnTo>
                  <a:lnTo>
                    <a:pt x="1155" y="684"/>
                  </a:lnTo>
                  <a:lnTo>
                    <a:pt x="1153" y="684"/>
                  </a:lnTo>
                  <a:lnTo>
                    <a:pt x="1150" y="686"/>
                  </a:lnTo>
                  <a:lnTo>
                    <a:pt x="1148" y="686"/>
                  </a:lnTo>
                  <a:lnTo>
                    <a:pt x="1148" y="689"/>
                  </a:lnTo>
                  <a:lnTo>
                    <a:pt x="1148" y="691"/>
                  </a:lnTo>
                  <a:lnTo>
                    <a:pt x="1146" y="691"/>
                  </a:lnTo>
                  <a:lnTo>
                    <a:pt x="1146" y="693"/>
                  </a:lnTo>
                  <a:lnTo>
                    <a:pt x="1146" y="696"/>
                  </a:lnTo>
                  <a:lnTo>
                    <a:pt x="1143" y="696"/>
                  </a:lnTo>
                  <a:lnTo>
                    <a:pt x="1141" y="696"/>
                  </a:lnTo>
                  <a:lnTo>
                    <a:pt x="1138" y="696"/>
                  </a:lnTo>
                  <a:lnTo>
                    <a:pt x="1134" y="696"/>
                  </a:lnTo>
                  <a:lnTo>
                    <a:pt x="1131" y="696"/>
                  </a:lnTo>
                  <a:lnTo>
                    <a:pt x="1129" y="696"/>
                  </a:lnTo>
                  <a:lnTo>
                    <a:pt x="1127" y="696"/>
                  </a:lnTo>
                  <a:lnTo>
                    <a:pt x="1129" y="696"/>
                  </a:lnTo>
                  <a:lnTo>
                    <a:pt x="1127" y="696"/>
                  </a:lnTo>
                  <a:lnTo>
                    <a:pt x="1129" y="696"/>
                  </a:lnTo>
                  <a:lnTo>
                    <a:pt x="1127" y="696"/>
                  </a:lnTo>
                  <a:lnTo>
                    <a:pt x="1129" y="696"/>
                  </a:lnTo>
                  <a:lnTo>
                    <a:pt x="1127" y="696"/>
                  </a:lnTo>
                  <a:lnTo>
                    <a:pt x="1129" y="696"/>
                  </a:lnTo>
                  <a:lnTo>
                    <a:pt x="1127" y="696"/>
                  </a:lnTo>
                  <a:lnTo>
                    <a:pt x="1124" y="696"/>
                  </a:lnTo>
                  <a:lnTo>
                    <a:pt x="1124" y="698"/>
                  </a:lnTo>
                  <a:lnTo>
                    <a:pt x="1122" y="698"/>
                  </a:lnTo>
                  <a:lnTo>
                    <a:pt x="1119" y="698"/>
                  </a:lnTo>
                  <a:lnTo>
                    <a:pt x="1119" y="701"/>
                  </a:lnTo>
                  <a:lnTo>
                    <a:pt x="1117" y="701"/>
                  </a:lnTo>
                  <a:lnTo>
                    <a:pt x="1117" y="703"/>
                  </a:lnTo>
                  <a:lnTo>
                    <a:pt x="1115" y="703"/>
                  </a:lnTo>
                  <a:lnTo>
                    <a:pt x="1112" y="703"/>
                  </a:lnTo>
                  <a:lnTo>
                    <a:pt x="1110" y="703"/>
                  </a:lnTo>
                  <a:lnTo>
                    <a:pt x="1108" y="703"/>
                  </a:lnTo>
                  <a:lnTo>
                    <a:pt x="1105" y="703"/>
                  </a:lnTo>
                  <a:lnTo>
                    <a:pt x="1108" y="703"/>
                  </a:lnTo>
                  <a:lnTo>
                    <a:pt x="1105" y="703"/>
                  </a:lnTo>
                  <a:lnTo>
                    <a:pt x="1103" y="703"/>
                  </a:lnTo>
                  <a:lnTo>
                    <a:pt x="1101" y="703"/>
                  </a:lnTo>
                  <a:lnTo>
                    <a:pt x="1098" y="703"/>
                  </a:lnTo>
                  <a:lnTo>
                    <a:pt x="1096" y="703"/>
                  </a:lnTo>
                  <a:lnTo>
                    <a:pt x="1093" y="701"/>
                  </a:lnTo>
                  <a:lnTo>
                    <a:pt x="1091" y="701"/>
                  </a:lnTo>
                  <a:lnTo>
                    <a:pt x="1089" y="701"/>
                  </a:lnTo>
                  <a:lnTo>
                    <a:pt x="1086" y="701"/>
                  </a:lnTo>
                  <a:lnTo>
                    <a:pt x="1084" y="698"/>
                  </a:lnTo>
                  <a:lnTo>
                    <a:pt x="1082" y="698"/>
                  </a:lnTo>
                  <a:lnTo>
                    <a:pt x="1079" y="698"/>
                  </a:lnTo>
                  <a:lnTo>
                    <a:pt x="1077" y="698"/>
                  </a:lnTo>
                  <a:lnTo>
                    <a:pt x="1074" y="698"/>
                  </a:lnTo>
                  <a:lnTo>
                    <a:pt x="1072" y="698"/>
                  </a:lnTo>
                  <a:lnTo>
                    <a:pt x="1072" y="696"/>
                  </a:lnTo>
                  <a:lnTo>
                    <a:pt x="1072" y="693"/>
                  </a:lnTo>
                  <a:lnTo>
                    <a:pt x="1074" y="693"/>
                  </a:lnTo>
                  <a:lnTo>
                    <a:pt x="1074" y="691"/>
                  </a:lnTo>
                  <a:lnTo>
                    <a:pt x="1074" y="689"/>
                  </a:lnTo>
                  <a:lnTo>
                    <a:pt x="1074" y="686"/>
                  </a:lnTo>
                  <a:lnTo>
                    <a:pt x="1074" y="684"/>
                  </a:lnTo>
                  <a:lnTo>
                    <a:pt x="1077" y="684"/>
                  </a:lnTo>
                  <a:lnTo>
                    <a:pt x="1074" y="684"/>
                  </a:lnTo>
                  <a:lnTo>
                    <a:pt x="1074" y="682"/>
                  </a:lnTo>
                  <a:lnTo>
                    <a:pt x="1077" y="679"/>
                  </a:lnTo>
                  <a:lnTo>
                    <a:pt x="1077" y="677"/>
                  </a:lnTo>
                  <a:lnTo>
                    <a:pt x="1077" y="679"/>
                  </a:lnTo>
                  <a:lnTo>
                    <a:pt x="1077" y="677"/>
                  </a:lnTo>
                  <a:lnTo>
                    <a:pt x="1079" y="677"/>
                  </a:lnTo>
                  <a:lnTo>
                    <a:pt x="1077" y="677"/>
                  </a:lnTo>
                  <a:lnTo>
                    <a:pt x="1077" y="674"/>
                  </a:lnTo>
                  <a:lnTo>
                    <a:pt x="1079" y="674"/>
                  </a:lnTo>
                  <a:lnTo>
                    <a:pt x="1079" y="672"/>
                  </a:lnTo>
                  <a:lnTo>
                    <a:pt x="1082" y="672"/>
                  </a:lnTo>
                  <a:lnTo>
                    <a:pt x="1084" y="672"/>
                  </a:lnTo>
                  <a:lnTo>
                    <a:pt x="1084" y="670"/>
                  </a:lnTo>
                  <a:lnTo>
                    <a:pt x="1086" y="670"/>
                  </a:lnTo>
                  <a:lnTo>
                    <a:pt x="1086" y="667"/>
                  </a:lnTo>
                  <a:lnTo>
                    <a:pt x="1089" y="667"/>
                  </a:lnTo>
                  <a:lnTo>
                    <a:pt x="1089" y="665"/>
                  </a:lnTo>
                  <a:lnTo>
                    <a:pt x="1086" y="665"/>
                  </a:lnTo>
                  <a:lnTo>
                    <a:pt x="1086" y="662"/>
                  </a:lnTo>
                  <a:lnTo>
                    <a:pt x="1086" y="660"/>
                  </a:lnTo>
                  <a:lnTo>
                    <a:pt x="1086" y="658"/>
                  </a:lnTo>
                  <a:lnTo>
                    <a:pt x="1086" y="655"/>
                  </a:lnTo>
                  <a:lnTo>
                    <a:pt x="1086" y="653"/>
                  </a:lnTo>
                  <a:lnTo>
                    <a:pt x="1086" y="651"/>
                  </a:lnTo>
                  <a:lnTo>
                    <a:pt x="1086" y="648"/>
                  </a:lnTo>
                  <a:lnTo>
                    <a:pt x="1089" y="648"/>
                  </a:lnTo>
                  <a:lnTo>
                    <a:pt x="1086" y="648"/>
                  </a:lnTo>
                  <a:lnTo>
                    <a:pt x="1086" y="646"/>
                  </a:lnTo>
                  <a:lnTo>
                    <a:pt x="1086" y="648"/>
                  </a:lnTo>
                  <a:lnTo>
                    <a:pt x="1086" y="646"/>
                  </a:lnTo>
                  <a:lnTo>
                    <a:pt x="1086" y="643"/>
                  </a:lnTo>
                  <a:lnTo>
                    <a:pt x="1086" y="641"/>
                  </a:lnTo>
                  <a:lnTo>
                    <a:pt x="1084" y="641"/>
                  </a:lnTo>
                  <a:lnTo>
                    <a:pt x="1086" y="639"/>
                  </a:lnTo>
                  <a:lnTo>
                    <a:pt x="1086" y="641"/>
                  </a:lnTo>
                  <a:lnTo>
                    <a:pt x="1086" y="639"/>
                  </a:lnTo>
                  <a:lnTo>
                    <a:pt x="1084" y="639"/>
                  </a:lnTo>
                  <a:lnTo>
                    <a:pt x="1084" y="636"/>
                  </a:lnTo>
                  <a:lnTo>
                    <a:pt x="1084" y="634"/>
                  </a:lnTo>
                  <a:lnTo>
                    <a:pt x="1086" y="634"/>
                  </a:lnTo>
                  <a:lnTo>
                    <a:pt x="1084" y="634"/>
                  </a:lnTo>
                  <a:lnTo>
                    <a:pt x="1086" y="632"/>
                  </a:lnTo>
                  <a:lnTo>
                    <a:pt x="1084" y="629"/>
                  </a:lnTo>
                  <a:lnTo>
                    <a:pt x="1084" y="627"/>
                  </a:lnTo>
                  <a:lnTo>
                    <a:pt x="1082" y="627"/>
                  </a:lnTo>
                  <a:lnTo>
                    <a:pt x="1082" y="624"/>
                  </a:lnTo>
                  <a:lnTo>
                    <a:pt x="1084" y="624"/>
                  </a:lnTo>
                  <a:lnTo>
                    <a:pt x="1086" y="627"/>
                  </a:lnTo>
                  <a:lnTo>
                    <a:pt x="1086" y="624"/>
                  </a:lnTo>
                  <a:lnTo>
                    <a:pt x="1089" y="624"/>
                  </a:lnTo>
                  <a:lnTo>
                    <a:pt x="1086" y="624"/>
                  </a:lnTo>
                  <a:lnTo>
                    <a:pt x="1086" y="627"/>
                  </a:lnTo>
                  <a:lnTo>
                    <a:pt x="1084" y="624"/>
                  </a:lnTo>
                  <a:lnTo>
                    <a:pt x="1082" y="624"/>
                  </a:lnTo>
                  <a:lnTo>
                    <a:pt x="1084" y="624"/>
                  </a:lnTo>
                  <a:lnTo>
                    <a:pt x="1082" y="624"/>
                  </a:lnTo>
                  <a:lnTo>
                    <a:pt x="1084" y="624"/>
                  </a:lnTo>
                  <a:lnTo>
                    <a:pt x="1082" y="624"/>
                  </a:lnTo>
                  <a:lnTo>
                    <a:pt x="1082" y="622"/>
                  </a:lnTo>
                  <a:lnTo>
                    <a:pt x="1082" y="620"/>
                  </a:lnTo>
                  <a:lnTo>
                    <a:pt x="1082" y="617"/>
                  </a:lnTo>
                  <a:lnTo>
                    <a:pt x="1082" y="615"/>
                  </a:lnTo>
                  <a:lnTo>
                    <a:pt x="1082" y="613"/>
                  </a:lnTo>
                  <a:lnTo>
                    <a:pt x="1082" y="610"/>
                  </a:lnTo>
                  <a:lnTo>
                    <a:pt x="1082" y="613"/>
                  </a:lnTo>
                  <a:lnTo>
                    <a:pt x="1084" y="613"/>
                  </a:lnTo>
                  <a:lnTo>
                    <a:pt x="1082" y="613"/>
                  </a:lnTo>
                  <a:lnTo>
                    <a:pt x="1082" y="610"/>
                  </a:lnTo>
                  <a:lnTo>
                    <a:pt x="1082" y="608"/>
                  </a:lnTo>
                  <a:lnTo>
                    <a:pt x="1084" y="608"/>
                  </a:lnTo>
                  <a:lnTo>
                    <a:pt x="1082" y="608"/>
                  </a:lnTo>
                  <a:lnTo>
                    <a:pt x="1082" y="605"/>
                  </a:lnTo>
                  <a:lnTo>
                    <a:pt x="1084" y="605"/>
                  </a:lnTo>
                  <a:lnTo>
                    <a:pt x="1082" y="605"/>
                  </a:lnTo>
                  <a:lnTo>
                    <a:pt x="1084" y="605"/>
                  </a:lnTo>
                  <a:lnTo>
                    <a:pt x="1084" y="608"/>
                  </a:lnTo>
                  <a:lnTo>
                    <a:pt x="1084" y="605"/>
                  </a:lnTo>
                  <a:lnTo>
                    <a:pt x="1084" y="608"/>
                  </a:lnTo>
                  <a:lnTo>
                    <a:pt x="1086" y="608"/>
                  </a:lnTo>
                  <a:lnTo>
                    <a:pt x="1089" y="608"/>
                  </a:lnTo>
                  <a:lnTo>
                    <a:pt x="1086" y="608"/>
                  </a:lnTo>
                  <a:lnTo>
                    <a:pt x="1086" y="605"/>
                  </a:lnTo>
                  <a:lnTo>
                    <a:pt x="1084" y="605"/>
                  </a:lnTo>
                  <a:lnTo>
                    <a:pt x="1086" y="605"/>
                  </a:lnTo>
                  <a:lnTo>
                    <a:pt x="1084" y="605"/>
                  </a:lnTo>
                  <a:lnTo>
                    <a:pt x="1086" y="605"/>
                  </a:lnTo>
                  <a:lnTo>
                    <a:pt x="1084" y="605"/>
                  </a:lnTo>
                  <a:lnTo>
                    <a:pt x="1082" y="605"/>
                  </a:lnTo>
                  <a:lnTo>
                    <a:pt x="1082" y="603"/>
                  </a:lnTo>
                  <a:lnTo>
                    <a:pt x="1082" y="601"/>
                  </a:lnTo>
                  <a:lnTo>
                    <a:pt x="1082" y="603"/>
                  </a:lnTo>
                  <a:lnTo>
                    <a:pt x="1079" y="603"/>
                  </a:lnTo>
                  <a:lnTo>
                    <a:pt x="1079" y="601"/>
                  </a:lnTo>
                  <a:lnTo>
                    <a:pt x="1077" y="601"/>
                  </a:lnTo>
                  <a:lnTo>
                    <a:pt x="1077" y="598"/>
                  </a:lnTo>
                  <a:lnTo>
                    <a:pt x="1077" y="596"/>
                  </a:lnTo>
                  <a:lnTo>
                    <a:pt x="1074" y="594"/>
                  </a:lnTo>
                  <a:lnTo>
                    <a:pt x="1072" y="594"/>
                  </a:lnTo>
                  <a:lnTo>
                    <a:pt x="1072" y="591"/>
                  </a:lnTo>
                  <a:lnTo>
                    <a:pt x="1074" y="591"/>
                  </a:lnTo>
                  <a:lnTo>
                    <a:pt x="1074" y="589"/>
                  </a:lnTo>
                  <a:lnTo>
                    <a:pt x="1074" y="586"/>
                  </a:lnTo>
                  <a:lnTo>
                    <a:pt x="1077" y="586"/>
                  </a:lnTo>
                  <a:lnTo>
                    <a:pt x="1077" y="584"/>
                  </a:lnTo>
                  <a:lnTo>
                    <a:pt x="1074" y="584"/>
                  </a:lnTo>
                  <a:lnTo>
                    <a:pt x="1074" y="582"/>
                  </a:lnTo>
                  <a:lnTo>
                    <a:pt x="1072" y="582"/>
                  </a:lnTo>
                  <a:lnTo>
                    <a:pt x="1074" y="582"/>
                  </a:lnTo>
                  <a:lnTo>
                    <a:pt x="1074" y="579"/>
                  </a:lnTo>
                  <a:lnTo>
                    <a:pt x="1072" y="579"/>
                  </a:lnTo>
                  <a:lnTo>
                    <a:pt x="1072" y="577"/>
                  </a:lnTo>
                  <a:lnTo>
                    <a:pt x="1072" y="575"/>
                  </a:lnTo>
                  <a:lnTo>
                    <a:pt x="1074" y="575"/>
                  </a:lnTo>
                  <a:lnTo>
                    <a:pt x="1072" y="575"/>
                  </a:lnTo>
                  <a:lnTo>
                    <a:pt x="1072" y="577"/>
                  </a:lnTo>
                  <a:lnTo>
                    <a:pt x="1072" y="575"/>
                  </a:lnTo>
                  <a:lnTo>
                    <a:pt x="1074" y="575"/>
                  </a:lnTo>
                  <a:lnTo>
                    <a:pt x="1072" y="575"/>
                  </a:lnTo>
                  <a:lnTo>
                    <a:pt x="1074" y="577"/>
                  </a:lnTo>
                  <a:lnTo>
                    <a:pt x="1072" y="577"/>
                  </a:lnTo>
                  <a:lnTo>
                    <a:pt x="1074" y="577"/>
                  </a:lnTo>
                  <a:lnTo>
                    <a:pt x="1074" y="575"/>
                  </a:lnTo>
                  <a:lnTo>
                    <a:pt x="1077" y="575"/>
                  </a:lnTo>
                  <a:lnTo>
                    <a:pt x="1079" y="575"/>
                  </a:lnTo>
                  <a:lnTo>
                    <a:pt x="1079" y="577"/>
                  </a:lnTo>
                  <a:lnTo>
                    <a:pt x="1082" y="577"/>
                  </a:lnTo>
                  <a:lnTo>
                    <a:pt x="1084" y="575"/>
                  </a:lnTo>
                  <a:lnTo>
                    <a:pt x="1084" y="572"/>
                  </a:lnTo>
                  <a:lnTo>
                    <a:pt x="1086" y="572"/>
                  </a:lnTo>
                  <a:lnTo>
                    <a:pt x="1086" y="575"/>
                  </a:lnTo>
                  <a:lnTo>
                    <a:pt x="1086" y="572"/>
                  </a:lnTo>
                  <a:lnTo>
                    <a:pt x="1089" y="572"/>
                  </a:lnTo>
                  <a:lnTo>
                    <a:pt x="1091" y="572"/>
                  </a:lnTo>
                  <a:lnTo>
                    <a:pt x="1093" y="572"/>
                  </a:lnTo>
                  <a:lnTo>
                    <a:pt x="1091" y="572"/>
                  </a:lnTo>
                  <a:lnTo>
                    <a:pt x="1093" y="572"/>
                  </a:lnTo>
                  <a:lnTo>
                    <a:pt x="1096" y="572"/>
                  </a:lnTo>
                  <a:lnTo>
                    <a:pt x="1098" y="572"/>
                  </a:lnTo>
                  <a:lnTo>
                    <a:pt x="1101" y="572"/>
                  </a:lnTo>
                  <a:lnTo>
                    <a:pt x="1103" y="572"/>
                  </a:lnTo>
                  <a:lnTo>
                    <a:pt x="1101" y="572"/>
                  </a:lnTo>
                  <a:lnTo>
                    <a:pt x="1098" y="572"/>
                  </a:lnTo>
                  <a:lnTo>
                    <a:pt x="1096" y="572"/>
                  </a:lnTo>
                  <a:lnTo>
                    <a:pt x="1093" y="572"/>
                  </a:lnTo>
                  <a:lnTo>
                    <a:pt x="1096" y="572"/>
                  </a:lnTo>
                  <a:lnTo>
                    <a:pt x="1093" y="572"/>
                  </a:lnTo>
                  <a:lnTo>
                    <a:pt x="1091" y="572"/>
                  </a:lnTo>
                  <a:lnTo>
                    <a:pt x="1091" y="575"/>
                  </a:lnTo>
                  <a:lnTo>
                    <a:pt x="1093" y="575"/>
                  </a:lnTo>
                  <a:lnTo>
                    <a:pt x="1091" y="575"/>
                  </a:lnTo>
                  <a:lnTo>
                    <a:pt x="1089" y="575"/>
                  </a:lnTo>
                  <a:lnTo>
                    <a:pt x="1086" y="575"/>
                  </a:lnTo>
                  <a:lnTo>
                    <a:pt x="1086" y="577"/>
                  </a:lnTo>
                  <a:lnTo>
                    <a:pt x="1084" y="577"/>
                  </a:lnTo>
                  <a:lnTo>
                    <a:pt x="1084" y="579"/>
                  </a:lnTo>
                  <a:lnTo>
                    <a:pt x="1082" y="579"/>
                  </a:lnTo>
                  <a:lnTo>
                    <a:pt x="1084" y="577"/>
                  </a:lnTo>
                  <a:lnTo>
                    <a:pt x="1082" y="577"/>
                  </a:lnTo>
                  <a:lnTo>
                    <a:pt x="1084" y="577"/>
                  </a:lnTo>
                  <a:lnTo>
                    <a:pt x="1082" y="577"/>
                  </a:lnTo>
                  <a:lnTo>
                    <a:pt x="1084" y="577"/>
                  </a:lnTo>
                  <a:lnTo>
                    <a:pt x="1082" y="579"/>
                  </a:lnTo>
                  <a:lnTo>
                    <a:pt x="1084" y="579"/>
                  </a:lnTo>
                  <a:lnTo>
                    <a:pt x="1084" y="577"/>
                  </a:lnTo>
                  <a:lnTo>
                    <a:pt x="1086" y="577"/>
                  </a:lnTo>
                  <a:lnTo>
                    <a:pt x="1086" y="579"/>
                  </a:lnTo>
                  <a:lnTo>
                    <a:pt x="1089" y="579"/>
                  </a:lnTo>
                  <a:lnTo>
                    <a:pt x="1086" y="579"/>
                  </a:lnTo>
                  <a:lnTo>
                    <a:pt x="1086" y="582"/>
                  </a:lnTo>
                  <a:lnTo>
                    <a:pt x="1086" y="579"/>
                  </a:lnTo>
                  <a:lnTo>
                    <a:pt x="1084" y="579"/>
                  </a:lnTo>
                  <a:lnTo>
                    <a:pt x="1084" y="582"/>
                  </a:lnTo>
                  <a:lnTo>
                    <a:pt x="1086" y="582"/>
                  </a:lnTo>
                  <a:lnTo>
                    <a:pt x="1084" y="582"/>
                  </a:lnTo>
                  <a:lnTo>
                    <a:pt x="1086" y="582"/>
                  </a:lnTo>
                  <a:lnTo>
                    <a:pt x="1086" y="579"/>
                  </a:lnTo>
                  <a:lnTo>
                    <a:pt x="1086" y="582"/>
                  </a:lnTo>
                  <a:lnTo>
                    <a:pt x="1086" y="579"/>
                  </a:lnTo>
                  <a:lnTo>
                    <a:pt x="1089" y="579"/>
                  </a:lnTo>
                  <a:lnTo>
                    <a:pt x="1091" y="579"/>
                  </a:lnTo>
                  <a:lnTo>
                    <a:pt x="1089" y="579"/>
                  </a:lnTo>
                  <a:lnTo>
                    <a:pt x="1091" y="579"/>
                  </a:lnTo>
                  <a:lnTo>
                    <a:pt x="1093" y="579"/>
                  </a:lnTo>
                  <a:lnTo>
                    <a:pt x="1091" y="579"/>
                  </a:lnTo>
                  <a:lnTo>
                    <a:pt x="1091" y="577"/>
                  </a:lnTo>
                  <a:lnTo>
                    <a:pt x="1089" y="579"/>
                  </a:lnTo>
                  <a:lnTo>
                    <a:pt x="1089" y="577"/>
                  </a:lnTo>
                  <a:lnTo>
                    <a:pt x="1086" y="577"/>
                  </a:lnTo>
                  <a:lnTo>
                    <a:pt x="1086" y="575"/>
                  </a:lnTo>
                  <a:lnTo>
                    <a:pt x="1089" y="575"/>
                  </a:lnTo>
                  <a:lnTo>
                    <a:pt x="1091" y="575"/>
                  </a:lnTo>
                  <a:lnTo>
                    <a:pt x="1093" y="575"/>
                  </a:lnTo>
                  <a:lnTo>
                    <a:pt x="1093" y="572"/>
                  </a:lnTo>
                  <a:lnTo>
                    <a:pt x="1096" y="572"/>
                  </a:lnTo>
                  <a:lnTo>
                    <a:pt x="1098" y="572"/>
                  </a:lnTo>
                  <a:lnTo>
                    <a:pt x="1096" y="572"/>
                  </a:lnTo>
                  <a:lnTo>
                    <a:pt x="1098" y="572"/>
                  </a:lnTo>
                  <a:lnTo>
                    <a:pt x="1098" y="575"/>
                  </a:lnTo>
                  <a:lnTo>
                    <a:pt x="1096" y="575"/>
                  </a:lnTo>
                  <a:lnTo>
                    <a:pt x="1096" y="577"/>
                  </a:lnTo>
                  <a:lnTo>
                    <a:pt x="1093" y="577"/>
                  </a:lnTo>
                  <a:lnTo>
                    <a:pt x="1093" y="575"/>
                  </a:lnTo>
                  <a:lnTo>
                    <a:pt x="1093" y="577"/>
                  </a:lnTo>
                  <a:lnTo>
                    <a:pt x="1093" y="575"/>
                  </a:lnTo>
                  <a:lnTo>
                    <a:pt x="1093" y="577"/>
                  </a:lnTo>
                  <a:lnTo>
                    <a:pt x="1093" y="575"/>
                  </a:lnTo>
                  <a:lnTo>
                    <a:pt x="1093" y="577"/>
                  </a:lnTo>
                  <a:lnTo>
                    <a:pt x="1093" y="575"/>
                  </a:lnTo>
                  <a:lnTo>
                    <a:pt x="1093" y="577"/>
                  </a:lnTo>
                  <a:lnTo>
                    <a:pt x="1096" y="577"/>
                  </a:lnTo>
                  <a:lnTo>
                    <a:pt x="1096" y="575"/>
                  </a:lnTo>
                  <a:lnTo>
                    <a:pt x="1096" y="577"/>
                  </a:lnTo>
                  <a:lnTo>
                    <a:pt x="1096" y="575"/>
                  </a:lnTo>
                  <a:lnTo>
                    <a:pt x="1096" y="577"/>
                  </a:lnTo>
                  <a:lnTo>
                    <a:pt x="1096" y="575"/>
                  </a:lnTo>
                  <a:lnTo>
                    <a:pt x="1098" y="575"/>
                  </a:lnTo>
                  <a:lnTo>
                    <a:pt x="1101" y="575"/>
                  </a:lnTo>
                  <a:lnTo>
                    <a:pt x="1098" y="575"/>
                  </a:lnTo>
                  <a:lnTo>
                    <a:pt x="1098" y="572"/>
                  </a:lnTo>
                  <a:lnTo>
                    <a:pt x="1098" y="575"/>
                  </a:lnTo>
                  <a:lnTo>
                    <a:pt x="1098" y="572"/>
                  </a:lnTo>
                  <a:lnTo>
                    <a:pt x="1101" y="572"/>
                  </a:lnTo>
                  <a:lnTo>
                    <a:pt x="1098" y="572"/>
                  </a:lnTo>
                  <a:lnTo>
                    <a:pt x="1101" y="572"/>
                  </a:lnTo>
                  <a:lnTo>
                    <a:pt x="1101" y="575"/>
                  </a:lnTo>
                  <a:lnTo>
                    <a:pt x="1101" y="572"/>
                  </a:lnTo>
                  <a:lnTo>
                    <a:pt x="1103" y="572"/>
                  </a:lnTo>
                  <a:lnTo>
                    <a:pt x="1101" y="572"/>
                  </a:lnTo>
                  <a:lnTo>
                    <a:pt x="1103" y="572"/>
                  </a:lnTo>
                  <a:lnTo>
                    <a:pt x="1101" y="572"/>
                  </a:lnTo>
                  <a:lnTo>
                    <a:pt x="1103" y="572"/>
                  </a:lnTo>
                  <a:lnTo>
                    <a:pt x="1103" y="570"/>
                  </a:lnTo>
                  <a:lnTo>
                    <a:pt x="1105" y="570"/>
                  </a:lnTo>
                  <a:lnTo>
                    <a:pt x="1105" y="567"/>
                  </a:lnTo>
                  <a:lnTo>
                    <a:pt x="1108" y="567"/>
                  </a:lnTo>
                  <a:lnTo>
                    <a:pt x="1108" y="565"/>
                  </a:lnTo>
                  <a:lnTo>
                    <a:pt x="1110" y="565"/>
                  </a:lnTo>
                  <a:lnTo>
                    <a:pt x="1112" y="565"/>
                  </a:lnTo>
                  <a:lnTo>
                    <a:pt x="1115" y="565"/>
                  </a:lnTo>
                  <a:lnTo>
                    <a:pt x="1117" y="565"/>
                  </a:lnTo>
                  <a:lnTo>
                    <a:pt x="1117" y="563"/>
                  </a:lnTo>
                  <a:lnTo>
                    <a:pt x="1117" y="565"/>
                  </a:lnTo>
                  <a:lnTo>
                    <a:pt x="1117" y="563"/>
                  </a:lnTo>
                  <a:lnTo>
                    <a:pt x="1119" y="563"/>
                  </a:lnTo>
                  <a:lnTo>
                    <a:pt x="1119" y="560"/>
                  </a:lnTo>
                  <a:lnTo>
                    <a:pt x="1122" y="560"/>
                  </a:lnTo>
                  <a:lnTo>
                    <a:pt x="1119" y="560"/>
                  </a:lnTo>
                  <a:lnTo>
                    <a:pt x="1122" y="560"/>
                  </a:lnTo>
                  <a:lnTo>
                    <a:pt x="1119" y="560"/>
                  </a:lnTo>
                  <a:lnTo>
                    <a:pt x="1119" y="563"/>
                  </a:lnTo>
                  <a:lnTo>
                    <a:pt x="1122" y="563"/>
                  </a:lnTo>
                  <a:lnTo>
                    <a:pt x="1119" y="563"/>
                  </a:lnTo>
                  <a:lnTo>
                    <a:pt x="1122" y="563"/>
                  </a:lnTo>
                  <a:lnTo>
                    <a:pt x="1119" y="563"/>
                  </a:lnTo>
                  <a:lnTo>
                    <a:pt x="1119" y="560"/>
                  </a:lnTo>
                  <a:lnTo>
                    <a:pt x="1122" y="560"/>
                  </a:lnTo>
                  <a:lnTo>
                    <a:pt x="1124" y="560"/>
                  </a:lnTo>
                  <a:lnTo>
                    <a:pt x="1124" y="558"/>
                  </a:lnTo>
                  <a:lnTo>
                    <a:pt x="1127" y="558"/>
                  </a:lnTo>
                  <a:lnTo>
                    <a:pt x="1127" y="556"/>
                  </a:lnTo>
                  <a:lnTo>
                    <a:pt x="1127" y="558"/>
                  </a:lnTo>
                  <a:lnTo>
                    <a:pt x="1127" y="556"/>
                  </a:lnTo>
                  <a:lnTo>
                    <a:pt x="1129" y="556"/>
                  </a:lnTo>
                  <a:lnTo>
                    <a:pt x="1129" y="553"/>
                  </a:lnTo>
                  <a:lnTo>
                    <a:pt x="1131" y="553"/>
                  </a:lnTo>
                  <a:lnTo>
                    <a:pt x="1131" y="556"/>
                  </a:lnTo>
                  <a:lnTo>
                    <a:pt x="1131" y="553"/>
                  </a:lnTo>
                  <a:lnTo>
                    <a:pt x="1134" y="553"/>
                  </a:lnTo>
                  <a:lnTo>
                    <a:pt x="1134" y="551"/>
                  </a:lnTo>
                  <a:lnTo>
                    <a:pt x="1136" y="551"/>
                  </a:lnTo>
                  <a:lnTo>
                    <a:pt x="1136" y="548"/>
                  </a:lnTo>
                  <a:lnTo>
                    <a:pt x="1138" y="548"/>
                  </a:lnTo>
                  <a:lnTo>
                    <a:pt x="1138" y="546"/>
                  </a:lnTo>
                  <a:lnTo>
                    <a:pt x="1138" y="548"/>
                  </a:lnTo>
                  <a:lnTo>
                    <a:pt x="1138" y="546"/>
                  </a:lnTo>
                  <a:lnTo>
                    <a:pt x="1141" y="546"/>
                  </a:lnTo>
                  <a:lnTo>
                    <a:pt x="1138" y="544"/>
                  </a:lnTo>
                  <a:lnTo>
                    <a:pt x="1141" y="544"/>
                  </a:lnTo>
                  <a:lnTo>
                    <a:pt x="1141" y="541"/>
                  </a:lnTo>
                  <a:lnTo>
                    <a:pt x="1141" y="539"/>
                  </a:lnTo>
                  <a:lnTo>
                    <a:pt x="1143" y="539"/>
                  </a:lnTo>
                  <a:lnTo>
                    <a:pt x="1146" y="539"/>
                  </a:lnTo>
                  <a:lnTo>
                    <a:pt x="1146" y="537"/>
                  </a:lnTo>
                  <a:lnTo>
                    <a:pt x="1148" y="537"/>
                  </a:lnTo>
                  <a:lnTo>
                    <a:pt x="1148" y="534"/>
                  </a:lnTo>
                  <a:lnTo>
                    <a:pt x="1150" y="534"/>
                  </a:lnTo>
                  <a:lnTo>
                    <a:pt x="1153" y="534"/>
                  </a:lnTo>
                  <a:lnTo>
                    <a:pt x="1153" y="537"/>
                  </a:lnTo>
                  <a:lnTo>
                    <a:pt x="1153" y="539"/>
                  </a:lnTo>
                  <a:lnTo>
                    <a:pt x="1155" y="539"/>
                  </a:lnTo>
                  <a:lnTo>
                    <a:pt x="1155" y="541"/>
                  </a:lnTo>
                  <a:lnTo>
                    <a:pt x="1155" y="539"/>
                  </a:lnTo>
                  <a:lnTo>
                    <a:pt x="1155" y="541"/>
                  </a:lnTo>
                  <a:lnTo>
                    <a:pt x="1157" y="541"/>
                  </a:lnTo>
                  <a:lnTo>
                    <a:pt x="1157" y="544"/>
                  </a:lnTo>
                  <a:lnTo>
                    <a:pt x="1160" y="544"/>
                  </a:lnTo>
                  <a:lnTo>
                    <a:pt x="1162" y="544"/>
                  </a:lnTo>
                  <a:lnTo>
                    <a:pt x="1160" y="546"/>
                  </a:lnTo>
                  <a:lnTo>
                    <a:pt x="1162" y="544"/>
                  </a:lnTo>
                  <a:lnTo>
                    <a:pt x="1162" y="541"/>
                  </a:lnTo>
                  <a:lnTo>
                    <a:pt x="1165" y="541"/>
                  </a:lnTo>
                  <a:lnTo>
                    <a:pt x="1162" y="541"/>
                  </a:lnTo>
                  <a:lnTo>
                    <a:pt x="1165" y="541"/>
                  </a:lnTo>
                  <a:lnTo>
                    <a:pt x="1165" y="539"/>
                  </a:lnTo>
                  <a:lnTo>
                    <a:pt x="1162" y="539"/>
                  </a:lnTo>
                  <a:lnTo>
                    <a:pt x="1165" y="539"/>
                  </a:lnTo>
                  <a:lnTo>
                    <a:pt x="1167" y="539"/>
                  </a:lnTo>
                  <a:lnTo>
                    <a:pt x="1165" y="539"/>
                  </a:lnTo>
                  <a:lnTo>
                    <a:pt x="1165" y="537"/>
                  </a:lnTo>
                  <a:lnTo>
                    <a:pt x="1165" y="534"/>
                  </a:lnTo>
                  <a:lnTo>
                    <a:pt x="1162" y="534"/>
                  </a:lnTo>
                  <a:lnTo>
                    <a:pt x="1165" y="534"/>
                  </a:lnTo>
                  <a:lnTo>
                    <a:pt x="1162" y="534"/>
                  </a:lnTo>
                  <a:lnTo>
                    <a:pt x="1165" y="534"/>
                  </a:lnTo>
                  <a:lnTo>
                    <a:pt x="1165" y="532"/>
                  </a:lnTo>
                  <a:lnTo>
                    <a:pt x="1165" y="534"/>
                  </a:lnTo>
                  <a:lnTo>
                    <a:pt x="1165" y="532"/>
                  </a:lnTo>
                  <a:lnTo>
                    <a:pt x="1165" y="529"/>
                  </a:lnTo>
                  <a:lnTo>
                    <a:pt x="1167" y="529"/>
                  </a:lnTo>
                  <a:lnTo>
                    <a:pt x="1167" y="527"/>
                  </a:lnTo>
                  <a:lnTo>
                    <a:pt x="1169" y="527"/>
                  </a:lnTo>
                  <a:lnTo>
                    <a:pt x="1172" y="525"/>
                  </a:lnTo>
                  <a:lnTo>
                    <a:pt x="1174" y="525"/>
                  </a:lnTo>
                  <a:lnTo>
                    <a:pt x="1176" y="525"/>
                  </a:lnTo>
                  <a:lnTo>
                    <a:pt x="1174" y="525"/>
                  </a:lnTo>
                  <a:lnTo>
                    <a:pt x="1174" y="522"/>
                  </a:lnTo>
                  <a:lnTo>
                    <a:pt x="1176" y="522"/>
                  </a:lnTo>
                  <a:lnTo>
                    <a:pt x="1176" y="520"/>
                  </a:lnTo>
                  <a:lnTo>
                    <a:pt x="1179" y="520"/>
                  </a:lnTo>
                  <a:lnTo>
                    <a:pt x="1181" y="520"/>
                  </a:lnTo>
                  <a:lnTo>
                    <a:pt x="1184" y="520"/>
                  </a:lnTo>
                  <a:lnTo>
                    <a:pt x="1186" y="520"/>
                  </a:lnTo>
                  <a:lnTo>
                    <a:pt x="1188" y="520"/>
                  </a:lnTo>
                  <a:lnTo>
                    <a:pt x="1191" y="520"/>
                  </a:lnTo>
                  <a:lnTo>
                    <a:pt x="1191" y="518"/>
                  </a:lnTo>
                  <a:lnTo>
                    <a:pt x="1193" y="518"/>
                  </a:lnTo>
                  <a:lnTo>
                    <a:pt x="1195" y="518"/>
                  </a:lnTo>
                  <a:lnTo>
                    <a:pt x="1195" y="515"/>
                  </a:lnTo>
                  <a:lnTo>
                    <a:pt x="1195" y="518"/>
                  </a:lnTo>
                  <a:lnTo>
                    <a:pt x="1195" y="515"/>
                  </a:lnTo>
                  <a:lnTo>
                    <a:pt x="1198" y="515"/>
                  </a:lnTo>
                  <a:lnTo>
                    <a:pt x="1200" y="515"/>
                  </a:lnTo>
                  <a:lnTo>
                    <a:pt x="1203" y="515"/>
                  </a:lnTo>
                  <a:lnTo>
                    <a:pt x="1205" y="515"/>
                  </a:lnTo>
                  <a:lnTo>
                    <a:pt x="1205" y="518"/>
                  </a:lnTo>
                  <a:lnTo>
                    <a:pt x="1207" y="518"/>
                  </a:lnTo>
                  <a:lnTo>
                    <a:pt x="1210" y="518"/>
                  </a:lnTo>
                  <a:lnTo>
                    <a:pt x="1212" y="518"/>
                  </a:lnTo>
                  <a:lnTo>
                    <a:pt x="1214" y="518"/>
                  </a:lnTo>
                  <a:lnTo>
                    <a:pt x="1212" y="518"/>
                  </a:lnTo>
                  <a:lnTo>
                    <a:pt x="1214" y="518"/>
                  </a:lnTo>
                  <a:lnTo>
                    <a:pt x="1217" y="518"/>
                  </a:lnTo>
                  <a:lnTo>
                    <a:pt x="1217" y="515"/>
                  </a:lnTo>
                  <a:lnTo>
                    <a:pt x="1219" y="518"/>
                  </a:lnTo>
                  <a:lnTo>
                    <a:pt x="1217" y="515"/>
                  </a:lnTo>
                  <a:lnTo>
                    <a:pt x="1219" y="515"/>
                  </a:lnTo>
                  <a:lnTo>
                    <a:pt x="1219" y="518"/>
                  </a:lnTo>
                  <a:lnTo>
                    <a:pt x="1219" y="515"/>
                  </a:lnTo>
                  <a:lnTo>
                    <a:pt x="1219" y="518"/>
                  </a:lnTo>
                  <a:lnTo>
                    <a:pt x="1217" y="518"/>
                  </a:lnTo>
                  <a:lnTo>
                    <a:pt x="1217" y="520"/>
                  </a:lnTo>
                  <a:lnTo>
                    <a:pt x="1217" y="522"/>
                  </a:lnTo>
                  <a:lnTo>
                    <a:pt x="1219" y="522"/>
                  </a:lnTo>
                  <a:lnTo>
                    <a:pt x="1217" y="522"/>
                  </a:lnTo>
                  <a:lnTo>
                    <a:pt x="1219" y="522"/>
                  </a:lnTo>
                  <a:lnTo>
                    <a:pt x="1222" y="522"/>
                  </a:lnTo>
                  <a:lnTo>
                    <a:pt x="1222" y="525"/>
                  </a:lnTo>
                  <a:lnTo>
                    <a:pt x="1224" y="525"/>
                  </a:lnTo>
                  <a:lnTo>
                    <a:pt x="1222" y="525"/>
                  </a:lnTo>
                  <a:lnTo>
                    <a:pt x="1222" y="527"/>
                  </a:lnTo>
                  <a:lnTo>
                    <a:pt x="1224" y="527"/>
                  </a:lnTo>
                  <a:lnTo>
                    <a:pt x="1226" y="527"/>
                  </a:lnTo>
                  <a:lnTo>
                    <a:pt x="1224" y="527"/>
                  </a:lnTo>
                  <a:lnTo>
                    <a:pt x="1226" y="527"/>
                  </a:lnTo>
                  <a:lnTo>
                    <a:pt x="1226" y="529"/>
                  </a:lnTo>
                  <a:lnTo>
                    <a:pt x="1229" y="529"/>
                  </a:lnTo>
                  <a:lnTo>
                    <a:pt x="1229" y="532"/>
                  </a:lnTo>
                  <a:lnTo>
                    <a:pt x="1231" y="532"/>
                  </a:lnTo>
                  <a:lnTo>
                    <a:pt x="1231" y="529"/>
                  </a:lnTo>
                  <a:lnTo>
                    <a:pt x="1231" y="532"/>
                  </a:lnTo>
                  <a:lnTo>
                    <a:pt x="1231" y="534"/>
                  </a:lnTo>
                  <a:lnTo>
                    <a:pt x="1233" y="534"/>
                  </a:lnTo>
                  <a:lnTo>
                    <a:pt x="1236" y="534"/>
                  </a:lnTo>
                  <a:lnTo>
                    <a:pt x="1236" y="537"/>
                  </a:lnTo>
                  <a:lnTo>
                    <a:pt x="1238" y="537"/>
                  </a:lnTo>
                  <a:lnTo>
                    <a:pt x="1238" y="539"/>
                  </a:lnTo>
                  <a:lnTo>
                    <a:pt x="1240" y="539"/>
                  </a:lnTo>
                  <a:lnTo>
                    <a:pt x="1240" y="537"/>
                  </a:lnTo>
                  <a:lnTo>
                    <a:pt x="1240" y="539"/>
                  </a:lnTo>
                  <a:lnTo>
                    <a:pt x="1240" y="541"/>
                  </a:lnTo>
                  <a:lnTo>
                    <a:pt x="1243" y="541"/>
                  </a:lnTo>
                  <a:lnTo>
                    <a:pt x="1243" y="544"/>
                  </a:lnTo>
                  <a:lnTo>
                    <a:pt x="1243" y="546"/>
                  </a:lnTo>
                  <a:lnTo>
                    <a:pt x="1240" y="546"/>
                  </a:lnTo>
                  <a:lnTo>
                    <a:pt x="1243" y="546"/>
                  </a:lnTo>
                  <a:lnTo>
                    <a:pt x="1240" y="546"/>
                  </a:lnTo>
                  <a:lnTo>
                    <a:pt x="1238" y="546"/>
                  </a:lnTo>
                  <a:lnTo>
                    <a:pt x="1236" y="546"/>
                  </a:lnTo>
                  <a:lnTo>
                    <a:pt x="1236" y="544"/>
                  </a:lnTo>
                  <a:lnTo>
                    <a:pt x="1233" y="544"/>
                  </a:lnTo>
                  <a:lnTo>
                    <a:pt x="1233" y="546"/>
                  </a:lnTo>
                  <a:lnTo>
                    <a:pt x="1231" y="546"/>
                  </a:lnTo>
                  <a:lnTo>
                    <a:pt x="1231" y="544"/>
                  </a:lnTo>
                  <a:lnTo>
                    <a:pt x="1229" y="544"/>
                  </a:lnTo>
                  <a:lnTo>
                    <a:pt x="1231" y="544"/>
                  </a:lnTo>
                  <a:lnTo>
                    <a:pt x="1231" y="541"/>
                  </a:lnTo>
                  <a:lnTo>
                    <a:pt x="1229" y="541"/>
                  </a:lnTo>
                  <a:lnTo>
                    <a:pt x="1229" y="544"/>
                  </a:lnTo>
                  <a:lnTo>
                    <a:pt x="1229" y="541"/>
                  </a:lnTo>
                  <a:lnTo>
                    <a:pt x="1226" y="544"/>
                  </a:lnTo>
                  <a:lnTo>
                    <a:pt x="1226" y="541"/>
                  </a:lnTo>
                  <a:lnTo>
                    <a:pt x="1226" y="544"/>
                  </a:lnTo>
                  <a:lnTo>
                    <a:pt x="1224" y="544"/>
                  </a:lnTo>
                  <a:lnTo>
                    <a:pt x="1222" y="544"/>
                  </a:lnTo>
                  <a:lnTo>
                    <a:pt x="1219" y="544"/>
                  </a:lnTo>
                  <a:lnTo>
                    <a:pt x="1219" y="541"/>
                  </a:lnTo>
                  <a:lnTo>
                    <a:pt x="1219" y="544"/>
                  </a:lnTo>
                  <a:lnTo>
                    <a:pt x="1219" y="541"/>
                  </a:lnTo>
                  <a:lnTo>
                    <a:pt x="1217" y="541"/>
                  </a:lnTo>
                  <a:lnTo>
                    <a:pt x="1217" y="544"/>
                  </a:lnTo>
                  <a:lnTo>
                    <a:pt x="1214" y="541"/>
                  </a:lnTo>
                  <a:lnTo>
                    <a:pt x="1217" y="541"/>
                  </a:lnTo>
                  <a:lnTo>
                    <a:pt x="1217" y="544"/>
                  </a:lnTo>
                  <a:lnTo>
                    <a:pt x="1217" y="541"/>
                  </a:lnTo>
                  <a:lnTo>
                    <a:pt x="1217" y="544"/>
                  </a:lnTo>
                  <a:lnTo>
                    <a:pt x="1217" y="541"/>
                  </a:lnTo>
                  <a:lnTo>
                    <a:pt x="1219" y="541"/>
                  </a:lnTo>
                  <a:lnTo>
                    <a:pt x="1219" y="544"/>
                  </a:lnTo>
                  <a:lnTo>
                    <a:pt x="1219" y="541"/>
                  </a:lnTo>
                  <a:lnTo>
                    <a:pt x="1219" y="544"/>
                  </a:lnTo>
                  <a:lnTo>
                    <a:pt x="1222" y="544"/>
                  </a:lnTo>
                  <a:lnTo>
                    <a:pt x="1224" y="544"/>
                  </a:lnTo>
                  <a:lnTo>
                    <a:pt x="1226" y="544"/>
                  </a:lnTo>
                  <a:lnTo>
                    <a:pt x="1229" y="544"/>
                  </a:lnTo>
                  <a:lnTo>
                    <a:pt x="1229" y="541"/>
                  </a:lnTo>
                  <a:lnTo>
                    <a:pt x="1231" y="541"/>
                  </a:lnTo>
                  <a:lnTo>
                    <a:pt x="1231" y="544"/>
                  </a:lnTo>
                  <a:lnTo>
                    <a:pt x="1229" y="544"/>
                  </a:lnTo>
                  <a:lnTo>
                    <a:pt x="1231" y="544"/>
                  </a:lnTo>
                  <a:lnTo>
                    <a:pt x="1231" y="546"/>
                  </a:lnTo>
                  <a:lnTo>
                    <a:pt x="1233" y="546"/>
                  </a:lnTo>
                  <a:lnTo>
                    <a:pt x="1233" y="544"/>
                  </a:lnTo>
                  <a:lnTo>
                    <a:pt x="1236" y="544"/>
                  </a:lnTo>
                  <a:lnTo>
                    <a:pt x="1236" y="546"/>
                  </a:lnTo>
                  <a:lnTo>
                    <a:pt x="1238" y="546"/>
                  </a:lnTo>
                  <a:lnTo>
                    <a:pt x="1240" y="546"/>
                  </a:lnTo>
                  <a:lnTo>
                    <a:pt x="1240" y="548"/>
                  </a:lnTo>
                  <a:lnTo>
                    <a:pt x="1240" y="546"/>
                  </a:lnTo>
                  <a:lnTo>
                    <a:pt x="1240" y="548"/>
                  </a:lnTo>
                  <a:lnTo>
                    <a:pt x="1243" y="548"/>
                  </a:lnTo>
                  <a:lnTo>
                    <a:pt x="1240" y="548"/>
                  </a:lnTo>
                  <a:lnTo>
                    <a:pt x="1243" y="548"/>
                  </a:lnTo>
                  <a:lnTo>
                    <a:pt x="1240" y="548"/>
                  </a:lnTo>
                  <a:lnTo>
                    <a:pt x="1240" y="546"/>
                  </a:lnTo>
                  <a:lnTo>
                    <a:pt x="1243" y="546"/>
                  </a:lnTo>
                  <a:lnTo>
                    <a:pt x="1240" y="546"/>
                  </a:lnTo>
                  <a:lnTo>
                    <a:pt x="1243" y="546"/>
                  </a:lnTo>
                  <a:lnTo>
                    <a:pt x="1243" y="544"/>
                  </a:lnTo>
                  <a:lnTo>
                    <a:pt x="1243" y="546"/>
                  </a:lnTo>
                  <a:lnTo>
                    <a:pt x="1243" y="544"/>
                  </a:lnTo>
                  <a:lnTo>
                    <a:pt x="1243" y="541"/>
                  </a:lnTo>
                  <a:lnTo>
                    <a:pt x="1240" y="541"/>
                  </a:lnTo>
                  <a:lnTo>
                    <a:pt x="1240" y="539"/>
                  </a:lnTo>
                  <a:lnTo>
                    <a:pt x="1240" y="537"/>
                  </a:lnTo>
                  <a:lnTo>
                    <a:pt x="1238" y="537"/>
                  </a:lnTo>
                  <a:lnTo>
                    <a:pt x="1238" y="539"/>
                  </a:lnTo>
                  <a:lnTo>
                    <a:pt x="1238" y="537"/>
                  </a:lnTo>
                  <a:lnTo>
                    <a:pt x="1236" y="537"/>
                  </a:lnTo>
                  <a:lnTo>
                    <a:pt x="1236" y="534"/>
                  </a:lnTo>
                  <a:lnTo>
                    <a:pt x="1233" y="534"/>
                  </a:lnTo>
                  <a:lnTo>
                    <a:pt x="1233" y="532"/>
                  </a:lnTo>
                  <a:lnTo>
                    <a:pt x="1231" y="532"/>
                  </a:lnTo>
                  <a:lnTo>
                    <a:pt x="1231" y="529"/>
                  </a:lnTo>
                  <a:lnTo>
                    <a:pt x="1229" y="529"/>
                  </a:lnTo>
                  <a:lnTo>
                    <a:pt x="1226" y="529"/>
                  </a:lnTo>
                  <a:lnTo>
                    <a:pt x="1226" y="527"/>
                  </a:lnTo>
                  <a:lnTo>
                    <a:pt x="1224" y="527"/>
                  </a:lnTo>
                  <a:lnTo>
                    <a:pt x="1222" y="527"/>
                  </a:lnTo>
                  <a:lnTo>
                    <a:pt x="1222" y="525"/>
                  </a:lnTo>
                  <a:lnTo>
                    <a:pt x="1224" y="525"/>
                  </a:lnTo>
                  <a:lnTo>
                    <a:pt x="1222" y="525"/>
                  </a:lnTo>
                  <a:lnTo>
                    <a:pt x="1222" y="522"/>
                  </a:lnTo>
                  <a:lnTo>
                    <a:pt x="1219" y="522"/>
                  </a:lnTo>
                  <a:lnTo>
                    <a:pt x="1217" y="522"/>
                  </a:lnTo>
                  <a:lnTo>
                    <a:pt x="1217" y="520"/>
                  </a:lnTo>
                  <a:lnTo>
                    <a:pt x="1219" y="520"/>
                  </a:lnTo>
                  <a:lnTo>
                    <a:pt x="1217" y="520"/>
                  </a:lnTo>
                  <a:lnTo>
                    <a:pt x="1219" y="520"/>
                  </a:lnTo>
                  <a:lnTo>
                    <a:pt x="1217" y="520"/>
                  </a:lnTo>
                  <a:lnTo>
                    <a:pt x="1219" y="520"/>
                  </a:lnTo>
                  <a:lnTo>
                    <a:pt x="1219" y="518"/>
                  </a:lnTo>
                  <a:lnTo>
                    <a:pt x="1217" y="520"/>
                  </a:lnTo>
                  <a:lnTo>
                    <a:pt x="1219" y="518"/>
                  </a:lnTo>
                  <a:lnTo>
                    <a:pt x="1219" y="515"/>
                  </a:lnTo>
                  <a:lnTo>
                    <a:pt x="1222" y="515"/>
                  </a:lnTo>
                  <a:lnTo>
                    <a:pt x="1219" y="515"/>
                  </a:lnTo>
                  <a:lnTo>
                    <a:pt x="1222" y="515"/>
                  </a:lnTo>
                  <a:lnTo>
                    <a:pt x="1222" y="518"/>
                  </a:lnTo>
                  <a:lnTo>
                    <a:pt x="1222" y="515"/>
                  </a:lnTo>
                  <a:lnTo>
                    <a:pt x="1224" y="515"/>
                  </a:lnTo>
                  <a:lnTo>
                    <a:pt x="1224" y="518"/>
                  </a:lnTo>
                  <a:lnTo>
                    <a:pt x="1226" y="518"/>
                  </a:lnTo>
                  <a:lnTo>
                    <a:pt x="1224" y="518"/>
                  </a:lnTo>
                  <a:lnTo>
                    <a:pt x="1226" y="518"/>
                  </a:lnTo>
                  <a:lnTo>
                    <a:pt x="1224" y="518"/>
                  </a:lnTo>
                  <a:lnTo>
                    <a:pt x="1224" y="520"/>
                  </a:lnTo>
                  <a:lnTo>
                    <a:pt x="1224" y="518"/>
                  </a:lnTo>
                  <a:lnTo>
                    <a:pt x="1224" y="520"/>
                  </a:lnTo>
                  <a:lnTo>
                    <a:pt x="1226" y="520"/>
                  </a:lnTo>
                  <a:lnTo>
                    <a:pt x="1226" y="518"/>
                  </a:lnTo>
                  <a:lnTo>
                    <a:pt x="1226" y="520"/>
                  </a:lnTo>
                  <a:lnTo>
                    <a:pt x="1226" y="518"/>
                  </a:lnTo>
                  <a:lnTo>
                    <a:pt x="1226" y="520"/>
                  </a:lnTo>
                  <a:lnTo>
                    <a:pt x="1229" y="520"/>
                  </a:lnTo>
                  <a:lnTo>
                    <a:pt x="1226" y="520"/>
                  </a:lnTo>
                  <a:lnTo>
                    <a:pt x="1229" y="520"/>
                  </a:lnTo>
                  <a:lnTo>
                    <a:pt x="1226" y="520"/>
                  </a:lnTo>
                  <a:lnTo>
                    <a:pt x="1229" y="520"/>
                  </a:lnTo>
                  <a:lnTo>
                    <a:pt x="1226" y="520"/>
                  </a:lnTo>
                  <a:lnTo>
                    <a:pt x="1229" y="520"/>
                  </a:lnTo>
                  <a:lnTo>
                    <a:pt x="1231" y="520"/>
                  </a:lnTo>
                  <a:lnTo>
                    <a:pt x="1233" y="520"/>
                  </a:lnTo>
                  <a:lnTo>
                    <a:pt x="1233" y="522"/>
                  </a:lnTo>
                  <a:lnTo>
                    <a:pt x="1236" y="522"/>
                  </a:lnTo>
                  <a:lnTo>
                    <a:pt x="1238" y="522"/>
                  </a:lnTo>
                  <a:lnTo>
                    <a:pt x="1240" y="522"/>
                  </a:lnTo>
                  <a:lnTo>
                    <a:pt x="1238" y="522"/>
                  </a:lnTo>
                  <a:lnTo>
                    <a:pt x="1240" y="522"/>
                  </a:lnTo>
                  <a:lnTo>
                    <a:pt x="1243" y="522"/>
                  </a:lnTo>
                  <a:lnTo>
                    <a:pt x="1245" y="520"/>
                  </a:lnTo>
                  <a:lnTo>
                    <a:pt x="1245" y="522"/>
                  </a:lnTo>
                  <a:lnTo>
                    <a:pt x="1243" y="522"/>
                  </a:lnTo>
                  <a:lnTo>
                    <a:pt x="1245" y="522"/>
                  </a:lnTo>
                  <a:lnTo>
                    <a:pt x="1245" y="520"/>
                  </a:lnTo>
                  <a:lnTo>
                    <a:pt x="1248" y="520"/>
                  </a:lnTo>
                  <a:lnTo>
                    <a:pt x="1245" y="520"/>
                  </a:lnTo>
                  <a:lnTo>
                    <a:pt x="1248" y="520"/>
                  </a:lnTo>
                  <a:lnTo>
                    <a:pt x="1248" y="518"/>
                  </a:lnTo>
                  <a:lnTo>
                    <a:pt x="1250" y="518"/>
                  </a:lnTo>
                  <a:lnTo>
                    <a:pt x="1248" y="518"/>
                  </a:lnTo>
                  <a:lnTo>
                    <a:pt x="1250" y="518"/>
                  </a:lnTo>
                  <a:lnTo>
                    <a:pt x="1248" y="518"/>
                  </a:lnTo>
                  <a:lnTo>
                    <a:pt x="1250" y="518"/>
                  </a:lnTo>
                  <a:lnTo>
                    <a:pt x="1248" y="518"/>
                  </a:lnTo>
                  <a:lnTo>
                    <a:pt x="1250" y="518"/>
                  </a:lnTo>
                  <a:lnTo>
                    <a:pt x="1248" y="518"/>
                  </a:lnTo>
                  <a:lnTo>
                    <a:pt x="1250" y="518"/>
                  </a:lnTo>
                  <a:lnTo>
                    <a:pt x="1250" y="515"/>
                  </a:lnTo>
                  <a:lnTo>
                    <a:pt x="1250" y="513"/>
                  </a:lnTo>
                  <a:lnTo>
                    <a:pt x="1252" y="513"/>
                  </a:lnTo>
                  <a:lnTo>
                    <a:pt x="1255" y="510"/>
                  </a:lnTo>
                  <a:lnTo>
                    <a:pt x="1255" y="508"/>
                  </a:lnTo>
                  <a:lnTo>
                    <a:pt x="1257" y="508"/>
                  </a:lnTo>
                  <a:lnTo>
                    <a:pt x="1259" y="508"/>
                  </a:lnTo>
                  <a:lnTo>
                    <a:pt x="1262" y="508"/>
                  </a:lnTo>
                  <a:lnTo>
                    <a:pt x="1264" y="508"/>
                  </a:lnTo>
                  <a:lnTo>
                    <a:pt x="1264" y="510"/>
                  </a:lnTo>
                  <a:lnTo>
                    <a:pt x="1262" y="510"/>
                  </a:lnTo>
                  <a:lnTo>
                    <a:pt x="1262" y="513"/>
                  </a:lnTo>
                  <a:lnTo>
                    <a:pt x="1259" y="513"/>
                  </a:lnTo>
                  <a:lnTo>
                    <a:pt x="1262" y="513"/>
                  </a:lnTo>
                  <a:lnTo>
                    <a:pt x="1262" y="510"/>
                  </a:lnTo>
                  <a:lnTo>
                    <a:pt x="1264" y="510"/>
                  </a:lnTo>
                  <a:lnTo>
                    <a:pt x="1264" y="508"/>
                  </a:lnTo>
                  <a:lnTo>
                    <a:pt x="1267" y="508"/>
                  </a:lnTo>
                  <a:lnTo>
                    <a:pt x="1267" y="506"/>
                  </a:lnTo>
                  <a:lnTo>
                    <a:pt x="1264" y="506"/>
                  </a:lnTo>
                  <a:lnTo>
                    <a:pt x="1264" y="503"/>
                  </a:lnTo>
                  <a:lnTo>
                    <a:pt x="1267" y="503"/>
                  </a:lnTo>
                  <a:lnTo>
                    <a:pt x="1269" y="503"/>
                  </a:lnTo>
                  <a:lnTo>
                    <a:pt x="1271" y="503"/>
                  </a:lnTo>
                  <a:lnTo>
                    <a:pt x="1274" y="501"/>
                  </a:lnTo>
                  <a:lnTo>
                    <a:pt x="1276" y="501"/>
                  </a:lnTo>
                  <a:lnTo>
                    <a:pt x="1278" y="501"/>
                  </a:lnTo>
                  <a:lnTo>
                    <a:pt x="1281" y="501"/>
                  </a:lnTo>
                  <a:lnTo>
                    <a:pt x="1281" y="499"/>
                  </a:lnTo>
                  <a:lnTo>
                    <a:pt x="1283" y="499"/>
                  </a:lnTo>
                  <a:lnTo>
                    <a:pt x="1286" y="499"/>
                  </a:lnTo>
                  <a:lnTo>
                    <a:pt x="1288" y="496"/>
                  </a:lnTo>
                  <a:lnTo>
                    <a:pt x="1290" y="496"/>
                  </a:lnTo>
                  <a:lnTo>
                    <a:pt x="1295" y="494"/>
                  </a:lnTo>
                  <a:lnTo>
                    <a:pt x="1297" y="494"/>
                  </a:lnTo>
                  <a:lnTo>
                    <a:pt x="1300" y="494"/>
                  </a:lnTo>
                  <a:lnTo>
                    <a:pt x="1302" y="494"/>
                  </a:lnTo>
                  <a:lnTo>
                    <a:pt x="1305" y="494"/>
                  </a:lnTo>
                  <a:lnTo>
                    <a:pt x="1307" y="494"/>
                  </a:lnTo>
                  <a:lnTo>
                    <a:pt x="1309" y="494"/>
                  </a:lnTo>
                  <a:lnTo>
                    <a:pt x="1307" y="494"/>
                  </a:lnTo>
                  <a:lnTo>
                    <a:pt x="1309" y="496"/>
                  </a:lnTo>
                  <a:lnTo>
                    <a:pt x="1307" y="496"/>
                  </a:lnTo>
                  <a:lnTo>
                    <a:pt x="1305" y="496"/>
                  </a:lnTo>
                  <a:lnTo>
                    <a:pt x="1302" y="496"/>
                  </a:lnTo>
                  <a:lnTo>
                    <a:pt x="1300" y="496"/>
                  </a:lnTo>
                  <a:lnTo>
                    <a:pt x="1300" y="499"/>
                  </a:lnTo>
                  <a:lnTo>
                    <a:pt x="1297" y="496"/>
                  </a:lnTo>
                  <a:lnTo>
                    <a:pt x="1297" y="499"/>
                  </a:lnTo>
                  <a:lnTo>
                    <a:pt x="1297" y="496"/>
                  </a:lnTo>
                  <a:lnTo>
                    <a:pt x="1297" y="499"/>
                  </a:lnTo>
                  <a:lnTo>
                    <a:pt x="1300" y="499"/>
                  </a:lnTo>
                  <a:lnTo>
                    <a:pt x="1297" y="499"/>
                  </a:lnTo>
                  <a:lnTo>
                    <a:pt x="1300" y="499"/>
                  </a:lnTo>
                  <a:lnTo>
                    <a:pt x="1302" y="499"/>
                  </a:lnTo>
                  <a:lnTo>
                    <a:pt x="1305" y="501"/>
                  </a:lnTo>
                  <a:lnTo>
                    <a:pt x="1307" y="501"/>
                  </a:lnTo>
                  <a:lnTo>
                    <a:pt x="1307" y="503"/>
                  </a:lnTo>
                  <a:lnTo>
                    <a:pt x="1309" y="503"/>
                  </a:lnTo>
                  <a:lnTo>
                    <a:pt x="1309" y="506"/>
                  </a:lnTo>
                  <a:lnTo>
                    <a:pt x="1312" y="506"/>
                  </a:lnTo>
                  <a:lnTo>
                    <a:pt x="1309" y="506"/>
                  </a:lnTo>
                  <a:lnTo>
                    <a:pt x="1307" y="506"/>
                  </a:lnTo>
                  <a:lnTo>
                    <a:pt x="1309" y="506"/>
                  </a:lnTo>
                  <a:lnTo>
                    <a:pt x="1307" y="506"/>
                  </a:lnTo>
                  <a:lnTo>
                    <a:pt x="1309" y="506"/>
                  </a:lnTo>
                  <a:lnTo>
                    <a:pt x="1312" y="506"/>
                  </a:lnTo>
                  <a:lnTo>
                    <a:pt x="1314" y="506"/>
                  </a:lnTo>
                  <a:lnTo>
                    <a:pt x="1314" y="508"/>
                  </a:lnTo>
                  <a:lnTo>
                    <a:pt x="1314" y="510"/>
                  </a:lnTo>
                  <a:lnTo>
                    <a:pt x="1314" y="513"/>
                  </a:lnTo>
                  <a:lnTo>
                    <a:pt x="1314" y="510"/>
                  </a:lnTo>
                  <a:lnTo>
                    <a:pt x="1312" y="510"/>
                  </a:lnTo>
                  <a:lnTo>
                    <a:pt x="1314" y="510"/>
                  </a:lnTo>
                  <a:lnTo>
                    <a:pt x="1314" y="513"/>
                  </a:lnTo>
                  <a:lnTo>
                    <a:pt x="1312" y="513"/>
                  </a:lnTo>
                  <a:lnTo>
                    <a:pt x="1309" y="513"/>
                  </a:lnTo>
                  <a:lnTo>
                    <a:pt x="1309" y="510"/>
                  </a:lnTo>
                  <a:lnTo>
                    <a:pt x="1309" y="513"/>
                  </a:lnTo>
                  <a:lnTo>
                    <a:pt x="1307" y="513"/>
                  </a:lnTo>
                  <a:lnTo>
                    <a:pt x="1305" y="513"/>
                  </a:lnTo>
                  <a:lnTo>
                    <a:pt x="1307" y="513"/>
                  </a:lnTo>
                  <a:lnTo>
                    <a:pt x="1305" y="513"/>
                  </a:lnTo>
                  <a:lnTo>
                    <a:pt x="1302" y="513"/>
                  </a:lnTo>
                  <a:lnTo>
                    <a:pt x="1302" y="515"/>
                  </a:lnTo>
                  <a:lnTo>
                    <a:pt x="1302" y="513"/>
                  </a:lnTo>
                  <a:lnTo>
                    <a:pt x="1302" y="515"/>
                  </a:lnTo>
                  <a:lnTo>
                    <a:pt x="1302" y="513"/>
                  </a:lnTo>
                  <a:lnTo>
                    <a:pt x="1305" y="515"/>
                  </a:lnTo>
                  <a:lnTo>
                    <a:pt x="1305" y="513"/>
                  </a:lnTo>
                  <a:lnTo>
                    <a:pt x="1305" y="515"/>
                  </a:lnTo>
                  <a:lnTo>
                    <a:pt x="1302" y="515"/>
                  </a:lnTo>
                  <a:lnTo>
                    <a:pt x="1305" y="515"/>
                  </a:lnTo>
                  <a:lnTo>
                    <a:pt x="1302" y="515"/>
                  </a:lnTo>
                  <a:lnTo>
                    <a:pt x="1305" y="515"/>
                  </a:lnTo>
                  <a:lnTo>
                    <a:pt x="1302" y="515"/>
                  </a:lnTo>
                  <a:lnTo>
                    <a:pt x="1300" y="515"/>
                  </a:lnTo>
                  <a:lnTo>
                    <a:pt x="1302" y="515"/>
                  </a:lnTo>
                  <a:lnTo>
                    <a:pt x="1300" y="515"/>
                  </a:lnTo>
                  <a:lnTo>
                    <a:pt x="1302" y="515"/>
                  </a:lnTo>
                  <a:lnTo>
                    <a:pt x="1300" y="515"/>
                  </a:lnTo>
                  <a:lnTo>
                    <a:pt x="1302" y="515"/>
                  </a:lnTo>
                  <a:lnTo>
                    <a:pt x="1300" y="515"/>
                  </a:lnTo>
                  <a:lnTo>
                    <a:pt x="1302" y="515"/>
                  </a:lnTo>
                  <a:lnTo>
                    <a:pt x="1300" y="515"/>
                  </a:lnTo>
                  <a:lnTo>
                    <a:pt x="1302" y="515"/>
                  </a:lnTo>
                  <a:lnTo>
                    <a:pt x="1302" y="518"/>
                  </a:lnTo>
                  <a:lnTo>
                    <a:pt x="1300" y="518"/>
                  </a:lnTo>
                  <a:lnTo>
                    <a:pt x="1302" y="518"/>
                  </a:lnTo>
                  <a:lnTo>
                    <a:pt x="1300" y="518"/>
                  </a:lnTo>
                  <a:lnTo>
                    <a:pt x="1302" y="518"/>
                  </a:lnTo>
                  <a:lnTo>
                    <a:pt x="1300" y="518"/>
                  </a:lnTo>
                  <a:lnTo>
                    <a:pt x="1300" y="520"/>
                  </a:lnTo>
                  <a:lnTo>
                    <a:pt x="1300" y="518"/>
                  </a:lnTo>
                  <a:lnTo>
                    <a:pt x="1297" y="518"/>
                  </a:lnTo>
                  <a:lnTo>
                    <a:pt x="1297" y="515"/>
                  </a:lnTo>
                  <a:lnTo>
                    <a:pt x="1297" y="518"/>
                  </a:lnTo>
                  <a:lnTo>
                    <a:pt x="1300" y="518"/>
                  </a:lnTo>
                  <a:lnTo>
                    <a:pt x="1297" y="518"/>
                  </a:lnTo>
                  <a:lnTo>
                    <a:pt x="1300" y="518"/>
                  </a:lnTo>
                  <a:lnTo>
                    <a:pt x="1297" y="518"/>
                  </a:lnTo>
                  <a:lnTo>
                    <a:pt x="1297" y="515"/>
                  </a:lnTo>
                  <a:lnTo>
                    <a:pt x="1295" y="515"/>
                  </a:lnTo>
                  <a:lnTo>
                    <a:pt x="1295" y="518"/>
                  </a:lnTo>
                  <a:lnTo>
                    <a:pt x="1297" y="518"/>
                  </a:lnTo>
                  <a:lnTo>
                    <a:pt x="1297" y="515"/>
                  </a:lnTo>
                  <a:lnTo>
                    <a:pt x="1297" y="518"/>
                  </a:lnTo>
                  <a:lnTo>
                    <a:pt x="1295" y="518"/>
                  </a:lnTo>
                  <a:lnTo>
                    <a:pt x="1297" y="518"/>
                  </a:lnTo>
                  <a:lnTo>
                    <a:pt x="1295" y="518"/>
                  </a:lnTo>
                  <a:lnTo>
                    <a:pt x="1295" y="515"/>
                  </a:lnTo>
                  <a:lnTo>
                    <a:pt x="1293" y="515"/>
                  </a:lnTo>
                  <a:lnTo>
                    <a:pt x="1295" y="515"/>
                  </a:lnTo>
                  <a:lnTo>
                    <a:pt x="1295" y="518"/>
                  </a:lnTo>
                  <a:lnTo>
                    <a:pt x="1297" y="518"/>
                  </a:lnTo>
                  <a:lnTo>
                    <a:pt x="1297" y="520"/>
                  </a:lnTo>
                  <a:lnTo>
                    <a:pt x="1297" y="518"/>
                  </a:lnTo>
                  <a:lnTo>
                    <a:pt x="1297" y="520"/>
                  </a:lnTo>
                  <a:lnTo>
                    <a:pt x="1297" y="518"/>
                  </a:lnTo>
                  <a:lnTo>
                    <a:pt x="1297" y="520"/>
                  </a:lnTo>
                  <a:lnTo>
                    <a:pt x="1300" y="520"/>
                  </a:lnTo>
                  <a:lnTo>
                    <a:pt x="1300" y="518"/>
                  </a:lnTo>
                  <a:lnTo>
                    <a:pt x="1300" y="520"/>
                  </a:lnTo>
                  <a:lnTo>
                    <a:pt x="1300" y="518"/>
                  </a:lnTo>
                  <a:lnTo>
                    <a:pt x="1300" y="520"/>
                  </a:lnTo>
                  <a:lnTo>
                    <a:pt x="1300" y="518"/>
                  </a:lnTo>
                  <a:lnTo>
                    <a:pt x="1302" y="518"/>
                  </a:lnTo>
                  <a:lnTo>
                    <a:pt x="1300" y="520"/>
                  </a:lnTo>
                  <a:lnTo>
                    <a:pt x="1302" y="518"/>
                  </a:lnTo>
                  <a:lnTo>
                    <a:pt x="1302" y="520"/>
                  </a:lnTo>
                  <a:lnTo>
                    <a:pt x="1302" y="522"/>
                  </a:lnTo>
                  <a:lnTo>
                    <a:pt x="1305" y="522"/>
                  </a:lnTo>
                  <a:lnTo>
                    <a:pt x="1305" y="525"/>
                  </a:lnTo>
                  <a:lnTo>
                    <a:pt x="1302" y="525"/>
                  </a:lnTo>
                  <a:lnTo>
                    <a:pt x="1305" y="525"/>
                  </a:lnTo>
                  <a:lnTo>
                    <a:pt x="1302" y="525"/>
                  </a:lnTo>
                  <a:lnTo>
                    <a:pt x="1302" y="527"/>
                  </a:lnTo>
                  <a:lnTo>
                    <a:pt x="1300" y="527"/>
                  </a:lnTo>
                  <a:lnTo>
                    <a:pt x="1302" y="527"/>
                  </a:lnTo>
                  <a:lnTo>
                    <a:pt x="1300" y="527"/>
                  </a:lnTo>
                  <a:lnTo>
                    <a:pt x="1302" y="527"/>
                  </a:lnTo>
                  <a:lnTo>
                    <a:pt x="1302" y="529"/>
                  </a:lnTo>
                  <a:lnTo>
                    <a:pt x="1305" y="529"/>
                  </a:lnTo>
                  <a:lnTo>
                    <a:pt x="1307" y="529"/>
                  </a:lnTo>
                  <a:lnTo>
                    <a:pt x="1309" y="529"/>
                  </a:lnTo>
                  <a:lnTo>
                    <a:pt x="1312" y="529"/>
                  </a:lnTo>
                  <a:lnTo>
                    <a:pt x="1314" y="532"/>
                  </a:lnTo>
                  <a:lnTo>
                    <a:pt x="1316" y="532"/>
                  </a:lnTo>
                  <a:lnTo>
                    <a:pt x="1319" y="532"/>
                  </a:lnTo>
                  <a:lnTo>
                    <a:pt x="1321" y="532"/>
                  </a:lnTo>
                  <a:lnTo>
                    <a:pt x="1321" y="534"/>
                  </a:lnTo>
                  <a:lnTo>
                    <a:pt x="1321" y="532"/>
                  </a:lnTo>
                  <a:lnTo>
                    <a:pt x="1321" y="534"/>
                  </a:lnTo>
                  <a:lnTo>
                    <a:pt x="1324" y="534"/>
                  </a:lnTo>
                  <a:lnTo>
                    <a:pt x="1321" y="534"/>
                  </a:lnTo>
                  <a:lnTo>
                    <a:pt x="1321" y="532"/>
                  </a:lnTo>
                  <a:lnTo>
                    <a:pt x="1324" y="532"/>
                  </a:lnTo>
                  <a:lnTo>
                    <a:pt x="1321" y="532"/>
                  </a:lnTo>
                  <a:lnTo>
                    <a:pt x="1324" y="532"/>
                  </a:lnTo>
                  <a:lnTo>
                    <a:pt x="1321" y="532"/>
                  </a:lnTo>
                  <a:lnTo>
                    <a:pt x="1324" y="532"/>
                  </a:lnTo>
                  <a:lnTo>
                    <a:pt x="1321" y="532"/>
                  </a:lnTo>
                  <a:lnTo>
                    <a:pt x="1324" y="532"/>
                  </a:lnTo>
                  <a:lnTo>
                    <a:pt x="1326" y="532"/>
                  </a:lnTo>
                  <a:lnTo>
                    <a:pt x="1328" y="532"/>
                  </a:lnTo>
                  <a:lnTo>
                    <a:pt x="1328" y="529"/>
                  </a:lnTo>
                  <a:lnTo>
                    <a:pt x="1328" y="532"/>
                  </a:lnTo>
                  <a:lnTo>
                    <a:pt x="1328" y="529"/>
                  </a:lnTo>
                  <a:lnTo>
                    <a:pt x="1328" y="527"/>
                  </a:lnTo>
                  <a:lnTo>
                    <a:pt x="1331" y="527"/>
                  </a:lnTo>
                  <a:lnTo>
                    <a:pt x="1331" y="529"/>
                  </a:lnTo>
                  <a:lnTo>
                    <a:pt x="1331" y="527"/>
                  </a:lnTo>
                  <a:lnTo>
                    <a:pt x="1331" y="525"/>
                  </a:lnTo>
                  <a:lnTo>
                    <a:pt x="1331" y="522"/>
                  </a:lnTo>
                  <a:lnTo>
                    <a:pt x="1328" y="520"/>
                  </a:lnTo>
                  <a:lnTo>
                    <a:pt x="1328" y="518"/>
                  </a:lnTo>
                  <a:lnTo>
                    <a:pt x="1328" y="520"/>
                  </a:lnTo>
                  <a:lnTo>
                    <a:pt x="1326" y="518"/>
                  </a:lnTo>
                  <a:lnTo>
                    <a:pt x="1326" y="515"/>
                  </a:lnTo>
                  <a:lnTo>
                    <a:pt x="1326" y="513"/>
                  </a:lnTo>
                  <a:lnTo>
                    <a:pt x="1331" y="510"/>
                  </a:lnTo>
                  <a:lnTo>
                    <a:pt x="1333" y="510"/>
                  </a:lnTo>
                  <a:lnTo>
                    <a:pt x="1333" y="513"/>
                  </a:lnTo>
                  <a:lnTo>
                    <a:pt x="1335" y="513"/>
                  </a:lnTo>
                  <a:lnTo>
                    <a:pt x="1338" y="513"/>
                  </a:lnTo>
                  <a:lnTo>
                    <a:pt x="1340" y="513"/>
                  </a:lnTo>
                  <a:lnTo>
                    <a:pt x="1343" y="513"/>
                  </a:lnTo>
                  <a:lnTo>
                    <a:pt x="1345" y="513"/>
                  </a:lnTo>
                  <a:lnTo>
                    <a:pt x="1345" y="510"/>
                  </a:lnTo>
                  <a:lnTo>
                    <a:pt x="1347" y="510"/>
                  </a:lnTo>
                  <a:lnTo>
                    <a:pt x="1350" y="510"/>
                  </a:lnTo>
                  <a:lnTo>
                    <a:pt x="1350" y="513"/>
                  </a:lnTo>
                  <a:lnTo>
                    <a:pt x="1350" y="510"/>
                  </a:lnTo>
                  <a:lnTo>
                    <a:pt x="1352" y="508"/>
                  </a:lnTo>
                  <a:lnTo>
                    <a:pt x="1354" y="506"/>
                  </a:lnTo>
                  <a:lnTo>
                    <a:pt x="1357" y="506"/>
                  </a:lnTo>
                  <a:lnTo>
                    <a:pt x="1357" y="508"/>
                  </a:lnTo>
                  <a:lnTo>
                    <a:pt x="1357" y="510"/>
                  </a:lnTo>
                  <a:lnTo>
                    <a:pt x="1359" y="510"/>
                  </a:lnTo>
                  <a:lnTo>
                    <a:pt x="1359" y="513"/>
                  </a:lnTo>
                  <a:lnTo>
                    <a:pt x="1359" y="510"/>
                  </a:lnTo>
                  <a:lnTo>
                    <a:pt x="1359" y="513"/>
                  </a:lnTo>
                  <a:lnTo>
                    <a:pt x="1362" y="513"/>
                  </a:lnTo>
                  <a:lnTo>
                    <a:pt x="1362" y="510"/>
                  </a:lnTo>
                  <a:lnTo>
                    <a:pt x="1359" y="510"/>
                  </a:lnTo>
                  <a:lnTo>
                    <a:pt x="1357" y="510"/>
                  </a:lnTo>
                  <a:lnTo>
                    <a:pt x="1357" y="508"/>
                  </a:lnTo>
                  <a:lnTo>
                    <a:pt x="1357" y="506"/>
                  </a:lnTo>
                  <a:lnTo>
                    <a:pt x="1359" y="506"/>
                  </a:lnTo>
                  <a:lnTo>
                    <a:pt x="1359" y="503"/>
                  </a:lnTo>
                  <a:lnTo>
                    <a:pt x="1359" y="506"/>
                  </a:lnTo>
                  <a:lnTo>
                    <a:pt x="1357" y="506"/>
                  </a:lnTo>
                  <a:lnTo>
                    <a:pt x="1357" y="503"/>
                  </a:lnTo>
                  <a:lnTo>
                    <a:pt x="1357" y="506"/>
                  </a:lnTo>
                  <a:lnTo>
                    <a:pt x="1357" y="503"/>
                  </a:lnTo>
                  <a:lnTo>
                    <a:pt x="1359" y="501"/>
                  </a:lnTo>
                  <a:lnTo>
                    <a:pt x="1362" y="501"/>
                  </a:lnTo>
                  <a:lnTo>
                    <a:pt x="1364" y="501"/>
                  </a:lnTo>
                  <a:lnTo>
                    <a:pt x="1362" y="501"/>
                  </a:lnTo>
                  <a:lnTo>
                    <a:pt x="1364" y="501"/>
                  </a:lnTo>
                  <a:lnTo>
                    <a:pt x="1364" y="503"/>
                  </a:lnTo>
                  <a:lnTo>
                    <a:pt x="1364" y="501"/>
                  </a:lnTo>
                  <a:lnTo>
                    <a:pt x="1364" y="503"/>
                  </a:lnTo>
                  <a:lnTo>
                    <a:pt x="1366" y="503"/>
                  </a:lnTo>
                  <a:lnTo>
                    <a:pt x="1364" y="503"/>
                  </a:lnTo>
                  <a:lnTo>
                    <a:pt x="1366" y="503"/>
                  </a:lnTo>
                  <a:lnTo>
                    <a:pt x="1364" y="503"/>
                  </a:lnTo>
                  <a:lnTo>
                    <a:pt x="1366" y="503"/>
                  </a:lnTo>
                  <a:lnTo>
                    <a:pt x="1364" y="503"/>
                  </a:lnTo>
                  <a:lnTo>
                    <a:pt x="1366" y="503"/>
                  </a:lnTo>
                  <a:lnTo>
                    <a:pt x="1366" y="501"/>
                  </a:lnTo>
                  <a:lnTo>
                    <a:pt x="1366" y="503"/>
                  </a:lnTo>
                  <a:lnTo>
                    <a:pt x="1369" y="503"/>
                  </a:lnTo>
                  <a:lnTo>
                    <a:pt x="1371" y="503"/>
                  </a:lnTo>
                  <a:lnTo>
                    <a:pt x="1371" y="506"/>
                  </a:lnTo>
                  <a:lnTo>
                    <a:pt x="1371" y="508"/>
                  </a:lnTo>
                  <a:lnTo>
                    <a:pt x="1373" y="508"/>
                  </a:lnTo>
                  <a:lnTo>
                    <a:pt x="1373" y="510"/>
                  </a:lnTo>
                  <a:lnTo>
                    <a:pt x="1373" y="508"/>
                  </a:lnTo>
                  <a:lnTo>
                    <a:pt x="1376" y="508"/>
                  </a:lnTo>
                  <a:lnTo>
                    <a:pt x="1373" y="508"/>
                  </a:lnTo>
                  <a:lnTo>
                    <a:pt x="1376" y="510"/>
                  </a:lnTo>
                  <a:lnTo>
                    <a:pt x="1373" y="510"/>
                  </a:lnTo>
                  <a:lnTo>
                    <a:pt x="1376" y="510"/>
                  </a:lnTo>
                  <a:lnTo>
                    <a:pt x="1376" y="513"/>
                  </a:lnTo>
                  <a:lnTo>
                    <a:pt x="1376" y="510"/>
                  </a:lnTo>
                  <a:lnTo>
                    <a:pt x="1373" y="510"/>
                  </a:lnTo>
                  <a:lnTo>
                    <a:pt x="1376" y="510"/>
                  </a:lnTo>
                  <a:lnTo>
                    <a:pt x="1376" y="508"/>
                  </a:lnTo>
                  <a:lnTo>
                    <a:pt x="1373" y="508"/>
                  </a:lnTo>
                  <a:lnTo>
                    <a:pt x="1376" y="508"/>
                  </a:lnTo>
                  <a:lnTo>
                    <a:pt x="1376" y="510"/>
                  </a:lnTo>
                  <a:lnTo>
                    <a:pt x="1376" y="508"/>
                  </a:lnTo>
                  <a:lnTo>
                    <a:pt x="1373" y="508"/>
                  </a:lnTo>
                  <a:lnTo>
                    <a:pt x="1371" y="508"/>
                  </a:lnTo>
                  <a:lnTo>
                    <a:pt x="1371" y="506"/>
                  </a:lnTo>
                  <a:lnTo>
                    <a:pt x="1373" y="506"/>
                  </a:lnTo>
                  <a:lnTo>
                    <a:pt x="1376" y="506"/>
                  </a:lnTo>
                  <a:lnTo>
                    <a:pt x="1373" y="506"/>
                  </a:lnTo>
                  <a:lnTo>
                    <a:pt x="1376" y="506"/>
                  </a:lnTo>
                  <a:lnTo>
                    <a:pt x="1376" y="508"/>
                  </a:lnTo>
                  <a:lnTo>
                    <a:pt x="1378" y="508"/>
                  </a:lnTo>
                  <a:lnTo>
                    <a:pt x="1378" y="510"/>
                  </a:lnTo>
                  <a:lnTo>
                    <a:pt x="1378" y="508"/>
                  </a:lnTo>
                  <a:lnTo>
                    <a:pt x="1378" y="510"/>
                  </a:lnTo>
                  <a:lnTo>
                    <a:pt x="1378" y="508"/>
                  </a:lnTo>
                  <a:lnTo>
                    <a:pt x="1378" y="510"/>
                  </a:lnTo>
                  <a:lnTo>
                    <a:pt x="1378" y="513"/>
                  </a:lnTo>
                  <a:lnTo>
                    <a:pt x="1378" y="515"/>
                  </a:lnTo>
                  <a:lnTo>
                    <a:pt x="1380" y="515"/>
                  </a:lnTo>
                  <a:lnTo>
                    <a:pt x="1378" y="515"/>
                  </a:lnTo>
                  <a:lnTo>
                    <a:pt x="1378" y="518"/>
                  </a:lnTo>
                  <a:lnTo>
                    <a:pt x="1380" y="518"/>
                  </a:lnTo>
                  <a:lnTo>
                    <a:pt x="1383" y="518"/>
                  </a:lnTo>
                  <a:lnTo>
                    <a:pt x="1383" y="520"/>
                  </a:lnTo>
                  <a:lnTo>
                    <a:pt x="1383" y="522"/>
                  </a:lnTo>
                  <a:lnTo>
                    <a:pt x="1383" y="525"/>
                  </a:lnTo>
                  <a:lnTo>
                    <a:pt x="1385" y="525"/>
                  </a:lnTo>
                  <a:lnTo>
                    <a:pt x="1388" y="525"/>
                  </a:lnTo>
                  <a:lnTo>
                    <a:pt x="1388" y="527"/>
                  </a:lnTo>
                  <a:lnTo>
                    <a:pt x="1388" y="525"/>
                  </a:lnTo>
                  <a:lnTo>
                    <a:pt x="1390" y="525"/>
                  </a:lnTo>
                  <a:lnTo>
                    <a:pt x="1388" y="525"/>
                  </a:lnTo>
                  <a:lnTo>
                    <a:pt x="1385" y="525"/>
                  </a:lnTo>
                  <a:lnTo>
                    <a:pt x="1383" y="525"/>
                  </a:lnTo>
                  <a:lnTo>
                    <a:pt x="1383" y="522"/>
                  </a:lnTo>
                  <a:lnTo>
                    <a:pt x="1383" y="520"/>
                  </a:lnTo>
                  <a:lnTo>
                    <a:pt x="1383" y="518"/>
                  </a:lnTo>
                  <a:lnTo>
                    <a:pt x="1380" y="518"/>
                  </a:lnTo>
                  <a:lnTo>
                    <a:pt x="1380" y="515"/>
                  </a:lnTo>
                  <a:lnTo>
                    <a:pt x="1378" y="513"/>
                  </a:lnTo>
                  <a:lnTo>
                    <a:pt x="1378" y="510"/>
                  </a:lnTo>
                  <a:lnTo>
                    <a:pt x="1378" y="513"/>
                  </a:lnTo>
                  <a:lnTo>
                    <a:pt x="1378" y="510"/>
                  </a:lnTo>
                  <a:lnTo>
                    <a:pt x="1378" y="513"/>
                  </a:lnTo>
                  <a:lnTo>
                    <a:pt x="1380" y="513"/>
                  </a:lnTo>
                  <a:lnTo>
                    <a:pt x="1380" y="510"/>
                  </a:lnTo>
                  <a:lnTo>
                    <a:pt x="1378" y="510"/>
                  </a:lnTo>
                  <a:lnTo>
                    <a:pt x="1378" y="508"/>
                  </a:lnTo>
                  <a:lnTo>
                    <a:pt x="1376" y="508"/>
                  </a:lnTo>
                  <a:lnTo>
                    <a:pt x="1378" y="508"/>
                  </a:lnTo>
                  <a:lnTo>
                    <a:pt x="1380" y="508"/>
                  </a:lnTo>
                  <a:lnTo>
                    <a:pt x="1380" y="510"/>
                  </a:lnTo>
                  <a:lnTo>
                    <a:pt x="1380" y="508"/>
                  </a:lnTo>
                  <a:lnTo>
                    <a:pt x="1378" y="508"/>
                  </a:lnTo>
                  <a:lnTo>
                    <a:pt x="1380" y="508"/>
                  </a:lnTo>
                  <a:lnTo>
                    <a:pt x="1383" y="508"/>
                  </a:lnTo>
                  <a:lnTo>
                    <a:pt x="1380" y="508"/>
                  </a:lnTo>
                  <a:lnTo>
                    <a:pt x="1378" y="508"/>
                  </a:lnTo>
                  <a:lnTo>
                    <a:pt x="1378" y="506"/>
                  </a:lnTo>
                  <a:lnTo>
                    <a:pt x="1376" y="506"/>
                  </a:lnTo>
                  <a:lnTo>
                    <a:pt x="1373" y="506"/>
                  </a:lnTo>
                  <a:lnTo>
                    <a:pt x="1371" y="506"/>
                  </a:lnTo>
                  <a:lnTo>
                    <a:pt x="1373" y="506"/>
                  </a:lnTo>
                  <a:lnTo>
                    <a:pt x="1371" y="506"/>
                  </a:lnTo>
                  <a:lnTo>
                    <a:pt x="1371" y="503"/>
                  </a:lnTo>
                  <a:lnTo>
                    <a:pt x="1371" y="501"/>
                  </a:lnTo>
                  <a:lnTo>
                    <a:pt x="1369" y="501"/>
                  </a:lnTo>
                  <a:lnTo>
                    <a:pt x="1371" y="501"/>
                  </a:lnTo>
                  <a:lnTo>
                    <a:pt x="1373" y="501"/>
                  </a:lnTo>
                  <a:lnTo>
                    <a:pt x="1373" y="499"/>
                  </a:lnTo>
                  <a:lnTo>
                    <a:pt x="1373" y="501"/>
                  </a:lnTo>
                  <a:lnTo>
                    <a:pt x="1371" y="501"/>
                  </a:lnTo>
                  <a:lnTo>
                    <a:pt x="1369" y="501"/>
                  </a:lnTo>
                  <a:lnTo>
                    <a:pt x="1369" y="499"/>
                  </a:lnTo>
                  <a:lnTo>
                    <a:pt x="1369" y="501"/>
                  </a:lnTo>
                  <a:lnTo>
                    <a:pt x="1369" y="499"/>
                  </a:lnTo>
                  <a:lnTo>
                    <a:pt x="1369" y="501"/>
                  </a:lnTo>
                  <a:lnTo>
                    <a:pt x="1366" y="501"/>
                  </a:lnTo>
                  <a:lnTo>
                    <a:pt x="1366" y="499"/>
                  </a:lnTo>
                  <a:lnTo>
                    <a:pt x="1364" y="499"/>
                  </a:lnTo>
                  <a:lnTo>
                    <a:pt x="1362" y="499"/>
                  </a:lnTo>
                  <a:lnTo>
                    <a:pt x="1364" y="499"/>
                  </a:lnTo>
                  <a:lnTo>
                    <a:pt x="1364" y="496"/>
                  </a:lnTo>
                  <a:lnTo>
                    <a:pt x="1364" y="494"/>
                  </a:lnTo>
                  <a:lnTo>
                    <a:pt x="1366" y="494"/>
                  </a:lnTo>
                  <a:lnTo>
                    <a:pt x="1364" y="494"/>
                  </a:lnTo>
                  <a:lnTo>
                    <a:pt x="1366" y="494"/>
                  </a:lnTo>
                  <a:lnTo>
                    <a:pt x="1366" y="496"/>
                  </a:lnTo>
                  <a:lnTo>
                    <a:pt x="1366" y="494"/>
                  </a:lnTo>
                  <a:lnTo>
                    <a:pt x="1369" y="494"/>
                  </a:lnTo>
                  <a:lnTo>
                    <a:pt x="1369" y="496"/>
                  </a:lnTo>
                  <a:lnTo>
                    <a:pt x="1371" y="496"/>
                  </a:lnTo>
                  <a:lnTo>
                    <a:pt x="1369" y="496"/>
                  </a:lnTo>
                  <a:lnTo>
                    <a:pt x="1369" y="494"/>
                  </a:lnTo>
                  <a:lnTo>
                    <a:pt x="1366" y="494"/>
                  </a:lnTo>
                  <a:lnTo>
                    <a:pt x="1364" y="494"/>
                  </a:lnTo>
                  <a:lnTo>
                    <a:pt x="1364" y="491"/>
                  </a:lnTo>
                  <a:lnTo>
                    <a:pt x="1364" y="489"/>
                  </a:lnTo>
                  <a:lnTo>
                    <a:pt x="1362" y="489"/>
                  </a:lnTo>
                  <a:lnTo>
                    <a:pt x="1362" y="487"/>
                  </a:lnTo>
                  <a:lnTo>
                    <a:pt x="1362" y="484"/>
                  </a:lnTo>
                  <a:lnTo>
                    <a:pt x="1359" y="484"/>
                  </a:lnTo>
                  <a:lnTo>
                    <a:pt x="1357" y="484"/>
                  </a:lnTo>
                  <a:lnTo>
                    <a:pt x="1357" y="482"/>
                  </a:lnTo>
                  <a:lnTo>
                    <a:pt x="1357" y="484"/>
                  </a:lnTo>
                  <a:lnTo>
                    <a:pt x="1357" y="482"/>
                  </a:lnTo>
                  <a:lnTo>
                    <a:pt x="1357" y="484"/>
                  </a:lnTo>
                  <a:lnTo>
                    <a:pt x="1354" y="484"/>
                  </a:lnTo>
                  <a:lnTo>
                    <a:pt x="1357" y="484"/>
                  </a:lnTo>
                  <a:lnTo>
                    <a:pt x="1357" y="487"/>
                  </a:lnTo>
                  <a:lnTo>
                    <a:pt x="1357" y="484"/>
                  </a:lnTo>
                  <a:lnTo>
                    <a:pt x="1357" y="487"/>
                  </a:lnTo>
                  <a:lnTo>
                    <a:pt x="1354" y="487"/>
                  </a:lnTo>
                  <a:lnTo>
                    <a:pt x="1357" y="487"/>
                  </a:lnTo>
                  <a:lnTo>
                    <a:pt x="1354" y="487"/>
                  </a:lnTo>
                  <a:lnTo>
                    <a:pt x="1357" y="487"/>
                  </a:lnTo>
                  <a:lnTo>
                    <a:pt x="1357" y="489"/>
                  </a:lnTo>
                  <a:lnTo>
                    <a:pt x="1357" y="487"/>
                  </a:lnTo>
                  <a:lnTo>
                    <a:pt x="1357" y="489"/>
                  </a:lnTo>
                  <a:lnTo>
                    <a:pt x="1357" y="487"/>
                  </a:lnTo>
                  <a:lnTo>
                    <a:pt x="1357" y="489"/>
                  </a:lnTo>
                  <a:lnTo>
                    <a:pt x="1354" y="487"/>
                  </a:lnTo>
                  <a:lnTo>
                    <a:pt x="1352" y="487"/>
                  </a:lnTo>
                  <a:lnTo>
                    <a:pt x="1352" y="484"/>
                  </a:lnTo>
                  <a:lnTo>
                    <a:pt x="1352" y="480"/>
                  </a:lnTo>
                  <a:lnTo>
                    <a:pt x="1352" y="482"/>
                  </a:lnTo>
                  <a:lnTo>
                    <a:pt x="1354" y="482"/>
                  </a:lnTo>
                  <a:lnTo>
                    <a:pt x="1357" y="482"/>
                  </a:lnTo>
                  <a:lnTo>
                    <a:pt x="1354" y="482"/>
                  </a:lnTo>
                  <a:lnTo>
                    <a:pt x="1354" y="480"/>
                  </a:lnTo>
                  <a:lnTo>
                    <a:pt x="1352" y="480"/>
                  </a:lnTo>
                  <a:lnTo>
                    <a:pt x="1354" y="480"/>
                  </a:lnTo>
                  <a:lnTo>
                    <a:pt x="1352" y="480"/>
                  </a:lnTo>
                  <a:lnTo>
                    <a:pt x="1352" y="477"/>
                  </a:lnTo>
                  <a:lnTo>
                    <a:pt x="1350" y="477"/>
                  </a:lnTo>
                  <a:lnTo>
                    <a:pt x="1350" y="475"/>
                  </a:lnTo>
                  <a:lnTo>
                    <a:pt x="1347" y="472"/>
                  </a:lnTo>
                  <a:lnTo>
                    <a:pt x="1350" y="472"/>
                  </a:lnTo>
                  <a:lnTo>
                    <a:pt x="1347" y="472"/>
                  </a:lnTo>
                  <a:lnTo>
                    <a:pt x="1347" y="470"/>
                  </a:lnTo>
                  <a:lnTo>
                    <a:pt x="1345" y="470"/>
                  </a:lnTo>
                  <a:lnTo>
                    <a:pt x="1347" y="470"/>
                  </a:lnTo>
                  <a:lnTo>
                    <a:pt x="1345" y="470"/>
                  </a:lnTo>
                  <a:lnTo>
                    <a:pt x="1345" y="468"/>
                  </a:lnTo>
                  <a:lnTo>
                    <a:pt x="1343" y="468"/>
                  </a:lnTo>
                  <a:lnTo>
                    <a:pt x="1343" y="465"/>
                  </a:lnTo>
                  <a:lnTo>
                    <a:pt x="1340" y="465"/>
                  </a:lnTo>
                  <a:lnTo>
                    <a:pt x="1340" y="463"/>
                  </a:lnTo>
                  <a:lnTo>
                    <a:pt x="1340" y="461"/>
                  </a:lnTo>
                  <a:lnTo>
                    <a:pt x="1338" y="461"/>
                  </a:lnTo>
                  <a:lnTo>
                    <a:pt x="1338" y="458"/>
                  </a:lnTo>
                  <a:lnTo>
                    <a:pt x="1340" y="458"/>
                  </a:lnTo>
                  <a:lnTo>
                    <a:pt x="1338" y="458"/>
                  </a:lnTo>
                  <a:lnTo>
                    <a:pt x="1340" y="458"/>
                  </a:lnTo>
                  <a:lnTo>
                    <a:pt x="1338" y="458"/>
                  </a:lnTo>
                  <a:lnTo>
                    <a:pt x="1340" y="456"/>
                  </a:lnTo>
                  <a:lnTo>
                    <a:pt x="1338" y="456"/>
                  </a:lnTo>
                  <a:lnTo>
                    <a:pt x="1340" y="456"/>
                  </a:lnTo>
                  <a:lnTo>
                    <a:pt x="1343" y="456"/>
                  </a:lnTo>
                  <a:lnTo>
                    <a:pt x="1345" y="453"/>
                  </a:lnTo>
                  <a:lnTo>
                    <a:pt x="1345" y="456"/>
                  </a:lnTo>
                  <a:lnTo>
                    <a:pt x="1347" y="456"/>
                  </a:lnTo>
                  <a:lnTo>
                    <a:pt x="1350" y="456"/>
                  </a:lnTo>
                  <a:lnTo>
                    <a:pt x="1352" y="456"/>
                  </a:lnTo>
                  <a:lnTo>
                    <a:pt x="1352" y="453"/>
                  </a:lnTo>
                  <a:lnTo>
                    <a:pt x="1352" y="456"/>
                  </a:lnTo>
                  <a:lnTo>
                    <a:pt x="1354" y="456"/>
                  </a:lnTo>
                  <a:lnTo>
                    <a:pt x="1357" y="456"/>
                  </a:lnTo>
                  <a:lnTo>
                    <a:pt x="1357" y="458"/>
                  </a:lnTo>
                  <a:lnTo>
                    <a:pt x="1354" y="456"/>
                  </a:lnTo>
                  <a:lnTo>
                    <a:pt x="1357" y="458"/>
                  </a:lnTo>
                  <a:lnTo>
                    <a:pt x="1357" y="461"/>
                  </a:lnTo>
                  <a:lnTo>
                    <a:pt x="1359" y="461"/>
                  </a:lnTo>
                  <a:lnTo>
                    <a:pt x="1362" y="461"/>
                  </a:lnTo>
                  <a:lnTo>
                    <a:pt x="1362" y="463"/>
                  </a:lnTo>
                  <a:lnTo>
                    <a:pt x="1364" y="463"/>
                  </a:lnTo>
                  <a:lnTo>
                    <a:pt x="1364" y="465"/>
                  </a:lnTo>
                  <a:lnTo>
                    <a:pt x="1366" y="465"/>
                  </a:lnTo>
                  <a:lnTo>
                    <a:pt x="1369" y="465"/>
                  </a:lnTo>
                  <a:lnTo>
                    <a:pt x="1371" y="465"/>
                  </a:lnTo>
                  <a:lnTo>
                    <a:pt x="1369" y="465"/>
                  </a:lnTo>
                  <a:lnTo>
                    <a:pt x="1371" y="465"/>
                  </a:lnTo>
                  <a:lnTo>
                    <a:pt x="1373" y="465"/>
                  </a:lnTo>
                  <a:lnTo>
                    <a:pt x="1376" y="465"/>
                  </a:lnTo>
                  <a:lnTo>
                    <a:pt x="1376" y="468"/>
                  </a:lnTo>
                  <a:lnTo>
                    <a:pt x="1376" y="465"/>
                  </a:lnTo>
                  <a:lnTo>
                    <a:pt x="1376" y="468"/>
                  </a:lnTo>
                  <a:lnTo>
                    <a:pt x="1378" y="468"/>
                  </a:lnTo>
                  <a:lnTo>
                    <a:pt x="1380" y="468"/>
                  </a:lnTo>
                  <a:lnTo>
                    <a:pt x="1380" y="470"/>
                  </a:lnTo>
                  <a:lnTo>
                    <a:pt x="1380" y="472"/>
                  </a:lnTo>
                  <a:lnTo>
                    <a:pt x="1380" y="475"/>
                  </a:lnTo>
                  <a:lnTo>
                    <a:pt x="1380" y="477"/>
                  </a:lnTo>
                  <a:lnTo>
                    <a:pt x="1383" y="477"/>
                  </a:lnTo>
                  <a:lnTo>
                    <a:pt x="1383" y="480"/>
                  </a:lnTo>
                  <a:lnTo>
                    <a:pt x="1385" y="480"/>
                  </a:lnTo>
                  <a:lnTo>
                    <a:pt x="1385" y="477"/>
                  </a:lnTo>
                  <a:lnTo>
                    <a:pt x="1385" y="480"/>
                  </a:lnTo>
                  <a:lnTo>
                    <a:pt x="1385" y="477"/>
                  </a:lnTo>
                  <a:lnTo>
                    <a:pt x="1388" y="477"/>
                  </a:lnTo>
                  <a:lnTo>
                    <a:pt x="1385" y="477"/>
                  </a:lnTo>
                  <a:lnTo>
                    <a:pt x="1388" y="477"/>
                  </a:lnTo>
                  <a:lnTo>
                    <a:pt x="1390" y="477"/>
                  </a:lnTo>
                  <a:lnTo>
                    <a:pt x="1388" y="477"/>
                  </a:lnTo>
                  <a:lnTo>
                    <a:pt x="1390" y="477"/>
                  </a:lnTo>
                  <a:lnTo>
                    <a:pt x="1392" y="477"/>
                  </a:lnTo>
                  <a:lnTo>
                    <a:pt x="1395" y="477"/>
                  </a:lnTo>
                  <a:lnTo>
                    <a:pt x="1395" y="480"/>
                  </a:lnTo>
                  <a:lnTo>
                    <a:pt x="1392" y="480"/>
                  </a:lnTo>
                  <a:lnTo>
                    <a:pt x="1395" y="480"/>
                  </a:lnTo>
                  <a:lnTo>
                    <a:pt x="1392" y="480"/>
                  </a:lnTo>
                  <a:lnTo>
                    <a:pt x="1395" y="480"/>
                  </a:lnTo>
                  <a:lnTo>
                    <a:pt x="1395" y="482"/>
                  </a:lnTo>
                  <a:lnTo>
                    <a:pt x="1397" y="482"/>
                  </a:lnTo>
                  <a:lnTo>
                    <a:pt x="1395" y="482"/>
                  </a:lnTo>
                  <a:lnTo>
                    <a:pt x="1395" y="480"/>
                  </a:lnTo>
                  <a:lnTo>
                    <a:pt x="1392" y="480"/>
                  </a:lnTo>
                  <a:lnTo>
                    <a:pt x="1395" y="480"/>
                  </a:lnTo>
                  <a:lnTo>
                    <a:pt x="1395" y="477"/>
                  </a:lnTo>
                  <a:lnTo>
                    <a:pt x="1392" y="477"/>
                  </a:lnTo>
                  <a:lnTo>
                    <a:pt x="1390" y="477"/>
                  </a:lnTo>
                  <a:lnTo>
                    <a:pt x="1388" y="477"/>
                  </a:lnTo>
                  <a:lnTo>
                    <a:pt x="1385" y="477"/>
                  </a:lnTo>
                  <a:lnTo>
                    <a:pt x="1385" y="480"/>
                  </a:lnTo>
                  <a:lnTo>
                    <a:pt x="1385" y="477"/>
                  </a:lnTo>
                  <a:lnTo>
                    <a:pt x="1385" y="480"/>
                  </a:lnTo>
                  <a:lnTo>
                    <a:pt x="1383" y="480"/>
                  </a:lnTo>
                  <a:lnTo>
                    <a:pt x="1383" y="477"/>
                  </a:lnTo>
                  <a:lnTo>
                    <a:pt x="1380" y="477"/>
                  </a:lnTo>
                  <a:lnTo>
                    <a:pt x="1380" y="475"/>
                  </a:lnTo>
                  <a:lnTo>
                    <a:pt x="1380" y="472"/>
                  </a:lnTo>
                  <a:lnTo>
                    <a:pt x="1380" y="470"/>
                  </a:lnTo>
                  <a:lnTo>
                    <a:pt x="1380" y="468"/>
                  </a:lnTo>
                  <a:lnTo>
                    <a:pt x="1380" y="470"/>
                  </a:lnTo>
                  <a:lnTo>
                    <a:pt x="1380" y="468"/>
                  </a:lnTo>
                  <a:lnTo>
                    <a:pt x="1380" y="470"/>
                  </a:lnTo>
                  <a:lnTo>
                    <a:pt x="1380" y="468"/>
                  </a:lnTo>
                  <a:lnTo>
                    <a:pt x="1383" y="468"/>
                  </a:lnTo>
                  <a:lnTo>
                    <a:pt x="1380" y="468"/>
                  </a:lnTo>
                  <a:lnTo>
                    <a:pt x="1378" y="468"/>
                  </a:lnTo>
                  <a:lnTo>
                    <a:pt x="1376" y="468"/>
                  </a:lnTo>
                  <a:lnTo>
                    <a:pt x="1376" y="465"/>
                  </a:lnTo>
                  <a:lnTo>
                    <a:pt x="1378" y="465"/>
                  </a:lnTo>
                  <a:lnTo>
                    <a:pt x="1376" y="465"/>
                  </a:lnTo>
                  <a:lnTo>
                    <a:pt x="1376" y="468"/>
                  </a:lnTo>
                  <a:lnTo>
                    <a:pt x="1376" y="465"/>
                  </a:lnTo>
                  <a:lnTo>
                    <a:pt x="1373" y="465"/>
                  </a:lnTo>
                  <a:lnTo>
                    <a:pt x="1371" y="465"/>
                  </a:lnTo>
                  <a:lnTo>
                    <a:pt x="1369" y="465"/>
                  </a:lnTo>
                  <a:lnTo>
                    <a:pt x="1366" y="465"/>
                  </a:lnTo>
                  <a:lnTo>
                    <a:pt x="1364" y="465"/>
                  </a:lnTo>
                  <a:lnTo>
                    <a:pt x="1366" y="463"/>
                  </a:lnTo>
                  <a:lnTo>
                    <a:pt x="1364" y="463"/>
                  </a:lnTo>
                  <a:lnTo>
                    <a:pt x="1362" y="463"/>
                  </a:lnTo>
                  <a:lnTo>
                    <a:pt x="1362" y="461"/>
                  </a:lnTo>
                  <a:lnTo>
                    <a:pt x="1359" y="461"/>
                  </a:lnTo>
                  <a:lnTo>
                    <a:pt x="1357" y="461"/>
                  </a:lnTo>
                  <a:lnTo>
                    <a:pt x="1357" y="458"/>
                  </a:lnTo>
                  <a:lnTo>
                    <a:pt x="1357" y="456"/>
                  </a:lnTo>
                  <a:lnTo>
                    <a:pt x="1357" y="458"/>
                  </a:lnTo>
                  <a:lnTo>
                    <a:pt x="1357" y="456"/>
                  </a:lnTo>
                  <a:lnTo>
                    <a:pt x="1357" y="458"/>
                  </a:lnTo>
                  <a:lnTo>
                    <a:pt x="1357" y="456"/>
                  </a:lnTo>
                  <a:lnTo>
                    <a:pt x="1357" y="453"/>
                  </a:lnTo>
                  <a:lnTo>
                    <a:pt x="1357" y="456"/>
                  </a:lnTo>
                  <a:lnTo>
                    <a:pt x="1357" y="453"/>
                  </a:lnTo>
                  <a:lnTo>
                    <a:pt x="1354" y="453"/>
                  </a:lnTo>
                  <a:lnTo>
                    <a:pt x="1354" y="451"/>
                  </a:lnTo>
                  <a:lnTo>
                    <a:pt x="1357" y="451"/>
                  </a:lnTo>
                  <a:lnTo>
                    <a:pt x="1357" y="449"/>
                  </a:lnTo>
                  <a:lnTo>
                    <a:pt x="1357" y="446"/>
                  </a:lnTo>
                  <a:lnTo>
                    <a:pt x="1354" y="446"/>
                  </a:lnTo>
                  <a:lnTo>
                    <a:pt x="1357" y="446"/>
                  </a:lnTo>
                  <a:lnTo>
                    <a:pt x="1357" y="444"/>
                  </a:lnTo>
                  <a:lnTo>
                    <a:pt x="1359" y="444"/>
                  </a:lnTo>
                  <a:lnTo>
                    <a:pt x="1362" y="444"/>
                  </a:lnTo>
                  <a:lnTo>
                    <a:pt x="1364" y="444"/>
                  </a:lnTo>
                  <a:lnTo>
                    <a:pt x="1366" y="444"/>
                  </a:lnTo>
                  <a:lnTo>
                    <a:pt x="1369" y="444"/>
                  </a:lnTo>
                  <a:lnTo>
                    <a:pt x="1369" y="442"/>
                  </a:lnTo>
                  <a:lnTo>
                    <a:pt x="1369" y="444"/>
                  </a:lnTo>
                  <a:lnTo>
                    <a:pt x="1369" y="446"/>
                  </a:lnTo>
                  <a:lnTo>
                    <a:pt x="1369" y="444"/>
                  </a:lnTo>
                  <a:lnTo>
                    <a:pt x="1371" y="444"/>
                  </a:lnTo>
                  <a:lnTo>
                    <a:pt x="1371" y="446"/>
                  </a:lnTo>
                  <a:lnTo>
                    <a:pt x="1373" y="444"/>
                  </a:lnTo>
                  <a:lnTo>
                    <a:pt x="1373" y="446"/>
                  </a:lnTo>
                  <a:lnTo>
                    <a:pt x="1373" y="444"/>
                  </a:lnTo>
                  <a:lnTo>
                    <a:pt x="1373" y="446"/>
                  </a:lnTo>
                  <a:lnTo>
                    <a:pt x="1376" y="446"/>
                  </a:lnTo>
                  <a:lnTo>
                    <a:pt x="1378" y="446"/>
                  </a:lnTo>
                  <a:lnTo>
                    <a:pt x="1378" y="449"/>
                  </a:lnTo>
                  <a:lnTo>
                    <a:pt x="1380" y="449"/>
                  </a:lnTo>
                  <a:lnTo>
                    <a:pt x="1383" y="449"/>
                  </a:lnTo>
                  <a:lnTo>
                    <a:pt x="1385" y="449"/>
                  </a:lnTo>
                  <a:lnTo>
                    <a:pt x="1383" y="449"/>
                  </a:lnTo>
                  <a:lnTo>
                    <a:pt x="1385" y="449"/>
                  </a:lnTo>
                  <a:lnTo>
                    <a:pt x="1383" y="449"/>
                  </a:lnTo>
                  <a:lnTo>
                    <a:pt x="1380" y="449"/>
                  </a:lnTo>
                  <a:lnTo>
                    <a:pt x="1383" y="449"/>
                  </a:lnTo>
                  <a:lnTo>
                    <a:pt x="1380" y="449"/>
                  </a:lnTo>
                  <a:lnTo>
                    <a:pt x="1383" y="449"/>
                  </a:lnTo>
                  <a:lnTo>
                    <a:pt x="1385" y="449"/>
                  </a:lnTo>
                  <a:lnTo>
                    <a:pt x="1388" y="449"/>
                  </a:lnTo>
                  <a:lnTo>
                    <a:pt x="1385" y="449"/>
                  </a:lnTo>
                  <a:lnTo>
                    <a:pt x="1388" y="449"/>
                  </a:lnTo>
                  <a:lnTo>
                    <a:pt x="1385" y="449"/>
                  </a:lnTo>
                  <a:lnTo>
                    <a:pt x="1388" y="449"/>
                  </a:lnTo>
                  <a:lnTo>
                    <a:pt x="1390" y="449"/>
                  </a:lnTo>
                  <a:lnTo>
                    <a:pt x="1392" y="449"/>
                  </a:lnTo>
                  <a:lnTo>
                    <a:pt x="1395" y="449"/>
                  </a:lnTo>
                  <a:lnTo>
                    <a:pt x="1397" y="449"/>
                  </a:lnTo>
                  <a:lnTo>
                    <a:pt x="1397" y="451"/>
                  </a:lnTo>
                  <a:lnTo>
                    <a:pt x="1402" y="451"/>
                  </a:lnTo>
                  <a:lnTo>
                    <a:pt x="1407" y="451"/>
                  </a:lnTo>
                  <a:lnTo>
                    <a:pt x="1409" y="451"/>
                  </a:lnTo>
                  <a:lnTo>
                    <a:pt x="1411" y="451"/>
                  </a:lnTo>
                  <a:lnTo>
                    <a:pt x="1414" y="451"/>
                  </a:lnTo>
                  <a:lnTo>
                    <a:pt x="1416" y="451"/>
                  </a:lnTo>
                  <a:lnTo>
                    <a:pt x="1418" y="451"/>
                  </a:lnTo>
                  <a:lnTo>
                    <a:pt x="1421" y="451"/>
                  </a:lnTo>
                  <a:lnTo>
                    <a:pt x="1418" y="453"/>
                  </a:lnTo>
                  <a:lnTo>
                    <a:pt x="1416" y="453"/>
                  </a:lnTo>
                  <a:lnTo>
                    <a:pt x="1414" y="453"/>
                  </a:lnTo>
                  <a:lnTo>
                    <a:pt x="1416" y="453"/>
                  </a:lnTo>
                  <a:lnTo>
                    <a:pt x="1418" y="453"/>
                  </a:lnTo>
                  <a:lnTo>
                    <a:pt x="1421" y="453"/>
                  </a:lnTo>
                  <a:lnTo>
                    <a:pt x="1421" y="451"/>
                  </a:lnTo>
                  <a:lnTo>
                    <a:pt x="1423" y="451"/>
                  </a:lnTo>
                  <a:lnTo>
                    <a:pt x="1426" y="451"/>
                  </a:lnTo>
                  <a:lnTo>
                    <a:pt x="1430" y="453"/>
                  </a:lnTo>
                  <a:lnTo>
                    <a:pt x="1428" y="453"/>
                  </a:lnTo>
                  <a:lnTo>
                    <a:pt x="1430" y="453"/>
                  </a:lnTo>
                  <a:lnTo>
                    <a:pt x="1428" y="453"/>
                  </a:lnTo>
                  <a:lnTo>
                    <a:pt x="1430" y="453"/>
                  </a:lnTo>
                  <a:lnTo>
                    <a:pt x="1428" y="453"/>
                  </a:lnTo>
                  <a:lnTo>
                    <a:pt x="1430" y="453"/>
                  </a:lnTo>
                  <a:lnTo>
                    <a:pt x="1428" y="453"/>
                  </a:lnTo>
                  <a:lnTo>
                    <a:pt x="1428" y="456"/>
                  </a:lnTo>
                  <a:lnTo>
                    <a:pt x="1426" y="453"/>
                  </a:lnTo>
                  <a:lnTo>
                    <a:pt x="1426" y="456"/>
                  </a:lnTo>
                  <a:lnTo>
                    <a:pt x="1426" y="453"/>
                  </a:lnTo>
                  <a:lnTo>
                    <a:pt x="1428" y="456"/>
                  </a:lnTo>
                  <a:lnTo>
                    <a:pt x="1428" y="453"/>
                  </a:lnTo>
                  <a:lnTo>
                    <a:pt x="1430" y="453"/>
                  </a:lnTo>
                  <a:lnTo>
                    <a:pt x="1435" y="453"/>
                  </a:lnTo>
                  <a:lnTo>
                    <a:pt x="1433" y="453"/>
                  </a:lnTo>
                  <a:lnTo>
                    <a:pt x="1433" y="456"/>
                  </a:lnTo>
                  <a:lnTo>
                    <a:pt x="1435" y="456"/>
                  </a:lnTo>
                  <a:lnTo>
                    <a:pt x="1433" y="456"/>
                  </a:lnTo>
                  <a:lnTo>
                    <a:pt x="1433" y="453"/>
                  </a:lnTo>
                  <a:lnTo>
                    <a:pt x="1435" y="453"/>
                  </a:lnTo>
                  <a:lnTo>
                    <a:pt x="1433" y="453"/>
                  </a:lnTo>
                  <a:lnTo>
                    <a:pt x="1435" y="453"/>
                  </a:lnTo>
                  <a:lnTo>
                    <a:pt x="1437" y="453"/>
                  </a:lnTo>
                  <a:lnTo>
                    <a:pt x="1449" y="456"/>
                  </a:lnTo>
                  <a:lnTo>
                    <a:pt x="1456" y="458"/>
                  </a:lnTo>
                  <a:lnTo>
                    <a:pt x="1459" y="458"/>
                  </a:lnTo>
                  <a:lnTo>
                    <a:pt x="1461" y="461"/>
                  </a:lnTo>
                  <a:lnTo>
                    <a:pt x="1471" y="463"/>
                  </a:lnTo>
                  <a:lnTo>
                    <a:pt x="1473" y="463"/>
                  </a:lnTo>
                  <a:lnTo>
                    <a:pt x="1475" y="465"/>
                  </a:lnTo>
                  <a:lnTo>
                    <a:pt x="1478" y="465"/>
                  </a:lnTo>
                  <a:lnTo>
                    <a:pt x="1480" y="468"/>
                  </a:lnTo>
                  <a:lnTo>
                    <a:pt x="1483" y="470"/>
                  </a:lnTo>
                  <a:lnTo>
                    <a:pt x="1487" y="470"/>
                  </a:lnTo>
                  <a:lnTo>
                    <a:pt x="1490" y="472"/>
                  </a:lnTo>
                  <a:lnTo>
                    <a:pt x="1492" y="475"/>
                  </a:lnTo>
                  <a:lnTo>
                    <a:pt x="1497" y="477"/>
                  </a:lnTo>
                  <a:lnTo>
                    <a:pt x="1494" y="477"/>
                  </a:lnTo>
                  <a:lnTo>
                    <a:pt x="1492" y="477"/>
                  </a:lnTo>
                  <a:lnTo>
                    <a:pt x="1490" y="477"/>
                  </a:lnTo>
                  <a:lnTo>
                    <a:pt x="1492" y="477"/>
                  </a:lnTo>
                  <a:lnTo>
                    <a:pt x="1490" y="477"/>
                  </a:lnTo>
                  <a:lnTo>
                    <a:pt x="1492" y="477"/>
                  </a:lnTo>
                  <a:lnTo>
                    <a:pt x="1490" y="477"/>
                  </a:lnTo>
                  <a:lnTo>
                    <a:pt x="1487" y="477"/>
                  </a:lnTo>
                  <a:lnTo>
                    <a:pt x="1487" y="475"/>
                  </a:lnTo>
                  <a:lnTo>
                    <a:pt x="1485" y="475"/>
                  </a:lnTo>
                  <a:lnTo>
                    <a:pt x="1485" y="477"/>
                  </a:lnTo>
                  <a:lnTo>
                    <a:pt x="1485" y="475"/>
                  </a:lnTo>
                  <a:lnTo>
                    <a:pt x="1485" y="477"/>
                  </a:lnTo>
                  <a:lnTo>
                    <a:pt x="1483" y="477"/>
                  </a:lnTo>
                  <a:lnTo>
                    <a:pt x="1483" y="475"/>
                  </a:lnTo>
                  <a:lnTo>
                    <a:pt x="1483" y="477"/>
                  </a:lnTo>
                  <a:lnTo>
                    <a:pt x="1483" y="475"/>
                  </a:lnTo>
                  <a:lnTo>
                    <a:pt x="1483" y="477"/>
                  </a:lnTo>
                  <a:lnTo>
                    <a:pt x="1485" y="477"/>
                  </a:lnTo>
                  <a:lnTo>
                    <a:pt x="1485" y="475"/>
                  </a:lnTo>
                  <a:lnTo>
                    <a:pt x="1487" y="475"/>
                  </a:lnTo>
                  <a:lnTo>
                    <a:pt x="1487" y="477"/>
                  </a:lnTo>
                  <a:lnTo>
                    <a:pt x="1490" y="477"/>
                  </a:lnTo>
                  <a:lnTo>
                    <a:pt x="1490" y="480"/>
                  </a:lnTo>
                  <a:lnTo>
                    <a:pt x="1490" y="477"/>
                  </a:lnTo>
                  <a:lnTo>
                    <a:pt x="1490" y="480"/>
                  </a:lnTo>
                  <a:lnTo>
                    <a:pt x="1487" y="480"/>
                  </a:lnTo>
                  <a:lnTo>
                    <a:pt x="1485" y="480"/>
                  </a:lnTo>
                  <a:lnTo>
                    <a:pt x="1487" y="480"/>
                  </a:lnTo>
                  <a:lnTo>
                    <a:pt x="1490" y="480"/>
                  </a:lnTo>
                  <a:lnTo>
                    <a:pt x="1487" y="482"/>
                  </a:lnTo>
                  <a:lnTo>
                    <a:pt x="1485" y="482"/>
                  </a:lnTo>
                  <a:lnTo>
                    <a:pt x="1483" y="484"/>
                  </a:lnTo>
                  <a:lnTo>
                    <a:pt x="1480" y="482"/>
                  </a:lnTo>
                  <a:lnTo>
                    <a:pt x="1483" y="484"/>
                  </a:lnTo>
                  <a:lnTo>
                    <a:pt x="1480" y="484"/>
                  </a:lnTo>
                  <a:lnTo>
                    <a:pt x="1483" y="484"/>
                  </a:lnTo>
                  <a:lnTo>
                    <a:pt x="1485" y="482"/>
                  </a:lnTo>
                  <a:lnTo>
                    <a:pt x="1487" y="482"/>
                  </a:lnTo>
                  <a:lnTo>
                    <a:pt x="1490" y="480"/>
                  </a:lnTo>
                  <a:lnTo>
                    <a:pt x="1490" y="482"/>
                  </a:lnTo>
                  <a:lnTo>
                    <a:pt x="1487" y="482"/>
                  </a:lnTo>
                  <a:lnTo>
                    <a:pt x="1487" y="484"/>
                  </a:lnTo>
                  <a:lnTo>
                    <a:pt x="1485" y="484"/>
                  </a:lnTo>
                  <a:lnTo>
                    <a:pt x="1485" y="487"/>
                  </a:lnTo>
                  <a:lnTo>
                    <a:pt x="1483" y="487"/>
                  </a:lnTo>
                  <a:lnTo>
                    <a:pt x="1483" y="489"/>
                  </a:lnTo>
                  <a:lnTo>
                    <a:pt x="1480" y="489"/>
                  </a:lnTo>
                  <a:lnTo>
                    <a:pt x="1480" y="491"/>
                  </a:lnTo>
                  <a:lnTo>
                    <a:pt x="1478" y="491"/>
                  </a:lnTo>
                  <a:lnTo>
                    <a:pt x="1478" y="494"/>
                  </a:lnTo>
                  <a:lnTo>
                    <a:pt x="1480" y="494"/>
                  </a:lnTo>
                  <a:lnTo>
                    <a:pt x="1478" y="494"/>
                  </a:lnTo>
                  <a:lnTo>
                    <a:pt x="1478" y="496"/>
                  </a:lnTo>
                  <a:lnTo>
                    <a:pt x="1475" y="496"/>
                  </a:lnTo>
                  <a:lnTo>
                    <a:pt x="1475" y="499"/>
                  </a:lnTo>
                  <a:lnTo>
                    <a:pt x="1475" y="496"/>
                  </a:lnTo>
                  <a:lnTo>
                    <a:pt x="1478" y="496"/>
                  </a:lnTo>
                  <a:lnTo>
                    <a:pt x="1480" y="496"/>
                  </a:lnTo>
                  <a:lnTo>
                    <a:pt x="1478" y="496"/>
                  </a:lnTo>
                  <a:lnTo>
                    <a:pt x="1478" y="494"/>
                  </a:lnTo>
                  <a:lnTo>
                    <a:pt x="1480" y="494"/>
                  </a:lnTo>
                  <a:lnTo>
                    <a:pt x="1483" y="494"/>
                  </a:lnTo>
                  <a:lnTo>
                    <a:pt x="1483" y="496"/>
                  </a:lnTo>
                  <a:lnTo>
                    <a:pt x="1483" y="494"/>
                  </a:lnTo>
                  <a:lnTo>
                    <a:pt x="1483" y="496"/>
                  </a:lnTo>
                  <a:lnTo>
                    <a:pt x="1485" y="496"/>
                  </a:lnTo>
                  <a:lnTo>
                    <a:pt x="1483" y="496"/>
                  </a:lnTo>
                  <a:lnTo>
                    <a:pt x="1485" y="496"/>
                  </a:lnTo>
                  <a:lnTo>
                    <a:pt x="1485" y="499"/>
                  </a:lnTo>
                  <a:lnTo>
                    <a:pt x="1483" y="499"/>
                  </a:lnTo>
                  <a:lnTo>
                    <a:pt x="1483" y="501"/>
                  </a:lnTo>
                  <a:lnTo>
                    <a:pt x="1485" y="501"/>
                  </a:lnTo>
                  <a:lnTo>
                    <a:pt x="1487" y="501"/>
                  </a:lnTo>
                  <a:lnTo>
                    <a:pt x="1490" y="501"/>
                  </a:lnTo>
                  <a:lnTo>
                    <a:pt x="1487" y="501"/>
                  </a:lnTo>
                  <a:lnTo>
                    <a:pt x="1490" y="501"/>
                  </a:lnTo>
                  <a:lnTo>
                    <a:pt x="1490" y="499"/>
                  </a:lnTo>
                  <a:lnTo>
                    <a:pt x="1490" y="501"/>
                  </a:lnTo>
                  <a:lnTo>
                    <a:pt x="1492" y="501"/>
                  </a:lnTo>
                  <a:lnTo>
                    <a:pt x="1494" y="501"/>
                  </a:lnTo>
                  <a:lnTo>
                    <a:pt x="1494" y="503"/>
                  </a:lnTo>
                  <a:lnTo>
                    <a:pt x="1497" y="503"/>
                  </a:lnTo>
                  <a:lnTo>
                    <a:pt x="1499" y="503"/>
                  </a:lnTo>
                  <a:lnTo>
                    <a:pt x="1499" y="506"/>
                  </a:lnTo>
                  <a:lnTo>
                    <a:pt x="1501" y="506"/>
                  </a:lnTo>
                  <a:lnTo>
                    <a:pt x="1501" y="503"/>
                  </a:lnTo>
                  <a:lnTo>
                    <a:pt x="1504" y="503"/>
                  </a:lnTo>
                  <a:lnTo>
                    <a:pt x="1504" y="506"/>
                  </a:lnTo>
                  <a:lnTo>
                    <a:pt x="1504" y="503"/>
                  </a:lnTo>
                  <a:lnTo>
                    <a:pt x="1506" y="503"/>
                  </a:lnTo>
                  <a:lnTo>
                    <a:pt x="1506" y="506"/>
                  </a:lnTo>
                  <a:lnTo>
                    <a:pt x="1506" y="503"/>
                  </a:lnTo>
                  <a:lnTo>
                    <a:pt x="1509" y="503"/>
                  </a:lnTo>
                  <a:lnTo>
                    <a:pt x="1509" y="506"/>
                  </a:lnTo>
                  <a:lnTo>
                    <a:pt x="1511" y="506"/>
                  </a:lnTo>
                  <a:lnTo>
                    <a:pt x="1509" y="506"/>
                  </a:lnTo>
                  <a:lnTo>
                    <a:pt x="1511" y="506"/>
                  </a:lnTo>
                  <a:lnTo>
                    <a:pt x="1509" y="506"/>
                  </a:lnTo>
                  <a:lnTo>
                    <a:pt x="1509" y="508"/>
                  </a:lnTo>
                  <a:lnTo>
                    <a:pt x="1509" y="510"/>
                  </a:lnTo>
                  <a:lnTo>
                    <a:pt x="1511" y="510"/>
                  </a:lnTo>
                  <a:lnTo>
                    <a:pt x="1511" y="508"/>
                  </a:lnTo>
                  <a:lnTo>
                    <a:pt x="1511" y="510"/>
                  </a:lnTo>
                  <a:lnTo>
                    <a:pt x="1511" y="513"/>
                  </a:lnTo>
                  <a:lnTo>
                    <a:pt x="1511" y="515"/>
                  </a:lnTo>
                  <a:lnTo>
                    <a:pt x="1513" y="515"/>
                  </a:lnTo>
                  <a:lnTo>
                    <a:pt x="1516" y="515"/>
                  </a:lnTo>
                  <a:lnTo>
                    <a:pt x="1516" y="518"/>
                  </a:lnTo>
                  <a:lnTo>
                    <a:pt x="1518" y="518"/>
                  </a:lnTo>
                  <a:lnTo>
                    <a:pt x="1518" y="520"/>
                  </a:lnTo>
                  <a:lnTo>
                    <a:pt x="1516" y="522"/>
                  </a:lnTo>
                  <a:lnTo>
                    <a:pt x="1516" y="525"/>
                  </a:lnTo>
                  <a:lnTo>
                    <a:pt x="1513" y="525"/>
                  </a:lnTo>
                  <a:lnTo>
                    <a:pt x="1516" y="525"/>
                  </a:lnTo>
                  <a:lnTo>
                    <a:pt x="1513" y="525"/>
                  </a:lnTo>
                  <a:lnTo>
                    <a:pt x="1513" y="527"/>
                  </a:lnTo>
                  <a:lnTo>
                    <a:pt x="1511" y="527"/>
                  </a:lnTo>
                  <a:lnTo>
                    <a:pt x="1513" y="527"/>
                  </a:lnTo>
                  <a:lnTo>
                    <a:pt x="1511" y="527"/>
                  </a:lnTo>
                  <a:lnTo>
                    <a:pt x="1511" y="529"/>
                  </a:lnTo>
                  <a:lnTo>
                    <a:pt x="1511" y="532"/>
                  </a:lnTo>
                  <a:lnTo>
                    <a:pt x="1511" y="529"/>
                  </a:lnTo>
                  <a:lnTo>
                    <a:pt x="1511" y="532"/>
                  </a:lnTo>
                  <a:lnTo>
                    <a:pt x="1509" y="532"/>
                  </a:lnTo>
                  <a:lnTo>
                    <a:pt x="1509" y="534"/>
                  </a:lnTo>
                  <a:lnTo>
                    <a:pt x="1509" y="537"/>
                  </a:lnTo>
                  <a:lnTo>
                    <a:pt x="1506" y="537"/>
                  </a:lnTo>
                  <a:lnTo>
                    <a:pt x="1506" y="539"/>
                  </a:lnTo>
                  <a:lnTo>
                    <a:pt x="1506" y="541"/>
                  </a:lnTo>
                  <a:lnTo>
                    <a:pt x="1506" y="544"/>
                  </a:lnTo>
                  <a:lnTo>
                    <a:pt x="1506" y="546"/>
                  </a:lnTo>
                  <a:lnTo>
                    <a:pt x="1509" y="546"/>
                  </a:lnTo>
                  <a:lnTo>
                    <a:pt x="1509" y="548"/>
                  </a:lnTo>
                  <a:lnTo>
                    <a:pt x="1506" y="548"/>
                  </a:lnTo>
                  <a:lnTo>
                    <a:pt x="1509" y="548"/>
                  </a:lnTo>
                  <a:lnTo>
                    <a:pt x="1509" y="551"/>
                  </a:lnTo>
                  <a:lnTo>
                    <a:pt x="1506" y="551"/>
                  </a:lnTo>
                  <a:lnTo>
                    <a:pt x="1509" y="551"/>
                  </a:lnTo>
                  <a:lnTo>
                    <a:pt x="1506" y="551"/>
                  </a:lnTo>
                  <a:lnTo>
                    <a:pt x="1509" y="551"/>
                  </a:lnTo>
                  <a:lnTo>
                    <a:pt x="1509" y="553"/>
                  </a:lnTo>
                  <a:lnTo>
                    <a:pt x="1509" y="556"/>
                  </a:lnTo>
                  <a:lnTo>
                    <a:pt x="1511" y="556"/>
                  </a:lnTo>
                  <a:lnTo>
                    <a:pt x="1511" y="558"/>
                  </a:lnTo>
                  <a:lnTo>
                    <a:pt x="1511" y="556"/>
                  </a:lnTo>
                  <a:lnTo>
                    <a:pt x="1513" y="556"/>
                  </a:lnTo>
                  <a:lnTo>
                    <a:pt x="1516" y="556"/>
                  </a:lnTo>
                  <a:lnTo>
                    <a:pt x="1518" y="556"/>
                  </a:lnTo>
                  <a:lnTo>
                    <a:pt x="1520" y="556"/>
                  </a:lnTo>
                  <a:lnTo>
                    <a:pt x="1523" y="556"/>
                  </a:lnTo>
                  <a:lnTo>
                    <a:pt x="1525" y="556"/>
                  </a:lnTo>
                  <a:lnTo>
                    <a:pt x="1528" y="553"/>
                  </a:lnTo>
                  <a:lnTo>
                    <a:pt x="1528" y="556"/>
                  </a:lnTo>
                  <a:lnTo>
                    <a:pt x="1530" y="556"/>
                  </a:lnTo>
                  <a:lnTo>
                    <a:pt x="1532" y="556"/>
                  </a:lnTo>
                  <a:lnTo>
                    <a:pt x="1530" y="558"/>
                  </a:lnTo>
                  <a:lnTo>
                    <a:pt x="1532" y="558"/>
                  </a:lnTo>
                  <a:lnTo>
                    <a:pt x="1532" y="560"/>
                  </a:lnTo>
                  <a:lnTo>
                    <a:pt x="1532" y="563"/>
                  </a:lnTo>
                  <a:lnTo>
                    <a:pt x="1530" y="563"/>
                  </a:lnTo>
                  <a:lnTo>
                    <a:pt x="1532" y="563"/>
                  </a:lnTo>
                  <a:lnTo>
                    <a:pt x="1532" y="565"/>
                  </a:lnTo>
                  <a:lnTo>
                    <a:pt x="1535" y="565"/>
                  </a:lnTo>
                  <a:lnTo>
                    <a:pt x="1537" y="565"/>
                  </a:lnTo>
                  <a:lnTo>
                    <a:pt x="1539" y="567"/>
                  </a:lnTo>
                  <a:lnTo>
                    <a:pt x="1537" y="567"/>
                  </a:lnTo>
                  <a:lnTo>
                    <a:pt x="1537" y="570"/>
                  </a:lnTo>
                  <a:lnTo>
                    <a:pt x="1535" y="572"/>
                  </a:lnTo>
                  <a:lnTo>
                    <a:pt x="1532" y="572"/>
                  </a:lnTo>
                  <a:lnTo>
                    <a:pt x="1532" y="570"/>
                  </a:lnTo>
                  <a:lnTo>
                    <a:pt x="1530" y="570"/>
                  </a:lnTo>
                  <a:lnTo>
                    <a:pt x="1528" y="570"/>
                  </a:lnTo>
                  <a:lnTo>
                    <a:pt x="1528" y="572"/>
                  </a:lnTo>
                  <a:lnTo>
                    <a:pt x="1525" y="570"/>
                  </a:lnTo>
                  <a:lnTo>
                    <a:pt x="1523" y="572"/>
                  </a:lnTo>
                  <a:lnTo>
                    <a:pt x="1523" y="575"/>
                  </a:lnTo>
                  <a:lnTo>
                    <a:pt x="1525" y="575"/>
                  </a:lnTo>
                  <a:lnTo>
                    <a:pt x="1523" y="575"/>
                  </a:lnTo>
                  <a:lnTo>
                    <a:pt x="1523" y="577"/>
                  </a:lnTo>
                  <a:lnTo>
                    <a:pt x="1523" y="579"/>
                  </a:lnTo>
                  <a:lnTo>
                    <a:pt x="1525" y="577"/>
                  </a:lnTo>
                  <a:lnTo>
                    <a:pt x="1528" y="577"/>
                  </a:lnTo>
                  <a:lnTo>
                    <a:pt x="1530" y="577"/>
                  </a:lnTo>
                  <a:lnTo>
                    <a:pt x="1532" y="579"/>
                  </a:lnTo>
                  <a:lnTo>
                    <a:pt x="1532" y="582"/>
                  </a:lnTo>
                  <a:lnTo>
                    <a:pt x="1530" y="584"/>
                  </a:lnTo>
                  <a:lnTo>
                    <a:pt x="1530" y="586"/>
                  </a:lnTo>
                  <a:lnTo>
                    <a:pt x="1528" y="586"/>
                  </a:lnTo>
                  <a:lnTo>
                    <a:pt x="1525" y="586"/>
                  </a:lnTo>
                  <a:lnTo>
                    <a:pt x="1523" y="586"/>
                  </a:lnTo>
                  <a:lnTo>
                    <a:pt x="1520" y="586"/>
                  </a:lnTo>
                  <a:lnTo>
                    <a:pt x="1520" y="589"/>
                  </a:lnTo>
                  <a:lnTo>
                    <a:pt x="1520" y="591"/>
                  </a:lnTo>
                  <a:lnTo>
                    <a:pt x="1518" y="591"/>
                  </a:lnTo>
                  <a:lnTo>
                    <a:pt x="1516" y="591"/>
                  </a:lnTo>
                  <a:lnTo>
                    <a:pt x="1516" y="594"/>
                  </a:lnTo>
                  <a:lnTo>
                    <a:pt x="1513" y="594"/>
                  </a:lnTo>
                  <a:lnTo>
                    <a:pt x="1513" y="596"/>
                  </a:lnTo>
                  <a:lnTo>
                    <a:pt x="1511" y="598"/>
                  </a:lnTo>
                  <a:lnTo>
                    <a:pt x="1511" y="596"/>
                  </a:lnTo>
                  <a:lnTo>
                    <a:pt x="1509" y="596"/>
                  </a:lnTo>
                  <a:lnTo>
                    <a:pt x="1506" y="598"/>
                  </a:lnTo>
                  <a:lnTo>
                    <a:pt x="1506" y="601"/>
                  </a:lnTo>
                  <a:lnTo>
                    <a:pt x="1504" y="601"/>
                  </a:lnTo>
                  <a:lnTo>
                    <a:pt x="1501" y="601"/>
                  </a:lnTo>
                  <a:lnTo>
                    <a:pt x="1504" y="601"/>
                  </a:lnTo>
                  <a:lnTo>
                    <a:pt x="1504" y="603"/>
                  </a:lnTo>
                  <a:lnTo>
                    <a:pt x="1504" y="605"/>
                  </a:lnTo>
                  <a:lnTo>
                    <a:pt x="1501" y="605"/>
                  </a:lnTo>
                  <a:lnTo>
                    <a:pt x="1499" y="608"/>
                  </a:lnTo>
                  <a:lnTo>
                    <a:pt x="1499" y="610"/>
                  </a:lnTo>
                  <a:lnTo>
                    <a:pt x="1501" y="613"/>
                  </a:lnTo>
                  <a:lnTo>
                    <a:pt x="1501" y="615"/>
                  </a:lnTo>
                  <a:lnTo>
                    <a:pt x="1499" y="615"/>
                  </a:lnTo>
                  <a:lnTo>
                    <a:pt x="1499" y="617"/>
                  </a:lnTo>
                  <a:lnTo>
                    <a:pt x="1497" y="617"/>
                  </a:lnTo>
                  <a:lnTo>
                    <a:pt x="1494" y="617"/>
                  </a:lnTo>
                  <a:lnTo>
                    <a:pt x="1492" y="617"/>
                  </a:lnTo>
                  <a:lnTo>
                    <a:pt x="1492" y="620"/>
                  </a:lnTo>
                  <a:lnTo>
                    <a:pt x="1490" y="620"/>
                  </a:lnTo>
                  <a:lnTo>
                    <a:pt x="1487" y="620"/>
                  </a:lnTo>
                  <a:lnTo>
                    <a:pt x="1485" y="620"/>
                  </a:lnTo>
                  <a:lnTo>
                    <a:pt x="1483" y="620"/>
                  </a:lnTo>
                  <a:lnTo>
                    <a:pt x="1483" y="622"/>
                  </a:lnTo>
                  <a:lnTo>
                    <a:pt x="1483" y="624"/>
                  </a:lnTo>
                  <a:lnTo>
                    <a:pt x="1480" y="624"/>
                  </a:lnTo>
                  <a:lnTo>
                    <a:pt x="1480" y="627"/>
                  </a:lnTo>
                  <a:lnTo>
                    <a:pt x="1480" y="624"/>
                  </a:lnTo>
                  <a:lnTo>
                    <a:pt x="1478" y="624"/>
                  </a:lnTo>
                  <a:lnTo>
                    <a:pt x="1475" y="627"/>
                  </a:lnTo>
                  <a:lnTo>
                    <a:pt x="1473" y="627"/>
                  </a:lnTo>
                  <a:lnTo>
                    <a:pt x="1473" y="629"/>
                  </a:lnTo>
                  <a:lnTo>
                    <a:pt x="1471" y="629"/>
                  </a:lnTo>
                  <a:lnTo>
                    <a:pt x="1468" y="629"/>
                  </a:lnTo>
                  <a:lnTo>
                    <a:pt x="1466" y="629"/>
                  </a:lnTo>
                  <a:lnTo>
                    <a:pt x="1464" y="629"/>
                  </a:lnTo>
                  <a:lnTo>
                    <a:pt x="1461" y="632"/>
                  </a:lnTo>
                  <a:lnTo>
                    <a:pt x="1461" y="634"/>
                  </a:lnTo>
                  <a:lnTo>
                    <a:pt x="1459" y="634"/>
                  </a:lnTo>
                  <a:lnTo>
                    <a:pt x="1456" y="636"/>
                  </a:lnTo>
                  <a:lnTo>
                    <a:pt x="1454" y="636"/>
                  </a:lnTo>
                  <a:lnTo>
                    <a:pt x="1452" y="636"/>
                  </a:lnTo>
                  <a:lnTo>
                    <a:pt x="1449" y="639"/>
                  </a:lnTo>
                  <a:lnTo>
                    <a:pt x="1449" y="641"/>
                  </a:lnTo>
                  <a:lnTo>
                    <a:pt x="1447" y="641"/>
                  </a:lnTo>
                  <a:lnTo>
                    <a:pt x="1447" y="639"/>
                  </a:lnTo>
                  <a:lnTo>
                    <a:pt x="1445" y="639"/>
                  </a:lnTo>
                  <a:lnTo>
                    <a:pt x="1445" y="641"/>
                  </a:lnTo>
                  <a:lnTo>
                    <a:pt x="1442" y="641"/>
                  </a:lnTo>
                  <a:lnTo>
                    <a:pt x="1442" y="643"/>
                  </a:lnTo>
                  <a:lnTo>
                    <a:pt x="1440" y="643"/>
                  </a:lnTo>
                  <a:lnTo>
                    <a:pt x="1440" y="646"/>
                  </a:lnTo>
                  <a:lnTo>
                    <a:pt x="1437" y="648"/>
                  </a:lnTo>
                  <a:lnTo>
                    <a:pt x="1437" y="651"/>
                  </a:lnTo>
                  <a:lnTo>
                    <a:pt x="1440" y="651"/>
                  </a:lnTo>
                  <a:lnTo>
                    <a:pt x="1440" y="653"/>
                  </a:lnTo>
                  <a:lnTo>
                    <a:pt x="1437" y="653"/>
                  </a:lnTo>
                  <a:lnTo>
                    <a:pt x="1435" y="653"/>
                  </a:lnTo>
                  <a:lnTo>
                    <a:pt x="1435" y="651"/>
                  </a:lnTo>
                  <a:lnTo>
                    <a:pt x="1435" y="653"/>
                  </a:lnTo>
                  <a:lnTo>
                    <a:pt x="1433" y="655"/>
                  </a:lnTo>
                  <a:lnTo>
                    <a:pt x="1430" y="655"/>
                  </a:lnTo>
                  <a:lnTo>
                    <a:pt x="1430" y="658"/>
                  </a:lnTo>
                  <a:lnTo>
                    <a:pt x="1430" y="660"/>
                  </a:lnTo>
                  <a:lnTo>
                    <a:pt x="1428" y="660"/>
                  </a:lnTo>
                  <a:lnTo>
                    <a:pt x="1428" y="662"/>
                  </a:lnTo>
                  <a:lnTo>
                    <a:pt x="1426" y="662"/>
                  </a:lnTo>
                  <a:lnTo>
                    <a:pt x="1426" y="665"/>
                  </a:lnTo>
                  <a:lnTo>
                    <a:pt x="1423" y="665"/>
                  </a:lnTo>
                  <a:lnTo>
                    <a:pt x="1423" y="667"/>
                  </a:lnTo>
                  <a:lnTo>
                    <a:pt x="1426" y="667"/>
                  </a:lnTo>
                  <a:lnTo>
                    <a:pt x="1428" y="667"/>
                  </a:lnTo>
                  <a:lnTo>
                    <a:pt x="1428" y="670"/>
                  </a:lnTo>
                  <a:lnTo>
                    <a:pt x="1426" y="670"/>
                  </a:lnTo>
                  <a:lnTo>
                    <a:pt x="1423" y="670"/>
                  </a:lnTo>
                  <a:lnTo>
                    <a:pt x="1423" y="672"/>
                  </a:lnTo>
                  <a:lnTo>
                    <a:pt x="1426" y="672"/>
                  </a:lnTo>
                  <a:lnTo>
                    <a:pt x="1426" y="674"/>
                  </a:lnTo>
                  <a:lnTo>
                    <a:pt x="1423" y="674"/>
                  </a:lnTo>
                  <a:lnTo>
                    <a:pt x="1421" y="674"/>
                  </a:lnTo>
                  <a:lnTo>
                    <a:pt x="1418" y="674"/>
                  </a:lnTo>
                  <a:lnTo>
                    <a:pt x="1416" y="674"/>
                  </a:lnTo>
                  <a:lnTo>
                    <a:pt x="1414" y="674"/>
                  </a:lnTo>
                  <a:lnTo>
                    <a:pt x="1414" y="677"/>
                  </a:lnTo>
                  <a:lnTo>
                    <a:pt x="1411" y="677"/>
                  </a:lnTo>
                  <a:lnTo>
                    <a:pt x="1409" y="677"/>
                  </a:lnTo>
                  <a:lnTo>
                    <a:pt x="1409" y="679"/>
                  </a:lnTo>
                  <a:lnTo>
                    <a:pt x="1407" y="679"/>
                  </a:lnTo>
                  <a:lnTo>
                    <a:pt x="1404" y="679"/>
                  </a:lnTo>
                  <a:lnTo>
                    <a:pt x="1402" y="679"/>
                  </a:lnTo>
                  <a:lnTo>
                    <a:pt x="1402" y="682"/>
                  </a:lnTo>
                  <a:lnTo>
                    <a:pt x="1399" y="682"/>
                  </a:lnTo>
                  <a:lnTo>
                    <a:pt x="1397" y="682"/>
                  </a:lnTo>
                  <a:lnTo>
                    <a:pt x="1397" y="684"/>
                  </a:lnTo>
                  <a:lnTo>
                    <a:pt x="1395" y="684"/>
                  </a:lnTo>
                  <a:lnTo>
                    <a:pt x="1392" y="684"/>
                  </a:lnTo>
                  <a:lnTo>
                    <a:pt x="1392" y="686"/>
                  </a:lnTo>
                  <a:lnTo>
                    <a:pt x="1390" y="686"/>
                  </a:lnTo>
                  <a:lnTo>
                    <a:pt x="1390" y="689"/>
                  </a:lnTo>
                  <a:lnTo>
                    <a:pt x="1388" y="689"/>
                  </a:lnTo>
                  <a:lnTo>
                    <a:pt x="1388" y="691"/>
                  </a:lnTo>
                  <a:lnTo>
                    <a:pt x="1385" y="691"/>
                  </a:lnTo>
                  <a:lnTo>
                    <a:pt x="1383" y="693"/>
                  </a:lnTo>
                  <a:lnTo>
                    <a:pt x="1383" y="696"/>
                  </a:lnTo>
                  <a:lnTo>
                    <a:pt x="1380" y="698"/>
                  </a:lnTo>
                  <a:lnTo>
                    <a:pt x="1380" y="701"/>
                  </a:lnTo>
                  <a:lnTo>
                    <a:pt x="1378" y="703"/>
                  </a:lnTo>
                  <a:lnTo>
                    <a:pt x="1376" y="703"/>
                  </a:lnTo>
                  <a:lnTo>
                    <a:pt x="1376" y="705"/>
                  </a:lnTo>
                  <a:lnTo>
                    <a:pt x="1373" y="708"/>
                  </a:lnTo>
                  <a:lnTo>
                    <a:pt x="1373" y="710"/>
                  </a:lnTo>
                  <a:lnTo>
                    <a:pt x="1373" y="712"/>
                  </a:lnTo>
                  <a:lnTo>
                    <a:pt x="1371" y="712"/>
                  </a:lnTo>
                  <a:lnTo>
                    <a:pt x="1369" y="712"/>
                  </a:lnTo>
                  <a:lnTo>
                    <a:pt x="1369" y="717"/>
                  </a:lnTo>
                  <a:lnTo>
                    <a:pt x="1366" y="717"/>
                  </a:lnTo>
                  <a:lnTo>
                    <a:pt x="1366" y="720"/>
                  </a:lnTo>
                  <a:lnTo>
                    <a:pt x="1364" y="722"/>
                  </a:lnTo>
                  <a:lnTo>
                    <a:pt x="1362" y="722"/>
                  </a:lnTo>
                  <a:lnTo>
                    <a:pt x="1359" y="722"/>
                  </a:lnTo>
                  <a:lnTo>
                    <a:pt x="1357" y="722"/>
                  </a:lnTo>
                  <a:lnTo>
                    <a:pt x="1357" y="724"/>
                  </a:lnTo>
                  <a:lnTo>
                    <a:pt x="1357" y="727"/>
                  </a:lnTo>
                  <a:lnTo>
                    <a:pt x="1354" y="727"/>
                  </a:lnTo>
                  <a:lnTo>
                    <a:pt x="1352" y="729"/>
                  </a:lnTo>
                  <a:lnTo>
                    <a:pt x="1350" y="727"/>
                  </a:lnTo>
                  <a:lnTo>
                    <a:pt x="1345" y="722"/>
                  </a:lnTo>
                  <a:lnTo>
                    <a:pt x="1347" y="720"/>
                  </a:lnTo>
                  <a:lnTo>
                    <a:pt x="1345" y="720"/>
                  </a:lnTo>
                  <a:lnTo>
                    <a:pt x="1340" y="720"/>
                  </a:lnTo>
                  <a:lnTo>
                    <a:pt x="1338" y="720"/>
                  </a:lnTo>
                  <a:lnTo>
                    <a:pt x="1335" y="720"/>
                  </a:lnTo>
                  <a:lnTo>
                    <a:pt x="1333" y="722"/>
                  </a:lnTo>
                  <a:lnTo>
                    <a:pt x="1333" y="724"/>
                  </a:lnTo>
                  <a:lnTo>
                    <a:pt x="1331" y="724"/>
                  </a:lnTo>
                  <a:lnTo>
                    <a:pt x="1331" y="727"/>
                  </a:lnTo>
                  <a:lnTo>
                    <a:pt x="1328" y="729"/>
                  </a:lnTo>
                  <a:lnTo>
                    <a:pt x="1326" y="729"/>
                  </a:lnTo>
                  <a:lnTo>
                    <a:pt x="1324" y="731"/>
                  </a:lnTo>
                  <a:lnTo>
                    <a:pt x="1321" y="734"/>
                  </a:lnTo>
                  <a:lnTo>
                    <a:pt x="1319" y="734"/>
                  </a:lnTo>
                  <a:lnTo>
                    <a:pt x="1319" y="736"/>
                  </a:lnTo>
                  <a:lnTo>
                    <a:pt x="1319" y="739"/>
                  </a:lnTo>
                  <a:lnTo>
                    <a:pt x="1321" y="739"/>
                  </a:lnTo>
                  <a:lnTo>
                    <a:pt x="1324" y="741"/>
                  </a:lnTo>
                  <a:lnTo>
                    <a:pt x="1324" y="743"/>
                  </a:lnTo>
                  <a:lnTo>
                    <a:pt x="1321" y="743"/>
                  </a:lnTo>
                  <a:lnTo>
                    <a:pt x="1319" y="743"/>
                  </a:lnTo>
                  <a:lnTo>
                    <a:pt x="1319" y="746"/>
                  </a:lnTo>
                  <a:lnTo>
                    <a:pt x="1316" y="748"/>
                  </a:lnTo>
                  <a:lnTo>
                    <a:pt x="1314" y="750"/>
                  </a:lnTo>
                  <a:lnTo>
                    <a:pt x="1316" y="753"/>
                  </a:lnTo>
                  <a:lnTo>
                    <a:pt x="1319" y="753"/>
                  </a:lnTo>
                  <a:lnTo>
                    <a:pt x="1319" y="758"/>
                  </a:lnTo>
                  <a:lnTo>
                    <a:pt x="1319" y="760"/>
                  </a:lnTo>
                  <a:lnTo>
                    <a:pt x="1319" y="762"/>
                  </a:lnTo>
                  <a:lnTo>
                    <a:pt x="1319" y="765"/>
                  </a:lnTo>
                  <a:lnTo>
                    <a:pt x="1319" y="767"/>
                  </a:lnTo>
                  <a:lnTo>
                    <a:pt x="1321" y="769"/>
                  </a:lnTo>
                  <a:lnTo>
                    <a:pt x="1324" y="769"/>
                  </a:lnTo>
                  <a:lnTo>
                    <a:pt x="1326" y="772"/>
                  </a:lnTo>
                  <a:lnTo>
                    <a:pt x="1326" y="774"/>
                  </a:lnTo>
                  <a:lnTo>
                    <a:pt x="1324" y="779"/>
                  </a:lnTo>
                  <a:lnTo>
                    <a:pt x="1321" y="781"/>
                  </a:lnTo>
                  <a:lnTo>
                    <a:pt x="1316" y="784"/>
                  </a:lnTo>
                  <a:lnTo>
                    <a:pt x="1319" y="786"/>
                  </a:lnTo>
                  <a:lnTo>
                    <a:pt x="1316" y="788"/>
                  </a:lnTo>
                  <a:lnTo>
                    <a:pt x="1316" y="791"/>
                  </a:lnTo>
                  <a:lnTo>
                    <a:pt x="1316" y="793"/>
                  </a:lnTo>
                  <a:lnTo>
                    <a:pt x="1316" y="796"/>
                  </a:lnTo>
                  <a:lnTo>
                    <a:pt x="1314" y="803"/>
                  </a:lnTo>
                  <a:lnTo>
                    <a:pt x="1312" y="807"/>
                  </a:lnTo>
                  <a:lnTo>
                    <a:pt x="1309" y="812"/>
                  </a:lnTo>
                  <a:lnTo>
                    <a:pt x="1312" y="815"/>
                  </a:lnTo>
                  <a:lnTo>
                    <a:pt x="1309" y="815"/>
                  </a:lnTo>
                  <a:lnTo>
                    <a:pt x="1309" y="817"/>
                  </a:lnTo>
                  <a:lnTo>
                    <a:pt x="1309" y="819"/>
                  </a:lnTo>
                  <a:lnTo>
                    <a:pt x="1312" y="819"/>
                  </a:lnTo>
                  <a:lnTo>
                    <a:pt x="1309" y="822"/>
                  </a:lnTo>
                  <a:lnTo>
                    <a:pt x="1307" y="824"/>
                  </a:lnTo>
                  <a:lnTo>
                    <a:pt x="1309" y="826"/>
                  </a:lnTo>
                  <a:lnTo>
                    <a:pt x="1309" y="829"/>
                  </a:lnTo>
                  <a:lnTo>
                    <a:pt x="1307" y="829"/>
                  </a:lnTo>
                  <a:lnTo>
                    <a:pt x="1305" y="831"/>
                  </a:lnTo>
                  <a:lnTo>
                    <a:pt x="1307" y="834"/>
                  </a:lnTo>
                  <a:lnTo>
                    <a:pt x="1309" y="834"/>
                  </a:lnTo>
                  <a:lnTo>
                    <a:pt x="1309" y="836"/>
                  </a:lnTo>
                  <a:lnTo>
                    <a:pt x="1312" y="836"/>
                  </a:lnTo>
                  <a:lnTo>
                    <a:pt x="1314" y="838"/>
                  </a:lnTo>
                  <a:lnTo>
                    <a:pt x="1314" y="841"/>
                  </a:lnTo>
                  <a:lnTo>
                    <a:pt x="1314" y="845"/>
                  </a:lnTo>
                  <a:lnTo>
                    <a:pt x="1312" y="848"/>
                  </a:lnTo>
                  <a:lnTo>
                    <a:pt x="1312" y="850"/>
                  </a:lnTo>
                  <a:lnTo>
                    <a:pt x="1314" y="855"/>
                  </a:lnTo>
                  <a:lnTo>
                    <a:pt x="1314" y="857"/>
                  </a:lnTo>
                  <a:lnTo>
                    <a:pt x="1316" y="857"/>
                  </a:lnTo>
                  <a:lnTo>
                    <a:pt x="1321" y="860"/>
                  </a:lnTo>
                  <a:lnTo>
                    <a:pt x="1319" y="862"/>
                  </a:lnTo>
                  <a:lnTo>
                    <a:pt x="1319" y="864"/>
                  </a:lnTo>
                  <a:lnTo>
                    <a:pt x="1319" y="867"/>
                  </a:lnTo>
                  <a:lnTo>
                    <a:pt x="1319" y="869"/>
                  </a:lnTo>
                  <a:lnTo>
                    <a:pt x="1316" y="872"/>
                  </a:lnTo>
                  <a:lnTo>
                    <a:pt x="1316" y="874"/>
                  </a:lnTo>
                  <a:lnTo>
                    <a:pt x="1314" y="876"/>
                  </a:lnTo>
                  <a:lnTo>
                    <a:pt x="1312" y="879"/>
                  </a:lnTo>
                  <a:lnTo>
                    <a:pt x="1312" y="881"/>
                  </a:lnTo>
                  <a:lnTo>
                    <a:pt x="1312" y="883"/>
                  </a:lnTo>
                  <a:lnTo>
                    <a:pt x="1314" y="886"/>
                  </a:lnTo>
                  <a:lnTo>
                    <a:pt x="1314" y="888"/>
                  </a:lnTo>
                  <a:lnTo>
                    <a:pt x="1314" y="891"/>
                  </a:lnTo>
                  <a:lnTo>
                    <a:pt x="1314" y="893"/>
                  </a:lnTo>
                  <a:lnTo>
                    <a:pt x="1312" y="893"/>
                  </a:lnTo>
                  <a:lnTo>
                    <a:pt x="1312" y="895"/>
                  </a:lnTo>
                  <a:lnTo>
                    <a:pt x="1309" y="895"/>
                  </a:lnTo>
                  <a:lnTo>
                    <a:pt x="1309" y="898"/>
                  </a:lnTo>
                  <a:lnTo>
                    <a:pt x="1312" y="900"/>
                  </a:lnTo>
                  <a:lnTo>
                    <a:pt x="1312" y="902"/>
                  </a:lnTo>
                  <a:lnTo>
                    <a:pt x="1309" y="905"/>
                  </a:lnTo>
                  <a:lnTo>
                    <a:pt x="1309" y="907"/>
                  </a:lnTo>
                  <a:lnTo>
                    <a:pt x="1312" y="910"/>
                  </a:lnTo>
                  <a:lnTo>
                    <a:pt x="1312" y="912"/>
                  </a:lnTo>
                  <a:lnTo>
                    <a:pt x="1312" y="914"/>
                  </a:lnTo>
                  <a:lnTo>
                    <a:pt x="1314" y="914"/>
                  </a:lnTo>
                  <a:lnTo>
                    <a:pt x="1312" y="917"/>
                  </a:lnTo>
                  <a:lnTo>
                    <a:pt x="1312" y="919"/>
                  </a:lnTo>
                  <a:lnTo>
                    <a:pt x="1312" y="921"/>
                  </a:lnTo>
                  <a:lnTo>
                    <a:pt x="1309" y="921"/>
                  </a:lnTo>
                  <a:lnTo>
                    <a:pt x="1309" y="924"/>
                  </a:lnTo>
                  <a:lnTo>
                    <a:pt x="1307" y="926"/>
                  </a:lnTo>
                  <a:lnTo>
                    <a:pt x="1307" y="929"/>
                  </a:lnTo>
                  <a:lnTo>
                    <a:pt x="1307" y="931"/>
                  </a:lnTo>
                  <a:lnTo>
                    <a:pt x="1307" y="933"/>
                  </a:lnTo>
                  <a:lnTo>
                    <a:pt x="1309" y="933"/>
                  </a:lnTo>
                  <a:lnTo>
                    <a:pt x="1309" y="936"/>
                  </a:lnTo>
                  <a:lnTo>
                    <a:pt x="1309" y="938"/>
                  </a:lnTo>
                  <a:lnTo>
                    <a:pt x="1309" y="940"/>
                  </a:lnTo>
                  <a:lnTo>
                    <a:pt x="1309" y="943"/>
                  </a:lnTo>
                  <a:lnTo>
                    <a:pt x="1312" y="943"/>
                  </a:lnTo>
                  <a:lnTo>
                    <a:pt x="1312" y="945"/>
                  </a:lnTo>
                  <a:lnTo>
                    <a:pt x="1314" y="945"/>
                  </a:lnTo>
                  <a:lnTo>
                    <a:pt x="1314" y="948"/>
                  </a:lnTo>
                  <a:lnTo>
                    <a:pt x="1314" y="950"/>
                  </a:lnTo>
                  <a:lnTo>
                    <a:pt x="1314" y="952"/>
                  </a:lnTo>
                  <a:lnTo>
                    <a:pt x="1314" y="955"/>
                  </a:lnTo>
                  <a:lnTo>
                    <a:pt x="1314" y="957"/>
                  </a:lnTo>
                  <a:lnTo>
                    <a:pt x="1312" y="962"/>
                  </a:lnTo>
                  <a:lnTo>
                    <a:pt x="1312" y="964"/>
                  </a:lnTo>
                  <a:lnTo>
                    <a:pt x="1312" y="969"/>
                  </a:lnTo>
                  <a:lnTo>
                    <a:pt x="1309" y="969"/>
                  </a:lnTo>
                  <a:lnTo>
                    <a:pt x="1307" y="969"/>
                  </a:lnTo>
                  <a:lnTo>
                    <a:pt x="1307" y="971"/>
                  </a:lnTo>
                  <a:lnTo>
                    <a:pt x="1305" y="974"/>
                  </a:lnTo>
                  <a:lnTo>
                    <a:pt x="1305" y="976"/>
                  </a:lnTo>
                  <a:lnTo>
                    <a:pt x="1305" y="978"/>
                  </a:lnTo>
                  <a:lnTo>
                    <a:pt x="1305" y="981"/>
                  </a:lnTo>
                  <a:lnTo>
                    <a:pt x="1302" y="983"/>
                  </a:lnTo>
                  <a:lnTo>
                    <a:pt x="1302" y="986"/>
                  </a:lnTo>
                  <a:lnTo>
                    <a:pt x="1302" y="988"/>
                  </a:lnTo>
                  <a:lnTo>
                    <a:pt x="1300" y="990"/>
                  </a:lnTo>
                  <a:lnTo>
                    <a:pt x="1300" y="993"/>
                  </a:lnTo>
                  <a:lnTo>
                    <a:pt x="1297" y="995"/>
                  </a:lnTo>
                  <a:lnTo>
                    <a:pt x="1297" y="997"/>
                  </a:lnTo>
                  <a:lnTo>
                    <a:pt x="1300" y="997"/>
                  </a:lnTo>
                  <a:lnTo>
                    <a:pt x="1297" y="1000"/>
                  </a:lnTo>
                  <a:lnTo>
                    <a:pt x="1295" y="997"/>
                  </a:lnTo>
                  <a:lnTo>
                    <a:pt x="1293" y="1002"/>
                  </a:lnTo>
                  <a:lnTo>
                    <a:pt x="1293" y="1005"/>
                  </a:lnTo>
                  <a:lnTo>
                    <a:pt x="1288" y="1005"/>
                  </a:lnTo>
                  <a:lnTo>
                    <a:pt x="1286" y="1012"/>
                  </a:lnTo>
                  <a:lnTo>
                    <a:pt x="1283" y="1012"/>
                  </a:lnTo>
                  <a:lnTo>
                    <a:pt x="1281" y="1012"/>
                  </a:lnTo>
                  <a:lnTo>
                    <a:pt x="1278" y="1019"/>
                  </a:lnTo>
                  <a:lnTo>
                    <a:pt x="1278" y="1021"/>
                  </a:lnTo>
                  <a:lnTo>
                    <a:pt x="1276" y="1024"/>
                  </a:lnTo>
                  <a:lnTo>
                    <a:pt x="1278" y="1024"/>
                  </a:lnTo>
                  <a:lnTo>
                    <a:pt x="1281" y="1024"/>
                  </a:lnTo>
                  <a:lnTo>
                    <a:pt x="1283" y="1026"/>
                  </a:lnTo>
                  <a:lnTo>
                    <a:pt x="1283" y="1028"/>
                  </a:lnTo>
                  <a:lnTo>
                    <a:pt x="1286" y="1031"/>
                  </a:lnTo>
                  <a:lnTo>
                    <a:pt x="1288" y="1033"/>
                  </a:lnTo>
                  <a:lnTo>
                    <a:pt x="1290" y="1033"/>
                  </a:lnTo>
                  <a:lnTo>
                    <a:pt x="1290" y="1035"/>
                  </a:lnTo>
                  <a:lnTo>
                    <a:pt x="1297" y="1035"/>
                  </a:lnTo>
                  <a:lnTo>
                    <a:pt x="1300" y="1035"/>
                  </a:lnTo>
                  <a:lnTo>
                    <a:pt x="1300" y="1038"/>
                  </a:lnTo>
                  <a:lnTo>
                    <a:pt x="1302" y="1040"/>
                  </a:lnTo>
                  <a:lnTo>
                    <a:pt x="1305" y="1040"/>
                  </a:lnTo>
                  <a:lnTo>
                    <a:pt x="1302" y="1045"/>
                  </a:lnTo>
                  <a:lnTo>
                    <a:pt x="1302" y="1047"/>
                  </a:lnTo>
                  <a:lnTo>
                    <a:pt x="1302" y="1050"/>
                  </a:lnTo>
                  <a:lnTo>
                    <a:pt x="1305" y="1050"/>
                  </a:lnTo>
                  <a:lnTo>
                    <a:pt x="1305" y="1054"/>
                  </a:lnTo>
                  <a:lnTo>
                    <a:pt x="1302" y="1054"/>
                  </a:lnTo>
                  <a:lnTo>
                    <a:pt x="1300" y="1054"/>
                  </a:lnTo>
                  <a:lnTo>
                    <a:pt x="1300" y="1057"/>
                  </a:lnTo>
                  <a:lnTo>
                    <a:pt x="1302" y="1059"/>
                  </a:lnTo>
                  <a:lnTo>
                    <a:pt x="1302" y="1062"/>
                  </a:lnTo>
                  <a:lnTo>
                    <a:pt x="1305" y="1062"/>
                  </a:lnTo>
                  <a:lnTo>
                    <a:pt x="1305" y="1064"/>
                  </a:lnTo>
                  <a:lnTo>
                    <a:pt x="1307" y="1064"/>
                  </a:lnTo>
                  <a:lnTo>
                    <a:pt x="1309" y="1064"/>
                  </a:lnTo>
                  <a:lnTo>
                    <a:pt x="1312" y="1064"/>
                  </a:lnTo>
                  <a:lnTo>
                    <a:pt x="1314" y="1066"/>
                  </a:lnTo>
                  <a:lnTo>
                    <a:pt x="1312" y="1069"/>
                  </a:lnTo>
                  <a:lnTo>
                    <a:pt x="1314" y="1076"/>
                  </a:lnTo>
                  <a:lnTo>
                    <a:pt x="1312" y="1078"/>
                  </a:lnTo>
                  <a:lnTo>
                    <a:pt x="1309" y="1078"/>
                  </a:lnTo>
                  <a:lnTo>
                    <a:pt x="1307" y="1081"/>
                  </a:lnTo>
                  <a:lnTo>
                    <a:pt x="1305" y="1085"/>
                  </a:lnTo>
                  <a:lnTo>
                    <a:pt x="1302" y="1088"/>
                  </a:lnTo>
                  <a:lnTo>
                    <a:pt x="1300" y="1090"/>
                  </a:lnTo>
                  <a:lnTo>
                    <a:pt x="1297" y="1090"/>
                  </a:lnTo>
                  <a:lnTo>
                    <a:pt x="1295" y="1090"/>
                  </a:lnTo>
                  <a:lnTo>
                    <a:pt x="1293" y="1090"/>
                  </a:lnTo>
                  <a:lnTo>
                    <a:pt x="1293" y="1092"/>
                  </a:lnTo>
                  <a:lnTo>
                    <a:pt x="1290" y="1092"/>
                  </a:lnTo>
                  <a:lnTo>
                    <a:pt x="1288" y="1095"/>
                  </a:lnTo>
                  <a:lnTo>
                    <a:pt x="1288" y="1097"/>
                  </a:lnTo>
                  <a:lnTo>
                    <a:pt x="1288" y="1100"/>
                  </a:lnTo>
                  <a:lnTo>
                    <a:pt x="1286" y="1100"/>
                  </a:lnTo>
                  <a:lnTo>
                    <a:pt x="1286" y="1102"/>
                  </a:lnTo>
                  <a:lnTo>
                    <a:pt x="1288" y="1104"/>
                  </a:lnTo>
                  <a:lnTo>
                    <a:pt x="1288" y="1107"/>
                  </a:lnTo>
                  <a:lnTo>
                    <a:pt x="1290" y="1107"/>
                  </a:lnTo>
                  <a:lnTo>
                    <a:pt x="1290" y="1109"/>
                  </a:lnTo>
                  <a:lnTo>
                    <a:pt x="1295" y="1109"/>
                  </a:lnTo>
                  <a:lnTo>
                    <a:pt x="1295" y="1112"/>
                  </a:lnTo>
                  <a:lnTo>
                    <a:pt x="1295" y="1114"/>
                  </a:lnTo>
                  <a:lnTo>
                    <a:pt x="1293" y="1116"/>
                  </a:lnTo>
                  <a:lnTo>
                    <a:pt x="1283" y="1123"/>
                  </a:lnTo>
                  <a:lnTo>
                    <a:pt x="1281" y="1123"/>
                  </a:lnTo>
                  <a:lnTo>
                    <a:pt x="1281" y="1119"/>
                  </a:lnTo>
                  <a:lnTo>
                    <a:pt x="1271" y="1116"/>
                  </a:lnTo>
                  <a:lnTo>
                    <a:pt x="1269" y="1119"/>
                  </a:lnTo>
                  <a:lnTo>
                    <a:pt x="1269" y="1121"/>
                  </a:lnTo>
                  <a:lnTo>
                    <a:pt x="1267" y="1121"/>
                  </a:lnTo>
                  <a:lnTo>
                    <a:pt x="1267" y="1123"/>
                  </a:lnTo>
                  <a:lnTo>
                    <a:pt x="1264" y="1126"/>
                  </a:lnTo>
                  <a:lnTo>
                    <a:pt x="1264" y="1128"/>
                  </a:lnTo>
                  <a:lnTo>
                    <a:pt x="1267" y="1128"/>
                  </a:lnTo>
                  <a:lnTo>
                    <a:pt x="1264" y="1135"/>
                  </a:lnTo>
                  <a:lnTo>
                    <a:pt x="1264" y="1138"/>
                  </a:lnTo>
                  <a:lnTo>
                    <a:pt x="1267" y="1138"/>
                  </a:lnTo>
                  <a:lnTo>
                    <a:pt x="1267" y="1140"/>
                  </a:lnTo>
                  <a:lnTo>
                    <a:pt x="1267" y="1142"/>
                  </a:lnTo>
                  <a:lnTo>
                    <a:pt x="1264" y="1142"/>
                  </a:lnTo>
                  <a:lnTo>
                    <a:pt x="1267" y="1142"/>
                  </a:lnTo>
                  <a:lnTo>
                    <a:pt x="1267" y="1145"/>
                  </a:lnTo>
                  <a:lnTo>
                    <a:pt x="1269" y="1145"/>
                  </a:lnTo>
                  <a:lnTo>
                    <a:pt x="1269" y="1147"/>
                  </a:lnTo>
                  <a:lnTo>
                    <a:pt x="1267" y="1147"/>
                  </a:lnTo>
                  <a:lnTo>
                    <a:pt x="1269" y="1147"/>
                  </a:lnTo>
                  <a:lnTo>
                    <a:pt x="1269" y="1150"/>
                  </a:lnTo>
                  <a:lnTo>
                    <a:pt x="1267" y="1150"/>
                  </a:lnTo>
                  <a:lnTo>
                    <a:pt x="1264" y="1150"/>
                  </a:lnTo>
                  <a:lnTo>
                    <a:pt x="1267" y="1150"/>
                  </a:lnTo>
                  <a:lnTo>
                    <a:pt x="1267" y="1147"/>
                  </a:lnTo>
                  <a:lnTo>
                    <a:pt x="1264" y="1147"/>
                  </a:lnTo>
                  <a:lnTo>
                    <a:pt x="1264" y="1150"/>
                  </a:lnTo>
                  <a:lnTo>
                    <a:pt x="1262" y="1150"/>
                  </a:lnTo>
                  <a:lnTo>
                    <a:pt x="1259" y="1154"/>
                  </a:lnTo>
                  <a:lnTo>
                    <a:pt x="1257" y="1154"/>
                  </a:lnTo>
                  <a:lnTo>
                    <a:pt x="1257" y="1157"/>
                  </a:lnTo>
                  <a:lnTo>
                    <a:pt x="1255" y="1157"/>
                  </a:lnTo>
                  <a:lnTo>
                    <a:pt x="1252" y="1157"/>
                  </a:lnTo>
                  <a:lnTo>
                    <a:pt x="1250" y="1159"/>
                  </a:lnTo>
                  <a:lnTo>
                    <a:pt x="1248" y="1159"/>
                  </a:lnTo>
                  <a:lnTo>
                    <a:pt x="1248" y="1157"/>
                  </a:lnTo>
                  <a:lnTo>
                    <a:pt x="1245" y="1157"/>
                  </a:lnTo>
                  <a:lnTo>
                    <a:pt x="1243" y="1157"/>
                  </a:lnTo>
                  <a:lnTo>
                    <a:pt x="1240" y="1159"/>
                  </a:lnTo>
                  <a:lnTo>
                    <a:pt x="1240" y="1161"/>
                  </a:lnTo>
                  <a:lnTo>
                    <a:pt x="1243" y="1164"/>
                  </a:lnTo>
                  <a:lnTo>
                    <a:pt x="1243" y="1166"/>
                  </a:lnTo>
                  <a:lnTo>
                    <a:pt x="1243" y="1169"/>
                  </a:lnTo>
                  <a:lnTo>
                    <a:pt x="1245" y="1169"/>
                  </a:lnTo>
                  <a:lnTo>
                    <a:pt x="1248" y="1169"/>
                  </a:lnTo>
                  <a:lnTo>
                    <a:pt x="1248" y="1171"/>
                  </a:lnTo>
                  <a:lnTo>
                    <a:pt x="1245" y="1173"/>
                  </a:lnTo>
                  <a:lnTo>
                    <a:pt x="1248" y="1173"/>
                  </a:lnTo>
                  <a:lnTo>
                    <a:pt x="1245" y="1173"/>
                  </a:lnTo>
                  <a:lnTo>
                    <a:pt x="1245" y="1176"/>
                  </a:lnTo>
                  <a:lnTo>
                    <a:pt x="1245" y="1178"/>
                  </a:lnTo>
                  <a:lnTo>
                    <a:pt x="1245" y="1180"/>
                  </a:lnTo>
                  <a:lnTo>
                    <a:pt x="1243" y="1183"/>
                  </a:lnTo>
                  <a:lnTo>
                    <a:pt x="1243" y="1185"/>
                  </a:lnTo>
                  <a:lnTo>
                    <a:pt x="1245" y="1185"/>
                  </a:lnTo>
                  <a:lnTo>
                    <a:pt x="1245" y="1188"/>
                  </a:lnTo>
                  <a:lnTo>
                    <a:pt x="1248" y="1188"/>
                  </a:lnTo>
                  <a:lnTo>
                    <a:pt x="1248" y="1190"/>
                  </a:lnTo>
                  <a:lnTo>
                    <a:pt x="1245" y="1190"/>
                  </a:lnTo>
                  <a:lnTo>
                    <a:pt x="1248" y="1190"/>
                  </a:lnTo>
                  <a:lnTo>
                    <a:pt x="1248" y="1192"/>
                  </a:lnTo>
                  <a:lnTo>
                    <a:pt x="1250" y="1192"/>
                  </a:lnTo>
                  <a:lnTo>
                    <a:pt x="1250" y="1195"/>
                  </a:lnTo>
                  <a:lnTo>
                    <a:pt x="1248" y="1197"/>
                  </a:lnTo>
                  <a:lnTo>
                    <a:pt x="1250" y="1197"/>
                  </a:lnTo>
                  <a:lnTo>
                    <a:pt x="1250" y="1199"/>
                  </a:lnTo>
                  <a:lnTo>
                    <a:pt x="1252" y="1199"/>
                  </a:lnTo>
                  <a:lnTo>
                    <a:pt x="1255" y="1199"/>
                  </a:lnTo>
                  <a:lnTo>
                    <a:pt x="1255" y="1197"/>
                  </a:lnTo>
                  <a:lnTo>
                    <a:pt x="1257" y="1197"/>
                  </a:lnTo>
                  <a:lnTo>
                    <a:pt x="1259" y="1197"/>
                  </a:lnTo>
                  <a:lnTo>
                    <a:pt x="1262" y="1197"/>
                  </a:lnTo>
                  <a:lnTo>
                    <a:pt x="1264" y="1199"/>
                  </a:lnTo>
                  <a:lnTo>
                    <a:pt x="1267" y="1197"/>
                  </a:lnTo>
                  <a:lnTo>
                    <a:pt x="1267" y="1199"/>
                  </a:lnTo>
                  <a:lnTo>
                    <a:pt x="1269" y="1197"/>
                  </a:lnTo>
                  <a:lnTo>
                    <a:pt x="1271" y="1197"/>
                  </a:lnTo>
                  <a:lnTo>
                    <a:pt x="1274" y="1197"/>
                  </a:lnTo>
                  <a:lnTo>
                    <a:pt x="1274" y="1199"/>
                  </a:lnTo>
                  <a:lnTo>
                    <a:pt x="1276" y="1199"/>
                  </a:lnTo>
                  <a:lnTo>
                    <a:pt x="1276" y="1197"/>
                  </a:lnTo>
                  <a:lnTo>
                    <a:pt x="1278" y="1197"/>
                  </a:lnTo>
                  <a:lnTo>
                    <a:pt x="1278" y="1199"/>
                  </a:lnTo>
                  <a:lnTo>
                    <a:pt x="1276" y="1199"/>
                  </a:lnTo>
                  <a:lnTo>
                    <a:pt x="1278" y="1199"/>
                  </a:lnTo>
                  <a:lnTo>
                    <a:pt x="1281" y="1197"/>
                  </a:lnTo>
                  <a:lnTo>
                    <a:pt x="1283" y="1197"/>
                  </a:lnTo>
                  <a:lnTo>
                    <a:pt x="1283" y="1195"/>
                  </a:lnTo>
                  <a:lnTo>
                    <a:pt x="1286" y="1195"/>
                  </a:lnTo>
                  <a:lnTo>
                    <a:pt x="1286" y="1197"/>
                  </a:lnTo>
                  <a:lnTo>
                    <a:pt x="1288" y="1197"/>
                  </a:lnTo>
                  <a:lnTo>
                    <a:pt x="1290" y="1197"/>
                  </a:lnTo>
                  <a:lnTo>
                    <a:pt x="1290" y="1199"/>
                  </a:lnTo>
                  <a:lnTo>
                    <a:pt x="1293" y="1199"/>
                  </a:lnTo>
                  <a:lnTo>
                    <a:pt x="1295" y="1199"/>
                  </a:lnTo>
                  <a:lnTo>
                    <a:pt x="1295" y="1202"/>
                  </a:lnTo>
                  <a:lnTo>
                    <a:pt x="1297" y="1202"/>
                  </a:lnTo>
                  <a:lnTo>
                    <a:pt x="1297" y="1199"/>
                  </a:lnTo>
                  <a:lnTo>
                    <a:pt x="1300" y="1197"/>
                  </a:lnTo>
                  <a:lnTo>
                    <a:pt x="1300" y="1195"/>
                  </a:lnTo>
                  <a:lnTo>
                    <a:pt x="1300" y="1197"/>
                  </a:lnTo>
                  <a:lnTo>
                    <a:pt x="1302" y="1197"/>
                  </a:lnTo>
                  <a:lnTo>
                    <a:pt x="1305" y="1197"/>
                  </a:lnTo>
                  <a:lnTo>
                    <a:pt x="1307" y="1197"/>
                  </a:lnTo>
                  <a:lnTo>
                    <a:pt x="1307" y="1195"/>
                  </a:lnTo>
                  <a:lnTo>
                    <a:pt x="1309" y="1197"/>
                  </a:lnTo>
                  <a:lnTo>
                    <a:pt x="1309" y="1195"/>
                  </a:lnTo>
                  <a:lnTo>
                    <a:pt x="1309" y="1197"/>
                  </a:lnTo>
                  <a:lnTo>
                    <a:pt x="1309" y="1199"/>
                  </a:lnTo>
                  <a:lnTo>
                    <a:pt x="1309" y="1202"/>
                  </a:lnTo>
                  <a:lnTo>
                    <a:pt x="1307" y="1202"/>
                  </a:lnTo>
                  <a:lnTo>
                    <a:pt x="1305" y="1202"/>
                  </a:lnTo>
                  <a:lnTo>
                    <a:pt x="1305" y="1204"/>
                  </a:lnTo>
                  <a:lnTo>
                    <a:pt x="1305" y="1207"/>
                  </a:lnTo>
                  <a:lnTo>
                    <a:pt x="1307" y="1207"/>
                  </a:lnTo>
                  <a:lnTo>
                    <a:pt x="1307" y="1209"/>
                  </a:lnTo>
                  <a:lnTo>
                    <a:pt x="1305" y="1209"/>
                  </a:lnTo>
                  <a:lnTo>
                    <a:pt x="1305" y="1211"/>
                  </a:lnTo>
                  <a:lnTo>
                    <a:pt x="1307" y="1211"/>
                  </a:lnTo>
                  <a:lnTo>
                    <a:pt x="1305" y="1214"/>
                  </a:lnTo>
                  <a:lnTo>
                    <a:pt x="1302" y="1214"/>
                  </a:lnTo>
                  <a:lnTo>
                    <a:pt x="1305" y="1214"/>
                  </a:lnTo>
                  <a:lnTo>
                    <a:pt x="1307" y="1214"/>
                  </a:lnTo>
                  <a:lnTo>
                    <a:pt x="1309" y="1216"/>
                  </a:lnTo>
                  <a:lnTo>
                    <a:pt x="1309" y="1218"/>
                  </a:lnTo>
                  <a:lnTo>
                    <a:pt x="1307" y="1218"/>
                  </a:lnTo>
                  <a:lnTo>
                    <a:pt x="1309" y="1218"/>
                  </a:lnTo>
                  <a:lnTo>
                    <a:pt x="1309" y="1221"/>
                  </a:lnTo>
                  <a:lnTo>
                    <a:pt x="1309" y="1223"/>
                  </a:lnTo>
                  <a:lnTo>
                    <a:pt x="1307" y="1223"/>
                  </a:lnTo>
                  <a:lnTo>
                    <a:pt x="1307" y="1226"/>
                  </a:lnTo>
                  <a:lnTo>
                    <a:pt x="1309" y="1223"/>
                  </a:lnTo>
                  <a:lnTo>
                    <a:pt x="1312" y="1223"/>
                  </a:lnTo>
                  <a:lnTo>
                    <a:pt x="1314" y="1223"/>
                  </a:lnTo>
                  <a:lnTo>
                    <a:pt x="1314" y="1226"/>
                  </a:lnTo>
                  <a:lnTo>
                    <a:pt x="1316" y="1226"/>
                  </a:lnTo>
                  <a:lnTo>
                    <a:pt x="1319" y="1226"/>
                  </a:lnTo>
                  <a:lnTo>
                    <a:pt x="1319" y="1223"/>
                  </a:lnTo>
                  <a:lnTo>
                    <a:pt x="1319" y="1226"/>
                  </a:lnTo>
                  <a:lnTo>
                    <a:pt x="1321" y="1226"/>
                  </a:lnTo>
                  <a:lnTo>
                    <a:pt x="1319" y="1226"/>
                  </a:lnTo>
                  <a:lnTo>
                    <a:pt x="1319" y="1228"/>
                  </a:lnTo>
                  <a:lnTo>
                    <a:pt x="1316" y="1228"/>
                  </a:lnTo>
                  <a:lnTo>
                    <a:pt x="1316" y="1230"/>
                  </a:lnTo>
                  <a:lnTo>
                    <a:pt x="1314" y="1230"/>
                  </a:lnTo>
                  <a:lnTo>
                    <a:pt x="1312" y="1230"/>
                  </a:lnTo>
                  <a:lnTo>
                    <a:pt x="1309" y="1230"/>
                  </a:lnTo>
                  <a:lnTo>
                    <a:pt x="1307" y="1230"/>
                  </a:lnTo>
                  <a:lnTo>
                    <a:pt x="1305" y="1230"/>
                  </a:lnTo>
                  <a:lnTo>
                    <a:pt x="1305" y="1233"/>
                  </a:lnTo>
                  <a:lnTo>
                    <a:pt x="1305" y="1235"/>
                  </a:lnTo>
                  <a:lnTo>
                    <a:pt x="1305" y="1237"/>
                  </a:lnTo>
                  <a:lnTo>
                    <a:pt x="1302" y="1237"/>
                  </a:lnTo>
                  <a:lnTo>
                    <a:pt x="1302" y="1240"/>
                  </a:lnTo>
                  <a:lnTo>
                    <a:pt x="1302" y="1237"/>
                  </a:lnTo>
                  <a:lnTo>
                    <a:pt x="1302" y="1240"/>
                  </a:lnTo>
                  <a:lnTo>
                    <a:pt x="1300" y="1240"/>
                  </a:lnTo>
                  <a:lnTo>
                    <a:pt x="1300" y="1242"/>
                  </a:lnTo>
                  <a:lnTo>
                    <a:pt x="1297" y="1242"/>
                  </a:lnTo>
                  <a:lnTo>
                    <a:pt x="1297" y="1240"/>
                  </a:lnTo>
                  <a:lnTo>
                    <a:pt x="1297" y="1237"/>
                  </a:lnTo>
                  <a:lnTo>
                    <a:pt x="1295" y="1237"/>
                  </a:lnTo>
                  <a:lnTo>
                    <a:pt x="1293" y="1237"/>
                  </a:lnTo>
                  <a:lnTo>
                    <a:pt x="1293" y="1240"/>
                  </a:lnTo>
                  <a:lnTo>
                    <a:pt x="1295" y="1240"/>
                  </a:lnTo>
                  <a:lnTo>
                    <a:pt x="1297" y="1240"/>
                  </a:lnTo>
                  <a:lnTo>
                    <a:pt x="1297" y="1242"/>
                  </a:lnTo>
                  <a:lnTo>
                    <a:pt x="1295" y="1242"/>
                  </a:lnTo>
                  <a:lnTo>
                    <a:pt x="1295" y="1240"/>
                  </a:lnTo>
                  <a:lnTo>
                    <a:pt x="1293" y="1240"/>
                  </a:lnTo>
                  <a:lnTo>
                    <a:pt x="1290" y="1240"/>
                  </a:lnTo>
                  <a:lnTo>
                    <a:pt x="1288" y="1242"/>
                  </a:lnTo>
                  <a:lnTo>
                    <a:pt x="1290" y="1245"/>
                  </a:lnTo>
                  <a:lnTo>
                    <a:pt x="1290" y="1247"/>
                  </a:lnTo>
                  <a:lnTo>
                    <a:pt x="1288" y="1247"/>
                  </a:lnTo>
                  <a:lnTo>
                    <a:pt x="1288" y="1245"/>
                  </a:lnTo>
                  <a:lnTo>
                    <a:pt x="1286" y="1245"/>
                  </a:lnTo>
                  <a:lnTo>
                    <a:pt x="1286" y="1247"/>
                  </a:lnTo>
                  <a:lnTo>
                    <a:pt x="1288" y="1247"/>
                  </a:lnTo>
                  <a:lnTo>
                    <a:pt x="1288" y="1249"/>
                  </a:lnTo>
                  <a:lnTo>
                    <a:pt x="1290" y="1249"/>
                  </a:lnTo>
                  <a:lnTo>
                    <a:pt x="1293" y="1252"/>
                  </a:lnTo>
                  <a:lnTo>
                    <a:pt x="1290" y="1252"/>
                  </a:lnTo>
                  <a:lnTo>
                    <a:pt x="1293" y="1252"/>
                  </a:lnTo>
                  <a:lnTo>
                    <a:pt x="1293" y="1254"/>
                  </a:lnTo>
                  <a:lnTo>
                    <a:pt x="1290" y="1254"/>
                  </a:lnTo>
                  <a:lnTo>
                    <a:pt x="1290" y="1256"/>
                  </a:lnTo>
                  <a:lnTo>
                    <a:pt x="1288" y="1256"/>
                  </a:lnTo>
                  <a:lnTo>
                    <a:pt x="1286" y="1256"/>
                  </a:lnTo>
                  <a:lnTo>
                    <a:pt x="1283" y="1256"/>
                  </a:lnTo>
                  <a:lnTo>
                    <a:pt x="1283" y="1254"/>
                  </a:lnTo>
                  <a:lnTo>
                    <a:pt x="1281" y="1254"/>
                  </a:lnTo>
                  <a:lnTo>
                    <a:pt x="1281" y="1252"/>
                  </a:lnTo>
                  <a:lnTo>
                    <a:pt x="1278" y="1249"/>
                  </a:lnTo>
                  <a:lnTo>
                    <a:pt x="1278" y="1247"/>
                  </a:lnTo>
                  <a:lnTo>
                    <a:pt x="1276" y="1247"/>
                  </a:lnTo>
                  <a:lnTo>
                    <a:pt x="1274" y="1247"/>
                  </a:lnTo>
                  <a:lnTo>
                    <a:pt x="1271" y="1247"/>
                  </a:lnTo>
                  <a:lnTo>
                    <a:pt x="1271" y="1249"/>
                  </a:lnTo>
                  <a:lnTo>
                    <a:pt x="1269" y="1249"/>
                  </a:lnTo>
                  <a:lnTo>
                    <a:pt x="1271" y="1249"/>
                  </a:lnTo>
                  <a:lnTo>
                    <a:pt x="1271" y="1252"/>
                  </a:lnTo>
                  <a:lnTo>
                    <a:pt x="1271" y="1249"/>
                  </a:lnTo>
                  <a:lnTo>
                    <a:pt x="1271" y="1252"/>
                  </a:lnTo>
                  <a:lnTo>
                    <a:pt x="1271" y="1254"/>
                  </a:lnTo>
                  <a:lnTo>
                    <a:pt x="1269" y="1254"/>
                  </a:lnTo>
                  <a:lnTo>
                    <a:pt x="1269" y="1256"/>
                  </a:lnTo>
                  <a:lnTo>
                    <a:pt x="1271" y="1256"/>
                  </a:lnTo>
                  <a:lnTo>
                    <a:pt x="1269" y="1256"/>
                  </a:lnTo>
                  <a:lnTo>
                    <a:pt x="1269" y="1259"/>
                  </a:lnTo>
                  <a:lnTo>
                    <a:pt x="1267" y="1259"/>
                  </a:lnTo>
                  <a:lnTo>
                    <a:pt x="1264" y="1259"/>
                  </a:lnTo>
                  <a:lnTo>
                    <a:pt x="1264" y="1256"/>
                  </a:lnTo>
                  <a:lnTo>
                    <a:pt x="1267" y="1256"/>
                  </a:lnTo>
                  <a:lnTo>
                    <a:pt x="1267" y="1254"/>
                  </a:lnTo>
                  <a:lnTo>
                    <a:pt x="1267" y="1252"/>
                  </a:lnTo>
                  <a:lnTo>
                    <a:pt x="1267" y="1249"/>
                  </a:lnTo>
                  <a:lnTo>
                    <a:pt x="1264" y="1249"/>
                  </a:lnTo>
                  <a:lnTo>
                    <a:pt x="1267" y="1249"/>
                  </a:lnTo>
                  <a:lnTo>
                    <a:pt x="1267" y="1247"/>
                  </a:lnTo>
                  <a:lnTo>
                    <a:pt x="1264" y="1247"/>
                  </a:lnTo>
                  <a:lnTo>
                    <a:pt x="1267" y="1247"/>
                  </a:lnTo>
                  <a:lnTo>
                    <a:pt x="1269" y="1247"/>
                  </a:lnTo>
                  <a:lnTo>
                    <a:pt x="1269" y="1245"/>
                  </a:lnTo>
                  <a:lnTo>
                    <a:pt x="1271" y="1245"/>
                  </a:lnTo>
                  <a:lnTo>
                    <a:pt x="1269" y="1245"/>
                  </a:lnTo>
                  <a:lnTo>
                    <a:pt x="1267" y="1242"/>
                  </a:lnTo>
                  <a:lnTo>
                    <a:pt x="1267" y="1240"/>
                  </a:lnTo>
                  <a:lnTo>
                    <a:pt x="1264" y="1240"/>
                  </a:lnTo>
                  <a:lnTo>
                    <a:pt x="1262" y="1240"/>
                  </a:lnTo>
                  <a:lnTo>
                    <a:pt x="1257" y="1240"/>
                  </a:lnTo>
                  <a:lnTo>
                    <a:pt x="1255" y="1240"/>
                  </a:lnTo>
                  <a:lnTo>
                    <a:pt x="1252" y="1240"/>
                  </a:lnTo>
                  <a:lnTo>
                    <a:pt x="1250" y="1237"/>
                  </a:lnTo>
                  <a:lnTo>
                    <a:pt x="1248" y="1237"/>
                  </a:lnTo>
                  <a:lnTo>
                    <a:pt x="1248" y="1240"/>
                  </a:lnTo>
                  <a:lnTo>
                    <a:pt x="1245" y="1240"/>
                  </a:lnTo>
                  <a:lnTo>
                    <a:pt x="1243" y="1240"/>
                  </a:lnTo>
                  <a:lnTo>
                    <a:pt x="1243" y="1242"/>
                  </a:lnTo>
                  <a:lnTo>
                    <a:pt x="1240" y="1242"/>
                  </a:lnTo>
                  <a:lnTo>
                    <a:pt x="1240" y="1245"/>
                  </a:lnTo>
                  <a:lnTo>
                    <a:pt x="1240" y="1242"/>
                  </a:lnTo>
                  <a:lnTo>
                    <a:pt x="1240" y="1245"/>
                  </a:lnTo>
                  <a:lnTo>
                    <a:pt x="1240" y="1247"/>
                  </a:lnTo>
                  <a:lnTo>
                    <a:pt x="1238" y="1249"/>
                  </a:lnTo>
                  <a:lnTo>
                    <a:pt x="1238" y="1252"/>
                  </a:lnTo>
                  <a:lnTo>
                    <a:pt x="1238" y="1254"/>
                  </a:lnTo>
                  <a:lnTo>
                    <a:pt x="1240" y="1254"/>
                  </a:lnTo>
                  <a:lnTo>
                    <a:pt x="1238" y="1254"/>
                  </a:lnTo>
                  <a:lnTo>
                    <a:pt x="1238" y="1256"/>
                  </a:lnTo>
                  <a:lnTo>
                    <a:pt x="1240" y="1256"/>
                  </a:lnTo>
                  <a:lnTo>
                    <a:pt x="1240" y="1259"/>
                  </a:lnTo>
                  <a:lnTo>
                    <a:pt x="1238" y="1261"/>
                  </a:lnTo>
                  <a:lnTo>
                    <a:pt x="1238" y="1264"/>
                  </a:lnTo>
                  <a:lnTo>
                    <a:pt x="1240" y="1266"/>
                  </a:lnTo>
                  <a:lnTo>
                    <a:pt x="1243" y="1268"/>
                  </a:lnTo>
                  <a:lnTo>
                    <a:pt x="1245" y="1268"/>
                  </a:lnTo>
                  <a:lnTo>
                    <a:pt x="1248" y="1268"/>
                  </a:lnTo>
                  <a:lnTo>
                    <a:pt x="1248" y="1271"/>
                  </a:lnTo>
                  <a:lnTo>
                    <a:pt x="1250" y="1271"/>
                  </a:lnTo>
                  <a:lnTo>
                    <a:pt x="1248" y="1271"/>
                  </a:lnTo>
                  <a:lnTo>
                    <a:pt x="1250" y="1273"/>
                  </a:lnTo>
                  <a:lnTo>
                    <a:pt x="1252" y="1271"/>
                  </a:lnTo>
                  <a:lnTo>
                    <a:pt x="1252" y="1273"/>
                  </a:lnTo>
                  <a:lnTo>
                    <a:pt x="1255" y="1275"/>
                  </a:lnTo>
                  <a:lnTo>
                    <a:pt x="1257" y="1275"/>
                  </a:lnTo>
                  <a:lnTo>
                    <a:pt x="1257" y="1278"/>
                  </a:lnTo>
                  <a:lnTo>
                    <a:pt x="1257" y="1280"/>
                  </a:lnTo>
                  <a:lnTo>
                    <a:pt x="1259" y="1280"/>
                  </a:lnTo>
                  <a:lnTo>
                    <a:pt x="1262" y="1283"/>
                  </a:lnTo>
                  <a:lnTo>
                    <a:pt x="1262" y="1285"/>
                  </a:lnTo>
                  <a:lnTo>
                    <a:pt x="1264" y="1285"/>
                  </a:lnTo>
                  <a:lnTo>
                    <a:pt x="1267" y="1285"/>
                  </a:lnTo>
                  <a:lnTo>
                    <a:pt x="1269" y="1283"/>
                  </a:lnTo>
                  <a:lnTo>
                    <a:pt x="1271" y="1280"/>
                  </a:lnTo>
                  <a:lnTo>
                    <a:pt x="1274" y="1280"/>
                  </a:lnTo>
                  <a:lnTo>
                    <a:pt x="1276" y="1278"/>
                  </a:lnTo>
                  <a:lnTo>
                    <a:pt x="1278" y="1278"/>
                  </a:lnTo>
                  <a:lnTo>
                    <a:pt x="1281" y="1278"/>
                  </a:lnTo>
                  <a:lnTo>
                    <a:pt x="1283" y="1280"/>
                  </a:lnTo>
                  <a:lnTo>
                    <a:pt x="1283" y="1283"/>
                  </a:lnTo>
                  <a:lnTo>
                    <a:pt x="1286" y="1283"/>
                  </a:lnTo>
                  <a:lnTo>
                    <a:pt x="1290" y="1280"/>
                  </a:lnTo>
                  <a:lnTo>
                    <a:pt x="1290" y="1278"/>
                  </a:lnTo>
                  <a:lnTo>
                    <a:pt x="1293" y="1278"/>
                  </a:lnTo>
                  <a:lnTo>
                    <a:pt x="1295" y="1278"/>
                  </a:lnTo>
                  <a:lnTo>
                    <a:pt x="1295" y="1275"/>
                  </a:lnTo>
                  <a:lnTo>
                    <a:pt x="1297" y="1275"/>
                  </a:lnTo>
                  <a:lnTo>
                    <a:pt x="1300" y="1273"/>
                  </a:lnTo>
                  <a:lnTo>
                    <a:pt x="1302" y="1273"/>
                  </a:lnTo>
                  <a:lnTo>
                    <a:pt x="1305" y="1273"/>
                  </a:lnTo>
                  <a:lnTo>
                    <a:pt x="1307" y="1273"/>
                  </a:lnTo>
                  <a:lnTo>
                    <a:pt x="1307" y="1275"/>
                  </a:lnTo>
                  <a:lnTo>
                    <a:pt x="1309" y="1273"/>
                  </a:lnTo>
                  <a:lnTo>
                    <a:pt x="1309" y="1271"/>
                  </a:lnTo>
                  <a:lnTo>
                    <a:pt x="1312" y="1268"/>
                  </a:lnTo>
                  <a:lnTo>
                    <a:pt x="1314" y="1268"/>
                  </a:lnTo>
                  <a:lnTo>
                    <a:pt x="1314" y="1266"/>
                  </a:lnTo>
                  <a:lnTo>
                    <a:pt x="1316" y="1266"/>
                  </a:lnTo>
                  <a:lnTo>
                    <a:pt x="1316" y="1264"/>
                  </a:lnTo>
                  <a:lnTo>
                    <a:pt x="1316" y="1261"/>
                  </a:lnTo>
                  <a:lnTo>
                    <a:pt x="1319" y="1261"/>
                  </a:lnTo>
                  <a:lnTo>
                    <a:pt x="1319" y="1259"/>
                  </a:lnTo>
                  <a:lnTo>
                    <a:pt x="1321" y="1259"/>
                  </a:lnTo>
                  <a:lnTo>
                    <a:pt x="1321" y="1261"/>
                  </a:lnTo>
                  <a:lnTo>
                    <a:pt x="1324" y="1261"/>
                  </a:lnTo>
                  <a:lnTo>
                    <a:pt x="1326" y="1261"/>
                  </a:lnTo>
                  <a:lnTo>
                    <a:pt x="1326" y="1264"/>
                  </a:lnTo>
                  <a:lnTo>
                    <a:pt x="1328" y="1264"/>
                  </a:lnTo>
                  <a:lnTo>
                    <a:pt x="1328" y="1261"/>
                  </a:lnTo>
                  <a:lnTo>
                    <a:pt x="1331" y="1261"/>
                  </a:lnTo>
                  <a:lnTo>
                    <a:pt x="1331" y="1264"/>
                  </a:lnTo>
                  <a:lnTo>
                    <a:pt x="1328" y="1266"/>
                  </a:lnTo>
                  <a:lnTo>
                    <a:pt x="1331" y="1266"/>
                  </a:lnTo>
                  <a:lnTo>
                    <a:pt x="1331" y="1268"/>
                  </a:lnTo>
                  <a:lnTo>
                    <a:pt x="1328" y="1268"/>
                  </a:lnTo>
                  <a:lnTo>
                    <a:pt x="1328" y="1271"/>
                  </a:lnTo>
                  <a:lnTo>
                    <a:pt x="1328" y="1273"/>
                  </a:lnTo>
                  <a:lnTo>
                    <a:pt x="1326" y="1275"/>
                  </a:lnTo>
                  <a:lnTo>
                    <a:pt x="1324" y="1278"/>
                  </a:lnTo>
                  <a:lnTo>
                    <a:pt x="1321" y="1278"/>
                  </a:lnTo>
                  <a:lnTo>
                    <a:pt x="1321" y="1280"/>
                  </a:lnTo>
                  <a:lnTo>
                    <a:pt x="1321" y="1283"/>
                  </a:lnTo>
                  <a:lnTo>
                    <a:pt x="1324" y="1283"/>
                  </a:lnTo>
                  <a:lnTo>
                    <a:pt x="1324" y="1285"/>
                  </a:lnTo>
                  <a:lnTo>
                    <a:pt x="1324" y="1287"/>
                  </a:lnTo>
                  <a:lnTo>
                    <a:pt x="1321" y="1287"/>
                  </a:lnTo>
                  <a:lnTo>
                    <a:pt x="1324" y="1290"/>
                  </a:lnTo>
                  <a:lnTo>
                    <a:pt x="1324" y="1292"/>
                  </a:lnTo>
                  <a:lnTo>
                    <a:pt x="1326" y="1292"/>
                  </a:lnTo>
                  <a:lnTo>
                    <a:pt x="1324" y="1294"/>
                  </a:lnTo>
                  <a:lnTo>
                    <a:pt x="1321" y="1297"/>
                  </a:lnTo>
                  <a:lnTo>
                    <a:pt x="1321" y="1299"/>
                  </a:lnTo>
                  <a:lnTo>
                    <a:pt x="1321" y="1297"/>
                  </a:lnTo>
                  <a:lnTo>
                    <a:pt x="1319" y="1297"/>
                  </a:lnTo>
                  <a:lnTo>
                    <a:pt x="1316" y="1297"/>
                  </a:lnTo>
                  <a:lnTo>
                    <a:pt x="1314" y="1297"/>
                  </a:lnTo>
                  <a:lnTo>
                    <a:pt x="1312" y="1297"/>
                  </a:lnTo>
                  <a:lnTo>
                    <a:pt x="1309" y="1297"/>
                  </a:lnTo>
                  <a:lnTo>
                    <a:pt x="1307" y="1299"/>
                  </a:lnTo>
                  <a:lnTo>
                    <a:pt x="1307" y="1302"/>
                  </a:lnTo>
                  <a:lnTo>
                    <a:pt x="1305" y="1304"/>
                  </a:lnTo>
                  <a:lnTo>
                    <a:pt x="1305" y="1306"/>
                  </a:lnTo>
                  <a:lnTo>
                    <a:pt x="1302" y="1306"/>
                  </a:lnTo>
                  <a:lnTo>
                    <a:pt x="1302" y="1309"/>
                  </a:lnTo>
                  <a:lnTo>
                    <a:pt x="1302" y="1306"/>
                  </a:lnTo>
                  <a:lnTo>
                    <a:pt x="1300" y="1306"/>
                  </a:lnTo>
                  <a:lnTo>
                    <a:pt x="1300" y="1309"/>
                  </a:lnTo>
                  <a:lnTo>
                    <a:pt x="1297" y="1306"/>
                  </a:lnTo>
                  <a:lnTo>
                    <a:pt x="1297" y="1309"/>
                  </a:lnTo>
                  <a:lnTo>
                    <a:pt x="1295" y="1309"/>
                  </a:lnTo>
                  <a:lnTo>
                    <a:pt x="1297" y="1311"/>
                  </a:lnTo>
                  <a:lnTo>
                    <a:pt x="1295" y="1311"/>
                  </a:lnTo>
                  <a:lnTo>
                    <a:pt x="1295" y="1313"/>
                  </a:lnTo>
                  <a:lnTo>
                    <a:pt x="1297" y="1316"/>
                  </a:lnTo>
                  <a:lnTo>
                    <a:pt x="1295" y="1316"/>
                  </a:lnTo>
                  <a:lnTo>
                    <a:pt x="1295" y="1318"/>
                  </a:lnTo>
                  <a:lnTo>
                    <a:pt x="1295" y="1321"/>
                  </a:lnTo>
                  <a:lnTo>
                    <a:pt x="1295" y="1323"/>
                  </a:lnTo>
                  <a:lnTo>
                    <a:pt x="1293" y="1325"/>
                  </a:lnTo>
                  <a:lnTo>
                    <a:pt x="1293" y="1328"/>
                  </a:lnTo>
                  <a:lnTo>
                    <a:pt x="1295" y="1328"/>
                  </a:lnTo>
                  <a:lnTo>
                    <a:pt x="1295" y="1330"/>
                  </a:lnTo>
                  <a:lnTo>
                    <a:pt x="1295" y="1337"/>
                  </a:lnTo>
                  <a:lnTo>
                    <a:pt x="1295" y="1340"/>
                  </a:lnTo>
                  <a:lnTo>
                    <a:pt x="1295" y="1342"/>
                  </a:lnTo>
                  <a:lnTo>
                    <a:pt x="1295" y="1344"/>
                  </a:lnTo>
                  <a:lnTo>
                    <a:pt x="1295" y="1351"/>
                  </a:lnTo>
                  <a:lnTo>
                    <a:pt x="1297" y="1354"/>
                  </a:lnTo>
                  <a:lnTo>
                    <a:pt x="1295" y="1354"/>
                  </a:lnTo>
                  <a:lnTo>
                    <a:pt x="1293" y="1354"/>
                  </a:lnTo>
                  <a:lnTo>
                    <a:pt x="1295" y="1359"/>
                  </a:lnTo>
                  <a:lnTo>
                    <a:pt x="1293" y="1359"/>
                  </a:lnTo>
                  <a:lnTo>
                    <a:pt x="1293" y="1361"/>
                  </a:lnTo>
                  <a:lnTo>
                    <a:pt x="1290" y="1361"/>
                  </a:lnTo>
                  <a:lnTo>
                    <a:pt x="1290" y="1363"/>
                  </a:lnTo>
                  <a:lnTo>
                    <a:pt x="1290" y="1366"/>
                  </a:lnTo>
                  <a:lnTo>
                    <a:pt x="1293" y="1368"/>
                  </a:lnTo>
                  <a:lnTo>
                    <a:pt x="1293" y="1370"/>
                  </a:lnTo>
                  <a:lnTo>
                    <a:pt x="1290" y="1370"/>
                  </a:lnTo>
                  <a:lnTo>
                    <a:pt x="1293" y="1370"/>
                  </a:lnTo>
                  <a:lnTo>
                    <a:pt x="1290" y="1370"/>
                  </a:lnTo>
                  <a:lnTo>
                    <a:pt x="1293" y="1370"/>
                  </a:lnTo>
                  <a:lnTo>
                    <a:pt x="1290" y="1370"/>
                  </a:lnTo>
                  <a:lnTo>
                    <a:pt x="1290" y="1373"/>
                  </a:lnTo>
                  <a:lnTo>
                    <a:pt x="1290" y="1375"/>
                  </a:lnTo>
                  <a:lnTo>
                    <a:pt x="1293" y="1375"/>
                  </a:lnTo>
                  <a:lnTo>
                    <a:pt x="1293" y="1378"/>
                  </a:lnTo>
                  <a:lnTo>
                    <a:pt x="1293" y="1380"/>
                  </a:lnTo>
                  <a:lnTo>
                    <a:pt x="1290" y="1380"/>
                  </a:lnTo>
                  <a:lnTo>
                    <a:pt x="1290" y="1382"/>
                  </a:lnTo>
                  <a:lnTo>
                    <a:pt x="1293" y="1382"/>
                  </a:lnTo>
                  <a:lnTo>
                    <a:pt x="1293" y="1385"/>
                  </a:lnTo>
                  <a:lnTo>
                    <a:pt x="1295" y="1385"/>
                  </a:lnTo>
                  <a:lnTo>
                    <a:pt x="1295" y="1382"/>
                  </a:lnTo>
                  <a:lnTo>
                    <a:pt x="1297" y="1382"/>
                  </a:lnTo>
                  <a:lnTo>
                    <a:pt x="1297" y="1385"/>
                  </a:lnTo>
                  <a:lnTo>
                    <a:pt x="1300" y="1385"/>
                  </a:lnTo>
                  <a:lnTo>
                    <a:pt x="1297" y="1385"/>
                  </a:lnTo>
                  <a:lnTo>
                    <a:pt x="1300" y="1385"/>
                  </a:lnTo>
                  <a:lnTo>
                    <a:pt x="1300" y="1387"/>
                  </a:lnTo>
                  <a:lnTo>
                    <a:pt x="1302" y="1389"/>
                  </a:lnTo>
                  <a:lnTo>
                    <a:pt x="1305" y="1392"/>
                  </a:lnTo>
                  <a:lnTo>
                    <a:pt x="1305" y="1389"/>
                  </a:lnTo>
                  <a:lnTo>
                    <a:pt x="1307" y="1389"/>
                  </a:lnTo>
                  <a:lnTo>
                    <a:pt x="1307" y="1387"/>
                  </a:lnTo>
                  <a:lnTo>
                    <a:pt x="1305" y="1385"/>
                  </a:lnTo>
                  <a:lnTo>
                    <a:pt x="1307" y="1385"/>
                  </a:lnTo>
                  <a:lnTo>
                    <a:pt x="1307" y="1382"/>
                  </a:lnTo>
                  <a:lnTo>
                    <a:pt x="1307" y="1380"/>
                  </a:lnTo>
                  <a:lnTo>
                    <a:pt x="1307" y="1382"/>
                  </a:lnTo>
                  <a:lnTo>
                    <a:pt x="1307" y="1380"/>
                  </a:lnTo>
                  <a:lnTo>
                    <a:pt x="1307" y="1382"/>
                  </a:lnTo>
                  <a:lnTo>
                    <a:pt x="1309" y="1380"/>
                  </a:lnTo>
                  <a:lnTo>
                    <a:pt x="1309" y="1382"/>
                  </a:lnTo>
                  <a:lnTo>
                    <a:pt x="1312" y="1382"/>
                  </a:lnTo>
                  <a:lnTo>
                    <a:pt x="1312" y="1380"/>
                  </a:lnTo>
                  <a:lnTo>
                    <a:pt x="1314" y="1382"/>
                  </a:lnTo>
                  <a:lnTo>
                    <a:pt x="1314" y="1385"/>
                  </a:lnTo>
                  <a:lnTo>
                    <a:pt x="1316" y="1385"/>
                  </a:lnTo>
                  <a:lnTo>
                    <a:pt x="1316" y="1382"/>
                  </a:lnTo>
                  <a:lnTo>
                    <a:pt x="1319" y="1382"/>
                  </a:lnTo>
                  <a:lnTo>
                    <a:pt x="1321" y="1382"/>
                  </a:lnTo>
                  <a:lnTo>
                    <a:pt x="1321" y="1385"/>
                  </a:lnTo>
                  <a:lnTo>
                    <a:pt x="1324" y="1385"/>
                  </a:lnTo>
                  <a:lnTo>
                    <a:pt x="1324" y="1382"/>
                  </a:lnTo>
                  <a:lnTo>
                    <a:pt x="1326" y="1380"/>
                  </a:lnTo>
                  <a:lnTo>
                    <a:pt x="1326" y="1382"/>
                  </a:lnTo>
                  <a:lnTo>
                    <a:pt x="1328" y="1382"/>
                  </a:lnTo>
                  <a:lnTo>
                    <a:pt x="1328" y="1385"/>
                  </a:lnTo>
                  <a:lnTo>
                    <a:pt x="1331" y="1385"/>
                  </a:lnTo>
                  <a:lnTo>
                    <a:pt x="1333" y="1385"/>
                  </a:lnTo>
                  <a:lnTo>
                    <a:pt x="1335" y="1385"/>
                  </a:lnTo>
                  <a:lnTo>
                    <a:pt x="1338" y="1385"/>
                  </a:lnTo>
                  <a:lnTo>
                    <a:pt x="1338" y="1387"/>
                  </a:lnTo>
                  <a:lnTo>
                    <a:pt x="1338" y="1389"/>
                  </a:lnTo>
                  <a:lnTo>
                    <a:pt x="1338" y="1392"/>
                  </a:lnTo>
                  <a:lnTo>
                    <a:pt x="1335" y="1392"/>
                  </a:lnTo>
                  <a:lnTo>
                    <a:pt x="1335" y="1394"/>
                  </a:lnTo>
                  <a:lnTo>
                    <a:pt x="1333" y="1394"/>
                  </a:lnTo>
                  <a:lnTo>
                    <a:pt x="1333" y="1397"/>
                  </a:lnTo>
                  <a:lnTo>
                    <a:pt x="1331" y="1397"/>
                  </a:lnTo>
                  <a:lnTo>
                    <a:pt x="1331" y="1399"/>
                  </a:lnTo>
                  <a:lnTo>
                    <a:pt x="1328" y="1399"/>
                  </a:lnTo>
                  <a:lnTo>
                    <a:pt x="1328" y="1401"/>
                  </a:lnTo>
                  <a:lnTo>
                    <a:pt x="1328" y="1404"/>
                  </a:lnTo>
                  <a:lnTo>
                    <a:pt x="1331" y="1404"/>
                  </a:lnTo>
                  <a:lnTo>
                    <a:pt x="1333" y="1406"/>
                  </a:lnTo>
                  <a:lnTo>
                    <a:pt x="1331" y="1406"/>
                  </a:lnTo>
                  <a:lnTo>
                    <a:pt x="1333" y="1408"/>
                  </a:lnTo>
                  <a:lnTo>
                    <a:pt x="1335" y="1411"/>
                  </a:lnTo>
                  <a:lnTo>
                    <a:pt x="1333" y="1411"/>
                  </a:lnTo>
                  <a:lnTo>
                    <a:pt x="1335" y="1411"/>
                  </a:lnTo>
                  <a:lnTo>
                    <a:pt x="1338" y="1411"/>
                  </a:lnTo>
                  <a:lnTo>
                    <a:pt x="1335" y="1411"/>
                  </a:lnTo>
                  <a:lnTo>
                    <a:pt x="1335" y="1408"/>
                  </a:lnTo>
                  <a:lnTo>
                    <a:pt x="1338" y="1411"/>
                  </a:lnTo>
                  <a:lnTo>
                    <a:pt x="1343" y="1413"/>
                  </a:lnTo>
                  <a:lnTo>
                    <a:pt x="1345" y="1416"/>
                  </a:lnTo>
                  <a:lnTo>
                    <a:pt x="1347" y="1416"/>
                  </a:lnTo>
                  <a:lnTo>
                    <a:pt x="1350" y="1416"/>
                  </a:lnTo>
                  <a:lnTo>
                    <a:pt x="1347" y="1416"/>
                  </a:lnTo>
                  <a:lnTo>
                    <a:pt x="1347" y="1418"/>
                  </a:lnTo>
                  <a:lnTo>
                    <a:pt x="1345" y="1418"/>
                  </a:lnTo>
                  <a:lnTo>
                    <a:pt x="1345" y="1420"/>
                  </a:lnTo>
                  <a:lnTo>
                    <a:pt x="1343" y="1420"/>
                  </a:lnTo>
                  <a:lnTo>
                    <a:pt x="1345" y="1420"/>
                  </a:lnTo>
                  <a:lnTo>
                    <a:pt x="1345" y="1423"/>
                  </a:lnTo>
                  <a:lnTo>
                    <a:pt x="1350" y="1423"/>
                  </a:lnTo>
                  <a:lnTo>
                    <a:pt x="1362" y="1423"/>
                  </a:lnTo>
                  <a:lnTo>
                    <a:pt x="1362" y="1425"/>
                  </a:lnTo>
                  <a:lnTo>
                    <a:pt x="1362" y="1427"/>
                  </a:lnTo>
                  <a:lnTo>
                    <a:pt x="1364" y="1427"/>
                  </a:lnTo>
                  <a:lnTo>
                    <a:pt x="1364" y="1430"/>
                  </a:lnTo>
                  <a:lnTo>
                    <a:pt x="1364" y="1432"/>
                  </a:lnTo>
                  <a:lnTo>
                    <a:pt x="1366" y="1432"/>
                  </a:lnTo>
                  <a:lnTo>
                    <a:pt x="1369" y="1432"/>
                  </a:lnTo>
                  <a:lnTo>
                    <a:pt x="1371" y="1432"/>
                  </a:lnTo>
                  <a:lnTo>
                    <a:pt x="1373" y="1432"/>
                  </a:lnTo>
                  <a:lnTo>
                    <a:pt x="1376" y="1432"/>
                  </a:lnTo>
                  <a:lnTo>
                    <a:pt x="1378" y="1432"/>
                  </a:lnTo>
                  <a:lnTo>
                    <a:pt x="1378" y="1435"/>
                  </a:lnTo>
                  <a:lnTo>
                    <a:pt x="1378" y="1432"/>
                  </a:lnTo>
                  <a:lnTo>
                    <a:pt x="1378" y="1435"/>
                  </a:lnTo>
                  <a:lnTo>
                    <a:pt x="1380" y="1435"/>
                  </a:lnTo>
                  <a:lnTo>
                    <a:pt x="1383" y="1437"/>
                  </a:lnTo>
                  <a:lnTo>
                    <a:pt x="1388" y="1442"/>
                  </a:lnTo>
                  <a:lnTo>
                    <a:pt x="1383" y="1442"/>
                  </a:lnTo>
                  <a:lnTo>
                    <a:pt x="1383" y="1451"/>
                  </a:lnTo>
                  <a:lnTo>
                    <a:pt x="1380" y="1456"/>
                  </a:lnTo>
                  <a:lnTo>
                    <a:pt x="1380" y="1463"/>
                  </a:lnTo>
                  <a:lnTo>
                    <a:pt x="1364" y="1468"/>
                  </a:lnTo>
                  <a:lnTo>
                    <a:pt x="1359" y="1470"/>
                  </a:lnTo>
                  <a:lnTo>
                    <a:pt x="1357" y="1470"/>
                  </a:lnTo>
                  <a:lnTo>
                    <a:pt x="1354" y="1470"/>
                  </a:lnTo>
                  <a:lnTo>
                    <a:pt x="1352" y="1470"/>
                  </a:lnTo>
                  <a:lnTo>
                    <a:pt x="1350" y="1470"/>
                  </a:lnTo>
                  <a:lnTo>
                    <a:pt x="1347" y="1470"/>
                  </a:lnTo>
                  <a:lnTo>
                    <a:pt x="1345" y="1470"/>
                  </a:lnTo>
                  <a:lnTo>
                    <a:pt x="1343" y="1470"/>
                  </a:lnTo>
                  <a:lnTo>
                    <a:pt x="1340" y="1468"/>
                  </a:lnTo>
                  <a:lnTo>
                    <a:pt x="1338" y="1463"/>
                  </a:lnTo>
                  <a:lnTo>
                    <a:pt x="1333" y="1461"/>
                  </a:lnTo>
                  <a:lnTo>
                    <a:pt x="1331" y="1463"/>
                  </a:lnTo>
                  <a:lnTo>
                    <a:pt x="1331" y="1465"/>
                  </a:lnTo>
                  <a:lnTo>
                    <a:pt x="1331" y="1468"/>
                  </a:lnTo>
                  <a:lnTo>
                    <a:pt x="1331" y="1470"/>
                  </a:lnTo>
                  <a:lnTo>
                    <a:pt x="1328" y="1473"/>
                  </a:lnTo>
                  <a:lnTo>
                    <a:pt x="1326" y="1477"/>
                  </a:lnTo>
                  <a:lnTo>
                    <a:pt x="1324" y="1477"/>
                  </a:lnTo>
                  <a:lnTo>
                    <a:pt x="1319" y="1477"/>
                  </a:lnTo>
                  <a:lnTo>
                    <a:pt x="1316" y="1477"/>
                  </a:lnTo>
                  <a:lnTo>
                    <a:pt x="1314" y="1477"/>
                  </a:lnTo>
                  <a:lnTo>
                    <a:pt x="1314" y="1475"/>
                  </a:lnTo>
                  <a:lnTo>
                    <a:pt x="1316" y="1475"/>
                  </a:lnTo>
                  <a:lnTo>
                    <a:pt x="1316" y="1473"/>
                  </a:lnTo>
                  <a:lnTo>
                    <a:pt x="1314" y="1473"/>
                  </a:lnTo>
                  <a:lnTo>
                    <a:pt x="1312" y="1473"/>
                  </a:lnTo>
                  <a:lnTo>
                    <a:pt x="1309" y="1470"/>
                  </a:lnTo>
                  <a:lnTo>
                    <a:pt x="1307" y="1473"/>
                  </a:lnTo>
                  <a:lnTo>
                    <a:pt x="1307" y="1470"/>
                  </a:lnTo>
                  <a:lnTo>
                    <a:pt x="1305" y="1470"/>
                  </a:lnTo>
                  <a:lnTo>
                    <a:pt x="1302" y="1470"/>
                  </a:lnTo>
                  <a:lnTo>
                    <a:pt x="1300" y="1470"/>
                  </a:lnTo>
                  <a:lnTo>
                    <a:pt x="1297" y="1468"/>
                  </a:lnTo>
                  <a:lnTo>
                    <a:pt x="1295" y="1468"/>
                  </a:lnTo>
                  <a:lnTo>
                    <a:pt x="1293" y="1468"/>
                  </a:lnTo>
                  <a:lnTo>
                    <a:pt x="1295" y="1468"/>
                  </a:lnTo>
                  <a:lnTo>
                    <a:pt x="1293" y="1468"/>
                  </a:lnTo>
                  <a:lnTo>
                    <a:pt x="1293" y="1465"/>
                  </a:lnTo>
                  <a:lnTo>
                    <a:pt x="1290" y="1465"/>
                  </a:lnTo>
                  <a:lnTo>
                    <a:pt x="1293" y="1463"/>
                  </a:lnTo>
                  <a:lnTo>
                    <a:pt x="1293" y="1465"/>
                  </a:lnTo>
                  <a:lnTo>
                    <a:pt x="1290" y="1463"/>
                  </a:lnTo>
                  <a:lnTo>
                    <a:pt x="1288" y="1463"/>
                  </a:lnTo>
                  <a:lnTo>
                    <a:pt x="1288" y="1461"/>
                  </a:lnTo>
                  <a:lnTo>
                    <a:pt x="1286" y="1461"/>
                  </a:lnTo>
                  <a:lnTo>
                    <a:pt x="1286" y="1458"/>
                  </a:lnTo>
                  <a:lnTo>
                    <a:pt x="1286" y="1456"/>
                  </a:lnTo>
                  <a:lnTo>
                    <a:pt x="1288" y="1454"/>
                  </a:lnTo>
                  <a:lnTo>
                    <a:pt x="1286" y="1454"/>
                  </a:lnTo>
                  <a:lnTo>
                    <a:pt x="1286" y="1451"/>
                  </a:lnTo>
                  <a:lnTo>
                    <a:pt x="1283" y="1451"/>
                  </a:lnTo>
                  <a:lnTo>
                    <a:pt x="1283" y="1449"/>
                  </a:lnTo>
                  <a:lnTo>
                    <a:pt x="1281" y="1451"/>
                  </a:lnTo>
                  <a:lnTo>
                    <a:pt x="1278" y="1451"/>
                  </a:lnTo>
                  <a:lnTo>
                    <a:pt x="1278" y="1449"/>
                  </a:lnTo>
                  <a:lnTo>
                    <a:pt x="1276" y="1446"/>
                  </a:lnTo>
                  <a:lnTo>
                    <a:pt x="1276" y="1444"/>
                  </a:lnTo>
                  <a:lnTo>
                    <a:pt x="1276" y="1446"/>
                  </a:lnTo>
                  <a:lnTo>
                    <a:pt x="1274" y="1446"/>
                  </a:lnTo>
                  <a:lnTo>
                    <a:pt x="1271" y="1449"/>
                  </a:lnTo>
                  <a:lnTo>
                    <a:pt x="1274" y="1449"/>
                  </a:lnTo>
                  <a:lnTo>
                    <a:pt x="1271" y="1449"/>
                  </a:lnTo>
                  <a:lnTo>
                    <a:pt x="1271" y="1451"/>
                  </a:lnTo>
                  <a:lnTo>
                    <a:pt x="1269" y="1451"/>
                  </a:lnTo>
                  <a:lnTo>
                    <a:pt x="1269" y="1449"/>
                  </a:lnTo>
                  <a:lnTo>
                    <a:pt x="1267" y="1449"/>
                  </a:lnTo>
                  <a:lnTo>
                    <a:pt x="1264" y="1449"/>
                  </a:lnTo>
                  <a:lnTo>
                    <a:pt x="1262" y="1449"/>
                  </a:lnTo>
                  <a:lnTo>
                    <a:pt x="1259" y="1449"/>
                  </a:lnTo>
                  <a:lnTo>
                    <a:pt x="1259" y="1446"/>
                  </a:lnTo>
                  <a:lnTo>
                    <a:pt x="1257" y="1446"/>
                  </a:lnTo>
                  <a:lnTo>
                    <a:pt x="1257" y="1451"/>
                  </a:lnTo>
                  <a:lnTo>
                    <a:pt x="1257" y="1456"/>
                  </a:lnTo>
                  <a:lnTo>
                    <a:pt x="1257" y="1458"/>
                  </a:lnTo>
                  <a:lnTo>
                    <a:pt x="1255" y="1458"/>
                  </a:lnTo>
                  <a:lnTo>
                    <a:pt x="1252" y="1458"/>
                  </a:lnTo>
                  <a:lnTo>
                    <a:pt x="1250" y="1458"/>
                  </a:lnTo>
                  <a:lnTo>
                    <a:pt x="1250" y="1461"/>
                  </a:lnTo>
                  <a:lnTo>
                    <a:pt x="1248" y="1461"/>
                  </a:lnTo>
                  <a:lnTo>
                    <a:pt x="1248" y="1458"/>
                  </a:lnTo>
                  <a:lnTo>
                    <a:pt x="1245" y="1458"/>
                  </a:lnTo>
                  <a:lnTo>
                    <a:pt x="1243" y="1458"/>
                  </a:lnTo>
                  <a:lnTo>
                    <a:pt x="1243" y="1456"/>
                  </a:lnTo>
                  <a:lnTo>
                    <a:pt x="1243" y="1454"/>
                  </a:lnTo>
                  <a:lnTo>
                    <a:pt x="1240" y="1454"/>
                  </a:lnTo>
                  <a:lnTo>
                    <a:pt x="1240" y="1451"/>
                  </a:lnTo>
                  <a:lnTo>
                    <a:pt x="1238" y="1449"/>
                  </a:lnTo>
                  <a:lnTo>
                    <a:pt x="1233" y="1451"/>
                  </a:lnTo>
                  <a:lnTo>
                    <a:pt x="1231" y="1451"/>
                  </a:lnTo>
                  <a:lnTo>
                    <a:pt x="1231" y="1449"/>
                  </a:lnTo>
                  <a:lnTo>
                    <a:pt x="1229" y="1451"/>
                  </a:lnTo>
                  <a:lnTo>
                    <a:pt x="1226" y="1449"/>
                  </a:lnTo>
                  <a:lnTo>
                    <a:pt x="1224" y="1449"/>
                  </a:lnTo>
                  <a:lnTo>
                    <a:pt x="1224" y="1451"/>
                  </a:lnTo>
                  <a:lnTo>
                    <a:pt x="1224" y="1456"/>
                  </a:lnTo>
                  <a:lnTo>
                    <a:pt x="1222" y="1454"/>
                  </a:lnTo>
                  <a:lnTo>
                    <a:pt x="1219" y="1454"/>
                  </a:lnTo>
                  <a:lnTo>
                    <a:pt x="1219" y="1451"/>
                  </a:lnTo>
                  <a:lnTo>
                    <a:pt x="1217" y="1451"/>
                  </a:lnTo>
                  <a:lnTo>
                    <a:pt x="1217" y="1449"/>
                  </a:lnTo>
                  <a:lnTo>
                    <a:pt x="1214" y="1451"/>
                  </a:lnTo>
                  <a:lnTo>
                    <a:pt x="1214" y="1456"/>
                  </a:lnTo>
                  <a:lnTo>
                    <a:pt x="1212" y="1456"/>
                  </a:lnTo>
                  <a:lnTo>
                    <a:pt x="1212" y="1458"/>
                  </a:lnTo>
                  <a:lnTo>
                    <a:pt x="1210" y="1458"/>
                  </a:lnTo>
                  <a:lnTo>
                    <a:pt x="1207" y="1458"/>
                  </a:lnTo>
                  <a:lnTo>
                    <a:pt x="1205" y="1456"/>
                  </a:lnTo>
                  <a:lnTo>
                    <a:pt x="1205" y="1458"/>
                  </a:lnTo>
                  <a:lnTo>
                    <a:pt x="1205" y="1461"/>
                  </a:lnTo>
                  <a:lnTo>
                    <a:pt x="1205" y="1463"/>
                  </a:lnTo>
                  <a:lnTo>
                    <a:pt x="1205" y="1465"/>
                  </a:lnTo>
                  <a:lnTo>
                    <a:pt x="1203" y="1468"/>
                  </a:lnTo>
                  <a:lnTo>
                    <a:pt x="1200" y="1470"/>
                  </a:lnTo>
                  <a:lnTo>
                    <a:pt x="1198" y="1470"/>
                  </a:lnTo>
                  <a:lnTo>
                    <a:pt x="1198" y="1473"/>
                  </a:lnTo>
                  <a:lnTo>
                    <a:pt x="1195" y="1473"/>
                  </a:lnTo>
                  <a:lnTo>
                    <a:pt x="1193" y="1473"/>
                  </a:lnTo>
                  <a:lnTo>
                    <a:pt x="1193" y="1475"/>
                  </a:lnTo>
                  <a:lnTo>
                    <a:pt x="1191" y="1475"/>
                  </a:lnTo>
                  <a:lnTo>
                    <a:pt x="1188" y="1475"/>
                  </a:lnTo>
                  <a:lnTo>
                    <a:pt x="1186" y="1473"/>
                  </a:lnTo>
                  <a:lnTo>
                    <a:pt x="1184" y="1473"/>
                  </a:lnTo>
                  <a:lnTo>
                    <a:pt x="1184" y="1470"/>
                  </a:lnTo>
                  <a:lnTo>
                    <a:pt x="1181" y="1470"/>
                  </a:lnTo>
                  <a:lnTo>
                    <a:pt x="1179" y="1470"/>
                  </a:lnTo>
                  <a:lnTo>
                    <a:pt x="1176" y="1468"/>
                  </a:lnTo>
                  <a:lnTo>
                    <a:pt x="1172" y="1463"/>
                  </a:lnTo>
                  <a:lnTo>
                    <a:pt x="1169" y="1463"/>
                  </a:lnTo>
                  <a:lnTo>
                    <a:pt x="1169" y="1461"/>
                  </a:lnTo>
                  <a:lnTo>
                    <a:pt x="1172" y="1461"/>
                  </a:lnTo>
                  <a:lnTo>
                    <a:pt x="1172" y="1458"/>
                  </a:lnTo>
                  <a:lnTo>
                    <a:pt x="1169" y="1458"/>
                  </a:lnTo>
                  <a:lnTo>
                    <a:pt x="1167" y="1458"/>
                  </a:lnTo>
                  <a:lnTo>
                    <a:pt x="1165" y="1458"/>
                  </a:lnTo>
                  <a:lnTo>
                    <a:pt x="1165" y="1456"/>
                  </a:lnTo>
                  <a:lnTo>
                    <a:pt x="1162" y="1456"/>
                  </a:lnTo>
                  <a:lnTo>
                    <a:pt x="1165" y="1456"/>
                  </a:lnTo>
                  <a:lnTo>
                    <a:pt x="1162" y="1456"/>
                  </a:lnTo>
                  <a:lnTo>
                    <a:pt x="1160" y="1454"/>
                  </a:lnTo>
                  <a:lnTo>
                    <a:pt x="1157" y="1454"/>
                  </a:lnTo>
                  <a:lnTo>
                    <a:pt x="1157" y="1451"/>
                  </a:lnTo>
                  <a:lnTo>
                    <a:pt x="1157" y="1454"/>
                  </a:lnTo>
                  <a:lnTo>
                    <a:pt x="1155" y="1454"/>
                  </a:lnTo>
                  <a:lnTo>
                    <a:pt x="1153" y="1454"/>
                  </a:lnTo>
                  <a:lnTo>
                    <a:pt x="1153" y="1456"/>
                  </a:lnTo>
                  <a:lnTo>
                    <a:pt x="1153" y="1458"/>
                  </a:lnTo>
                  <a:lnTo>
                    <a:pt x="1153" y="1456"/>
                  </a:lnTo>
                  <a:lnTo>
                    <a:pt x="1153" y="1458"/>
                  </a:lnTo>
                  <a:lnTo>
                    <a:pt x="1153" y="1456"/>
                  </a:lnTo>
                  <a:lnTo>
                    <a:pt x="1153" y="1458"/>
                  </a:lnTo>
                  <a:lnTo>
                    <a:pt x="1150" y="1458"/>
                  </a:lnTo>
                  <a:lnTo>
                    <a:pt x="1153" y="1458"/>
                  </a:lnTo>
                  <a:lnTo>
                    <a:pt x="1155" y="1458"/>
                  </a:lnTo>
                  <a:lnTo>
                    <a:pt x="1157" y="1458"/>
                  </a:lnTo>
                  <a:lnTo>
                    <a:pt x="1157" y="1463"/>
                  </a:lnTo>
                  <a:lnTo>
                    <a:pt x="1155" y="1463"/>
                  </a:lnTo>
                  <a:lnTo>
                    <a:pt x="1157" y="1465"/>
                  </a:lnTo>
                  <a:lnTo>
                    <a:pt x="1157" y="1468"/>
                  </a:lnTo>
                  <a:lnTo>
                    <a:pt x="1157" y="1470"/>
                  </a:lnTo>
                  <a:lnTo>
                    <a:pt x="1157" y="1473"/>
                  </a:lnTo>
                  <a:lnTo>
                    <a:pt x="1157" y="1475"/>
                  </a:lnTo>
                  <a:lnTo>
                    <a:pt x="1155" y="1475"/>
                  </a:lnTo>
                  <a:lnTo>
                    <a:pt x="1155" y="1477"/>
                  </a:lnTo>
                  <a:lnTo>
                    <a:pt x="1153" y="1477"/>
                  </a:lnTo>
                  <a:lnTo>
                    <a:pt x="1153" y="1475"/>
                  </a:lnTo>
                  <a:lnTo>
                    <a:pt x="1153" y="1477"/>
                  </a:lnTo>
                  <a:lnTo>
                    <a:pt x="1150" y="1477"/>
                  </a:lnTo>
                  <a:lnTo>
                    <a:pt x="1150" y="1475"/>
                  </a:lnTo>
                  <a:lnTo>
                    <a:pt x="1148" y="1473"/>
                  </a:lnTo>
                  <a:lnTo>
                    <a:pt x="1148" y="1470"/>
                  </a:lnTo>
                  <a:lnTo>
                    <a:pt x="1148" y="1468"/>
                  </a:lnTo>
                  <a:lnTo>
                    <a:pt x="1148" y="1465"/>
                  </a:lnTo>
                  <a:lnTo>
                    <a:pt x="1150" y="1465"/>
                  </a:lnTo>
                  <a:lnTo>
                    <a:pt x="1150" y="1463"/>
                  </a:lnTo>
                  <a:lnTo>
                    <a:pt x="1150" y="1461"/>
                  </a:lnTo>
                  <a:lnTo>
                    <a:pt x="1148" y="1461"/>
                  </a:lnTo>
                  <a:lnTo>
                    <a:pt x="1146" y="1461"/>
                  </a:lnTo>
                  <a:lnTo>
                    <a:pt x="1146" y="1458"/>
                  </a:lnTo>
                  <a:lnTo>
                    <a:pt x="1143" y="1458"/>
                  </a:lnTo>
                  <a:lnTo>
                    <a:pt x="1143" y="1456"/>
                  </a:lnTo>
                  <a:lnTo>
                    <a:pt x="1141" y="1456"/>
                  </a:lnTo>
                  <a:lnTo>
                    <a:pt x="1141" y="1454"/>
                  </a:lnTo>
                  <a:lnTo>
                    <a:pt x="1138" y="1454"/>
                  </a:lnTo>
                  <a:lnTo>
                    <a:pt x="1141" y="1454"/>
                  </a:lnTo>
                  <a:lnTo>
                    <a:pt x="1138" y="1454"/>
                  </a:lnTo>
                  <a:lnTo>
                    <a:pt x="1141" y="1454"/>
                  </a:lnTo>
                  <a:lnTo>
                    <a:pt x="1141" y="1451"/>
                  </a:lnTo>
                  <a:lnTo>
                    <a:pt x="1138" y="1451"/>
                  </a:lnTo>
                  <a:lnTo>
                    <a:pt x="1138" y="1449"/>
                  </a:lnTo>
                  <a:lnTo>
                    <a:pt x="1136" y="1449"/>
                  </a:lnTo>
                  <a:lnTo>
                    <a:pt x="1136" y="1446"/>
                  </a:lnTo>
                  <a:lnTo>
                    <a:pt x="1134" y="1446"/>
                  </a:lnTo>
                  <a:lnTo>
                    <a:pt x="1131" y="1444"/>
                  </a:lnTo>
                  <a:lnTo>
                    <a:pt x="1129" y="1444"/>
                  </a:lnTo>
                  <a:lnTo>
                    <a:pt x="1127" y="1444"/>
                  </a:lnTo>
                  <a:lnTo>
                    <a:pt x="1124" y="1444"/>
                  </a:lnTo>
                  <a:lnTo>
                    <a:pt x="1124" y="1442"/>
                  </a:lnTo>
                  <a:lnTo>
                    <a:pt x="1124" y="1444"/>
                  </a:lnTo>
                  <a:lnTo>
                    <a:pt x="1124" y="1442"/>
                  </a:lnTo>
                  <a:lnTo>
                    <a:pt x="1124" y="1444"/>
                  </a:lnTo>
                  <a:lnTo>
                    <a:pt x="1124" y="1442"/>
                  </a:lnTo>
                  <a:lnTo>
                    <a:pt x="1124" y="1444"/>
                  </a:lnTo>
                  <a:lnTo>
                    <a:pt x="1122" y="1442"/>
                  </a:lnTo>
                  <a:lnTo>
                    <a:pt x="1122" y="1444"/>
                  </a:lnTo>
                  <a:lnTo>
                    <a:pt x="1122" y="1442"/>
                  </a:lnTo>
                  <a:lnTo>
                    <a:pt x="1122" y="1439"/>
                  </a:lnTo>
                  <a:lnTo>
                    <a:pt x="1122" y="1442"/>
                  </a:lnTo>
                  <a:lnTo>
                    <a:pt x="1122" y="1439"/>
                  </a:lnTo>
                  <a:lnTo>
                    <a:pt x="1122" y="1442"/>
                  </a:lnTo>
                  <a:lnTo>
                    <a:pt x="1122" y="1439"/>
                  </a:lnTo>
                  <a:lnTo>
                    <a:pt x="1119" y="1439"/>
                  </a:lnTo>
                  <a:lnTo>
                    <a:pt x="1122" y="1439"/>
                  </a:lnTo>
                  <a:lnTo>
                    <a:pt x="1122" y="1437"/>
                  </a:lnTo>
                  <a:lnTo>
                    <a:pt x="1122" y="1439"/>
                  </a:lnTo>
                  <a:lnTo>
                    <a:pt x="1122" y="1437"/>
                  </a:lnTo>
                  <a:lnTo>
                    <a:pt x="1119" y="1437"/>
                  </a:lnTo>
                  <a:lnTo>
                    <a:pt x="1122" y="1437"/>
                  </a:lnTo>
                  <a:lnTo>
                    <a:pt x="1119" y="1437"/>
                  </a:lnTo>
                  <a:lnTo>
                    <a:pt x="1122" y="1437"/>
                  </a:lnTo>
                  <a:lnTo>
                    <a:pt x="1122" y="1435"/>
                  </a:lnTo>
                  <a:lnTo>
                    <a:pt x="1122" y="1437"/>
                  </a:lnTo>
                  <a:lnTo>
                    <a:pt x="1122" y="1435"/>
                  </a:lnTo>
                  <a:lnTo>
                    <a:pt x="1119" y="1435"/>
                  </a:lnTo>
                  <a:lnTo>
                    <a:pt x="1119" y="1432"/>
                  </a:lnTo>
                  <a:lnTo>
                    <a:pt x="1117" y="1432"/>
                  </a:lnTo>
                  <a:lnTo>
                    <a:pt x="1115" y="1432"/>
                  </a:lnTo>
                  <a:lnTo>
                    <a:pt x="1112" y="1430"/>
                  </a:lnTo>
                  <a:lnTo>
                    <a:pt x="1110" y="1430"/>
                  </a:lnTo>
                  <a:lnTo>
                    <a:pt x="1108" y="1430"/>
                  </a:lnTo>
                  <a:lnTo>
                    <a:pt x="1108" y="1427"/>
                  </a:lnTo>
                  <a:lnTo>
                    <a:pt x="1105" y="1427"/>
                  </a:lnTo>
                  <a:lnTo>
                    <a:pt x="1105" y="1430"/>
                  </a:lnTo>
                  <a:lnTo>
                    <a:pt x="1103" y="1430"/>
                  </a:lnTo>
                  <a:lnTo>
                    <a:pt x="1101" y="1430"/>
                  </a:lnTo>
                  <a:lnTo>
                    <a:pt x="1098" y="1430"/>
                  </a:lnTo>
                  <a:lnTo>
                    <a:pt x="1098" y="1432"/>
                  </a:lnTo>
                  <a:lnTo>
                    <a:pt x="1101" y="1432"/>
                  </a:lnTo>
                  <a:lnTo>
                    <a:pt x="1098" y="1432"/>
                  </a:lnTo>
                  <a:lnTo>
                    <a:pt x="1098" y="1430"/>
                  </a:lnTo>
                  <a:lnTo>
                    <a:pt x="1096" y="1430"/>
                  </a:lnTo>
                  <a:lnTo>
                    <a:pt x="1098" y="1430"/>
                  </a:lnTo>
                  <a:lnTo>
                    <a:pt x="1096" y="1430"/>
                  </a:lnTo>
                  <a:lnTo>
                    <a:pt x="1093" y="1430"/>
                  </a:lnTo>
                  <a:lnTo>
                    <a:pt x="1096" y="1430"/>
                  </a:lnTo>
                  <a:lnTo>
                    <a:pt x="1093" y="1430"/>
                  </a:lnTo>
                  <a:lnTo>
                    <a:pt x="1093" y="1427"/>
                  </a:lnTo>
                  <a:lnTo>
                    <a:pt x="1093" y="1430"/>
                  </a:lnTo>
                  <a:lnTo>
                    <a:pt x="1091" y="1430"/>
                  </a:lnTo>
                  <a:lnTo>
                    <a:pt x="1091" y="1432"/>
                  </a:lnTo>
                  <a:lnTo>
                    <a:pt x="1089" y="1430"/>
                  </a:lnTo>
                  <a:lnTo>
                    <a:pt x="1089" y="1432"/>
                  </a:lnTo>
                  <a:lnTo>
                    <a:pt x="1089" y="1430"/>
                  </a:lnTo>
                  <a:lnTo>
                    <a:pt x="1089" y="1432"/>
                  </a:lnTo>
                  <a:lnTo>
                    <a:pt x="1086" y="1432"/>
                  </a:lnTo>
                  <a:lnTo>
                    <a:pt x="1089" y="1430"/>
                  </a:lnTo>
                  <a:lnTo>
                    <a:pt x="1086" y="1430"/>
                  </a:lnTo>
                  <a:lnTo>
                    <a:pt x="1086" y="1432"/>
                  </a:lnTo>
                  <a:lnTo>
                    <a:pt x="1086" y="1430"/>
                  </a:lnTo>
                  <a:lnTo>
                    <a:pt x="1084" y="1430"/>
                  </a:lnTo>
                  <a:lnTo>
                    <a:pt x="1084" y="1427"/>
                  </a:lnTo>
                  <a:lnTo>
                    <a:pt x="1084" y="1425"/>
                  </a:lnTo>
                  <a:lnTo>
                    <a:pt x="1084" y="1423"/>
                  </a:lnTo>
                  <a:lnTo>
                    <a:pt x="1082" y="1423"/>
                  </a:lnTo>
                  <a:lnTo>
                    <a:pt x="1082" y="1420"/>
                  </a:lnTo>
                  <a:lnTo>
                    <a:pt x="1079" y="1418"/>
                  </a:lnTo>
                  <a:lnTo>
                    <a:pt x="1082" y="1418"/>
                  </a:lnTo>
                  <a:lnTo>
                    <a:pt x="1079" y="1416"/>
                  </a:lnTo>
                  <a:lnTo>
                    <a:pt x="1079" y="1418"/>
                  </a:lnTo>
                  <a:lnTo>
                    <a:pt x="1077" y="1418"/>
                  </a:lnTo>
                  <a:lnTo>
                    <a:pt x="1074" y="1418"/>
                  </a:lnTo>
                  <a:lnTo>
                    <a:pt x="1074" y="1420"/>
                  </a:lnTo>
                  <a:lnTo>
                    <a:pt x="1072" y="1420"/>
                  </a:lnTo>
                  <a:lnTo>
                    <a:pt x="1070" y="1423"/>
                  </a:lnTo>
                  <a:lnTo>
                    <a:pt x="1070" y="1420"/>
                  </a:lnTo>
                  <a:lnTo>
                    <a:pt x="1067" y="1420"/>
                  </a:lnTo>
                  <a:lnTo>
                    <a:pt x="1065" y="1420"/>
                  </a:lnTo>
                  <a:lnTo>
                    <a:pt x="1063" y="1420"/>
                  </a:lnTo>
                  <a:lnTo>
                    <a:pt x="1063" y="1423"/>
                  </a:lnTo>
                  <a:lnTo>
                    <a:pt x="1060" y="1423"/>
                  </a:lnTo>
                  <a:lnTo>
                    <a:pt x="1060" y="1425"/>
                  </a:lnTo>
                  <a:lnTo>
                    <a:pt x="1063" y="1430"/>
                  </a:lnTo>
                  <a:lnTo>
                    <a:pt x="1058" y="1430"/>
                  </a:lnTo>
                  <a:lnTo>
                    <a:pt x="1060" y="1432"/>
                  </a:lnTo>
                  <a:lnTo>
                    <a:pt x="1055" y="1432"/>
                  </a:lnTo>
                  <a:lnTo>
                    <a:pt x="1055" y="1430"/>
                  </a:lnTo>
                  <a:lnTo>
                    <a:pt x="1055" y="1427"/>
                  </a:lnTo>
                  <a:lnTo>
                    <a:pt x="1053" y="1427"/>
                  </a:lnTo>
                  <a:lnTo>
                    <a:pt x="1053" y="1430"/>
                  </a:lnTo>
                  <a:lnTo>
                    <a:pt x="1051" y="1430"/>
                  </a:lnTo>
                  <a:lnTo>
                    <a:pt x="1048" y="1430"/>
                  </a:lnTo>
                  <a:lnTo>
                    <a:pt x="1044" y="1430"/>
                  </a:lnTo>
                  <a:lnTo>
                    <a:pt x="1044" y="1427"/>
                  </a:lnTo>
                  <a:lnTo>
                    <a:pt x="1048" y="1427"/>
                  </a:lnTo>
                  <a:lnTo>
                    <a:pt x="1048" y="1423"/>
                  </a:lnTo>
                  <a:lnTo>
                    <a:pt x="1046" y="1423"/>
                  </a:lnTo>
                  <a:lnTo>
                    <a:pt x="1044" y="1420"/>
                  </a:lnTo>
                  <a:lnTo>
                    <a:pt x="1041" y="1420"/>
                  </a:lnTo>
                  <a:lnTo>
                    <a:pt x="1039" y="1420"/>
                  </a:lnTo>
                  <a:lnTo>
                    <a:pt x="1036" y="1420"/>
                  </a:lnTo>
                  <a:lnTo>
                    <a:pt x="1034" y="1420"/>
                  </a:lnTo>
                  <a:lnTo>
                    <a:pt x="1032" y="1420"/>
                  </a:lnTo>
                  <a:lnTo>
                    <a:pt x="1032" y="1418"/>
                  </a:lnTo>
                  <a:lnTo>
                    <a:pt x="1029" y="1418"/>
                  </a:lnTo>
                  <a:lnTo>
                    <a:pt x="1027" y="1416"/>
                  </a:lnTo>
                  <a:lnTo>
                    <a:pt x="1027" y="1418"/>
                  </a:lnTo>
                  <a:lnTo>
                    <a:pt x="1027" y="1420"/>
                  </a:lnTo>
                  <a:lnTo>
                    <a:pt x="1029" y="1420"/>
                  </a:lnTo>
                  <a:lnTo>
                    <a:pt x="1029" y="1423"/>
                  </a:lnTo>
                  <a:lnTo>
                    <a:pt x="1029" y="1425"/>
                  </a:lnTo>
                  <a:lnTo>
                    <a:pt x="1027" y="1425"/>
                  </a:lnTo>
                  <a:lnTo>
                    <a:pt x="1025" y="1425"/>
                  </a:lnTo>
                  <a:lnTo>
                    <a:pt x="1027" y="1425"/>
                  </a:lnTo>
                  <a:lnTo>
                    <a:pt x="1027" y="1423"/>
                  </a:lnTo>
                  <a:lnTo>
                    <a:pt x="1022" y="1423"/>
                  </a:lnTo>
                  <a:lnTo>
                    <a:pt x="1022" y="1425"/>
                  </a:lnTo>
                  <a:lnTo>
                    <a:pt x="1020" y="1425"/>
                  </a:lnTo>
                  <a:lnTo>
                    <a:pt x="1020" y="1430"/>
                  </a:lnTo>
                  <a:lnTo>
                    <a:pt x="1020" y="1432"/>
                  </a:lnTo>
                  <a:lnTo>
                    <a:pt x="1017" y="1432"/>
                  </a:lnTo>
                  <a:lnTo>
                    <a:pt x="1015" y="1432"/>
                  </a:lnTo>
                  <a:lnTo>
                    <a:pt x="1015" y="1435"/>
                  </a:lnTo>
                  <a:lnTo>
                    <a:pt x="1013" y="1435"/>
                  </a:lnTo>
                  <a:lnTo>
                    <a:pt x="1015" y="1437"/>
                  </a:lnTo>
                  <a:lnTo>
                    <a:pt x="1013" y="1439"/>
                  </a:lnTo>
                  <a:lnTo>
                    <a:pt x="1010" y="1439"/>
                  </a:lnTo>
                  <a:lnTo>
                    <a:pt x="1003" y="1442"/>
                  </a:lnTo>
                  <a:lnTo>
                    <a:pt x="1001" y="1442"/>
                  </a:lnTo>
                  <a:lnTo>
                    <a:pt x="1001" y="1444"/>
                  </a:lnTo>
                  <a:lnTo>
                    <a:pt x="998" y="1444"/>
                  </a:lnTo>
                  <a:lnTo>
                    <a:pt x="994" y="1449"/>
                  </a:lnTo>
                  <a:lnTo>
                    <a:pt x="987" y="1449"/>
                  </a:lnTo>
                  <a:lnTo>
                    <a:pt x="984" y="1449"/>
                  </a:lnTo>
                  <a:lnTo>
                    <a:pt x="982" y="1449"/>
                  </a:lnTo>
                  <a:lnTo>
                    <a:pt x="982" y="1451"/>
                  </a:lnTo>
                  <a:lnTo>
                    <a:pt x="982" y="1454"/>
                  </a:lnTo>
                  <a:lnTo>
                    <a:pt x="979" y="1454"/>
                  </a:lnTo>
                  <a:lnTo>
                    <a:pt x="982" y="1454"/>
                  </a:lnTo>
                  <a:lnTo>
                    <a:pt x="982" y="1456"/>
                  </a:lnTo>
                  <a:lnTo>
                    <a:pt x="982" y="1458"/>
                  </a:lnTo>
                  <a:lnTo>
                    <a:pt x="984" y="1458"/>
                  </a:lnTo>
                  <a:lnTo>
                    <a:pt x="984" y="1461"/>
                  </a:lnTo>
                  <a:lnTo>
                    <a:pt x="982" y="1461"/>
                  </a:lnTo>
                  <a:lnTo>
                    <a:pt x="977" y="1463"/>
                  </a:lnTo>
                  <a:lnTo>
                    <a:pt x="972" y="1465"/>
                  </a:lnTo>
                  <a:lnTo>
                    <a:pt x="972" y="1468"/>
                  </a:lnTo>
                  <a:lnTo>
                    <a:pt x="970" y="1470"/>
                  </a:lnTo>
                  <a:lnTo>
                    <a:pt x="968" y="1470"/>
                  </a:lnTo>
                  <a:lnTo>
                    <a:pt x="965" y="1473"/>
                  </a:lnTo>
                  <a:lnTo>
                    <a:pt x="963" y="1473"/>
                  </a:lnTo>
                  <a:lnTo>
                    <a:pt x="961" y="1473"/>
                  </a:lnTo>
                  <a:lnTo>
                    <a:pt x="958" y="1473"/>
                  </a:lnTo>
                  <a:lnTo>
                    <a:pt x="958" y="1470"/>
                  </a:lnTo>
                  <a:lnTo>
                    <a:pt x="956" y="1470"/>
                  </a:lnTo>
                  <a:lnTo>
                    <a:pt x="956" y="1473"/>
                  </a:lnTo>
                  <a:lnTo>
                    <a:pt x="958" y="1473"/>
                  </a:lnTo>
                  <a:lnTo>
                    <a:pt x="958" y="1475"/>
                  </a:lnTo>
                  <a:lnTo>
                    <a:pt x="958" y="1477"/>
                  </a:lnTo>
                  <a:lnTo>
                    <a:pt x="958" y="1480"/>
                  </a:lnTo>
                  <a:lnTo>
                    <a:pt x="958" y="1487"/>
                  </a:lnTo>
                  <a:lnTo>
                    <a:pt x="961" y="1489"/>
                  </a:lnTo>
                  <a:lnTo>
                    <a:pt x="961" y="1492"/>
                  </a:lnTo>
                  <a:lnTo>
                    <a:pt x="963" y="1492"/>
                  </a:lnTo>
                  <a:lnTo>
                    <a:pt x="963" y="1494"/>
                  </a:lnTo>
                  <a:lnTo>
                    <a:pt x="961" y="1499"/>
                  </a:lnTo>
                  <a:lnTo>
                    <a:pt x="963" y="1499"/>
                  </a:lnTo>
                  <a:lnTo>
                    <a:pt x="965" y="1499"/>
                  </a:lnTo>
                  <a:lnTo>
                    <a:pt x="965" y="1501"/>
                  </a:lnTo>
                  <a:lnTo>
                    <a:pt x="961" y="1506"/>
                  </a:lnTo>
                  <a:lnTo>
                    <a:pt x="958" y="1508"/>
                  </a:lnTo>
                  <a:lnTo>
                    <a:pt x="951" y="1511"/>
                  </a:lnTo>
                  <a:lnTo>
                    <a:pt x="951" y="1513"/>
                  </a:lnTo>
                  <a:lnTo>
                    <a:pt x="949" y="1511"/>
                  </a:lnTo>
                  <a:lnTo>
                    <a:pt x="946" y="1511"/>
                  </a:lnTo>
                  <a:lnTo>
                    <a:pt x="946" y="1508"/>
                  </a:lnTo>
                  <a:lnTo>
                    <a:pt x="946" y="1511"/>
                  </a:lnTo>
                  <a:lnTo>
                    <a:pt x="944" y="1511"/>
                  </a:lnTo>
                  <a:lnTo>
                    <a:pt x="944" y="1508"/>
                  </a:lnTo>
                  <a:lnTo>
                    <a:pt x="944" y="1506"/>
                  </a:lnTo>
                  <a:lnTo>
                    <a:pt x="942" y="1506"/>
                  </a:lnTo>
                  <a:lnTo>
                    <a:pt x="942" y="1503"/>
                  </a:lnTo>
                  <a:lnTo>
                    <a:pt x="939" y="1503"/>
                  </a:lnTo>
                  <a:lnTo>
                    <a:pt x="939" y="1501"/>
                  </a:lnTo>
                  <a:lnTo>
                    <a:pt x="939" y="1499"/>
                  </a:lnTo>
                  <a:lnTo>
                    <a:pt x="937" y="1496"/>
                  </a:lnTo>
                  <a:lnTo>
                    <a:pt x="937" y="1494"/>
                  </a:lnTo>
                  <a:lnTo>
                    <a:pt x="934" y="1494"/>
                  </a:lnTo>
                  <a:lnTo>
                    <a:pt x="934" y="1492"/>
                  </a:lnTo>
                  <a:lnTo>
                    <a:pt x="932" y="1492"/>
                  </a:lnTo>
                  <a:lnTo>
                    <a:pt x="932" y="1489"/>
                  </a:lnTo>
                  <a:lnTo>
                    <a:pt x="932" y="1487"/>
                  </a:lnTo>
                  <a:lnTo>
                    <a:pt x="930" y="1487"/>
                  </a:lnTo>
                  <a:lnTo>
                    <a:pt x="927" y="1487"/>
                  </a:lnTo>
                  <a:lnTo>
                    <a:pt x="927" y="1484"/>
                  </a:lnTo>
                  <a:lnTo>
                    <a:pt x="925" y="1484"/>
                  </a:lnTo>
                  <a:lnTo>
                    <a:pt x="925" y="1482"/>
                  </a:lnTo>
                  <a:lnTo>
                    <a:pt x="923" y="1482"/>
                  </a:lnTo>
                  <a:lnTo>
                    <a:pt x="923" y="1480"/>
                  </a:lnTo>
                  <a:lnTo>
                    <a:pt x="925" y="1480"/>
                  </a:lnTo>
                  <a:lnTo>
                    <a:pt x="923" y="1480"/>
                  </a:lnTo>
                  <a:lnTo>
                    <a:pt x="920" y="1480"/>
                  </a:lnTo>
                  <a:lnTo>
                    <a:pt x="920" y="1482"/>
                  </a:lnTo>
                  <a:lnTo>
                    <a:pt x="918" y="1482"/>
                  </a:lnTo>
                  <a:lnTo>
                    <a:pt x="918" y="1484"/>
                  </a:lnTo>
                  <a:lnTo>
                    <a:pt x="915" y="1487"/>
                  </a:lnTo>
                  <a:lnTo>
                    <a:pt x="913" y="1487"/>
                  </a:lnTo>
                  <a:lnTo>
                    <a:pt x="913" y="1489"/>
                  </a:lnTo>
                  <a:lnTo>
                    <a:pt x="913" y="1492"/>
                  </a:lnTo>
                  <a:lnTo>
                    <a:pt x="911" y="1494"/>
                  </a:lnTo>
                  <a:lnTo>
                    <a:pt x="913" y="1496"/>
                  </a:lnTo>
                  <a:lnTo>
                    <a:pt x="915" y="1499"/>
                  </a:lnTo>
                  <a:lnTo>
                    <a:pt x="908" y="1506"/>
                  </a:lnTo>
                  <a:lnTo>
                    <a:pt x="906" y="1508"/>
                  </a:lnTo>
                  <a:lnTo>
                    <a:pt x="901" y="1508"/>
                  </a:lnTo>
                  <a:lnTo>
                    <a:pt x="899" y="1508"/>
                  </a:lnTo>
                  <a:lnTo>
                    <a:pt x="899" y="1511"/>
                  </a:lnTo>
                  <a:lnTo>
                    <a:pt x="899" y="1513"/>
                  </a:lnTo>
                  <a:lnTo>
                    <a:pt x="899" y="1515"/>
                  </a:lnTo>
                  <a:lnTo>
                    <a:pt x="899" y="1520"/>
                  </a:lnTo>
                  <a:lnTo>
                    <a:pt x="896" y="1525"/>
                  </a:lnTo>
                  <a:lnTo>
                    <a:pt x="896" y="1530"/>
                  </a:lnTo>
                  <a:lnTo>
                    <a:pt x="896" y="1534"/>
                  </a:lnTo>
                  <a:lnTo>
                    <a:pt x="896" y="1537"/>
                  </a:lnTo>
                  <a:lnTo>
                    <a:pt x="899" y="1537"/>
                  </a:lnTo>
                  <a:lnTo>
                    <a:pt x="901" y="1537"/>
                  </a:lnTo>
                  <a:lnTo>
                    <a:pt x="904" y="1539"/>
                  </a:lnTo>
                  <a:lnTo>
                    <a:pt x="904" y="1542"/>
                  </a:lnTo>
                  <a:lnTo>
                    <a:pt x="904" y="1544"/>
                  </a:lnTo>
                  <a:lnTo>
                    <a:pt x="904" y="1546"/>
                  </a:lnTo>
                  <a:lnTo>
                    <a:pt x="901" y="1551"/>
                  </a:lnTo>
                  <a:lnTo>
                    <a:pt x="899" y="1551"/>
                  </a:lnTo>
                  <a:lnTo>
                    <a:pt x="896" y="1553"/>
                  </a:lnTo>
                  <a:lnTo>
                    <a:pt x="892" y="1563"/>
                  </a:lnTo>
                  <a:lnTo>
                    <a:pt x="889" y="1568"/>
                  </a:lnTo>
                  <a:lnTo>
                    <a:pt x="887" y="1580"/>
                  </a:lnTo>
                  <a:lnTo>
                    <a:pt x="889" y="1580"/>
                  </a:lnTo>
                  <a:lnTo>
                    <a:pt x="892" y="1580"/>
                  </a:lnTo>
                  <a:lnTo>
                    <a:pt x="894" y="1582"/>
                  </a:lnTo>
                  <a:lnTo>
                    <a:pt x="896" y="1582"/>
                  </a:lnTo>
                  <a:lnTo>
                    <a:pt x="899" y="1584"/>
                  </a:lnTo>
                  <a:lnTo>
                    <a:pt x="901" y="1584"/>
                  </a:lnTo>
                  <a:lnTo>
                    <a:pt x="904" y="1584"/>
                  </a:lnTo>
                  <a:lnTo>
                    <a:pt x="906" y="1587"/>
                  </a:lnTo>
                  <a:lnTo>
                    <a:pt x="906" y="1589"/>
                  </a:lnTo>
                  <a:lnTo>
                    <a:pt x="906" y="1591"/>
                  </a:lnTo>
                  <a:lnTo>
                    <a:pt x="906" y="1594"/>
                  </a:lnTo>
                  <a:lnTo>
                    <a:pt x="911" y="1596"/>
                  </a:lnTo>
                  <a:lnTo>
                    <a:pt x="908" y="1596"/>
                  </a:lnTo>
                  <a:lnTo>
                    <a:pt x="908" y="1599"/>
                  </a:lnTo>
                  <a:lnTo>
                    <a:pt x="904" y="1599"/>
                  </a:lnTo>
                  <a:lnTo>
                    <a:pt x="906" y="1603"/>
                  </a:lnTo>
                  <a:lnTo>
                    <a:pt x="908" y="1606"/>
                  </a:lnTo>
                  <a:lnTo>
                    <a:pt x="906" y="1608"/>
                  </a:lnTo>
                  <a:lnTo>
                    <a:pt x="908" y="1610"/>
                  </a:lnTo>
                  <a:lnTo>
                    <a:pt x="911" y="1610"/>
                  </a:lnTo>
                  <a:lnTo>
                    <a:pt x="915" y="1613"/>
                  </a:lnTo>
                  <a:lnTo>
                    <a:pt x="915" y="1615"/>
                  </a:lnTo>
                  <a:lnTo>
                    <a:pt x="915" y="1610"/>
                  </a:lnTo>
                  <a:lnTo>
                    <a:pt x="915" y="1608"/>
                  </a:lnTo>
                  <a:lnTo>
                    <a:pt x="918" y="1608"/>
                  </a:lnTo>
                  <a:lnTo>
                    <a:pt x="923" y="1610"/>
                  </a:lnTo>
                  <a:lnTo>
                    <a:pt x="925" y="1610"/>
                  </a:lnTo>
                  <a:lnTo>
                    <a:pt x="927" y="1610"/>
                  </a:lnTo>
                  <a:lnTo>
                    <a:pt x="934" y="1610"/>
                  </a:lnTo>
                  <a:lnTo>
                    <a:pt x="937" y="1610"/>
                  </a:lnTo>
                  <a:lnTo>
                    <a:pt x="939" y="1613"/>
                  </a:lnTo>
                  <a:lnTo>
                    <a:pt x="942" y="1613"/>
                  </a:lnTo>
                  <a:lnTo>
                    <a:pt x="951" y="1627"/>
                  </a:lnTo>
                  <a:lnTo>
                    <a:pt x="953" y="1627"/>
                  </a:lnTo>
                  <a:lnTo>
                    <a:pt x="956" y="1632"/>
                  </a:lnTo>
                  <a:lnTo>
                    <a:pt x="958" y="1639"/>
                  </a:lnTo>
                  <a:lnTo>
                    <a:pt x="958" y="1641"/>
                  </a:lnTo>
                  <a:lnTo>
                    <a:pt x="965" y="1653"/>
                  </a:lnTo>
                  <a:lnTo>
                    <a:pt x="968" y="1653"/>
                  </a:lnTo>
                  <a:lnTo>
                    <a:pt x="968" y="1656"/>
                  </a:lnTo>
                  <a:lnTo>
                    <a:pt x="970" y="1658"/>
                  </a:lnTo>
                  <a:lnTo>
                    <a:pt x="965" y="1660"/>
                  </a:lnTo>
                  <a:lnTo>
                    <a:pt x="961" y="1660"/>
                  </a:lnTo>
                  <a:lnTo>
                    <a:pt x="958" y="1658"/>
                  </a:lnTo>
                  <a:lnTo>
                    <a:pt x="956" y="1658"/>
                  </a:lnTo>
                  <a:lnTo>
                    <a:pt x="953" y="1658"/>
                  </a:lnTo>
                  <a:lnTo>
                    <a:pt x="953" y="1660"/>
                  </a:lnTo>
                  <a:lnTo>
                    <a:pt x="953" y="1663"/>
                  </a:lnTo>
                  <a:lnTo>
                    <a:pt x="951" y="1663"/>
                  </a:lnTo>
                  <a:lnTo>
                    <a:pt x="953" y="1663"/>
                  </a:lnTo>
                  <a:lnTo>
                    <a:pt x="953" y="1665"/>
                  </a:lnTo>
                  <a:lnTo>
                    <a:pt x="956" y="1665"/>
                  </a:lnTo>
                  <a:lnTo>
                    <a:pt x="953" y="1667"/>
                  </a:lnTo>
                  <a:lnTo>
                    <a:pt x="956" y="1667"/>
                  </a:lnTo>
                  <a:lnTo>
                    <a:pt x="958" y="1667"/>
                  </a:lnTo>
                  <a:lnTo>
                    <a:pt x="961" y="1667"/>
                  </a:lnTo>
                  <a:lnTo>
                    <a:pt x="963" y="1670"/>
                  </a:lnTo>
                  <a:lnTo>
                    <a:pt x="963" y="1672"/>
                  </a:lnTo>
                  <a:lnTo>
                    <a:pt x="965" y="1672"/>
                  </a:lnTo>
                  <a:lnTo>
                    <a:pt x="968" y="1672"/>
                  </a:lnTo>
                  <a:lnTo>
                    <a:pt x="968" y="1675"/>
                  </a:lnTo>
                  <a:lnTo>
                    <a:pt x="970" y="1675"/>
                  </a:lnTo>
                  <a:lnTo>
                    <a:pt x="972" y="1675"/>
                  </a:lnTo>
                  <a:lnTo>
                    <a:pt x="972" y="1677"/>
                  </a:lnTo>
                  <a:lnTo>
                    <a:pt x="975" y="1677"/>
                  </a:lnTo>
                  <a:lnTo>
                    <a:pt x="975" y="1679"/>
                  </a:lnTo>
                  <a:lnTo>
                    <a:pt x="977" y="1679"/>
                  </a:lnTo>
                  <a:lnTo>
                    <a:pt x="977" y="1682"/>
                  </a:lnTo>
                  <a:lnTo>
                    <a:pt x="977" y="1684"/>
                  </a:lnTo>
                  <a:lnTo>
                    <a:pt x="979" y="1684"/>
                  </a:lnTo>
                  <a:lnTo>
                    <a:pt x="979" y="1686"/>
                  </a:lnTo>
                  <a:lnTo>
                    <a:pt x="977" y="1686"/>
                  </a:lnTo>
                  <a:lnTo>
                    <a:pt x="977" y="1684"/>
                  </a:lnTo>
                  <a:lnTo>
                    <a:pt x="977" y="1686"/>
                  </a:lnTo>
                  <a:lnTo>
                    <a:pt x="977" y="1689"/>
                  </a:lnTo>
                  <a:lnTo>
                    <a:pt x="977" y="1686"/>
                  </a:lnTo>
                  <a:lnTo>
                    <a:pt x="977" y="1689"/>
                  </a:lnTo>
                  <a:lnTo>
                    <a:pt x="977" y="1686"/>
                  </a:lnTo>
                  <a:lnTo>
                    <a:pt x="977" y="1689"/>
                  </a:lnTo>
                  <a:lnTo>
                    <a:pt x="977" y="1691"/>
                  </a:lnTo>
                  <a:lnTo>
                    <a:pt x="977" y="1694"/>
                  </a:lnTo>
                  <a:lnTo>
                    <a:pt x="975" y="1694"/>
                  </a:lnTo>
                  <a:lnTo>
                    <a:pt x="975" y="1691"/>
                  </a:lnTo>
                  <a:lnTo>
                    <a:pt x="975" y="1694"/>
                  </a:lnTo>
                  <a:lnTo>
                    <a:pt x="972" y="1694"/>
                  </a:lnTo>
                  <a:lnTo>
                    <a:pt x="975" y="1694"/>
                  </a:lnTo>
                  <a:lnTo>
                    <a:pt x="975" y="1691"/>
                  </a:lnTo>
                  <a:lnTo>
                    <a:pt x="972" y="1691"/>
                  </a:lnTo>
                  <a:lnTo>
                    <a:pt x="972" y="1689"/>
                  </a:lnTo>
                  <a:lnTo>
                    <a:pt x="972" y="1691"/>
                  </a:lnTo>
                  <a:lnTo>
                    <a:pt x="972" y="1689"/>
                  </a:lnTo>
                  <a:lnTo>
                    <a:pt x="970" y="1689"/>
                  </a:lnTo>
                  <a:lnTo>
                    <a:pt x="972" y="1689"/>
                  </a:lnTo>
                  <a:lnTo>
                    <a:pt x="972" y="1686"/>
                  </a:lnTo>
                  <a:lnTo>
                    <a:pt x="970" y="1686"/>
                  </a:lnTo>
                  <a:lnTo>
                    <a:pt x="972" y="1686"/>
                  </a:lnTo>
                  <a:lnTo>
                    <a:pt x="970" y="1686"/>
                  </a:lnTo>
                  <a:lnTo>
                    <a:pt x="970" y="1689"/>
                  </a:lnTo>
                  <a:lnTo>
                    <a:pt x="970" y="1686"/>
                  </a:lnTo>
                  <a:lnTo>
                    <a:pt x="970" y="1689"/>
                  </a:lnTo>
                  <a:lnTo>
                    <a:pt x="970" y="1691"/>
                  </a:lnTo>
                  <a:lnTo>
                    <a:pt x="970" y="1689"/>
                  </a:lnTo>
                  <a:lnTo>
                    <a:pt x="968" y="1689"/>
                  </a:lnTo>
                  <a:lnTo>
                    <a:pt x="970" y="1689"/>
                  </a:lnTo>
                  <a:lnTo>
                    <a:pt x="968" y="1689"/>
                  </a:lnTo>
                  <a:lnTo>
                    <a:pt x="970" y="1689"/>
                  </a:lnTo>
                  <a:lnTo>
                    <a:pt x="968" y="1689"/>
                  </a:lnTo>
                  <a:lnTo>
                    <a:pt x="970" y="1689"/>
                  </a:lnTo>
                  <a:lnTo>
                    <a:pt x="968" y="1689"/>
                  </a:lnTo>
                  <a:lnTo>
                    <a:pt x="968" y="1691"/>
                  </a:lnTo>
                  <a:lnTo>
                    <a:pt x="970" y="1691"/>
                  </a:lnTo>
                  <a:lnTo>
                    <a:pt x="968" y="1691"/>
                  </a:lnTo>
                  <a:lnTo>
                    <a:pt x="968" y="1689"/>
                  </a:lnTo>
                  <a:lnTo>
                    <a:pt x="968" y="1691"/>
                  </a:lnTo>
                  <a:lnTo>
                    <a:pt x="968" y="1689"/>
                  </a:lnTo>
                  <a:lnTo>
                    <a:pt x="965" y="1689"/>
                  </a:lnTo>
                  <a:lnTo>
                    <a:pt x="968" y="1689"/>
                  </a:lnTo>
                  <a:lnTo>
                    <a:pt x="968" y="1691"/>
                  </a:lnTo>
                  <a:lnTo>
                    <a:pt x="968" y="1689"/>
                  </a:lnTo>
                  <a:lnTo>
                    <a:pt x="965" y="1691"/>
                  </a:lnTo>
                  <a:lnTo>
                    <a:pt x="968" y="1691"/>
                  </a:lnTo>
                  <a:lnTo>
                    <a:pt x="968" y="1694"/>
                  </a:lnTo>
                  <a:lnTo>
                    <a:pt x="968" y="1691"/>
                  </a:lnTo>
                  <a:lnTo>
                    <a:pt x="968" y="1694"/>
                  </a:lnTo>
                  <a:lnTo>
                    <a:pt x="968" y="1691"/>
                  </a:lnTo>
                  <a:lnTo>
                    <a:pt x="970" y="1691"/>
                  </a:lnTo>
                  <a:lnTo>
                    <a:pt x="968" y="1691"/>
                  </a:lnTo>
                  <a:lnTo>
                    <a:pt x="970" y="1691"/>
                  </a:lnTo>
                  <a:lnTo>
                    <a:pt x="970" y="1694"/>
                  </a:lnTo>
                  <a:lnTo>
                    <a:pt x="970" y="1691"/>
                  </a:lnTo>
                  <a:lnTo>
                    <a:pt x="970" y="1694"/>
                  </a:lnTo>
                  <a:lnTo>
                    <a:pt x="970" y="1691"/>
                  </a:lnTo>
                  <a:lnTo>
                    <a:pt x="968" y="1694"/>
                  </a:lnTo>
                  <a:lnTo>
                    <a:pt x="970" y="1694"/>
                  </a:lnTo>
                  <a:lnTo>
                    <a:pt x="968" y="1694"/>
                  </a:lnTo>
                  <a:lnTo>
                    <a:pt x="970" y="1694"/>
                  </a:lnTo>
                  <a:lnTo>
                    <a:pt x="968" y="1694"/>
                  </a:lnTo>
                  <a:lnTo>
                    <a:pt x="970" y="1694"/>
                  </a:lnTo>
                  <a:lnTo>
                    <a:pt x="970" y="1696"/>
                  </a:lnTo>
                  <a:lnTo>
                    <a:pt x="970" y="1694"/>
                  </a:lnTo>
                  <a:lnTo>
                    <a:pt x="970" y="1696"/>
                  </a:lnTo>
                  <a:lnTo>
                    <a:pt x="970" y="1698"/>
                  </a:lnTo>
                  <a:lnTo>
                    <a:pt x="970" y="1696"/>
                  </a:lnTo>
                  <a:lnTo>
                    <a:pt x="970" y="1694"/>
                  </a:lnTo>
                  <a:lnTo>
                    <a:pt x="968" y="1694"/>
                  </a:lnTo>
                  <a:lnTo>
                    <a:pt x="968" y="1691"/>
                  </a:lnTo>
                  <a:lnTo>
                    <a:pt x="965" y="1691"/>
                  </a:lnTo>
                  <a:lnTo>
                    <a:pt x="968" y="1691"/>
                  </a:lnTo>
                  <a:lnTo>
                    <a:pt x="965" y="1691"/>
                  </a:lnTo>
                  <a:lnTo>
                    <a:pt x="965" y="1694"/>
                  </a:lnTo>
                  <a:lnTo>
                    <a:pt x="965" y="1691"/>
                  </a:lnTo>
                  <a:lnTo>
                    <a:pt x="965" y="1694"/>
                  </a:lnTo>
                  <a:lnTo>
                    <a:pt x="965" y="1691"/>
                  </a:lnTo>
                  <a:lnTo>
                    <a:pt x="965" y="1694"/>
                  </a:lnTo>
                  <a:lnTo>
                    <a:pt x="965" y="1691"/>
                  </a:lnTo>
                  <a:lnTo>
                    <a:pt x="965" y="1694"/>
                  </a:lnTo>
                  <a:lnTo>
                    <a:pt x="968" y="1694"/>
                  </a:lnTo>
                  <a:lnTo>
                    <a:pt x="965" y="1694"/>
                  </a:lnTo>
                  <a:lnTo>
                    <a:pt x="968" y="1694"/>
                  </a:lnTo>
                  <a:lnTo>
                    <a:pt x="968" y="1696"/>
                  </a:lnTo>
                  <a:lnTo>
                    <a:pt x="970" y="1696"/>
                  </a:lnTo>
                  <a:lnTo>
                    <a:pt x="968" y="1696"/>
                  </a:lnTo>
                  <a:lnTo>
                    <a:pt x="968" y="1694"/>
                  </a:lnTo>
                  <a:lnTo>
                    <a:pt x="968" y="1696"/>
                  </a:lnTo>
                  <a:lnTo>
                    <a:pt x="968" y="1694"/>
                  </a:lnTo>
                  <a:lnTo>
                    <a:pt x="968" y="1696"/>
                  </a:lnTo>
                  <a:lnTo>
                    <a:pt x="965" y="1696"/>
                  </a:lnTo>
                  <a:lnTo>
                    <a:pt x="968" y="1696"/>
                  </a:lnTo>
                  <a:lnTo>
                    <a:pt x="968" y="1698"/>
                  </a:lnTo>
                  <a:lnTo>
                    <a:pt x="965" y="1698"/>
                  </a:lnTo>
                  <a:lnTo>
                    <a:pt x="968" y="1698"/>
                  </a:lnTo>
                  <a:lnTo>
                    <a:pt x="965" y="1698"/>
                  </a:lnTo>
                  <a:lnTo>
                    <a:pt x="965" y="1696"/>
                  </a:lnTo>
                  <a:lnTo>
                    <a:pt x="965" y="1698"/>
                  </a:lnTo>
                  <a:lnTo>
                    <a:pt x="965" y="1696"/>
                  </a:lnTo>
                  <a:lnTo>
                    <a:pt x="965" y="1698"/>
                  </a:lnTo>
                  <a:lnTo>
                    <a:pt x="965" y="1701"/>
                  </a:lnTo>
                  <a:lnTo>
                    <a:pt x="963" y="1701"/>
                  </a:lnTo>
                  <a:lnTo>
                    <a:pt x="965" y="1701"/>
                  </a:lnTo>
                  <a:lnTo>
                    <a:pt x="963" y="1701"/>
                  </a:lnTo>
                  <a:lnTo>
                    <a:pt x="963" y="1703"/>
                  </a:lnTo>
                  <a:lnTo>
                    <a:pt x="965" y="1703"/>
                  </a:lnTo>
                  <a:lnTo>
                    <a:pt x="965" y="1705"/>
                  </a:lnTo>
                  <a:lnTo>
                    <a:pt x="965" y="1703"/>
                  </a:lnTo>
                  <a:lnTo>
                    <a:pt x="965" y="1705"/>
                  </a:lnTo>
                  <a:lnTo>
                    <a:pt x="965" y="1703"/>
                  </a:lnTo>
                  <a:lnTo>
                    <a:pt x="963" y="1703"/>
                  </a:lnTo>
                  <a:lnTo>
                    <a:pt x="965" y="1703"/>
                  </a:lnTo>
                  <a:lnTo>
                    <a:pt x="963" y="1703"/>
                  </a:lnTo>
                  <a:lnTo>
                    <a:pt x="963" y="1701"/>
                  </a:lnTo>
                  <a:lnTo>
                    <a:pt x="963" y="1698"/>
                  </a:lnTo>
                  <a:lnTo>
                    <a:pt x="963" y="1701"/>
                  </a:lnTo>
                  <a:lnTo>
                    <a:pt x="963" y="1698"/>
                  </a:lnTo>
                  <a:lnTo>
                    <a:pt x="961" y="1698"/>
                  </a:lnTo>
                  <a:lnTo>
                    <a:pt x="961" y="1701"/>
                  </a:lnTo>
                  <a:lnTo>
                    <a:pt x="961" y="1698"/>
                  </a:lnTo>
                  <a:lnTo>
                    <a:pt x="961" y="1701"/>
                  </a:lnTo>
                  <a:lnTo>
                    <a:pt x="961" y="1703"/>
                  </a:lnTo>
                  <a:lnTo>
                    <a:pt x="963" y="1703"/>
                  </a:lnTo>
                  <a:lnTo>
                    <a:pt x="961" y="1703"/>
                  </a:lnTo>
                  <a:lnTo>
                    <a:pt x="961" y="1705"/>
                  </a:lnTo>
                  <a:lnTo>
                    <a:pt x="961" y="1703"/>
                  </a:lnTo>
                  <a:lnTo>
                    <a:pt x="961" y="1705"/>
                  </a:lnTo>
                  <a:lnTo>
                    <a:pt x="961" y="1708"/>
                  </a:lnTo>
                  <a:lnTo>
                    <a:pt x="961" y="1710"/>
                  </a:lnTo>
                  <a:lnTo>
                    <a:pt x="961" y="1708"/>
                  </a:lnTo>
                  <a:lnTo>
                    <a:pt x="961" y="1710"/>
                  </a:lnTo>
                  <a:lnTo>
                    <a:pt x="961" y="1708"/>
                  </a:lnTo>
                  <a:lnTo>
                    <a:pt x="961" y="1710"/>
                  </a:lnTo>
                  <a:lnTo>
                    <a:pt x="961" y="1708"/>
                  </a:lnTo>
                  <a:lnTo>
                    <a:pt x="961" y="1710"/>
                  </a:lnTo>
                  <a:lnTo>
                    <a:pt x="963" y="1710"/>
                  </a:lnTo>
                  <a:lnTo>
                    <a:pt x="961" y="1710"/>
                  </a:lnTo>
                  <a:lnTo>
                    <a:pt x="963" y="1710"/>
                  </a:lnTo>
                  <a:lnTo>
                    <a:pt x="963" y="1708"/>
                  </a:lnTo>
                  <a:lnTo>
                    <a:pt x="961" y="1708"/>
                  </a:lnTo>
                  <a:lnTo>
                    <a:pt x="963" y="1708"/>
                  </a:lnTo>
                  <a:lnTo>
                    <a:pt x="963" y="1705"/>
                  </a:lnTo>
                  <a:lnTo>
                    <a:pt x="963" y="1708"/>
                  </a:lnTo>
                  <a:lnTo>
                    <a:pt x="963" y="1705"/>
                  </a:lnTo>
                  <a:lnTo>
                    <a:pt x="963" y="1708"/>
                  </a:lnTo>
                  <a:lnTo>
                    <a:pt x="963" y="1705"/>
                  </a:lnTo>
                  <a:lnTo>
                    <a:pt x="965" y="1705"/>
                  </a:lnTo>
                  <a:lnTo>
                    <a:pt x="965" y="1708"/>
                  </a:lnTo>
                  <a:lnTo>
                    <a:pt x="965" y="1705"/>
                  </a:lnTo>
                  <a:lnTo>
                    <a:pt x="965" y="1708"/>
                  </a:lnTo>
                  <a:lnTo>
                    <a:pt x="965" y="1705"/>
                  </a:lnTo>
                  <a:lnTo>
                    <a:pt x="965" y="1708"/>
                  </a:lnTo>
                  <a:lnTo>
                    <a:pt x="963" y="1708"/>
                  </a:lnTo>
                  <a:lnTo>
                    <a:pt x="965" y="1708"/>
                  </a:lnTo>
                  <a:lnTo>
                    <a:pt x="965" y="1705"/>
                  </a:lnTo>
                  <a:lnTo>
                    <a:pt x="965" y="1708"/>
                  </a:lnTo>
                  <a:lnTo>
                    <a:pt x="965" y="1705"/>
                  </a:lnTo>
                  <a:lnTo>
                    <a:pt x="965" y="1708"/>
                  </a:lnTo>
                  <a:lnTo>
                    <a:pt x="963" y="1708"/>
                  </a:lnTo>
                  <a:lnTo>
                    <a:pt x="965" y="1708"/>
                  </a:lnTo>
                  <a:lnTo>
                    <a:pt x="963" y="1708"/>
                  </a:lnTo>
                  <a:lnTo>
                    <a:pt x="963" y="1705"/>
                  </a:lnTo>
                  <a:lnTo>
                    <a:pt x="963" y="1708"/>
                  </a:lnTo>
                  <a:lnTo>
                    <a:pt x="963" y="1705"/>
                  </a:lnTo>
                  <a:lnTo>
                    <a:pt x="963" y="1708"/>
                  </a:lnTo>
                  <a:lnTo>
                    <a:pt x="963" y="1705"/>
                  </a:lnTo>
                  <a:lnTo>
                    <a:pt x="963" y="1708"/>
                  </a:lnTo>
                  <a:lnTo>
                    <a:pt x="963" y="1705"/>
                  </a:lnTo>
                  <a:lnTo>
                    <a:pt x="963" y="1708"/>
                  </a:lnTo>
                  <a:lnTo>
                    <a:pt x="965" y="1708"/>
                  </a:lnTo>
                  <a:lnTo>
                    <a:pt x="963" y="1708"/>
                  </a:lnTo>
                  <a:lnTo>
                    <a:pt x="963" y="1710"/>
                  </a:lnTo>
                  <a:lnTo>
                    <a:pt x="961" y="1710"/>
                  </a:lnTo>
                  <a:lnTo>
                    <a:pt x="961" y="1713"/>
                  </a:lnTo>
                  <a:lnTo>
                    <a:pt x="958" y="1713"/>
                  </a:lnTo>
                  <a:lnTo>
                    <a:pt x="958" y="1710"/>
                  </a:lnTo>
                  <a:lnTo>
                    <a:pt x="958" y="1713"/>
                  </a:lnTo>
                  <a:lnTo>
                    <a:pt x="958" y="1710"/>
                  </a:lnTo>
                  <a:lnTo>
                    <a:pt x="958" y="1713"/>
                  </a:lnTo>
                  <a:lnTo>
                    <a:pt x="958" y="1710"/>
                  </a:lnTo>
                  <a:lnTo>
                    <a:pt x="956" y="1710"/>
                  </a:lnTo>
                  <a:lnTo>
                    <a:pt x="958" y="1713"/>
                  </a:lnTo>
                  <a:lnTo>
                    <a:pt x="956" y="1713"/>
                  </a:lnTo>
                  <a:lnTo>
                    <a:pt x="958" y="1713"/>
                  </a:lnTo>
                  <a:lnTo>
                    <a:pt x="956" y="1713"/>
                  </a:lnTo>
                  <a:lnTo>
                    <a:pt x="956" y="1710"/>
                  </a:lnTo>
                  <a:lnTo>
                    <a:pt x="956" y="1713"/>
                  </a:lnTo>
                  <a:lnTo>
                    <a:pt x="956" y="1710"/>
                  </a:lnTo>
                  <a:lnTo>
                    <a:pt x="953" y="1710"/>
                  </a:lnTo>
                  <a:lnTo>
                    <a:pt x="956" y="1710"/>
                  </a:lnTo>
                  <a:lnTo>
                    <a:pt x="953" y="1710"/>
                  </a:lnTo>
                  <a:lnTo>
                    <a:pt x="956" y="1710"/>
                  </a:lnTo>
                  <a:lnTo>
                    <a:pt x="953" y="1710"/>
                  </a:lnTo>
                  <a:lnTo>
                    <a:pt x="956" y="1710"/>
                  </a:lnTo>
                  <a:lnTo>
                    <a:pt x="953" y="1710"/>
                  </a:lnTo>
                  <a:lnTo>
                    <a:pt x="953" y="1708"/>
                  </a:lnTo>
                  <a:lnTo>
                    <a:pt x="956" y="1708"/>
                  </a:lnTo>
                  <a:lnTo>
                    <a:pt x="956" y="1710"/>
                  </a:lnTo>
                  <a:lnTo>
                    <a:pt x="956" y="1708"/>
                  </a:lnTo>
                  <a:lnTo>
                    <a:pt x="953" y="1708"/>
                  </a:lnTo>
                  <a:lnTo>
                    <a:pt x="953" y="1710"/>
                  </a:lnTo>
                  <a:lnTo>
                    <a:pt x="953" y="1708"/>
                  </a:lnTo>
                  <a:lnTo>
                    <a:pt x="953" y="1710"/>
                  </a:lnTo>
                  <a:lnTo>
                    <a:pt x="953" y="1713"/>
                  </a:lnTo>
                  <a:lnTo>
                    <a:pt x="951" y="1713"/>
                  </a:lnTo>
                  <a:lnTo>
                    <a:pt x="951" y="1715"/>
                  </a:lnTo>
                  <a:lnTo>
                    <a:pt x="949" y="1715"/>
                  </a:lnTo>
                  <a:lnTo>
                    <a:pt x="946" y="1715"/>
                  </a:lnTo>
                  <a:lnTo>
                    <a:pt x="949" y="1715"/>
                  </a:lnTo>
                  <a:lnTo>
                    <a:pt x="946" y="1715"/>
                  </a:lnTo>
                  <a:lnTo>
                    <a:pt x="949" y="1715"/>
                  </a:lnTo>
                  <a:lnTo>
                    <a:pt x="946" y="1715"/>
                  </a:lnTo>
                  <a:lnTo>
                    <a:pt x="949" y="1715"/>
                  </a:lnTo>
                  <a:lnTo>
                    <a:pt x="949" y="1713"/>
                  </a:lnTo>
                  <a:lnTo>
                    <a:pt x="946" y="1713"/>
                  </a:lnTo>
                  <a:lnTo>
                    <a:pt x="949" y="1713"/>
                  </a:lnTo>
                  <a:lnTo>
                    <a:pt x="946" y="1713"/>
                  </a:lnTo>
                  <a:lnTo>
                    <a:pt x="946" y="1710"/>
                  </a:lnTo>
                  <a:lnTo>
                    <a:pt x="946" y="1708"/>
                  </a:lnTo>
                  <a:lnTo>
                    <a:pt x="946" y="1705"/>
                  </a:lnTo>
                  <a:lnTo>
                    <a:pt x="944" y="1705"/>
                  </a:lnTo>
                  <a:lnTo>
                    <a:pt x="944" y="1708"/>
                  </a:lnTo>
                  <a:lnTo>
                    <a:pt x="946" y="1708"/>
                  </a:lnTo>
                  <a:lnTo>
                    <a:pt x="944" y="1708"/>
                  </a:lnTo>
                  <a:lnTo>
                    <a:pt x="946" y="1708"/>
                  </a:lnTo>
                  <a:lnTo>
                    <a:pt x="944" y="1708"/>
                  </a:lnTo>
                  <a:lnTo>
                    <a:pt x="944" y="1705"/>
                  </a:lnTo>
                  <a:lnTo>
                    <a:pt x="944" y="1708"/>
                  </a:lnTo>
                  <a:lnTo>
                    <a:pt x="944" y="1705"/>
                  </a:lnTo>
                  <a:lnTo>
                    <a:pt x="944" y="1708"/>
                  </a:lnTo>
                  <a:lnTo>
                    <a:pt x="942" y="1708"/>
                  </a:lnTo>
                  <a:lnTo>
                    <a:pt x="942" y="1710"/>
                  </a:lnTo>
                  <a:lnTo>
                    <a:pt x="939" y="1710"/>
                  </a:lnTo>
                  <a:lnTo>
                    <a:pt x="942" y="1710"/>
                  </a:lnTo>
                  <a:lnTo>
                    <a:pt x="939" y="1710"/>
                  </a:lnTo>
                  <a:lnTo>
                    <a:pt x="942" y="1710"/>
                  </a:lnTo>
                  <a:lnTo>
                    <a:pt x="939" y="1710"/>
                  </a:lnTo>
                  <a:lnTo>
                    <a:pt x="939" y="1713"/>
                  </a:lnTo>
                  <a:lnTo>
                    <a:pt x="942" y="1713"/>
                  </a:lnTo>
                  <a:lnTo>
                    <a:pt x="942" y="1715"/>
                  </a:lnTo>
                  <a:lnTo>
                    <a:pt x="942" y="1713"/>
                  </a:lnTo>
                  <a:lnTo>
                    <a:pt x="942" y="1715"/>
                  </a:lnTo>
                  <a:lnTo>
                    <a:pt x="939" y="1715"/>
                  </a:lnTo>
                  <a:lnTo>
                    <a:pt x="942" y="1715"/>
                  </a:lnTo>
                  <a:lnTo>
                    <a:pt x="942" y="1717"/>
                  </a:lnTo>
                  <a:lnTo>
                    <a:pt x="942" y="1715"/>
                  </a:lnTo>
                  <a:lnTo>
                    <a:pt x="944" y="1715"/>
                  </a:lnTo>
                  <a:lnTo>
                    <a:pt x="944" y="1717"/>
                  </a:lnTo>
                  <a:lnTo>
                    <a:pt x="944" y="1720"/>
                  </a:lnTo>
                  <a:lnTo>
                    <a:pt x="942" y="1720"/>
                  </a:lnTo>
                  <a:lnTo>
                    <a:pt x="942" y="1722"/>
                  </a:lnTo>
                  <a:lnTo>
                    <a:pt x="942" y="1720"/>
                  </a:lnTo>
                  <a:lnTo>
                    <a:pt x="942" y="1722"/>
                  </a:lnTo>
                  <a:lnTo>
                    <a:pt x="944" y="1722"/>
                  </a:lnTo>
                  <a:lnTo>
                    <a:pt x="942" y="1722"/>
                  </a:lnTo>
                  <a:lnTo>
                    <a:pt x="944" y="1722"/>
                  </a:lnTo>
                  <a:lnTo>
                    <a:pt x="942" y="1722"/>
                  </a:lnTo>
                  <a:lnTo>
                    <a:pt x="944" y="1722"/>
                  </a:lnTo>
                  <a:lnTo>
                    <a:pt x="944" y="1720"/>
                  </a:lnTo>
                  <a:lnTo>
                    <a:pt x="944" y="1722"/>
                  </a:lnTo>
                  <a:lnTo>
                    <a:pt x="946" y="1722"/>
                  </a:lnTo>
                  <a:lnTo>
                    <a:pt x="944" y="1722"/>
                  </a:lnTo>
                  <a:lnTo>
                    <a:pt x="946" y="1722"/>
                  </a:lnTo>
                  <a:lnTo>
                    <a:pt x="944" y="1722"/>
                  </a:lnTo>
                  <a:lnTo>
                    <a:pt x="944" y="1724"/>
                  </a:lnTo>
                  <a:lnTo>
                    <a:pt x="944" y="1722"/>
                  </a:lnTo>
                  <a:lnTo>
                    <a:pt x="944" y="1724"/>
                  </a:lnTo>
                  <a:lnTo>
                    <a:pt x="942" y="1724"/>
                  </a:lnTo>
                  <a:lnTo>
                    <a:pt x="942" y="1722"/>
                  </a:lnTo>
                  <a:lnTo>
                    <a:pt x="939" y="1722"/>
                  </a:lnTo>
                  <a:lnTo>
                    <a:pt x="942" y="1722"/>
                  </a:lnTo>
                  <a:lnTo>
                    <a:pt x="939" y="1722"/>
                  </a:lnTo>
                  <a:lnTo>
                    <a:pt x="942" y="1722"/>
                  </a:lnTo>
                  <a:lnTo>
                    <a:pt x="939" y="1722"/>
                  </a:lnTo>
                  <a:lnTo>
                    <a:pt x="942" y="1722"/>
                  </a:lnTo>
                  <a:lnTo>
                    <a:pt x="939" y="1722"/>
                  </a:lnTo>
                  <a:lnTo>
                    <a:pt x="942" y="1722"/>
                  </a:lnTo>
                  <a:lnTo>
                    <a:pt x="939" y="1722"/>
                  </a:lnTo>
                  <a:lnTo>
                    <a:pt x="939" y="1720"/>
                  </a:lnTo>
                  <a:lnTo>
                    <a:pt x="939" y="1722"/>
                  </a:lnTo>
                  <a:lnTo>
                    <a:pt x="939" y="1720"/>
                  </a:lnTo>
                  <a:lnTo>
                    <a:pt x="942" y="1722"/>
                  </a:lnTo>
                  <a:lnTo>
                    <a:pt x="942" y="1720"/>
                  </a:lnTo>
                  <a:lnTo>
                    <a:pt x="939" y="1720"/>
                  </a:lnTo>
                  <a:lnTo>
                    <a:pt x="939" y="1717"/>
                  </a:lnTo>
                  <a:lnTo>
                    <a:pt x="939" y="1720"/>
                  </a:lnTo>
                  <a:lnTo>
                    <a:pt x="939" y="1717"/>
                  </a:lnTo>
                  <a:lnTo>
                    <a:pt x="939" y="1720"/>
                  </a:lnTo>
                  <a:lnTo>
                    <a:pt x="939" y="1717"/>
                  </a:lnTo>
                  <a:lnTo>
                    <a:pt x="939" y="1720"/>
                  </a:lnTo>
                  <a:lnTo>
                    <a:pt x="939" y="1717"/>
                  </a:lnTo>
                  <a:lnTo>
                    <a:pt x="939" y="1720"/>
                  </a:lnTo>
                  <a:lnTo>
                    <a:pt x="939" y="1717"/>
                  </a:lnTo>
                  <a:lnTo>
                    <a:pt x="939" y="1715"/>
                  </a:lnTo>
                  <a:lnTo>
                    <a:pt x="939" y="1717"/>
                  </a:lnTo>
                  <a:lnTo>
                    <a:pt x="939" y="1715"/>
                  </a:lnTo>
                  <a:lnTo>
                    <a:pt x="939" y="1713"/>
                  </a:lnTo>
                  <a:lnTo>
                    <a:pt x="939" y="1715"/>
                  </a:lnTo>
                  <a:lnTo>
                    <a:pt x="937" y="1715"/>
                  </a:lnTo>
                  <a:lnTo>
                    <a:pt x="939" y="1715"/>
                  </a:lnTo>
                  <a:lnTo>
                    <a:pt x="937" y="1715"/>
                  </a:lnTo>
                  <a:lnTo>
                    <a:pt x="937" y="1713"/>
                  </a:lnTo>
                  <a:lnTo>
                    <a:pt x="937" y="1710"/>
                  </a:lnTo>
                  <a:lnTo>
                    <a:pt x="937" y="1713"/>
                  </a:lnTo>
                  <a:lnTo>
                    <a:pt x="939" y="1713"/>
                  </a:lnTo>
                  <a:lnTo>
                    <a:pt x="937" y="1713"/>
                  </a:lnTo>
                  <a:lnTo>
                    <a:pt x="939" y="1713"/>
                  </a:lnTo>
                  <a:lnTo>
                    <a:pt x="937" y="1713"/>
                  </a:lnTo>
                  <a:lnTo>
                    <a:pt x="939" y="1713"/>
                  </a:lnTo>
                  <a:lnTo>
                    <a:pt x="937" y="1713"/>
                  </a:lnTo>
                  <a:lnTo>
                    <a:pt x="939" y="1713"/>
                  </a:lnTo>
                  <a:lnTo>
                    <a:pt x="937" y="1713"/>
                  </a:lnTo>
                  <a:lnTo>
                    <a:pt x="939" y="1713"/>
                  </a:lnTo>
                  <a:lnTo>
                    <a:pt x="937" y="1713"/>
                  </a:lnTo>
                  <a:lnTo>
                    <a:pt x="939" y="1713"/>
                  </a:lnTo>
                  <a:lnTo>
                    <a:pt x="937" y="1713"/>
                  </a:lnTo>
                  <a:lnTo>
                    <a:pt x="939" y="1713"/>
                  </a:lnTo>
                  <a:lnTo>
                    <a:pt x="939" y="1710"/>
                  </a:lnTo>
                  <a:lnTo>
                    <a:pt x="937" y="1710"/>
                  </a:lnTo>
                  <a:lnTo>
                    <a:pt x="939" y="1710"/>
                  </a:lnTo>
                  <a:lnTo>
                    <a:pt x="937" y="1710"/>
                  </a:lnTo>
                  <a:lnTo>
                    <a:pt x="937" y="1708"/>
                  </a:lnTo>
                  <a:lnTo>
                    <a:pt x="937" y="1710"/>
                  </a:lnTo>
                  <a:lnTo>
                    <a:pt x="937" y="1708"/>
                  </a:lnTo>
                  <a:lnTo>
                    <a:pt x="937" y="1710"/>
                  </a:lnTo>
                  <a:lnTo>
                    <a:pt x="937" y="1713"/>
                  </a:lnTo>
                  <a:lnTo>
                    <a:pt x="937" y="1710"/>
                  </a:lnTo>
                  <a:lnTo>
                    <a:pt x="934" y="1710"/>
                  </a:lnTo>
                  <a:lnTo>
                    <a:pt x="937" y="1710"/>
                  </a:lnTo>
                  <a:lnTo>
                    <a:pt x="937" y="1713"/>
                  </a:lnTo>
                  <a:lnTo>
                    <a:pt x="934" y="1713"/>
                  </a:lnTo>
                  <a:lnTo>
                    <a:pt x="937" y="1713"/>
                  </a:lnTo>
                  <a:lnTo>
                    <a:pt x="937" y="1715"/>
                  </a:lnTo>
                  <a:lnTo>
                    <a:pt x="937" y="1713"/>
                  </a:lnTo>
                  <a:lnTo>
                    <a:pt x="937" y="1715"/>
                  </a:lnTo>
                  <a:lnTo>
                    <a:pt x="937" y="1717"/>
                  </a:lnTo>
                  <a:lnTo>
                    <a:pt x="937" y="1720"/>
                  </a:lnTo>
                  <a:lnTo>
                    <a:pt x="937" y="1722"/>
                  </a:lnTo>
                  <a:lnTo>
                    <a:pt x="937" y="1724"/>
                  </a:lnTo>
                  <a:lnTo>
                    <a:pt x="934" y="1724"/>
                  </a:lnTo>
                  <a:lnTo>
                    <a:pt x="937" y="1724"/>
                  </a:lnTo>
                  <a:lnTo>
                    <a:pt x="934" y="1724"/>
                  </a:lnTo>
                  <a:lnTo>
                    <a:pt x="937" y="1724"/>
                  </a:lnTo>
                  <a:lnTo>
                    <a:pt x="934" y="1724"/>
                  </a:lnTo>
                  <a:lnTo>
                    <a:pt x="937" y="1724"/>
                  </a:lnTo>
                  <a:lnTo>
                    <a:pt x="934" y="1724"/>
                  </a:lnTo>
                  <a:lnTo>
                    <a:pt x="932" y="1724"/>
                  </a:lnTo>
                  <a:lnTo>
                    <a:pt x="932" y="1722"/>
                  </a:lnTo>
                  <a:lnTo>
                    <a:pt x="932" y="1720"/>
                  </a:lnTo>
                  <a:lnTo>
                    <a:pt x="930" y="1720"/>
                  </a:lnTo>
                  <a:lnTo>
                    <a:pt x="930" y="1717"/>
                  </a:lnTo>
                  <a:lnTo>
                    <a:pt x="932" y="1717"/>
                  </a:lnTo>
                  <a:lnTo>
                    <a:pt x="932" y="1720"/>
                  </a:lnTo>
                  <a:lnTo>
                    <a:pt x="932" y="1717"/>
                  </a:lnTo>
                  <a:lnTo>
                    <a:pt x="930" y="1717"/>
                  </a:lnTo>
                  <a:lnTo>
                    <a:pt x="932" y="1717"/>
                  </a:lnTo>
                  <a:lnTo>
                    <a:pt x="930" y="1717"/>
                  </a:lnTo>
                  <a:lnTo>
                    <a:pt x="930" y="1715"/>
                  </a:lnTo>
                  <a:lnTo>
                    <a:pt x="930" y="1713"/>
                  </a:lnTo>
                  <a:lnTo>
                    <a:pt x="930" y="1715"/>
                  </a:lnTo>
                  <a:lnTo>
                    <a:pt x="930" y="1713"/>
                  </a:lnTo>
                  <a:lnTo>
                    <a:pt x="927" y="1713"/>
                  </a:lnTo>
                  <a:lnTo>
                    <a:pt x="930" y="1713"/>
                  </a:lnTo>
                  <a:lnTo>
                    <a:pt x="927" y="1713"/>
                  </a:lnTo>
                  <a:lnTo>
                    <a:pt x="930" y="1713"/>
                  </a:lnTo>
                  <a:lnTo>
                    <a:pt x="930" y="1710"/>
                  </a:lnTo>
                  <a:lnTo>
                    <a:pt x="927" y="1713"/>
                  </a:lnTo>
                  <a:lnTo>
                    <a:pt x="927" y="1710"/>
                  </a:lnTo>
                  <a:lnTo>
                    <a:pt x="927" y="1713"/>
                  </a:lnTo>
                  <a:lnTo>
                    <a:pt x="927" y="1710"/>
                  </a:lnTo>
                  <a:lnTo>
                    <a:pt x="927" y="1713"/>
                  </a:lnTo>
                  <a:lnTo>
                    <a:pt x="927" y="1710"/>
                  </a:lnTo>
                  <a:lnTo>
                    <a:pt x="927" y="1713"/>
                  </a:lnTo>
                  <a:lnTo>
                    <a:pt x="927" y="1710"/>
                  </a:lnTo>
                  <a:lnTo>
                    <a:pt x="927" y="1713"/>
                  </a:lnTo>
                  <a:lnTo>
                    <a:pt x="927" y="1715"/>
                  </a:lnTo>
                  <a:lnTo>
                    <a:pt x="927" y="1713"/>
                  </a:lnTo>
                  <a:lnTo>
                    <a:pt x="927" y="1715"/>
                  </a:lnTo>
                  <a:lnTo>
                    <a:pt x="930" y="1715"/>
                  </a:lnTo>
                  <a:lnTo>
                    <a:pt x="927" y="1715"/>
                  </a:lnTo>
                  <a:lnTo>
                    <a:pt x="927" y="1717"/>
                  </a:lnTo>
                  <a:lnTo>
                    <a:pt x="930" y="1717"/>
                  </a:lnTo>
                  <a:lnTo>
                    <a:pt x="927" y="1717"/>
                  </a:lnTo>
                  <a:lnTo>
                    <a:pt x="927" y="1720"/>
                  </a:lnTo>
                  <a:lnTo>
                    <a:pt x="927" y="1717"/>
                  </a:lnTo>
                  <a:lnTo>
                    <a:pt x="927" y="1715"/>
                  </a:lnTo>
                  <a:lnTo>
                    <a:pt x="927" y="1713"/>
                  </a:lnTo>
                  <a:lnTo>
                    <a:pt x="927" y="1710"/>
                  </a:lnTo>
                  <a:lnTo>
                    <a:pt x="925" y="1708"/>
                  </a:lnTo>
                  <a:lnTo>
                    <a:pt x="925" y="1705"/>
                  </a:lnTo>
                  <a:lnTo>
                    <a:pt x="925" y="1703"/>
                  </a:lnTo>
                  <a:lnTo>
                    <a:pt x="925" y="1705"/>
                  </a:lnTo>
                  <a:lnTo>
                    <a:pt x="927" y="1705"/>
                  </a:lnTo>
                  <a:lnTo>
                    <a:pt x="927" y="1708"/>
                  </a:lnTo>
                  <a:lnTo>
                    <a:pt x="927" y="1705"/>
                  </a:lnTo>
                  <a:lnTo>
                    <a:pt x="925" y="1703"/>
                  </a:lnTo>
                  <a:lnTo>
                    <a:pt x="925" y="1701"/>
                  </a:lnTo>
                  <a:lnTo>
                    <a:pt x="927" y="1701"/>
                  </a:lnTo>
                  <a:lnTo>
                    <a:pt x="927" y="1698"/>
                  </a:lnTo>
                  <a:lnTo>
                    <a:pt x="927" y="1701"/>
                  </a:lnTo>
                  <a:lnTo>
                    <a:pt x="925" y="1701"/>
                  </a:lnTo>
                  <a:lnTo>
                    <a:pt x="923" y="1701"/>
                  </a:lnTo>
                  <a:lnTo>
                    <a:pt x="923" y="1698"/>
                  </a:lnTo>
                  <a:lnTo>
                    <a:pt x="925" y="1698"/>
                  </a:lnTo>
                  <a:lnTo>
                    <a:pt x="925" y="1696"/>
                  </a:lnTo>
                  <a:lnTo>
                    <a:pt x="925" y="1694"/>
                  </a:lnTo>
                  <a:lnTo>
                    <a:pt x="927" y="1694"/>
                  </a:lnTo>
                  <a:lnTo>
                    <a:pt x="927" y="1691"/>
                  </a:lnTo>
                  <a:lnTo>
                    <a:pt x="927" y="1689"/>
                  </a:lnTo>
                  <a:lnTo>
                    <a:pt x="930" y="1689"/>
                  </a:lnTo>
                  <a:lnTo>
                    <a:pt x="927" y="1689"/>
                  </a:lnTo>
                  <a:lnTo>
                    <a:pt x="930" y="1689"/>
                  </a:lnTo>
                  <a:lnTo>
                    <a:pt x="930" y="1686"/>
                  </a:lnTo>
                  <a:lnTo>
                    <a:pt x="930" y="1689"/>
                  </a:lnTo>
                  <a:lnTo>
                    <a:pt x="927" y="1689"/>
                  </a:lnTo>
                  <a:lnTo>
                    <a:pt x="927" y="1691"/>
                  </a:lnTo>
                  <a:lnTo>
                    <a:pt x="925" y="1694"/>
                  </a:lnTo>
                  <a:lnTo>
                    <a:pt x="925" y="1696"/>
                  </a:lnTo>
                  <a:lnTo>
                    <a:pt x="923" y="1696"/>
                  </a:lnTo>
                  <a:lnTo>
                    <a:pt x="925" y="1696"/>
                  </a:lnTo>
                  <a:lnTo>
                    <a:pt x="925" y="1698"/>
                  </a:lnTo>
                  <a:lnTo>
                    <a:pt x="923" y="1698"/>
                  </a:lnTo>
                  <a:lnTo>
                    <a:pt x="923" y="1701"/>
                  </a:lnTo>
                  <a:lnTo>
                    <a:pt x="920" y="1701"/>
                  </a:lnTo>
                  <a:lnTo>
                    <a:pt x="923" y="1701"/>
                  </a:lnTo>
                  <a:lnTo>
                    <a:pt x="925" y="1701"/>
                  </a:lnTo>
                  <a:lnTo>
                    <a:pt x="923" y="1701"/>
                  </a:lnTo>
                  <a:lnTo>
                    <a:pt x="923" y="1703"/>
                  </a:lnTo>
                  <a:lnTo>
                    <a:pt x="923" y="1701"/>
                  </a:lnTo>
                  <a:lnTo>
                    <a:pt x="920" y="1701"/>
                  </a:lnTo>
                  <a:lnTo>
                    <a:pt x="920" y="1703"/>
                  </a:lnTo>
                  <a:lnTo>
                    <a:pt x="923" y="1705"/>
                  </a:lnTo>
                  <a:lnTo>
                    <a:pt x="925" y="1708"/>
                  </a:lnTo>
                  <a:lnTo>
                    <a:pt x="925" y="1710"/>
                  </a:lnTo>
                  <a:lnTo>
                    <a:pt x="927" y="1710"/>
                  </a:lnTo>
                  <a:lnTo>
                    <a:pt x="927" y="1713"/>
                  </a:lnTo>
                  <a:lnTo>
                    <a:pt x="927" y="1715"/>
                  </a:lnTo>
                  <a:lnTo>
                    <a:pt x="927" y="1717"/>
                  </a:lnTo>
                  <a:lnTo>
                    <a:pt x="927" y="1720"/>
                  </a:lnTo>
                  <a:lnTo>
                    <a:pt x="930" y="1722"/>
                  </a:lnTo>
                  <a:lnTo>
                    <a:pt x="927" y="1722"/>
                  </a:lnTo>
                  <a:lnTo>
                    <a:pt x="930" y="1722"/>
                  </a:lnTo>
                  <a:lnTo>
                    <a:pt x="927" y="1724"/>
                  </a:lnTo>
                  <a:lnTo>
                    <a:pt x="927" y="1722"/>
                  </a:lnTo>
                  <a:lnTo>
                    <a:pt x="930" y="1722"/>
                  </a:lnTo>
                  <a:lnTo>
                    <a:pt x="927" y="1722"/>
                  </a:lnTo>
                  <a:lnTo>
                    <a:pt x="927" y="1720"/>
                  </a:lnTo>
                  <a:lnTo>
                    <a:pt x="927" y="1717"/>
                  </a:lnTo>
                  <a:lnTo>
                    <a:pt x="927" y="1715"/>
                  </a:lnTo>
                  <a:lnTo>
                    <a:pt x="927" y="1717"/>
                  </a:lnTo>
                  <a:lnTo>
                    <a:pt x="927" y="1715"/>
                  </a:lnTo>
                  <a:lnTo>
                    <a:pt x="925" y="1715"/>
                  </a:lnTo>
                  <a:lnTo>
                    <a:pt x="927" y="1715"/>
                  </a:lnTo>
                  <a:lnTo>
                    <a:pt x="925" y="1715"/>
                  </a:lnTo>
                  <a:lnTo>
                    <a:pt x="925" y="1713"/>
                  </a:lnTo>
                  <a:lnTo>
                    <a:pt x="927" y="1713"/>
                  </a:lnTo>
                  <a:lnTo>
                    <a:pt x="925" y="1713"/>
                  </a:lnTo>
                  <a:lnTo>
                    <a:pt x="927" y="1713"/>
                  </a:lnTo>
                  <a:lnTo>
                    <a:pt x="925" y="1713"/>
                  </a:lnTo>
                  <a:lnTo>
                    <a:pt x="927" y="1713"/>
                  </a:lnTo>
                  <a:lnTo>
                    <a:pt x="925" y="1713"/>
                  </a:lnTo>
                  <a:lnTo>
                    <a:pt x="925" y="1710"/>
                  </a:lnTo>
                  <a:lnTo>
                    <a:pt x="925" y="1713"/>
                  </a:lnTo>
                  <a:lnTo>
                    <a:pt x="925" y="1710"/>
                  </a:lnTo>
                  <a:lnTo>
                    <a:pt x="925" y="1713"/>
                  </a:lnTo>
                  <a:lnTo>
                    <a:pt x="925" y="1715"/>
                  </a:lnTo>
                  <a:lnTo>
                    <a:pt x="925" y="1717"/>
                  </a:lnTo>
                  <a:lnTo>
                    <a:pt x="925" y="1715"/>
                  </a:lnTo>
                  <a:lnTo>
                    <a:pt x="925" y="1717"/>
                  </a:lnTo>
                  <a:lnTo>
                    <a:pt x="925" y="1720"/>
                  </a:lnTo>
                  <a:lnTo>
                    <a:pt x="925" y="1717"/>
                  </a:lnTo>
                  <a:lnTo>
                    <a:pt x="925" y="1720"/>
                  </a:lnTo>
                  <a:lnTo>
                    <a:pt x="925" y="1717"/>
                  </a:lnTo>
                  <a:lnTo>
                    <a:pt x="923" y="1717"/>
                  </a:lnTo>
                  <a:lnTo>
                    <a:pt x="925" y="1717"/>
                  </a:lnTo>
                  <a:lnTo>
                    <a:pt x="923" y="1717"/>
                  </a:lnTo>
                  <a:lnTo>
                    <a:pt x="925" y="1717"/>
                  </a:lnTo>
                  <a:lnTo>
                    <a:pt x="923" y="1717"/>
                  </a:lnTo>
                  <a:lnTo>
                    <a:pt x="923" y="1720"/>
                  </a:lnTo>
                  <a:lnTo>
                    <a:pt x="923" y="1717"/>
                  </a:lnTo>
                  <a:lnTo>
                    <a:pt x="923" y="1720"/>
                  </a:lnTo>
                  <a:lnTo>
                    <a:pt x="923" y="1722"/>
                  </a:lnTo>
                  <a:lnTo>
                    <a:pt x="923" y="1720"/>
                  </a:lnTo>
                  <a:lnTo>
                    <a:pt x="923" y="1722"/>
                  </a:lnTo>
                  <a:lnTo>
                    <a:pt x="923" y="1720"/>
                  </a:lnTo>
                  <a:lnTo>
                    <a:pt x="920" y="1720"/>
                  </a:lnTo>
                  <a:lnTo>
                    <a:pt x="923" y="1720"/>
                  </a:lnTo>
                  <a:lnTo>
                    <a:pt x="920" y="1722"/>
                  </a:lnTo>
                  <a:lnTo>
                    <a:pt x="920" y="1720"/>
                  </a:lnTo>
                  <a:lnTo>
                    <a:pt x="920" y="1722"/>
                  </a:lnTo>
                  <a:lnTo>
                    <a:pt x="920" y="1720"/>
                  </a:lnTo>
                  <a:lnTo>
                    <a:pt x="920" y="1722"/>
                  </a:lnTo>
                  <a:lnTo>
                    <a:pt x="920" y="1724"/>
                  </a:lnTo>
                  <a:lnTo>
                    <a:pt x="918" y="1724"/>
                  </a:lnTo>
                  <a:lnTo>
                    <a:pt x="920" y="1724"/>
                  </a:lnTo>
                  <a:lnTo>
                    <a:pt x="918" y="1724"/>
                  </a:lnTo>
                  <a:lnTo>
                    <a:pt x="918" y="1727"/>
                  </a:lnTo>
                  <a:lnTo>
                    <a:pt x="918" y="1724"/>
                  </a:lnTo>
                  <a:lnTo>
                    <a:pt x="918" y="1727"/>
                  </a:lnTo>
                  <a:lnTo>
                    <a:pt x="918" y="1729"/>
                  </a:lnTo>
                  <a:lnTo>
                    <a:pt x="918" y="1732"/>
                  </a:lnTo>
                  <a:lnTo>
                    <a:pt x="918" y="1734"/>
                  </a:lnTo>
                  <a:lnTo>
                    <a:pt x="915" y="1734"/>
                  </a:lnTo>
                  <a:lnTo>
                    <a:pt x="915" y="1732"/>
                  </a:lnTo>
                  <a:lnTo>
                    <a:pt x="915" y="1734"/>
                  </a:lnTo>
                  <a:lnTo>
                    <a:pt x="915" y="1736"/>
                  </a:lnTo>
                  <a:lnTo>
                    <a:pt x="915" y="1734"/>
                  </a:lnTo>
                  <a:lnTo>
                    <a:pt x="915" y="1736"/>
                  </a:lnTo>
                  <a:lnTo>
                    <a:pt x="913" y="1736"/>
                  </a:lnTo>
                  <a:lnTo>
                    <a:pt x="915" y="1736"/>
                  </a:lnTo>
                  <a:lnTo>
                    <a:pt x="913" y="1736"/>
                  </a:lnTo>
                  <a:lnTo>
                    <a:pt x="913" y="1734"/>
                  </a:lnTo>
                  <a:lnTo>
                    <a:pt x="913" y="1736"/>
                  </a:lnTo>
                  <a:lnTo>
                    <a:pt x="913" y="1739"/>
                  </a:lnTo>
                  <a:lnTo>
                    <a:pt x="913" y="1736"/>
                  </a:lnTo>
                  <a:lnTo>
                    <a:pt x="913" y="1739"/>
                  </a:lnTo>
                  <a:lnTo>
                    <a:pt x="913" y="1741"/>
                  </a:lnTo>
                  <a:lnTo>
                    <a:pt x="911" y="1741"/>
                  </a:lnTo>
                  <a:lnTo>
                    <a:pt x="911" y="1743"/>
                  </a:lnTo>
                  <a:lnTo>
                    <a:pt x="911" y="1746"/>
                  </a:lnTo>
                  <a:lnTo>
                    <a:pt x="911" y="1748"/>
                  </a:lnTo>
                  <a:lnTo>
                    <a:pt x="911" y="1751"/>
                  </a:lnTo>
                  <a:lnTo>
                    <a:pt x="911" y="1748"/>
                  </a:lnTo>
                  <a:lnTo>
                    <a:pt x="908" y="1748"/>
                  </a:lnTo>
                  <a:lnTo>
                    <a:pt x="908" y="1751"/>
                  </a:lnTo>
                  <a:lnTo>
                    <a:pt x="908" y="1753"/>
                  </a:lnTo>
                  <a:lnTo>
                    <a:pt x="908" y="1755"/>
                  </a:lnTo>
                  <a:lnTo>
                    <a:pt x="908" y="1753"/>
                  </a:lnTo>
                  <a:lnTo>
                    <a:pt x="906" y="1753"/>
                  </a:lnTo>
                  <a:lnTo>
                    <a:pt x="906" y="1751"/>
                  </a:lnTo>
                  <a:lnTo>
                    <a:pt x="904" y="1751"/>
                  </a:lnTo>
                  <a:lnTo>
                    <a:pt x="904" y="1753"/>
                  </a:lnTo>
                  <a:lnTo>
                    <a:pt x="901" y="1753"/>
                  </a:lnTo>
                  <a:lnTo>
                    <a:pt x="904" y="1753"/>
                  </a:lnTo>
                  <a:lnTo>
                    <a:pt x="906" y="1753"/>
                  </a:lnTo>
                  <a:lnTo>
                    <a:pt x="906" y="1755"/>
                  </a:lnTo>
                  <a:lnTo>
                    <a:pt x="906" y="1758"/>
                  </a:lnTo>
                  <a:lnTo>
                    <a:pt x="904" y="1758"/>
                  </a:lnTo>
                  <a:lnTo>
                    <a:pt x="904" y="1755"/>
                  </a:lnTo>
                  <a:lnTo>
                    <a:pt x="904" y="1758"/>
                  </a:lnTo>
                  <a:lnTo>
                    <a:pt x="904" y="1755"/>
                  </a:lnTo>
                  <a:lnTo>
                    <a:pt x="901" y="1755"/>
                  </a:lnTo>
                  <a:lnTo>
                    <a:pt x="901" y="1758"/>
                  </a:lnTo>
                  <a:lnTo>
                    <a:pt x="899" y="1758"/>
                  </a:lnTo>
                  <a:lnTo>
                    <a:pt x="899" y="1755"/>
                  </a:lnTo>
                  <a:lnTo>
                    <a:pt x="899" y="1758"/>
                  </a:lnTo>
                  <a:lnTo>
                    <a:pt x="896" y="1758"/>
                  </a:lnTo>
                  <a:lnTo>
                    <a:pt x="899" y="1758"/>
                  </a:lnTo>
                  <a:lnTo>
                    <a:pt x="896" y="1758"/>
                  </a:lnTo>
                  <a:lnTo>
                    <a:pt x="896" y="1760"/>
                  </a:lnTo>
                  <a:lnTo>
                    <a:pt x="899" y="1760"/>
                  </a:lnTo>
                  <a:lnTo>
                    <a:pt x="896" y="1760"/>
                  </a:lnTo>
                  <a:lnTo>
                    <a:pt x="899" y="1760"/>
                  </a:lnTo>
                  <a:lnTo>
                    <a:pt x="899" y="1762"/>
                  </a:lnTo>
                  <a:lnTo>
                    <a:pt x="899" y="1765"/>
                  </a:lnTo>
                  <a:lnTo>
                    <a:pt x="901" y="1765"/>
                  </a:lnTo>
                  <a:lnTo>
                    <a:pt x="899" y="1765"/>
                  </a:lnTo>
                  <a:lnTo>
                    <a:pt x="901" y="1765"/>
                  </a:lnTo>
                  <a:lnTo>
                    <a:pt x="899" y="1765"/>
                  </a:lnTo>
                  <a:lnTo>
                    <a:pt x="901" y="1765"/>
                  </a:lnTo>
                  <a:lnTo>
                    <a:pt x="899" y="1765"/>
                  </a:lnTo>
                  <a:lnTo>
                    <a:pt x="896" y="1765"/>
                  </a:lnTo>
                  <a:lnTo>
                    <a:pt x="894" y="1765"/>
                  </a:lnTo>
                  <a:lnTo>
                    <a:pt x="894" y="1762"/>
                  </a:lnTo>
                  <a:lnTo>
                    <a:pt x="894" y="1765"/>
                  </a:lnTo>
                  <a:lnTo>
                    <a:pt x="896" y="1765"/>
                  </a:lnTo>
                  <a:lnTo>
                    <a:pt x="896" y="1767"/>
                  </a:lnTo>
                  <a:lnTo>
                    <a:pt x="899" y="1767"/>
                  </a:lnTo>
                  <a:lnTo>
                    <a:pt x="896" y="1767"/>
                  </a:lnTo>
                  <a:lnTo>
                    <a:pt x="899" y="1767"/>
                  </a:lnTo>
                  <a:lnTo>
                    <a:pt x="899" y="1765"/>
                  </a:lnTo>
                  <a:lnTo>
                    <a:pt x="899" y="1767"/>
                  </a:lnTo>
                  <a:lnTo>
                    <a:pt x="901" y="1767"/>
                  </a:lnTo>
                  <a:lnTo>
                    <a:pt x="901" y="1770"/>
                  </a:lnTo>
                  <a:lnTo>
                    <a:pt x="904" y="1770"/>
                  </a:lnTo>
                  <a:lnTo>
                    <a:pt x="904" y="1772"/>
                  </a:lnTo>
                  <a:lnTo>
                    <a:pt x="906" y="1774"/>
                  </a:lnTo>
                  <a:lnTo>
                    <a:pt x="906" y="1777"/>
                  </a:lnTo>
                  <a:lnTo>
                    <a:pt x="906" y="1774"/>
                  </a:lnTo>
                  <a:lnTo>
                    <a:pt x="906" y="1777"/>
                  </a:lnTo>
                  <a:lnTo>
                    <a:pt x="908" y="1777"/>
                  </a:lnTo>
                  <a:lnTo>
                    <a:pt x="906" y="1777"/>
                  </a:lnTo>
                  <a:lnTo>
                    <a:pt x="908" y="1777"/>
                  </a:lnTo>
                  <a:lnTo>
                    <a:pt x="911" y="1777"/>
                  </a:lnTo>
                  <a:lnTo>
                    <a:pt x="911" y="1779"/>
                  </a:lnTo>
                  <a:lnTo>
                    <a:pt x="911" y="1781"/>
                  </a:lnTo>
                  <a:lnTo>
                    <a:pt x="913" y="1781"/>
                  </a:lnTo>
                  <a:lnTo>
                    <a:pt x="913" y="1784"/>
                  </a:lnTo>
                  <a:lnTo>
                    <a:pt x="913" y="1786"/>
                  </a:lnTo>
                  <a:lnTo>
                    <a:pt x="915" y="1786"/>
                  </a:lnTo>
                  <a:lnTo>
                    <a:pt x="915" y="1789"/>
                  </a:lnTo>
                  <a:lnTo>
                    <a:pt x="915" y="1791"/>
                  </a:lnTo>
                  <a:lnTo>
                    <a:pt x="918" y="1791"/>
                  </a:lnTo>
                  <a:lnTo>
                    <a:pt x="918" y="1793"/>
                  </a:lnTo>
                  <a:lnTo>
                    <a:pt x="920" y="1793"/>
                  </a:lnTo>
                  <a:lnTo>
                    <a:pt x="920" y="1796"/>
                  </a:lnTo>
                  <a:lnTo>
                    <a:pt x="920" y="1793"/>
                  </a:lnTo>
                  <a:lnTo>
                    <a:pt x="920" y="1796"/>
                  </a:lnTo>
                  <a:lnTo>
                    <a:pt x="920" y="1793"/>
                  </a:lnTo>
                  <a:lnTo>
                    <a:pt x="920" y="1796"/>
                  </a:lnTo>
                  <a:lnTo>
                    <a:pt x="920" y="1793"/>
                  </a:lnTo>
                  <a:lnTo>
                    <a:pt x="920" y="1796"/>
                  </a:lnTo>
                  <a:lnTo>
                    <a:pt x="920" y="1793"/>
                  </a:lnTo>
                  <a:lnTo>
                    <a:pt x="923" y="1793"/>
                  </a:lnTo>
                  <a:lnTo>
                    <a:pt x="925" y="1791"/>
                  </a:lnTo>
                  <a:lnTo>
                    <a:pt x="927" y="1791"/>
                  </a:lnTo>
                  <a:lnTo>
                    <a:pt x="927" y="1793"/>
                  </a:lnTo>
                  <a:lnTo>
                    <a:pt x="925" y="1793"/>
                  </a:lnTo>
                  <a:lnTo>
                    <a:pt x="925" y="1796"/>
                  </a:lnTo>
                  <a:lnTo>
                    <a:pt x="925" y="1798"/>
                  </a:lnTo>
                  <a:lnTo>
                    <a:pt x="923" y="1798"/>
                  </a:lnTo>
                  <a:lnTo>
                    <a:pt x="923" y="1800"/>
                  </a:lnTo>
                  <a:lnTo>
                    <a:pt x="923" y="1803"/>
                  </a:lnTo>
                  <a:lnTo>
                    <a:pt x="920" y="1805"/>
                  </a:lnTo>
                  <a:lnTo>
                    <a:pt x="923" y="1803"/>
                  </a:lnTo>
                  <a:lnTo>
                    <a:pt x="920" y="1805"/>
                  </a:lnTo>
                  <a:lnTo>
                    <a:pt x="923" y="1805"/>
                  </a:lnTo>
                  <a:lnTo>
                    <a:pt x="920" y="1805"/>
                  </a:lnTo>
                  <a:lnTo>
                    <a:pt x="923" y="1805"/>
                  </a:lnTo>
                  <a:lnTo>
                    <a:pt x="920" y="1808"/>
                  </a:lnTo>
                  <a:lnTo>
                    <a:pt x="920" y="1810"/>
                  </a:lnTo>
                  <a:lnTo>
                    <a:pt x="920" y="1815"/>
                  </a:lnTo>
                  <a:lnTo>
                    <a:pt x="920" y="1817"/>
                  </a:lnTo>
                  <a:lnTo>
                    <a:pt x="920" y="1819"/>
                  </a:lnTo>
                  <a:lnTo>
                    <a:pt x="923" y="1819"/>
                  </a:lnTo>
                  <a:lnTo>
                    <a:pt x="920" y="1819"/>
                  </a:lnTo>
                  <a:lnTo>
                    <a:pt x="923" y="1819"/>
                  </a:lnTo>
                  <a:lnTo>
                    <a:pt x="920" y="1819"/>
                  </a:lnTo>
                  <a:lnTo>
                    <a:pt x="923" y="1819"/>
                  </a:lnTo>
                  <a:lnTo>
                    <a:pt x="920" y="1819"/>
                  </a:lnTo>
                  <a:lnTo>
                    <a:pt x="923" y="1819"/>
                  </a:lnTo>
                  <a:lnTo>
                    <a:pt x="920" y="1822"/>
                  </a:lnTo>
                  <a:lnTo>
                    <a:pt x="920" y="1824"/>
                  </a:lnTo>
                  <a:lnTo>
                    <a:pt x="918" y="1827"/>
                  </a:lnTo>
                  <a:lnTo>
                    <a:pt x="918" y="1831"/>
                  </a:lnTo>
                  <a:lnTo>
                    <a:pt x="918" y="1834"/>
                  </a:lnTo>
                  <a:lnTo>
                    <a:pt x="920" y="1834"/>
                  </a:lnTo>
                  <a:lnTo>
                    <a:pt x="923" y="1836"/>
                  </a:lnTo>
                  <a:lnTo>
                    <a:pt x="923" y="1838"/>
                  </a:lnTo>
                  <a:lnTo>
                    <a:pt x="925" y="1838"/>
                  </a:lnTo>
                  <a:lnTo>
                    <a:pt x="927" y="1841"/>
                  </a:lnTo>
                  <a:lnTo>
                    <a:pt x="927" y="1843"/>
                  </a:lnTo>
                  <a:lnTo>
                    <a:pt x="927" y="1846"/>
                  </a:lnTo>
                  <a:lnTo>
                    <a:pt x="927" y="1848"/>
                  </a:lnTo>
                  <a:lnTo>
                    <a:pt x="927" y="1850"/>
                  </a:lnTo>
                  <a:lnTo>
                    <a:pt x="930" y="1850"/>
                  </a:lnTo>
                  <a:lnTo>
                    <a:pt x="930" y="1853"/>
                  </a:lnTo>
                  <a:lnTo>
                    <a:pt x="930" y="1850"/>
                  </a:lnTo>
                  <a:lnTo>
                    <a:pt x="930" y="1853"/>
                  </a:lnTo>
                  <a:lnTo>
                    <a:pt x="932" y="1853"/>
                  </a:lnTo>
                  <a:lnTo>
                    <a:pt x="932" y="1855"/>
                  </a:lnTo>
                  <a:lnTo>
                    <a:pt x="934" y="1857"/>
                  </a:lnTo>
                  <a:lnTo>
                    <a:pt x="934" y="1860"/>
                  </a:lnTo>
                  <a:lnTo>
                    <a:pt x="937" y="1860"/>
                  </a:lnTo>
                  <a:lnTo>
                    <a:pt x="937" y="1862"/>
                  </a:lnTo>
                  <a:lnTo>
                    <a:pt x="939" y="1865"/>
                  </a:lnTo>
                  <a:lnTo>
                    <a:pt x="942" y="1867"/>
                  </a:lnTo>
                  <a:lnTo>
                    <a:pt x="942" y="1869"/>
                  </a:lnTo>
                  <a:lnTo>
                    <a:pt x="944" y="1872"/>
                  </a:lnTo>
                  <a:lnTo>
                    <a:pt x="944" y="1874"/>
                  </a:lnTo>
                  <a:lnTo>
                    <a:pt x="946" y="1874"/>
                  </a:lnTo>
                  <a:lnTo>
                    <a:pt x="946" y="1876"/>
                  </a:lnTo>
                  <a:lnTo>
                    <a:pt x="946" y="1879"/>
                  </a:lnTo>
                  <a:lnTo>
                    <a:pt x="946" y="1881"/>
                  </a:lnTo>
                  <a:lnTo>
                    <a:pt x="949" y="1881"/>
                  </a:lnTo>
                  <a:lnTo>
                    <a:pt x="949" y="1884"/>
                  </a:lnTo>
                  <a:lnTo>
                    <a:pt x="951" y="1884"/>
                  </a:lnTo>
                  <a:lnTo>
                    <a:pt x="953" y="1884"/>
                  </a:lnTo>
                  <a:lnTo>
                    <a:pt x="953" y="1886"/>
                  </a:lnTo>
                  <a:lnTo>
                    <a:pt x="956" y="1886"/>
                  </a:lnTo>
                  <a:lnTo>
                    <a:pt x="956" y="1888"/>
                  </a:lnTo>
                  <a:lnTo>
                    <a:pt x="953" y="1888"/>
                  </a:lnTo>
                  <a:lnTo>
                    <a:pt x="953" y="1891"/>
                  </a:lnTo>
                  <a:lnTo>
                    <a:pt x="951" y="1891"/>
                  </a:lnTo>
                  <a:lnTo>
                    <a:pt x="951" y="1893"/>
                  </a:lnTo>
                  <a:lnTo>
                    <a:pt x="951" y="1895"/>
                  </a:lnTo>
                  <a:lnTo>
                    <a:pt x="949" y="1895"/>
                  </a:lnTo>
                  <a:lnTo>
                    <a:pt x="949" y="1898"/>
                  </a:lnTo>
                  <a:lnTo>
                    <a:pt x="946" y="1898"/>
                  </a:lnTo>
                  <a:lnTo>
                    <a:pt x="946" y="1900"/>
                  </a:lnTo>
                  <a:lnTo>
                    <a:pt x="944" y="1900"/>
                  </a:lnTo>
                  <a:lnTo>
                    <a:pt x="942" y="1903"/>
                  </a:lnTo>
                  <a:lnTo>
                    <a:pt x="939" y="1903"/>
                  </a:lnTo>
                  <a:lnTo>
                    <a:pt x="937" y="1903"/>
                  </a:lnTo>
                  <a:lnTo>
                    <a:pt x="937" y="1905"/>
                  </a:lnTo>
                  <a:lnTo>
                    <a:pt x="939" y="1905"/>
                  </a:lnTo>
                  <a:lnTo>
                    <a:pt x="937" y="1905"/>
                  </a:lnTo>
                  <a:lnTo>
                    <a:pt x="937" y="1907"/>
                  </a:lnTo>
                  <a:lnTo>
                    <a:pt x="934" y="1910"/>
                  </a:lnTo>
                  <a:lnTo>
                    <a:pt x="932" y="1912"/>
                  </a:lnTo>
                  <a:lnTo>
                    <a:pt x="932" y="1914"/>
                  </a:lnTo>
                  <a:lnTo>
                    <a:pt x="930" y="1914"/>
                  </a:lnTo>
                  <a:lnTo>
                    <a:pt x="930" y="1917"/>
                  </a:lnTo>
                  <a:lnTo>
                    <a:pt x="927" y="1917"/>
                  </a:lnTo>
                  <a:lnTo>
                    <a:pt x="927" y="1914"/>
                  </a:lnTo>
                  <a:lnTo>
                    <a:pt x="925" y="1914"/>
                  </a:lnTo>
                  <a:lnTo>
                    <a:pt x="923" y="1914"/>
                  </a:lnTo>
                  <a:lnTo>
                    <a:pt x="923" y="1917"/>
                  </a:lnTo>
                  <a:lnTo>
                    <a:pt x="920" y="1917"/>
                  </a:lnTo>
                  <a:lnTo>
                    <a:pt x="920" y="1914"/>
                  </a:lnTo>
                  <a:lnTo>
                    <a:pt x="920" y="1912"/>
                  </a:lnTo>
                  <a:lnTo>
                    <a:pt x="918" y="1912"/>
                  </a:lnTo>
                  <a:lnTo>
                    <a:pt x="915" y="1912"/>
                  </a:lnTo>
                  <a:lnTo>
                    <a:pt x="913" y="1912"/>
                  </a:lnTo>
                  <a:lnTo>
                    <a:pt x="913" y="1910"/>
                  </a:lnTo>
                  <a:lnTo>
                    <a:pt x="911" y="1910"/>
                  </a:lnTo>
                  <a:lnTo>
                    <a:pt x="911" y="1907"/>
                  </a:lnTo>
                  <a:lnTo>
                    <a:pt x="911" y="1905"/>
                  </a:lnTo>
                  <a:lnTo>
                    <a:pt x="911" y="1903"/>
                  </a:lnTo>
                  <a:lnTo>
                    <a:pt x="908" y="1903"/>
                  </a:lnTo>
                  <a:lnTo>
                    <a:pt x="908" y="1900"/>
                  </a:lnTo>
                  <a:lnTo>
                    <a:pt x="906" y="1900"/>
                  </a:lnTo>
                  <a:lnTo>
                    <a:pt x="906" y="1898"/>
                  </a:lnTo>
                  <a:lnTo>
                    <a:pt x="906" y="1900"/>
                  </a:lnTo>
                  <a:lnTo>
                    <a:pt x="904" y="1900"/>
                  </a:lnTo>
                  <a:lnTo>
                    <a:pt x="904" y="1898"/>
                  </a:lnTo>
                  <a:lnTo>
                    <a:pt x="904" y="1895"/>
                  </a:lnTo>
                  <a:lnTo>
                    <a:pt x="901" y="1895"/>
                  </a:lnTo>
                  <a:lnTo>
                    <a:pt x="901" y="1893"/>
                  </a:lnTo>
                  <a:lnTo>
                    <a:pt x="901" y="1891"/>
                  </a:lnTo>
                  <a:lnTo>
                    <a:pt x="899" y="1891"/>
                  </a:lnTo>
                  <a:lnTo>
                    <a:pt x="899" y="1893"/>
                  </a:lnTo>
                  <a:lnTo>
                    <a:pt x="899" y="1891"/>
                  </a:lnTo>
                  <a:lnTo>
                    <a:pt x="896" y="1891"/>
                  </a:lnTo>
                  <a:lnTo>
                    <a:pt x="896" y="1888"/>
                  </a:lnTo>
                  <a:lnTo>
                    <a:pt x="894" y="1886"/>
                  </a:lnTo>
                  <a:lnTo>
                    <a:pt x="894" y="1888"/>
                  </a:lnTo>
                  <a:lnTo>
                    <a:pt x="894" y="1886"/>
                  </a:lnTo>
                  <a:lnTo>
                    <a:pt x="892" y="1886"/>
                  </a:lnTo>
                  <a:lnTo>
                    <a:pt x="889" y="1886"/>
                  </a:lnTo>
                  <a:lnTo>
                    <a:pt x="889" y="1888"/>
                  </a:lnTo>
                  <a:lnTo>
                    <a:pt x="887" y="1886"/>
                  </a:lnTo>
                  <a:lnTo>
                    <a:pt x="889" y="1886"/>
                  </a:lnTo>
                  <a:lnTo>
                    <a:pt x="887" y="1886"/>
                  </a:lnTo>
                  <a:lnTo>
                    <a:pt x="887" y="1884"/>
                  </a:lnTo>
                  <a:lnTo>
                    <a:pt x="887" y="1886"/>
                  </a:lnTo>
                  <a:lnTo>
                    <a:pt x="885" y="1886"/>
                  </a:lnTo>
                  <a:lnTo>
                    <a:pt x="885" y="1884"/>
                  </a:lnTo>
                  <a:lnTo>
                    <a:pt x="882" y="1884"/>
                  </a:lnTo>
                  <a:lnTo>
                    <a:pt x="882" y="1881"/>
                  </a:lnTo>
                  <a:lnTo>
                    <a:pt x="882" y="1884"/>
                  </a:lnTo>
                  <a:lnTo>
                    <a:pt x="882" y="1881"/>
                  </a:lnTo>
                  <a:lnTo>
                    <a:pt x="880" y="1881"/>
                  </a:lnTo>
                  <a:lnTo>
                    <a:pt x="880" y="1884"/>
                  </a:lnTo>
                  <a:lnTo>
                    <a:pt x="880" y="1881"/>
                  </a:lnTo>
                  <a:lnTo>
                    <a:pt x="877" y="1881"/>
                  </a:lnTo>
                  <a:lnTo>
                    <a:pt x="877" y="1879"/>
                  </a:lnTo>
                  <a:lnTo>
                    <a:pt x="875" y="1879"/>
                  </a:lnTo>
                  <a:lnTo>
                    <a:pt x="873" y="1879"/>
                  </a:lnTo>
                  <a:lnTo>
                    <a:pt x="873" y="1881"/>
                  </a:lnTo>
                  <a:lnTo>
                    <a:pt x="873" y="1879"/>
                  </a:lnTo>
                  <a:lnTo>
                    <a:pt x="873" y="1876"/>
                  </a:lnTo>
                  <a:lnTo>
                    <a:pt x="873" y="1879"/>
                  </a:lnTo>
                  <a:lnTo>
                    <a:pt x="870" y="1879"/>
                  </a:lnTo>
                  <a:lnTo>
                    <a:pt x="870" y="1876"/>
                  </a:lnTo>
                  <a:lnTo>
                    <a:pt x="868" y="1879"/>
                  </a:lnTo>
                  <a:lnTo>
                    <a:pt x="868" y="1876"/>
                  </a:lnTo>
                  <a:lnTo>
                    <a:pt x="868" y="1874"/>
                  </a:lnTo>
                  <a:lnTo>
                    <a:pt x="866" y="1874"/>
                  </a:lnTo>
                  <a:lnTo>
                    <a:pt x="863" y="1874"/>
                  </a:lnTo>
                  <a:lnTo>
                    <a:pt x="861" y="1874"/>
                  </a:lnTo>
                  <a:lnTo>
                    <a:pt x="861" y="1872"/>
                  </a:lnTo>
                  <a:lnTo>
                    <a:pt x="858" y="1872"/>
                  </a:lnTo>
                  <a:lnTo>
                    <a:pt x="858" y="1869"/>
                  </a:lnTo>
                  <a:lnTo>
                    <a:pt x="856" y="1869"/>
                  </a:lnTo>
                  <a:lnTo>
                    <a:pt x="858" y="1867"/>
                  </a:lnTo>
                  <a:lnTo>
                    <a:pt x="861" y="1867"/>
                  </a:lnTo>
                  <a:lnTo>
                    <a:pt x="861" y="1865"/>
                  </a:lnTo>
                  <a:lnTo>
                    <a:pt x="861" y="1862"/>
                  </a:lnTo>
                  <a:lnTo>
                    <a:pt x="861" y="1860"/>
                  </a:lnTo>
                  <a:lnTo>
                    <a:pt x="863" y="1860"/>
                  </a:lnTo>
                  <a:lnTo>
                    <a:pt x="863" y="1857"/>
                  </a:lnTo>
                  <a:lnTo>
                    <a:pt x="861" y="1857"/>
                  </a:lnTo>
                  <a:lnTo>
                    <a:pt x="858" y="1855"/>
                  </a:lnTo>
                  <a:lnTo>
                    <a:pt x="858" y="1857"/>
                  </a:lnTo>
                  <a:lnTo>
                    <a:pt x="858" y="1855"/>
                  </a:lnTo>
                  <a:lnTo>
                    <a:pt x="856" y="1855"/>
                  </a:lnTo>
                  <a:lnTo>
                    <a:pt x="854" y="1855"/>
                  </a:lnTo>
                  <a:lnTo>
                    <a:pt x="851" y="1855"/>
                  </a:lnTo>
                  <a:lnTo>
                    <a:pt x="849" y="1855"/>
                  </a:lnTo>
                  <a:lnTo>
                    <a:pt x="847" y="1855"/>
                  </a:lnTo>
                  <a:lnTo>
                    <a:pt x="847" y="1853"/>
                  </a:lnTo>
                  <a:lnTo>
                    <a:pt x="847" y="1850"/>
                  </a:lnTo>
                  <a:lnTo>
                    <a:pt x="847" y="1853"/>
                  </a:lnTo>
                  <a:lnTo>
                    <a:pt x="844" y="1850"/>
                  </a:lnTo>
                  <a:lnTo>
                    <a:pt x="844" y="1848"/>
                  </a:lnTo>
                  <a:lnTo>
                    <a:pt x="842" y="1848"/>
                  </a:lnTo>
                  <a:lnTo>
                    <a:pt x="840" y="1848"/>
                  </a:lnTo>
                  <a:lnTo>
                    <a:pt x="837" y="1848"/>
                  </a:lnTo>
                  <a:lnTo>
                    <a:pt x="837" y="1846"/>
                  </a:lnTo>
                  <a:lnTo>
                    <a:pt x="835" y="1846"/>
                  </a:lnTo>
                  <a:lnTo>
                    <a:pt x="832" y="1846"/>
                  </a:lnTo>
                  <a:lnTo>
                    <a:pt x="832" y="1848"/>
                  </a:lnTo>
                  <a:lnTo>
                    <a:pt x="832" y="1850"/>
                  </a:lnTo>
                  <a:lnTo>
                    <a:pt x="830" y="1850"/>
                  </a:lnTo>
                  <a:lnTo>
                    <a:pt x="832" y="1850"/>
                  </a:lnTo>
                  <a:lnTo>
                    <a:pt x="830" y="1850"/>
                  </a:lnTo>
                  <a:lnTo>
                    <a:pt x="830" y="1848"/>
                  </a:lnTo>
                  <a:lnTo>
                    <a:pt x="828" y="1848"/>
                  </a:lnTo>
                  <a:lnTo>
                    <a:pt x="828" y="1846"/>
                  </a:lnTo>
                  <a:lnTo>
                    <a:pt x="825" y="1846"/>
                  </a:lnTo>
                  <a:lnTo>
                    <a:pt x="823" y="1846"/>
                  </a:lnTo>
                  <a:lnTo>
                    <a:pt x="823" y="1843"/>
                  </a:lnTo>
                  <a:lnTo>
                    <a:pt x="823" y="1846"/>
                  </a:lnTo>
                  <a:lnTo>
                    <a:pt x="821" y="1846"/>
                  </a:lnTo>
                  <a:lnTo>
                    <a:pt x="821" y="1848"/>
                  </a:lnTo>
                  <a:lnTo>
                    <a:pt x="818" y="1846"/>
                  </a:lnTo>
                  <a:lnTo>
                    <a:pt x="818" y="1848"/>
                  </a:lnTo>
                  <a:lnTo>
                    <a:pt x="816" y="1846"/>
                  </a:lnTo>
                  <a:lnTo>
                    <a:pt x="813" y="1846"/>
                  </a:lnTo>
                  <a:lnTo>
                    <a:pt x="813" y="1848"/>
                  </a:lnTo>
                  <a:lnTo>
                    <a:pt x="811" y="1848"/>
                  </a:lnTo>
                  <a:lnTo>
                    <a:pt x="811" y="1850"/>
                  </a:lnTo>
                  <a:lnTo>
                    <a:pt x="809" y="1850"/>
                  </a:lnTo>
                  <a:lnTo>
                    <a:pt x="809" y="1853"/>
                  </a:lnTo>
                  <a:lnTo>
                    <a:pt x="809" y="1850"/>
                  </a:lnTo>
                  <a:lnTo>
                    <a:pt x="806" y="1850"/>
                  </a:lnTo>
                  <a:lnTo>
                    <a:pt x="806" y="1853"/>
                  </a:lnTo>
                  <a:lnTo>
                    <a:pt x="804" y="1853"/>
                  </a:lnTo>
                  <a:lnTo>
                    <a:pt x="804" y="1855"/>
                  </a:lnTo>
                  <a:lnTo>
                    <a:pt x="802" y="1855"/>
                  </a:lnTo>
                  <a:lnTo>
                    <a:pt x="802" y="1853"/>
                  </a:lnTo>
                  <a:lnTo>
                    <a:pt x="799" y="1853"/>
                  </a:lnTo>
                  <a:lnTo>
                    <a:pt x="797" y="1853"/>
                  </a:lnTo>
                  <a:lnTo>
                    <a:pt x="797" y="1850"/>
                  </a:lnTo>
                  <a:lnTo>
                    <a:pt x="794" y="1850"/>
                  </a:lnTo>
                  <a:lnTo>
                    <a:pt x="797" y="1850"/>
                  </a:lnTo>
                  <a:lnTo>
                    <a:pt x="797" y="1848"/>
                  </a:lnTo>
                  <a:lnTo>
                    <a:pt x="797" y="1846"/>
                  </a:lnTo>
                  <a:lnTo>
                    <a:pt x="797" y="1843"/>
                  </a:lnTo>
                  <a:lnTo>
                    <a:pt x="794" y="1843"/>
                  </a:lnTo>
                  <a:lnTo>
                    <a:pt x="792" y="1843"/>
                  </a:lnTo>
                  <a:lnTo>
                    <a:pt x="792" y="1841"/>
                  </a:lnTo>
                  <a:lnTo>
                    <a:pt x="792" y="1843"/>
                  </a:lnTo>
                  <a:lnTo>
                    <a:pt x="792" y="1841"/>
                  </a:lnTo>
                  <a:lnTo>
                    <a:pt x="790" y="1841"/>
                  </a:lnTo>
                  <a:lnTo>
                    <a:pt x="790" y="1838"/>
                  </a:lnTo>
                  <a:lnTo>
                    <a:pt x="787" y="1838"/>
                  </a:lnTo>
                  <a:lnTo>
                    <a:pt x="785" y="1838"/>
                  </a:lnTo>
                  <a:lnTo>
                    <a:pt x="783" y="1838"/>
                  </a:lnTo>
                  <a:lnTo>
                    <a:pt x="780" y="1838"/>
                  </a:lnTo>
                  <a:lnTo>
                    <a:pt x="780" y="1836"/>
                  </a:lnTo>
                  <a:lnTo>
                    <a:pt x="778" y="1836"/>
                  </a:lnTo>
                  <a:lnTo>
                    <a:pt x="775" y="1836"/>
                  </a:lnTo>
                  <a:lnTo>
                    <a:pt x="775" y="1834"/>
                  </a:lnTo>
                  <a:lnTo>
                    <a:pt x="773" y="1834"/>
                  </a:lnTo>
                  <a:lnTo>
                    <a:pt x="773" y="1831"/>
                  </a:lnTo>
                  <a:lnTo>
                    <a:pt x="771" y="1831"/>
                  </a:lnTo>
                  <a:lnTo>
                    <a:pt x="771" y="1829"/>
                  </a:lnTo>
                  <a:lnTo>
                    <a:pt x="773" y="1829"/>
                  </a:lnTo>
                  <a:lnTo>
                    <a:pt x="771" y="1829"/>
                  </a:lnTo>
                  <a:lnTo>
                    <a:pt x="771" y="1827"/>
                  </a:lnTo>
                  <a:lnTo>
                    <a:pt x="768" y="1827"/>
                  </a:lnTo>
                  <a:lnTo>
                    <a:pt x="768" y="1829"/>
                  </a:lnTo>
                  <a:lnTo>
                    <a:pt x="768" y="1827"/>
                  </a:lnTo>
                  <a:lnTo>
                    <a:pt x="766" y="1827"/>
                  </a:lnTo>
                  <a:lnTo>
                    <a:pt x="766" y="1824"/>
                  </a:lnTo>
                  <a:lnTo>
                    <a:pt x="766" y="1827"/>
                  </a:lnTo>
                  <a:lnTo>
                    <a:pt x="764" y="1827"/>
                  </a:lnTo>
                  <a:lnTo>
                    <a:pt x="764" y="1824"/>
                  </a:lnTo>
                  <a:lnTo>
                    <a:pt x="761" y="1824"/>
                  </a:lnTo>
                  <a:lnTo>
                    <a:pt x="761" y="1827"/>
                  </a:lnTo>
                  <a:lnTo>
                    <a:pt x="761" y="1824"/>
                  </a:lnTo>
                  <a:lnTo>
                    <a:pt x="761" y="1827"/>
                  </a:lnTo>
                  <a:lnTo>
                    <a:pt x="759" y="1827"/>
                  </a:lnTo>
                  <a:lnTo>
                    <a:pt x="756" y="1827"/>
                  </a:lnTo>
                  <a:lnTo>
                    <a:pt x="756" y="1824"/>
                  </a:lnTo>
                  <a:lnTo>
                    <a:pt x="754" y="1824"/>
                  </a:lnTo>
                  <a:lnTo>
                    <a:pt x="752" y="1824"/>
                  </a:lnTo>
                  <a:lnTo>
                    <a:pt x="752" y="1822"/>
                  </a:lnTo>
                  <a:lnTo>
                    <a:pt x="754" y="1822"/>
                  </a:lnTo>
                  <a:lnTo>
                    <a:pt x="752" y="1822"/>
                  </a:lnTo>
                  <a:lnTo>
                    <a:pt x="749" y="1822"/>
                  </a:lnTo>
                  <a:lnTo>
                    <a:pt x="749" y="1824"/>
                  </a:lnTo>
                  <a:lnTo>
                    <a:pt x="747" y="1824"/>
                  </a:lnTo>
                  <a:lnTo>
                    <a:pt x="747" y="1822"/>
                  </a:lnTo>
                  <a:lnTo>
                    <a:pt x="745" y="1822"/>
                  </a:lnTo>
                  <a:lnTo>
                    <a:pt x="745" y="1824"/>
                  </a:lnTo>
                  <a:lnTo>
                    <a:pt x="742" y="1824"/>
                  </a:lnTo>
                  <a:lnTo>
                    <a:pt x="740" y="1824"/>
                  </a:lnTo>
                  <a:lnTo>
                    <a:pt x="737" y="1824"/>
                  </a:lnTo>
                  <a:lnTo>
                    <a:pt x="735" y="1824"/>
                  </a:lnTo>
                  <a:lnTo>
                    <a:pt x="735" y="1822"/>
                  </a:lnTo>
                  <a:lnTo>
                    <a:pt x="733" y="1822"/>
                  </a:lnTo>
                  <a:lnTo>
                    <a:pt x="733" y="1824"/>
                  </a:lnTo>
                  <a:lnTo>
                    <a:pt x="730" y="1824"/>
                  </a:lnTo>
                  <a:lnTo>
                    <a:pt x="730" y="1822"/>
                  </a:lnTo>
                  <a:lnTo>
                    <a:pt x="728" y="1822"/>
                  </a:lnTo>
                  <a:lnTo>
                    <a:pt x="728" y="1824"/>
                  </a:lnTo>
                  <a:lnTo>
                    <a:pt x="728" y="1822"/>
                  </a:lnTo>
                  <a:lnTo>
                    <a:pt x="726" y="1822"/>
                  </a:lnTo>
                  <a:lnTo>
                    <a:pt x="726" y="1824"/>
                  </a:lnTo>
                  <a:lnTo>
                    <a:pt x="726" y="1822"/>
                  </a:lnTo>
                  <a:lnTo>
                    <a:pt x="723" y="1822"/>
                  </a:lnTo>
                  <a:lnTo>
                    <a:pt x="721" y="1819"/>
                  </a:lnTo>
                  <a:lnTo>
                    <a:pt x="719" y="1819"/>
                  </a:lnTo>
                  <a:lnTo>
                    <a:pt x="719" y="1817"/>
                  </a:lnTo>
                  <a:lnTo>
                    <a:pt x="716" y="1817"/>
                  </a:lnTo>
                  <a:lnTo>
                    <a:pt x="714" y="1817"/>
                  </a:lnTo>
                  <a:lnTo>
                    <a:pt x="711" y="1817"/>
                  </a:lnTo>
                  <a:lnTo>
                    <a:pt x="711" y="1815"/>
                  </a:lnTo>
                  <a:lnTo>
                    <a:pt x="709" y="1815"/>
                  </a:lnTo>
                  <a:lnTo>
                    <a:pt x="707" y="1815"/>
                  </a:lnTo>
                  <a:lnTo>
                    <a:pt x="704" y="1815"/>
                  </a:lnTo>
                  <a:lnTo>
                    <a:pt x="702" y="1815"/>
                  </a:lnTo>
                  <a:lnTo>
                    <a:pt x="702" y="1812"/>
                  </a:lnTo>
                  <a:lnTo>
                    <a:pt x="702" y="1810"/>
                  </a:lnTo>
                  <a:lnTo>
                    <a:pt x="700" y="1810"/>
                  </a:lnTo>
                  <a:lnTo>
                    <a:pt x="697" y="1810"/>
                  </a:lnTo>
                  <a:lnTo>
                    <a:pt x="695" y="1810"/>
                  </a:lnTo>
                  <a:lnTo>
                    <a:pt x="695" y="1808"/>
                  </a:lnTo>
                  <a:lnTo>
                    <a:pt x="692" y="1808"/>
                  </a:lnTo>
                  <a:lnTo>
                    <a:pt x="692" y="1810"/>
                  </a:lnTo>
                  <a:lnTo>
                    <a:pt x="690" y="1810"/>
                  </a:lnTo>
                  <a:lnTo>
                    <a:pt x="688" y="1810"/>
                  </a:lnTo>
                  <a:lnTo>
                    <a:pt x="688" y="1808"/>
                  </a:lnTo>
                  <a:lnTo>
                    <a:pt x="685" y="1808"/>
                  </a:lnTo>
                  <a:lnTo>
                    <a:pt x="683" y="1808"/>
                  </a:lnTo>
                  <a:lnTo>
                    <a:pt x="681" y="1808"/>
                  </a:lnTo>
                  <a:lnTo>
                    <a:pt x="678" y="1808"/>
                  </a:lnTo>
                  <a:lnTo>
                    <a:pt x="676" y="1808"/>
                  </a:lnTo>
                  <a:lnTo>
                    <a:pt x="676" y="1810"/>
                  </a:lnTo>
                  <a:lnTo>
                    <a:pt x="673" y="1810"/>
                  </a:lnTo>
                  <a:lnTo>
                    <a:pt x="673" y="1812"/>
                  </a:lnTo>
                  <a:lnTo>
                    <a:pt x="673" y="1815"/>
                  </a:lnTo>
                  <a:lnTo>
                    <a:pt x="671" y="1815"/>
                  </a:lnTo>
                  <a:lnTo>
                    <a:pt x="669" y="1815"/>
                  </a:lnTo>
                  <a:lnTo>
                    <a:pt x="669" y="1812"/>
                  </a:lnTo>
                  <a:lnTo>
                    <a:pt x="669" y="1810"/>
                  </a:lnTo>
                  <a:lnTo>
                    <a:pt x="666" y="1810"/>
                  </a:lnTo>
                  <a:lnTo>
                    <a:pt x="666" y="1808"/>
                  </a:lnTo>
                  <a:lnTo>
                    <a:pt x="664" y="1808"/>
                  </a:lnTo>
                  <a:lnTo>
                    <a:pt x="662" y="1808"/>
                  </a:lnTo>
                  <a:lnTo>
                    <a:pt x="662" y="1805"/>
                  </a:lnTo>
                  <a:lnTo>
                    <a:pt x="662" y="1803"/>
                  </a:lnTo>
                  <a:lnTo>
                    <a:pt x="659" y="1803"/>
                  </a:lnTo>
                  <a:lnTo>
                    <a:pt x="659" y="1800"/>
                  </a:lnTo>
                  <a:lnTo>
                    <a:pt x="657" y="1800"/>
                  </a:lnTo>
                  <a:lnTo>
                    <a:pt x="657" y="1798"/>
                  </a:lnTo>
                  <a:lnTo>
                    <a:pt x="654" y="1798"/>
                  </a:lnTo>
                  <a:lnTo>
                    <a:pt x="654" y="1796"/>
                  </a:lnTo>
                  <a:lnTo>
                    <a:pt x="652" y="1796"/>
                  </a:lnTo>
                  <a:lnTo>
                    <a:pt x="652" y="1793"/>
                  </a:lnTo>
                  <a:lnTo>
                    <a:pt x="650" y="1791"/>
                  </a:lnTo>
                  <a:lnTo>
                    <a:pt x="647" y="1789"/>
                  </a:lnTo>
                  <a:lnTo>
                    <a:pt x="645" y="1789"/>
                  </a:lnTo>
                  <a:lnTo>
                    <a:pt x="645" y="1786"/>
                  </a:lnTo>
                  <a:lnTo>
                    <a:pt x="643" y="1786"/>
                  </a:lnTo>
                  <a:lnTo>
                    <a:pt x="643" y="1784"/>
                  </a:lnTo>
                  <a:lnTo>
                    <a:pt x="640" y="1784"/>
                  </a:lnTo>
                  <a:lnTo>
                    <a:pt x="640" y="1781"/>
                  </a:lnTo>
                  <a:lnTo>
                    <a:pt x="640" y="1779"/>
                  </a:lnTo>
                  <a:lnTo>
                    <a:pt x="638" y="1779"/>
                  </a:lnTo>
                  <a:lnTo>
                    <a:pt x="635" y="1779"/>
                  </a:lnTo>
                  <a:lnTo>
                    <a:pt x="635" y="1777"/>
                  </a:lnTo>
                  <a:lnTo>
                    <a:pt x="633" y="1777"/>
                  </a:lnTo>
                  <a:lnTo>
                    <a:pt x="633" y="1774"/>
                  </a:lnTo>
                  <a:lnTo>
                    <a:pt x="631" y="1774"/>
                  </a:lnTo>
                  <a:lnTo>
                    <a:pt x="628" y="1774"/>
                  </a:lnTo>
                  <a:lnTo>
                    <a:pt x="628" y="1772"/>
                  </a:lnTo>
                  <a:lnTo>
                    <a:pt x="626" y="1772"/>
                  </a:lnTo>
                  <a:lnTo>
                    <a:pt x="624" y="1772"/>
                  </a:lnTo>
                  <a:lnTo>
                    <a:pt x="624" y="1770"/>
                  </a:lnTo>
                  <a:lnTo>
                    <a:pt x="624" y="1772"/>
                  </a:lnTo>
                  <a:lnTo>
                    <a:pt x="621" y="1770"/>
                  </a:lnTo>
                  <a:lnTo>
                    <a:pt x="619" y="1770"/>
                  </a:lnTo>
                  <a:lnTo>
                    <a:pt x="616" y="1770"/>
                  </a:lnTo>
                  <a:lnTo>
                    <a:pt x="616" y="1767"/>
                  </a:lnTo>
                  <a:lnTo>
                    <a:pt x="614" y="1767"/>
                  </a:lnTo>
                  <a:lnTo>
                    <a:pt x="612" y="1767"/>
                  </a:lnTo>
                  <a:lnTo>
                    <a:pt x="612" y="1765"/>
                  </a:lnTo>
                  <a:lnTo>
                    <a:pt x="609" y="1765"/>
                  </a:lnTo>
                  <a:lnTo>
                    <a:pt x="609" y="1762"/>
                  </a:lnTo>
                  <a:lnTo>
                    <a:pt x="607" y="1762"/>
                  </a:lnTo>
                  <a:lnTo>
                    <a:pt x="609" y="1762"/>
                  </a:lnTo>
                  <a:lnTo>
                    <a:pt x="609" y="1760"/>
                  </a:lnTo>
                  <a:lnTo>
                    <a:pt x="607" y="1760"/>
                  </a:lnTo>
                  <a:lnTo>
                    <a:pt x="605" y="1760"/>
                  </a:lnTo>
                  <a:lnTo>
                    <a:pt x="602" y="1758"/>
                  </a:lnTo>
                  <a:lnTo>
                    <a:pt x="605" y="1758"/>
                  </a:lnTo>
                  <a:lnTo>
                    <a:pt x="602" y="1755"/>
                  </a:lnTo>
                  <a:lnTo>
                    <a:pt x="600" y="1755"/>
                  </a:lnTo>
                  <a:lnTo>
                    <a:pt x="600" y="1753"/>
                  </a:lnTo>
                  <a:lnTo>
                    <a:pt x="600" y="1755"/>
                  </a:lnTo>
                  <a:lnTo>
                    <a:pt x="597" y="1758"/>
                  </a:lnTo>
                  <a:lnTo>
                    <a:pt x="595" y="1758"/>
                  </a:lnTo>
                  <a:lnTo>
                    <a:pt x="595" y="1755"/>
                  </a:lnTo>
                  <a:lnTo>
                    <a:pt x="593" y="1755"/>
                  </a:lnTo>
                  <a:lnTo>
                    <a:pt x="590" y="1755"/>
                  </a:lnTo>
                  <a:lnTo>
                    <a:pt x="588" y="1755"/>
                  </a:lnTo>
                  <a:lnTo>
                    <a:pt x="588" y="1753"/>
                  </a:lnTo>
                  <a:lnTo>
                    <a:pt x="586" y="1753"/>
                  </a:lnTo>
                  <a:lnTo>
                    <a:pt x="586" y="1751"/>
                  </a:lnTo>
                  <a:lnTo>
                    <a:pt x="586" y="1748"/>
                  </a:lnTo>
                  <a:lnTo>
                    <a:pt x="583" y="1748"/>
                  </a:lnTo>
                  <a:lnTo>
                    <a:pt x="583" y="1746"/>
                  </a:lnTo>
                  <a:lnTo>
                    <a:pt x="583" y="1743"/>
                  </a:lnTo>
                  <a:lnTo>
                    <a:pt x="581" y="1741"/>
                  </a:lnTo>
                  <a:lnTo>
                    <a:pt x="579" y="1741"/>
                  </a:lnTo>
                  <a:lnTo>
                    <a:pt x="579" y="1739"/>
                  </a:lnTo>
                  <a:lnTo>
                    <a:pt x="576" y="1739"/>
                  </a:lnTo>
                  <a:lnTo>
                    <a:pt x="574" y="1739"/>
                  </a:lnTo>
                  <a:lnTo>
                    <a:pt x="574" y="1736"/>
                  </a:lnTo>
                  <a:lnTo>
                    <a:pt x="571" y="1736"/>
                  </a:lnTo>
                  <a:lnTo>
                    <a:pt x="569" y="1736"/>
                  </a:lnTo>
                  <a:lnTo>
                    <a:pt x="567" y="1736"/>
                  </a:lnTo>
                  <a:lnTo>
                    <a:pt x="564" y="1736"/>
                  </a:lnTo>
                  <a:lnTo>
                    <a:pt x="564" y="1734"/>
                  </a:lnTo>
                  <a:lnTo>
                    <a:pt x="562" y="1734"/>
                  </a:lnTo>
                  <a:lnTo>
                    <a:pt x="560" y="1734"/>
                  </a:lnTo>
                  <a:lnTo>
                    <a:pt x="560" y="1732"/>
                  </a:lnTo>
                  <a:lnTo>
                    <a:pt x="562" y="1732"/>
                  </a:lnTo>
                  <a:lnTo>
                    <a:pt x="562" y="1729"/>
                  </a:lnTo>
                  <a:lnTo>
                    <a:pt x="564" y="1729"/>
                  </a:lnTo>
                  <a:lnTo>
                    <a:pt x="564" y="1732"/>
                  </a:lnTo>
                  <a:lnTo>
                    <a:pt x="564" y="1729"/>
                  </a:lnTo>
                  <a:lnTo>
                    <a:pt x="567" y="1729"/>
                  </a:lnTo>
                  <a:lnTo>
                    <a:pt x="569" y="1729"/>
                  </a:lnTo>
                  <a:lnTo>
                    <a:pt x="571" y="1729"/>
                  </a:lnTo>
                  <a:lnTo>
                    <a:pt x="571" y="1727"/>
                  </a:lnTo>
                  <a:lnTo>
                    <a:pt x="574" y="1727"/>
                  </a:lnTo>
                  <a:lnTo>
                    <a:pt x="574" y="1724"/>
                  </a:lnTo>
                  <a:lnTo>
                    <a:pt x="571" y="1724"/>
                  </a:lnTo>
                  <a:lnTo>
                    <a:pt x="569" y="1727"/>
                  </a:lnTo>
                  <a:lnTo>
                    <a:pt x="567" y="1727"/>
                  </a:lnTo>
                  <a:lnTo>
                    <a:pt x="567" y="1724"/>
                  </a:lnTo>
                  <a:lnTo>
                    <a:pt x="564" y="1722"/>
                  </a:lnTo>
                  <a:lnTo>
                    <a:pt x="567" y="1722"/>
                  </a:lnTo>
                  <a:lnTo>
                    <a:pt x="567" y="1724"/>
                  </a:lnTo>
                  <a:lnTo>
                    <a:pt x="567" y="1722"/>
                  </a:lnTo>
                  <a:lnTo>
                    <a:pt x="567" y="1724"/>
                  </a:lnTo>
                  <a:lnTo>
                    <a:pt x="569" y="1724"/>
                  </a:lnTo>
                  <a:lnTo>
                    <a:pt x="569" y="1722"/>
                  </a:lnTo>
                  <a:lnTo>
                    <a:pt x="569" y="1724"/>
                  </a:lnTo>
                  <a:lnTo>
                    <a:pt x="569" y="1722"/>
                  </a:lnTo>
                  <a:lnTo>
                    <a:pt x="567" y="1722"/>
                  </a:lnTo>
                  <a:lnTo>
                    <a:pt x="564" y="1722"/>
                  </a:lnTo>
                  <a:lnTo>
                    <a:pt x="564" y="1724"/>
                  </a:lnTo>
                  <a:lnTo>
                    <a:pt x="562" y="1724"/>
                  </a:lnTo>
                  <a:lnTo>
                    <a:pt x="562" y="1727"/>
                  </a:lnTo>
                  <a:lnTo>
                    <a:pt x="562" y="1724"/>
                  </a:lnTo>
                  <a:lnTo>
                    <a:pt x="562" y="1727"/>
                  </a:lnTo>
                  <a:lnTo>
                    <a:pt x="560" y="1727"/>
                  </a:lnTo>
                  <a:lnTo>
                    <a:pt x="562" y="1727"/>
                  </a:lnTo>
                  <a:lnTo>
                    <a:pt x="562" y="1724"/>
                  </a:lnTo>
                  <a:lnTo>
                    <a:pt x="564" y="1724"/>
                  </a:lnTo>
                  <a:lnTo>
                    <a:pt x="564" y="1722"/>
                  </a:lnTo>
                  <a:lnTo>
                    <a:pt x="567" y="1720"/>
                  </a:lnTo>
                  <a:lnTo>
                    <a:pt x="569" y="1720"/>
                  </a:lnTo>
                  <a:lnTo>
                    <a:pt x="571" y="1720"/>
                  </a:lnTo>
                  <a:lnTo>
                    <a:pt x="571" y="1722"/>
                  </a:lnTo>
                  <a:lnTo>
                    <a:pt x="574" y="1722"/>
                  </a:lnTo>
                  <a:lnTo>
                    <a:pt x="576" y="1724"/>
                  </a:lnTo>
                  <a:lnTo>
                    <a:pt x="579" y="1724"/>
                  </a:lnTo>
                  <a:lnTo>
                    <a:pt x="581" y="1724"/>
                  </a:lnTo>
                  <a:lnTo>
                    <a:pt x="583" y="1724"/>
                  </a:lnTo>
                  <a:lnTo>
                    <a:pt x="586" y="1724"/>
                  </a:lnTo>
                  <a:lnTo>
                    <a:pt x="586" y="1727"/>
                  </a:lnTo>
                  <a:lnTo>
                    <a:pt x="586" y="1724"/>
                  </a:lnTo>
                  <a:lnTo>
                    <a:pt x="588" y="1724"/>
                  </a:lnTo>
                  <a:lnTo>
                    <a:pt x="590" y="1722"/>
                  </a:lnTo>
                  <a:lnTo>
                    <a:pt x="593" y="1722"/>
                  </a:lnTo>
                  <a:lnTo>
                    <a:pt x="593" y="1720"/>
                  </a:lnTo>
                  <a:lnTo>
                    <a:pt x="593" y="1717"/>
                  </a:lnTo>
                  <a:lnTo>
                    <a:pt x="593" y="1715"/>
                  </a:lnTo>
                  <a:lnTo>
                    <a:pt x="593" y="1713"/>
                  </a:lnTo>
                  <a:lnTo>
                    <a:pt x="593" y="1710"/>
                  </a:lnTo>
                  <a:lnTo>
                    <a:pt x="595" y="1708"/>
                  </a:lnTo>
                  <a:lnTo>
                    <a:pt x="597" y="1708"/>
                  </a:lnTo>
                  <a:lnTo>
                    <a:pt x="597" y="1705"/>
                  </a:lnTo>
                  <a:lnTo>
                    <a:pt x="600" y="1705"/>
                  </a:lnTo>
                  <a:lnTo>
                    <a:pt x="602" y="1703"/>
                  </a:lnTo>
                  <a:lnTo>
                    <a:pt x="602" y="1701"/>
                  </a:lnTo>
                  <a:lnTo>
                    <a:pt x="602" y="1698"/>
                  </a:lnTo>
                  <a:lnTo>
                    <a:pt x="605" y="1696"/>
                  </a:lnTo>
                  <a:lnTo>
                    <a:pt x="605" y="1694"/>
                  </a:lnTo>
                  <a:lnTo>
                    <a:pt x="605" y="1691"/>
                  </a:lnTo>
                  <a:lnTo>
                    <a:pt x="607" y="1691"/>
                  </a:lnTo>
                  <a:lnTo>
                    <a:pt x="609" y="1691"/>
                  </a:lnTo>
                  <a:lnTo>
                    <a:pt x="609" y="1694"/>
                  </a:lnTo>
                  <a:lnTo>
                    <a:pt x="609" y="1696"/>
                  </a:lnTo>
                  <a:lnTo>
                    <a:pt x="609" y="1694"/>
                  </a:lnTo>
                  <a:lnTo>
                    <a:pt x="612" y="1694"/>
                  </a:lnTo>
                  <a:lnTo>
                    <a:pt x="612" y="1691"/>
                  </a:lnTo>
                  <a:lnTo>
                    <a:pt x="612" y="1689"/>
                  </a:lnTo>
                  <a:lnTo>
                    <a:pt x="614" y="1686"/>
                  </a:lnTo>
                  <a:lnTo>
                    <a:pt x="614" y="1684"/>
                  </a:lnTo>
                  <a:lnTo>
                    <a:pt x="614" y="1682"/>
                  </a:lnTo>
                  <a:lnTo>
                    <a:pt x="616" y="1682"/>
                  </a:lnTo>
                  <a:lnTo>
                    <a:pt x="614" y="1682"/>
                  </a:lnTo>
                  <a:lnTo>
                    <a:pt x="614" y="1684"/>
                  </a:lnTo>
                  <a:lnTo>
                    <a:pt x="614" y="1686"/>
                  </a:lnTo>
                  <a:lnTo>
                    <a:pt x="616" y="1686"/>
                  </a:lnTo>
                  <a:lnTo>
                    <a:pt x="614" y="1686"/>
                  </a:lnTo>
                  <a:lnTo>
                    <a:pt x="616" y="1686"/>
                  </a:lnTo>
                  <a:lnTo>
                    <a:pt x="616" y="1689"/>
                  </a:lnTo>
                  <a:lnTo>
                    <a:pt x="619" y="1689"/>
                  </a:lnTo>
                  <a:lnTo>
                    <a:pt x="619" y="1691"/>
                  </a:lnTo>
                  <a:lnTo>
                    <a:pt x="621" y="1691"/>
                  </a:lnTo>
                  <a:lnTo>
                    <a:pt x="624" y="1691"/>
                  </a:lnTo>
                  <a:lnTo>
                    <a:pt x="626" y="1691"/>
                  </a:lnTo>
                  <a:lnTo>
                    <a:pt x="626" y="1689"/>
                  </a:lnTo>
                  <a:lnTo>
                    <a:pt x="624" y="1689"/>
                  </a:lnTo>
                  <a:lnTo>
                    <a:pt x="624" y="1686"/>
                  </a:lnTo>
                  <a:lnTo>
                    <a:pt x="621" y="1686"/>
                  </a:lnTo>
                  <a:lnTo>
                    <a:pt x="619" y="1686"/>
                  </a:lnTo>
                  <a:lnTo>
                    <a:pt x="619" y="1684"/>
                  </a:lnTo>
                  <a:lnTo>
                    <a:pt x="616" y="1684"/>
                  </a:lnTo>
                  <a:lnTo>
                    <a:pt x="616" y="1682"/>
                  </a:lnTo>
                  <a:lnTo>
                    <a:pt x="614" y="1682"/>
                  </a:lnTo>
                  <a:lnTo>
                    <a:pt x="614" y="1679"/>
                  </a:lnTo>
                  <a:lnTo>
                    <a:pt x="612" y="1677"/>
                  </a:lnTo>
                  <a:lnTo>
                    <a:pt x="609" y="1675"/>
                  </a:lnTo>
                  <a:lnTo>
                    <a:pt x="607" y="1675"/>
                  </a:lnTo>
                  <a:lnTo>
                    <a:pt x="605" y="1675"/>
                  </a:lnTo>
                  <a:lnTo>
                    <a:pt x="607" y="1675"/>
                  </a:lnTo>
                  <a:lnTo>
                    <a:pt x="607" y="1677"/>
                  </a:lnTo>
                  <a:lnTo>
                    <a:pt x="605" y="1677"/>
                  </a:lnTo>
                  <a:lnTo>
                    <a:pt x="605" y="1675"/>
                  </a:lnTo>
                  <a:lnTo>
                    <a:pt x="602" y="1675"/>
                  </a:lnTo>
                  <a:lnTo>
                    <a:pt x="602" y="1672"/>
                  </a:lnTo>
                  <a:lnTo>
                    <a:pt x="600" y="1670"/>
                  </a:lnTo>
                  <a:lnTo>
                    <a:pt x="600" y="1667"/>
                  </a:lnTo>
                  <a:lnTo>
                    <a:pt x="600" y="1665"/>
                  </a:lnTo>
                  <a:lnTo>
                    <a:pt x="597" y="1663"/>
                  </a:lnTo>
                  <a:lnTo>
                    <a:pt x="597" y="1660"/>
                  </a:lnTo>
                  <a:lnTo>
                    <a:pt x="600" y="1663"/>
                  </a:lnTo>
                  <a:lnTo>
                    <a:pt x="602" y="1663"/>
                  </a:lnTo>
                  <a:lnTo>
                    <a:pt x="602" y="1665"/>
                  </a:lnTo>
                  <a:lnTo>
                    <a:pt x="605" y="1665"/>
                  </a:lnTo>
                  <a:lnTo>
                    <a:pt x="607" y="1665"/>
                  </a:lnTo>
                  <a:lnTo>
                    <a:pt x="607" y="1663"/>
                  </a:lnTo>
                  <a:lnTo>
                    <a:pt x="609" y="1663"/>
                  </a:lnTo>
                  <a:lnTo>
                    <a:pt x="609" y="1660"/>
                  </a:lnTo>
                  <a:lnTo>
                    <a:pt x="612" y="1660"/>
                  </a:lnTo>
                  <a:lnTo>
                    <a:pt x="614" y="1660"/>
                  </a:lnTo>
                  <a:lnTo>
                    <a:pt x="616" y="1660"/>
                  </a:lnTo>
                  <a:lnTo>
                    <a:pt x="616" y="1658"/>
                  </a:lnTo>
                  <a:lnTo>
                    <a:pt x="616" y="1660"/>
                  </a:lnTo>
                  <a:lnTo>
                    <a:pt x="616" y="1663"/>
                  </a:lnTo>
                  <a:lnTo>
                    <a:pt x="619" y="1663"/>
                  </a:lnTo>
                  <a:lnTo>
                    <a:pt x="621" y="1663"/>
                  </a:lnTo>
                  <a:lnTo>
                    <a:pt x="624" y="1663"/>
                  </a:lnTo>
                  <a:lnTo>
                    <a:pt x="626" y="1663"/>
                  </a:lnTo>
                  <a:lnTo>
                    <a:pt x="626" y="1660"/>
                  </a:lnTo>
                  <a:lnTo>
                    <a:pt x="624" y="1660"/>
                  </a:lnTo>
                  <a:lnTo>
                    <a:pt x="624" y="1658"/>
                  </a:lnTo>
                  <a:lnTo>
                    <a:pt x="621" y="1658"/>
                  </a:lnTo>
                  <a:lnTo>
                    <a:pt x="619" y="1658"/>
                  </a:lnTo>
                  <a:lnTo>
                    <a:pt x="619" y="1660"/>
                  </a:lnTo>
                  <a:lnTo>
                    <a:pt x="619" y="1658"/>
                  </a:lnTo>
                  <a:lnTo>
                    <a:pt x="619" y="1656"/>
                  </a:lnTo>
                  <a:lnTo>
                    <a:pt x="621" y="1656"/>
                  </a:lnTo>
                  <a:lnTo>
                    <a:pt x="621" y="1653"/>
                  </a:lnTo>
                  <a:lnTo>
                    <a:pt x="624" y="1653"/>
                  </a:lnTo>
                  <a:lnTo>
                    <a:pt x="626" y="1653"/>
                  </a:lnTo>
                  <a:lnTo>
                    <a:pt x="628" y="1653"/>
                  </a:lnTo>
                  <a:lnTo>
                    <a:pt x="631" y="1653"/>
                  </a:lnTo>
                  <a:lnTo>
                    <a:pt x="631" y="1651"/>
                  </a:lnTo>
                  <a:lnTo>
                    <a:pt x="633" y="1651"/>
                  </a:lnTo>
                  <a:lnTo>
                    <a:pt x="635" y="1651"/>
                  </a:lnTo>
                  <a:lnTo>
                    <a:pt x="635" y="1648"/>
                  </a:lnTo>
                  <a:lnTo>
                    <a:pt x="638" y="1648"/>
                  </a:lnTo>
                  <a:lnTo>
                    <a:pt x="640" y="1646"/>
                  </a:lnTo>
                  <a:lnTo>
                    <a:pt x="643" y="1646"/>
                  </a:lnTo>
                  <a:lnTo>
                    <a:pt x="643" y="1644"/>
                  </a:lnTo>
                  <a:lnTo>
                    <a:pt x="643" y="1646"/>
                  </a:lnTo>
                  <a:lnTo>
                    <a:pt x="645" y="1646"/>
                  </a:lnTo>
                  <a:lnTo>
                    <a:pt x="647" y="1646"/>
                  </a:lnTo>
                  <a:lnTo>
                    <a:pt x="650" y="1646"/>
                  </a:lnTo>
                  <a:lnTo>
                    <a:pt x="650" y="1644"/>
                  </a:lnTo>
                  <a:lnTo>
                    <a:pt x="650" y="1641"/>
                  </a:lnTo>
                  <a:lnTo>
                    <a:pt x="652" y="1641"/>
                  </a:lnTo>
                  <a:lnTo>
                    <a:pt x="654" y="1641"/>
                  </a:lnTo>
                  <a:lnTo>
                    <a:pt x="654" y="1639"/>
                  </a:lnTo>
                  <a:lnTo>
                    <a:pt x="657" y="1639"/>
                  </a:lnTo>
                  <a:lnTo>
                    <a:pt x="657" y="1641"/>
                  </a:lnTo>
                  <a:lnTo>
                    <a:pt x="657" y="1639"/>
                  </a:lnTo>
                  <a:lnTo>
                    <a:pt x="659" y="1639"/>
                  </a:lnTo>
                  <a:lnTo>
                    <a:pt x="659" y="1641"/>
                  </a:lnTo>
                  <a:lnTo>
                    <a:pt x="662" y="1641"/>
                  </a:lnTo>
                  <a:lnTo>
                    <a:pt x="659" y="1641"/>
                  </a:lnTo>
                  <a:lnTo>
                    <a:pt x="659" y="1639"/>
                  </a:lnTo>
                  <a:lnTo>
                    <a:pt x="659" y="1641"/>
                  </a:lnTo>
                  <a:lnTo>
                    <a:pt x="659" y="1639"/>
                  </a:lnTo>
                  <a:lnTo>
                    <a:pt x="657" y="1639"/>
                  </a:lnTo>
                  <a:lnTo>
                    <a:pt x="659" y="1639"/>
                  </a:lnTo>
                  <a:lnTo>
                    <a:pt x="662" y="1637"/>
                  </a:lnTo>
                  <a:lnTo>
                    <a:pt x="664" y="1637"/>
                  </a:lnTo>
                  <a:lnTo>
                    <a:pt x="666" y="1637"/>
                  </a:lnTo>
                  <a:lnTo>
                    <a:pt x="666" y="1634"/>
                  </a:lnTo>
                  <a:lnTo>
                    <a:pt x="669" y="1634"/>
                  </a:lnTo>
                  <a:lnTo>
                    <a:pt x="669" y="1637"/>
                  </a:lnTo>
                  <a:lnTo>
                    <a:pt x="671" y="1637"/>
                  </a:lnTo>
                  <a:lnTo>
                    <a:pt x="671" y="1634"/>
                  </a:lnTo>
                  <a:lnTo>
                    <a:pt x="671" y="1637"/>
                  </a:lnTo>
                  <a:lnTo>
                    <a:pt x="673" y="1637"/>
                  </a:lnTo>
                  <a:lnTo>
                    <a:pt x="673" y="1634"/>
                  </a:lnTo>
                  <a:lnTo>
                    <a:pt x="673" y="1637"/>
                  </a:lnTo>
                  <a:lnTo>
                    <a:pt x="676" y="1637"/>
                  </a:lnTo>
                  <a:lnTo>
                    <a:pt x="676" y="1634"/>
                  </a:lnTo>
                  <a:lnTo>
                    <a:pt x="678" y="1634"/>
                  </a:lnTo>
                  <a:lnTo>
                    <a:pt x="678" y="1637"/>
                  </a:lnTo>
                  <a:lnTo>
                    <a:pt x="681" y="1637"/>
                  </a:lnTo>
                  <a:lnTo>
                    <a:pt x="681" y="1634"/>
                  </a:lnTo>
                  <a:lnTo>
                    <a:pt x="683" y="1634"/>
                  </a:lnTo>
                  <a:lnTo>
                    <a:pt x="683" y="1632"/>
                  </a:lnTo>
                  <a:lnTo>
                    <a:pt x="685" y="1632"/>
                  </a:lnTo>
                  <a:lnTo>
                    <a:pt x="685" y="1629"/>
                  </a:lnTo>
                  <a:lnTo>
                    <a:pt x="685" y="1632"/>
                  </a:lnTo>
                  <a:lnTo>
                    <a:pt x="683" y="1632"/>
                  </a:lnTo>
                  <a:lnTo>
                    <a:pt x="681" y="1634"/>
                  </a:lnTo>
                  <a:lnTo>
                    <a:pt x="681" y="1637"/>
                  </a:lnTo>
                  <a:lnTo>
                    <a:pt x="678" y="1637"/>
                  </a:lnTo>
                  <a:lnTo>
                    <a:pt x="678" y="1634"/>
                  </a:lnTo>
                  <a:lnTo>
                    <a:pt x="676" y="1634"/>
                  </a:lnTo>
                  <a:lnTo>
                    <a:pt x="676" y="1637"/>
                  </a:lnTo>
                  <a:lnTo>
                    <a:pt x="673" y="1637"/>
                  </a:lnTo>
                  <a:lnTo>
                    <a:pt x="673" y="1634"/>
                  </a:lnTo>
                  <a:lnTo>
                    <a:pt x="671" y="1634"/>
                  </a:lnTo>
                  <a:lnTo>
                    <a:pt x="671" y="1637"/>
                  </a:lnTo>
                  <a:lnTo>
                    <a:pt x="669" y="1637"/>
                  </a:lnTo>
                  <a:lnTo>
                    <a:pt x="669" y="1634"/>
                  </a:lnTo>
                  <a:lnTo>
                    <a:pt x="671" y="1634"/>
                  </a:lnTo>
                  <a:lnTo>
                    <a:pt x="671" y="1632"/>
                  </a:lnTo>
                  <a:lnTo>
                    <a:pt x="671" y="1634"/>
                  </a:lnTo>
                  <a:lnTo>
                    <a:pt x="669" y="1634"/>
                  </a:lnTo>
                  <a:lnTo>
                    <a:pt x="666" y="1634"/>
                  </a:lnTo>
                  <a:lnTo>
                    <a:pt x="666" y="1637"/>
                  </a:lnTo>
                  <a:lnTo>
                    <a:pt x="664" y="1637"/>
                  </a:lnTo>
                  <a:lnTo>
                    <a:pt x="662" y="1637"/>
                  </a:lnTo>
                  <a:lnTo>
                    <a:pt x="659" y="1639"/>
                  </a:lnTo>
                  <a:lnTo>
                    <a:pt x="657" y="1639"/>
                  </a:lnTo>
                  <a:lnTo>
                    <a:pt x="654" y="1639"/>
                  </a:lnTo>
                  <a:lnTo>
                    <a:pt x="652" y="1639"/>
                  </a:lnTo>
                  <a:lnTo>
                    <a:pt x="650" y="1639"/>
                  </a:lnTo>
                  <a:lnTo>
                    <a:pt x="650" y="1637"/>
                  </a:lnTo>
                  <a:lnTo>
                    <a:pt x="647" y="1637"/>
                  </a:lnTo>
                  <a:lnTo>
                    <a:pt x="647" y="1634"/>
                  </a:lnTo>
                  <a:lnTo>
                    <a:pt x="647" y="1637"/>
                  </a:lnTo>
                  <a:lnTo>
                    <a:pt x="647" y="1634"/>
                  </a:lnTo>
                  <a:lnTo>
                    <a:pt x="650" y="1634"/>
                  </a:lnTo>
                  <a:lnTo>
                    <a:pt x="652" y="1634"/>
                  </a:lnTo>
                  <a:lnTo>
                    <a:pt x="654" y="1634"/>
                  </a:lnTo>
                  <a:lnTo>
                    <a:pt x="657" y="1634"/>
                  </a:lnTo>
                  <a:lnTo>
                    <a:pt x="657" y="1637"/>
                  </a:lnTo>
                  <a:lnTo>
                    <a:pt x="659" y="1637"/>
                  </a:lnTo>
                  <a:lnTo>
                    <a:pt x="657" y="1637"/>
                  </a:lnTo>
                  <a:lnTo>
                    <a:pt x="654" y="1634"/>
                  </a:lnTo>
                  <a:lnTo>
                    <a:pt x="652" y="1634"/>
                  </a:lnTo>
                  <a:lnTo>
                    <a:pt x="650" y="1634"/>
                  </a:lnTo>
                  <a:lnTo>
                    <a:pt x="647" y="1634"/>
                  </a:lnTo>
                  <a:lnTo>
                    <a:pt x="645" y="1634"/>
                  </a:lnTo>
                  <a:lnTo>
                    <a:pt x="643" y="1634"/>
                  </a:lnTo>
                  <a:lnTo>
                    <a:pt x="643" y="1632"/>
                  </a:lnTo>
                  <a:lnTo>
                    <a:pt x="643" y="1634"/>
                  </a:lnTo>
                  <a:lnTo>
                    <a:pt x="640" y="1634"/>
                  </a:lnTo>
                  <a:lnTo>
                    <a:pt x="638" y="1634"/>
                  </a:lnTo>
                  <a:lnTo>
                    <a:pt x="638" y="1637"/>
                  </a:lnTo>
                  <a:lnTo>
                    <a:pt x="635" y="1637"/>
                  </a:lnTo>
                  <a:lnTo>
                    <a:pt x="635" y="1639"/>
                  </a:lnTo>
                  <a:lnTo>
                    <a:pt x="633" y="1639"/>
                  </a:lnTo>
                  <a:lnTo>
                    <a:pt x="631" y="1639"/>
                  </a:lnTo>
                  <a:lnTo>
                    <a:pt x="628" y="1639"/>
                  </a:lnTo>
                  <a:lnTo>
                    <a:pt x="626" y="1639"/>
                  </a:lnTo>
                  <a:lnTo>
                    <a:pt x="624" y="1641"/>
                  </a:lnTo>
                  <a:lnTo>
                    <a:pt x="626" y="1641"/>
                  </a:lnTo>
                  <a:lnTo>
                    <a:pt x="624" y="1641"/>
                  </a:lnTo>
                  <a:lnTo>
                    <a:pt x="621" y="1639"/>
                  </a:lnTo>
                  <a:lnTo>
                    <a:pt x="624" y="1639"/>
                  </a:lnTo>
                  <a:lnTo>
                    <a:pt x="624" y="1637"/>
                  </a:lnTo>
                  <a:lnTo>
                    <a:pt x="624" y="1639"/>
                  </a:lnTo>
                  <a:lnTo>
                    <a:pt x="621" y="1639"/>
                  </a:lnTo>
                  <a:lnTo>
                    <a:pt x="619" y="1639"/>
                  </a:lnTo>
                  <a:lnTo>
                    <a:pt x="619" y="1641"/>
                  </a:lnTo>
                  <a:lnTo>
                    <a:pt x="619" y="1639"/>
                  </a:lnTo>
                  <a:lnTo>
                    <a:pt x="616" y="1641"/>
                  </a:lnTo>
                  <a:lnTo>
                    <a:pt x="616" y="1639"/>
                  </a:lnTo>
                  <a:lnTo>
                    <a:pt x="616" y="1641"/>
                  </a:lnTo>
                  <a:lnTo>
                    <a:pt x="616" y="1639"/>
                  </a:lnTo>
                  <a:lnTo>
                    <a:pt x="616" y="1641"/>
                  </a:lnTo>
                  <a:lnTo>
                    <a:pt x="614" y="1641"/>
                  </a:lnTo>
                  <a:lnTo>
                    <a:pt x="614" y="1639"/>
                  </a:lnTo>
                  <a:lnTo>
                    <a:pt x="614" y="1637"/>
                  </a:lnTo>
                  <a:lnTo>
                    <a:pt x="616" y="1634"/>
                  </a:lnTo>
                  <a:lnTo>
                    <a:pt x="616" y="1632"/>
                  </a:lnTo>
                  <a:lnTo>
                    <a:pt x="614" y="1632"/>
                  </a:lnTo>
                  <a:lnTo>
                    <a:pt x="614" y="1629"/>
                  </a:lnTo>
                  <a:lnTo>
                    <a:pt x="616" y="1629"/>
                  </a:lnTo>
                  <a:lnTo>
                    <a:pt x="616" y="1627"/>
                  </a:lnTo>
                  <a:lnTo>
                    <a:pt x="616" y="1625"/>
                  </a:lnTo>
                  <a:lnTo>
                    <a:pt x="616" y="1622"/>
                  </a:lnTo>
                  <a:lnTo>
                    <a:pt x="616" y="1620"/>
                  </a:lnTo>
                  <a:lnTo>
                    <a:pt x="619" y="1620"/>
                  </a:lnTo>
                  <a:lnTo>
                    <a:pt x="619" y="1618"/>
                  </a:lnTo>
                  <a:lnTo>
                    <a:pt x="621" y="1618"/>
                  </a:lnTo>
                  <a:lnTo>
                    <a:pt x="621" y="1615"/>
                  </a:lnTo>
                  <a:lnTo>
                    <a:pt x="626" y="1615"/>
                  </a:lnTo>
                  <a:lnTo>
                    <a:pt x="628" y="1615"/>
                  </a:lnTo>
                  <a:lnTo>
                    <a:pt x="628" y="1613"/>
                  </a:lnTo>
                  <a:lnTo>
                    <a:pt x="631" y="1613"/>
                  </a:lnTo>
                  <a:lnTo>
                    <a:pt x="631" y="1615"/>
                  </a:lnTo>
                  <a:lnTo>
                    <a:pt x="631" y="1613"/>
                  </a:lnTo>
                  <a:lnTo>
                    <a:pt x="633" y="1610"/>
                  </a:lnTo>
                  <a:lnTo>
                    <a:pt x="633" y="1608"/>
                  </a:lnTo>
                  <a:lnTo>
                    <a:pt x="633" y="1606"/>
                  </a:lnTo>
                  <a:lnTo>
                    <a:pt x="635" y="1606"/>
                  </a:lnTo>
                  <a:lnTo>
                    <a:pt x="638" y="1606"/>
                  </a:lnTo>
                  <a:lnTo>
                    <a:pt x="640" y="1606"/>
                  </a:lnTo>
                  <a:lnTo>
                    <a:pt x="643" y="1606"/>
                  </a:lnTo>
                  <a:lnTo>
                    <a:pt x="645" y="1606"/>
                  </a:lnTo>
                  <a:lnTo>
                    <a:pt x="647" y="1606"/>
                  </a:lnTo>
                  <a:lnTo>
                    <a:pt x="650" y="1606"/>
                  </a:lnTo>
                  <a:lnTo>
                    <a:pt x="652" y="1606"/>
                  </a:lnTo>
                  <a:lnTo>
                    <a:pt x="652" y="1608"/>
                  </a:lnTo>
                  <a:lnTo>
                    <a:pt x="652" y="1606"/>
                  </a:lnTo>
                  <a:lnTo>
                    <a:pt x="654" y="1606"/>
                  </a:lnTo>
                  <a:lnTo>
                    <a:pt x="657" y="1608"/>
                  </a:lnTo>
                  <a:lnTo>
                    <a:pt x="659" y="1606"/>
                  </a:lnTo>
                  <a:lnTo>
                    <a:pt x="662" y="1608"/>
                  </a:lnTo>
                  <a:lnTo>
                    <a:pt x="664" y="1608"/>
                  </a:lnTo>
                  <a:lnTo>
                    <a:pt x="664" y="1606"/>
                  </a:lnTo>
                  <a:lnTo>
                    <a:pt x="666" y="1606"/>
                  </a:lnTo>
                  <a:lnTo>
                    <a:pt x="666" y="1603"/>
                  </a:lnTo>
                  <a:lnTo>
                    <a:pt x="666" y="1601"/>
                  </a:lnTo>
                  <a:lnTo>
                    <a:pt x="666" y="1599"/>
                  </a:lnTo>
                  <a:lnTo>
                    <a:pt x="664" y="1599"/>
                  </a:lnTo>
                  <a:lnTo>
                    <a:pt x="664" y="1596"/>
                  </a:lnTo>
                  <a:lnTo>
                    <a:pt x="669" y="1596"/>
                  </a:lnTo>
                  <a:lnTo>
                    <a:pt x="666" y="1596"/>
                  </a:lnTo>
                  <a:lnTo>
                    <a:pt x="669" y="1596"/>
                  </a:lnTo>
                  <a:lnTo>
                    <a:pt x="669" y="1594"/>
                  </a:lnTo>
                  <a:lnTo>
                    <a:pt x="669" y="1591"/>
                  </a:lnTo>
                  <a:lnTo>
                    <a:pt x="671" y="1591"/>
                  </a:lnTo>
                  <a:lnTo>
                    <a:pt x="671" y="1589"/>
                  </a:lnTo>
                  <a:lnTo>
                    <a:pt x="673" y="1589"/>
                  </a:lnTo>
                  <a:lnTo>
                    <a:pt x="673" y="1587"/>
                  </a:lnTo>
                  <a:lnTo>
                    <a:pt x="671" y="1584"/>
                  </a:lnTo>
                  <a:lnTo>
                    <a:pt x="669" y="1584"/>
                  </a:lnTo>
                  <a:lnTo>
                    <a:pt x="666" y="1584"/>
                  </a:lnTo>
                  <a:lnTo>
                    <a:pt x="666" y="1582"/>
                  </a:lnTo>
                  <a:lnTo>
                    <a:pt x="669" y="1582"/>
                  </a:lnTo>
                  <a:lnTo>
                    <a:pt x="671" y="1582"/>
                  </a:lnTo>
                  <a:lnTo>
                    <a:pt x="671" y="1580"/>
                  </a:lnTo>
                  <a:lnTo>
                    <a:pt x="669" y="1582"/>
                  </a:lnTo>
                  <a:lnTo>
                    <a:pt x="669" y="1580"/>
                  </a:lnTo>
                  <a:lnTo>
                    <a:pt x="669" y="1577"/>
                  </a:lnTo>
                  <a:lnTo>
                    <a:pt x="666" y="1577"/>
                  </a:lnTo>
                  <a:lnTo>
                    <a:pt x="666" y="1575"/>
                  </a:lnTo>
                  <a:lnTo>
                    <a:pt x="669" y="1575"/>
                  </a:lnTo>
                  <a:lnTo>
                    <a:pt x="666" y="1572"/>
                  </a:lnTo>
                  <a:lnTo>
                    <a:pt x="666" y="1570"/>
                  </a:lnTo>
                  <a:lnTo>
                    <a:pt x="664" y="1570"/>
                  </a:lnTo>
                  <a:lnTo>
                    <a:pt x="662" y="1570"/>
                  </a:lnTo>
                  <a:lnTo>
                    <a:pt x="662" y="1568"/>
                  </a:lnTo>
                  <a:lnTo>
                    <a:pt x="664" y="1565"/>
                  </a:lnTo>
                  <a:lnTo>
                    <a:pt x="662" y="1565"/>
                  </a:lnTo>
                  <a:lnTo>
                    <a:pt x="664" y="1565"/>
                  </a:lnTo>
                  <a:lnTo>
                    <a:pt x="662" y="1565"/>
                  </a:lnTo>
                  <a:lnTo>
                    <a:pt x="664" y="1565"/>
                  </a:lnTo>
                  <a:lnTo>
                    <a:pt x="662" y="1565"/>
                  </a:lnTo>
                  <a:lnTo>
                    <a:pt x="664" y="1565"/>
                  </a:lnTo>
                  <a:lnTo>
                    <a:pt x="664" y="1563"/>
                  </a:lnTo>
                  <a:lnTo>
                    <a:pt x="664" y="1561"/>
                  </a:lnTo>
                  <a:lnTo>
                    <a:pt x="666" y="1561"/>
                  </a:lnTo>
                  <a:lnTo>
                    <a:pt x="666" y="1558"/>
                  </a:lnTo>
                  <a:lnTo>
                    <a:pt x="669" y="1561"/>
                  </a:lnTo>
                  <a:lnTo>
                    <a:pt x="671" y="1561"/>
                  </a:lnTo>
                  <a:lnTo>
                    <a:pt x="673" y="1558"/>
                  </a:lnTo>
                  <a:lnTo>
                    <a:pt x="676" y="1558"/>
                  </a:lnTo>
                  <a:lnTo>
                    <a:pt x="673" y="1556"/>
                  </a:lnTo>
                  <a:lnTo>
                    <a:pt x="671" y="1556"/>
                  </a:lnTo>
                  <a:lnTo>
                    <a:pt x="671" y="1558"/>
                  </a:lnTo>
                  <a:lnTo>
                    <a:pt x="671" y="1556"/>
                  </a:lnTo>
                  <a:lnTo>
                    <a:pt x="669" y="1556"/>
                  </a:lnTo>
                  <a:lnTo>
                    <a:pt x="666" y="1556"/>
                  </a:lnTo>
                  <a:lnTo>
                    <a:pt x="664" y="1556"/>
                  </a:lnTo>
                  <a:lnTo>
                    <a:pt x="664" y="1553"/>
                  </a:lnTo>
                  <a:lnTo>
                    <a:pt x="666" y="1553"/>
                  </a:lnTo>
                  <a:lnTo>
                    <a:pt x="664" y="1553"/>
                  </a:lnTo>
                  <a:lnTo>
                    <a:pt x="664" y="1551"/>
                  </a:lnTo>
                  <a:lnTo>
                    <a:pt x="662" y="1551"/>
                  </a:lnTo>
                  <a:lnTo>
                    <a:pt x="662" y="1549"/>
                  </a:lnTo>
                  <a:lnTo>
                    <a:pt x="664" y="1549"/>
                  </a:lnTo>
                  <a:lnTo>
                    <a:pt x="666" y="1549"/>
                  </a:lnTo>
                  <a:lnTo>
                    <a:pt x="669" y="1549"/>
                  </a:lnTo>
                  <a:lnTo>
                    <a:pt x="671" y="1549"/>
                  </a:lnTo>
                  <a:lnTo>
                    <a:pt x="671" y="1546"/>
                  </a:lnTo>
                  <a:lnTo>
                    <a:pt x="671" y="1544"/>
                  </a:lnTo>
                  <a:lnTo>
                    <a:pt x="673" y="1542"/>
                  </a:lnTo>
                  <a:lnTo>
                    <a:pt x="676" y="1542"/>
                  </a:lnTo>
                  <a:lnTo>
                    <a:pt x="676" y="1539"/>
                  </a:lnTo>
                  <a:lnTo>
                    <a:pt x="678" y="1539"/>
                  </a:lnTo>
                  <a:lnTo>
                    <a:pt x="678" y="1537"/>
                  </a:lnTo>
                  <a:lnTo>
                    <a:pt x="678" y="1534"/>
                  </a:lnTo>
                  <a:lnTo>
                    <a:pt x="678" y="1532"/>
                  </a:lnTo>
                  <a:lnTo>
                    <a:pt x="676" y="1532"/>
                  </a:lnTo>
                  <a:lnTo>
                    <a:pt x="673" y="1530"/>
                  </a:lnTo>
                  <a:lnTo>
                    <a:pt x="673" y="1527"/>
                  </a:lnTo>
                  <a:lnTo>
                    <a:pt x="673" y="1525"/>
                  </a:lnTo>
                  <a:lnTo>
                    <a:pt x="676" y="1525"/>
                  </a:lnTo>
                  <a:lnTo>
                    <a:pt x="678" y="1522"/>
                  </a:lnTo>
                  <a:lnTo>
                    <a:pt x="676" y="1522"/>
                  </a:lnTo>
                  <a:lnTo>
                    <a:pt x="673" y="1522"/>
                  </a:lnTo>
                  <a:lnTo>
                    <a:pt x="671" y="1522"/>
                  </a:lnTo>
                  <a:lnTo>
                    <a:pt x="669" y="1525"/>
                  </a:lnTo>
                  <a:lnTo>
                    <a:pt x="666" y="1525"/>
                  </a:lnTo>
                  <a:lnTo>
                    <a:pt x="664" y="1522"/>
                  </a:lnTo>
                  <a:lnTo>
                    <a:pt x="662" y="1522"/>
                  </a:lnTo>
                  <a:lnTo>
                    <a:pt x="659" y="1520"/>
                  </a:lnTo>
                  <a:lnTo>
                    <a:pt x="659" y="1518"/>
                  </a:lnTo>
                  <a:lnTo>
                    <a:pt x="659" y="1515"/>
                  </a:lnTo>
                  <a:lnTo>
                    <a:pt x="657" y="1515"/>
                  </a:lnTo>
                  <a:lnTo>
                    <a:pt x="654" y="1515"/>
                  </a:lnTo>
                  <a:lnTo>
                    <a:pt x="652" y="1515"/>
                  </a:lnTo>
                  <a:lnTo>
                    <a:pt x="650" y="1515"/>
                  </a:lnTo>
                  <a:lnTo>
                    <a:pt x="647" y="1513"/>
                  </a:lnTo>
                  <a:lnTo>
                    <a:pt x="647" y="1511"/>
                  </a:lnTo>
                  <a:lnTo>
                    <a:pt x="645" y="1508"/>
                  </a:lnTo>
                  <a:lnTo>
                    <a:pt x="643" y="1511"/>
                  </a:lnTo>
                  <a:lnTo>
                    <a:pt x="640" y="1511"/>
                  </a:lnTo>
                  <a:lnTo>
                    <a:pt x="638" y="1513"/>
                  </a:lnTo>
                  <a:lnTo>
                    <a:pt x="635" y="1513"/>
                  </a:lnTo>
                  <a:lnTo>
                    <a:pt x="635" y="1511"/>
                  </a:lnTo>
                  <a:lnTo>
                    <a:pt x="635" y="1508"/>
                  </a:lnTo>
                  <a:lnTo>
                    <a:pt x="633" y="1508"/>
                  </a:lnTo>
                  <a:lnTo>
                    <a:pt x="631" y="1508"/>
                  </a:lnTo>
                  <a:lnTo>
                    <a:pt x="631" y="1506"/>
                  </a:lnTo>
                  <a:lnTo>
                    <a:pt x="628" y="1506"/>
                  </a:lnTo>
                  <a:lnTo>
                    <a:pt x="628" y="1503"/>
                  </a:lnTo>
                  <a:lnTo>
                    <a:pt x="631" y="1503"/>
                  </a:lnTo>
                  <a:lnTo>
                    <a:pt x="628" y="1503"/>
                  </a:lnTo>
                  <a:lnTo>
                    <a:pt x="628" y="1506"/>
                  </a:lnTo>
                  <a:lnTo>
                    <a:pt x="626" y="1503"/>
                  </a:lnTo>
                  <a:lnTo>
                    <a:pt x="624" y="1506"/>
                  </a:lnTo>
                  <a:lnTo>
                    <a:pt x="624" y="1503"/>
                  </a:lnTo>
                  <a:lnTo>
                    <a:pt x="621" y="1503"/>
                  </a:lnTo>
                  <a:lnTo>
                    <a:pt x="619" y="1503"/>
                  </a:lnTo>
                  <a:lnTo>
                    <a:pt x="616" y="1501"/>
                  </a:lnTo>
                  <a:lnTo>
                    <a:pt x="616" y="1499"/>
                  </a:lnTo>
                  <a:lnTo>
                    <a:pt x="614" y="1499"/>
                  </a:lnTo>
                  <a:lnTo>
                    <a:pt x="612" y="1499"/>
                  </a:lnTo>
                  <a:lnTo>
                    <a:pt x="612" y="1501"/>
                  </a:lnTo>
                  <a:lnTo>
                    <a:pt x="614" y="1503"/>
                  </a:lnTo>
                  <a:lnTo>
                    <a:pt x="612" y="1503"/>
                  </a:lnTo>
                  <a:lnTo>
                    <a:pt x="612" y="1506"/>
                  </a:lnTo>
                  <a:lnTo>
                    <a:pt x="609" y="1506"/>
                  </a:lnTo>
                  <a:lnTo>
                    <a:pt x="607" y="1506"/>
                  </a:lnTo>
                  <a:lnTo>
                    <a:pt x="607" y="1508"/>
                  </a:lnTo>
                  <a:lnTo>
                    <a:pt x="607" y="1506"/>
                  </a:lnTo>
                  <a:lnTo>
                    <a:pt x="607" y="1503"/>
                  </a:lnTo>
                  <a:lnTo>
                    <a:pt x="605" y="1503"/>
                  </a:lnTo>
                  <a:lnTo>
                    <a:pt x="605" y="1501"/>
                  </a:lnTo>
                  <a:lnTo>
                    <a:pt x="602" y="1501"/>
                  </a:lnTo>
                  <a:lnTo>
                    <a:pt x="600" y="1499"/>
                  </a:lnTo>
                  <a:lnTo>
                    <a:pt x="597" y="1499"/>
                  </a:lnTo>
                  <a:lnTo>
                    <a:pt x="595" y="1496"/>
                  </a:lnTo>
                  <a:lnTo>
                    <a:pt x="595" y="1494"/>
                  </a:lnTo>
                  <a:lnTo>
                    <a:pt x="593" y="1494"/>
                  </a:lnTo>
                  <a:lnTo>
                    <a:pt x="593" y="1492"/>
                  </a:lnTo>
                  <a:lnTo>
                    <a:pt x="593" y="1489"/>
                  </a:lnTo>
                  <a:lnTo>
                    <a:pt x="595" y="1487"/>
                  </a:lnTo>
                  <a:lnTo>
                    <a:pt x="593" y="1487"/>
                  </a:lnTo>
                  <a:lnTo>
                    <a:pt x="590" y="1487"/>
                  </a:lnTo>
                  <a:lnTo>
                    <a:pt x="590" y="1484"/>
                  </a:lnTo>
                  <a:lnTo>
                    <a:pt x="588" y="1484"/>
                  </a:lnTo>
                  <a:lnTo>
                    <a:pt x="588" y="1482"/>
                  </a:lnTo>
                  <a:lnTo>
                    <a:pt x="590" y="1480"/>
                  </a:lnTo>
                  <a:lnTo>
                    <a:pt x="588" y="1480"/>
                  </a:lnTo>
                  <a:lnTo>
                    <a:pt x="588" y="1482"/>
                  </a:lnTo>
                  <a:lnTo>
                    <a:pt x="586" y="1482"/>
                  </a:lnTo>
                  <a:lnTo>
                    <a:pt x="583" y="1482"/>
                  </a:lnTo>
                  <a:lnTo>
                    <a:pt x="583" y="1484"/>
                  </a:lnTo>
                  <a:lnTo>
                    <a:pt x="581" y="1484"/>
                  </a:lnTo>
                  <a:lnTo>
                    <a:pt x="579" y="1484"/>
                  </a:lnTo>
                  <a:lnTo>
                    <a:pt x="576" y="1484"/>
                  </a:lnTo>
                  <a:lnTo>
                    <a:pt x="576" y="1487"/>
                  </a:lnTo>
                  <a:lnTo>
                    <a:pt x="574" y="1487"/>
                  </a:lnTo>
                  <a:lnTo>
                    <a:pt x="571" y="1487"/>
                  </a:lnTo>
                  <a:lnTo>
                    <a:pt x="569" y="1487"/>
                  </a:lnTo>
                  <a:lnTo>
                    <a:pt x="567" y="1487"/>
                  </a:lnTo>
                  <a:lnTo>
                    <a:pt x="567" y="1489"/>
                  </a:lnTo>
                  <a:lnTo>
                    <a:pt x="564" y="1489"/>
                  </a:lnTo>
                  <a:lnTo>
                    <a:pt x="562" y="1489"/>
                  </a:lnTo>
                  <a:lnTo>
                    <a:pt x="562" y="1492"/>
                  </a:lnTo>
                  <a:lnTo>
                    <a:pt x="560" y="1492"/>
                  </a:lnTo>
                  <a:lnTo>
                    <a:pt x="560" y="1489"/>
                  </a:lnTo>
                  <a:lnTo>
                    <a:pt x="557" y="1489"/>
                  </a:lnTo>
                  <a:lnTo>
                    <a:pt x="557" y="1487"/>
                  </a:lnTo>
                  <a:lnTo>
                    <a:pt x="555" y="1487"/>
                  </a:lnTo>
                  <a:lnTo>
                    <a:pt x="552" y="1487"/>
                  </a:lnTo>
                  <a:lnTo>
                    <a:pt x="552" y="1489"/>
                  </a:lnTo>
                  <a:lnTo>
                    <a:pt x="550" y="1489"/>
                  </a:lnTo>
                  <a:lnTo>
                    <a:pt x="550" y="1487"/>
                  </a:lnTo>
                  <a:lnTo>
                    <a:pt x="548" y="1484"/>
                  </a:lnTo>
                  <a:lnTo>
                    <a:pt x="545" y="1482"/>
                  </a:lnTo>
                  <a:lnTo>
                    <a:pt x="543" y="1482"/>
                  </a:lnTo>
                  <a:lnTo>
                    <a:pt x="543" y="1480"/>
                  </a:lnTo>
                  <a:lnTo>
                    <a:pt x="543" y="1482"/>
                  </a:lnTo>
                  <a:lnTo>
                    <a:pt x="541" y="1482"/>
                  </a:lnTo>
                  <a:lnTo>
                    <a:pt x="538" y="1482"/>
                  </a:lnTo>
                  <a:lnTo>
                    <a:pt x="536" y="1482"/>
                  </a:lnTo>
                  <a:lnTo>
                    <a:pt x="533" y="1482"/>
                  </a:lnTo>
                  <a:lnTo>
                    <a:pt x="533" y="1484"/>
                  </a:lnTo>
                  <a:lnTo>
                    <a:pt x="531" y="1484"/>
                  </a:lnTo>
                  <a:lnTo>
                    <a:pt x="529" y="1484"/>
                  </a:lnTo>
                  <a:lnTo>
                    <a:pt x="529" y="1487"/>
                  </a:lnTo>
                  <a:lnTo>
                    <a:pt x="529" y="1484"/>
                  </a:lnTo>
                  <a:lnTo>
                    <a:pt x="526" y="1484"/>
                  </a:lnTo>
                  <a:lnTo>
                    <a:pt x="526" y="1482"/>
                  </a:lnTo>
                  <a:lnTo>
                    <a:pt x="526" y="1480"/>
                  </a:lnTo>
                  <a:lnTo>
                    <a:pt x="524" y="1480"/>
                  </a:lnTo>
                  <a:lnTo>
                    <a:pt x="522" y="1477"/>
                  </a:lnTo>
                  <a:lnTo>
                    <a:pt x="522" y="1475"/>
                  </a:lnTo>
                  <a:lnTo>
                    <a:pt x="519" y="1475"/>
                  </a:lnTo>
                  <a:lnTo>
                    <a:pt x="522" y="1475"/>
                  </a:lnTo>
                  <a:lnTo>
                    <a:pt x="522" y="1473"/>
                  </a:lnTo>
                  <a:lnTo>
                    <a:pt x="519" y="1473"/>
                  </a:lnTo>
                  <a:lnTo>
                    <a:pt x="519" y="1470"/>
                  </a:lnTo>
                  <a:lnTo>
                    <a:pt x="522" y="1470"/>
                  </a:lnTo>
                  <a:lnTo>
                    <a:pt x="524" y="1470"/>
                  </a:lnTo>
                  <a:lnTo>
                    <a:pt x="522" y="1470"/>
                  </a:lnTo>
                  <a:lnTo>
                    <a:pt x="522" y="1468"/>
                  </a:lnTo>
                  <a:lnTo>
                    <a:pt x="522" y="1465"/>
                  </a:lnTo>
                  <a:lnTo>
                    <a:pt x="524" y="1465"/>
                  </a:lnTo>
                  <a:lnTo>
                    <a:pt x="522" y="1465"/>
                  </a:lnTo>
                  <a:lnTo>
                    <a:pt x="522" y="1463"/>
                  </a:lnTo>
                  <a:lnTo>
                    <a:pt x="522" y="1461"/>
                  </a:lnTo>
                  <a:lnTo>
                    <a:pt x="519" y="1461"/>
                  </a:lnTo>
                  <a:lnTo>
                    <a:pt x="519" y="1458"/>
                  </a:lnTo>
                  <a:lnTo>
                    <a:pt x="522" y="1458"/>
                  </a:lnTo>
                  <a:lnTo>
                    <a:pt x="519" y="1458"/>
                  </a:lnTo>
                  <a:lnTo>
                    <a:pt x="519" y="1456"/>
                  </a:lnTo>
                  <a:lnTo>
                    <a:pt x="519" y="1454"/>
                  </a:lnTo>
                  <a:lnTo>
                    <a:pt x="522" y="1454"/>
                  </a:lnTo>
                  <a:lnTo>
                    <a:pt x="522" y="1451"/>
                  </a:lnTo>
                  <a:lnTo>
                    <a:pt x="519" y="1451"/>
                  </a:lnTo>
                  <a:lnTo>
                    <a:pt x="517" y="1451"/>
                  </a:lnTo>
                  <a:lnTo>
                    <a:pt x="514" y="1451"/>
                  </a:lnTo>
                  <a:lnTo>
                    <a:pt x="512" y="1451"/>
                  </a:lnTo>
                  <a:lnTo>
                    <a:pt x="512" y="1449"/>
                  </a:lnTo>
                  <a:lnTo>
                    <a:pt x="512" y="1446"/>
                  </a:lnTo>
                  <a:lnTo>
                    <a:pt x="512" y="1444"/>
                  </a:lnTo>
                  <a:lnTo>
                    <a:pt x="512" y="1442"/>
                  </a:lnTo>
                  <a:lnTo>
                    <a:pt x="510" y="1442"/>
                  </a:lnTo>
                  <a:lnTo>
                    <a:pt x="510" y="1444"/>
                  </a:lnTo>
                  <a:lnTo>
                    <a:pt x="507" y="1444"/>
                  </a:lnTo>
                  <a:lnTo>
                    <a:pt x="507" y="1442"/>
                  </a:lnTo>
                  <a:lnTo>
                    <a:pt x="505" y="1444"/>
                  </a:lnTo>
                  <a:lnTo>
                    <a:pt x="503" y="1444"/>
                  </a:lnTo>
                  <a:lnTo>
                    <a:pt x="503" y="1446"/>
                  </a:lnTo>
                  <a:lnTo>
                    <a:pt x="500" y="1446"/>
                  </a:lnTo>
                  <a:lnTo>
                    <a:pt x="500" y="1444"/>
                  </a:lnTo>
                  <a:lnTo>
                    <a:pt x="500" y="1446"/>
                  </a:lnTo>
                  <a:lnTo>
                    <a:pt x="500" y="1444"/>
                  </a:lnTo>
                  <a:lnTo>
                    <a:pt x="498" y="1444"/>
                  </a:lnTo>
                  <a:lnTo>
                    <a:pt x="498" y="1446"/>
                  </a:lnTo>
                  <a:lnTo>
                    <a:pt x="498" y="1444"/>
                  </a:lnTo>
                  <a:lnTo>
                    <a:pt x="495" y="1444"/>
                  </a:lnTo>
                  <a:lnTo>
                    <a:pt x="495" y="1442"/>
                  </a:lnTo>
                  <a:lnTo>
                    <a:pt x="493" y="1442"/>
                  </a:lnTo>
                  <a:lnTo>
                    <a:pt x="491" y="1442"/>
                  </a:lnTo>
                  <a:lnTo>
                    <a:pt x="488" y="1442"/>
                  </a:lnTo>
                  <a:lnTo>
                    <a:pt x="486" y="1442"/>
                  </a:lnTo>
                  <a:lnTo>
                    <a:pt x="484" y="1442"/>
                  </a:lnTo>
                  <a:lnTo>
                    <a:pt x="481" y="1442"/>
                  </a:lnTo>
                  <a:lnTo>
                    <a:pt x="481" y="1439"/>
                  </a:lnTo>
                  <a:lnTo>
                    <a:pt x="484" y="1439"/>
                  </a:lnTo>
                  <a:lnTo>
                    <a:pt x="484" y="1437"/>
                  </a:lnTo>
                  <a:lnTo>
                    <a:pt x="486" y="1437"/>
                  </a:lnTo>
                  <a:lnTo>
                    <a:pt x="484" y="1437"/>
                  </a:lnTo>
                  <a:lnTo>
                    <a:pt x="484" y="1435"/>
                  </a:lnTo>
                  <a:lnTo>
                    <a:pt x="481" y="1435"/>
                  </a:lnTo>
                  <a:lnTo>
                    <a:pt x="481" y="1432"/>
                  </a:lnTo>
                  <a:lnTo>
                    <a:pt x="484" y="1432"/>
                  </a:lnTo>
                  <a:lnTo>
                    <a:pt x="484" y="1430"/>
                  </a:lnTo>
                  <a:lnTo>
                    <a:pt x="484" y="1427"/>
                  </a:lnTo>
                  <a:lnTo>
                    <a:pt x="481" y="1425"/>
                  </a:lnTo>
                  <a:lnTo>
                    <a:pt x="481" y="1423"/>
                  </a:lnTo>
                  <a:lnTo>
                    <a:pt x="479" y="1423"/>
                  </a:lnTo>
                  <a:lnTo>
                    <a:pt x="476" y="1423"/>
                  </a:lnTo>
                  <a:lnTo>
                    <a:pt x="476" y="1420"/>
                  </a:lnTo>
                  <a:lnTo>
                    <a:pt x="479" y="1420"/>
                  </a:lnTo>
                  <a:lnTo>
                    <a:pt x="481" y="1420"/>
                  </a:lnTo>
                  <a:lnTo>
                    <a:pt x="484" y="1420"/>
                  </a:lnTo>
                  <a:lnTo>
                    <a:pt x="484" y="1418"/>
                  </a:lnTo>
                  <a:lnTo>
                    <a:pt x="486" y="1418"/>
                  </a:lnTo>
                  <a:lnTo>
                    <a:pt x="488" y="1418"/>
                  </a:lnTo>
                  <a:lnTo>
                    <a:pt x="488" y="1416"/>
                  </a:lnTo>
                  <a:lnTo>
                    <a:pt x="488" y="1413"/>
                  </a:lnTo>
                  <a:lnTo>
                    <a:pt x="486" y="1413"/>
                  </a:lnTo>
                  <a:lnTo>
                    <a:pt x="486" y="1411"/>
                  </a:lnTo>
                  <a:lnTo>
                    <a:pt x="484" y="1411"/>
                  </a:lnTo>
                  <a:lnTo>
                    <a:pt x="484" y="1408"/>
                  </a:lnTo>
                  <a:lnTo>
                    <a:pt x="481" y="1408"/>
                  </a:lnTo>
                  <a:lnTo>
                    <a:pt x="481" y="1406"/>
                  </a:lnTo>
                  <a:lnTo>
                    <a:pt x="479" y="1406"/>
                  </a:lnTo>
                  <a:lnTo>
                    <a:pt x="479" y="1404"/>
                  </a:lnTo>
                  <a:lnTo>
                    <a:pt x="476" y="1404"/>
                  </a:lnTo>
                  <a:lnTo>
                    <a:pt x="476" y="1401"/>
                  </a:lnTo>
                  <a:lnTo>
                    <a:pt x="476" y="1399"/>
                  </a:lnTo>
                  <a:lnTo>
                    <a:pt x="479" y="1399"/>
                  </a:lnTo>
                  <a:lnTo>
                    <a:pt x="476" y="1397"/>
                  </a:lnTo>
                  <a:lnTo>
                    <a:pt x="476" y="1394"/>
                  </a:lnTo>
                  <a:lnTo>
                    <a:pt x="474" y="1394"/>
                  </a:lnTo>
                  <a:lnTo>
                    <a:pt x="472" y="1394"/>
                  </a:lnTo>
                  <a:lnTo>
                    <a:pt x="472" y="1392"/>
                  </a:lnTo>
                  <a:lnTo>
                    <a:pt x="472" y="1389"/>
                  </a:lnTo>
                  <a:lnTo>
                    <a:pt x="469" y="1389"/>
                  </a:lnTo>
                  <a:lnTo>
                    <a:pt x="469" y="1387"/>
                  </a:lnTo>
                  <a:lnTo>
                    <a:pt x="467" y="1387"/>
                  </a:lnTo>
                  <a:lnTo>
                    <a:pt x="465" y="1387"/>
                  </a:lnTo>
                  <a:lnTo>
                    <a:pt x="462" y="1387"/>
                  </a:lnTo>
                  <a:lnTo>
                    <a:pt x="462" y="1389"/>
                  </a:lnTo>
                  <a:lnTo>
                    <a:pt x="460" y="1389"/>
                  </a:lnTo>
                  <a:lnTo>
                    <a:pt x="458" y="1389"/>
                  </a:lnTo>
                  <a:lnTo>
                    <a:pt x="458" y="1387"/>
                  </a:lnTo>
                  <a:lnTo>
                    <a:pt x="455" y="1387"/>
                  </a:lnTo>
                  <a:lnTo>
                    <a:pt x="453" y="1387"/>
                  </a:lnTo>
                  <a:lnTo>
                    <a:pt x="450" y="1387"/>
                  </a:lnTo>
                  <a:lnTo>
                    <a:pt x="448" y="1387"/>
                  </a:lnTo>
                  <a:lnTo>
                    <a:pt x="446" y="1387"/>
                  </a:lnTo>
                  <a:lnTo>
                    <a:pt x="448" y="1387"/>
                  </a:lnTo>
                  <a:lnTo>
                    <a:pt x="446" y="1387"/>
                  </a:lnTo>
                  <a:lnTo>
                    <a:pt x="446" y="1389"/>
                  </a:lnTo>
                  <a:lnTo>
                    <a:pt x="443" y="1389"/>
                  </a:lnTo>
                  <a:lnTo>
                    <a:pt x="441" y="1389"/>
                  </a:lnTo>
                  <a:lnTo>
                    <a:pt x="441" y="1392"/>
                  </a:lnTo>
                  <a:lnTo>
                    <a:pt x="439" y="1392"/>
                  </a:lnTo>
                  <a:lnTo>
                    <a:pt x="436" y="1392"/>
                  </a:lnTo>
                  <a:lnTo>
                    <a:pt x="439" y="1392"/>
                  </a:lnTo>
                  <a:lnTo>
                    <a:pt x="436" y="1392"/>
                  </a:lnTo>
                  <a:lnTo>
                    <a:pt x="434" y="1392"/>
                  </a:lnTo>
                  <a:lnTo>
                    <a:pt x="431" y="1392"/>
                  </a:lnTo>
                  <a:lnTo>
                    <a:pt x="429" y="1389"/>
                  </a:lnTo>
                  <a:lnTo>
                    <a:pt x="427" y="1389"/>
                  </a:lnTo>
                  <a:lnTo>
                    <a:pt x="424" y="1389"/>
                  </a:lnTo>
                  <a:lnTo>
                    <a:pt x="422" y="1389"/>
                  </a:lnTo>
                  <a:lnTo>
                    <a:pt x="422" y="1387"/>
                  </a:lnTo>
                  <a:lnTo>
                    <a:pt x="420" y="1387"/>
                  </a:lnTo>
                  <a:lnTo>
                    <a:pt x="420" y="1389"/>
                  </a:lnTo>
                  <a:lnTo>
                    <a:pt x="420" y="1392"/>
                  </a:lnTo>
                  <a:lnTo>
                    <a:pt x="422" y="1392"/>
                  </a:lnTo>
                  <a:lnTo>
                    <a:pt x="420" y="1394"/>
                  </a:lnTo>
                  <a:lnTo>
                    <a:pt x="420" y="1392"/>
                  </a:lnTo>
                  <a:lnTo>
                    <a:pt x="420" y="1394"/>
                  </a:lnTo>
                  <a:lnTo>
                    <a:pt x="420" y="1392"/>
                  </a:lnTo>
                  <a:lnTo>
                    <a:pt x="420" y="1394"/>
                  </a:lnTo>
                  <a:lnTo>
                    <a:pt x="420" y="1397"/>
                  </a:lnTo>
                  <a:lnTo>
                    <a:pt x="420" y="1399"/>
                  </a:lnTo>
                  <a:lnTo>
                    <a:pt x="417" y="1399"/>
                  </a:lnTo>
                  <a:lnTo>
                    <a:pt x="417" y="1401"/>
                  </a:lnTo>
                  <a:lnTo>
                    <a:pt x="415" y="1401"/>
                  </a:lnTo>
                  <a:lnTo>
                    <a:pt x="412" y="1401"/>
                  </a:lnTo>
                  <a:lnTo>
                    <a:pt x="412" y="1404"/>
                  </a:lnTo>
                  <a:lnTo>
                    <a:pt x="410" y="1404"/>
                  </a:lnTo>
                  <a:lnTo>
                    <a:pt x="410" y="1401"/>
                  </a:lnTo>
                  <a:lnTo>
                    <a:pt x="408" y="1401"/>
                  </a:lnTo>
                  <a:lnTo>
                    <a:pt x="405" y="1404"/>
                  </a:lnTo>
                  <a:lnTo>
                    <a:pt x="405" y="1401"/>
                  </a:lnTo>
                  <a:lnTo>
                    <a:pt x="405" y="1404"/>
                  </a:lnTo>
                  <a:lnTo>
                    <a:pt x="405" y="1401"/>
                  </a:lnTo>
                  <a:lnTo>
                    <a:pt x="408" y="1401"/>
                  </a:lnTo>
                  <a:lnTo>
                    <a:pt x="405" y="1401"/>
                  </a:lnTo>
                  <a:lnTo>
                    <a:pt x="405" y="1399"/>
                  </a:lnTo>
                  <a:lnTo>
                    <a:pt x="403" y="1399"/>
                  </a:lnTo>
                  <a:lnTo>
                    <a:pt x="401" y="1399"/>
                  </a:lnTo>
                  <a:lnTo>
                    <a:pt x="401" y="1397"/>
                  </a:lnTo>
                  <a:lnTo>
                    <a:pt x="398" y="1397"/>
                  </a:lnTo>
                  <a:lnTo>
                    <a:pt x="398" y="1394"/>
                  </a:lnTo>
                  <a:lnTo>
                    <a:pt x="398" y="1392"/>
                  </a:lnTo>
                  <a:lnTo>
                    <a:pt x="396" y="1392"/>
                  </a:lnTo>
                  <a:lnTo>
                    <a:pt x="396" y="1389"/>
                  </a:lnTo>
                  <a:lnTo>
                    <a:pt x="396" y="1387"/>
                  </a:lnTo>
                  <a:lnTo>
                    <a:pt x="396" y="1385"/>
                  </a:lnTo>
                  <a:lnTo>
                    <a:pt x="396" y="1382"/>
                  </a:lnTo>
                  <a:lnTo>
                    <a:pt x="393" y="1382"/>
                  </a:lnTo>
                  <a:lnTo>
                    <a:pt x="393" y="1380"/>
                  </a:lnTo>
                  <a:lnTo>
                    <a:pt x="396" y="1380"/>
                  </a:lnTo>
                  <a:lnTo>
                    <a:pt x="393" y="1380"/>
                  </a:lnTo>
                  <a:lnTo>
                    <a:pt x="396" y="1380"/>
                  </a:lnTo>
                  <a:lnTo>
                    <a:pt x="396" y="1378"/>
                  </a:lnTo>
                  <a:lnTo>
                    <a:pt x="398" y="1378"/>
                  </a:lnTo>
                  <a:lnTo>
                    <a:pt x="396" y="1378"/>
                  </a:lnTo>
                  <a:lnTo>
                    <a:pt x="396" y="1375"/>
                  </a:lnTo>
                  <a:lnTo>
                    <a:pt x="393" y="1375"/>
                  </a:lnTo>
                  <a:lnTo>
                    <a:pt x="393" y="1373"/>
                  </a:lnTo>
                  <a:lnTo>
                    <a:pt x="391" y="1370"/>
                  </a:lnTo>
                  <a:lnTo>
                    <a:pt x="393" y="1370"/>
                  </a:lnTo>
                  <a:lnTo>
                    <a:pt x="393" y="1368"/>
                  </a:lnTo>
                  <a:lnTo>
                    <a:pt x="396" y="1368"/>
                  </a:lnTo>
                  <a:lnTo>
                    <a:pt x="396" y="1366"/>
                  </a:lnTo>
                  <a:lnTo>
                    <a:pt x="393" y="1366"/>
                  </a:lnTo>
                  <a:lnTo>
                    <a:pt x="393" y="1363"/>
                  </a:lnTo>
                  <a:lnTo>
                    <a:pt x="391" y="1363"/>
                  </a:lnTo>
                  <a:lnTo>
                    <a:pt x="391" y="1361"/>
                  </a:lnTo>
                  <a:lnTo>
                    <a:pt x="389" y="1361"/>
                  </a:lnTo>
                  <a:lnTo>
                    <a:pt x="389" y="1359"/>
                  </a:lnTo>
                  <a:lnTo>
                    <a:pt x="389" y="1356"/>
                  </a:lnTo>
                  <a:lnTo>
                    <a:pt x="386" y="1356"/>
                  </a:lnTo>
                  <a:lnTo>
                    <a:pt x="384" y="1354"/>
                  </a:lnTo>
                  <a:lnTo>
                    <a:pt x="386" y="1354"/>
                  </a:lnTo>
                  <a:lnTo>
                    <a:pt x="386" y="1351"/>
                  </a:lnTo>
                  <a:lnTo>
                    <a:pt x="389" y="1351"/>
                  </a:lnTo>
                  <a:lnTo>
                    <a:pt x="389" y="1349"/>
                  </a:lnTo>
                  <a:lnTo>
                    <a:pt x="386" y="1349"/>
                  </a:lnTo>
                  <a:lnTo>
                    <a:pt x="389" y="1347"/>
                  </a:lnTo>
                  <a:lnTo>
                    <a:pt x="389" y="1344"/>
                  </a:lnTo>
                  <a:lnTo>
                    <a:pt x="391" y="1344"/>
                  </a:lnTo>
                  <a:lnTo>
                    <a:pt x="393" y="1347"/>
                  </a:lnTo>
                  <a:lnTo>
                    <a:pt x="396" y="1344"/>
                  </a:lnTo>
                  <a:lnTo>
                    <a:pt x="398" y="1344"/>
                  </a:lnTo>
                  <a:lnTo>
                    <a:pt x="398" y="1347"/>
                  </a:lnTo>
                  <a:lnTo>
                    <a:pt x="401" y="1347"/>
                  </a:lnTo>
                  <a:lnTo>
                    <a:pt x="403" y="1349"/>
                  </a:lnTo>
                  <a:lnTo>
                    <a:pt x="405" y="1349"/>
                  </a:lnTo>
                  <a:lnTo>
                    <a:pt x="405" y="1351"/>
                  </a:lnTo>
                  <a:lnTo>
                    <a:pt x="408" y="1351"/>
                  </a:lnTo>
                  <a:lnTo>
                    <a:pt x="410" y="1351"/>
                  </a:lnTo>
                  <a:lnTo>
                    <a:pt x="412" y="1351"/>
                  </a:lnTo>
                  <a:lnTo>
                    <a:pt x="415" y="1351"/>
                  </a:lnTo>
                  <a:lnTo>
                    <a:pt x="415" y="1349"/>
                  </a:lnTo>
                  <a:lnTo>
                    <a:pt x="415" y="1351"/>
                  </a:lnTo>
                  <a:lnTo>
                    <a:pt x="417" y="1349"/>
                  </a:lnTo>
                  <a:lnTo>
                    <a:pt x="420" y="1349"/>
                  </a:lnTo>
                  <a:lnTo>
                    <a:pt x="420" y="1347"/>
                  </a:lnTo>
                  <a:lnTo>
                    <a:pt x="422" y="1347"/>
                  </a:lnTo>
                  <a:lnTo>
                    <a:pt x="422" y="1344"/>
                  </a:lnTo>
                  <a:lnTo>
                    <a:pt x="424" y="1342"/>
                  </a:lnTo>
                  <a:lnTo>
                    <a:pt x="424" y="1340"/>
                  </a:lnTo>
                  <a:lnTo>
                    <a:pt x="427" y="1340"/>
                  </a:lnTo>
                  <a:lnTo>
                    <a:pt x="427" y="1342"/>
                  </a:lnTo>
                  <a:lnTo>
                    <a:pt x="427" y="1340"/>
                  </a:lnTo>
                  <a:lnTo>
                    <a:pt x="429" y="1340"/>
                  </a:lnTo>
                  <a:lnTo>
                    <a:pt x="431" y="1340"/>
                  </a:lnTo>
                  <a:lnTo>
                    <a:pt x="434" y="1340"/>
                  </a:lnTo>
                  <a:lnTo>
                    <a:pt x="434" y="1337"/>
                  </a:lnTo>
                  <a:lnTo>
                    <a:pt x="431" y="1337"/>
                  </a:lnTo>
                  <a:lnTo>
                    <a:pt x="434" y="1335"/>
                  </a:lnTo>
                  <a:lnTo>
                    <a:pt x="434" y="1332"/>
                  </a:lnTo>
                  <a:lnTo>
                    <a:pt x="431" y="1332"/>
                  </a:lnTo>
                  <a:lnTo>
                    <a:pt x="429" y="1332"/>
                  </a:lnTo>
                  <a:lnTo>
                    <a:pt x="429" y="1330"/>
                  </a:lnTo>
                  <a:lnTo>
                    <a:pt x="429" y="1332"/>
                  </a:lnTo>
                  <a:lnTo>
                    <a:pt x="429" y="1330"/>
                  </a:lnTo>
                  <a:lnTo>
                    <a:pt x="427" y="1330"/>
                  </a:lnTo>
                  <a:lnTo>
                    <a:pt x="427" y="1328"/>
                  </a:lnTo>
                  <a:lnTo>
                    <a:pt x="424" y="1328"/>
                  </a:lnTo>
                  <a:lnTo>
                    <a:pt x="422" y="1325"/>
                  </a:lnTo>
                  <a:lnTo>
                    <a:pt x="422" y="1323"/>
                  </a:lnTo>
                  <a:lnTo>
                    <a:pt x="424" y="1323"/>
                  </a:lnTo>
                  <a:lnTo>
                    <a:pt x="424" y="1321"/>
                  </a:lnTo>
                  <a:lnTo>
                    <a:pt x="424" y="1318"/>
                  </a:lnTo>
                  <a:lnTo>
                    <a:pt x="422" y="1318"/>
                  </a:lnTo>
                  <a:lnTo>
                    <a:pt x="420" y="1318"/>
                  </a:lnTo>
                  <a:lnTo>
                    <a:pt x="420" y="1321"/>
                  </a:lnTo>
                  <a:lnTo>
                    <a:pt x="420" y="1318"/>
                  </a:lnTo>
                  <a:lnTo>
                    <a:pt x="417" y="1318"/>
                  </a:lnTo>
                  <a:lnTo>
                    <a:pt x="417" y="1316"/>
                  </a:lnTo>
                  <a:lnTo>
                    <a:pt x="417" y="1318"/>
                  </a:lnTo>
                  <a:lnTo>
                    <a:pt x="415" y="1318"/>
                  </a:lnTo>
                  <a:lnTo>
                    <a:pt x="415" y="1316"/>
                  </a:lnTo>
                  <a:lnTo>
                    <a:pt x="412" y="1316"/>
                  </a:lnTo>
                  <a:lnTo>
                    <a:pt x="412" y="1313"/>
                  </a:lnTo>
                  <a:lnTo>
                    <a:pt x="412" y="1316"/>
                  </a:lnTo>
                  <a:lnTo>
                    <a:pt x="410" y="1316"/>
                  </a:lnTo>
                  <a:lnTo>
                    <a:pt x="408" y="1316"/>
                  </a:lnTo>
                  <a:lnTo>
                    <a:pt x="405" y="1316"/>
                  </a:lnTo>
                  <a:lnTo>
                    <a:pt x="403" y="1316"/>
                  </a:lnTo>
                  <a:lnTo>
                    <a:pt x="401" y="1316"/>
                  </a:lnTo>
                  <a:lnTo>
                    <a:pt x="401" y="1313"/>
                  </a:lnTo>
                  <a:lnTo>
                    <a:pt x="403" y="1313"/>
                  </a:lnTo>
                  <a:lnTo>
                    <a:pt x="403" y="1311"/>
                  </a:lnTo>
                  <a:lnTo>
                    <a:pt x="403" y="1309"/>
                  </a:lnTo>
                  <a:lnTo>
                    <a:pt x="403" y="1306"/>
                  </a:lnTo>
                  <a:lnTo>
                    <a:pt x="405" y="1306"/>
                  </a:lnTo>
                  <a:lnTo>
                    <a:pt x="403" y="1306"/>
                  </a:lnTo>
                  <a:lnTo>
                    <a:pt x="403" y="1304"/>
                  </a:lnTo>
                  <a:lnTo>
                    <a:pt x="405" y="1304"/>
                  </a:lnTo>
                  <a:lnTo>
                    <a:pt x="405" y="1302"/>
                  </a:lnTo>
                  <a:lnTo>
                    <a:pt x="403" y="1302"/>
                  </a:lnTo>
                  <a:lnTo>
                    <a:pt x="401" y="1302"/>
                  </a:lnTo>
                  <a:lnTo>
                    <a:pt x="401" y="1299"/>
                  </a:lnTo>
                  <a:lnTo>
                    <a:pt x="398" y="1299"/>
                  </a:lnTo>
                  <a:lnTo>
                    <a:pt x="396" y="1299"/>
                  </a:lnTo>
                  <a:lnTo>
                    <a:pt x="393" y="1299"/>
                  </a:lnTo>
                  <a:lnTo>
                    <a:pt x="393" y="1297"/>
                  </a:lnTo>
                  <a:lnTo>
                    <a:pt x="391" y="1297"/>
                  </a:lnTo>
                  <a:lnTo>
                    <a:pt x="391" y="1294"/>
                  </a:lnTo>
                  <a:lnTo>
                    <a:pt x="389" y="1294"/>
                  </a:lnTo>
                  <a:lnTo>
                    <a:pt x="389" y="1292"/>
                  </a:lnTo>
                  <a:lnTo>
                    <a:pt x="386" y="1292"/>
                  </a:lnTo>
                  <a:lnTo>
                    <a:pt x="386" y="1294"/>
                  </a:lnTo>
                  <a:lnTo>
                    <a:pt x="386" y="1292"/>
                  </a:lnTo>
                  <a:lnTo>
                    <a:pt x="386" y="1290"/>
                  </a:lnTo>
                  <a:lnTo>
                    <a:pt x="384" y="1290"/>
                  </a:lnTo>
                  <a:lnTo>
                    <a:pt x="386" y="1287"/>
                  </a:lnTo>
                  <a:lnTo>
                    <a:pt x="384" y="1287"/>
                  </a:lnTo>
                  <a:lnTo>
                    <a:pt x="384" y="1285"/>
                  </a:lnTo>
                  <a:lnTo>
                    <a:pt x="384" y="1283"/>
                  </a:lnTo>
                  <a:lnTo>
                    <a:pt x="382" y="1283"/>
                  </a:lnTo>
                  <a:lnTo>
                    <a:pt x="382" y="1280"/>
                  </a:lnTo>
                  <a:lnTo>
                    <a:pt x="382" y="1283"/>
                  </a:lnTo>
                  <a:lnTo>
                    <a:pt x="379" y="1280"/>
                  </a:lnTo>
                  <a:lnTo>
                    <a:pt x="379" y="1278"/>
                  </a:lnTo>
                  <a:lnTo>
                    <a:pt x="379" y="1275"/>
                  </a:lnTo>
                  <a:lnTo>
                    <a:pt x="382" y="1275"/>
                  </a:lnTo>
                  <a:lnTo>
                    <a:pt x="382" y="1273"/>
                  </a:lnTo>
                  <a:lnTo>
                    <a:pt x="382" y="1271"/>
                  </a:lnTo>
                  <a:lnTo>
                    <a:pt x="379" y="1271"/>
                  </a:lnTo>
                  <a:lnTo>
                    <a:pt x="379" y="1273"/>
                  </a:lnTo>
                  <a:lnTo>
                    <a:pt x="379" y="1271"/>
                  </a:lnTo>
                  <a:lnTo>
                    <a:pt x="377" y="1271"/>
                  </a:lnTo>
                  <a:lnTo>
                    <a:pt x="374" y="1271"/>
                  </a:lnTo>
                  <a:lnTo>
                    <a:pt x="377" y="1268"/>
                  </a:lnTo>
                  <a:lnTo>
                    <a:pt x="374" y="1268"/>
                  </a:lnTo>
                  <a:lnTo>
                    <a:pt x="374" y="1271"/>
                  </a:lnTo>
                  <a:lnTo>
                    <a:pt x="374" y="1268"/>
                  </a:lnTo>
                  <a:lnTo>
                    <a:pt x="372" y="1268"/>
                  </a:lnTo>
                  <a:lnTo>
                    <a:pt x="372" y="1266"/>
                  </a:lnTo>
                  <a:lnTo>
                    <a:pt x="370" y="1266"/>
                  </a:lnTo>
                  <a:lnTo>
                    <a:pt x="367" y="1266"/>
                  </a:lnTo>
                  <a:lnTo>
                    <a:pt x="367" y="1264"/>
                  </a:lnTo>
                  <a:lnTo>
                    <a:pt x="367" y="1261"/>
                  </a:lnTo>
                  <a:lnTo>
                    <a:pt x="370" y="1261"/>
                  </a:lnTo>
                  <a:lnTo>
                    <a:pt x="370" y="1259"/>
                  </a:lnTo>
                  <a:lnTo>
                    <a:pt x="370" y="1256"/>
                  </a:lnTo>
                  <a:lnTo>
                    <a:pt x="372" y="1256"/>
                  </a:lnTo>
                  <a:lnTo>
                    <a:pt x="374" y="1256"/>
                  </a:lnTo>
                  <a:lnTo>
                    <a:pt x="374" y="1254"/>
                  </a:lnTo>
                  <a:lnTo>
                    <a:pt x="372" y="1254"/>
                  </a:lnTo>
                  <a:lnTo>
                    <a:pt x="374" y="1254"/>
                  </a:lnTo>
                  <a:lnTo>
                    <a:pt x="377" y="1252"/>
                  </a:lnTo>
                  <a:lnTo>
                    <a:pt x="374" y="1252"/>
                  </a:lnTo>
                  <a:lnTo>
                    <a:pt x="374" y="1249"/>
                  </a:lnTo>
                  <a:lnTo>
                    <a:pt x="377" y="1249"/>
                  </a:lnTo>
                  <a:lnTo>
                    <a:pt x="377" y="1247"/>
                  </a:lnTo>
                  <a:lnTo>
                    <a:pt x="374" y="1247"/>
                  </a:lnTo>
                  <a:lnTo>
                    <a:pt x="374" y="1245"/>
                  </a:lnTo>
                  <a:lnTo>
                    <a:pt x="372" y="1245"/>
                  </a:lnTo>
                  <a:lnTo>
                    <a:pt x="372" y="1242"/>
                  </a:lnTo>
                  <a:lnTo>
                    <a:pt x="370" y="1240"/>
                  </a:lnTo>
                  <a:lnTo>
                    <a:pt x="370" y="1237"/>
                  </a:lnTo>
                  <a:lnTo>
                    <a:pt x="372" y="1237"/>
                  </a:lnTo>
                  <a:lnTo>
                    <a:pt x="372" y="1235"/>
                  </a:lnTo>
                  <a:lnTo>
                    <a:pt x="372" y="1233"/>
                  </a:lnTo>
                  <a:lnTo>
                    <a:pt x="372" y="1230"/>
                  </a:lnTo>
                  <a:lnTo>
                    <a:pt x="374" y="1230"/>
                  </a:lnTo>
                  <a:lnTo>
                    <a:pt x="374" y="1228"/>
                  </a:lnTo>
                  <a:lnTo>
                    <a:pt x="372" y="1228"/>
                  </a:lnTo>
                  <a:lnTo>
                    <a:pt x="374" y="1228"/>
                  </a:lnTo>
                  <a:lnTo>
                    <a:pt x="374" y="1226"/>
                  </a:lnTo>
                  <a:lnTo>
                    <a:pt x="372" y="1226"/>
                  </a:lnTo>
                  <a:lnTo>
                    <a:pt x="374" y="1226"/>
                  </a:lnTo>
                  <a:lnTo>
                    <a:pt x="372" y="1223"/>
                  </a:lnTo>
                  <a:lnTo>
                    <a:pt x="370" y="1223"/>
                  </a:lnTo>
                  <a:lnTo>
                    <a:pt x="370" y="1226"/>
                  </a:lnTo>
                  <a:lnTo>
                    <a:pt x="367" y="1226"/>
                  </a:lnTo>
                  <a:lnTo>
                    <a:pt x="367" y="1223"/>
                  </a:lnTo>
                  <a:lnTo>
                    <a:pt x="367" y="1221"/>
                  </a:lnTo>
                  <a:lnTo>
                    <a:pt x="365" y="1221"/>
                  </a:lnTo>
                  <a:lnTo>
                    <a:pt x="365" y="1223"/>
                  </a:lnTo>
                  <a:lnTo>
                    <a:pt x="365" y="1221"/>
                  </a:lnTo>
                  <a:lnTo>
                    <a:pt x="363" y="1221"/>
                  </a:lnTo>
                  <a:lnTo>
                    <a:pt x="363" y="1218"/>
                  </a:lnTo>
                  <a:lnTo>
                    <a:pt x="363" y="1216"/>
                  </a:lnTo>
                  <a:lnTo>
                    <a:pt x="360" y="1216"/>
                  </a:lnTo>
                  <a:lnTo>
                    <a:pt x="358" y="1216"/>
                  </a:lnTo>
                  <a:lnTo>
                    <a:pt x="360" y="1214"/>
                  </a:lnTo>
                  <a:lnTo>
                    <a:pt x="358" y="1214"/>
                  </a:lnTo>
                  <a:lnTo>
                    <a:pt x="355" y="1214"/>
                  </a:lnTo>
                  <a:lnTo>
                    <a:pt x="353" y="1214"/>
                  </a:lnTo>
                  <a:lnTo>
                    <a:pt x="353" y="1211"/>
                  </a:lnTo>
                  <a:lnTo>
                    <a:pt x="351" y="1211"/>
                  </a:lnTo>
                  <a:lnTo>
                    <a:pt x="348" y="1211"/>
                  </a:lnTo>
                  <a:lnTo>
                    <a:pt x="346" y="1211"/>
                  </a:lnTo>
                  <a:lnTo>
                    <a:pt x="346" y="1214"/>
                  </a:lnTo>
                  <a:lnTo>
                    <a:pt x="346" y="1211"/>
                  </a:lnTo>
                  <a:lnTo>
                    <a:pt x="344" y="1211"/>
                  </a:lnTo>
                  <a:lnTo>
                    <a:pt x="341" y="1211"/>
                  </a:lnTo>
                  <a:lnTo>
                    <a:pt x="339" y="1211"/>
                  </a:lnTo>
                  <a:lnTo>
                    <a:pt x="339" y="1214"/>
                  </a:lnTo>
                  <a:lnTo>
                    <a:pt x="336" y="1214"/>
                  </a:lnTo>
                  <a:lnTo>
                    <a:pt x="336" y="1216"/>
                  </a:lnTo>
                  <a:lnTo>
                    <a:pt x="334" y="1216"/>
                  </a:lnTo>
                  <a:lnTo>
                    <a:pt x="334" y="1214"/>
                  </a:lnTo>
                  <a:lnTo>
                    <a:pt x="332" y="1214"/>
                  </a:lnTo>
                  <a:lnTo>
                    <a:pt x="332" y="1216"/>
                  </a:lnTo>
                  <a:lnTo>
                    <a:pt x="329" y="1216"/>
                  </a:lnTo>
                  <a:lnTo>
                    <a:pt x="329" y="1218"/>
                  </a:lnTo>
                  <a:lnTo>
                    <a:pt x="327" y="1218"/>
                  </a:lnTo>
                  <a:lnTo>
                    <a:pt x="325" y="1218"/>
                  </a:lnTo>
                  <a:lnTo>
                    <a:pt x="322" y="1216"/>
                  </a:lnTo>
                  <a:lnTo>
                    <a:pt x="322" y="1214"/>
                  </a:lnTo>
                  <a:lnTo>
                    <a:pt x="322" y="1211"/>
                  </a:lnTo>
                  <a:lnTo>
                    <a:pt x="322" y="1209"/>
                  </a:lnTo>
                  <a:lnTo>
                    <a:pt x="325" y="1209"/>
                  </a:lnTo>
                  <a:lnTo>
                    <a:pt x="325" y="1207"/>
                  </a:lnTo>
                  <a:lnTo>
                    <a:pt x="322" y="1207"/>
                  </a:lnTo>
                  <a:lnTo>
                    <a:pt x="325" y="1207"/>
                  </a:lnTo>
                  <a:lnTo>
                    <a:pt x="322" y="1207"/>
                  </a:lnTo>
                  <a:lnTo>
                    <a:pt x="320" y="1207"/>
                  </a:lnTo>
                  <a:lnTo>
                    <a:pt x="320" y="1204"/>
                  </a:lnTo>
                  <a:lnTo>
                    <a:pt x="318" y="1204"/>
                  </a:lnTo>
                  <a:lnTo>
                    <a:pt x="315" y="1204"/>
                  </a:lnTo>
                  <a:lnTo>
                    <a:pt x="315" y="1202"/>
                  </a:lnTo>
                  <a:lnTo>
                    <a:pt x="313" y="1202"/>
                  </a:lnTo>
                  <a:lnTo>
                    <a:pt x="313" y="1204"/>
                  </a:lnTo>
                  <a:lnTo>
                    <a:pt x="313" y="1202"/>
                  </a:lnTo>
                  <a:lnTo>
                    <a:pt x="310" y="1202"/>
                  </a:lnTo>
                  <a:lnTo>
                    <a:pt x="310" y="1204"/>
                  </a:lnTo>
                  <a:lnTo>
                    <a:pt x="308" y="1204"/>
                  </a:lnTo>
                  <a:lnTo>
                    <a:pt x="306" y="1204"/>
                  </a:lnTo>
                  <a:lnTo>
                    <a:pt x="303" y="1204"/>
                  </a:lnTo>
                  <a:lnTo>
                    <a:pt x="303" y="1207"/>
                  </a:lnTo>
                  <a:lnTo>
                    <a:pt x="303" y="1204"/>
                  </a:lnTo>
                  <a:lnTo>
                    <a:pt x="303" y="1207"/>
                  </a:lnTo>
                  <a:lnTo>
                    <a:pt x="301" y="1204"/>
                  </a:lnTo>
                  <a:lnTo>
                    <a:pt x="301" y="1207"/>
                  </a:lnTo>
                  <a:lnTo>
                    <a:pt x="301" y="1204"/>
                  </a:lnTo>
                  <a:lnTo>
                    <a:pt x="299" y="1204"/>
                  </a:lnTo>
                  <a:lnTo>
                    <a:pt x="299" y="1202"/>
                  </a:lnTo>
                  <a:lnTo>
                    <a:pt x="296" y="1199"/>
                  </a:lnTo>
                  <a:lnTo>
                    <a:pt x="299" y="1199"/>
                  </a:lnTo>
                  <a:lnTo>
                    <a:pt x="296" y="1199"/>
                  </a:lnTo>
                  <a:lnTo>
                    <a:pt x="294" y="1197"/>
                  </a:lnTo>
                  <a:lnTo>
                    <a:pt x="294" y="1199"/>
                  </a:lnTo>
                  <a:lnTo>
                    <a:pt x="291" y="1199"/>
                  </a:lnTo>
                  <a:lnTo>
                    <a:pt x="289" y="1199"/>
                  </a:lnTo>
                  <a:lnTo>
                    <a:pt x="289" y="1202"/>
                  </a:lnTo>
                  <a:lnTo>
                    <a:pt x="287" y="1199"/>
                  </a:lnTo>
                  <a:lnTo>
                    <a:pt x="287" y="1202"/>
                  </a:lnTo>
                  <a:lnTo>
                    <a:pt x="287" y="1199"/>
                  </a:lnTo>
                  <a:lnTo>
                    <a:pt x="284" y="1199"/>
                  </a:lnTo>
                  <a:lnTo>
                    <a:pt x="284" y="1197"/>
                  </a:lnTo>
                  <a:lnTo>
                    <a:pt x="282" y="1197"/>
                  </a:lnTo>
                  <a:lnTo>
                    <a:pt x="282" y="1195"/>
                  </a:lnTo>
                  <a:lnTo>
                    <a:pt x="282" y="1192"/>
                  </a:lnTo>
                  <a:lnTo>
                    <a:pt x="284" y="1192"/>
                  </a:lnTo>
                  <a:lnTo>
                    <a:pt x="282" y="1192"/>
                  </a:lnTo>
                  <a:lnTo>
                    <a:pt x="284" y="1192"/>
                  </a:lnTo>
                  <a:lnTo>
                    <a:pt x="284" y="1190"/>
                  </a:lnTo>
                  <a:lnTo>
                    <a:pt x="284" y="1188"/>
                  </a:lnTo>
                  <a:lnTo>
                    <a:pt x="282" y="1188"/>
                  </a:lnTo>
                  <a:lnTo>
                    <a:pt x="282" y="1185"/>
                  </a:lnTo>
                  <a:lnTo>
                    <a:pt x="282" y="1183"/>
                  </a:lnTo>
                  <a:lnTo>
                    <a:pt x="282" y="1180"/>
                  </a:lnTo>
                  <a:lnTo>
                    <a:pt x="280" y="1178"/>
                  </a:lnTo>
                  <a:lnTo>
                    <a:pt x="282" y="1178"/>
                  </a:lnTo>
                  <a:lnTo>
                    <a:pt x="280" y="1178"/>
                  </a:lnTo>
                  <a:lnTo>
                    <a:pt x="280" y="1176"/>
                  </a:lnTo>
                  <a:lnTo>
                    <a:pt x="282" y="1176"/>
                  </a:lnTo>
                  <a:lnTo>
                    <a:pt x="282" y="1173"/>
                  </a:lnTo>
                  <a:lnTo>
                    <a:pt x="280" y="1173"/>
                  </a:lnTo>
                  <a:lnTo>
                    <a:pt x="277" y="1173"/>
                  </a:lnTo>
                  <a:lnTo>
                    <a:pt x="277" y="1171"/>
                  </a:lnTo>
                  <a:lnTo>
                    <a:pt x="277" y="1169"/>
                  </a:lnTo>
                  <a:lnTo>
                    <a:pt x="275" y="1169"/>
                  </a:lnTo>
                  <a:lnTo>
                    <a:pt x="275" y="1166"/>
                  </a:lnTo>
                  <a:lnTo>
                    <a:pt x="272" y="1166"/>
                  </a:lnTo>
                  <a:lnTo>
                    <a:pt x="272" y="1164"/>
                  </a:lnTo>
                  <a:lnTo>
                    <a:pt x="275" y="1164"/>
                  </a:lnTo>
                  <a:lnTo>
                    <a:pt x="275" y="1161"/>
                  </a:lnTo>
                  <a:lnTo>
                    <a:pt x="275" y="1164"/>
                  </a:lnTo>
                  <a:lnTo>
                    <a:pt x="275" y="1161"/>
                  </a:lnTo>
                  <a:lnTo>
                    <a:pt x="272" y="1161"/>
                  </a:lnTo>
                  <a:lnTo>
                    <a:pt x="272" y="1159"/>
                  </a:lnTo>
                  <a:lnTo>
                    <a:pt x="270" y="1159"/>
                  </a:lnTo>
                  <a:lnTo>
                    <a:pt x="268" y="1159"/>
                  </a:lnTo>
                  <a:lnTo>
                    <a:pt x="268" y="1161"/>
                  </a:lnTo>
                  <a:lnTo>
                    <a:pt x="268" y="1159"/>
                  </a:lnTo>
                  <a:lnTo>
                    <a:pt x="268" y="1161"/>
                  </a:lnTo>
                  <a:lnTo>
                    <a:pt x="265" y="1161"/>
                  </a:lnTo>
                  <a:lnTo>
                    <a:pt x="265" y="1159"/>
                  </a:lnTo>
                  <a:lnTo>
                    <a:pt x="265" y="1157"/>
                  </a:lnTo>
                  <a:lnTo>
                    <a:pt x="268" y="1157"/>
                  </a:lnTo>
                  <a:lnTo>
                    <a:pt x="268" y="1154"/>
                  </a:lnTo>
                  <a:lnTo>
                    <a:pt x="268" y="1152"/>
                  </a:lnTo>
                  <a:lnTo>
                    <a:pt x="268" y="1150"/>
                  </a:lnTo>
                  <a:lnTo>
                    <a:pt x="268" y="1147"/>
                  </a:lnTo>
                  <a:lnTo>
                    <a:pt x="268" y="1145"/>
                  </a:lnTo>
                  <a:lnTo>
                    <a:pt x="270" y="1145"/>
                  </a:lnTo>
                  <a:lnTo>
                    <a:pt x="270" y="1142"/>
                  </a:lnTo>
                  <a:lnTo>
                    <a:pt x="270" y="1140"/>
                  </a:lnTo>
                  <a:lnTo>
                    <a:pt x="272" y="1140"/>
                  </a:lnTo>
                  <a:lnTo>
                    <a:pt x="272" y="1138"/>
                  </a:lnTo>
                  <a:lnTo>
                    <a:pt x="270" y="1135"/>
                  </a:lnTo>
                  <a:lnTo>
                    <a:pt x="268" y="1135"/>
                  </a:lnTo>
                  <a:lnTo>
                    <a:pt x="268" y="1133"/>
                  </a:lnTo>
                  <a:lnTo>
                    <a:pt x="265" y="1133"/>
                  </a:lnTo>
                  <a:lnTo>
                    <a:pt x="263" y="1133"/>
                  </a:lnTo>
                  <a:lnTo>
                    <a:pt x="263" y="1131"/>
                  </a:lnTo>
                  <a:lnTo>
                    <a:pt x="261" y="1131"/>
                  </a:lnTo>
                  <a:lnTo>
                    <a:pt x="261" y="1128"/>
                  </a:lnTo>
                  <a:lnTo>
                    <a:pt x="261" y="1126"/>
                  </a:lnTo>
                  <a:lnTo>
                    <a:pt x="263" y="1126"/>
                  </a:lnTo>
                  <a:lnTo>
                    <a:pt x="261" y="1126"/>
                  </a:lnTo>
                  <a:lnTo>
                    <a:pt x="258" y="1126"/>
                  </a:lnTo>
                  <a:lnTo>
                    <a:pt x="256" y="1126"/>
                  </a:lnTo>
                  <a:lnTo>
                    <a:pt x="253" y="1123"/>
                  </a:lnTo>
                  <a:lnTo>
                    <a:pt x="256" y="1121"/>
                  </a:lnTo>
                  <a:lnTo>
                    <a:pt x="256" y="1119"/>
                  </a:lnTo>
                  <a:lnTo>
                    <a:pt x="256" y="1116"/>
                  </a:lnTo>
                  <a:lnTo>
                    <a:pt x="258" y="1116"/>
                  </a:lnTo>
                  <a:lnTo>
                    <a:pt x="261" y="1116"/>
                  </a:lnTo>
                  <a:lnTo>
                    <a:pt x="261" y="1114"/>
                  </a:lnTo>
                  <a:lnTo>
                    <a:pt x="261" y="1112"/>
                  </a:lnTo>
                  <a:lnTo>
                    <a:pt x="261" y="1109"/>
                  </a:lnTo>
                  <a:lnTo>
                    <a:pt x="263" y="1109"/>
                  </a:lnTo>
                  <a:lnTo>
                    <a:pt x="265" y="1109"/>
                  </a:lnTo>
                  <a:lnTo>
                    <a:pt x="268" y="1109"/>
                  </a:lnTo>
                  <a:lnTo>
                    <a:pt x="270" y="1109"/>
                  </a:lnTo>
                  <a:lnTo>
                    <a:pt x="270" y="1107"/>
                  </a:lnTo>
                  <a:lnTo>
                    <a:pt x="268" y="1107"/>
                  </a:lnTo>
                  <a:lnTo>
                    <a:pt x="268" y="1104"/>
                  </a:lnTo>
                  <a:lnTo>
                    <a:pt x="265" y="1104"/>
                  </a:lnTo>
                  <a:lnTo>
                    <a:pt x="265" y="1102"/>
                  </a:lnTo>
                  <a:lnTo>
                    <a:pt x="265" y="1100"/>
                  </a:lnTo>
                  <a:lnTo>
                    <a:pt x="265" y="1102"/>
                  </a:lnTo>
                  <a:lnTo>
                    <a:pt x="265" y="1100"/>
                  </a:lnTo>
                  <a:lnTo>
                    <a:pt x="263" y="1100"/>
                  </a:lnTo>
                  <a:lnTo>
                    <a:pt x="263" y="1097"/>
                  </a:lnTo>
                  <a:lnTo>
                    <a:pt x="265" y="1095"/>
                  </a:lnTo>
                  <a:lnTo>
                    <a:pt x="263" y="1095"/>
                  </a:lnTo>
                  <a:lnTo>
                    <a:pt x="261" y="1090"/>
                  </a:lnTo>
                  <a:lnTo>
                    <a:pt x="261" y="1085"/>
                  </a:lnTo>
                  <a:lnTo>
                    <a:pt x="261" y="1083"/>
                  </a:lnTo>
                  <a:lnTo>
                    <a:pt x="261" y="1081"/>
                  </a:lnTo>
                  <a:lnTo>
                    <a:pt x="261" y="1076"/>
                  </a:lnTo>
                  <a:lnTo>
                    <a:pt x="258" y="1069"/>
                  </a:lnTo>
                  <a:lnTo>
                    <a:pt x="256" y="1064"/>
                  </a:lnTo>
                  <a:lnTo>
                    <a:pt x="256" y="1059"/>
                  </a:lnTo>
                  <a:lnTo>
                    <a:pt x="258" y="1057"/>
                  </a:lnTo>
                  <a:lnTo>
                    <a:pt x="261" y="1054"/>
                  </a:lnTo>
                  <a:lnTo>
                    <a:pt x="268" y="1050"/>
                  </a:lnTo>
                  <a:lnTo>
                    <a:pt x="268" y="1047"/>
                  </a:lnTo>
                  <a:lnTo>
                    <a:pt x="268" y="1045"/>
                  </a:lnTo>
                  <a:lnTo>
                    <a:pt x="270" y="1045"/>
                  </a:lnTo>
                  <a:lnTo>
                    <a:pt x="270" y="1043"/>
                  </a:lnTo>
                  <a:lnTo>
                    <a:pt x="270" y="1040"/>
                  </a:lnTo>
                  <a:lnTo>
                    <a:pt x="272" y="1040"/>
                  </a:lnTo>
                  <a:lnTo>
                    <a:pt x="272" y="1038"/>
                  </a:lnTo>
                  <a:lnTo>
                    <a:pt x="272" y="1035"/>
                  </a:lnTo>
                  <a:lnTo>
                    <a:pt x="275" y="1035"/>
                  </a:lnTo>
                  <a:lnTo>
                    <a:pt x="275" y="1033"/>
                  </a:lnTo>
                  <a:lnTo>
                    <a:pt x="277" y="1033"/>
                  </a:lnTo>
                  <a:lnTo>
                    <a:pt x="280" y="1033"/>
                  </a:lnTo>
                  <a:lnTo>
                    <a:pt x="282" y="1033"/>
                  </a:lnTo>
                  <a:lnTo>
                    <a:pt x="282" y="1031"/>
                  </a:lnTo>
                  <a:lnTo>
                    <a:pt x="284" y="1031"/>
                  </a:lnTo>
                  <a:lnTo>
                    <a:pt x="284" y="1028"/>
                  </a:lnTo>
                  <a:lnTo>
                    <a:pt x="282" y="1028"/>
                  </a:lnTo>
                  <a:lnTo>
                    <a:pt x="284" y="1028"/>
                  </a:lnTo>
                  <a:lnTo>
                    <a:pt x="282" y="1028"/>
                  </a:lnTo>
                  <a:lnTo>
                    <a:pt x="282" y="1026"/>
                  </a:lnTo>
                  <a:lnTo>
                    <a:pt x="280" y="1026"/>
                  </a:lnTo>
                  <a:lnTo>
                    <a:pt x="280" y="1024"/>
                  </a:lnTo>
                  <a:lnTo>
                    <a:pt x="277" y="1024"/>
                  </a:lnTo>
                  <a:lnTo>
                    <a:pt x="280" y="1021"/>
                  </a:lnTo>
                  <a:lnTo>
                    <a:pt x="280" y="1019"/>
                  </a:lnTo>
                  <a:lnTo>
                    <a:pt x="280" y="1016"/>
                  </a:lnTo>
                  <a:lnTo>
                    <a:pt x="277" y="1016"/>
                  </a:lnTo>
                  <a:lnTo>
                    <a:pt x="277" y="1014"/>
                  </a:lnTo>
                  <a:lnTo>
                    <a:pt x="277" y="1012"/>
                  </a:lnTo>
                  <a:lnTo>
                    <a:pt x="277" y="1009"/>
                  </a:lnTo>
                  <a:lnTo>
                    <a:pt x="280" y="1009"/>
                  </a:lnTo>
                  <a:lnTo>
                    <a:pt x="280" y="1007"/>
                  </a:lnTo>
                  <a:lnTo>
                    <a:pt x="280" y="1009"/>
                  </a:lnTo>
                  <a:lnTo>
                    <a:pt x="280" y="1007"/>
                  </a:lnTo>
                  <a:lnTo>
                    <a:pt x="282" y="1007"/>
                  </a:lnTo>
                  <a:lnTo>
                    <a:pt x="282" y="1009"/>
                  </a:lnTo>
                  <a:lnTo>
                    <a:pt x="284" y="1009"/>
                  </a:lnTo>
                  <a:lnTo>
                    <a:pt x="284" y="1012"/>
                  </a:lnTo>
                  <a:lnTo>
                    <a:pt x="287" y="1012"/>
                  </a:lnTo>
                  <a:lnTo>
                    <a:pt x="287" y="1014"/>
                  </a:lnTo>
                  <a:lnTo>
                    <a:pt x="284" y="1014"/>
                  </a:lnTo>
                  <a:lnTo>
                    <a:pt x="282" y="1014"/>
                  </a:lnTo>
                  <a:lnTo>
                    <a:pt x="282" y="1016"/>
                  </a:lnTo>
                  <a:lnTo>
                    <a:pt x="282" y="1019"/>
                  </a:lnTo>
                  <a:lnTo>
                    <a:pt x="284" y="1019"/>
                  </a:lnTo>
                  <a:lnTo>
                    <a:pt x="282" y="1019"/>
                  </a:lnTo>
                  <a:lnTo>
                    <a:pt x="282" y="1016"/>
                  </a:lnTo>
                  <a:lnTo>
                    <a:pt x="282" y="1014"/>
                  </a:lnTo>
                  <a:lnTo>
                    <a:pt x="284" y="1014"/>
                  </a:lnTo>
                  <a:lnTo>
                    <a:pt x="287" y="1014"/>
                  </a:lnTo>
                  <a:lnTo>
                    <a:pt x="287" y="1012"/>
                  </a:lnTo>
                  <a:lnTo>
                    <a:pt x="287" y="1014"/>
                  </a:lnTo>
                  <a:lnTo>
                    <a:pt x="289" y="1014"/>
                  </a:lnTo>
                  <a:lnTo>
                    <a:pt x="289" y="1012"/>
                  </a:lnTo>
                  <a:lnTo>
                    <a:pt x="291" y="1012"/>
                  </a:lnTo>
                  <a:lnTo>
                    <a:pt x="291" y="1009"/>
                  </a:lnTo>
                  <a:lnTo>
                    <a:pt x="291" y="1007"/>
                  </a:lnTo>
                  <a:lnTo>
                    <a:pt x="291" y="1005"/>
                  </a:lnTo>
                  <a:lnTo>
                    <a:pt x="294" y="1005"/>
                  </a:lnTo>
                  <a:lnTo>
                    <a:pt x="296" y="1005"/>
                  </a:lnTo>
                  <a:lnTo>
                    <a:pt x="299" y="1005"/>
                  </a:lnTo>
                  <a:lnTo>
                    <a:pt x="299" y="1007"/>
                  </a:lnTo>
                  <a:lnTo>
                    <a:pt x="301" y="1007"/>
                  </a:lnTo>
                  <a:lnTo>
                    <a:pt x="303" y="1007"/>
                  </a:lnTo>
                  <a:lnTo>
                    <a:pt x="306" y="1007"/>
                  </a:lnTo>
                  <a:lnTo>
                    <a:pt x="306" y="1005"/>
                  </a:lnTo>
                  <a:lnTo>
                    <a:pt x="306" y="1007"/>
                  </a:lnTo>
                  <a:lnTo>
                    <a:pt x="306" y="1005"/>
                  </a:lnTo>
                  <a:lnTo>
                    <a:pt x="306" y="1007"/>
                  </a:lnTo>
                  <a:lnTo>
                    <a:pt x="308" y="1007"/>
                  </a:lnTo>
                  <a:lnTo>
                    <a:pt x="308" y="1005"/>
                  </a:lnTo>
                  <a:lnTo>
                    <a:pt x="310" y="1005"/>
                  </a:lnTo>
                  <a:lnTo>
                    <a:pt x="310" y="1002"/>
                  </a:lnTo>
                  <a:lnTo>
                    <a:pt x="310" y="1000"/>
                  </a:lnTo>
                  <a:lnTo>
                    <a:pt x="308" y="1000"/>
                  </a:lnTo>
                  <a:lnTo>
                    <a:pt x="310" y="1000"/>
                  </a:lnTo>
                  <a:lnTo>
                    <a:pt x="310" y="997"/>
                  </a:lnTo>
                  <a:lnTo>
                    <a:pt x="313" y="997"/>
                  </a:lnTo>
                  <a:lnTo>
                    <a:pt x="313" y="995"/>
                  </a:lnTo>
                  <a:lnTo>
                    <a:pt x="313" y="997"/>
                  </a:lnTo>
                  <a:lnTo>
                    <a:pt x="315" y="997"/>
                  </a:lnTo>
                  <a:lnTo>
                    <a:pt x="318" y="997"/>
                  </a:lnTo>
                  <a:lnTo>
                    <a:pt x="315" y="995"/>
                  </a:lnTo>
                  <a:lnTo>
                    <a:pt x="318" y="995"/>
                  </a:lnTo>
                  <a:lnTo>
                    <a:pt x="318" y="997"/>
                  </a:lnTo>
                  <a:lnTo>
                    <a:pt x="320" y="997"/>
                  </a:lnTo>
                  <a:lnTo>
                    <a:pt x="322" y="997"/>
                  </a:lnTo>
                  <a:lnTo>
                    <a:pt x="325" y="997"/>
                  </a:lnTo>
                  <a:lnTo>
                    <a:pt x="327" y="997"/>
                  </a:lnTo>
                  <a:lnTo>
                    <a:pt x="329" y="997"/>
                  </a:lnTo>
                  <a:lnTo>
                    <a:pt x="329" y="1000"/>
                  </a:lnTo>
                  <a:lnTo>
                    <a:pt x="332" y="1000"/>
                  </a:lnTo>
                  <a:lnTo>
                    <a:pt x="332" y="997"/>
                  </a:lnTo>
                  <a:lnTo>
                    <a:pt x="332" y="1000"/>
                  </a:lnTo>
                  <a:lnTo>
                    <a:pt x="334" y="1000"/>
                  </a:lnTo>
                  <a:lnTo>
                    <a:pt x="336" y="1000"/>
                  </a:lnTo>
                  <a:lnTo>
                    <a:pt x="339" y="1000"/>
                  </a:lnTo>
                  <a:lnTo>
                    <a:pt x="339" y="1002"/>
                  </a:lnTo>
                  <a:lnTo>
                    <a:pt x="341" y="1002"/>
                  </a:lnTo>
                  <a:lnTo>
                    <a:pt x="344" y="1002"/>
                  </a:lnTo>
                  <a:lnTo>
                    <a:pt x="346" y="1002"/>
                  </a:lnTo>
                  <a:lnTo>
                    <a:pt x="348" y="1002"/>
                  </a:lnTo>
                  <a:lnTo>
                    <a:pt x="346" y="1002"/>
                  </a:lnTo>
                  <a:lnTo>
                    <a:pt x="348" y="1002"/>
                  </a:lnTo>
                  <a:lnTo>
                    <a:pt x="346" y="1000"/>
                  </a:lnTo>
                  <a:lnTo>
                    <a:pt x="348" y="1002"/>
                  </a:lnTo>
                  <a:lnTo>
                    <a:pt x="348" y="1000"/>
                  </a:lnTo>
                  <a:lnTo>
                    <a:pt x="351" y="1000"/>
                  </a:lnTo>
                  <a:lnTo>
                    <a:pt x="348" y="1000"/>
                  </a:lnTo>
                  <a:lnTo>
                    <a:pt x="351" y="1000"/>
                  </a:lnTo>
                  <a:lnTo>
                    <a:pt x="353" y="1000"/>
                  </a:lnTo>
                  <a:lnTo>
                    <a:pt x="353" y="997"/>
                  </a:lnTo>
                  <a:lnTo>
                    <a:pt x="355" y="997"/>
                  </a:lnTo>
                  <a:lnTo>
                    <a:pt x="355" y="1000"/>
                  </a:lnTo>
                  <a:lnTo>
                    <a:pt x="358" y="1000"/>
                  </a:lnTo>
                  <a:lnTo>
                    <a:pt x="358" y="1002"/>
                  </a:lnTo>
                  <a:lnTo>
                    <a:pt x="358" y="1005"/>
                  </a:lnTo>
                  <a:lnTo>
                    <a:pt x="360" y="1005"/>
                  </a:lnTo>
                  <a:lnTo>
                    <a:pt x="363" y="1005"/>
                  </a:lnTo>
                  <a:lnTo>
                    <a:pt x="363" y="1007"/>
                  </a:lnTo>
                  <a:lnTo>
                    <a:pt x="365" y="1007"/>
                  </a:lnTo>
                  <a:lnTo>
                    <a:pt x="367" y="1007"/>
                  </a:lnTo>
                  <a:lnTo>
                    <a:pt x="365" y="1007"/>
                  </a:lnTo>
                  <a:lnTo>
                    <a:pt x="363" y="1007"/>
                  </a:lnTo>
                  <a:lnTo>
                    <a:pt x="363" y="1005"/>
                  </a:lnTo>
                  <a:lnTo>
                    <a:pt x="360" y="1005"/>
                  </a:lnTo>
                  <a:lnTo>
                    <a:pt x="358" y="1005"/>
                  </a:lnTo>
                  <a:lnTo>
                    <a:pt x="358" y="1002"/>
                  </a:lnTo>
                  <a:lnTo>
                    <a:pt x="358" y="1000"/>
                  </a:lnTo>
                  <a:lnTo>
                    <a:pt x="355" y="1000"/>
                  </a:lnTo>
                  <a:lnTo>
                    <a:pt x="355" y="997"/>
                  </a:lnTo>
                  <a:lnTo>
                    <a:pt x="353" y="997"/>
                  </a:lnTo>
                  <a:lnTo>
                    <a:pt x="351" y="997"/>
                  </a:lnTo>
                  <a:lnTo>
                    <a:pt x="348" y="997"/>
                  </a:lnTo>
                  <a:lnTo>
                    <a:pt x="348" y="995"/>
                  </a:lnTo>
                  <a:lnTo>
                    <a:pt x="346" y="995"/>
                  </a:lnTo>
                  <a:lnTo>
                    <a:pt x="348" y="995"/>
                  </a:lnTo>
                  <a:lnTo>
                    <a:pt x="348" y="997"/>
                  </a:lnTo>
                  <a:lnTo>
                    <a:pt x="346" y="995"/>
                  </a:lnTo>
                  <a:lnTo>
                    <a:pt x="344" y="995"/>
                  </a:lnTo>
                  <a:lnTo>
                    <a:pt x="341" y="995"/>
                  </a:lnTo>
                  <a:lnTo>
                    <a:pt x="344" y="995"/>
                  </a:lnTo>
                  <a:lnTo>
                    <a:pt x="341" y="995"/>
                  </a:lnTo>
                  <a:lnTo>
                    <a:pt x="341" y="993"/>
                  </a:lnTo>
                  <a:lnTo>
                    <a:pt x="341" y="995"/>
                  </a:lnTo>
                  <a:lnTo>
                    <a:pt x="341" y="993"/>
                  </a:lnTo>
                  <a:lnTo>
                    <a:pt x="341" y="990"/>
                  </a:lnTo>
                  <a:lnTo>
                    <a:pt x="339" y="990"/>
                  </a:lnTo>
                  <a:lnTo>
                    <a:pt x="341" y="990"/>
                  </a:lnTo>
                  <a:lnTo>
                    <a:pt x="339" y="990"/>
                  </a:lnTo>
                  <a:lnTo>
                    <a:pt x="341" y="990"/>
                  </a:lnTo>
                  <a:lnTo>
                    <a:pt x="341" y="988"/>
                  </a:lnTo>
                  <a:lnTo>
                    <a:pt x="339" y="988"/>
                  </a:lnTo>
                  <a:lnTo>
                    <a:pt x="336" y="988"/>
                  </a:lnTo>
                  <a:lnTo>
                    <a:pt x="336" y="986"/>
                  </a:lnTo>
                  <a:lnTo>
                    <a:pt x="334" y="986"/>
                  </a:lnTo>
                  <a:lnTo>
                    <a:pt x="332" y="986"/>
                  </a:lnTo>
                  <a:lnTo>
                    <a:pt x="329" y="986"/>
                  </a:lnTo>
                  <a:lnTo>
                    <a:pt x="327" y="986"/>
                  </a:lnTo>
                  <a:lnTo>
                    <a:pt x="325" y="986"/>
                  </a:lnTo>
                  <a:lnTo>
                    <a:pt x="325" y="988"/>
                  </a:lnTo>
                  <a:lnTo>
                    <a:pt x="322" y="988"/>
                  </a:lnTo>
                  <a:lnTo>
                    <a:pt x="320" y="988"/>
                  </a:lnTo>
                  <a:lnTo>
                    <a:pt x="318" y="988"/>
                  </a:lnTo>
                  <a:lnTo>
                    <a:pt x="315" y="986"/>
                  </a:lnTo>
                  <a:lnTo>
                    <a:pt x="315" y="988"/>
                  </a:lnTo>
                  <a:lnTo>
                    <a:pt x="313" y="986"/>
                  </a:lnTo>
                  <a:lnTo>
                    <a:pt x="310" y="986"/>
                  </a:lnTo>
                  <a:lnTo>
                    <a:pt x="308" y="986"/>
                  </a:lnTo>
                  <a:lnTo>
                    <a:pt x="308" y="983"/>
                  </a:lnTo>
                  <a:lnTo>
                    <a:pt x="310" y="983"/>
                  </a:lnTo>
                  <a:lnTo>
                    <a:pt x="308" y="983"/>
                  </a:lnTo>
                  <a:lnTo>
                    <a:pt x="308" y="981"/>
                  </a:lnTo>
                  <a:lnTo>
                    <a:pt x="308" y="983"/>
                  </a:lnTo>
                  <a:lnTo>
                    <a:pt x="308" y="981"/>
                  </a:lnTo>
                  <a:lnTo>
                    <a:pt x="306" y="981"/>
                  </a:lnTo>
                  <a:lnTo>
                    <a:pt x="303" y="981"/>
                  </a:lnTo>
                  <a:lnTo>
                    <a:pt x="303" y="978"/>
                  </a:lnTo>
                  <a:lnTo>
                    <a:pt x="303" y="976"/>
                  </a:lnTo>
                  <a:lnTo>
                    <a:pt x="303" y="978"/>
                  </a:lnTo>
                  <a:lnTo>
                    <a:pt x="301" y="978"/>
                  </a:lnTo>
                  <a:lnTo>
                    <a:pt x="299" y="978"/>
                  </a:lnTo>
                  <a:lnTo>
                    <a:pt x="299" y="976"/>
                  </a:lnTo>
                  <a:lnTo>
                    <a:pt x="296" y="976"/>
                  </a:lnTo>
                  <a:lnTo>
                    <a:pt x="296" y="974"/>
                  </a:lnTo>
                  <a:lnTo>
                    <a:pt x="294" y="974"/>
                  </a:lnTo>
                  <a:lnTo>
                    <a:pt x="294" y="971"/>
                  </a:lnTo>
                  <a:lnTo>
                    <a:pt x="294" y="969"/>
                  </a:lnTo>
                  <a:lnTo>
                    <a:pt x="291" y="969"/>
                  </a:lnTo>
                  <a:lnTo>
                    <a:pt x="291" y="967"/>
                  </a:lnTo>
                  <a:lnTo>
                    <a:pt x="294" y="967"/>
                  </a:lnTo>
                  <a:lnTo>
                    <a:pt x="294" y="969"/>
                  </a:lnTo>
                  <a:lnTo>
                    <a:pt x="296" y="971"/>
                  </a:lnTo>
                  <a:lnTo>
                    <a:pt x="299" y="971"/>
                  </a:lnTo>
                  <a:lnTo>
                    <a:pt x="299" y="974"/>
                  </a:lnTo>
                  <a:lnTo>
                    <a:pt x="299" y="971"/>
                  </a:lnTo>
                  <a:lnTo>
                    <a:pt x="301" y="971"/>
                  </a:lnTo>
                  <a:lnTo>
                    <a:pt x="299" y="971"/>
                  </a:lnTo>
                  <a:lnTo>
                    <a:pt x="299" y="969"/>
                  </a:lnTo>
                  <a:lnTo>
                    <a:pt x="299" y="967"/>
                  </a:lnTo>
                  <a:lnTo>
                    <a:pt x="299" y="969"/>
                  </a:lnTo>
                  <a:lnTo>
                    <a:pt x="299" y="967"/>
                  </a:lnTo>
                  <a:lnTo>
                    <a:pt x="296" y="967"/>
                  </a:lnTo>
                  <a:lnTo>
                    <a:pt x="296" y="969"/>
                  </a:lnTo>
                  <a:lnTo>
                    <a:pt x="296" y="967"/>
                  </a:lnTo>
                  <a:lnTo>
                    <a:pt x="299" y="967"/>
                  </a:lnTo>
                  <a:lnTo>
                    <a:pt x="299" y="969"/>
                  </a:lnTo>
                  <a:lnTo>
                    <a:pt x="299" y="967"/>
                  </a:lnTo>
                  <a:lnTo>
                    <a:pt x="299" y="964"/>
                  </a:lnTo>
                  <a:lnTo>
                    <a:pt x="299" y="962"/>
                  </a:lnTo>
                  <a:lnTo>
                    <a:pt x="299" y="959"/>
                  </a:lnTo>
                  <a:lnTo>
                    <a:pt x="299" y="962"/>
                  </a:lnTo>
                  <a:lnTo>
                    <a:pt x="299" y="959"/>
                  </a:lnTo>
                  <a:lnTo>
                    <a:pt x="299" y="962"/>
                  </a:lnTo>
                  <a:lnTo>
                    <a:pt x="301" y="962"/>
                  </a:lnTo>
                  <a:lnTo>
                    <a:pt x="299" y="962"/>
                  </a:lnTo>
                  <a:lnTo>
                    <a:pt x="299" y="959"/>
                  </a:lnTo>
                  <a:lnTo>
                    <a:pt x="301" y="959"/>
                  </a:lnTo>
                  <a:lnTo>
                    <a:pt x="301" y="957"/>
                  </a:lnTo>
                  <a:lnTo>
                    <a:pt x="301" y="955"/>
                  </a:lnTo>
                  <a:lnTo>
                    <a:pt x="299" y="955"/>
                  </a:lnTo>
                  <a:lnTo>
                    <a:pt x="301" y="955"/>
                  </a:lnTo>
                  <a:lnTo>
                    <a:pt x="301" y="952"/>
                  </a:lnTo>
                  <a:lnTo>
                    <a:pt x="301" y="955"/>
                  </a:lnTo>
                  <a:lnTo>
                    <a:pt x="299" y="955"/>
                  </a:lnTo>
                  <a:lnTo>
                    <a:pt x="299" y="957"/>
                  </a:lnTo>
                  <a:lnTo>
                    <a:pt x="299" y="955"/>
                  </a:lnTo>
                  <a:lnTo>
                    <a:pt x="299" y="957"/>
                  </a:lnTo>
                  <a:lnTo>
                    <a:pt x="296" y="957"/>
                  </a:lnTo>
                  <a:lnTo>
                    <a:pt x="296" y="959"/>
                  </a:lnTo>
                  <a:lnTo>
                    <a:pt x="299" y="959"/>
                  </a:lnTo>
                  <a:lnTo>
                    <a:pt x="296" y="959"/>
                  </a:lnTo>
                  <a:lnTo>
                    <a:pt x="296" y="962"/>
                  </a:lnTo>
                  <a:lnTo>
                    <a:pt x="296" y="959"/>
                  </a:lnTo>
                  <a:lnTo>
                    <a:pt x="294" y="959"/>
                  </a:lnTo>
                  <a:lnTo>
                    <a:pt x="291" y="959"/>
                  </a:lnTo>
                  <a:lnTo>
                    <a:pt x="294" y="959"/>
                  </a:lnTo>
                  <a:lnTo>
                    <a:pt x="291" y="959"/>
                  </a:lnTo>
                  <a:lnTo>
                    <a:pt x="291" y="962"/>
                  </a:lnTo>
                  <a:lnTo>
                    <a:pt x="291" y="959"/>
                  </a:lnTo>
                  <a:lnTo>
                    <a:pt x="291" y="962"/>
                  </a:lnTo>
                  <a:lnTo>
                    <a:pt x="289" y="962"/>
                  </a:lnTo>
                  <a:lnTo>
                    <a:pt x="289" y="959"/>
                  </a:lnTo>
                  <a:lnTo>
                    <a:pt x="289" y="962"/>
                  </a:lnTo>
                  <a:lnTo>
                    <a:pt x="289" y="964"/>
                  </a:lnTo>
                  <a:lnTo>
                    <a:pt x="289" y="962"/>
                  </a:lnTo>
                  <a:lnTo>
                    <a:pt x="289" y="964"/>
                  </a:lnTo>
                  <a:lnTo>
                    <a:pt x="289" y="962"/>
                  </a:lnTo>
                  <a:lnTo>
                    <a:pt x="287" y="962"/>
                  </a:lnTo>
                  <a:lnTo>
                    <a:pt x="289" y="962"/>
                  </a:lnTo>
                  <a:lnTo>
                    <a:pt x="287" y="962"/>
                  </a:lnTo>
                  <a:lnTo>
                    <a:pt x="287" y="964"/>
                  </a:lnTo>
                  <a:lnTo>
                    <a:pt x="284" y="964"/>
                  </a:lnTo>
                  <a:lnTo>
                    <a:pt x="287" y="964"/>
                  </a:lnTo>
                  <a:lnTo>
                    <a:pt x="284" y="964"/>
                  </a:lnTo>
                  <a:lnTo>
                    <a:pt x="287" y="964"/>
                  </a:lnTo>
                  <a:lnTo>
                    <a:pt x="284" y="964"/>
                  </a:lnTo>
                  <a:lnTo>
                    <a:pt x="284" y="967"/>
                  </a:lnTo>
                  <a:lnTo>
                    <a:pt x="284" y="969"/>
                  </a:lnTo>
                  <a:lnTo>
                    <a:pt x="284" y="967"/>
                  </a:lnTo>
                  <a:lnTo>
                    <a:pt x="282" y="967"/>
                  </a:lnTo>
                  <a:lnTo>
                    <a:pt x="282" y="969"/>
                  </a:lnTo>
                  <a:lnTo>
                    <a:pt x="280" y="969"/>
                  </a:lnTo>
                  <a:lnTo>
                    <a:pt x="280" y="967"/>
                  </a:lnTo>
                  <a:lnTo>
                    <a:pt x="280" y="969"/>
                  </a:lnTo>
                  <a:lnTo>
                    <a:pt x="280" y="967"/>
                  </a:lnTo>
                  <a:lnTo>
                    <a:pt x="280" y="969"/>
                  </a:lnTo>
                  <a:lnTo>
                    <a:pt x="277" y="969"/>
                  </a:lnTo>
                  <a:lnTo>
                    <a:pt x="280" y="969"/>
                  </a:lnTo>
                  <a:lnTo>
                    <a:pt x="277" y="969"/>
                  </a:lnTo>
                  <a:lnTo>
                    <a:pt x="277" y="967"/>
                  </a:lnTo>
                  <a:lnTo>
                    <a:pt x="277" y="969"/>
                  </a:lnTo>
                  <a:lnTo>
                    <a:pt x="275" y="969"/>
                  </a:lnTo>
                  <a:lnTo>
                    <a:pt x="272" y="969"/>
                  </a:lnTo>
                  <a:lnTo>
                    <a:pt x="272" y="967"/>
                  </a:lnTo>
                  <a:lnTo>
                    <a:pt x="270" y="967"/>
                  </a:lnTo>
                  <a:lnTo>
                    <a:pt x="270" y="969"/>
                  </a:lnTo>
                  <a:lnTo>
                    <a:pt x="272" y="969"/>
                  </a:lnTo>
                  <a:lnTo>
                    <a:pt x="270" y="969"/>
                  </a:lnTo>
                  <a:lnTo>
                    <a:pt x="272" y="969"/>
                  </a:lnTo>
                  <a:lnTo>
                    <a:pt x="270" y="969"/>
                  </a:lnTo>
                  <a:lnTo>
                    <a:pt x="270" y="971"/>
                  </a:lnTo>
                  <a:lnTo>
                    <a:pt x="270" y="969"/>
                  </a:lnTo>
                  <a:lnTo>
                    <a:pt x="270" y="971"/>
                  </a:lnTo>
                  <a:lnTo>
                    <a:pt x="270" y="969"/>
                  </a:lnTo>
                  <a:lnTo>
                    <a:pt x="270" y="967"/>
                  </a:lnTo>
                  <a:lnTo>
                    <a:pt x="270" y="964"/>
                  </a:lnTo>
                  <a:lnTo>
                    <a:pt x="272" y="964"/>
                  </a:lnTo>
                  <a:lnTo>
                    <a:pt x="272" y="962"/>
                  </a:lnTo>
                  <a:lnTo>
                    <a:pt x="277" y="957"/>
                  </a:lnTo>
                  <a:lnTo>
                    <a:pt x="280" y="957"/>
                  </a:lnTo>
                  <a:lnTo>
                    <a:pt x="282" y="957"/>
                  </a:lnTo>
                  <a:lnTo>
                    <a:pt x="282" y="955"/>
                  </a:lnTo>
                  <a:lnTo>
                    <a:pt x="284" y="955"/>
                  </a:lnTo>
                  <a:lnTo>
                    <a:pt x="284" y="952"/>
                  </a:lnTo>
                  <a:lnTo>
                    <a:pt x="287" y="950"/>
                  </a:lnTo>
                  <a:lnTo>
                    <a:pt x="291" y="948"/>
                  </a:lnTo>
                  <a:lnTo>
                    <a:pt x="291" y="945"/>
                  </a:lnTo>
                  <a:lnTo>
                    <a:pt x="294" y="945"/>
                  </a:lnTo>
                  <a:lnTo>
                    <a:pt x="296" y="945"/>
                  </a:lnTo>
                  <a:lnTo>
                    <a:pt x="299" y="945"/>
                  </a:lnTo>
                  <a:lnTo>
                    <a:pt x="299" y="943"/>
                  </a:lnTo>
                  <a:lnTo>
                    <a:pt x="299" y="940"/>
                  </a:lnTo>
                  <a:lnTo>
                    <a:pt x="301" y="940"/>
                  </a:lnTo>
                  <a:lnTo>
                    <a:pt x="301" y="938"/>
                  </a:lnTo>
                  <a:lnTo>
                    <a:pt x="303" y="938"/>
                  </a:lnTo>
                  <a:lnTo>
                    <a:pt x="303" y="936"/>
                  </a:lnTo>
                  <a:lnTo>
                    <a:pt x="306" y="936"/>
                  </a:lnTo>
                  <a:lnTo>
                    <a:pt x="306" y="933"/>
                  </a:lnTo>
                  <a:lnTo>
                    <a:pt x="308" y="933"/>
                  </a:lnTo>
                  <a:lnTo>
                    <a:pt x="310" y="931"/>
                  </a:lnTo>
                  <a:lnTo>
                    <a:pt x="313" y="931"/>
                  </a:lnTo>
                  <a:lnTo>
                    <a:pt x="315" y="929"/>
                  </a:lnTo>
                  <a:lnTo>
                    <a:pt x="318" y="929"/>
                  </a:lnTo>
                  <a:lnTo>
                    <a:pt x="318" y="926"/>
                  </a:lnTo>
                  <a:lnTo>
                    <a:pt x="320" y="924"/>
                  </a:lnTo>
                  <a:lnTo>
                    <a:pt x="322" y="921"/>
                  </a:lnTo>
                  <a:lnTo>
                    <a:pt x="327" y="917"/>
                  </a:lnTo>
                  <a:lnTo>
                    <a:pt x="325" y="917"/>
                  </a:lnTo>
                  <a:lnTo>
                    <a:pt x="327" y="917"/>
                  </a:lnTo>
                  <a:lnTo>
                    <a:pt x="329" y="914"/>
                  </a:lnTo>
                  <a:lnTo>
                    <a:pt x="332" y="912"/>
                  </a:lnTo>
                  <a:lnTo>
                    <a:pt x="334" y="912"/>
                  </a:lnTo>
                  <a:lnTo>
                    <a:pt x="334" y="910"/>
                  </a:lnTo>
                  <a:lnTo>
                    <a:pt x="336" y="907"/>
                  </a:lnTo>
                  <a:lnTo>
                    <a:pt x="339" y="905"/>
                  </a:lnTo>
                  <a:lnTo>
                    <a:pt x="344" y="900"/>
                  </a:lnTo>
                  <a:lnTo>
                    <a:pt x="344" y="898"/>
                  </a:lnTo>
                  <a:lnTo>
                    <a:pt x="346" y="895"/>
                  </a:lnTo>
                  <a:lnTo>
                    <a:pt x="348" y="895"/>
                  </a:lnTo>
                  <a:lnTo>
                    <a:pt x="348" y="893"/>
                  </a:lnTo>
                  <a:lnTo>
                    <a:pt x="351" y="893"/>
                  </a:lnTo>
                  <a:lnTo>
                    <a:pt x="351" y="891"/>
                  </a:lnTo>
                  <a:lnTo>
                    <a:pt x="353" y="891"/>
                  </a:lnTo>
                  <a:lnTo>
                    <a:pt x="353" y="888"/>
                  </a:lnTo>
                  <a:lnTo>
                    <a:pt x="355" y="888"/>
                  </a:lnTo>
                  <a:lnTo>
                    <a:pt x="355" y="886"/>
                  </a:lnTo>
                  <a:lnTo>
                    <a:pt x="360" y="881"/>
                  </a:lnTo>
                  <a:lnTo>
                    <a:pt x="363" y="881"/>
                  </a:lnTo>
                  <a:lnTo>
                    <a:pt x="363" y="879"/>
                  </a:lnTo>
                  <a:lnTo>
                    <a:pt x="363" y="876"/>
                  </a:lnTo>
                  <a:lnTo>
                    <a:pt x="365" y="876"/>
                  </a:lnTo>
                  <a:lnTo>
                    <a:pt x="367" y="876"/>
                  </a:lnTo>
                  <a:lnTo>
                    <a:pt x="367" y="874"/>
                  </a:lnTo>
                  <a:lnTo>
                    <a:pt x="370" y="874"/>
                  </a:lnTo>
                  <a:lnTo>
                    <a:pt x="372" y="872"/>
                  </a:lnTo>
                  <a:lnTo>
                    <a:pt x="374" y="872"/>
                  </a:lnTo>
                  <a:lnTo>
                    <a:pt x="374" y="869"/>
                  </a:lnTo>
                  <a:lnTo>
                    <a:pt x="379" y="864"/>
                  </a:lnTo>
                  <a:lnTo>
                    <a:pt x="382" y="864"/>
                  </a:lnTo>
                  <a:lnTo>
                    <a:pt x="382" y="862"/>
                  </a:lnTo>
                  <a:lnTo>
                    <a:pt x="384" y="860"/>
                  </a:lnTo>
                  <a:lnTo>
                    <a:pt x="386" y="853"/>
                  </a:lnTo>
                  <a:lnTo>
                    <a:pt x="389" y="853"/>
                  </a:lnTo>
                  <a:lnTo>
                    <a:pt x="389" y="850"/>
                  </a:lnTo>
                  <a:lnTo>
                    <a:pt x="389" y="845"/>
                  </a:lnTo>
                  <a:lnTo>
                    <a:pt x="391" y="845"/>
                  </a:lnTo>
                  <a:lnTo>
                    <a:pt x="391" y="843"/>
                  </a:lnTo>
                  <a:lnTo>
                    <a:pt x="393" y="838"/>
                  </a:lnTo>
                  <a:lnTo>
                    <a:pt x="391" y="834"/>
                  </a:lnTo>
                  <a:lnTo>
                    <a:pt x="391" y="831"/>
                  </a:lnTo>
                  <a:lnTo>
                    <a:pt x="389" y="831"/>
                  </a:lnTo>
                  <a:lnTo>
                    <a:pt x="386" y="829"/>
                  </a:lnTo>
                  <a:lnTo>
                    <a:pt x="384" y="829"/>
                  </a:lnTo>
                  <a:lnTo>
                    <a:pt x="384" y="826"/>
                  </a:lnTo>
                  <a:lnTo>
                    <a:pt x="384" y="824"/>
                  </a:lnTo>
                  <a:lnTo>
                    <a:pt x="384" y="822"/>
                  </a:lnTo>
                  <a:lnTo>
                    <a:pt x="382" y="822"/>
                  </a:lnTo>
                  <a:lnTo>
                    <a:pt x="382" y="819"/>
                  </a:lnTo>
                  <a:lnTo>
                    <a:pt x="379" y="819"/>
                  </a:lnTo>
                  <a:lnTo>
                    <a:pt x="377" y="817"/>
                  </a:lnTo>
                  <a:lnTo>
                    <a:pt x="374" y="817"/>
                  </a:lnTo>
                  <a:lnTo>
                    <a:pt x="374" y="815"/>
                  </a:lnTo>
                  <a:lnTo>
                    <a:pt x="372" y="815"/>
                  </a:lnTo>
                  <a:lnTo>
                    <a:pt x="370" y="815"/>
                  </a:lnTo>
                  <a:lnTo>
                    <a:pt x="370" y="812"/>
                  </a:lnTo>
                  <a:lnTo>
                    <a:pt x="367" y="812"/>
                  </a:lnTo>
                  <a:lnTo>
                    <a:pt x="365" y="810"/>
                  </a:lnTo>
                  <a:lnTo>
                    <a:pt x="363" y="810"/>
                  </a:lnTo>
                  <a:lnTo>
                    <a:pt x="358" y="807"/>
                  </a:lnTo>
                  <a:lnTo>
                    <a:pt x="355" y="803"/>
                  </a:lnTo>
                  <a:lnTo>
                    <a:pt x="353" y="803"/>
                  </a:lnTo>
                  <a:lnTo>
                    <a:pt x="351" y="800"/>
                  </a:lnTo>
                  <a:lnTo>
                    <a:pt x="346" y="798"/>
                  </a:lnTo>
                  <a:lnTo>
                    <a:pt x="346" y="796"/>
                  </a:lnTo>
                  <a:lnTo>
                    <a:pt x="344" y="796"/>
                  </a:lnTo>
                  <a:lnTo>
                    <a:pt x="341" y="791"/>
                  </a:lnTo>
                  <a:lnTo>
                    <a:pt x="348" y="788"/>
                  </a:lnTo>
                  <a:lnTo>
                    <a:pt x="351" y="788"/>
                  </a:lnTo>
                  <a:lnTo>
                    <a:pt x="353" y="784"/>
                  </a:lnTo>
                  <a:lnTo>
                    <a:pt x="353" y="781"/>
                  </a:lnTo>
                  <a:lnTo>
                    <a:pt x="355" y="781"/>
                  </a:lnTo>
                  <a:lnTo>
                    <a:pt x="358" y="779"/>
                  </a:lnTo>
                  <a:lnTo>
                    <a:pt x="358" y="777"/>
                  </a:lnTo>
                  <a:lnTo>
                    <a:pt x="360" y="777"/>
                  </a:lnTo>
                  <a:lnTo>
                    <a:pt x="360" y="774"/>
                  </a:lnTo>
                  <a:lnTo>
                    <a:pt x="360" y="772"/>
                  </a:lnTo>
                  <a:lnTo>
                    <a:pt x="360" y="769"/>
                  </a:lnTo>
                  <a:lnTo>
                    <a:pt x="358" y="767"/>
                  </a:lnTo>
                  <a:lnTo>
                    <a:pt x="360" y="767"/>
                  </a:lnTo>
                  <a:lnTo>
                    <a:pt x="358" y="765"/>
                  </a:lnTo>
                  <a:lnTo>
                    <a:pt x="355" y="762"/>
                  </a:lnTo>
                  <a:lnTo>
                    <a:pt x="353" y="762"/>
                  </a:lnTo>
                  <a:lnTo>
                    <a:pt x="355" y="762"/>
                  </a:lnTo>
                  <a:lnTo>
                    <a:pt x="351" y="760"/>
                  </a:lnTo>
                  <a:lnTo>
                    <a:pt x="348" y="760"/>
                  </a:lnTo>
                  <a:lnTo>
                    <a:pt x="346" y="758"/>
                  </a:lnTo>
                  <a:lnTo>
                    <a:pt x="344" y="755"/>
                  </a:lnTo>
                  <a:lnTo>
                    <a:pt x="344" y="753"/>
                  </a:lnTo>
                  <a:lnTo>
                    <a:pt x="344" y="750"/>
                  </a:lnTo>
                  <a:lnTo>
                    <a:pt x="341" y="748"/>
                  </a:lnTo>
                  <a:lnTo>
                    <a:pt x="341" y="746"/>
                  </a:lnTo>
                  <a:lnTo>
                    <a:pt x="344" y="743"/>
                  </a:lnTo>
                  <a:lnTo>
                    <a:pt x="346" y="743"/>
                  </a:lnTo>
                  <a:lnTo>
                    <a:pt x="344" y="739"/>
                  </a:lnTo>
                  <a:lnTo>
                    <a:pt x="344" y="736"/>
                  </a:lnTo>
                  <a:lnTo>
                    <a:pt x="346" y="736"/>
                  </a:lnTo>
                  <a:lnTo>
                    <a:pt x="344" y="734"/>
                  </a:lnTo>
                  <a:lnTo>
                    <a:pt x="341" y="734"/>
                  </a:lnTo>
                  <a:lnTo>
                    <a:pt x="339" y="734"/>
                  </a:lnTo>
                  <a:lnTo>
                    <a:pt x="336" y="734"/>
                  </a:lnTo>
                  <a:lnTo>
                    <a:pt x="334" y="734"/>
                  </a:lnTo>
                  <a:lnTo>
                    <a:pt x="332" y="734"/>
                  </a:lnTo>
                  <a:lnTo>
                    <a:pt x="332" y="731"/>
                  </a:lnTo>
                  <a:lnTo>
                    <a:pt x="329" y="729"/>
                  </a:lnTo>
                  <a:lnTo>
                    <a:pt x="329" y="727"/>
                  </a:lnTo>
                  <a:lnTo>
                    <a:pt x="329" y="724"/>
                  </a:lnTo>
                  <a:lnTo>
                    <a:pt x="329" y="722"/>
                  </a:lnTo>
                  <a:lnTo>
                    <a:pt x="329" y="720"/>
                  </a:lnTo>
                  <a:lnTo>
                    <a:pt x="334" y="717"/>
                  </a:lnTo>
                  <a:lnTo>
                    <a:pt x="336" y="717"/>
                  </a:lnTo>
                  <a:lnTo>
                    <a:pt x="339" y="717"/>
                  </a:lnTo>
                  <a:lnTo>
                    <a:pt x="339" y="715"/>
                  </a:lnTo>
                  <a:lnTo>
                    <a:pt x="336" y="715"/>
                  </a:lnTo>
                  <a:lnTo>
                    <a:pt x="339" y="712"/>
                  </a:lnTo>
                  <a:lnTo>
                    <a:pt x="339" y="710"/>
                  </a:lnTo>
                  <a:lnTo>
                    <a:pt x="336" y="710"/>
                  </a:lnTo>
                  <a:lnTo>
                    <a:pt x="334" y="710"/>
                  </a:lnTo>
                  <a:lnTo>
                    <a:pt x="332" y="710"/>
                  </a:lnTo>
                  <a:lnTo>
                    <a:pt x="329" y="710"/>
                  </a:lnTo>
                  <a:lnTo>
                    <a:pt x="329" y="708"/>
                  </a:lnTo>
                  <a:lnTo>
                    <a:pt x="332" y="705"/>
                  </a:lnTo>
                  <a:lnTo>
                    <a:pt x="334" y="703"/>
                  </a:lnTo>
                  <a:lnTo>
                    <a:pt x="334" y="701"/>
                  </a:lnTo>
                  <a:lnTo>
                    <a:pt x="334" y="696"/>
                  </a:lnTo>
                  <a:lnTo>
                    <a:pt x="334" y="693"/>
                  </a:lnTo>
                  <a:lnTo>
                    <a:pt x="339" y="691"/>
                  </a:lnTo>
                  <a:lnTo>
                    <a:pt x="334" y="689"/>
                  </a:lnTo>
                  <a:lnTo>
                    <a:pt x="332" y="686"/>
                  </a:lnTo>
                  <a:lnTo>
                    <a:pt x="339" y="686"/>
                  </a:lnTo>
                  <a:lnTo>
                    <a:pt x="339" y="684"/>
                  </a:lnTo>
                  <a:lnTo>
                    <a:pt x="344" y="684"/>
                  </a:lnTo>
                  <a:lnTo>
                    <a:pt x="346" y="686"/>
                  </a:lnTo>
                  <a:lnTo>
                    <a:pt x="346" y="684"/>
                  </a:lnTo>
                  <a:lnTo>
                    <a:pt x="346" y="682"/>
                  </a:lnTo>
                  <a:lnTo>
                    <a:pt x="346" y="677"/>
                  </a:lnTo>
                  <a:lnTo>
                    <a:pt x="344" y="672"/>
                  </a:lnTo>
                  <a:lnTo>
                    <a:pt x="344" y="667"/>
                  </a:lnTo>
                  <a:lnTo>
                    <a:pt x="341" y="667"/>
                  </a:lnTo>
                  <a:lnTo>
                    <a:pt x="341" y="665"/>
                  </a:lnTo>
                  <a:lnTo>
                    <a:pt x="339" y="660"/>
                  </a:lnTo>
                  <a:lnTo>
                    <a:pt x="339" y="658"/>
                  </a:lnTo>
                  <a:lnTo>
                    <a:pt x="334" y="651"/>
                  </a:lnTo>
                  <a:lnTo>
                    <a:pt x="332" y="651"/>
                  </a:lnTo>
                  <a:lnTo>
                    <a:pt x="332" y="648"/>
                  </a:lnTo>
                  <a:lnTo>
                    <a:pt x="329" y="646"/>
                  </a:lnTo>
                  <a:lnTo>
                    <a:pt x="327" y="636"/>
                  </a:lnTo>
                  <a:lnTo>
                    <a:pt x="325" y="634"/>
                  </a:lnTo>
                  <a:lnTo>
                    <a:pt x="322" y="634"/>
                  </a:lnTo>
                  <a:lnTo>
                    <a:pt x="322" y="632"/>
                  </a:lnTo>
                  <a:lnTo>
                    <a:pt x="320" y="629"/>
                  </a:lnTo>
                  <a:lnTo>
                    <a:pt x="318" y="624"/>
                  </a:lnTo>
                  <a:lnTo>
                    <a:pt x="315" y="622"/>
                  </a:lnTo>
                  <a:lnTo>
                    <a:pt x="313" y="622"/>
                  </a:lnTo>
                  <a:lnTo>
                    <a:pt x="313" y="620"/>
                  </a:lnTo>
                  <a:lnTo>
                    <a:pt x="310" y="617"/>
                  </a:lnTo>
                  <a:lnTo>
                    <a:pt x="310" y="615"/>
                  </a:lnTo>
                  <a:lnTo>
                    <a:pt x="310" y="613"/>
                  </a:lnTo>
                  <a:lnTo>
                    <a:pt x="310" y="610"/>
                  </a:lnTo>
                  <a:lnTo>
                    <a:pt x="313" y="608"/>
                  </a:lnTo>
                  <a:lnTo>
                    <a:pt x="322" y="598"/>
                  </a:lnTo>
                  <a:lnTo>
                    <a:pt x="325" y="594"/>
                  </a:lnTo>
                  <a:lnTo>
                    <a:pt x="327" y="594"/>
                  </a:lnTo>
                  <a:lnTo>
                    <a:pt x="327" y="591"/>
                  </a:lnTo>
                  <a:lnTo>
                    <a:pt x="329" y="591"/>
                  </a:lnTo>
                  <a:lnTo>
                    <a:pt x="327" y="591"/>
                  </a:lnTo>
                  <a:lnTo>
                    <a:pt x="329" y="591"/>
                  </a:lnTo>
                  <a:lnTo>
                    <a:pt x="329" y="589"/>
                  </a:lnTo>
                  <a:lnTo>
                    <a:pt x="332" y="589"/>
                  </a:lnTo>
                  <a:lnTo>
                    <a:pt x="329" y="589"/>
                  </a:lnTo>
                  <a:lnTo>
                    <a:pt x="332" y="589"/>
                  </a:lnTo>
                  <a:lnTo>
                    <a:pt x="332" y="586"/>
                  </a:lnTo>
                  <a:lnTo>
                    <a:pt x="334" y="586"/>
                  </a:lnTo>
                  <a:lnTo>
                    <a:pt x="334" y="584"/>
                  </a:lnTo>
                  <a:lnTo>
                    <a:pt x="336" y="582"/>
                  </a:lnTo>
                  <a:lnTo>
                    <a:pt x="339" y="579"/>
                  </a:lnTo>
                  <a:lnTo>
                    <a:pt x="341" y="572"/>
                  </a:lnTo>
                  <a:lnTo>
                    <a:pt x="344" y="570"/>
                  </a:lnTo>
                  <a:lnTo>
                    <a:pt x="332" y="563"/>
                  </a:lnTo>
                  <a:lnTo>
                    <a:pt x="320" y="548"/>
                  </a:lnTo>
                  <a:lnTo>
                    <a:pt x="299" y="541"/>
                  </a:lnTo>
                  <a:lnTo>
                    <a:pt x="296" y="537"/>
                  </a:lnTo>
                  <a:lnTo>
                    <a:pt x="291" y="520"/>
                  </a:lnTo>
                  <a:lnTo>
                    <a:pt x="294" y="515"/>
                  </a:lnTo>
                  <a:lnTo>
                    <a:pt x="296" y="513"/>
                  </a:lnTo>
                  <a:lnTo>
                    <a:pt x="301" y="508"/>
                  </a:lnTo>
                  <a:lnTo>
                    <a:pt x="303" y="501"/>
                  </a:lnTo>
                  <a:lnTo>
                    <a:pt x="299" y="501"/>
                  </a:lnTo>
                  <a:lnTo>
                    <a:pt x="291" y="501"/>
                  </a:lnTo>
                  <a:lnTo>
                    <a:pt x="289" y="499"/>
                  </a:lnTo>
                  <a:lnTo>
                    <a:pt x="294" y="499"/>
                  </a:lnTo>
                  <a:lnTo>
                    <a:pt x="303" y="491"/>
                  </a:lnTo>
                  <a:lnTo>
                    <a:pt x="308" y="491"/>
                  </a:lnTo>
                  <a:lnTo>
                    <a:pt x="310" y="491"/>
                  </a:lnTo>
                  <a:lnTo>
                    <a:pt x="313" y="491"/>
                  </a:lnTo>
                  <a:lnTo>
                    <a:pt x="313" y="489"/>
                  </a:lnTo>
                  <a:lnTo>
                    <a:pt x="315" y="489"/>
                  </a:lnTo>
                  <a:lnTo>
                    <a:pt x="318" y="487"/>
                  </a:lnTo>
                  <a:lnTo>
                    <a:pt x="318" y="484"/>
                  </a:lnTo>
                  <a:lnTo>
                    <a:pt x="318" y="482"/>
                  </a:lnTo>
                  <a:lnTo>
                    <a:pt x="320" y="482"/>
                  </a:lnTo>
                  <a:lnTo>
                    <a:pt x="320" y="480"/>
                  </a:lnTo>
                  <a:lnTo>
                    <a:pt x="318" y="480"/>
                  </a:lnTo>
                  <a:lnTo>
                    <a:pt x="318" y="477"/>
                  </a:lnTo>
                  <a:lnTo>
                    <a:pt x="320" y="477"/>
                  </a:lnTo>
                  <a:lnTo>
                    <a:pt x="320" y="475"/>
                  </a:lnTo>
                  <a:lnTo>
                    <a:pt x="322" y="475"/>
                  </a:lnTo>
                  <a:lnTo>
                    <a:pt x="325" y="475"/>
                  </a:lnTo>
                  <a:lnTo>
                    <a:pt x="327" y="475"/>
                  </a:lnTo>
                  <a:lnTo>
                    <a:pt x="329" y="475"/>
                  </a:lnTo>
                  <a:lnTo>
                    <a:pt x="332" y="472"/>
                  </a:lnTo>
                  <a:lnTo>
                    <a:pt x="334" y="470"/>
                  </a:lnTo>
                  <a:lnTo>
                    <a:pt x="336" y="470"/>
                  </a:lnTo>
                  <a:lnTo>
                    <a:pt x="336" y="468"/>
                  </a:lnTo>
                  <a:lnTo>
                    <a:pt x="339" y="468"/>
                  </a:lnTo>
                  <a:lnTo>
                    <a:pt x="339" y="470"/>
                  </a:lnTo>
                  <a:lnTo>
                    <a:pt x="341" y="470"/>
                  </a:lnTo>
                  <a:lnTo>
                    <a:pt x="344" y="470"/>
                  </a:lnTo>
                  <a:lnTo>
                    <a:pt x="344" y="468"/>
                  </a:lnTo>
                  <a:lnTo>
                    <a:pt x="346" y="465"/>
                  </a:lnTo>
                  <a:lnTo>
                    <a:pt x="346" y="463"/>
                  </a:lnTo>
                  <a:lnTo>
                    <a:pt x="348" y="463"/>
                  </a:lnTo>
                  <a:lnTo>
                    <a:pt x="348" y="461"/>
                  </a:lnTo>
                  <a:lnTo>
                    <a:pt x="348" y="458"/>
                  </a:lnTo>
                  <a:lnTo>
                    <a:pt x="346" y="456"/>
                  </a:lnTo>
                  <a:lnTo>
                    <a:pt x="346" y="453"/>
                  </a:lnTo>
                  <a:lnTo>
                    <a:pt x="346" y="456"/>
                  </a:lnTo>
                  <a:lnTo>
                    <a:pt x="346" y="453"/>
                  </a:lnTo>
                  <a:lnTo>
                    <a:pt x="348" y="453"/>
                  </a:lnTo>
                  <a:lnTo>
                    <a:pt x="351" y="456"/>
                  </a:lnTo>
                  <a:lnTo>
                    <a:pt x="353" y="456"/>
                  </a:lnTo>
                  <a:lnTo>
                    <a:pt x="355" y="458"/>
                  </a:lnTo>
                  <a:lnTo>
                    <a:pt x="360" y="461"/>
                  </a:lnTo>
                  <a:lnTo>
                    <a:pt x="363" y="461"/>
                  </a:lnTo>
                  <a:lnTo>
                    <a:pt x="367" y="463"/>
                  </a:lnTo>
                  <a:lnTo>
                    <a:pt x="370" y="463"/>
                  </a:lnTo>
                  <a:lnTo>
                    <a:pt x="370" y="461"/>
                  </a:lnTo>
                  <a:lnTo>
                    <a:pt x="372" y="461"/>
                  </a:lnTo>
                  <a:lnTo>
                    <a:pt x="374" y="461"/>
                  </a:lnTo>
                  <a:lnTo>
                    <a:pt x="374" y="458"/>
                  </a:lnTo>
                  <a:lnTo>
                    <a:pt x="374" y="456"/>
                  </a:lnTo>
                  <a:lnTo>
                    <a:pt x="372" y="456"/>
                  </a:lnTo>
                  <a:lnTo>
                    <a:pt x="372" y="453"/>
                  </a:lnTo>
                  <a:lnTo>
                    <a:pt x="374" y="453"/>
                  </a:lnTo>
                  <a:lnTo>
                    <a:pt x="372" y="453"/>
                  </a:lnTo>
                  <a:lnTo>
                    <a:pt x="372" y="451"/>
                  </a:lnTo>
                  <a:lnTo>
                    <a:pt x="372" y="449"/>
                  </a:lnTo>
                  <a:lnTo>
                    <a:pt x="370" y="449"/>
                  </a:lnTo>
                  <a:lnTo>
                    <a:pt x="370" y="446"/>
                  </a:lnTo>
                  <a:lnTo>
                    <a:pt x="372" y="446"/>
                  </a:lnTo>
                  <a:lnTo>
                    <a:pt x="372" y="449"/>
                  </a:lnTo>
                  <a:lnTo>
                    <a:pt x="374" y="449"/>
                  </a:lnTo>
                  <a:lnTo>
                    <a:pt x="372" y="449"/>
                  </a:lnTo>
                  <a:lnTo>
                    <a:pt x="372" y="446"/>
                  </a:lnTo>
                  <a:lnTo>
                    <a:pt x="374" y="446"/>
                  </a:lnTo>
                  <a:lnTo>
                    <a:pt x="374" y="449"/>
                  </a:lnTo>
                  <a:lnTo>
                    <a:pt x="377" y="449"/>
                  </a:lnTo>
                  <a:lnTo>
                    <a:pt x="379" y="449"/>
                  </a:lnTo>
                  <a:lnTo>
                    <a:pt x="382" y="449"/>
                  </a:lnTo>
                  <a:lnTo>
                    <a:pt x="382" y="451"/>
                  </a:lnTo>
                  <a:lnTo>
                    <a:pt x="384" y="451"/>
                  </a:lnTo>
                  <a:lnTo>
                    <a:pt x="382" y="451"/>
                  </a:lnTo>
                  <a:lnTo>
                    <a:pt x="382" y="449"/>
                  </a:lnTo>
                  <a:lnTo>
                    <a:pt x="384" y="449"/>
                  </a:lnTo>
                  <a:lnTo>
                    <a:pt x="384" y="451"/>
                  </a:lnTo>
                  <a:lnTo>
                    <a:pt x="386" y="451"/>
                  </a:lnTo>
                  <a:lnTo>
                    <a:pt x="389" y="451"/>
                  </a:lnTo>
                  <a:lnTo>
                    <a:pt x="389" y="453"/>
                  </a:lnTo>
                  <a:lnTo>
                    <a:pt x="391" y="453"/>
                  </a:lnTo>
                  <a:lnTo>
                    <a:pt x="389" y="453"/>
                  </a:lnTo>
                  <a:lnTo>
                    <a:pt x="389" y="456"/>
                  </a:lnTo>
                  <a:lnTo>
                    <a:pt x="386" y="456"/>
                  </a:lnTo>
                  <a:lnTo>
                    <a:pt x="389" y="456"/>
                  </a:lnTo>
                  <a:lnTo>
                    <a:pt x="386" y="456"/>
                  </a:lnTo>
                  <a:lnTo>
                    <a:pt x="386" y="458"/>
                  </a:lnTo>
                  <a:lnTo>
                    <a:pt x="384" y="458"/>
                  </a:lnTo>
                  <a:lnTo>
                    <a:pt x="384" y="461"/>
                  </a:lnTo>
                  <a:lnTo>
                    <a:pt x="382" y="461"/>
                  </a:lnTo>
                  <a:lnTo>
                    <a:pt x="384" y="461"/>
                  </a:lnTo>
                  <a:lnTo>
                    <a:pt x="384" y="458"/>
                  </a:lnTo>
                  <a:lnTo>
                    <a:pt x="386" y="458"/>
                  </a:lnTo>
                  <a:lnTo>
                    <a:pt x="389" y="458"/>
                  </a:lnTo>
                  <a:lnTo>
                    <a:pt x="389" y="456"/>
                  </a:lnTo>
                  <a:lnTo>
                    <a:pt x="391" y="456"/>
                  </a:lnTo>
                  <a:lnTo>
                    <a:pt x="391" y="453"/>
                  </a:lnTo>
                  <a:lnTo>
                    <a:pt x="391" y="456"/>
                  </a:lnTo>
                  <a:lnTo>
                    <a:pt x="393" y="456"/>
                  </a:lnTo>
                  <a:lnTo>
                    <a:pt x="393" y="453"/>
                  </a:lnTo>
                  <a:lnTo>
                    <a:pt x="391" y="453"/>
                  </a:lnTo>
                  <a:lnTo>
                    <a:pt x="393" y="453"/>
                  </a:lnTo>
                  <a:lnTo>
                    <a:pt x="391" y="453"/>
                  </a:lnTo>
                  <a:lnTo>
                    <a:pt x="393" y="453"/>
                  </a:lnTo>
                  <a:lnTo>
                    <a:pt x="396" y="453"/>
                  </a:lnTo>
                  <a:lnTo>
                    <a:pt x="393" y="453"/>
                  </a:lnTo>
                  <a:lnTo>
                    <a:pt x="396" y="453"/>
                  </a:lnTo>
                  <a:lnTo>
                    <a:pt x="398" y="453"/>
                  </a:lnTo>
                  <a:lnTo>
                    <a:pt x="401" y="453"/>
                  </a:lnTo>
                  <a:lnTo>
                    <a:pt x="401" y="456"/>
                  </a:lnTo>
                  <a:lnTo>
                    <a:pt x="403" y="456"/>
                  </a:lnTo>
                  <a:lnTo>
                    <a:pt x="401" y="453"/>
                  </a:lnTo>
                  <a:lnTo>
                    <a:pt x="398" y="451"/>
                  </a:lnTo>
                  <a:lnTo>
                    <a:pt x="398" y="449"/>
                  </a:lnTo>
                  <a:lnTo>
                    <a:pt x="398" y="446"/>
                  </a:lnTo>
                  <a:lnTo>
                    <a:pt x="401" y="446"/>
                  </a:lnTo>
                  <a:lnTo>
                    <a:pt x="401" y="444"/>
                  </a:lnTo>
                  <a:lnTo>
                    <a:pt x="403" y="444"/>
                  </a:lnTo>
                  <a:lnTo>
                    <a:pt x="403" y="446"/>
                  </a:lnTo>
                  <a:lnTo>
                    <a:pt x="405" y="446"/>
                  </a:lnTo>
                  <a:lnTo>
                    <a:pt x="408" y="446"/>
                  </a:lnTo>
                  <a:lnTo>
                    <a:pt x="408" y="449"/>
                  </a:lnTo>
                  <a:lnTo>
                    <a:pt x="410" y="449"/>
                  </a:lnTo>
                  <a:lnTo>
                    <a:pt x="412" y="449"/>
                  </a:lnTo>
                  <a:lnTo>
                    <a:pt x="410" y="449"/>
                  </a:lnTo>
                  <a:lnTo>
                    <a:pt x="410" y="446"/>
                  </a:lnTo>
                  <a:lnTo>
                    <a:pt x="410" y="444"/>
                  </a:lnTo>
                  <a:lnTo>
                    <a:pt x="408" y="444"/>
                  </a:lnTo>
                  <a:lnTo>
                    <a:pt x="408" y="442"/>
                  </a:lnTo>
                  <a:lnTo>
                    <a:pt x="405" y="442"/>
                  </a:lnTo>
                  <a:lnTo>
                    <a:pt x="405" y="439"/>
                  </a:lnTo>
                  <a:lnTo>
                    <a:pt x="405" y="437"/>
                  </a:lnTo>
                  <a:lnTo>
                    <a:pt x="408" y="437"/>
                  </a:lnTo>
                  <a:lnTo>
                    <a:pt x="405" y="437"/>
                  </a:lnTo>
                  <a:lnTo>
                    <a:pt x="408" y="437"/>
                  </a:lnTo>
                  <a:lnTo>
                    <a:pt x="408" y="439"/>
                  </a:lnTo>
                  <a:lnTo>
                    <a:pt x="410" y="439"/>
                  </a:lnTo>
                  <a:lnTo>
                    <a:pt x="410" y="437"/>
                  </a:lnTo>
                  <a:lnTo>
                    <a:pt x="410" y="439"/>
                  </a:lnTo>
                  <a:lnTo>
                    <a:pt x="410" y="437"/>
                  </a:lnTo>
                  <a:lnTo>
                    <a:pt x="412" y="439"/>
                  </a:lnTo>
                  <a:lnTo>
                    <a:pt x="415" y="439"/>
                  </a:lnTo>
                  <a:lnTo>
                    <a:pt x="415" y="442"/>
                  </a:lnTo>
                  <a:lnTo>
                    <a:pt x="417" y="442"/>
                  </a:lnTo>
                  <a:lnTo>
                    <a:pt x="420" y="442"/>
                  </a:lnTo>
                  <a:lnTo>
                    <a:pt x="417" y="442"/>
                  </a:lnTo>
                  <a:lnTo>
                    <a:pt x="420" y="442"/>
                  </a:lnTo>
                  <a:lnTo>
                    <a:pt x="422" y="442"/>
                  </a:lnTo>
                  <a:lnTo>
                    <a:pt x="420" y="442"/>
                  </a:lnTo>
                  <a:lnTo>
                    <a:pt x="422" y="442"/>
                  </a:lnTo>
                  <a:lnTo>
                    <a:pt x="422" y="444"/>
                  </a:lnTo>
                  <a:lnTo>
                    <a:pt x="424" y="444"/>
                  </a:lnTo>
                  <a:lnTo>
                    <a:pt x="424" y="446"/>
                  </a:lnTo>
                  <a:lnTo>
                    <a:pt x="427" y="446"/>
                  </a:lnTo>
                  <a:lnTo>
                    <a:pt x="429" y="446"/>
                  </a:lnTo>
                  <a:lnTo>
                    <a:pt x="429" y="449"/>
                  </a:lnTo>
                  <a:lnTo>
                    <a:pt x="429" y="446"/>
                  </a:lnTo>
                  <a:lnTo>
                    <a:pt x="429" y="449"/>
                  </a:lnTo>
                  <a:lnTo>
                    <a:pt x="431" y="449"/>
                  </a:lnTo>
                  <a:lnTo>
                    <a:pt x="431" y="446"/>
                  </a:lnTo>
                  <a:lnTo>
                    <a:pt x="434" y="446"/>
                  </a:lnTo>
                  <a:lnTo>
                    <a:pt x="434" y="449"/>
                  </a:lnTo>
                  <a:lnTo>
                    <a:pt x="436" y="449"/>
                  </a:lnTo>
                  <a:lnTo>
                    <a:pt x="439" y="449"/>
                  </a:lnTo>
                  <a:lnTo>
                    <a:pt x="441" y="449"/>
                  </a:lnTo>
                  <a:lnTo>
                    <a:pt x="443" y="449"/>
                  </a:lnTo>
                  <a:lnTo>
                    <a:pt x="443" y="451"/>
                  </a:lnTo>
                  <a:lnTo>
                    <a:pt x="443" y="449"/>
                  </a:lnTo>
                  <a:lnTo>
                    <a:pt x="446" y="451"/>
                  </a:lnTo>
                  <a:lnTo>
                    <a:pt x="443" y="451"/>
                  </a:lnTo>
                  <a:lnTo>
                    <a:pt x="446" y="451"/>
                  </a:lnTo>
                  <a:lnTo>
                    <a:pt x="443" y="451"/>
                  </a:lnTo>
                  <a:lnTo>
                    <a:pt x="446" y="453"/>
                  </a:lnTo>
                  <a:lnTo>
                    <a:pt x="443" y="453"/>
                  </a:lnTo>
                  <a:lnTo>
                    <a:pt x="446" y="453"/>
                  </a:lnTo>
                  <a:lnTo>
                    <a:pt x="443" y="453"/>
                  </a:lnTo>
                  <a:lnTo>
                    <a:pt x="443" y="456"/>
                  </a:lnTo>
                  <a:lnTo>
                    <a:pt x="446" y="456"/>
                  </a:lnTo>
                  <a:lnTo>
                    <a:pt x="443" y="456"/>
                  </a:lnTo>
                  <a:lnTo>
                    <a:pt x="441" y="456"/>
                  </a:lnTo>
                  <a:lnTo>
                    <a:pt x="441" y="458"/>
                  </a:lnTo>
                  <a:lnTo>
                    <a:pt x="439" y="458"/>
                  </a:lnTo>
                  <a:lnTo>
                    <a:pt x="439" y="461"/>
                  </a:lnTo>
                  <a:lnTo>
                    <a:pt x="436" y="461"/>
                  </a:lnTo>
                  <a:lnTo>
                    <a:pt x="434" y="461"/>
                  </a:lnTo>
                  <a:lnTo>
                    <a:pt x="434" y="458"/>
                  </a:lnTo>
                  <a:lnTo>
                    <a:pt x="431" y="458"/>
                  </a:lnTo>
                  <a:lnTo>
                    <a:pt x="429" y="458"/>
                  </a:lnTo>
                  <a:lnTo>
                    <a:pt x="427" y="458"/>
                  </a:lnTo>
                  <a:lnTo>
                    <a:pt x="424" y="458"/>
                  </a:lnTo>
                  <a:lnTo>
                    <a:pt x="424" y="456"/>
                  </a:lnTo>
                  <a:lnTo>
                    <a:pt x="422" y="456"/>
                  </a:lnTo>
                  <a:lnTo>
                    <a:pt x="422" y="458"/>
                  </a:lnTo>
                  <a:lnTo>
                    <a:pt x="420" y="456"/>
                  </a:lnTo>
                  <a:lnTo>
                    <a:pt x="417" y="456"/>
                  </a:lnTo>
                  <a:lnTo>
                    <a:pt x="415" y="456"/>
                  </a:lnTo>
                  <a:lnTo>
                    <a:pt x="412" y="456"/>
                  </a:lnTo>
                  <a:lnTo>
                    <a:pt x="412" y="453"/>
                  </a:lnTo>
                  <a:lnTo>
                    <a:pt x="415" y="453"/>
                  </a:lnTo>
                  <a:lnTo>
                    <a:pt x="415" y="451"/>
                  </a:lnTo>
                  <a:lnTo>
                    <a:pt x="412" y="451"/>
                  </a:lnTo>
                  <a:lnTo>
                    <a:pt x="412" y="449"/>
                  </a:lnTo>
                  <a:lnTo>
                    <a:pt x="412" y="451"/>
                  </a:lnTo>
                  <a:lnTo>
                    <a:pt x="410" y="451"/>
                  </a:lnTo>
                  <a:lnTo>
                    <a:pt x="412" y="451"/>
                  </a:lnTo>
                  <a:lnTo>
                    <a:pt x="412" y="453"/>
                  </a:lnTo>
                  <a:lnTo>
                    <a:pt x="412" y="456"/>
                  </a:lnTo>
                  <a:lnTo>
                    <a:pt x="410" y="456"/>
                  </a:lnTo>
                  <a:lnTo>
                    <a:pt x="408" y="456"/>
                  </a:lnTo>
                  <a:lnTo>
                    <a:pt x="408" y="458"/>
                  </a:lnTo>
                  <a:lnTo>
                    <a:pt x="410" y="458"/>
                  </a:lnTo>
                  <a:lnTo>
                    <a:pt x="410" y="461"/>
                  </a:lnTo>
                  <a:lnTo>
                    <a:pt x="408" y="461"/>
                  </a:lnTo>
                  <a:lnTo>
                    <a:pt x="410" y="461"/>
                  </a:lnTo>
                  <a:lnTo>
                    <a:pt x="412" y="458"/>
                  </a:lnTo>
                  <a:lnTo>
                    <a:pt x="412" y="461"/>
                  </a:lnTo>
                  <a:lnTo>
                    <a:pt x="412" y="458"/>
                  </a:lnTo>
                  <a:lnTo>
                    <a:pt x="415" y="458"/>
                  </a:lnTo>
                  <a:lnTo>
                    <a:pt x="417" y="461"/>
                  </a:lnTo>
                  <a:lnTo>
                    <a:pt x="420" y="461"/>
                  </a:lnTo>
                  <a:lnTo>
                    <a:pt x="422" y="461"/>
                  </a:lnTo>
                  <a:lnTo>
                    <a:pt x="422" y="463"/>
                  </a:lnTo>
                  <a:lnTo>
                    <a:pt x="424" y="463"/>
                  </a:lnTo>
                  <a:lnTo>
                    <a:pt x="424" y="465"/>
                  </a:lnTo>
                  <a:close/>
                  <a:moveTo>
                    <a:pt x="522" y="765"/>
                  </a:moveTo>
                  <a:lnTo>
                    <a:pt x="519" y="765"/>
                  </a:lnTo>
                  <a:lnTo>
                    <a:pt x="522" y="762"/>
                  </a:lnTo>
                  <a:lnTo>
                    <a:pt x="522" y="765"/>
                  </a:lnTo>
                  <a:lnTo>
                    <a:pt x="519" y="765"/>
                  </a:lnTo>
                  <a:lnTo>
                    <a:pt x="522" y="765"/>
                  </a:lnTo>
                  <a:close/>
                  <a:moveTo>
                    <a:pt x="1250" y="781"/>
                  </a:moveTo>
                  <a:lnTo>
                    <a:pt x="1252" y="781"/>
                  </a:lnTo>
                  <a:lnTo>
                    <a:pt x="1250" y="781"/>
                  </a:lnTo>
                  <a:close/>
                  <a:moveTo>
                    <a:pt x="1300" y="686"/>
                  </a:moveTo>
                  <a:lnTo>
                    <a:pt x="1302" y="686"/>
                  </a:lnTo>
                  <a:lnTo>
                    <a:pt x="1302" y="684"/>
                  </a:lnTo>
                  <a:lnTo>
                    <a:pt x="1302" y="686"/>
                  </a:lnTo>
                  <a:lnTo>
                    <a:pt x="1300" y="686"/>
                  </a:lnTo>
                  <a:lnTo>
                    <a:pt x="1300" y="684"/>
                  </a:lnTo>
                  <a:lnTo>
                    <a:pt x="1300" y="686"/>
                  </a:lnTo>
                  <a:lnTo>
                    <a:pt x="1300" y="689"/>
                  </a:lnTo>
                  <a:lnTo>
                    <a:pt x="1297" y="689"/>
                  </a:lnTo>
                  <a:lnTo>
                    <a:pt x="1300" y="689"/>
                  </a:lnTo>
                  <a:lnTo>
                    <a:pt x="1300" y="686"/>
                  </a:lnTo>
                  <a:close/>
                  <a:moveTo>
                    <a:pt x="1300" y="684"/>
                  </a:moveTo>
                  <a:lnTo>
                    <a:pt x="1302" y="684"/>
                  </a:lnTo>
                  <a:lnTo>
                    <a:pt x="1300" y="684"/>
                  </a:lnTo>
                  <a:close/>
                  <a:moveTo>
                    <a:pt x="1452" y="608"/>
                  </a:moveTo>
                  <a:lnTo>
                    <a:pt x="1449" y="608"/>
                  </a:lnTo>
                  <a:lnTo>
                    <a:pt x="1452" y="608"/>
                  </a:lnTo>
                  <a:close/>
                  <a:moveTo>
                    <a:pt x="1089" y="582"/>
                  </a:moveTo>
                  <a:lnTo>
                    <a:pt x="1089" y="579"/>
                  </a:lnTo>
                  <a:lnTo>
                    <a:pt x="1089" y="582"/>
                  </a:lnTo>
                  <a:lnTo>
                    <a:pt x="1089" y="579"/>
                  </a:lnTo>
                  <a:lnTo>
                    <a:pt x="1089" y="582"/>
                  </a:lnTo>
                  <a:close/>
                  <a:moveTo>
                    <a:pt x="1316" y="534"/>
                  </a:moveTo>
                  <a:lnTo>
                    <a:pt x="1314" y="534"/>
                  </a:lnTo>
                  <a:lnTo>
                    <a:pt x="1316" y="534"/>
                  </a:lnTo>
                  <a:close/>
                  <a:moveTo>
                    <a:pt x="1214" y="541"/>
                  </a:moveTo>
                  <a:lnTo>
                    <a:pt x="1214" y="544"/>
                  </a:lnTo>
                  <a:lnTo>
                    <a:pt x="1214" y="541"/>
                  </a:lnTo>
                  <a:close/>
                  <a:moveTo>
                    <a:pt x="773" y="838"/>
                  </a:moveTo>
                  <a:lnTo>
                    <a:pt x="775" y="838"/>
                  </a:lnTo>
                  <a:lnTo>
                    <a:pt x="773" y="836"/>
                  </a:lnTo>
                  <a:lnTo>
                    <a:pt x="773" y="838"/>
                  </a:lnTo>
                  <a:lnTo>
                    <a:pt x="775" y="838"/>
                  </a:lnTo>
                  <a:lnTo>
                    <a:pt x="773" y="838"/>
                  </a:lnTo>
                  <a:close/>
                  <a:moveTo>
                    <a:pt x="773" y="836"/>
                  </a:moveTo>
                  <a:lnTo>
                    <a:pt x="771" y="836"/>
                  </a:lnTo>
                  <a:lnTo>
                    <a:pt x="771" y="834"/>
                  </a:lnTo>
                  <a:lnTo>
                    <a:pt x="771" y="836"/>
                  </a:lnTo>
                  <a:lnTo>
                    <a:pt x="773" y="836"/>
                  </a:lnTo>
                  <a:close/>
                  <a:moveTo>
                    <a:pt x="771" y="836"/>
                  </a:moveTo>
                  <a:lnTo>
                    <a:pt x="773" y="836"/>
                  </a:lnTo>
                  <a:lnTo>
                    <a:pt x="771" y="836"/>
                  </a:lnTo>
                  <a:close/>
                  <a:moveTo>
                    <a:pt x="771" y="834"/>
                  </a:moveTo>
                  <a:lnTo>
                    <a:pt x="771" y="831"/>
                  </a:lnTo>
                  <a:lnTo>
                    <a:pt x="771" y="834"/>
                  </a:lnTo>
                  <a:close/>
                  <a:moveTo>
                    <a:pt x="771" y="831"/>
                  </a:moveTo>
                  <a:lnTo>
                    <a:pt x="768" y="831"/>
                  </a:lnTo>
                  <a:lnTo>
                    <a:pt x="771" y="831"/>
                  </a:lnTo>
                  <a:lnTo>
                    <a:pt x="768" y="831"/>
                  </a:lnTo>
                  <a:lnTo>
                    <a:pt x="771" y="831"/>
                  </a:lnTo>
                  <a:lnTo>
                    <a:pt x="771" y="834"/>
                  </a:lnTo>
                  <a:lnTo>
                    <a:pt x="771" y="831"/>
                  </a:lnTo>
                  <a:close/>
                  <a:moveTo>
                    <a:pt x="1259" y="734"/>
                  </a:moveTo>
                  <a:lnTo>
                    <a:pt x="1259" y="731"/>
                  </a:lnTo>
                  <a:lnTo>
                    <a:pt x="1259" y="734"/>
                  </a:lnTo>
                  <a:close/>
                  <a:moveTo>
                    <a:pt x="1229" y="667"/>
                  </a:moveTo>
                  <a:lnTo>
                    <a:pt x="1229" y="670"/>
                  </a:lnTo>
                  <a:lnTo>
                    <a:pt x="1229" y="667"/>
                  </a:lnTo>
                  <a:close/>
                  <a:moveTo>
                    <a:pt x="1112" y="708"/>
                  </a:moveTo>
                  <a:lnTo>
                    <a:pt x="1115" y="708"/>
                  </a:lnTo>
                  <a:lnTo>
                    <a:pt x="1112" y="708"/>
                  </a:lnTo>
                  <a:close/>
                  <a:moveTo>
                    <a:pt x="1034" y="696"/>
                  </a:moveTo>
                  <a:lnTo>
                    <a:pt x="1036" y="696"/>
                  </a:lnTo>
                  <a:lnTo>
                    <a:pt x="1034" y="696"/>
                  </a:lnTo>
                  <a:close/>
                  <a:moveTo>
                    <a:pt x="1084" y="655"/>
                  </a:moveTo>
                  <a:lnTo>
                    <a:pt x="1082" y="655"/>
                  </a:lnTo>
                  <a:lnTo>
                    <a:pt x="1084" y="655"/>
                  </a:lnTo>
                  <a:close/>
                  <a:moveTo>
                    <a:pt x="1063" y="594"/>
                  </a:moveTo>
                  <a:lnTo>
                    <a:pt x="1063" y="596"/>
                  </a:lnTo>
                  <a:lnTo>
                    <a:pt x="1063" y="594"/>
                  </a:lnTo>
                  <a:lnTo>
                    <a:pt x="1063" y="596"/>
                  </a:lnTo>
                  <a:lnTo>
                    <a:pt x="1063" y="594"/>
                  </a:lnTo>
                  <a:close/>
                  <a:moveTo>
                    <a:pt x="1093" y="563"/>
                  </a:moveTo>
                  <a:lnTo>
                    <a:pt x="1096" y="563"/>
                  </a:lnTo>
                  <a:lnTo>
                    <a:pt x="1093" y="563"/>
                  </a:lnTo>
                  <a:close/>
                  <a:moveTo>
                    <a:pt x="1122" y="527"/>
                  </a:moveTo>
                  <a:lnTo>
                    <a:pt x="1122" y="529"/>
                  </a:lnTo>
                  <a:lnTo>
                    <a:pt x="1122" y="527"/>
                  </a:lnTo>
                  <a:lnTo>
                    <a:pt x="1122" y="529"/>
                  </a:lnTo>
                  <a:lnTo>
                    <a:pt x="1122" y="527"/>
                  </a:lnTo>
                  <a:lnTo>
                    <a:pt x="1122" y="529"/>
                  </a:lnTo>
                  <a:lnTo>
                    <a:pt x="1122" y="527"/>
                  </a:lnTo>
                  <a:lnTo>
                    <a:pt x="1124" y="527"/>
                  </a:lnTo>
                  <a:lnTo>
                    <a:pt x="1122" y="527"/>
                  </a:lnTo>
                  <a:close/>
                  <a:moveTo>
                    <a:pt x="821" y="615"/>
                  </a:moveTo>
                  <a:lnTo>
                    <a:pt x="823" y="615"/>
                  </a:lnTo>
                  <a:lnTo>
                    <a:pt x="821" y="615"/>
                  </a:lnTo>
                  <a:close/>
                  <a:moveTo>
                    <a:pt x="759" y="843"/>
                  </a:moveTo>
                  <a:lnTo>
                    <a:pt x="756" y="843"/>
                  </a:lnTo>
                  <a:lnTo>
                    <a:pt x="759" y="843"/>
                  </a:lnTo>
                  <a:lnTo>
                    <a:pt x="756" y="843"/>
                  </a:lnTo>
                  <a:lnTo>
                    <a:pt x="759" y="843"/>
                  </a:lnTo>
                  <a:close/>
                  <a:moveTo>
                    <a:pt x="726" y="810"/>
                  </a:moveTo>
                  <a:lnTo>
                    <a:pt x="728" y="810"/>
                  </a:lnTo>
                  <a:lnTo>
                    <a:pt x="728" y="807"/>
                  </a:lnTo>
                  <a:lnTo>
                    <a:pt x="728" y="810"/>
                  </a:lnTo>
                  <a:lnTo>
                    <a:pt x="726" y="810"/>
                  </a:lnTo>
                  <a:lnTo>
                    <a:pt x="728" y="810"/>
                  </a:lnTo>
                  <a:lnTo>
                    <a:pt x="726" y="810"/>
                  </a:lnTo>
                  <a:close/>
                  <a:moveTo>
                    <a:pt x="1169" y="389"/>
                  </a:moveTo>
                  <a:lnTo>
                    <a:pt x="1167" y="389"/>
                  </a:lnTo>
                  <a:lnTo>
                    <a:pt x="1169" y="389"/>
                  </a:lnTo>
                  <a:lnTo>
                    <a:pt x="1167" y="389"/>
                  </a:lnTo>
                  <a:lnTo>
                    <a:pt x="1169" y="389"/>
                  </a:lnTo>
                  <a:close/>
                  <a:moveTo>
                    <a:pt x="1108" y="354"/>
                  </a:moveTo>
                  <a:lnTo>
                    <a:pt x="1110" y="354"/>
                  </a:lnTo>
                  <a:lnTo>
                    <a:pt x="1108" y="354"/>
                  </a:lnTo>
                  <a:lnTo>
                    <a:pt x="1110" y="354"/>
                  </a:lnTo>
                  <a:lnTo>
                    <a:pt x="1108" y="354"/>
                  </a:lnTo>
                  <a:lnTo>
                    <a:pt x="1110" y="354"/>
                  </a:lnTo>
                  <a:lnTo>
                    <a:pt x="1110" y="356"/>
                  </a:lnTo>
                  <a:lnTo>
                    <a:pt x="1112" y="356"/>
                  </a:lnTo>
                  <a:lnTo>
                    <a:pt x="1112" y="358"/>
                  </a:lnTo>
                  <a:lnTo>
                    <a:pt x="1115" y="358"/>
                  </a:lnTo>
                  <a:lnTo>
                    <a:pt x="1112" y="358"/>
                  </a:lnTo>
                  <a:lnTo>
                    <a:pt x="1115" y="358"/>
                  </a:lnTo>
                  <a:lnTo>
                    <a:pt x="1112" y="358"/>
                  </a:lnTo>
                  <a:lnTo>
                    <a:pt x="1112" y="356"/>
                  </a:lnTo>
                  <a:lnTo>
                    <a:pt x="1110" y="356"/>
                  </a:lnTo>
                  <a:lnTo>
                    <a:pt x="1110" y="358"/>
                  </a:lnTo>
                  <a:lnTo>
                    <a:pt x="1110" y="356"/>
                  </a:lnTo>
                  <a:lnTo>
                    <a:pt x="1108" y="356"/>
                  </a:lnTo>
                  <a:lnTo>
                    <a:pt x="1110" y="356"/>
                  </a:lnTo>
                  <a:lnTo>
                    <a:pt x="1108" y="354"/>
                  </a:lnTo>
                  <a:lnTo>
                    <a:pt x="1105" y="354"/>
                  </a:lnTo>
                  <a:lnTo>
                    <a:pt x="1108" y="354"/>
                  </a:lnTo>
                  <a:close/>
                  <a:moveTo>
                    <a:pt x="1108" y="347"/>
                  </a:moveTo>
                  <a:lnTo>
                    <a:pt x="1108" y="349"/>
                  </a:lnTo>
                  <a:lnTo>
                    <a:pt x="1110" y="349"/>
                  </a:lnTo>
                  <a:lnTo>
                    <a:pt x="1108" y="349"/>
                  </a:lnTo>
                  <a:lnTo>
                    <a:pt x="1110" y="349"/>
                  </a:lnTo>
                  <a:lnTo>
                    <a:pt x="1108" y="349"/>
                  </a:lnTo>
                  <a:lnTo>
                    <a:pt x="1108" y="347"/>
                  </a:lnTo>
                  <a:close/>
                  <a:moveTo>
                    <a:pt x="1195" y="266"/>
                  </a:moveTo>
                  <a:lnTo>
                    <a:pt x="1193" y="266"/>
                  </a:lnTo>
                  <a:lnTo>
                    <a:pt x="1195" y="266"/>
                  </a:lnTo>
                  <a:lnTo>
                    <a:pt x="1193" y="266"/>
                  </a:lnTo>
                  <a:lnTo>
                    <a:pt x="1193" y="268"/>
                  </a:lnTo>
                  <a:lnTo>
                    <a:pt x="1191" y="268"/>
                  </a:lnTo>
                  <a:lnTo>
                    <a:pt x="1188" y="268"/>
                  </a:lnTo>
                  <a:lnTo>
                    <a:pt x="1188" y="266"/>
                  </a:lnTo>
                  <a:lnTo>
                    <a:pt x="1186" y="266"/>
                  </a:lnTo>
                  <a:lnTo>
                    <a:pt x="1184" y="266"/>
                  </a:lnTo>
                  <a:lnTo>
                    <a:pt x="1186" y="266"/>
                  </a:lnTo>
                  <a:lnTo>
                    <a:pt x="1184" y="266"/>
                  </a:lnTo>
                  <a:lnTo>
                    <a:pt x="1181" y="268"/>
                  </a:lnTo>
                  <a:lnTo>
                    <a:pt x="1184" y="268"/>
                  </a:lnTo>
                  <a:lnTo>
                    <a:pt x="1181" y="268"/>
                  </a:lnTo>
                  <a:lnTo>
                    <a:pt x="1184" y="268"/>
                  </a:lnTo>
                  <a:lnTo>
                    <a:pt x="1186" y="268"/>
                  </a:lnTo>
                  <a:lnTo>
                    <a:pt x="1188" y="268"/>
                  </a:lnTo>
                  <a:lnTo>
                    <a:pt x="1186" y="268"/>
                  </a:lnTo>
                  <a:lnTo>
                    <a:pt x="1188" y="268"/>
                  </a:lnTo>
                  <a:lnTo>
                    <a:pt x="1191" y="268"/>
                  </a:lnTo>
                  <a:lnTo>
                    <a:pt x="1193" y="268"/>
                  </a:lnTo>
                  <a:lnTo>
                    <a:pt x="1195" y="268"/>
                  </a:lnTo>
                  <a:lnTo>
                    <a:pt x="1195" y="271"/>
                  </a:lnTo>
                  <a:lnTo>
                    <a:pt x="1198" y="273"/>
                  </a:lnTo>
                  <a:lnTo>
                    <a:pt x="1198" y="275"/>
                  </a:lnTo>
                  <a:lnTo>
                    <a:pt x="1195" y="275"/>
                  </a:lnTo>
                  <a:lnTo>
                    <a:pt x="1193" y="275"/>
                  </a:lnTo>
                  <a:lnTo>
                    <a:pt x="1193" y="273"/>
                  </a:lnTo>
                  <a:lnTo>
                    <a:pt x="1191" y="275"/>
                  </a:lnTo>
                  <a:lnTo>
                    <a:pt x="1191" y="273"/>
                  </a:lnTo>
                  <a:lnTo>
                    <a:pt x="1188" y="273"/>
                  </a:lnTo>
                  <a:lnTo>
                    <a:pt x="1188" y="275"/>
                  </a:lnTo>
                  <a:lnTo>
                    <a:pt x="1191" y="275"/>
                  </a:lnTo>
                  <a:lnTo>
                    <a:pt x="1191" y="278"/>
                  </a:lnTo>
                  <a:lnTo>
                    <a:pt x="1188" y="278"/>
                  </a:lnTo>
                  <a:lnTo>
                    <a:pt x="1188" y="280"/>
                  </a:lnTo>
                  <a:lnTo>
                    <a:pt x="1186" y="280"/>
                  </a:lnTo>
                  <a:lnTo>
                    <a:pt x="1186" y="282"/>
                  </a:lnTo>
                  <a:lnTo>
                    <a:pt x="1186" y="280"/>
                  </a:lnTo>
                  <a:lnTo>
                    <a:pt x="1186" y="282"/>
                  </a:lnTo>
                  <a:lnTo>
                    <a:pt x="1184" y="282"/>
                  </a:lnTo>
                  <a:lnTo>
                    <a:pt x="1184" y="280"/>
                  </a:lnTo>
                  <a:lnTo>
                    <a:pt x="1181" y="280"/>
                  </a:lnTo>
                  <a:lnTo>
                    <a:pt x="1179" y="280"/>
                  </a:lnTo>
                  <a:lnTo>
                    <a:pt x="1176" y="280"/>
                  </a:lnTo>
                  <a:lnTo>
                    <a:pt x="1176" y="278"/>
                  </a:lnTo>
                  <a:lnTo>
                    <a:pt x="1174" y="278"/>
                  </a:lnTo>
                  <a:lnTo>
                    <a:pt x="1176" y="278"/>
                  </a:lnTo>
                  <a:lnTo>
                    <a:pt x="1176" y="280"/>
                  </a:lnTo>
                  <a:lnTo>
                    <a:pt x="1179" y="280"/>
                  </a:lnTo>
                  <a:lnTo>
                    <a:pt x="1181" y="280"/>
                  </a:lnTo>
                  <a:lnTo>
                    <a:pt x="1184" y="280"/>
                  </a:lnTo>
                  <a:lnTo>
                    <a:pt x="1184" y="282"/>
                  </a:lnTo>
                  <a:lnTo>
                    <a:pt x="1181" y="282"/>
                  </a:lnTo>
                  <a:lnTo>
                    <a:pt x="1184" y="282"/>
                  </a:lnTo>
                  <a:lnTo>
                    <a:pt x="1186" y="282"/>
                  </a:lnTo>
                  <a:lnTo>
                    <a:pt x="1186" y="285"/>
                  </a:lnTo>
                  <a:lnTo>
                    <a:pt x="1186" y="287"/>
                  </a:lnTo>
                  <a:lnTo>
                    <a:pt x="1184" y="287"/>
                  </a:lnTo>
                  <a:lnTo>
                    <a:pt x="1181" y="287"/>
                  </a:lnTo>
                  <a:lnTo>
                    <a:pt x="1179" y="287"/>
                  </a:lnTo>
                  <a:lnTo>
                    <a:pt x="1176" y="287"/>
                  </a:lnTo>
                  <a:lnTo>
                    <a:pt x="1174" y="287"/>
                  </a:lnTo>
                  <a:lnTo>
                    <a:pt x="1172" y="287"/>
                  </a:lnTo>
                  <a:lnTo>
                    <a:pt x="1169" y="287"/>
                  </a:lnTo>
                  <a:lnTo>
                    <a:pt x="1167" y="287"/>
                  </a:lnTo>
                  <a:lnTo>
                    <a:pt x="1165" y="287"/>
                  </a:lnTo>
                  <a:lnTo>
                    <a:pt x="1167" y="287"/>
                  </a:lnTo>
                  <a:lnTo>
                    <a:pt x="1169" y="287"/>
                  </a:lnTo>
                  <a:lnTo>
                    <a:pt x="1172" y="287"/>
                  </a:lnTo>
                  <a:lnTo>
                    <a:pt x="1174" y="287"/>
                  </a:lnTo>
                  <a:lnTo>
                    <a:pt x="1176" y="287"/>
                  </a:lnTo>
                  <a:lnTo>
                    <a:pt x="1179" y="287"/>
                  </a:lnTo>
                  <a:lnTo>
                    <a:pt x="1181" y="287"/>
                  </a:lnTo>
                  <a:lnTo>
                    <a:pt x="1181" y="290"/>
                  </a:lnTo>
                  <a:lnTo>
                    <a:pt x="1181" y="287"/>
                  </a:lnTo>
                  <a:lnTo>
                    <a:pt x="1184" y="287"/>
                  </a:lnTo>
                  <a:lnTo>
                    <a:pt x="1184" y="290"/>
                  </a:lnTo>
                  <a:lnTo>
                    <a:pt x="1184" y="292"/>
                  </a:lnTo>
                  <a:lnTo>
                    <a:pt x="1181" y="292"/>
                  </a:lnTo>
                  <a:lnTo>
                    <a:pt x="1181" y="294"/>
                  </a:lnTo>
                  <a:lnTo>
                    <a:pt x="1184" y="294"/>
                  </a:lnTo>
                  <a:lnTo>
                    <a:pt x="1181" y="294"/>
                  </a:lnTo>
                  <a:lnTo>
                    <a:pt x="1181" y="297"/>
                  </a:lnTo>
                  <a:lnTo>
                    <a:pt x="1179" y="297"/>
                  </a:lnTo>
                  <a:lnTo>
                    <a:pt x="1181" y="297"/>
                  </a:lnTo>
                  <a:lnTo>
                    <a:pt x="1179" y="297"/>
                  </a:lnTo>
                  <a:lnTo>
                    <a:pt x="1179" y="299"/>
                  </a:lnTo>
                  <a:lnTo>
                    <a:pt x="1181" y="297"/>
                  </a:lnTo>
                  <a:lnTo>
                    <a:pt x="1184" y="299"/>
                  </a:lnTo>
                  <a:lnTo>
                    <a:pt x="1181" y="299"/>
                  </a:lnTo>
                  <a:lnTo>
                    <a:pt x="1184" y="299"/>
                  </a:lnTo>
                  <a:lnTo>
                    <a:pt x="1186" y="299"/>
                  </a:lnTo>
                  <a:lnTo>
                    <a:pt x="1184" y="299"/>
                  </a:lnTo>
                  <a:lnTo>
                    <a:pt x="1184" y="301"/>
                  </a:lnTo>
                  <a:lnTo>
                    <a:pt x="1186" y="301"/>
                  </a:lnTo>
                  <a:lnTo>
                    <a:pt x="1186" y="304"/>
                  </a:lnTo>
                  <a:lnTo>
                    <a:pt x="1184" y="304"/>
                  </a:lnTo>
                  <a:lnTo>
                    <a:pt x="1184" y="306"/>
                  </a:lnTo>
                  <a:lnTo>
                    <a:pt x="1181" y="306"/>
                  </a:lnTo>
                  <a:lnTo>
                    <a:pt x="1181" y="309"/>
                  </a:lnTo>
                  <a:lnTo>
                    <a:pt x="1181" y="311"/>
                  </a:lnTo>
                  <a:lnTo>
                    <a:pt x="1181" y="313"/>
                  </a:lnTo>
                  <a:lnTo>
                    <a:pt x="1179" y="313"/>
                  </a:lnTo>
                  <a:lnTo>
                    <a:pt x="1179" y="316"/>
                  </a:lnTo>
                  <a:lnTo>
                    <a:pt x="1181" y="316"/>
                  </a:lnTo>
                  <a:lnTo>
                    <a:pt x="1179" y="316"/>
                  </a:lnTo>
                  <a:lnTo>
                    <a:pt x="1179" y="318"/>
                  </a:lnTo>
                  <a:lnTo>
                    <a:pt x="1181" y="318"/>
                  </a:lnTo>
                  <a:lnTo>
                    <a:pt x="1181" y="316"/>
                  </a:lnTo>
                  <a:lnTo>
                    <a:pt x="1181" y="318"/>
                  </a:lnTo>
                  <a:lnTo>
                    <a:pt x="1179" y="318"/>
                  </a:lnTo>
                  <a:lnTo>
                    <a:pt x="1176" y="318"/>
                  </a:lnTo>
                  <a:lnTo>
                    <a:pt x="1174" y="318"/>
                  </a:lnTo>
                  <a:lnTo>
                    <a:pt x="1174" y="320"/>
                  </a:lnTo>
                  <a:lnTo>
                    <a:pt x="1172" y="320"/>
                  </a:lnTo>
                  <a:lnTo>
                    <a:pt x="1172" y="318"/>
                  </a:lnTo>
                  <a:lnTo>
                    <a:pt x="1169" y="318"/>
                  </a:lnTo>
                  <a:lnTo>
                    <a:pt x="1172" y="320"/>
                  </a:lnTo>
                  <a:lnTo>
                    <a:pt x="1174" y="320"/>
                  </a:lnTo>
                  <a:lnTo>
                    <a:pt x="1176" y="318"/>
                  </a:lnTo>
                  <a:lnTo>
                    <a:pt x="1179" y="318"/>
                  </a:lnTo>
                  <a:lnTo>
                    <a:pt x="1181" y="318"/>
                  </a:lnTo>
                  <a:lnTo>
                    <a:pt x="1181" y="320"/>
                  </a:lnTo>
                  <a:lnTo>
                    <a:pt x="1184" y="320"/>
                  </a:lnTo>
                  <a:lnTo>
                    <a:pt x="1181" y="320"/>
                  </a:lnTo>
                  <a:lnTo>
                    <a:pt x="1184" y="320"/>
                  </a:lnTo>
                  <a:lnTo>
                    <a:pt x="1184" y="323"/>
                  </a:lnTo>
                  <a:lnTo>
                    <a:pt x="1186" y="323"/>
                  </a:lnTo>
                  <a:lnTo>
                    <a:pt x="1184" y="323"/>
                  </a:lnTo>
                  <a:lnTo>
                    <a:pt x="1184" y="325"/>
                  </a:lnTo>
                  <a:lnTo>
                    <a:pt x="1184" y="328"/>
                  </a:lnTo>
                  <a:lnTo>
                    <a:pt x="1186" y="328"/>
                  </a:lnTo>
                  <a:lnTo>
                    <a:pt x="1186" y="330"/>
                  </a:lnTo>
                  <a:lnTo>
                    <a:pt x="1186" y="332"/>
                  </a:lnTo>
                  <a:lnTo>
                    <a:pt x="1188" y="332"/>
                  </a:lnTo>
                  <a:lnTo>
                    <a:pt x="1188" y="335"/>
                  </a:lnTo>
                  <a:lnTo>
                    <a:pt x="1186" y="335"/>
                  </a:lnTo>
                  <a:lnTo>
                    <a:pt x="1188" y="335"/>
                  </a:lnTo>
                  <a:lnTo>
                    <a:pt x="1188" y="337"/>
                  </a:lnTo>
                  <a:lnTo>
                    <a:pt x="1191" y="337"/>
                  </a:lnTo>
                  <a:lnTo>
                    <a:pt x="1188" y="337"/>
                  </a:lnTo>
                  <a:lnTo>
                    <a:pt x="1191" y="337"/>
                  </a:lnTo>
                  <a:lnTo>
                    <a:pt x="1191" y="339"/>
                  </a:lnTo>
                  <a:lnTo>
                    <a:pt x="1191" y="342"/>
                  </a:lnTo>
                  <a:lnTo>
                    <a:pt x="1191" y="339"/>
                  </a:lnTo>
                  <a:lnTo>
                    <a:pt x="1191" y="342"/>
                  </a:lnTo>
                  <a:lnTo>
                    <a:pt x="1193" y="342"/>
                  </a:lnTo>
                  <a:lnTo>
                    <a:pt x="1193" y="344"/>
                  </a:lnTo>
                  <a:lnTo>
                    <a:pt x="1195" y="344"/>
                  </a:lnTo>
                  <a:lnTo>
                    <a:pt x="1195" y="347"/>
                  </a:lnTo>
                  <a:lnTo>
                    <a:pt x="1195" y="349"/>
                  </a:lnTo>
                  <a:lnTo>
                    <a:pt x="1198" y="349"/>
                  </a:lnTo>
                  <a:lnTo>
                    <a:pt x="1198" y="351"/>
                  </a:lnTo>
                  <a:lnTo>
                    <a:pt x="1200" y="351"/>
                  </a:lnTo>
                  <a:lnTo>
                    <a:pt x="1200" y="354"/>
                  </a:lnTo>
                  <a:lnTo>
                    <a:pt x="1200" y="356"/>
                  </a:lnTo>
                  <a:lnTo>
                    <a:pt x="1203" y="356"/>
                  </a:lnTo>
                  <a:lnTo>
                    <a:pt x="1203" y="358"/>
                  </a:lnTo>
                  <a:lnTo>
                    <a:pt x="1205" y="361"/>
                  </a:lnTo>
                  <a:lnTo>
                    <a:pt x="1207" y="363"/>
                  </a:lnTo>
                  <a:lnTo>
                    <a:pt x="1210" y="366"/>
                  </a:lnTo>
                  <a:lnTo>
                    <a:pt x="1212" y="366"/>
                  </a:lnTo>
                  <a:lnTo>
                    <a:pt x="1212" y="368"/>
                  </a:lnTo>
                  <a:lnTo>
                    <a:pt x="1214" y="368"/>
                  </a:lnTo>
                  <a:lnTo>
                    <a:pt x="1217" y="370"/>
                  </a:lnTo>
                  <a:lnTo>
                    <a:pt x="1219" y="370"/>
                  </a:lnTo>
                  <a:lnTo>
                    <a:pt x="1219" y="373"/>
                  </a:lnTo>
                  <a:lnTo>
                    <a:pt x="1222" y="373"/>
                  </a:lnTo>
                  <a:lnTo>
                    <a:pt x="1222" y="375"/>
                  </a:lnTo>
                  <a:lnTo>
                    <a:pt x="1224" y="375"/>
                  </a:lnTo>
                  <a:lnTo>
                    <a:pt x="1226" y="377"/>
                  </a:lnTo>
                  <a:lnTo>
                    <a:pt x="1229" y="380"/>
                  </a:lnTo>
                  <a:lnTo>
                    <a:pt x="1231" y="380"/>
                  </a:lnTo>
                  <a:lnTo>
                    <a:pt x="1231" y="382"/>
                  </a:lnTo>
                  <a:lnTo>
                    <a:pt x="1233" y="382"/>
                  </a:lnTo>
                  <a:lnTo>
                    <a:pt x="1233" y="385"/>
                  </a:lnTo>
                  <a:lnTo>
                    <a:pt x="1233" y="382"/>
                  </a:lnTo>
                  <a:lnTo>
                    <a:pt x="1233" y="385"/>
                  </a:lnTo>
                  <a:lnTo>
                    <a:pt x="1236" y="385"/>
                  </a:lnTo>
                  <a:lnTo>
                    <a:pt x="1238" y="385"/>
                  </a:lnTo>
                  <a:lnTo>
                    <a:pt x="1240" y="385"/>
                  </a:lnTo>
                  <a:lnTo>
                    <a:pt x="1240" y="387"/>
                  </a:lnTo>
                  <a:lnTo>
                    <a:pt x="1240" y="385"/>
                  </a:lnTo>
                  <a:lnTo>
                    <a:pt x="1243" y="387"/>
                  </a:lnTo>
                  <a:lnTo>
                    <a:pt x="1245" y="387"/>
                  </a:lnTo>
                  <a:lnTo>
                    <a:pt x="1248" y="387"/>
                  </a:lnTo>
                  <a:lnTo>
                    <a:pt x="1248" y="389"/>
                  </a:lnTo>
                  <a:lnTo>
                    <a:pt x="1250" y="389"/>
                  </a:lnTo>
                  <a:lnTo>
                    <a:pt x="1252" y="389"/>
                  </a:lnTo>
                  <a:lnTo>
                    <a:pt x="1252" y="392"/>
                  </a:lnTo>
                  <a:lnTo>
                    <a:pt x="1250" y="392"/>
                  </a:lnTo>
                  <a:lnTo>
                    <a:pt x="1248" y="392"/>
                  </a:lnTo>
                  <a:lnTo>
                    <a:pt x="1250" y="392"/>
                  </a:lnTo>
                  <a:lnTo>
                    <a:pt x="1250" y="394"/>
                  </a:lnTo>
                  <a:lnTo>
                    <a:pt x="1248" y="394"/>
                  </a:lnTo>
                  <a:lnTo>
                    <a:pt x="1248" y="396"/>
                  </a:lnTo>
                  <a:lnTo>
                    <a:pt x="1250" y="396"/>
                  </a:lnTo>
                  <a:lnTo>
                    <a:pt x="1248" y="396"/>
                  </a:lnTo>
                  <a:lnTo>
                    <a:pt x="1248" y="399"/>
                  </a:lnTo>
                  <a:lnTo>
                    <a:pt x="1245" y="399"/>
                  </a:lnTo>
                  <a:lnTo>
                    <a:pt x="1248" y="399"/>
                  </a:lnTo>
                  <a:lnTo>
                    <a:pt x="1245" y="399"/>
                  </a:lnTo>
                  <a:lnTo>
                    <a:pt x="1243" y="399"/>
                  </a:lnTo>
                  <a:lnTo>
                    <a:pt x="1240" y="399"/>
                  </a:lnTo>
                  <a:lnTo>
                    <a:pt x="1240" y="396"/>
                  </a:lnTo>
                  <a:lnTo>
                    <a:pt x="1238" y="396"/>
                  </a:lnTo>
                  <a:lnTo>
                    <a:pt x="1236" y="396"/>
                  </a:lnTo>
                  <a:lnTo>
                    <a:pt x="1233" y="396"/>
                  </a:lnTo>
                  <a:lnTo>
                    <a:pt x="1233" y="394"/>
                  </a:lnTo>
                  <a:lnTo>
                    <a:pt x="1233" y="396"/>
                  </a:lnTo>
                  <a:lnTo>
                    <a:pt x="1231" y="396"/>
                  </a:lnTo>
                  <a:lnTo>
                    <a:pt x="1233" y="396"/>
                  </a:lnTo>
                  <a:lnTo>
                    <a:pt x="1231" y="396"/>
                  </a:lnTo>
                  <a:lnTo>
                    <a:pt x="1229" y="396"/>
                  </a:lnTo>
                  <a:lnTo>
                    <a:pt x="1229" y="394"/>
                  </a:lnTo>
                  <a:lnTo>
                    <a:pt x="1226" y="394"/>
                  </a:lnTo>
                  <a:lnTo>
                    <a:pt x="1224" y="394"/>
                  </a:lnTo>
                  <a:lnTo>
                    <a:pt x="1226" y="394"/>
                  </a:lnTo>
                  <a:lnTo>
                    <a:pt x="1226" y="396"/>
                  </a:lnTo>
                  <a:lnTo>
                    <a:pt x="1229" y="396"/>
                  </a:lnTo>
                  <a:lnTo>
                    <a:pt x="1231" y="396"/>
                  </a:lnTo>
                  <a:lnTo>
                    <a:pt x="1231" y="399"/>
                  </a:lnTo>
                  <a:lnTo>
                    <a:pt x="1233" y="399"/>
                  </a:lnTo>
                  <a:lnTo>
                    <a:pt x="1236" y="399"/>
                  </a:lnTo>
                  <a:lnTo>
                    <a:pt x="1236" y="396"/>
                  </a:lnTo>
                  <a:lnTo>
                    <a:pt x="1238" y="396"/>
                  </a:lnTo>
                  <a:lnTo>
                    <a:pt x="1238" y="399"/>
                  </a:lnTo>
                  <a:lnTo>
                    <a:pt x="1240" y="399"/>
                  </a:lnTo>
                  <a:lnTo>
                    <a:pt x="1238" y="399"/>
                  </a:lnTo>
                  <a:lnTo>
                    <a:pt x="1240" y="399"/>
                  </a:lnTo>
                  <a:lnTo>
                    <a:pt x="1240" y="401"/>
                  </a:lnTo>
                  <a:lnTo>
                    <a:pt x="1243" y="401"/>
                  </a:lnTo>
                  <a:lnTo>
                    <a:pt x="1240" y="401"/>
                  </a:lnTo>
                  <a:lnTo>
                    <a:pt x="1238" y="401"/>
                  </a:lnTo>
                  <a:lnTo>
                    <a:pt x="1236" y="401"/>
                  </a:lnTo>
                  <a:lnTo>
                    <a:pt x="1238" y="401"/>
                  </a:lnTo>
                  <a:lnTo>
                    <a:pt x="1236" y="401"/>
                  </a:lnTo>
                  <a:lnTo>
                    <a:pt x="1233" y="401"/>
                  </a:lnTo>
                  <a:lnTo>
                    <a:pt x="1231" y="399"/>
                  </a:lnTo>
                  <a:lnTo>
                    <a:pt x="1231" y="401"/>
                  </a:lnTo>
                  <a:lnTo>
                    <a:pt x="1233" y="401"/>
                  </a:lnTo>
                  <a:lnTo>
                    <a:pt x="1231" y="401"/>
                  </a:lnTo>
                  <a:lnTo>
                    <a:pt x="1231" y="399"/>
                  </a:lnTo>
                  <a:lnTo>
                    <a:pt x="1229" y="399"/>
                  </a:lnTo>
                  <a:lnTo>
                    <a:pt x="1229" y="401"/>
                  </a:lnTo>
                  <a:lnTo>
                    <a:pt x="1231" y="401"/>
                  </a:lnTo>
                  <a:lnTo>
                    <a:pt x="1233" y="401"/>
                  </a:lnTo>
                  <a:lnTo>
                    <a:pt x="1236" y="401"/>
                  </a:lnTo>
                  <a:lnTo>
                    <a:pt x="1233" y="401"/>
                  </a:lnTo>
                  <a:lnTo>
                    <a:pt x="1236" y="401"/>
                  </a:lnTo>
                  <a:lnTo>
                    <a:pt x="1233" y="401"/>
                  </a:lnTo>
                  <a:lnTo>
                    <a:pt x="1236" y="404"/>
                  </a:lnTo>
                  <a:lnTo>
                    <a:pt x="1236" y="401"/>
                  </a:lnTo>
                  <a:lnTo>
                    <a:pt x="1236" y="404"/>
                  </a:lnTo>
                  <a:lnTo>
                    <a:pt x="1238" y="404"/>
                  </a:lnTo>
                  <a:lnTo>
                    <a:pt x="1240" y="404"/>
                  </a:lnTo>
                  <a:lnTo>
                    <a:pt x="1238" y="404"/>
                  </a:lnTo>
                  <a:lnTo>
                    <a:pt x="1240" y="406"/>
                  </a:lnTo>
                  <a:lnTo>
                    <a:pt x="1238" y="406"/>
                  </a:lnTo>
                  <a:lnTo>
                    <a:pt x="1238" y="404"/>
                  </a:lnTo>
                  <a:lnTo>
                    <a:pt x="1236" y="404"/>
                  </a:lnTo>
                  <a:lnTo>
                    <a:pt x="1233" y="404"/>
                  </a:lnTo>
                  <a:lnTo>
                    <a:pt x="1236" y="404"/>
                  </a:lnTo>
                  <a:lnTo>
                    <a:pt x="1236" y="406"/>
                  </a:lnTo>
                  <a:lnTo>
                    <a:pt x="1238" y="406"/>
                  </a:lnTo>
                  <a:lnTo>
                    <a:pt x="1236" y="406"/>
                  </a:lnTo>
                  <a:lnTo>
                    <a:pt x="1233" y="406"/>
                  </a:lnTo>
                  <a:lnTo>
                    <a:pt x="1233" y="404"/>
                  </a:lnTo>
                  <a:lnTo>
                    <a:pt x="1231" y="406"/>
                  </a:lnTo>
                  <a:lnTo>
                    <a:pt x="1231" y="404"/>
                  </a:lnTo>
                  <a:lnTo>
                    <a:pt x="1229" y="404"/>
                  </a:lnTo>
                  <a:lnTo>
                    <a:pt x="1229" y="401"/>
                  </a:lnTo>
                  <a:lnTo>
                    <a:pt x="1229" y="404"/>
                  </a:lnTo>
                  <a:lnTo>
                    <a:pt x="1231" y="404"/>
                  </a:lnTo>
                  <a:lnTo>
                    <a:pt x="1231" y="401"/>
                  </a:lnTo>
                  <a:lnTo>
                    <a:pt x="1229" y="401"/>
                  </a:lnTo>
                  <a:lnTo>
                    <a:pt x="1231" y="401"/>
                  </a:lnTo>
                  <a:lnTo>
                    <a:pt x="1229" y="401"/>
                  </a:lnTo>
                  <a:lnTo>
                    <a:pt x="1226" y="401"/>
                  </a:lnTo>
                  <a:lnTo>
                    <a:pt x="1226" y="399"/>
                  </a:lnTo>
                  <a:lnTo>
                    <a:pt x="1229" y="399"/>
                  </a:lnTo>
                  <a:lnTo>
                    <a:pt x="1226" y="399"/>
                  </a:lnTo>
                  <a:lnTo>
                    <a:pt x="1226" y="396"/>
                  </a:lnTo>
                  <a:lnTo>
                    <a:pt x="1224" y="399"/>
                  </a:lnTo>
                  <a:lnTo>
                    <a:pt x="1224" y="396"/>
                  </a:lnTo>
                  <a:lnTo>
                    <a:pt x="1222" y="396"/>
                  </a:lnTo>
                  <a:lnTo>
                    <a:pt x="1222" y="394"/>
                  </a:lnTo>
                  <a:lnTo>
                    <a:pt x="1219" y="394"/>
                  </a:lnTo>
                  <a:lnTo>
                    <a:pt x="1219" y="396"/>
                  </a:lnTo>
                  <a:lnTo>
                    <a:pt x="1219" y="394"/>
                  </a:lnTo>
                  <a:lnTo>
                    <a:pt x="1219" y="396"/>
                  </a:lnTo>
                  <a:lnTo>
                    <a:pt x="1219" y="394"/>
                  </a:lnTo>
                  <a:lnTo>
                    <a:pt x="1219" y="396"/>
                  </a:lnTo>
                  <a:lnTo>
                    <a:pt x="1222" y="396"/>
                  </a:lnTo>
                  <a:lnTo>
                    <a:pt x="1219" y="396"/>
                  </a:lnTo>
                  <a:lnTo>
                    <a:pt x="1222" y="396"/>
                  </a:lnTo>
                  <a:lnTo>
                    <a:pt x="1222" y="399"/>
                  </a:lnTo>
                  <a:lnTo>
                    <a:pt x="1222" y="396"/>
                  </a:lnTo>
                  <a:lnTo>
                    <a:pt x="1222" y="399"/>
                  </a:lnTo>
                  <a:lnTo>
                    <a:pt x="1219" y="399"/>
                  </a:lnTo>
                  <a:lnTo>
                    <a:pt x="1219" y="396"/>
                  </a:lnTo>
                  <a:lnTo>
                    <a:pt x="1217" y="396"/>
                  </a:lnTo>
                  <a:lnTo>
                    <a:pt x="1217" y="394"/>
                  </a:lnTo>
                  <a:lnTo>
                    <a:pt x="1217" y="392"/>
                  </a:lnTo>
                  <a:lnTo>
                    <a:pt x="1219" y="392"/>
                  </a:lnTo>
                  <a:lnTo>
                    <a:pt x="1219" y="389"/>
                  </a:lnTo>
                  <a:lnTo>
                    <a:pt x="1217" y="389"/>
                  </a:lnTo>
                  <a:lnTo>
                    <a:pt x="1217" y="392"/>
                  </a:lnTo>
                  <a:lnTo>
                    <a:pt x="1214" y="392"/>
                  </a:lnTo>
                  <a:lnTo>
                    <a:pt x="1217" y="392"/>
                  </a:lnTo>
                  <a:lnTo>
                    <a:pt x="1214" y="392"/>
                  </a:lnTo>
                  <a:lnTo>
                    <a:pt x="1212" y="392"/>
                  </a:lnTo>
                  <a:lnTo>
                    <a:pt x="1210" y="392"/>
                  </a:lnTo>
                  <a:lnTo>
                    <a:pt x="1212" y="392"/>
                  </a:lnTo>
                  <a:lnTo>
                    <a:pt x="1210" y="392"/>
                  </a:lnTo>
                  <a:lnTo>
                    <a:pt x="1207" y="392"/>
                  </a:lnTo>
                  <a:lnTo>
                    <a:pt x="1207" y="389"/>
                  </a:lnTo>
                  <a:lnTo>
                    <a:pt x="1207" y="392"/>
                  </a:lnTo>
                  <a:lnTo>
                    <a:pt x="1205" y="392"/>
                  </a:lnTo>
                  <a:lnTo>
                    <a:pt x="1207" y="392"/>
                  </a:lnTo>
                  <a:lnTo>
                    <a:pt x="1210" y="392"/>
                  </a:lnTo>
                  <a:lnTo>
                    <a:pt x="1210" y="394"/>
                  </a:lnTo>
                  <a:lnTo>
                    <a:pt x="1207" y="394"/>
                  </a:lnTo>
                  <a:lnTo>
                    <a:pt x="1207" y="392"/>
                  </a:lnTo>
                  <a:lnTo>
                    <a:pt x="1207" y="394"/>
                  </a:lnTo>
                  <a:lnTo>
                    <a:pt x="1205" y="394"/>
                  </a:lnTo>
                  <a:lnTo>
                    <a:pt x="1207" y="394"/>
                  </a:lnTo>
                  <a:lnTo>
                    <a:pt x="1210" y="394"/>
                  </a:lnTo>
                  <a:lnTo>
                    <a:pt x="1210" y="396"/>
                  </a:lnTo>
                  <a:lnTo>
                    <a:pt x="1207" y="396"/>
                  </a:lnTo>
                  <a:lnTo>
                    <a:pt x="1210" y="396"/>
                  </a:lnTo>
                  <a:lnTo>
                    <a:pt x="1212" y="396"/>
                  </a:lnTo>
                  <a:lnTo>
                    <a:pt x="1214" y="396"/>
                  </a:lnTo>
                  <a:lnTo>
                    <a:pt x="1212" y="396"/>
                  </a:lnTo>
                  <a:lnTo>
                    <a:pt x="1212" y="394"/>
                  </a:lnTo>
                  <a:lnTo>
                    <a:pt x="1214" y="394"/>
                  </a:lnTo>
                  <a:lnTo>
                    <a:pt x="1214" y="396"/>
                  </a:lnTo>
                  <a:lnTo>
                    <a:pt x="1217" y="396"/>
                  </a:lnTo>
                  <a:lnTo>
                    <a:pt x="1214" y="396"/>
                  </a:lnTo>
                  <a:lnTo>
                    <a:pt x="1214" y="399"/>
                  </a:lnTo>
                  <a:lnTo>
                    <a:pt x="1217" y="399"/>
                  </a:lnTo>
                  <a:lnTo>
                    <a:pt x="1219" y="399"/>
                  </a:lnTo>
                  <a:lnTo>
                    <a:pt x="1217" y="399"/>
                  </a:lnTo>
                  <a:lnTo>
                    <a:pt x="1214" y="399"/>
                  </a:lnTo>
                  <a:lnTo>
                    <a:pt x="1217" y="399"/>
                  </a:lnTo>
                  <a:lnTo>
                    <a:pt x="1219" y="399"/>
                  </a:lnTo>
                  <a:lnTo>
                    <a:pt x="1219" y="401"/>
                  </a:lnTo>
                  <a:lnTo>
                    <a:pt x="1222" y="401"/>
                  </a:lnTo>
                  <a:lnTo>
                    <a:pt x="1219" y="401"/>
                  </a:lnTo>
                  <a:lnTo>
                    <a:pt x="1222" y="401"/>
                  </a:lnTo>
                  <a:lnTo>
                    <a:pt x="1219" y="401"/>
                  </a:lnTo>
                  <a:lnTo>
                    <a:pt x="1222" y="401"/>
                  </a:lnTo>
                  <a:lnTo>
                    <a:pt x="1219" y="401"/>
                  </a:lnTo>
                  <a:lnTo>
                    <a:pt x="1219" y="399"/>
                  </a:lnTo>
                  <a:lnTo>
                    <a:pt x="1219" y="401"/>
                  </a:lnTo>
                  <a:lnTo>
                    <a:pt x="1219" y="399"/>
                  </a:lnTo>
                  <a:lnTo>
                    <a:pt x="1217" y="399"/>
                  </a:lnTo>
                  <a:lnTo>
                    <a:pt x="1217" y="401"/>
                  </a:lnTo>
                  <a:lnTo>
                    <a:pt x="1214" y="401"/>
                  </a:lnTo>
                  <a:lnTo>
                    <a:pt x="1212" y="401"/>
                  </a:lnTo>
                  <a:lnTo>
                    <a:pt x="1214" y="401"/>
                  </a:lnTo>
                  <a:lnTo>
                    <a:pt x="1212" y="401"/>
                  </a:lnTo>
                  <a:lnTo>
                    <a:pt x="1212" y="399"/>
                  </a:lnTo>
                  <a:lnTo>
                    <a:pt x="1210" y="399"/>
                  </a:lnTo>
                  <a:lnTo>
                    <a:pt x="1207" y="399"/>
                  </a:lnTo>
                  <a:lnTo>
                    <a:pt x="1210" y="399"/>
                  </a:lnTo>
                  <a:lnTo>
                    <a:pt x="1207" y="399"/>
                  </a:lnTo>
                  <a:lnTo>
                    <a:pt x="1207" y="396"/>
                  </a:lnTo>
                  <a:lnTo>
                    <a:pt x="1205" y="396"/>
                  </a:lnTo>
                  <a:lnTo>
                    <a:pt x="1207" y="396"/>
                  </a:lnTo>
                  <a:lnTo>
                    <a:pt x="1205" y="396"/>
                  </a:lnTo>
                  <a:lnTo>
                    <a:pt x="1207" y="396"/>
                  </a:lnTo>
                  <a:lnTo>
                    <a:pt x="1205" y="396"/>
                  </a:lnTo>
                  <a:lnTo>
                    <a:pt x="1203" y="396"/>
                  </a:lnTo>
                  <a:lnTo>
                    <a:pt x="1205" y="396"/>
                  </a:lnTo>
                  <a:lnTo>
                    <a:pt x="1203" y="396"/>
                  </a:lnTo>
                  <a:lnTo>
                    <a:pt x="1200" y="396"/>
                  </a:lnTo>
                  <a:lnTo>
                    <a:pt x="1200" y="394"/>
                  </a:lnTo>
                  <a:lnTo>
                    <a:pt x="1198" y="394"/>
                  </a:lnTo>
                  <a:lnTo>
                    <a:pt x="1200" y="394"/>
                  </a:lnTo>
                  <a:lnTo>
                    <a:pt x="1200" y="396"/>
                  </a:lnTo>
                  <a:lnTo>
                    <a:pt x="1203" y="396"/>
                  </a:lnTo>
                  <a:lnTo>
                    <a:pt x="1200" y="396"/>
                  </a:lnTo>
                  <a:lnTo>
                    <a:pt x="1203" y="396"/>
                  </a:lnTo>
                  <a:lnTo>
                    <a:pt x="1205" y="396"/>
                  </a:lnTo>
                  <a:lnTo>
                    <a:pt x="1205" y="399"/>
                  </a:lnTo>
                  <a:lnTo>
                    <a:pt x="1203" y="399"/>
                  </a:lnTo>
                  <a:lnTo>
                    <a:pt x="1200" y="399"/>
                  </a:lnTo>
                  <a:lnTo>
                    <a:pt x="1200" y="396"/>
                  </a:lnTo>
                  <a:lnTo>
                    <a:pt x="1198" y="396"/>
                  </a:lnTo>
                  <a:lnTo>
                    <a:pt x="1195" y="394"/>
                  </a:lnTo>
                  <a:lnTo>
                    <a:pt x="1193" y="394"/>
                  </a:lnTo>
                  <a:lnTo>
                    <a:pt x="1195" y="394"/>
                  </a:lnTo>
                  <a:lnTo>
                    <a:pt x="1195" y="396"/>
                  </a:lnTo>
                  <a:lnTo>
                    <a:pt x="1198" y="399"/>
                  </a:lnTo>
                  <a:lnTo>
                    <a:pt x="1200" y="399"/>
                  </a:lnTo>
                  <a:lnTo>
                    <a:pt x="1198" y="399"/>
                  </a:lnTo>
                  <a:lnTo>
                    <a:pt x="1200" y="399"/>
                  </a:lnTo>
                  <a:lnTo>
                    <a:pt x="1200" y="401"/>
                  </a:lnTo>
                  <a:lnTo>
                    <a:pt x="1198" y="401"/>
                  </a:lnTo>
                  <a:lnTo>
                    <a:pt x="1198" y="399"/>
                  </a:lnTo>
                  <a:lnTo>
                    <a:pt x="1195" y="399"/>
                  </a:lnTo>
                  <a:lnTo>
                    <a:pt x="1195" y="401"/>
                  </a:lnTo>
                  <a:lnTo>
                    <a:pt x="1195" y="399"/>
                  </a:lnTo>
                  <a:lnTo>
                    <a:pt x="1193" y="399"/>
                  </a:lnTo>
                  <a:lnTo>
                    <a:pt x="1195" y="399"/>
                  </a:lnTo>
                  <a:lnTo>
                    <a:pt x="1193" y="399"/>
                  </a:lnTo>
                  <a:lnTo>
                    <a:pt x="1195" y="399"/>
                  </a:lnTo>
                  <a:lnTo>
                    <a:pt x="1193" y="399"/>
                  </a:lnTo>
                  <a:lnTo>
                    <a:pt x="1191" y="399"/>
                  </a:lnTo>
                  <a:lnTo>
                    <a:pt x="1188" y="399"/>
                  </a:lnTo>
                  <a:lnTo>
                    <a:pt x="1188" y="396"/>
                  </a:lnTo>
                  <a:lnTo>
                    <a:pt x="1191" y="396"/>
                  </a:lnTo>
                  <a:lnTo>
                    <a:pt x="1191" y="399"/>
                  </a:lnTo>
                  <a:lnTo>
                    <a:pt x="1191" y="396"/>
                  </a:lnTo>
                  <a:lnTo>
                    <a:pt x="1188" y="396"/>
                  </a:lnTo>
                  <a:lnTo>
                    <a:pt x="1186" y="394"/>
                  </a:lnTo>
                  <a:lnTo>
                    <a:pt x="1184" y="394"/>
                  </a:lnTo>
                  <a:lnTo>
                    <a:pt x="1181" y="392"/>
                  </a:lnTo>
                  <a:lnTo>
                    <a:pt x="1184" y="392"/>
                  </a:lnTo>
                  <a:lnTo>
                    <a:pt x="1181" y="392"/>
                  </a:lnTo>
                  <a:lnTo>
                    <a:pt x="1181" y="389"/>
                  </a:lnTo>
                  <a:lnTo>
                    <a:pt x="1181" y="392"/>
                  </a:lnTo>
                  <a:lnTo>
                    <a:pt x="1179" y="392"/>
                  </a:lnTo>
                  <a:lnTo>
                    <a:pt x="1179" y="394"/>
                  </a:lnTo>
                  <a:lnTo>
                    <a:pt x="1176" y="392"/>
                  </a:lnTo>
                  <a:lnTo>
                    <a:pt x="1174" y="392"/>
                  </a:lnTo>
                  <a:lnTo>
                    <a:pt x="1172" y="392"/>
                  </a:lnTo>
                  <a:lnTo>
                    <a:pt x="1172" y="389"/>
                  </a:lnTo>
                  <a:lnTo>
                    <a:pt x="1172" y="392"/>
                  </a:lnTo>
                  <a:lnTo>
                    <a:pt x="1172" y="389"/>
                  </a:lnTo>
                  <a:lnTo>
                    <a:pt x="1169" y="389"/>
                  </a:lnTo>
                  <a:lnTo>
                    <a:pt x="1172" y="389"/>
                  </a:lnTo>
                  <a:lnTo>
                    <a:pt x="1172" y="387"/>
                  </a:lnTo>
                  <a:lnTo>
                    <a:pt x="1169" y="387"/>
                  </a:lnTo>
                  <a:lnTo>
                    <a:pt x="1172" y="387"/>
                  </a:lnTo>
                  <a:lnTo>
                    <a:pt x="1172" y="389"/>
                  </a:lnTo>
                  <a:lnTo>
                    <a:pt x="1169" y="389"/>
                  </a:lnTo>
                  <a:lnTo>
                    <a:pt x="1167" y="389"/>
                  </a:lnTo>
                  <a:lnTo>
                    <a:pt x="1165" y="389"/>
                  </a:lnTo>
                  <a:lnTo>
                    <a:pt x="1167" y="389"/>
                  </a:lnTo>
                  <a:lnTo>
                    <a:pt x="1169" y="392"/>
                  </a:lnTo>
                  <a:lnTo>
                    <a:pt x="1172" y="392"/>
                  </a:lnTo>
                  <a:lnTo>
                    <a:pt x="1174" y="392"/>
                  </a:lnTo>
                  <a:lnTo>
                    <a:pt x="1172" y="392"/>
                  </a:lnTo>
                  <a:lnTo>
                    <a:pt x="1172" y="394"/>
                  </a:lnTo>
                  <a:lnTo>
                    <a:pt x="1174" y="392"/>
                  </a:lnTo>
                  <a:lnTo>
                    <a:pt x="1176" y="392"/>
                  </a:lnTo>
                  <a:lnTo>
                    <a:pt x="1176" y="394"/>
                  </a:lnTo>
                  <a:lnTo>
                    <a:pt x="1179" y="394"/>
                  </a:lnTo>
                  <a:lnTo>
                    <a:pt x="1181" y="394"/>
                  </a:lnTo>
                  <a:lnTo>
                    <a:pt x="1184" y="396"/>
                  </a:lnTo>
                  <a:lnTo>
                    <a:pt x="1181" y="396"/>
                  </a:lnTo>
                  <a:lnTo>
                    <a:pt x="1181" y="394"/>
                  </a:lnTo>
                  <a:lnTo>
                    <a:pt x="1179" y="394"/>
                  </a:lnTo>
                  <a:lnTo>
                    <a:pt x="1181" y="396"/>
                  </a:lnTo>
                  <a:lnTo>
                    <a:pt x="1179" y="394"/>
                  </a:lnTo>
                  <a:lnTo>
                    <a:pt x="1181" y="394"/>
                  </a:lnTo>
                  <a:lnTo>
                    <a:pt x="1181" y="396"/>
                  </a:lnTo>
                  <a:lnTo>
                    <a:pt x="1179" y="396"/>
                  </a:lnTo>
                  <a:lnTo>
                    <a:pt x="1179" y="394"/>
                  </a:lnTo>
                  <a:lnTo>
                    <a:pt x="1176" y="394"/>
                  </a:lnTo>
                  <a:lnTo>
                    <a:pt x="1174" y="394"/>
                  </a:lnTo>
                  <a:lnTo>
                    <a:pt x="1174" y="396"/>
                  </a:lnTo>
                  <a:lnTo>
                    <a:pt x="1176" y="396"/>
                  </a:lnTo>
                  <a:lnTo>
                    <a:pt x="1176" y="399"/>
                  </a:lnTo>
                  <a:lnTo>
                    <a:pt x="1176" y="401"/>
                  </a:lnTo>
                  <a:lnTo>
                    <a:pt x="1174" y="401"/>
                  </a:lnTo>
                  <a:lnTo>
                    <a:pt x="1172" y="401"/>
                  </a:lnTo>
                  <a:lnTo>
                    <a:pt x="1169" y="401"/>
                  </a:lnTo>
                  <a:lnTo>
                    <a:pt x="1169" y="399"/>
                  </a:lnTo>
                  <a:lnTo>
                    <a:pt x="1167" y="399"/>
                  </a:lnTo>
                  <a:lnTo>
                    <a:pt x="1167" y="396"/>
                  </a:lnTo>
                  <a:lnTo>
                    <a:pt x="1165" y="396"/>
                  </a:lnTo>
                  <a:lnTo>
                    <a:pt x="1162" y="396"/>
                  </a:lnTo>
                  <a:lnTo>
                    <a:pt x="1162" y="394"/>
                  </a:lnTo>
                  <a:lnTo>
                    <a:pt x="1160" y="394"/>
                  </a:lnTo>
                  <a:lnTo>
                    <a:pt x="1162" y="394"/>
                  </a:lnTo>
                  <a:lnTo>
                    <a:pt x="1162" y="396"/>
                  </a:lnTo>
                  <a:lnTo>
                    <a:pt x="1160" y="396"/>
                  </a:lnTo>
                  <a:lnTo>
                    <a:pt x="1162" y="396"/>
                  </a:lnTo>
                  <a:lnTo>
                    <a:pt x="1160" y="396"/>
                  </a:lnTo>
                  <a:lnTo>
                    <a:pt x="1160" y="394"/>
                  </a:lnTo>
                  <a:lnTo>
                    <a:pt x="1157" y="394"/>
                  </a:lnTo>
                  <a:lnTo>
                    <a:pt x="1157" y="392"/>
                  </a:lnTo>
                  <a:lnTo>
                    <a:pt x="1157" y="389"/>
                  </a:lnTo>
                  <a:lnTo>
                    <a:pt x="1155" y="389"/>
                  </a:lnTo>
                  <a:lnTo>
                    <a:pt x="1153" y="389"/>
                  </a:lnTo>
                  <a:lnTo>
                    <a:pt x="1153" y="387"/>
                  </a:lnTo>
                  <a:lnTo>
                    <a:pt x="1150" y="387"/>
                  </a:lnTo>
                  <a:lnTo>
                    <a:pt x="1150" y="385"/>
                  </a:lnTo>
                  <a:lnTo>
                    <a:pt x="1153" y="385"/>
                  </a:lnTo>
                  <a:lnTo>
                    <a:pt x="1150" y="385"/>
                  </a:lnTo>
                  <a:lnTo>
                    <a:pt x="1150" y="387"/>
                  </a:lnTo>
                  <a:lnTo>
                    <a:pt x="1150" y="389"/>
                  </a:lnTo>
                  <a:lnTo>
                    <a:pt x="1153" y="389"/>
                  </a:lnTo>
                  <a:lnTo>
                    <a:pt x="1150" y="389"/>
                  </a:lnTo>
                  <a:lnTo>
                    <a:pt x="1150" y="387"/>
                  </a:lnTo>
                  <a:lnTo>
                    <a:pt x="1150" y="389"/>
                  </a:lnTo>
                  <a:lnTo>
                    <a:pt x="1150" y="387"/>
                  </a:lnTo>
                  <a:lnTo>
                    <a:pt x="1148" y="387"/>
                  </a:lnTo>
                  <a:lnTo>
                    <a:pt x="1150" y="387"/>
                  </a:lnTo>
                  <a:lnTo>
                    <a:pt x="1150" y="389"/>
                  </a:lnTo>
                  <a:lnTo>
                    <a:pt x="1150" y="392"/>
                  </a:lnTo>
                  <a:lnTo>
                    <a:pt x="1150" y="389"/>
                  </a:lnTo>
                  <a:lnTo>
                    <a:pt x="1150" y="392"/>
                  </a:lnTo>
                  <a:lnTo>
                    <a:pt x="1148" y="392"/>
                  </a:lnTo>
                  <a:lnTo>
                    <a:pt x="1148" y="389"/>
                  </a:lnTo>
                  <a:lnTo>
                    <a:pt x="1148" y="392"/>
                  </a:lnTo>
                  <a:lnTo>
                    <a:pt x="1150" y="392"/>
                  </a:lnTo>
                  <a:lnTo>
                    <a:pt x="1148" y="392"/>
                  </a:lnTo>
                  <a:lnTo>
                    <a:pt x="1150" y="392"/>
                  </a:lnTo>
                  <a:lnTo>
                    <a:pt x="1153" y="392"/>
                  </a:lnTo>
                  <a:lnTo>
                    <a:pt x="1153" y="394"/>
                  </a:lnTo>
                  <a:lnTo>
                    <a:pt x="1155" y="394"/>
                  </a:lnTo>
                  <a:lnTo>
                    <a:pt x="1153" y="394"/>
                  </a:lnTo>
                  <a:lnTo>
                    <a:pt x="1153" y="392"/>
                  </a:lnTo>
                  <a:lnTo>
                    <a:pt x="1150" y="392"/>
                  </a:lnTo>
                  <a:lnTo>
                    <a:pt x="1148" y="392"/>
                  </a:lnTo>
                  <a:lnTo>
                    <a:pt x="1146" y="389"/>
                  </a:lnTo>
                  <a:lnTo>
                    <a:pt x="1143" y="389"/>
                  </a:lnTo>
                  <a:lnTo>
                    <a:pt x="1141" y="389"/>
                  </a:lnTo>
                  <a:lnTo>
                    <a:pt x="1143" y="389"/>
                  </a:lnTo>
                  <a:lnTo>
                    <a:pt x="1141" y="389"/>
                  </a:lnTo>
                  <a:lnTo>
                    <a:pt x="1143" y="389"/>
                  </a:lnTo>
                  <a:lnTo>
                    <a:pt x="1143" y="392"/>
                  </a:lnTo>
                  <a:lnTo>
                    <a:pt x="1141" y="392"/>
                  </a:lnTo>
                  <a:lnTo>
                    <a:pt x="1138" y="392"/>
                  </a:lnTo>
                  <a:lnTo>
                    <a:pt x="1138" y="389"/>
                  </a:lnTo>
                  <a:lnTo>
                    <a:pt x="1136" y="389"/>
                  </a:lnTo>
                  <a:lnTo>
                    <a:pt x="1138" y="389"/>
                  </a:lnTo>
                  <a:lnTo>
                    <a:pt x="1136" y="389"/>
                  </a:lnTo>
                  <a:lnTo>
                    <a:pt x="1136" y="392"/>
                  </a:lnTo>
                  <a:lnTo>
                    <a:pt x="1138" y="392"/>
                  </a:lnTo>
                  <a:lnTo>
                    <a:pt x="1136" y="392"/>
                  </a:lnTo>
                  <a:lnTo>
                    <a:pt x="1134" y="392"/>
                  </a:lnTo>
                  <a:lnTo>
                    <a:pt x="1134" y="389"/>
                  </a:lnTo>
                  <a:lnTo>
                    <a:pt x="1131" y="389"/>
                  </a:lnTo>
                  <a:lnTo>
                    <a:pt x="1131" y="387"/>
                  </a:lnTo>
                  <a:lnTo>
                    <a:pt x="1131" y="385"/>
                  </a:lnTo>
                  <a:lnTo>
                    <a:pt x="1129" y="387"/>
                  </a:lnTo>
                  <a:lnTo>
                    <a:pt x="1131" y="387"/>
                  </a:lnTo>
                  <a:lnTo>
                    <a:pt x="1131" y="389"/>
                  </a:lnTo>
                  <a:lnTo>
                    <a:pt x="1129" y="389"/>
                  </a:lnTo>
                  <a:lnTo>
                    <a:pt x="1129" y="387"/>
                  </a:lnTo>
                  <a:lnTo>
                    <a:pt x="1127" y="387"/>
                  </a:lnTo>
                  <a:lnTo>
                    <a:pt x="1127" y="389"/>
                  </a:lnTo>
                  <a:lnTo>
                    <a:pt x="1127" y="387"/>
                  </a:lnTo>
                  <a:lnTo>
                    <a:pt x="1124" y="387"/>
                  </a:lnTo>
                  <a:lnTo>
                    <a:pt x="1122" y="385"/>
                  </a:lnTo>
                  <a:lnTo>
                    <a:pt x="1119" y="385"/>
                  </a:lnTo>
                  <a:lnTo>
                    <a:pt x="1119" y="382"/>
                  </a:lnTo>
                  <a:lnTo>
                    <a:pt x="1122" y="382"/>
                  </a:lnTo>
                  <a:lnTo>
                    <a:pt x="1124" y="385"/>
                  </a:lnTo>
                  <a:lnTo>
                    <a:pt x="1124" y="387"/>
                  </a:lnTo>
                  <a:lnTo>
                    <a:pt x="1127" y="387"/>
                  </a:lnTo>
                  <a:lnTo>
                    <a:pt x="1124" y="385"/>
                  </a:lnTo>
                  <a:lnTo>
                    <a:pt x="1124" y="382"/>
                  </a:lnTo>
                  <a:lnTo>
                    <a:pt x="1122" y="382"/>
                  </a:lnTo>
                  <a:lnTo>
                    <a:pt x="1124" y="382"/>
                  </a:lnTo>
                  <a:lnTo>
                    <a:pt x="1124" y="380"/>
                  </a:lnTo>
                  <a:lnTo>
                    <a:pt x="1127" y="380"/>
                  </a:lnTo>
                  <a:lnTo>
                    <a:pt x="1127" y="377"/>
                  </a:lnTo>
                  <a:lnTo>
                    <a:pt x="1124" y="377"/>
                  </a:lnTo>
                  <a:lnTo>
                    <a:pt x="1124" y="375"/>
                  </a:lnTo>
                  <a:lnTo>
                    <a:pt x="1122" y="375"/>
                  </a:lnTo>
                  <a:lnTo>
                    <a:pt x="1122" y="373"/>
                  </a:lnTo>
                  <a:lnTo>
                    <a:pt x="1119" y="373"/>
                  </a:lnTo>
                  <a:lnTo>
                    <a:pt x="1117" y="370"/>
                  </a:lnTo>
                  <a:lnTo>
                    <a:pt x="1119" y="370"/>
                  </a:lnTo>
                  <a:lnTo>
                    <a:pt x="1117" y="370"/>
                  </a:lnTo>
                  <a:lnTo>
                    <a:pt x="1119" y="370"/>
                  </a:lnTo>
                  <a:lnTo>
                    <a:pt x="1119" y="373"/>
                  </a:lnTo>
                  <a:lnTo>
                    <a:pt x="1119" y="370"/>
                  </a:lnTo>
                  <a:lnTo>
                    <a:pt x="1122" y="370"/>
                  </a:lnTo>
                  <a:lnTo>
                    <a:pt x="1122" y="373"/>
                  </a:lnTo>
                  <a:lnTo>
                    <a:pt x="1122" y="370"/>
                  </a:lnTo>
                  <a:lnTo>
                    <a:pt x="1124" y="370"/>
                  </a:lnTo>
                  <a:lnTo>
                    <a:pt x="1122" y="370"/>
                  </a:lnTo>
                  <a:lnTo>
                    <a:pt x="1124" y="370"/>
                  </a:lnTo>
                  <a:lnTo>
                    <a:pt x="1127" y="370"/>
                  </a:lnTo>
                  <a:lnTo>
                    <a:pt x="1127" y="373"/>
                  </a:lnTo>
                  <a:lnTo>
                    <a:pt x="1127" y="370"/>
                  </a:lnTo>
                  <a:lnTo>
                    <a:pt x="1124" y="370"/>
                  </a:lnTo>
                  <a:lnTo>
                    <a:pt x="1127" y="370"/>
                  </a:lnTo>
                  <a:lnTo>
                    <a:pt x="1129" y="370"/>
                  </a:lnTo>
                  <a:lnTo>
                    <a:pt x="1129" y="373"/>
                  </a:lnTo>
                  <a:lnTo>
                    <a:pt x="1131" y="373"/>
                  </a:lnTo>
                  <a:lnTo>
                    <a:pt x="1134" y="373"/>
                  </a:lnTo>
                  <a:lnTo>
                    <a:pt x="1134" y="375"/>
                  </a:lnTo>
                  <a:lnTo>
                    <a:pt x="1134" y="373"/>
                  </a:lnTo>
                  <a:lnTo>
                    <a:pt x="1131" y="373"/>
                  </a:lnTo>
                  <a:lnTo>
                    <a:pt x="1131" y="370"/>
                  </a:lnTo>
                  <a:lnTo>
                    <a:pt x="1134" y="370"/>
                  </a:lnTo>
                  <a:lnTo>
                    <a:pt x="1136" y="370"/>
                  </a:lnTo>
                  <a:lnTo>
                    <a:pt x="1138" y="370"/>
                  </a:lnTo>
                  <a:lnTo>
                    <a:pt x="1141" y="370"/>
                  </a:lnTo>
                  <a:lnTo>
                    <a:pt x="1143" y="370"/>
                  </a:lnTo>
                  <a:lnTo>
                    <a:pt x="1143" y="368"/>
                  </a:lnTo>
                  <a:lnTo>
                    <a:pt x="1141" y="368"/>
                  </a:lnTo>
                  <a:lnTo>
                    <a:pt x="1138" y="368"/>
                  </a:lnTo>
                  <a:lnTo>
                    <a:pt x="1138" y="370"/>
                  </a:lnTo>
                  <a:lnTo>
                    <a:pt x="1138" y="368"/>
                  </a:lnTo>
                  <a:lnTo>
                    <a:pt x="1136" y="368"/>
                  </a:lnTo>
                  <a:lnTo>
                    <a:pt x="1134" y="368"/>
                  </a:lnTo>
                  <a:lnTo>
                    <a:pt x="1134" y="366"/>
                  </a:lnTo>
                  <a:lnTo>
                    <a:pt x="1136" y="366"/>
                  </a:lnTo>
                  <a:lnTo>
                    <a:pt x="1138" y="366"/>
                  </a:lnTo>
                  <a:lnTo>
                    <a:pt x="1141" y="366"/>
                  </a:lnTo>
                  <a:lnTo>
                    <a:pt x="1143" y="366"/>
                  </a:lnTo>
                  <a:lnTo>
                    <a:pt x="1143" y="368"/>
                  </a:lnTo>
                  <a:lnTo>
                    <a:pt x="1146" y="368"/>
                  </a:lnTo>
                  <a:lnTo>
                    <a:pt x="1143" y="368"/>
                  </a:lnTo>
                  <a:lnTo>
                    <a:pt x="1146" y="368"/>
                  </a:lnTo>
                  <a:lnTo>
                    <a:pt x="1148" y="368"/>
                  </a:lnTo>
                  <a:lnTo>
                    <a:pt x="1148" y="370"/>
                  </a:lnTo>
                  <a:lnTo>
                    <a:pt x="1150" y="370"/>
                  </a:lnTo>
                  <a:lnTo>
                    <a:pt x="1148" y="370"/>
                  </a:lnTo>
                  <a:lnTo>
                    <a:pt x="1150" y="370"/>
                  </a:lnTo>
                  <a:lnTo>
                    <a:pt x="1148" y="370"/>
                  </a:lnTo>
                  <a:lnTo>
                    <a:pt x="1148" y="368"/>
                  </a:lnTo>
                  <a:lnTo>
                    <a:pt x="1146" y="368"/>
                  </a:lnTo>
                  <a:lnTo>
                    <a:pt x="1148" y="368"/>
                  </a:lnTo>
                  <a:lnTo>
                    <a:pt x="1146" y="366"/>
                  </a:lnTo>
                  <a:lnTo>
                    <a:pt x="1148" y="368"/>
                  </a:lnTo>
                  <a:lnTo>
                    <a:pt x="1148" y="366"/>
                  </a:lnTo>
                  <a:lnTo>
                    <a:pt x="1146" y="368"/>
                  </a:lnTo>
                  <a:lnTo>
                    <a:pt x="1143" y="368"/>
                  </a:lnTo>
                  <a:lnTo>
                    <a:pt x="1143" y="366"/>
                  </a:lnTo>
                  <a:lnTo>
                    <a:pt x="1141" y="366"/>
                  </a:lnTo>
                  <a:lnTo>
                    <a:pt x="1138" y="366"/>
                  </a:lnTo>
                  <a:lnTo>
                    <a:pt x="1138" y="363"/>
                  </a:lnTo>
                  <a:lnTo>
                    <a:pt x="1141" y="363"/>
                  </a:lnTo>
                  <a:lnTo>
                    <a:pt x="1141" y="366"/>
                  </a:lnTo>
                  <a:lnTo>
                    <a:pt x="1138" y="363"/>
                  </a:lnTo>
                  <a:lnTo>
                    <a:pt x="1138" y="361"/>
                  </a:lnTo>
                  <a:lnTo>
                    <a:pt x="1136" y="361"/>
                  </a:lnTo>
                  <a:lnTo>
                    <a:pt x="1136" y="363"/>
                  </a:lnTo>
                  <a:lnTo>
                    <a:pt x="1136" y="361"/>
                  </a:lnTo>
                  <a:lnTo>
                    <a:pt x="1136" y="363"/>
                  </a:lnTo>
                  <a:lnTo>
                    <a:pt x="1134" y="363"/>
                  </a:lnTo>
                  <a:lnTo>
                    <a:pt x="1136" y="363"/>
                  </a:lnTo>
                  <a:lnTo>
                    <a:pt x="1134" y="363"/>
                  </a:lnTo>
                  <a:lnTo>
                    <a:pt x="1134" y="366"/>
                  </a:lnTo>
                  <a:lnTo>
                    <a:pt x="1131" y="366"/>
                  </a:lnTo>
                  <a:lnTo>
                    <a:pt x="1129" y="363"/>
                  </a:lnTo>
                  <a:lnTo>
                    <a:pt x="1127" y="363"/>
                  </a:lnTo>
                  <a:lnTo>
                    <a:pt x="1129" y="363"/>
                  </a:lnTo>
                  <a:lnTo>
                    <a:pt x="1129" y="366"/>
                  </a:lnTo>
                  <a:lnTo>
                    <a:pt x="1127" y="366"/>
                  </a:lnTo>
                  <a:lnTo>
                    <a:pt x="1124" y="366"/>
                  </a:lnTo>
                  <a:lnTo>
                    <a:pt x="1127" y="366"/>
                  </a:lnTo>
                  <a:lnTo>
                    <a:pt x="1124" y="363"/>
                  </a:lnTo>
                  <a:lnTo>
                    <a:pt x="1122" y="363"/>
                  </a:lnTo>
                  <a:lnTo>
                    <a:pt x="1119" y="363"/>
                  </a:lnTo>
                  <a:lnTo>
                    <a:pt x="1122" y="363"/>
                  </a:lnTo>
                  <a:lnTo>
                    <a:pt x="1119" y="363"/>
                  </a:lnTo>
                  <a:lnTo>
                    <a:pt x="1117" y="361"/>
                  </a:lnTo>
                  <a:lnTo>
                    <a:pt x="1117" y="358"/>
                  </a:lnTo>
                  <a:lnTo>
                    <a:pt x="1117" y="361"/>
                  </a:lnTo>
                  <a:lnTo>
                    <a:pt x="1117" y="358"/>
                  </a:lnTo>
                  <a:lnTo>
                    <a:pt x="1119" y="358"/>
                  </a:lnTo>
                  <a:lnTo>
                    <a:pt x="1117" y="358"/>
                  </a:lnTo>
                  <a:lnTo>
                    <a:pt x="1115" y="358"/>
                  </a:lnTo>
                  <a:lnTo>
                    <a:pt x="1115" y="356"/>
                  </a:lnTo>
                  <a:lnTo>
                    <a:pt x="1112" y="356"/>
                  </a:lnTo>
                  <a:lnTo>
                    <a:pt x="1112" y="354"/>
                  </a:lnTo>
                  <a:lnTo>
                    <a:pt x="1112" y="351"/>
                  </a:lnTo>
                  <a:lnTo>
                    <a:pt x="1112" y="349"/>
                  </a:lnTo>
                  <a:lnTo>
                    <a:pt x="1112" y="351"/>
                  </a:lnTo>
                  <a:lnTo>
                    <a:pt x="1112" y="349"/>
                  </a:lnTo>
                  <a:lnTo>
                    <a:pt x="1110" y="349"/>
                  </a:lnTo>
                  <a:lnTo>
                    <a:pt x="1112" y="349"/>
                  </a:lnTo>
                  <a:lnTo>
                    <a:pt x="1110" y="349"/>
                  </a:lnTo>
                  <a:lnTo>
                    <a:pt x="1112" y="349"/>
                  </a:lnTo>
                  <a:lnTo>
                    <a:pt x="1112" y="347"/>
                  </a:lnTo>
                  <a:lnTo>
                    <a:pt x="1110" y="347"/>
                  </a:lnTo>
                  <a:lnTo>
                    <a:pt x="1112" y="347"/>
                  </a:lnTo>
                  <a:lnTo>
                    <a:pt x="1112" y="349"/>
                  </a:lnTo>
                  <a:lnTo>
                    <a:pt x="1112" y="347"/>
                  </a:lnTo>
                  <a:lnTo>
                    <a:pt x="1112" y="349"/>
                  </a:lnTo>
                  <a:lnTo>
                    <a:pt x="1112" y="347"/>
                  </a:lnTo>
                  <a:lnTo>
                    <a:pt x="1115" y="347"/>
                  </a:lnTo>
                  <a:lnTo>
                    <a:pt x="1112" y="347"/>
                  </a:lnTo>
                  <a:lnTo>
                    <a:pt x="1115" y="347"/>
                  </a:lnTo>
                  <a:lnTo>
                    <a:pt x="1112" y="347"/>
                  </a:lnTo>
                  <a:lnTo>
                    <a:pt x="1112" y="344"/>
                  </a:lnTo>
                  <a:lnTo>
                    <a:pt x="1115" y="344"/>
                  </a:lnTo>
                  <a:lnTo>
                    <a:pt x="1117" y="342"/>
                  </a:lnTo>
                  <a:lnTo>
                    <a:pt x="1117" y="344"/>
                  </a:lnTo>
                  <a:lnTo>
                    <a:pt x="1117" y="342"/>
                  </a:lnTo>
                  <a:lnTo>
                    <a:pt x="1115" y="342"/>
                  </a:lnTo>
                  <a:lnTo>
                    <a:pt x="1112" y="342"/>
                  </a:lnTo>
                  <a:lnTo>
                    <a:pt x="1110" y="344"/>
                  </a:lnTo>
                  <a:lnTo>
                    <a:pt x="1110" y="342"/>
                  </a:lnTo>
                  <a:lnTo>
                    <a:pt x="1110" y="344"/>
                  </a:lnTo>
                  <a:lnTo>
                    <a:pt x="1108" y="344"/>
                  </a:lnTo>
                  <a:lnTo>
                    <a:pt x="1110" y="344"/>
                  </a:lnTo>
                  <a:lnTo>
                    <a:pt x="1108" y="344"/>
                  </a:lnTo>
                  <a:lnTo>
                    <a:pt x="1110" y="344"/>
                  </a:lnTo>
                  <a:lnTo>
                    <a:pt x="1108" y="344"/>
                  </a:lnTo>
                  <a:lnTo>
                    <a:pt x="1108" y="347"/>
                  </a:lnTo>
                  <a:lnTo>
                    <a:pt x="1108" y="344"/>
                  </a:lnTo>
                  <a:lnTo>
                    <a:pt x="1108" y="347"/>
                  </a:lnTo>
                  <a:lnTo>
                    <a:pt x="1105" y="347"/>
                  </a:lnTo>
                  <a:lnTo>
                    <a:pt x="1108" y="347"/>
                  </a:lnTo>
                  <a:lnTo>
                    <a:pt x="1105" y="347"/>
                  </a:lnTo>
                  <a:lnTo>
                    <a:pt x="1105" y="349"/>
                  </a:lnTo>
                  <a:lnTo>
                    <a:pt x="1108" y="349"/>
                  </a:lnTo>
                  <a:lnTo>
                    <a:pt x="1105" y="349"/>
                  </a:lnTo>
                  <a:lnTo>
                    <a:pt x="1105" y="347"/>
                  </a:lnTo>
                  <a:lnTo>
                    <a:pt x="1103" y="347"/>
                  </a:lnTo>
                  <a:lnTo>
                    <a:pt x="1103" y="344"/>
                  </a:lnTo>
                  <a:lnTo>
                    <a:pt x="1101" y="344"/>
                  </a:lnTo>
                  <a:lnTo>
                    <a:pt x="1103" y="347"/>
                  </a:lnTo>
                  <a:lnTo>
                    <a:pt x="1101" y="347"/>
                  </a:lnTo>
                  <a:lnTo>
                    <a:pt x="1098" y="347"/>
                  </a:lnTo>
                  <a:lnTo>
                    <a:pt x="1098" y="349"/>
                  </a:lnTo>
                  <a:lnTo>
                    <a:pt x="1101" y="349"/>
                  </a:lnTo>
                  <a:lnTo>
                    <a:pt x="1103" y="351"/>
                  </a:lnTo>
                  <a:lnTo>
                    <a:pt x="1101" y="351"/>
                  </a:lnTo>
                  <a:lnTo>
                    <a:pt x="1098" y="351"/>
                  </a:lnTo>
                  <a:lnTo>
                    <a:pt x="1098" y="349"/>
                  </a:lnTo>
                  <a:lnTo>
                    <a:pt x="1098" y="351"/>
                  </a:lnTo>
                  <a:lnTo>
                    <a:pt x="1101" y="351"/>
                  </a:lnTo>
                  <a:lnTo>
                    <a:pt x="1098" y="351"/>
                  </a:lnTo>
                  <a:lnTo>
                    <a:pt x="1098" y="349"/>
                  </a:lnTo>
                  <a:lnTo>
                    <a:pt x="1098" y="347"/>
                  </a:lnTo>
                  <a:lnTo>
                    <a:pt x="1096" y="347"/>
                  </a:lnTo>
                  <a:lnTo>
                    <a:pt x="1098" y="347"/>
                  </a:lnTo>
                  <a:lnTo>
                    <a:pt x="1096" y="347"/>
                  </a:lnTo>
                  <a:lnTo>
                    <a:pt x="1098" y="347"/>
                  </a:lnTo>
                  <a:lnTo>
                    <a:pt x="1096" y="347"/>
                  </a:lnTo>
                  <a:lnTo>
                    <a:pt x="1093" y="347"/>
                  </a:lnTo>
                  <a:lnTo>
                    <a:pt x="1096" y="349"/>
                  </a:lnTo>
                  <a:lnTo>
                    <a:pt x="1093" y="347"/>
                  </a:lnTo>
                  <a:lnTo>
                    <a:pt x="1096" y="349"/>
                  </a:lnTo>
                  <a:lnTo>
                    <a:pt x="1093" y="349"/>
                  </a:lnTo>
                  <a:lnTo>
                    <a:pt x="1096" y="349"/>
                  </a:lnTo>
                  <a:lnTo>
                    <a:pt x="1093" y="349"/>
                  </a:lnTo>
                  <a:lnTo>
                    <a:pt x="1093" y="347"/>
                  </a:lnTo>
                  <a:lnTo>
                    <a:pt x="1091" y="347"/>
                  </a:lnTo>
                  <a:lnTo>
                    <a:pt x="1091" y="344"/>
                  </a:lnTo>
                  <a:lnTo>
                    <a:pt x="1091" y="342"/>
                  </a:lnTo>
                  <a:lnTo>
                    <a:pt x="1089" y="342"/>
                  </a:lnTo>
                  <a:lnTo>
                    <a:pt x="1089" y="339"/>
                  </a:lnTo>
                  <a:lnTo>
                    <a:pt x="1086" y="339"/>
                  </a:lnTo>
                  <a:lnTo>
                    <a:pt x="1089" y="339"/>
                  </a:lnTo>
                  <a:lnTo>
                    <a:pt x="1089" y="337"/>
                  </a:lnTo>
                  <a:lnTo>
                    <a:pt x="1086" y="337"/>
                  </a:lnTo>
                  <a:lnTo>
                    <a:pt x="1086" y="335"/>
                  </a:lnTo>
                  <a:lnTo>
                    <a:pt x="1086" y="332"/>
                  </a:lnTo>
                  <a:lnTo>
                    <a:pt x="1086" y="330"/>
                  </a:lnTo>
                  <a:lnTo>
                    <a:pt x="1084" y="330"/>
                  </a:lnTo>
                  <a:lnTo>
                    <a:pt x="1084" y="332"/>
                  </a:lnTo>
                  <a:lnTo>
                    <a:pt x="1086" y="332"/>
                  </a:lnTo>
                  <a:lnTo>
                    <a:pt x="1084" y="332"/>
                  </a:lnTo>
                  <a:lnTo>
                    <a:pt x="1084" y="335"/>
                  </a:lnTo>
                  <a:lnTo>
                    <a:pt x="1086" y="335"/>
                  </a:lnTo>
                  <a:lnTo>
                    <a:pt x="1086" y="337"/>
                  </a:lnTo>
                  <a:lnTo>
                    <a:pt x="1086" y="339"/>
                  </a:lnTo>
                  <a:lnTo>
                    <a:pt x="1084" y="339"/>
                  </a:lnTo>
                  <a:lnTo>
                    <a:pt x="1086" y="339"/>
                  </a:lnTo>
                  <a:lnTo>
                    <a:pt x="1084" y="339"/>
                  </a:lnTo>
                  <a:lnTo>
                    <a:pt x="1086" y="339"/>
                  </a:lnTo>
                  <a:lnTo>
                    <a:pt x="1084" y="342"/>
                  </a:lnTo>
                  <a:lnTo>
                    <a:pt x="1082" y="342"/>
                  </a:lnTo>
                  <a:lnTo>
                    <a:pt x="1084" y="342"/>
                  </a:lnTo>
                  <a:lnTo>
                    <a:pt x="1082" y="342"/>
                  </a:lnTo>
                  <a:lnTo>
                    <a:pt x="1082" y="339"/>
                  </a:lnTo>
                  <a:lnTo>
                    <a:pt x="1082" y="342"/>
                  </a:lnTo>
                  <a:lnTo>
                    <a:pt x="1082" y="344"/>
                  </a:lnTo>
                  <a:lnTo>
                    <a:pt x="1079" y="344"/>
                  </a:lnTo>
                  <a:lnTo>
                    <a:pt x="1079" y="342"/>
                  </a:lnTo>
                  <a:lnTo>
                    <a:pt x="1077" y="342"/>
                  </a:lnTo>
                  <a:lnTo>
                    <a:pt x="1077" y="339"/>
                  </a:lnTo>
                  <a:lnTo>
                    <a:pt x="1079" y="339"/>
                  </a:lnTo>
                  <a:lnTo>
                    <a:pt x="1077" y="339"/>
                  </a:lnTo>
                  <a:lnTo>
                    <a:pt x="1077" y="337"/>
                  </a:lnTo>
                  <a:lnTo>
                    <a:pt x="1077" y="335"/>
                  </a:lnTo>
                  <a:lnTo>
                    <a:pt x="1077" y="337"/>
                  </a:lnTo>
                  <a:lnTo>
                    <a:pt x="1077" y="339"/>
                  </a:lnTo>
                  <a:lnTo>
                    <a:pt x="1074" y="339"/>
                  </a:lnTo>
                  <a:lnTo>
                    <a:pt x="1077" y="339"/>
                  </a:lnTo>
                  <a:lnTo>
                    <a:pt x="1077" y="342"/>
                  </a:lnTo>
                  <a:lnTo>
                    <a:pt x="1074" y="342"/>
                  </a:lnTo>
                  <a:lnTo>
                    <a:pt x="1074" y="344"/>
                  </a:lnTo>
                  <a:lnTo>
                    <a:pt x="1077" y="344"/>
                  </a:lnTo>
                  <a:lnTo>
                    <a:pt x="1077" y="347"/>
                  </a:lnTo>
                  <a:lnTo>
                    <a:pt x="1074" y="347"/>
                  </a:lnTo>
                  <a:lnTo>
                    <a:pt x="1077" y="347"/>
                  </a:lnTo>
                  <a:lnTo>
                    <a:pt x="1074" y="347"/>
                  </a:lnTo>
                  <a:lnTo>
                    <a:pt x="1074" y="344"/>
                  </a:lnTo>
                  <a:lnTo>
                    <a:pt x="1074" y="347"/>
                  </a:lnTo>
                  <a:lnTo>
                    <a:pt x="1072" y="347"/>
                  </a:lnTo>
                  <a:lnTo>
                    <a:pt x="1070" y="347"/>
                  </a:lnTo>
                  <a:lnTo>
                    <a:pt x="1067" y="347"/>
                  </a:lnTo>
                  <a:lnTo>
                    <a:pt x="1065" y="347"/>
                  </a:lnTo>
                  <a:lnTo>
                    <a:pt x="1063" y="344"/>
                  </a:lnTo>
                  <a:lnTo>
                    <a:pt x="1060" y="344"/>
                  </a:lnTo>
                  <a:lnTo>
                    <a:pt x="1058" y="344"/>
                  </a:lnTo>
                  <a:lnTo>
                    <a:pt x="1058" y="342"/>
                  </a:lnTo>
                  <a:lnTo>
                    <a:pt x="1058" y="344"/>
                  </a:lnTo>
                  <a:lnTo>
                    <a:pt x="1055" y="342"/>
                  </a:lnTo>
                  <a:lnTo>
                    <a:pt x="1055" y="339"/>
                  </a:lnTo>
                  <a:lnTo>
                    <a:pt x="1053" y="339"/>
                  </a:lnTo>
                  <a:lnTo>
                    <a:pt x="1055" y="339"/>
                  </a:lnTo>
                  <a:lnTo>
                    <a:pt x="1053" y="339"/>
                  </a:lnTo>
                  <a:lnTo>
                    <a:pt x="1055" y="339"/>
                  </a:lnTo>
                  <a:lnTo>
                    <a:pt x="1055" y="337"/>
                  </a:lnTo>
                  <a:lnTo>
                    <a:pt x="1053" y="337"/>
                  </a:lnTo>
                  <a:lnTo>
                    <a:pt x="1053" y="335"/>
                  </a:lnTo>
                  <a:lnTo>
                    <a:pt x="1053" y="332"/>
                  </a:lnTo>
                  <a:lnTo>
                    <a:pt x="1051" y="332"/>
                  </a:lnTo>
                  <a:lnTo>
                    <a:pt x="1053" y="332"/>
                  </a:lnTo>
                  <a:lnTo>
                    <a:pt x="1051" y="332"/>
                  </a:lnTo>
                  <a:lnTo>
                    <a:pt x="1051" y="330"/>
                  </a:lnTo>
                  <a:lnTo>
                    <a:pt x="1051" y="328"/>
                  </a:lnTo>
                  <a:lnTo>
                    <a:pt x="1048" y="325"/>
                  </a:lnTo>
                  <a:lnTo>
                    <a:pt x="1048" y="323"/>
                  </a:lnTo>
                  <a:lnTo>
                    <a:pt x="1051" y="323"/>
                  </a:lnTo>
                  <a:lnTo>
                    <a:pt x="1051" y="320"/>
                  </a:lnTo>
                  <a:lnTo>
                    <a:pt x="1051" y="318"/>
                  </a:lnTo>
                  <a:lnTo>
                    <a:pt x="1051" y="316"/>
                  </a:lnTo>
                  <a:lnTo>
                    <a:pt x="1053" y="316"/>
                  </a:lnTo>
                  <a:lnTo>
                    <a:pt x="1053" y="313"/>
                  </a:lnTo>
                  <a:lnTo>
                    <a:pt x="1053" y="311"/>
                  </a:lnTo>
                  <a:lnTo>
                    <a:pt x="1055" y="311"/>
                  </a:lnTo>
                  <a:lnTo>
                    <a:pt x="1055" y="309"/>
                  </a:lnTo>
                  <a:lnTo>
                    <a:pt x="1058" y="309"/>
                  </a:lnTo>
                  <a:lnTo>
                    <a:pt x="1060" y="306"/>
                  </a:lnTo>
                  <a:lnTo>
                    <a:pt x="1063" y="306"/>
                  </a:lnTo>
                  <a:lnTo>
                    <a:pt x="1063" y="304"/>
                  </a:lnTo>
                  <a:lnTo>
                    <a:pt x="1063" y="306"/>
                  </a:lnTo>
                  <a:lnTo>
                    <a:pt x="1063" y="304"/>
                  </a:lnTo>
                  <a:lnTo>
                    <a:pt x="1063" y="306"/>
                  </a:lnTo>
                  <a:lnTo>
                    <a:pt x="1065" y="306"/>
                  </a:lnTo>
                  <a:lnTo>
                    <a:pt x="1065" y="309"/>
                  </a:lnTo>
                  <a:lnTo>
                    <a:pt x="1067" y="309"/>
                  </a:lnTo>
                  <a:lnTo>
                    <a:pt x="1065" y="309"/>
                  </a:lnTo>
                  <a:lnTo>
                    <a:pt x="1067" y="309"/>
                  </a:lnTo>
                  <a:lnTo>
                    <a:pt x="1065" y="309"/>
                  </a:lnTo>
                  <a:lnTo>
                    <a:pt x="1067" y="309"/>
                  </a:lnTo>
                  <a:lnTo>
                    <a:pt x="1070" y="309"/>
                  </a:lnTo>
                  <a:lnTo>
                    <a:pt x="1070" y="311"/>
                  </a:lnTo>
                  <a:lnTo>
                    <a:pt x="1070" y="309"/>
                  </a:lnTo>
                  <a:lnTo>
                    <a:pt x="1072" y="309"/>
                  </a:lnTo>
                  <a:lnTo>
                    <a:pt x="1072" y="311"/>
                  </a:lnTo>
                  <a:lnTo>
                    <a:pt x="1072" y="309"/>
                  </a:lnTo>
                  <a:lnTo>
                    <a:pt x="1074" y="309"/>
                  </a:lnTo>
                  <a:lnTo>
                    <a:pt x="1074" y="306"/>
                  </a:lnTo>
                  <a:lnTo>
                    <a:pt x="1077" y="306"/>
                  </a:lnTo>
                  <a:lnTo>
                    <a:pt x="1074" y="306"/>
                  </a:lnTo>
                  <a:lnTo>
                    <a:pt x="1074" y="309"/>
                  </a:lnTo>
                  <a:lnTo>
                    <a:pt x="1077" y="309"/>
                  </a:lnTo>
                  <a:lnTo>
                    <a:pt x="1074" y="309"/>
                  </a:lnTo>
                  <a:lnTo>
                    <a:pt x="1074" y="311"/>
                  </a:lnTo>
                  <a:lnTo>
                    <a:pt x="1074" y="309"/>
                  </a:lnTo>
                  <a:lnTo>
                    <a:pt x="1077" y="309"/>
                  </a:lnTo>
                  <a:lnTo>
                    <a:pt x="1077" y="311"/>
                  </a:lnTo>
                  <a:lnTo>
                    <a:pt x="1077" y="309"/>
                  </a:lnTo>
                  <a:lnTo>
                    <a:pt x="1077" y="311"/>
                  </a:lnTo>
                  <a:lnTo>
                    <a:pt x="1077" y="309"/>
                  </a:lnTo>
                  <a:lnTo>
                    <a:pt x="1079" y="311"/>
                  </a:lnTo>
                  <a:lnTo>
                    <a:pt x="1082" y="311"/>
                  </a:lnTo>
                  <a:lnTo>
                    <a:pt x="1084" y="311"/>
                  </a:lnTo>
                  <a:lnTo>
                    <a:pt x="1082" y="311"/>
                  </a:lnTo>
                  <a:lnTo>
                    <a:pt x="1084" y="311"/>
                  </a:lnTo>
                  <a:lnTo>
                    <a:pt x="1082" y="311"/>
                  </a:lnTo>
                  <a:lnTo>
                    <a:pt x="1084" y="311"/>
                  </a:lnTo>
                  <a:lnTo>
                    <a:pt x="1084" y="309"/>
                  </a:lnTo>
                  <a:lnTo>
                    <a:pt x="1082" y="309"/>
                  </a:lnTo>
                  <a:lnTo>
                    <a:pt x="1082" y="306"/>
                  </a:lnTo>
                  <a:lnTo>
                    <a:pt x="1082" y="304"/>
                  </a:lnTo>
                  <a:lnTo>
                    <a:pt x="1082" y="306"/>
                  </a:lnTo>
                  <a:lnTo>
                    <a:pt x="1082" y="304"/>
                  </a:lnTo>
                  <a:lnTo>
                    <a:pt x="1084" y="304"/>
                  </a:lnTo>
                  <a:lnTo>
                    <a:pt x="1084" y="306"/>
                  </a:lnTo>
                  <a:lnTo>
                    <a:pt x="1086" y="306"/>
                  </a:lnTo>
                  <a:lnTo>
                    <a:pt x="1084" y="306"/>
                  </a:lnTo>
                  <a:lnTo>
                    <a:pt x="1086" y="306"/>
                  </a:lnTo>
                  <a:lnTo>
                    <a:pt x="1084" y="306"/>
                  </a:lnTo>
                  <a:lnTo>
                    <a:pt x="1084" y="304"/>
                  </a:lnTo>
                  <a:lnTo>
                    <a:pt x="1084" y="306"/>
                  </a:lnTo>
                  <a:lnTo>
                    <a:pt x="1086" y="306"/>
                  </a:lnTo>
                  <a:lnTo>
                    <a:pt x="1086" y="304"/>
                  </a:lnTo>
                  <a:lnTo>
                    <a:pt x="1084" y="304"/>
                  </a:lnTo>
                  <a:lnTo>
                    <a:pt x="1086" y="304"/>
                  </a:lnTo>
                  <a:lnTo>
                    <a:pt x="1084" y="304"/>
                  </a:lnTo>
                  <a:lnTo>
                    <a:pt x="1084" y="301"/>
                  </a:lnTo>
                  <a:lnTo>
                    <a:pt x="1082" y="301"/>
                  </a:lnTo>
                  <a:lnTo>
                    <a:pt x="1084" y="301"/>
                  </a:lnTo>
                  <a:lnTo>
                    <a:pt x="1086" y="301"/>
                  </a:lnTo>
                  <a:lnTo>
                    <a:pt x="1086" y="299"/>
                  </a:lnTo>
                  <a:lnTo>
                    <a:pt x="1084" y="299"/>
                  </a:lnTo>
                  <a:lnTo>
                    <a:pt x="1086" y="299"/>
                  </a:lnTo>
                  <a:lnTo>
                    <a:pt x="1084" y="299"/>
                  </a:lnTo>
                  <a:lnTo>
                    <a:pt x="1084" y="297"/>
                  </a:lnTo>
                  <a:lnTo>
                    <a:pt x="1084" y="299"/>
                  </a:lnTo>
                  <a:lnTo>
                    <a:pt x="1084" y="297"/>
                  </a:lnTo>
                  <a:lnTo>
                    <a:pt x="1084" y="299"/>
                  </a:lnTo>
                  <a:lnTo>
                    <a:pt x="1086" y="299"/>
                  </a:lnTo>
                  <a:lnTo>
                    <a:pt x="1089" y="299"/>
                  </a:lnTo>
                  <a:lnTo>
                    <a:pt x="1089" y="297"/>
                  </a:lnTo>
                  <a:lnTo>
                    <a:pt x="1091" y="297"/>
                  </a:lnTo>
                  <a:lnTo>
                    <a:pt x="1091" y="294"/>
                  </a:lnTo>
                  <a:lnTo>
                    <a:pt x="1089" y="294"/>
                  </a:lnTo>
                  <a:lnTo>
                    <a:pt x="1089" y="292"/>
                  </a:lnTo>
                  <a:lnTo>
                    <a:pt x="1086" y="292"/>
                  </a:lnTo>
                  <a:lnTo>
                    <a:pt x="1089" y="292"/>
                  </a:lnTo>
                  <a:lnTo>
                    <a:pt x="1091" y="292"/>
                  </a:lnTo>
                  <a:lnTo>
                    <a:pt x="1091" y="294"/>
                  </a:lnTo>
                  <a:lnTo>
                    <a:pt x="1093" y="294"/>
                  </a:lnTo>
                  <a:lnTo>
                    <a:pt x="1096" y="294"/>
                  </a:lnTo>
                  <a:lnTo>
                    <a:pt x="1098" y="294"/>
                  </a:lnTo>
                  <a:lnTo>
                    <a:pt x="1098" y="292"/>
                  </a:lnTo>
                  <a:lnTo>
                    <a:pt x="1098" y="294"/>
                  </a:lnTo>
                  <a:lnTo>
                    <a:pt x="1096" y="294"/>
                  </a:lnTo>
                  <a:lnTo>
                    <a:pt x="1093" y="294"/>
                  </a:lnTo>
                  <a:lnTo>
                    <a:pt x="1091" y="292"/>
                  </a:lnTo>
                  <a:lnTo>
                    <a:pt x="1093" y="290"/>
                  </a:lnTo>
                  <a:lnTo>
                    <a:pt x="1091" y="290"/>
                  </a:lnTo>
                  <a:lnTo>
                    <a:pt x="1091" y="287"/>
                  </a:lnTo>
                  <a:lnTo>
                    <a:pt x="1091" y="290"/>
                  </a:lnTo>
                  <a:lnTo>
                    <a:pt x="1093" y="287"/>
                  </a:lnTo>
                  <a:lnTo>
                    <a:pt x="1093" y="290"/>
                  </a:lnTo>
                  <a:lnTo>
                    <a:pt x="1093" y="287"/>
                  </a:lnTo>
                  <a:lnTo>
                    <a:pt x="1096" y="287"/>
                  </a:lnTo>
                  <a:lnTo>
                    <a:pt x="1093" y="287"/>
                  </a:lnTo>
                  <a:lnTo>
                    <a:pt x="1096" y="287"/>
                  </a:lnTo>
                  <a:lnTo>
                    <a:pt x="1093" y="287"/>
                  </a:lnTo>
                  <a:lnTo>
                    <a:pt x="1091" y="285"/>
                  </a:lnTo>
                  <a:lnTo>
                    <a:pt x="1093" y="285"/>
                  </a:lnTo>
                  <a:lnTo>
                    <a:pt x="1091" y="285"/>
                  </a:lnTo>
                  <a:lnTo>
                    <a:pt x="1091" y="287"/>
                  </a:lnTo>
                  <a:lnTo>
                    <a:pt x="1091" y="285"/>
                  </a:lnTo>
                  <a:lnTo>
                    <a:pt x="1093" y="285"/>
                  </a:lnTo>
                  <a:lnTo>
                    <a:pt x="1096" y="285"/>
                  </a:lnTo>
                  <a:lnTo>
                    <a:pt x="1096" y="282"/>
                  </a:lnTo>
                  <a:lnTo>
                    <a:pt x="1098" y="285"/>
                  </a:lnTo>
                  <a:lnTo>
                    <a:pt x="1098" y="282"/>
                  </a:lnTo>
                  <a:lnTo>
                    <a:pt x="1096" y="282"/>
                  </a:lnTo>
                  <a:lnTo>
                    <a:pt x="1098" y="282"/>
                  </a:lnTo>
                  <a:lnTo>
                    <a:pt x="1101" y="280"/>
                  </a:lnTo>
                  <a:lnTo>
                    <a:pt x="1098" y="280"/>
                  </a:lnTo>
                  <a:lnTo>
                    <a:pt x="1101" y="280"/>
                  </a:lnTo>
                  <a:lnTo>
                    <a:pt x="1103" y="280"/>
                  </a:lnTo>
                  <a:lnTo>
                    <a:pt x="1103" y="278"/>
                  </a:lnTo>
                  <a:lnTo>
                    <a:pt x="1105" y="280"/>
                  </a:lnTo>
                  <a:lnTo>
                    <a:pt x="1105" y="278"/>
                  </a:lnTo>
                  <a:lnTo>
                    <a:pt x="1105" y="280"/>
                  </a:lnTo>
                  <a:lnTo>
                    <a:pt x="1108" y="280"/>
                  </a:lnTo>
                  <a:lnTo>
                    <a:pt x="1110" y="280"/>
                  </a:lnTo>
                  <a:lnTo>
                    <a:pt x="1112" y="280"/>
                  </a:lnTo>
                  <a:lnTo>
                    <a:pt x="1110" y="280"/>
                  </a:lnTo>
                  <a:lnTo>
                    <a:pt x="1112" y="280"/>
                  </a:lnTo>
                  <a:lnTo>
                    <a:pt x="1110" y="280"/>
                  </a:lnTo>
                  <a:lnTo>
                    <a:pt x="1108" y="280"/>
                  </a:lnTo>
                  <a:lnTo>
                    <a:pt x="1108" y="278"/>
                  </a:lnTo>
                  <a:lnTo>
                    <a:pt x="1105" y="278"/>
                  </a:lnTo>
                  <a:lnTo>
                    <a:pt x="1103" y="278"/>
                  </a:lnTo>
                  <a:lnTo>
                    <a:pt x="1101" y="278"/>
                  </a:lnTo>
                  <a:lnTo>
                    <a:pt x="1098" y="278"/>
                  </a:lnTo>
                  <a:lnTo>
                    <a:pt x="1098" y="280"/>
                  </a:lnTo>
                  <a:lnTo>
                    <a:pt x="1096" y="280"/>
                  </a:lnTo>
                  <a:lnTo>
                    <a:pt x="1093" y="280"/>
                  </a:lnTo>
                  <a:lnTo>
                    <a:pt x="1091" y="280"/>
                  </a:lnTo>
                  <a:lnTo>
                    <a:pt x="1093" y="280"/>
                  </a:lnTo>
                  <a:lnTo>
                    <a:pt x="1091" y="280"/>
                  </a:lnTo>
                  <a:lnTo>
                    <a:pt x="1093" y="280"/>
                  </a:lnTo>
                  <a:lnTo>
                    <a:pt x="1093" y="278"/>
                  </a:lnTo>
                  <a:lnTo>
                    <a:pt x="1096" y="278"/>
                  </a:lnTo>
                  <a:lnTo>
                    <a:pt x="1096" y="275"/>
                  </a:lnTo>
                  <a:lnTo>
                    <a:pt x="1093" y="278"/>
                  </a:lnTo>
                  <a:lnTo>
                    <a:pt x="1093" y="275"/>
                  </a:lnTo>
                  <a:lnTo>
                    <a:pt x="1093" y="278"/>
                  </a:lnTo>
                  <a:lnTo>
                    <a:pt x="1093" y="275"/>
                  </a:lnTo>
                  <a:lnTo>
                    <a:pt x="1096" y="275"/>
                  </a:lnTo>
                  <a:lnTo>
                    <a:pt x="1098" y="275"/>
                  </a:lnTo>
                  <a:lnTo>
                    <a:pt x="1096" y="275"/>
                  </a:lnTo>
                  <a:lnTo>
                    <a:pt x="1098" y="275"/>
                  </a:lnTo>
                  <a:lnTo>
                    <a:pt x="1101" y="273"/>
                  </a:lnTo>
                  <a:lnTo>
                    <a:pt x="1103" y="273"/>
                  </a:lnTo>
                  <a:lnTo>
                    <a:pt x="1103" y="275"/>
                  </a:lnTo>
                  <a:lnTo>
                    <a:pt x="1105" y="275"/>
                  </a:lnTo>
                  <a:lnTo>
                    <a:pt x="1108" y="275"/>
                  </a:lnTo>
                  <a:lnTo>
                    <a:pt x="1110" y="275"/>
                  </a:lnTo>
                  <a:lnTo>
                    <a:pt x="1108" y="275"/>
                  </a:lnTo>
                  <a:lnTo>
                    <a:pt x="1110" y="275"/>
                  </a:lnTo>
                  <a:lnTo>
                    <a:pt x="1108" y="275"/>
                  </a:lnTo>
                  <a:lnTo>
                    <a:pt x="1105" y="275"/>
                  </a:lnTo>
                  <a:lnTo>
                    <a:pt x="1105" y="273"/>
                  </a:lnTo>
                  <a:lnTo>
                    <a:pt x="1103" y="273"/>
                  </a:lnTo>
                  <a:lnTo>
                    <a:pt x="1101" y="273"/>
                  </a:lnTo>
                  <a:lnTo>
                    <a:pt x="1098" y="273"/>
                  </a:lnTo>
                  <a:lnTo>
                    <a:pt x="1096" y="273"/>
                  </a:lnTo>
                  <a:lnTo>
                    <a:pt x="1096" y="275"/>
                  </a:lnTo>
                  <a:lnTo>
                    <a:pt x="1093" y="275"/>
                  </a:lnTo>
                  <a:lnTo>
                    <a:pt x="1093" y="273"/>
                  </a:lnTo>
                  <a:lnTo>
                    <a:pt x="1093" y="275"/>
                  </a:lnTo>
                  <a:lnTo>
                    <a:pt x="1091" y="273"/>
                  </a:lnTo>
                  <a:lnTo>
                    <a:pt x="1089" y="273"/>
                  </a:lnTo>
                  <a:lnTo>
                    <a:pt x="1089" y="275"/>
                  </a:lnTo>
                  <a:lnTo>
                    <a:pt x="1089" y="273"/>
                  </a:lnTo>
                  <a:lnTo>
                    <a:pt x="1086" y="273"/>
                  </a:lnTo>
                  <a:lnTo>
                    <a:pt x="1084" y="273"/>
                  </a:lnTo>
                  <a:lnTo>
                    <a:pt x="1084" y="271"/>
                  </a:lnTo>
                  <a:lnTo>
                    <a:pt x="1082" y="271"/>
                  </a:lnTo>
                  <a:lnTo>
                    <a:pt x="1082" y="268"/>
                  </a:lnTo>
                  <a:lnTo>
                    <a:pt x="1082" y="271"/>
                  </a:lnTo>
                  <a:lnTo>
                    <a:pt x="1084" y="271"/>
                  </a:lnTo>
                  <a:lnTo>
                    <a:pt x="1082" y="271"/>
                  </a:lnTo>
                  <a:lnTo>
                    <a:pt x="1084" y="268"/>
                  </a:lnTo>
                  <a:lnTo>
                    <a:pt x="1084" y="266"/>
                  </a:lnTo>
                  <a:lnTo>
                    <a:pt x="1086" y="266"/>
                  </a:lnTo>
                  <a:lnTo>
                    <a:pt x="1086" y="263"/>
                  </a:lnTo>
                  <a:lnTo>
                    <a:pt x="1089" y="263"/>
                  </a:lnTo>
                  <a:lnTo>
                    <a:pt x="1089" y="261"/>
                  </a:lnTo>
                  <a:lnTo>
                    <a:pt x="1091" y="261"/>
                  </a:lnTo>
                  <a:lnTo>
                    <a:pt x="1093" y="261"/>
                  </a:lnTo>
                  <a:lnTo>
                    <a:pt x="1096" y="261"/>
                  </a:lnTo>
                  <a:lnTo>
                    <a:pt x="1096" y="259"/>
                  </a:lnTo>
                  <a:lnTo>
                    <a:pt x="1098" y="259"/>
                  </a:lnTo>
                  <a:lnTo>
                    <a:pt x="1101" y="259"/>
                  </a:lnTo>
                  <a:lnTo>
                    <a:pt x="1103" y="259"/>
                  </a:lnTo>
                  <a:lnTo>
                    <a:pt x="1105" y="259"/>
                  </a:lnTo>
                  <a:lnTo>
                    <a:pt x="1108" y="259"/>
                  </a:lnTo>
                  <a:lnTo>
                    <a:pt x="1108" y="261"/>
                  </a:lnTo>
                  <a:lnTo>
                    <a:pt x="1110" y="261"/>
                  </a:lnTo>
                  <a:lnTo>
                    <a:pt x="1112" y="261"/>
                  </a:lnTo>
                  <a:lnTo>
                    <a:pt x="1110" y="261"/>
                  </a:lnTo>
                  <a:lnTo>
                    <a:pt x="1112" y="261"/>
                  </a:lnTo>
                  <a:lnTo>
                    <a:pt x="1115" y="261"/>
                  </a:lnTo>
                  <a:lnTo>
                    <a:pt x="1117" y="261"/>
                  </a:lnTo>
                  <a:lnTo>
                    <a:pt x="1119" y="261"/>
                  </a:lnTo>
                  <a:lnTo>
                    <a:pt x="1122" y="259"/>
                  </a:lnTo>
                  <a:lnTo>
                    <a:pt x="1119" y="259"/>
                  </a:lnTo>
                  <a:lnTo>
                    <a:pt x="1119" y="261"/>
                  </a:lnTo>
                  <a:lnTo>
                    <a:pt x="1119" y="259"/>
                  </a:lnTo>
                  <a:lnTo>
                    <a:pt x="1119" y="261"/>
                  </a:lnTo>
                  <a:lnTo>
                    <a:pt x="1117" y="261"/>
                  </a:lnTo>
                  <a:lnTo>
                    <a:pt x="1115" y="261"/>
                  </a:lnTo>
                  <a:lnTo>
                    <a:pt x="1117" y="261"/>
                  </a:lnTo>
                  <a:lnTo>
                    <a:pt x="1115" y="261"/>
                  </a:lnTo>
                  <a:lnTo>
                    <a:pt x="1115" y="259"/>
                  </a:lnTo>
                  <a:lnTo>
                    <a:pt x="1112" y="259"/>
                  </a:lnTo>
                  <a:lnTo>
                    <a:pt x="1110" y="259"/>
                  </a:lnTo>
                  <a:lnTo>
                    <a:pt x="1112" y="259"/>
                  </a:lnTo>
                  <a:lnTo>
                    <a:pt x="1115" y="259"/>
                  </a:lnTo>
                  <a:lnTo>
                    <a:pt x="1112" y="259"/>
                  </a:lnTo>
                  <a:lnTo>
                    <a:pt x="1110" y="259"/>
                  </a:lnTo>
                  <a:lnTo>
                    <a:pt x="1108" y="259"/>
                  </a:lnTo>
                  <a:lnTo>
                    <a:pt x="1105" y="259"/>
                  </a:lnTo>
                  <a:lnTo>
                    <a:pt x="1105" y="256"/>
                  </a:lnTo>
                  <a:lnTo>
                    <a:pt x="1103" y="256"/>
                  </a:lnTo>
                  <a:lnTo>
                    <a:pt x="1105" y="256"/>
                  </a:lnTo>
                  <a:lnTo>
                    <a:pt x="1105" y="254"/>
                  </a:lnTo>
                  <a:lnTo>
                    <a:pt x="1108" y="254"/>
                  </a:lnTo>
                  <a:lnTo>
                    <a:pt x="1108" y="252"/>
                  </a:lnTo>
                  <a:lnTo>
                    <a:pt x="1110" y="252"/>
                  </a:lnTo>
                  <a:lnTo>
                    <a:pt x="1110" y="254"/>
                  </a:lnTo>
                  <a:lnTo>
                    <a:pt x="1112" y="254"/>
                  </a:lnTo>
                  <a:lnTo>
                    <a:pt x="1115" y="254"/>
                  </a:lnTo>
                  <a:lnTo>
                    <a:pt x="1115" y="252"/>
                  </a:lnTo>
                  <a:lnTo>
                    <a:pt x="1112" y="252"/>
                  </a:lnTo>
                  <a:lnTo>
                    <a:pt x="1110" y="252"/>
                  </a:lnTo>
                  <a:lnTo>
                    <a:pt x="1112" y="252"/>
                  </a:lnTo>
                  <a:lnTo>
                    <a:pt x="1110" y="252"/>
                  </a:lnTo>
                  <a:lnTo>
                    <a:pt x="1112" y="252"/>
                  </a:lnTo>
                  <a:lnTo>
                    <a:pt x="1112" y="249"/>
                  </a:lnTo>
                  <a:lnTo>
                    <a:pt x="1110" y="249"/>
                  </a:lnTo>
                  <a:lnTo>
                    <a:pt x="1108" y="249"/>
                  </a:lnTo>
                  <a:lnTo>
                    <a:pt x="1108" y="247"/>
                  </a:lnTo>
                  <a:lnTo>
                    <a:pt x="1105" y="247"/>
                  </a:lnTo>
                  <a:lnTo>
                    <a:pt x="1108" y="247"/>
                  </a:lnTo>
                  <a:lnTo>
                    <a:pt x="1108" y="244"/>
                  </a:lnTo>
                  <a:lnTo>
                    <a:pt x="1110" y="244"/>
                  </a:lnTo>
                  <a:lnTo>
                    <a:pt x="1110" y="242"/>
                  </a:lnTo>
                  <a:lnTo>
                    <a:pt x="1112" y="242"/>
                  </a:lnTo>
                  <a:lnTo>
                    <a:pt x="1112" y="240"/>
                  </a:lnTo>
                  <a:lnTo>
                    <a:pt x="1115" y="240"/>
                  </a:lnTo>
                  <a:lnTo>
                    <a:pt x="1115" y="237"/>
                  </a:lnTo>
                  <a:lnTo>
                    <a:pt x="1117" y="237"/>
                  </a:lnTo>
                  <a:lnTo>
                    <a:pt x="1117" y="240"/>
                  </a:lnTo>
                  <a:lnTo>
                    <a:pt x="1117" y="237"/>
                  </a:lnTo>
                  <a:lnTo>
                    <a:pt x="1117" y="240"/>
                  </a:lnTo>
                  <a:lnTo>
                    <a:pt x="1119" y="240"/>
                  </a:lnTo>
                  <a:lnTo>
                    <a:pt x="1122" y="240"/>
                  </a:lnTo>
                  <a:lnTo>
                    <a:pt x="1122" y="237"/>
                  </a:lnTo>
                  <a:lnTo>
                    <a:pt x="1124" y="237"/>
                  </a:lnTo>
                  <a:lnTo>
                    <a:pt x="1124" y="235"/>
                  </a:lnTo>
                  <a:lnTo>
                    <a:pt x="1127" y="235"/>
                  </a:lnTo>
                  <a:lnTo>
                    <a:pt x="1129" y="235"/>
                  </a:lnTo>
                  <a:lnTo>
                    <a:pt x="1131" y="235"/>
                  </a:lnTo>
                  <a:lnTo>
                    <a:pt x="1129" y="235"/>
                  </a:lnTo>
                  <a:lnTo>
                    <a:pt x="1131" y="235"/>
                  </a:lnTo>
                  <a:lnTo>
                    <a:pt x="1134" y="235"/>
                  </a:lnTo>
                  <a:lnTo>
                    <a:pt x="1136" y="235"/>
                  </a:lnTo>
                  <a:lnTo>
                    <a:pt x="1134" y="235"/>
                  </a:lnTo>
                  <a:lnTo>
                    <a:pt x="1136" y="235"/>
                  </a:lnTo>
                  <a:lnTo>
                    <a:pt x="1134" y="235"/>
                  </a:lnTo>
                  <a:lnTo>
                    <a:pt x="1134" y="237"/>
                  </a:lnTo>
                  <a:lnTo>
                    <a:pt x="1136" y="237"/>
                  </a:lnTo>
                  <a:lnTo>
                    <a:pt x="1138" y="237"/>
                  </a:lnTo>
                  <a:lnTo>
                    <a:pt x="1141" y="237"/>
                  </a:lnTo>
                  <a:lnTo>
                    <a:pt x="1143" y="237"/>
                  </a:lnTo>
                  <a:lnTo>
                    <a:pt x="1143" y="235"/>
                  </a:lnTo>
                  <a:lnTo>
                    <a:pt x="1146" y="235"/>
                  </a:lnTo>
                  <a:lnTo>
                    <a:pt x="1148" y="235"/>
                  </a:lnTo>
                  <a:lnTo>
                    <a:pt x="1150" y="235"/>
                  </a:lnTo>
                  <a:lnTo>
                    <a:pt x="1148" y="235"/>
                  </a:lnTo>
                  <a:lnTo>
                    <a:pt x="1150" y="235"/>
                  </a:lnTo>
                  <a:lnTo>
                    <a:pt x="1150" y="237"/>
                  </a:lnTo>
                  <a:lnTo>
                    <a:pt x="1150" y="235"/>
                  </a:lnTo>
                  <a:lnTo>
                    <a:pt x="1150" y="237"/>
                  </a:lnTo>
                  <a:lnTo>
                    <a:pt x="1150" y="235"/>
                  </a:lnTo>
                  <a:lnTo>
                    <a:pt x="1150" y="237"/>
                  </a:lnTo>
                  <a:lnTo>
                    <a:pt x="1150" y="235"/>
                  </a:lnTo>
                  <a:lnTo>
                    <a:pt x="1153" y="235"/>
                  </a:lnTo>
                  <a:lnTo>
                    <a:pt x="1150" y="235"/>
                  </a:lnTo>
                  <a:lnTo>
                    <a:pt x="1148" y="235"/>
                  </a:lnTo>
                  <a:lnTo>
                    <a:pt x="1148" y="232"/>
                  </a:lnTo>
                  <a:lnTo>
                    <a:pt x="1148" y="235"/>
                  </a:lnTo>
                  <a:lnTo>
                    <a:pt x="1148" y="232"/>
                  </a:lnTo>
                  <a:lnTo>
                    <a:pt x="1150" y="232"/>
                  </a:lnTo>
                  <a:lnTo>
                    <a:pt x="1150" y="230"/>
                  </a:lnTo>
                  <a:lnTo>
                    <a:pt x="1153" y="230"/>
                  </a:lnTo>
                  <a:lnTo>
                    <a:pt x="1155" y="230"/>
                  </a:lnTo>
                  <a:lnTo>
                    <a:pt x="1157" y="230"/>
                  </a:lnTo>
                  <a:lnTo>
                    <a:pt x="1160" y="230"/>
                  </a:lnTo>
                  <a:lnTo>
                    <a:pt x="1160" y="232"/>
                  </a:lnTo>
                  <a:lnTo>
                    <a:pt x="1160" y="230"/>
                  </a:lnTo>
                  <a:lnTo>
                    <a:pt x="1157" y="230"/>
                  </a:lnTo>
                  <a:lnTo>
                    <a:pt x="1155" y="230"/>
                  </a:lnTo>
                  <a:lnTo>
                    <a:pt x="1157" y="230"/>
                  </a:lnTo>
                  <a:lnTo>
                    <a:pt x="1157" y="228"/>
                  </a:lnTo>
                  <a:lnTo>
                    <a:pt x="1160" y="228"/>
                  </a:lnTo>
                  <a:lnTo>
                    <a:pt x="1162" y="228"/>
                  </a:lnTo>
                  <a:lnTo>
                    <a:pt x="1165" y="228"/>
                  </a:lnTo>
                  <a:lnTo>
                    <a:pt x="1165" y="225"/>
                  </a:lnTo>
                  <a:lnTo>
                    <a:pt x="1165" y="228"/>
                  </a:lnTo>
                  <a:lnTo>
                    <a:pt x="1167" y="228"/>
                  </a:lnTo>
                  <a:lnTo>
                    <a:pt x="1169" y="228"/>
                  </a:lnTo>
                  <a:lnTo>
                    <a:pt x="1172" y="228"/>
                  </a:lnTo>
                  <a:lnTo>
                    <a:pt x="1174" y="230"/>
                  </a:lnTo>
                  <a:lnTo>
                    <a:pt x="1176" y="230"/>
                  </a:lnTo>
                  <a:lnTo>
                    <a:pt x="1176" y="232"/>
                  </a:lnTo>
                  <a:lnTo>
                    <a:pt x="1179" y="232"/>
                  </a:lnTo>
                  <a:lnTo>
                    <a:pt x="1181" y="232"/>
                  </a:lnTo>
                  <a:lnTo>
                    <a:pt x="1184" y="232"/>
                  </a:lnTo>
                  <a:lnTo>
                    <a:pt x="1184" y="235"/>
                  </a:lnTo>
                  <a:lnTo>
                    <a:pt x="1184" y="232"/>
                  </a:lnTo>
                  <a:lnTo>
                    <a:pt x="1186" y="232"/>
                  </a:lnTo>
                  <a:lnTo>
                    <a:pt x="1188" y="232"/>
                  </a:lnTo>
                  <a:lnTo>
                    <a:pt x="1191" y="232"/>
                  </a:lnTo>
                  <a:lnTo>
                    <a:pt x="1193" y="232"/>
                  </a:lnTo>
                  <a:lnTo>
                    <a:pt x="1193" y="235"/>
                  </a:lnTo>
                  <a:lnTo>
                    <a:pt x="1195" y="235"/>
                  </a:lnTo>
                  <a:lnTo>
                    <a:pt x="1193" y="235"/>
                  </a:lnTo>
                  <a:lnTo>
                    <a:pt x="1195" y="235"/>
                  </a:lnTo>
                  <a:lnTo>
                    <a:pt x="1198" y="237"/>
                  </a:lnTo>
                  <a:lnTo>
                    <a:pt x="1198" y="235"/>
                  </a:lnTo>
                  <a:lnTo>
                    <a:pt x="1198" y="237"/>
                  </a:lnTo>
                  <a:lnTo>
                    <a:pt x="1198" y="235"/>
                  </a:lnTo>
                  <a:lnTo>
                    <a:pt x="1198" y="237"/>
                  </a:lnTo>
                  <a:lnTo>
                    <a:pt x="1198" y="235"/>
                  </a:lnTo>
                  <a:lnTo>
                    <a:pt x="1198" y="237"/>
                  </a:lnTo>
                  <a:lnTo>
                    <a:pt x="1200" y="237"/>
                  </a:lnTo>
                  <a:lnTo>
                    <a:pt x="1198" y="237"/>
                  </a:lnTo>
                  <a:lnTo>
                    <a:pt x="1200" y="237"/>
                  </a:lnTo>
                  <a:lnTo>
                    <a:pt x="1198" y="237"/>
                  </a:lnTo>
                  <a:lnTo>
                    <a:pt x="1200" y="237"/>
                  </a:lnTo>
                  <a:lnTo>
                    <a:pt x="1203" y="237"/>
                  </a:lnTo>
                  <a:lnTo>
                    <a:pt x="1205" y="237"/>
                  </a:lnTo>
                  <a:lnTo>
                    <a:pt x="1207" y="237"/>
                  </a:lnTo>
                  <a:lnTo>
                    <a:pt x="1210" y="237"/>
                  </a:lnTo>
                  <a:lnTo>
                    <a:pt x="1212" y="240"/>
                  </a:lnTo>
                  <a:lnTo>
                    <a:pt x="1214" y="240"/>
                  </a:lnTo>
                  <a:lnTo>
                    <a:pt x="1217" y="240"/>
                  </a:lnTo>
                  <a:lnTo>
                    <a:pt x="1217" y="242"/>
                  </a:lnTo>
                  <a:lnTo>
                    <a:pt x="1219" y="242"/>
                  </a:lnTo>
                  <a:lnTo>
                    <a:pt x="1219" y="244"/>
                  </a:lnTo>
                  <a:lnTo>
                    <a:pt x="1219" y="247"/>
                  </a:lnTo>
                  <a:lnTo>
                    <a:pt x="1217" y="247"/>
                  </a:lnTo>
                  <a:lnTo>
                    <a:pt x="1214" y="247"/>
                  </a:lnTo>
                  <a:lnTo>
                    <a:pt x="1212" y="247"/>
                  </a:lnTo>
                  <a:lnTo>
                    <a:pt x="1210" y="247"/>
                  </a:lnTo>
                  <a:lnTo>
                    <a:pt x="1207" y="247"/>
                  </a:lnTo>
                  <a:lnTo>
                    <a:pt x="1207" y="249"/>
                  </a:lnTo>
                  <a:lnTo>
                    <a:pt x="1205" y="249"/>
                  </a:lnTo>
                  <a:lnTo>
                    <a:pt x="1203" y="249"/>
                  </a:lnTo>
                  <a:lnTo>
                    <a:pt x="1205" y="249"/>
                  </a:lnTo>
                  <a:lnTo>
                    <a:pt x="1203" y="249"/>
                  </a:lnTo>
                  <a:lnTo>
                    <a:pt x="1200" y="249"/>
                  </a:lnTo>
                  <a:lnTo>
                    <a:pt x="1198" y="249"/>
                  </a:lnTo>
                  <a:lnTo>
                    <a:pt x="1195" y="249"/>
                  </a:lnTo>
                  <a:lnTo>
                    <a:pt x="1198" y="249"/>
                  </a:lnTo>
                  <a:lnTo>
                    <a:pt x="1200" y="249"/>
                  </a:lnTo>
                  <a:lnTo>
                    <a:pt x="1203" y="249"/>
                  </a:lnTo>
                  <a:lnTo>
                    <a:pt x="1205" y="249"/>
                  </a:lnTo>
                  <a:lnTo>
                    <a:pt x="1207" y="249"/>
                  </a:lnTo>
                  <a:lnTo>
                    <a:pt x="1210" y="249"/>
                  </a:lnTo>
                  <a:lnTo>
                    <a:pt x="1212" y="252"/>
                  </a:lnTo>
                  <a:lnTo>
                    <a:pt x="1214" y="252"/>
                  </a:lnTo>
                  <a:lnTo>
                    <a:pt x="1212" y="252"/>
                  </a:lnTo>
                  <a:lnTo>
                    <a:pt x="1210" y="254"/>
                  </a:lnTo>
                  <a:lnTo>
                    <a:pt x="1207" y="254"/>
                  </a:lnTo>
                  <a:lnTo>
                    <a:pt x="1205" y="254"/>
                  </a:lnTo>
                  <a:lnTo>
                    <a:pt x="1203" y="254"/>
                  </a:lnTo>
                  <a:lnTo>
                    <a:pt x="1200" y="254"/>
                  </a:lnTo>
                  <a:lnTo>
                    <a:pt x="1198" y="254"/>
                  </a:lnTo>
                  <a:lnTo>
                    <a:pt x="1198" y="256"/>
                  </a:lnTo>
                  <a:lnTo>
                    <a:pt x="1195" y="256"/>
                  </a:lnTo>
                  <a:lnTo>
                    <a:pt x="1193" y="256"/>
                  </a:lnTo>
                  <a:lnTo>
                    <a:pt x="1191" y="256"/>
                  </a:lnTo>
                  <a:lnTo>
                    <a:pt x="1188" y="256"/>
                  </a:lnTo>
                  <a:lnTo>
                    <a:pt x="1186" y="256"/>
                  </a:lnTo>
                  <a:lnTo>
                    <a:pt x="1188" y="256"/>
                  </a:lnTo>
                  <a:lnTo>
                    <a:pt x="1191" y="256"/>
                  </a:lnTo>
                  <a:lnTo>
                    <a:pt x="1193" y="256"/>
                  </a:lnTo>
                  <a:lnTo>
                    <a:pt x="1195" y="256"/>
                  </a:lnTo>
                  <a:lnTo>
                    <a:pt x="1198" y="256"/>
                  </a:lnTo>
                  <a:lnTo>
                    <a:pt x="1200" y="256"/>
                  </a:lnTo>
                  <a:lnTo>
                    <a:pt x="1203" y="256"/>
                  </a:lnTo>
                  <a:lnTo>
                    <a:pt x="1205" y="256"/>
                  </a:lnTo>
                  <a:lnTo>
                    <a:pt x="1207" y="256"/>
                  </a:lnTo>
                  <a:lnTo>
                    <a:pt x="1210" y="256"/>
                  </a:lnTo>
                  <a:lnTo>
                    <a:pt x="1207" y="256"/>
                  </a:lnTo>
                  <a:lnTo>
                    <a:pt x="1207" y="259"/>
                  </a:lnTo>
                  <a:lnTo>
                    <a:pt x="1207" y="261"/>
                  </a:lnTo>
                  <a:lnTo>
                    <a:pt x="1207" y="263"/>
                  </a:lnTo>
                  <a:lnTo>
                    <a:pt x="1205" y="263"/>
                  </a:lnTo>
                  <a:lnTo>
                    <a:pt x="1205" y="266"/>
                  </a:lnTo>
                  <a:lnTo>
                    <a:pt x="1203" y="266"/>
                  </a:lnTo>
                  <a:lnTo>
                    <a:pt x="1200" y="266"/>
                  </a:lnTo>
                  <a:lnTo>
                    <a:pt x="1198" y="266"/>
                  </a:lnTo>
                  <a:lnTo>
                    <a:pt x="1200" y="266"/>
                  </a:lnTo>
                  <a:lnTo>
                    <a:pt x="1198" y="266"/>
                  </a:lnTo>
                  <a:lnTo>
                    <a:pt x="1195" y="266"/>
                  </a:lnTo>
                  <a:close/>
                  <a:moveTo>
                    <a:pt x="1224" y="211"/>
                  </a:moveTo>
                  <a:lnTo>
                    <a:pt x="1222" y="209"/>
                  </a:lnTo>
                  <a:lnTo>
                    <a:pt x="1224" y="211"/>
                  </a:lnTo>
                  <a:close/>
                  <a:moveTo>
                    <a:pt x="1286" y="166"/>
                  </a:moveTo>
                  <a:lnTo>
                    <a:pt x="1286" y="164"/>
                  </a:lnTo>
                  <a:lnTo>
                    <a:pt x="1286" y="166"/>
                  </a:lnTo>
                  <a:lnTo>
                    <a:pt x="1288" y="166"/>
                  </a:lnTo>
                  <a:lnTo>
                    <a:pt x="1286" y="166"/>
                  </a:lnTo>
                  <a:close/>
                  <a:moveTo>
                    <a:pt x="1630" y="14"/>
                  </a:moveTo>
                  <a:lnTo>
                    <a:pt x="1627" y="14"/>
                  </a:lnTo>
                  <a:lnTo>
                    <a:pt x="1630" y="14"/>
                  </a:lnTo>
                  <a:lnTo>
                    <a:pt x="1627" y="14"/>
                  </a:lnTo>
                  <a:lnTo>
                    <a:pt x="1627" y="16"/>
                  </a:lnTo>
                  <a:lnTo>
                    <a:pt x="1627" y="19"/>
                  </a:lnTo>
                  <a:lnTo>
                    <a:pt x="1627" y="16"/>
                  </a:lnTo>
                  <a:lnTo>
                    <a:pt x="1627" y="19"/>
                  </a:lnTo>
                  <a:lnTo>
                    <a:pt x="1630" y="19"/>
                  </a:lnTo>
                  <a:lnTo>
                    <a:pt x="1630" y="21"/>
                  </a:lnTo>
                  <a:lnTo>
                    <a:pt x="1627" y="21"/>
                  </a:lnTo>
                  <a:lnTo>
                    <a:pt x="1625" y="21"/>
                  </a:lnTo>
                  <a:lnTo>
                    <a:pt x="1625" y="23"/>
                  </a:lnTo>
                  <a:lnTo>
                    <a:pt x="1625" y="21"/>
                  </a:lnTo>
                  <a:lnTo>
                    <a:pt x="1625" y="23"/>
                  </a:lnTo>
                  <a:lnTo>
                    <a:pt x="1623" y="23"/>
                  </a:lnTo>
                  <a:lnTo>
                    <a:pt x="1623" y="26"/>
                  </a:lnTo>
                  <a:lnTo>
                    <a:pt x="1620" y="26"/>
                  </a:lnTo>
                  <a:lnTo>
                    <a:pt x="1623" y="26"/>
                  </a:lnTo>
                  <a:lnTo>
                    <a:pt x="1623" y="28"/>
                  </a:lnTo>
                  <a:lnTo>
                    <a:pt x="1625" y="28"/>
                  </a:lnTo>
                  <a:lnTo>
                    <a:pt x="1623" y="28"/>
                  </a:lnTo>
                  <a:lnTo>
                    <a:pt x="1625" y="28"/>
                  </a:lnTo>
                  <a:lnTo>
                    <a:pt x="1627" y="28"/>
                  </a:lnTo>
                  <a:lnTo>
                    <a:pt x="1625" y="28"/>
                  </a:lnTo>
                  <a:lnTo>
                    <a:pt x="1627" y="28"/>
                  </a:lnTo>
                  <a:lnTo>
                    <a:pt x="1627" y="31"/>
                  </a:lnTo>
                  <a:lnTo>
                    <a:pt x="1625" y="31"/>
                  </a:lnTo>
                  <a:lnTo>
                    <a:pt x="1623" y="31"/>
                  </a:lnTo>
                  <a:lnTo>
                    <a:pt x="1623" y="33"/>
                  </a:lnTo>
                  <a:lnTo>
                    <a:pt x="1620" y="33"/>
                  </a:lnTo>
                  <a:lnTo>
                    <a:pt x="1623" y="33"/>
                  </a:lnTo>
                  <a:lnTo>
                    <a:pt x="1620" y="33"/>
                  </a:lnTo>
                  <a:lnTo>
                    <a:pt x="1618" y="33"/>
                  </a:lnTo>
                  <a:lnTo>
                    <a:pt x="1620" y="33"/>
                  </a:lnTo>
                  <a:lnTo>
                    <a:pt x="1618" y="33"/>
                  </a:lnTo>
                  <a:lnTo>
                    <a:pt x="1620" y="33"/>
                  </a:lnTo>
                  <a:lnTo>
                    <a:pt x="1618" y="35"/>
                  </a:lnTo>
                  <a:lnTo>
                    <a:pt x="1615" y="35"/>
                  </a:lnTo>
                  <a:lnTo>
                    <a:pt x="1618" y="35"/>
                  </a:lnTo>
                  <a:lnTo>
                    <a:pt x="1615" y="38"/>
                  </a:lnTo>
                  <a:lnTo>
                    <a:pt x="1613" y="38"/>
                  </a:lnTo>
                  <a:lnTo>
                    <a:pt x="1611" y="38"/>
                  </a:lnTo>
                  <a:lnTo>
                    <a:pt x="1611" y="40"/>
                  </a:lnTo>
                  <a:lnTo>
                    <a:pt x="1611" y="42"/>
                  </a:lnTo>
                  <a:lnTo>
                    <a:pt x="1608" y="42"/>
                  </a:lnTo>
                  <a:lnTo>
                    <a:pt x="1606" y="42"/>
                  </a:lnTo>
                  <a:lnTo>
                    <a:pt x="1608" y="42"/>
                  </a:lnTo>
                  <a:lnTo>
                    <a:pt x="1608" y="45"/>
                  </a:lnTo>
                  <a:lnTo>
                    <a:pt x="1606" y="42"/>
                  </a:lnTo>
                  <a:lnTo>
                    <a:pt x="1606" y="45"/>
                  </a:lnTo>
                  <a:lnTo>
                    <a:pt x="1604" y="45"/>
                  </a:lnTo>
                  <a:lnTo>
                    <a:pt x="1601" y="45"/>
                  </a:lnTo>
                  <a:lnTo>
                    <a:pt x="1604" y="45"/>
                  </a:lnTo>
                  <a:lnTo>
                    <a:pt x="1601" y="45"/>
                  </a:lnTo>
                  <a:lnTo>
                    <a:pt x="1604" y="45"/>
                  </a:lnTo>
                  <a:lnTo>
                    <a:pt x="1604" y="47"/>
                  </a:lnTo>
                  <a:lnTo>
                    <a:pt x="1606" y="47"/>
                  </a:lnTo>
                  <a:lnTo>
                    <a:pt x="1604" y="47"/>
                  </a:lnTo>
                  <a:lnTo>
                    <a:pt x="1601" y="47"/>
                  </a:lnTo>
                  <a:lnTo>
                    <a:pt x="1599" y="47"/>
                  </a:lnTo>
                  <a:lnTo>
                    <a:pt x="1599" y="50"/>
                  </a:lnTo>
                  <a:lnTo>
                    <a:pt x="1599" y="47"/>
                  </a:lnTo>
                  <a:lnTo>
                    <a:pt x="1596" y="47"/>
                  </a:lnTo>
                  <a:lnTo>
                    <a:pt x="1596" y="50"/>
                  </a:lnTo>
                  <a:lnTo>
                    <a:pt x="1596" y="47"/>
                  </a:lnTo>
                  <a:lnTo>
                    <a:pt x="1596" y="50"/>
                  </a:lnTo>
                  <a:lnTo>
                    <a:pt x="1594" y="50"/>
                  </a:lnTo>
                  <a:lnTo>
                    <a:pt x="1592" y="50"/>
                  </a:lnTo>
                  <a:lnTo>
                    <a:pt x="1589" y="50"/>
                  </a:lnTo>
                  <a:lnTo>
                    <a:pt x="1589" y="52"/>
                  </a:lnTo>
                  <a:lnTo>
                    <a:pt x="1587" y="52"/>
                  </a:lnTo>
                  <a:lnTo>
                    <a:pt x="1585" y="52"/>
                  </a:lnTo>
                  <a:lnTo>
                    <a:pt x="1587" y="52"/>
                  </a:lnTo>
                  <a:lnTo>
                    <a:pt x="1585" y="52"/>
                  </a:lnTo>
                  <a:lnTo>
                    <a:pt x="1582" y="52"/>
                  </a:lnTo>
                  <a:lnTo>
                    <a:pt x="1582" y="54"/>
                  </a:lnTo>
                  <a:lnTo>
                    <a:pt x="1580" y="54"/>
                  </a:lnTo>
                  <a:lnTo>
                    <a:pt x="1577" y="54"/>
                  </a:lnTo>
                  <a:lnTo>
                    <a:pt x="1575" y="54"/>
                  </a:lnTo>
                  <a:lnTo>
                    <a:pt x="1573" y="57"/>
                  </a:lnTo>
                  <a:lnTo>
                    <a:pt x="1570" y="57"/>
                  </a:lnTo>
                  <a:lnTo>
                    <a:pt x="1573" y="57"/>
                  </a:lnTo>
                  <a:lnTo>
                    <a:pt x="1570" y="57"/>
                  </a:lnTo>
                  <a:lnTo>
                    <a:pt x="1568" y="59"/>
                  </a:lnTo>
                  <a:lnTo>
                    <a:pt x="1566" y="59"/>
                  </a:lnTo>
                  <a:lnTo>
                    <a:pt x="1563" y="59"/>
                  </a:lnTo>
                  <a:lnTo>
                    <a:pt x="1561" y="59"/>
                  </a:lnTo>
                  <a:lnTo>
                    <a:pt x="1558" y="61"/>
                  </a:lnTo>
                  <a:lnTo>
                    <a:pt x="1556" y="61"/>
                  </a:lnTo>
                  <a:lnTo>
                    <a:pt x="1554" y="61"/>
                  </a:lnTo>
                  <a:lnTo>
                    <a:pt x="1551" y="61"/>
                  </a:lnTo>
                  <a:lnTo>
                    <a:pt x="1549" y="61"/>
                  </a:lnTo>
                  <a:lnTo>
                    <a:pt x="1549" y="64"/>
                  </a:lnTo>
                  <a:lnTo>
                    <a:pt x="1547" y="64"/>
                  </a:lnTo>
                  <a:lnTo>
                    <a:pt x="1544" y="64"/>
                  </a:lnTo>
                  <a:lnTo>
                    <a:pt x="1547" y="64"/>
                  </a:lnTo>
                  <a:lnTo>
                    <a:pt x="1544" y="64"/>
                  </a:lnTo>
                  <a:lnTo>
                    <a:pt x="1547" y="64"/>
                  </a:lnTo>
                  <a:lnTo>
                    <a:pt x="1544" y="64"/>
                  </a:lnTo>
                  <a:lnTo>
                    <a:pt x="1542" y="64"/>
                  </a:lnTo>
                  <a:lnTo>
                    <a:pt x="1539" y="64"/>
                  </a:lnTo>
                  <a:lnTo>
                    <a:pt x="1537" y="64"/>
                  </a:lnTo>
                  <a:lnTo>
                    <a:pt x="1539" y="64"/>
                  </a:lnTo>
                  <a:lnTo>
                    <a:pt x="1539" y="66"/>
                  </a:lnTo>
                  <a:lnTo>
                    <a:pt x="1537" y="66"/>
                  </a:lnTo>
                  <a:lnTo>
                    <a:pt x="1535" y="66"/>
                  </a:lnTo>
                  <a:lnTo>
                    <a:pt x="1535" y="69"/>
                  </a:lnTo>
                  <a:lnTo>
                    <a:pt x="1532" y="69"/>
                  </a:lnTo>
                  <a:lnTo>
                    <a:pt x="1530" y="69"/>
                  </a:lnTo>
                  <a:lnTo>
                    <a:pt x="1528" y="69"/>
                  </a:lnTo>
                  <a:lnTo>
                    <a:pt x="1525" y="69"/>
                  </a:lnTo>
                  <a:lnTo>
                    <a:pt x="1523" y="69"/>
                  </a:lnTo>
                  <a:lnTo>
                    <a:pt x="1520" y="69"/>
                  </a:lnTo>
                  <a:lnTo>
                    <a:pt x="1520" y="71"/>
                  </a:lnTo>
                  <a:lnTo>
                    <a:pt x="1518" y="71"/>
                  </a:lnTo>
                  <a:lnTo>
                    <a:pt x="1516" y="71"/>
                  </a:lnTo>
                  <a:lnTo>
                    <a:pt x="1513" y="71"/>
                  </a:lnTo>
                  <a:lnTo>
                    <a:pt x="1511" y="73"/>
                  </a:lnTo>
                  <a:lnTo>
                    <a:pt x="1509" y="73"/>
                  </a:lnTo>
                  <a:lnTo>
                    <a:pt x="1506" y="73"/>
                  </a:lnTo>
                  <a:lnTo>
                    <a:pt x="1504" y="76"/>
                  </a:lnTo>
                  <a:lnTo>
                    <a:pt x="1501" y="76"/>
                  </a:lnTo>
                  <a:lnTo>
                    <a:pt x="1501" y="78"/>
                  </a:lnTo>
                  <a:lnTo>
                    <a:pt x="1501" y="76"/>
                  </a:lnTo>
                  <a:lnTo>
                    <a:pt x="1499" y="76"/>
                  </a:lnTo>
                  <a:lnTo>
                    <a:pt x="1499" y="78"/>
                  </a:lnTo>
                  <a:lnTo>
                    <a:pt x="1497" y="78"/>
                  </a:lnTo>
                  <a:lnTo>
                    <a:pt x="1494" y="78"/>
                  </a:lnTo>
                  <a:lnTo>
                    <a:pt x="1492" y="78"/>
                  </a:lnTo>
                  <a:lnTo>
                    <a:pt x="1490" y="78"/>
                  </a:lnTo>
                  <a:lnTo>
                    <a:pt x="1487" y="78"/>
                  </a:lnTo>
                  <a:lnTo>
                    <a:pt x="1487" y="80"/>
                  </a:lnTo>
                  <a:lnTo>
                    <a:pt x="1485" y="80"/>
                  </a:lnTo>
                  <a:lnTo>
                    <a:pt x="1480" y="80"/>
                  </a:lnTo>
                  <a:lnTo>
                    <a:pt x="1478" y="80"/>
                  </a:lnTo>
                  <a:lnTo>
                    <a:pt x="1478" y="83"/>
                  </a:lnTo>
                  <a:lnTo>
                    <a:pt x="1475" y="83"/>
                  </a:lnTo>
                  <a:lnTo>
                    <a:pt x="1473" y="83"/>
                  </a:lnTo>
                  <a:lnTo>
                    <a:pt x="1471" y="83"/>
                  </a:lnTo>
                  <a:lnTo>
                    <a:pt x="1468" y="83"/>
                  </a:lnTo>
                  <a:lnTo>
                    <a:pt x="1466" y="83"/>
                  </a:lnTo>
                  <a:lnTo>
                    <a:pt x="1466" y="85"/>
                  </a:lnTo>
                  <a:lnTo>
                    <a:pt x="1464" y="85"/>
                  </a:lnTo>
                  <a:lnTo>
                    <a:pt x="1461" y="85"/>
                  </a:lnTo>
                  <a:lnTo>
                    <a:pt x="1459" y="85"/>
                  </a:lnTo>
                  <a:lnTo>
                    <a:pt x="1459" y="88"/>
                  </a:lnTo>
                  <a:lnTo>
                    <a:pt x="1456" y="90"/>
                  </a:lnTo>
                  <a:lnTo>
                    <a:pt x="1456" y="88"/>
                  </a:lnTo>
                  <a:lnTo>
                    <a:pt x="1459" y="88"/>
                  </a:lnTo>
                  <a:lnTo>
                    <a:pt x="1456" y="85"/>
                  </a:lnTo>
                  <a:lnTo>
                    <a:pt x="1454" y="85"/>
                  </a:lnTo>
                  <a:lnTo>
                    <a:pt x="1454" y="83"/>
                  </a:lnTo>
                  <a:lnTo>
                    <a:pt x="1452" y="83"/>
                  </a:lnTo>
                  <a:lnTo>
                    <a:pt x="1449" y="83"/>
                  </a:lnTo>
                  <a:lnTo>
                    <a:pt x="1452" y="83"/>
                  </a:lnTo>
                  <a:lnTo>
                    <a:pt x="1449" y="83"/>
                  </a:lnTo>
                  <a:lnTo>
                    <a:pt x="1452" y="83"/>
                  </a:lnTo>
                  <a:lnTo>
                    <a:pt x="1454" y="83"/>
                  </a:lnTo>
                  <a:lnTo>
                    <a:pt x="1452" y="85"/>
                  </a:lnTo>
                  <a:lnTo>
                    <a:pt x="1449" y="85"/>
                  </a:lnTo>
                  <a:lnTo>
                    <a:pt x="1452" y="85"/>
                  </a:lnTo>
                  <a:lnTo>
                    <a:pt x="1449" y="85"/>
                  </a:lnTo>
                  <a:lnTo>
                    <a:pt x="1449" y="88"/>
                  </a:lnTo>
                  <a:lnTo>
                    <a:pt x="1447" y="88"/>
                  </a:lnTo>
                  <a:lnTo>
                    <a:pt x="1449" y="88"/>
                  </a:lnTo>
                  <a:lnTo>
                    <a:pt x="1447" y="88"/>
                  </a:lnTo>
                  <a:lnTo>
                    <a:pt x="1447" y="90"/>
                  </a:lnTo>
                  <a:lnTo>
                    <a:pt x="1445" y="90"/>
                  </a:lnTo>
                  <a:lnTo>
                    <a:pt x="1442" y="90"/>
                  </a:lnTo>
                  <a:lnTo>
                    <a:pt x="1440" y="92"/>
                  </a:lnTo>
                  <a:lnTo>
                    <a:pt x="1437" y="92"/>
                  </a:lnTo>
                  <a:lnTo>
                    <a:pt x="1435" y="92"/>
                  </a:lnTo>
                  <a:lnTo>
                    <a:pt x="1433" y="92"/>
                  </a:lnTo>
                  <a:lnTo>
                    <a:pt x="1430" y="92"/>
                  </a:lnTo>
                  <a:lnTo>
                    <a:pt x="1428" y="92"/>
                  </a:lnTo>
                  <a:lnTo>
                    <a:pt x="1428" y="95"/>
                  </a:lnTo>
                  <a:lnTo>
                    <a:pt x="1426" y="95"/>
                  </a:lnTo>
                  <a:lnTo>
                    <a:pt x="1423" y="95"/>
                  </a:lnTo>
                  <a:lnTo>
                    <a:pt x="1421" y="97"/>
                  </a:lnTo>
                  <a:lnTo>
                    <a:pt x="1418" y="97"/>
                  </a:lnTo>
                  <a:lnTo>
                    <a:pt x="1416" y="97"/>
                  </a:lnTo>
                  <a:lnTo>
                    <a:pt x="1414" y="97"/>
                  </a:lnTo>
                  <a:lnTo>
                    <a:pt x="1414" y="99"/>
                  </a:lnTo>
                  <a:lnTo>
                    <a:pt x="1411" y="99"/>
                  </a:lnTo>
                  <a:lnTo>
                    <a:pt x="1409" y="99"/>
                  </a:lnTo>
                  <a:lnTo>
                    <a:pt x="1409" y="102"/>
                  </a:lnTo>
                  <a:lnTo>
                    <a:pt x="1407" y="102"/>
                  </a:lnTo>
                  <a:lnTo>
                    <a:pt x="1407" y="99"/>
                  </a:lnTo>
                  <a:lnTo>
                    <a:pt x="1407" y="102"/>
                  </a:lnTo>
                  <a:lnTo>
                    <a:pt x="1407" y="99"/>
                  </a:lnTo>
                  <a:lnTo>
                    <a:pt x="1404" y="99"/>
                  </a:lnTo>
                  <a:lnTo>
                    <a:pt x="1402" y="99"/>
                  </a:lnTo>
                  <a:lnTo>
                    <a:pt x="1399" y="99"/>
                  </a:lnTo>
                  <a:lnTo>
                    <a:pt x="1397" y="99"/>
                  </a:lnTo>
                  <a:lnTo>
                    <a:pt x="1395" y="99"/>
                  </a:lnTo>
                  <a:lnTo>
                    <a:pt x="1395" y="102"/>
                  </a:lnTo>
                  <a:lnTo>
                    <a:pt x="1395" y="104"/>
                  </a:lnTo>
                  <a:lnTo>
                    <a:pt x="1395" y="102"/>
                  </a:lnTo>
                  <a:lnTo>
                    <a:pt x="1397" y="102"/>
                  </a:lnTo>
                  <a:lnTo>
                    <a:pt x="1397" y="104"/>
                  </a:lnTo>
                  <a:lnTo>
                    <a:pt x="1395" y="104"/>
                  </a:lnTo>
                  <a:lnTo>
                    <a:pt x="1392" y="104"/>
                  </a:lnTo>
                  <a:lnTo>
                    <a:pt x="1392" y="107"/>
                  </a:lnTo>
                  <a:lnTo>
                    <a:pt x="1390" y="104"/>
                  </a:lnTo>
                  <a:lnTo>
                    <a:pt x="1388" y="104"/>
                  </a:lnTo>
                  <a:lnTo>
                    <a:pt x="1388" y="107"/>
                  </a:lnTo>
                  <a:lnTo>
                    <a:pt x="1388" y="109"/>
                  </a:lnTo>
                  <a:lnTo>
                    <a:pt x="1385" y="109"/>
                  </a:lnTo>
                  <a:lnTo>
                    <a:pt x="1388" y="109"/>
                  </a:lnTo>
                  <a:lnTo>
                    <a:pt x="1385" y="109"/>
                  </a:lnTo>
                  <a:lnTo>
                    <a:pt x="1388" y="109"/>
                  </a:lnTo>
                  <a:lnTo>
                    <a:pt x="1385" y="109"/>
                  </a:lnTo>
                  <a:lnTo>
                    <a:pt x="1385" y="111"/>
                  </a:lnTo>
                  <a:lnTo>
                    <a:pt x="1383" y="111"/>
                  </a:lnTo>
                  <a:lnTo>
                    <a:pt x="1383" y="114"/>
                  </a:lnTo>
                  <a:lnTo>
                    <a:pt x="1380" y="114"/>
                  </a:lnTo>
                  <a:lnTo>
                    <a:pt x="1378" y="114"/>
                  </a:lnTo>
                  <a:lnTo>
                    <a:pt x="1378" y="111"/>
                  </a:lnTo>
                  <a:lnTo>
                    <a:pt x="1378" y="109"/>
                  </a:lnTo>
                  <a:lnTo>
                    <a:pt x="1376" y="109"/>
                  </a:lnTo>
                  <a:lnTo>
                    <a:pt x="1378" y="109"/>
                  </a:lnTo>
                  <a:lnTo>
                    <a:pt x="1376" y="109"/>
                  </a:lnTo>
                  <a:lnTo>
                    <a:pt x="1373" y="107"/>
                  </a:lnTo>
                  <a:lnTo>
                    <a:pt x="1376" y="107"/>
                  </a:lnTo>
                  <a:lnTo>
                    <a:pt x="1376" y="109"/>
                  </a:lnTo>
                  <a:lnTo>
                    <a:pt x="1373" y="109"/>
                  </a:lnTo>
                  <a:lnTo>
                    <a:pt x="1376" y="109"/>
                  </a:lnTo>
                  <a:lnTo>
                    <a:pt x="1373" y="109"/>
                  </a:lnTo>
                  <a:lnTo>
                    <a:pt x="1376" y="109"/>
                  </a:lnTo>
                  <a:lnTo>
                    <a:pt x="1376" y="111"/>
                  </a:lnTo>
                  <a:lnTo>
                    <a:pt x="1373" y="111"/>
                  </a:lnTo>
                  <a:lnTo>
                    <a:pt x="1371" y="111"/>
                  </a:lnTo>
                  <a:lnTo>
                    <a:pt x="1371" y="114"/>
                  </a:lnTo>
                  <a:lnTo>
                    <a:pt x="1369" y="114"/>
                  </a:lnTo>
                  <a:lnTo>
                    <a:pt x="1369" y="116"/>
                  </a:lnTo>
                  <a:lnTo>
                    <a:pt x="1366" y="116"/>
                  </a:lnTo>
                  <a:lnTo>
                    <a:pt x="1364" y="116"/>
                  </a:lnTo>
                  <a:lnTo>
                    <a:pt x="1364" y="118"/>
                  </a:lnTo>
                  <a:lnTo>
                    <a:pt x="1362" y="118"/>
                  </a:lnTo>
                  <a:lnTo>
                    <a:pt x="1359" y="118"/>
                  </a:lnTo>
                  <a:lnTo>
                    <a:pt x="1357" y="118"/>
                  </a:lnTo>
                  <a:lnTo>
                    <a:pt x="1357" y="121"/>
                  </a:lnTo>
                  <a:lnTo>
                    <a:pt x="1359" y="121"/>
                  </a:lnTo>
                  <a:lnTo>
                    <a:pt x="1357" y="121"/>
                  </a:lnTo>
                  <a:lnTo>
                    <a:pt x="1357" y="123"/>
                  </a:lnTo>
                  <a:lnTo>
                    <a:pt x="1359" y="123"/>
                  </a:lnTo>
                  <a:lnTo>
                    <a:pt x="1357" y="123"/>
                  </a:lnTo>
                  <a:lnTo>
                    <a:pt x="1357" y="126"/>
                  </a:lnTo>
                  <a:lnTo>
                    <a:pt x="1357" y="128"/>
                  </a:lnTo>
                  <a:lnTo>
                    <a:pt x="1354" y="128"/>
                  </a:lnTo>
                  <a:lnTo>
                    <a:pt x="1354" y="126"/>
                  </a:lnTo>
                  <a:lnTo>
                    <a:pt x="1352" y="126"/>
                  </a:lnTo>
                  <a:lnTo>
                    <a:pt x="1352" y="123"/>
                  </a:lnTo>
                  <a:lnTo>
                    <a:pt x="1354" y="123"/>
                  </a:lnTo>
                  <a:lnTo>
                    <a:pt x="1354" y="121"/>
                  </a:lnTo>
                  <a:lnTo>
                    <a:pt x="1352" y="121"/>
                  </a:lnTo>
                  <a:lnTo>
                    <a:pt x="1352" y="123"/>
                  </a:lnTo>
                  <a:lnTo>
                    <a:pt x="1352" y="121"/>
                  </a:lnTo>
                  <a:lnTo>
                    <a:pt x="1350" y="121"/>
                  </a:lnTo>
                  <a:lnTo>
                    <a:pt x="1347" y="121"/>
                  </a:lnTo>
                  <a:lnTo>
                    <a:pt x="1350" y="121"/>
                  </a:lnTo>
                  <a:lnTo>
                    <a:pt x="1347" y="121"/>
                  </a:lnTo>
                  <a:lnTo>
                    <a:pt x="1347" y="123"/>
                  </a:lnTo>
                  <a:lnTo>
                    <a:pt x="1350" y="123"/>
                  </a:lnTo>
                  <a:lnTo>
                    <a:pt x="1350" y="121"/>
                  </a:lnTo>
                  <a:lnTo>
                    <a:pt x="1350" y="123"/>
                  </a:lnTo>
                  <a:lnTo>
                    <a:pt x="1347" y="123"/>
                  </a:lnTo>
                  <a:lnTo>
                    <a:pt x="1345" y="123"/>
                  </a:lnTo>
                  <a:lnTo>
                    <a:pt x="1343" y="123"/>
                  </a:lnTo>
                  <a:lnTo>
                    <a:pt x="1345" y="123"/>
                  </a:lnTo>
                  <a:lnTo>
                    <a:pt x="1347" y="123"/>
                  </a:lnTo>
                  <a:lnTo>
                    <a:pt x="1347" y="126"/>
                  </a:lnTo>
                  <a:lnTo>
                    <a:pt x="1345" y="126"/>
                  </a:lnTo>
                  <a:lnTo>
                    <a:pt x="1347" y="126"/>
                  </a:lnTo>
                  <a:lnTo>
                    <a:pt x="1347" y="128"/>
                  </a:lnTo>
                  <a:lnTo>
                    <a:pt x="1345" y="128"/>
                  </a:lnTo>
                  <a:lnTo>
                    <a:pt x="1343" y="128"/>
                  </a:lnTo>
                  <a:lnTo>
                    <a:pt x="1340" y="128"/>
                  </a:lnTo>
                  <a:lnTo>
                    <a:pt x="1338" y="130"/>
                  </a:lnTo>
                  <a:lnTo>
                    <a:pt x="1340" y="128"/>
                  </a:lnTo>
                  <a:lnTo>
                    <a:pt x="1338" y="128"/>
                  </a:lnTo>
                  <a:lnTo>
                    <a:pt x="1338" y="130"/>
                  </a:lnTo>
                  <a:lnTo>
                    <a:pt x="1335" y="130"/>
                  </a:lnTo>
                  <a:lnTo>
                    <a:pt x="1333" y="128"/>
                  </a:lnTo>
                  <a:lnTo>
                    <a:pt x="1331" y="128"/>
                  </a:lnTo>
                  <a:lnTo>
                    <a:pt x="1331" y="130"/>
                  </a:lnTo>
                  <a:lnTo>
                    <a:pt x="1333" y="130"/>
                  </a:lnTo>
                  <a:lnTo>
                    <a:pt x="1335" y="130"/>
                  </a:lnTo>
                  <a:lnTo>
                    <a:pt x="1338" y="133"/>
                  </a:lnTo>
                  <a:lnTo>
                    <a:pt x="1338" y="130"/>
                  </a:lnTo>
                  <a:lnTo>
                    <a:pt x="1340" y="133"/>
                  </a:lnTo>
                  <a:lnTo>
                    <a:pt x="1338" y="133"/>
                  </a:lnTo>
                  <a:lnTo>
                    <a:pt x="1340" y="133"/>
                  </a:lnTo>
                  <a:lnTo>
                    <a:pt x="1340" y="130"/>
                  </a:lnTo>
                  <a:lnTo>
                    <a:pt x="1343" y="130"/>
                  </a:lnTo>
                  <a:lnTo>
                    <a:pt x="1345" y="133"/>
                  </a:lnTo>
                  <a:lnTo>
                    <a:pt x="1347" y="133"/>
                  </a:lnTo>
                  <a:lnTo>
                    <a:pt x="1350" y="130"/>
                  </a:lnTo>
                  <a:lnTo>
                    <a:pt x="1352" y="133"/>
                  </a:lnTo>
                  <a:lnTo>
                    <a:pt x="1352" y="135"/>
                  </a:lnTo>
                  <a:lnTo>
                    <a:pt x="1350" y="135"/>
                  </a:lnTo>
                  <a:lnTo>
                    <a:pt x="1350" y="137"/>
                  </a:lnTo>
                  <a:lnTo>
                    <a:pt x="1347" y="137"/>
                  </a:lnTo>
                  <a:lnTo>
                    <a:pt x="1345" y="137"/>
                  </a:lnTo>
                  <a:lnTo>
                    <a:pt x="1343" y="137"/>
                  </a:lnTo>
                  <a:lnTo>
                    <a:pt x="1340" y="137"/>
                  </a:lnTo>
                  <a:lnTo>
                    <a:pt x="1338" y="137"/>
                  </a:lnTo>
                  <a:lnTo>
                    <a:pt x="1335" y="137"/>
                  </a:lnTo>
                  <a:lnTo>
                    <a:pt x="1338" y="137"/>
                  </a:lnTo>
                  <a:lnTo>
                    <a:pt x="1338" y="140"/>
                  </a:lnTo>
                  <a:lnTo>
                    <a:pt x="1335" y="140"/>
                  </a:lnTo>
                  <a:lnTo>
                    <a:pt x="1338" y="140"/>
                  </a:lnTo>
                  <a:lnTo>
                    <a:pt x="1340" y="140"/>
                  </a:lnTo>
                  <a:lnTo>
                    <a:pt x="1343" y="142"/>
                  </a:lnTo>
                  <a:lnTo>
                    <a:pt x="1340" y="145"/>
                  </a:lnTo>
                  <a:lnTo>
                    <a:pt x="1338" y="145"/>
                  </a:lnTo>
                  <a:lnTo>
                    <a:pt x="1335" y="145"/>
                  </a:lnTo>
                  <a:lnTo>
                    <a:pt x="1333" y="145"/>
                  </a:lnTo>
                  <a:lnTo>
                    <a:pt x="1331" y="147"/>
                  </a:lnTo>
                  <a:lnTo>
                    <a:pt x="1328" y="147"/>
                  </a:lnTo>
                  <a:lnTo>
                    <a:pt x="1326" y="147"/>
                  </a:lnTo>
                  <a:lnTo>
                    <a:pt x="1326" y="145"/>
                  </a:lnTo>
                  <a:lnTo>
                    <a:pt x="1324" y="145"/>
                  </a:lnTo>
                  <a:lnTo>
                    <a:pt x="1321" y="145"/>
                  </a:lnTo>
                  <a:lnTo>
                    <a:pt x="1319" y="145"/>
                  </a:lnTo>
                  <a:lnTo>
                    <a:pt x="1319" y="142"/>
                  </a:lnTo>
                  <a:lnTo>
                    <a:pt x="1316" y="142"/>
                  </a:lnTo>
                  <a:lnTo>
                    <a:pt x="1314" y="142"/>
                  </a:lnTo>
                  <a:lnTo>
                    <a:pt x="1314" y="140"/>
                  </a:lnTo>
                  <a:lnTo>
                    <a:pt x="1312" y="140"/>
                  </a:lnTo>
                  <a:lnTo>
                    <a:pt x="1309" y="140"/>
                  </a:lnTo>
                  <a:lnTo>
                    <a:pt x="1312" y="140"/>
                  </a:lnTo>
                  <a:lnTo>
                    <a:pt x="1309" y="140"/>
                  </a:lnTo>
                  <a:lnTo>
                    <a:pt x="1312" y="140"/>
                  </a:lnTo>
                  <a:lnTo>
                    <a:pt x="1314" y="140"/>
                  </a:lnTo>
                  <a:lnTo>
                    <a:pt x="1314" y="142"/>
                  </a:lnTo>
                  <a:lnTo>
                    <a:pt x="1316" y="142"/>
                  </a:lnTo>
                  <a:lnTo>
                    <a:pt x="1316" y="145"/>
                  </a:lnTo>
                  <a:lnTo>
                    <a:pt x="1319" y="145"/>
                  </a:lnTo>
                  <a:lnTo>
                    <a:pt x="1316" y="145"/>
                  </a:lnTo>
                  <a:lnTo>
                    <a:pt x="1314" y="145"/>
                  </a:lnTo>
                  <a:lnTo>
                    <a:pt x="1316" y="145"/>
                  </a:lnTo>
                  <a:lnTo>
                    <a:pt x="1319" y="145"/>
                  </a:lnTo>
                  <a:lnTo>
                    <a:pt x="1319" y="147"/>
                  </a:lnTo>
                  <a:lnTo>
                    <a:pt x="1321" y="147"/>
                  </a:lnTo>
                  <a:lnTo>
                    <a:pt x="1324" y="147"/>
                  </a:lnTo>
                  <a:lnTo>
                    <a:pt x="1324" y="149"/>
                  </a:lnTo>
                  <a:lnTo>
                    <a:pt x="1326" y="149"/>
                  </a:lnTo>
                  <a:lnTo>
                    <a:pt x="1326" y="152"/>
                  </a:lnTo>
                  <a:lnTo>
                    <a:pt x="1326" y="149"/>
                  </a:lnTo>
                  <a:lnTo>
                    <a:pt x="1326" y="152"/>
                  </a:lnTo>
                  <a:lnTo>
                    <a:pt x="1328" y="152"/>
                  </a:lnTo>
                  <a:lnTo>
                    <a:pt x="1326" y="154"/>
                  </a:lnTo>
                  <a:lnTo>
                    <a:pt x="1324" y="154"/>
                  </a:lnTo>
                  <a:lnTo>
                    <a:pt x="1321" y="154"/>
                  </a:lnTo>
                  <a:lnTo>
                    <a:pt x="1319" y="154"/>
                  </a:lnTo>
                  <a:lnTo>
                    <a:pt x="1316" y="154"/>
                  </a:lnTo>
                  <a:lnTo>
                    <a:pt x="1316" y="152"/>
                  </a:lnTo>
                  <a:lnTo>
                    <a:pt x="1314" y="152"/>
                  </a:lnTo>
                  <a:lnTo>
                    <a:pt x="1312" y="152"/>
                  </a:lnTo>
                  <a:lnTo>
                    <a:pt x="1312" y="149"/>
                  </a:lnTo>
                  <a:lnTo>
                    <a:pt x="1309" y="149"/>
                  </a:lnTo>
                  <a:lnTo>
                    <a:pt x="1309" y="147"/>
                  </a:lnTo>
                  <a:lnTo>
                    <a:pt x="1307" y="147"/>
                  </a:lnTo>
                  <a:lnTo>
                    <a:pt x="1305" y="147"/>
                  </a:lnTo>
                  <a:lnTo>
                    <a:pt x="1305" y="145"/>
                  </a:lnTo>
                  <a:lnTo>
                    <a:pt x="1302" y="145"/>
                  </a:lnTo>
                  <a:lnTo>
                    <a:pt x="1302" y="147"/>
                  </a:lnTo>
                  <a:lnTo>
                    <a:pt x="1302" y="149"/>
                  </a:lnTo>
                  <a:lnTo>
                    <a:pt x="1305" y="149"/>
                  </a:lnTo>
                  <a:lnTo>
                    <a:pt x="1307" y="149"/>
                  </a:lnTo>
                  <a:lnTo>
                    <a:pt x="1305" y="152"/>
                  </a:lnTo>
                  <a:lnTo>
                    <a:pt x="1307" y="152"/>
                  </a:lnTo>
                  <a:lnTo>
                    <a:pt x="1305" y="152"/>
                  </a:lnTo>
                  <a:lnTo>
                    <a:pt x="1305" y="149"/>
                  </a:lnTo>
                  <a:lnTo>
                    <a:pt x="1302" y="152"/>
                  </a:lnTo>
                  <a:lnTo>
                    <a:pt x="1300" y="152"/>
                  </a:lnTo>
                  <a:lnTo>
                    <a:pt x="1300" y="149"/>
                  </a:lnTo>
                  <a:lnTo>
                    <a:pt x="1297" y="149"/>
                  </a:lnTo>
                  <a:lnTo>
                    <a:pt x="1300" y="152"/>
                  </a:lnTo>
                  <a:lnTo>
                    <a:pt x="1302" y="152"/>
                  </a:lnTo>
                  <a:lnTo>
                    <a:pt x="1305" y="152"/>
                  </a:lnTo>
                  <a:lnTo>
                    <a:pt x="1305" y="154"/>
                  </a:lnTo>
                  <a:lnTo>
                    <a:pt x="1305" y="156"/>
                  </a:lnTo>
                  <a:lnTo>
                    <a:pt x="1302" y="156"/>
                  </a:lnTo>
                  <a:lnTo>
                    <a:pt x="1305" y="156"/>
                  </a:lnTo>
                  <a:lnTo>
                    <a:pt x="1302" y="156"/>
                  </a:lnTo>
                  <a:lnTo>
                    <a:pt x="1302" y="159"/>
                  </a:lnTo>
                  <a:lnTo>
                    <a:pt x="1302" y="156"/>
                  </a:lnTo>
                  <a:lnTo>
                    <a:pt x="1302" y="159"/>
                  </a:lnTo>
                  <a:lnTo>
                    <a:pt x="1302" y="161"/>
                  </a:lnTo>
                  <a:lnTo>
                    <a:pt x="1302" y="159"/>
                  </a:lnTo>
                  <a:lnTo>
                    <a:pt x="1302" y="161"/>
                  </a:lnTo>
                  <a:lnTo>
                    <a:pt x="1300" y="161"/>
                  </a:lnTo>
                  <a:lnTo>
                    <a:pt x="1302" y="161"/>
                  </a:lnTo>
                  <a:lnTo>
                    <a:pt x="1302" y="164"/>
                  </a:lnTo>
                  <a:lnTo>
                    <a:pt x="1305" y="164"/>
                  </a:lnTo>
                  <a:lnTo>
                    <a:pt x="1302" y="164"/>
                  </a:lnTo>
                  <a:lnTo>
                    <a:pt x="1300" y="164"/>
                  </a:lnTo>
                  <a:lnTo>
                    <a:pt x="1297" y="164"/>
                  </a:lnTo>
                  <a:lnTo>
                    <a:pt x="1295" y="164"/>
                  </a:lnTo>
                  <a:lnTo>
                    <a:pt x="1293" y="164"/>
                  </a:lnTo>
                  <a:lnTo>
                    <a:pt x="1293" y="161"/>
                  </a:lnTo>
                  <a:lnTo>
                    <a:pt x="1290" y="161"/>
                  </a:lnTo>
                  <a:lnTo>
                    <a:pt x="1293" y="161"/>
                  </a:lnTo>
                  <a:lnTo>
                    <a:pt x="1290" y="161"/>
                  </a:lnTo>
                  <a:lnTo>
                    <a:pt x="1288" y="159"/>
                  </a:lnTo>
                  <a:lnTo>
                    <a:pt x="1286" y="159"/>
                  </a:lnTo>
                  <a:lnTo>
                    <a:pt x="1283" y="159"/>
                  </a:lnTo>
                  <a:lnTo>
                    <a:pt x="1281" y="159"/>
                  </a:lnTo>
                  <a:lnTo>
                    <a:pt x="1281" y="156"/>
                  </a:lnTo>
                  <a:lnTo>
                    <a:pt x="1278" y="156"/>
                  </a:lnTo>
                  <a:lnTo>
                    <a:pt x="1276" y="156"/>
                  </a:lnTo>
                  <a:lnTo>
                    <a:pt x="1274" y="156"/>
                  </a:lnTo>
                  <a:lnTo>
                    <a:pt x="1271" y="156"/>
                  </a:lnTo>
                  <a:lnTo>
                    <a:pt x="1274" y="156"/>
                  </a:lnTo>
                  <a:lnTo>
                    <a:pt x="1271" y="156"/>
                  </a:lnTo>
                  <a:lnTo>
                    <a:pt x="1274" y="156"/>
                  </a:lnTo>
                  <a:lnTo>
                    <a:pt x="1274" y="159"/>
                  </a:lnTo>
                  <a:lnTo>
                    <a:pt x="1276" y="159"/>
                  </a:lnTo>
                  <a:lnTo>
                    <a:pt x="1278" y="159"/>
                  </a:lnTo>
                  <a:lnTo>
                    <a:pt x="1281" y="159"/>
                  </a:lnTo>
                  <a:lnTo>
                    <a:pt x="1283" y="159"/>
                  </a:lnTo>
                  <a:lnTo>
                    <a:pt x="1283" y="161"/>
                  </a:lnTo>
                  <a:lnTo>
                    <a:pt x="1286" y="161"/>
                  </a:lnTo>
                  <a:lnTo>
                    <a:pt x="1286" y="164"/>
                  </a:lnTo>
                  <a:lnTo>
                    <a:pt x="1286" y="166"/>
                  </a:lnTo>
                  <a:lnTo>
                    <a:pt x="1283" y="166"/>
                  </a:lnTo>
                  <a:lnTo>
                    <a:pt x="1283" y="164"/>
                  </a:lnTo>
                  <a:lnTo>
                    <a:pt x="1281" y="164"/>
                  </a:lnTo>
                  <a:lnTo>
                    <a:pt x="1278" y="164"/>
                  </a:lnTo>
                  <a:lnTo>
                    <a:pt x="1276" y="164"/>
                  </a:lnTo>
                  <a:lnTo>
                    <a:pt x="1278" y="164"/>
                  </a:lnTo>
                  <a:lnTo>
                    <a:pt x="1281" y="164"/>
                  </a:lnTo>
                  <a:lnTo>
                    <a:pt x="1283" y="164"/>
                  </a:lnTo>
                  <a:lnTo>
                    <a:pt x="1283" y="166"/>
                  </a:lnTo>
                  <a:lnTo>
                    <a:pt x="1286" y="166"/>
                  </a:lnTo>
                  <a:lnTo>
                    <a:pt x="1286" y="168"/>
                  </a:lnTo>
                  <a:lnTo>
                    <a:pt x="1288" y="168"/>
                  </a:lnTo>
                  <a:lnTo>
                    <a:pt x="1288" y="171"/>
                  </a:lnTo>
                  <a:lnTo>
                    <a:pt x="1288" y="173"/>
                  </a:lnTo>
                  <a:lnTo>
                    <a:pt x="1288" y="175"/>
                  </a:lnTo>
                  <a:lnTo>
                    <a:pt x="1290" y="175"/>
                  </a:lnTo>
                  <a:lnTo>
                    <a:pt x="1288" y="175"/>
                  </a:lnTo>
                  <a:lnTo>
                    <a:pt x="1286" y="175"/>
                  </a:lnTo>
                  <a:lnTo>
                    <a:pt x="1288" y="175"/>
                  </a:lnTo>
                  <a:lnTo>
                    <a:pt x="1290" y="175"/>
                  </a:lnTo>
                  <a:lnTo>
                    <a:pt x="1290" y="178"/>
                  </a:lnTo>
                  <a:lnTo>
                    <a:pt x="1288" y="178"/>
                  </a:lnTo>
                  <a:lnTo>
                    <a:pt x="1286" y="178"/>
                  </a:lnTo>
                  <a:lnTo>
                    <a:pt x="1283" y="178"/>
                  </a:lnTo>
                  <a:lnTo>
                    <a:pt x="1286" y="178"/>
                  </a:lnTo>
                  <a:lnTo>
                    <a:pt x="1288" y="178"/>
                  </a:lnTo>
                  <a:lnTo>
                    <a:pt x="1286" y="178"/>
                  </a:lnTo>
                  <a:lnTo>
                    <a:pt x="1283" y="178"/>
                  </a:lnTo>
                  <a:lnTo>
                    <a:pt x="1281" y="178"/>
                  </a:lnTo>
                  <a:lnTo>
                    <a:pt x="1281" y="180"/>
                  </a:lnTo>
                  <a:lnTo>
                    <a:pt x="1283" y="180"/>
                  </a:lnTo>
                  <a:lnTo>
                    <a:pt x="1283" y="183"/>
                  </a:lnTo>
                  <a:lnTo>
                    <a:pt x="1281" y="183"/>
                  </a:lnTo>
                  <a:lnTo>
                    <a:pt x="1281" y="180"/>
                  </a:lnTo>
                  <a:lnTo>
                    <a:pt x="1283" y="180"/>
                  </a:lnTo>
                  <a:lnTo>
                    <a:pt x="1281" y="180"/>
                  </a:lnTo>
                  <a:lnTo>
                    <a:pt x="1278" y="180"/>
                  </a:lnTo>
                  <a:lnTo>
                    <a:pt x="1276" y="180"/>
                  </a:lnTo>
                  <a:lnTo>
                    <a:pt x="1274" y="180"/>
                  </a:lnTo>
                  <a:lnTo>
                    <a:pt x="1276" y="180"/>
                  </a:lnTo>
                  <a:lnTo>
                    <a:pt x="1276" y="178"/>
                  </a:lnTo>
                  <a:lnTo>
                    <a:pt x="1276" y="180"/>
                  </a:lnTo>
                  <a:lnTo>
                    <a:pt x="1274" y="180"/>
                  </a:lnTo>
                  <a:lnTo>
                    <a:pt x="1276" y="180"/>
                  </a:lnTo>
                  <a:lnTo>
                    <a:pt x="1276" y="183"/>
                  </a:lnTo>
                  <a:lnTo>
                    <a:pt x="1278" y="183"/>
                  </a:lnTo>
                  <a:lnTo>
                    <a:pt x="1281" y="183"/>
                  </a:lnTo>
                  <a:lnTo>
                    <a:pt x="1283" y="183"/>
                  </a:lnTo>
                  <a:lnTo>
                    <a:pt x="1283" y="185"/>
                  </a:lnTo>
                  <a:lnTo>
                    <a:pt x="1283" y="183"/>
                  </a:lnTo>
                  <a:lnTo>
                    <a:pt x="1281" y="183"/>
                  </a:lnTo>
                  <a:lnTo>
                    <a:pt x="1278" y="183"/>
                  </a:lnTo>
                  <a:lnTo>
                    <a:pt x="1276" y="183"/>
                  </a:lnTo>
                  <a:lnTo>
                    <a:pt x="1276" y="185"/>
                  </a:lnTo>
                  <a:lnTo>
                    <a:pt x="1274" y="185"/>
                  </a:lnTo>
                  <a:lnTo>
                    <a:pt x="1276" y="185"/>
                  </a:lnTo>
                  <a:lnTo>
                    <a:pt x="1276" y="183"/>
                  </a:lnTo>
                  <a:lnTo>
                    <a:pt x="1274" y="183"/>
                  </a:lnTo>
                  <a:lnTo>
                    <a:pt x="1271" y="183"/>
                  </a:lnTo>
                  <a:lnTo>
                    <a:pt x="1271" y="185"/>
                  </a:lnTo>
                  <a:lnTo>
                    <a:pt x="1271" y="187"/>
                  </a:lnTo>
                  <a:lnTo>
                    <a:pt x="1271" y="185"/>
                  </a:lnTo>
                  <a:lnTo>
                    <a:pt x="1271" y="187"/>
                  </a:lnTo>
                  <a:lnTo>
                    <a:pt x="1269" y="187"/>
                  </a:lnTo>
                  <a:lnTo>
                    <a:pt x="1269" y="190"/>
                  </a:lnTo>
                  <a:lnTo>
                    <a:pt x="1271" y="190"/>
                  </a:lnTo>
                  <a:lnTo>
                    <a:pt x="1271" y="187"/>
                  </a:lnTo>
                  <a:lnTo>
                    <a:pt x="1271" y="190"/>
                  </a:lnTo>
                  <a:lnTo>
                    <a:pt x="1274" y="190"/>
                  </a:lnTo>
                  <a:lnTo>
                    <a:pt x="1274" y="192"/>
                  </a:lnTo>
                  <a:lnTo>
                    <a:pt x="1274" y="190"/>
                  </a:lnTo>
                  <a:lnTo>
                    <a:pt x="1271" y="190"/>
                  </a:lnTo>
                  <a:lnTo>
                    <a:pt x="1271" y="192"/>
                  </a:lnTo>
                  <a:lnTo>
                    <a:pt x="1269" y="192"/>
                  </a:lnTo>
                  <a:lnTo>
                    <a:pt x="1271" y="192"/>
                  </a:lnTo>
                  <a:lnTo>
                    <a:pt x="1269" y="192"/>
                  </a:lnTo>
                  <a:lnTo>
                    <a:pt x="1267" y="192"/>
                  </a:lnTo>
                  <a:lnTo>
                    <a:pt x="1264" y="190"/>
                  </a:lnTo>
                  <a:lnTo>
                    <a:pt x="1262" y="190"/>
                  </a:lnTo>
                  <a:lnTo>
                    <a:pt x="1259" y="190"/>
                  </a:lnTo>
                  <a:lnTo>
                    <a:pt x="1259" y="187"/>
                  </a:lnTo>
                  <a:lnTo>
                    <a:pt x="1257" y="187"/>
                  </a:lnTo>
                  <a:lnTo>
                    <a:pt x="1255" y="187"/>
                  </a:lnTo>
                  <a:lnTo>
                    <a:pt x="1257" y="187"/>
                  </a:lnTo>
                  <a:lnTo>
                    <a:pt x="1255" y="185"/>
                  </a:lnTo>
                  <a:lnTo>
                    <a:pt x="1255" y="183"/>
                  </a:lnTo>
                  <a:lnTo>
                    <a:pt x="1252" y="183"/>
                  </a:lnTo>
                  <a:lnTo>
                    <a:pt x="1255" y="183"/>
                  </a:lnTo>
                  <a:lnTo>
                    <a:pt x="1252" y="183"/>
                  </a:lnTo>
                  <a:lnTo>
                    <a:pt x="1252" y="180"/>
                  </a:lnTo>
                  <a:lnTo>
                    <a:pt x="1250" y="180"/>
                  </a:lnTo>
                  <a:lnTo>
                    <a:pt x="1250" y="178"/>
                  </a:lnTo>
                  <a:lnTo>
                    <a:pt x="1248" y="178"/>
                  </a:lnTo>
                  <a:lnTo>
                    <a:pt x="1245" y="178"/>
                  </a:lnTo>
                  <a:lnTo>
                    <a:pt x="1245" y="180"/>
                  </a:lnTo>
                  <a:lnTo>
                    <a:pt x="1248" y="180"/>
                  </a:lnTo>
                  <a:lnTo>
                    <a:pt x="1248" y="183"/>
                  </a:lnTo>
                  <a:lnTo>
                    <a:pt x="1250" y="183"/>
                  </a:lnTo>
                  <a:lnTo>
                    <a:pt x="1250" y="185"/>
                  </a:lnTo>
                  <a:lnTo>
                    <a:pt x="1248" y="185"/>
                  </a:lnTo>
                  <a:lnTo>
                    <a:pt x="1248" y="187"/>
                  </a:lnTo>
                  <a:lnTo>
                    <a:pt x="1248" y="185"/>
                  </a:lnTo>
                  <a:lnTo>
                    <a:pt x="1248" y="187"/>
                  </a:lnTo>
                  <a:lnTo>
                    <a:pt x="1248" y="185"/>
                  </a:lnTo>
                  <a:lnTo>
                    <a:pt x="1245" y="185"/>
                  </a:lnTo>
                  <a:lnTo>
                    <a:pt x="1243" y="185"/>
                  </a:lnTo>
                  <a:lnTo>
                    <a:pt x="1240" y="185"/>
                  </a:lnTo>
                  <a:lnTo>
                    <a:pt x="1240" y="187"/>
                  </a:lnTo>
                  <a:lnTo>
                    <a:pt x="1240" y="185"/>
                  </a:lnTo>
                  <a:lnTo>
                    <a:pt x="1238" y="185"/>
                  </a:lnTo>
                  <a:lnTo>
                    <a:pt x="1240" y="185"/>
                  </a:lnTo>
                  <a:lnTo>
                    <a:pt x="1240" y="187"/>
                  </a:lnTo>
                  <a:lnTo>
                    <a:pt x="1240" y="185"/>
                  </a:lnTo>
                  <a:lnTo>
                    <a:pt x="1240" y="187"/>
                  </a:lnTo>
                  <a:lnTo>
                    <a:pt x="1243" y="187"/>
                  </a:lnTo>
                  <a:lnTo>
                    <a:pt x="1245" y="187"/>
                  </a:lnTo>
                  <a:lnTo>
                    <a:pt x="1248" y="187"/>
                  </a:lnTo>
                  <a:lnTo>
                    <a:pt x="1250" y="187"/>
                  </a:lnTo>
                  <a:lnTo>
                    <a:pt x="1252" y="187"/>
                  </a:lnTo>
                  <a:lnTo>
                    <a:pt x="1252" y="190"/>
                  </a:lnTo>
                  <a:lnTo>
                    <a:pt x="1255" y="190"/>
                  </a:lnTo>
                  <a:lnTo>
                    <a:pt x="1255" y="192"/>
                  </a:lnTo>
                  <a:lnTo>
                    <a:pt x="1255" y="190"/>
                  </a:lnTo>
                  <a:lnTo>
                    <a:pt x="1255" y="192"/>
                  </a:lnTo>
                  <a:lnTo>
                    <a:pt x="1257" y="192"/>
                  </a:lnTo>
                  <a:lnTo>
                    <a:pt x="1259" y="192"/>
                  </a:lnTo>
                  <a:lnTo>
                    <a:pt x="1259" y="194"/>
                  </a:lnTo>
                  <a:lnTo>
                    <a:pt x="1259" y="197"/>
                  </a:lnTo>
                  <a:lnTo>
                    <a:pt x="1262" y="197"/>
                  </a:lnTo>
                  <a:lnTo>
                    <a:pt x="1259" y="197"/>
                  </a:lnTo>
                  <a:lnTo>
                    <a:pt x="1257" y="197"/>
                  </a:lnTo>
                  <a:lnTo>
                    <a:pt x="1257" y="199"/>
                  </a:lnTo>
                  <a:lnTo>
                    <a:pt x="1259" y="199"/>
                  </a:lnTo>
                  <a:lnTo>
                    <a:pt x="1262" y="199"/>
                  </a:lnTo>
                  <a:lnTo>
                    <a:pt x="1259" y="199"/>
                  </a:lnTo>
                  <a:lnTo>
                    <a:pt x="1259" y="202"/>
                  </a:lnTo>
                  <a:lnTo>
                    <a:pt x="1262" y="204"/>
                  </a:lnTo>
                  <a:lnTo>
                    <a:pt x="1262" y="206"/>
                  </a:lnTo>
                  <a:lnTo>
                    <a:pt x="1259" y="206"/>
                  </a:lnTo>
                  <a:lnTo>
                    <a:pt x="1257" y="206"/>
                  </a:lnTo>
                  <a:lnTo>
                    <a:pt x="1257" y="209"/>
                  </a:lnTo>
                  <a:lnTo>
                    <a:pt x="1255" y="209"/>
                  </a:lnTo>
                  <a:lnTo>
                    <a:pt x="1255" y="206"/>
                  </a:lnTo>
                  <a:lnTo>
                    <a:pt x="1252" y="206"/>
                  </a:lnTo>
                  <a:lnTo>
                    <a:pt x="1252" y="204"/>
                  </a:lnTo>
                  <a:lnTo>
                    <a:pt x="1250" y="204"/>
                  </a:lnTo>
                  <a:lnTo>
                    <a:pt x="1250" y="202"/>
                  </a:lnTo>
                  <a:lnTo>
                    <a:pt x="1248" y="202"/>
                  </a:lnTo>
                  <a:lnTo>
                    <a:pt x="1245" y="202"/>
                  </a:lnTo>
                  <a:lnTo>
                    <a:pt x="1243" y="202"/>
                  </a:lnTo>
                  <a:lnTo>
                    <a:pt x="1240" y="202"/>
                  </a:lnTo>
                  <a:lnTo>
                    <a:pt x="1240" y="199"/>
                  </a:lnTo>
                  <a:lnTo>
                    <a:pt x="1240" y="202"/>
                  </a:lnTo>
                  <a:lnTo>
                    <a:pt x="1238" y="202"/>
                  </a:lnTo>
                  <a:lnTo>
                    <a:pt x="1238" y="199"/>
                  </a:lnTo>
                  <a:lnTo>
                    <a:pt x="1238" y="202"/>
                  </a:lnTo>
                  <a:lnTo>
                    <a:pt x="1238" y="199"/>
                  </a:lnTo>
                  <a:lnTo>
                    <a:pt x="1236" y="199"/>
                  </a:lnTo>
                  <a:lnTo>
                    <a:pt x="1233" y="199"/>
                  </a:lnTo>
                  <a:lnTo>
                    <a:pt x="1231" y="199"/>
                  </a:lnTo>
                  <a:lnTo>
                    <a:pt x="1229" y="199"/>
                  </a:lnTo>
                  <a:lnTo>
                    <a:pt x="1226" y="199"/>
                  </a:lnTo>
                  <a:lnTo>
                    <a:pt x="1224" y="199"/>
                  </a:lnTo>
                  <a:lnTo>
                    <a:pt x="1222" y="199"/>
                  </a:lnTo>
                  <a:lnTo>
                    <a:pt x="1219" y="199"/>
                  </a:lnTo>
                  <a:lnTo>
                    <a:pt x="1222" y="199"/>
                  </a:lnTo>
                  <a:lnTo>
                    <a:pt x="1224" y="199"/>
                  </a:lnTo>
                  <a:lnTo>
                    <a:pt x="1224" y="202"/>
                  </a:lnTo>
                  <a:lnTo>
                    <a:pt x="1226" y="202"/>
                  </a:lnTo>
                  <a:lnTo>
                    <a:pt x="1229" y="202"/>
                  </a:lnTo>
                  <a:lnTo>
                    <a:pt x="1226" y="202"/>
                  </a:lnTo>
                  <a:lnTo>
                    <a:pt x="1229" y="202"/>
                  </a:lnTo>
                  <a:lnTo>
                    <a:pt x="1231" y="202"/>
                  </a:lnTo>
                  <a:lnTo>
                    <a:pt x="1233" y="202"/>
                  </a:lnTo>
                  <a:lnTo>
                    <a:pt x="1236" y="202"/>
                  </a:lnTo>
                  <a:lnTo>
                    <a:pt x="1238" y="202"/>
                  </a:lnTo>
                  <a:lnTo>
                    <a:pt x="1240" y="202"/>
                  </a:lnTo>
                  <a:lnTo>
                    <a:pt x="1243" y="202"/>
                  </a:lnTo>
                  <a:lnTo>
                    <a:pt x="1243" y="204"/>
                  </a:lnTo>
                  <a:lnTo>
                    <a:pt x="1245" y="204"/>
                  </a:lnTo>
                  <a:lnTo>
                    <a:pt x="1243" y="204"/>
                  </a:lnTo>
                  <a:lnTo>
                    <a:pt x="1245" y="204"/>
                  </a:lnTo>
                  <a:lnTo>
                    <a:pt x="1248" y="206"/>
                  </a:lnTo>
                  <a:lnTo>
                    <a:pt x="1250" y="206"/>
                  </a:lnTo>
                  <a:lnTo>
                    <a:pt x="1250" y="209"/>
                  </a:lnTo>
                  <a:lnTo>
                    <a:pt x="1250" y="211"/>
                  </a:lnTo>
                  <a:lnTo>
                    <a:pt x="1252" y="211"/>
                  </a:lnTo>
                  <a:lnTo>
                    <a:pt x="1252" y="213"/>
                  </a:lnTo>
                  <a:lnTo>
                    <a:pt x="1252" y="216"/>
                  </a:lnTo>
                  <a:lnTo>
                    <a:pt x="1250" y="216"/>
                  </a:lnTo>
                  <a:lnTo>
                    <a:pt x="1248" y="216"/>
                  </a:lnTo>
                  <a:lnTo>
                    <a:pt x="1245" y="216"/>
                  </a:lnTo>
                  <a:lnTo>
                    <a:pt x="1245" y="218"/>
                  </a:lnTo>
                  <a:lnTo>
                    <a:pt x="1243" y="218"/>
                  </a:lnTo>
                  <a:lnTo>
                    <a:pt x="1245" y="218"/>
                  </a:lnTo>
                  <a:lnTo>
                    <a:pt x="1243" y="218"/>
                  </a:lnTo>
                  <a:lnTo>
                    <a:pt x="1240" y="218"/>
                  </a:lnTo>
                  <a:lnTo>
                    <a:pt x="1238" y="218"/>
                  </a:lnTo>
                  <a:lnTo>
                    <a:pt x="1236" y="218"/>
                  </a:lnTo>
                  <a:lnTo>
                    <a:pt x="1233" y="216"/>
                  </a:lnTo>
                  <a:lnTo>
                    <a:pt x="1231" y="216"/>
                  </a:lnTo>
                  <a:lnTo>
                    <a:pt x="1231" y="213"/>
                  </a:lnTo>
                  <a:lnTo>
                    <a:pt x="1229" y="213"/>
                  </a:lnTo>
                  <a:lnTo>
                    <a:pt x="1226" y="213"/>
                  </a:lnTo>
                  <a:lnTo>
                    <a:pt x="1226" y="211"/>
                  </a:lnTo>
                  <a:lnTo>
                    <a:pt x="1224" y="211"/>
                  </a:lnTo>
                  <a:lnTo>
                    <a:pt x="1224" y="209"/>
                  </a:lnTo>
                  <a:lnTo>
                    <a:pt x="1222" y="209"/>
                  </a:lnTo>
                  <a:lnTo>
                    <a:pt x="1222" y="211"/>
                  </a:lnTo>
                  <a:lnTo>
                    <a:pt x="1224" y="211"/>
                  </a:lnTo>
                  <a:lnTo>
                    <a:pt x="1224" y="213"/>
                  </a:lnTo>
                  <a:lnTo>
                    <a:pt x="1226" y="213"/>
                  </a:lnTo>
                  <a:lnTo>
                    <a:pt x="1226" y="216"/>
                  </a:lnTo>
                  <a:lnTo>
                    <a:pt x="1229" y="216"/>
                  </a:lnTo>
                  <a:lnTo>
                    <a:pt x="1226" y="216"/>
                  </a:lnTo>
                  <a:lnTo>
                    <a:pt x="1224" y="216"/>
                  </a:lnTo>
                  <a:lnTo>
                    <a:pt x="1226" y="216"/>
                  </a:lnTo>
                  <a:lnTo>
                    <a:pt x="1224" y="216"/>
                  </a:lnTo>
                  <a:lnTo>
                    <a:pt x="1226" y="216"/>
                  </a:lnTo>
                  <a:lnTo>
                    <a:pt x="1229" y="216"/>
                  </a:lnTo>
                  <a:lnTo>
                    <a:pt x="1231" y="216"/>
                  </a:lnTo>
                  <a:lnTo>
                    <a:pt x="1231" y="218"/>
                  </a:lnTo>
                  <a:lnTo>
                    <a:pt x="1233" y="218"/>
                  </a:lnTo>
                  <a:lnTo>
                    <a:pt x="1231" y="218"/>
                  </a:lnTo>
                  <a:lnTo>
                    <a:pt x="1233" y="218"/>
                  </a:lnTo>
                  <a:lnTo>
                    <a:pt x="1236" y="221"/>
                  </a:lnTo>
                  <a:lnTo>
                    <a:pt x="1238" y="221"/>
                  </a:lnTo>
                  <a:lnTo>
                    <a:pt x="1240" y="223"/>
                  </a:lnTo>
                  <a:lnTo>
                    <a:pt x="1240" y="225"/>
                  </a:lnTo>
                  <a:lnTo>
                    <a:pt x="1238" y="225"/>
                  </a:lnTo>
                  <a:lnTo>
                    <a:pt x="1238" y="228"/>
                  </a:lnTo>
                  <a:lnTo>
                    <a:pt x="1236" y="228"/>
                  </a:lnTo>
                  <a:lnTo>
                    <a:pt x="1236" y="230"/>
                  </a:lnTo>
                  <a:lnTo>
                    <a:pt x="1233" y="232"/>
                  </a:lnTo>
                  <a:lnTo>
                    <a:pt x="1233" y="230"/>
                  </a:lnTo>
                  <a:lnTo>
                    <a:pt x="1233" y="232"/>
                  </a:lnTo>
                  <a:lnTo>
                    <a:pt x="1231" y="232"/>
                  </a:lnTo>
                  <a:lnTo>
                    <a:pt x="1229" y="235"/>
                  </a:lnTo>
                  <a:lnTo>
                    <a:pt x="1229" y="232"/>
                  </a:lnTo>
                  <a:lnTo>
                    <a:pt x="1229" y="235"/>
                  </a:lnTo>
                  <a:lnTo>
                    <a:pt x="1229" y="232"/>
                  </a:lnTo>
                  <a:lnTo>
                    <a:pt x="1226" y="232"/>
                  </a:lnTo>
                  <a:lnTo>
                    <a:pt x="1226" y="230"/>
                  </a:lnTo>
                  <a:lnTo>
                    <a:pt x="1224" y="230"/>
                  </a:lnTo>
                  <a:lnTo>
                    <a:pt x="1226" y="232"/>
                  </a:lnTo>
                  <a:lnTo>
                    <a:pt x="1226" y="230"/>
                  </a:lnTo>
                  <a:lnTo>
                    <a:pt x="1226" y="232"/>
                  </a:lnTo>
                  <a:lnTo>
                    <a:pt x="1224" y="232"/>
                  </a:lnTo>
                  <a:lnTo>
                    <a:pt x="1226" y="232"/>
                  </a:lnTo>
                  <a:lnTo>
                    <a:pt x="1226" y="235"/>
                  </a:lnTo>
                  <a:lnTo>
                    <a:pt x="1226" y="232"/>
                  </a:lnTo>
                  <a:lnTo>
                    <a:pt x="1226" y="235"/>
                  </a:lnTo>
                  <a:lnTo>
                    <a:pt x="1224" y="235"/>
                  </a:lnTo>
                  <a:lnTo>
                    <a:pt x="1224" y="237"/>
                  </a:lnTo>
                  <a:lnTo>
                    <a:pt x="1222" y="237"/>
                  </a:lnTo>
                  <a:lnTo>
                    <a:pt x="1219" y="237"/>
                  </a:lnTo>
                  <a:lnTo>
                    <a:pt x="1217" y="237"/>
                  </a:lnTo>
                  <a:lnTo>
                    <a:pt x="1214" y="237"/>
                  </a:lnTo>
                  <a:lnTo>
                    <a:pt x="1212" y="237"/>
                  </a:lnTo>
                  <a:lnTo>
                    <a:pt x="1210" y="237"/>
                  </a:lnTo>
                  <a:lnTo>
                    <a:pt x="1207" y="237"/>
                  </a:lnTo>
                  <a:lnTo>
                    <a:pt x="1205" y="237"/>
                  </a:lnTo>
                  <a:lnTo>
                    <a:pt x="1203" y="237"/>
                  </a:lnTo>
                  <a:lnTo>
                    <a:pt x="1203" y="235"/>
                  </a:lnTo>
                  <a:lnTo>
                    <a:pt x="1200" y="235"/>
                  </a:lnTo>
                  <a:lnTo>
                    <a:pt x="1203" y="235"/>
                  </a:lnTo>
                  <a:lnTo>
                    <a:pt x="1200" y="232"/>
                  </a:lnTo>
                  <a:lnTo>
                    <a:pt x="1203" y="232"/>
                  </a:lnTo>
                  <a:lnTo>
                    <a:pt x="1200" y="232"/>
                  </a:lnTo>
                  <a:lnTo>
                    <a:pt x="1203" y="232"/>
                  </a:lnTo>
                  <a:lnTo>
                    <a:pt x="1203" y="230"/>
                  </a:lnTo>
                  <a:lnTo>
                    <a:pt x="1203" y="232"/>
                  </a:lnTo>
                  <a:lnTo>
                    <a:pt x="1200" y="230"/>
                  </a:lnTo>
                  <a:lnTo>
                    <a:pt x="1203" y="230"/>
                  </a:lnTo>
                  <a:lnTo>
                    <a:pt x="1200" y="230"/>
                  </a:lnTo>
                  <a:lnTo>
                    <a:pt x="1203" y="230"/>
                  </a:lnTo>
                  <a:lnTo>
                    <a:pt x="1200" y="230"/>
                  </a:lnTo>
                  <a:lnTo>
                    <a:pt x="1203" y="230"/>
                  </a:lnTo>
                  <a:lnTo>
                    <a:pt x="1200" y="230"/>
                  </a:lnTo>
                  <a:lnTo>
                    <a:pt x="1200" y="228"/>
                  </a:lnTo>
                  <a:lnTo>
                    <a:pt x="1200" y="230"/>
                  </a:lnTo>
                  <a:lnTo>
                    <a:pt x="1200" y="228"/>
                  </a:lnTo>
                  <a:lnTo>
                    <a:pt x="1198" y="228"/>
                  </a:lnTo>
                  <a:lnTo>
                    <a:pt x="1198" y="225"/>
                  </a:lnTo>
                  <a:lnTo>
                    <a:pt x="1195" y="225"/>
                  </a:lnTo>
                  <a:lnTo>
                    <a:pt x="1198" y="225"/>
                  </a:lnTo>
                  <a:lnTo>
                    <a:pt x="1195" y="225"/>
                  </a:lnTo>
                  <a:lnTo>
                    <a:pt x="1195" y="223"/>
                  </a:lnTo>
                  <a:lnTo>
                    <a:pt x="1193" y="223"/>
                  </a:lnTo>
                  <a:lnTo>
                    <a:pt x="1195" y="223"/>
                  </a:lnTo>
                  <a:lnTo>
                    <a:pt x="1195" y="225"/>
                  </a:lnTo>
                  <a:lnTo>
                    <a:pt x="1195" y="223"/>
                  </a:lnTo>
                  <a:lnTo>
                    <a:pt x="1195" y="225"/>
                  </a:lnTo>
                  <a:lnTo>
                    <a:pt x="1198" y="225"/>
                  </a:lnTo>
                  <a:lnTo>
                    <a:pt x="1195" y="225"/>
                  </a:lnTo>
                  <a:lnTo>
                    <a:pt x="1195" y="228"/>
                  </a:lnTo>
                  <a:lnTo>
                    <a:pt x="1198" y="228"/>
                  </a:lnTo>
                  <a:lnTo>
                    <a:pt x="1200" y="228"/>
                  </a:lnTo>
                  <a:lnTo>
                    <a:pt x="1200" y="230"/>
                  </a:lnTo>
                  <a:lnTo>
                    <a:pt x="1198" y="230"/>
                  </a:lnTo>
                  <a:lnTo>
                    <a:pt x="1200" y="230"/>
                  </a:lnTo>
                  <a:lnTo>
                    <a:pt x="1198" y="230"/>
                  </a:lnTo>
                  <a:lnTo>
                    <a:pt x="1200" y="230"/>
                  </a:lnTo>
                  <a:lnTo>
                    <a:pt x="1198" y="230"/>
                  </a:lnTo>
                  <a:lnTo>
                    <a:pt x="1200" y="230"/>
                  </a:lnTo>
                  <a:lnTo>
                    <a:pt x="1198" y="230"/>
                  </a:lnTo>
                  <a:lnTo>
                    <a:pt x="1200" y="230"/>
                  </a:lnTo>
                  <a:lnTo>
                    <a:pt x="1198" y="230"/>
                  </a:lnTo>
                  <a:lnTo>
                    <a:pt x="1200" y="232"/>
                  </a:lnTo>
                  <a:lnTo>
                    <a:pt x="1200" y="235"/>
                  </a:lnTo>
                  <a:lnTo>
                    <a:pt x="1200" y="232"/>
                  </a:lnTo>
                  <a:lnTo>
                    <a:pt x="1200" y="235"/>
                  </a:lnTo>
                  <a:lnTo>
                    <a:pt x="1198" y="235"/>
                  </a:lnTo>
                  <a:lnTo>
                    <a:pt x="1195" y="235"/>
                  </a:lnTo>
                  <a:lnTo>
                    <a:pt x="1195" y="232"/>
                  </a:lnTo>
                  <a:lnTo>
                    <a:pt x="1195" y="235"/>
                  </a:lnTo>
                  <a:lnTo>
                    <a:pt x="1195" y="232"/>
                  </a:lnTo>
                  <a:lnTo>
                    <a:pt x="1193" y="232"/>
                  </a:lnTo>
                  <a:lnTo>
                    <a:pt x="1191" y="232"/>
                  </a:lnTo>
                  <a:lnTo>
                    <a:pt x="1188" y="232"/>
                  </a:lnTo>
                  <a:lnTo>
                    <a:pt x="1186" y="232"/>
                  </a:lnTo>
                  <a:lnTo>
                    <a:pt x="1184" y="232"/>
                  </a:lnTo>
                  <a:lnTo>
                    <a:pt x="1181" y="232"/>
                  </a:lnTo>
                  <a:lnTo>
                    <a:pt x="1179" y="232"/>
                  </a:lnTo>
                  <a:lnTo>
                    <a:pt x="1176" y="232"/>
                  </a:lnTo>
                  <a:lnTo>
                    <a:pt x="1176" y="230"/>
                  </a:lnTo>
                  <a:lnTo>
                    <a:pt x="1176" y="228"/>
                  </a:lnTo>
                  <a:lnTo>
                    <a:pt x="1174" y="228"/>
                  </a:lnTo>
                  <a:lnTo>
                    <a:pt x="1172" y="228"/>
                  </a:lnTo>
                  <a:lnTo>
                    <a:pt x="1169" y="228"/>
                  </a:lnTo>
                  <a:lnTo>
                    <a:pt x="1169" y="225"/>
                  </a:lnTo>
                  <a:lnTo>
                    <a:pt x="1169" y="228"/>
                  </a:lnTo>
                  <a:lnTo>
                    <a:pt x="1167" y="225"/>
                  </a:lnTo>
                  <a:lnTo>
                    <a:pt x="1165" y="225"/>
                  </a:lnTo>
                  <a:lnTo>
                    <a:pt x="1162" y="225"/>
                  </a:lnTo>
                  <a:lnTo>
                    <a:pt x="1160" y="225"/>
                  </a:lnTo>
                  <a:lnTo>
                    <a:pt x="1160" y="228"/>
                  </a:lnTo>
                  <a:lnTo>
                    <a:pt x="1157" y="228"/>
                  </a:lnTo>
                  <a:lnTo>
                    <a:pt x="1155" y="228"/>
                  </a:lnTo>
                  <a:lnTo>
                    <a:pt x="1155" y="230"/>
                  </a:lnTo>
                  <a:lnTo>
                    <a:pt x="1155" y="228"/>
                  </a:lnTo>
                  <a:lnTo>
                    <a:pt x="1155" y="230"/>
                  </a:lnTo>
                  <a:lnTo>
                    <a:pt x="1155" y="228"/>
                  </a:lnTo>
                  <a:lnTo>
                    <a:pt x="1155" y="230"/>
                  </a:lnTo>
                  <a:lnTo>
                    <a:pt x="1153" y="230"/>
                  </a:lnTo>
                  <a:lnTo>
                    <a:pt x="1153" y="228"/>
                  </a:lnTo>
                  <a:lnTo>
                    <a:pt x="1150" y="230"/>
                  </a:lnTo>
                  <a:lnTo>
                    <a:pt x="1148" y="230"/>
                  </a:lnTo>
                  <a:lnTo>
                    <a:pt x="1148" y="232"/>
                  </a:lnTo>
                  <a:lnTo>
                    <a:pt x="1146" y="232"/>
                  </a:lnTo>
                  <a:lnTo>
                    <a:pt x="1143" y="232"/>
                  </a:lnTo>
                  <a:lnTo>
                    <a:pt x="1141" y="232"/>
                  </a:lnTo>
                  <a:lnTo>
                    <a:pt x="1138" y="232"/>
                  </a:lnTo>
                  <a:lnTo>
                    <a:pt x="1138" y="230"/>
                  </a:lnTo>
                  <a:lnTo>
                    <a:pt x="1138" y="232"/>
                  </a:lnTo>
                  <a:lnTo>
                    <a:pt x="1138" y="230"/>
                  </a:lnTo>
                  <a:lnTo>
                    <a:pt x="1136" y="232"/>
                  </a:lnTo>
                  <a:lnTo>
                    <a:pt x="1136" y="230"/>
                  </a:lnTo>
                  <a:lnTo>
                    <a:pt x="1138" y="230"/>
                  </a:lnTo>
                  <a:lnTo>
                    <a:pt x="1138" y="228"/>
                  </a:lnTo>
                  <a:lnTo>
                    <a:pt x="1138" y="230"/>
                  </a:lnTo>
                  <a:lnTo>
                    <a:pt x="1138" y="228"/>
                  </a:lnTo>
                  <a:lnTo>
                    <a:pt x="1141" y="228"/>
                  </a:lnTo>
                  <a:lnTo>
                    <a:pt x="1143" y="228"/>
                  </a:lnTo>
                  <a:lnTo>
                    <a:pt x="1141" y="228"/>
                  </a:lnTo>
                  <a:lnTo>
                    <a:pt x="1143" y="228"/>
                  </a:lnTo>
                  <a:lnTo>
                    <a:pt x="1146" y="228"/>
                  </a:lnTo>
                  <a:lnTo>
                    <a:pt x="1143" y="228"/>
                  </a:lnTo>
                  <a:lnTo>
                    <a:pt x="1146" y="228"/>
                  </a:lnTo>
                  <a:lnTo>
                    <a:pt x="1143" y="228"/>
                  </a:lnTo>
                  <a:lnTo>
                    <a:pt x="1146" y="228"/>
                  </a:lnTo>
                  <a:lnTo>
                    <a:pt x="1146" y="225"/>
                  </a:lnTo>
                  <a:lnTo>
                    <a:pt x="1148" y="225"/>
                  </a:lnTo>
                  <a:lnTo>
                    <a:pt x="1150" y="225"/>
                  </a:lnTo>
                  <a:lnTo>
                    <a:pt x="1150" y="223"/>
                  </a:lnTo>
                  <a:lnTo>
                    <a:pt x="1148" y="223"/>
                  </a:lnTo>
                  <a:lnTo>
                    <a:pt x="1146" y="225"/>
                  </a:lnTo>
                  <a:lnTo>
                    <a:pt x="1146" y="223"/>
                  </a:lnTo>
                  <a:lnTo>
                    <a:pt x="1143" y="223"/>
                  </a:lnTo>
                  <a:lnTo>
                    <a:pt x="1141" y="223"/>
                  </a:lnTo>
                  <a:lnTo>
                    <a:pt x="1143" y="223"/>
                  </a:lnTo>
                  <a:lnTo>
                    <a:pt x="1143" y="221"/>
                  </a:lnTo>
                  <a:lnTo>
                    <a:pt x="1146" y="221"/>
                  </a:lnTo>
                  <a:lnTo>
                    <a:pt x="1143" y="221"/>
                  </a:lnTo>
                  <a:lnTo>
                    <a:pt x="1146" y="221"/>
                  </a:lnTo>
                  <a:lnTo>
                    <a:pt x="1146" y="218"/>
                  </a:lnTo>
                  <a:lnTo>
                    <a:pt x="1148" y="218"/>
                  </a:lnTo>
                  <a:lnTo>
                    <a:pt x="1150" y="218"/>
                  </a:lnTo>
                  <a:lnTo>
                    <a:pt x="1150" y="216"/>
                  </a:lnTo>
                  <a:lnTo>
                    <a:pt x="1150" y="218"/>
                  </a:lnTo>
                  <a:lnTo>
                    <a:pt x="1150" y="216"/>
                  </a:lnTo>
                  <a:lnTo>
                    <a:pt x="1153" y="216"/>
                  </a:lnTo>
                  <a:lnTo>
                    <a:pt x="1155" y="216"/>
                  </a:lnTo>
                  <a:lnTo>
                    <a:pt x="1157" y="216"/>
                  </a:lnTo>
                  <a:lnTo>
                    <a:pt x="1157" y="213"/>
                  </a:lnTo>
                  <a:lnTo>
                    <a:pt x="1157" y="216"/>
                  </a:lnTo>
                  <a:lnTo>
                    <a:pt x="1157" y="213"/>
                  </a:lnTo>
                  <a:lnTo>
                    <a:pt x="1160" y="213"/>
                  </a:lnTo>
                  <a:lnTo>
                    <a:pt x="1162" y="213"/>
                  </a:lnTo>
                  <a:lnTo>
                    <a:pt x="1165" y="213"/>
                  </a:lnTo>
                  <a:lnTo>
                    <a:pt x="1165" y="211"/>
                  </a:lnTo>
                  <a:lnTo>
                    <a:pt x="1167" y="211"/>
                  </a:lnTo>
                  <a:lnTo>
                    <a:pt x="1169" y="211"/>
                  </a:lnTo>
                  <a:lnTo>
                    <a:pt x="1172" y="211"/>
                  </a:lnTo>
                  <a:lnTo>
                    <a:pt x="1172" y="209"/>
                  </a:lnTo>
                  <a:lnTo>
                    <a:pt x="1174" y="209"/>
                  </a:lnTo>
                  <a:lnTo>
                    <a:pt x="1174" y="211"/>
                  </a:lnTo>
                  <a:lnTo>
                    <a:pt x="1176" y="209"/>
                  </a:lnTo>
                  <a:lnTo>
                    <a:pt x="1179" y="209"/>
                  </a:lnTo>
                  <a:lnTo>
                    <a:pt x="1179" y="211"/>
                  </a:lnTo>
                  <a:lnTo>
                    <a:pt x="1181" y="211"/>
                  </a:lnTo>
                  <a:lnTo>
                    <a:pt x="1184" y="211"/>
                  </a:lnTo>
                  <a:lnTo>
                    <a:pt x="1181" y="211"/>
                  </a:lnTo>
                  <a:lnTo>
                    <a:pt x="1184" y="211"/>
                  </a:lnTo>
                  <a:lnTo>
                    <a:pt x="1184" y="213"/>
                  </a:lnTo>
                  <a:lnTo>
                    <a:pt x="1184" y="211"/>
                  </a:lnTo>
                  <a:lnTo>
                    <a:pt x="1186" y="211"/>
                  </a:lnTo>
                  <a:lnTo>
                    <a:pt x="1186" y="213"/>
                  </a:lnTo>
                  <a:lnTo>
                    <a:pt x="1186" y="211"/>
                  </a:lnTo>
                  <a:lnTo>
                    <a:pt x="1186" y="213"/>
                  </a:lnTo>
                  <a:lnTo>
                    <a:pt x="1188" y="213"/>
                  </a:lnTo>
                  <a:lnTo>
                    <a:pt x="1191" y="213"/>
                  </a:lnTo>
                  <a:lnTo>
                    <a:pt x="1188" y="213"/>
                  </a:lnTo>
                  <a:lnTo>
                    <a:pt x="1186" y="213"/>
                  </a:lnTo>
                  <a:lnTo>
                    <a:pt x="1186" y="211"/>
                  </a:lnTo>
                  <a:lnTo>
                    <a:pt x="1184" y="211"/>
                  </a:lnTo>
                  <a:lnTo>
                    <a:pt x="1181" y="211"/>
                  </a:lnTo>
                  <a:lnTo>
                    <a:pt x="1181" y="209"/>
                  </a:lnTo>
                  <a:lnTo>
                    <a:pt x="1179" y="209"/>
                  </a:lnTo>
                  <a:lnTo>
                    <a:pt x="1176" y="209"/>
                  </a:lnTo>
                  <a:lnTo>
                    <a:pt x="1174" y="209"/>
                  </a:lnTo>
                  <a:lnTo>
                    <a:pt x="1172" y="209"/>
                  </a:lnTo>
                  <a:lnTo>
                    <a:pt x="1172" y="206"/>
                  </a:lnTo>
                  <a:lnTo>
                    <a:pt x="1174" y="206"/>
                  </a:lnTo>
                  <a:lnTo>
                    <a:pt x="1174" y="209"/>
                  </a:lnTo>
                  <a:lnTo>
                    <a:pt x="1176" y="206"/>
                  </a:lnTo>
                  <a:lnTo>
                    <a:pt x="1174" y="206"/>
                  </a:lnTo>
                  <a:lnTo>
                    <a:pt x="1172" y="206"/>
                  </a:lnTo>
                  <a:lnTo>
                    <a:pt x="1172" y="209"/>
                  </a:lnTo>
                  <a:lnTo>
                    <a:pt x="1172" y="206"/>
                  </a:lnTo>
                  <a:lnTo>
                    <a:pt x="1172" y="209"/>
                  </a:lnTo>
                  <a:lnTo>
                    <a:pt x="1169" y="209"/>
                  </a:lnTo>
                  <a:lnTo>
                    <a:pt x="1167" y="209"/>
                  </a:lnTo>
                  <a:lnTo>
                    <a:pt x="1165" y="209"/>
                  </a:lnTo>
                  <a:lnTo>
                    <a:pt x="1165" y="211"/>
                  </a:lnTo>
                  <a:lnTo>
                    <a:pt x="1162" y="211"/>
                  </a:lnTo>
                  <a:lnTo>
                    <a:pt x="1162" y="209"/>
                  </a:lnTo>
                  <a:lnTo>
                    <a:pt x="1165" y="209"/>
                  </a:lnTo>
                  <a:lnTo>
                    <a:pt x="1162" y="209"/>
                  </a:lnTo>
                  <a:lnTo>
                    <a:pt x="1160" y="209"/>
                  </a:lnTo>
                  <a:lnTo>
                    <a:pt x="1162" y="209"/>
                  </a:lnTo>
                  <a:lnTo>
                    <a:pt x="1160" y="209"/>
                  </a:lnTo>
                  <a:lnTo>
                    <a:pt x="1160" y="211"/>
                  </a:lnTo>
                  <a:lnTo>
                    <a:pt x="1157" y="211"/>
                  </a:lnTo>
                  <a:lnTo>
                    <a:pt x="1155" y="211"/>
                  </a:lnTo>
                  <a:lnTo>
                    <a:pt x="1155" y="209"/>
                  </a:lnTo>
                  <a:lnTo>
                    <a:pt x="1153" y="209"/>
                  </a:lnTo>
                  <a:lnTo>
                    <a:pt x="1153" y="211"/>
                  </a:lnTo>
                  <a:lnTo>
                    <a:pt x="1150" y="211"/>
                  </a:lnTo>
                  <a:lnTo>
                    <a:pt x="1148" y="211"/>
                  </a:lnTo>
                  <a:lnTo>
                    <a:pt x="1148" y="213"/>
                  </a:lnTo>
                  <a:lnTo>
                    <a:pt x="1146" y="213"/>
                  </a:lnTo>
                  <a:lnTo>
                    <a:pt x="1143" y="213"/>
                  </a:lnTo>
                  <a:lnTo>
                    <a:pt x="1143" y="216"/>
                  </a:lnTo>
                  <a:lnTo>
                    <a:pt x="1141" y="216"/>
                  </a:lnTo>
                  <a:lnTo>
                    <a:pt x="1138" y="213"/>
                  </a:lnTo>
                  <a:lnTo>
                    <a:pt x="1138" y="216"/>
                  </a:lnTo>
                  <a:lnTo>
                    <a:pt x="1136" y="216"/>
                  </a:lnTo>
                  <a:lnTo>
                    <a:pt x="1136" y="213"/>
                  </a:lnTo>
                  <a:lnTo>
                    <a:pt x="1136" y="216"/>
                  </a:lnTo>
                  <a:lnTo>
                    <a:pt x="1134" y="213"/>
                  </a:lnTo>
                  <a:lnTo>
                    <a:pt x="1131" y="213"/>
                  </a:lnTo>
                  <a:lnTo>
                    <a:pt x="1131" y="211"/>
                  </a:lnTo>
                  <a:lnTo>
                    <a:pt x="1129" y="211"/>
                  </a:lnTo>
                  <a:lnTo>
                    <a:pt x="1129" y="209"/>
                  </a:lnTo>
                  <a:lnTo>
                    <a:pt x="1127" y="209"/>
                  </a:lnTo>
                  <a:lnTo>
                    <a:pt x="1124" y="209"/>
                  </a:lnTo>
                  <a:lnTo>
                    <a:pt x="1124" y="206"/>
                  </a:lnTo>
                  <a:lnTo>
                    <a:pt x="1124" y="204"/>
                  </a:lnTo>
                  <a:lnTo>
                    <a:pt x="1127" y="204"/>
                  </a:lnTo>
                  <a:lnTo>
                    <a:pt x="1127" y="206"/>
                  </a:lnTo>
                  <a:lnTo>
                    <a:pt x="1129" y="206"/>
                  </a:lnTo>
                  <a:lnTo>
                    <a:pt x="1131" y="206"/>
                  </a:lnTo>
                  <a:lnTo>
                    <a:pt x="1134" y="204"/>
                  </a:lnTo>
                  <a:lnTo>
                    <a:pt x="1136" y="204"/>
                  </a:lnTo>
                  <a:lnTo>
                    <a:pt x="1136" y="202"/>
                  </a:lnTo>
                  <a:lnTo>
                    <a:pt x="1136" y="199"/>
                  </a:lnTo>
                  <a:lnTo>
                    <a:pt x="1138" y="199"/>
                  </a:lnTo>
                  <a:lnTo>
                    <a:pt x="1141" y="199"/>
                  </a:lnTo>
                  <a:lnTo>
                    <a:pt x="1141" y="197"/>
                  </a:lnTo>
                  <a:lnTo>
                    <a:pt x="1143" y="197"/>
                  </a:lnTo>
                  <a:lnTo>
                    <a:pt x="1146" y="197"/>
                  </a:lnTo>
                  <a:lnTo>
                    <a:pt x="1146" y="194"/>
                  </a:lnTo>
                  <a:lnTo>
                    <a:pt x="1148" y="194"/>
                  </a:lnTo>
                  <a:lnTo>
                    <a:pt x="1150" y="194"/>
                  </a:lnTo>
                  <a:lnTo>
                    <a:pt x="1148" y="194"/>
                  </a:lnTo>
                  <a:lnTo>
                    <a:pt x="1150" y="194"/>
                  </a:lnTo>
                  <a:lnTo>
                    <a:pt x="1153" y="194"/>
                  </a:lnTo>
                  <a:lnTo>
                    <a:pt x="1155" y="194"/>
                  </a:lnTo>
                  <a:lnTo>
                    <a:pt x="1157" y="194"/>
                  </a:lnTo>
                  <a:lnTo>
                    <a:pt x="1155" y="194"/>
                  </a:lnTo>
                  <a:lnTo>
                    <a:pt x="1155" y="192"/>
                  </a:lnTo>
                  <a:lnTo>
                    <a:pt x="1157" y="192"/>
                  </a:lnTo>
                  <a:lnTo>
                    <a:pt x="1157" y="194"/>
                  </a:lnTo>
                  <a:lnTo>
                    <a:pt x="1157" y="192"/>
                  </a:lnTo>
                  <a:lnTo>
                    <a:pt x="1157" y="194"/>
                  </a:lnTo>
                  <a:lnTo>
                    <a:pt x="1160" y="194"/>
                  </a:lnTo>
                  <a:lnTo>
                    <a:pt x="1162" y="194"/>
                  </a:lnTo>
                  <a:lnTo>
                    <a:pt x="1162" y="197"/>
                  </a:lnTo>
                  <a:lnTo>
                    <a:pt x="1162" y="194"/>
                  </a:lnTo>
                  <a:lnTo>
                    <a:pt x="1162" y="197"/>
                  </a:lnTo>
                  <a:lnTo>
                    <a:pt x="1165" y="197"/>
                  </a:lnTo>
                  <a:lnTo>
                    <a:pt x="1167" y="197"/>
                  </a:lnTo>
                  <a:lnTo>
                    <a:pt x="1165" y="197"/>
                  </a:lnTo>
                  <a:lnTo>
                    <a:pt x="1162" y="194"/>
                  </a:lnTo>
                  <a:lnTo>
                    <a:pt x="1165" y="194"/>
                  </a:lnTo>
                  <a:lnTo>
                    <a:pt x="1162" y="194"/>
                  </a:lnTo>
                  <a:lnTo>
                    <a:pt x="1162" y="192"/>
                  </a:lnTo>
                  <a:lnTo>
                    <a:pt x="1160" y="192"/>
                  </a:lnTo>
                  <a:lnTo>
                    <a:pt x="1160" y="194"/>
                  </a:lnTo>
                  <a:lnTo>
                    <a:pt x="1160" y="192"/>
                  </a:lnTo>
                  <a:lnTo>
                    <a:pt x="1160" y="194"/>
                  </a:lnTo>
                  <a:lnTo>
                    <a:pt x="1162" y="194"/>
                  </a:lnTo>
                  <a:lnTo>
                    <a:pt x="1160" y="194"/>
                  </a:lnTo>
                  <a:lnTo>
                    <a:pt x="1160" y="192"/>
                  </a:lnTo>
                  <a:lnTo>
                    <a:pt x="1157" y="192"/>
                  </a:lnTo>
                  <a:lnTo>
                    <a:pt x="1155" y="192"/>
                  </a:lnTo>
                  <a:lnTo>
                    <a:pt x="1153" y="192"/>
                  </a:lnTo>
                  <a:lnTo>
                    <a:pt x="1153" y="190"/>
                  </a:lnTo>
                  <a:lnTo>
                    <a:pt x="1153" y="192"/>
                  </a:lnTo>
                  <a:lnTo>
                    <a:pt x="1153" y="190"/>
                  </a:lnTo>
                  <a:lnTo>
                    <a:pt x="1155" y="190"/>
                  </a:lnTo>
                  <a:lnTo>
                    <a:pt x="1155" y="187"/>
                  </a:lnTo>
                  <a:lnTo>
                    <a:pt x="1155" y="190"/>
                  </a:lnTo>
                  <a:lnTo>
                    <a:pt x="1155" y="187"/>
                  </a:lnTo>
                  <a:lnTo>
                    <a:pt x="1157" y="187"/>
                  </a:lnTo>
                  <a:lnTo>
                    <a:pt x="1157" y="185"/>
                  </a:lnTo>
                  <a:lnTo>
                    <a:pt x="1160" y="185"/>
                  </a:lnTo>
                  <a:lnTo>
                    <a:pt x="1162" y="185"/>
                  </a:lnTo>
                  <a:lnTo>
                    <a:pt x="1162" y="183"/>
                  </a:lnTo>
                  <a:lnTo>
                    <a:pt x="1165" y="183"/>
                  </a:lnTo>
                  <a:lnTo>
                    <a:pt x="1167" y="183"/>
                  </a:lnTo>
                  <a:lnTo>
                    <a:pt x="1167" y="180"/>
                  </a:lnTo>
                  <a:lnTo>
                    <a:pt x="1169" y="180"/>
                  </a:lnTo>
                  <a:lnTo>
                    <a:pt x="1169" y="183"/>
                  </a:lnTo>
                  <a:lnTo>
                    <a:pt x="1169" y="180"/>
                  </a:lnTo>
                  <a:lnTo>
                    <a:pt x="1172" y="180"/>
                  </a:lnTo>
                  <a:lnTo>
                    <a:pt x="1174" y="180"/>
                  </a:lnTo>
                  <a:lnTo>
                    <a:pt x="1174" y="183"/>
                  </a:lnTo>
                  <a:lnTo>
                    <a:pt x="1176" y="183"/>
                  </a:lnTo>
                  <a:lnTo>
                    <a:pt x="1179" y="183"/>
                  </a:lnTo>
                  <a:lnTo>
                    <a:pt x="1176" y="183"/>
                  </a:lnTo>
                  <a:lnTo>
                    <a:pt x="1179" y="183"/>
                  </a:lnTo>
                  <a:lnTo>
                    <a:pt x="1181" y="183"/>
                  </a:lnTo>
                  <a:lnTo>
                    <a:pt x="1184" y="183"/>
                  </a:lnTo>
                  <a:lnTo>
                    <a:pt x="1186" y="183"/>
                  </a:lnTo>
                  <a:lnTo>
                    <a:pt x="1186" y="185"/>
                  </a:lnTo>
                  <a:lnTo>
                    <a:pt x="1188" y="185"/>
                  </a:lnTo>
                  <a:lnTo>
                    <a:pt x="1191" y="185"/>
                  </a:lnTo>
                  <a:lnTo>
                    <a:pt x="1193" y="185"/>
                  </a:lnTo>
                  <a:lnTo>
                    <a:pt x="1193" y="187"/>
                  </a:lnTo>
                  <a:lnTo>
                    <a:pt x="1195" y="187"/>
                  </a:lnTo>
                  <a:lnTo>
                    <a:pt x="1195" y="190"/>
                  </a:lnTo>
                  <a:lnTo>
                    <a:pt x="1195" y="187"/>
                  </a:lnTo>
                  <a:lnTo>
                    <a:pt x="1198" y="187"/>
                  </a:lnTo>
                  <a:lnTo>
                    <a:pt x="1195" y="187"/>
                  </a:lnTo>
                  <a:lnTo>
                    <a:pt x="1198" y="187"/>
                  </a:lnTo>
                  <a:lnTo>
                    <a:pt x="1198" y="190"/>
                  </a:lnTo>
                  <a:lnTo>
                    <a:pt x="1200" y="190"/>
                  </a:lnTo>
                  <a:lnTo>
                    <a:pt x="1203" y="190"/>
                  </a:lnTo>
                  <a:lnTo>
                    <a:pt x="1203" y="187"/>
                  </a:lnTo>
                  <a:lnTo>
                    <a:pt x="1203" y="190"/>
                  </a:lnTo>
                  <a:lnTo>
                    <a:pt x="1205" y="190"/>
                  </a:lnTo>
                  <a:lnTo>
                    <a:pt x="1205" y="187"/>
                  </a:lnTo>
                  <a:lnTo>
                    <a:pt x="1205" y="190"/>
                  </a:lnTo>
                  <a:lnTo>
                    <a:pt x="1205" y="187"/>
                  </a:lnTo>
                  <a:lnTo>
                    <a:pt x="1207" y="187"/>
                  </a:lnTo>
                  <a:lnTo>
                    <a:pt x="1210" y="187"/>
                  </a:lnTo>
                  <a:lnTo>
                    <a:pt x="1210" y="190"/>
                  </a:lnTo>
                  <a:lnTo>
                    <a:pt x="1212" y="190"/>
                  </a:lnTo>
                  <a:lnTo>
                    <a:pt x="1210" y="190"/>
                  </a:lnTo>
                  <a:lnTo>
                    <a:pt x="1210" y="187"/>
                  </a:lnTo>
                  <a:lnTo>
                    <a:pt x="1207" y="187"/>
                  </a:lnTo>
                  <a:lnTo>
                    <a:pt x="1205" y="187"/>
                  </a:lnTo>
                  <a:lnTo>
                    <a:pt x="1203" y="187"/>
                  </a:lnTo>
                  <a:lnTo>
                    <a:pt x="1205" y="187"/>
                  </a:lnTo>
                  <a:lnTo>
                    <a:pt x="1203" y="187"/>
                  </a:lnTo>
                  <a:lnTo>
                    <a:pt x="1205" y="187"/>
                  </a:lnTo>
                  <a:lnTo>
                    <a:pt x="1203" y="187"/>
                  </a:lnTo>
                  <a:lnTo>
                    <a:pt x="1200" y="187"/>
                  </a:lnTo>
                  <a:lnTo>
                    <a:pt x="1198" y="187"/>
                  </a:lnTo>
                  <a:lnTo>
                    <a:pt x="1195" y="187"/>
                  </a:lnTo>
                  <a:lnTo>
                    <a:pt x="1195" y="185"/>
                  </a:lnTo>
                  <a:lnTo>
                    <a:pt x="1198" y="185"/>
                  </a:lnTo>
                  <a:lnTo>
                    <a:pt x="1198" y="183"/>
                  </a:lnTo>
                  <a:lnTo>
                    <a:pt x="1198" y="185"/>
                  </a:lnTo>
                  <a:lnTo>
                    <a:pt x="1198" y="183"/>
                  </a:lnTo>
                  <a:lnTo>
                    <a:pt x="1198" y="185"/>
                  </a:lnTo>
                  <a:lnTo>
                    <a:pt x="1195" y="185"/>
                  </a:lnTo>
                  <a:lnTo>
                    <a:pt x="1193" y="185"/>
                  </a:lnTo>
                  <a:lnTo>
                    <a:pt x="1193" y="183"/>
                  </a:lnTo>
                  <a:lnTo>
                    <a:pt x="1191" y="183"/>
                  </a:lnTo>
                  <a:lnTo>
                    <a:pt x="1188" y="183"/>
                  </a:lnTo>
                  <a:lnTo>
                    <a:pt x="1186" y="183"/>
                  </a:lnTo>
                  <a:lnTo>
                    <a:pt x="1188" y="180"/>
                  </a:lnTo>
                  <a:lnTo>
                    <a:pt x="1186" y="180"/>
                  </a:lnTo>
                  <a:lnTo>
                    <a:pt x="1188" y="180"/>
                  </a:lnTo>
                  <a:lnTo>
                    <a:pt x="1186" y="180"/>
                  </a:lnTo>
                  <a:lnTo>
                    <a:pt x="1186" y="178"/>
                  </a:lnTo>
                  <a:lnTo>
                    <a:pt x="1184" y="180"/>
                  </a:lnTo>
                  <a:lnTo>
                    <a:pt x="1184" y="178"/>
                  </a:lnTo>
                  <a:lnTo>
                    <a:pt x="1181" y="178"/>
                  </a:lnTo>
                  <a:lnTo>
                    <a:pt x="1179" y="178"/>
                  </a:lnTo>
                  <a:lnTo>
                    <a:pt x="1176" y="178"/>
                  </a:lnTo>
                  <a:lnTo>
                    <a:pt x="1176" y="175"/>
                  </a:lnTo>
                  <a:lnTo>
                    <a:pt x="1176" y="178"/>
                  </a:lnTo>
                  <a:lnTo>
                    <a:pt x="1174" y="175"/>
                  </a:lnTo>
                  <a:lnTo>
                    <a:pt x="1172" y="175"/>
                  </a:lnTo>
                  <a:lnTo>
                    <a:pt x="1169" y="175"/>
                  </a:lnTo>
                  <a:lnTo>
                    <a:pt x="1172" y="175"/>
                  </a:lnTo>
                  <a:lnTo>
                    <a:pt x="1172" y="173"/>
                  </a:lnTo>
                  <a:lnTo>
                    <a:pt x="1174" y="173"/>
                  </a:lnTo>
                  <a:lnTo>
                    <a:pt x="1176" y="173"/>
                  </a:lnTo>
                  <a:lnTo>
                    <a:pt x="1174" y="173"/>
                  </a:lnTo>
                  <a:lnTo>
                    <a:pt x="1174" y="175"/>
                  </a:lnTo>
                  <a:lnTo>
                    <a:pt x="1176" y="175"/>
                  </a:lnTo>
                  <a:lnTo>
                    <a:pt x="1176" y="173"/>
                  </a:lnTo>
                  <a:lnTo>
                    <a:pt x="1179" y="173"/>
                  </a:lnTo>
                  <a:lnTo>
                    <a:pt x="1181" y="173"/>
                  </a:lnTo>
                  <a:lnTo>
                    <a:pt x="1184" y="173"/>
                  </a:lnTo>
                  <a:lnTo>
                    <a:pt x="1186" y="173"/>
                  </a:lnTo>
                  <a:lnTo>
                    <a:pt x="1188" y="173"/>
                  </a:lnTo>
                  <a:lnTo>
                    <a:pt x="1188" y="175"/>
                  </a:lnTo>
                  <a:lnTo>
                    <a:pt x="1191" y="175"/>
                  </a:lnTo>
                  <a:lnTo>
                    <a:pt x="1191" y="173"/>
                  </a:lnTo>
                  <a:lnTo>
                    <a:pt x="1193" y="173"/>
                  </a:lnTo>
                  <a:lnTo>
                    <a:pt x="1191" y="173"/>
                  </a:lnTo>
                  <a:lnTo>
                    <a:pt x="1193" y="173"/>
                  </a:lnTo>
                  <a:lnTo>
                    <a:pt x="1191" y="173"/>
                  </a:lnTo>
                  <a:lnTo>
                    <a:pt x="1191" y="171"/>
                  </a:lnTo>
                  <a:lnTo>
                    <a:pt x="1188" y="171"/>
                  </a:lnTo>
                  <a:lnTo>
                    <a:pt x="1186" y="171"/>
                  </a:lnTo>
                  <a:lnTo>
                    <a:pt x="1184" y="171"/>
                  </a:lnTo>
                  <a:lnTo>
                    <a:pt x="1184" y="168"/>
                  </a:lnTo>
                  <a:lnTo>
                    <a:pt x="1181" y="168"/>
                  </a:lnTo>
                  <a:lnTo>
                    <a:pt x="1179" y="168"/>
                  </a:lnTo>
                  <a:lnTo>
                    <a:pt x="1176" y="168"/>
                  </a:lnTo>
                  <a:lnTo>
                    <a:pt x="1179" y="168"/>
                  </a:lnTo>
                  <a:lnTo>
                    <a:pt x="1179" y="166"/>
                  </a:lnTo>
                  <a:lnTo>
                    <a:pt x="1181" y="166"/>
                  </a:lnTo>
                  <a:lnTo>
                    <a:pt x="1184" y="166"/>
                  </a:lnTo>
                  <a:lnTo>
                    <a:pt x="1186" y="166"/>
                  </a:lnTo>
                  <a:lnTo>
                    <a:pt x="1186" y="164"/>
                  </a:lnTo>
                  <a:lnTo>
                    <a:pt x="1186" y="166"/>
                  </a:lnTo>
                  <a:lnTo>
                    <a:pt x="1186" y="164"/>
                  </a:lnTo>
                  <a:lnTo>
                    <a:pt x="1188" y="164"/>
                  </a:lnTo>
                  <a:lnTo>
                    <a:pt x="1191" y="164"/>
                  </a:lnTo>
                  <a:lnTo>
                    <a:pt x="1193" y="164"/>
                  </a:lnTo>
                  <a:lnTo>
                    <a:pt x="1195" y="164"/>
                  </a:lnTo>
                  <a:lnTo>
                    <a:pt x="1198" y="164"/>
                  </a:lnTo>
                  <a:lnTo>
                    <a:pt x="1200" y="164"/>
                  </a:lnTo>
                  <a:lnTo>
                    <a:pt x="1203" y="164"/>
                  </a:lnTo>
                  <a:lnTo>
                    <a:pt x="1200" y="164"/>
                  </a:lnTo>
                  <a:lnTo>
                    <a:pt x="1203" y="164"/>
                  </a:lnTo>
                  <a:lnTo>
                    <a:pt x="1205" y="164"/>
                  </a:lnTo>
                  <a:lnTo>
                    <a:pt x="1205" y="161"/>
                  </a:lnTo>
                  <a:lnTo>
                    <a:pt x="1205" y="164"/>
                  </a:lnTo>
                  <a:lnTo>
                    <a:pt x="1207" y="164"/>
                  </a:lnTo>
                  <a:lnTo>
                    <a:pt x="1207" y="161"/>
                  </a:lnTo>
                  <a:lnTo>
                    <a:pt x="1207" y="164"/>
                  </a:lnTo>
                  <a:lnTo>
                    <a:pt x="1207" y="161"/>
                  </a:lnTo>
                  <a:lnTo>
                    <a:pt x="1210" y="161"/>
                  </a:lnTo>
                  <a:lnTo>
                    <a:pt x="1212" y="161"/>
                  </a:lnTo>
                  <a:lnTo>
                    <a:pt x="1214" y="161"/>
                  </a:lnTo>
                  <a:lnTo>
                    <a:pt x="1214" y="164"/>
                  </a:lnTo>
                  <a:lnTo>
                    <a:pt x="1217" y="164"/>
                  </a:lnTo>
                  <a:lnTo>
                    <a:pt x="1219" y="164"/>
                  </a:lnTo>
                  <a:lnTo>
                    <a:pt x="1222" y="164"/>
                  </a:lnTo>
                  <a:lnTo>
                    <a:pt x="1224" y="166"/>
                  </a:lnTo>
                  <a:lnTo>
                    <a:pt x="1226" y="166"/>
                  </a:lnTo>
                  <a:lnTo>
                    <a:pt x="1229" y="166"/>
                  </a:lnTo>
                  <a:lnTo>
                    <a:pt x="1226" y="166"/>
                  </a:lnTo>
                  <a:lnTo>
                    <a:pt x="1229" y="166"/>
                  </a:lnTo>
                  <a:lnTo>
                    <a:pt x="1229" y="168"/>
                  </a:lnTo>
                  <a:lnTo>
                    <a:pt x="1231" y="166"/>
                  </a:lnTo>
                  <a:lnTo>
                    <a:pt x="1231" y="168"/>
                  </a:lnTo>
                  <a:lnTo>
                    <a:pt x="1233" y="168"/>
                  </a:lnTo>
                  <a:lnTo>
                    <a:pt x="1236" y="168"/>
                  </a:lnTo>
                  <a:lnTo>
                    <a:pt x="1233" y="168"/>
                  </a:lnTo>
                  <a:lnTo>
                    <a:pt x="1233" y="166"/>
                  </a:lnTo>
                  <a:lnTo>
                    <a:pt x="1231" y="166"/>
                  </a:lnTo>
                  <a:lnTo>
                    <a:pt x="1229" y="166"/>
                  </a:lnTo>
                  <a:lnTo>
                    <a:pt x="1229" y="164"/>
                  </a:lnTo>
                  <a:lnTo>
                    <a:pt x="1226" y="164"/>
                  </a:lnTo>
                  <a:lnTo>
                    <a:pt x="1224" y="164"/>
                  </a:lnTo>
                  <a:lnTo>
                    <a:pt x="1222" y="164"/>
                  </a:lnTo>
                  <a:lnTo>
                    <a:pt x="1222" y="161"/>
                  </a:lnTo>
                  <a:lnTo>
                    <a:pt x="1219" y="161"/>
                  </a:lnTo>
                  <a:lnTo>
                    <a:pt x="1217" y="161"/>
                  </a:lnTo>
                  <a:lnTo>
                    <a:pt x="1214" y="161"/>
                  </a:lnTo>
                  <a:lnTo>
                    <a:pt x="1212" y="161"/>
                  </a:lnTo>
                  <a:lnTo>
                    <a:pt x="1214" y="161"/>
                  </a:lnTo>
                  <a:lnTo>
                    <a:pt x="1212" y="161"/>
                  </a:lnTo>
                  <a:lnTo>
                    <a:pt x="1214" y="161"/>
                  </a:lnTo>
                  <a:lnTo>
                    <a:pt x="1212" y="161"/>
                  </a:lnTo>
                  <a:lnTo>
                    <a:pt x="1210" y="159"/>
                  </a:lnTo>
                  <a:lnTo>
                    <a:pt x="1212" y="159"/>
                  </a:lnTo>
                  <a:lnTo>
                    <a:pt x="1210" y="161"/>
                  </a:lnTo>
                  <a:lnTo>
                    <a:pt x="1207" y="161"/>
                  </a:lnTo>
                  <a:lnTo>
                    <a:pt x="1205" y="161"/>
                  </a:lnTo>
                  <a:lnTo>
                    <a:pt x="1203" y="161"/>
                  </a:lnTo>
                  <a:lnTo>
                    <a:pt x="1205" y="161"/>
                  </a:lnTo>
                  <a:lnTo>
                    <a:pt x="1203" y="161"/>
                  </a:lnTo>
                  <a:lnTo>
                    <a:pt x="1205" y="161"/>
                  </a:lnTo>
                  <a:lnTo>
                    <a:pt x="1203" y="161"/>
                  </a:lnTo>
                  <a:lnTo>
                    <a:pt x="1200" y="161"/>
                  </a:lnTo>
                  <a:lnTo>
                    <a:pt x="1203" y="161"/>
                  </a:lnTo>
                  <a:lnTo>
                    <a:pt x="1203" y="159"/>
                  </a:lnTo>
                  <a:lnTo>
                    <a:pt x="1200" y="159"/>
                  </a:lnTo>
                  <a:lnTo>
                    <a:pt x="1198" y="159"/>
                  </a:lnTo>
                  <a:lnTo>
                    <a:pt x="1195" y="159"/>
                  </a:lnTo>
                  <a:lnTo>
                    <a:pt x="1193" y="159"/>
                  </a:lnTo>
                  <a:lnTo>
                    <a:pt x="1191" y="159"/>
                  </a:lnTo>
                  <a:lnTo>
                    <a:pt x="1191" y="156"/>
                  </a:lnTo>
                  <a:lnTo>
                    <a:pt x="1188" y="156"/>
                  </a:lnTo>
                  <a:lnTo>
                    <a:pt x="1186" y="156"/>
                  </a:lnTo>
                  <a:lnTo>
                    <a:pt x="1186" y="154"/>
                  </a:lnTo>
                  <a:lnTo>
                    <a:pt x="1188" y="154"/>
                  </a:lnTo>
                  <a:lnTo>
                    <a:pt x="1186" y="154"/>
                  </a:lnTo>
                  <a:lnTo>
                    <a:pt x="1188" y="154"/>
                  </a:lnTo>
                  <a:lnTo>
                    <a:pt x="1186" y="154"/>
                  </a:lnTo>
                  <a:lnTo>
                    <a:pt x="1186" y="152"/>
                  </a:lnTo>
                  <a:lnTo>
                    <a:pt x="1188" y="152"/>
                  </a:lnTo>
                  <a:lnTo>
                    <a:pt x="1191" y="152"/>
                  </a:lnTo>
                  <a:lnTo>
                    <a:pt x="1191" y="149"/>
                  </a:lnTo>
                  <a:lnTo>
                    <a:pt x="1193" y="149"/>
                  </a:lnTo>
                  <a:lnTo>
                    <a:pt x="1195" y="149"/>
                  </a:lnTo>
                  <a:lnTo>
                    <a:pt x="1198" y="149"/>
                  </a:lnTo>
                  <a:lnTo>
                    <a:pt x="1195" y="149"/>
                  </a:lnTo>
                  <a:lnTo>
                    <a:pt x="1198" y="149"/>
                  </a:lnTo>
                  <a:lnTo>
                    <a:pt x="1195" y="149"/>
                  </a:lnTo>
                  <a:lnTo>
                    <a:pt x="1198" y="149"/>
                  </a:lnTo>
                  <a:lnTo>
                    <a:pt x="1198" y="152"/>
                  </a:lnTo>
                  <a:lnTo>
                    <a:pt x="1200" y="152"/>
                  </a:lnTo>
                  <a:lnTo>
                    <a:pt x="1203" y="149"/>
                  </a:lnTo>
                  <a:lnTo>
                    <a:pt x="1205" y="149"/>
                  </a:lnTo>
                  <a:lnTo>
                    <a:pt x="1207" y="149"/>
                  </a:lnTo>
                  <a:lnTo>
                    <a:pt x="1210" y="149"/>
                  </a:lnTo>
                  <a:lnTo>
                    <a:pt x="1210" y="147"/>
                  </a:lnTo>
                  <a:lnTo>
                    <a:pt x="1212" y="147"/>
                  </a:lnTo>
                  <a:lnTo>
                    <a:pt x="1214" y="147"/>
                  </a:lnTo>
                  <a:lnTo>
                    <a:pt x="1214" y="149"/>
                  </a:lnTo>
                  <a:lnTo>
                    <a:pt x="1217" y="149"/>
                  </a:lnTo>
                  <a:lnTo>
                    <a:pt x="1214" y="149"/>
                  </a:lnTo>
                  <a:lnTo>
                    <a:pt x="1217" y="149"/>
                  </a:lnTo>
                  <a:lnTo>
                    <a:pt x="1219" y="149"/>
                  </a:lnTo>
                  <a:lnTo>
                    <a:pt x="1219" y="152"/>
                  </a:lnTo>
                  <a:lnTo>
                    <a:pt x="1219" y="149"/>
                  </a:lnTo>
                  <a:lnTo>
                    <a:pt x="1222" y="152"/>
                  </a:lnTo>
                  <a:lnTo>
                    <a:pt x="1222" y="149"/>
                  </a:lnTo>
                  <a:lnTo>
                    <a:pt x="1224" y="149"/>
                  </a:lnTo>
                  <a:lnTo>
                    <a:pt x="1226" y="149"/>
                  </a:lnTo>
                  <a:lnTo>
                    <a:pt x="1229" y="149"/>
                  </a:lnTo>
                  <a:lnTo>
                    <a:pt x="1231" y="149"/>
                  </a:lnTo>
                  <a:lnTo>
                    <a:pt x="1231" y="147"/>
                  </a:lnTo>
                  <a:lnTo>
                    <a:pt x="1231" y="149"/>
                  </a:lnTo>
                  <a:lnTo>
                    <a:pt x="1231" y="147"/>
                  </a:lnTo>
                  <a:lnTo>
                    <a:pt x="1229" y="147"/>
                  </a:lnTo>
                  <a:lnTo>
                    <a:pt x="1226" y="147"/>
                  </a:lnTo>
                  <a:lnTo>
                    <a:pt x="1224" y="149"/>
                  </a:lnTo>
                  <a:lnTo>
                    <a:pt x="1222" y="149"/>
                  </a:lnTo>
                  <a:lnTo>
                    <a:pt x="1219" y="149"/>
                  </a:lnTo>
                  <a:lnTo>
                    <a:pt x="1219" y="147"/>
                  </a:lnTo>
                  <a:lnTo>
                    <a:pt x="1217" y="145"/>
                  </a:lnTo>
                  <a:lnTo>
                    <a:pt x="1214" y="145"/>
                  </a:lnTo>
                  <a:lnTo>
                    <a:pt x="1217" y="145"/>
                  </a:lnTo>
                  <a:lnTo>
                    <a:pt x="1217" y="142"/>
                  </a:lnTo>
                  <a:lnTo>
                    <a:pt x="1217" y="145"/>
                  </a:lnTo>
                  <a:lnTo>
                    <a:pt x="1217" y="142"/>
                  </a:lnTo>
                  <a:lnTo>
                    <a:pt x="1214" y="142"/>
                  </a:lnTo>
                  <a:lnTo>
                    <a:pt x="1217" y="142"/>
                  </a:lnTo>
                  <a:lnTo>
                    <a:pt x="1214" y="142"/>
                  </a:lnTo>
                  <a:lnTo>
                    <a:pt x="1212" y="142"/>
                  </a:lnTo>
                  <a:lnTo>
                    <a:pt x="1210" y="142"/>
                  </a:lnTo>
                  <a:lnTo>
                    <a:pt x="1207" y="142"/>
                  </a:lnTo>
                  <a:lnTo>
                    <a:pt x="1205" y="142"/>
                  </a:lnTo>
                  <a:lnTo>
                    <a:pt x="1203" y="142"/>
                  </a:lnTo>
                  <a:lnTo>
                    <a:pt x="1200" y="145"/>
                  </a:lnTo>
                  <a:lnTo>
                    <a:pt x="1200" y="142"/>
                  </a:lnTo>
                  <a:lnTo>
                    <a:pt x="1198" y="142"/>
                  </a:lnTo>
                  <a:lnTo>
                    <a:pt x="1195" y="142"/>
                  </a:lnTo>
                  <a:lnTo>
                    <a:pt x="1193" y="142"/>
                  </a:lnTo>
                  <a:lnTo>
                    <a:pt x="1195" y="140"/>
                  </a:lnTo>
                  <a:lnTo>
                    <a:pt x="1198" y="140"/>
                  </a:lnTo>
                  <a:lnTo>
                    <a:pt x="1200" y="140"/>
                  </a:lnTo>
                  <a:lnTo>
                    <a:pt x="1200" y="137"/>
                  </a:lnTo>
                  <a:lnTo>
                    <a:pt x="1203" y="137"/>
                  </a:lnTo>
                  <a:lnTo>
                    <a:pt x="1205" y="137"/>
                  </a:lnTo>
                  <a:lnTo>
                    <a:pt x="1207" y="135"/>
                  </a:lnTo>
                  <a:lnTo>
                    <a:pt x="1210" y="135"/>
                  </a:lnTo>
                  <a:lnTo>
                    <a:pt x="1212" y="135"/>
                  </a:lnTo>
                  <a:lnTo>
                    <a:pt x="1214" y="135"/>
                  </a:lnTo>
                  <a:lnTo>
                    <a:pt x="1217" y="135"/>
                  </a:lnTo>
                  <a:lnTo>
                    <a:pt x="1217" y="133"/>
                  </a:lnTo>
                  <a:lnTo>
                    <a:pt x="1219" y="133"/>
                  </a:lnTo>
                  <a:lnTo>
                    <a:pt x="1217" y="133"/>
                  </a:lnTo>
                  <a:lnTo>
                    <a:pt x="1219" y="133"/>
                  </a:lnTo>
                  <a:lnTo>
                    <a:pt x="1222" y="133"/>
                  </a:lnTo>
                  <a:lnTo>
                    <a:pt x="1219" y="133"/>
                  </a:lnTo>
                  <a:lnTo>
                    <a:pt x="1217" y="133"/>
                  </a:lnTo>
                  <a:lnTo>
                    <a:pt x="1219" y="133"/>
                  </a:lnTo>
                  <a:lnTo>
                    <a:pt x="1222" y="133"/>
                  </a:lnTo>
                  <a:lnTo>
                    <a:pt x="1219" y="133"/>
                  </a:lnTo>
                  <a:lnTo>
                    <a:pt x="1217" y="133"/>
                  </a:lnTo>
                  <a:lnTo>
                    <a:pt x="1214" y="133"/>
                  </a:lnTo>
                  <a:lnTo>
                    <a:pt x="1212" y="133"/>
                  </a:lnTo>
                  <a:lnTo>
                    <a:pt x="1210" y="135"/>
                  </a:lnTo>
                  <a:lnTo>
                    <a:pt x="1210" y="133"/>
                  </a:lnTo>
                  <a:lnTo>
                    <a:pt x="1212" y="133"/>
                  </a:lnTo>
                  <a:lnTo>
                    <a:pt x="1210" y="133"/>
                  </a:lnTo>
                  <a:lnTo>
                    <a:pt x="1207" y="133"/>
                  </a:lnTo>
                  <a:lnTo>
                    <a:pt x="1210" y="133"/>
                  </a:lnTo>
                  <a:lnTo>
                    <a:pt x="1210" y="130"/>
                  </a:lnTo>
                  <a:lnTo>
                    <a:pt x="1212" y="130"/>
                  </a:lnTo>
                  <a:lnTo>
                    <a:pt x="1214" y="130"/>
                  </a:lnTo>
                  <a:lnTo>
                    <a:pt x="1212" y="130"/>
                  </a:lnTo>
                  <a:lnTo>
                    <a:pt x="1214" y="130"/>
                  </a:lnTo>
                  <a:lnTo>
                    <a:pt x="1212" y="130"/>
                  </a:lnTo>
                  <a:lnTo>
                    <a:pt x="1212" y="128"/>
                  </a:lnTo>
                  <a:lnTo>
                    <a:pt x="1212" y="130"/>
                  </a:lnTo>
                  <a:lnTo>
                    <a:pt x="1212" y="128"/>
                  </a:lnTo>
                  <a:lnTo>
                    <a:pt x="1210" y="128"/>
                  </a:lnTo>
                  <a:lnTo>
                    <a:pt x="1207" y="128"/>
                  </a:lnTo>
                  <a:lnTo>
                    <a:pt x="1205" y="128"/>
                  </a:lnTo>
                  <a:lnTo>
                    <a:pt x="1203" y="128"/>
                  </a:lnTo>
                  <a:lnTo>
                    <a:pt x="1200" y="128"/>
                  </a:lnTo>
                  <a:lnTo>
                    <a:pt x="1200" y="130"/>
                  </a:lnTo>
                  <a:lnTo>
                    <a:pt x="1198" y="130"/>
                  </a:lnTo>
                  <a:lnTo>
                    <a:pt x="1195" y="130"/>
                  </a:lnTo>
                  <a:lnTo>
                    <a:pt x="1195" y="128"/>
                  </a:lnTo>
                  <a:lnTo>
                    <a:pt x="1195" y="126"/>
                  </a:lnTo>
                  <a:lnTo>
                    <a:pt x="1198" y="126"/>
                  </a:lnTo>
                  <a:lnTo>
                    <a:pt x="1195" y="123"/>
                  </a:lnTo>
                  <a:lnTo>
                    <a:pt x="1193" y="123"/>
                  </a:lnTo>
                  <a:lnTo>
                    <a:pt x="1193" y="126"/>
                  </a:lnTo>
                  <a:lnTo>
                    <a:pt x="1191" y="126"/>
                  </a:lnTo>
                  <a:lnTo>
                    <a:pt x="1191" y="123"/>
                  </a:lnTo>
                  <a:lnTo>
                    <a:pt x="1193" y="123"/>
                  </a:lnTo>
                  <a:lnTo>
                    <a:pt x="1191" y="123"/>
                  </a:lnTo>
                  <a:lnTo>
                    <a:pt x="1193" y="123"/>
                  </a:lnTo>
                  <a:lnTo>
                    <a:pt x="1193" y="121"/>
                  </a:lnTo>
                  <a:lnTo>
                    <a:pt x="1193" y="118"/>
                  </a:lnTo>
                  <a:lnTo>
                    <a:pt x="1195" y="118"/>
                  </a:lnTo>
                  <a:lnTo>
                    <a:pt x="1198" y="116"/>
                  </a:lnTo>
                  <a:lnTo>
                    <a:pt x="1200" y="116"/>
                  </a:lnTo>
                  <a:lnTo>
                    <a:pt x="1200" y="118"/>
                  </a:lnTo>
                  <a:lnTo>
                    <a:pt x="1203" y="118"/>
                  </a:lnTo>
                  <a:lnTo>
                    <a:pt x="1205" y="116"/>
                  </a:lnTo>
                  <a:lnTo>
                    <a:pt x="1203" y="118"/>
                  </a:lnTo>
                  <a:lnTo>
                    <a:pt x="1205" y="121"/>
                  </a:lnTo>
                  <a:lnTo>
                    <a:pt x="1205" y="118"/>
                  </a:lnTo>
                  <a:lnTo>
                    <a:pt x="1207" y="118"/>
                  </a:lnTo>
                  <a:lnTo>
                    <a:pt x="1210" y="118"/>
                  </a:lnTo>
                  <a:lnTo>
                    <a:pt x="1210" y="121"/>
                  </a:lnTo>
                  <a:lnTo>
                    <a:pt x="1212" y="121"/>
                  </a:lnTo>
                  <a:lnTo>
                    <a:pt x="1212" y="123"/>
                  </a:lnTo>
                  <a:lnTo>
                    <a:pt x="1214" y="123"/>
                  </a:lnTo>
                  <a:lnTo>
                    <a:pt x="1212" y="126"/>
                  </a:lnTo>
                  <a:lnTo>
                    <a:pt x="1214" y="126"/>
                  </a:lnTo>
                  <a:lnTo>
                    <a:pt x="1214" y="123"/>
                  </a:lnTo>
                  <a:lnTo>
                    <a:pt x="1217" y="123"/>
                  </a:lnTo>
                  <a:lnTo>
                    <a:pt x="1219" y="123"/>
                  </a:lnTo>
                  <a:lnTo>
                    <a:pt x="1219" y="121"/>
                  </a:lnTo>
                  <a:lnTo>
                    <a:pt x="1219" y="118"/>
                  </a:lnTo>
                  <a:lnTo>
                    <a:pt x="1222" y="118"/>
                  </a:lnTo>
                  <a:lnTo>
                    <a:pt x="1224" y="118"/>
                  </a:lnTo>
                  <a:lnTo>
                    <a:pt x="1224" y="116"/>
                  </a:lnTo>
                  <a:lnTo>
                    <a:pt x="1226" y="116"/>
                  </a:lnTo>
                  <a:lnTo>
                    <a:pt x="1229" y="116"/>
                  </a:lnTo>
                  <a:lnTo>
                    <a:pt x="1226" y="116"/>
                  </a:lnTo>
                  <a:lnTo>
                    <a:pt x="1229" y="114"/>
                  </a:lnTo>
                  <a:lnTo>
                    <a:pt x="1231" y="114"/>
                  </a:lnTo>
                  <a:lnTo>
                    <a:pt x="1233" y="114"/>
                  </a:lnTo>
                  <a:lnTo>
                    <a:pt x="1233" y="111"/>
                  </a:lnTo>
                  <a:lnTo>
                    <a:pt x="1231" y="111"/>
                  </a:lnTo>
                  <a:lnTo>
                    <a:pt x="1229" y="111"/>
                  </a:lnTo>
                  <a:lnTo>
                    <a:pt x="1231" y="111"/>
                  </a:lnTo>
                  <a:lnTo>
                    <a:pt x="1229" y="111"/>
                  </a:lnTo>
                  <a:lnTo>
                    <a:pt x="1226" y="111"/>
                  </a:lnTo>
                  <a:lnTo>
                    <a:pt x="1224" y="111"/>
                  </a:lnTo>
                  <a:lnTo>
                    <a:pt x="1224" y="109"/>
                  </a:lnTo>
                  <a:lnTo>
                    <a:pt x="1226" y="107"/>
                  </a:lnTo>
                  <a:lnTo>
                    <a:pt x="1229" y="104"/>
                  </a:lnTo>
                  <a:lnTo>
                    <a:pt x="1231" y="104"/>
                  </a:lnTo>
                  <a:lnTo>
                    <a:pt x="1233" y="104"/>
                  </a:lnTo>
                  <a:lnTo>
                    <a:pt x="1236" y="104"/>
                  </a:lnTo>
                  <a:lnTo>
                    <a:pt x="1238" y="104"/>
                  </a:lnTo>
                  <a:lnTo>
                    <a:pt x="1240" y="104"/>
                  </a:lnTo>
                  <a:lnTo>
                    <a:pt x="1243" y="104"/>
                  </a:lnTo>
                  <a:lnTo>
                    <a:pt x="1245" y="104"/>
                  </a:lnTo>
                  <a:lnTo>
                    <a:pt x="1245" y="107"/>
                  </a:lnTo>
                  <a:lnTo>
                    <a:pt x="1248" y="107"/>
                  </a:lnTo>
                  <a:lnTo>
                    <a:pt x="1250" y="107"/>
                  </a:lnTo>
                  <a:lnTo>
                    <a:pt x="1250" y="109"/>
                  </a:lnTo>
                  <a:lnTo>
                    <a:pt x="1252" y="109"/>
                  </a:lnTo>
                  <a:lnTo>
                    <a:pt x="1250" y="109"/>
                  </a:lnTo>
                  <a:lnTo>
                    <a:pt x="1252" y="109"/>
                  </a:lnTo>
                  <a:lnTo>
                    <a:pt x="1255" y="109"/>
                  </a:lnTo>
                  <a:lnTo>
                    <a:pt x="1252" y="109"/>
                  </a:lnTo>
                  <a:lnTo>
                    <a:pt x="1255" y="109"/>
                  </a:lnTo>
                  <a:lnTo>
                    <a:pt x="1257" y="109"/>
                  </a:lnTo>
                  <a:lnTo>
                    <a:pt x="1259" y="109"/>
                  </a:lnTo>
                  <a:lnTo>
                    <a:pt x="1262" y="109"/>
                  </a:lnTo>
                  <a:lnTo>
                    <a:pt x="1262" y="107"/>
                  </a:lnTo>
                  <a:lnTo>
                    <a:pt x="1259" y="107"/>
                  </a:lnTo>
                  <a:lnTo>
                    <a:pt x="1257" y="107"/>
                  </a:lnTo>
                  <a:lnTo>
                    <a:pt x="1257" y="104"/>
                  </a:lnTo>
                  <a:lnTo>
                    <a:pt x="1257" y="102"/>
                  </a:lnTo>
                  <a:lnTo>
                    <a:pt x="1259" y="102"/>
                  </a:lnTo>
                  <a:lnTo>
                    <a:pt x="1257" y="102"/>
                  </a:lnTo>
                  <a:lnTo>
                    <a:pt x="1257" y="99"/>
                  </a:lnTo>
                  <a:lnTo>
                    <a:pt x="1255" y="99"/>
                  </a:lnTo>
                  <a:lnTo>
                    <a:pt x="1252" y="99"/>
                  </a:lnTo>
                  <a:lnTo>
                    <a:pt x="1252" y="97"/>
                  </a:lnTo>
                  <a:lnTo>
                    <a:pt x="1250" y="97"/>
                  </a:lnTo>
                  <a:lnTo>
                    <a:pt x="1252" y="97"/>
                  </a:lnTo>
                  <a:lnTo>
                    <a:pt x="1250" y="97"/>
                  </a:lnTo>
                  <a:lnTo>
                    <a:pt x="1252" y="97"/>
                  </a:lnTo>
                  <a:lnTo>
                    <a:pt x="1252" y="95"/>
                  </a:lnTo>
                  <a:lnTo>
                    <a:pt x="1255" y="95"/>
                  </a:lnTo>
                  <a:lnTo>
                    <a:pt x="1257" y="95"/>
                  </a:lnTo>
                  <a:lnTo>
                    <a:pt x="1259" y="95"/>
                  </a:lnTo>
                  <a:lnTo>
                    <a:pt x="1262" y="95"/>
                  </a:lnTo>
                  <a:lnTo>
                    <a:pt x="1262" y="92"/>
                  </a:lnTo>
                  <a:lnTo>
                    <a:pt x="1264" y="92"/>
                  </a:lnTo>
                  <a:lnTo>
                    <a:pt x="1267" y="92"/>
                  </a:lnTo>
                  <a:lnTo>
                    <a:pt x="1269" y="92"/>
                  </a:lnTo>
                  <a:lnTo>
                    <a:pt x="1271" y="92"/>
                  </a:lnTo>
                  <a:lnTo>
                    <a:pt x="1269" y="92"/>
                  </a:lnTo>
                  <a:lnTo>
                    <a:pt x="1271" y="92"/>
                  </a:lnTo>
                  <a:lnTo>
                    <a:pt x="1269" y="92"/>
                  </a:lnTo>
                  <a:lnTo>
                    <a:pt x="1271" y="92"/>
                  </a:lnTo>
                  <a:lnTo>
                    <a:pt x="1274" y="92"/>
                  </a:lnTo>
                  <a:lnTo>
                    <a:pt x="1274" y="90"/>
                  </a:lnTo>
                  <a:lnTo>
                    <a:pt x="1274" y="92"/>
                  </a:lnTo>
                  <a:lnTo>
                    <a:pt x="1274" y="90"/>
                  </a:lnTo>
                  <a:lnTo>
                    <a:pt x="1276" y="90"/>
                  </a:lnTo>
                  <a:lnTo>
                    <a:pt x="1276" y="92"/>
                  </a:lnTo>
                  <a:lnTo>
                    <a:pt x="1276" y="90"/>
                  </a:lnTo>
                  <a:lnTo>
                    <a:pt x="1276" y="92"/>
                  </a:lnTo>
                  <a:lnTo>
                    <a:pt x="1276" y="90"/>
                  </a:lnTo>
                  <a:lnTo>
                    <a:pt x="1278" y="90"/>
                  </a:lnTo>
                  <a:lnTo>
                    <a:pt x="1276" y="90"/>
                  </a:lnTo>
                  <a:lnTo>
                    <a:pt x="1278" y="90"/>
                  </a:lnTo>
                  <a:lnTo>
                    <a:pt x="1276" y="88"/>
                  </a:lnTo>
                  <a:lnTo>
                    <a:pt x="1274" y="88"/>
                  </a:lnTo>
                  <a:lnTo>
                    <a:pt x="1271" y="88"/>
                  </a:lnTo>
                  <a:lnTo>
                    <a:pt x="1271" y="90"/>
                  </a:lnTo>
                  <a:lnTo>
                    <a:pt x="1271" y="88"/>
                  </a:lnTo>
                  <a:lnTo>
                    <a:pt x="1271" y="90"/>
                  </a:lnTo>
                  <a:lnTo>
                    <a:pt x="1269" y="90"/>
                  </a:lnTo>
                  <a:lnTo>
                    <a:pt x="1269" y="88"/>
                  </a:lnTo>
                  <a:lnTo>
                    <a:pt x="1267" y="88"/>
                  </a:lnTo>
                  <a:lnTo>
                    <a:pt x="1264" y="88"/>
                  </a:lnTo>
                  <a:lnTo>
                    <a:pt x="1267" y="88"/>
                  </a:lnTo>
                  <a:lnTo>
                    <a:pt x="1269" y="85"/>
                  </a:lnTo>
                  <a:lnTo>
                    <a:pt x="1271" y="85"/>
                  </a:lnTo>
                  <a:lnTo>
                    <a:pt x="1274" y="85"/>
                  </a:lnTo>
                  <a:lnTo>
                    <a:pt x="1276" y="85"/>
                  </a:lnTo>
                  <a:lnTo>
                    <a:pt x="1278" y="85"/>
                  </a:lnTo>
                  <a:lnTo>
                    <a:pt x="1278" y="83"/>
                  </a:lnTo>
                  <a:lnTo>
                    <a:pt x="1278" y="85"/>
                  </a:lnTo>
                  <a:lnTo>
                    <a:pt x="1278" y="83"/>
                  </a:lnTo>
                  <a:lnTo>
                    <a:pt x="1281" y="83"/>
                  </a:lnTo>
                  <a:lnTo>
                    <a:pt x="1283" y="83"/>
                  </a:lnTo>
                  <a:lnTo>
                    <a:pt x="1286" y="83"/>
                  </a:lnTo>
                  <a:lnTo>
                    <a:pt x="1283" y="83"/>
                  </a:lnTo>
                  <a:lnTo>
                    <a:pt x="1286" y="83"/>
                  </a:lnTo>
                  <a:lnTo>
                    <a:pt x="1288" y="83"/>
                  </a:lnTo>
                  <a:lnTo>
                    <a:pt x="1288" y="80"/>
                  </a:lnTo>
                  <a:lnTo>
                    <a:pt x="1288" y="83"/>
                  </a:lnTo>
                  <a:lnTo>
                    <a:pt x="1290" y="83"/>
                  </a:lnTo>
                  <a:lnTo>
                    <a:pt x="1293" y="83"/>
                  </a:lnTo>
                  <a:lnTo>
                    <a:pt x="1290" y="80"/>
                  </a:lnTo>
                  <a:lnTo>
                    <a:pt x="1293" y="80"/>
                  </a:lnTo>
                  <a:lnTo>
                    <a:pt x="1293" y="78"/>
                  </a:lnTo>
                  <a:lnTo>
                    <a:pt x="1290" y="78"/>
                  </a:lnTo>
                  <a:lnTo>
                    <a:pt x="1290" y="76"/>
                  </a:lnTo>
                  <a:lnTo>
                    <a:pt x="1293" y="76"/>
                  </a:lnTo>
                  <a:lnTo>
                    <a:pt x="1295" y="73"/>
                  </a:lnTo>
                  <a:lnTo>
                    <a:pt x="1297" y="73"/>
                  </a:lnTo>
                  <a:lnTo>
                    <a:pt x="1295" y="73"/>
                  </a:lnTo>
                  <a:lnTo>
                    <a:pt x="1297" y="73"/>
                  </a:lnTo>
                  <a:lnTo>
                    <a:pt x="1300" y="73"/>
                  </a:lnTo>
                  <a:lnTo>
                    <a:pt x="1297" y="73"/>
                  </a:lnTo>
                  <a:lnTo>
                    <a:pt x="1300" y="73"/>
                  </a:lnTo>
                  <a:lnTo>
                    <a:pt x="1302" y="73"/>
                  </a:lnTo>
                  <a:lnTo>
                    <a:pt x="1305" y="73"/>
                  </a:lnTo>
                  <a:lnTo>
                    <a:pt x="1307" y="73"/>
                  </a:lnTo>
                  <a:lnTo>
                    <a:pt x="1309" y="73"/>
                  </a:lnTo>
                  <a:lnTo>
                    <a:pt x="1309" y="71"/>
                  </a:lnTo>
                  <a:lnTo>
                    <a:pt x="1312" y="73"/>
                  </a:lnTo>
                  <a:lnTo>
                    <a:pt x="1312" y="71"/>
                  </a:lnTo>
                  <a:lnTo>
                    <a:pt x="1309" y="71"/>
                  </a:lnTo>
                  <a:lnTo>
                    <a:pt x="1312" y="71"/>
                  </a:lnTo>
                  <a:lnTo>
                    <a:pt x="1312" y="69"/>
                  </a:lnTo>
                  <a:lnTo>
                    <a:pt x="1314" y="69"/>
                  </a:lnTo>
                  <a:lnTo>
                    <a:pt x="1316" y="69"/>
                  </a:lnTo>
                  <a:lnTo>
                    <a:pt x="1319" y="69"/>
                  </a:lnTo>
                  <a:lnTo>
                    <a:pt x="1319" y="71"/>
                  </a:lnTo>
                  <a:lnTo>
                    <a:pt x="1321" y="71"/>
                  </a:lnTo>
                  <a:lnTo>
                    <a:pt x="1324" y="71"/>
                  </a:lnTo>
                  <a:lnTo>
                    <a:pt x="1321" y="71"/>
                  </a:lnTo>
                  <a:lnTo>
                    <a:pt x="1324" y="71"/>
                  </a:lnTo>
                  <a:lnTo>
                    <a:pt x="1326" y="71"/>
                  </a:lnTo>
                  <a:lnTo>
                    <a:pt x="1326" y="69"/>
                  </a:lnTo>
                  <a:lnTo>
                    <a:pt x="1324" y="69"/>
                  </a:lnTo>
                  <a:lnTo>
                    <a:pt x="1326" y="69"/>
                  </a:lnTo>
                  <a:lnTo>
                    <a:pt x="1328" y="69"/>
                  </a:lnTo>
                  <a:lnTo>
                    <a:pt x="1331" y="69"/>
                  </a:lnTo>
                  <a:lnTo>
                    <a:pt x="1331" y="66"/>
                  </a:lnTo>
                  <a:lnTo>
                    <a:pt x="1333" y="66"/>
                  </a:lnTo>
                  <a:lnTo>
                    <a:pt x="1335" y="66"/>
                  </a:lnTo>
                  <a:lnTo>
                    <a:pt x="1338" y="66"/>
                  </a:lnTo>
                  <a:lnTo>
                    <a:pt x="1340" y="66"/>
                  </a:lnTo>
                  <a:lnTo>
                    <a:pt x="1343" y="66"/>
                  </a:lnTo>
                  <a:lnTo>
                    <a:pt x="1345" y="66"/>
                  </a:lnTo>
                  <a:lnTo>
                    <a:pt x="1343" y="66"/>
                  </a:lnTo>
                  <a:lnTo>
                    <a:pt x="1343" y="64"/>
                  </a:lnTo>
                  <a:lnTo>
                    <a:pt x="1345" y="64"/>
                  </a:lnTo>
                  <a:lnTo>
                    <a:pt x="1343" y="64"/>
                  </a:lnTo>
                  <a:lnTo>
                    <a:pt x="1331" y="64"/>
                  </a:lnTo>
                  <a:lnTo>
                    <a:pt x="1343" y="64"/>
                  </a:lnTo>
                  <a:lnTo>
                    <a:pt x="1340" y="64"/>
                  </a:lnTo>
                  <a:lnTo>
                    <a:pt x="1338" y="64"/>
                  </a:lnTo>
                  <a:lnTo>
                    <a:pt x="1335" y="64"/>
                  </a:lnTo>
                  <a:lnTo>
                    <a:pt x="1335" y="61"/>
                  </a:lnTo>
                  <a:lnTo>
                    <a:pt x="1333" y="64"/>
                  </a:lnTo>
                  <a:lnTo>
                    <a:pt x="1333" y="61"/>
                  </a:lnTo>
                  <a:lnTo>
                    <a:pt x="1335" y="61"/>
                  </a:lnTo>
                  <a:lnTo>
                    <a:pt x="1338" y="59"/>
                  </a:lnTo>
                  <a:lnTo>
                    <a:pt x="1340" y="59"/>
                  </a:lnTo>
                  <a:lnTo>
                    <a:pt x="1343" y="59"/>
                  </a:lnTo>
                  <a:lnTo>
                    <a:pt x="1343" y="57"/>
                  </a:lnTo>
                  <a:lnTo>
                    <a:pt x="1345" y="57"/>
                  </a:lnTo>
                  <a:lnTo>
                    <a:pt x="1347" y="57"/>
                  </a:lnTo>
                  <a:lnTo>
                    <a:pt x="1350" y="57"/>
                  </a:lnTo>
                  <a:lnTo>
                    <a:pt x="1352" y="57"/>
                  </a:lnTo>
                  <a:lnTo>
                    <a:pt x="1354" y="57"/>
                  </a:lnTo>
                  <a:lnTo>
                    <a:pt x="1357" y="57"/>
                  </a:lnTo>
                  <a:lnTo>
                    <a:pt x="1357" y="59"/>
                  </a:lnTo>
                  <a:lnTo>
                    <a:pt x="1354" y="59"/>
                  </a:lnTo>
                  <a:lnTo>
                    <a:pt x="1352" y="59"/>
                  </a:lnTo>
                  <a:lnTo>
                    <a:pt x="1352" y="61"/>
                  </a:lnTo>
                  <a:lnTo>
                    <a:pt x="1350" y="61"/>
                  </a:lnTo>
                  <a:lnTo>
                    <a:pt x="1350" y="64"/>
                  </a:lnTo>
                  <a:lnTo>
                    <a:pt x="1347" y="64"/>
                  </a:lnTo>
                  <a:lnTo>
                    <a:pt x="1350" y="64"/>
                  </a:lnTo>
                  <a:lnTo>
                    <a:pt x="1347" y="64"/>
                  </a:lnTo>
                  <a:lnTo>
                    <a:pt x="1350" y="64"/>
                  </a:lnTo>
                  <a:lnTo>
                    <a:pt x="1352" y="64"/>
                  </a:lnTo>
                  <a:lnTo>
                    <a:pt x="1352" y="66"/>
                  </a:lnTo>
                  <a:lnTo>
                    <a:pt x="1354" y="66"/>
                  </a:lnTo>
                  <a:lnTo>
                    <a:pt x="1354" y="64"/>
                  </a:lnTo>
                  <a:lnTo>
                    <a:pt x="1354" y="66"/>
                  </a:lnTo>
                  <a:lnTo>
                    <a:pt x="1354" y="64"/>
                  </a:lnTo>
                  <a:lnTo>
                    <a:pt x="1357" y="64"/>
                  </a:lnTo>
                  <a:lnTo>
                    <a:pt x="1354" y="64"/>
                  </a:lnTo>
                  <a:lnTo>
                    <a:pt x="1357" y="64"/>
                  </a:lnTo>
                  <a:lnTo>
                    <a:pt x="1359" y="64"/>
                  </a:lnTo>
                  <a:lnTo>
                    <a:pt x="1357" y="64"/>
                  </a:lnTo>
                  <a:lnTo>
                    <a:pt x="1357" y="66"/>
                  </a:lnTo>
                  <a:lnTo>
                    <a:pt x="1357" y="64"/>
                  </a:lnTo>
                  <a:lnTo>
                    <a:pt x="1359" y="64"/>
                  </a:lnTo>
                  <a:lnTo>
                    <a:pt x="1359" y="61"/>
                  </a:lnTo>
                  <a:lnTo>
                    <a:pt x="1362" y="61"/>
                  </a:lnTo>
                  <a:lnTo>
                    <a:pt x="1364" y="61"/>
                  </a:lnTo>
                  <a:lnTo>
                    <a:pt x="1366" y="61"/>
                  </a:lnTo>
                  <a:lnTo>
                    <a:pt x="1369" y="61"/>
                  </a:lnTo>
                  <a:lnTo>
                    <a:pt x="1369" y="59"/>
                  </a:lnTo>
                  <a:lnTo>
                    <a:pt x="1369" y="61"/>
                  </a:lnTo>
                  <a:lnTo>
                    <a:pt x="1369" y="59"/>
                  </a:lnTo>
                  <a:lnTo>
                    <a:pt x="1366" y="59"/>
                  </a:lnTo>
                  <a:lnTo>
                    <a:pt x="1369" y="59"/>
                  </a:lnTo>
                  <a:lnTo>
                    <a:pt x="1369" y="57"/>
                  </a:lnTo>
                  <a:lnTo>
                    <a:pt x="1371" y="57"/>
                  </a:lnTo>
                  <a:lnTo>
                    <a:pt x="1369" y="54"/>
                  </a:lnTo>
                  <a:lnTo>
                    <a:pt x="1366" y="54"/>
                  </a:lnTo>
                  <a:lnTo>
                    <a:pt x="1364" y="54"/>
                  </a:lnTo>
                  <a:lnTo>
                    <a:pt x="1362" y="54"/>
                  </a:lnTo>
                  <a:lnTo>
                    <a:pt x="1364" y="54"/>
                  </a:lnTo>
                  <a:lnTo>
                    <a:pt x="1362" y="54"/>
                  </a:lnTo>
                  <a:lnTo>
                    <a:pt x="1364" y="52"/>
                  </a:lnTo>
                  <a:lnTo>
                    <a:pt x="1366" y="52"/>
                  </a:lnTo>
                  <a:lnTo>
                    <a:pt x="1364" y="52"/>
                  </a:lnTo>
                  <a:lnTo>
                    <a:pt x="1364" y="50"/>
                  </a:lnTo>
                  <a:lnTo>
                    <a:pt x="1366" y="50"/>
                  </a:lnTo>
                  <a:lnTo>
                    <a:pt x="1366" y="47"/>
                  </a:lnTo>
                  <a:lnTo>
                    <a:pt x="1369" y="47"/>
                  </a:lnTo>
                  <a:lnTo>
                    <a:pt x="1366" y="47"/>
                  </a:lnTo>
                  <a:lnTo>
                    <a:pt x="1369" y="47"/>
                  </a:lnTo>
                  <a:lnTo>
                    <a:pt x="1366" y="47"/>
                  </a:lnTo>
                  <a:lnTo>
                    <a:pt x="1364" y="47"/>
                  </a:lnTo>
                  <a:lnTo>
                    <a:pt x="1366" y="47"/>
                  </a:lnTo>
                  <a:lnTo>
                    <a:pt x="1369" y="47"/>
                  </a:lnTo>
                  <a:lnTo>
                    <a:pt x="1369" y="45"/>
                  </a:lnTo>
                  <a:lnTo>
                    <a:pt x="1371" y="45"/>
                  </a:lnTo>
                  <a:lnTo>
                    <a:pt x="1371" y="47"/>
                  </a:lnTo>
                  <a:lnTo>
                    <a:pt x="1373" y="47"/>
                  </a:lnTo>
                  <a:lnTo>
                    <a:pt x="1373" y="45"/>
                  </a:lnTo>
                  <a:lnTo>
                    <a:pt x="1376" y="45"/>
                  </a:lnTo>
                  <a:lnTo>
                    <a:pt x="1378" y="45"/>
                  </a:lnTo>
                  <a:lnTo>
                    <a:pt x="1380" y="45"/>
                  </a:lnTo>
                  <a:lnTo>
                    <a:pt x="1378" y="45"/>
                  </a:lnTo>
                  <a:lnTo>
                    <a:pt x="1380" y="45"/>
                  </a:lnTo>
                  <a:lnTo>
                    <a:pt x="1380" y="47"/>
                  </a:lnTo>
                  <a:lnTo>
                    <a:pt x="1383" y="45"/>
                  </a:lnTo>
                  <a:lnTo>
                    <a:pt x="1385" y="45"/>
                  </a:lnTo>
                  <a:lnTo>
                    <a:pt x="1388" y="45"/>
                  </a:lnTo>
                  <a:lnTo>
                    <a:pt x="1390" y="45"/>
                  </a:lnTo>
                  <a:lnTo>
                    <a:pt x="1388" y="45"/>
                  </a:lnTo>
                  <a:lnTo>
                    <a:pt x="1390" y="45"/>
                  </a:lnTo>
                  <a:lnTo>
                    <a:pt x="1388" y="47"/>
                  </a:lnTo>
                  <a:lnTo>
                    <a:pt x="1388" y="45"/>
                  </a:lnTo>
                  <a:lnTo>
                    <a:pt x="1388" y="47"/>
                  </a:lnTo>
                  <a:lnTo>
                    <a:pt x="1390" y="47"/>
                  </a:lnTo>
                  <a:lnTo>
                    <a:pt x="1392" y="45"/>
                  </a:lnTo>
                  <a:lnTo>
                    <a:pt x="1392" y="47"/>
                  </a:lnTo>
                  <a:lnTo>
                    <a:pt x="1395" y="47"/>
                  </a:lnTo>
                  <a:lnTo>
                    <a:pt x="1397" y="47"/>
                  </a:lnTo>
                  <a:lnTo>
                    <a:pt x="1399" y="47"/>
                  </a:lnTo>
                  <a:lnTo>
                    <a:pt x="1402" y="47"/>
                  </a:lnTo>
                  <a:lnTo>
                    <a:pt x="1404" y="47"/>
                  </a:lnTo>
                  <a:lnTo>
                    <a:pt x="1407" y="47"/>
                  </a:lnTo>
                  <a:lnTo>
                    <a:pt x="1409" y="47"/>
                  </a:lnTo>
                  <a:lnTo>
                    <a:pt x="1411" y="47"/>
                  </a:lnTo>
                  <a:lnTo>
                    <a:pt x="1411" y="50"/>
                  </a:lnTo>
                  <a:lnTo>
                    <a:pt x="1409" y="52"/>
                  </a:lnTo>
                  <a:lnTo>
                    <a:pt x="1411" y="52"/>
                  </a:lnTo>
                  <a:lnTo>
                    <a:pt x="1409" y="52"/>
                  </a:lnTo>
                  <a:lnTo>
                    <a:pt x="1411" y="52"/>
                  </a:lnTo>
                  <a:lnTo>
                    <a:pt x="1414" y="52"/>
                  </a:lnTo>
                  <a:lnTo>
                    <a:pt x="1411" y="52"/>
                  </a:lnTo>
                  <a:lnTo>
                    <a:pt x="1411" y="54"/>
                  </a:lnTo>
                  <a:lnTo>
                    <a:pt x="1414" y="54"/>
                  </a:lnTo>
                  <a:lnTo>
                    <a:pt x="1414" y="52"/>
                  </a:lnTo>
                  <a:lnTo>
                    <a:pt x="1414" y="54"/>
                  </a:lnTo>
                  <a:lnTo>
                    <a:pt x="1416" y="54"/>
                  </a:lnTo>
                  <a:lnTo>
                    <a:pt x="1414" y="54"/>
                  </a:lnTo>
                  <a:lnTo>
                    <a:pt x="1416" y="54"/>
                  </a:lnTo>
                  <a:lnTo>
                    <a:pt x="1416" y="52"/>
                  </a:lnTo>
                  <a:lnTo>
                    <a:pt x="1418" y="52"/>
                  </a:lnTo>
                  <a:lnTo>
                    <a:pt x="1416" y="50"/>
                  </a:lnTo>
                  <a:lnTo>
                    <a:pt x="1418" y="50"/>
                  </a:lnTo>
                  <a:lnTo>
                    <a:pt x="1418" y="52"/>
                  </a:lnTo>
                  <a:lnTo>
                    <a:pt x="1418" y="50"/>
                  </a:lnTo>
                  <a:lnTo>
                    <a:pt x="1421" y="50"/>
                  </a:lnTo>
                  <a:lnTo>
                    <a:pt x="1423" y="50"/>
                  </a:lnTo>
                  <a:lnTo>
                    <a:pt x="1423" y="47"/>
                  </a:lnTo>
                  <a:lnTo>
                    <a:pt x="1421" y="47"/>
                  </a:lnTo>
                  <a:lnTo>
                    <a:pt x="1423" y="47"/>
                  </a:lnTo>
                  <a:lnTo>
                    <a:pt x="1426" y="47"/>
                  </a:lnTo>
                  <a:lnTo>
                    <a:pt x="1426" y="50"/>
                  </a:lnTo>
                  <a:lnTo>
                    <a:pt x="1423" y="50"/>
                  </a:lnTo>
                  <a:lnTo>
                    <a:pt x="1426" y="50"/>
                  </a:lnTo>
                  <a:lnTo>
                    <a:pt x="1428" y="50"/>
                  </a:lnTo>
                  <a:lnTo>
                    <a:pt x="1428" y="52"/>
                  </a:lnTo>
                  <a:lnTo>
                    <a:pt x="1428" y="50"/>
                  </a:lnTo>
                  <a:lnTo>
                    <a:pt x="1428" y="52"/>
                  </a:lnTo>
                  <a:lnTo>
                    <a:pt x="1430" y="52"/>
                  </a:lnTo>
                  <a:lnTo>
                    <a:pt x="1430" y="50"/>
                  </a:lnTo>
                  <a:lnTo>
                    <a:pt x="1430" y="52"/>
                  </a:lnTo>
                  <a:lnTo>
                    <a:pt x="1433" y="52"/>
                  </a:lnTo>
                  <a:lnTo>
                    <a:pt x="1433" y="50"/>
                  </a:lnTo>
                  <a:lnTo>
                    <a:pt x="1435" y="50"/>
                  </a:lnTo>
                  <a:lnTo>
                    <a:pt x="1437" y="50"/>
                  </a:lnTo>
                  <a:lnTo>
                    <a:pt x="1437" y="47"/>
                  </a:lnTo>
                  <a:lnTo>
                    <a:pt x="1440" y="47"/>
                  </a:lnTo>
                  <a:lnTo>
                    <a:pt x="1442" y="47"/>
                  </a:lnTo>
                  <a:lnTo>
                    <a:pt x="1445" y="47"/>
                  </a:lnTo>
                  <a:lnTo>
                    <a:pt x="1447" y="47"/>
                  </a:lnTo>
                  <a:lnTo>
                    <a:pt x="1449" y="47"/>
                  </a:lnTo>
                  <a:lnTo>
                    <a:pt x="1449" y="45"/>
                  </a:lnTo>
                  <a:lnTo>
                    <a:pt x="1452" y="45"/>
                  </a:lnTo>
                  <a:lnTo>
                    <a:pt x="1449" y="45"/>
                  </a:lnTo>
                  <a:lnTo>
                    <a:pt x="1452" y="45"/>
                  </a:lnTo>
                  <a:lnTo>
                    <a:pt x="1449" y="45"/>
                  </a:lnTo>
                  <a:lnTo>
                    <a:pt x="1452" y="45"/>
                  </a:lnTo>
                  <a:lnTo>
                    <a:pt x="1454" y="45"/>
                  </a:lnTo>
                  <a:lnTo>
                    <a:pt x="1452" y="45"/>
                  </a:lnTo>
                  <a:lnTo>
                    <a:pt x="1454" y="42"/>
                  </a:lnTo>
                  <a:lnTo>
                    <a:pt x="1456" y="42"/>
                  </a:lnTo>
                  <a:lnTo>
                    <a:pt x="1459" y="42"/>
                  </a:lnTo>
                  <a:lnTo>
                    <a:pt x="1461" y="42"/>
                  </a:lnTo>
                  <a:lnTo>
                    <a:pt x="1464" y="42"/>
                  </a:lnTo>
                  <a:lnTo>
                    <a:pt x="1466" y="42"/>
                  </a:lnTo>
                  <a:lnTo>
                    <a:pt x="1466" y="45"/>
                  </a:lnTo>
                  <a:lnTo>
                    <a:pt x="1468" y="45"/>
                  </a:lnTo>
                  <a:lnTo>
                    <a:pt x="1471" y="45"/>
                  </a:lnTo>
                  <a:lnTo>
                    <a:pt x="1473" y="45"/>
                  </a:lnTo>
                  <a:lnTo>
                    <a:pt x="1475" y="45"/>
                  </a:lnTo>
                  <a:lnTo>
                    <a:pt x="1475" y="47"/>
                  </a:lnTo>
                  <a:lnTo>
                    <a:pt x="1475" y="45"/>
                  </a:lnTo>
                  <a:lnTo>
                    <a:pt x="1473" y="45"/>
                  </a:lnTo>
                  <a:lnTo>
                    <a:pt x="1473" y="42"/>
                  </a:lnTo>
                  <a:lnTo>
                    <a:pt x="1475" y="42"/>
                  </a:lnTo>
                  <a:lnTo>
                    <a:pt x="1478" y="40"/>
                  </a:lnTo>
                  <a:lnTo>
                    <a:pt x="1478" y="42"/>
                  </a:lnTo>
                  <a:lnTo>
                    <a:pt x="1475" y="42"/>
                  </a:lnTo>
                  <a:lnTo>
                    <a:pt x="1478" y="42"/>
                  </a:lnTo>
                  <a:lnTo>
                    <a:pt x="1480" y="42"/>
                  </a:lnTo>
                  <a:lnTo>
                    <a:pt x="1480" y="40"/>
                  </a:lnTo>
                  <a:lnTo>
                    <a:pt x="1483" y="40"/>
                  </a:lnTo>
                  <a:lnTo>
                    <a:pt x="1485" y="40"/>
                  </a:lnTo>
                  <a:lnTo>
                    <a:pt x="1483" y="40"/>
                  </a:lnTo>
                  <a:lnTo>
                    <a:pt x="1485" y="40"/>
                  </a:lnTo>
                  <a:lnTo>
                    <a:pt x="1487" y="40"/>
                  </a:lnTo>
                  <a:lnTo>
                    <a:pt x="1490" y="40"/>
                  </a:lnTo>
                  <a:lnTo>
                    <a:pt x="1490" y="42"/>
                  </a:lnTo>
                  <a:lnTo>
                    <a:pt x="1492" y="42"/>
                  </a:lnTo>
                  <a:lnTo>
                    <a:pt x="1492" y="40"/>
                  </a:lnTo>
                  <a:lnTo>
                    <a:pt x="1490" y="40"/>
                  </a:lnTo>
                  <a:lnTo>
                    <a:pt x="1487" y="40"/>
                  </a:lnTo>
                  <a:lnTo>
                    <a:pt x="1487" y="38"/>
                  </a:lnTo>
                  <a:lnTo>
                    <a:pt x="1490" y="38"/>
                  </a:lnTo>
                  <a:lnTo>
                    <a:pt x="1490" y="35"/>
                  </a:lnTo>
                  <a:lnTo>
                    <a:pt x="1492" y="35"/>
                  </a:lnTo>
                  <a:lnTo>
                    <a:pt x="1494" y="35"/>
                  </a:lnTo>
                  <a:lnTo>
                    <a:pt x="1492" y="35"/>
                  </a:lnTo>
                  <a:lnTo>
                    <a:pt x="1494" y="35"/>
                  </a:lnTo>
                  <a:lnTo>
                    <a:pt x="1494" y="33"/>
                  </a:lnTo>
                  <a:lnTo>
                    <a:pt x="1497" y="33"/>
                  </a:lnTo>
                  <a:lnTo>
                    <a:pt x="1499" y="33"/>
                  </a:lnTo>
                  <a:lnTo>
                    <a:pt x="1501" y="33"/>
                  </a:lnTo>
                  <a:lnTo>
                    <a:pt x="1501" y="35"/>
                  </a:lnTo>
                  <a:lnTo>
                    <a:pt x="1504" y="35"/>
                  </a:lnTo>
                  <a:lnTo>
                    <a:pt x="1504" y="33"/>
                  </a:lnTo>
                  <a:lnTo>
                    <a:pt x="1506" y="35"/>
                  </a:lnTo>
                  <a:lnTo>
                    <a:pt x="1506" y="33"/>
                  </a:lnTo>
                  <a:lnTo>
                    <a:pt x="1509" y="33"/>
                  </a:lnTo>
                  <a:lnTo>
                    <a:pt x="1511" y="33"/>
                  </a:lnTo>
                  <a:lnTo>
                    <a:pt x="1511" y="31"/>
                  </a:lnTo>
                  <a:lnTo>
                    <a:pt x="1511" y="28"/>
                  </a:lnTo>
                  <a:lnTo>
                    <a:pt x="1513" y="28"/>
                  </a:lnTo>
                  <a:lnTo>
                    <a:pt x="1516" y="28"/>
                  </a:lnTo>
                  <a:lnTo>
                    <a:pt x="1518" y="28"/>
                  </a:lnTo>
                  <a:lnTo>
                    <a:pt x="1520" y="28"/>
                  </a:lnTo>
                  <a:lnTo>
                    <a:pt x="1523" y="31"/>
                  </a:lnTo>
                  <a:lnTo>
                    <a:pt x="1525" y="31"/>
                  </a:lnTo>
                  <a:lnTo>
                    <a:pt x="1528" y="31"/>
                  </a:lnTo>
                  <a:lnTo>
                    <a:pt x="1530" y="31"/>
                  </a:lnTo>
                  <a:lnTo>
                    <a:pt x="1530" y="33"/>
                  </a:lnTo>
                  <a:lnTo>
                    <a:pt x="1532" y="31"/>
                  </a:lnTo>
                  <a:lnTo>
                    <a:pt x="1532" y="33"/>
                  </a:lnTo>
                  <a:lnTo>
                    <a:pt x="1535" y="33"/>
                  </a:lnTo>
                  <a:lnTo>
                    <a:pt x="1532" y="31"/>
                  </a:lnTo>
                  <a:lnTo>
                    <a:pt x="1535" y="31"/>
                  </a:lnTo>
                  <a:lnTo>
                    <a:pt x="1532" y="31"/>
                  </a:lnTo>
                  <a:lnTo>
                    <a:pt x="1535" y="31"/>
                  </a:lnTo>
                  <a:lnTo>
                    <a:pt x="1532" y="31"/>
                  </a:lnTo>
                  <a:lnTo>
                    <a:pt x="1535" y="31"/>
                  </a:lnTo>
                  <a:lnTo>
                    <a:pt x="1537" y="31"/>
                  </a:lnTo>
                  <a:lnTo>
                    <a:pt x="1535" y="28"/>
                  </a:lnTo>
                  <a:lnTo>
                    <a:pt x="1537" y="28"/>
                  </a:lnTo>
                  <a:lnTo>
                    <a:pt x="1539" y="28"/>
                  </a:lnTo>
                  <a:lnTo>
                    <a:pt x="1537" y="28"/>
                  </a:lnTo>
                  <a:lnTo>
                    <a:pt x="1535" y="28"/>
                  </a:lnTo>
                  <a:lnTo>
                    <a:pt x="1532" y="28"/>
                  </a:lnTo>
                  <a:lnTo>
                    <a:pt x="1530" y="28"/>
                  </a:lnTo>
                  <a:lnTo>
                    <a:pt x="1532" y="26"/>
                  </a:lnTo>
                  <a:lnTo>
                    <a:pt x="1530" y="26"/>
                  </a:lnTo>
                  <a:lnTo>
                    <a:pt x="1532" y="26"/>
                  </a:lnTo>
                  <a:lnTo>
                    <a:pt x="1530" y="26"/>
                  </a:lnTo>
                  <a:lnTo>
                    <a:pt x="1530" y="23"/>
                  </a:lnTo>
                  <a:lnTo>
                    <a:pt x="1528" y="23"/>
                  </a:lnTo>
                  <a:lnTo>
                    <a:pt x="1525" y="23"/>
                  </a:lnTo>
                  <a:lnTo>
                    <a:pt x="1525" y="21"/>
                  </a:lnTo>
                  <a:lnTo>
                    <a:pt x="1523" y="21"/>
                  </a:lnTo>
                  <a:lnTo>
                    <a:pt x="1525" y="21"/>
                  </a:lnTo>
                  <a:lnTo>
                    <a:pt x="1528" y="19"/>
                  </a:lnTo>
                  <a:lnTo>
                    <a:pt x="1530" y="16"/>
                  </a:lnTo>
                  <a:lnTo>
                    <a:pt x="1532" y="16"/>
                  </a:lnTo>
                  <a:lnTo>
                    <a:pt x="1535" y="16"/>
                  </a:lnTo>
                  <a:lnTo>
                    <a:pt x="1537" y="16"/>
                  </a:lnTo>
                  <a:lnTo>
                    <a:pt x="1537" y="14"/>
                  </a:lnTo>
                  <a:lnTo>
                    <a:pt x="1539" y="14"/>
                  </a:lnTo>
                  <a:lnTo>
                    <a:pt x="1542" y="14"/>
                  </a:lnTo>
                  <a:lnTo>
                    <a:pt x="1544" y="14"/>
                  </a:lnTo>
                  <a:lnTo>
                    <a:pt x="1542" y="14"/>
                  </a:lnTo>
                  <a:lnTo>
                    <a:pt x="1544" y="14"/>
                  </a:lnTo>
                  <a:lnTo>
                    <a:pt x="1544" y="12"/>
                  </a:lnTo>
                  <a:lnTo>
                    <a:pt x="1547" y="12"/>
                  </a:lnTo>
                  <a:lnTo>
                    <a:pt x="1549" y="12"/>
                  </a:lnTo>
                  <a:lnTo>
                    <a:pt x="1547" y="12"/>
                  </a:lnTo>
                  <a:lnTo>
                    <a:pt x="1549" y="12"/>
                  </a:lnTo>
                  <a:lnTo>
                    <a:pt x="1551" y="12"/>
                  </a:lnTo>
                  <a:lnTo>
                    <a:pt x="1554" y="12"/>
                  </a:lnTo>
                  <a:lnTo>
                    <a:pt x="1554" y="9"/>
                  </a:lnTo>
                  <a:lnTo>
                    <a:pt x="1554" y="12"/>
                  </a:lnTo>
                  <a:lnTo>
                    <a:pt x="1554" y="9"/>
                  </a:lnTo>
                  <a:lnTo>
                    <a:pt x="1556" y="9"/>
                  </a:lnTo>
                  <a:lnTo>
                    <a:pt x="1554" y="9"/>
                  </a:lnTo>
                  <a:lnTo>
                    <a:pt x="1554" y="7"/>
                  </a:lnTo>
                  <a:lnTo>
                    <a:pt x="1556" y="7"/>
                  </a:lnTo>
                  <a:lnTo>
                    <a:pt x="1558" y="7"/>
                  </a:lnTo>
                  <a:lnTo>
                    <a:pt x="1556" y="7"/>
                  </a:lnTo>
                  <a:lnTo>
                    <a:pt x="1558" y="7"/>
                  </a:lnTo>
                  <a:lnTo>
                    <a:pt x="1561" y="7"/>
                  </a:lnTo>
                  <a:lnTo>
                    <a:pt x="1563" y="7"/>
                  </a:lnTo>
                  <a:lnTo>
                    <a:pt x="1563" y="4"/>
                  </a:lnTo>
                  <a:lnTo>
                    <a:pt x="1561" y="4"/>
                  </a:lnTo>
                  <a:lnTo>
                    <a:pt x="1563" y="4"/>
                  </a:lnTo>
                  <a:lnTo>
                    <a:pt x="1566" y="4"/>
                  </a:lnTo>
                  <a:lnTo>
                    <a:pt x="1563" y="4"/>
                  </a:lnTo>
                  <a:lnTo>
                    <a:pt x="1566" y="4"/>
                  </a:lnTo>
                  <a:lnTo>
                    <a:pt x="1566" y="2"/>
                  </a:lnTo>
                  <a:lnTo>
                    <a:pt x="1568" y="2"/>
                  </a:lnTo>
                  <a:lnTo>
                    <a:pt x="1568" y="4"/>
                  </a:lnTo>
                  <a:lnTo>
                    <a:pt x="1570" y="4"/>
                  </a:lnTo>
                  <a:lnTo>
                    <a:pt x="1573" y="4"/>
                  </a:lnTo>
                  <a:lnTo>
                    <a:pt x="1573" y="2"/>
                  </a:lnTo>
                  <a:lnTo>
                    <a:pt x="1575" y="2"/>
                  </a:lnTo>
                  <a:lnTo>
                    <a:pt x="1577" y="2"/>
                  </a:lnTo>
                  <a:lnTo>
                    <a:pt x="1577" y="0"/>
                  </a:lnTo>
                  <a:lnTo>
                    <a:pt x="1580" y="0"/>
                  </a:lnTo>
                  <a:lnTo>
                    <a:pt x="1582" y="0"/>
                  </a:lnTo>
                  <a:lnTo>
                    <a:pt x="1585" y="0"/>
                  </a:lnTo>
                  <a:lnTo>
                    <a:pt x="1587" y="0"/>
                  </a:lnTo>
                  <a:lnTo>
                    <a:pt x="1589" y="0"/>
                  </a:lnTo>
                  <a:lnTo>
                    <a:pt x="1592" y="0"/>
                  </a:lnTo>
                  <a:lnTo>
                    <a:pt x="1594" y="0"/>
                  </a:lnTo>
                  <a:lnTo>
                    <a:pt x="1596" y="0"/>
                  </a:lnTo>
                  <a:lnTo>
                    <a:pt x="1599" y="0"/>
                  </a:lnTo>
                  <a:lnTo>
                    <a:pt x="1599" y="2"/>
                  </a:lnTo>
                  <a:lnTo>
                    <a:pt x="1599" y="0"/>
                  </a:lnTo>
                  <a:lnTo>
                    <a:pt x="1599" y="2"/>
                  </a:lnTo>
                  <a:lnTo>
                    <a:pt x="1601" y="2"/>
                  </a:lnTo>
                  <a:lnTo>
                    <a:pt x="1604" y="2"/>
                  </a:lnTo>
                  <a:lnTo>
                    <a:pt x="1606" y="2"/>
                  </a:lnTo>
                  <a:lnTo>
                    <a:pt x="1608" y="2"/>
                  </a:lnTo>
                  <a:lnTo>
                    <a:pt x="1611" y="2"/>
                  </a:lnTo>
                  <a:lnTo>
                    <a:pt x="1613" y="2"/>
                  </a:lnTo>
                  <a:lnTo>
                    <a:pt x="1615" y="2"/>
                  </a:lnTo>
                  <a:lnTo>
                    <a:pt x="1613" y="2"/>
                  </a:lnTo>
                  <a:lnTo>
                    <a:pt x="1613" y="4"/>
                  </a:lnTo>
                  <a:lnTo>
                    <a:pt x="1615" y="4"/>
                  </a:lnTo>
                  <a:lnTo>
                    <a:pt x="1615" y="7"/>
                  </a:lnTo>
                  <a:lnTo>
                    <a:pt x="1618" y="7"/>
                  </a:lnTo>
                  <a:lnTo>
                    <a:pt x="1620" y="7"/>
                  </a:lnTo>
                  <a:lnTo>
                    <a:pt x="1618" y="7"/>
                  </a:lnTo>
                  <a:lnTo>
                    <a:pt x="1620" y="7"/>
                  </a:lnTo>
                  <a:lnTo>
                    <a:pt x="1623" y="9"/>
                  </a:lnTo>
                  <a:lnTo>
                    <a:pt x="1620" y="9"/>
                  </a:lnTo>
                  <a:lnTo>
                    <a:pt x="1623" y="12"/>
                  </a:lnTo>
                  <a:lnTo>
                    <a:pt x="1620" y="12"/>
                  </a:lnTo>
                  <a:lnTo>
                    <a:pt x="1623" y="12"/>
                  </a:lnTo>
                  <a:lnTo>
                    <a:pt x="1625" y="14"/>
                  </a:lnTo>
                  <a:lnTo>
                    <a:pt x="1627" y="14"/>
                  </a:lnTo>
                  <a:lnTo>
                    <a:pt x="1630" y="14"/>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1" name="Freeform 55220"/>
            <p:cNvSpPr>
              <a:spLocks noEditPoints="1"/>
            </p:cNvSpPr>
            <p:nvPr/>
          </p:nvSpPr>
          <p:spPr bwMode="auto">
            <a:xfrm>
              <a:off x="3068634" y="1816108"/>
              <a:ext cx="2354262" cy="3341700"/>
            </a:xfrm>
            <a:custGeom>
              <a:avLst/>
              <a:gdLst>
                <a:gd name="T0" fmla="*/ 918 w 1483"/>
                <a:gd name="T1" fmla="*/ 2043 h 2105"/>
                <a:gd name="T2" fmla="*/ 921 w 1483"/>
                <a:gd name="T3" fmla="*/ 2036 h 2105"/>
                <a:gd name="T4" fmla="*/ 954 w 1483"/>
                <a:gd name="T5" fmla="*/ 2017 h 2105"/>
                <a:gd name="T6" fmla="*/ 638 w 1483"/>
                <a:gd name="T7" fmla="*/ 1955 h 2105"/>
                <a:gd name="T8" fmla="*/ 342 w 1483"/>
                <a:gd name="T9" fmla="*/ 1311 h 2105"/>
                <a:gd name="T10" fmla="*/ 282 w 1483"/>
                <a:gd name="T11" fmla="*/ 1290 h 2105"/>
                <a:gd name="T12" fmla="*/ 285 w 1483"/>
                <a:gd name="T13" fmla="*/ 1273 h 2105"/>
                <a:gd name="T14" fmla="*/ 759 w 1483"/>
                <a:gd name="T15" fmla="*/ 1159 h 2105"/>
                <a:gd name="T16" fmla="*/ 624 w 1483"/>
                <a:gd name="T17" fmla="*/ 1110 h 2105"/>
                <a:gd name="T18" fmla="*/ 717 w 1483"/>
                <a:gd name="T19" fmla="*/ 1076 h 2105"/>
                <a:gd name="T20" fmla="*/ 712 w 1483"/>
                <a:gd name="T21" fmla="*/ 1076 h 2105"/>
                <a:gd name="T22" fmla="*/ 513 w 1483"/>
                <a:gd name="T23" fmla="*/ 1072 h 2105"/>
                <a:gd name="T24" fmla="*/ 674 w 1483"/>
                <a:gd name="T25" fmla="*/ 1062 h 2105"/>
                <a:gd name="T26" fmla="*/ 667 w 1483"/>
                <a:gd name="T27" fmla="*/ 1060 h 2105"/>
                <a:gd name="T28" fmla="*/ 515 w 1483"/>
                <a:gd name="T29" fmla="*/ 1055 h 2105"/>
                <a:gd name="T30" fmla="*/ 776 w 1483"/>
                <a:gd name="T31" fmla="*/ 1055 h 2105"/>
                <a:gd name="T32" fmla="*/ 679 w 1483"/>
                <a:gd name="T33" fmla="*/ 1050 h 2105"/>
                <a:gd name="T34" fmla="*/ 503 w 1483"/>
                <a:gd name="T35" fmla="*/ 1041 h 2105"/>
                <a:gd name="T36" fmla="*/ 494 w 1483"/>
                <a:gd name="T37" fmla="*/ 1031 h 2105"/>
                <a:gd name="T38" fmla="*/ 520 w 1483"/>
                <a:gd name="T39" fmla="*/ 1036 h 2105"/>
                <a:gd name="T40" fmla="*/ 1089 w 1483"/>
                <a:gd name="T41" fmla="*/ 1022 h 2105"/>
                <a:gd name="T42" fmla="*/ 1075 w 1483"/>
                <a:gd name="T43" fmla="*/ 1015 h 2105"/>
                <a:gd name="T44" fmla="*/ 1224 w 1483"/>
                <a:gd name="T45" fmla="*/ 1005 h 2105"/>
                <a:gd name="T46" fmla="*/ 496 w 1483"/>
                <a:gd name="T47" fmla="*/ 998 h 2105"/>
                <a:gd name="T48" fmla="*/ 1160 w 1483"/>
                <a:gd name="T49" fmla="*/ 988 h 2105"/>
                <a:gd name="T50" fmla="*/ 776 w 1483"/>
                <a:gd name="T51" fmla="*/ 979 h 2105"/>
                <a:gd name="T52" fmla="*/ 1208 w 1483"/>
                <a:gd name="T53" fmla="*/ 967 h 2105"/>
                <a:gd name="T54" fmla="*/ 1186 w 1483"/>
                <a:gd name="T55" fmla="*/ 962 h 2105"/>
                <a:gd name="T56" fmla="*/ 446 w 1483"/>
                <a:gd name="T57" fmla="*/ 953 h 2105"/>
                <a:gd name="T58" fmla="*/ 439 w 1483"/>
                <a:gd name="T59" fmla="*/ 946 h 2105"/>
                <a:gd name="T60" fmla="*/ 812 w 1483"/>
                <a:gd name="T61" fmla="*/ 927 h 2105"/>
                <a:gd name="T62" fmla="*/ 1068 w 1483"/>
                <a:gd name="T63" fmla="*/ 915 h 2105"/>
                <a:gd name="T64" fmla="*/ 1068 w 1483"/>
                <a:gd name="T65" fmla="*/ 889 h 2105"/>
                <a:gd name="T66" fmla="*/ 1084 w 1483"/>
                <a:gd name="T67" fmla="*/ 879 h 2105"/>
                <a:gd name="T68" fmla="*/ 1122 w 1483"/>
                <a:gd name="T69" fmla="*/ 867 h 2105"/>
                <a:gd name="T70" fmla="*/ 1094 w 1483"/>
                <a:gd name="T71" fmla="*/ 860 h 2105"/>
                <a:gd name="T72" fmla="*/ 1132 w 1483"/>
                <a:gd name="T73" fmla="*/ 853 h 2105"/>
                <a:gd name="T74" fmla="*/ 1020 w 1483"/>
                <a:gd name="T75" fmla="*/ 846 h 2105"/>
                <a:gd name="T76" fmla="*/ 968 w 1483"/>
                <a:gd name="T77" fmla="*/ 827 h 2105"/>
                <a:gd name="T78" fmla="*/ 1255 w 1483"/>
                <a:gd name="T79" fmla="*/ 820 h 2105"/>
                <a:gd name="T80" fmla="*/ 1175 w 1483"/>
                <a:gd name="T81" fmla="*/ 813 h 2105"/>
                <a:gd name="T82" fmla="*/ 543 w 1483"/>
                <a:gd name="T83" fmla="*/ 803 h 2105"/>
                <a:gd name="T84" fmla="*/ 430 w 1483"/>
                <a:gd name="T85" fmla="*/ 789 h 2105"/>
                <a:gd name="T86" fmla="*/ 432 w 1483"/>
                <a:gd name="T87" fmla="*/ 786 h 2105"/>
                <a:gd name="T88" fmla="*/ 387 w 1483"/>
                <a:gd name="T89" fmla="*/ 758 h 2105"/>
                <a:gd name="T90" fmla="*/ 1205 w 1483"/>
                <a:gd name="T91" fmla="*/ 715 h 2105"/>
                <a:gd name="T92" fmla="*/ 1208 w 1483"/>
                <a:gd name="T93" fmla="*/ 708 h 2105"/>
                <a:gd name="T94" fmla="*/ 1108 w 1483"/>
                <a:gd name="T95" fmla="*/ 684 h 2105"/>
                <a:gd name="T96" fmla="*/ 1129 w 1483"/>
                <a:gd name="T97" fmla="*/ 677 h 2105"/>
                <a:gd name="T98" fmla="*/ 1099 w 1483"/>
                <a:gd name="T99" fmla="*/ 665 h 2105"/>
                <a:gd name="T100" fmla="*/ 1068 w 1483"/>
                <a:gd name="T101" fmla="*/ 656 h 2105"/>
                <a:gd name="T102" fmla="*/ 1125 w 1483"/>
                <a:gd name="T103" fmla="*/ 539 h 2105"/>
                <a:gd name="T104" fmla="*/ 1298 w 1483"/>
                <a:gd name="T105" fmla="*/ 478 h 2105"/>
                <a:gd name="T106" fmla="*/ 1286 w 1483"/>
                <a:gd name="T107" fmla="*/ 385 h 2105"/>
                <a:gd name="T108" fmla="*/ 1279 w 1483"/>
                <a:gd name="T109" fmla="*/ 128 h 2105"/>
                <a:gd name="T110" fmla="*/ 1213 w 1483"/>
                <a:gd name="T111" fmla="*/ 112 h 2105"/>
                <a:gd name="T112" fmla="*/ 1139 w 1483"/>
                <a:gd name="T113" fmla="*/ 97 h 2105"/>
                <a:gd name="T114" fmla="*/ 1080 w 1483"/>
                <a:gd name="T115" fmla="*/ 93 h 2105"/>
                <a:gd name="T116" fmla="*/ 1141 w 1483"/>
                <a:gd name="T117" fmla="*/ 83 h 2105"/>
                <a:gd name="T118" fmla="*/ 1286 w 1483"/>
                <a:gd name="T119" fmla="*/ 71 h 2105"/>
                <a:gd name="T120" fmla="*/ 1279 w 1483"/>
                <a:gd name="T121" fmla="*/ 43 h 2105"/>
                <a:gd name="T122" fmla="*/ 1324 w 1483"/>
                <a:gd name="T123" fmla="*/ 26 h 2105"/>
                <a:gd name="T124" fmla="*/ 1277 w 1483"/>
                <a:gd name="T125" fmla="*/ 5 h 2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3" h="2105">
                  <a:moveTo>
                    <a:pt x="918" y="2103"/>
                  </a:moveTo>
                  <a:lnTo>
                    <a:pt x="921" y="2103"/>
                  </a:lnTo>
                  <a:lnTo>
                    <a:pt x="923" y="2103"/>
                  </a:lnTo>
                  <a:lnTo>
                    <a:pt x="921" y="2103"/>
                  </a:lnTo>
                  <a:lnTo>
                    <a:pt x="921" y="2105"/>
                  </a:lnTo>
                  <a:lnTo>
                    <a:pt x="918" y="2105"/>
                  </a:lnTo>
                  <a:lnTo>
                    <a:pt x="916" y="2105"/>
                  </a:lnTo>
                  <a:lnTo>
                    <a:pt x="916" y="2103"/>
                  </a:lnTo>
                  <a:lnTo>
                    <a:pt x="916" y="2105"/>
                  </a:lnTo>
                  <a:lnTo>
                    <a:pt x="916" y="2103"/>
                  </a:lnTo>
                  <a:lnTo>
                    <a:pt x="918" y="2103"/>
                  </a:lnTo>
                  <a:lnTo>
                    <a:pt x="916" y="2103"/>
                  </a:lnTo>
                  <a:lnTo>
                    <a:pt x="916" y="2105"/>
                  </a:lnTo>
                  <a:lnTo>
                    <a:pt x="918" y="2105"/>
                  </a:lnTo>
                  <a:lnTo>
                    <a:pt x="918" y="2103"/>
                  </a:lnTo>
                  <a:lnTo>
                    <a:pt x="916" y="2103"/>
                  </a:lnTo>
                  <a:lnTo>
                    <a:pt x="916" y="2105"/>
                  </a:lnTo>
                  <a:lnTo>
                    <a:pt x="916" y="2103"/>
                  </a:lnTo>
                  <a:lnTo>
                    <a:pt x="916" y="2100"/>
                  </a:lnTo>
                  <a:lnTo>
                    <a:pt x="918" y="2100"/>
                  </a:lnTo>
                  <a:lnTo>
                    <a:pt x="918" y="2103"/>
                  </a:lnTo>
                  <a:close/>
                  <a:moveTo>
                    <a:pt x="911" y="2079"/>
                  </a:moveTo>
                  <a:lnTo>
                    <a:pt x="914" y="2079"/>
                  </a:lnTo>
                  <a:lnTo>
                    <a:pt x="914" y="2081"/>
                  </a:lnTo>
                  <a:lnTo>
                    <a:pt x="911" y="2081"/>
                  </a:lnTo>
                  <a:lnTo>
                    <a:pt x="911" y="2079"/>
                  </a:lnTo>
                  <a:close/>
                  <a:moveTo>
                    <a:pt x="911" y="2079"/>
                  </a:moveTo>
                  <a:lnTo>
                    <a:pt x="911" y="2081"/>
                  </a:lnTo>
                  <a:lnTo>
                    <a:pt x="909" y="2081"/>
                  </a:lnTo>
                  <a:lnTo>
                    <a:pt x="909" y="2079"/>
                  </a:lnTo>
                  <a:lnTo>
                    <a:pt x="911" y="2079"/>
                  </a:lnTo>
                  <a:close/>
                  <a:moveTo>
                    <a:pt x="904" y="2065"/>
                  </a:moveTo>
                  <a:lnTo>
                    <a:pt x="904" y="2062"/>
                  </a:lnTo>
                  <a:lnTo>
                    <a:pt x="904" y="2060"/>
                  </a:lnTo>
                  <a:lnTo>
                    <a:pt x="904" y="2062"/>
                  </a:lnTo>
                  <a:lnTo>
                    <a:pt x="904" y="2065"/>
                  </a:lnTo>
                  <a:close/>
                  <a:moveTo>
                    <a:pt x="937" y="2055"/>
                  </a:moveTo>
                  <a:lnTo>
                    <a:pt x="937" y="2053"/>
                  </a:lnTo>
                  <a:lnTo>
                    <a:pt x="937" y="2055"/>
                  </a:lnTo>
                  <a:close/>
                  <a:moveTo>
                    <a:pt x="916" y="2048"/>
                  </a:moveTo>
                  <a:lnTo>
                    <a:pt x="918" y="2048"/>
                  </a:lnTo>
                  <a:lnTo>
                    <a:pt x="916" y="2048"/>
                  </a:lnTo>
                  <a:close/>
                  <a:moveTo>
                    <a:pt x="916" y="2048"/>
                  </a:moveTo>
                  <a:lnTo>
                    <a:pt x="918" y="2048"/>
                  </a:lnTo>
                  <a:lnTo>
                    <a:pt x="916" y="2048"/>
                  </a:lnTo>
                  <a:close/>
                  <a:moveTo>
                    <a:pt x="911" y="2048"/>
                  </a:moveTo>
                  <a:lnTo>
                    <a:pt x="909" y="2048"/>
                  </a:lnTo>
                  <a:lnTo>
                    <a:pt x="911" y="2048"/>
                  </a:lnTo>
                  <a:lnTo>
                    <a:pt x="909" y="2048"/>
                  </a:lnTo>
                  <a:lnTo>
                    <a:pt x="909" y="2046"/>
                  </a:lnTo>
                  <a:lnTo>
                    <a:pt x="909" y="2048"/>
                  </a:lnTo>
                  <a:lnTo>
                    <a:pt x="911" y="2048"/>
                  </a:lnTo>
                  <a:lnTo>
                    <a:pt x="909" y="2048"/>
                  </a:lnTo>
                  <a:lnTo>
                    <a:pt x="911" y="2048"/>
                  </a:lnTo>
                  <a:lnTo>
                    <a:pt x="909" y="2048"/>
                  </a:lnTo>
                  <a:lnTo>
                    <a:pt x="911" y="2048"/>
                  </a:lnTo>
                  <a:close/>
                  <a:moveTo>
                    <a:pt x="918" y="2048"/>
                  </a:moveTo>
                  <a:lnTo>
                    <a:pt x="918" y="2046"/>
                  </a:lnTo>
                  <a:lnTo>
                    <a:pt x="918" y="2048"/>
                  </a:lnTo>
                  <a:close/>
                  <a:moveTo>
                    <a:pt x="918" y="2046"/>
                  </a:moveTo>
                  <a:lnTo>
                    <a:pt x="918" y="2048"/>
                  </a:lnTo>
                  <a:lnTo>
                    <a:pt x="918" y="2046"/>
                  </a:lnTo>
                  <a:close/>
                  <a:moveTo>
                    <a:pt x="918" y="2046"/>
                  </a:moveTo>
                  <a:lnTo>
                    <a:pt x="918" y="2043"/>
                  </a:lnTo>
                  <a:lnTo>
                    <a:pt x="918" y="2046"/>
                  </a:lnTo>
                  <a:close/>
                  <a:moveTo>
                    <a:pt x="928" y="2043"/>
                  </a:moveTo>
                  <a:lnTo>
                    <a:pt x="930" y="2043"/>
                  </a:lnTo>
                  <a:lnTo>
                    <a:pt x="930" y="2046"/>
                  </a:lnTo>
                  <a:lnTo>
                    <a:pt x="928" y="2046"/>
                  </a:lnTo>
                  <a:lnTo>
                    <a:pt x="925" y="2046"/>
                  </a:lnTo>
                  <a:lnTo>
                    <a:pt x="925" y="2043"/>
                  </a:lnTo>
                  <a:lnTo>
                    <a:pt x="928" y="2043"/>
                  </a:lnTo>
                  <a:close/>
                  <a:moveTo>
                    <a:pt x="918" y="2041"/>
                  </a:moveTo>
                  <a:lnTo>
                    <a:pt x="918" y="2043"/>
                  </a:lnTo>
                  <a:lnTo>
                    <a:pt x="918" y="2041"/>
                  </a:lnTo>
                  <a:close/>
                  <a:moveTo>
                    <a:pt x="928" y="2038"/>
                  </a:moveTo>
                  <a:lnTo>
                    <a:pt x="928" y="2041"/>
                  </a:lnTo>
                  <a:lnTo>
                    <a:pt x="930" y="2041"/>
                  </a:lnTo>
                  <a:lnTo>
                    <a:pt x="930" y="2038"/>
                  </a:lnTo>
                  <a:lnTo>
                    <a:pt x="930" y="2041"/>
                  </a:lnTo>
                  <a:lnTo>
                    <a:pt x="928" y="2041"/>
                  </a:lnTo>
                  <a:lnTo>
                    <a:pt x="928" y="2038"/>
                  </a:lnTo>
                  <a:close/>
                  <a:moveTo>
                    <a:pt x="918" y="2041"/>
                  </a:moveTo>
                  <a:lnTo>
                    <a:pt x="918" y="2038"/>
                  </a:lnTo>
                  <a:lnTo>
                    <a:pt x="918" y="2041"/>
                  </a:lnTo>
                  <a:close/>
                  <a:moveTo>
                    <a:pt x="928" y="2036"/>
                  </a:moveTo>
                  <a:lnTo>
                    <a:pt x="928" y="2038"/>
                  </a:lnTo>
                  <a:lnTo>
                    <a:pt x="930" y="2038"/>
                  </a:lnTo>
                  <a:lnTo>
                    <a:pt x="928" y="2038"/>
                  </a:lnTo>
                  <a:lnTo>
                    <a:pt x="930" y="2038"/>
                  </a:lnTo>
                  <a:lnTo>
                    <a:pt x="928" y="2038"/>
                  </a:lnTo>
                  <a:lnTo>
                    <a:pt x="928" y="2036"/>
                  </a:lnTo>
                  <a:close/>
                  <a:moveTo>
                    <a:pt x="921" y="2038"/>
                  </a:moveTo>
                  <a:lnTo>
                    <a:pt x="918" y="2038"/>
                  </a:lnTo>
                  <a:lnTo>
                    <a:pt x="921" y="2038"/>
                  </a:lnTo>
                  <a:lnTo>
                    <a:pt x="918" y="2038"/>
                  </a:lnTo>
                  <a:lnTo>
                    <a:pt x="918" y="2041"/>
                  </a:lnTo>
                  <a:lnTo>
                    <a:pt x="921" y="2041"/>
                  </a:lnTo>
                  <a:lnTo>
                    <a:pt x="918" y="2041"/>
                  </a:lnTo>
                  <a:lnTo>
                    <a:pt x="918" y="2043"/>
                  </a:lnTo>
                  <a:lnTo>
                    <a:pt x="918" y="2046"/>
                  </a:lnTo>
                  <a:lnTo>
                    <a:pt x="918" y="2043"/>
                  </a:lnTo>
                  <a:lnTo>
                    <a:pt x="918" y="2041"/>
                  </a:lnTo>
                  <a:lnTo>
                    <a:pt x="918" y="2038"/>
                  </a:lnTo>
                  <a:lnTo>
                    <a:pt x="921" y="2038"/>
                  </a:lnTo>
                  <a:lnTo>
                    <a:pt x="921" y="2036"/>
                  </a:lnTo>
                  <a:lnTo>
                    <a:pt x="921" y="2038"/>
                  </a:lnTo>
                  <a:close/>
                  <a:moveTo>
                    <a:pt x="918" y="2036"/>
                  </a:moveTo>
                  <a:lnTo>
                    <a:pt x="918" y="2038"/>
                  </a:lnTo>
                  <a:lnTo>
                    <a:pt x="918" y="2036"/>
                  </a:lnTo>
                  <a:close/>
                  <a:moveTo>
                    <a:pt x="916" y="2036"/>
                  </a:moveTo>
                  <a:lnTo>
                    <a:pt x="914" y="2036"/>
                  </a:lnTo>
                  <a:lnTo>
                    <a:pt x="916" y="2036"/>
                  </a:lnTo>
                  <a:lnTo>
                    <a:pt x="914" y="2036"/>
                  </a:lnTo>
                  <a:lnTo>
                    <a:pt x="916" y="2036"/>
                  </a:lnTo>
                  <a:lnTo>
                    <a:pt x="914" y="2036"/>
                  </a:lnTo>
                  <a:lnTo>
                    <a:pt x="916" y="2036"/>
                  </a:lnTo>
                  <a:close/>
                  <a:moveTo>
                    <a:pt x="921" y="2036"/>
                  </a:moveTo>
                  <a:lnTo>
                    <a:pt x="921" y="2038"/>
                  </a:lnTo>
                  <a:lnTo>
                    <a:pt x="921" y="2036"/>
                  </a:lnTo>
                  <a:lnTo>
                    <a:pt x="921" y="2038"/>
                  </a:lnTo>
                  <a:lnTo>
                    <a:pt x="921" y="2036"/>
                  </a:lnTo>
                  <a:lnTo>
                    <a:pt x="923" y="2036"/>
                  </a:lnTo>
                  <a:lnTo>
                    <a:pt x="923" y="2038"/>
                  </a:lnTo>
                  <a:lnTo>
                    <a:pt x="923" y="2041"/>
                  </a:lnTo>
                  <a:lnTo>
                    <a:pt x="921" y="2041"/>
                  </a:lnTo>
                  <a:lnTo>
                    <a:pt x="921" y="2038"/>
                  </a:lnTo>
                  <a:lnTo>
                    <a:pt x="921" y="2036"/>
                  </a:lnTo>
                  <a:close/>
                  <a:moveTo>
                    <a:pt x="935" y="2034"/>
                  </a:moveTo>
                  <a:lnTo>
                    <a:pt x="937" y="2034"/>
                  </a:lnTo>
                  <a:lnTo>
                    <a:pt x="937" y="2036"/>
                  </a:lnTo>
                  <a:lnTo>
                    <a:pt x="935" y="2036"/>
                  </a:lnTo>
                  <a:lnTo>
                    <a:pt x="935" y="2034"/>
                  </a:lnTo>
                  <a:close/>
                  <a:moveTo>
                    <a:pt x="921" y="2034"/>
                  </a:moveTo>
                  <a:lnTo>
                    <a:pt x="918" y="2034"/>
                  </a:lnTo>
                  <a:lnTo>
                    <a:pt x="921" y="2034"/>
                  </a:lnTo>
                  <a:close/>
                  <a:moveTo>
                    <a:pt x="937" y="2031"/>
                  </a:moveTo>
                  <a:lnTo>
                    <a:pt x="937" y="2034"/>
                  </a:lnTo>
                  <a:lnTo>
                    <a:pt x="937" y="2031"/>
                  </a:lnTo>
                  <a:lnTo>
                    <a:pt x="935" y="2031"/>
                  </a:lnTo>
                  <a:lnTo>
                    <a:pt x="937" y="2031"/>
                  </a:lnTo>
                  <a:close/>
                  <a:moveTo>
                    <a:pt x="916" y="2034"/>
                  </a:moveTo>
                  <a:lnTo>
                    <a:pt x="916" y="2031"/>
                  </a:lnTo>
                  <a:lnTo>
                    <a:pt x="918" y="2031"/>
                  </a:lnTo>
                  <a:lnTo>
                    <a:pt x="916" y="2034"/>
                  </a:lnTo>
                  <a:close/>
                  <a:moveTo>
                    <a:pt x="940" y="2031"/>
                  </a:moveTo>
                  <a:lnTo>
                    <a:pt x="937" y="2031"/>
                  </a:lnTo>
                  <a:lnTo>
                    <a:pt x="940" y="2031"/>
                  </a:lnTo>
                  <a:close/>
                  <a:moveTo>
                    <a:pt x="940" y="2029"/>
                  </a:moveTo>
                  <a:lnTo>
                    <a:pt x="940" y="2031"/>
                  </a:lnTo>
                  <a:lnTo>
                    <a:pt x="940" y="2029"/>
                  </a:lnTo>
                  <a:lnTo>
                    <a:pt x="937" y="2029"/>
                  </a:lnTo>
                  <a:lnTo>
                    <a:pt x="940" y="2029"/>
                  </a:lnTo>
                  <a:close/>
                  <a:moveTo>
                    <a:pt x="928" y="2029"/>
                  </a:moveTo>
                  <a:lnTo>
                    <a:pt x="928" y="2031"/>
                  </a:lnTo>
                  <a:lnTo>
                    <a:pt x="928" y="2029"/>
                  </a:lnTo>
                  <a:close/>
                  <a:moveTo>
                    <a:pt x="935" y="2027"/>
                  </a:moveTo>
                  <a:lnTo>
                    <a:pt x="933" y="2027"/>
                  </a:lnTo>
                  <a:lnTo>
                    <a:pt x="935" y="2027"/>
                  </a:lnTo>
                  <a:close/>
                  <a:moveTo>
                    <a:pt x="933" y="2024"/>
                  </a:moveTo>
                  <a:lnTo>
                    <a:pt x="933" y="2027"/>
                  </a:lnTo>
                  <a:lnTo>
                    <a:pt x="930" y="2027"/>
                  </a:lnTo>
                  <a:lnTo>
                    <a:pt x="933" y="2027"/>
                  </a:lnTo>
                  <a:lnTo>
                    <a:pt x="933" y="2024"/>
                  </a:lnTo>
                  <a:close/>
                  <a:moveTo>
                    <a:pt x="937" y="2027"/>
                  </a:moveTo>
                  <a:lnTo>
                    <a:pt x="937" y="2024"/>
                  </a:lnTo>
                  <a:lnTo>
                    <a:pt x="937" y="2027"/>
                  </a:lnTo>
                  <a:close/>
                  <a:moveTo>
                    <a:pt x="935" y="2022"/>
                  </a:moveTo>
                  <a:lnTo>
                    <a:pt x="935" y="2024"/>
                  </a:lnTo>
                  <a:lnTo>
                    <a:pt x="933" y="2024"/>
                  </a:lnTo>
                  <a:lnTo>
                    <a:pt x="935" y="2024"/>
                  </a:lnTo>
                  <a:lnTo>
                    <a:pt x="933" y="2024"/>
                  </a:lnTo>
                  <a:lnTo>
                    <a:pt x="933" y="2022"/>
                  </a:lnTo>
                  <a:lnTo>
                    <a:pt x="933" y="2024"/>
                  </a:lnTo>
                  <a:lnTo>
                    <a:pt x="933" y="2022"/>
                  </a:lnTo>
                  <a:lnTo>
                    <a:pt x="935" y="2022"/>
                  </a:lnTo>
                  <a:close/>
                  <a:moveTo>
                    <a:pt x="916" y="2019"/>
                  </a:moveTo>
                  <a:lnTo>
                    <a:pt x="916" y="2022"/>
                  </a:lnTo>
                  <a:lnTo>
                    <a:pt x="916" y="2019"/>
                  </a:lnTo>
                  <a:lnTo>
                    <a:pt x="914" y="2019"/>
                  </a:lnTo>
                  <a:lnTo>
                    <a:pt x="916" y="2019"/>
                  </a:lnTo>
                  <a:close/>
                  <a:moveTo>
                    <a:pt x="954" y="2017"/>
                  </a:moveTo>
                  <a:lnTo>
                    <a:pt x="954" y="2019"/>
                  </a:lnTo>
                  <a:lnTo>
                    <a:pt x="954" y="2017"/>
                  </a:lnTo>
                  <a:lnTo>
                    <a:pt x="954" y="2019"/>
                  </a:lnTo>
                  <a:lnTo>
                    <a:pt x="954" y="2017"/>
                  </a:lnTo>
                  <a:lnTo>
                    <a:pt x="954" y="2019"/>
                  </a:lnTo>
                  <a:lnTo>
                    <a:pt x="954" y="2017"/>
                  </a:lnTo>
                  <a:lnTo>
                    <a:pt x="954" y="2019"/>
                  </a:lnTo>
                  <a:lnTo>
                    <a:pt x="954" y="2017"/>
                  </a:lnTo>
                  <a:lnTo>
                    <a:pt x="954" y="2019"/>
                  </a:lnTo>
                  <a:lnTo>
                    <a:pt x="954" y="2017"/>
                  </a:lnTo>
                  <a:close/>
                  <a:moveTo>
                    <a:pt x="916" y="2017"/>
                  </a:moveTo>
                  <a:lnTo>
                    <a:pt x="916" y="2019"/>
                  </a:lnTo>
                  <a:lnTo>
                    <a:pt x="914" y="2019"/>
                  </a:lnTo>
                  <a:lnTo>
                    <a:pt x="911" y="2017"/>
                  </a:lnTo>
                  <a:lnTo>
                    <a:pt x="914" y="2015"/>
                  </a:lnTo>
                  <a:lnTo>
                    <a:pt x="914" y="2017"/>
                  </a:lnTo>
                  <a:lnTo>
                    <a:pt x="914" y="2015"/>
                  </a:lnTo>
                  <a:lnTo>
                    <a:pt x="916" y="2015"/>
                  </a:lnTo>
                  <a:lnTo>
                    <a:pt x="916" y="2017"/>
                  </a:lnTo>
                  <a:close/>
                  <a:moveTo>
                    <a:pt x="956" y="2012"/>
                  </a:moveTo>
                  <a:lnTo>
                    <a:pt x="956" y="2015"/>
                  </a:lnTo>
                  <a:lnTo>
                    <a:pt x="956" y="2012"/>
                  </a:lnTo>
                  <a:lnTo>
                    <a:pt x="956" y="2015"/>
                  </a:lnTo>
                  <a:lnTo>
                    <a:pt x="956" y="2012"/>
                  </a:lnTo>
                  <a:close/>
                  <a:moveTo>
                    <a:pt x="961" y="2010"/>
                  </a:moveTo>
                  <a:lnTo>
                    <a:pt x="961" y="2012"/>
                  </a:lnTo>
                  <a:lnTo>
                    <a:pt x="961" y="2010"/>
                  </a:lnTo>
                  <a:close/>
                  <a:moveTo>
                    <a:pt x="978" y="2010"/>
                  </a:moveTo>
                  <a:lnTo>
                    <a:pt x="980" y="2010"/>
                  </a:lnTo>
                  <a:lnTo>
                    <a:pt x="980" y="2012"/>
                  </a:lnTo>
                  <a:lnTo>
                    <a:pt x="978" y="2012"/>
                  </a:lnTo>
                  <a:lnTo>
                    <a:pt x="978" y="2010"/>
                  </a:lnTo>
                  <a:close/>
                  <a:moveTo>
                    <a:pt x="973" y="2010"/>
                  </a:moveTo>
                  <a:lnTo>
                    <a:pt x="975" y="2010"/>
                  </a:lnTo>
                  <a:lnTo>
                    <a:pt x="973" y="2010"/>
                  </a:lnTo>
                  <a:lnTo>
                    <a:pt x="973" y="2012"/>
                  </a:lnTo>
                  <a:lnTo>
                    <a:pt x="973" y="2010"/>
                  </a:lnTo>
                  <a:close/>
                  <a:moveTo>
                    <a:pt x="959" y="2005"/>
                  </a:moveTo>
                  <a:lnTo>
                    <a:pt x="959" y="2008"/>
                  </a:lnTo>
                  <a:lnTo>
                    <a:pt x="959" y="2005"/>
                  </a:lnTo>
                  <a:close/>
                  <a:moveTo>
                    <a:pt x="961" y="2005"/>
                  </a:moveTo>
                  <a:lnTo>
                    <a:pt x="961" y="2008"/>
                  </a:lnTo>
                  <a:lnTo>
                    <a:pt x="963" y="2008"/>
                  </a:lnTo>
                  <a:lnTo>
                    <a:pt x="961" y="2008"/>
                  </a:lnTo>
                  <a:lnTo>
                    <a:pt x="961" y="2010"/>
                  </a:lnTo>
                  <a:lnTo>
                    <a:pt x="963" y="2010"/>
                  </a:lnTo>
                  <a:lnTo>
                    <a:pt x="963" y="2008"/>
                  </a:lnTo>
                  <a:lnTo>
                    <a:pt x="966" y="2008"/>
                  </a:lnTo>
                  <a:lnTo>
                    <a:pt x="966" y="2010"/>
                  </a:lnTo>
                  <a:lnTo>
                    <a:pt x="966" y="2012"/>
                  </a:lnTo>
                  <a:lnTo>
                    <a:pt x="966" y="2010"/>
                  </a:lnTo>
                  <a:lnTo>
                    <a:pt x="966" y="2012"/>
                  </a:lnTo>
                  <a:lnTo>
                    <a:pt x="963" y="2012"/>
                  </a:lnTo>
                  <a:lnTo>
                    <a:pt x="963" y="2015"/>
                  </a:lnTo>
                  <a:lnTo>
                    <a:pt x="963" y="2012"/>
                  </a:lnTo>
                  <a:lnTo>
                    <a:pt x="961" y="2012"/>
                  </a:lnTo>
                  <a:lnTo>
                    <a:pt x="963" y="2012"/>
                  </a:lnTo>
                  <a:lnTo>
                    <a:pt x="961" y="2012"/>
                  </a:lnTo>
                  <a:lnTo>
                    <a:pt x="961" y="2010"/>
                  </a:lnTo>
                  <a:lnTo>
                    <a:pt x="963" y="2010"/>
                  </a:lnTo>
                  <a:lnTo>
                    <a:pt x="961" y="2010"/>
                  </a:lnTo>
                  <a:lnTo>
                    <a:pt x="963" y="2010"/>
                  </a:lnTo>
                  <a:lnTo>
                    <a:pt x="961" y="2010"/>
                  </a:lnTo>
                  <a:lnTo>
                    <a:pt x="961" y="2008"/>
                  </a:lnTo>
                  <a:lnTo>
                    <a:pt x="961" y="2005"/>
                  </a:lnTo>
                  <a:close/>
                  <a:moveTo>
                    <a:pt x="968" y="1996"/>
                  </a:moveTo>
                  <a:lnTo>
                    <a:pt x="970" y="1996"/>
                  </a:lnTo>
                  <a:lnTo>
                    <a:pt x="968" y="1996"/>
                  </a:lnTo>
                  <a:close/>
                  <a:moveTo>
                    <a:pt x="607" y="1972"/>
                  </a:moveTo>
                  <a:lnTo>
                    <a:pt x="610" y="1972"/>
                  </a:lnTo>
                  <a:lnTo>
                    <a:pt x="607" y="1972"/>
                  </a:lnTo>
                  <a:close/>
                  <a:moveTo>
                    <a:pt x="638" y="1955"/>
                  </a:moveTo>
                  <a:lnTo>
                    <a:pt x="638" y="1958"/>
                  </a:lnTo>
                  <a:lnTo>
                    <a:pt x="638" y="1955"/>
                  </a:lnTo>
                  <a:lnTo>
                    <a:pt x="641" y="1955"/>
                  </a:lnTo>
                  <a:lnTo>
                    <a:pt x="638" y="1955"/>
                  </a:lnTo>
                  <a:close/>
                  <a:moveTo>
                    <a:pt x="645" y="1953"/>
                  </a:moveTo>
                  <a:lnTo>
                    <a:pt x="645" y="1955"/>
                  </a:lnTo>
                  <a:lnTo>
                    <a:pt x="645" y="1953"/>
                  </a:lnTo>
                  <a:close/>
                  <a:moveTo>
                    <a:pt x="641" y="1953"/>
                  </a:moveTo>
                  <a:lnTo>
                    <a:pt x="643" y="1953"/>
                  </a:lnTo>
                  <a:lnTo>
                    <a:pt x="645" y="1953"/>
                  </a:lnTo>
                  <a:lnTo>
                    <a:pt x="645" y="1955"/>
                  </a:lnTo>
                  <a:lnTo>
                    <a:pt x="643" y="1955"/>
                  </a:lnTo>
                  <a:lnTo>
                    <a:pt x="641" y="1955"/>
                  </a:lnTo>
                  <a:lnTo>
                    <a:pt x="638" y="1955"/>
                  </a:lnTo>
                  <a:lnTo>
                    <a:pt x="638" y="1953"/>
                  </a:lnTo>
                  <a:lnTo>
                    <a:pt x="641" y="1953"/>
                  </a:lnTo>
                  <a:close/>
                  <a:moveTo>
                    <a:pt x="638" y="1953"/>
                  </a:moveTo>
                  <a:lnTo>
                    <a:pt x="638" y="1951"/>
                  </a:lnTo>
                  <a:lnTo>
                    <a:pt x="638" y="1953"/>
                  </a:lnTo>
                  <a:close/>
                  <a:moveTo>
                    <a:pt x="641" y="1951"/>
                  </a:moveTo>
                  <a:lnTo>
                    <a:pt x="641" y="1953"/>
                  </a:lnTo>
                  <a:lnTo>
                    <a:pt x="638" y="1953"/>
                  </a:lnTo>
                  <a:lnTo>
                    <a:pt x="638" y="1955"/>
                  </a:lnTo>
                  <a:lnTo>
                    <a:pt x="638" y="1953"/>
                  </a:lnTo>
                  <a:lnTo>
                    <a:pt x="638" y="1951"/>
                  </a:lnTo>
                  <a:lnTo>
                    <a:pt x="641" y="1951"/>
                  </a:lnTo>
                  <a:close/>
                  <a:moveTo>
                    <a:pt x="655" y="1951"/>
                  </a:moveTo>
                  <a:lnTo>
                    <a:pt x="657" y="1951"/>
                  </a:lnTo>
                  <a:lnTo>
                    <a:pt x="655" y="1951"/>
                  </a:lnTo>
                  <a:close/>
                  <a:moveTo>
                    <a:pt x="0" y="1587"/>
                  </a:moveTo>
                  <a:lnTo>
                    <a:pt x="2" y="1587"/>
                  </a:lnTo>
                  <a:lnTo>
                    <a:pt x="0" y="1587"/>
                  </a:lnTo>
                  <a:close/>
                  <a:moveTo>
                    <a:pt x="7" y="1587"/>
                  </a:moveTo>
                  <a:lnTo>
                    <a:pt x="7" y="1585"/>
                  </a:lnTo>
                  <a:lnTo>
                    <a:pt x="7" y="1587"/>
                  </a:lnTo>
                  <a:close/>
                  <a:moveTo>
                    <a:pt x="12" y="1585"/>
                  </a:moveTo>
                  <a:lnTo>
                    <a:pt x="14" y="1585"/>
                  </a:lnTo>
                  <a:lnTo>
                    <a:pt x="12" y="1585"/>
                  </a:lnTo>
                  <a:close/>
                  <a:moveTo>
                    <a:pt x="10" y="1585"/>
                  </a:moveTo>
                  <a:lnTo>
                    <a:pt x="12" y="1585"/>
                  </a:lnTo>
                  <a:lnTo>
                    <a:pt x="10" y="1585"/>
                  </a:lnTo>
                  <a:close/>
                  <a:moveTo>
                    <a:pt x="233" y="1319"/>
                  </a:moveTo>
                  <a:lnTo>
                    <a:pt x="233" y="1321"/>
                  </a:lnTo>
                  <a:lnTo>
                    <a:pt x="230" y="1321"/>
                  </a:lnTo>
                  <a:lnTo>
                    <a:pt x="230" y="1319"/>
                  </a:lnTo>
                  <a:lnTo>
                    <a:pt x="233" y="1319"/>
                  </a:lnTo>
                  <a:close/>
                  <a:moveTo>
                    <a:pt x="240" y="1319"/>
                  </a:moveTo>
                  <a:lnTo>
                    <a:pt x="240" y="1316"/>
                  </a:lnTo>
                  <a:lnTo>
                    <a:pt x="242" y="1316"/>
                  </a:lnTo>
                  <a:lnTo>
                    <a:pt x="242" y="1319"/>
                  </a:lnTo>
                  <a:lnTo>
                    <a:pt x="240" y="1319"/>
                  </a:lnTo>
                  <a:close/>
                  <a:moveTo>
                    <a:pt x="342" y="1314"/>
                  </a:moveTo>
                  <a:lnTo>
                    <a:pt x="339" y="1314"/>
                  </a:lnTo>
                  <a:lnTo>
                    <a:pt x="339" y="1311"/>
                  </a:lnTo>
                  <a:lnTo>
                    <a:pt x="342" y="1311"/>
                  </a:lnTo>
                  <a:lnTo>
                    <a:pt x="344" y="1311"/>
                  </a:lnTo>
                  <a:lnTo>
                    <a:pt x="342" y="1314"/>
                  </a:lnTo>
                  <a:close/>
                  <a:moveTo>
                    <a:pt x="344" y="1311"/>
                  </a:moveTo>
                  <a:lnTo>
                    <a:pt x="342" y="1311"/>
                  </a:lnTo>
                  <a:lnTo>
                    <a:pt x="344" y="1311"/>
                  </a:lnTo>
                  <a:close/>
                  <a:moveTo>
                    <a:pt x="344" y="1311"/>
                  </a:moveTo>
                  <a:lnTo>
                    <a:pt x="342" y="1311"/>
                  </a:lnTo>
                  <a:lnTo>
                    <a:pt x="339" y="1311"/>
                  </a:lnTo>
                  <a:lnTo>
                    <a:pt x="342" y="1311"/>
                  </a:lnTo>
                  <a:lnTo>
                    <a:pt x="339" y="1311"/>
                  </a:lnTo>
                  <a:lnTo>
                    <a:pt x="342" y="1311"/>
                  </a:lnTo>
                  <a:lnTo>
                    <a:pt x="344" y="1311"/>
                  </a:lnTo>
                  <a:close/>
                  <a:moveTo>
                    <a:pt x="330" y="1307"/>
                  </a:moveTo>
                  <a:lnTo>
                    <a:pt x="330" y="1309"/>
                  </a:lnTo>
                  <a:lnTo>
                    <a:pt x="330" y="1307"/>
                  </a:lnTo>
                  <a:lnTo>
                    <a:pt x="327" y="1309"/>
                  </a:lnTo>
                  <a:lnTo>
                    <a:pt x="330" y="1309"/>
                  </a:lnTo>
                  <a:lnTo>
                    <a:pt x="332" y="1307"/>
                  </a:lnTo>
                  <a:lnTo>
                    <a:pt x="330" y="1307"/>
                  </a:lnTo>
                  <a:close/>
                  <a:moveTo>
                    <a:pt x="268" y="1307"/>
                  </a:moveTo>
                  <a:lnTo>
                    <a:pt x="268" y="1309"/>
                  </a:lnTo>
                  <a:lnTo>
                    <a:pt x="268" y="1307"/>
                  </a:lnTo>
                  <a:close/>
                  <a:moveTo>
                    <a:pt x="280" y="1307"/>
                  </a:moveTo>
                  <a:lnTo>
                    <a:pt x="280" y="1309"/>
                  </a:lnTo>
                  <a:lnTo>
                    <a:pt x="280" y="1307"/>
                  </a:lnTo>
                  <a:lnTo>
                    <a:pt x="280" y="1309"/>
                  </a:lnTo>
                  <a:lnTo>
                    <a:pt x="280" y="1307"/>
                  </a:lnTo>
                  <a:close/>
                  <a:moveTo>
                    <a:pt x="261" y="1307"/>
                  </a:moveTo>
                  <a:lnTo>
                    <a:pt x="261" y="1309"/>
                  </a:lnTo>
                  <a:lnTo>
                    <a:pt x="263" y="1309"/>
                  </a:lnTo>
                  <a:lnTo>
                    <a:pt x="263" y="1311"/>
                  </a:lnTo>
                  <a:lnTo>
                    <a:pt x="263" y="1309"/>
                  </a:lnTo>
                  <a:lnTo>
                    <a:pt x="261" y="1311"/>
                  </a:lnTo>
                  <a:lnTo>
                    <a:pt x="261" y="1309"/>
                  </a:lnTo>
                  <a:lnTo>
                    <a:pt x="261" y="1311"/>
                  </a:lnTo>
                  <a:lnTo>
                    <a:pt x="261" y="1309"/>
                  </a:lnTo>
                  <a:lnTo>
                    <a:pt x="261" y="1307"/>
                  </a:lnTo>
                  <a:close/>
                  <a:moveTo>
                    <a:pt x="233" y="1304"/>
                  </a:moveTo>
                  <a:lnTo>
                    <a:pt x="235" y="1307"/>
                  </a:lnTo>
                  <a:lnTo>
                    <a:pt x="235" y="1309"/>
                  </a:lnTo>
                  <a:lnTo>
                    <a:pt x="233" y="1309"/>
                  </a:lnTo>
                  <a:lnTo>
                    <a:pt x="233" y="1307"/>
                  </a:lnTo>
                  <a:lnTo>
                    <a:pt x="233" y="1304"/>
                  </a:lnTo>
                  <a:close/>
                  <a:moveTo>
                    <a:pt x="285" y="1292"/>
                  </a:moveTo>
                  <a:lnTo>
                    <a:pt x="287" y="1292"/>
                  </a:lnTo>
                  <a:lnTo>
                    <a:pt x="287" y="1290"/>
                  </a:lnTo>
                  <a:lnTo>
                    <a:pt x="287" y="1292"/>
                  </a:lnTo>
                  <a:lnTo>
                    <a:pt x="287" y="1290"/>
                  </a:lnTo>
                  <a:lnTo>
                    <a:pt x="287" y="1292"/>
                  </a:lnTo>
                  <a:lnTo>
                    <a:pt x="287" y="1290"/>
                  </a:lnTo>
                  <a:lnTo>
                    <a:pt x="287" y="1292"/>
                  </a:lnTo>
                  <a:lnTo>
                    <a:pt x="290" y="1292"/>
                  </a:lnTo>
                  <a:lnTo>
                    <a:pt x="290" y="1295"/>
                  </a:lnTo>
                  <a:lnTo>
                    <a:pt x="290" y="1292"/>
                  </a:lnTo>
                  <a:lnTo>
                    <a:pt x="290" y="1295"/>
                  </a:lnTo>
                  <a:lnTo>
                    <a:pt x="290" y="1292"/>
                  </a:lnTo>
                  <a:lnTo>
                    <a:pt x="290" y="1295"/>
                  </a:lnTo>
                  <a:lnTo>
                    <a:pt x="290" y="1292"/>
                  </a:lnTo>
                  <a:lnTo>
                    <a:pt x="290" y="1295"/>
                  </a:lnTo>
                  <a:lnTo>
                    <a:pt x="292" y="1295"/>
                  </a:lnTo>
                  <a:lnTo>
                    <a:pt x="290" y="1295"/>
                  </a:lnTo>
                  <a:lnTo>
                    <a:pt x="287" y="1295"/>
                  </a:lnTo>
                  <a:lnTo>
                    <a:pt x="285" y="1295"/>
                  </a:lnTo>
                  <a:lnTo>
                    <a:pt x="285" y="1292"/>
                  </a:lnTo>
                  <a:lnTo>
                    <a:pt x="285" y="1290"/>
                  </a:lnTo>
                  <a:lnTo>
                    <a:pt x="285" y="1292"/>
                  </a:lnTo>
                  <a:close/>
                  <a:moveTo>
                    <a:pt x="282" y="1290"/>
                  </a:moveTo>
                  <a:lnTo>
                    <a:pt x="285" y="1290"/>
                  </a:lnTo>
                  <a:lnTo>
                    <a:pt x="285" y="1292"/>
                  </a:lnTo>
                  <a:lnTo>
                    <a:pt x="282" y="1292"/>
                  </a:lnTo>
                  <a:lnTo>
                    <a:pt x="282" y="1290"/>
                  </a:lnTo>
                  <a:lnTo>
                    <a:pt x="282" y="1292"/>
                  </a:lnTo>
                  <a:lnTo>
                    <a:pt x="282" y="1290"/>
                  </a:lnTo>
                  <a:lnTo>
                    <a:pt x="280" y="1290"/>
                  </a:lnTo>
                  <a:lnTo>
                    <a:pt x="282" y="1290"/>
                  </a:lnTo>
                  <a:close/>
                  <a:moveTo>
                    <a:pt x="261" y="1285"/>
                  </a:moveTo>
                  <a:lnTo>
                    <a:pt x="259" y="1285"/>
                  </a:lnTo>
                  <a:lnTo>
                    <a:pt x="261" y="1285"/>
                  </a:lnTo>
                  <a:close/>
                  <a:moveTo>
                    <a:pt x="282" y="1285"/>
                  </a:moveTo>
                  <a:lnTo>
                    <a:pt x="282" y="1288"/>
                  </a:lnTo>
                  <a:lnTo>
                    <a:pt x="285" y="1285"/>
                  </a:lnTo>
                  <a:lnTo>
                    <a:pt x="282" y="1288"/>
                  </a:lnTo>
                  <a:lnTo>
                    <a:pt x="285" y="1288"/>
                  </a:lnTo>
                  <a:lnTo>
                    <a:pt x="282" y="1288"/>
                  </a:lnTo>
                  <a:lnTo>
                    <a:pt x="285" y="1288"/>
                  </a:lnTo>
                  <a:lnTo>
                    <a:pt x="285" y="1290"/>
                  </a:lnTo>
                  <a:lnTo>
                    <a:pt x="282" y="1288"/>
                  </a:lnTo>
                  <a:lnTo>
                    <a:pt x="285" y="1288"/>
                  </a:lnTo>
                  <a:lnTo>
                    <a:pt x="282" y="1288"/>
                  </a:lnTo>
                  <a:lnTo>
                    <a:pt x="282" y="1285"/>
                  </a:lnTo>
                  <a:close/>
                  <a:moveTo>
                    <a:pt x="263" y="1285"/>
                  </a:moveTo>
                  <a:lnTo>
                    <a:pt x="263" y="1283"/>
                  </a:lnTo>
                  <a:lnTo>
                    <a:pt x="263" y="1285"/>
                  </a:lnTo>
                  <a:close/>
                  <a:moveTo>
                    <a:pt x="263" y="1283"/>
                  </a:moveTo>
                  <a:lnTo>
                    <a:pt x="263" y="1285"/>
                  </a:lnTo>
                  <a:lnTo>
                    <a:pt x="263" y="1283"/>
                  </a:lnTo>
                  <a:close/>
                  <a:moveTo>
                    <a:pt x="287" y="1281"/>
                  </a:moveTo>
                  <a:lnTo>
                    <a:pt x="287" y="1283"/>
                  </a:lnTo>
                  <a:lnTo>
                    <a:pt x="290" y="1283"/>
                  </a:lnTo>
                  <a:lnTo>
                    <a:pt x="290" y="1285"/>
                  </a:lnTo>
                  <a:lnTo>
                    <a:pt x="287" y="1285"/>
                  </a:lnTo>
                  <a:lnTo>
                    <a:pt x="287" y="1283"/>
                  </a:lnTo>
                  <a:lnTo>
                    <a:pt x="285" y="1283"/>
                  </a:lnTo>
                  <a:lnTo>
                    <a:pt x="287" y="1281"/>
                  </a:lnTo>
                  <a:close/>
                  <a:moveTo>
                    <a:pt x="285" y="1278"/>
                  </a:moveTo>
                  <a:lnTo>
                    <a:pt x="287" y="1281"/>
                  </a:lnTo>
                  <a:lnTo>
                    <a:pt x="285" y="1278"/>
                  </a:lnTo>
                  <a:close/>
                  <a:moveTo>
                    <a:pt x="282" y="1278"/>
                  </a:moveTo>
                  <a:lnTo>
                    <a:pt x="282" y="1281"/>
                  </a:lnTo>
                  <a:lnTo>
                    <a:pt x="280" y="1278"/>
                  </a:lnTo>
                  <a:lnTo>
                    <a:pt x="282" y="1278"/>
                  </a:lnTo>
                  <a:close/>
                  <a:moveTo>
                    <a:pt x="290" y="1278"/>
                  </a:moveTo>
                  <a:lnTo>
                    <a:pt x="290" y="1276"/>
                  </a:lnTo>
                  <a:lnTo>
                    <a:pt x="287" y="1276"/>
                  </a:lnTo>
                  <a:lnTo>
                    <a:pt x="290" y="1276"/>
                  </a:lnTo>
                  <a:lnTo>
                    <a:pt x="290" y="1278"/>
                  </a:lnTo>
                  <a:close/>
                  <a:moveTo>
                    <a:pt x="287" y="1276"/>
                  </a:moveTo>
                  <a:lnTo>
                    <a:pt x="287" y="1278"/>
                  </a:lnTo>
                  <a:lnTo>
                    <a:pt x="287" y="1276"/>
                  </a:lnTo>
                  <a:lnTo>
                    <a:pt x="287" y="1278"/>
                  </a:lnTo>
                  <a:lnTo>
                    <a:pt x="290" y="1278"/>
                  </a:lnTo>
                  <a:lnTo>
                    <a:pt x="287" y="1278"/>
                  </a:lnTo>
                  <a:lnTo>
                    <a:pt x="290" y="1281"/>
                  </a:lnTo>
                  <a:lnTo>
                    <a:pt x="287" y="1278"/>
                  </a:lnTo>
                  <a:lnTo>
                    <a:pt x="287" y="1281"/>
                  </a:lnTo>
                  <a:lnTo>
                    <a:pt x="287" y="1278"/>
                  </a:lnTo>
                  <a:lnTo>
                    <a:pt x="285" y="1278"/>
                  </a:lnTo>
                  <a:lnTo>
                    <a:pt x="287" y="1278"/>
                  </a:lnTo>
                  <a:lnTo>
                    <a:pt x="285" y="1278"/>
                  </a:lnTo>
                  <a:lnTo>
                    <a:pt x="287" y="1278"/>
                  </a:lnTo>
                  <a:lnTo>
                    <a:pt x="287" y="1276"/>
                  </a:lnTo>
                  <a:lnTo>
                    <a:pt x="285" y="1276"/>
                  </a:lnTo>
                  <a:lnTo>
                    <a:pt x="287" y="1276"/>
                  </a:lnTo>
                  <a:close/>
                  <a:moveTo>
                    <a:pt x="287" y="1276"/>
                  </a:moveTo>
                  <a:lnTo>
                    <a:pt x="285" y="1276"/>
                  </a:lnTo>
                  <a:lnTo>
                    <a:pt x="287" y="1276"/>
                  </a:lnTo>
                  <a:close/>
                  <a:moveTo>
                    <a:pt x="285" y="1273"/>
                  </a:moveTo>
                  <a:lnTo>
                    <a:pt x="285" y="1276"/>
                  </a:lnTo>
                  <a:lnTo>
                    <a:pt x="285" y="1273"/>
                  </a:lnTo>
                  <a:close/>
                  <a:moveTo>
                    <a:pt x="287" y="1276"/>
                  </a:moveTo>
                  <a:lnTo>
                    <a:pt x="287" y="1273"/>
                  </a:lnTo>
                  <a:lnTo>
                    <a:pt x="287" y="1276"/>
                  </a:lnTo>
                  <a:close/>
                  <a:moveTo>
                    <a:pt x="292" y="1271"/>
                  </a:moveTo>
                  <a:lnTo>
                    <a:pt x="290" y="1271"/>
                  </a:lnTo>
                  <a:lnTo>
                    <a:pt x="290" y="1269"/>
                  </a:lnTo>
                  <a:lnTo>
                    <a:pt x="292" y="1271"/>
                  </a:lnTo>
                  <a:close/>
                  <a:moveTo>
                    <a:pt x="757" y="1195"/>
                  </a:moveTo>
                  <a:lnTo>
                    <a:pt x="757" y="1197"/>
                  </a:lnTo>
                  <a:lnTo>
                    <a:pt x="757" y="1195"/>
                  </a:lnTo>
                  <a:close/>
                  <a:moveTo>
                    <a:pt x="762" y="1195"/>
                  </a:moveTo>
                  <a:lnTo>
                    <a:pt x="759" y="1195"/>
                  </a:lnTo>
                  <a:lnTo>
                    <a:pt x="762" y="1195"/>
                  </a:lnTo>
                  <a:close/>
                  <a:moveTo>
                    <a:pt x="762" y="1195"/>
                  </a:moveTo>
                  <a:lnTo>
                    <a:pt x="759" y="1195"/>
                  </a:lnTo>
                  <a:lnTo>
                    <a:pt x="762" y="1195"/>
                  </a:lnTo>
                  <a:close/>
                  <a:moveTo>
                    <a:pt x="757" y="1190"/>
                  </a:moveTo>
                  <a:lnTo>
                    <a:pt x="759" y="1190"/>
                  </a:lnTo>
                  <a:lnTo>
                    <a:pt x="757" y="1190"/>
                  </a:lnTo>
                  <a:close/>
                  <a:moveTo>
                    <a:pt x="764" y="1186"/>
                  </a:moveTo>
                  <a:lnTo>
                    <a:pt x="764" y="1188"/>
                  </a:lnTo>
                  <a:lnTo>
                    <a:pt x="764" y="1186"/>
                  </a:lnTo>
                  <a:close/>
                  <a:moveTo>
                    <a:pt x="764" y="1186"/>
                  </a:moveTo>
                  <a:lnTo>
                    <a:pt x="764" y="1183"/>
                  </a:lnTo>
                  <a:lnTo>
                    <a:pt x="764" y="1186"/>
                  </a:lnTo>
                  <a:close/>
                  <a:moveTo>
                    <a:pt x="812" y="1183"/>
                  </a:moveTo>
                  <a:lnTo>
                    <a:pt x="809" y="1183"/>
                  </a:lnTo>
                  <a:lnTo>
                    <a:pt x="812" y="1183"/>
                  </a:lnTo>
                  <a:close/>
                  <a:moveTo>
                    <a:pt x="762" y="1183"/>
                  </a:moveTo>
                  <a:lnTo>
                    <a:pt x="762" y="1181"/>
                  </a:lnTo>
                  <a:lnTo>
                    <a:pt x="762" y="1183"/>
                  </a:lnTo>
                  <a:close/>
                  <a:moveTo>
                    <a:pt x="795" y="1181"/>
                  </a:moveTo>
                  <a:lnTo>
                    <a:pt x="793" y="1181"/>
                  </a:lnTo>
                  <a:lnTo>
                    <a:pt x="795" y="1181"/>
                  </a:lnTo>
                  <a:close/>
                  <a:moveTo>
                    <a:pt x="793" y="1178"/>
                  </a:moveTo>
                  <a:lnTo>
                    <a:pt x="793" y="1181"/>
                  </a:lnTo>
                  <a:lnTo>
                    <a:pt x="793" y="1178"/>
                  </a:lnTo>
                  <a:lnTo>
                    <a:pt x="793" y="1181"/>
                  </a:lnTo>
                  <a:lnTo>
                    <a:pt x="793" y="1178"/>
                  </a:lnTo>
                  <a:lnTo>
                    <a:pt x="793" y="1181"/>
                  </a:lnTo>
                  <a:lnTo>
                    <a:pt x="793" y="1178"/>
                  </a:lnTo>
                  <a:close/>
                  <a:moveTo>
                    <a:pt x="785" y="1174"/>
                  </a:moveTo>
                  <a:lnTo>
                    <a:pt x="788" y="1174"/>
                  </a:lnTo>
                  <a:lnTo>
                    <a:pt x="785" y="1174"/>
                  </a:lnTo>
                  <a:close/>
                  <a:moveTo>
                    <a:pt x="783" y="1171"/>
                  </a:moveTo>
                  <a:lnTo>
                    <a:pt x="785" y="1171"/>
                  </a:lnTo>
                  <a:lnTo>
                    <a:pt x="785" y="1174"/>
                  </a:lnTo>
                  <a:lnTo>
                    <a:pt x="783" y="1171"/>
                  </a:lnTo>
                  <a:close/>
                  <a:moveTo>
                    <a:pt x="783" y="1169"/>
                  </a:moveTo>
                  <a:lnTo>
                    <a:pt x="783" y="1171"/>
                  </a:lnTo>
                  <a:lnTo>
                    <a:pt x="781" y="1169"/>
                  </a:lnTo>
                  <a:lnTo>
                    <a:pt x="783" y="1169"/>
                  </a:lnTo>
                  <a:close/>
                  <a:moveTo>
                    <a:pt x="1208" y="1169"/>
                  </a:moveTo>
                  <a:lnTo>
                    <a:pt x="1208" y="1167"/>
                  </a:lnTo>
                  <a:lnTo>
                    <a:pt x="1208" y="1169"/>
                  </a:lnTo>
                  <a:close/>
                  <a:moveTo>
                    <a:pt x="766" y="1162"/>
                  </a:moveTo>
                  <a:lnTo>
                    <a:pt x="764" y="1162"/>
                  </a:lnTo>
                  <a:lnTo>
                    <a:pt x="766" y="1162"/>
                  </a:lnTo>
                  <a:close/>
                  <a:moveTo>
                    <a:pt x="759" y="1157"/>
                  </a:moveTo>
                  <a:lnTo>
                    <a:pt x="759" y="1159"/>
                  </a:lnTo>
                  <a:lnTo>
                    <a:pt x="759" y="1157"/>
                  </a:lnTo>
                  <a:lnTo>
                    <a:pt x="759" y="1159"/>
                  </a:lnTo>
                  <a:lnTo>
                    <a:pt x="759" y="1157"/>
                  </a:lnTo>
                  <a:lnTo>
                    <a:pt x="759" y="1159"/>
                  </a:lnTo>
                  <a:lnTo>
                    <a:pt x="759" y="1157"/>
                  </a:lnTo>
                  <a:close/>
                  <a:moveTo>
                    <a:pt x="755" y="1155"/>
                  </a:moveTo>
                  <a:lnTo>
                    <a:pt x="757" y="1155"/>
                  </a:lnTo>
                  <a:lnTo>
                    <a:pt x="757" y="1157"/>
                  </a:lnTo>
                  <a:lnTo>
                    <a:pt x="755" y="1155"/>
                  </a:lnTo>
                  <a:lnTo>
                    <a:pt x="752" y="1155"/>
                  </a:lnTo>
                  <a:lnTo>
                    <a:pt x="755" y="1155"/>
                  </a:lnTo>
                  <a:close/>
                  <a:moveTo>
                    <a:pt x="1196" y="1150"/>
                  </a:moveTo>
                  <a:lnTo>
                    <a:pt x="1196" y="1152"/>
                  </a:lnTo>
                  <a:lnTo>
                    <a:pt x="1196" y="1150"/>
                  </a:lnTo>
                  <a:close/>
                  <a:moveTo>
                    <a:pt x="750" y="1150"/>
                  </a:moveTo>
                  <a:lnTo>
                    <a:pt x="747" y="1152"/>
                  </a:lnTo>
                  <a:lnTo>
                    <a:pt x="747" y="1150"/>
                  </a:lnTo>
                  <a:lnTo>
                    <a:pt x="750" y="1150"/>
                  </a:lnTo>
                  <a:close/>
                  <a:moveTo>
                    <a:pt x="747" y="1145"/>
                  </a:moveTo>
                  <a:lnTo>
                    <a:pt x="747" y="1148"/>
                  </a:lnTo>
                  <a:lnTo>
                    <a:pt x="747" y="1145"/>
                  </a:lnTo>
                  <a:close/>
                  <a:moveTo>
                    <a:pt x="728" y="1126"/>
                  </a:moveTo>
                  <a:lnTo>
                    <a:pt x="728" y="1129"/>
                  </a:lnTo>
                  <a:lnTo>
                    <a:pt x="728" y="1126"/>
                  </a:lnTo>
                  <a:close/>
                  <a:moveTo>
                    <a:pt x="726" y="1124"/>
                  </a:moveTo>
                  <a:lnTo>
                    <a:pt x="726" y="1126"/>
                  </a:lnTo>
                  <a:lnTo>
                    <a:pt x="726" y="1124"/>
                  </a:lnTo>
                  <a:lnTo>
                    <a:pt x="726" y="1126"/>
                  </a:lnTo>
                  <a:lnTo>
                    <a:pt x="726" y="1124"/>
                  </a:lnTo>
                  <a:lnTo>
                    <a:pt x="724" y="1124"/>
                  </a:lnTo>
                  <a:lnTo>
                    <a:pt x="726" y="1124"/>
                  </a:lnTo>
                  <a:close/>
                  <a:moveTo>
                    <a:pt x="726" y="1126"/>
                  </a:moveTo>
                  <a:lnTo>
                    <a:pt x="724" y="1124"/>
                  </a:lnTo>
                  <a:lnTo>
                    <a:pt x="726" y="1126"/>
                  </a:lnTo>
                  <a:close/>
                  <a:moveTo>
                    <a:pt x="724" y="1121"/>
                  </a:moveTo>
                  <a:lnTo>
                    <a:pt x="726" y="1121"/>
                  </a:lnTo>
                  <a:lnTo>
                    <a:pt x="724" y="1121"/>
                  </a:lnTo>
                  <a:close/>
                  <a:moveTo>
                    <a:pt x="728" y="1119"/>
                  </a:moveTo>
                  <a:lnTo>
                    <a:pt x="726" y="1119"/>
                  </a:lnTo>
                  <a:lnTo>
                    <a:pt x="728" y="1119"/>
                  </a:lnTo>
                  <a:close/>
                  <a:moveTo>
                    <a:pt x="724" y="1114"/>
                  </a:moveTo>
                  <a:lnTo>
                    <a:pt x="726" y="1117"/>
                  </a:lnTo>
                  <a:lnTo>
                    <a:pt x="724" y="1114"/>
                  </a:lnTo>
                  <a:close/>
                  <a:moveTo>
                    <a:pt x="726" y="1117"/>
                  </a:moveTo>
                  <a:lnTo>
                    <a:pt x="726" y="1119"/>
                  </a:lnTo>
                  <a:lnTo>
                    <a:pt x="726" y="1117"/>
                  </a:lnTo>
                  <a:lnTo>
                    <a:pt x="724" y="1114"/>
                  </a:lnTo>
                  <a:lnTo>
                    <a:pt x="726" y="1114"/>
                  </a:lnTo>
                  <a:lnTo>
                    <a:pt x="726" y="1117"/>
                  </a:lnTo>
                  <a:close/>
                  <a:moveTo>
                    <a:pt x="1210" y="1114"/>
                  </a:moveTo>
                  <a:lnTo>
                    <a:pt x="1213" y="1114"/>
                  </a:lnTo>
                  <a:lnTo>
                    <a:pt x="1210" y="1114"/>
                  </a:lnTo>
                  <a:close/>
                  <a:moveTo>
                    <a:pt x="714" y="1112"/>
                  </a:moveTo>
                  <a:lnTo>
                    <a:pt x="717" y="1112"/>
                  </a:lnTo>
                  <a:lnTo>
                    <a:pt x="714" y="1112"/>
                  </a:lnTo>
                  <a:close/>
                  <a:moveTo>
                    <a:pt x="1215" y="1110"/>
                  </a:moveTo>
                  <a:lnTo>
                    <a:pt x="1215" y="1107"/>
                  </a:lnTo>
                  <a:lnTo>
                    <a:pt x="1215" y="1110"/>
                  </a:lnTo>
                  <a:close/>
                  <a:moveTo>
                    <a:pt x="631" y="1114"/>
                  </a:moveTo>
                  <a:lnTo>
                    <a:pt x="629" y="1114"/>
                  </a:lnTo>
                  <a:lnTo>
                    <a:pt x="629" y="1117"/>
                  </a:lnTo>
                  <a:lnTo>
                    <a:pt x="626" y="1117"/>
                  </a:lnTo>
                  <a:lnTo>
                    <a:pt x="626" y="1114"/>
                  </a:lnTo>
                  <a:lnTo>
                    <a:pt x="624" y="1114"/>
                  </a:lnTo>
                  <a:lnTo>
                    <a:pt x="622" y="1114"/>
                  </a:lnTo>
                  <a:lnTo>
                    <a:pt x="622" y="1112"/>
                  </a:lnTo>
                  <a:lnTo>
                    <a:pt x="622" y="1110"/>
                  </a:lnTo>
                  <a:lnTo>
                    <a:pt x="624" y="1110"/>
                  </a:lnTo>
                  <a:lnTo>
                    <a:pt x="624" y="1107"/>
                  </a:lnTo>
                  <a:lnTo>
                    <a:pt x="626" y="1110"/>
                  </a:lnTo>
                  <a:lnTo>
                    <a:pt x="629" y="1110"/>
                  </a:lnTo>
                  <a:lnTo>
                    <a:pt x="629" y="1112"/>
                  </a:lnTo>
                  <a:lnTo>
                    <a:pt x="631" y="1112"/>
                  </a:lnTo>
                  <a:lnTo>
                    <a:pt x="631" y="1114"/>
                  </a:lnTo>
                  <a:close/>
                  <a:moveTo>
                    <a:pt x="1243" y="1095"/>
                  </a:moveTo>
                  <a:lnTo>
                    <a:pt x="1243" y="1098"/>
                  </a:lnTo>
                  <a:lnTo>
                    <a:pt x="1241" y="1095"/>
                  </a:lnTo>
                  <a:lnTo>
                    <a:pt x="1243" y="1095"/>
                  </a:lnTo>
                  <a:close/>
                  <a:moveTo>
                    <a:pt x="558" y="1091"/>
                  </a:moveTo>
                  <a:lnTo>
                    <a:pt x="555" y="1093"/>
                  </a:lnTo>
                  <a:lnTo>
                    <a:pt x="555" y="1091"/>
                  </a:lnTo>
                  <a:lnTo>
                    <a:pt x="558" y="1091"/>
                  </a:lnTo>
                  <a:lnTo>
                    <a:pt x="555" y="1091"/>
                  </a:lnTo>
                  <a:lnTo>
                    <a:pt x="555" y="1088"/>
                  </a:lnTo>
                  <a:lnTo>
                    <a:pt x="558" y="1088"/>
                  </a:lnTo>
                  <a:lnTo>
                    <a:pt x="558" y="1091"/>
                  </a:lnTo>
                  <a:close/>
                  <a:moveTo>
                    <a:pt x="577" y="1086"/>
                  </a:moveTo>
                  <a:lnTo>
                    <a:pt x="577" y="1088"/>
                  </a:lnTo>
                  <a:lnTo>
                    <a:pt x="579" y="1088"/>
                  </a:lnTo>
                  <a:lnTo>
                    <a:pt x="577" y="1088"/>
                  </a:lnTo>
                  <a:lnTo>
                    <a:pt x="577" y="1086"/>
                  </a:lnTo>
                  <a:close/>
                  <a:moveTo>
                    <a:pt x="553" y="1086"/>
                  </a:moveTo>
                  <a:lnTo>
                    <a:pt x="553" y="1088"/>
                  </a:lnTo>
                  <a:lnTo>
                    <a:pt x="553" y="1086"/>
                  </a:lnTo>
                  <a:lnTo>
                    <a:pt x="553" y="1088"/>
                  </a:lnTo>
                  <a:lnTo>
                    <a:pt x="553" y="1086"/>
                  </a:lnTo>
                  <a:close/>
                  <a:moveTo>
                    <a:pt x="1243" y="1086"/>
                  </a:moveTo>
                  <a:lnTo>
                    <a:pt x="1246" y="1086"/>
                  </a:lnTo>
                  <a:lnTo>
                    <a:pt x="1243" y="1086"/>
                  </a:lnTo>
                  <a:close/>
                  <a:moveTo>
                    <a:pt x="721" y="1086"/>
                  </a:moveTo>
                  <a:lnTo>
                    <a:pt x="724" y="1086"/>
                  </a:lnTo>
                  <a:lnTo>
                    <a:pt x="721" y="1086"/>
                  </a:lnTo>
                  <a:close/>
                  <a:moveTo>
                    <a:pt x="726" y="1086"/>
                  </a:moveTo>
                  <a:lnTo>
                    <a:pt x="724" y="1086"/>
                  </a:lnTo>
                  <a:lnTo>
                    <a:pt x="726" y="1083"/>
                  </a:lnTo>
                  <a:lnTo>
                    <a:pt x="726" y="1086"/>
                  </a:lnTo>
                  <a:lnTo>
                    <a:pt x="726" y="1083"/>
                  </a:lnTo>
                  <a:lnTo>
                    <a:pt x="726" y="1086"/>
                  </a:lnTo>
                  <a:close/>
                  <a:moveTo>
                    <a:pt x="570" y="1083"/>
                  </a:moveTo>
                  <a:lnTo>
                    <a:pt x="570" y="1086"/>
                  </a:lnTo>
                  <a:lnTo>
                    <a:pt x="570" y="1083"/>
                  </a:lnTo>
                  <a:close/>
                  <a:moveTo>
                    <a:pt x="555" y="1081"/>
                  </a:moveTo>
                  <a:lnTo>
                    <a:pt x="555" y="1083"/>
                  </a:lnTo>
                  <a:lnTo>
                    <a:pt x="555" y="1081"/>
                  </a:lnTo>
                  <a:close/>
                  <a:moveTo>
                    <a:pt x="721" y="1081"/>
                  </a:moveTo>
                  <a:lnTo>
                    <a:pt x="724" y="1081"/>
                  </a:lnTo>
                  <a:lnTo>
                    <a:pt x="721" y="1081"/>
                  </a:lnTo>
                  <a:close/>
                  <a:moveTo>
                    <a:pt x="551" y="1079"/>
                  </a:moveTo>
                  <a:lnTo>
                    <a:pt x="553" y="1079"/>
                  </a:lnTo>
                  <a:lnTo>
                    <a:pt x="553" y="1081"/>
                  </a:lnTo>
                  <a:lnTo>
                    <a:pt x="555" y="1081"/>
                  </a:lnTo>
                  <a:lnTo>
                    <a:pt x="553" y="1081"/>
                  </a:lnTo>
                  <a:lnTo>
                    <a:pt x="555" y="1081"/>
                  </a:lnTo>
                  <a:lnTo>
                    <a:pt x="553" y="1081"/>
                  </a:lnTo>
                  <a:lnTo>
                    <a:pt x="551" y="1081"/>
                  </a:lnTo>
                  <a:lnTo>
                    <a:pt x="553" y="1081"/>
                  </a:lnTo>
                  <a:lnTo>
                    <a:pt x="551" y="1081"/>
                  </a:lnTo>
                  <a:lnTo>
                    <a:pt x="551" y="1079"/>
                  </a:lnTo>
                  <a:close/>
                  <a:moveTo>
                    <a:pt x="719" y="1079"/>
                  </a:moveTo>
                  <a:lnTo>
                    <a:pt x="717" y="1076"/>
                  </a:lnTo>
                  <a:lnTo>
                    <a:pt x="719" y="1079"/>
                  </a:lnTo>
                  <a:close/>
                  <a:moveTo>
                    <a:pt x="717" y="1076"/>
                  </a:moveTo>
                  <a:lnTo>
                    <a:pt x="714" y="1076"/>
                  </a:lnTo>
                  <a:lnTo>
                    <a:pt x="717" y="1076"/>
                  </a:lnTo>
                  <a:close/>
                  <a:moveTo>
                    <a:pt x="717" y="1076"/>
                  </a:moveTo>
                  <a:lnTo>
                    <a:pt x="717" y="1079"/>
                  </a:lnTo>
                  <a:lnTo>
                    <a:pt x="717" y="1076"/>
                  </a:lnTo>
                  <a:lnTo>
                    <a:pt x="719" y="1079"/>
                  </a:lnTo>
                  <a:lnTo>
                    <a:pt x="721" y="1079"/>
                  </a:lnTo>
                  <a:lnTo>
                    <a:pt x="724" y="1079"/>
                  </a:lnTo>
                  <a:lnTo>
                    <a:pt x="726" y="1079"/>
                  </a:lnTo>
                  <a:lnTo>
                    <a:pt x="726" y="1081"/>
                  </a:lnTo>
                  <a:lnTo>
                    <a:pt x="724" y="1081"/>
                  </a:lnTo>
                  <a:lnTo>
                    <a:pt x="721" y="1081"/>
                  </a:lnTo>
                  <a:lnTo>
                    <a:pt x="724" y="1081"/>
                  </a:lnTo>
                  <a:lnTo>
                    <a:pt x="721" y="1081"/>
                  </a:lnTo>
                  <a:lnTo>
                    <a:pt x="719" y="1081"/>
                  </a:lnTo>
                  <a:lnTo>
                    <a:pt x="719" y="1079"/>
                  </a:lnTo>
                  <a:lnTo>
                    <a:pt x="717" y="1079"/>
                  </a:lnTo>
                  <a:lnTo>
                    <a:pt x="714" y="1079"/>
                  </a:lnTo>
                  <a:lnTo>
                    <a:pt x="714" y="1076"/>
                  </a:lnTo>
                  <a:lnTo>
                    <a:pt x="717" y="1076"/>
                  </a:lnTo>
                  <a:close/>
                  <a:moveTo>
                    <a:pt x="714" y="1079"/>
                  </a:moveTo>
                  <a:lnTo>
                    <a:pt x="714" y="1076"/>
                  </a:lnTo>
                  <a:lnTo>
                    <a:pt x="712" y="1076"/>
                  </a:lnTo>
                  <a:lnTo>
                    <a:pt x="714" y="1076"/>
                  </a:lnTo>
                  <a:lnTo>
                    <a:pt x="714" y="1079"/>
                  </a:lnTo>
                  <a:close/>
                  <a:moveTo>
                    <a:pt x="548" y="1076"/>
                  </a:moveTo>
                  <a:lnTo>
                    <a:pt x="546" y="1076"/>
                  </a:lnTo>
                  <a:lnTo>
                    <a:pt x="548" y="1076"/>
                  </a:lnTo>
                  <a:close/>
                  <a:moveTo>
                    <a:pt x="714" y="1076"/>
                  </a:moveTo>
                  <a:lnTo>
                    <a:pt x="717" y="1076"/>
                  </a:lnTo>
                  <a:lnTo>
                    <a:pt x="714" y="1076"/>
                  </a:lnTo>
                  <a:close/>
                  <a:moveTo>
                    <a:pt x="543" y="1076"/>
                  </a:moveTo>
                  <a:lnTo>
                    <a:pt x="546" y="1076"/>
                  </a:lnTo>
                  <a:lnTo>
                    <a:pt x="543" y="1076"/>
                  </a:lnTo>
                  <a:close/>
                  <a:moveTo>
                    <a:pt x="712" y="1076"/>
                  </a:moveTo>
                  <a:lnTo>
                    <a:pt x="714" y="1076"/>
                  </a:lnTo>
                  <a:lnTo>
                    <a:pt x="712" y="1076"/>
                  </a:lnTo>
                  <a:lnTo>
                    <a:pt x="712" y="1074"/>
                  </a:lnTo>
                  <a:lnTo>
                    <a:pt x="712" y="1076"/>
                  </a:lnTo>
                  <a:close/>
                  <a:moveTo>
                    <a:pt x="717" y="1076"/>
                  </a:moveTo>
                  <a:lnTo>
                    <a:pt x="719" y="1076"/>
                  </a:lnTo>
                  <a:lnTo>
                    <a:pt x="721" y="1076"/>
                  </a:lnTo>
                  <a:lnTo>
                    <a:pt x="719" y="1076"/>
                  </a:lnTo>
                  <a:lnTo>
                    <a:pt x="721" y="1076"/>
                  </a:lnTo>
                  <a:lnTo>
                    <a:pt x="724" y="1076"/>
                  </a:lnTo>
                  <a:lnTo>
                    <a:pt x="724" y="1079"/>
                  </a:lnTo>
                  <a:lnTo>
                    <a:pt x="721" y="1079"/>
                  </a:lnTo>
                  <a:lnTo>
                    <a:pt x="719" y="1079"/>
                  </a:lnTo>
                  <a:lnTo>
                    <a:pt x="719" y="1076"/>
                  </a:lnTo>
                  <a:lnTo>
                    <a:pt x="717" y="1076"/>
                  </a:lnTo>
                  <a:lnTo>
                    <a:pt x="714" y="1076"/>
                  </a:lnTo>
                  <a:lnTo>
                    <a:pt x="714" y="1074"/>
                  </a:lnTo>
                  <a:lnTo>
                    <a:pt x="714" y="1076"/>
                  </a:lnTo>
                  <a:lnTo>
                    <a:pt x="717" y="1076"/>
                  </a:lnTo>
                  <a:close/>
                  <a:moveTo>
                    <a:pt x="539" y="1074"/>
                  </a:moveTo>
                  <a:lnTo>
                    <a:pt x="539" y="1076"/>
                  </a:lnTo>
                  <a:lnTo>
                    <a:pt x="539" y="1074"/>
                  </a:lnTo>
                  <a:close/>
                  <a:moveTo>
                    <a:pt x="714" y="1074"/>
                  </a:moveTo>
                  <a:lnTo>
                    <a:pt x="714" y="1076"/>
                  </a:lnTo>
                  <a:lnTo>
                    <a:pt x="712" y="1076"/>
                  </a:lnTo>
                  <a:lnTo>
                    <a:pt x="712" y="1074"/>
                  </a:lnTo>
                  <a:lnTo>
                    <a:pt x="712" y="1076"/>
                  </a:lnTo>
                  <a:lnTo>
                    <a:pt x="714" y="1076"/>
                  </a:lnTo>
                  <a:lnTo>
                    <a:pt x="712" y="1076"/>
                  </a:lnTo>
                  <a:lnTo>
                    <a:pt x="712" y="1074"/>
                  </a:lnTo>
                  <a:lnTo>
                    <a:pt x="714" y="1074"/>
                  </a:lnTo>
                  <a:close/>
                  <a:moveTo>
                    <a:pt x="546" y="1074"/>
                  </a:moveTo>
                  <a:lnTo>
                    <a:pt x="548" y="1074"/>
                  </a:lnTo>
                  <a:lnTo>
                    <a:pt x="546" y="1074"/>
                  </a:lnTo>
                  <a:close/>
                  <a:moveTo>
                    <a:pt x="714" y="1074"/>
                  </a:moveTo>
                  <a:lnTo>
                    <a:pt x="717" y="1074"/>
                  </a:lnTo>
                  <a:lnTo>
                    <a:pt x="717" y="1076"/>
                  </a:lnTo>
                  <a:lnTo>
                    <a:pt x="714" y="1074"/>
                  </a:lnTo>
                  <a:lnTo>
                    <a:pt x="714" y="1076"/>
                  </a:lnTo>
                  <a:lnTo>
                    <a:pt x="714" y="1074"/>
                  </a:lnTo>
                  <a:lnTo>
                    <a:pt x="712" y="1074"/>
                  </a:lnTo>
                  <a:lnTo>
                    <a:pt x="714" y="1074"/>
                  </a:lnTo>
                  <a:close/>
                  <a:moveTo>
                    <a:pt x="527" y="1074"/>
                  </a:moveTo>
                  <a:lnTo>
                    <a:pt x="527" y="1076"/>
                  </a:lnTo>
                  <a:lnTo>
                    <a:pt x="527" y="1074"/>
                  </a:lnTo>
                  <a:close/>
                  <a:moveTo>
                    <a:pt x="705" y="1074"/>
                  </a:moveTo>
                  <a:lnTo>
                    <a:pt x="702" y="1074"/>
                  </a:lnTo>
                  <a:lnTo>
                    <a:pt x="705" y="1074"/>
                  </a:lnTo>
                  <a:close/>
                  <a:moveTo>
                    <a:pt x="707" y="1074"/>
                  </a:moveTo>
                  <a:lnTo>
                    <a:pt x="705" y="1074"/>
                  </a:lnTo>
                  <a:lnTo>
                    <a:pt x="707" y="1074"/>
                  </a:lnTo>
                  <a:close/>
                  <a:moveTo>
                    <a:pt x="702" y="1074"/>
                  </a:moveTo>
                  <a:lnTo>
                    <a:pt x="700" y="1074"/>
                  </a:lnTo>
                  <a:lnTo>
                    <a:pt x="702" y="1074"/>
                  </a:lnTo>
                  <a:lnTo>
                    <a:pt x="700" y="1074"/>
                  </a:lnTo>
                  <a:lnTo>
                    <a:pt x="702" y="1074"/>
                  </a:lnTo>
                  <a:close/>
                  <a:moveTo>
                    <a:pt x="534" y="1074"/>
                  </a:moveTo>
                  <a:lnTo>
                    <a:pt x="536" y="1074"/>
                  </a:lnTo>
                  <a:lnTo>
                    <a:pt x="534" y="1074"/>
                  </a:lnTo>
                  <a:close/>
                  <a:moveTo>
                    <a:pt x="695" y="1072"/>
                  </a:moveTo>
                  <a:lnTo>
                    <a:pt x="695" y="1074"/>
                  </a:lnTo>
                  <a:lnTo>
                    <a:pt x="693" y="1074"/>
                  </a:lnTo>
                  <a:lnTo>
                    <a:pt x="693" y="1072"/>
                  </a:lnTo>
                  <a:lnTo>
                    <a:pt x="695" y="1072"/>
                  </a:lnTo>
                  <a:close/>
                  <a:moveTo>
                    <a:pt x="536" y="1072"/>
                  </a:moveTo>
                  <a:lnTo>
                    <a:pt x="534" y="1072"/>
                  </a:lnTo>
                  <a:lnTo>
                    <a:pt x="536" y="1072"/>
                  </a:lnTo>
                  <a:close/>
                  <a:moveTo>
                    <a:pt x="1248" y="1072"/>
                  </a:moveTo>
                  <a:lnTo>
                    <a:pt x="1246" y="1072"/>
                  </a:lnTo>
                  <a:lnTo>
                    <a:pt x="1248" y="1072"/>
                  </a:lnTo>
                  <a:close/>
                  <a:moveTo>
                    <a:pt x="695" y="1072"/>
                  </a:moveTo>
                  <a:lnTo>
                    <a:pt x="693" y="1072"/>
                  </a:lnTo>
                  <a:lnTo>
                    <a:pt x="695" y="1072"/>
                  </a:lnTo>
                  <a:close/>
                  <a:moveTo>
                    <a:pt x="522" y="1072"/>
                  </a:moveTo>
                  <a:lnTo>
                    <a:pt x="524" y="1072"/>
                  </a:lnTo>
                  <a:lnTo>
                    <a:pt x="522" y="1072"/>
                  </a:lnTo>
                  <a:close/>
                  <a:moveTo>
                    <a:pt x="529" y="1072"/>
                  </a:moveTo>
                  <a:lnTo>
                    <a:pt x="532" y="1072"/>
                  </a:lnTo>
                  <a:lnTo>
                    <a:pt x="532" y="1074"/>
                  </a:lnTo>
                  <a:lnTo>
                    <a:pt x="532" y="1076"/>
                  </a:lnTo>
                  <a:lnTo>
                    <a:pt x="529" y="1076"/>
                  </a:lnTo>
                  <a:lnTo>
                    <a:pt x="529" y="1074"/>
                  </a:lnTo>
                  <a:lnTo>
                    <a:pt x="527" y="1074"/>
                  </a:lnTo>
                  <a:lnTo>
                    <a:pt x="527" y="1072"/>
                  </a:lnTo>
                  <a:lnTo>
                    <a:pt x="529" y="1072"/>
                  </a:lnTo>
                  <a:close/>
                  <a:moveTo>
                    <a:pt x="508" y="1072"/>
                  </a:moveTo>
                  <a:lnTo>
                    <a:pt x="508" y="1069"/>
                  </a:lnTo>
                  <a:lnTo>
                    <a:pt x="508" y="1072"/>
                  </a:lnTo>
                  <a:close/>
                  <a:moveTo>
                    <a:pt x="524" y="1072"/>
                  </a:moveTo>
                  <a:lnTo>
                    <a:pt x="524" y="1069"/>
                  </a:lnTo>
                  <a:lnTo>
                    <a:pt x="524" y="1072"/>
                  </a:lnTo>
                  <a:close/>
                  <a:moveTo>
                    <a:pt x="513" y="1069"/>
                  </a:moveTo>
                  <a:lnTo>
                    <a:pt x="513" y="1072"/>
                  </a:lnTo>
                  <a:lnTo>
                    <a:pt x="513" y="1069"/>
                  </a:lnTo>
                  <a:close/>
                  <a:moveTo>
                    <a:pt x="693" y="1072"/>
                  </a:moveTo>
                  <a:lnTo>
                    <a:pt x="691" y="1069"/>
                  </a:lnTo>
                  <a:lnTo>
                    <a:pt x="693" y="1069"/>
                  </a:lnTo>
                  <a:lnTo>
                    <a:pt x="693" y="1072"/>
                  </a:lnTo>
                  <a:close/>
                  <a:moveTo>
                    <a:pt x="517" y="1069"/>
                  </a:moveTo>
                  <a:lnTo>
                    <a:pt x="517" y="1072"/>
                  </a:lnTo>
                  <a:lnTo>
                    <a:pt x="515" y="1072"/>
                  </a:lnTo>
                  <a:lnTo>
                    <a:pt x="515" y="1069"/>
                  </a:lnTo>
                  <a:lnTo>
                    <a:pt x="517" y="1069"/>
                  </a:lnTo>
                  <a:close/>
                  <a:moveTo>
                    <a:pt x="695" y="1069"/>
                  </a:moveTo>
                  <a:lnTo>
                    <a:pt x="695" y="1072"/>
                  </a:lnTo>
                  <a:lnTo>
                    <a:pt x="693" y="1072"/>
                  </a:lnTo>
                  <a:lnTo>
                    <a:pt x="693" y="1069"/>
                  </a:lnTo>
                  <a:lnTo>
                    <a:pt x="695" y="1069"/>
                  </a:lnTo>
                  <a:close/>
                  <a:moveTo>
                    <a:pt x="517" y="1069"/>
                  </a:moveTo>
                  <a:lnTo>
                    <a:pt x="517" y="1067"/>
                  </a:lnTo>
                  <a:lnTo>
                    <a:pt x="517" y="1069"/>
                  </a:lnTo>
                  <a:close/>
                  <a:moveTo>
                    <a:pt x="691" y="1069"/>
                  </a:moveTo>
                  <a:lnTo>
                    <a:pt x="693" y="1069"/>
                  </a:lnTo>
                  <a:lnTo>
                    <a:pt x="691" y="1069"/>
                  </a:lnTo>
                  <a:lnTo>
                    <a:pt x="691" y="1067"/>
                  </a:lnTo>
                  <a:lnTo>
                    <a:pt x="693" y="1069"/>
                  </a:lnTo>
                  <a:lnTo>
                    <a:pt x="693" y="1072"/>
                  </a:lnTo>
                  <a:lnTo>
                    <a:pt x="693" y="1069"/>
                  </a:lnTo>
                  <a:lnTo>
                    <a:pt x="691" y="1069"/>
                  </a:lnTo>
                  <a:lnTo>
                    <a:pt x="691" y="1067"/>
                  </a:lnTo>
                  <a:lnTo>
                    <a:pt x="691" y="1069"/>
                  </a:lnTo>
                  <a:close/>
                  <a:moveTo>
                    <a:pt x="683" y="1064"/>
                  </a:moveTo>
                  <a:lnTo>
                    <a:pt x="683" y="1067"/>
                  </a:lnTo>
                  <a:lnTo>
                    <a:pt x="686" y="1067"/>
                  </a:lnTo>
                  <a:lnTo>
                    <a:pt x="683" y="1067"/>
                  </a:lnTo>
                  <a:lnTo>
                    <a:pt x="683" y="1064"/>
                  </a:lnTo>
                  <a:close/>
                  <a:moveTo>
                    <a:pt x="769" y="1067"/>
                  </a:moveTo>
                  <a:lnTo>
                    <a:pt x="769" y="1064"/>
                  </a:lnTo>
                  <a:lnTo>
                    <a:pt x="771" y="1064"/>
                  </a:lnTo>
                  <a:lnTo>
                    <a:pt x="771" y="1067"/>
                  </a:lnTo>
                  <a:lnTo>
                    <a:pt x="769" y="1067"/>
                  </a:lnTo>
                  <a:close/>
                  <a:moveTo>
                    <a:pt x="771" y="1064"/>
                  </a:moveTo>
                  <a:lnTo>
                    <a:pt x="769" y="1064"/>
                  </a:lnTo>
                  <a:lnTo>
                    <a:pt x="771" y="1064"/>
                  </a:lnTo>
                  <a:close/>
                  <a:moveTo>
                    <a:pt x="683" y="1064"/>
                  </a:moveTo>
                  <a:lnTo>
                    <a:pt x="686" y="1064"/>
                  </a:lnTo>
                  <a:lnTo>
                    <a:pt x="683" y="1064"/>
                  </a:lnTo>
                  <a:close/>
                  <a:moveTo>
                    <a:pt x="679" y="1064"/>
                  </a:moveTo>
                  <a:lnTo>
                    <a:pt x="676" y="1064"/>
                  </a:lnTo>
                  <a:lnTo>
                    <a:pt x="679" y="1064"/>
                  </a:lnTo>
                  <a:lnTo>
                    <a:pt x="679" y="1062"/>
                  </a:lnTo>
                  <a:lnTo>
                    <a:pt x="679" y="1064"/>
                  </a:lnTo>
                  <a:close/>
                  <a:moveTo>
                    <a:pt x="676" y="1062"/>
                  </a:moveTo>
                  <a:lnTo>
                    <a:pt x="679" y="1062"/>
                  </a:lnTo>
                  <a:lnTo>
                    <a:pt x="676" y="1062"/>
                  </a:lnTo>
                  <a:close/>
                  <a:moveTo>
                    <a:pt x="672" y="1062"/>
                  </a:moveTo>
                  <a:lnTo>
                    <a:pt x="669" y="1062"/>
                  </a:lnTo>
                  <a:lnTo>
                    <a:pt x="672" y="1062"/>
                  </a:lnTo>
                  <a:close/>
                  <a:moveTo>
                    <a:pt x="676" y="1060"/>
                  </a:moveTo>
                  <a:lnTo>
                    <a:pt x="679" y="1062"/>
                  </a:lnTo>
                  <a:lnTo>
                    <a:pt x="676" y="1062"/>
                  </a:lnTo>
                  <a:lnTo>
                    <a:pt x="676" y="1060"/>
                  </a:lnTo>
                  <a:close/>
                  <a:moveTo>
                    <a:pt x="674" y="1062"/>
                  </a:moveTo>
                  <a:lnTo>
                    <a:pt x="676" y="1062"/>
                  </a:lnTo>
                  <a:lnTo>
                    <a:pt x="674" y="1062"/>
                  </a:lnTo>
                  <a:lnTo>
                    <a:pt x="674" y="1060"/>
                  </a:lnTo>
                  <a:lnTo>
                    <a:pt x="674" y="1062"/>
                  </a:lnTo>
                  <a:close/>
                  <a:moveTo>
                    <a:pt x="674" y="1062"/>
                  </a:moveTo>
                  <a:lnTo>
                    <a:pt x="672" y="1062"/>
                  </a:lnTo>
                  <a:lnTo>
                    <a:pt x="672" y="1060"/>
                  </a:lnTo>
                  <a:lnTo>
                    <a:pt x="674" y="1060"/>
                  </a:lnTo>
                  <a:lnTo>
                    <a:pt x="674" y="1062"/>
                  </a:lnTo>
                  <a:lnTo>
                    <a:pt x="674" y="1060"/>
                  </a:lnTo>
                  <a:lnTo>
                    <a:pt x="674" y="1062"/>
                  </a:lnTo>
                  <a:close/>
                  <a:moveTo>
                    <a:pt x="676" y="1060"/>
                  </a:moveTo>
                  <a:lnTo>
                    <a:pt x="679" y="1060"/>
                  </a:lnTo>
                  <a:lnTo>
                    <a:pt x="676" y="1060"/>
                  </a:lnTo>
                  <a:lnTo>
                    <a:pt x="679" y="1060"/>
                  </a:lnTo>
                  <a:lnTo>
                    <a:pt x="679" y="1062"/>
                  </a:lnTo>
                  <a:lnTo>
                    <a:pt x="676" y="1060"/>
                  </a:lnTo>
                  <a:close/>
                  <a:moveTo>
                    <a:pt x="660" y="1060"/>
                  </a:moveTo>
                  <a:lnTo>
                    <a:pt x="657" y="1060"/>
                  </a:lnTo>
                  <a:lnTo>
                    <a:pt x="660" y="1060"/>
                  </a:lnTo>
                  <a:close/>
                  <a:moveTo>
                    <a:pt x="674" y="1060"/>
                  </a:moveTo>
                  <a:lnTo>
                    <a:pt x="676" y="1060"/>
                  </a:lnTo>
                  <a:lnTo>
                    <a:pt x="676" y="1062"/>
                  </a:lnTo>
                  <a:lnTo>
                    <a:pt x="674" y="1062"/>
                  </a:lnTo>
                  <a:lnTo>
                    <a:pt x="674" y="1060"/>
                  </a:lnTo>
                  <a:lnTo>
                    <a:pt x="672" y="1060"/>
                  </a:lnTo>
                  <a:lnTo>
                    <a:pt x="674" y="1060"/>
                  </a:lnTo>
                  <a:lnTo>
                    <a:pt x="674" y="1057"/>
                  </a:lnTo>
                  <a:lnTo>
                    <a:pt x="674" y="1060"/>
                  </a:lnTo>
                  <a:close/>
                  <a:moveTo>
                    <a:pt x="679" y="1057"/>
                  </a:moveTo>
                  <a:lnTo>
                    <a:pt x="679" y="1060"/>
                  </a:lnTo>
                  <a:lnTo>
                    <a:pt x="679" y="1062"/>
                  </a:lnTo>
                  <a:lnTo>
                    <a:pt x="679" y="1060"/>
                  </a:lnTo>
                  <a:lnTo>
                    <a:pt x="676" y="1060"/>
                  </a:lnTo>
                  <a:lnTo>
                    <a:pt x="676" y="1057"/>
                  </a:lnTo>
                  <a:lnTo>
                    <a:pt x="676" y="1060"/>
                  </a:lnTo>
                  <a:lnTo>
                    <a:pt x="676" y="1057"/>
                  </a:lnTo>
                  <a:lnTo>
                    <a:pt x="679" y="1057"/>
                  </a:lnTo>
                  <a:close/>
                  <a:moveTo>
                    <a:pt x="667" y="1057"/>
                  </a:moveTo>
                  <a:lnTo>
                    <a:pt x="667" y="1060"/>
                  </a:lnTo>
                  <a:lnTo>
                    <a:pt x="667" y="1057"/>
                  </a:lnTo>
                  <a:lnTo>
                    <a:pt x="667" y="1060"/>
                  </a:lnTo>
                  <a:lnTo>
                    <a:pt x="667" y="1057"/>
                  </a:lnTo>
                  <a:close/>
                  <a:moveTo>
                    <a:pt x="683" y="1060"/>
                  </a:moveTo>
                  <a:lnTo>
                    <a:pt x="683" y="1057"/>
                  </a:lnTo>
                  <a:lnTo>
                    <a:pt x="683" y="1060"/>
                  </a:lnTo>
                  <a:close/>
                  <a:moveTo>
                    <a:pt x="676" y="1057"/>
                  </a:moveTo>
                  <a:lnTo>
                    <a:pt x="676" y="1060"/>
                  </a:lnTo>
                  <a:lnTo>
                    <a:pt x="676" y="1057"/>
                  </a:lnTo>
                  <a:lnTo>
                    <a:pt x="674" y="1057"/>
                  </a:lnTo>
                  <a:lnTo>
                    <a:pt x="676" y="1057"/>
                  </a:lnTo>
                  <a:close/>
                  <a:moveTo>
                    <a:pt x="662" y="1057"/>
                  </a:moveTo>
                  <a:lnTo>
                    <a:pt x="664" y="1057"/>
                  </a:lnTo>
                  <a:lnTo>
                    <a:pt x="662" y="1057"/>
                  </a:lnTo>
                  <a:close/>
                  <a:moveTo>
                    <a:pt x="672" y="1057"/>
                  </a:moveTo>
                  <a:lnTo>
                    <a:pt x="674" y="1057"/>
                  </a:lnTo>
                  <a:lnTo>
                    <a:pt x="674" y="1060"/>
                  </a:lnTo>
                  <a:lnTo>
                    <a:pt x="672" y="1060"/>
                  </a:lnTo>
                  <a:lnTo>
                    <a:pt x="672" y="1062"/>
                  </a:lnTo>
                  <a:lnTo>
                    <a:pt x="672" y="1060"/>
                  </a:lnTo>
                  <a:lnTo>
                    <a:pt x="669" y="1062"/>
                  </a:lnTo>
                  <a:lnTo>
                    <a:pt x="667" y="1060"/>
                  </a:lnTo>
                  <a:lnTo>
                    <a:pt x="669" y="1060"/>
                  </a:lnTo>
                  <a:lnTo>
                    <a:pt x="667" y="1060"/>
                  </a:lnTo>
                  <a:lnTo>
                    <a:pt x="669" y="1060"/>
                  </a:lnTo>
                  <a:lnTo>
                    <a:pt x="667" y="1060"/>
                  </a:lnTo>
                  <a:lnTo>
                    <a:pt x="669" y="1060"/>
                  </a:lnTo>
                  <a:lnTo>
                    <a:pt x="667" y="1060"/>
                  </a:lnTo>
                  <a:lnTo>
                    <a:pt x="669" y="1060"/>
                  </a:lnTo>
                  <a:lnTo>
                    <a:pt x="667" y="1060"/>
                  </a:lnTo>
                  <a:lnTo>
                    <a:pt x="669" y="1060"/>
                  </a:lnTo>
                  <a:lnTo>
                    <a:pt x="669" y="1057"/>
                  </a:lnTo>
                  <a:lnTo>
                    <a:pt x="672" y="1057"/>
                  </a:lnTo>
                  <a:close/>
                  <a:moveTo>
                    <a:pt x="667" y="1057"/>
                  </a:moveTo>
                  <a:lnTo>
                    <a:pt x="664" y="1057"/>
                  </a:lnTo>
                  <a:lnTo>
                    <a:pt x="667" y="1057"/>
                  </a:lnTo>
                  <a:close/>
                  <a:moveTo>
                    <a:pt x="520" y="1057"/>
                  </a:moveTo>
                  <a:lnTo>
                    <a:pt x="522" y="1057"/>
                  </a:lnTo>
                  <a:lnTo>
                    <a:pt x="522" y="1060"/>
                  </a:lnTo>
                  <a:lnTo>
                    <a:pt x="520" y="1057"/>
                  </a:lnTo>
                  <a:close/>
                  <a:moveTo>
                    <a:pt x="662" y="1057"/>
                  </a:moveTo>
                  <a:lnTo>
                    <a:pt x="664" y="1057"/>
                  </a:lnTo>
                  <a:lnTo>
                    <a:pt x="662" y="1057"/>
                  </a:lnTo>
                  <a:close/>
                  <a:moveTo>
                    <a:pt x="672" y="1057"/>
                  </a:moveTo>
                  <a:lnTo>
                    <a:pt x="674" y="1057"/>
                  </a:lnTo>
                  <a:lnTo>
                    <a:pt x="672" y="1057"/>
                  </a:lnTo>
                  <a:lnTo>
                    <a:pt x="674" y="1057"/>
                  </a:lnTo>
                  <a:lnTo>
                    <a:pt x="676" y="1057"/>
                  </a:lnTo>
                  <a:lnTo>
                    <a:pt x="676" y="1060"/>
                  </a:lnTo>
                  <a:lnTo>
                    <a:pt x="676" y="1057"/>
                  </a:lnTo>
                  <a:lnTo>
                    <a:pt x="676" y="1060"/>
                  </a:lnTo>
                  <a:lnTo>
                    <a:pt x="674" y="1060"/>
                  </a:lnTo>
                  <a:lnTo>
                    <a:pt x="674" y="1057"/>
                  </a:lnTo>
                  <a:lnTo>
                    <a:pt x="672" y="1057"/>
                  </a:lnTo>
                  <a:close/>
                  <a:moveTo>
                    <a:pt x="672" y="1057"/>
                  </a:moveTo>
                  <a:lnTo>
                    <a:pt x="669" y="1057"/>
                  </a:lnTo>
                  <a:lnTo>
                    <a:pt x="672" y="1057"/>
                  </a:lnTo>
                  <a:close/>
                  <a:moveTo>
                    <a:pt x="683" y="1057"/>
                  </a:moveTo>
                  <a:lnTo>
                    <a:pt x="683" y="1055"/>
                  </a:lnTo>
                  <a:lnTo>
                    <a:pt x="683" y="1057"/>
                  </a:lnTo>
                  <a:close/>
                  <a:moveTo>
                    <a:pt x="657" y="1057"/>
                  </a:moveTo>
                  <a:lnTo>
                    <a:pt x="660" y="1057"/>
                  </a:lnTo>
                  <a:lnTo>
                    <a:pt x="662" y="1057"/>
                  </a:lnTo>
                  <a:lnTo>
                    <a:pt x="662" y="1060"/>
                  </a:lnTo>
                  <a:lnTo>
                    <a:pt x="660" y="1060"/>
                  </a:lnTo>
                  <a:lnTo>
                    <a:pt x="660" y="1057"/>
                  </a:lnTo>
                  <a:lnTo>
                    <a:pt x="660" y="1060"/>
                  </a:lnTo>
                  <a:lnTo>
                    <a:pt x="657" y="1060"/>
                  </a:lnTo>
                  <a:lnTo>
                    <a:pt x="657" y="1057"/>
                  </a:lnTo>
                  <a:lnTo>
                    <a:pt x="657" y="1060"/>
                  </a:lnTo>
                  <a:lnTo>
                    <a:pt x="655" y="1060"/>
                  </a:lnTo>
                  <a:lnTo>
                    <a:pt x="657" y="1060"/>
                  </a:lnTo>
                  <a:lnTo>
                    <a:pt x="657" y="1057"/>
                  </a:lnTo>
                  <a:lnTo>
                    <a:pt x="657" y="1055"/>
                  </a:lnTo>
                  <a:lnTo>
                    <a:pt x="657" y="1057"/>
                  </a:lnTo>
                  <a:lnTo>
                    <a:pt x="660" y="1057"/>
                  </a:lnTo>
                  <a:lnTo>
                    <a:pt x="657" y="1057"/>
                  </a:lnTo>
                  <a:close/>
                  <a:moveTo>
                    <a:pt x="498" y="1055"/>
                  </a:moveTo>
                  <a:lnTo>
                    <a:pt x="498" y="1057"/>
                  </a:lnTo>
                  <a:lnTo>
                    <a:pt x="498" y="1055"/>
                  </a:lnTo>
                  <a:close/>
                  <a:moveTo>
                    <a:pt x="657" y="1057"/>
                  </a:moveTo>
                  <a:lnTo>
                    <a:pt x="657" y="1055"/>
                  </a:lnTo>
                  <a:lnTo>
                    <a:pt x="657" y="1057"/>
                  </a:lnTo>
                  <a:close/>
                  <a:moveTo>
                    <a:pt x="672" y="1055"/>
                  </a:moveTo>
                  <a:lnTo>
                    <a:pt x="669" y="1055"/>
                  </a:lnTo>
                  <a:lnTo>
                    <a:pt x="672" y="1055"/>
                  </a:lnTo>
                  <a:lnTo>
                    <a:pt x="669" y="1055"/>
                  </a:lnTo>
                  <a:lnTo>
                    <a:pt x="672" y="1055"/>
                  </a:lnTo>
                  <a:lnTo>
                    <a:pt x="669" y="1055"/>
                  </a:lnTo>
                  <a:lnTo>
                    <a:pt x="672" y="1055"/>
                  </a:lnTo>
                  <a:close/>
                  <a:moveTo>
                    <a:pt x="517" y="1055"/>
                  </a:moveTo>
                  <a:lnTo>
                    <a:pt x="515" y="1055"/>
                  </a:lnTo>
                  <a:lnTo>
                    <a:pt x="517" y="1055"/>
                  </a:lnTo>
                  <a:close/>
                  <a:moveTo>
                    <a:pt x="667" y="1053"/>
                  </a:moveTo>
                  <a:lnTo>
                    <a:pt x="667" y="1055"/>
                  </a:lnTo>
                  <a:lnTo>
                    <a:pt x="667" y="1053"/>
                  </a:lnTo>
                  <a:lnTo>
                    <a:pt x="669" y="1055"/>
                  </a:lnTo>
                  <a:lnTo>
                    <a:pt x="669" y="1057"/>
                  </a:lnTo>
                  <a:lnTo>
                    <a:pt x="669" y="1060"/>
                  </a:lnTo>
                  <a:lnTo>
                    <a:pt x="667" y="1060"/>
                  </a:lnTo>
                  <a:lnTo>
                    <a:pt x="667" y="1057"/>
                  </a:lnTo>
                  <a:lnTo>
                    <a:pt x="664" y="1057"/>
                  </a:lnTo>
                  <a:lnTo>
                    <a:pt x="664" y="1055"/>
                  </a:lnTo>
                  <a:lnTo>
                    <a:pt x="662" y="1055"/>
                  </a:lnTo>
                  <a:lnTo>
                    <a:pt x="660" y="1055"/>
                  </a:lnTo>
                  <a:lnTo>
                    <a:pt x="662" y="1055"/>
                  </a:lnTo>
                  <a:lnTo>
                    <a:pt x="660" y="1055"/>
                  </a:lnTo>
                  <a:lnTo>
                    <a:pt x="662" y="1055"/>
                  </a:lnTo>
                  <a:lnTo>
                    <a:pt x="660" y="1055"/>
                  </a:lnTo>
                  <a:lnTo>
                    <a:pt x="662" y="1055"/>
                  </a:lnTo>
                  <a:lnTo>
                    <a:pt x="664" y="1055"/>
                  </a:lnTo>
                  <a:lnTo>
                    <a:pt x="667" y="1055"/>
                  </a:lnTo>
                  <a:lnTo>
                    <a:pt x="667" y="1057"/>
                  </a:lnTo>
                  <a:lnTo>
                    <a:pt x="667" y="1055"/>
                  </a:lnTo>
                  <a:lnTo>
                    <a:pt x="667" y="1057"/>
                  </a:lnTo>
                  <a:lnTo>
                    <a:pt x="669" y="1057"/>
                  </a:lnTo>
                  <a:lnTo>
                    <a:pt x="667" y="1057"/>
                  </a:lnTo>
                  <a:lnTo>
                    <a:pt x="667" y="1055"/>
                  </a:lnTo>
                  <a:lnTo>
                    <a:pt x="667" y="1057"/>
                  </a:lnTo>
                  <a:lnTo>
                    <a:pt x="667" y="1055"/>
                  </a:lnTo>
                  <a:lnTo>
                    <a:pt x="669" y="1055"/>
                  </a:lnTo>
                  <a:lnTo>
                    <a:pt x="667" y="1055"/>
                  </a:lnTo>
                  <a:lnTo>
                    <a:pt x="667" y="1053"/>
                  </a:lnTo>
                  <a:close/>
                  <a:moveTo>
                    <a:pt x="669" y="1053"/>
                  </a:moveTo>
                  <a:lnTo>
                    <a:pt x="669" y="1055"/>
                  </a:lnTo>
                  <a:lnTo>
                    <a:pt x="669" y="1053"/>
                  </a:lnTo>
                  <a:close/>
                  <a:moveTo>
                    <a:pt x="672" y="1055"/>
                  </a:moveTo>
                  <a:lnTo>
                    <a:pt x="669" y="1055"/>
                  </a:lnTo>
                  <a:lnTo>
                    <a:pt x="672" y="1055"/>
                  </a:lnTo>
                  <a:lnTo>
                    <a:pt x="669" y="1055"/>
                  </a:lnTo>
                  <a:lnTo>
                    <a:pt x="672" y="1055"/>
                  </a:lnTo>
                  <a:lnTo>
                    <a:pt x="672" y="1053"/>
                  </a:lnTo>
                  <a:lnTo>
                    <a:pt x="672" y="1055"/>
                  </a:lnTo>
                  <a:close/>
                  <a:moveTo>
                    <a:pt x="669" y="1053"/>
                  </a:moveTo>
                  <a:lnTo>
                    <a:pt x="669" y="1055"/>
                  </a:lnTo>
                  <a:lnTo>
                    <a:pt x="667" y="1053"/>
                  </a:lnTo>
                  <a:lnTo>
                    <a:pt x="669" y="1053"/>
                  </a:lnTo>
                  <a:lnTo>
                    <a:pt x="669" y="1055"/>
                  </a:lnTo>
                  <a:lnTo>
                    <a:pt x="669" y="1053"/>
                  </a:lnTo>
                  <a:lnTo>
                    <a:pt x="669" y="1055"/>
                  </a:lnTo>
                  <a:lnTo>
                    <a:pt x="669" y="1053"/>
                  </a:lnTo>
                  <a:close/>
                  <a:moveTo>
                    <a:pt x="660" y="1053"/>
                  </a:moveTo>
                  <a:lnTo>
                    <a:pt x="662" y="1053"/>
                  </a:lnTo>
                  <a:lnTo>
                    <a:pt x="660" y="1053"/>
                  </a:lnTo>
                  <a:lnTo>
                    <a:pt x="662" y="1053"/>
                  </a:lnTo>
                  <a:lnTo>
                    <a:pt x="660" y="1055"/>
                  </a:lnTo>
                  <a:lnTo>
                    <a:pt x="660" y="1053"/>
                  </a:lnTo>
                  <a:lnTo>
                    <a:pt x="660" y="1055"/>
                  </a:lnTo>
                  <a:lnTo>
                    <a:pt x="660" y="1053"/>
                  </a:lnTo>
                  <a:lnTo>
                    <a:pt x="657" y="1055"/>
                  </a:lnTo>
                  <a:lnTo>
                    <a:pt x="660" y="1053"/>
                  </a:lnTo>
                  <a:close/>
                  <a:moveTo>
                    <a:pt x="662" y="1053"/>
                  </a:moveTo>
                  <a:lnTo>
                    <a:pt x="662" y="1055"/>
                  </a:lnTo>
                  <a:lnTo>
                    <a:pt x="662" y="1053"/>
                  </a:lnTo>
                  <a:close/>
                  <a:moveTo>
                    <a:pt x="776" y="1053"/>
                  </a:moveTo>
                  <a:lnTo>
                    <a:pt x="776" y="1055"/>
                  </a:lnTo>
                  <a:lnTo>
                    <a:pt x="776" y="1057"/>
                  </a:lnTo>
                  <a:lnTo>
                    <a:pt x="774" y="1057"/>
                  </a:lnTo>
                  <a:lnTo>
                    <a:pt x="776" y="1057"/>
                  </a:lnTo>
                  <a:lnTo>
                    <a:pt x="776" y="1055"/>
                  </a:lnTo>
                  <a:lnTo>
                    <a:pt x="776" y="1053"/>
                  </a:lnTo>
                  <a:close/>
                  <a:moveTo>
                    <a:pt x="662" y="1053"/>
                  </a:moveTo>
                  <a:lnTo>
                    <a:pt x="664" y="1053"/>
                  </a:lnTo>
                  <a:lnTo>
                    <a:pt x="662" y="1053"/>
                  </a:lnTo>
                  <a:close/>
                  <a:moveTo>
                    <a:pt x="778" y="1053"/>
                  </a:moveTo>
                  <a:lnTo>
                    <a:pt x="776" y="1053"/>
                  </a:lnTo>
                  <a:lnTo>
                    <a:pt x="778" y="1053"/>
                  </a:lnTo>
                  <a:close/>
                  <a:moveTo>
                    <a:pt x="676" y="1053"/>
                  </a:moveTo>
                  <a:lnTo>
                    <a:pt x="676" y="1055"/>
                  </a:lnTo>
                  <a:lnTo>
                    <a:pt x="676" y="1053"/>
                  </a:lnTo>
                  <a:close/>
                  <a:moveTo>
                    <a:pt x="498" y="1053"/>
                  </a:moveTo>
                  <a:lnTo>
                    <a:pt x="501" y="1053"/>
                  </a:lnTo>
                  <a:lnTo>
                    <a:pt x="501" y="1050"/>
                  </a:lnTo>
                  <a:lnTo>
                    <a:pt x="501" y="1053"/>
                  </a:lnTo>
                  <a:lnTo>
                    <a:pt x="498" y="1053"/>
                  </a:lnTo>
                  <a:close/>
                  <a:moveTo>
                    <a:pt x="674" y="1050"/>
                  </a:moveTo>
                  <a:lnTo>
                    <a:pt x="676" y="1050"/>
                  </a:lnTo>
                  <a:lnTo>
                    <a:pt x="676" y="1053"/>
                  </a:lnTo>
                  <a:lnTo>
                    <a:pt x="674" y="1053"/>
                  </a:lnTo>
                  <a:lnTo>
                    <a:pt x="674" y="1050"/>
                  </a:lnTo>
                  <a:lnTo>
                    <a:pt x="676" y="1053"/>
                  </a:lnTo>
                  <a:lnTo>
                    <a:pt x="674" y="1050"/>
                  </a:lnTo>
                  <a:close/>
                  <a:moveTo>
                    <a:pt x="676" y="1050"/>
                  </a:moveTo>
                  <a:lnTo>
                    <a:pt x="679" y="1050"/>
                  </a:lnTo>
                  <a:lnTo>
                    <a:pt x="676" y="1050"/>
                  </a:lnTo>
                  <a:lnTo>
                    <a:pt x="676" y="1053"/>
                  </a:lnTo>
                  <a:lnTo>
                    <a:pt x="676" y="1050"/>
                  </a:lnTo>
                  <a:close/>
                  <a:moveTo>
                    <a:pt x="498" y="1050"/>
                  </a:moveTo>
                  <a:lnTo>
                    <a:pt x="498" y="1053"/>
                  </a:lnTo>
                  <a:lnTo>
                    <a:pt x="496" y="1053"/>
                  </a:lnTo>
                  <a:lnTo>
                    <a:pt x="498" y="1053"/>
                  </a:lnTo>
                  <a:lnTo>
                    <a:pt x="496" y="1053"/>
                  </a:lnTo>
                  <a:lnTo>
                    <a:pt x="494" y="1053"/>
                  </a:lnTo>
                  <a:lnTo>
                    <a:pt x="496" y="1053"/>
                  </a:lnTo>
                  <a:lnTo>
                    <a:pt x="494" y="1053"/>
                  </a:lnTo>
                  <a:lnTo>
                    <a:pt x="491" y="1053"/>
                  </a:lnTo>
                  <a:lnTo>
                    <a:pt x="494" y="1053"/>
                  </a:lnTo>
                  <a:lnTo>
                    <a:pt x="494" y="1050"/>
                  </a:lnTo>
                  <a:lnTo>
                    <a:pt x="496" y="1050"/>
                  </a:lnTo>
                  <a:lnTo>
                    <a:pt x="498" y="1050"/>
                  </a:lnTo>
                  <a:close/>
                  <a:moveTo>
                    <a:pt x="664" y="1050"/>
                  </a:moveTo>
                  <a:lnTo>
                    <a:pt x="664" y="1053"/>
                  </a:lnTo>
                  <a:lnTo>
                    <a:pt x="662" y="1053"/>
                  </a:lnTo>
                  <a:lnTo>
                    <a:pt x="662" y="1050"/>
                  </a:lnTo>
                  <a:lnTo>
                    <a:pt x="662" y="1053"/>
                  </a:lnTo>
                  <a:lnTo>
                    <a:pt x="662" y="1050"/>
                  </a:lnTo>
                  <a:lnTo>
                    <a:pt x="662" y="1053"/>
                  </a:lnTo>
                  <a:lnTo>
                    <a:pt x="662" y="1050"/>
                  </a:lnTo>
                  <a:lnTo>
                    <a:pt x="662" y="1053"/>
                  </a:lnTo>
                  <a:lnTo>
                    <a:pt x="660" y="1053"/>
                  </a:lnTo>
                  <a:lnTo>
                    <a:pt x="662" y="1050"/>
                  </a:lnTo>
                  <a:lnTo>
                    <a:pt x="664" y="1050"/>
                  </a:lnTo>
                  <a:close/>
                  <a:moveTo>
                    <a:pt x="674" y="1050"/>
                  </a:moveTo>
                  <a:lnTo>
                    <a:pt x="676" y="1050"/>
                  </a:lnTo>
                  <a:lnTo>
                    <a:pt x="674" y="1050"/>
                  </a:lnTo>
                  <a:close/>
                  <a:moveTo>
                    <a:pt x="498" y="1050"/>
                  </a:moveTo>
                  <a:lnTo>
                    <a:pt x="501" y="1050"/>
                  </a:lnTo>
                  <a:lnTo>
                    <a:pt x="498" y="1050"/>
                  </a:lnTo>
                  <a:close/>
                  <a:moveTo>
                    <a:pt x="679" y="1048"/>
                  </a:moveTo>
                  <a:lnTo>
                    <a:pt x="679" y="1050"/>
                  </a:lnTo>
                  <a:lnTo>
                    <a:pt x="679" y="1048"/>
                  </a:lnTo>
                  <a:lnTo>
                    <a:pt x="679" y="1050"/>
                  </a:lnTo>
                  <a:lnTo>
                    <a:pt x="681" y="1050"/>
                  </a:lnTo>
                  <a:lnTo>
                    <a:pt x="679" y="1050"/>
                  </a:lnTo>
                  <a:lnTo>
                    <a:pt x="679" y="1048"/>
                  </a:lnTo>
                  <a:close/>
                  <a:moveTo>
                    <a:pt x="669" y="1048"/>
                  </a:moveTo>
                  <a:lnTo>
                    <a:pt x="669" y="1050"/>
                  </a:lnTo>
                  <a:lnTo>
                    <a:pt x="667" y="1050"/>
                  </a:lnTo>
                  <a:lnTo>
                    <a:pt x="669" y="1050"/>
                  </a:lnTo>
                  <a:lnTo>
                    <a:pt x="667" y="1050"/>
                  </a:lnTo>
                  <a:lnTo>
                    <a:pt x="664" y="1050"/>
                  </a:lnTo>
                  <a:lnTo>
                    <a:pt x="667" y="1050"/>
                  </a:lnTo>
                  <a:lnTo>
                    <a:pt x="667" y="1048"/>
                  </a:lnTo>
                  <a:lnTo>
                    <a:pt x="669" y="1048"/>
                  </a:lnTo>
                  <a:close/>
                  <a:moveTo>
                    <a:pt x="496" y="1048"/>
                  </a:moveTo>
                  <a:lnTo>
                    <a:pt x="498" y="1048"/>
                  </a:lnTo>
                  <a:lnTo>
                    <a:pt x="496" y="1048"/>
                  </a:lnTo>
                  <a:close/>
                  <a:moveTo>
                    <a:pt x="503" y="1048"/>
                  </a:moveTo>
                  <a:lnTo>
                    <a:pt x="501" y="1048"/>
                  </a:lnTo>
                  <a:lnTo>
                    <a:pt x="503" y="1048"/>
                  </a:lnTo>
                  <a:lnTo>
                    <a:pt x="503" y="1045"/>
                  </a:lnTo>
                  <a:lnTo>
                    <a:pt x="503" y="1048"/>
                  </a:lnTo>
                  <a:close/>
                  <a:moveTo>
                    <a:pt x="1253" y="1045"/>
                  </a:moveTo>
                  <a:lnTo>
                    <a:pt x="1253" y="1048"/>
                  </a:lnTo>
                  <a:lnTo>
                    <a:pt x="1250" y="1048"/>
                  </a:lnTo>
                  <a:lnTo>
                    <a:pt x="1250" y="1045"/>
                  </a:lnTo>
                  <a:lnTo>
                    <a:pt x="1253" y="1045"/>
                  </a:lnTo>
                  <a:close/>
                  <a:moveTo>
                    <a:pt x="494" y="1043"/>
                  </a:moveTo>
                  <a:lnTo>
                    <a:pt x="494" y="1041"/>
                  </a:lnTo>
                  <a:lnTo>
                    <a:pt x="494" y="1043"/>
                  </a:lnTo>
                  <a:close/>
                  <a:moveTo>
                    <a:pt x="496" y="1043"/>
                  </a:moveTo>
                  <a:lnTo>
                    <a:pt x="496" y="1041"/>
                  </a:lnTo>
                  <a:lnTo>
                    <a:pt x="496" y="1043"/>
                  </a:lnTo>
                  <a:close/>
                  <a:moveTo>
                    <a:pt x="496" y="1041"/>
                  </a:moveTo>
                  <a:lnTo>
                    <a:pt x="496" y="1043"/>
                  </a:lnTo>
                  <a:lnTo>
                    <a:pt x="494" y="1043"/>
                  </a:lnTo>
                  <a:lnTo>
                    <a:pt x="496" y="1043"/>
                  </a:lnTo>
                  <a:lnTo>
                    <a:pt x="494" y="1043"/>
                  </a:lnTo>
                  <a:lnTo>
                    <a:pt x="494" y="1041"/>
                  </a:lnTo>
                  <a:lnTo>
                    <a:pt x="496" y="1041"/>
                  </a:lnTo>
                  <a:close/>
                  <a:moveTo>
                    <a:pt x="503" y="1041"/>
                  </a:moveTo>
                  <a:lnTo>
                    <a:pt x="501" y="1041"/>
                  </a:lnTo>
                  <a:lnTo>
                    <a:pt x="503" y="1041"/>
                  </a:lnTo>
                  <a:close/>
                  <a:moveTo>
                    <a:pt x="479" y="1041"/>
                  </a:moveTo>
                  <a:lnTo>
                    <a:pt x="477" y="1041"/>
                  </a:lnTo>
                  <a:lnTo>
                    <a:pt x="479" y="1041"/>
                  </a:lnTo>
                  <a:close/>
                  <a:moveTo>
                    <a:pt x="496" y="1041"/>
                  </a:moveTo>
                  <a:lnTo>
                    <a:pt x="494" y="1041"/>
                  </a:lnTo>
                  <a:lnTo>
                    <a:pt x="496" y="1041"/>
                  </a:lnTo>
                  <a:close/>
                  <a:moveTo>
                    <a:pt x="503" y="1041"/>
                  </a:moveTo>
                  <a:lnTo>
                    <a:pt x="501" y="1041"/>
                  </a:lnTo>
                  <a:lnTo>
                    <a:pt x="503" y="1041"/>
                  </a:lnTo>
                  <a:close/>
                  <a:moveTo>
                    <a:pt x="496" y="1041"/>
                  </a:moveTo>
                  <a:lnTo>
                    <a:pt x="496" y="1038"/>
                  </a:lnTo>
                  <a:lnTo>
                    <a:pt x="496" y="1041"/>
                  </a:lnTo>
                  <a:close/>
                  <a:moveTo>
                    <a:pt x="505" y="1041"/>
                  </a:moveTo>
                  <a:lnTo>
                    <a:pt x="503" y="1041"/>
                  </a:lnTo>
                  <a:lnTo>
                    <a:pt x="503" y="1038"/>
                  </a:lnTo>
                  <a:lnTo>
                    <a:pt x="505" y="1041"/>
                  </a:lnTo>
                  <a:lnTo>
                    <a:pt x="503" y="1041"/>
                  </a:lnTo>
                  <a:lnTo>
                    <a:pt x="505" y="1041"/>
                  </a:lnTo>
                  <a:close/>
                  <a:moveTo>
                    <a:pt x="503" y="1041"/>
                  </a:moveTo>
                  <a:lnTo>
                    <a:pt x="503" y="1038"/>
                  </a:lnTo>
                  <a:lnTo>
                    <a:pt x="503" y="1041"/>
                  </a:lnTo>
                  <a:close/>
                  <a:moveTo>
                    <a:pt x="1241" y="1038"/>
                  </a:moveTo>
                  <a:lnTo>
                    <a:pt x="1241" y="1041"/>
                  </a:lnTo>
                  <a:lnTo>
                    <a:pt x="1241" y="1038"/>
                  </a:lnTo>
                  <a:close/>
                  <a:moveTo>
                    <a:pt x="498" y="1038"/>
                  </a:moveTo>
                  <a:lnTo>
                    <a:pt x="498" y="1041"/>
                  </a:lnTo>
                  <a:lnTo>
                    <a:pt x="498" y="1038"/>
                  </a:lnTo>
                  <a:close/>
                  <a:moveTo>
                    <a:pt x="501" y="1038"/>
                  </a:moveTo>
                  <a:lnTo>
                    <a:pt x="498" y="1038"/>
                  </a:lnTo>
                  <a:lnTo>
                    <a:pt x="501" y="1038"/>
                  </a:lnTo>
                  <a:close/>
                  <a:moveTo>
                    <a:pt x="520" y="1038"/>
                  </a:moveTo>
                  <a:lnTo>
                    <a:pt x="522" y="1038"/>
                  </a:lnTo>
                  <a:lnTo>
                    <a:pt x="520" y="1038"/>
                  </a:lnTo>
                  <a:close/>
                  <a:moveTo>
                    <a:pt x="672" y="1041"/>
                  </a:moveTo>
                  <a:lnTo>
                    <a:pt x="674" y="1041"/>
                  </a:lnTo>
                  <a:lnTo>
                    <a:pt x="672" y="1041"/>
                  </a:lnTo>
                  <a:lnTo>
                    <a:pt x="672" y="1043"/>
                  </a:lnTo>
                  <a:lnTo>
                    <a:pt x="674" y="1043"/>
                  </a:lnTo>
                  <a:lnTo>
                    <a:pt x="672" y="1043"/>
                  </a:lnTo>
                  <a:lnTo>
                    <a:pt x="674" y="1043"/>
                  </a:lnTo>
                  <a:lnTo>
                    <a:pt x="672" y="1043"/>
                  </a:lnTo>
                  <a:lnTo>
                    <a:pt x="674" y="1045"/>
                  </a:lnTo>
                  <a:lnTo>
                    <a:pt x="672" y="1045"/>
                  </a:lnTo>
                  <a:lnTo>
                    <a:pt x="672" y="1043"/>
                  </a:lnTo>
                  <a:lnTo>
                    <a:pt x="669" y="1043"/>
                  </a:lnTo>
                  <a:lnTo>
                    <a:pt x="672" y="1043"/>
                  </a:lnTo>
                  <a:lnTo>
                    <a:pt x="669" y="1043"/>
                  </a:lnTo>
                  <a:lnTo>
                    <a:pt x="669" y="1041"/>
                  </a:lnTo>
                  <a:lnTo>
                    <a:pt x="669" y="1038"/>
                  </a:lnTo>
                  <a:lnTo>
                    <a:pt x="672" y="1038"/>
                  </a:lnTo>
                  <a:lnTo>
                    <a:pt x="672" y="1041"/>
                  </a:lnTo>
                  <a:close/>
                  <a:moveTo>
                    <a:pt x="494" y="1038"/>
                  </a:moveTo>
                  <a:lnTo>
                    <a:pt x="491" y="1038"/>
                  </a:lnTo>
                  <a:lnTo>
                    <a:pt x="494" y="1038"/>
                  </a:lnTo>
                  <a:lnTo>
                    <a:pt x="491" y="1038"/>
                  </a:lnTo>
                  <a:lnTo>
                    <a:pt x="494" y="1038"/>
                  </a:lnTo>
                  <a:lnTo>
                    <a:pt x="494" y="1036"/>
                  </a:lnTo>
                  <a:lnTo>
                    <a:pt x="494" y="1038"/>
                  </a:lnTo>
                  <a:close/>
                  <a:moveTo>
                    <a:pt x="496" y="1038"/>
                  </a:moveTo>
                  <a:lnTo>
                    <a:pt x="496" y="1036"/>
                  </a:lnTo>
                  <a:lnTo>
                    <a:pt x="496" y="1038"/>
                  </a:lnTo>
                  <a:close/>
                  <a:moveTo>
                    <a:pt x="669" y="1038"/>
                  </a:moveTo>
                  <a:lnTo>
                    <a:pt x="669" y="1036"/>
                  </a:lnTo>
                  <a:lnTo>
                    <a:pt x="669" y="1038"/>
                  </a:lnTo>
                  <a:close/>
                  <a:moveTo>
                    <a:pt x="529" y="1036"/>
                  </a:moveTo>
                  <a:lnTo>
                    <a:pt x="532" y="1036"/>
                  </a:lnTo>
                  <a:lnTo>
                    <a:pt x="529" y="1036"/>
                  </a:lnTo>
                  <a:lnTo>
                    <a:pt x="532" y="1036"/>
                  </a:lnTo>
                  <a:lnTo>
                    <a:pt x="529" y="1036"/>
                  </a:lnTo>
                  <a:lnTo>
                    <a:pt x="532" y="1036"/>
                  </a:lnTo>
                  <a:lnTo>
                    <a:pt x="529" y="1036"/>
                  </a:lnTo>
                  <a:close/>
                  <a:moveTo>
                    <a:pt x="1231" y="1034"/>
                  </a:moveTo>
                  <a:lnTo>
                    <a:pt x="1231" y="1036"/>
                  </a:lnTo>
                  <a:lnTo>
                    <a:pt x="1231" y="1034"/>
                  </a:lnTo>
                  <a:close/>
                  <a:moveTo>
                    <a:pt x="532" y="1034"/>
                  </a:moveTo>
                  <a:lnTo>
                    <a:pt x="532" y="1036"/>
                  </a:lnTo>
                  <a:lnTo>
                    <a:pt x="529" y="1036"/>
                  </a:lnTo>
                  <a:lnTo>
                    <a:pt x="527" y="1036"/>
                  </a:lnTo>
                  <a:lnTo>
                    <a:pt x="527" y="1034"/>
                  </a:lnTo>
                  <a:lnTo>
                    <a:pt x="527" y="1036"/>
                  </a:lnTo>
                  <a:lnTo>
                    <a:pt x="527" y="1034"/>
                  </a:lnTo>
                  <a:lnTo>
                    <a:pt x="529" y="1034"/>
                  </a:lnTo>
                  <a:lnTo>
                    <a:pt x="532" y="1034"/>
                  </a:lnTo>
                  <a:close/>
                  <a:moveTo>
                    <a:pt x="491" y="1031"/>
                  </a:moveTo>
                  <a:lnTo>
                    <a:pt x="494" y="1031"/>
                  </a:lnTo>
                  <a:lnTo>
                    <a:pt x="491" y="1031"/>
                  </a:lnTo>
                  <a:lnTo>
                    <a:pt x="491" y="1034"/>
                  </a:lnTo>
                  <a:lnTo>
                    <a:pt x="491" y="1031"/>
                  </a:lnTo>
                  <a:close/>
                  <a:moveTo>
                    <a:pt x="489" y="1029"/>
                  </a:moveTo>
                  <a:lnTo>
                    <a:pt x="489" y="1031"/>
                  </a:lnTo>
                  <a:lnTo>
                    <a:pt x="486" y="1031"/>
                  </a:lnTo>
                  <a:lnTo>
                    <a:pt x="489" y="1031"/>
                  </a:lnTo>
                  <a:lnTo>
                    <a:pt x="489" y="1029"/>
                  </a:lnTo>
                  <a:close/>
                  <a:moveTo>
                    <a:pt x="1227" y="1029"/>
                  </a:moveTo>
                  <a:lnTo>
                    <a:pt x="1227" y="1031"/>
                  </a:lnTo>
                  <a:lnTo>
                    <a:pt x="1227" y="1029"/>
                  </a:lnTo>
                  <a:lnTo>
                    <a:pt x="1227" y="1031"/>
                  </a:lnTo>
                  <a:lnTo>
                    <a:pt x="1227" y="1029"/>
                  </a:lnTo>
                  <a:close/>
                  <a:moveTo>
                    <a:pt x="1118" y="1029"/>
                  </a:moveTo>
                  <a:lnTo>
                    <a:pt x="1120" y="1031"/>
                  </a:lnTo>
                  <a:lnTo>
                    <a:pt x="1122" y="1031"/>
                  </a:lnTo>
                  <a:lnTo>
                    <a:pt x="1122" y="1034"/>
                  </a:lnTo>
                  <a:lnTo>
                    <a:pt x="1120" y="1034"/>
                  </a:lnTo>
                  <a:lnTo>
                    <a:pt x="1120" y="1031"/>
                  </a:lnTo>
                  <a:lnTo>
                    <a:pt x="1118" y="1031"/>
                  </a:lnTo>
                  <a:lnTo>
                    <a:pt x="1118" y="1029"/>
                  </a:lnTo>
                  <a:close/>
                  <a:moveTo>
                    <a:pt x="1231" y="1029"/>
                  </a:moveTo>
                  <a:lnTo>
                    <a:pt x="1231" y="1031"/>
                  </a:lnTo>
                  <a:lnTo>
                    <a:pt x="1231" y="1029"/>
                  </a:lnTo>
                  <a:close/>
                  <a:moveTo>
                    <a:pt x="1231" y="1029"/>
                  </a:moveTo>
                  <a:lnTo>
                    <a:pt x="1229" y="1031"/>
                  </a:lnTo>
                  <a:lnTo>
                    <a:pt x="1229" y="1029"/>
                  </a:lnTo>
                  <a:lnTo>
                    <a:pt x="1229" y="1031"/>
                  </a:lnTo>
                  <a:lnTo>
                    <a:pt x="1229" y="1029"/>
                  </a:lnTo>
                  <a:lnTo>
                    <a:pt x="1231" y="1029"/>
                  </a:lnTo>
                  <a:close/>
                  <a:moveTo>
                    <a:pt x="489" y="1029"/>
                  </a:moveTo>
                  <a:lnTo>
                    <a:pt x="486" y="1029"/>
                  </a:lnTo>
                  <a:lnTo>
                    <a:pt x="489" y="1029"/>
                  </a:lnTo>
                  <a:close/>
                  <a:moveTo>
                    <a:pt x="520" y="1029"/>
                  </a:moveTo>
                  <a:lnTo>
                    <a:pt x="517" y="1029"/>
                  </a:lnTo>
                  <a:lnTo>
                    <a:pt x="520" y="1029"/>
                  </a:lnTo>
                  <a:lnTo>
                    <a:pt x="517" y="1029"/>
                  </a:lnTo>
                  <a:lnTo>
                    <a:pt x="520" y="1029"/>
                  </a:lnTo>
                  <a:close/>
                  <a:moveTo>
                    <a:pt x="847" y="1029"/>
                  </a:moveTo>
                  <a:lnTo>
                    <a:pt x="845" y="1029"/>
                  </a:lnTo>
                  <a:lnTo>
                    <a:pt x="847" y="1029"/>
                  </a:lnTo>
                  <a:close/>
                  <a:moveTo>
                    <a:pt x="522" y="1026"/>
                  </a:moveTo>
                  <a:lnTo>
                    <a:pt x="524" y="1026"/>
                  </a:lnTo>
                  <a:lnTo>
                    <a:pt x="524" y="1029"/>
                  </a:lnTo>
                  <a:lnTo>
                    <a:pt x="527" y="1029"/>
                  </a:lnTo>
                  <a:lnTo>
                    <a:pt x="524" y="1029"/>
                  </a:lnTo>
                  <a:lnTo>
                    <a:pt x="527" y="1031"/>
                  </a:lnTo>
                  <a:lnTo>
                    <a:pt x="524" y="1031"/>
                  </a:lnTo>
                  <a:lnTo>
                    <a:pt x="527" y="1031"/>
                  </a:lnTo>
                  <a:lnTo>
                    <a:pt x="527" y="1034"/>
                  </a:lnTo>
                  <a:lnTo>
                    <a:pt x="524" y="1034"/>
                  </a:lnTo>
                  <a:lnTo>
                    <a:pt x="524" y="1031"/>
                  </a:lnTo>
                  <a:lnTo>
                    <a:pt x="524" y="1034"/>
                  </a:lnTo>
                  <a:lnTo>
                    <a:pt x="522" y="1034"/>
                  </a:lnTo>
                  <a:lnTo>
                    <a:pt x="524" y="1034"/>
                  </a:lnTo>
                  <a:lnTo>
                    <a:pt x="522" y="1034"/>
                  </a:lnTo>
                  <a:lnTo>
                    <a:pt x="524" y="1034"/>
                  </a:lnTo>
                  <a:lnTo>
                    <a:pt x="527" y="1034"/>
                  </a:lnTo>
                  <a:lnTo>
                    <a:pt x="527" y="1036"/>
                  </a:lnTo>
                  <a:lnTo>
                    <a:pt x="527" y="1038"/>
                  </a:lnTo>
                  <a:lnTo>
                    <a:pt x="524" y="1038"/>
                  </a:lnTo>
                  <a:lnTo>
                    <a:pt x="522" y="1038"/>
                  </a:lnTo>
                  <a:lnTo>
                    <a:pt x="522" y="1036"/>
                  </a:lnTo>
                  <a:lnTo>
                    <a:pt x="520" y="1036"/>
                  </a:lnTo>
                  <a:lnTo>
                    <a:pt x="522" y="1036"/>
                  </a:lnTo>
                  <a:lnTo>
                    <a:pt x="520" y="1036"/>
                  </a:lnTo>
                  <a:lnTo>
                    <a:pt x="520" y="1034"/>
                  </a:lnTo>
                  <a:lnTo>
                    <a:pt x="520" y="1036"/>
                  </a:lnTo>
                  <a:lnTo>
                    <a:pt x="520" y="1034"/>
                  </a:lnTo>
                  <a:lnTo>
                    <a:pt x="520" y="1036"/>
                  </a:lnTo>
                  <a:lnTo>
                    <a:pt x="520" y="1034"/>
                  </a:lnTo>
                  <a:lnTo>
                    <a:pt x="517" y="1034"/>
                  </a:lnTo>
                  <a:lnTo>
                    <a:pt x="515" y="1034"/>
                  </a:lnTo>
                  <a:lnTo>
                    <a:pt x="515" y="1031"/>
                  </a:lnTo>
                  <a:lnTo>
                    <a:pt x="515" y="1029"/>
                  </a:lnTo>
                  <a:lnTo>
                    <a:pt x="517" y="1029"/>
                  </a:lnTo>
                  <a:lnTo>
                    <a:pt x="520" y="1029"/>
                  </a:lnTo>
                  <a:lnTo>
                    <a:pt x="520" y="1026"/>
                  </a:lnTo>
                  <a:lnTo>
                    <a:pt x="522" y="1026"/>
                  </a:lnTo>
                  <a:close/>
                  <a:moveTo>
                    <a:pt x="532" y="1026"/>
                  </a:moveTo>
                  <a:lnTo>
                    <a:pt x="529" y="1026"/>
                  </a:lnTo>
                  <a:lnTo>
                    <a:pt x="529" y="1029"/>
                  </a:lnTo>
                  <a:lnTo>
                    <a:pt x="532" y="1029"/>
                  </a:lnTo>
                  <a:lnTo>
                    <a:pt x="532" y="1026"/>
                  </a:lnTo>
                  <a:lnTo>
                    <a:pt x="529" y="1026"/>
                  </a:lnTo>
                  <a:lnTo>
                    <a:pt x="532" y="1026"/>
                  </a:lnTo>
                  <a:lnTo>
                    <a:pt x="534" y="1026"/>
                  </a:lnTo>
                  <a:lnTo>
                    <a:pt x="534" y="1029"/>
                  </a:lnTo>
                  <a:lnTo>
                    <a:pt x="536" y="1029"/>
                  </a:lnTo>
                  <a:lnTo>
                    <a:pt x="539" y="1029"/>
                  </a:lnTo>
                  <a:lnTo>
                    <a:pt x="539" y="1026"/>
                  </a:lnTo>
                  <a:lnTo>
                    <a:pt x="541" y="1026"/>
                  </a:lnTo>
                  <a:lnTo>
                    <a:pt x="541" y="1029"/>
                  </a:lnTo>
                  <a:lnTo>
                    <a:pt x="539" y="1029"/>
                  </a:lnTo>
                  <a:lnTo>
                    <a:pt x="536" y="1029"/>
                  </a:lnTo>
                  <a:lnTo>
                    <a:pt x="534" y="1029"/>
                  </a:lnTo>
                  <a:lnTo>
                    <a:pt x="532" y="1029"/>
                  </a:lnTo>
                  <a:lnTo>
                    <a:pt x="529" y="1029"/>
                  </a:lnTo>
                  <a:lnTo>
                    <a:pt x="529" y="1026"/>
                  </a:lnTo>
                  <a:lnTo>
                    <a:pt x="532" y="1026"/>
                  </a:lnTo>
                  <a:close/>
                  <a:moveTo>
                    <a:pt x="842" y="1026"/>
                  </a:moveTo>
                  <a:lnTo>
                    <a:pt x="840" y="1026"/>
                  </a:lnTo>
                  <a:lnTo>
                    <a:pt x="842" y="1026"/>
                  </a:lnTo>
                  <a:lnTo>
                    <a:pt x="840" y="1026"/>
                  </a:lnTo>
                  <a:lnTo>
                    <a:pt x="842" y="1026"/>
                  </a:lnTo>
                  <a:close/>
                  <a:moveTo>
                    <a:pt x="840" y="1026"/>
                  </a:moveTo>
                  <a:lnTo>
                    <a:pt x="840" y="1024"/>
                  </a:lnTo>
                  <a:lnTo>
                    <a:pt x="840" y="1026"/>
                  </a:lnTo>
                  <a:close/>
                  <a:moveTo>
                    <a:pt x="558" y="1024"/>
                  </a:moveTo>
                  <a:lnTo>
                    <a:pt x="558" y="1026"/>
                  </a:lnTo>
                  <a:lnTo>
                    <a:pt x="558" y="1024"/>
                  </a:lnTo>
                  <a:lnTo>
                    <a:pt x="560" y="1024"/>
                  </a:lnTo>
                  <a:lnTo>
                    <a:pt x="558" y="1024"/>
                  </a:lnTo>
                  <a:close/>
                  <a:moveTo>
                    <a:pt x="1227" y="1024"/>
                  </a:moveTo>
                  <a:lnTo>
                    <a:pt x="1224" y="1024"/>
                  </a:lnTo>
                  <a:lnTo>
                    <a:pt x="1227" y="1024"/>
                  </a:lnTo>
                  <a:close/>
                  <a:moveTo>
                    <a:pt x="835" y="1024"/>
                  </a:moveTo>
                  <a:lnTo>
                    <a:pt x="835" y="1022"/>
                  </a:lnTo>
                  <a:lnTo>
                    <a:pt x="835" y="1024"/>
                  </a:lnTo>
                  <a:close/>
                  <a:moveTo>
                    <a:pt x="1227" y="1022"/>
                  </a:moveTo>
                  <a:lnTo>
                    <a:pt x="1227" y="1024"/>
                  </a:lnTo>
                  <a:lnTo>
                    <a:pt x="1224" y="1024"/>
                  </a:lnTo>
                  <a:lnTo>
                    <a:pt x="1224" y="1022"/>
                  </a:lnTo>
                  <a:lnTo>
                    <a:pt x="1227" y="1022"/>
                  </a:lnTo>
                  <a:lnTo>
                    <a:pt x="1224" y="1022"/>
                  </a:lnTo>
                  <a:lnTo>
                    <a:pt x="1227" y="1022"/>
                  </a:lnTo>
                  <a:close/>
                  <a:moveTo>
                    <a:pt x="1092" y="1022"/>
                  </a:moveTo>
                  <a:lnTo>
                    <a:pt x="1089" y="1022"/>
                  </a:lnTo>
                  <a:lnTo>
                    <a:pt x="1092" y="1022"/>
                  </a:lnTo>
                  <a:close/>
                  <a:moveTo>
                    <a:pt x="1096" y="1022"/>
                  </a:moveTo>
                  <a:lnTo>
                    <a:pt x="1099" y="1022"/>
                  </a:lnTo>
                  <a:lnTo>
                    <a:pt x="1096" y="1022"/>
                  </a:lnTo>
                  <a:close/>
                  <a:moveTo>
                    <a:pt x="833" y="1019"/>
                  </a:moveTo>
                  <a:lnTo>
                    <a:pt x="835" y="1019"/>
                  </a:lnTo>
                  <a:lnTo>
                    <a:pt x="833" y="1019"/>
                  </a:lnTo>
                  <a:close/>
                  <a:moveTo>
                    <a:pt x="1092" y="1017"/>
                  </a:moveTo>
                  <a:lnTo>
                    <a:pt x="1089" y="1019"/>
                  </a:lnTo>
                  <a:lnTo>
                    <a:pt x="1089" y="1017"/>
                  </a:lnTo>
                  <a:lnTo>
                    <a:pt x="1092" y="1017"/>
                  </a:lnTo>
                  <a:close/>
                  <a:moveTo>
                    <a:pt x="1087" y="1019"/>
                  </a:moveTo>
                  <a:lnTo>
                    <a:pt x="1087" y="1017"/>
                  </a:lnTo>
                  <a:lnTo>
                    <a:pt x="1089" y="1019"/>
                  </a:lnTo>
                  <a:lnTo>
                    <a:pt x="1087" y="1019"/>
                  </a:lnTo>
                  <a:close/>
                  <a:moveTo>
                    <a:pt x="1089" y="1019"/>
                  </a:moveTo>
                  <a:lnTo>
                    <a:pt x="1087" y="1017"/>
                  </a:lnTo>
                  <a:lnTo>
                    <a:pt x="1089" y="1017"/>
                  </a:lnTo>
                  <a:lnTo>
                    <a:pt x="1089" y="1019"/>
                  </a:lnTo>
                  <a:close/>
                  <a:moveTo>
                    <a:pt x="1089" y="1017"/>
                  </a:moveTo>
                  <a:lnTo>
                    <a:pt x="1092" y="1017"/>
                  </a:lnTo>
                  <a:lnTo>
                    <a:pt x="1089" y="1017"/>
                  </a:lnTo>
                  <a:close/>
                  <a:moveTo>
                    <a:pt x="1106" y="1017"/>
                  </a:moveTo>
                  <a:lnTo>
                    <a:pt x="1103" y="1017"/>
                  </a:lnTo>
                  <a:lnTo>
                    <a:pt x="1106" y="1017"/>
                  </a:lnTo>
                  <a:close/>
                  <a:moveTo>
                    <a:pt x="1092" y="1017"/>
                  </a:moveTo>
                  <a:lnTo>
                    <a:pt x="1094" y="1017"/>
                  </a:lnTo>
                  <a:lnTo>
                    <a:pt x="1092" y="1017"/>
                  </a:lnTo>
                  <a:lnTo>
                    <a:pt x="1089" y="1017"/>
                  </a:lnTo>
                  <a:lnTo>
                    <a:pt x="1092" y="1017"/>
                  </a:lnTo>
                  <a:close/>
                  <a:moveTo>
                    <a:pt x="477" y="1015"/>
                  </a:moveTo>
                  <a:lnTo>
                    <a:pt x="477" y="1017"/>
                  </a:lnTo>
                  <a:lnTo>
                    <a:pt x="477" y="1015"/>
                  </a:lnTo>
                  <a:close/>
                  <a:moveTo>
                    <a:pt x="477" y="1017"/>
                  </a:moveTo>
                  <a:lnTo>
                    <a:pt x="475" y="1015"/>
                  </a:lnTo>
                  <a:lnTo>
                    <a:pt x="477" y="1015"/>
                  </a:lnTo>
                  <a:lnTo>
                    <a:pt x="477" y="1017"/>
                  </a:lnTo>
                  <a:close/>
                  <a:moveTo>
                    <a:pt x="1084" y="1015"/>
                  </a:moveTo>
                  <a:lnTo>
                    <a:pt x="1084" y="1017"/>
                  </a:lnTo>
                  <a:lnTo>
                    <a:pt x="1082" y="1017"/>
                  </a:lnTo>
                  <a:lnTo>
                    <a:pt x="1084" y="1017"/>
                  </a:lnTo>
                  <a:lnTo>
                    <a:pt x="1082" y="1017"/>
                  </a:lnTo>
                  <a:lnTo>
                    <a:pt x="1082" y="1015"/>
                  </a:lnTo>
                  <a:lnTo>
                    <a:pt x="1084" y="1015"/>
                  </a:lnTo>
                  <a:close/>
                  <a:moveTo>
                    <a:pt x="482" y="1015"/>
                  </a:moveTo>
                  <a:lnTo>
                    <a:pt x="484" y="1015"/>
                  </a:lnTo>
                  <a:lnTo>
                    <a:pt x="482" y="1015"/>
                  </a:lnTo>
                  <a:close/>
                  <a:moveTo>
                    <a:pt x="1077" y="1015"/>
                  </a:moveTo>
                  <a:lnTo>
                    <a:pt x="1075" y="1015"/>
                  </a:lnTo>
                  <a:lnTo>
                    <a:pt x="1077" y="1015"/>
                  </a:lnTo>
                  <a:close/>
                  <a:moveTo>
                    <a:pt x="1073" y="1015"/>
                  </a:moveTo>
                  <a:lnTo>
                    <a:pt x="1070" y="1015"/>
                  </a:lnTo>
                  <a:lnTo>
                    <a:pt x="1073" y="1015"/>
                  </a:lnTo>
                  <a:close/>
                  <a:moveTo>
                    <a:pt x="1227" y="1015"/>
                  </a:moveTo>
                  <a:lnTo>
                    <a:pt x="1224" y="1015"/>
                  </a:lnTo>
                  <a:lnTo>
                    <a:pt x="1227" y="1015"/>
                  </a:lnTo>
                  <a:lnTo>
                    <a:pt x="1227" y="1017"/>
                  </a:lnTo>
                  <a:lnTo>
                    <a:pt x="1224" y="1017"/>
                  </a:lnTo>
                  <a:lnTo>
                    <a:pt x="1224" y="1015"/>
                  </a:lnTo>
                  <a:lnTo>
                    <a:pt x="1227" y="1012"/>
                  </a:lnTo>
                  <a:lnTo>
                    <a:pt x="1224" y="1015"/>
                  </a:lnTo>
                  <a:lnTo>
                    <a:pt x="1227" y="1012"/>
                  </a:lnTo>
                  <a:lnTo>
                    <a:pt x="1227" y="1015"/>
                  </a:lnTo>
                  <a:close/>
                  <a:moveTo>
                    <a:pt x="1075" y="1015"/>
                  </a:moveTo>
                  <a:lnTo>
                    <a:pt x="1073" y="1015"/>
                  </a:lnTo>
                  <a:lnTo>
                    <a:pt x="1070" y="1015"/>
                  </a:lnTo>
                  <a:lnTo>
                    <a:pt x="1070" y="1012"/>
                  </a:lnTo>
                  <a:lnTo>
                    <a:pt x="1073" y="1012"/>
                  </a:lnTo>
                  <a:lnTo>
                    <a:pt x="1075" y="1015"/>
                  </a:lnTo>
                  <a:close/>
                  <a:moveTo>
                    <a:pt x="1227" y="1015"/>
                  </a:moveTo>
                  <a:lnTo>
                    <a:pt x="1227" y="1012"/>
                  </a:lnTo>
                  <a:lnTo>
                    <a:pt x="1227" y="1015"/>
                  </a:lnTo>
                  <a:close/>
                  <a:moveTo>
                    <a:pt x="831" y="1012"/>
                  </a:moveTo>
                  <a:lnTo>
                    <a:pt x="831" y="1015"/>
                  </a:lnTo>
                  <a:lnTo>
                    <a:pt x="831" y="1012"/>
                  </a:lnTo>
                  <a:lnTo>
                    <a:pt x="828" y="1012"/>
                  </a:lnTo>
                  <a:lnTo>
                    <a:pt x="831" y="1012"/>
                  </a:lnTo>
                  <a:close/>
                  <a:moveTo>
                    <a:pt x="1063" y="1012"/>
                  </a:moveTo>
                  <a:lnTo>
                    <a:pt x="1065" y="1015"/>
                  </a:lnTo>
                  <a:lnTo>
                    <a:pt x="1063" y="1015"/>
                  </a:lnTo>
                  <a:lnTo>
                    <a:pt x="1063" y="1012"/>
                  </a:lnTo>
                  <a:close/>
                  <a:moveTo>
                    <a:pt x="1118" y="1012"/>
                  </a:moveTo>
                  <a:lnTo>
                    <a:pt x="1115" y="1012"/>
                  </a:lnTo>
                  <a:lnTo>
                    <a:pt x="1113" y="1012"/>
                  </a:lnTo>
                  <a:lnTo>
                    <a:pt x="1113" y="1015"/>
                  </a:lnTo>
                  <a:lnTo>
                    <a:pt x="1113" y="1012"/>
                  </a:lnTo>
                  <a:lnTo>
                    <a:pt x="1115" y="1012"/>
                  </a:lnTo>
                  <a:lnTo>
                    <a:pt x="1113" y="1012"/>
                  </a:lnTo>
                  <a:lnTo>
                    <a:pt x="1115" y="1012"/>
                  </a:lnTo>
                  <a:lnTo>
                    <a:pt x="1118" y="1012"/>
                  </a:lnTo>
                  <a:close/>
                  <a:moveTo>
                    <a:pt x="1125" y="1012"/>
                  </a:moveTo>
                  <a:lnTo>
                    <a:pt x="1122" y="1012"/>
                  </a:lnTo>
                  <a:lnTo>
                    <a:pt x="1120" y="1012"/>
                  </a:lnTo>
                  <a:lnTo>
                    <a:pt x="1118" y="1012"/>
                  </a:lnTo>
                  <a:lnTo>
                    <a:pt x="1120" y="1012"/>
                  </a:lnTo>
                  <a:lnTo>
                    <a:pt x="1122" y="1012"/>
                  </a:lnTo>
                  <a:lnTo>
                    <a:pt x="1125" y="1012"/>
                  </a:lnTo>
                  <a:close/>
                  <a:moveTo>
                    <a:pt x="1118" y="1010"/>
                  </a:moveTo>
                  <a:lnTo>
                    <a:pt x="1120" y="1010"/>
                  </a:lnTo>
                  <a:lnTo>
                    <a:pt x="1118" y="1010"/>
                  </a:lnTo>
                  <a:lnTo>
                    <a:pt x="1115" y="1010"/>
                  </a:lnTo>
                  <a:lnTo>
                    <a:pt x="1118" y="1010"/>
                  </a:lnTo>
                  <a:close/>
                  <a:moveTo>
                    <a:pt x="1134" y="1010"/>
                  </a:moveTo>
                  <a:lnTo>
                    <a:pt x="1134" y="1012"/>
                  </a:lnTo>
                  <a:lnTo>
                    <a:pt x="1132" y="1012"/>
                  </a:lnTo>
                  <a:lnTo>
                    <a:pt x="1134" y="1010"/>
                  </a:lnTo>
                  <a:close/>
                  <a:moveTo>
                    <a:pt x="1137" y="1010"/>
                  </a:moveTo>
                  <a:lnTo>
                    <a:pt x="1137" y="1012"/>
                  </a:lnTo>
                  <a:lnTo>
                    <a:pt x="1134" y="1012"/>
                  </a:lnTo>
                  <a:lnTo>
                    <a:pt x="1137" y="1012"/>
                  </a:lnTo>
                  <a:lnTo>
                    <a:pt x="1137" y="1010"/>
                  </a:lnTo>
                  <a:close/>
                  <a:moveTo>
                    <a:pt x="826" y="1010"/>
                  </a:moveTo>
                  <a:lnTo>
                    <a:pt x="828" y="1010"/>
                  </a:lnTo>
                  <a:lnTo>
                    <a:pt x="828" y="1012"/>
                  </a:lnTo>
                  <a:lnTo>
                    <a:pt x="828" y="1010"/>
                  </a:lnTo>
                  <a:lnTo>
                    <a:pt x="828" y="1012"/>
                  </a:lnTo>
                  <a:lnTo>
                    <a:pt x="828" y="1010"/>
                  </a:lnTo>
                  <a:lnTo>
                    <a:pt x="826" y="1010"/>
                  </a:lnTo>
                  <a:close/>
                  <a:moveTo>
                    <a:pt x="1227" y="1007"/>
                  </a:moveTo>
                  <a:lnTo>
                    <a:pt x="1224" y="1007"/>
                  </a:lnTo>
                  <a:lnTo>
                    <a:pt x="1227" y="1007"/>
                  </a:lnTo>
                  <a:close/>
                  <a:moveTo>
                    <a:pt x="819" y="1007"/>
                  </a:moveTo>
                  <a:lnTo>
                    <a:pt x="821" y="1007"/>
                  </a:lnTo>
                  <a:lnTo>
                    <a:pt x="819" y="1007"/>
                  </a:lnTo>
                  <a:close/>
                  <a:moveTo>
                    <a:pt x="1137" y="1007"/>
                  </a:moveTo>
                  <a:lnTo>
                    <a:pt x="1137" y="1005"/>
                  </a:lnTo>
                  <a:lnTo>
                    <a:pt x="1137" y="1007"/>
                  </a:lnTo>
                  <a:close/>
                  <a:moveTo>
                    <a:pt x="1224" y="1005"/>
                  </a:moveTo>
                  <a:lnTo>
                    <a:pt x="1224" y="1007"/>
                  </a:lnTo>
                  <a:lnTo>
                    <a:pt x="1224" y="1005"/>
                  </a:lnTo>
                  <a:close/>
                  <a:moveTo>
                    <a:pt x="1063" y="1007"/>
                  </a:moveTo>
                  <a:lnTo>
                    <a:pt x="1061" y="1007"/>
                  </a:lnTo>
                  <a:lnTo>
                    <a:pt x="1063" y="1007"/>
                  </a:lnTo>
                  <a:lnTo>
                    <a:pt x="1063" y="1005"/>
                  </a:lnTo>
                  <a:lnTo>
                    <a:pt x="1063" y="1007"/>
                  </a:lnTo>
                  <a:close/>
                  <a:moveTo>
                    <a:pt x="491" y="1005"/>
                  </a:moveTo>
                  <a:lnTo>
                    <a:pt x="489" y="1005"/>
                  </a:lnTo>
                  <a:lnTo>
                    <a:pt x="491" y="1005"/>
                  </a:lnTo>
                  <a:close/>
                  <a:moveTo>
                    <a:pt x="816" y="1003"/>
                  </a:moveTo>
                  <a:lnTo>
                    <a:pt x="814" y="1003"/>
                  </a:lnTo>
                  <a:lnTo>
                    <a:pt x="816" y="1003"/>
                  </a:lnTo>
                  <a:close/>
                  <a:moveTo>
                    <a:pt x="1222" y="1003"/>
                  </a:moveTo>
                  <a:lnTo>
                    <a:pt x="1224" y="1005"/>
                  </a:lnTo>
                  <a:lnTo>
                    <a:pt x="1222" y="1005"/>
                  </a:lnTo>
                  <a:lnTo>
                    <a:pt x="1222" y="1003"/>
                  </a:lnTo>
                  <a:lnTo>
                    <a:pt x="1224" y="1003"/>
                  </a:lnTo>
                  <a:lnTo>
                    <a:pt x="1224" y="1005"/>
                  </a:lnTo>
                  <a:lnTo>
                    <a:pt x="1222" y="1005"/>
                  </a:lnTo>
                  <a:lnTo>
                    <a:pt x="1222" y="1003"/>
                  </a:lnTo>
                  <a:close/>
                  <a:moveTo>
                    <a:pt x="814" y="1003"/>
                  </a:moveTo>
                  <a:lnTo>
                    <a:pt x="812" y="1003"/>
                  </a:lnTo>
                  <a:lnTo>
                    <a:pt x="814" y="1003"/>
                  </a:lnTo>
                  <a:close/>
                  <a:moveTo>
                    <a:pt x="814" y="1003"/>
                  </a:moveTo>
                  <a:lnTo>
                    <a:pt x="812" y="1003"/>
                  </a:lnTo>
                  <a:lnTo>
                    <a:pt x="814" y="1003"/>
                  </a:lnTo>
                  <a:close/>
                  <a:moveTo>
                    <a:pt x="1217" y="1003"/>
                  </a:moveTo>
                  <a:lnTo>
                    <a:pt x="1220" y="1003"/>
                  </a:lnTo>
                  <a:lnTo>
                    <a:pt x="1217" y="1003"/>
                  </a:lnTo>
                  <a:lnTo>
                    <a:pt x="1217" y="1000"/>
                  </a:lnTo>
                  <a:lnTo>
                    <a:pt x="1217" y="1003"/>
                  </a:lnTo>
                  <a:close/>
                  <a:moveTo>
                    <a:pt x="496" y="1003"/>
                  </a:moveTo>
                  <a:lnTo>
                    <a:pt x="496" y="1000"/>
                  </a:lnTo>
                  <a:lnTo>
                    <a:pt x="496" y="1003"/>
                  </a:lnTo>
                  <a:close/>
                  <a:moveTo>
                    <a:pt x="1139" y="1003"/>
                  </a:moveTo>
                  <a:lnTo>
                    <a:pt x="1141" y="1000"/>
                  </a:lnTo>
                  <a:lnTo>
                    <a:pt x="1141" y="1003"/>
                  </a:lnTo>
                  <a:lnTo>
                    <a:pt x="1139" y="1003"/>
                  </a:lnTo>
                  <a:close/>
                  <a:moveTo>
                    <a:pt x="809" y="1000"/>
                  </a:moveTo>
                  <a:lnTo>
                    <a:pt x="807" y="1000"/>
                  </a:lnTo>
                  <a:lnTo>
                    <a:pt x="809" y="1000"/>
                  </a:lnTo>
                  <a:close/>
                  <a:moveTo>
                    <a:pt x="1063" y="1003"/>
                  </a:moveTo>
                  <a:lnTo>
                    <a:pt x="1065" y="1003"/>
                  </a:lnTo>
                  <a:lnTo>
                    <a:pt x="1063" y="1003"/>
                  </a:lnTo>
                  <a:lnTo>
                    <a:pt x="1065" y="1003"/>
                  </a:lnTo>
                  <a:lnTo>
                    <a:pt x="1063" y="1005"/>
                  </a:lnTo>
                  <a:lnTo>
                    <a:pt x="1063" y="1003"/>
                  </a:lnTo>
                  <a:lnTo>
                    <a:pt x="1063" y="1000"/>
                  </a:lnTo>
                  <a:lnTo>
                    <a:pt x="1065" y="1000"/>
                  </a:lnTo>
                  <a:lnTo>
                    <a:pt x="1065" y="1003"/>
                  </a:lnTo>
                  <a:lnTo>
                    <a:pt x="1063" y="1003"/>
                  </a:lnTo>
                  <a:close/>
                  <a:moveTo>
                    <a:pt x="807" y="998"/>
                  </a:moveTo>
                  <a:lnTo>
                    <a:pt x="804" y="998"/>
                  </a:lnTo>
                  <a:lnTo>
                    <a:pt x="807" y="998"/>
                  </a:lnTo>
                  <a:close/>
                  <a:moveTo>
                    <a:pt x="1148" y="998"/>
                  </a:moveTo>
                  <a:lnTo>
                    <a:pt x="1146" y="998"/>
                  </a:lnTo>
                  <a:lnTo>
                    <a:pt x="1148" y="998"/>
                  </a:lnTo>
                  <a:close/>
                  <a:moveTo>
                    <a:pt x="494" y="998"/>
                  </a:moveTo>
                  <a:lnTo>
                    <a:pt x="491" y="998"/>
                  </a:lnTo>
                  <a:lnTo>
                    <a:pt x="494" y="998"/>
                  </a:lnTo>
                  <a:close/>
                  <a:moveTo>
                    <a:pt x="496" y="998"/>
                  </a:moveTo>
                  <a:lnTo>
                    <a:pt x="498" y="998"/>
                  </a:lnTo>
                  <a:lnTo>
                    <a:pt x="496" y="998"/>
                  </a:lnTo>
                  <a:close/>
                  <a:moveTo>
                    <a:pt x="494" y="998"/>
                  </a:moveTo>
                  <a:lnTo>
                    <a:pt x="491" y="998"/>
                  </a:lnTo>
                  <a:lnTo>
                    <a:pt x="494" y="998"/>
                  </a:lnTo>
                  <a:close/>
                  <a:moveTo>
                    <a:pt x="804" y="996"/>
                  </a:moveTo>
                  <a:lnTo>
                    <a:pt x="804" y="998"/>
                  </a:lnTo>
                  <a:lnTo>
                    <a:pt x="804" y="996"/>
                  </a:lnTo>
                  <a:close/>
                  <a:moveTo>
                    <a:pt x="489" y="996"/>
                  </a:moveTo>
                  <a:lnTo>
                    <a:pt x="489" y="998"/>
                  </a:lnTo>
                  <a:lnTo>
                    <a:pt x="489" y="996"/>
                  </a:lnTo>
                  <a:close/>
                  <a:moveTo>
                    <a:pt x="1151" y="996"/>
                  </a:moveTo>
                  <a:lnTo>
                    <a:pt x="1151" y="998"/>
                  </a:lnTo>
                  <a:lnTo>
                    <a:pt x="1151" y="996"/>
                  </a:lnTo>
                  <a:lnTo>
                    <a:pt x="1153" y="996"/>
                  </a:lnTo>
                  <a:lnTo>
                    <a:pt x="1151" y="996"/>
                  </a:lnTo>
                  <a:close/>
                  <a:moveTo>
                    <a:pt x="1215" y="996"/>
                  </a:moveTo>
                  <a:lnTo>
                    <a:pt x="1213" y="996"/>
                  </a:lnTo>
                  <a:lnTo>
                    <a:pt x="1215" y="996"/>
                  </a:lnTo>
                  <a:close/>
                  <a:moveTo>
                    <a:pt x="1065" y="996"/>
                  </a:moveTo>
                  <a:lnTo>
                    <a:pt x="1065" y="993"/>
                  </a:lnTo>
                  <a:lnTo>
                    <a:pt x="1065" y="996"/>
                  </a:lnTo>
                  <a:lnTo>
                    <a:pt x="1065" y="993"/>
                  </a:lnTo>
                  <a:lnTo>
                    <a:pt x="1065" y="996"/>
                  </a:lnTo>
                  <a:close/>
                  <a:moveTo>
                    <a:pt x="1153" y="993"/>
                  </a:moveTo>
                  <a:lnTo>
                    <a:pt x="1156" y="993"/>
                  </a:lnTo>
                  <a:lnTo>
                    <a:pt x="1153" y="993"/>
                  </a:lnTo>
                  <a:close/>
                  <a:moveTo>
                    <a:pt x="804" y="996"/>
                  </a:moveTo>
                  <a:lnTo>
                    <a:pt x="802" y="996"/>
                  </a:lnTo>
                  <a:lnTo>
                    <a:pt x="804" y="996"/>
                  </a:lnTo>
                  <a:lnTo>
                    <a:pt x="802" y="993"/>
                  </a:lnTo>
                  <a:lnTo>
                    <a:pt x="804" y="993"/>
                  </a:lnTo>
                  <a:lnTo>
                    <a:pt x="804" y="996"/>
                  </a:lnTo>
                  <a:close/>
                  <a:moveTo>
                    <a:pt x="1068" y="993"/>
                  </a:moveTo>
                  <a:lnTo>
                    <a:pt x="1065" y="993"/>
                  </a:lnTo>
                  <a:lnTo>
                    <a:pt x="1068" y="993"/>
                  </a:lnTo>
                  <a:lnTo>
                    <a:pt x="1068" y="991"/>
                  </a:lnTo>
                  <a:lnTo>
                    <a:pt x="1068" y="993"/>
                  </a:lnTo>
                  <a:close/>
                  <a:moveTo>
                    <a:pt x="1065" y="991"/>
                  </a:moveTo>
                  <a:lnTo>
                    <a:pt x="1068" y="991"/>
                  </a:lnTo>
                  <a:lnTo>
                    <a:pt x="1065" y="993"/>
                  </a:lnTo>
                  <a:lnTo>
                    <a:pt x="1065" y="991"/>
                  </a:lnTo>
                  <a:close/>
                  <a:moveTo>
                    <a:pt x="802" y="991"/>
                  </a:moveTo>
                  <a:lnTo>
                    <a:pt x="802" y="988"/>
                  </a:lnTo>
                  <a:lnTo>
                    <a:pt x="802" y="991"/>
                  </a:lnTo>
                  <a:lnTo>
                    <a:pt x="802" y="988"/>
                  </a:lnTo>
                  <a:lnTo>
                    <a:pt x="802" y="991"/>
                  </a:lnTo>
                  <a:close/>
                  <a:moveTo>
                    <a:pt x="494" y="991"/>
                  </a:moveTo>
                  <a:lnTo>
                    <a:pt x="494" y="988"/>
                  </a:lnTo>
                  <a:lnTo>
                    <a:pt x="494" y="991"/>
                  </a:lnTo>
                  <a:close/>
                  <a:moveTo>
                    <a:pt x="494" y="988"/>
                  </a:moveTo>
                  <a:lnTo>
                    <a:pt x="494" y="991"/>
                  </a:lnTo>
                  <a:lnTo>
                    <a:pt x="494" y="988"/>
                  </a:lnTo>
                  <a:close/>
                  <a:moveTo>
                    <a:pt x="1068" y="991"/>
                  </a:moveTo>
                  <a:lnTo>
                    <a:pt x="1068" y="988"/>
                  </a:lnTo>
                  <a:lnTo>
                    <a:pt x="1068" y="991"/>
                  </a:lnTo>
                  <a:close/>
                  <a:moveTo>
                    <a:pt x="1220" y="988"/>
                  </a:moveTo>
                  <a:lnTo>
                    <a:pt x="1217" y="988"/>
                  </a:lnTo>
                  <a:lnTo>
                    <a:pt x="1220" y="988"/>
                  </a:lnTo>
                  <a:close/>
                  <a:moveTo>
                    <a:pt x="1217" y="986"/>
                  </a:moveTo>
                  <a:lnTo>
                    <a:pt x="1220" y="988"/>
                  </a:lnTo>
                  <a:lnTo>
                    <a:pt x="1220" y="986"/>
                  </a:lnTo>
                  <a:lnTo>
                    <a:pt x="1220" y="988"/>
                  </a:lnTo>
                  <a:lnTo>
                    <a:pt x="1217" y="988"/>
                  </a:lnTo>
                  <a:lnTo>
                    <a:pt x="1217" y="986"/>
                  </a:lnTo>
                  <a:close/>
                  <a:moveTo>
                    <a:pt x="1160" y="988"/>
                  </a:moveTo>
                  <a:lnTo>
                    <a:pt x="1158" y="988"/>
                  </a:lnTo>
                  <a:lnTo>
                    <a:pt x="1160" y="988"/>
                  </a:lnTo>
                  <a:lnTo>
                    <a:pt x="1158" y="988"/>
                  </a:lnTo>
                  <a:lnTo>
                    <a:pt x="1160" y="988"/>
                  </a:lnTo>
                  <a:lnTo>
                    <a:pt x="1160" y="986"/>
                  </a:lnTo>
                  <a:lnTo>
                    <a:pt x="1160" y="988"/>
                  </a:lnTo>
                  <a:close/>
                  <a:moveTo>
                    <a:pt x="802" y="988"/>
                  </a:moveTo>
                  <a:lnTo>
                    <a:pt x="800" y="988"/>
                  </a:lnTo>
                  <a:lnTo>
                    <a:pt x="800" y="986"/>
                  </a:lnTo>
                  <a:lnTo>
                    <a:pt x="802" y="988"/>
                  </a:lnTo>
                  <a:close/>
                  <a:moveTo>
                    <a:pt x="1160" y="986"/>
                  </a:moveTo>
                  <a:lnTo>
                    <a:pt x="1160" y="988"/>
                  </a:lnTo>
                  <a:lnTo>
                    <a:pt x="1160" y="986"/>
                  </a:lnTo>
                  <a:close/>
                  <a:moveTo>
                    <a:pt x="1070" y="986"/>
                  </a:moveTo>
                  <a:lnTo>
                    <a:pt x="1068" y="988"/>
                  </a:lnTo>
                  <a:lnTo>
                    <a:pt x="1070" y="986"/>
                  </a:lnTo>
                  <a:close/>
                  <a:moveTo>
                    <a:pt x="1073" y="986"/>
                  </a:moveTo>
                  <a:lnTo>
                    <a:pt x="1070" y="986"/>
                  </a:lnTo>
                  <a:lnTo>
                    <a:pt x="1073" y="986"/>
                  </a:lnTo>
                  <a:close/>
                  <a:moveTo>
                    <a:pt x="1229" y="986"/>
                  </a:moveTo>
                  <a:lnTo>
                    <a:pt x="1231" y="986"/>
                  </a:lnTo>
                  <a:lnTo>
                    <a:pt x="1229" y="986"/>
                  </a:lnTo>
                  <a:lnTo>
                    <a:pt x="1227" y="986"/>
                  </a:lnTo>
                  <a:lnTo>
                    <a:pt x="1229" y="986"/>
                  </a:lnTo>
                  <a:close/>
                  <a:moveTo>
                    <a:pt x="1075" y="984"/>
                  </a:moveTo>
                  <a:lnTo>
                    <a:pt x="1073" y="986"/>
                  </a:lnTo>
                  <a:lnTo>
                    <a:pt x="1075" y="986"/>
                  </a:lnTo>
                  <a:lnTo>
                    <a:pt x="1075" y="984"/>
                  </a:lnTo>
                  <a:close/>
                  <a:moveTo>
                    <a:pt x="800" y="984"/>
                  </a:moveTo>
                  <a:lnTo>
                    <a:pt x="800" y="986"/>
                  </a:lnTo>
                  <a:lnTo>
                    <a:pt x="800" y="984"/>
                  </a:lnTo>
                  <a:close/>
                  <a:moveTo>
                    <a:pt x="1077" y="984"/>
                  </a:moveTo>
                  <a:lnTo>
                    <a:pt x="1075" y="984"/>
                  </a:lnTo>
                  <a:lnTo>
                    <a:pt x="1077" y="984"/>
                  </a:lnTo>
                  <a:close/>
                  <a:moveTo>
                    <a:pt x="1246" y="984"/>
                  </a:moveTo>
                  <a:lnTo>
                    <a:pt x="1243" y="984"/>
                  </a:lnTo>
                  <a:lnTo>
                    <a:pt x="1246" y="984"/>
                  </a:lnTo>
                  <a:close/>
                  <a:moveTo>
                    <a:pt x="1077" y="984"/>
                  </a:moveTo>
                  <a:lnTo>
                    <a:pt x="1075" y="984"/>
                  </a:lnTo>
                  <a:lnTo>
                    <a:pt x="1077" y="984"/>
                  </a:lnTo>
                  <a:lnTo>
                    <a:pt x="1077" y="981"/>
                  </a:lnTo>
                  <a:lnTo>
                    <a:pt x="1077" y="984"/>
                  </a:lnTo>
                  <a:close/>
                  <a:moveTo>
                    <a:pt x="1258" y="981"/>
                  </a:moveTo>
                  <a:lnTo>
                    <a:pt x="1260" y="981"/>
                  </a:lnTo>
                  <a:lnTo>
                    <a:pt x="1258" y="981"/>
                  </a:lnTo>
                  <a:close/>
                  <a:moveTo>
                    <a:pt x="1255" y="981"/>
                  </a:moveTo>
                  <a:lnTo>
                    <a:pt x="1253" y="981"/>
                  </a:lnTo>
                  <a:lnTo>
                    <a:pt x="1255" y="981"/>
                  </a:lnTo>
                  <a:close/>
                  <a:moveTo>
                    <a:pt x="1165" y="981"/>
                  </a:moveTo>
                  <a:lnTo>
                    <a:pt x="1163" y="981"/>
                  </a:lnTo>
                  <a:lnTo>
                    <a:pt x="1165" y="981"/>
                  </a:lnTo>
                  <a:close/>
                  <a:moveTo>
                    <a:pt x="1077" y="979"/>
                  </a:moveTo>
                  <a:lnTo>
                    <a:pt x="1077" y="981"/>
                  </a:lnTo>
                  <a:lnTo>
                    <a:pt x="1077" y="979"/>
                  </a:lnTo>
                  <a:close/>
                  <a:moveTo>
                    <a:pt x="1217" y="981"/>
                  </a:moveTo>
                  <a:lnTo>
                    <a:pt x="1217" y="979"/>
                  </a:lnTo>
                  <a:lnTo>
                    <a:pt x="1217" y="981"/>
                  </a:lnTo>
                  <a:close/>
                  <a:moveTo>
                    <a:pt x="1080" y="979"/>
                  </a:moveTo>
                  <a:lnTo>
                    <a:pt x="1080" y="981"/>
                  </a:lnTo>
                  <a:lnTo>
                    <a:pt x="1077" y="979"/>
                  </a:lnTo>
                  <a:lnTo>
                    <a:pt x="1080" y="979"/>
                  </a:lnTo>
                  <a:close/>
                  <a:moveTo>
                    <a:pt x="776" y="979"/>
                  </a:moveTo>
                  <a:lnTo>
                    <a:pt x="776" y="976"/>
                  </a:lnTo>
                  <a:lnTo>
                    <a:pt x="776" y="979"/>
                  </a:lnTo>
                  <a:close/>
                  <a:moveTo>
                    <a:pt x="1077" y="976"/>
                  </a:moveTo>
                  <a:lnTo>
                    <a:pt x="1077" y="979"/>
                  </a:lnTo>
                  <a:lnTo>
                    <a:pt x="1077" y="976"/>
                  </a:lnTo>
                  <a:close/>
                  <a:moveTo>
                    <a:pt x="1163" y="976"/>
                  </a:moveTo>
                  <a:lnTo>
                    <a:pt x="1163" y="979"/>
                  </a:lnTo>
                  <a:lnTo>
                    <a:pt x="1163" y="976"/>
                  </a:lnTo>
                  <a:close/>
                  <a:moveTo>
                    <a:pt x="1213" y="976"/>
                  </a:moveTo>
                  <a:lnTo>
                    <a:pt x="1215" y="976"/>
                  </a:lnTo>
                  <a:lnTo>
                    <a:pt x="1215" y="979"/>
                  </a:lnTo>
                  <a:lnTo>
                    <a:pt x="1213" y="976"/>
                  </a:lnTo>
                  <a:close/>
                  <a:moveTo>
                    <a:pt x="1260" y="976"/>
                  </a:moveTo>
                  <a:lnTo>
                    <a:pt x="1260" y="979"/>
                  </a:lnTo>
                  <a:lnTo>
                    <a:pt x="1260" y="976"/>
                  </a:lnTo>
                  <a:close/>
                  <a:moveTo>
                    <a:pt x="1260" y="976"/>
                  </a:moveTo>
                  <a:lnTo>
                    <a:pt x="1260" y="974"/>
                  </a:lnTo>
                  <a:lnTo>
                    <a:pt x="1260" y="976"/>
                  </a:lnTo>
                  <a:close/>
                  <a:moveTo>
                    <a:pt x="1262" y="974"/>
                  </a:moveTo>
                  <a:lnTo>
                    <a:pt x="1260" y="974"/>
                  </a:lnTo>
                  <a:lnTo>
                    <a:pt x="1260" y="976"/>
                  </a:lnTo>
                  <a:lnTo>
                    <a:pt x="1260" y="974"/>
                  </a:lnTo>
                  <a:lnTo>
                    <a:pt x="1260" y="976"/>
                  </a:lnTo>
                  <a:lnTo>
                    <a:pt x="1260" y="974"/>
                  </a:lnTo>
                  <a:lnTo>
                    <a:pt x="1262" y="974"/>
                  </a:lnTo>
                  <a:lnTo>
                    <a:pt x="1260" y="974"/>
                  </a:lnTo>
                  <a:lnTo>
                    <a:pt x="1262" y="974"/>
                  </a:lnTo>
                  <a:close/>
                  <a:moveTo>
                    <a:pt x="1165" y="974"/>
                  </a:moveTo>
                  <a:lnTo>
                    <a:pt x="1165" y="976"/>
                  </a:lnTo>
                  <a:lnTo>
                    <a:pt x="1165" y="974"/>
                  </a:lnTo>
                  <a:lnTo>
                    <a:pt x="1163" y="976"/>
                  </a:lnTo>
                  <a:lnTo>
                    <a:pt x="1163" y="974"/>
                  </a:lnTo>
                  <a:lnTo>
                    <a:pt x="1165" y="974"/>
                  </a:lnTo>
                  <a:lnTo>
                    <a:pt x="1165" y="972"/>
                  </a:lnTo>
                  <a:lnTo>
                    <a:pt x="1167" y="972"/>
                  </a:lnTo>
                  <a:lnTo>
                    <a:pt x="1167" y="974"/>
                  </a:lnTo>
                  <a:lnTo>
                    <a:pt x="1165" y="974"/>
                  </a:lnTo>
                  <a:close/>
                  <a:moveTo>
                    <a:pt x="1077" y="972"/>
                  </a:moveTo>
                  <a:lnTo>
                    <a:pt x="1077" y="974"/>
                  </a:lnTo>
                  <a:lnTo>
                    <a:pt x="1077" y="972"/>
                  </a:lnTo>
                  <a:close/>
                  <a:moveTo>
                    <a:pt x="472" y="969"/>
                  </a:moveTo>
                  <a:lnTo>
                    <a:pt x="472" y="972"/>
                  </a:lnTo>
                  <a:lnTo>
                    <a:pt x="475" y="972"/>
                  </a:lnTo>
                  <a:lnTo>
                    <a:pt x="472" y="972"/>
                  </a:lnTo>
                  <a:lnTo>
                    <a:pt x="475" y="972"/>
                  </a:lnTo>
                  <a:lnTo>
                    <a:pt x="472" y="972"/>
                  </a:lnTo>
                  <a:lnTo>
                    <a:pt x="472" y="969"/>
                  </a:lnTo>
                  <a:close/>
                  <a:moveTo>
                    <a:pt x="1208" y="969"/>
                  </a:moveTo>
                  <a:lnTo>
                    <a:pt x="1210" y="969"/>
                  </a:lnTo>
                  <a:lnTo>
                    <a:pt x="1213" y="969"/>
                  </a:lnTo>
                  <a:lnTo>
                    <a:pt x="1210" y="969"/>
                  </a:lnTo>
                  <a:lnTo>
                    <a:pt x="1208" y="969"/>
                  </a:lnTo>
                  <a:close/>
                  <a:moveTo>
                    <a:pt x="1267" y="969"/>
                  </a:moveTo>
                  <a:lnTo>
                    <a:pt x="1265" y="969"/>
                  </a:lnTo>
                  <a:lnTo>
                    <a:pt x="1267" y="969"/>
                  </a:lnTo>
                  <a:close/>
                  <a:moveTo>
                    <a:pt x="1075" y="969"/>
                  </a:moveTo>
                  <a:lnTo>
                    <a:pt x="1077" y="969"/>
                  </a:lnTo>
                  <a:lnTo>
                    <a:pt x="1077" y="972"/>
                  </a:lnTo>
                  <a:lnTo>
                    <a:pt x="1075" y="969"/>
                  </a:lnTo>
                  <a:lnTo>
                    <a:pt x="1077" y="969"/>
                  </a:lnTo>
                  <a:lnTo>
                    <a:pt x="1075" y="969"/>
                  </a:lnTo>
                  <a:close/>
                  <a:moveTo>
                    <a:pt x="1208" y="967"/>
                  </a:moveTo>
                  <a:lnTo>
                    <a:pt x="1208" y="969"/>
                  </a:lnTo>
                  <a:lnTo>
                    <a:pt x="1208" y="967"/>
                  </a:lnTo>
                  <a:lnTo>
                    <a:pt x="1208" y="969"/>
                  </a:lnTo>
                  <a:lnTo>
                    <a:pt x="1208" y="967"/>
                  </a:lnTo>
                  <a:close/>
                  <a:moveTo>
                    <a:pt x="463" y="967"/>
                  </a:moveTo>
                  <a:lnTo>
                    <a:pt x="463" y="969"/>
                  </a:lnTo>
                  <a:lnTo>
                    <a:pt x="463" y="967"/>
                  </a:lnTo>
                  <a:close/>
                  <a:moveTo>
                    <a:pt x="1267" y="967"/>
                  </a:moveTo>
                  <a:lnTo>
                    <a:pt x="1267" y="969"/>
                  </a:lnTo>
                  <a:lnTo>
                    <a:pt x="1267" y="967"/>
                  </a:lnTo>
                  <a:lnTo>
                    <a:pt x="1269" y="967"/>
                  </a:lnTo>
                  <a:lnTo>
                    <a:pt x="1267" y="967"/>
                  </a:lnTo>
                  <a:close/>
                  <a:moveTo>
                    <a:pt x="1075" y="965"/>
                  </a:moveTo>
                  <a:lnTo>
                    <a:pt x="1075" y="967"/>
                  </a:lnTo>
                  <a:lnTo>
                    <a:pt x="1075" y="965"/>
                  </a:lnTo>
                  <a:lnTo>
                    <a:pt x="1075" y="967"/>
                  </a:lnTo>
                  <a:lnTo>
                    <a:pt x="1075" y="965"/>
                  </a:lnTo>
                  <a:close/>
                  <a:moveTo>
                    <a:pt x="437" y="965"/>
                  </a:moveTo>
                  <a:lnTo>
                    <a:pt x="434" y="965"/>
                  </a:lnTo>
                  <a:lnTo>
                    <a:pt x="437" y="965"/>
                  </a:lnTo>
                  <a:close/>
                  <a:moveTo>
                    <a:pt x="1177" y="965"/>
                  </a:moveTo>
                  <a:lnTo>
                    <a:pt x="1179" y="965"/>
                  </a:lnTo>
                  <a:lnTo>
                    <a:pt x="1177" y="965"/>
                  </a:lnTo>
                  <a:close/>
                  <a:moveTo>
                    <a:pt x="460" y="965"/>
                  </a:moveTo>
                  <a:lnTo>
                    <a:pt x="463" y="965"/>
                  </a:lnTo>
                  <a:lnTo>
                    <a:pt x="465" y="965"/>
                  </a:lnTo>
                  <a:lnTo>
                    <a:pt x="463" y="965"/>
                  </a:lnTo>
                  <a:lnTo>
                    <a:pt x="463" y="967"/>
                  </a:lnTo>
                  <a:lnTo>
                    <a:pt x="460" y="967"/>
                  </a:lnTo>
                  <a:lnTo>
                    <a:pt x="460" y="965"/>
                  </a:lnTo>
                  <a:lnTo>
                    <a:pt x="458" y="965"/>
                  </a:lnTo>
                  <a:lnTo>
                    <a:pt x="460" y="965"/>
                  </a:lnTo>
                  <a:close/>
                  <a:moveTo>
                    <a:pt x="453" y="965"/>
                  </a:moveTo>
                  <a:lnTo>
                    <a:pt x="456" y="965"/>
                  </a:lnTo>
                  <a:lnTo>
                    <a:pt x="453" y="965"/>
                  </a:lnTo>
                  <a:close/>
                  <a:moveTo>
                    <a:pt x="453" y="965"/>
                  </a:moveTo>
                  <a:lnTo>
                    <a:pt x="453" y="962"/>
                  </a:lnTo>
                  <a:lnTo>
                    <a:pt x="453" y="965"/>
                  </a:lnTo>
                  <a:close/>
                  <a:moveTo>
                    <a:pt x="446" y="962"/>
                  </a:moveTo>
                  <a:lnTo>
                    <a:pt x="444" y="962"/>
                  </a:lnTo>
                  <a:lnTo>
                    <a:pt x="446" y="962"/>
                  </a:lnTo>
                  <a:close/>
                  <a:moveTo>
                    <a:pt x="1319" y="962"/>
                  </a:moveTo>
                  <a:lnTo>
                    <a:pt x="1317" y="962"/>
                  </a:lnTo>
                  <a:lnTo>
                    <a:pt x="1319" y="962"/>
                  </a:lnTo>
                  <a:close/>
                  <a:moveTo>
                    <a:pt x="463" y="962"/>
                  </a:moveTo>
                  <a:lnTo>
                    <a:pt x="460" y="962"/>
                  </a:lnTo>
                  <a:lnTo>
                    <a:pt x="463" y="962"/>
                  </a:lnTo>
                  <a:close/>
                  <a:moveTo>
                    <a:pt x="1208" y="962"/>
                  </a:moveTo>
                  <a:lnTo>
                    <a:pt x="1205" y="962"/>
                  </a:lnTo>
                  <a:lnTo>
                    <a:pt x="1208" y="962"/>
                  </a:lnTo>
                  <a:lnTo>
                    <a:pt x="1205" y="962"/>
                  </a:lnTo>
                  <a:lnTo>
                    <a:pt x="1208" y="962"/>
                  </a:lnTo>
                  <a:close/>
                  <a:moveTo>
                    <a:pt x="446" y="962"/>
                  </a:moveTo>
                  <a:lnTo>
                    <a:pt x="449" y="962"/>
                  </a:lnTo>
                  <a:lnTo>
                    <a:pt x="446" y="962"/>
                  </a:lnTo>
                  <a:close/>
                  <a:moveTo>
                    <a:pt x="460" y="962"/>
                  </a:moveTo>
                  <a:lnTo>
                    <a:pt x="458" y="962"/>
                  </a:lnTo>
                  <a:lnTo>
                    <a:pt x="460" y="962"/>
                  </a:lnTo>
                  <a:close/>
                  <a:moveTo>
                    <a:pt x="1198" y="962"/>
                  </a:moveTo>
                  <a:lnTo>
                    <a:pt x="1196" y="962"/>
                  </a:lnTo>
                  <a:lnTo>
                    <a:pt x="1194" y="962"/>
                  </a:lnTo>
                  <a:lnTo>
                    <a:pt x="1196" y="962"/>
                  </a:lnTo>
                  <a:lnTo>
                    <a:pt x="1198" y="962"/>
                  </a:lnTo>
                  <a:close/>
                  <a:moveTo>
                    <a:pt x="1201" y="962"/>
                  </a:moveTo>
                  <a:lnTo>
                    <a:pt x="1203" y="962"/>
                  </a:lnTo>
                  <a:lnTo>
                    <a:pt x="1201" y="962"/>
                  </a:lnTo>
                  <a:close/>
                  <a:moveTo>
                    <a:pt x="1189" y="962"/>
                  </a:moveTo>
                  <a:lnTo>
                    <a:pt x="1186" y="962"/>
                  </a:lnTo>
                  <a:lnTo>
                    <a:pt x="1189" y="962"/>
                  </a:lnTo>
                  <a:lnTo>
                    <a:pt x="1186" y="962"/>
                  </a:lnTo>
                  <a:lnTo>
                    <a:pt x="1189" y="962"/>
                  </a:lnTo>
                  <a:lnTo>
                    <a:pt x="1191" y="962"/>
                  </a:lnTo>
                  <a:lnTo>
                    <a:pt x="1189" y="962"/>
                  </a:lnTo>
                  <a:close/>
                  <a:moveTo>
                    <a:pt x="458" y="962"/>
                  </a:moveTo>
                  <a:lnTo>
                    <a:pt x="456" y="962"/>
                  </a:lnTo>
                  <a:lnTo>
                    <a:pt x="453" y="962"/>
                  </a:lnTo>
                  <a:lnTo>
                    <a:pt x="456" y="962"/>
                  </a:lnTo>
                  <a:lnTo>
                    <a:pt x="458" y="962"/>
                  </a:lnTo>
                  <a:close/>
                  <a:moveTo>
                    <a:pt x="1194" y="962"/>
                  </a:moveTo>
                  <a:lnTo>
                    <a:pt x="1191" y="962"/>
                  </a:lnTo>
                  <a:lnTo>
                    <a:pt x="1194" y="962"/>
                  </a:lnTo>
                  <a:close/>
                  <a:moveTo>
                    <a:pt x="1194" y="962"/>
                  </a:moveTo>
                  <a:lnTo>
                    <a:pt x="1196" y="960"/>
                  </a:lnTo>
                  <a:lnTo>
                    <a:pt x="1196" y="962"/>
                  </a:lnTo>
                  <a:lnTo>
                    <a:pt x="1194" y="962"/>
                  </a:lnTo>
                  <a:close/>
                  <a:moveTo>
                    <a:pt x="778" y="960"/>
                  </a:moveTo>
                  <a:lnTo>
                    <a:pt x="781" y="962"/>
                  </a:lnTo>
                  <a:lnTo>
                    <a:pt x="781" y="960"/>
                  </a:lnTo>
                  <a:lnTo>
                    <a:pt x="778" y="960"/>
                  </a:lnTo>
                  <a:close/>
                  <a:moveTo>
                    <a:pt x="1205" y="960"/>
                  </a:moveTo>
                  <a:lnTo>
                    <a:pt x="1203" y="960"/>
                  </a:lnTo>
                  <a:lnTo>
                    <a:pt x="1205" y="960"/>
                  </a:lnTo>
                  <a:close/>
                  <a:moveTo>
                    <a:pt x="460" y="960"/>
                  </a:moveTo>
                  <a:lnTo>
                    <a:pt x="460" y="962"/>
                  </a:lnTo>
                  <a:lnTo>
                    <a:pt x="458" y="962"/>
                  </a:lnTo>
                  <a:lnTo>
                    <a:pt x="458" y="960"/>
                  </a:lnTo>
                  <a:lnTo>
                    <a:pt x="460" y="960"/>
                  </a:lnTo>
                  <a:close/>
                  <a:moveTo>
                    <a:pt x="1073" y="957"/>
                  </a:moveTo>
                  <a:lnTo>
                    <a:pt x="1073" y="960"/>
                  </a:lnTo>
                  <a:lnTo>
                    <a:pt x="1073" y="957"/>
                  </a:lnTo>
                  <a:close/>
                  <a:moveTo>
                    <a:pt x="458" y="955"/>
                  </a:moveTo>
                  <a:lnTo>
                    <a:pt x="458" y="957"/>
                  </a:lnTo>
                  <a:lnTo>
                    <a:pt x="456" y="957"/>
                  </a:lnTo>
                  <a:lnTo>
                    <a:pt x="458" y="955"/>
                  </a:lnTo>
                  <a:close/>
                  <a:moveTo>
                    <a:pt x="460" y="957"/>
                  </a:moveTo>
                  <a:lnTo>
                    <a:pt x="458" y="957"/>
                  </a:lnTo>
                  <a:lnTo>
                    <a:pt x="458" y="955"/>
                  </a:lnTo>
                  <a:lnTo>
                    <a:pt x="460" y="957"/>
                  </a:lnTo>
                  <a:lnTo>
                    <a:pt x="458" y="957"/>
                  </a:lnTo>
                  <a:lnTo>
                    <a:pt x="460" y="957"/>
                  </a:lnTo>
                  <a:close/>
                  <a:moveTo>
                    <a:pt x="460" y="955"/>
                  </a:moveTo>
                  <a:lnTo>
                    <a:pt x="460" y="957"/>
                  </a:lnTo>
                  <a:lnTo>
                    <a:pt x="460" y="955"/>
                  </a:lnTo>
                  <a:lnTo>
                    <a:pt x="460" y="957"/>
                  </a:lnTo>
                  <a:lnTo>
                    <a:pt x="460" y="955"/>
                  </a:lnTo>
                  <a:close/>
                  <a:moveTo>
                    <a:pt x="1293" y="955"/>
                  </a:moveTo>
                  <a:lnTo>
                    <a:pt x="1291" y="955"/>
                  </a:lnTo>
                  <a:lnTo>
                    <a:pt x="1291" y="957"/>
                  </a:lnTo>
                  <a:lnTo>
                    <a:pt x="1288" y="957"/>
                  </a:lnTo>
                  <a:lnTo>
                    <a:pt x="1291" y="955"/>
                  </a:lnTo>
                  <a:lnTo>
                    <a:pt x="1293" y="955"/>
                  </a:lnTo>
                  <a:close/>
                  <a:moveTo>
                    <a:pt x="1355" y="955"/>
                  </a:moveTo>
                  <a:lnTo>
                    <a:pt x="1353" y="955"/>
                  </a:lnTo>
                  <a:lnTo>
                    <a:pt x="1355" y="955"/>
                  </a:lnTo>
                  <a:close/>
                  <a:moveTo>
                    <a:pt x="1077" y="955"/>
                  </a:moveTo>
                  <a:lnTo>
                    <a:pt x="1077" y="957"/>
                  </a:lnTo>
                  <a:lnTo>
                    <a:pt x="1077" y="955"/>
                  </a:lnTo>
                  <a:lnTo>
                    <a:pt x="1075" y="955"/>
                  </a:lnTo>
                  <a:lnTo>
                    <a:pt x="1077" y="955"/>
                  </a:lnTo>
                  <a:close/>
                  <a:moveTo>
                    <a:pt x="449" y="955"/>
                  </a:moveTo>
                  <a:lnTo>
                    <a:pt x="446" y="955"/>
                  </a:lnTo>
                  <a:lnTo>
                    <a:pt x="446" y="953"/>
                  </a:lnTo>
                  <a:lnTo>
                    <a:pt x="446" y="955"/>
                  </a:lnTo>
                  <a:lnTo>
                    <a:pt x="449" y="955"/>
                  </a:lnTo>
                  <a:close/>
                  <a:moveTo>
                    <a:pt x="449" y="955"/>
                  </a:moveTo>
                  <a:lnTo>
                    <a:pt x="449" y="953"/>
                  </a:lnTo>
                  <a:lnTo>
                    <a:pt x="449" y="955"/>
                  </a:lnTo>
                  <a:close/>
                  <a:moveTo>
                    <a:pt x="1312" y="955"/>
                  </a:moveTo>
                  <a:lnTo>
                    <a:pt x="1310" y="955"/>
                  </a:lnTo>
                  <a:lnTo>
                    <a:pt x="1310" y="953"/>
                  </a:lnTo>
                  <a:lnTo>
                    <a:pt x="1312" y="953"/>
                  </a:lnTo>
                  <a:lnTo>
                    <a:pt x="1312" y="955"/>
                  </a:lnTo>
                  <a:close/>
                  <a:moveTo>
                    <a:pt x="446" y="953"/>
                  </a:moveTo>
                  <a:lnTo>
                    <a:pt x="444" y="953"/>
                  </a:lnTo>
                  <a:lnTo>
                    <a:pt x="446" y="953"/>
                  </a:lnTo>
                  <a:close/>
                  <a:moveTo>
                    <a:pt x="446" y="953"/>
                  </a:moveTo>
                  <a:lnTo>
                    <a:pt x="444" y="953"/>
                  </a:lnTo>
                  <a:lnTo>
                    <a:pt x="446" y="953"/>
                  </a:lnTo>
                  <a:close/>
                  <a:moveTo>
                    <a:pt x="1364" y="953"/>
                  </a:moveTo>
                  <a:lnTo>
                    <a:pt x="1362" y="953"/>
                  </a:lnTo>
                  <a:lnTo>
                    <a:pt x="1364" y="953"/>
                  </a:lnTo>
                  <a:close/>
                  <a:moveTo>
                    <a:pt x="1075" y="953"/>
                  </a:moveTo>
                  <a:lnTo>
                    <a:pt x="1075" y="955"/>
                  </a:lnTo>
                  <a:lnTo>
                    <a:pt x="1073" y="953"/>
                  </a:lnTo>
                  <a:lnTo>
                    <a:pt x="1075" y="950"/>
                  </a:lnTo>
                  <a:lnTo>
                    <a:pt x="1075" y="953"/>
                  </a:lnTo>
                  <a:close/>
                  <a:moveTo>
                    <a:pt x="434" y="950"/>
                  </a:moveTo>
                  <a:lnTo>
                    <a:pt x="437" y="950"/>
                  </a:lnTo>
                  <a:lnTo>
                    <a:pt x="434" y="950"/>
                  </a:lnTo>
                  <a:lnTo>
                    <a:pt x="432" y="950"/>
                  </a:lnTo>
                  <a:lnTo>
                    <a:pt x="434" y="950"/>
                  </a:lnTo>
                  <a:close/>
                  <a:moveTo>
                    <a:pt x="1303" y="948"/>
                  </a:moveTo>
                  <a:lnTo>
                    <a:pt x="1300" y="948"/>
                  </a:lnTo>
                  <a:lnTo>
                    <a:pt x="1303" y="948"/>
                  </a:lnTo>
                  <a:close/>
                  <a:moveTo>
                    <a:pt x="1075" y="948"/>
                  </a:moveTo>
                  <a:lnTo>
                    <a:pt x="1075" y="946"/>
                  </a:lnTo>
                  <a:lnTo>
                    <a:pt x="1075" y="948"/>
                  </a:lnTo>
                  <a:close/>
                  <a:moveTo>
                    <a:pt x="439" y="946"/>
                  </a:moveTo>
                  <a:lnTo>
                    <a:pt x="441" y="946"/>
                  </a:lnTo>
                  <a:lnTo>
                    <a:pt x="444" y="946"/>
                  </a:lnTo>
                  <a:lnTo>
                    <a:pt x="444" y="948"/>
                  </a:lnTo>
                  <a:lnTo>
                    <a:pt x="446" y="948"/>
                  </a:lnTo>
                  <a:lnTo>
                    <a:pt x="446" y="950"/>
                  </a:lnTo>
                  <a:lnTo>
                    <a:pt x="449" y="950"/>
                  </a:lnTo>
                  <a:lnTo>
                    <a:pt x="451" y="950"/>
                  </a:lnTo>
                  <a:lnTo>
                    <a:pt x="449" y="950"/>
                  </a:lnTo>
                  <a:lnTo>
                    <a:pt x="446" y="950"/>
                  </a:lnTo>
                  <a:lnTo>
                    <a:pt x="444" y="950"/>
                  </a:lnTo>
                  <a:lnTo>
                    <a:pt x="441" y="950"/>
                  </a:lnTo>
                  <a:lnTo>
                    <a:pt x="441" y="948"/>
                  </a:lnTo>
                  <a:lnTo>
                    <a:pt x="439" y="948"/>
                  </a:lnTo>
                  <a:lnTo>
                    <a:pt x="441" y="948"/>
                  </a:lnTo>
                  <a:lnTo>
                    <a:pt x="439" y="948"/>
                  </a:lnTo>
                  <a:lnTo>
                    <a:pt x="437" y="948"/>
                  </a:lnTo>
                  <a:lnTo>
                    <a:pt x="434" y="948"/>
                  </a:lnTo>
                  <a:lnTo>
                    <a:pt x="437" y="948"/>
                  </a:lnTo>
                  <a:lnTo>
                    <a:pt x="439" y="948"/>
                  </a:lnTo>
                  <a:lnTo>
                    <a:pt x="441" y="948"/>
                  </a:lnTo>
                  <a:lnTo>
                    <a:pt x="439" y="948"/>
                  </a:lnTo>
                  <a:lnTo>
                    <a:pt x="439" y="946"/>
                  </a:lnTo>
                  <a:lnTo>
                    <a:pt x="441" y="946"/>
                  </a:lnTo>
                  <a:lnTo>
                    <a:pt x="439" y="946"/>
                  </a:lnTo>
                  <a:lnTo>
                    <a:pt x="441" y="946"/>
                  </a:lnTo>
                  <a:lnTo>
                    <a:pt x="439" y="946"/>
                  </a:lnTo>
                  <a:lnTo>
                    <a:pt x="441" y="946"/>
                  </a:lnTo>
                  <a:lnTo>
                    <a:pt x="439" y="946"/>
                  </a:lnTo>
                  <a:lnTo>
                    <a:pt x="441" y="946"/>
                  </a:lnTo>
                  <a:lnTo>
                    <a:pt x="439" y="946"/>
                  </a:lnTo>
                  <a:close/>
                  <a:moveTo>
                    <a:pt x="439" y="946"/>
                  </a:moveTo>
                  <a:lnTo>
                    <a:pt x="437" y="946"/>
                  </a:lnTo>
                  <a:lnTo>
                    <a:pt x="439" y="943"/>
                  </a:lnTo>
                  <a:lnTo>
                    <a:pt x="439" y="946"/>
                  </a:lnTo>
                  <a:close/>
                  <a:moveTo>
                    <a:pt x="482" y="943"/>
                  </a:moveTo>
                  <a:lnTo>
                    <a:pt x="482" y="946"/>
                  </a:lnTo>
                  <a:lnTo>
                    <a:pt x="482" y="943"/>
                  </a:lnTo>
                  <a:close/>
                  <a:moveTo>
                    <a:pt x="812" y="943"/>
                  </a:moveTo>
                  <a:lnTo>
                    <a:pt x="814" y="943"/>
                  </a:lnTo>
                  <a:lnTo>
                    <a:pt x="812" y="943"/>
                  </a:lnTo>
                  <a:close/>
                  <a:moveTo>
                    <a:pt x="432" y="941"/>
                  </a:moveTo>
                  <a:lnTo>
                    <a:pt x="430" y="941"/>
                  </a:lnTo>
                  <a:lnTo>
                    <a:pt x="432" y="941"/>
                  </a:lnTo>
                  <a:close/>
                  <a:moveTo>
                    <a:pt x="453" y="941"/>
                  </a:moveTo>
                  <a:lnTo>
                    <a:pt x="453" y="938"/>
                  </a:lnTo>
                  <a:lnTo>
                    <a:pt x="453" y="941"/>
                  </a:lnTo>
                  <a:close/>
                  <a:moveTo>
                    <a:pt x="876" y="938"/>
                  </a:moveTo>
                  <a:lnTo>
                    <a:pt x="873" y="938"/>
                  </a:lnTo>
                  <a:lnTo>
                    <a:pt x="873" y="936"/>
                  </a:lnTo>
                  <a:lnTo>
                    <a:pt x="876" y="936"/>
                  </a:lnTo>
                  <a:lnTo>
                    <a:pt x="876" y="938"/>
                  </a:lnTo>
                  <a:close/>
                  <a:moveTo>
                    <a:pt x="752" y="943"/>
                  </a:moveTo>
                  <a:lnTo>
                    <a:pt x="750" y="943"/>
                  </a:lnTo>
                  <a:lnTo>
                    <a:pt x="750" y="941"/>
                  </a:lnTo>
                  <a:lnTo>
                    <a:pt x="747" y="941"/>
                  </a:lnTo>
                  <a:lnTo>
                    <a:pt x="745" y="941"/>
                  </a:lnTo>
                  <a:lnTo>
                    <a:pt x="743" y="938"/>
                  </a:lnTo>
                  <a:lnTo>
                    <a:pt x="743" y="936"/>
                  </a:lnTo>
                  <a:lnTo>
                    <a:pt x="745" y="936"/>
                  </a:lnTo>
                  <a:lnTo>
                    <a:pt x="747" y="936"/>
                  </a:lnTo>
                  <a:lnTo>
                    <a:pt x="750" y="936"/>
                  </a:lnTo>
                  <a:lnTo>
                    <a:pt x="750" y="938"/>
                  </a:lnTo>
                  <a:lnTo>
                    <a:pt x="752" y="941"/>
                  </a:lnTo>
                  <a:lnTo>
                    <a:pt x="752" y="943"/>
                  </a:lnTo>
                  <a:close/>
                  <a:moveTo>
                    <a:pt x="1073" y="936"/>
                  </a:moveTo>
                  <a:lnTo>
                    <a:pt x="1070" y="936"/>
                  </a:lnTo>
                  <a:lnTo>
                    <a:pt x="1073" y="936"/>
                  </a:lnTo>
                  <a:close/>
                  <a:moveTo>
                    <a:pt x="456" y="936"/>
                  </a:moveTo>
                  <a:lnTo>
                    <a:pt x="453" y="936"/>
                  </a:lnTo>
                  <a:lnTo>
                    <a:pt x="456" y="936"/>
                  </a:lnTo>
                  <a:close/>
                  <a:moveTo>
                    <a:pt x="422" y="934"/>
                  </a:moveTo>
                  <a:lnTo>
                    <a:pt x="422" y="936"/>
                  </a:lnTo>
                  <a:lnTo>
                    <a:pt x="422" y="934"/>
                  </a:lnTo>
                  <a:close/>
                  <a:moveTo>
                    <a:pt x="1070" y="934"/>
                  </a:moveTo>
                  <a:lnTo>
                    <a:pt x="1070" y="936"/>
                  </a:lnTo>
                  <a:lnTo>
                    <a:pt x="1070" y="934"/>
                  </a:lnTo>
                  <a:lnTo>
                    <a:pt x="1070" y="936"/>
                  </a:lnTo>
                  <a:lnTo>
                    <a:pt x="1070" y="934"/>
                  </a:lnTo>
                  <a:close/>
                  <a:moveTo>
                    <a:pt x="1070" y="934"/>
                  </a:moveTo>
                  <a:lnTo>
                    <a:pt x="1070" y="936"/>
                  </a:lnTo>
                  <a:lnTo>
                    <a:pt x="1070" y="934"/>
                  </a:lnTo>
                  <a:close/>
                  <a:moveTo>
                    <a:pt x="812" y="931"/>
                  </a:moveTo>
                  <a:lnTo>
                    <a:pt x="812" y="934"/>
                  </a:lnTo>
                  <a:lnTo>
                    <a:pt x="812" y="931"/>
                  </a:lnTo>
                  <a:close/>
                  <a:moveTo>
                    <a:pt x="1070" y="929"/>
                  </a:moveTo>
                  <a:lnTo>
                    <a:pt x="1070" y="931"/>
                  </a:lnTo>
                  <a:lnTo>
                    <a:pt x="1070" y="929"/>
                  </a:lnTo>
                  <a:lnTo>
                    <a:pt x="1070" y="931"/>
                  </a:lnTo>
                  <a:lnTo>
                    <a:pt x="1070" y="929"/>
                  </a:lnTo>
                  <a:close/>
                  <a:moveTo>
                    <a:pt x="809" y="927"/>
                  </a:moveTo>
                  <a:lnTo>
                    <a:pt x="812" y="929"/>
                  </a:lnTo>
                  <a:lnTo>
                    <a:pt x="812" y="927"/>
                  </a:lnTo>
                  <a:lnTo>
                    <a:pt x="812" y="929"/>
                  </a:lnTo>
                  <a:lnTo>
                    <a:pt x="809" y="929"/>
                  </a:lnTo>
                  <a:lnTo>
                    <a:pt x="812" y="929"/>
                  </a:lnTo>
                  <a:lnTo>
                    <a:pt x="809" y="927"/>
                  </a:lnTo>
                  <a:lnTo>
                    <a:pt x="809" y="929"/>
                  </a:lnTo>
                  <a:lnTo>
                    <a:pt x="809" y="927"/>
                  </a:lnTo>
                  <a:lnTo>
                    <a:pt x="812" y="927"/>
                  </a:lnTo>
                  <a:lnTo>
                    <a:pt x="809" y="927"/>
                  </a:lnTo>
                  <a:close/>
                  <a:moveTo>
                    <a:pt x="422" y="924"/>
                  </a:moveTo>
                  <a:lnTo>
                    <a:pt x="422" y="927"/>
                  </a:lnTo>
                  <a:lnTo>
                    <a:pt x="422" y="924"/>
                  </a:lnTo>
                  <a:close/>
                  <a:moveTo>
                    <a:pt x="422" y="924"/>
                  </a:moveTo>
                  <a:lnTo>
                    <a:pt x="420" y="924"/>
                  </a:lnTo>
                  <a:lnTo>
                    <a:pt x="422" y="924"/>
                  </a:lnTo>
                  <a:lnTo>
                    <a:pt x="420" y="924"/>
                  </a:lnTo>
                  <a:lnTo>
                    <a:pt x="422" y="924"/>
                  </a:lnTo>
                  <a:close/>
                  <a:moveTo>
                    <a:pt x="1073" y="924"/>
                  </a:moveTo>
                  <a:lnTo>
                    <a:pt x="1070" y="924"/>
                  </a:lnTo>
                  <a:lnTo>
                    <a:pt x="1073" y="922"/>
                  </a:lnTo>
                  <a:lnTo>
                    <a:pt x="1073" y="924"/>
                  </a:lnTo>
                  <a:close/>
                  <a:moveTo>
                    <a:pt x="707" y="922"/>
                  </a:moveTo>
                  <a:lnTo>
                    <a:pt x="710" y="922"/>
                  </a:lnTo>
                  <a:lnTo>
                    <a:pt x="707" y="922"/>
                  </a:lnTo>
                  <a:close/>
                  <a:moveTo>
                    <a:pt x="418" y="922"/>
                  </a:moveTo>
                  <a:lnTo>
                    <a:pt x="418" y="924"/>
                  </a:lnTo>
                  <a:lnTo>
                    <a:pt x="418" y="922"/>
                  </a:lnTo>
                  <a:close/>
                  <a:moveTo>
                    <a:pt x="418" y="919"/>
                  </a:moveTo>
                  <a:lnTo>
                    <a:pt x="418" y="922"/>
                  </a:lnTo>
                  <a:lnTo>
                    <a:pt x="418" y="919"/>
                  </a:lnTo>
                  <a:lnTo>
                    <a:pt x="420" y="922"/>
                  </a:lnTo>
                  <a:lnTo>
                    <a:pt x="418" y="922"/>
                  </a:lnTo>
                  <a:lnTo>
                    <a:pt x="418" y="919"/>
                  </a:lnTo>
                  <a:close/>
                  <a:moveTo>
                    <a:pt x="1075" y="919"/>
                  </a:moveTo>
                  <a:lnTo>
                    <a:pt x="1077" y="919"/>
                  </a:lnTo>
                  <a:lnTo>
                    <a:pt x="1077" y="922"/>
                  </a:lnTo>
                  <a:lnTo>
                    <a:pt x="1075" y="919"/>
                  </a:lnTo>
                  <a:close/>
                  <a:moveTo>
                    <a:pt x="1073" y="919"/>
                  </a:moveTo>
                  <a:lnTo>
                    <a:pt x="1073" y="922"/>
                  </a:lnTo>
                  <a:lnTo>
                    <a:pt x="1075" y="922"/>
                  </a:lnTo>
                  <a:lnTo>
                    <a:pt x="1073" y="922"/>
                  </a:lnTo>
                  <a:lnTo>
                    <a:pt x="1073" y="919"/>
                  </a:lnTo>
                  <a:lnTo>
                    <a:pt x="1073" y="922"/>
                  </a:lnTo>
                  <a:lnTo>
                    <a:pt x="1073" y="919"/>
                  </a:lnTo>
                  <a:close/>
                  <a:moveTo>
                    <a:pt x="422" y="917"/>
                  </a:moveTo>
                  <a:lnTo>
                    <a:pt x="422" y="919"/>
                  </a:lnTo>
                  <a:lnTo>
                    <a:pt x="422" y="917"/>
                  </a:lnTo>
                  <a:lnTo>
                    <a:pt x="422" y="919"/>
                  </a:lnTo>
                  <a:lnTo>
                    <a:pt x="422" y="917"/>
                  </a:lnTo>
                  <a:lnTo>
                    <a:pt x="422" y="919"/>
                  </a:lnTo>
                  <a:lnTo>
                    <a:pt x="422" y="917"/>
                  </a:lnTo>
                  <a:close/>
                  <a:moveTo>
                    <a:pt x="418" y="917"/>
                  </a:moveTo>
                  <a:lnTo>
                    <a:pt x="415" y="917"/>
                  </a:lnTo>
                  <a:lnTo>
                    <a:pt x="418" y="917"/>
                  </a:lnTo>
                  <a:close/>
                  <a:moveTo>
                    <a:pt x="411" y="917"/>
                  </a:moveTo>
                  <a:lnTo>
                    <a:pt x="413" y="917"/>
                  </a:lnTo>
                  <a:lnTo>
                    <a:pt x="413" y="919"/>
                  </a:lnTo>
                  <a:lnTo>
                    <a:pt x="411" y="919"/>
                  </a:lnTo>
                  <a:lnTo>
                    <a:pt x="411" y="917"/>
                  </a:lnTo>
                  <a:close/>
                  <a:moveTo>
                    <a:pt x="411" y="917"/>
                  </a:moveTo>
                  <a:lnTo>
                    <a:pt x="408" y="917"/>
                  </a:lnTo>
                  <a:lnTo>
                    <a:pt x="411" y="917"/>
                  </a:lnTo>
                  <a:close/>
                  <a:moveTo>
                    <a:pt x="1068" y="915"/>
                  </a:moveTo>
                  <a:lnTo>
                    <a:pt x="1068" y="912"/>
                  </a:lnTo>
                  <a:lnTo>
                    <a:pt x="1068" y="915"/>
                  </a:lnTo>
                  <a:close/>
                  <a:moveTo>
                    <a:pt x="1065" y="912"/>
                  </a:moveTo>
                  <a:lnTo>
                    <a:pt x="1068" y="912"/>
                  </a:lnTo>
                  <a:lnTo>
                    <a:pt x="1065" y="915"/>
                  </a:lnTo>
                  <a:lnTo>
                    <a:pt x="1065" y="912"/>
                  </a:lnTo>
                  <a:close/>
                  <a:moveTo>
                    <a:pt x="1065" y="912"/>
                  </a:moveTo>
                  <a:lnTo>
                    <a:pt x="1065" y="910"/>
                  </a:lnTo>
                  <a:lnTo>
                    <a:pt x="1068" y="912"/>
                  </a:lnTo>
                  <a:lnTo>
                    <a:pt x="1065" y="912"/>
                  </a:lnTo>
                  <a:lnTo>
                    <a:pt x="1065" y="910"/>
                  </a:lnTo>
                  <a:lnTo>
                    <a:pt x="1065" y="912"/>
                  </a:lnTo>
                  <a:close/>
                  <a:moveTo>
                    <a:pt x="1068" y="910"/>
                  </a:moveTo>
                  <a:lnTo>
                    <a:pt x="1068" y="912"/>
                  </a:lnTo>
                  <a:lnTo>
                    <a:pt x="1068" y="910"/>
                  </a:lnTo>
                  <a:lnTo>
                    <a:pt x="1065" y="910"/>
                  </a:lnTo>
                  <a:lnTo>
                    <a:pt x="1068" y="910"/>
                  </a:lnTo>
                  <a:close/>
                  <a:moveTo>
                    <a:pt x="1065" y="910"/>
                  </a:moveTo>
                  <a:lnTo>
                    <a:pt x="1065" y="912"/>
                  </a:lnTo>
                  <a:lnTo>
                    <a:pt x="1065" y="910"/>
                  </a:lnTo>
                  <a:close/>
                  <a:moveTo>
                    <a:pt x="1063" y="908"/>
                  </a:moveTo>
                  <a:lnTo>
                    <a:pt x="1063" y="910"/>
                  </a:lnTo>
                  <a:lnTo>
                    <a:pt x="1063" y="908"/>
                  </a:lnTo>
                  <a:lnTo>
                    <a:pt x="1063" y="910"/>
                  </a:lnTo>
                  <a:lnTo>
                    <a:pt x="1065" y="910"/>
                  </a:lnTo>
                  <a:lnTo>
                    <a:pt x="1063" y="912"/>
                  </a:lnTo>
                  <a:lnTo>
                    <a:pt x="1065" y="912"/>
                  </a:lnTo>
                  <a:lnTo>
                    <a:pt x="1063" y="912"/>
                  </a:lnTo>
                  <a:lnTo>
                    <a:pt x="1063" y="910"/>
                  </a:lnTo>
                  <a:lnTo>
                    <a:pt x="1061" y="910"/>
                  </a:lnTo>
                  <a:lnTo>
                    <a:pt x="1063" y="910"/>
                  </a:lnTo>
                  <a:lnTo>
                    <a:pt x="1061" y="910"/>
                  </a:lnTo>
                  <a:lnTo>
                    <a:pt x="1063" y="910"/>
                  </a:lnTo>
                  <a:lnTo>
                    <a:pt x="1061" y="910"/>
                  </a:lnTo>
                  <a:lnTo>
                    <a:pt x="1063" y="908"/>
                  </a:lnTo>
                  <a:close/>
                  <a:moveTo>
                    <a:pt x="1063" y="908"/>
                  </a:moveTo>
                  <a:lnTo>
                    <a:pt x="1061" y="908"/>
                  </a:lnTo>
                  <a:lnTo>
                    <a:pt x="1061" y="905"/>
                  </a:lnTo>
                  <a:lnTo>
                    <a:pt x="1063" y="905"/>
                  </a:lnTo>
                  <a:lnTo>
                    <a:pt x="1063" y="908"/>
                  </a:lnTo>
                  <a:close/>
                  <a:moveTo>
                    <a:pt x="1065" y="903"/>
                  </a:moveTo>
                  <a:lnTo>
                    <a:pt x="1063" y="905"/>
                  </a:lnTo>
                  <a:lnTo>
                    <a:pt x="1063" y="903"/>
                  </a:lnTo>
                  <a:lnTo>
                    <a:pt x="1063" y="905"/>
                  </a:lnTo>
                  <a:lnTo>
                    <a:pt x="1063" y="903"/>
                  </a:lnTo>
                  <a:lnTo>
                    <a:pt x="1065" y="903"/>
                  </a:lnTo>
                  <a:close/>
                  <a:moveTo>
                    <a:pt x="1065" y="900"/>
                  </a:moveTo>
                  <a:lnTo>
                    <a:pt x="1063" y="903"/>
                  </a:lnTo>
                  <a:lnTo>
                    <a:pt x="1063" y="900"/>
                  </a:lnTo>
                  <a:lnTo>
                    <a:pt x="1065" y="900"/>
                  </a:lnTo>
                  <a:close/>
                  <a:moveTo>
                    <a:pt x="1068" y="898"/>
                  </a:moveTo>
                  <a:lnTo>
                    <a:pt x="1068" y="900"/>
                  </a:lnTo>
                  <a:lnTo>
                    <a:pt x="1068" y="898"/>
                  </a:lnTo>
                  <a:close/>
                  <a:moveTo>
                    <a:pt x="1056" y="893"/>
                  </a:moveTo>
                  <a:lnTo>
                    <a:pt x="1056" y="896"/>
                  </a:lnTo>
                  <a:lnTo>
                    <a:pt x="1056" y="893"/>
                  </a:lnTo>
                  <a:close/>
                  <a:moveTo>
                    <a:pt x="1063" y="893"/>
                  </a:moveTo>
                  <a:lnTo>
                    <a:pt x="1065" y="893"/>
                  </a:lnTo>
                  <a:lnTo>
                    <a:pt x="1063" y="893"/>
                  </a:lnTo>
                  <a:lnTo>
                    <a:pt x="1063" y="896"/>
                  </a:lnTo>
                  <a:lnTo>
                    <a:pt x="1063" y="893"/>
                  </a:lnTo>
                  <a:close/>
                  <a:moveTo>
                    <a:pt x="1061" y="891"/>
                  </a:moveTo>
                  <a:lnTo>
                    <a:pt x="1061" y="889"/>
                  </a:lnTo>
                  <a:lnTo>
                    <a:pt x="1061" y="891"/>
                  </a:lnTo>
                  <a:close/>
                  <a:moveTo>
                    <a:pt x="1068" y="886"/>
                  </a:moveTo>
                  <a:lnTo>
                    <a:pt x="1068" y="889"/>
                  </a:lnTo>
                  <a:lnTo>
                    <a:pt x="1065" y="889"/>
                  </a:lnTo>
                  <a:lnTo>
                    <a:pt x="1065" y="886"/>
                  </a:lnTo>
                  <a:lnTo>
                    <a:pt x="1068" y="886"/>
                  </a:lnTo>
                  <a:close/>
                  <a:moveTo>
                    <a:pt x="1073" y="886"/>
                  </a:moveTo>
                  <a:lnTo>
                    <a:pt x="1070" y="886"/>
                  </a:lnTo>
                  <a:lnTo>
                    <a:pt x="1073" y="886"/>
                  </a:lnTo>
                  <a:lnTo>
                    <a:pt x="1070" y="886"/>
                  </a:lnTo>
                  <a:lnTo>
                    <a:pt x="1073" y="886"/>
                  </a:lnTo>
                  <a:lnTo>
                    <a:pt x="1075" y="884"/>
                  </a:lnTo>
                  <a:lnTo>
                    <a:pt x="1073" y="886"/>
                  </a:lnTo>
                  <a:close/>
                  <a:moveTo>
                    <a:pt x="1094" y="884"/>
                  </a:moveTo>
                  <a:lnTo>
                    <a:pt x="1092" y="884"/>
                  </a:lnTo>
                  <a:lnTo>
                    <a:pt x="1094" y="884"/>
                  </a:lnTo>
                  <a:close/>
                  <a:moveTo>
                    <a:pt x="1084" y="884"/>
                  </a:moveTo>
                  <a:lnTo>
                    <a:pt x="1082" y="886"/>
                  </a:lnTo>
                  <a:lnTo>
                    <a:pt x="1082" y="884"/>
                  </a:lnTo>
                  <a:lnTo>
                    <a:pt x="1084" y="884"/>
                  </a:lnTo>
                  <a:close/>
                  <a:moveTo>
                    <a:pt x="1080" y="886"/>
                  </a:moveTo>
                  <a:lnTo>
                    <a:pt x="1082" y="886"/>
                  </a:lnTo>
                  <a:lnTo>
                    <a:pt x="1080" y="886"/>
                  </a:lnTo>
                  <a:lnTo>
                    <a:pt x="1077" y="886"/>
                  </a:lnTo>
                  <a:lnTo>
                    <a:pt x="1080" y="886"/>
                  </a:lnTo>
                  <a:lnTo>
                    <a:pt x="1077" y="889"/>
                  </a:lnTo>
                  <a:lnTo>
                    <a:pt x="1077" y="886"/>
                  </a:lnTo>
                  <a:lnTo>
                    <a:pt x="1077" y="889"/>
                  </a:lnTo>
                  <a:lnTo>
                    <a:pt x="1077" y="886"/>
                  </a:lnTo>
                  <a:lnTo>
                    <a:pt x="1075" y="886"/>
                  </a:lnTo>
                  <a:lnTo>
                    <a:pt x="1075" y="889"/>
                  </a:lnTo>
                  <a:lnTo>
                    <a:pt x="1073" y="891"/>
                  </a:lnTo>
                  <a:lnTo>
                    <a:pt x="1070" y="891"/>
                  </a:lnTo>
                  <a:lnTo>
                    <a:pt x="1070" y="889"/>
                  </a:lnTo>
                  <a:lnTo>
                    <a:pt x="1068" y="889"/>
                  </a:lnTo>
                  <a:lnTo>
                    <a:pt x="1065" y="889"/>
                  </a:lnTo>
                  <a:lnTo>
                    <a:pt x="1068" y="889"/>
                  </a:lnTo>
                  <a:lnTo>
                    <a:pt x="1070" y="886"/>
                  </a:lnTo>
                  <a:lnTo>
                    <a:pt x="1073" y="886"/>
                  </a:lnTo>
                  <a:lnTo>
                    <a:pt x="1075" y="886"/>
                  </a:lnTo>
                  <a:lnTo>
                    <a:pt x="1075" y="884"/>
                  </a:lnTo>
                  <a:lnTo>
                    <a:pt x="1077" y="884"/>
                  </a:lnTo>
                  <a:lnTo>
                    <a:pt x="1080" y="886"/>
                  </a:lnTo>
                  <a:close/>
                  <a:moveTo>
                    <a:pt x="1080" y="886"/>
                  </a:moveTo>
                  <a:lnTo>
                    <a:pt x="1077" y="884"/>
                  </a:lnTo>
                  <a:lnTo>
                    <a:pt x="1080" y="884"/>
                  </a:lnTo>
                  <a:lnTo>
                    <a:pt x="1080" y="886"/>
                  </a:lnTo>
                  <a:lnTo>
                    <a:pt x="1080" y="884"/>
                  </a:lnTo>
                  <a:lnTo>
                    <a:pt x="1080" y="886"/>
                  </a:lnTo>
                  <a:close/>
                  <a:moveTo>
                    <a:pt x="1096" y="884"/>
                  </a:moveTo>
                  <a:lnTo>
                    <a:pt x="1094" y="884"/>
                  </a:lnTo>
                  <a:lnTo>
                    <a:pt x="1096" y="884"/>
                  </a:lnTo>
                  <a:close/>
                  <a:moveTo>
                    <a:pt x="1096" y="884"/>
                  </a:moveTo>
                  <a:lnTo>
                    <a:pt x="1096" y="881"/>
                  </a:lnTo>
                  <a:lnTo>
                    <a:pt x="1096" y="884"/>
                  </a:lnTo>
                  <a:close/>
                  <a:moveTo>
                    <a:pt x="1096" y="881"/>
                  </a:moveTo>
                  <a:lnTo>
                    <a:pt x="1096" y="884"/>
                  </a:lnTo>
                  <a:lnTo>
                    <a:pt x="1094" y="884"/>
                  </a:lnTo>
                  <a:lnTo>
                    <a:pt x="1094" y="881"/>
                  </a:lnTo>
                  <a:lnTo>
                    <a:pt x="1096" y="881"/>
                  </a:lnTo>
                  <a:close/>
                  <a:moveTo>
                    <a:pt x="1084" y="879"/>
                  </a:moveTo>
                  <a:lnTo>
                    <a:pt x="1084" y="881"/>
                  </a:lnTo>
                  <a:lnTo>
                    <a:pt x="1082" y="881"/>
                  </a:lnTo>
                  <a:lnTo>
                    <a:pt x="1082" y="879"/>
                  </a:lnTo>
                  <a:lnTo>
                    <a:pt x="1084" y="879"/>
                  </a:lnTo>
                  <a:close/>
                  <a:moveTo>
                    <a:pt x="1087" y="879"/>
                  </a:moveTo>
                  <a:lnTo>
                    <a:pt x="1084" y="879"/>
                  </a:lnTo>
                  <a:lnTo>
                    <a:pt x="1087" y="879"/>
                  </a:lnTo>
                  <a:close/>
                  <a:moveTo>
                    <a:pt x="1094" y="877"/>
                  </a:moveTo>
                  <a:lnTo>
                    <a:pt x="1092" y="877"/>
                  </a:lnTo>
                  <a:lnTo>
                    <a:pt x="1092" y="879"/>
                  </a:lnTo>
                  <a:lnTo>
                    <a:pt x="1092" y="877"/>
                  </a:lnTo>
                  <a:lnTo>
                    <a:pt x="1089" y="877"/>
                  </a:lnTo>
                  <a:lnTo>
                    <a:pt x="1092" y="877"/>
                  </a:lnTo>
                  <a:lnTo>
                    <a:pt x="1094" y="877"/>
                  </a:lnTo>
                  <a:close/>
                  <a:moveTo>
                    <a:pt x="1101" y="877"/>
                  </a:moveTo>
                  <a:lnTo>
                    <a:pt x="1099" y="877"/>
                  </a:lnTo>
                  <a:lnTo>
                    <a:pt x="1101" y="877"/>
                  </a:lnTo>
                  <a:close/>
                  <a:moveTo>
                    <a:pt x="681" y="874"/>
                  </a:moveTo>
                  <a:lnTo>
                    <a:pt x="681" y="877"/>
                  </a:lnTo>
                  <a:lnTo>
                    <a:pt x="679" y="877"/>
                  </a:lnTo>
                  <a:lnTo>
                    <a:pt x="679" y="874"/>
                  </a:lnTo>
                  <a:lnTo>
                    <a:pt x="679" y="877"/>
                  </a:lnTo>
                  <a:lnTo>
                    <a:pt x="681" y="877"/>
                  </a:lnTo>
                  <a:lnTo>
                    <a:pt x="681" y="874"/>
                  </a:lnTo>
                  <a:lnTo>
                    <a:pt x="679" y="874"/>
                  </a:lnTo>
                  <a:lnTo>
                    <a:pt x="681" y="874"/>
                  </a:lnTo>
                  <a:close/>
                  <a:moveTo>
                    <a:pt x="1103" y="877"/>
                  </a:moveTo>
                  <a:lnTo>
                    <a:pt x="1101" y="877"/>
                  </a:lnTo>
                  <a:lnTo>
                    <a:pt x="1103" y="874"/>
                  </a:lnTo>
                  <a:lnTo>
                    <a:pt x="1103" y="877"/>
                  </a:lnTo>
                  <a:close/>
                  <a:moveTo>
                    <a:pt x="1115" y="874"/>
                  </a:moveTo>
                  <a:lnTo>
                    <a:pt x="1113" y="874"/>
                  </a:lnTo>
                  <a:lnTo>
                    <a:pt x="1110" y="874"/>
                  </a:lnTo>
                  <a:lnTo>
                    <a:pt x="1113" y="874"/>
                  </a:lnTo>
                  <a:lnTo>
                    <a:pt x="1115" y="874"/>
                  </a:lnTo>
                  <a:close/>
                  <a:moveTo>
                    <a:pt x="1103" y="874"/>
                  </a:moveTo>
                  <a:lnTo>
                    <a:pt x="1101" y="877"/>
                  </a:lnTo>
                  <a:lnTo>
                    <a:pt x="1101" y="874"/>
                  </a:lnTo>
                  <a:lnTo>
                    <a:pt x="1103" y="874"/>
                  </a:lnTo>
                  <a:lnTo>
                    <a:pt x="1103" y="872"/>
                  </a:lnTo>
                  <a:lnTo>
                    <a:pt x="1106" y="872"/>
                  </a:lnTo>
                  <a:lnTo>
                    <a:pt x="1103" y="874"/>
                  </a:lnTo>
                  <a:close/>
                  <a:moveTo>
                    <a:pt x="1118" y="872"/>
                  </a:moveTo>
                  <a:lnTo>
                    <a:pt x="1115" y="872"/>
                  </a:lnTo>
                  <a:lnTo>
                    <a:pt x="1118" y="870"/>
                  </a:lnTo>
                  <a:lnTo>
                    <a:pt x="1118" y="872"/>
                  </a:lnTo>
                  <a:close/>
                  <a:moveTo>
                    <a:pt x="1082" y="872"/>
                  </a:moveTo>
                  <a:lnTo>
                    <a:pt x="1082" y="870"/>
                  </a:lnTo>
                  <a:lnTo>
                    <a:pt x="1082" y="872"/>
                  </a:lnTo>
                  <a:close/>
                  <a:moveTo>
                    <a:pt x="1118" y="870"/>
                  </a:moveTo>
                  <a:lnTo>
                    <a:pt x="1115" y="870"/>
                  </a:lnTo>
                  <a:lnTo>
                    <a:pt x="1118" y="870"/>
                  </a:lnTo>
                  <a:close/>
                  <a:moveTo>
                    <a:pt x="1118" y="870"/>
                  </a:moveTo>
                  <a:lnTo>
                    <a:pt x="1115" y="872"/>
                  </a:lnTo>
                  <a:lnTo>
                    <a:pt x="1113" y="872"/>
                  </a:lnTo>
                  <a:lnTo>
                    <a:pt x="1115" y="872"/>
                  </a:lnTo>
                  <a:lnTo>
                    <a:pt x="1115" y="870"/>
                  </a:lnTo>
                  <a:lnTo>
                    <a:pt x="1115" y="872"/>
                  </a:lnTo>
                  <a:lnTo>
                    <a:pt x="1115" y="870"/>
                  </a:lnTo>
                  <a:lnTo>
                    <a:pt x="1118" y="870"/>
                  </a:lnTo>
                  <a:close/>
                  <a:moveTo>
                    <a:pt x="1118" y="870"/>
                  </a:moveTo>
                  <a:lnTo>
                    <a:pt x="1120" y="870"/>
                  </a:lnTo>
                  <a:lnTo>
                    <a:pt x="1118" y="870"/>
                  </a:lnTo>
                  <a:close/>
                  <a:moveTo>
                    <a:pt x="1122" y="867"/>
                  </a:moveTo>
                  <a:lnTo>
                    <a:pt x="1120" y="867"/>
                  </a:lnTo>
                  <a:lnTo>
                    <a:pt x="1122" y="867"/>
                  </a:lnTo>
                  <a:lnTo>
                    <a:pt x="1120" y="867"/>
                  </a:lnTo>
                  <a:lnTo>
                    <a:pt x="1118" y="867"/>
                  </a:lnTo>
                  <a:lnTo>
                    <a:pt x="1120" y="867"/>
                  </a:lnTo>
                  <a:lnTo>
                    <a:pt x="1122" y="867"/>
                  </a:lnTo>
                  <a:close/>
                  <a:moveTo>
                    <a:pt x="1125" y="867"/>
                  </a:moveTo>
                  <a:lnTo>
                    <a:pt x="1122" y="867"/>
                  </a:lnTo>
                  <a:lnTo>
                    <a:pt x="1125" y="865"/>
                  </a:lnTo>
                  <a:lnTo>
                    <a:pt x="1125" y="867"/>
                  </a:lnTo>
                  <a:close/>
                  <a:moveTo>
                    <a:pt x="1110" y="865"/>
                  </a:moveTo>
                  <a:lnTo>
                    <a:pt x="1108" y="865"/>
                  </a:lnTo>
                  <a:lnTo>
                    <a:pt x="1110" y="865"/>
                  </a:lnTo>
                  <a:close/>
                  <a:moveTo>
                    <a:pt x="1092" y="865"/>
                  </a:moveTo>
                  <a:lnTo>
                    <a:pt x="1092" y="867"/>
                  </a:lnTo>
                  <a:lnTo>
                    <a:pt x="1092" y="865"/>
                  </a:lnTo>
                  <a:close/>
                  <a:moveTo>
                    <a:pt x="650" y="862"/>
                  </a:moveTo>
                  <a:lnTo>
                    <a:pt x="650" y="865"/>
                  </a:lnTo>
                  <a:lnTo>
                    <a:pt x="650" y="862"/>
                  </a:lnTo>
                  <a:close/>
                  <a:moveTo>
                    <a:pt x="1092" y="865"/>
                  </a:moveTo>
                  <a:lnTo>
                    <a:pt x="1092" y="862"/>
                  </a:lnTo>
                  <a:lnTo>
                    <a:pt x="1092" y="865"/>
                  </a:lnTo>
                  <a:lnTo>
                    <a:pt x="1094" y="865"/>
                  </a:lnTo>
                  <a:lnTo>
                    <a:pt x="1092" y="865"/>
                  </a:lnTo>
                  <a:lnTo>
                    <a:pt x="1094" y="865"/>
                  </a:lnTo>
                  <a:lnTo>
                    <a:pt x="1092" y="865"/>
                  </a:lnTo>
                  <a:lnTo>
                    <a:pt x="1092" y="862"/>
                  </a:lnTo>
                  <a:lnTo>
                    <a:pt x="1092" y="865"/>
                  </a:lnTo>
                  <a:lnTo>
                    <a:pt x="1094" y="865"/>
                  </a:lnTo>
                  <a:lnTo>
                    <a:pt x="1096" y="865"/>
                  </a:lnTo>
                  <a:lnTo>
                    <a:pt x="1094" y="865"/>
                  </a:lnTo>
                  <a:lnTo>
                    <a:pt x="1094" y="867"/>
                  </a:lnTo>
                  <a:lnTo>
                    <a:pt x="1092" y="867"/>
                  </a:lnTo>
                  <a:lnTo>
                    <a:pt x="1092" y="865"/>
                  </a:lnTo>
                  <a:close/>
                  <a:moveTo>
                    <a:pt x="650" y="862"/>
                  </a:moveTo>
                  <a:lnTo>
                    <a:pt x="648" y="862"/>
                  </a:lnTo>
                  <a:lnTo>
                    <a:pt x="650" y="862"/>
                  </a:lnTo>
                  <a:close/>
                  <a:moveTo>
                    <a:pt x="887" y="860"/>
                  </a:moveTo>
                  <a:lnTo>
                    <a:pt x="887" y="862"/>
                  </a:lnTo>
                  <a:lnTo>
                    <a:pt x="885" y="862"/>
                  </a:lnTo>
                  <a:lnTo>
                    <a:pt x="885" y="860"/>
                  </a:lnTo>
                  <a:lnTo>
                    <a:pt x="887" y="860"/>
                  </a:lnTo>
                  <a:close/>
                  <a:moveTo>
                    <a:pt x="1110" y="860"/>
                  </a:moveTo>
                  <a:lnTo>
                    <a:pt x="1110" y="862"/>
                  </a:lnTo>
                  <a:lnTo>
                    <a:pt x="1113" y="860"/>
                  </a:lnTo>
                  <a:lnTo>
                    <a:pt x="1113" y="862"/>
                  </a:lnTo>
                  <a:lnTo>
                    <a:pt x="1110" y="862"/>
                  </a:lnTo>
                  <a:lnTo>
                    <a:pt x="1110" y="860"/>
                  </a:lnTo>
                  <a:lnTo>
                    <a:pt x="1113" y="860"/>
                  </a:lnTo>
                  <a:lnTo>
                    <a:pt x="1110" y="860"/>
                  </a:lnTo>
                  <a:close/>
                  <a:moveTo>
                    <a:pt x="650" y="860"/>
                  </a:moveTo>
                  <a:lnTo>
                    <a:pt x="648" y="860"/>
                  </a:lnTo>
                  <a:lnTo>
                    <a:pt x="650" y="860"/>
                  </a:lnTo>
                  <a:close/>
                  <a:moveTo>
                    <a:pt x="645" y="860"/>
                  </a:moveTo>
                  <a:lnTo>
                    <a:pt x="648" y="860"/>
                  </a:lnTo>
                  <a:lnTo>
                    <a:pt x="648" y="862"/>
                  </a:lnTo>
                  <a:lnTo>
                    <a:pt x="648" y="860"/>
                  </a:lnTo>
                  <a:lnTo>
                    <a:pt x="648" y="862"/>
                  </a:lnTo>
                  <a:lnTo>
                    <a:pt x="645" y="860"/>
                  </a:lnTo>
                  <a:close/>
                  <a:moveTo>
                    <a:pt x="645" y="860"/>
                  </a:moveTo>
                  <a:lnTo>
                    <a:pt x="643" y="860"/>
                  </a:lnTo>
                  <a:lnTo>
                    <a:pt x="645" y="860"/>
                  </a:lnTo>
                  <a:close/>
                  <a:moveTo>
                    <a:pt x="1113" y="860"/>
                  </a:moveTo>
                  <a:lnTo>
                    <a:pt x="1110" y="860"/>
                  </a:lnTo>
                  <a:lnTo>
                    <a:pt x="1113" y="860"/>
                  </a:lnTo>
                  <a:close/>
                  <a:moveTo>
                    <a:pt x="645" y="860"/>
                  </a:moveTo>
                  <a:lnTo>
                    <a:pt x="648" y="860"/>
                  </a:lnTo>
                  <a:lnTo>
                    <a:pt x="645" y="860"/>
                  </a:lnTo>
                  <a:close/>
                  <a:moveTo>
                    <a:pt x="1096" y="860"/>
                  </a:moveTo>
                  <a:lnTo>
                    <a:pt x="1094" y="860"/>
                  </a:lnTo>
                  <a:lnTo>
                    <a:pt x="1096" y="860"/>
                  </a:lnTo>
                  <a:lnTo>
                    <a:pt x="1094" y="860"/>
                  </a:lnTo>
                  <a:lnTo>
                    <a:pt x="1096" y="860"/>
                  </a:lnTo>
                  <a:close/>
                  <a:moveTo>
                    <a:pt x="1113" y="860"/>
                  </a:moveTo>
                  <a:lnTo>
                    <a:pt x="1113" y="858"/>
                  </a:lnTo>
                  <a:lnTo>
                    <a:pt x="1113" y="860"/>
                  </a:lnTo>
                  <a:close/>
                  <a:moveTo>
                    <a:pt x="883" y="855"/>
                  </a:moveTo>
                  <a:lnTo>
                    <a:pt x="883" y="858"/>
                  </a:lnTo>
                  <a:lnTo>
                    <a:pt x="883" y="855"/>
                  </a:lnTo>
                  <a:close/>
                  <a:moveTo>
                    <a:pt x="1099" y="855"/>
                  </a:moveTo>
                  <a:lnTo>
                    <a:pt x="1099" y="858"/>
                  </a:lnTo>
                  <a:lnTo>
                    <a:pt x="1099" y="855"/>
                  </a:lnTo>
                  <a:close/>
                  <a:moveTo>
                    <a:pt x="1099" y="853"/>
                  </a:moveTo>
                  <a:lnTo>
                    <a:pt x="1099" y="855"/>
                  </a:lnTo>
                  <a:lnTo>
                    <a:pt x="1099" y="853"/>
                  </a:lnTo>
                  <a:close/>
                  <a:moveTo>
                    <a:pt x="1132" y="855"/>
                  </a:moveTo>
                  <a:lnTo>
                    <a:pt x="1129" y="855"/>
                  </a:lnTo>
                  <a:lnTo>
                    <a:pt x="1132" y="855"/>
                  </a:lnTo>
                  <a:lnTo>
                    <a:pt x="1132" y="853"/>
                  </a:lnTo>
                  <a:lnTo>
                    <a:pt x="1132" y="855"/>
                  </a:lnTo>
                  <a:close/>
                  <a:moveTo>
                    <a:pt x="1122" y="853"/>
                  </a:moveTo>
                  <a:lnTo>
                    <a:pt x="1122" y="855"/>
                  </a:lnTo>
                  <a:lnTo>
                    <a:pt x="1120" y="855"/>
                  </a:lnTo>
                  <a:lnTo>
                    <a:pt x="1120" y="853"/>
                  </a:lnTo>
                  <a:lnTo>
                    <a:pt x="1122" y="853"/>
                  </a:lnTo>
                  <a:close/>
                  <a:moveTo>
                    <a:pt x="1122" y="853"/>
                  </a:moveTo>
                  <a:lnTo>
                    <a:pt x="1122" y="855"/>
                  </a:lnTo>
                  <a:lnTo>
                    <a:pt x="1122" y="853"/>
                  </a:lnTo>
                  <a:close/>
                  <a:moveTo>
                    <a:pt x="1099" y="853"/>
                  </a:moveTo>
                  <a:lnTo>
                    <a:pt x="1099" y="855"/>
                  </a:lnTo>
                  <a:lnTo>
                    <a:pt x="1096" y="855"/>
                  </a:lnTo>
                  <a:lnTo>
                    <a:pt x="1099" y="855"/>
                  </a:lnTo>
                  <a:lnTo>
                    <a:pt x="1096" y="853"/>
                  </a:lnTo>
                  <a:lnTo>
                    <a:pt x="1099" y="853"/>
                  </a:lnTo>
                  <a:close/>
                  <a:moveTo>
                    <a:pt x="1122" y="853"/>
                  </a:moveTo>
                  <a:lnTo>
                    <a:pt x="1120" y="853"/>
                  </a:lnTo>
                  <a:lnTo>
                    <a:pt x="1122" y="853"/>
                  </a:lnTo>
                  <a:lnTo>
                    <a:pt x="1120" y="853"/>
                  </a:lnTo>
                  <a:lnTo>
                    <a:pt x="1122" y="853"/>
                  </a:lnTo>
                  <a:close/>
                  <a:moveTo>
                    <a:pt x="1101" y="853"/>
                  </a:moveTo>
                  <a:lnTo>
                    <a:pt x="1099" y="853"/>
                  </a:lnTo>
                  <a:lnTo>
                    <a:pt x="1101" y="853"/>
                  </a:lnTo>
                  <a:close/>
                  <a:moveTo>
                    <a:pt x="1229" y="853"/>
                  </a:moveTo>
                  <a:lnTo>
                    <a:pt x="1231" y="853"/>
                  </a:lnTo>
                  <a:lnTo>
                    <a:pt x="1229" y="853"/>
                  </a:lnTo>
                  <a:close/>
                  <a:moveTo>
                    <a:pt x="1101" y="853"/>
                  </a:moveTo>
                  <a:lnTo>
                    <a:pt x="1101" y="851"/>
                  </a:lnTo>
                  <a:lnTo>
                    <a:pt x="1101" y="853"/>
                  </a:lnTo>
                  <a:close/>
                  <a:moveTo>
                    <a:pt x="1108" y="851"/>
                  </a:moveTo>
                  <a:lnTo>
                    <a:pt x="1108" y="853"/>
                  </a:lnTo>
                  <a:lnTo>
                    <a:pt x="1108" y="851"/>
                  </a:lnTo>
                  <a:close/>
                  <a:moveTo>
                    <a:pt x="871" y="851"/>
                  </a:moveTo>
                  <a:lnTo>
                    <a:pt x="871" y="853"/>
                  </a:lnTo>
                  <a:lnTo>
                    <a:pt x="873" y="853"/>
                  </a:lnTo>
                  <a:lnTo>
                    <a:pt x="871" y="853"/>
                  </a:lnTo>
                  <a:lnTo>
                    <a:pt x="871" y="851"/>
                  </a:lnTo>
                  <a:close/>
                  <a:moveTo>
                    <a:pt x="1099" y="853"/>
                  </a:moveTo>
                  <a:lnTo>
                    <a:pt x="1099" y="851"/>
                  </a:lnTo>
                  <a:lnTo>
                    <a:pt x="1101" y="851"/>
                  </a:lnTo>
                  <a:lnTo>
                    <a:pt x="1099" y="851"/>
                  </a:lnTo>
                  <a:lnTo>
                    <a:pt x="1099" y="853"/>
                  </a:lnTo>
                  <a:close/>
                  <a:moveTo>
                    <a:pt x="1129" y="851"/>
                  </a:moveTo>
                  <a:lnTo>
                    <a:pt x="1132" y="851"/>
                  </a:lnTo>
                  <a:lnTo>
                    <a:pt x="1132" y="853"/>
                  </a:lnTo>
                  <a:lnTo>
                    <a:pt x="1129" y="853"/>
                  </a:lnTo>
                  <a:lnTo>
                    <a:pt x="1129" y="851"/>
                  </a:lnTo>
                  <a:close/>
                  <a:moveTo>
                    <a:pt x="871" y="851"/>
                  </a:moveTo>
                  <a:lnTo>
                    <a:pt x="871" y="848"/>
                  </a:lnTo>
                  <a:lnTo>
                    <a:pt x="871" y="851"/>
                  </a:lnTo>
                  <a:close/>
                  <a:moveTo>
                    <a:pt x="1129" y="851"/>
                  </a:moveTo>
                  <a:lnTo>
                    <a:pt x="1132" y="851"/>
                  </a:lnTo>
                  <a:lnTo>
                    <a:pt x="1129" y="851"/>
                  </a:lnTo>
                  <a:lnTo>
                    <a:pt x="1129" y="848"/>
                  </a:lnTo>
                  <a:lnTo>
                    <a:pt x="1129" y="851"/>
                  </a:lnTo>
                  <a:lnTo>
                    <a:pt x="1129" y="848"/>
                  </a:lnTo>
                  <a:lnTo>
                    <a:pt x="1129" y="851"/>
                  </a:lnTo>
                  <a:close/>
                  <a:moveTo>
                    <a:pt x="873" y="848"/>
                  </a:moveTo>
                  <a:lnTo>
                    <a:pt x="871" y="848"/>
                  </a:lnTo>
                  <a:lnTo>
                    <a:pt x="873" y="848"/>
                  </a:lnTo>
                  <a:close/>
                  <a:moveTo>
                    <a:pt x="1132" y="851"/>
                  </a:moveTo>
                  <a:lnTo>
                    <a:pt x="1129" y="851"/>
                  </a:lnTo>
                  <a:lnTo>
                    <a:pt x="1129" y="848"/>
                  </a:lnTo>
                  <a:lnTo>
                    <a:pt x="1132" y="848"/>
                  </a:lnTo>
                  <a:lnTo>
                    <a:pt x="1132" y="851"/>
                  </a:lnTo>
                  <a:close/>
                  <a:moveTo>
                    <a:pt x="1129" y="848"/>
                  </a:moveTo>
                  <a:lnTo>
                    <a:pt x="1129" y="846"/>
                  </a:lnTo>
                  <a:lnTo>
                    <a:pt x="1129" y="848"/>
                  </a:lnTo>
                  <a:close/>
                  <a:moveTo>
                    <a:pt x="1134" y="848"/>
                  </a:moveTo>
                  <a:lnTo>
                    <a:pt x="1132" y="848"/>
                  </a:lnTo>
                  <a:lnTo>
                    <a:pt x="1132" y="846"/>
                  </a:lnTo>
                  <a:lnTo>
                    <a:pt x="1132" y="848"/>
                  </a:lnTo>
                  <a:lnTo>
                    <a:pt x="1134" y="848"/>
                  </a:lnTo>
                  <a:lnTo>
                    <a:pt x="1134" y="846"/>
                  </a:lnTo>
                  <a:lnTo>
                    <a:pt x="1134" y="848"/>
                  </a:lnTo>
                  <a:close/>
                  <a:moveTo>
                    <a:pt x="1068" y="848"/>
                  </a:moveTo>
                  <a:lnTo>
                    <a:pt x="1068" y="846"/>
                  </a:lnTo>
                  <a:lnTo>
                    <a:pt x="1068" y="848"/>
                  </a:lnTo>
                  <a:close/>
                  <a:moveTo>
                    <a:pt x="1120" y="846"/>
                  </a:moveTo>
                  <a:lnTo>
                    <a:pt x="1120" y="848"/>
                  </a:lnTo>
                  <a:lnTo>
                    <a:pt x="1118" y="846"/>
                  </a:lnTo>
                  <a:lnTo>
                    <a:pt x="1120" y="846"/>
                  </a:lnTo>
                  <a:close/>
                  <a:moveTo>
                    <a:pt x="873" y="846"/>
                  </a:moveTo>
                  <a:lnTo>
                    <a:pt x="871" y="846"/>
                  </a:lnTo>
                  <a:lnTo>
                    <a:pt x="873" y="846"/>
                  </a:lnTo>
                  <a:lnTo>
                    <a:pt x="873" y="848"/>
                  </a:lnTo>
                  <a:lnTo>
                    <a:pt x="873" y="846"/>
                  </a:lnTo>
                  <a:lnTo>
                    <a:pt x="871" y="848"/>
                  </a:lnTo>
                  <a:lnTo>
                    <a:pt x="871" y="846"/>
                  </a:lnTo>
                  <a:lnTo>
                    <a:pt x="868" y="846"/>
                  </a:lnTo>
                  <a:lnTo>
                    <a:pt x="866" y="846"/>
                  </a:lnTo>
                  <a:lnTo>
                    <a:pt x="868" y="846"/>
                  </a:lnTo>
                  <a:lnTo>
                    <a:pt x="871" y="846"/>
                  </a:lnTo>
                  <a:lnTo>
                    <a:pt x="873" y="846"/>
                  </a:lnTo>
                  <a:close/>
                  <a:moveTo>
                    <a:pt x="1120" y="846"/>
                  </a:moveTo>
                  <a:lnTo>
                    <a:pt x="1120" y="843"/>
                  </a:lnTo>
                  <a:lnTo>
                    <a:pt x="1120" y="846"/>
                  </a:lnTo>
                  <a:close/>
                  <a:moveTo>
                    <a:pt x="1122" y="843"/>
                  </a:moveTo>
                  <a:lnTo>
                    <a:pt x="1125" y="843"/>
                  </a:lnTo>
                  <a:lnTo>
                    <a:pt x="1125" y="846"/>
                  </a:lnTo>
                  <a:lnTo>
                    <a:pt x="1125" y="848"/>
                  </a:lnTo>
                  <a:lnTo>
                    <a:pt x="1122" y="848"/>
                  </a:lnTo>
                  <a:lnTo>
                    <a:pt x="1120" y="848"/>
                  </a:lnTo>
                  <a:lnTo>
                    <a:pt x="1120" y="846"/>
                  </a:lnTo>
                  <a:lnTo>
                    <a:pt x="1122" y="846"/>
                  </a:lnTo>
                  <a:lnTo>
                    <a:pt x="1122" y="843"/>
                  </a:lnTo>
                  <a:close/>
                  <a:moveTo>
                    <a:pt x="1023" y="843"/>
                  </a:moveTo>
                  <a:lnTo>
                    <a:pt x="1023" y="846"/>
                  </a:lnTo>
                  <a:lnTo>
                    <a:pt x="1020" y="846"/>
                  </a:lnTo>
                  <a:lnTo>
                    <a:pt x="1023" y="846"/>
                  </a:lnTo>
                  <a:lnTo>
                    <a:pt x="1020" y="846"/>
                  </a:lnTo>
                  <a:lnTo>
                    <a:pt x="1020" y="843"/>
                  </a:lnTo>
                  <a:lnTo>
                    <a:pt x="1020" y="846"/>
                  </a:lnTo>
                  <a:lnTo>
                    <a:pt x="1020" y="843"/>
                  </a:lnTo>
                  <a:lnTo>
                    <a:pt x="1023" y="843"/>
                  </a:lnTo>
                  <a:close/>
                  <a:moveTo>
                    <a:pt x="612" y="843"/>
                  </a:moveTo>
                  <a:lnTo>
                    <a:pt x="615" y="843"/>
                  </a:lnTo>
                  <a:lnTo>
                    <a:pt x="615" y="846"/>
                  </a:lnTo>
                  <a:lnTo>
                    <a:pt x="612" y="846"/>
                  </a:lnTo>
                  <a:lnTo>
                    <a:pt x="612" y="843"/>
                  </a:lnTo>
                  <a:close/>
                  <a:moveTo>
                    <a:pt x="864" y="843"/>
                  </a:moveTo>
                  <a:lnTo>
                    <a:pt x="866" y="843"/>
                  </a:lnTo>
                  <a:lnTo>
                    <a:pt x="864" y="843"/>
                  </a:lnTo>
                  <a:close/>
                  <a:moveTo>
                    <a:pt x="864" y="841"/>
                  </a:moveTo>
                  <a:lnTo>
                    <a:pt x="861" y="841"/>
                  </a:lnTo>
                  <a:lnTo>
                    <a:pt x="864" y="841"/>
                  </a:lnTo>
                  <a:close/>
                  <a:moveTo>
                    <a:pt x="1042" y="841"/>
                  </a:moveTo>
                  <a:lnTo>
                    <a:pt x="1039" y="841"/>
                  </a:lnTo>
                  <a:lnTo>
                    <a:pt x="1042" y="841"/>
                  </a:lnTo>
                  <a:close/>
                  <a:moveTo>
                    <a:pt x="1042" y="839"/>
                  </a:moveTo>
                  <a:lnTo>
                    <a:pt x="1039" y="839"/>
                  </a:lnTo>
                  <a:lnTo>
                    <a:pt x="1037" y="839"/>
                  </a:lnTo>
                  <a:lnTo>
                    <a:pt x="1037" y="841"/>
                  </a:lnTo>
                  <a:lnTo>
                    <a:pt x="1035" y="841"/>
                  </a:lnTo>
                  <a:lnTo>
                    <a:pt x="1032" y="839"/>
                  </a:lnTo>
                  <a:lnTo>
                    <a:pt x="1032" y="841"/>
                  </a:lnTo>
                  <a:lnTo>
                    <a:pt x="1032" y="839"/>
                  </a:lnTo>
                  <a:lnTo>
                    <a:pt x="1032" y="841"/>
                  </a:lnTo>
                  <a:lnTo>
                    <a:pt x="1030" y="841"/>
                  </a:lnTo>
                  <a:lnTo>
                    <a:pt x="1027" y="841"/>
                  </a:lnTo>
                  <a:lnTo>
                    <a:pt x="1025" y="841"/>
                  </a:lnTo>
                  <a:lnTo>
                    <a:pt x="1025" y="843"/>
                  </a:lnTo>
                  <a:lnTo>
                    <a:pt x="1023" y="843"/>
                  </a:lnTo>
                  <a:lnTo>
                    <a:pt x="1020" y="843"/>
                  </a:lnTo>
                  <a:lnTo>
                    <a:pt x="1023" y="841"/>
                  </a:lnTo>
                  <a:lnTo>
                    <a:pt x="1025" y="841"/>
                  </a:lnTo>
                  <a:lnTo>
                    <a:pt x="1025" y="839"/>
                  </a:lnTo>
                  <a:lnTo>
                    <a:pt x="1027" y="839"/>
                  </a:lnTo>
                  <a:lnTo>
                    <a:pt x="1030" y="839"/>
                  </a:lnTo>
                  <a:lnTo>
                    <a:pt x="1032" y="836"/>
                  </a:lnTo>
                  <a:lnTo>
                    <a:pt x="1035" y="836"/>
                  </a:lnTo>
                  <a:lnTo>
                    <a:pt x="1039" y="836"/>
                  </a:lnTo>
                  <a:lnTo>
                    <a:pt x="1042" y="839"/>
                  </a:lnTo>
                  <a:close/>
                  <a:moveTo>
                    <a:pt x="1070" y="834"/>
                  </a:moveTo>
                  <a:lnTo>
                    <a:pt x="1070" y="836"/>
                  </a:lnTo>
                  <a:lnTo>
                    <a:pt x="1070" y="834"/>
                  </a:lnTo>
                  <a:lnTo>
                    <a:pt x="1070" y="836"/>
                  </a:lnTo>
                  <a:lnTo>
                    <a:pt x="1070" y="834"/>
                  </a:lnTo>
                  <a:lnTo>
                    <a:pt x="1070" y="836"/>
                  </a:lnTo>
                  <a:lnTo>
                    <a:pt x="1070" y="834"/>
                  </a:lnTo>
                  <a:close/>
                  <a:moveTo>
                    <a:pt x="1070" y="834"/>
                  </a:moveTo>
                  <a:lnTo>
                    <a:pt x="1068" y="834"/>
                  </a:lnTo>
                  <a:lnTo>
                    <a:pt x="1070" y="834"/>
                  </a:lnTo>
                  <a:close/>
                  <a:moveTo>
                    <a:pt x="1073" y="832"/>
                  </a:moveTo>
                  <a:lnTo>
                    <a:pt x="1073" y="834"/>
                  </a:lnTo>
                  <a:lnTo>
                    <a:pt x="1073" y="832"/>
                  </a:lnTo>
                  <a:lnTo>
                    <a:pt x="1073" y="834"/>
                  </a:lnTo>
                  <a:lnTo>
                    <a:pt x="1073" y="832"/>
                  </a:lnTo>
                  <a:lnTo>
                    <a:pt x="1073" y="834"/>
                  </a:lnTo>
                  <a:lnTo>
                    <a:pt x="1073" y="832"/>
                  </a:lnTo>
                  <a:close/>
                  <a:moveTo>
                    <a:pt x="968" y="827"/>
                  </a:moveTo>
                  <a:lnTo>
                    <a:pt x="966" y="827"/>
                  </a:lnTo>
                  <a:lnTo>
                    <a:pt x="968" y="827"/>
                  </a:lnTo>
                  <a:close/>
                  <a:moveTo>
                    <a:pt x="1229" y="827"/>
                  </a:moveTo>
                  <a:lnTo>
                    <a:pt x="1231" y="827"/>
                  </a:lnTo>
                  <a:lnTo>
                    <a:pt x="1229" y="827"/>
                  </a:lnTo>
                  <a:close/>
                  <a:moveTo>
                    <a:pt x="980" y="824"/>
                  </a:moveTo>
                  <a:lnTo>
                    <a:pt x="980" y="827"/>
                  </a:lnTo>
                  <a:lnTo>
                    <a:pt x="978" y="827"/>
                  </a:lnTo>
                  <a:lnTo>
                    <a:pt x="975" y="827"/>
                  </a:lnTo>
                  <a:lnTo>
                    <a:pt x="973" y="827"/>
                  </a:lnTo>
                  <a:lnTo>
                    <a:pt x="975" y="827"/>
                  </a:lnTo>
                  <a:lnTo>
                    <a:pt x="978" y="827"/>
                  </a:lnTo>
                  <a:lnTo>
                    <a:pt x="978" y="824"/>
                  </a:lnTo>
                  <a:lnTo>
                    <a:pt x="980" y="824"/>
                  </a:lnTo>
                  <a:lnTo>
                    <a:pt x="980" y="827"/>
                  </a:lnTo>
                  <a:lnTo>
                    <a:pt x="980" y="824"/>
                  </a:lnTo>
                  <a:close/>
                  <a:moveTo>
                    <a:pt x="940" y="822"/>
                  </a:moveTo>
                  <a:lnTo>
                    <a:pt x="942" y="822"/>
                  </a:lnTo>
                  <a:lnTo>
                    <a:pt x="940" y="822"/>
                  </a:lnTo>
                  <a:close/>
                  <a:moveTo>
                    <a:pt x="1369" y="822"/>
                  </a:moveTo>
                  <a:lnTo>
                    <a:pt x="1367" y="822"/>
                  </a:lnTo>
                  <a:lnTo>
                    <a:pt x="1369" y="822"/>
                  </a:lnTo>
                  <a:close/>
                  <a:moveTo>
                    <a:pt x="1255" y="822"/>
                  </a:moveTo>
                  <a:lnTo>
                    <a:pt x="1253" y="822"/>
                  </a:lnTo>
                  <a:lnTo>
                    <a:pt x="1255" y="822"/>
                  </a:lnTo>
                  <a:close/>
                  <a:moveTo>
                    <a:pt x="942" y="822"/>
                  </a:moveTo>
                  <a:lnTo>
                    <a:pt x="944" y="822"/>
                  </a:lnTo>
                  <a:lnTo>
                    <a:pt x="942" y="822"/>
                  </a:lnTo>
                  <a:lnTo>
                    <a:pt x="940" y="822"/>
                  </a:lnTo>
                  <a:lnTo>
                    <a:pt x="940" y="820"/>
                  </a:lnTo>
                  <a:lnTo>
                    <a:pt x="940" y="822"/>
                  </a:lnTo>
                  <a:lnTo>
                    <a:pt x="942" y="822"/>
                  </a:lnTo>
                  <a:close/>
                  <a:moveTo>
                    <a:pt x="579" y="820"/>
                  </a:moveTo>
                  <a:lnTo>
                    <a:pt x="581" y="820"/>
                  </a:lnTo>
                  <a:lnTo>
                    <a:pt x="581" y="822"/>
                  </a:lnTo>
                  <a:lnTo>
                    <a:pt x="579" y="820"/>
                  </a:lnTo>
                  <a:close/>
                  <a:moveTo>
                    <a:pt x="1096" y="820"/>
                  </a:moveTo>
                  <a:lnTo>
                    <a:pt x="1094" y="820"/>
                  </a:lnTo>
                  <a:lnTo>
                    <a:pt x="1096" y="820"/>
                  </a:lnTo>
                  <a:lnTo>
                    <a:pt x="1094" y="820"/>
                  </a:lnTo>
                  <a:lnTo>
                    <a:pt x="1096" y="820"/>
                  </a:lnTo>
                  <a:close/>
                  <a:moveTo>
                    <a:pt x="579" y="820"/>
                  </a:moveTo>
                  <a:lnTo>
                    <a:pt x="577" y="820"/>
                  </a:lnTo>
                  <a:lnTo>
                    <a:pt x="579" y="820"/>
                  </a:lnTo>
                  <a:close/>
                  <a:moveTo>
                    <a:pt x="1253" y="822"/>
                  </a:moveTo>
                  <a:lnTo>
                    <a:pt x="1255" y="822"/>
                  </a:lnTo>
                  <a:lnTo>
                    <a:pt x="1253" y="822"/>
                  </a:lnTo>
                  <a:lnTo>
                    <a:pt x="1250" y="822"/>
                  </a:lnTo>
                  <a:lnTo>
                    <a:pt x="1248" y="822"/>
                  </a:lnTo>
                  <a:lnTo>
                    <a:pt x="1246" y="822"/>
                  </a:lnTo>
                  <a:lnTo>
                    <a:pt x="1243" y="822"/>
                  </a:lnTo>
                  <a:lnTo>
                    <a:pt x="1241" y="822"/>
                  </a:lnTo>
                  <a:lnTo>
                    <a:pt x="1239" y="822"/>
                  </a:lnTo>
                  <a:lnTo>
                    <a:pt x="1239" y="824"/>
                  </a:lnTo>
                  <a:lnTo>
                    <a:pt x="1236" y="824"/>
                  </a:lnTo>
                  <a:lnTo>
                    <a:pt x="1234" y="824"/>
                  </a:lnTo>
                  <a:lnTo>
                    <a:pt x="1231" y="824"/>
                  </a:lnTo>
                  <a:lnTo>
                    <a:pt x="1234" y="824"/>
                  </a:lnTo>
                  <a:lnTo>
                    <a:pt x="1234" y="822"/>
                  </a:lnTo>
                  <a:lnTo>
                    <a:pt x="1236" y="822"/>
                  </a:lnTo>
                  <a:lnTo>
                    <a:pt x="1239" y="822"/>
                  </a:lnTo>
                  <a:lnTo>
                    <a:pt x="1241" y="822"/>
                  </a:lnTo>
                  <a:lnTo>
                    <a:pt x="1243" y="822"/>
                  </a:lnTo>
                  <a:lnTo>
                    <a:pt x="1250" y="820"/>
                  </a:lnTo>
                  <a:lnTo>
                    <a:pt x="1253" y="820"/>
                  </a:lnTo>
                  <a:lnTo>
                    <a:pt x="1255" y="820"/>
                  </a:lnTo>
                  <a:lnTo>
                    <a:pt x="1253" y="822"/>
                  </a:lnTo>
                  <a:close/>
                  <a:moveTo>
                    <a:pt x="1208" y="820"/>
                  </a:moveTo>
                  <a:lnTo>
                    <a:pt x="1208" y="817"/>
                  </a:lnTo>
                  <a:lnTo>
                    <a:pt x="1208" y="820"/>
                  </a:lnTo>
                  <a:close/>
                  <a:moveTo>
                    <a:pt x="1125" y="817"/>
                  </a:moveTo>
                  <a:lnTo>
                    <a:pt x="1125" y="820"/>
                  </a:lnTo>
                  <a:lnTo>
                    <a:pt x="1125" y="817"/>
                  </a:lnTo>
                  <a:close/>
                  <a:moveTo>
                    <a:pt x="574" y="817"/>
                  </a:moveTo>
                  <a:lnTo>
                    <a:pt x="577" y="817"/>
                  </a:lnTo>
                  <a:lnTo>
                    <a:pt x="577" y="820"/>
                  </a:lnTo>
                  <a:lnTo>
                    <a:pt x="574" y="820"/>
                  </a:lnTo>
                  <a:lnTo>
                    <a:pt x="574" y="817"/>
                  </a:lnTo>
                  <a:close/>
                  <a:moveTo>
                    <a:pt x="980" y="817"/>
                  </a:moveTo>
                  <a:lnTo>
                    <a:pt x="978" y="820"/>
                  </a:lnTo>
                  <a:lnTo>
                    <a:pt x="975" y="820"/>
                  </a:lnTo>
                  <a:lnTo>
                    <a:pt x="978" y="820"/>
                  </a:lnTo>
                  <a:lnTo>
                    <a:pt x="978" y="817"/>
                  </a:lnTo>
                  <a:lnTo>
                    <a:pt x="980" y="817"/>
                  </a:lnTo>
                  <a:close/>
                  <a:moveTo>
                    <a:pt x="1132" y="817"/>
                  </a:moveTo>
                  <a:lnTo>
                    <a:pt x="1134" y="817"/>
                  </a:lnTo>
                  <a:lnTo>
                    <a:pt x="1137" y="817"/>
                  </a:lnTo>
                  <a:lnTo>
                    <a:pt x="1137" y="820"/>
                  </a:lnTo>
                  <a:lnTo>
                    <a:pt x="1139" y="820"/>
                  </a:lnTo>
                  <a:lnTo>
                    <a:pt x="1137" y="820"/>
                  </a:lnTo>
                  <a:lnTo>
                    <a:pt x="1134" y="820"/>
                  </a:lnTo>
                  <a:lnTo>
                    <a:pt x="1132" y="820"/>
                  </a:lnTo>
                  <a:lnTo>
                    <a:pt x="1132" y="817"/>
                  </a:lnTo>
                  <a:close/>
                  <a:moveTo>
                    <a:pt x="978" y="817"/>
                  </a:moveTo>
                  <a:lnTo>
                    <a:pt x="980" y="817"/>
                  </a:lnTo>
                  <a:lnTo>
                    <a:pt x="978" y="817"/>
                  </a:lnTo>
                  <a:close/>
                  <a:moveTo>
                    <a:pt x="1355" y="815"/>
                  </a:moveTo>
                  <a:lnTo>
                    <a:pt x="1355" y="817"/>
                  </a:lnTo>
                  <a:lnTo>
                    <a:pt x="1355" y="815"/>
                  </a:lnTo>
                  <a:close/>
                  <a:moveTo>
                    <a:pt x="1357" y="815"/>
                  </a:moveTo>
                  <a:lnTo>
                    <a:pt x="1360" y="815"/>
                  </a:lnTo>
                  <a:lnTo>
                    <a:pt x="1362" y="815"/>
                  </a:lnTo>
                  <a:lnTo>
                    <a:pt x="1362" y="817"/>
                  </a:lnTo>
                  <a:lnTo>
                    <a:pt x="1360" y="817"/>
                  </a:lnTo>
                  <a:lnTo>
                    <a:pt x="1360" y="815"/>
                  </a:lnTo>
                  <a:lnTo>
                    <a:pt x="1357" y="815"/>
                  </a:lnTo>
                  <a:lnTo>
                    <a:pt x="1355" y="815"/>
                  </a:lnTo>
                  <a:lnTo>
                    <a:pt x="1357" y="815"/>
                  </a:lnTo>
                  <a:lnTo>
                    <a:pt x="1355" y="815"/>
                  </a:lnTo>
                  <a:lnTo>
                    <a:pt x="1357" y="815"/>
                  </a:lnTo>
                  <a:close/>
                  <a:moveTo>
                    <a:pt x="987" y="815"/>
                  </a:moveTo>
                  <a:lnTo>
                    <a:pt x="989" y="815"/>
                  </a:lnTo>
                  <a:lnTo>
                    <a:pt x="987" y="815"/>
                  </a:lnTo>
                  <a:close/>
                  <a:moveTo>
                    <a:pt x="1360" y="815"/>
                  </a:moveTo>
                  <a:lnTo>
                    <a:pt x="1360" y="813"/>
                  </a:lnTo>
                  <a:lnTo>
                    <a:pt x="1360" y="815"/>
                  </a:lnTo>
                  <a:close/>
                  <a:moveTo>
                    <a:pt x="1177" y="815"/>
                  </a:moveTo>
                  <a:lnTo>
                    <a:pt x="1175" y="815"/>
                  </a:lnTo>
                  <a:lnTo>
                    <a:pt x="1175" y="813"/>
                  </a:lnTo>
                  <a:lnTo>
                    <a:pt x="1177" y="815"/>
                  </a:lnTo>
                  <a:close/>
                  <a:moveTo>
                    <a:pt x="989" y="813"/>
                  </a:moveTo>
                  <a:lnTo>
                    <a:pt x="987" y="813"/>
                  </a:lnTo>
                  <a:lnTo>
                    <a:pt x="989" y="813"/>
                  </a:lnTo>
                  <a:lnTo>
                    <a:pt x="987" y="813"/>
                  </a:lnTo>
                  <a:lnTo>
                    <a:pt x="985" y="815"/>
                  </a:lnTo>
                  <a:lnTo>
                    <a:pt x="985" y="813"/>
                  </a:lnTo>
                  <a:lnTo>
                    <a:pt x="987" y="813"/>
                  </a:lnTo>
                  <a:lnTo>
                    <a:pt x="989" y="813"/>
                  </a:lnTo>
                  <a:close/>
                  <a:moveTo>
                    <a:pt x="1172" y="813"/>
                  </a:moveTo>
                  <a:lnTo>
                    <a:pt x="1175" y="813"/>
                  </a:lnTo>
                  <a:lnTo>
                    <a:pt x="1177" y="813"/>
                  </a:lnTo>
                  <a:lnTo>
                    <a:pt x="1179" y="815"/>
                  </a:lnTo>
                  <a:lnTo>
                    <a:pt x="1177" y="815"/>
                  </a:lnTo>
                  <a:lnTo>
                    <a:pt x="1177" y="813"/>
                  </a:lnTo>
                  <a:lnTo>
                    <a:pt x="1175" y="813"/>
                  </a:lnTo>
                  <a:lnTo>
                    <a:pt x="1172" y="813"/>
                  </a:lnTo>
                  <a:lnTo>
                    <a:pt x="1170" y="813"/>
                  </a:lnTo>
                  <a:lnTo>
                    <a:pt x="1172" y="813"/>
                  </a:lnTo>
                  <a:close/>
                  <a:moveTo>
                    <a:pt x="1170" y="813"/>
                  </a:moveTo>
                  <a:lnTo>
                    <a:pt x="1167" y="813"/>
                  </a:lnTo>
                  <a:lnTo>
                    <a:pt x="1170" y="813"/>
                  </a:lnTo>
                  <a:close/>
                  <a:moveTo>
                    <a:pt x="1158" y="813"/>
                  </a:moveTo>
                  <a:lnTo>
                    <a:pt x="1156" y="813"/>
                  </a:lnTo>
                  <a:lnTo>
                    <a:pt x="1156" y="810"/>
                  </a:lnTo>
                  <a:lnTo>
                    <a:pt x="1158" y="810"/>
                  </a:lnTo>
                  <a:lnTo>
                    <a:pt x="1158" y="813"/>
                  </a:lnTo>
                  <a:close/>
                  <a:moveTo>
                    <a:pt x="1141" y="810"/>
                  </a:moveTo>
                  <a:lnTo>
                    <a:pt x="1144" y="810"/>
                  </a:lnTo>
                  <a:lnTo>
                    <a:pt x="1141" y="810"/>
                  </a:lnTo>
                  <a:close/>
                  <a:moveTo>
                    <a:pt x="997" y="810"/>
                  </a:moveTo>
                  <a:lnTo>
                    <a:pt x="994" y="810"/>
                  </a:lnTo>
                  <a:lnTo>
                    <a:pt x="992" y="813"/>
                  </a:lnTo>
                  <a:lnTo>
                    <a:pt x="994" y="813"/>
                  </a:lnTo>
                  <a:lnTo>
                    <a:pt x="994" y="810"/>
                  </a:lnTo>
                  <a:lnTo>
                    <a:pt x="997" y="810"/>
                  </a:lnTo>
                  <a:close/>
                  <a:moveTo>
                    <a:pt x="992" y="810"/>
                  </a:moveTo>
                  <a:lnTo>
                    <a:pt x="992" y="808"/>
                  </a:lnTo>
                  <a:lnTo>
                    <a:pt x="992" y="810"/>
                  </a:lnTo>
                  <a:close/>
                  <a:moveTo>
                    <a:pt x="1001" y="808"/>
                  </a:moveTo>
                  <a:lnTo>
                    <a:pt x="1001" y="810"/>
                  </a:lnTo>
                  <a:lnTo>
                    <a:pt x="1001" y="808"/>
                  </a:lnTo>
                  <a:close/>
                  <a:moveTo>
                    <a:pt x="1148" y="810"/>
                  </a:moveTo>
                  <a:lnTo>
                    <a:pt x="1146" y="810"/>
                  </a:lnTo>
                  <a:lnTo>
                    <a:pt x="1144" y="810"/>
                  </a:lnTo>
                  <a:lnTo>
                    <a:pt x="1144" y="808"/>
                  </a:lnTo>
                  <a:lnTo>
                    <a:pt x="1146" y="808"/>
                  </a:lnTo>
                  <a:lnTo>
                    <a:pt x="1148" y="810"/>
                  </a:lnTo>
                  <a:close/>
                  <a:moveTo>
                    <a:pt x="994" y="808"/>
                  </a:moveTo>
                  <a:lnTo>
                    <a:pt x="992" y="808"/>
                  </a:lnTo>
                  <a:lnTo>
                    <a:pt x="994" y="808"/>
                  </a:lnTo>
                  <a:close/>
                  <a:moveTo>
                    <a:pt x="1004" y="808"/>
                  </a:moveTo>
                  <a:lnTo>
                    <a:pt x="1001" y="808"/>
                  </a:lnTo>
                  <a:lnTo>
                    <a:pt x="1004" y="808"/>
                  </a:lnTo>
                  <a:close/>
                  <a:moveTo>
                    <a:pt x="1305" y="805"/>
                  </a:moveTo>
                  <a:lnTo>
                    <a:pt x="1307" y="805"/>
                  </a:lnTo>
                  <a:lnTo>
                    <a:pt x="1305" y="805"/>
                  </a:lnTo>
                  <a:close/>
                  <a:moveTo>
                    <a:pt x="994" y="803"/>
                  </a:moveTo>
                  <a:lnTo>
                    <a:pt x="994" y="805"/>
                  </a:lnTo>
                  <a:lnTo>
                    <a:pt x="994" y="803"/>
                  </a:lnTo>
                  <a:lnTo>
                    <a:pt x="992" y="803"/>
                  </a:lnTo>
                  <a:lnTo>
                    <a:pt x="994" y="803"/>
                  </a:lnTo>
                  <a:close/>
                  <a:moveTo>
                    <a:pt x="1303" y="803"/>
                  </a:moveTo>
                  <a:lnTo>
                    <a:pt x="1305" y="803"/>
                  </a:lnTo>
                  <a:lnTo>
                    <a:pt x="1305" y="805"/>
                  </a:lnTo>
                  <a:lnTo>
                    <a:pt x="1305" y="803"/>
                  </a:lnTo>
                  <a:lnTo>
                    <a:pt x="1305" y="805"/>
                  </a:lnTo>
                  <a:lnTo>
                    <a:pt x="1303" y="803"/>
                  </a:lnTo>
                  <a:close/>
                  <a:moveTo>
                    <a:pt x="543" y="803"/>
                  </a:moveTo>
                  <a:lnTo>
                    <a:pt x="546" y="803"/>
                  </a:lnTo>
                  <a:lnTo>
                    <a:pt x="543" y="803"/>
                  </a:lnTo>
                  <a:lnTo>
                    <a:pt x="546" y="803"/>
                  </a:lnTo>
                  <a:lnTo>
                    <a:pt x="543" y="803"/>
                  </a:lnTo>
                  <a:lnTo>
                    <a:pt x="541" y="803"/>
                  </a:lnTo>
                  <a:lnTo>
                    <a:pt x="543" y="803"/>
                  </a:lnTo>
                  <a:close/>
                  <a:moveTo>
                    <a:pt x="524" y="803"/>
                  </a:moveTo>
                  <a:lnTo>
                    <a:pt x="524" y="801"/>
                  </a:lnTo>
                  <a:lnTo>
                    <a:pt x="524" y="803"/>
                  </a:lnTo>
                  <a:close/>
                  <a:moveTo>
                    <a:pt x="1476" y="803"/>
                  </a:moveTo>
                  <a:lnTo>
                    <a:pt x="1476" y="801"/>
                  </a:lnTo>
                  <a:lnTo>
                    <a:pt x="1478" y="801"/>
                  </a:lnTo>
                  <a:lnTo>
                    <a:pt x="1476" y="803"/>
                  </a:lnTo>
                  <a:close/>
                  <a:moveTo>
                    <a:pt x="1481" y="798"/>
                  </a:moveTo>
                  <a:lnTo>
                    <a:pt x="1481" y="801"/>
                  </a:lnTo>
                  <a:lnTo>
                    <a:pt x="1481" y="798"/>
                  </a:lnTo>
                  <a:close/>
                  <a:moveTo>
                    <a:pt x="1478" y="798"/>
                  </a:moveTo>
                  <a:lnTo>
                    <a:pt x="1481" y="798"/>
                  </a:lnTo>
                  <a:lnTo>
                    <a:pt x="1478" y="798"/>
                  </a:lnTo>
                  <a:lnTo>
                    <a:pt x="1478" y="801"/>
                  </a:lnTo>
                  <a:lnTo>
                    <a:pt x="1476" y="801"/>
                  </a:lnTo>
                  <a:lnTo>
                    <a:pt x="1476" y="798"/>
                  </a:lnTo>
                  <a:lnTo>
                    <a:pt x="1478" y="798"/>
                  </a:lnTo>
                  <a:close/>
                  <a:moveTo>
                    <a:pt x="529" y="796"/>
                  </a:moveTo>
                  <a:lnTo>
                    <a:pt x="529" y="798"/>
                  </a:lnTo>
                  <a:lnTo>
                    <a:pt x="529" y="796"/>
                  </a:lnTo>
                  <a:lnTo>
                    <a:pt x="529" y="798"/>
                  </a:lnTo>
                  <a:lnTo>
                    <a:pt x="527" y="796"/>
                  </a:lnTo>
                  <a:lnTo>
                    <a:pt x="529" y="796"/>
                  </a:lnTo>
                  <a:close/>
                  <a:moveTo>
                    <a:pt x="1483" y="796"/>
                  </a:moveTo>
                  <a:lnTo>
                    <a:pt x="1483" y="798"/>
                  </a:lnTo>
                  <a:lnTo>
                    <a:pt x="1483" y="796"/>
                  </a:lnTo>
                  <a:lnTo>
                    <a:pt x="1483" y="798"/>
                  </a:lnTo>
                  <a:lnTo>
                    <a:pt x="1483" y="796"/>
                  </a:lnTo>
                  <a:close/>
                  <a:moveTo>
                    <a:pt x="1300" y="801"/>
                  </a:moveTo>
                  <a:lnTo>
                    <a:pt x="1298" y="801"/>
                  </a:lnTo>
                  <a:lnTo>
                    <a:pt x="1298" y="798"/>
                  </a:lnTo>
                  <a:lnTo>
                    <a:pt x="1298" y="796"/>
                  </a:lnTo>
                  <a:lnTo>
                    <a:pt x="1300" y="796"/>
                  </a:lnTo>
                  <a:lnTo>
                    <a:pt x="1300" y="798"/>
                  </a:lnTo>
                  <a:lnTo>
                    <a:pt x="1300" y="801"/>
                  </a:lnTo>
                  <a:close/>
                  <a:moveTo>
                    <a:pt x="446" y="794"/>
                  </a:moveTo>
                  <a:lnTo>
                    <a:pt x="449" y="794"/>
                  </a:lnTo>
                  <a:lnTo>
                    <a:pt x="449" y="796"/>
                  </a:lnTo>
                  <a:lnTo>
                    <a:pt x="446" y="796"/>
                  </a:lnTo>
                  <a:lnTo>
                    <a:pt x="446" y="794"/>
                  </a:lnTo>
                  <a:close/>
                  <a:moveTo>
                    <a:pt x="441" y="794"/>
                  </a:moveTo>
                  <a:lnTo>
                    <a:pt x="441" y="791"/>
                  </a:lnTo>
                  <a:lnTo>
                    <a:pt x="441" y="794"/>
                  </a:lnTo>
                  <a:close/>
                  <a:moveTo>
                    <a:pt x="486" y="791"/>
                  </a:moveTo>
                  <a:lnTo>
                    <a:pt x="489" y="791"/>
                  </a:lnTo>
                  <a:lnTo>
                    <a:pt x="491" y="791"/>
                  </a:lnTo>
                  <a:lnTo>
                    <a:pt x="491" y="794"/>
                  </a:lnTo>
                  <a:lnTo>
                    <a:pt x="494" y="794"/>
                  </a:lnTo>
                  <a:lnTo>
                    <a:pt x="491" y="794"/>
                  </a:lnTo>
                  <a:lnTo>
                    <a:pt x="489" y="794"/>
                  </a:lnTo>
                  <a:lnTo>
                    <a:pt x="486" y="794"/>
                  </a:lnTo>
                  <a:lnTo>
                    <a:pt x="486" y="791"/>
                  </a:lnTo>
                  <a:close/>
                  <a:moveTo>
                    <a:pt x="444" y="791"/>
                  </a:moveTo>
                  <a:lnTo>
                    <a:pt x="441" y="791"/>
                  </a:lnTo>
                  <a:lnTo>
                    <a:pt x="444" y="791"/>
                  </a:lnTo>
                  <a:close/>
                  <a:moveTo>
                    <a:pt x="427" y="789"/>
                  </a:moveTo>
                  <a:lnTo>
                    <a:pt x="430" y="789"/>
                  </a:lnTo>
                  <a:lnTo>
                    <a:pt x="427" y="789"/>
                  </a:lnTo>
                  <a:lnTo>
                    <a:pt x="430" y="789"/>
                  </a:lnTo>
                  <a:lnTo>
                    <a:pt x="427" y="791"/>
                  </a:lnTo>
                  <a:lnTo>
                    <a:pt x="427" y="789"/>
                  </a:lnTo>
                  <a:close/>
                  <a:moveTo>
                    <a:pt x="430" y="789"/>
                  </a:moveTo>
                  <a:lnTo>
                    <a:pt x="427" y="789"/>
                  </a:lnTo>
                  <a:lnTo>
                    <a:pt x="430" y="789"/>
                  </a:lnTo>
                  <a:close/>
                  <a:moveTo>
                    <a:pt x="1291" y="789"/>
                  </a:moveTo>
                  <a:lnTo>
                    <a:pt x="1291" y="791"/>
                  </a:lnTo>
                  <a:lnTo>
                    <a:pt x="1293" y="791"/>
                  </a:lnTo>
                  <a:lnTo>
                    <a:pt x="1296" y="791"/>
                  </a:lnTo>
                  <a:lnTo>
                    <a:pt x="1298" y="791"/>
                  </a:lnTo>
                  <a:lnTo>
                    <a:pt x="1298" y="794"/>
                  </a:lnTo>
                  <a:lnTo>
                    <a:pt x="1300" y="794"/>
                  </a:lnTo>
                  <a:lnTo>
                    <a:pt x="1298" y="794"/>
                  </a:lnTo>
                  <a:lnTo>
                    <a:pt x="1300" y="796"/>
                  </a:lnTo>
                  <a:lnTo>
                    <a:pt x="1298" y="796"/>
                  </a:lnTo>
                  <a:lnTo>
                    <a:pt x="1298" y="794"/>
                  </a:lnTo>
                  <a:lnTo>
                    <a:pt x="1298" y="796"/>
                  </a:lnTo>
                  <a:lnTo>
                    <a:pt x="1298" y="798"/>
                  </a:lnTo>
                  <a:lnTo>
                    <a:pt x="1298" y="801"/>
                  </a:lnTo>
                  <a:lnTo>
                    <a:pt x="1300" y="801"/>
                  </a:lnTo>
                  <a:lnTo>
                    <a:pt x="1298" y="801"/>
                  </a:lnTo>
                  <a:lnTo>
                    <a:pt x="1298" y="798"/>
                  </a:lnTo>
                  <a:lnTo>
                    <a:pt x="1298" y="796"/>
                  </a:lnTo>
                  <a:lnTo>
                    <a:pt x="1296" y="796"/>
                  </a:lnTo>
                  <a:lnTo>
                    <a:pt x="1296" y="794"/>
                  </a:lnTo>
                  <a:lnTo>
                    <a:pt x="1293" y="794"/>
                  </a:lnTo>
                  <a:lnTo>
                    <a:pt x="1293" y="791"/>
                  </a:lnTo>
                  <a:lnTo>
                    <a:pt x="1291" y="791"/>
                  </a:lnTo>
                  <a:lnTo>
                    <a:pt x="1288" y="791"/>
                  </a:lnTo>
                  <a:lnTo>
                    <a:pt x="1286" y="791"/>
                  </a:lnTo>
                  <a:lnTo>
                    <a:pt x="1286" y="789"/>
                  </a:lnTo>
                  <a:lnTo>
                    <a:pt x="1284" y="789"/>
                  </a:lnTo>
                  <a:lnTo>
                    <a:pt x="1281" y="789"/>
                  </a:lnTo>
                  <a:lnTo>
                    <a:pt x="1281" y="786"/>
                  </a:lnTo>
                  <a:lnTo>
                    <a:pt x="1284" y="786"/>
                  </a:lnTo>
                  <a:lnTo>
                    <a:pt x="1286" y="789"/>
                  </a:lnTo>
                  <a:lnTo>
                    <a:pt x="1288" y="789"/>
                  </a:lnTo>
                  <a:lnTo>
                    <a:pt x="1291" y="789"/>
                  </a:lnTo>
                  <a:close/>
                  <a:moveTo>
                    <a:pt x="467" y="784"/>
                  </a:moveTo>
                  <a:lnTo>
                    <a:pt x="470" y="784"/>
                  </a:lnTo>
                  <a:lnTo>
                    <a:pt x="472" y="784"/>
                  </a:lnTo>
                  <a:lnTo>
                    <a:pt x="472" y="786"/>
                  </a:lnTo>
                  <a:lnTo>
                    <a:pt x="475" y="786"/>
                  </a:lnTo>
                  <a:lnTo>
                    <a:pt x="477" y="786"/>
                  </a:lnTo>
                  <a:lnTo>
                    <a:pt x="479" y="786"/>
                  </a:lnTo>
                  <a:lnTo>
                    <a:pt x="479" y="789"/>
                  </a:lnTo>
                  <a:lnTo>
                    <a:pt x="477" y="789"/>
                  </a:lnTo>
                  <a:lnTo>
                    <a:pt x="475" y="789"/>
                  </a:lnTo>
                  <a:lnTo>
                    <a:pt x="472" y="789"/>
                  </a:lnTo>
                  <a:lnTo>
                    <a:pt x="470" y="789"/>
                  </a:lnTo>
                  <a:lnTo>
                    <a:pt x="467" y="789"/>
                  </a:lnTo>
                  <a:lnTo>
                    <a:pt x="465" y="786"/>
                  </a:lnTo>
                  <a:lnTo>
                    <a:pt x="465" y="789"/>
                  </a:lnTo>
                  <a:lnTo>
                    <a:pt x="465" y="786"/>
                  </a:lnTo>
                  <a:lnTo>
                    <a:pt x="465" y="789"/>
                  </a:lnTo>
                  <a:lnTo>
                    <a:pt x="465" y="786"/>
                  </a:lnTo>
                  <a:lnTo>
                    <a:pt x="463" y="786"/>
                  </a:lnTo>
                  <a:lnTo>
                    <a:pt x="465" y="786"/>
                  </a:lnTo>
                  <a:lnTo>
                    <a:pt x="465" y="784"/>
                  </a:lnTo>
                  <a:lnTo>
                    <a:pt x="467" y="784"/>
                  </a:lnTo>
                  <a:close/>
                  <a:moveTo>
                    <a:pt x="437" y="782"/>
                  </a:moveTo>
                  <a:lnTo>
                    <a:pt x="439" y="782"/>
                  </a:lnTo>
                  <a:lnTo>
                    <a:pt x="439" y="784"/>
                  </a:lnTo>
                  <a:lnTo>
                    <a:pt x="437" y="784"/>
                  </a:lnTo>
                  <a:lnTo>
                    <a:pt x="437" y="782"/>
                  </a:lnTo>
                  <a:lnTo>
                    <a:pt x="437" y="784"/>
                  </a:lnTo>
                  <a:lnTo>
                    <a:pt x="434" y="784"/>
                  </a:lnTo>
                  <a:lnTo>
                    <a:pt x="432" y="784"/>
                  </a:lnTo>
                  <a:lnTo>
                    <a:pt x="432" y="786"/>
                  </a:lnTo>
                  <a:lnTo>
                    <a:pt x="432" y="784"/>
                  </a:lnTo>
                  <a:lnTo>
                    <a:pt x="434" y="784"/>
                  </a:lnTo>
                  <a:lnTo>
                    <a:pt x="437" y="784"/>
                  </a:lnTo>
                  <a:lnTo>
                    <a:pt x="437" y="782"/>
                  </a:lnTo>
                  <a:close/>
                  <a:moveTo>
                    <a:pt x="430" y="782"/>
                  </a:moveTo>
                  <a:lnTo>
                    <a:pt x="427" y="782"/>
                  </a:lnTo>
                  <a:lnTo>
                    <a:pt x="430" y="782"/>
                  </a:lnTo>
                  <a:close/>
                  <a:moveTo>
                    <a:pt x="418" y="779"/>
                  </a:moveTo>
                  <a:lnTo>
                    <a:pt x="420" y="779"/>
                  </a:lnTo>
                  <a:lnTo>
                    <a:pt x="418" y="779"/>
                  </a:lnTo>
                  <a:close/>
                  <a:moveTo>
                    <a:pt x="430" y="779"/>
                  </a:moveTo>
                  <a:lnTo>
                    <a:pt x="430" y="782"/>
                  </a:lnTo>
                  <a:lnTo>
                    <a:pt x="430" y="779"/>
                  </a:lnTo>
                  <a:close/>
                  <a:moveTo>
                    <a:pt x="1274" y="779"/>
                  </a:moveTo>
                  <a:lnTo>
                    <a:pt x="1277" y="779"/>
                  </a:lnTo>
                  <a:lnTo>
                    <a:pt x="1274" y="779"/>
                  </a:lnTo>
                  <a:lnTo>
                    <a:pt x="1274" y="782"/>
                  </a:lnTo>
                  <a:lnTo>
                    <a:pt x="1272" y="782"/>
                  </a:lnTo>
                  <a:lnTo>
                    <a:pt x="1272" y="779"/>
                  </a:lnTo>
                  <a:lnTo>
                    <a:pt x="1274" y="779"/>
                  </a:lnTo>
                  <a:lnTo>
                    <a:pt x="1272" y="779"/>
                  </a:lnTo>
                  <a:lnTo>
                    <a:pt x="1274" y="779"/>
                  </a:lnTo>
                  <a:close/>
                  <a:moveTo>
                    <a:pt x="418" y="777"/>
                  </a:moveTo>
                  <a:lnTo>
                    <a:pt x="418" y="779"/>
                  </a:lnTo>
                  <a:lnTo>
                    <a:pt x="418" y="777"/>
                  </a:lnTo>
                  <a:close/>
                  <a:moveTo>
                    <a:pt x="401" y="772"/>
                  </a:moveTo>
                  <a:lnTo>
                    <a:pt x="401" y="775"/>
                  </a:lnTo>
                  <a:lnTo>
                    <a:pt x="401" y="772"/>
                  </a:lnTo>
                  <a:close/>
                  <a:moveTo>
                    <a:pt x="1345" y="770"/>
                  </a:moveTo>
                  <a:lnTo>
                    <a:pt x="1345" y="767"/>
                  </a:lnTo>
                  <a:lnTo>
                    <a:pt x="1348" y="767"/>
                  </a:lnTo>
                  <a:lnTo>
                    <a:pt x="1348" y="770"/>
                  </a:lnTo>
                  <a:lnTo>
                    <a:pt x="1345" y="770"/>
                  </a:lnTo>
                  <a:lnTo>
                    <a:pt x="1345" y="767"/>
                  </a:lnTo>
                  <a:lnTo>
                    <a:pt x="1345" y="770"/>
                  </a:lnTo>
                  <a:close/>
                  <a:moveTo>
                    <a:pt x="1345" y="767"/>
                  </a:moveTo>
                  <a:lnTo>
                    <a:pt x="1345" y="770"/>
                  </a:lnTo>
                  <a:lnTo>
                    <a:pt x="1345" y="767"/>
                  </a:lnTo>
                  <a:close/>
                  <a:moveTo>
                    <a:pt x="1345" y="770"/>
                  </a:moveTo>
                  <a:lnTo>
                    <a:pt x="1345" y="767"/>
                  </a:lnTo>
                  <a:lnTo>
                    <a:pt x="1345" y="770"/>
                  </a:lnTo>
                  <a:close/>
                  <a:moveTo>
                    <a:pt x="1345" y="767"/>
                  </a:moveTo>
                  <a:lnTo>
                    <a:pt x="1348" y="767"/>
                  </a:lnTo>
                  <a:lnTo>
                    <a:pt x="1345" y="767"/>
                  </a:lnTo>
                  <a:close/>
                  <a:moveTo>
                    <a:pt x="1426" y="767"/>
                  </a:moveTo>
                  <a:lnTo>
                    <a:pt x="1424" y="767"/>
                  </a:lnTo>
                  <a:lnTo>
                    <a:pt x="1426" y="767"/>
                  </a:lnTo>
                  <a:lnTo>
                    <a:pt x="1424" y="767"/>
                  </a:lnTo>
                  <a:lnTo>
                    <a:pt x="1426" y="767"/>
                  </a:lnTo>
                  <a:close/>
                  <a:moveTo>
                    <a:pt x="1307" y="765"/>
                  </a:moveTo>
                  <a:lnTo>
                    <a:pt x="1310" y="765"/>
                  </a:lnTo>
                  <a:lnTo>
                    <a:pt x="1307" y="765"/>
                  </a:lnTo>
                  <a:close/>
                  <a:moveTo>
                    <a:pt x="387" y="760"/>
                  </a:moveTo>
                  <a:lnTo>
                    <a:pt x="387" y="758"/>
                  </a:lnTo>
                  <a:lnTo>
                    <a:pt x="387" y="760"/>
                  </a:lnTo>
                  <a:close/>
                  <a:moveTo>
                    <a:pt x="1303" y="758"/>
                  </a:moveTo>
                  <a:lnTo>
                    <a:pt x="1305" y="758"/>
                  </a:lnTo>
                  <a:lnTo>
                    <a:pt x="1303" y="758"/>
                  </a:lnTo>
                  <a:close/>
                  <a:moveTo>
                    <a:pt x="1305" y="758"/>
                  </a:moveTo>
                  <a:lnTo>
                    <a:pt x="1307" y="758"/>
                  </a:lnTo>
                  <a:lnTo>
                    <a:pt x="1305" y="758"/>
                  </a:lnTo>
                  <a:close/>
                  <a:moveTo>
                    <a:pt x="387" y="758"/>
                  </a:moveTo>
                  <a:lnTo>
                    <a:pt x="384" y="758"/>
                  </a:lnTo>
                  <a:lnTo>
                    <a:pt x="387" y="758"/>
                  </a:lnTo>
                  <a:close/>
                  <a:moveTo>
                    <a:pt x="1364" y="758"/>
                  </a:moveTo>
                  <a:lnTo>
                    <a:pt x="1362" y="758"/>
                  </a:lnTo>
                  <a:lnTo>
                    <a:pt x="1362" y="756"/>
                  </a:lnTo>
                  <a:lnTo>
                    <a:pt x="1362" y="758"/>
                  </a:lnTo>
                  <a:lnTo>
                    <a:pt x="1364" y="758"/>
                  </a:lnTo>
                  <a:close/>
                  <a:moveTo>
                    <a:pt x="1305" y="756"/>
                  </a:moveTo>
                  <a:lnTo>
                    <a:pt x="1305" y="758"/>
                  </a:lnTo>
                  <a:lnTo>
                    <a:pt x="1305" y="756"/>
                  </a:lnTo>
                  <a:lnTo>
                    <a:pt x="1305" y="758"/>
                  </a:lnTo>
                  <a:lnTo>
                    <a:pt x="1303" y="758"/>
                  </a:lnTo>
                  <a:lnTo>
                    <a:pt x="1305" y="758"/>
                  </a:lnTo>
                  <a:lnTo>
                    <a:pt x="1303" y="758"/>
                  </a:lnTo>
                  <a:lnTo>
                    <a:pt x="1303" y="756"/>
                  </a:lnTo>
                  <a:lnTo>
                    <a:pt x="1305" y="756"/>
                  </a:lnTo>
                  <a:close/>
                  <a:moveTo>
                    <a:pt x="1272" y="737"/>
                  </a:moveTo>
                  <a:lnTo>
                    <a:pt x="1269" y="737"/>
                  </a:lnTo>
                  <a:lnTo>
                    <a:pt x="1272" y="737"/>
                  </a:lnTo>
                  <a:close/>
                  <a:moveTo>
                    <a:pt x="1210" y="722"/>
                  </a:moveTo>
                  <a:lnTo>
                    <a:pt x="1208" y="722"/>
                  </a:lnTo>
                  <a:lnTo>
                    <a:pt x="1210" y="722"/>
                  </a:lnTo>
                  <a:close/>
                  <a:moveTo>
                    <a:pt x="1279" y="720"/>
                  </a:moveTo>
                  <a:lnTo>
                    <a:pt x="1281" y="722"/>
                  </a:lnTo>
                  <a:lnTo>
                    <a:pt x="1279" y="722"/>
                  </a:lnTo>
                  <a:lnTo>
                    <a:pt x="1279" y="720"/>
                  </a:lnTo>
                  <a:close/>
                  <a:moveTo>
                    <a:pt x="1234" y="720"/>
                  </a:moveTo>
                  <a:lnTo>
                    <a:pt x="1236" y="720"/>
                  </a:lnTo>
                  <a:lnTo>
                    <a:pt x="1234" y="720"/>
                  </a:lnTo>
                  <a:close/>
                  <a:moveTo>
                    <a:pt x="1217" y="718"/>
                  </a:moveTo>
                  <a:lnTo>
                    <a:pt x="1217" y="720"/>
                  </a:lnTo>
                  <a:lnTo>
                    <a:pt x="1217" y="718"/>
                  </a:lnTo>
                  <a:close/>
                  <a:moveTo>
                    <a:pt x="1203" y="718"/>
                  </a:moveTo>
                  <a:lnTo>
                    <a:pt x="1205" y="718"/>
                  </a:lnTo>
                  <a:lnTo>
                    <a:pt x="1205" y="720"/>
                  </a:lnTo>
                  <a:lnTo>
                    <a:pt x="1205" y="718"/>
                  </a:lnTo>
                  <a:lnTo>
                    <a:pt x="1203" y="718"/>
                  </a:lnTo>
                  <a:close/>
                  <a:moveTo>
                    <a:pt x="1203" y="718"/>
                  </a:moveTo>
                  <a:lnTo>
                    <a:pt x="1201" y="718"/>
                  </a:lnTo>
                  <a:lnTo>
                    <a:pt x="1201" y="720"/>
                  </a:lnTo>
                  <a:lnTo>
                    <a:pt x="1201" y="718"/>
                  </a:lnTo>
                  <a:lnTo>
                    <a:pt x="1203" y="718"/>
                  </a:lnTo>
                  <a:close/>
                  <a:moveTo>
                    <a:pt x="1208" y="718"/>
                  </a:moveTo>
                  <a:lnTo>
                    <a:pt x="1205" y="718"/>
                  </a:lnTo>
                  <a:lnTo>
                    <a:pt x="1208" y="718"/>
                  </a:lnTo>
                  <a:close/>
                  <a:moveTo>
                    <a:pt x="1215" y="715"/>
                  </a:moveTo>
                  <a:lnTo>
                    <a:pt x="1215" y="718"/>
                  </a:lnTo>
                  <a:lnTo>
                    <a:pt x="1213" y="718"/>
                  </a:lnTo>
                  <a:lnTo>
                    <a:pt x="1210" y="720"/>
                  </a:lnTo>
                  <a:lnTo>
                    <a:pt x="1210" y="718"/>
                  </a:lnTo>
                  <a:lnTo>
                    <a:pt x="1213" y="718"/>
                  </a:lnTo>
                  <a:lnTo>
                    <a:pt x="1213" y="715"/>
                  </a:lnTo>
                  <a:lnTo>
                    <a:pt x="1215" y="715"/>
                  </a:lnTo>
                  <a:close/>
                  <a:moveTo>
                    <a:pt x="1234" y="715"/>
                  </a:moveTo>
                  <a:lnTo>
                    <a:pt x="1236" y="718"/>
                  </a:lnTo>
                  <a:lnTo>
                    <a:pt x="1239" y="718"/>
                  </a:lnTo>
                  <a:lnTo>
                    <a:pt x="1236" y="718"/>
                  </a:lnTo>
                  <a:lnTo>
                    <a:pt x="1234" y="718"/>
                  </a:lnTo>
                  <a:lnTo>
                    <a:pt x="1236" y="718"/>
                  </a:lnTo>
                  <a:lnTo>
                    <a:pt x="1234" y="718"/>
                  </a:lnTo>
                  <a:lnTo>
                    <a:pt x="1234" y="715"/>
                  </a:lnTo>
                  <a:close/>
                  <a:moveTo>
                    <a:pt x="1229" y="715"/>
                  </a:moveTo>
                  <a:lnTo>
                    <a:pt x="1231" y="715"/>
                  </a:lnTo>
                  <a:lnTo>
                    <a:pt x="1231" y="718"/>
                  </a:lnTo>
                  <a:lnTo>
                    <a:pt x="1229" y="715"/>
                  </a:lnTo>
                  <a:close/>
                  <a:moveTo>
                    <a:pt x="1205" y="715"/>
                  </a:moveTo>
                  <a:lnTo>
                    <a:pt x="1208" y="715"/>
                  </a:lnTo>
                  <a:lnTo>
                    <a:pt x="1210" y="715"/>
                  </a:lnTo>
                  <a:lnTo>
                    <a:pt x="1213" y="715"/>
                  </a:lnTo>
                  <a:lnTo>
                    <a:pt x="1210" y="715"/>
                  </a:lnTo>
                  <a:lnTo>
                    <a:pt x="1213" y="715"/>
                  </a:lnTo>
                  <a:lnTo>
                    <a:pt x="1210" y="715"/>
                  </a:lnTo>
                  <a:lnTo>
                    <a:pt x="1208" y="715"/>
                  </a:lnTo>
                  <a:lnTo>
                    <a:pt x="1210" y="715"/>
                  </a:lnTo>
                  <a:lnTo>
                    <a:pt x="1210" y="718"/>
                  </a:lnTo>
                  <a:lnTo>
                    <a:pt x="1208" y="718"/>
                  </a:lnTo>
                  <a:lnTo>
                    <a:pt x="1205" y="718"/>
                  </a:lnTo>
                  <a:lnTo>
                    <a:pt x="1205" y="715"/>
                  </a:lnTo>
                  <a:lnTo>
                    <a:pt x="1205" y="718"/>
                  </a:lnTo>
                  <a:lnTo>
                    <a:pt x="1205" y="715"/>
                  </a:lnTo>
                  <a:lnTo>
                    <a:pt x="1203" y="715"/>
                  </a:lnTo>
                  <a:lnTo>
                    <a:pt x="1205" y="715"/>
                  </a:lnTo>
                  <a:lnTo>
                    <a:pt x="1208" y="715"/>
                  </a:lnTo>
                  <a:lnTo>
                    <a:pt x="1210" y="715"/>
                  </a:lnTo>
                  <a:lnTo>
                    <a:pt x="1208" y="715"/>
                  </a:lnTo>
                  <a:lnTo>
                    <a:pt x="1205" y="715"/>
                  </a:lnTo>
                  <a:close/>
                  <a:moveTo>
                    <a:pt x="1182" y="715"/>
                  </a:moveTo>
                  <a:lnTo>
                    <a:pt x="1179" y="715"/>
                  </a:lnTo>
                  <a:lnTo>
                    <a:pt x="1182" y="715"/>
                  </a:lnTo>
                  <a:close/>
                  <a:moveTo>
                    <a:pt x="1179" y="715"/>
                  </a:moveTo>
                  <a:lnTo>
                    <a:pt x="1179" y="713"/>
                  </a:lnTo>
                  <a:lnTo>
                    <a:pt x="1179" y="715"/>
                  </a:lnTo>
                  <a:close/>
                  <a:moveTo>
                    <a:pt x="1182" y="713"/>
                  </a:moveTo>
                  <a:lnTo>
                    <a:pt x="1179" y="713"/>
                  </a:lnTo>
                  <a:lnTo>
                    <a:pt x="1182" y="715"/>
                  </a:lnTo>
                  <a:lnTo>
                    <a:pt x="1179" y="715"/>
                  </a:lnTo>
                  <a:lnTo>
                    <a:pt x="1179" y="713"/>
                  </a:lnTo>
                  <a:lnTo>
                    <a:pt x="1182" y="713"/>
                  </a:lnTo>
                  <a:close/>
                  <a:moveTo>
                    <a:pt x="1236" y="713"/>
                  </a:moveTo>
                  <a:lnTo>
                    <a:pt x="1236" y="715"/>
                  </a:lnTo>
                  <a:lnTo>
                    <a:pt x="1236" y="713"/>
                  </a:lnTo>
                  <a:close/>
                  <a:moveTo>
                    <a:pt x="1213" y="713"/>
                  </a:moveTo>
                  <a:lnTo>
                    <a:pt x="1215" y="713"/>
                  </a:lnTo>
                  <a:lnTo>
                    <a:pt x="1215" y="715"/>
                  </a:lnTo>
                  <a:lnTo>
                    <a:pt x="1213" y="715"/>
                  </a:lnTo>
                  <a:lnTo>
                    <a:pt x="1215" y="715"/>
                  </a:lnTo>
                  <a:lnTo>
                    <a:pt x="1213" y="715"/>
                  </a:lnTo>
                  <a:lnTo>
                    <a:pt x="1213" y="713"/>
                  </a:lnTo>
                  <a:close/>
                  <a:moveTo>
                    <a:pt x="1213" y="713"/>
                  </a:moveTo>
                  <a:lnTo>
                    <a:pt x="1215" y="713"/>
                  </a:lnTo>
                  <a:lnTo>
                    <a:pt x="1213" y="713"/>
                  </a:lnTo>
                  <a:lnTo>
                    <a:pt x="1215" y="713"/>
                  </a:lnTo>
                  <a:lnTo>
                    <a:pt x="1213" y="713"/>
                  </a:lnTo>
                  <a:lnTo>
                    <a:pt x="1210" y="713"/>
                  </a:lnTo>
                  <a:lnTo>
                    <a:pt x="1213" y="713"/>
                  </a:lnTo>
                  <a:close/>
                  <a:moveTo>
                    <a:pt x="1189" y="710"/>
                  </a:moveTo>
                  <a:lnTo>
                    <a:pt x="1191" y="713"/>
                  </a:lnTo>
                  <a:lnTo>
                    <a:pt x="1194" y="713"/>
                  </a:lnTo>
                  <a:lnTo>
                    <a:pt x="1191" y="713"/>
                  </a:lnTo>
                  <a:lnTo>
                    <a:pt x="1189" y="710"/>
                  </a:lnTo>
                  <a:close/>
                  <a:moveTo>
                    <a:pt x="1227" y="710"/>
                  </a:moveTo>
                  <a:lnTo>
                    <a:pt x="1224" y="710"/>
                  </a:lnTo>
                  <a:lnTo>
                    <a:pt x="1227" y="710"/>
                  </a:lnTo>
                  <a:close/>
                  <a:moveTo>
                    <a:pt x="1186" y="710"/>
                  </a:moveTo>
                  <a:lnTo>
                    <a:pt x="1189" y="710"/>
                  </a:lnTo>
                  <a:lnTo>
                    <a:pt x="1186" y="710"/>
                  </a:lnTo>
                  <a:close/>
                  <a:moveTo>
                    <a:pt x="1177" y="710"/>
                  </a:moveTo>
                  <a:lnTo>
                    <a:pt x="1175" y="710"/>
                  </a:lnTo>
                  <a:lnTo>
                    <a:pt x="1177" y="710"/>
                  </a:lnTo>
                  <a:close/>
                  <a:moveTo>
                    <a:pt x="1208" y="708"/>
                  </a:moveTo>
                  <a:lnTo>
                    <a:pt x="1205" y="708"/>
                  </a:lnTo>
                  <a:lnTo>
                    <a:pt x="1208" y="708"/>
                  </a:lnTo>
                  <a:close/>
                  <a:moveTo>
                    <a:pt x="1144" y="708"/>
                  </a:moveTo>
                  <a:lnTo>
                    <a:pt x="1146" y="708"/>
                  </a:lnTo>
                  <a:lnTo>
                    <a:pt x="1148" y="708"/>
                  </a:lnTo>
                  <a:lnTo>
                    <a:pt x="1148" y="710"/>
                  </a:lnTo>
                  <a:lnTo>
                    <a:pt x="1151" y="710"/>
                  </a:lnTo>
                  <a:lnTo>
                    <a:pt x="1148" y="710"/>
                  </a:lnTo>
                  <a:lnTo>
                    <a:pt x="1146" y="710"/>
                  </a:lnTo>
                  <a:lnTo>
                    <a:pt x="1144" y="710"/>
                  </a:lnTo>
                  <a:lnTo>
                    <a:pt x="1144" y="708"/>
                  </a:lnTo>
                  <a:lnTo>
                    <a:pt x="1141" y="708"/>
                  </a:lnTo>
                  <a:lnTo>
                    <a:pt x="1144" y="708"/>
                  </a:lnTo>
                  <a:close/>
                  <a:moveTo>
                    <a:pt x="1110" y="699"/>
                  </a:moveTo>
                  <a:lnTo>
                    <a:pt x="1113" y="699"/>
                  </a:lnTo>
                  <a:lnTo>
                    <a:pt x="1110" y="699"/>
                  </a:lnTo>
                  <a:lnTo>
                    <a:pt x="1113" y="699"/>
                  </a:lnTo>
                  <a:lnTo>
                    <a:pt x="1113" y="701"/>
                  </a:lnTo>
                  <a:lnTo>
                    <a:pt x="1113" y="699"/>
                  </a:lnTo>
                  <a:lnTo>
                    <a:pt x="1110" y="699"/>
                  </a:lnTo>
                  <a:close/>
                  <a:moveTo>
                    <a:pt x="1110" y="699"/>
                  </a:moveTo>
                  <a:lnTo>
                    <a:pt x="1108" y="699"/>
                  </a:lnTo>
                  <a:lnTo>
                    <a:pt x="1110" y="699"/>
                  </a:lnTo>
                  <a:lnTo>
                    <a:pt x="1108" y="699"/>
                  </a:lnTo>
                  <a:lnTo>
                    <a:pt x="1108" y="701"/>
                  </a:lnTo>
                  <a:lnTo>
                    <a:pt x="1110" y="701"/>
                  </a:lnTo>
                  <a:lnTo>
                    <a:pt x="1108" y="701"/>
                  </a:lnTo>
                  <a:lnTo>
                    <a:pt x="1108" y="699"/>
                  </a:lnTo>
                  <a:lnTo>
                    <a:pt x="1106" y="699"/>
                  </a:lnTo>
                  <a:lnTo>
                    <a:pt x="1103" y="699"/>
                  </a:lnTo>
                  <a:lnTo>
                    <a:pt x="1103" y="696"/>
                  </a:lnTo>
                  <a:lnTo>
                    <a:pt x="1106" y="696"/>
                  </a:lnTo>
                  <a:lnTo>
                    <a:pt x="1106" y="699"/>
                  </a:lnTo>
                  <a:lnTo>
                    <a:pt x="1106" y="696"/>
                  </a:lnTo>
                  <a:lnTo>
                    <a:pt x="1108" y="696"/>
                  </a:lnTo>
                  <a:lnTo>
                    <a:pt x="1110" y="696"/>
                  </a:lnTo>
                  <a:lnTo>
                    <a:pt x="1110" y="699"/>
                  </a:lnTo>
                  <a:lnTo>
                    <a:pt x="1108" y="699"/>
                  </a:lnTo>
                  <a:lnTo>
                    <a:pt x="1110" y="699"/>
                  </a:lnTo>
                  <a:lnTo>
                    <a:pt x="1108" y="699"/>
                  </a:lnTo>
                  <a:lnTo>
                    <a:pt x="1110" y="699"/>
                  </a:lnTo>
                  <a:close/>
                  <a:moveTo>
                    <a:pt x="1110" y="696"/>
                  </a:moveTo>
                  <a:lnTo>
                    <a:pt x="1108" y="694"/>
                  </a:lnTo>
                  <a:lnTo>
                    <a:pt x="1110" y="694"/>
                  </a:lnTo>
                  <a:lnTo>
                    <a:pt x="1110" y="696"/>
                  </a:lnTo>
                  <a:close/>
                  <a:moveTo>
                    <a:pt x="1099" y="691"/>
                  </a:moveTo>
                  <a:lnTo>
                    <a:pt x="1096" y="691"/>
                  </a:lnTo>
                  <a:lnTo>
                    <a:pt x="1099" y="691"/>
                  </a:lnTo>
                  <a:close/>
                  <a:moveTo>
                    <a:pt x="1094" y="687"/>
                  </a:moveTo>
                  <a:lnTo>
                    <a:pt x="1094" y="689"/>
                  </a:lnTo>
                  <a:lnTo>
                    <a:pt x="1094" y="687"/>
                  </a:lnTo>
                  <a:close/>
                  <a:moveTo>
                    <a:pt x="1092" y="687"/>
                  </a:moveTo>
                  <a:lnTo>
                    <a:pt x="1094" y="687"/>
                  </a:lnTo>
                  <a:lnTo>
                    <a:pt x="1094" y="689"/>
                  </a:lnTo>
                  <a:lnTo>
                    <a:pt x="1094" y="691"/>
                  </a:lnTo>
                  <a:lnTo>
                    <a:pt x="1096" y="691"/>
                  </a:lnTo>
                  <a:lnTo>
                    <a:pt x="1094" y="691"/>
                  </a:lnTo>
                  <a:lnTo>
                    <a:pt x="1094" y="689"/>
                  </a:lnTo>
                  <a:lnTo>
                    <a:pt x="1092" y="689"/>
                  </a:lnTo>
                  <a:lnTo>
                    <a:pt x="1092" y="687"/>
                  </a:lnTo>
                  <a:close/>
                  <a:moveTo>
                    <a:pt x="1108" y="684"/>
                  </a:moveTo>
                  <a:lnTo>
                    <a:pt x="1106" y="684"/>
                  </a:lnTo>
                  <a:lnTo>
                    <a:pt x="1108" y="684"/>
                  </a:lnTo>
                  <a:close/>
                  <a:moveTo>
                    <a:pt x="1108" y="684"/>
                  </a:moveTo>
                  <a:lnTo>
                    <a:pt x="1110" y="684"/>
                  </a:lnTo>
                  <a:lnTo>
                    <a:pt x="1108" y="684"/>
                  </a:lnTo>
                  <a:close/>
                  <a:moveTo>
                    <a:pt x="1125" y="682"/>
                  </a:moveTo>
                  <a:lnTo>
                    <a:pt x="1127" y="684"/>
                  </a:lnTo>
                  <a:lnTo>
                    <a:pt x="1125" y="684"/>
                  </a:lnTo>
                  <a:lnTo>
                    <a:pt x="1122" y="684"/>
                  </a:lnTo>
                  <a:lnTo>
                    <a:pt x="1122" y="682"/>
                  </a:lnTo>
                  <a:lnTo>
                    <a:pt x="1125" y="682"/>
                  </a:lnTo>
                  <a:close/>
                  <a:moveTo>
                    <a:pt x="1120" y="682"/>
                  </a:moveTo>
                  <a:lnTo>
                    <a:pt x="1118" y="682"/>
                  </a:lnTo>
                  <a:lnTo>
                    <a:pt x="1120" y="682"/>
                  </a:lnTo>
                  <a:close/>
                  <a:moveTo>
                    <a:pt x="1122" y="682"/>
                  </a:moveTo>
                  <a:lnTo>
                    <a:pt x="1125" y="682"/>
                  </a:lnTo>
                  <a:lnTo>
                    <a:pt x="1127" y="682"/>
                  </a:lnTo>
                  <a:lnTo>
                    <a:pt x="1129" y="682"/>
                  </a:lnTo>
                  <a:lnTo>
                    <a:pt x="1129" y="684"/>
                  </a:lnTo>
                  <a:lnTo>
                    <a:pt x="1127" y="684"/>
                  </a:lnTo>
                  <a:lnTo>
                    <a:pt x="1127" y="682"/>
                  </a:lnTo>
                  <a:lnTo>
                    <a:pt x="1125" y="682"/>
                  </a:lnTo>
                  <a:lnTo>
                    <a:pt x="1127" y="682"/>
                  </a:lnTo>
                  <a:lnTo>
                    <a:pt x="1125" y="682"/>
                  </a:lnTo>
                  <a:lnTo>
                    <a:pt x="1122" y="682"/>
                  </a:lnTo>
                  <a:lnTo>
                    <a:pt x="1122" y="684"/>
                  </a:lnTo>
                  <a:lnTo>
                    <a:pt x="1120" y="684"/>
                  </a:lnTo>
                  <a:lnTo>
                    <a:pt x="1122" y="684"/>
                  </a:lnTo>
                  <a:lnTo>
                    <a:pt x="1120" y="684"/>
                  </a:lnTo>
                  <a:lnTo>
                    <a:pt x="1120" y="682"/>
                  </a:lnTo>
                  <a:lnTo>
                    <a:pt x="1122" y="682"/>
                  </a:lnTo>
                  <a:close/>
                  <a:moveTo>
                    <a:pt x="1108" y="682"/>
                  </a:moveTo>
                  <a:lnTo>
                    <a:pt x="1108" y="680"/>
                  </a:lnTo>
                  <a:lnTo>
                    <a:pt x="1108" y="682"/>
                  </a:lnTo>
                  <a:close/>
                  <a:moveTo>
                    <a:pt x="1110" y="680"/>
                  </a:moveTo>
                  <a:lnTo>
                    <a:pt x="1113" y="680"/>
                  </a:lnTo>
                  <a:lnTo>
                    <a:pt x="1113" y="682"/>
                  </a:lnTo>
                  <a:lnTo>
                    <a:pt x="1113" y="680"/>
                  </a:lnTo>
                  <a:lnTo>
                    <a:pt x="1113" y="682"/>
                  </a:lnTo>
                  <a:lnTo>
                    <a:pt x="1113" y="684"/>
                  </a:lnTo>
                  <a:lnTo>
                    <a:pt x="1113" y="682"/>
                  </a:lnTo>
                  <a:lnTo>
                    <a:pt x="1113" y="684"/>
                  </a:lnTo>
                  <a:lnTo>
                    <a:pt x="1110" y="684"/>
                  </a:lnTo>
                  <a:lnTo>
                    <a:pt x="1110" y="682"/>
                  </a:lnTo>
                  <a:lnTo>
                    <a:pt x="1108" y="682"/>
                  </a:lnTo>
                  <a:lnTo>
                    <a:pt x="1110" y="682"/>
                  </a:lnTo>
                  <a:lnTo>
                    <a:pt x="1108" y="682"/>
                  </a:lnTo>
                  <a:lnTo>
                    <a:pt x="1110" y="682"/>
                  </a:lnTo>
                  <a:lnTo>
                    <a:pt x="1113" y="682"/>
                  </a:lnTo>
                  <a:lnTo>
                    <a:pt x="1110" y="682"/>
                  </a:lnTo>
                  <a:lnTo>
                    <a:pt x="1110" y="680"/>
                  </a:lnTo>
                  <a:close/>
                  <a:moveTo>
                    <a:pt x="1113" y="680"/>
                  </a:moveTo>
                  <a:lnTo>
                    <a:pt x="1113" y="677"/>
                  </a:lnTo>
                  <a:lnTo>
                    <a:pt x="1113" y="680"/>
                  </a:lnTo>
                  <a:close/>
                  <a:moveTo>
                    <a:pt x="1101" y="677"/>
                  </a:moveTo>
                  <a:lnTo>
                    <a:pt x="1103" y="677"/>
                  </a:lnTo>
                  <a:lnTo>
                    <a:pt x="1101" y="677"/>
                  </a:lnTo>
                  <a:close/>
                  <a:moveTo>
                    <a:pt x="1108" y="677"/>
                  </a:moveTo>
                  <a:lnTo>
                    <a:pt x="1106" y="677"/>
                  </a:lnTo>
                  <a:lnTo>
                    <a:pt x="1108" y="677"/>
                  </a:lnTo>
                  <a:lnTo>
                    <a:pt x="1106" y="677"/>
                  </a:lnTo>
                  <a:lnTo>
                    <a:pt x="1108" y="677"/>
                  </a:lnTo>
                  <a:close/>
                  <a:moveTo>
                    <a:pt x="1101" y="677"/>
                  </a:moveTo>
                  <a:lnTo>
                    <a:pt x="1099" y="677"/>
                  </a:lnTo>
                  <a:lnTo>
                    <a:pt x="1101" y="677"/>
                  </a:lnTo>
                  <a:close/>
                  <a:moveTo>
                    <a:pt x="1127" y="677"/>
                  </a:moveTo>
                  <a:lnTo>
                    <a:pt x="1129" y="677"/>
                  </a:lnTo>
                  <a:lnTo>
                    <a:pt x="1127" y="677"/>
                  </a:lnTo>
                  <a:close/>
                  <a:moveTo>
                    <a:pt x="1103" y="677"/>
                  </a:moveTo>
                  <a:lnTo>
                    <a:pt x="1106" y="677"/>
                  </a:lnTo>
                  <a:lnTo>
                    <a:pt x="1103" y="677"/>
                  </a:lnTo>
                  <a:close/>
                  <a:moveTo>
                    <a:pt x="1096" y="675"/>
                  </a:moveTo>
                  <a:lnTo>
                    <a:pt x="1094" y="675"/>
                  </a:lnTo>
                  <a:lnTo>
                    <a:pt x="1096" y="675"/>
                  </a:lnTo>
                  <a:close/>
                  <a:moveTo>
                    <a:pt x="1094" y="672"/>
                  </a:moveTo>
                  <a:lnTo>
                    <a:pt x="1094" y="675"/>
                  </a:lnTo>
                  <a:lnTo>
                    <a:pt x="1094" y="672"/>
                  </a:lnTo>
                  <a:lnTo>
                    <a:pt x="1094" y="675"/>
                  </a:lnTo>
                  <a:lnTo>
                    <a:pt x="1094" y="672"/>
                  </a:lnTo>
                  <a:close/>
                  <a:moveTo>
                    <a:pt x="1103" y="675"/>
                  </a:moveTo>
                  <a:lnTo>
                    <a:pt x="1103" y="672"/>
                  </a:lnTo>
                  <a:lnTo>
                    <a:pt x="1103" y="675"/>
                  </a:lnTo>
                  <a:lnTo>
                    <a:pt x="1106" y="675"/>
                  </a:lnTo>
                  <a:lnTo>
                    <a:pt x="1106" y="677"/>
                  </a:lnTo>
                  <a:lnTo>
                    <a:pt x="1106" y="675"/>
                  </a:lnTo>
                  <a:lnTo>
                    <a:pt x="1103" y="675"/>
                  </a:lnTo>
                  <a:lnTo>
                    <a:pt x="1106" y="675"/>
                  </a:lnTo>
                  <a:lnTo>
                    <a:pt x="1103" y="675"/>
                  </a:lnTo>
                  <a:lnTo>
                    <a:pt x="1103" y="672"/>
                  </a:lnTo>
                  <a:lnTo>
                    <a:pt x="1103" y="675"/>
                  </a:lnTo>
                  <a:close/>
                  <a:moveTo>
                    <a:pt x="1096" y="672"/>
                  </a:moveTo>
                  <a:lnTo>
                    <a:pt x="1099" y="672"/>
                  </a:lnTo>
                  <a:lnTo>
                    <a:pt x="1096" y="672"/>
                  </a:lnTo>
                  <a:close/>
                  <a:moveTo>
                    <a:pt x="1096" y="670"/>
                  </a:moveTo>
                  <a:lnTo>
                    <a:pt x="1096" y="672"/>
                  </a:lnTo>
                  <a:lnTo>
                    <a:pt x="1096" y="670"/>
                  </a:lnTo>
                  <a:close/>
                  <a:moveTo>
                    <a:pt x="1099" y="670"/>
                  </a:moveTo>
                  <a:lnTo>
                    <a:pt x="1101" y="670"/>
                  </a:lnTo>
                  <a:lnTo>
                    <a:pt x="1099" y="670"/>
                  </a:lnTo>
                  <a:lnTo>
                    <a:pt x="1101" y="670"/>
                  </a:lnTo>
                  <a:lnTo>
                    <a:pt x="1101" y="672"/>
                  </a:lnTo>
                  <a:lnTo>
                    <a:pt x="1099" y="672"/>
                  </a:lnTo>
                  <a:lnTo>
                    <a:pt x="1101" y="672"/>
                  </a:lnTo>
                  <a:lnTo>
                    <a:pt x="1099" y="672"/>
                  </a:lnTo>
                  <a:lnTo>
                    <a:pt x="1101" y="672"/>
                  </a:lnTo>
                  <a:lnTo>
                    <a:pt x="1099" y="672"/>
                  </a:lnTo>
                  <a:lnTo>
                    <a:pt x="1101" y="672"/>
                  </a:lnTo>
                  <a:lnTo>
                    <a:pt x="1099" y="672"/>
                  </a:lnTo>
                  <a:lnTo>
                    <a:pt x="1099" y="670"/>
                  </a:lnTo>
                  <a:lnTo>
                    <a:pt x="1096" y="670"/>
                  </a:lnTo>
                  <a:lnTo>
                    <a:pt x="1099" y="670"/>
                  </a:lnTo>
                  <a:close/>
                  <a:moveTo>
                    <a:pt x="1089" y="670"/>
                  </a:moveTo>
                  <a:lnTo>
                    <a:pt x="1092" y="670"/>
                  </a:lnTo>
                  <a:lnTo>
                    <a:pt x="1092" y="672"/>
                  </a:lnTo>
                  <a:lnTo>
                    <a:pt x="1089" y="670"/>
                  </a:lnTo>
                  <a:lnTo>
                    <a:pt x="1092" y="670"/>
                  </a:lnTo>
                  <a:lnTo>
                    <a:pt x="1089" y="670"/>
                  </a:lnTo>
                  <a:close/>
                  <a:moveTo>
                    <a:pt x="1094" y="668"/>
                  </a:moveTo>
                  <a:lnTo>
                    <a:pt x="1094" y="665"/>
                  </a:lnTo>
                  <a:lnTo>
                    <a:pt x="1094" y="668"/>
                  </a:lnTo>
                  <a:close/>
                  <a:moveTo>
                    <a:pt x="1094" y="665"/>
                  </a:moveTo>
                  <a:lnTo>
                    <a:pt x="1092" y="665"/>
                  </a:lnTo>
                  <a:lnTo>
                    <a:pt x="1094" y="665"/>
                  </a:lnTo>
                  <a:lnTo>
                    <a:pt x="1092" y="665"/>
                  </a:lnTo>
                  <a:lnTo>
                    <a:pt x="1094" y="665"/>
                  </a:lnTo>
                  <a:close/>
                  <a:moveTo>
                    <a:pt x="1099" y="665"/>
                  </a:moveTo>
                  <a:lnTo>
                    <a:pt x="1099" y="668"/>
                  </a:lnTo>
                  <a:lnTo>
                    <a:pt x="1099" y="665"/>
                  </a:lnTo>
                  <a:lnTo>
                    <a:pt x="1096" y="665"/>
                  </a:lnTo>
                  <a:lnTo>
                    <a:pt x="1099" y="665"/>
                  </a:lnTo>
                  <a:close/>
                  <a:moveTo>
                    <a:pt x="1099" y="665"/>
                  </a:moveTo>
                  <a:lnTo>
                    <a:pt x="1101" y="665"/>
                  </a:lnTo>
                  <a:lnTo>
                    <a:pt x="1101" y="668"/>
                  </a:lnTo>
                  <a:lnTo>
                    <a:pt x="1101" y="665"/>
                  </a:lnTo>
                  <a:lnTo>
                    <a:pt x="1101" y="668"/>
                  </a:lnTo>
                  <a:lnTo>
                    <a:pt x="1101" y="665"/>
                  </a:lnTo>
                  <a:lnTo>
                    <a:pt x="1101" y="668"/>
                  </a:lnTo>
                  <a:lnTo>
                    <a:pt x="1103" y="668"/>
                  </a:lnTo>
                  <a:lnTo>
                    <a:pt x="1101" y="668"/>
                  </a:lnTo>
                  <a:lnTo>
                    <a:pt x="1099" y="665"/>
                  </a:lnTo>
                  <a:lnTo>
                    <a:pt x="1096" y="665"/>
                  </a:lnTo>
                  <a:lnTo>
                    <a:pt x="1099" y="665"/>
                  </a:lnTo>
                  <a:close/>
                  <a:moveTo>
                    <a:pt x="1094" y="665"/>
                  </a:moveTo>
                  <a:lnTo>
                    <a:pt x="1096" y="665"/>
                  </a:lnTo>
                  <a:lnTo>
                    <a:pt x="1094" y="665"/>
                  </a:lnTo>
                  <a:lnTo>
                    <a:pt x="1096" y="665"/>
                  </a:lnTo>
                  <a:lnTo>
                    <a:pt x="1094" y="665"/>
                  </a:lnTo>
                  <a:close/>
                  <a:moveTo>
                    <a:pt x="1080" y="665"/>
                  </a:moveTo>
                  <a:lnTo>
                    <a:pt x="1082" y="665"/>
                  </a:lnTo>
                  <a:lnTo>
                    <a:pt x="1080" y="665"/>
                  </a:lnTo>
                  <a:lnTo>
                    <a:pt x="1082" y="665"/>
                  </a:lnTo>
                  <a:lnTo>
                    <a:pt x="1080" y="665"/>
                  </a:lnTo>
                  <a:close/>
                  <a:moveTo>
                    <a:pt x="1077" y="663"/>
                  </a:moveTo>
                  <a:lnTo>
                    <a:pt x="1077" y="665"/>
                  </a:lnTo>
                  <a:lnTo>
                    <a:pt x="1077" y="663"/>
                  </a:lnTo>
                  <a:lnTo>
                    <a:pt x="1075" y="663"/>
                  </a:lnTo>
                  <a:lnTo>
                    <a:pt x="1077" y="663"/>
                  </a:lnTo>
                  <a:lnTo>
                    <a:pt x="1075" y="663"/>
                  </a:lnTo>
                  <a:lnTo>
                    <a:pt x="1077" y="663"/>
                  </a:lnTo>
                  <a:close/>
                  <a:moveTo>
                    <a:pt x="1089" y="663"/>
                  </a:moveTo>
                  <a:lnTo>
                    <a:pt x="1087" y="663"/>
                  </a:lnTo>
                  <a:lnTo>
                    <a:pt x="1089" y="663"/>
                  </a:lnTo>
                  <a:close/>
                  <a:moveTo>
                    <a:pt x="1094" y="661"/>
                  </a:moveTo>
                  <a:lnTo>
                    <a:pt x="1096" y="663"/>
                  </a:lnTo>
                  <a:lnTo>
                    <a:pt x="1094" y="663"/>
                  </a:lnTo>
                  <a:lnTo>
                    <a:pt x="1096" y="663"/>
                  </a:lnTo>
                  <a:lnTo>
                    <a:pt x="1094" y="663"/>
                  </a:lnTo>
                  <a:lnTo>
                    <a:pt x="1092" y="663"/>
                  </a:lnTo>
                  <a:lnTo>
                    <a:pt x="1092" y="661"/>
                  </a:lnTo>
                  <a:lnTo>
                    <a:pt x="1094" y="661"/>
                  </a:lnTo>
                  <a:close/>
                  <a:moveTo>
                    <a:pt x="1082" y="661"/>
                  </a:moveTo>
                  <a:lnTo>
                    <a:pt x="1080" y="661"/>
                  </a:lnTo>
                  <a:lnTo>
                    <a:pt x="1080" y="658"/>
                  </a:lnTo>
                  <a:lnTo>
                    <a:pt x="1080" y="661"/>
                  </a:lnTo>
                  <a:lnTo>
                    <a:pt x="1082" y="661"/>
                  </a:lnTo>
                  <a:close/>
                  <a:moveTo>
                    <a:pt x="1101" y="658"/>
                  </a:moveTo>
                  <a:lnTo>
                    <a:pt x="1101" y="661"/>
                  </a:lnTo>
                  <a:lnTo>
                    <a:pt x="1101" y="658"/>
                  </a:lnTo>
                  <a:close/>
                  <a:moveTo>
                    <a:pt x="1073" y="658"/>
                  </a:moveTo>
                  <a:lnTo>
                    <a:pt x="1075" y="658"/>
                  </a:lnTo>
                  <a:lnTo>
                    <a:pt x="1075" y="661"/>
                  </a:lnTo>
                  <a:lnTo>
                    <a:pt x="1073" y="661"/>
                  </a:lnTo>
                  <a:lnTo>
                    <a:pt x="1073" y="658"/>
                  </a:lnTo>
                  <a:close/>
                  <a:moveTo>
                    <a:pt x="1082" y="661"/>
                  </a:moveTo>
                  <a:lnTo>
                    <a:pt x="1080" y="658"/>
                  </a:lnTo>
                  <a:lnTo>
                    <a:pt x="1082" y="658"/>
                  </a:lnTo>
                  <a:lnTo>
                    <a:pt x="1082" y="661"/>
                  </a:lnTo>
                  <a:close/>
                  <a:moveTo>
                    <a:pt x="1070" y="658"/>
                  </a:moveTo>
                  <a:lnTo>
                    <a:pt x="1073" y="658"/>
                  </a:lnTo>
                  <a:lnTo>
                    <a:pt x="1073" y="661"/>
                  </a:lnTo>
                  <a:lnTo>
                    <a:pt x="1073" y="658"/>
                  </a:lnTo>
                  <a:lnTo>
                    <a:pt x="1070" y="658"/>
                  </a:lnTo>
                  <a:close/>
                  <a:moveTo>
                    <a:pt x="1068" y="656"/>
                  </a:moveTo>
                  <a:lnTo>
                    <a:pt x="1068" y="653"/>
                  </a:lnTo>
                  <a:lnTo>
                    <a:pt x="1068" y="656"/>
                  </a:lnTo>
                  <a:close/>
                  <a:moveTo>
                    <a:pt x="1073" y="625"/>
                  </a:moveTo>
                  <a:lnTo>
                    <a:pt x="1075" y="625"/>
                  </a:lnTo>
                  <a:lnTo>
                    <a:pt x="1073" y="625"/>
                  </a:lnTo>
                  <a:lnTo>
                    <a:pt x="1075" y="625"/>
                  </a:lnTo>
                  <a:lnTo>
                    <a:pt x="1073" y="625"/>
                  </a:lnTo>
                  <a:close/>
                  <a:moveTo>
                    <a:pt x="1070" y="620"/>
                  </a:moveTo>
                  <a:lnTo>
                    <a:pt x="1070" y="623"/>
                  </a:lnTo>
                  <a:lnTo>
                    <a:pt x="1068" y="623"/>
                  </a:lnTo>
                  <a:lnTo>
                    <a:pt x="1068" y="620"/>
                  </a:lnTo>
                  <a:lnTo>
                    <a:pt x="1070" y="620"/>
                  </a:lnTo>
                  <a:close/>
                  <a:moveTo>
                    <a:pt x="1073" y="620"/>
                  </a:moveTo>
                  <a:lnTo>
                    <a:pt x="1070" y="620"/>
                  </a:lnTo>
                  <a:lnTo>
                    <a:pt x="1073" y="620"/>
                  </a:lnTo>
                  <a:close/>
                  <a:moveTo>
                    <a:pt x="1073" y="620"/>
                  </a:moveTo>
                  <a:lnTo>
                    <a:pt x="1070" y="620"/>
                  </a:lnTo>
                  <a:lnTo>
                    <a:pt x="1070" y="618"/>
                  </a:lnTo>
                  <a:lnTo>
                    <a:pt x="1073" y="618"/>
                  </a:lnTo>
                  <a:lnTo>
                    <a:pt x="1073" y="620"/>
                  </a:lnTo>
                  <a:close/>
                  <a:moveTo>
                    <a:pt x="1075" y="613"/>
                  </a:moveTo>
                  <a:lnTo>
                    <a:pt x="1075" y="615"/>
                  </a:lnTo>
                  <a:lnTo>
                    <a:pt x="1073" y="613"/>
                  </a:lnTo>
                  <a:lnTo>
                    <a:pt x="1075" y="613"/>
                  </a:lnTo>
                  <a:close/>
                  <a:moveTo>
                    <a:pt x="1077" y="606"/>
                  </a:moveTo>
                  <a:lnTo>
                    <a:pt x="1077" y="608"/>
                  </a:lnTo>
                  <a:lnTo>
                    <a:pt x="1077" y="606"/>
                  </a:lnTo>
                  <a:close/>
                  <a:moveTo>
                    <a:pt x="1082" y="604"/>
                  </a:moveTo>
                  <a:lnTo>
                    <a:pt x="1080" y="604"/>
                  </a:lnTo>
                  <a:lnTo>
                    <a:pt x="1080" y="606"/>
                  </a:lnTo>
                  <a:lnTo>
                    <a:pt x="1080" y="604"/>
                  </a:lnTo>
                  <a:lnTo>
                    <a:pt x="1082" y="604"/>
                  </a:lnTo>
                  <a:close/>
                  <a:moveTo>
                    <a:pt x="1089" y="594"/>
                  </a:moveTo>
                  <a:lnTo>
                    <a:pt x="1089" y="596"/>
                  </a:lnTo>
                  <a:lnTo>
                    <a:pt x="1087" y="596"/>
                  </a:lnTo>
                  <a:lnTo>
                    <a:pt x="1087" y="594"/>
                  </a:lnTo>
                  <a:lnTo>
                    <a:pt x="1089" y="594"/>
                  </a:lnTo>
                  <a:close/>
                  <a:moveTo>
                    <a:pt x="1082" y="589"/>
                  </a:moveTo>
                  <a:lnTo>
                    <a:pt x="1084" y="589"/>
                  </a:lnTo>
                  <a:lnTo>
                    <a:pt x="1082" y="589"/>
                  </a:lnTo>
                  <a:lnTo>
                    <a:pt x="1082" y="592"/>
                  </a:lnTo>
                  <a:lnTo>
                    <a:pt x="1082" y="589"/>
                  </a:lnTo>
                  <a:close/>
                  <a:moveTo>
                    <a:pt x="1080" y="589"/>
                  </a:moveTo>
                  <a:lnTo>
                    <a:pt x="1082" y="589"/>
                  </a:lnTo>
                  <a:lnTo>
                    <a:pt x="1080" y="589"/>
                  </a:lnTo>
                  <a:close/>
                  <a:moveTo>
                    <a:pt x="1101" y="573"/>
                  </a:moveTo>
                  <a:lnTo>
                    <a:pt x="1103" y="573"/>
                  </a:lnTo>
                  <a:lnTo>
                    <a:pt x="1101" y="573"/>
                  </a:lnTo>
                  <a:lnTo>
                    <a:pt x="1099" y="573"/>
                  </a:lnTo>
                  <a:lnTo>
                    <a:pt x="1101" y="573"/>
                  </a:lnTo>
                  <a:close/>
                  <a:moveTo>
                    <a:pt x="1191" y="549"/>
                  </a:moveTo>
                  <a:lnTo>
                    <a:pt x="1191" y="546"/>
                  </a:lnTo>
                  <a:lnTo>
                    <a:pt x="1191" y="549"/>
                  </a:lnTo>
                  <a:close/>
                  <a:moveTo>
                    <a:pt x="1137" y="546"/>
                  </a:moveTo>
                  <a:lnTo>
                    <a:pt x="1137" y="549"/>
                  </a:lnTo>
                  <a:lnTo>
                    <a:pt x="1137" y="546"/>
                  </a:lnTo>
                  <a:lnTo>
                    <a:pt x="1139" y="546"/>
                  </a:lnTo>
                  <a:lnTo>
                    <a:pt x="1137" y="546"/>
                  </a:lnTo>
                  <a:close/>
                  <a:moveTo>
                    <a:pt x="1129" y="539"/>
                  </a:moveTo>
                  <a:lnTo>
                    <a:pt x="1132" y="539"/>
                  </a:lnTo>
                  <a:lnTo>
                    <a:pt x="1129" y="539"/>
                  </a:lnTo>
                  <a:lnTo>
                    <a:pt x="1127" y="542"/>
                  </a:lnTo>
                  <a:lnTo>
                    <a:pt x="1127" y="539"/>
                  </a:lnTo>
                  <a:lnTo>
                    <a:pt x="1127" y="542"/>
                  </a:lnTo>
                  <a:lnTo>
                    <a:pt x="1125" y="542"/>
                  </a:lnTo>
                  <a:lnTo>
                    <a:pt x="1125" y="539"/>
                  </a:lnTo>
                  <a:lnTo>
                    <a:pt x="1127" y="539"/>
                  </a:lnTo>
                  <a:lnTo>
                    <a:pt x="1129" y="539"/>
                  </a:lnTo>
                  <a:close/>
                  <a:moveTo>
                    <a:pt x="1146" y="527"/>
                  </a:moveTo>
                  <a:lnTo>
                    <a:pt x="1144" y="527"/>
                  </a:lnTo>
                  <a:lnTo>
                    <a:pt x="1144" y="525"/>
                  </a:lnTo>
                  <a:lnTo>
                    <a:pt x="1146" y="527"/>
                  </a:lnTo>
                  <a:close/>
                  <a:moveTo>
                    <a:pt x="1255" y="516"/>
                  </a:moveTo>
                  <a:lnTo>
                    <a:pt x="1255" y="513"/>
                  </a:lnTo>
                  <a:lnTo>
                    <a:pt x="1255" y="516"/>
                  </a:lnTo>
                  <a:close/>
                  <a:moveTo>
                    <a:pt x="1272" y="497"/>
                  </a:moveTo>
                  <a:lnTo>
                    <a:pt x="1274" y="499"/>
                  </a:lnTo>
                  <a:lnTo>
                    <a:pt x="1272" y="499"/>
                  </a:lnTo>
                  <a:lnTo>
                    <a:pt x="1272" y="497"/>
                  </a:lnTo>
                  <a:close/>
                  <a:moveTo>
                    <a:pt x="1182" y="497"/>
                  </a:moveTo>
                  <a:lnTo>
                    <a:pt x="1182" y="499"/>
                  </a:lnTo>
                  <a:lnTo>
                    <a:pt x="1182" y="497"/>
                  </a:lnTo>
                  <a:close/>
                  <a:moveTo>
                    <a:pt x="1277" y="494"/>
                  </a:moveTo>
                  <a:lnTo>
                    <a:pt x="1274" y="494"/>
                  </a:lnTo>
                  <a:lnTo>
                    <a:pt x="1277" y="494"/>
                  </a:lnTo>
                  <a:close/>
                  <a:moveTo>
                    <a:pt x="1170" y="494"/>
                  </a:moveTo>
                  <a:lnTo>
                    <a:pt x="1167" y="494"/>
                  </a:lnTo>
                  <a:lnTo>
                    <a:pt x="1170" y="494"/>
                  </a:lnTo>
                  <a:close/>
                  <a:moveTo>
                    <a:pt x="1284" y="485"/>
                  </a:moveTo>
                  <a:lnTo>
                    <a:pt x="1281" y="485"/>
                  </a:lnTo>
                  <a:lnTo>
                    <a:pt x="1281" y="482"/>
                  </a:lnTo>
                  <a:lnTo>
                    <a:pt x="1284" y="482"/>
                  </a:lnTo>
                  <a:lnTo>
                    <a:pt x="1284" y="485"/>
                  </a:lnTo>
                  <a:close/>
                  <a:moveTo>
                    <a:pt x="1298" y="482"/>
                  </a:moveTo>
                  <a:lnTo>
                    <a:pt x="1296" y="482"/>
                  </a:lnTo>
                  <a:lnTo>
                    <a:pt x="1298" y="482"/>
                  </a:lnTo>
                  <a:close/>
                  <a:moveTo>
                    <a:pt x="1291" y="480"/>
                  </a:moveTo>
                  <a:lnTo>
                    <a:pt x="1291" y="482"/>
                  </a:lnTo>
                  <a:lnTo>
                    <a:pt x="1291" y="480"/>
                  </a:lnTo>
                  <a:close/>
                  <a:moveTo>
                    <a:pt x="1279" y="480"/>
                  </a:moveTo>
                  <a:lnTo>
                    <a:pt x="1277" y="480"/>
                  </a:lnTo>
                  <a:lnTo>
                    <a:pt x="1279" y="480"/>
                  </a:lnTo>
                  <a:close/>
                  <a:moveTo>
                    <a:pt x="1293" y="480"/>
                  </a:moveTo>
                  <a:lnTo>
                    <a:pt x="1296" y="480"/>
                  </a:lnTo>
                  <a:lnTo>
                    <a:pt x="1293" y="480"/>
                  </a:lnTo>
                  <a:lnTo>
                    <a:pt x="1293" y="482"/>
                  </a:lnTo>
                  <a:lnTo>
                    <a:pt x="1291" y="482"/>
                  </a:lnTo>
                  <a:lnTo>
                    <a:pt x="1293" y="482"/>
                  </a:lnTo>
                  <a:lnTo>
                    <a:pt x="1291" y="482"/>
                  </a:lnTo>
                  <a:lnTo>
                    <a:pt x="1293" y="482"/>
                  </a:lnTo>
                  <a:lnTo>
                    <a:pt x="1293" y="485"/>
                  </a:lnTo>
                  <a:lnTo>
                    <a:pt x="1291" y="485"/>
                  </a:lnTo>
                  <a:lnTo>
                    <a:pt x="1291" y="482"/>
                  </a:lnTo>
                  <a:lnTo>
                    <a:pt x="1288" y="482"/>
                  </a:lnTo>
                  <a:lnTo>
                    <a:pt x="1288" y="485"/>
                  </a:lnTo>
                  <a:lnTo>
                    <a:pt x="1288" y="482"/>
                  </a:lnTo>
                  <a:lnTo>
                    <a:pt x="1288" y="485"/>
                  </a:lnTo>
                  <a:lnTo>
                    <a:pt x="1288" y="482"/>
                  </a:lnTo>
                  <a:lnTo>
                    <a:pt x="1291" y="482"/>
                  </a:lnTo>
                  <a:lnTo>
                    <a:pt x="1291" y="480"/>
                  </a:lnTo>
                  <a:lnTo>
                    <a:pt x="1293" y="480"/>
                  </a:lnTo>
                  <a:lnTo>
                    <a:pt x="1291" y="480"/>
                  </a:lnTo>
                  <a:lnTo>
                    <a:pt x="1293" y="480"/>
                  </a:lnTo>
                  <a:close/>
                  <a:moveTo>
                    <a:pt x="1293" y="480"/>
                  </a:moveTo>
                  <a:lnTo>
                    <a:pt x="1293" y="478"/>
                  </a:lnTo>
                  <a:lnTo>
                    <a:pt x="1293" y="480"/>
                  </a:lnTo>
                  <a:close/>
                  <a:moveTo>
                    <a:pt x="1281" y="478"/>
                  </a:moveTo>
                  <a:lnTo>
                    <a:pt x="1279" y="478"/>
                  </a:lnTo>
                  <a:lnTo>
                    <a:pt x="1281" y="478"/>
                  </a:lnTo>
                  <a:close/>
                  <a:moveTo>
                    <a:pt x="1298" y="478"/>
                  </a:moveTo>
                  <a:lnTo>
                    <a:pt x="1300" y="478"/>
                  </a:lnTo>
                  <a:lnTo>
                    <a:pt x="1303" y="478"/>
                  </a:lnTo>
                  <a:lnTo>
                    <a:pt x="1300" y="480"/>
                  </a:lnTo>
                  <a:lnTo>
                    <a:pt x="1298" y="480"/>
                  </a:lnTo>
                  <a:lnTo>
                    <a:pt x="1298" y="478"/>
                  </a:lnTo>
                  <a:lnTo>
                    <a:pt x="1296" y="478"/>
                  </a:lnTo>
                  <a:lnTo>
                    <a:pt x="1298" y="478"/>
                  </a:lnTo>
                  <a:close/>
                  <a:moveTo>
                    <a:pt x="1298" y="475"/>
                  </a:moveTo>
                  <a:lnTo>
                    <a:pt x="1296" y="475"/>
                  </a:lnTo>
                  <a:lnTo>
                    <a:pt x="1296" y="473"/>
                  </a:lnTo>
                  <a:lnTo>
                    <a:pt x="1298" y="475"/>
                  </a:lnTo>
                  <a:close/>
                  <a:moveTo>
                    <a:pt x="1298" y="473"/>
                  </a:moveTo>
                  <a:lnTo>
                    <a:pt x="1296" y="473"/>
                  </a:lnTo>
                  <a:lnTo>
                    <a:pt x="1296" y="470"/>
                  </a:lnTo>
                  <a:lnTo>
                    <a:pt x="1298" y="470"/>
                  </a:lnTo>
                  <a:lnTo>
                    <a:pt x="1298" y="468"/>
                  </a:lnTo>
                  <a:lnTo>
                    <a:pt x="1298" y="470"/>
                  </a:lnTo>
                  <a:lnTo>
                    <a:pt x="1298" y="473"/>
                  </a:lnTo>
                  <a:close/>
                  <a:moveTo>
                    <a:pt x="1383" y="421"/>
                  </a:moveTo>
                  <a:lnTo>
                    <a:pt x="1381" y="421"/>
                  </a:lnTo>
                  <a:lnTo>
                    <a:pt x="1383" y="421"/>
                  </a:lnTo>
                  <a:close/>
                  <a:moveTo>
                    <a:pt x="1390" y="418"/>
                  </a:moveTo>
                  <a:lnTo>
                    <a:pt x="1388" y="418"/>
                  </a:lnTo>
                  <a:lnTo>
                    <a:pt x="1390" y="418"/>
                  </a:lnTo>
                  <a:close/>
                  <a:moveTo>
                    <a:pt x="1277" y="394"/>
                  </a:moveTo>
                  <a:lnTo>
                    <a:pt x="1277" y="392"/>
                  </a:lnTo>
                  <a:lnTo>
                    <a:pt x="1279" y="392"/>
                  </a:lnTo>
                  <a:lnTo>
                    <a:pt x="1281" y="392"/>
                  </a:lnTo>
                  <a:lnTo>
                    <a:pt x="1281" y="394"/>
                  </a:lnTo>
                  <a:lnTo>
                    <a:pt x="1279" y="394"/>
                  </a:lnTo>
                  <a:lnTo>
                    <a:pt x="1277" y="394"/>
                  </a:lnTo>
                  <a:close/>
                  <a:moveTo>
                    <a:pt x="1300" y="383"/>
                  </a:moveTo>
                  <a:lnTo>
                    <a:pt x="1300" y="385"/>
                  </a:lnTo>
                  <a:lnTo>
                    <a:pt x="1300" y="383"/>
                  </a:lnTo>
                  <a:close/>
                  <a:moveTo>
                    <a:pt x="1296" y="385"/>
                  </a:moveTo>
                  <a:lnTo>
                    <a:pt x="1298" y="385"/>
                  </a:lnTo>
                  <a:lnTo>
                    <a:pt x="1300" y="385"/>
                  </a:lnTo>
                  <a:lnTo>
                    <a:pt x="1298" y="385"/>
                  </a:lnTo>
                  <a:lnTo>
                    <a:pt x="1296" y="385"/>
                  </a:lnTo>
                  <a:lnTo>
                    <a:pt x="1296" y="387"/>
                  </a:lnTo>
                  <a:lnTo>
                    <a:pt x="1293" y="385"/>
                  </a:lnTo>
                  <a:lnTo>
                    <a:pt x="1291" y="385"/>
                  </a:lnTo>
                  <a:lnTo>
                    <a:pt x="1293" y="385"/>
                  </a:lnTo>
                  <a:lnTo>
                    <a:pt x="1296" y="385"/>
                  </a:lnTo>
                  <a:lnTo>
                    <a:pt x="1298" y="383"/>
                  </a:lnTo>
                  <a:lnTo>
                    <a:pt x="1296" y="385"/>
                  </a:lnTo>
                  <a:close/>
                  <a:moveTo>
                    <a:pt x="1298" y="383"/>
                  </a:moveTo>
                  <a:lnTo>
                    <a:pt x="1300" y="383"/>
                  </a:lnTo>
                  <a:lnTo>
                    <a:pt x="1298" y="383"/>
                  </a:lnTo>
                  <a:close/>
                  <a:moveTo>
                    <a:pt x="1298" y="380"/>
                  </a:moveTo>
                  <a:lnTo>
                    <a:pt x="1298" y="383"/>
                  </a:lnTo>
                  <a:lnTo>
                    <a:pt x="1300" y="383"/>
                  </a:lnTo>
                  <a:lnTo>
                    <a:pt x="1298" y="383"/>
                  </a:lnTo>
                  <a:lnTo>
                    <a:pt x="1300" y="383"/>
                  </a:lnTo>
                  <a:lnTo>
                    <a:pt x="1298" y="383"/>
                  </a:lnTo>
                  <a:lnTo>
                    <a:pt x="1296" y="383"/>
                  </a:lnTo>
                  <a:lnTo>
                    <a:pt x="1293" y="383"/>
                  </a:lnTo>
                  <a:lnTo>
                    <a:pt x="1291" y="385"/>
                  </a:lnTo>
                  <a:lnTo>
                    <a:pt x="1288" y="385"/>
                  </a:lnTo>
                  <a:lnTo>
                    <a:pt x="1286" y="385"/>
                  </a:lnTo>
                  <a:lnTo>
                    <a:pt x="1284" y="385"/>
                  </a:lnTo>
                  <a:lnTo>
                    <a:pt x="1286" y="385"/>
                  </a:lnTo>
                  <a:lnTo>
                    <a:pt x="1286" y="383"/>
                  </a:lnTo>
                  <a:lnTo>
                    <a:pt x="1286" y="385"/>
                  </a:lnTo>
                  <a:lnTo>
                    <a:pt x="1286" y="383"/>
                  </a:lnTo>
                  <a:lnTo>
                    <a:pt x="1286" y="385"/>
                  </a:lnTo>
                  <a:lnTo>
                    <a:pt x="1286" y="383"/>
                  </a:lnTo>
                  <a:lnTo>
                    <a:pt x="1286" y="385"/>
                  </a:lnTo>
                  <a:lnTo>
                    <a:pt x="1288" y="385"/>
                  </a:lnTo>
                  <a:lnTo>
                    <a:pt x="1288" y="383"/>
                  </a:lnTo>
                  <a:lnTo>
                    <a:pt x="1291" y="383"/>
                  </a:lnTo>
                  <a:lnTo>
                    <a:pt x="1293" y="383"/>
                  </a:lnTo>
                  <a:lnTo>
                    <a:pt x="1291" y="383"/>
                  </a:lnTo>
                  <a:lnTo>
                    <a:pt x="1293" y="383"/>
                  </a:lnTo>
                  <a:lnTo>
                    <a:pt x="1296" y="380"/>
                  </a:lnTo>
                  <a:lnTo>
                    <a:pt x="1298" y="380"/>
                  </a:lnTo>
                  <a:close/>
                  <a:moveTo>
                    <a:pt x="1326" y="380"/>
                  </a:moveTo>
                  <a:lnTo>
                    <a:pt x="1329" y="380"/>
                  </a:lnTo>
                  <a:lnTo>
                    <a:pt x="1326" y="380"/>
                  </a:lnTo>
                  <a:close/>
                  <a:moveTo>
                    <a:pt x="1312" y="375"/>
                  </a:moveTo>
                  <a:lnTo>
                    <a:pt x="1315" y="375"/>
                  </a:lnTo>
                  <a:lnTo>
                    <a:pt x="1312" y="375"/>
                  </a:lnTo>
                  <a:lnTo>
                    <a:pt x="1310" y="375"/>
                  </a:lnTo>
                  <a:lnTo>
                    <a:pt x="1310" y="378"/>
                  </a:lnTo>
                  <a:lnTo>
                    <a:pt x="1310" y="375"/>
                  </a:lnTo>
                  <a:lnTo>
                    <a:pt x="1307" y="378"/>
                  </a:lnTo>
                  <a:lnTo>
                    <a:pt x="1307" y="375"/>
                  </a:lnTo>
                  <a:lnTo>
                    <a:pt x="1310" y="375"/>
                  </a:lnTo>
                  <a:lnTo>
                    <a:pt x="1312" y="375"/>
                  </a:lnTo>
                  <a:close/>
                  <a:moveTo>
                    <a:pt x="1307" y="375"/>
                  </a:moveTo>
                  <a:lnTo>
                    <a:pt x="1305" y="375"/>
                  </a:lnTo>
                  <a:lnTo>
                    <a:pt x="1305" y="378"/>
                  </a:lnTo>
                  <a:lnTo>
                    <a:pt x="1303" y="378"/>
                  </a:lnTo>
                  <a:lnTo>
                    <a:pt x="1303" y="375"/>
                  </a:lnTo>
                  <a:lnTo>
                    <a:pt x="1305" y="375"/>
                  </a:lnTo>
                  <a:lnTo>
                    <a:pt x="1307" y="375"/>
                  </a:lnTo>
                  <a:close/>
                  <a:moveTo>
                    <a:pt x="1291" y="375"/>
                  </a:moveTo>
                  <a:lnTo>
                    <a:pt x="1293" y="373"/>
                  </a:lnTo>
                  <a:lnTo>
                    <a:pt x="1291" y="375"/>
                  </a:lnTo>
                  <a:close/>
                  <a:moveTo>
                    <a:pt x="1338" y="366"/>
                  </a:moveTo>
                  <a:lnTo>
                    <a:pt x="1338" y="368"/>
                  </a:lnTo>
                  <a:lnTo>
                    <a:pt x="1336" y="368"/>
                  </a:lnTo>
                  <a:lnTo>
                    <a:pt x="1334" y="371"/>
                  </a:lnTo>
                  <a:lnTo>
                    <a:pt x="1331" y="371"/>
                  </a:lnTo>
                  <a:lnTo>
                    <a:pt x="1331" y="373"/>
                  </a:lnTo>
                  <a:lnTo>
                    <a:pt x="1329" y="373"/>
                  </a:lnTo>
                  <a:lnTo>
                    <a:pt x="1326" y="373"/>
                  </a:lnTo>
                  <a:lnTo>
                    <a:pt x="1326" y="371"/>
                  </a:lnTo>
                  <a:lnTo>
                    <a:pt x="1324" y="371"/>
                  </a:lnTo>
                  <a:lnTo>
                    <a:pt x="1326" y="371"/>
                  </a:lnTo>
                  <a:lnTo>
                    <a:pt x="1324" y="371"/>
                  </a:lnTo>
                  <a:lnTo>
                    <a:pt x="1324" y="373"/>
                  </a:lnTo>
                  <a:lnTo>
                    <a:pt x="1322" y="373"/>
                  </a:lnTo>
                  <a:lnTo>
                    <a:pt x="1319" y="373"/>
                  </a:lnTo>
                  <a:lnTo>
                    <a:pt x="1322" y="371"/>
                  </a:lnTo>
                  <a:lnTo>
                    <a:pt x="1324" y="371"/>
                  </a:lnTo>
                  <a:lnTo>
                    <a:pt x="1324" y="368"/>
                  </a:lnTo>
                  <a:lnTo>
                    <a:pt x="1326" y="368"/>
                  </a:lnTo>
                  <a:lnTo>
                    <a:pt x="1329" y="368"/>
                  </a:lnTo>
                  <a:lnTo>
                    <a:pt x="1331" y="368"/>
                  </a:lnTo>
                  <a:lnTo>
                    <a:pt x="1334" y="368"/>
                  </a:lnTo>
                  <a:lnTo>
                    <a:pt x="1336" y="368"/>
                  </a:lnTo>
                  <a:lnTo>
                    <a:pt x="1338" y="366"/>
                  </a:lnTo>
                  <a:close/>
                  <a:moveTo>
                    <a:pt x="1421" y="364"/>
                  </a:moveTo>
                  <a:lnTo>
                    <a:pt x="1419" y="364"/>
                  </a:lnTo>
                  <a:lnTo>
                    <a:pt x="1421" y="364"/>
                  </a:lnTo>
                  <a:close/>
                  <a:moveTo>
                    <a:pt x="1277" y="128"/>
                  </a:moveTo>
                  <a:lnTo>
                    <a:pt x="1279" y="128"/>
                  </a:lnTo>
                  <a:lnTo>
                    <a:pt x="1277" y="128"/>
                  </a:lnTo>
                  <a:close/>
                  <a:moveTo>
                    <a:pt x="1317" y="119"/>
                  </a:moveTo>
                  <a:lnTo>
                    <a:pt x="1319" y="119"/>
                  </a:lnTo>
                  <a:lnTo>
                    <a:pt x="1322" y="121"/>
                  </a:lnTo>
                  <a:lnTo>
                    <a:pt x="1319" y="121"/>
                  </a:lnTo>
                  <a:lnTo>
                    <a:pt x="1317" y="121"/>
                  </a:lnTo>
                  <a:lnTo>
                    <a:pt x="1315" y="121"/>
                  </a:lnTo>
                  <a:lnTo>
                    <a:pt x="1317" y="121"/>
                  </a:lnTo>
                  <a:lnTo>
                    <a:pt x="1317" y="119"/>
                  </a:lnTo>
                  <a:close/>
                  <a:moveTo>
                    <a:pt x="1279" y="116"/>
                  </a:moveTo>
                  <a:lnTo>
                    <a:pt x="1281" y="119"/>
                  </a:lnTo>
                  <a:lnTo>
                    <a:pt x="1284" y="119"/>
                  </a:lnTo>
                  <a:lnTo>
                    <a:pt x="1286" y="119"/>
                  </a:lnTo>
                  <a:lnTo>
                    <a:pt x="1288" y="121"/>
                  </a:lnTo>
                  <a:lnTo>
                    <a:pt x="1286" y="121"/>
                  </a:lnTo>
                  <a:lnTo>
                    <a:pt x="1284" y="121"/>
                  </a:lnTo>
                  <a:lnTo>
                    <a:pt x="1281" y="121"/>
                  </a:lnTo>
                  <a:lnTo>
                    <a:pt x="1279" y="121"/>
                  </a:lnTo>
                  <a:lnTo>
                    <a:pt x="1279" y="119"/>
                  </a:lnTo>
                  <a:lnTo>
                    <a:pt x="1277" y="119"/>
                  </a:lnTo>
                  <a:lnTo>
                    <a:pt x="1274" y="119"/>
                  </a:lnTo>
                  <a:lnTo>
                    <a:pt x="1272" y="119"/>
                  </a:lnTo>
                  <a:lnTo>
                    <a:pt x="1269" y="119"/>
                  </a:lnTo>
                  <a:lnTo>
                    <a:pt x="1267" y="119"/>
                  </a:lnTo>
                  <a:lnTo>
                    <a:pt x="1265" y="119"/>
                  </a:lnTo>
                  <a:lnTo>
                    <a:pt x="1267" y="119"/>
                  </a:lnTo>
                  <a:lnTo>
                    <a:pt x="1267" y="116"/>
                  </a:lnTo>
                  <a:lnTo>
                    <a:pt x="1269" y="116"/>
                  </a:lnTo>
                  <a:lnTo>
                    <a:pt x="1272" y="116"/>
                  </a:lnTo>
                  <a:lnTo>
                    <a:pt x="1274" y="116"/>
                  </a:lnTo>
                  <a:lnTo>
                    <a:pt x="1277" y="116"/>
                  </a:lnTo>
                  <a:lnTo>
                    <a:pt x="1279" y="114"/>
                  </a:lnTo>
                  <a:lnTo>
                    <a:pt x="1279" y="116"/>
                  </a:lnTo>
                  <a:close/>
                  <a:moveTo>
                    <a:pt x="1001" y="116"/>
                  </a:moveTo>
                  <a:lnTo>
                    <a:pt x="1001" y="119"/>
                  </a:lnTo>
                  <a:lnTo>
                    <a:pt x="1001" y="116"/>
                  </a:lnTo>
                  <a:lnTo>
                    <a:pt x="999" y="116"/>
                  </a:lnTo>
                  <a:lnTo>
                    <a:pt x="997" y="116"/>
                  </a:lnTo>
                  <a:lnTo>
                    <a:pt x="994" y="116"/>
                  </a:lnTo>
                  <a:lnTo>
                    <a:pt x="997" y="116"/>
                  </a:lnTo>
                  <a:lnTo>
                    <a:pt x="999" y="116"/>
                  </a:lnTo>
                  <a:lnTo>
                    <a:pt x="1001" y="114"/>
                  </a:lnTo>
                  <a:lnTo>
                    <a:pt x="1004" y="114"/>
                  </a:lnTo>
                  <a:lnTo>
                    <a:pt x="1004" y="116"/>
                  </a:lnTo>
                  <a:lnTo>
                    <a:pt x="1001" y="116"/>
                  </a:lnTo>
                  <a:close/>
                  <a:moveTo>
                    <a:pt x="970" y="112"/>
                  </a:moveTo>
                  <a:lnTo>
                    <a:pt x="970" y="114"/>
                  </a:lnTo>
                  <a:lnTo>
                    <a:pt x="968" y="114"/>
                  </a:lnTo>
                  <a:lnTo>
                    <a:pt x="966" y="114"/>
                  </a:lnTo>
                  <a:lnTo>
                    <a:pt x="963" y="114"/>
                  </a:lnTo>
                  <a:lnTo>
                    <a:pt x="966" y="112"/>
                  </a:lnTo>
                  <a:lnTo>
                    <a:pt x="966" y="114"/>
                  </a:lnTo>
                  <a:lnTo>
                    <a:pt x="968" y="114"/>
                  </a:lnTo>
                  <a:lnTo>
                    <a:pt x="968" y="112"/>
                  </a:lnTo>
                  <a:lnTo>
                    <a:pt x="970" y="112"/>
                  </a:lnTo>
                  <a:close/>
                  <a:moveTo>
                    <a:pt x="1103" y="112"/>
                  </a:moveTo>
                  <a:lnTo>
                    <a:pt x="1101" y="112"/>
                  </a:lnTo>
                  <a:lnTo>
                    <a:pt x="1103" y="112"/>
                  </a:lnTo>
                  <a:close/>
                  <a:moveTo>
                    <a:pt x="968" y="112"/>
                  </a:moveTo>
                  <a:lnTo>
                    <a:pt x="966" y="112"/>
                  </a:lnTo>
                  <a:lnTo>
                    <a:pt x="963" y="112"/>
                  </a:lnTo>
                  <a:lnTo>
                    <a:pt x="966" y="112"/>
                  </a:lnTo>
                  <a:lnTo>
                    <a:pt x="968" y="112"/>
                  </a:lnTo>
                  <a:close/>
                  <a:moveTo>
                    <a:pt x="1213" y="112"/>
                  </a:moveTo>
                  <a:lnTo>
                    <a:pt x="1210" y="112"/>
                  </a:lnTo>
                  <a:lnTo>
                    <a:pt x="1213" y="112"/>
                  </a:lnTo>
                  <a:close/>
                  <a:moveTo>
                    <a:pt x="1213" y="112"/>
                  </a:moveTo>
                  <a:lnTo>
                    <a:pt x="1215" y="112"/>
                  </a:lnTo>
                  <a:lnTo>
                    <a:pt x="1213" y="112"/>
                  </a:lnTo>
                  <a:close/>
                  <a:moveTo>
                    <a:pt x="1001" y="109"/>
                  </a:moveTo>
                  <a:lnTo>
                    <a:pt x="999" y="109"/>
                  </a:lnTo>
                  <a:lnTo>
                    <a:pt x="1001" y="109"/>
                  </a:lnTo>
                  <a:close/>
                  <a:moveTo>
                    <a:pt x="1073" y="109"/>
                  </a:moveTo>
                  <a:lnTo>
                    <a:pt x="1070" y="109"/>
                  </a:lnTo>
                  <a:lnTo>
                    <a:pt x="1070" y="107"/>
                  </a:lnTo>
                  <a:lnTo>
                    <a:pt x="1073" y="107"/>
                  </a:lnTo>
                  <a:lnTo>
                    <a:pt x="1073" y="109"/>
                  </a:lnTo>
                  <a:close/>
                  <a:moveTo>
                    <a:pt x="973" y="114"/>
                  </a:moveTo>
                  <a:lnTo>
                    <a:pt x="973" y="112"/>
                  </a:lnTo>
                  <a:lnTo>
                    <a:pt x="970" y="112"/>
                  </a:lnTo>
                  <a:lnTo>
                    <a:pt x="970" y="109"/>
                  </a:lnTo>
                  <a:lnTo>
                    <a:pt x="973" y="109"/>
                  </a:lnTo>
                  <a:lnTo>
                    <a:pt x="973" y="107"/>
                  </a:lnTo>
                  <a:lnTo>
                    <a:pt x="975" y="107"/>
                  </a:lnTo>
                  <a:lnTo>
                    <a:pt x="980" y="109"/>
                  </a:lnTo>
                  <a:lnTo>
                    <a:pt x="982" y="109"/>
                  </a:lnTo>
                  <a:lnTo>
                    <a:pt x="982" y="112"/>
                  </a:lnTo>
                  <a:lnTo>
                    <a:pt x="980" y="112"/>
                  </a:lnTo>
                  <a:lnTo>
                    <a:pt x="975" y="112"/>
                  </a:lnTo>
                  <a:lnTo>
                    <a:pt x="973" y="114"/>
                  </a:lnTo>
                  <a:close/>
                  <a:moveTo>
                    <a:pt x="1298" y="105"/>
                  </a:moveTo>
                  <a:lnTo>
                    <a:pt x="1296" y="105"/>
                  </a:lnTo>
                  <a:lnTo>
                    <a:pt x="1293" y="107"/>
                  </a:lnTo>
                  <a:lnTo>
                    <a:pt x="1291" y="107"/>
                  </a:lnTo>
                  <a:lnTo>
                    <a:pt x="1293" y="105"/>
                  </a:lnTo>
                  <a:lnTo>
                    <a:pt x="1296" y="105"/>
                  </a:lnTo>
                  <a:lnTo>
                    <a:pt x="1298" y="105"/>
                  </a:lnTo>
                  <a:close/>
                  <a:moveTo>
                    <a:pt x="1326" y="102"/>
                  </a:moveTo>
                  <a:lnTo>
                    <a:pt x="1329" y="102"/>
                  </a:lnTo>
                  <a:lnTo>
                    <a:pt x="1331" y="105"/>
                  </a:lnTo>
                  <a:lnTo>
                    <a:pt x="1329" y="105"/>
                  </a:lnTo>
                  <a:lnTo>
                    <a:pt x="1326" y="105"/>
                  </a:lnTo>
                  <a:lnTo>
                    <a:pt x="1324" y="105"/>
                  </a:lnTo>
                  <a:lnTo>
                    <a:pt x="1322" y="105"/>
                  </a:lnTo>
                  <a:lnTo>
                    <a:pt x="1322" y="102"/>
                  </a:lnTo>
                  <a:lnTo>
                    <a:pt x="1319" y="102"/>
                  </a:lnTo>
                  <a:lnTo>
                    <a:pt x="1322" y="102"/>
                  </a:lnTo>
                  <a:lnTo>
                    <a:pt x="1324" y="102"/>
                  </a:lnTo>
                  <a:lnTo>
                    <a:pt x="1324" y="100"/>
                  </a:lnTo>
                  <a:lnTo>
                    <a:pt x="1326" y="102"/>
                  </a:lnTo>
                  <a:close/>
                  <a:moveTo>
                    <a:pt x="1319" y="100"/>
                  </a:moveTo>
                  <a:lnTo>
                    <a:pt x="1317" y="100"/>
                  </a:lnTo>
                  <a:lnTo>
                    <a:pt x="1319" y="100"/>
                  </a:lnTo>
                  <a:close/>
                  <a:moveTo>
                    <a:pt x="1286" y="95"/>
                  </a:moveTo>
                  <a:lnTo>
                    <a:pt x="1284" y="95"/>
                  </a:lnTo>
                  <a:lnTo>
                    <a:pt x="1286" y="93"/>
                  </a:lnTo>
                  <a:lnTo>
                    <a:pt x="1286" y="95"/>
                  </a:lnTo>
                  <a:lnTo>
                    <a:pt x="1288" y="95"/>
                  </a:lnTo>
                  <a:lnTo>
                    <a:pt x="1286" y="95"/>
                  </a:lnTo>
                  <a:close/>
                  <a:moveTo>
                    <a:pt x="1127" y="93"/>
                  </a:moveTo>
                  <a:lnTo>
                    <a:pt x="1125" y="93"/>
                  </a:lnTo>
                  <a:lnTo>
                    <a:pt x="1122" y="93"/>
                  </a:lnTo>
                  <a:lnTo>
                    <a:pt x="1125" y="93"/>
                  </a:lnTo>
                  <a:lnTo>
                    <a:pt x="1127" y="93"/>
                  </a:lnTo>
                  <a:close/>
                  <a:moveTo>
                    <a:pt x="1134" y="93"/>
                  </a:moveTo>
                  <a:lnTo>
                    <a:pt x="1137" y="93"/>
                  </a:lnTo>
                  <a:lnTo>
                    <a:pt x="1139" y="95"/>
                  </a:lnTo>
                  <a:lnTo>
                    <a:pt x="1139" y="97"/>
                  </a:lnTo>
                  <a:lnTo>
                    <a:pt x="1139" y="100"/>
                  </a:lnTo>
                  <a:lnTo>
                    <a:pt x="1137" y="100"/>
                  </a:lnTo>
                  <a:lnTo>
                    <a:pt x="1134" y="100"/>
                  </a:lnTo>
                  <a:lnTo>
                    <a:pt x="1132" y="100"/>
                  </a:lnTo>
                  <a:lnTo>
                    <a:pt x="1129" y="100"/>
                  </a:lnTo>
                  <a:lnTo>
                    <a:pt x="1132" y="100"/>
                  </a:lnTo>
                  <a:lnTo>
                    <a:pt x="1129" y="100"/>
                  </a:lnTo>
                  <a:lnTo>
                    <a:pt x="1132" y="97"/>
                  </a:lnTo>
                  <a:lnTo>
                    <a:pt x="1129" y="97"/>
                  </a:lnTo>
                  <a:lnTo>
                    <a:pt x="1129" y="95"/>
                  </a:lnTo>
                  <a:lnTo>
                    <a:pt x="1129" y="93"/>
                  </a:lnTo>
                  <a:lnTo>
                    <a:pt x="1132" y="93"/>
                  </a:lnTo>
                  <a:lnTo>
                    <a:pt x="1134" y="93"/>
                  </a:lnTo>
                  <a:close/>
                  <a:moveTo>
                    <a:pt x="1172" y="93"/>
                  </a:moveTo>
                  <a:lnTo>
                    <a:pt x="1175" y="93"/>
                  </a:lnTo>
                  <a:lnTo>
                    <a:pt x="1177" y="93"/>
                  </a:lnTo>
                  <a:lnTo>
                    <a:pt x="1175" y="93"/>
                  </a:lnTo>
                  <a:lnTo>
                    <a:pt x="1175" y="95"/>
                  </a:lnTo>
                  <a:lnTo>
                    <a:pt x="1172" y="95"/>
                  </a:lnTo>
                  <a:lnTo>
                    <a:pt x="1167" y="97"/>
                  </a:lnTo>
                  <a:lnTo>
                    <a:pt x="1165" y="97"/>
                  </a:lnTo>
                  <a:lnTo>
                    <a:pt x="1165" y="100"/>
                  </a:lnTo>
                  <a:lnTo>
                    <a:pt x="1163" y="100"/>
                  </a:lnTo>
                  <a:lnTo>
                    <a:pt x="1160" y="100"/>
                  </a:lnTo>
                  <a:lnTo>
                    <a:pt x="1158" y="97"/>
                  </a:lnTo>
                  <a:lnTo>
                    <a:pt x="1160" y="97"/>
                  </a:lnTo>
                  <a:lnTo>
                    <a:pt x="1158" y="97"/>
                  </a:lnTo>
                  <a:lnTo>
                    <a:pt x="1156" y="97"/>
                  </a:lnTo>
                  <a:lnTo>
                    <a:pt x="1156" y="95"/>
                  </a:lnTo>
                  <a:lnTo>
                    <a:pt x="1158" y="95"/>
                  </a:lnTo>
                  <a:lnTo>
                    <a:pt x="1158" y="97"/>
                  </a:lnTo>
                  <a:lnTo>
                    <a:pt x="1160" y="97"/>
                  </a:lnTo>
                  <a:lnTo>
                    <a:pt x="1160" y="95"/>
                  </a:lnTo>
                  <a:lnTo>
                    <a:pt x="1163" y="95"/>
                  </a:lnTo>
                  <a:lnTo>
                    <a:pt x="1165" y="95"/>
                  </a:lnTo>
                  <a:lnTo>
                    <a:pt x="1163" y="95"/>
                  </a:lnTo>
                  <a:lnTo>
                    <a:pt x="1163" y="93"/>
                  </a:lnTo>
                  <a:lnTo>
                    <a:pt x="1165" y="93"/>
                  </a:lnTo>
                  <a:lnTo>
                    <a:pt x="1167" y="90"/>
                  </a:lnTo>
                  <a:lnTo>
                    <a:pt x="1170" y="90"/>
                  </a:lnTo>
                  <a:lnTo>
                    <a:pt x="1172" y="93"/>
                  </a:lnTo>
                  <a:close/>
                  <a:moveTo>
                    <a:pt x="1125" y="93"/>
                  </a:moveTo>
                  <a:lnTo>
                    <a:pt x="1122" y="93"/>
                  </a:lnTo>
                  <a:lnTo>
                    <a:pt x="1122" y="90"/>
                  </a:lnTo>
                  <a:lnTo>
                    <a:pt x="1125" y="90"/>
                  </a:lnTo>
                  <a:lnTo>
                    <a:pt x="1127" y="90"/>
                  </a:lnTo>
                  <a:lnTo>
                    <a:pt x="1127" y="93"/>
                  </a:lnTo>
                  <a:lnTo>
                    <a:pt x="1125" y="93"/>
                  </a:lnTo>
                  <a:close/>
                  <a:moveTo>
                    <a:pt x="1046" y="93"/>
                  </a:moveTo>
                  <a:lnTo>
                    <a:pt x="1044" y="93"/>
                  </a:lnTo>
                  <a:lnTo>
                    <a:pt x="1044" y="90"/>
                  </a:lnTo>
                  <a:lnTo>
                    <a:pt x="1046" y="90"/>
                  </a:lnTo>
                  <a:lnTo>
                    <a:pt x="1046" y="93"/>
                  </a:lnTo>
                  <a:close/>
                  <a:moveTo>
                    <a:pt x="1360" y="90"/>
                  </a:moveTo>
                  <a:lnTo>
                    <a:pt x="1362" y="90"/>
                  </a:lnTo>
                  <a:lnTo>
                    <a:pt x="1360" y="90"/>
                  </a:lnTo>
                  <a:close/>
                  <a:moveTo>
                    <a:pt x="1070" y="90"/>
                  </a:moveTo>
                  <a:lnTo>
                    <a:pt x="1073" y="90"/>
                  </a:lnTo>
                  <a:lnTo>
                    <a:pt x="1075" y="90"/>
                  </a:lnTo>
                  <a:lnTo>
                    <a:pt x="1077" y="90"/>
                  </a:lnTo>
                  <a:lnTo>
                    <a:pt x="1080" y="90"/>
                  </a:lnTo>
                  <a:lnTo>
                    <a:pt x="1082" y="90"/>
                  </a:lnTo>
                  <a:lnTo>
                    <a:pt x="1082" y="93"/>
                  </a:lnTo>
                  <a:lnTo>
                    <a:pt x="1080" y="93"/>
                  </a:lnTo>
                  <a:lnTo>
                    <a:pt x="1077" y="93"/>
                  </a:lnTo>
                  <a:lnTo>
                    <a:pt x="1073" y="93"/>
                  </a:lnTo>
                  <a:lnTo>
                    <a:pt x="1070" y="93"/>
                  </a:lnTo>
                  <a:lnTo>
                    <a:pt x="1070" y="90"/>
                  </a:lnTo>
                  <a:lnTo>
                    <a:pt x="1068" y="90"/>
                  </a:lnTo>
                  <a:lnTo>
                    <a:pt x="1070" y="90"/>
                  </a:lnTo>
                  <a:close/>
                  <a:moveTo>
                    <a:pt x="1334" y="90"/>
                  </a:moveTo>
                  <a:lnTo>
                    <a:pt x="1331" y="90"/>
                  </a:lnTo>
                  <a:lnTo>
                    <a:pt x="1329" y="90"/>
                  </a:lnTo>
                  <a:lnTo>
                    <a:pt x="1326" y="90"/>
                  </a:lnTo>
                  <a:lnTo>
                    <a:pt x="1324" y="90"/>
                  </a:lnTo>
                  <a:lnTo>
                    <a:pt x="1326" y="90"/>
                  </a:lnTo>
                  <a:lnTo>
                    <a:pt x="1329" y="90"/>
                  </a:lnTo>
                  <a:lnTo>
                    <a:pt x="1331" y="90"/>
                  </a:lnTo>
                  <a:lnTo>
                    <a:pt x="1334" y="90"/>
                  </a:lnTo>
                  <a:close/>
                  <a:moveTo>
                    <a:pt x="1369" y="90"/>
                  </a:moveTo>
                  <a:lnTo>
                    <a:pt x="1367" y="90"/>
                  </a:lnTo>
                  <a:lnTo>
                    <a:pt x="1369" y="90"/>
                  </a:lnTo>
                  <a:close/>
                  <a:moveTo>
                    <a:pt x="1371" y="88"/>
                  </a:moveTo>
                  <a:lnTo>
                    <a:pt x="1369" y="88"/>
                  </a:lnTo>
                  <a:lnTo>
                    <a:pt x="1371" y="88"/>
                  </a:lnTo>
                  <a:close/>
                  <a:moveTo>
                    <a:pt x="1148" y="90"/>
                  </a:moveTo>
                  <a:lnTo>
                    <a:pt x="1146" y="90"/>
                  </a:lnTo>
                  <a:lnTo>
                    <a:pt x="1146" y="88"/>
                  </a:lnTo>
                  <a:lnTo>
                    <a:pt x="1148" y="88"/>
                  </a:lnTo>
                  <a:lnTo>
                    <a:pt x="1151" y="88"/>
                  </a:lnTo>
                  <a:lnTo>
                    <a:pt x="1153" y="88"/>
                  </a:lnTo>
                  <a:lnTo>
                    <a:pt x="1148" y="90"/>
                  </a:lnTo>
                  <a:close/>
                  <a:moveTo>
                    <a:pt x="1194" y="86"/>
                  </a:moveTo>
                  <a:lnTo>
                    <a:pt x="1196" y="88"/>
                  </a:lnTo>
                  <a:lnTo>
                    <a:pt x="1198" y="88"/>
                  </a:lnTo>
                  <a:lnTo>
                    <a:pt x="1201" y="88"/>
                  </a:lnTo>
                  <a:lnTo>
                    <a:pt x="1201" y="90"/>
                  </a:lnTo>
                  <a:lnTo>
                    <a:pt x="1198" y="90"/>
                  </a:lnTo>
                  <a:lnTo>
                    <a:pt x="1196" y="90"/>
                  </a:lnTo>
                  <a:lnTo>
                    <a:pt x="1194" y="90"/>
                  </a:lnTo>
                  <a:lnTo>
                    <a:pt x="1194" y="88"/>
                  </a:lnTo>
                  <a:lnTo>
                    <a:pt x="1191" y="88"/>
                  </a:lnTo>
                  <a:lnTo>
                    <a:pt x="1189" y="88"/>
                  </a:lnTo>
                  <a:lnTo>
                    <a:pt x="1186" y="88"/>
                  </a:lnTo>
                  <a:lnTo>
                    <a:pt x="1184" y="88"/>
                  </a:lnTo>
                  <a:lnTo>
                    <a:pt x="1182" y="88"/>
                  </a:lnTo>
                  <a:lnTo>
                    <a:pt x="1184" y="86"/>
                  </a:lnTo>
                  <a:lnTo>
                    <a:pt x="1186" y="86"/>
                  </a:lnTo>
                  <a:lnTo>
                    <a:pt x="1189" y="86"/>
                  </a:lnTo>
                  <a:lnTo>
                    <a:pt x="1194" y="86"/>
                  </a:lnTo>
                  <a:close/>
                  <a:moveTo>
                    <a:pt x="1167" y="86"/>
                  </a:moveTo>
                  <a:lnTo>
                    <a:pt x="1170" y="88"/>
                  </a:lnTo>
                  <a:lnTo>
                    <a:pt x="1167" y="88"/>
                  </a:lnTo>
                  <a:lnTo>
                    <a:pt x="1165" y="88"/>
                  </a:lnTo>
                  <a:lnTo>
                    <a:pt x="1163" y="88"/>
                  </a:lnTo>
                  <a:lnTo>
                    <a:pt x="1160" y="88"/>
                  </a:lnTo>
                  <a:lnTo>
                    <a:pt x="1158" y="86"/>
                  </a:lnTo>
                  <a:lnTo>
                    <a:pt x="1160" y="86"/>
                  </a:lnTo>
                  <a:lnTo>
                    <a:pt x="1163" y="86"/>
                  </a:lnTo>
                  <a:lnTo>
                    <a:pt x="1165" y="86"/>
                  </a:lnTo>
                  <a:lnTo>
                    <a:pt x="1165" y="83"/>
                  </a:lnTo>
                  <a:lnTo>
                    <a:pt x="1167" y="83"/>
                  </a:lnTo>
                  <a:lnTo>
                    <a:pt x="1167" y="86"/>
                  </a:lnTo>
                  <a:close/>
                  <a:moveTo>
                    <a:pt x="1144" y="88"/>
                  </a:moveTo>
                  <a:lnTo>
                    <a:pt x="1141" y="88"/>
                  </a:lnTo>
                  <a:lnTo>
                    <a:pt x="1139" y="88"/>
                  </a:lnTo>
                  <a:lnTo>
                    <a:pt x="1141" y="86"/>
                  </a:lnTo>
                  <a:lnTo>
                    <a:pt x="1141" y="83"/>
                  </a:lnTo>
                  <a:lnTo>
                    <a:pt x="1146" y="83"/>
                  </a:lnTo>
                  <a:lnTo>
                    <a:pt x="1144" y="81"/>
                  </a:lnTo>
                  <a:lnTo>
                    <a:pt x="1146" y="81"/>
                  </a:lnTo>
                  <a:lnTo>
                    <a:pt x="1148" y="81"/>
                  </a:lnTo>
                  <a:lnTo>
                    <a:pt x="1148" y="83"/>
                  </a:lnTo>
                  <a:lnTo>
                    <a:pt x="1151" y="83"/>
                  </a:lnTo>
                  <a:lnTo>
                    <a:pt x="1153" y="83"/>
                  </a:lnTo>
                  <a:lnTo>
                    <a:pt x="1153" y="86"/>
                  </a:lnTo>
                  <a:lnTo>
                    <a:pt x="1151" y="86"/>
                  </a:lnTo>
                  <a:lnTo>
                    <a:pt x="1151" y="88"/>
                  </a:lnTo>
                  <a:lnTo>
                    <a:pt x="1148" y="88"/>
                  </a:lnTo>
                  <a:lnTo>
                    <a:pt x="1146" y="88"/>
                  </a:lnTo>
                  <a:lnTo>
                    <a:pt x="1144" y="88"/>
                  </a:lnTo>
                  <a:close/>
                  <a:moveTo>
                    <a:pt x="1215" y="81"/>
                  </a:moveTo>
                  <a:lnTo>
                    <a:pt x="1213" y="81"/>
                  </a:lnTo>
                  <a:lnTo>
                    <a:pt x="1210" y="81"/>
                  </a:lnTo>
                  <a:lnTo>
                    <a:pt x="1208" y="81"/>
                  </a:lnTo>
                  <a:lnTo>
                    <a:pt x="1210" y="81"/>
                  </a:lnTo>
                  <a:lnTo>
                    <a:pt x="1213" y="81"/>
                  </a:lnTo>
                  <a:lnTo>
                    <a:pt x="1215" y="81"/>
                  </a:lnTo>
                  <a:close/>
                  <a:moveTo>
                    <a:pt x="1156" y="78"/>
                  </a:moveTo>
                  <a:lnTo>
                    <a:pt x="1158" y="78"/>
                  </a:lnTo>
                  <a:lnTo>
                    <a:pt x="1160" y="78"/>
                  </a:lnTo>
                  <a:lnTo>
                    <a:pt x="1163" y="81"/>
                  </a:lnTo>
                  <a:lnTo>
                    <a:pt x="1160" y="81"/>
                  </a:lnTo>
                  <a:lnTo>
                    <a:pt x="1160" y="83"/>
                  </a:lnTo>
                  <a:lnTo>
                    <a:pt x="1158" y="83"/>
                  </a:lnTo>
                  <a:lnTo>
                    <a:pt x="1156" y="83"/>
                  </a:lnTo>
                  <a:lnTo>
                    <a:pt x="1153" y="83"/>
                  </a:lnTo>
                  <a:lnTo>
                    <a:pt x="1151" y="81"/>
                  </a:lnTo>
                  <a:lnTo>
                    <a:pt x="1146" y="81"/>
                  </a:lnTo>
                  <a:lnTo>
                    <a:pt x="1146" y="78"/>
                  </a:lnTo>
                  <a:lnTo>
                    <a:pt x="1148" y="78"/>
                  </a:lnTo>
                  <a:lnTo>
                    <a:pt x="1151" y="78"/>
                  </a:lnTo>
                  <a:lnTo>
                    <a:pt x="1153" y="78"/>
                  </a:lnTo>
                  <a:lnTo>
                    <a:pt x="1156" y="78"/>
                  </a:lnTo>
                  <a:close/>
                  <a:moveTo>
                    <a:pt x="1393" y="76"/>
                  </a:moveTo>
                  <a:lnTo>
                    <a:pt x="1393" y="74"/>
                  </a:lnTo>
                  <a:lnTo>
                    <a:pt x="1390" y="74"/>
                  </a:lnTo>
                  <a:lnTo>
                    <a:pt x="1393" y="74"/>
                  </a:lnTo>
                  <a:lnTo>
                    <a:pt x="1393" y="76"/>
                  </a:lnTo>
                  <a:close/>
                  <a:moveTo>
                    <a:pt x="1139" y="76"/>
                  </a:moveTo>
                  <a:lnTo>
                    <a:pt x="1137" y="76"/>
                  </a:lnTo>
                  <a:lnTo>
                    <a:pt x="1134" y="76"/>
                  </a:lnTo>
                  <a:lnTo>
                    <a:pt x="1137" y="74"/>
                  </a:lnTo>
                  <a:lnTo>
                    <a:pt x="1139" y="76"/>
                  </a:lnTo>
                  <a:close/>
                  <a:moveTo>
                    <a:pt x="1284" y="76"/>
                  </a:moveTo>
                  <a:lnTo>
                    <a:pt x="1281" y="76"/>
                  </a:lnTo>
                  <a:lnTo>
                    <a:pt x="1279" y="76"/>
                  </a:lnTo>
                  <a:lnTo>
                    <a:pt x="1277" y="76"/>
                  </a:lnTo>
                  <a:lnTo>
                    <a:pt x="1274" y="74"/>
                  </a:lnTo>
                  <a:lnTo>
                    <a:pt x="1277" y="74"/>
                  </a:lnTo>
                  <a:lnTo>
                    <a:pt x="1279" y="74"/>
                  </a:lnTo>
                  <a:lnTo>
                    <a:pt x="1284" y="74"/>
                  </a:lnTo>
                  <a:lnTo>
                    <a:pt x="1284" y="71"/>
                  </a:lnTo>
                  <a:lnTo>
                    <a:pt x="1286" y="71"/>
                  </a:lnTo>
                  <a:lnTo>
                    <a:pt x="1284" y="74"/>
                  </a:lnTo>
                  <a:lnTo>
                    <a:pt x="1284" y="76"/>
                  </a:lnTo>
                  <a:close/>
                  <a:moveTo>
                    <a:pt x="1258" y="71"/>
                  </a:moveTo>
                  <a:lnTo>
                    <a:pt x="1255" y="71"/>
                  </a:lnTo>
                  <a:lnTo>
                    <a:pt x="1258" y="71"/>
                  </a:lnTo>
                  <a:close/>
                  <a:moveTo>
                    <a:pt x="1286" y="71"/>
                  </a:moveTo>
                  <a:lnTo>
                    <a:pt x="1288" y="71"/>
                  </a:lnTo>
                  <a:lnTo>
                    <a:pt x="1286" y="71"/>
                  </a:lnTo>
                  <a:close/>
                  <a:moveTo>
                    <a:pt x="1108" y="81"/>
                  </a:moveTo>
                  <a:lnTo>
                    <a:pt x="1106" y="81"/>
                  </a:lnTo>
                  <a:lnTo>
                    <a:pt x="1103" y="81"/>
                  </a:lnTo>
                  <a:lnTo>
                    <a:pt x="1101" y="81"/>
                  </a:lnTo>
                  <a:lnTo>
                    <a:pt x="1101" y="78"/>
                  </a:lnTo>
                  <a:lnTo>
                    <a:pt x="1099" y="78"/>
                  </a:lnTo>
                  <a:lnTo>
                    <a:pt x="1101" y="78"/>
                  </a:lnTo>
                  <a:lnTo>
                    <a:pt x="1101" y="76"/>
                  </a:lnTo>
                  <a:lnTo>
                    <a:pt x="1099" y="76"/>
                  </a:lnTo>
                  <a:lnTo>
                    <a:pt x="1101" y="76"/>
                  </a:lnTo>
                  <a:lnTo>
                    <a:pt x="1101" y="74"/>
                  </a:lnTo>
                  <a:lnTo>
                    <a:pt x="1103" y="74"/>
                  </a:lnTo>
                  <a:lnTo>
                    <a:pt x="1101" y="74"/>
                  </a:lnTo>
                  <a:lnTo>
                    <a:pt x="1099" y="74"/>
                  </a:lnTo>
                  <a:lnTo>
                    <a:pt x="1099" y="71"/>
                  </a:lnTo>
                  <a:lnTo>
                    <a:pt x="1096" y="71"/>
                  </a:lnTo>
                  <a:lnTo>
                    <a:pt x="1094" y="71"/>
                  </a:lnTo>
                  <a:lnTo>
                    <a:pt x="1096" y="71"/>
                  </a:lnTo>
                  <a:lnTo>
                    <a:pt x="1099" y="71"/>
                  </a:lnTo>
                  <a:lnTo>
                    <a:pt x="1099" y="69"/>
                  </a:lnTo>
                  <a:lnTo>
                    <a:pt x="1101" y="69"/>
                  </a:lnTo>
                  <a:lnTo>
                    <a:pt x="1101" y="71"/>
                  </a:lnTo>
                  <a:lnTo>
                    <a:pt x="1103" y="71"/>
                  </a:lnTo>
                  <a:lnTo>
                    <a:pt x="1106" y="71"/>
                  </a:lnTo>
                  <a:lnTo>
                    <a:pt x="1106" y="74"/>
                  </a:lnTo>
                  <a:lnTo>
                    <a:pt x="1106" y="76"/>
                  </a:lnTo>
                  <a:lnTo>
                    <a:pt x="1108" y="78"/>
                  </a:lnTo>
                  <a:lnTo>
                    <a:pt x="1110" y="78"/>
                  </a:lnTo>
                  <a:lnTo>
                    <a:pt x="1110" y="81"/>
                  </a:lnTo>
                  <a:lnTo>
                    <a:pt x="1108" y="81"/>
                  </a:lnTo>
                  <a:close/>
                  <a:moveTo>
                    <a:pt x="1445" y="69"/>
                  </a:moveTo>
                  <a:lnTo>
                    <a:pt x="1443" y="69"/>
                  </a:lnTo>
                  <a:lnTo>
                    <a:pt x="1440" y="69"/>
                  </a:lnTo>
                  <a:lnTo>
                    <a:pt x="1443" y="69"/>
                  </a:lnTo>
                  <a:lnTo>
                    <a:pt x="1443" y="67"/>
                  </a:lnTo>
                  <a:lnTo>
                    <a:pt x="1445" y="69"/>
                  </a:lnTo>
                  <a:close/>
                  <a:moveTo>
                    <a:pt x="1326" y="55"/>
                  </a:moveTo>
                  <a:lnTo>
                    <a:pt x="1329" y="55"/>
                  </a:lnTo>
                  <a:lnTo>
                    <a:pt x="1326" y="55"/>
                  </a:lnTo>
                  <a:close/>
                  <a:moveTo>
                    <a:pt x="1426" y="50"/>
                  </a:moveTo>
                  <a:lnTo>
                    <a:pt x="1424" y="50"/>
                  </a:lnTo>
                  <a:lnTo>
                    <a:pt x="1424" y="48"/>
                  </a:lnTo>
                  <a:lnTo>
                    <a:pt x="1426" y="50"/>
                  </a:lnTo>
                  <a:close/>
                  <a:moveTo>
                    <a:pt x="1260" y="50"/>
                  </a:moveTo>
                  <a:lnTo>
                    <a:pt x="1258" y="50"/>
                  </a:lnTo>
                  <a:lnTo>
                    <a:pt x="1255" y="48"/>
                  </a:lnTo>
                  <a:lnTo>
                    <a:pt x="1258" y="48"/>
                  </a:lnTo>
                  <a:lnTo>
                    <a:pt x="1260" y="48"/>
                  </a:lnTo>
                  <a:lnTo>
                    <a:pt x="1262" y="48"/>
                  </a:lnTo>
                  <a:lnTo>
                    <a:pt x="1262" y="50"/>
                  </a:lnTo>
                  <a:lnTo>
                    <a:pt x="1260" y="50"/>
                  </a:lnTo>
                  <a:close/>
                  <a:moveTo>
                    <a:pt x="1279" y="43"/>
                  </a:moveTo>
                  <a:lnTo>
                    <a:pt x="1277" y="43"/>
                  </a:lnTo>
                  <a:lnTo>
                    <a:pt x="1274" y="40"/>
                  </a:lnTo>
                  <a:lnTo>
                    <a:pt x="1272" y="40"/>
                  </a:lnTo>
                  <a:lnTo>
                    <a:pt x="1272" y="38"/>
                  </a:lnTo>
                  <a:lnTo>
                    <a:pt x="1274" y="38"/>
                  </a:lnTo>
                  <a:lnTo>
                    <a:pt x="1277" y="38"/>
                  </a:lnTo>
                  <a:lnTo>
                    <a:pt x="1279" y="38"/>
                  </a:lnTo>
                  <a:lnTo>
                    <a:pt x="1281" y="38"/>
                  </a:lnTo>
                  <a:lnTo>
                    <a:pt x="1284" y="38"/>
                  </a:lnTo>
                  <a:lnTo>
                    <a:pt x="1284" y="40"/>
                  </a:lnTo>
                  <a:lnTo>
                    <a:pt x="1281" y="40"/>
                  </a:lnTo>
                  <a:lnTo>
                    <a:pt x="1279" y="43"/>
                  </a:lnTo>
                  <a:close/>
                  <a:moveTo>
                    <a:pt x="1134" y="40"/>
                  </a:moveTo>
                  <a:lnTo>
                    <a:pt x="1132" y="40"/>
                  </a:lnTo>
                  <a:lnTo>
                    <a:pt x="1132" y="38"/>
                  </a:lnTo>
                  <a:lnTo>
                    <a:pt x="1134" y="38"/>
                  </a:lnTo>
                  <a:lnTo>
                    <a:pt x="1137" y="40"/>
                  </a:lnTo>
                  <a:lnTo>
                    <a:pt x="1134" y="40"/>
                  </a:lnTo>
                  <a:close/>
                  <a:moveTo>
                    <a:pt x="1277" y="36"/>
                  </a:moveTo>
                  <a:lnTo>
                    <a:pt x="1277" y="38"/>
                  </a:lnTo>
                  <a:lnTo>
                    <a:pt x="1274" y="38"/>
                  </a:lnTo>
                  <a:lnTo>
                    <a:pt x="1272" y="38"/>
                  </a:lnTo>
                  <a:lnTo>
                    <a:pt x="1269" y="38"/>
                  </a:lnTo>
                  <a:lnTo>
                    <a:pt x="1272" y="38"/>
                  </a:lnTo>
                  <a:lnTo>
                    <a:pt x="1269" y="38"/>
                  </a:lnTo>
                  <a:lnTo>
                    <a:pt x="1267" y="38"/>
                  </a:lnTo>
                  <a:lnTo>
                    <a:pt x="1265" y="38"/>
                  </a:lnTo>
                  <a:lnTo>
                    <a:pt x="1262" y="38"/>
                  </a:lnTo>
                  <a:lnTo>
                    <a:pt x="1260" y="38"/>
                  </a:lnTo>
                  <a:lnTo>
                    <a:pt x="1262" y="36"/>
                  </a:lnTo>
                  <a:lnTo>
                    <a:pt x="1265" y="36"/>
                  </a:lnTo>
                  <a:lnTo>
                    <a:pt x="1267" y="36"/>
                  </a:lnTo>
                  <a:lnTo>
                    <a:pt x="1269" y="36"/>
                  </a:lnTo>
                  <a:lnTo>
                    <a:pt x="1272" y="36"/>
                  </a:lnTo>
                  <a:lnTo>
                    <a:pt x="1277" y="36"/>
                  </a:lnTo>
                  <a:close/>
                  <a:moveTo>
                    <a:pt x="1267" y="33"/>
                  </a:moveTo>
                  <a:lnTo>
                    <a:pt x="1265" y="33"/>
                  </a:lnTo>
                  <a:lnTo>
                    <a:pt x="1267" y="33"/>
                  </a:lnTo>
                  <a:lnTo>
                    <a:pt x="1267" y="31"/>
                  </a:lnTo>
                  <a:lnTo>
                    <a:pt x="1267" y="33"/>
                  </a:lnTo>
                  <a:close/>
                  <a:moveTo>
                    <a:pt x="1296" y="31"/>
                  </a:moveTo>
                  <a:lnTo>
                    <a:pt x="1298" y="31"/>
                  </a:lnTo>
                  <a:lnTo>
                    <a:pt x="1300" y="31"/>
                  </a:lnTo>
                  <a:lnTo>
                    <a:pt x="1305" y="31"/>
                  </a:lnTo>
                  <a:lnTo>
                    <a:pt x="1307" y="31"/>
                  </a:lnTo>
                  <a:lnTo>
                    <a:pt x="1310" y="31"/>
                  </a:lnTo>
                  <a:lnTo>
                    <a:pt x="1312" y="31"/>
                  </a:lnTo>
                  <a:lnTo>
                    <a:pt x="1312" y="33"/>
                  </a:lnTo>
                  <a:lnTo>
                    <a:pt x="1315" y="33"/>
                  </a:lnTo>
                  <a:lnTo>
                    <a:pt x="1312" y="33"/>
                  </a:lnTo>
                  <a:lnTo>
                    <a:pt x="1310" y="33"/>
                  </a:lnTo>
                  <a:lnTo>
                    <a:pt x="1305" y="33"/>
                  </a:lnTo>
                  <a:lnTo>
                    <a:pt x="1300" y="33"/>
                  </a:lnTo>
                  <a:lnTo>
                    <a:pt x="1296" y="33"/>
                  </a:lnTo>
                  <a:lnTo>
                    <a:pt x="1293" y="33"/>
                  </a:lnTo>
                  <a:lnTo>
                    <a:pt x="1291" y="33"/>
                  </a:lnTo>
                  <a:lnTo>
                    <a:pt x="1291" y="31"/>
                  </a:lnTo>
                  <a:lnTo>
                    <a:pt x="1288" y="31"/>
                  </a:lnTo>
                  <a:lnTo>
                    <a:pt x="1291" y="31"/>
                  </a:lnTo>
                  <a:lnTo>
                    <a:pt x="1293" y="31"/>
                  </a:lnTo>
                  <a:lnTo>
                    <a:pt x="1296" y="31"/>
                  </a:lnTo>
                  <a:close/>
                  <a:moveTo>
                    <a:pt x="1241" y="29"/>
                  </a:moveTo>
                  <a:lnTo>
                    <a:pt x="1239" y="29"/>
                  </a:lnTo>
                  <a:lnTo>
                    <a:pt x="1241" y="29"/>
                  </a:lnTo>
                  <a:close/>
                  <a:moveTo>
                    <a:pt x="1241" y="29"/>
                  </a:moveTo>
                  <a:lnTo>
                    <a:pt x="1241" y="26"/>
                  </a:lnTo>
                  <a:lnTo>
                    <a:pt x="1241" y="29"/>
                  </a:lnTo>
                  <a:close/>
                  <a:moveTo>
                    <a:pt x="1341" y="26"/>
                  </a:moveTo>
                  <a:lnTo>
                    <a:pt x="1343" y="26"/>
                  </a:lnTo>
                  <a:lnTo>
                    <a:pt x="1343" y="29"/>
                  </a:lnTo>
                  <a:lnTo>
                    <a:pt x="1341" y="29"/>
                  </a:lnTo>
                  <a:lnTo>
                    <a:pt x="1338" y="29"/>
                  </a:lnTo>
                  <a:lnTo>
                    <a:pt x="1336" y="29"/>
                  </a:lnTo>
                  <a:lnTo>
                    <a:pt x="1334" y="29"/>
                  </a:lnTo>
                  <a:lnTo>
                    <a:pt x="1326" y="26"/>
                  </a:lnTo>
                  <a:lnTo>
                    <a:pt x="1324" y="26"/>
                  </a:lnTo>
                  <a:lnTo>
                    <a:pt x="1322" y="26"/>
                  </a:lnTo>
                  <a:lnTo>
                    <a:pt x="1319" y="26"/>
                  </a:lnTo>
                  <a:lnTo>
                    <a:pt x="1317" y="26"/>
                  </a:lnTo>
                  <a:lnTo>
                    <a:pt x="1319" y="24"/>
                  </a:lnTo>
                  <a:lnTo>
                    <a:pt x="1322" y="24"/>
                  </a:lnTo>
                  <a:lnTo>
                    <a:pt x="1324" y="24"/>
                  </a:lnTo>
                  <a:lnTo>
                    <a:pt x="1326" y="24"/>
                  </a:lnTo>
                  <a:lnTo>
                    <a:pt x="1331" y="24"/>
                  </a:lnTo>
                  <a:lnTo>
                    <a:pt x="1334" y="24"/>
                  </a:lnTo>
                  <a:lnTo>
                    <a:pt x="1338" y="26"/>
                  </a:lnTo>
                  <a:lnTo>
                    <a:pt x="1341" y="26"/>
                  </a:lnTo>
                  <a:close/>
                  <a:moveTo>
                    <a:pt x="1141" y="26"/>
                  </a:moveTo>
                  <a:lnTo>
                    <a:pt x="1139" y="26"/>
                  </a:lnTo>
                  <a:lnTo>
                    <a:pt x="1137" y="26"/>
                  </a:lnTo>
                  <a:lnTo>
                    <a:pt x="1137" y="24"/>
                  </a:lnTo>
                  <a:lnTo>
                    <a:pt x="1134" y="24"/>
                  </a:lnTo>
                  <a:lnTo>
                    <a:pt x="1134" y="21"/>
                  </a:lnTo>
                  <a:lnTo>
                    <a:pt x="1132" y="21"/>
                  </a:lnTo>
                  <a:lnTo>
                    <a:pt x="1134" y="21"/>
                  </a:lnTo>
                  <a:lnTo>
                    <a:pt x="1137" y="24"/>
                  </a:lnTo>
                  <a:lnTo>
                    <a:pt x="1139" y="24"/>
                  </a:lnTo>
                  <a:lnTo>
                    <a:pt x="1139" y="26"/>
                  </a:lnTo>
                  <a:lnTo>
                    <a:pt x="1141" y="26"/>
                  </a:lnTo>
                  <a:lnTo>
                    <a:pt x="1144" y="26"/>
                  </a:lnTo>
                  <a:lnTo>
                    <a:pt x="1141" y="26"/>
                  </a:lnTo>
                  <a:close/>
                  <a:moveTo>
                    <a:pt x="1156" y="19"/>
                  </a:moveTo>
                  <a:lnTo>
                    <a:pt x="1153" y="19"/>
                  </a:lnTo>
                  <a:lnTo>
                    <a:pt x="1156" y="19"/>
                  </a:lnTo>
                  <a:lnTo>
                    <a:pt x="1153" y="19"/>
                  </a:lnTo>
                  <a:lnTo>
                    <a:pt x="1156" y="19"/>
                  </a:lnTo>
                  <a:close/>
                  <a:moveTo>
                    <a:pt x="1284" y="14"/>
                  </a:moveTo>
                  <a:lnTo>
                    <a:pt x="1281" y="14"/>
                  </a:lnTo>
                  <a:lnTo>
                    <a:pt x="1279" y="14"/>
                  </a:lnTo>
                  <a:lnTo>
                    <a:pt x="1281" y="14"/>
                  </a:lnTo>
                  <a:lnTo>
                    <a:pt x="1284" y="14"/>
                  </a:lnTo>
                  <a:close/>
                  <a:moveTo>
                    <a:pt x="1267" y="10"/>
                  </a:moveTo>
                  <a:lnTo>
                    <a:pt x="1265" y="10"/>
                  </a:lnTo>
                  <a:lnTo>
                    <a:pt x="1267" y="10"/>
                  </a:lnTo>
                  <a:lnTo>
                    <a:pt x="1269" y="10"/>
                  </a:lnTo>
                  <a:lnTo>
                    <a:pt x="1267" y="10"/>
                  </a:lnTo>
                  <a:close/>
                  <a:moveTo>
                    <a:pt x="1265" y="10"/>
                  </a:moveTo>
                  <a:lnTo>
                    <a:pt x="1267" y="10"/>
                  </a:lnTo>
                  <a:lnTo>
                    <a:pt x="1265" y="10"/>
                  </a:lnTo>
                  <a:close/>
                  <a:moveTo>
                    <a:pt x="1393" y="10"/>
                  </a:moveTo>
                  <a:lnTo>
                    <a:pt x="1390" y="10"/>
                  </a:lnTo>
                  <a:lnTo>
                    <a:pt x="1388" y="10"/>
                  </a:lnTo>
                  <a:lnTo>
                    <a:pt x="1386" y="10"/>
                  </a:lnTo>
                  <a:lnTo>
                    <a:pt x="1383" y="7"/>
                  </a:lnTo>
                  <a:lnTo>
                    <a:pt x="1383" y="5"/>
                  </a:lnTo>
                  <a:lnTo>
                    <a:pt x="1381" y="5"/>
                  </a:lnTo>
                  <a:lnTo>
                    <a:pt x="1383" y="5"/>
                  </a:lnTo>
                  <a:lnTo>
                    <a:pt x="1386" y="5"/>
                  </a:lnTo>
                  <a:lnTo>
                    <a:pt x="1390" y="5"/>
                  </a:lnTo>
                  <a:lnTo>
                    <a:pt x="1393" y="5"/>
                  </a:lnTo>
                  <a:lnTo>
                    <a:pt x="1395" y="7"/>
                  </a:lnTo>
                  <a:lnTo>
                    <a:pt x="1398" y="7"/>
                  </a:lnTo>
                  <a:lnTo>
                    <a:pt x="1393" y="10"/>
                  </a:lnTo>
                  <a:close/>
                  <a:moveTo>
                    <a:pt x="1281" y="2"/>
                  </a:moveTo>
                  <a:lnTo>
                    <a:pt x="1279" y="2"/>
                  </a:lnTo>
                  <a:lnTo>
                    <a:pt x="1281" y="2"/>
                  </a:lnTo>
                  <a:close/>
                  <a:moveTo>
                    <a:pt x="1279" y="2"/>
                  </a:moveTo>
                  <a:lnTo>
                    <a:pt x="1281" y="2"/>
                  </a:lnTo>
                  <a:lnTo>
                    <a:pt x="1279" y="5"/>
                  </a:lnTo>
                  <a:lnTo>
                    <a:pt x="1277" y="5"/>
                  </a:lnTo>
                  <a:lnTo>
                    <a:pt x="1274" y="5"/>
                  </a:lnTo>
                  <a:lnTo>
                    <a:pt x="1272" y="5"/>
                  </a:lnTo>
                  <a:lnTo>
                    <a:pt x="1269" y="5"/>
                  </a:lnTo>
                  <a:lnTo>
                    <a:pt x="1267" y="5"/>
                  </a:lnTo>
                  <a:lnTo>
                    <a:pt x="1265" y="5"/>
                  </a:lnTo>
                  <a:lnTo>
                    <a:pt x="1267" y="5"/>
                  </a:lnTo>
                  <a:lnTo>
                    <a:pt x="1269" y="2"/>
                  </a:lnTo>
                  <a:lnTo>
                    <a:pt x="1272" y="2"/>
                  </a:lnTo>
                  <a:lnTo>
                    <a:pt x="1274" y="2"/>
                  </a:lnTo>
                  <a:lnTo>
                    <a:pt x="1277" y="2"/>
                  </a:lnTo>
                  <a:lnTo>
                    <a:pt x="1279" y="2"/>
                  </a:lnTo>
                  <a:close/>
                  <a:moveTo>
                    <a:pt x="1284" y="2"/>
                  </a:moveTo>
                  <a:lnTo>
                    <a:pt x="1281" y="2"/>
                  </a:lnTo>
                  <a:lnTo>
                    <a:pt x="1284" y="2"/>
                  </a:lnTo>
                  <a:close/>
                  <a:moveTo>
                    <a:pt x="1386" y="2"/>
                  </a:moveTo>
                  <a:lnTo>
                    <a:pt x="1386" y="0"/>
                  </a:lnTo>
                  <a:lnTo>
                    <a:pt x="1388" y="0"/>
                  </a:lnTo>
                  <a:lnTo>
                    <a:pt x="1388" y="2"/>
                  </a:lnTo>
                  <a:lnTo>
                    <a:pt x="1386" y="2"/>
                  </a:lnTo>
                  <a:close/>
                  <a:moveTo>
                    <a:pt x="1281" y="0"/>
                  </a:moveTo>
                  <a:lnTo>
                    <a:pt x="1284" y="0"/>
                  </a:lnTo>
                  <a:lnTo>
                    <a:pt x="128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2" name="Freeform 55952"/>
            <p:cNvSpPr>
              <a:spLocks noEditPoints="1"/>
            </p:cNvSpPr>
            <p:nvPr/>
          </p:nvSpPr>
          <p:spPr bwMode="auto">
            <a:xfrm>
              <a:off x="3071809" y="2408247"/>
              <a:ext cx="2351086" cy="2662247"/>
            </a:xfrm>
            <a:custGeom>
              <a:avLst/>
              <a:gdLst>
                <a:gd name="T0" fmla="*/ 926 w 1481"/>
                <a:gd name="T1" fmla="*/ 1658 h 1677"/>
                <a:gd name="T2" fmla="*/ 954 w 1481"/>
                <a:gd name="T3" fmla="*/ 1646 h 1677"/>
                <a:gd name="T4" fmla="*/ 957 w 1481"/>
                <a:gd name="T5" fmla="*/ 1632 h 1677"/>
                <a:gd name="T6" fmla="*/ 3 w 1481"/>
                <a:gd name="T7" fmla="*/ 1214 h 1677"/>
                <a:gd name="T8" fmla="*/ 276 w 1481"/>
                <a:gd name="T9" fmla="*/ 934 h 1677"/>
                <a:gd name="T10" fmla="*/ 264 w 1481"/>
                <a:gd name="T11" fmla="*/ 910 h 1677"/>
                <a:gd name="T12" fmla="*/ 285 w 1481"/>
                <a:gd name="T13" fmla="*/ 903 h 1677"/>
                <a:gd name="T14" fmla="*/ 753 w 1481"/>
                <a:gd name="T15" fmla="*/ 827 h 1677"/>
                <a:gd name="T16" fmla="*/ 791 w 1481"/>
                <a:gd name="T17" fmla="*/ 805 h 1677"/>
                <a:gd name="T18" fmla="*/ 748 w 1481"/>
                <a:gd name="T19" fmla="*/ 777 h 1677"/>
                <a:gd name="T20" fmla="*/ 1189 w 1481"/>
                <a:gd name="T21" fmla="*/ 763 h 1677"/>
                <a:gd name="T22" fmla="*/ 558 w 1481"/>
                <a:gd name="T23" fmla="*/ 722 h 1677"/>
                <a:gd name="T24" fmla="*/ 556 w 1481"/>
                <a:gd name="T25" fmla="*/ 710 h 1677"/>
                <a:gd name="T26" fmla="*/ 712 w 1481"/>
                <a:gd name="T27" fmla="*/ 703 h 1677"/>
                <a:gd name="T28" fmla="*/ 518 w 1481"/>
                <a:gd name="T29" fmla="*/ 699 h 1677"/>
                <a:gd name="T30" fmla="*/ 496 w 1481"/>
                <a:gd name="T31" fmla="*/ 691 h 1677"/>
                <a:gd name="T32" fmla="*/ 665 w 1481"/>
                <a:gd name="T33" fmla="*/ 689 h 1677"/>
                <a:gd name="T34" fmla="*/ 786 w 1481"/>
                <a:gd name="T35" fmla="*/ 680 h 1677"/>
                <a:gd name="T36" fmla="*/ 674 w 1481"/>
                <a:gd name="T37" fmla="*/ 677 h 1677"/>
                <a:gd name="T38" fmla="*/ 492 w 1481"/>
                <a:gd name="T39" fmla="*/ 668 h 1677"/>
                <a:gd name="T40" fmla="*/ 489 w 1481"/>
                <a:gd name="T41" fmla="*/ 665 h 1677"/>
                <a:gd name="T42" fmla="*/ 494 w 1481"/>
                <a:gd name="T43" fmla="*/ 661 h 1677"/>
                <a:gd name="T44" fmla="*/ 484 w 1481"/>
                <a:gd name="T45" fmla="*/ 656 h 1677"/>
                <a:gd name="T46" fmla="*/ 829 w 1481"/>
                <a:gd name="T47" fmla="*/ 646 h 1677"/>
                <a:gd name="T48" fmla="*/ 484 w 1481"/>
                <a:gd name="T49" fmla="*/ 639 h 1677"/>
                <a:gd name="T50" fmla="*/ 487 w 1481"/>
                <a:gd name="T51" fmla="*/ 634 h 1677"/>
                <a:gd name="T52" fmla="*/ 487 w 1481"/>
                <a:gd name="T53" fmla="*/ 625 h 1677"/>
                <a:gd name="T54" fmla="*/ 489 w 1481"/>
                <a:gd name="T55" fmla="*/ 620 h 1677"/>
                <a:gd name="T56" fmla="*/ 494 w 1481"/>
                <a:gd name="T57" fmla="*/ 618 h 1677"/>
                <a:gd name="T58" fmla="*/ 492 w 1481"/>
                <a:gd name="T59" fmla="*/ 613 h 1677"/>
                <a:gd name="T60" fmla="*/ 774 w 1481"/>
                <a:gd name="T61" fmla="*/ 606 h 1677"/>
                <a:gd name="T62" fmla="*/ 1315 w 1481"/>
                <a:gd name="T63" fmla="*/ 592 h 1677"/>
                <a:gd name="T64" fmla="*/ 456 w 1481"/>
                <a:gd name="T65" fmla="*/ 582 h 1677"/>
                <a:gd name="T66" fmla="*/ 805 w 1481"/>
                <a:gd name="T67" fmla="*/ 580 h 1677"/>
                <a:gd name="T68" fmla="*/ 1407 w 1481"/>
                <a:gd name="T69" fmla="*/ 573 h 1677"/>
                <a:gd name="T70" fmla="*/ 425 w 1481"/>
                <a:gd name="T71" fmla="*/ 568 h 1677"/>
                <a:gd name="T72" fmla="*/ 420 w 1481"/>
                <a:gd name="T73" fmla="*/ 561 h 1677"/>
                <a:gd name="T74" fmla="*/ 425 w 1481"/>
                <a:gd name="T75" fmla="*/ 551 h 1677"/>
                <a:gd name="T76" fmla="*/ 413 w 1481"/>
                <a:gd name="T77" fmla="*/ 546 h 1677"/>
                <a:gd name="T78" fmla="*/ 1049 w 1481"/>
                <a:gd name="T79" fmla="*/ 535 h 1677"/>
                <a:gd name="T80" fmla="*/ 1066 w 1481"/>
                <a:gd name="T81" fmla="*/ 506 h 1677"/>
                <a:gd name="T82" fmla="*/ 800 w 1481"/>
                <a:gd name="T83" fmla="*/ 492 h 1677"/>
                <a:gd name="T84" fmla="*/ 883 w 1481"/>
                <a:gd name="T85" fmla="*/ 485 h 1677"/>
                <a:gd name="T86" fmla="*/ 1313 w 1481"/>
                <a:gd name="T87" fmla="*/ 473 h 1677"/>
                <a:gd name="T88" fmla="*/ 1163 w 1481"/>
                <a:gd name="T89" fmla="*/ 463 h 1677"/>
                <a:gd name="T90" fmla="*/ 1071 w 1481"/>
                <a:gd name="T91" fmla="*/ 461 h 1677"/>
                <a:gd name="T92" fmla="*/ 1215 w 1481"/>
                <a:gd name="T93" fmla="*/ 459 h 1677"/>
                <a:gd name="T94" fmla="*/ 1294 w 1481"/>
                <a:gd name="T95" fmla="*/ 456 h 1677"/>
                <a:gd name="T96" fmla="*/ 1310 w 1481"/>
                <a:gd name="T97" fmla="*/ 451 h 1677"/>
                <a:gd name="T98" fmla="*/ 1123 w 1481"/>
                <a:gd name="T99" fmla="*/ 447 h 1677"/>
                <a:gd name="T100" fmla="*/ 1118 w 1481"/>
                <a:gd name="T101" fmla="*/ 442 h 1677"/>
                <a:gd name="T102" fmla="*/ 1298 w 1481"/>
                <a:gd name="T103" fmla="*/ 442 h 1677"/>
                <a:gd name="T104" fmla="*/ 987 w 1481"/>
                <a:gd name="T105" fmla="*/ 435 h 1677"/>
                <a:gd name="T106" fmla="*/ 992 w 1481"/>
                <a:gd name="T107" fmla="*/ 435 h 1677"/>
                <a:gd name="T108" fmla="*/ 1310 w 1481"/>
                <a:gd name="T109" fmla="*/ 430 h 1677"/>
                <a:gd name="T110" fmla="*/ 489 w 1481"/>
                <a:gd name="T111" fmla="*/ 421 h 1677"/>
                <a:gd name="T112" fmla="*/ 1410 w 1481"/>
                <a:gd name="T113" fmla="*/ 392 h 1677"/>
                <a:gd name="T114" fmla="*/ 1168 w 1481"/>
                <a:gd name="T115" fmla="*/ 345 h 1677"/>
                <a:gd name="T116" fmla="*/ 1108 w 1481"/>
                <a:gd name="T117" fmla="*/ 326 h 1677"/>
                <a:gd name="T118" fmla="*/ 1066 w 1481"/>
                <a:gd name="T119" fmla="*/ 283 h 1677"/>
                <a:gd name="T120" fmla="*/ 1184 w 1481"/>
                <a:gd name="T121" fmla="*/ 197 h 1677"/>
                <a:gd name="T122" fmla="*/ 1275 w 1481"/>
                <a:gd name="T123" fmla="*/ 107 h 1677"/>
                <a:gd name="T124" fmla="*/ 1348 w 1481"/>
                <a:gd name="T125" fmla="*/ 2 h 1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1" h="1677">
                  <a:moveTo>
                    <a:pt x="914" y="1675"/>
                  </a:moveTo>
                  <a:lnTo>
                    <a:pt x="914" y="1677"/>
                  </a:lnTo>
                  <a:lnTo>
                    <a:pt x="914" y="1675"/>
                  </a:lnTo>
                  <a:close/>
                  <a:moveTo>
                    <a:pt x="926" y="1673"/>
                  </a:moveTo>
                  <a:lnTo>
                    <a:pt x="926" y="1675"/>
                  </a:lnTo>
                  <a:lnTo>
                    <a:pt x="926" y="1673"/>
                  </a:lnTo>
                  <a:close/>
                  <a:moveTo>
                    <a:pt x="928" y="1665"/>
                  </a:moveTo>
                  <a:lnTo>
                    <a:pt x="928" y="1668"/>
                  </a:lnTo>
                  <a:lnTo>
                    <a:pt x="928" y="1665"/>
                  </a:lnTo>
                  <a:lnTo>
                    <a:pt x="928" y="1668"/>
                  </a:lnTo>
                  <a:lnTo>
                    <a:pt x="928" y="1665"/>
                  </a:lnTo>
                  <a:close/>
                  <a:moveTo>
                    <a:pt x="928" y="1665"/>
                  </a:moveTo>
                  <a:lnTo>
                    <a:pt x="926" y="1665"/>
                  </a:lnTo>
                  <a:lnTo>
                    <a:pt x="928" y="1665"/>
                  </a:lnTo>
                  <a:lnTo>
                    <a:pt x="926" y="1665"/>
                  </a:lnTo>
                  <a:lnTo>
                    <a:pt x="928" y="1665"/>
                  </a:lnTo>
                  <a:close/>
                  <a:moveTo>
                    <a:pt x="928" y="1665"/>
                  </a:moveTo>
                  <a:lnTo>
                    <a:pt x="926" y="1665"/>
                  </a:lnTo>
                  <a:lnTo>
                    <a:pt x="928" y="1665"/>
                  </a:lnTo>
                  <a:close/>
                  <a:moveTo>
                    <a:pt x="921" y="1665"/>
                  </a:moveTo>
                  <a:lnTo>
                    <a:pt x="923" y="1665"/>
                  </a:lnTo>
                  <a:lnTo>
                    <a:pt x="921" y="1665"/>
                  </a:lnTo>
                  <a:close/>
                  <a:moveTo>
                    <a:pt x="919" y="1663"/>
                  </a:moveTo>
                  <a:lnTo>
                    <a:pt x="919" y="1661"/>
                  </a:lnTo>
                  <a:lnTo>
                    <a:pt x="919" y="1663"/>
                  </a:lnTo>
                  <a:close/>
                  <a:moveTo>
                    <a:pt x="919" y="1663"/>
                  </a:moveTo>
                  <a:lnTo>
                    <a:pt x="919" y="1661"/>
                  </a:lnTo>
                  <a:lnTo>
                    <a:pt x="919" y="1663"/>
                  </a:lnTo>
                  <a:close/>
                  <a:moveTo>
                    <a:pt x="933" y="1661"/>
                  </a:moveTo>
                  <a:lnTo>
                    <a:pt x="931" y="1661"/>
                  </a:lnTo>
                  <a:lnTo>
                    <a:pt x="933" y="1661"/>
                  </a:lnTo>
                  <a:close/>
                  <a:moveTo>
                    <a:pt x="926" y="1661"/>
                  </a:moveTo>
                  <a:lnTo>
                    <a:pt x="926" y="1658"/>
                  </a:lnTo>
                  <a:lnTo>
                    <a:pt x="926" y="1661"/>
                  </a:lnTo>
                  <a:close/>
                  <a:moveTo>
                    <a:pt x="933" y="1658"/>
                  </a:moveTo>
                  <a:lnTo>
                    <a:pt x="935" y="1658"/>
                  </a:lnTo>
                  <a:lnTo>
                    <a:pt x="933" y="1658"/>
                  </a:lnTo>
                  <a:close/>
                  <a:moveTo>
                    <a:pt x="926" y="1656"/>
                  </a:moveTo>
                  <a:lnTo>
                    <a:pt x="926" y="1658"/>
                  </a:lnTo>
                  <a:lnTo>
                    <a:pt x="926" y="1656"/>
                  </a:lnTo>
                  <a:close/>
                  <a:moveTo>
                    <a:pt x="916" y="1656"/>
                  </a:moveTo>
                  <a:lnTo>
                    <a:pt x="914" y="1656"/>
                  </a:lnTo>
                  <a:lnTo>
                    <a:pt x="916" y="1656"/>
                  </a:lnTo>
                  <a:close/>
                  <a:moveTo>
                    <a:pt x="928" y="1654"/>
                  </a:moveTo>
                  <a:lnTo>
                    <a:pt x="926" y="1654"/>
                  </a:lnTo>
                  <a:lnTo>
                    <a:pt x="928" y="1654"/>
                  </a:lnTo>
                  <a:close/>
                  <a:moveTo>
                    <a:pt x="923" y="1654"/>
                  </a:moveTo>
                  <a:lnTo>
                    <a:pt x="926" y="1654"/>
                  </a:lnTo>
                  <a:lnTo>
                    <a:pt x="923" y="1654"/>
                  </a:lnTo>
                  <a:close/>
                  <a:moveTo>
                    <a:pt x="935" y="1651"/>
                  </a:moveTo>
                  <a:lnTo>
                    <a:pt x="933" y="1651"/>
                  </a:lnTo>
                  <a:lnTo>
                    <a:pt x="935" y="1651"/>
                  </a:lnTo>
                  <a:close/>
                  <a:moveTo>
                    <a:pt x="950" y="1651"/>
                  </a:moveTo>
                  <a:lnTo>
                    <a:pt x="950" y="1649"/>
                  </a:lnTo>
                  <a:lnTo>
                    <a:pt x="950" y="1651"/>
                  </a:lnTo>
                  <a:close/>
                  <a:moveTo>
                    <a:pt x="926" y="1651"/>
                  </a:moveTo>
                  <a:lnTo>
                    <a:pt x="926" y="1649"/>
                  </a:lnTo>
                  <a:lnTo>
                    <a:pt x="926" y="1651"/>
                  </a:lnTo>
                  <a:close/>
                  <a:moveTo>
                    <a:pt x="954" y="1646"/>
                  </a:moveTo>
                  <a:lnTo>
                    <a:pt x="952" y="1646"/>
                  </a:lnTo>
                  <a:lnTo>
                    <a:pt x="954" y="1646"/>
                  </a:lnTo>
                  <a:close/>
                  <a:moveTo>
                    <a:pt x="952" y="1646"/>
                  </a:moveTo>
                  <a:lnTo>
                    <a:pt x="954" y="1646"/>
                  </a:lnTo>
                  <a:lnTo>
                    <a:pt x="952" y="1646"/>
                  </a:lnTo>
                  <a:close/>
                  <a:moveTo>
                    <a:pt x="952" y="1646"/>
                  </a:moveTo>
                  <a:lnTo>
                    <a:pt x="954" y="1646"/>
                  </a:lnTo>
                  <a:lnTo>
                    <a:pt x="952" y="1646"/>
                  </a:lnTo>
                  <a:close/>
                  <a:moveTo>
                    <a:pt x="954" y="1646"/>
                  </a:moveTo>
                  <a:lnTo>
                    <a:pt x="952" y="1646"/>
                  </a:lnTo>
                  <a:lnTo>
                    <a:pt x="954" y="1646"/>
                  </a:lnTo>
                  <a:close/>
                  <a:moveTo>
                    <a:pt x="952" y="1644"/>
                  </a:moveTo>
                  <a:lnTo>
                    <a:pt x="952" y="1646"/>
                  </a:lnTo>
                  <a:lnTo>
                    <a:pt x="952" y="1644"/>
                  </a:lnTo>
                  <a:close/>
                  <a:moveTo>
                    <a:pt x="952" y="1646"/>
                  </a:moveTo>
                  <a:lnTo>
                    <a:pt x="952" y="1644"/>
                  </a:lnTo>
                  <a:lnTo>
                    <a:pt x="952" y="1646"/>
                  </a:lnTo>
                  <a:close/>
                  <a:moveTo>
                    <a:pt x="952" y="1644"/>
                  </a:moveTo>
                  <a:lnTo>
                    <a:pt x="950" y="1644"/>
                  </a:lnTo>
                  <a:lnTo>
                    <a:pt x="952" y="1644"/>
                  </a:lnTo>
                  <a:close/>
                  <a:moveTo>
                    <a:pt x="952" y="1644"/>
                  </a:moveTo>
                  <a:lnTo>
                    <a:pt x="950" y="1644"/>
                  </a:lnTo>
                  <a:lnTo>
                    <a:pt x="952" y="1644"/>
                  </a:lnTo>
                  <a:close/>
                  <a:moveTo>
                    <a:pt x="952" y="1642"/>
                  </a:moveTo>
                  <a:lnTo>
                    <a:pt x="950" y="1642"/>
                  </a:lnTo>
                  <a:lnTo>
                    <a:pt x="952" y="1642"/>
                  </a:lnTo>
                  <a:close/>
                  <a:moveTo>
                    <a:pt x="964" y="1642"/>
                  </a:moveTo>
                  <a:lnTo>
                    <a:pt x="961" y="1642"/>
                  </a:lnTo>
                  <a:lnTo>
                    <a:pt x="964" y="1642"/>
                  </a:lnTo>
                  <a:close/>
                  <a:moveTo>
                    <a:pt x="952" y="1642"/>
                  </a:moveTo>
                  <a:lnTo>
                    <a:pt x="952" y="1639"/>
                  </a:lnTo>
                  <a:lnTo>
                    <a:pt x="952" y="1642"/>
                  </a:lnTo>
                  <a:close/>
                  <a:moveTo>
                    <a:pt x="952" y="1642"/>
                  </a:moveTo>
                  <a:lnTo>
                    <a:pt x="952" y="1639"/>
                  </a:lnTo>
                  <a:lnTo>
                    <a:pt x="952" y="1642"/>
                  </a:lnTo>
                  <a:close/>
                  <a:moveTo>
                    <a:pt x="952" y="1639"/>
                  </a:moveTo>
                  <a:lnTo>
                    <a:pt x="950" y="1639"/>
                  </a:lnTo>
                  <a:lnTo>
                    <a:pt x="952" y="1639"/>
                  </a:lnTo>
                  <a:close/>
                  <a:moveTo>
                    <a:pt x="957" y="1635"/>
                  </a:moveTo>
                  <a:lnTo>
                    <a:pt x="957" y="1632"/>
                  </a:lnTo>
                  <a:lnTo>
                    <a:pt x="957" y="1635"/>
                  </a:lnTo>
                  <a:close/>
                  <a:moveTo>
                    <a:pt x="957" y="1635"/>
                  </a:moveTo>
                  <a:lnTo>
                    <a:pt x="957" y="1632"/>
                  </a:lnTo>
                  <a:lnTo>
                    <a:pt x="957" y="1635"/>
                  </a:lnTo>
                  <a:close/>
                  <a:moveTo>
                    <a:pt x="959" y="1632"/>
                  </a:moveTo>
                  <a:lnTo>
                    <a:pt x="957" y="1632"/>
                  </a:lnTo>
                  <a:lnTo>
                    <a:pt x="959" y="1632"/>
                  </a:lnTo>
                  <a:close/>
                  <a:moveTo>
                    <a:pt x="959" y="1632"/>
                  </a:moveTo>
                  <a:lnTo>
                    <a:pt x="957" y="1632"/>
                  </a:lnTo>
                  <a:lnTo>
                    <a:pt x="959" y="1632"/>
                  </a:lnTo>
                  <a:close/>
                  <a:moveTo>
                    <a:pt x="959" y="1632"/>
                  </a:moveTo>
                  <a:lnTo>
                    <a:pt x="957" y="1632"/>
                  </a:lnTo>
                  <a:lnTo>
                    <a:pt x="959" y="1632"/>
                  </a:lnTo>
                  <a:close/>
                  <a:moveTo>
                    <a:pt x="968" y="1632"/>
                  </a:moveTo>
                  <a:lnTo>
                    <a:pt x="968" y="1630"/>
                  </a:lnTo>
                  <a:lnTo>
                    <a:pt x="968" y="1632"/>
                  </a:lnTo>
                  <a:close/>
                  <a:moveTo>
                    <a:pt x="959" y="1632"/>
                  </a:moveTo>
                  <a:lnTo>
                    <a:pt x="959" y="1630"/>
                  </a:lnTo>
                  <a:lnTo>
                    <a:pt x="959" y="1632"/>
                  </a:lnTo>
                  <a:close/>
                  <a:moveTo>
                    <a:pt x="966" y="1630"/>
                  </a:moveTo>
                  <a:lnTo>
                    <a:pt x="966" y="1627"/>
                  </a:lnTo>
                  <a:lnTo>
                    <a:pt x="966" y="1630"/>
                  </a:lnTo>
                  <a:close/>
                  <a:moveTo>
                    <a:pt x="605" y="1625"/>
                  </a:moveTo>
                  <a:lnTo>
                    <a:pt x="603" y="1625"/>
                  </a:lnTo>
                  <a:lnTo>
                    <a:pt x="605" y="1625"/>
                  </a:lnTo>
                  <a:close/>
                  <a:moveTo>
                    <a:pt x="966" y="1623"/>
                  </a:moveTo>
                  <a:lnTo>
                    <a:pt x="966" y="1625"/>
                  </a:lnTo>
                  <a:lnTo>
                    <a:pt x="966" y="1623"/>
                  </a:lnTo>
                  <a:close/>
                  <a:moveTo>
                    <a:pt x="610" y="1601"/>
                  </a:moveTo>
                  <a:lnTo>
                    <a:pt x="608" y="1601"/>
                  </a:lnTo>
                  <a:lnTo>
                    <a:pt x="610" y="1601"/>
                  </a:lnTo>
                  <a:close/>
                  <a:moveTo>
                    <a:pt x="0" y="1214"/>
                  </a:moveTo>
                  <a:lnTo>
                    <a:pt x="3" y="1214"/>
                  </a:lnTo>
                  <a:lnTo>
                    <a:pt x="0" y="1214"/>
                  </a:lnTo>
                  <a:close/>
                  <a:moveTo>
                    <a:pt x="15" y="1212"/>
                  </a:moveTo>
                  <a:lnTo>
                    <a:pt x="12" y="1212"/>
                  </a:lnTo>
                  <a:lnTo>
                    <a:pt x="15" y="1212"/>
                  </a:lnTo>
                  <a:close/>
                  <a:moveTo>
                    <a:pt x="266" y="955"/>
                  </a:moveTo>
                  <a:lnTo>
                    <a:pt x="264" y="955"/>
                  </a:lnTo>
                  <a:lnTo>
                    <a:pt x="266" y="955"/>
                  </a:lnTo>
                  <a:close/>
                  <a:moveTo>
                    <a:pt x="280" y="953"/>
                  </a:moveTo>
                  <a:lnTo>
                    <a:pt x="278" y="953"/>
                  </a:lnTo>
                  <a:lnTo>
                    <a:pt x="280" y="953"/>
                  </a:lnTo>
                  <a:close/>
                  <a:moveTo>
                    <a:pt x="269" y="946"/>
                  </a:moveTo>
                  <a:lnTo>
                    <a:pt x="269" y="948"/>
                  </a:lnTo>
                  <a:lnTo>
                    <a:pt x="269" y="946"/>
                  </a:lnTo>
                  <a:close/>
                  <a:moveTo>
                    <a:pt x="328" y="938"/>
                  </a:moveTo>
                  <a:lnTo>
                    <a:pt x="325" y="938"/>
                  </a:lnTo>
                  <a:lnTo>
                    <a:pt x="328" y="938"/>
                  </a:lnTo>
                  <a:close/>
                  <a:moveTo>
                    <a:pt x="323" y="938"/>
                  </a:moveTo>
                  <a:lnTo>
                    <a:pt x="321" y="938"/>
                  </a:lnTo>
                  <a:lnTo>
                    <a:pt x="323" y="938"/>
                  </a:lnTo>
                  <a:close/>
                  <a:moveTo>
                    <a:pt x="278" y="936"/>
                  </a:moveTo>
                  <a:lnTo>
                    <a:pt x="276" y="936"/>
                  </a:lnTo>
                  <a:lnTo>
                    <a:pt x="278" y="936"/>
                  </a:lnTo>
                  <a:close/>
                  <a:moveTo>
                    <a:pt x="325" y="936"/>
                  </a:moveTo>
                  <a:lnTo>
                    <a:pt x="323" y="936"/>
                  </a:lnTo>
                  <a:lnTo>
                    <a:pt x="325" y="936"/>
                  </a:lnTo>
                  <a:close/>
                  <a:moveTo>
                    <a:pt x="259" y="936"/>
                  </a:moveTo>
                  <a:lnTo>
                    <a:pt x="259" y="934"/>
                  </a:lnTo>
                  <a:lnTo>
                    <a:pt x="259" y="936"/>
                  </a:lnTo>
                  <a:close/>
                  <a:moveTo>
                    <a:pt x="276" y="936"/>
                  </a:moveTo>
                  <a:lnTo>
                    <a:pt x="276" y="934"/>
                  </a:lnTo>
                  <a:lnTo>
                    <a:pt x="276" y="936"/>
                  </a:lnTo>
                  <a:close/>
                  <a:moveTo>
                    <a:pt x="278" y="934"/>
                  </a:moveTo>
                  <a:lnTo>
                    <a:pt x="276" y="934"/>
                  </a:lnTo>
                  <a:lnTo>
                    <a:pt x="278" y="934"/>
                  </a:lnTo>
                  <a:close/>
                  <a:moveTo>
                    <a:pt x="323" y="934"/>
                  </a:moveTo>
                  <a:lnTo>
                    <a:pt x="321" y="934"/>
                  </a:lnTo>
                  <a:lnTo>
                    <a:pt x="323" y="934"/>
                  </a:lnTo>
                  <a:close/>
                  <a:moveTo>
                    <a:pt x="285" y="919"/>
                  </a:moveTo>
                  <a:lnTo>
                    <a:pt x="288" y="919"/>
                  </a:lnTo>
                  <a:lnTo>
                    <a:pt x="285" y="919"/>
                  </a:lnTo>
                  <a:close/>
                  <a:moveTo>
                    <a:pt x="257" y="915"/>
                  </a:moveTo>
                  <a:lnTo>
                    <a:pt x="254" y="915"/>
                  </a:lnTo>
                  <a:lnTo>
                    <a:pt x="254" y="912"/>
                  </a:lnTo>
                  <a:lnTo>
                    <a:pt x="257" y="915"/>
                  </a:lnTo>
                  <a:close/>
                  <a:moveTo>
                    <a:pt x="257" y="915"/>
                  </a:moveTo>
                  <a:lnTo>
                    <a:pt x="257" y="912"/>
                  </a:lnTo>
                  <a:lnTo>
                    <a:pt x="257" y="915"/>
                  </a:lnTo>
                  <a:close/>
                  <a:moveTo>
                    <a:pt x="259" y="912"/>
                  </a:moveTo>
                  <a:lnTo>
                    <a:pt x="257" y="912"/>
                  </a:lnTo>
                  <a:lnTo>
                    <a:pt x="259" y="912"/>
                  </a:lnTo>
                  <a:close/>
                  <a:moveTo>
                    <a:pt x="288" y="912"/>
                  </a:moveTo>
                  <a:lnTo>
                    <a:pt x="285" y="912"/>
                  </a:lnTo>
                  <a:lnTo>
                    <a:pt x="288" y="912"/>
                  </a:lnTo>
                  <a:close/>
                  <a:moveTo>
                    <a:pt x="259" y="912"/>
                  </a:moveTo>
                  <a:lnTo>
                    <a:pt x="257" y="912"/>
                  </a:lnTo>
                  <a:lnTo>
                    <a:pt x="259" y="912"/>
                  </a:lnTo>
                  <a:close/>
                  <a:moveTo>
                    <a:pt x="261" y="912"/>
                  </a:moveTo>
                  <a:lnTo>
                    <a:pt x="259" y="912"/>
                  </a:lnTo>
                  <a:lnTo>
                    <a:pt x="259" y="910"/>
                  </a:lnTo>
                  <a:lnTo>
                    <a:pt x="261" y="912"/>
                  </a:lnTo>
                  <a:close/>
                  <a:moveTo>
                    <a:pt x="261" y="910"/>
                  </a:moveTo>
                  <a:lnTo>
                    <a:pt x="259" y="910"/>
                  </a:lnTo>
                  <a:lnTo>
                    <a:pt x="261" y="910"/>
                  </a:lnTo>
                  <a:close/>
                  <a:moveTo>
                    <a:pt x="264" y="910"/>
                  </a:moveTo>
                  <a:lnTo>
                    <a:pt x="261" y="910"/>
                  </a:lnTo>
                  <a:lnTo>
                    <a:pt x="264" y="910"/>
                  </a:lnTo>
                  <a:close/>
                  <a:moveTo>
                    <a:pt x="285" y="908"/>
                  </a:moveTo>
                  <a:lnTo>
                    <a:pt x="283" y="908"/>
                  </a:lnTo>
                  <a:lnTo>
                    <a:pt x="285" y="908"/>
                  </a:lnTo>
                  <a:close/>
                  <a:moveTo>
                    <a:pt x="285" y="905"/>
                  </a:moveTo>
                  <a:lnTo>
                    <a:pt x="285" y="908"/>
                  </a:lnTo>
                  <a:lnTo>
                    <a:pt x="285" y="905"/>
                  </a:lnTo>
                  <a:close/>
                  <a:moveTo>
                    <a:pt x="283" y="905"/>
                  </a:moveTo>
                  <a:lnTo>
                    <a:pt x="283" y="908"/>
                  </a:lnTo>
                  <a:lnTo>
                    <a:pt x="283" y="905"/>
                  </a:lnTo>
                  <a:close/>
                  <a:moveTo>
                    <a:pt x="276" y="905"/>
                  </a:moveTo>
                  <a:lnTo>
                    <a:pt x="276" y="908"/>
                  </a:lnTo>
                  <a:lnTo>
                    <a:pt x="276" y="905"/>
                  </a:lnTo>
                  <a:close/>
                  <a:moveTo>
                    <a:pt x="288" y="905"/>
                  </a:moveTo>
                  <a:lnTo>
                    <a:pt x="285" y="905"/>
                  </a:lnTo>
                  <a:lnTo>
                    <a:pt x="288" y="905"/>
                  </a:lnTo>
                  <a:close/>
                  <a:moveTo>
                    <a:pt x="280" y="905"/>
                  </a:moveTo>
                  <a:lnTo>
                    <a:pt x="278" y="905"/>
                  </a:lnTo>
                  <a:lnTo>
                    <a:pt x="280" y="905"/>
                  </a:lnTo>
                  <a:close/>
                  <a:moveTo>
                    <a:pt x="290" y="903"/>
                  </a:moveTo>
                  <a:lnTo>
                    <a:pt x="288" y="903"/>
                  </a:lnTo>
                  <a:lnTo>
                    <a:pt x="290" y="903"/>
                  </a:lnTo>
                  <a:close/>
                  <a:moveTo>
                    <a:pt x="290" y="903"/>
                  </a:moveTo>
                  <a:lnTo>
                    <a:pt x="288" y="903"/>
                  </a:lnTo>
                  <a:lnTo>
                    <a:pt x="290" y="903"/>
                  </a:lnTo>
                  <a:close/>
                  <a:moveTo>
                    <a:pt x="280" y="903"/>
                  </a:moveTo>
                  <a:lnTo>
                    <a:pt x="278" y="903"/>
                  </a:lnTo>
                  <a:lnTo>
                    <a:pt x="280" y="903"/>
                  </a:lnTo>
                  <a:close/>
                  <a:moveTo>
                    <a:pt x="288" y="903"/>
                  </a:moveTo>
                  <a:lnTo>
                    <a:pt x="285" y="903"/>
                  </a:lnTo>
                  <a:lnTo>
                    <a:pt x="288" y="903"/>
                  </a:lnTo>
                  <a:close/>
                  <a:moveTo>
                    <a:pt x="285" y="903"/>
                  </a:moveTo>
                  <a:lnTo>
                    <a:pt x="283" y="903"/>
                  </a:lnTo>
                  <a:lnTo>
                    <a:pt x="285" y="903"/>
                  </a:lnTo>
                  <a:close/>
                  <a:moveTo>
                    <a:pt x="283" y="903"/>
                  </a:moveTo>
                  <a:lnTo>
                    <a:pt x="280" y="903"/>
                  </a:lnTo>
                  <a:lnTo>
                    <a:pt x="283" y="903"/>
                  </a:lnTo>
                  <a:close/>
                  <a:moveTo>
                    <a:pt x="283" y="900"/>
                  </a:moveTo>
                  <a:lnTo>
                    <a:pt x="283" y="903"/>
                  </a:lnTo>
                  <a:lnTo>
                    <a:pt x="283" y="900"/>
                  </a:lnTo>
                  <a:close/>
                  <a:moveTo>
                    <a:pt x="288" y="898"/>
                  </a:moveTo>
                  <a:lnTo>
                    <a:pt x="288" y="900"/>
                  </a:lnTo>
                  <a:lnTo>
                    <a:pt x="288" y="898"/>
                  </a:lnTo>
                  <a:close/>
                  <a:moveTo>
                    <a:pt x="288" y="900"/>
                  </a:moveTo>
                  <a:lnTo>
                    <a:pt x="288" y="898"/>
                  </a:lnTo>
                  <a:lnTo>
                    <a:pt x="288" y="900"/>
                  </a:lnTo>
                  <a:close/>
                  <a:moveTo>
                    <a:pt x="288" y="898"/>
                  </a:moveTo>
                  <a:lnTo>
                    <a:pt x="285" y="898"/>
                  </a:lnTo>
                  <a:lnTo>
                    <a:pt x="288" y="898"/>
                  </a:lnTo>
                  <a:close/>
                  <a:moveTo>
                    <a:pt x="290" y="896"/>
                  </a:moveTo>
                  <a:lnTo>
                    <a:pt x="288" y="896"/>
                  </a:lnTo>
                  <a:lnTo>
                    <a:pt x="290" y="896"/>
                  </a:lnTo>
                  <a:close/>
                  <a:moveTo>
                    <a:pt x="745" y="858"/>
                  </a:moveTo>
                  <a:lnTo>
                    <a:pt x="743" y="858"/>
                  </a:lnTo>
                  <a:lnTo>
                    <a:pt x="743" y="855"/>
                  </a:lnTo>
                  <a:lnTo>
                    <a:pt x="745" y="855"/>
                  </a:lnTo>
                  <a:lnTo>
                    <a:pt x="745" y="858"/>
                  </a:lnTo>
                  <a:close/>
                  <a:moveTo>
                    <a:pt x="745" y="846"/>
                  </a:moveTo>
                  <a:lnTo>
                    <a:pt x="745" y="848"/>
                  </a:lnTo>
                  <a:lnTo>
                    <a:pt x="745" y="846"/>
                  </a:lnTo>
                  <a:close/>
                  <a:moveTo>
                    <a:pt x="743" y="846"/>
                  </a:moveTo>
                  <a:lnTo>
                    <a:pt x="745" y="846"/>
                  </a:lnTo>
                  <a:lnTo>
                    <a:pt x="743" y="846"/>
                  </a:lnTo>
                  <a:close/>
                  <a:moveTo>
                    <a:pt x="745" y="846"/>
                  </a:moveTo>
                  <a:lnTo>
                    <a:pt x="743" y="846"/>
                  </a:lnTo>
                  <a:lnTo>
                    <a:pt x="745" y="846"/>
                  </a:lnTo>
                  <a:close/>
                  <a:moveTo>
                    <a:pt x="753" y="827"/>
                  </a:moveTo>
                  <a:lnTo>
                    <a:pt x="753" y="829"/>
                  </a:lnTo>
                  <a:lnTo>
                    <a:pt x="753" y="827"/>
                  </a:lnTo>
                  <a:close/>
                  <a:moveTo>
                    <a:pt x="760" y="820"/>
                  </a:moveTo>
                  <a:lnTo>
                    <a:pt x="760" y="822"/>
                  </a:lnTo>
                  <a:lnTo>
                    <a:pt x="760" y="820"/>
                  </a:lnTo>
                  <a:close/>
                  <a:moveTo>
                    <a:pt x="757" y="817"/>
                  </a:moveTo>
                  <a:lnTo>
                    <a:pt x="760" y="820"/>
                  </a:lnTo>
                  <a:lnTo>
                    <a:pt x="757" y="817"/>
                  </a:lnTo>
                  <a:close/>
                  <a:moveTo>
                    <a:pt x="762" y="817"/>
                  </a:moveTo>
                  <a:lnTo>
                    <a:pt x="760" y="817"/>
                  </a:lnTo>
                  <a:lnTo>
                    <a:pt x="762" y="817"/>
                  </a:lnTo>
                  <a:close/>
                  <a:moveTo>
                    <a:pt x="757" y="817"/>
                  </a:moveTo>
                  <a:lnTo>
                    <a:pt x="755" y="817"/>
                  </a:lnTo>
                  <a:lnTo>
                    <a:pt x="757" y="817"/>
                  </a:lnTo>
                  <a:close/>
                  <a:moveTo>
                    <a:pt x="762" y="813"/>
                  </a:moveTo>
                  <a:lnTo>
                    <a:pt x="762" y="815"/>
                  </a:lnTo>
                  <a:lnTo>
                    <a:pt x="762" y="813"/>
                  </a:lnTo>
                  <a:close/>
                  <a:moveTo>
                    <a:pt x="819" y="815"/>
                  </a:moveTo>
                  <a:lnTo>
                    <a:pt x="819" y="813"/>
                  </a:lnTo>
                  <a:lnTo>
                    <a:pt x="819" y="815"/>
                  </a:lnTo>
                  <a:close/>
                  <a:moveTo>
                    <a:pt x="762" y="813"/>
                  </a:moveTo>
                  <a:lnTo>
                    <a:pt x="762" y="810"/>
                  </a:lnTo>
                  <a:lnTo>
                    <a:pt x="762" y="813"/>
                  </a:lnTo>
                  <a:close/>
                  <a:moveTo>
                    <a:pt x="762" y="810"/>
                  </a:moveTo>
                  <a:lnTo>
                    <a:pt x="762" y="808"/>
                  </a:lnTo>
                  <a:lnTo>
                    <a:pt x="762" y="810"/>
                  </a:lnTo>
                  <a:close/>
                  <a:moveTo>
                    <a:pt x="791" y="805"/>
                  </a:moveTo>
                  <a:lnTo>
                    <a:pt x="791" y="808"/>
                  </a:lnTo>
                  <a:lnTo>
                    <a:pt x="791" y="805"/>
                  </a:lnTo>
                  <a:close/>
                  <a:moveTo>
                    <a:pt x="791" y="805"/>
                  </a:moveTo>
                  <a:lnTo>
                    <a:pt x="791" y="808"/>
                  </a:lnTo>
                  <a:lnTo>
                    <a:pt x="791" y="805"/>
                  </a:lnTo>
                  <a:close/>
                  <a:moveTo>
                    <a:pt x="791" y="805"/>
                  </a:moveTo>
                  <a:lnTo>
                    <a:pt x="788" y="803"/>
                  </a:lnTo>
                  <a:lnTo>
                    <a:pt x="791" y="805"/>
                  </a:lnTo>
                  <a:close/>
                  <a:moveTo>
                    <a:pt x="786" y="801"/>
                  </a:moveTo>
                  <a:lnTo>
                    <a:pt x="783" y="801"/>
                  </a:lnTo>
                  <a:lnTo>
                    <a:pt x="786" y="801"/>
                  </a:lnTo>
                  <a:close/>
                  <a:moveTo>
                    <a:pt x="783" y="801"/>
                  </a:moveTo>
                  <a:lnTo>
                    <a:pt x="781" y="801"/>
                  </a:lnTo>
                  <a:lnTo>
                    <a:pt x="783" y="801"/>
                  </a:lnTo>
                  <a:lnTo>
                    <a:pt x="781" y="801"/>
                  </a:lnTo>
                  <a:lnTo>
                    <a:pt x="783" y="801"/>
                  </a:lnTo>
                  <a:close/>
                  <a:moveTo>
                    <a:pt x="786" y="801"/>
                  </a:moveTo>
                  <a:lnTo>
                    <a:pt x="783" y="801"/>
                  </a:lnTo>
                  <a:lnTo>
                    <a:pt x="786" y="801"/>
                  </a:lnTo>
                  <a:close/>
                  <a:moveTo>
                    <a:pt x="783" y="801"/>
                  </a:moveTo>
                  <a:lnTo>
                    <a:pt x="781" y="801"/>
                  </a:lnTo>
                  <a:lnTo>
                    <a:pt x="783" y="801"/>
                  </a:lnTo>
                  <a:close/>
                  <a:moveTo>
                    <a:pt x="779" y="798"/>
                  </a:moveTo>
                  <a:lnTo>
                    <a:pt x="779" y="796"/>
                  </a:lnTo>
                  <a:lnTo>
                    <a:pt x="779" y="798"/>
                  </a:lnTo>
                  <a:close/>
                  <a:moveTo>
                    <a:pt x="779" y="796"/>
                  </a:moveTo>
                  <a:lnTo>
                    <a:pt x="776" y="796"/>
                  </a:lnTo>
                  <a:lnTo>
                    <a:pt x="779" y="796"/>
                  </a:lnTo>
                  <a:close/>
                  <a:moveTo>
                    <a:pt x="772" y="794"/>
                  </a:moveTo>
                  <a:lnTo>
                    <a:pt x="774" y="794"/>
                  </a:lnTo>
                  <a:lnTo>
                    <a:pt x="772" y="794"/>
                  </a:lnTo>
                  <a:close/>
                  <a:moveTo>
                    <a:pt x="760" y="784"/>
                  </a:moveTo>
                  <a:lnTo>
                    <a:pt x="760" y="786"/>
                  </a:lnTo>
                  <a:lnTo>
                    <a:pt x="760" y="784"/>
                  </a:lnTo>
                  <a:close/>
                  <a:moveTo>
                    <a:pt x="748" y="782"/>
                  </a:moveTo>
                  <a:lnTo>
                    <a:pt x="748" y="779"/>
                  </a:lnTo>
                  <a:lnTo>
                    <a:pt x="748" y="782"/>
                  </a:lnTo>
                  <a:close/>
                  <a:moveTo>
                    <a:pt x="748" y="775"/>
                  </a:moveTo>
                  <a:lnTo>
                    <a:pt x="748" y="777"/>
                  </a:lnTo>
                  <a:lnTo>
                    <a:pt x="748" y="775"/>
                  </a:lnTo>
                  <a:close/>
                  <a:moveTo>
                    <a:pt x="755" y="777"/>
                  </a:moveTo>
                  <a:lnTo>
                    <a:pt x="755" y="775"/>
                  </a:lnTo>
                  <a:lnTo>
                    <a:pt x="755" y="777"/>
                  </a:lnTo>
                  <a:close/>
                  <a:moveTo>
                    <a:pt x="748" y="775"/>
                  </a:moveTo>
                  <a:lnTo>
                    <a:pt x="748" y="777"/>
                  </a:lnTo>
                  <a:lnTo>
                    <a:pt x="748" y="775"/>
                  </a:lnTo>
                  <a:close/>
                  <a:moveTo>
                    <a:pt x="760" y="772"/>
                  </a:moveTo>
                  <a:lnTo>
                    <a:pt x="760" y="775"/>
                  </a:lnTo>
                  <a:lnTo>
                    <a:pt x="760" y="772"/>
                  </a:lnTo>
                  <a:close/>
                  <a:moveTo>
                    <a:pt x="736" y="772"/>
                  </a:moveTo>
                  <a:lnTo>
                    <a:pt x="734" y="772"/>
                  </a:lnTo>
                  <a:lnTo>
                    <a:pt x="736" y="772"/>
                  </a:lnTo>
                  <a:close/>
                  <a:moveTo>
                    <a:pt x="731" y="772"/>
                  </a:moveTo>
                  <a:lnTo>
                    <a:pt x="734" y="772"/>
                  </a:lnTo>
                  <a:lnTo>
                    <a:pt x="731" y="772"/>
                  </a:lnTo>
                  <a:close/>
                  <a:moveTo>
                    <a:pt x="734" y="772"/>
                  </a:moveTo>
                  <a:lnTo>
                    <a:pt x="731" y="772"/>
                  </a:lnTo>
                  <a:lnTo>
                    <a:pt x="734" y="772"/>
                  </a:lnTo>
                  <a:close/>
                  <a:moveTo>
                    <a:pt x="734" y="772"/>
                  </a:moveTo>
                  <a:lnTo>
                    <a:pt x="731" y="770"/>
                  </a:lnTo>
                  <a:lnTo>
                    <a:pt x="734" y="772"/>
                  </a:lnTo>
                  <a:close/>
                  <a:moveTo>
                    <a:pt x="731" y="770"/>
                  </a:moveTo>
                  <a:lnTo>
                    <a:pt x="731" y="772"/>
                  </a:lnTo>
                  <a:lnTo>
                    <a:pt x="731" y="770"/>
                  </a:lnTo>
                  <a:close/>
                  <a:moveTo>
                    <a:pt x="1194" y="765"/>
                  </a:moveTo>
                  <a:lnTo>
                    <a:pt x="1192" y="765"/>
                  </a:lnTo>
                  <a:lnTo>
                    <a:pt x="1194" y="765"/>
                  </a:lnTo>
                  <a:close/>
                  <a:moveTo>
                    <a:pt x="1194" y="765"/>
                  </a:moveTo>
                  <a:lnTo>
                    <a:pt x="1194" y="763"/>
                  </a:lnTo>
                  <a:lnTo>
                    <a:pt x="1194" y="765"/>
                  </a:lnTo>
                  <a:close/>
                  <a:moveTo>
                    <a:pt x="1187" y="763"/>
                  </a:moveTo>
                  <a:lnTo>
                    <a:pt x="1189" y="763"/>
                  </a:lnTo>
                  <a:lnTo>
                    <a:pt x="1187" y="763"/>
                  </a:lnTo>
                  <a:close/>
                  <a:moveTo>
                    <a:pt x="726" y="760"/>
                  </a:moveTo>
                  <a:lnTo>
                    <a:pt x="726" y="763"/>
                  </a:lnTo>
                  <a:lnTo>
                    <a:pt x="726" y="760"/>
                  </a:lnTo>
                  <a:close/>
                  <a:moveTo>
                    <a:pt x="724" y="756"/>
                  </a:moveTo>
                  <a:lnTo>
                    <a:pt x="724" y="753"/>
                  </a:lnTo>
                  <a:lnTo>
                    <a:pt x="724" y="756"/>
                  </a:lnTo>
                  <a:close/>
                  <a:moveTo>
                    <a:pt x="724" y="753"/>
                  </a:moveTo>
                  <a:lnTo>
                    <a:pt x="722" y="753"/>
                  </a:lnTo>
                  <a:lnTo>
                    <a:pt x="724" y="753"/>
                  </a:lnTo>
                  <a:close/>
                  <a:moveTo>
                    <a:pt x="722" y="751"/>
                  </a:moveTo>
                  <a:lnTo>
                    <a:pt x="724" y="751"/>
                  </a:lnTo>
                  <a:lnTo>
                    <a:pt x="722" y="751"/>
                  </a:lnTo>
                  <a:close/>
                  <a:moveTo>
                    <a:pt x="722" y="748"/>
                  </a:moveTo>
                  <a:lnTo>
                    <a:pt x="724" y="748"/>
                  </a:lnTo>
                  <a:lnTo>
                    <a:pt x="722" y="748"/>
                  </a:lnTo>
                  <a:close/>
                  <a:moveTo>
                    <a:pt x="722" y="748"/>
                  </a:moveTo>
                  <a:lnTo>
                    <a:pt x="722" y="746"/>
                  </a:lnTo>
                  <a:lnTo>
                    <a:pt x="722" y="748"/>
                  </a:lnTo>
                  <a:close/>
                  <a:moveTo>
                    <a:pt x="724" y="746"/>
                  </a:moveTo>
                  <a:lnTo>
                    <a:pt x="722" y="746"/>
                  </a:lnTo>
                  <a:lnTo>
                    <a:pt x="724" y="746"/>
                  </a:lnTo>
                  <a:close/>
                  <a:moveTo>
                    <a:pt x="629" y="746"/>
                  </a:moveTo>
                  <a:lnTo>
                    <a:pt x="629" y="748"/>
                  </a:lnTo>
                  <a:lnTo>
                    <a:pt x="629" y="746"/>
                  </a:lnTo>
                  <a:close/>
                  <a:moveTo>
                    <a:pt x="719" y="741"/>
                  </a:moveTo>
                  <a:lnTo>
                    <a:pt x="719" y="739"/>
                  </a:lnTo>
                  <a:lnTo>
                    <a:pt x="719" y="741"/>
                  </a:lnTo>
                  <a:close/>
                  <a:moveTo>
                    <a:pt x="1232" y="727"/>
                  </a:moveTo>
                  <a:lnTo>
                    <a:pt x="1232" y="725"/>
                  </a:lnTo>
                  <a:lnTo>
                    <a:pt x="1232" y="727"/>
                  </a:lnTo>
                  <a:close/>
                  <a:moveTo>
                    <a:pt x="558" y="725"/>
                  </a:moveTo>
                  <a:lnTo>
                    <a:pt x="558" y="722"/>
                  </a:lnTo>
                  <a:lnTo>
                    <a:pt x="558" y="725"/>
                  </a:lnTo>
                  <a:close/>
                  <a:moveTo>
                    <a:pt x="556" y="722"/>
                  </a:moveTo>
                  <a:lnTo>
                    <a:pt x="553" y="722"/>
                  </a:lnTo>
                  <a:lnTo>
                    <a:pt x="556" y="722"/>
                  </a:lnTo>
                  <a:close/>
                  <a:moveTo>
                    <a:pt x="568" y="722"/>
                  </a:moveTo>
                  <a:lnTo>
                    <a:pt x="565" y="722"/>
                  </a:lnTo>
                  <a:lnTo>
                    <a:pt x="568" y="722"/>
                  </a:lnTo>
                  <a:close/>
                  <a:moveTo>
                    <a:pt x="549" y="722"/>
                  </a:moveTo>
                  <a:lnTo>
                    <a:pt x="549" y="720"/>
                  </a:lnTo>
                  <a:lnTo>
                    <a:pt x="549" y="722"/>
                  </a:lnTo>
                  <a:close/>
                  <a:moveTo>
                    <a:pt x="1241" y="718"/>
                  </a:moveTo>
                  <a:lnTo>
                    <a:pt x="1244" y="718"/>
                  </a:lnTo>
                  <a:lnTo>
                    <a:pt x="1241" y="718"/>
                  </a:lnTo>
                  <a:close/>
                  <a:moveTo>
                    <a:pt x="544" y="718"/>
                  </a:moveTo>
                  <a:lnTo>
                    <a:pt x="541" y="718"/>
                  </a:lnTo>
                  <a:lnTo>
                    <a:pt x="544" y="718"/>
                  </a:lnTo>
                  <a:close/>
                  <a:moveTo>
                    <a:pt x="544" y="713"/>
                  </a:moveTo>
                  <a:lnTo>
                    <a:pt x="544" y="715"/>
                  </a:lnTo>
                  <a:lnTo>
                    <a:pt x="544" y="713"/>
                  </a:lnTo>
                  <a:close/>
                  <a:moveTo>
                    <a:pt x="556" y="715"/>
                  </a:moveTo>
                  <a:lnTo>
                    <a:pt x="556" y="713"/>
                  </a:lnTo>
                  <a:lnTo>
                    <a:pt x="556" y="715"/>
                  </a:lnTo>
                  <a:close/>
                  <a:moveTo>
                    <a:pt x="539" y="713"/>
                  </a:moveTo>
                  <a:lnTo>
                    <a:pt x="539" y="715"/>
                  </a:lnTo>
                  <a:lnTo>
                    <a:pt x="539" y="713"/>
                  </a:lnTo>
                  <a:close/>
                  <a:moveTo>
                    <a:pt x="558" y="713"/>
                  </a:moveTo>
                  <a:lnTo>
                    <a:pt x="556" y="713"/>
                  </a:lnTo>
                  <a:lnTo>
                    <a:pt x="558" y="713"/>
                  </a:lnTo>
                  <a:close/>
                  <a:moveTo>
                    <a:pt x="570" y="713"/>
                  </a:moveTo>
                  <a:lnTo>
                    <a:pt x="568" y="713"/>
                  </a:lnTo>
                  <a:lnTo>
                    <a:pt x="570" y="713"/>
                  </a:lnTo>
                  <a:close/>
                  <a:moveTo>
                    <a:pt x="556" y="713"/>
                  </a:moveTo>
                  <a:lnTo>
                    <a:pt x="556" y="710"/>
                  </a:lnTo>
                  <a:lnTo>
                    <a:pt x="556" y="713"/>
                  </a:lnTo>
                  <a:close/>
                  <a:moveTo>
                    <a:pt x="558" y="710"/>
                  </a:moveTo>
                  <a:lnTo>
                    <a:pt x="556" y="710"/>
                  </a:lnTo>
                  <a:lnTo>
                    <a:pt x="558" y="710"/>
                  </a:lnTo>
                  <a:close/>
                  <a:moveTo>
                    <a:pt x="544" y="710"/>
                  </a:moveTo>
                  <a:lnTo>
                    <a:pt x="544" y="708"/>
                  </a:lnTo>
                  <a:lnTo>
                    <a:pt x="544" y="710"/>
                  </a:lnTo>
                  <a:close/>
                  <a:moveTo>
                    <a:pt x="541" y="708"/>
                  </a:moveTo>
                  <a:lnTo>
                    <a:pt x="539" y="708"/>
                  </a:lnTo>
                  <a:lnTo>
                    <a:pt x="541" y="708"/>
                  </a:lnTo>
                  <a:close/>
                  <a:moveTo>
                    <a:pt x="544" y="708"/>
                  </a:moveTo>
                  <a:lnTo>
                    <a:pt x="546" y="708"/>
                  </a:lnTo>
                  <a:lnTo>
                    <a:pt x="544" y="708"/>
                  </a:lnTo>
                  <a:close/>
                  <a:moveTo>
                    <a:pt x="549" y="708"/>
                  </a:moveTo>
                  <a:lnTo>
                    <a:pt x="546" y="708"/>
                  </a:lnTo>
                  <a:lnTo>
                    <a:pt x="549" y="708"/>
                  </a:lnTo>
                  <a:close/>
                  <a:moveTo>
                    <a:pt x="575" y="706"/>
                  </a:moveTo>
                  <a:lnTo>
                    <a:pt x="575" y="708"/>
                  </a:lnTo>
                  <a:lnTo>
                    <a:pt x="575" y="706"/>
                  </a:lnTo>
                  <a:close/>
                  <a:moveTo>
                    <a:pt x="724" y="706"/>
                  </a:moveTo>
                  <a:lnTo>
                    <a:pt x="722" y="706"/>
                  </a:lnTo>
                  <a:lnTo>
                    <a:pt x="724" y="706"/>
                  </a:lnTo>
                  <a:close/>
                  <a:moveTo>
                    <a:pt x="527" y="703"/>
                  </a:moveTo>
                  <a:lnTo>
                    <a:pt x="525" y="703"/>
                  </a:lnTo>
                  <a:lnTo>
                    <a:pt x="527" y="703"/>
                  </a:lnTo>
                  <a:close/>
                  <a:moveTo>
                    <a:pt x="537" y="703"/>
                  </a:moveTo>
                  <a:lnTo>
                    <a:pt x="537" y="701"/>
                  </a:lnTo>
                  <a:lnTo>
                    <a:pt x="537" y="703"/>
                  </a:lnTo>
                  <a:close/>
                  <a:moveTo>
                    <a:pt x="525" y="701"/>
                  </a:moveTo>
                  <a:lnTo>
                    <a:pt x="525" y="703"/>
                  </a:lnTo>
                  <a:lnTo>
                    <a:pt x="525" y="701"/>
                  </a:lnTo>
                  <a:close/>
                  <a:moveTo>
                    <a:pt x="712" y="701"/>
                  </a:moveTo>
                  <a:lnTo>
                    <a:pt x="712" y="703"/>
                  </a:lnTo>
                  <a:lnTo>
                    <a:pt x="712" y="701"/>
                  </a:lnTo>
                  <a:close/>
                  <a:moveTo>
                    <a:pt x="1241" y="701"/>
                  </a:moveTo>
                  <a:lnTo>
                    <a:pt x="1244" y="701"/>
                  </a:lnTo>
                  <a:lnTo>
                    <a:pt x="1241" y="701"/>
                  </a:lnTo>
                  <a:close/>
                  <a:moveTo>
                    <a:pt x="705" y="701"/>
                  </a:moveTo>
                  <a:lnTo>
                    <a:pt x="703" y="701"/>
                  </a:lnTo>
                  <a:lnTo>
                    <a:pt x="705" y="701"/>
                  </a:lnTo>
                  <a:close/>
                  <a:moveTo>
                    <a:pt x="764" y="701"/>
                  </a:moveTo>
                  <a:lnTo>
                    <a:pt x="762" y="701"/>
                  </a:lnTo>
                  <a:lnTo>
                    <a:pt x="764" y="701"/>
                  </a:lnTo>
                  <a:close/>
                  <a:moveTo>
                    <a:pt x="506" y="699"/>
                  </a:moveTo>
                  <a:lnTo>
                    <a:pt x="506" y="701"/>
                  </a:lnTo>
                  <a:lnTo>
                    <a:pt x="506" y="699"/>
                  </a:lnTo>
                  <a:close/>
                  <a:moveTo>
                    <a:pt x="508" y="701"/>
                  </a:moveTo>
                  <a:lnTo>
                    <a:pt x="508" y="699"/>
                  </a:lnTo>
                  <a:lnTo>
                    <a:pt x="508" y="701"/>
                  </a:lnTo>
                  <a:close/>
                  <a:moveTo>
                    <a:pt x="503" y="699"/>
                  </a:moveTo>
                  <a:lnTo>
                    <a:pt x="503" y="701"/>
                  </a:lnTo>
                  <a:lnTo>
                    <a:pt x="503" y="699"/>
                  </a:lnTo>
                  <a:lnTo>
                    <a:pt x="503" y="701"/>
                  </a:lnTo>
                  <a:lnTo>
                    <a:pt x="503" y="699"/>
                  </a:lnTo>
                  <a:close/>
                  <a:moveTo>
                    <a:pt x="764" y="701"/>
                  </a:moveTo>
                  <a:lnTo>
                    <a:pt x="764" y="699"/>
                  </a:lnTo>
                  <a:lnTo>
                    <a:pt x="764" y="701"/>
                  </a:lnTo>
                  <a:close/>
                  <a:moveTo>
                    <a:pt x="515" y="699"/>
                  </a:moveTo>
                  <a:lnTo>
                    <a:pt x="513" y="699"/>
                  </a:lnTo>
                  <a:lnTo>
                    <a:pt x="515" y="699"/>
                  </a:lnTo>
                  <a:close/>
                  <a:moveTo>
                    <a:pt x="537" y="699"/>
                  </a:moveTo>
                  <a:lnTo>
                    <a:pt x="534" y="699"/>
                  </a:lnTo>
                  <a:lnTo>
                    <a:pt x="537" y="699"/>
                  </a:lnTo>
                  <a:close/>
                  <a:moveTo>
                    <a:pt x="518" y="699"/>
                  </a:moveTo>
                  <a:lnTo>
                    <a:pt x="515" y="699"/>
                  </a:lnTo>
                  <a:lnTo>
                    <a:pt x="518" y="699"/>
                  </a:lnTo>
                  <a:close/>
                  <a:moveTo>
                    <a:pt x="506" y="696"/>
                  </a:moveTo>
                  <a:lnTo>
                    <a:pt x="506" y="699"/>
                  </a:lnTo>
                  <a:lnTo>
                    <a:pt x="506" y="696"/>
                  </a:lnTo>
                  <a:close/>
                  <a:moveTo>
                    <a:pt x="506" y="696"/>
                  </a:moveTo>
                  <a:lnTo>
                    <a:pt x="503" y="696"/>
                  </a:lnTo>
                  <a:lnTo>
                    <a:pt x="506" y="696"/>
                  </a:lnTo>
                  <a:close/>
                  <a:moveTo>
                    <a:pt x="767" y="696"/>
                  </a:moveTo>
                  <a:lnTo>
                    <a:pt x="764" y="696"/>
                  </a:lnTo>
                  <a:lnTo>
                    <a:pt x="767" y="696"/>
                  </a:lnTo>
                  <a:close/>
                  <a:moveTo>
                    <a:pt x="499" y="696"/>
                  </a:moveTo>
                  <a:lnTo>
                    <a:pt x="501" y="696"/>
                  </a:lnTo>
                  <a:lnTo>
                    <a:pt x="499" y="696"/>
                  </a:lnTo>
                  <a:close/>
                  <a:moveTo>
                    <a:pt x="499" y="696"/>
                  </a:moveTo>
                  <a:lnTo>
                    <a:pt x="499" y="694"/>
                  </a:lnTo>
                  <a:lnTo>
                    <a:pt x="499" y="696"/>
                  </a:lnTo>
                  <a:close/>
                  <a:moveTo>
                    <a:pt x="499" y="696"/>
                  </a:moveTo>
                  <a:lnTo>
                    <a:pt x="499" y="694"/>
                  </a:lnTo>
                  <a:lnTo>
                    <a:pt x="499" y="696"/>
                  </a:lnTo>
                  <a:close/>
                  <a:moveTo>
                    <a:pt x="499" y="696"/>
                  </a:moveTo>
                  <a:lnTo>
                    <a:pt x="499" y="694"/>
                  </a:lnTo>
                  <a:lnTo>
                    <a:pt x="499" y="696"/>
                  </a:lnTo>
                  <a:close/>
                  <a:moveTo>
                    <a:pt x="496" y="694"/>
                  </a:moveTo>
                  <a:lnTo>
                    <a:pt x="496" y="696"/>
                  </a:lnTo>
                  <a:lnTo>
                    <a:pt x="496" y="694"/>
                  </a:lnTo>
                  <a:close/>
                  <a:moveTo>
                    <a:pt x="499" y="694"/>
                  </a:moveTo>
                  <a:lnTo>
                    <a:pt x="496" y="694"/>
                  </a:lnTo>
                  <a:lnTo>
                    <a:pt x="499" y="694"/>
                  </a:lnTo>
                  <a:close/>
                  <a:moveTo>
                    <a:pt x="499" y="691"/>
                  </a:moveTo>
                  <a:lnTo>
                    <a:pt x="499" y="694"/>
                  </a:lnTo>
                  <a:lnTo>
                    <a:pt x="499" y="691"/>
                  </a:lnTo>
                  <a:close/>
                  <a:moveTo>
                    <a:pt x="496" y="691"/>
                  </a:moveTo>
                  <a:lnTo>
                    <a:pt x="494" y="691"/>
                  </a:lnTo>
                  <a:lnTo>
                    <a:pt x="496" y="691"/>
                  </a:lnTo>
                  <a:close/>
                  <a:moveTo>
                    <a:pt x="492" y="691"/>
                  </a:moveTo>
                  <a:lnTo>
                    <a:pt x="489" y="691"/>
                  </a:lnTo>
                  <a:lnTo>
                    <a:pt x="492" y="691"/>
                  </a:lnTo>
                  <a:close/>
                  <a:moveTo>
                    <a:pt x="674" y="691"/>
                  </a:moveTo>
                  <a:lnTo>
                    <a:pt x="672" y="691"/>
                  </a:lnTo>
                  <a:lnTo>
                    <a:pt x="674" y="691"/>
                  </a:lnTo>
                  <a:close/>
                  <a:moveTo>
                    <a:pt x="674" y="691"/>
                  </a:moveTo>
                  <a:lnTo>
                    <a:pt x="677" y="691"/>
                  </a:lnTo>
                  <a:lnTo>
                    <a:pt x="674" y="691"/>
                  </a:lnTo>
                  <a:close/>
                  <a:moveTo>
                    <a:pt x="769" y="691"/>
                  </a:moveTo>
                  <a:lnTo>
                    <a:pt x="769" y="689"/>
                  </a:lnTo>
                  <a:lnTo>
                    <a:pt x="769" y="691"/>
                  </a:lnTo>
                  <a:close/>
                  <a:moveTo>
                    <a:pt x="489" y="691"/>
                  </a:moveTo>
                  <a:lnTo>
                    <a:pt x="489" y="689"/>
                  </a:lnTo>
                  <a:lnTo>
                    <a:pt x="489" y="691"/>
                  </a:lnTo>
                  <a:close/>
                  <a:moveTo>
                    <a:pt x="674" y="691"/>
                  </a:moveTo>
                  <a:lnTo>
                    <a:pt x="674" y="689"/>
                  </a:lnTo>
                  <a:lnTo>
                    <a:pt x="674" y="691"/>
                  </a:lnTo>
                  <a:close/>
                  <a:moveTo>
                    <a:pt x="492" y="689"/>
                  </a:moveTo>
                  <a:lnTo>
                    <a:pt x="489" y="689"/>
                  </a:lnTo>
                  <a:lnTo>
                    <a:pt x="492" y="689"/>
                  </a:lnTo>
                  <a:close/>
                  <a:moveTo>
                    <a:pt x="667" y="689"/>
                  </a:moveTo>
                  <a:lnTo>
                    <a:pt x="665" y="689"/>
                  </a:lnTo>
                  <a:lnTo>
                    <a:pt x="667" y="689"/>
                  </a:lnTo>
                  <a:close/>
                  <a:moveTo>
                    <a:pt x="1248" y="687"/>
                  </a:moveTo>
                  <a:lnTo>
                    <a:pt x="1248" y="689"/>
                  </a:lnTo>
                  <a:lnTo>
                    <a:pt x="1248" y="687"/>
                  </a:lnTo>
                  <a:close/>
                  <a:moveTo>
                    <a:pt x="672" y="687"/>
                  </a:moveTo>
                  <a:lnTo>
                    <a:pt x="672" y="689"/>
                  </a:lnTo>
                  <a:lnTo>
                    <a:pt x="672" y="687"/>
                  </a:lnTo>
                  <a:close/>
                  <a:moveTo>
                    <a:pt x="665" y="689"/>
                  </a:moveTo>
                  <a:lnTo>
                    <a:pt x="665" y="687"/>
                  </a:lnTo>
                  <a:lnTo>
                    <a:pt x="665" y="689"/>
                  </a:lnTo>
                  <a:close/>
                  <a:moveTo>
                    <a:pt x="672" y="687"/>
                  </a:moveTo>
                  <a:lnTo>
                    <a:pt x="670" y="687"/>
                  </a:lnTo>
                  <a:lnTo>
                    <a:pt x="672" y="687"/>
                  </a:lnTo>
                  <a:close/>
                  <a:moveTo>
                    <a:pt x="496" y="684"/>
                  </a:moveTo>
                  <a:lnTo>
                    <a:pt x="494" y="684"/>
                  </a:lnTo>
                  <a:lnTo>
                    <a:pt x="496" y="684"/>
                  </a:lnTo>
                  <a:close/>
                  <a:moveTo>
                    <a:pt x="515" y="684"/>
                  </a:moveTo>
                  <a:lnTo>
                    <a:pt x="518" y="684"/>
                  </a:lnTo>
                  <a:lnTo>
                    <a:pt x="515" y="684"/>
                  </a:lnTo>
                  <a:close/>
                  <a:moveTo>
                    <a:pt x="674" y="682"/>
                  </a:moveTo>
                  <a:lnTo>
                    <a:pt x="674" y="684"/>
                  </a:lnTo>
                  <a:lnTo>
                    <a:pt x="674" y="682"/>
                  </a:lnTo>
                  <a:close/>
                  <a:moveTo>
                    <a:pt x="674" y="684"/>
                  </a:moveTo>
                  <a:lnTo>
                    <a:pt x="674" y="682"/>
                  </a:lnTo>
                  <a:lnTo>
                    <a:pt x="674" y="684"/>
                  </a:lnTo>
                  <a:close/>
                  <a:moveTo>
                    <a:pt x="494" y="682"/>
                  </a:moveTo>
                  <a:lnTo>
                    <a:pt x="492" y="682"/>
                  </a:lnTo>
                  <a:lnTo>
                    <a:pt x="494" y="682"/>
                  </a:lnTo>
                  <a:close/>
                  <a:moveTo>
                    <a:pt x="496" y="680"/>
                  </a:moveTo>
                  <a:lnTo>
                    <a:pt x="496" y="682"/>
                  </a:lnTo>
                  <a:lnTo>
                    <a:pt x="496" y="680"/>
                  </a:lnTo>
                  <a:close/>
                  <a:moveTo>
                    <a:pt x="492" y="682"/>
                  </a:moveTo>
                  <a:lnTo>
                    <a:pt x="492" y="680"/>
                  </a:lnTo>
                  <a:lnTo>
                    <a:pt x="492" y="682"/>
                  </a:lnTo>
                  <a:close/>
                  <a:moveTo>
                    <a:pt x="667" y="682"/>
                  </a:moveTo>
                  <a:lnTo>
                    <a:pt x="667" y="680"/>
                  </a:lnTo>
                  <a:lnTo>
                    <a:pt x="667" y="682"/>
                  </a:lnTo>
                  <a:close/>
                  <a:moveTo>
                    <a:pt x="660" y="680"/>
                  </a:moveTo>
                  <a:lnTo>
                    <a:pt x="660" y="682"/>
                  </a:lnTo>
                  <a:lnTo>
                    <a:pt x="660" y="680"/>
                  </a:lnTo>
                  <a:close/>
                  <a:moveTo>
                    <a:pt x="786" y="680"/>
                  </a:moveTo>
                  <a:lnTo>
                    <a:pt x="786" y="682"/>
                  </a:lnTo>
                  <a:lnTo>
                    <a:pt x="786" y="680"/>
                  </a:lnTo>
                  <a:close/>
                  <a:moveTo>
                    <a:pt x="494" y="680"/>
                  </a:moveTo>
                  <a:lnTo>
                    <a:pt x="492" y="680"/>
                  </a:lnTo>
                  <a:lnTo>
                    <a:pt x="494" y="680"/>
                  </a:lnTo>
                  <a:close/>
                  <a:moveTo>
                    <a:pt x="670" y="680"/>
                  </a:moveTo>
                  <a:lnTo>
                    <a:pt x="667" y="680"/>
                  </a:lnTo>
                  <a:lnTo>
                    <a:pt x="670" y="680"/>
                  </a:lnTo>
                  <a:close/>
                  <a:moveTo>
                    <a:pt x="496" y="680"/>
                  </a:moveTo>
                  <a:lnTo>
                    <a:pt x="494" y="680"/>
                  </a:lnTo>
                  <a:lnTo>
                    <a:pt x="496" y="680"/>
                  </a:lnTo>
                  <a:close/>
                  <a:moveTo>
                    <a:pt x="660" y="680"/>
                  </a:moveTo>
                  <a:lnTo>
                    <a:pt x="658" y="680"/>
                  </a:lnTo>
                  <a:lnTo>
                    <a:pt x="660" y="680"/>
                  </a:lnTo>
                  <a:close/>
                  <a:moveTo>
                    <a:pt x="598" y="680"/>
                  </a:moveTo>
                  <a:lnTo>
                    <a:pt x="596" y="680"/>
                  </a:lnTo>
                  <a:lnTo>
                    <a:pt x="598" y="680"/>
                  </a:lnTo>
                  <a:close/>
                  <a:moveTo>
                    <a:pt x="670" y="680"/>
                  </a:moveTo>
                  <a:lnTo>
                    <a:pt x="667" y="680"/>
                  </a:lnTo>
                  <a:lnTo>
                    <a:pt x="670" y="680"/>
                  </a:lnTo>
                  <a:close/>
                  <a:moveTo>
                    <a:pt x="487" y="677"/>
                  </a:moveTo>
                  <a:lnTo>
                    <a:pt x="487" y="680"/>
                  </a:lnTo>
                  <a:lnTo>
                    <a:pt x="487" y="677"/>
                  </a:lnTo>
                  <a:close/>
                  <a:moveTo>
                    <a:pt x="489" y="677"/>
                  </a:moveTo>
                  <a:lnTo>
                    <a:pt x="489" y="680"/>
                  </a:lnTo>
                  <a:lnTo>
                    <a:pt x="489" y="677"/>
                  </a:lnTo>
                  <a:close/>
                  <a:moveTo>
                    <a:pt x="496" y="677"/>
                  </a:moveTo>
                  <a:lnTo>
                    <a:pt x="494" y="677"/>
                  </a:lnTo>
                  <a:lnTo>
                    <a:pt x="496" y="677"/>
                  </a:lnTo>
                  <a:close/>
                  <a:moveTo>
                    <a:pt x="674" y="677"/>
                  </a:moveTo>
                  <a:lnTo>
                    <a:pt x="672" y="677"/>
                  </a:lnTo>
                  <a:lnTo>
                    <a:pt x="674" y="677"/>
                  </a:lnTo>
                  <a:close/>
                  <a:moveTo>
                    <a:pt x="674" y="677"/>
                  </a:moveTo>
                  <a:lnTo>
                    <a:pt x="672" y="677"/>
                  </a:lnTo>
                  <a:lnTo>
                    <a:pt x="674" y="677"/>
                  </a:lnTo>
                  <a:close/>
                  <a:moveTo>
                    <a:pt x="667" y="675"/>
                  </a:moveTo>
                  <a:lnTo>
                    <a:pt x="667" y="677"/>
                  </a:lnTo>
                  <a:lnTo>
                    <a:pt x="667" y="675"/>
                  </a:lnTo>
                  <a:close/>
                  <a:moveTo>
                    <a:pt x="672" y="675"/>
                  </a:moveTo>
                  <a:lnTo>
                    <a:pt x="672" y="677"/>
                  </a:lnTo>
                  <a:lnTo>
                    <a:pt x="672" y="675"/>
                  </a:lnTo>
                  <a:close/>
                  <a:moveTo>
                    <a:pt x="670" y="675"/>
                  </a:moveTo>
                  <a:lnTo>
                    <a:pt x="670" y="677"/>
                  </a:lnTo>
                  <a:lnTo>
                    <a:pt x="670" y="675"/>
                  </a:lnTo>
                  <a:close/>
                  <a:moveTo>
                    <a:pt x="496" y="675"/>
                  </a:moveTo>
                  <a:lnTo>
                    <a:pt x="494" y="675"/>
                  </a:lnTo>
                  <a:lnTo>
                    <a:pt x="496" y="675"/>
                  </a:lnTo>
                  <a:close/>
                  <a:moveTo>
                    <a:pt x="546" y="675"/>
                  </a:moveTo>
                  <a:lnTo>
                    <a:pt x="546" y="672"/>
                  </a:lnTo>
                  <a:lnTo>
                    <a:pt x="546" y="675"/>
                  </a:lnTo>
                  <a:close/>
                  <a:moveTo>
                    <a:pt x="515" y="675"/>
                  </a:moveTo>
                  <a:lnTo>
                    <a:pt x="515" y="672"/>
                  </a:lnTo>
                  <a:lnTo>
                    <a:pt x="515" y="675"/>
                  </a:lnTo>
                  <a:close/>
                  <a:moveTo>
                    <a:pt x="499" y="675"/>
                  </a:moveTo>
                  <a:lnTo>
                    <a:pt x="496" y="675"/>
                  </a:lnTo>
                  <a:lnTo>
                    <a:pt x="496" y="672"/>
                  </a:lnTo>
                  <a:lnTo>
                    <a:pt x="499" y="675"/>
                  </a:lnTo>
                  <a:close/>
                  <a:moveTo>
                    <a:pt x="672" y="672"/>
                  </a:moveTo>
                  <a:lnTo>
                    <a:pt x="670" y="672"/>
                  </a:lnTo>
                  <a:lnTo>
                    <a:pt x="672" y="672"/>
                  </a:lnTo>
                  <a:close/>
                  <a:moveTo>
                    <a:pt x="499" y="670"/>
                  </a:moveTo>
                  <a:lnTo>
                    <a:pt x="499" y="668"/>
                  </a:lnTo>
                  <a:lnTo>
                    <a:pt x="499" y="670"/>
                  </a:lnTo>
                  <a:close/>
                  <a:moveTo>
                    <a:pt x="501" y="668"/>
                  </a:moveTo>
                  <a:lnTo>
                    <a:pt x="501" y="670"/>
                  </a:lnTo>
                  <a:lnTo>
                    <a:pt x="501" y="668"/>
                  </a:lnTo>
                  <a:close/>
                  <a:moveTo>
                    <a:pt x="489" y="668"/>
                  </a:moveTo>
                  <a:lnTo>
                    <a:pt x="492" y="668"/>
                  </a:lnTo>
                  <a:lnTo>
                    <a:pt x="489" y="668"/>
                  </a:lnTo>
                  <a:close/>
                  <a:moveTo>
                    <a:pt x="503" y="668"/>
                  </a:moveTo>
                  <a:lnTo>
                    <a:pt x="501" y="668"/>
                  </a:lnTo>
                  <a:lnTo>
                    <a:pt x="503" y="668"/>
                  </a:lnTo>
                  <a:close/>
                  <a:moveTo>
                    <a:pt x="499" y="668"/>
                  </a:moveTo>
                  <a:lnTo>
                    <a:pt x="496" y="668"/>
                  </a:lnTo>
                  <a:lnTo>
                    <a:pt x="499" y="668"/>
                  </a:lnTo>
                  <a:close/>
                  <a:moveTo>
                    <a:pt x="1239" y="668"/>
                  </a:moveTo>
                  <a:lnTo>
                    <a:pt x="1241" y="668"/>
                  </a:lnTo>
                  <a:lnTo>
                    <a:pt x="1239" y="668"/>
                  </a:lnTo>
                  <a:close/>
                  <a:moveTo>
                    <a:pt x="494" y="668"/>
                  </a:moveTo>
                  <a:lnTo>
                    <a:pt x="496" y="668"/>
                  </a:lnTo>
                  <a:lnTo>
                    <a:pt x="494" y="668"/>
                  </a:lnTo>
                  <a:close/>
                  <a:moveTo>
                    <a:pt x="484" y="668"/>
                  </a:moveTo>
                  <a:lnTo>
                    <a:pt x="484" y="665"/>
                  </a:lnTo>
                  <a:lnTo>
                    <a:pt x="484" y="668"/>
                  </a:lnTo>
                  <a:close/>
                  <a:moveTo>
                    <a:pt x="492" y="665"/>
                  </a:moveTo>
                  <a:lnTo>
                    <a:pt x="492" y="668"/>
                  </a:lnTo>
                  <a:lnTo>
                    <a:pt x="492" y="665"/>
                  </a:lnTo>
                  <a:close/>
                  <a:moveTo>
                    <a:pt x="492" y="665"/>
                  </a:moveTo>
                  <a:lnTo>
                    <a:pt x="492" y="668"/>
                  </a:lnTo>
                  <a:lnTo>
                    <a:pt x="492" y="665"/>
                  </a:lnTo>
                  <a:close/>
                  <a:moveTo>
                    <a:pt x="492" y="665"/>
                  </a:moveTo>
                  <a:lnTo>
                    <a:pt x="492" y="668"/>
                  </a:lnTo>
                  <a:lnTo>
                    <a:pt x="492" y="665"/>
                  </a:lnTo>
                  <a:close/>
                  <a:moveTo>
                    <a:pt x="487" y="665"/>
                  </a:moveTo>
                  <a:lnTo>
                    <a:pt x="484" y="665"/>
                  </a:lnTo>
                  <a:lnTo>
                    <a:pt x="487" y="665"/>
                  </a:lnTo>
                  <a:close/>
                  <a:moveTo>
                    <a:pt x="1239" y="665"/>
                  </a:moveTo>
                  <a:lnTo>
                    <a:pt x="1237" y="665"/>
                  </a:lnTo>
                  <a:lnTo>
                    <a:pt x="1239" y="665"/>
                  </a:lnTo>
                  <a:close/>
                  <a:moveTo>
                    <a:pt x="492" y="665"/>
                  </a:moveTo>
                  <a:lnTo>
                    <a:pt x="489" y="665"/>
                  </a:lnTo>
                  <a:lnTo>
                    <a:pt x="492" y="665"/>
                  </a:lnTo>
                  <a:close/>
                  <a:moveTo>
                    <a:pt x="499" y="665"/>
                  </a:moveTo>
                  <a:lnTo>
                    <a:pt x="496" y="665"/>
                  </a:lnTo>
                  <a:lnTo>
                    <a:pt x="499" y="665"/>
                  </a:lnTo>
                  <a:close/>
                  <a:moveTo>
                    <a:pt x="494" y="665"/>
                  </a:moveTo>
                  <a:lnTo>
                    <a:pt x="492" y="665"/>
                  </a:lnTo>
                  <a:lnTo>
                    <a:pt x="494" y="665"/>
                  </a:lnTo>
                  <a:close/>
                  <a:moveTo>
                    <a:pt x="494" y="665"/>
                  </a:moveTo>
                  <a:lnTo>
                    <a:pt x="492" y="665"/>
                  </a:lnTo>
                  <a:lnTo>
                    <a:pt x="494" y="665"/>
                  </a:lnTo>
                  <a:close/>
                  <a:moveTo>
                    <a:pt x="520" y="665"/>
                  </a:moveTo>
                  <a:lnTo>
                    <a:pt x="518" y="665"/>
                  </a:lnTo>
                  <a:lnTo>
                    <a:pt x="520" y="665"/>
                  </a:lnTo>
                  <a:close/>
                  <a:moveTo>
                    <a:pt x="492" y="665"/>
                  </a:moveTo>
                  <a:lnTo>
                    <a:pt x="489" y="665"/>
                  </a:lnTo>
                  <a:lnTo>
                    <a:pt x="492" y="665"/>
                  </a:lnTo>
                  <a:close/>
                  <a:moveTo>
                    <a:pt x="492" y="665"/>
                  </a:moveTo>
                  <a:lnTo>
                    <a:pt x="492" y="663"/>
                  </a:lnTo>
                  <a:lnTo>
                    <a:pt x="492" y="665"/>
                  </a:lnTo>
                  <a:close/>
                  <a:moveTo>
                    <a:pt x="518" y="665"/>
                  </a:moveTo>
                  <a:lnTo>
                    <a:pt x="518" y="663"/>
                  </a:lnTo>
                  <a:lnTo>
                    <a:pt x="518" y="665"/>
                  </a:lnTo>
                  <a:close/>
                  <a:moveTo>
                    <a:pt x="520" y="663"/>
                  </a:moveTo>
                  <a:lnTo>
                    <a:pt x="518" y="663"/>
                  </a:lnTo>
                  <a:lnTo>
                    <a:pt x="520" y="663"/>
                  </a:lnTo>
                  <a:close/>
                  <a:moveTo>
                    <a:pt x="667" y="661"/>
                  </a:moveTo>
                  <a:lnTo>
                    <a:pt x="667" y="663"/>
                  </a:lnTo>
                  <a:lnTo>
                    <a:pt x="667" y="661"/>
                  </a:lnTo>
                  <a:close/>
                  <a:moveTo>
                    <a:pt x="499" y="663"/>
                  </a:moveTo>
                  <a:lnTo>
                    <a:pt x="496" y="663"/>
                  </a:lnTo>
                  <a:lnTo>
                    <a:pt x="496" y="661"/>
                  </a:lnTo>
                  <a:lnTo>
                    <a:pt x="499" y="663"/>
                  </a:lnTo>
                  <a:close/>
                  <a:moveTo>
                    <a:pt x="494" y="661"/>
                  </a:moveTo>
                  <a:lnTo>
                    <a:pt x="492" y="661"/>
                  </a:lnTo>
                  <a:lnTo>
                    <a:pt x="494" y="661"/>
                  </a:lnTo>
                  <a:close/>
                  <a:moveTo>
                    <a:pt x="522" y="661"/>
                  </a:moveTo>
                  <a:lnTo>
                    <a:pt x="520" y="661"/>
                  </a:lnTo>
                  <a:lnTo>
                    <a:pt x="522" y="661"/>
                  </a:lnTo>
                  <a:close/>
                  <a:moveTo>
                    <a:pt x="494" y="661"/>
                  </a:moveTo>
                  <a:lnTo>
                    <a:pt x="496" y="661"/>
                  </a:lnTo>
                  <a:lnTo>
                    <a:pt x="494" y="661"/>
                  </a:lnTo>
                  <a:close/>
                  <a:moveTo>
                    <a:pt x="530" y="661"/>
                  </a:moveTo>
                  <a:lnTo>
                    <a:pt x="527" y="661"/>
                  </a:lnTo>
                  <a:lnTo>
                    <a:pt x="530" y="661"/>
                  </a:lnTo>
                  <a:close/>
                  <a:moveTo>
                    <a:pt x="492" y="661"/>
                  </a:moveTo>
                  <a:lnTo>
                    <a:pt x="489" y="661"/>
                  </a:lnTo>
                  <a:lnTo>
                    <a:pt x="492" y="661"/>
                  </a:lnTo>
                  <a:close/>
                  <a:moveTo>
                    <a:pt x="492" y="661"/>
                  </a:moveTo>
                  <a:lnTo>
                    <a:pt x="489" y="661"/>
                  </a:lnTo>
                  <a:lnTo>
                    <a:pt x="492" y="661"/>
                  </a:lnTo>
                  <a:close/>
                  <a:moveTo>
                    <a:pt x="492" y="661"/>
                  </a:moveTo>
                  <a:lnTo>
                    <a:pt x="492" y="658"/>
                  </a:lnTo>
                  <a:lnTo>
                    <a:pt x="492" y="661"/>
                  </a:lnTo>
                  <a:close/>
                  <a:moveTo>
                    <a:pt x="487" y="656"/>
                  </a:moveTo>
                  <a:lnTo>
                    <a:pt x="487" y="658"/>
                  </a:lnTo>
                  <a:lnTo>
                    <a:pt x="487" y="656"/>
                  </a:lnTo>
                  <a:close/>
                  <a:moveTo>
                    <a:pt x="847" y="658"/>
                  </a:moveTo>
                  <a:lnTo>
                    <a:pt x="845" y="658"/>
                  </a:lnTo>
                  <a:lnTo>
                    <a:pt x="845" y="656"/>
                  </a:lnTo>
                  <a:lnTo>
                    <a:pt x="847" y="656"/>
                  </a:lnTo>
                  <a:lnTo>
                    <a:pt x="847" y="658"/>
                  </a:lnTo>
                  <a:close/>
                  <a:moveTo>
                    <a:pt x="487" y="656"/>
                  </a:moveTo>
                  <a:lnTo>
                    <a:pt x="484" y="656"/>
                  </a:lnTo>
                  <a:lnTo>
                    <a:pt x="487" y="656"/>
                  </a:lnTo>
                  <a:close/>
                  <a:moveTo>
                    <a:pt x="487" y="656"/>
                  </a:moveTo>
                  <a:lnTo>
                    <a:pt x="484" y="656"/>
                  </a:lnTo>
                  <a:lnTo>
                    <a:pt x="487" y="656"/>
                  </a:lnTo>
                  <a:close/>
                  <a:moveTo>
                    <a:pt x="843" y="653"/>
                  </a:moveTo>
                  <a:lnTo>
                    <a:pt x="840" y="653"/>
                  </a:lnTo>
                  <a:lnTo>
                    <a:pt x="843" y="653"/>
                  </a:lnTo>
                  <a:close/>
                  <a:moveTo>
                    <a:pt x="1225" y="651"/>
                  </a:moveTo>
                  <a:lnTo>
                    <a:pt x="1222" y="651"/>
                  </a:lnTo>
                  <a:lnTo>
                    <a:pt x="1225" y="651"/>
                  </a:lnTo>
                  <a:close/>
                  <a:moveTo>
                    <a:pt x="836" y="651"/>
                  </a:moveTo>
                  <a:lnTo>
                    <a:pt x="833" y="651"/>
                  </a:lnTo>
                  <a:lnTo>
                    <a:pt x="836" y="651"/>
                  </a:lnTo>
                  <a:close/>
                  <a:moveTo>
                    <a:pt x="484" y="651"/>
                  </a:moveTo>
                  <a:lnTo>
                    <a:pt x="482" y="651"/>
                  </a:lnTo>
                  <a:lnTo>
                    <a:pt x="484" y="651"/>
                  </a:lnTo>
                  <a:close/>
                  <a:moveTo>
                    <a:pt x="1092" y="649"/>
                  </a:moveTo>
                  <a:lnTo>
                    <a:pt x="1090" y="649"/>
                  </a:lnTo>
                  <a:lnTo>
                    <a:pt x="1092" y="649"/>
                  </a:lnTo>
                  <a:close/>
                  <a:moveTo>
                    <a:pt x="482" y="649"/>
                  </a:moveTo>
                  <a:lnTo>
                    <a:pt x="480" y="649"/>
                  </a:lnTo>
                  <a:lnTo>
                    <a:pt x="482" y="649"/>
                  </a:lnTo>
                  <a:close/>
                  <a:moveTo>
                    <a:pt x="482" y="649"/>
                  </a:moveTo>
                  <a:lnTo>
                    <a:pt x="480" y="649"/>
                  </a:lnTo>
                  <a:lnTo>
                    <a:pt x="482" y="649"/>
                  </a:lnTo>
                  <a:close/>
                  <a:moveTo>
                    <a:pt x="482" y="646"/>
                  </a:moveTo>
                  <a:lnTo>
                    <a:pt x="480" y="646"/>
                  </a:lnTo>
                  <a:lnTo>
                    <a:pt x="482" y="646"/>
                  </a:lnTo>
                  <a:close/>
                  <a:moveTo>
                    <a:pt x="482" y="646"/>
                  </a:moveTo>
                  <a:lnTo>
                    <a:pt x="480" y="646"/>
                  </a:lnTo>
                  <a:lnTo>
                    <a:pt x="482" y="646"/>
                  </a:lnTo>
                  <a:close/>
                  <a:moveTo>
                    <a:pt x="480" y="644"/>
                  </a:moveTo>
                  <a:lnTo>
                    <a:pt x="480" y="646"/>
                  </a:lnTo>
                  <a:lnTo>
                    <a:pt x="480" y="644"/>
                  </a:lnTo>
                  <a:close/>
                  <a:moveTo>
                    <a:pt x="829" y="644"/>
                  </a:moveTo>
                  <a:lnTo>
                    <a:pt x="829" y="646"/>
                  </a:lnTo>
                  <a:lnTo>
                    <a:pt x="829" y="644"/>
                  </a:lnTo>
                  <a:close/>
                  <a:moveTo>
                    <a:pt x="477" y="644"/>
                  </a:moveTo>
                  <a:lnTo>
                    <a:pt x="475" y="644"/>
                  </a:lnTo>
                  <a:lnTo>
                    <a:pt x="477" y="644"/>
                  </a:lnTo>
                  <a:close/>
                  <a:moveTo>
                    <a:pt x="477" y="644"/>
                  </a:moveTo>
                  <a:lnTo>
                    <a:pt x="475" y="644"/>
                  </a:lnTo>
                  <a:lnTo>
                    <a:pt x="477" y="644"/>
                  </a:lnTo>
                  <a:close/>
                  <a:moveTo>
                    <a:pt x="477" y="644"/>
                  </a:moveTo>
                  <a:lnTo>
                    <a:pt x="475" y="642"/>
                  </a:lnTo>
                  <a:lnTo>
                    <a:pt x="477" y="642"/>
                  </a:lnTo>
                  <a:lnTo>
                    <a:pt x="477" y="644"/>
                  </a:lnTo>
                  <a:close/>
                  <a:moveTo>
                    <a:pt x="482" y="642"/>
                  </a:moveTo>
                  <a:lnTo>
                    <a:pt x="480" y="642"/>
                  </a:lnTo>
                  <a:lnTo>
                    <a:pt x="482" y="642"/>
                  </a:lnTo>
                  <a:close/>
                  <a:moveTo>
                    <a:pt x="482" y="642"/>
                  </a:moveTo>
                  <a:lnTo>
                    <a:pt x="480" y="642"/>
                  </a:lnTo>
                  <a:lnTo>
                    <a:pt x="482" y="642"/>
                  </a:lnTo>
                  <a:close/>
                  <a:moveTo>
                    <a:pt x="1111" y="642"/>
                  </a:moveTo>
                  <a:lnTo>
                    <a:pt x="1108" y="642"/>
                  </a:lnTo>
                  <a:lnTo>
                    <a:pt x="1111" y="642"/>
                  </a:lnTo>
                  <a:lnTo>
                    <a:pt x="1108" y="642"/>
                  </a:lnTo>
                  <a:lnTo>
                    <a:pt x="1111" y="642"/>
                  </a:lnTo>
                  <a:close/>
                  <a:moveTo>
                    <a:pt x="1061" y="642"/>
                  </a:moveTo>
                  <a:lnTo>
                    <a:pt x="1061" y="639"/>
                  </a:lnTo>
                  <a:lnTo>
                    <a:pt x="1061" y="642"/>
                  </a:lnTo>
                  <a:close/>
                  <a:moveTo>
                    <a:pt x="484" y="639"/>
                  </a:moveTo>
                  <a:lnTo>
                    <a:pt x="482" y="639"/>
                  </a:lnTo>
                  <a:lnTo>
                    <a:pt x="484" y="639"/>
                  </a:lnTo>
                  <a:close/>
                  <a:moveTo>
                    <a:pt x="826" y="642"/>
                  </a:moveTo>
                  <a:lnTo>
                    <a:pt x="826" y="639"/>
                  </a:lnTo>
                  <a:lnTo>
                    <a:pt x="829" y="639"/>
                  </a:lnTo>
                  <a:lnTo>
                    <a:pt x="826" y="642"/>
                  </a:lnTo>
                  <a:close/>
                  <a:moveTo>
                    <a:pt x="484" y="639"/>
                  </a:moveTo>
                  <a:lnTo>
                    <a:pt x="484" y="642"/>
                  </a:lnTo>
                  <a:lnTo>
                    <a:pt x="484" y="639"/>
                  </a:lnTo>
                  <a:close/>
                  <a:moveTo>
                    <a:pt x="484" y="639"/>
                  </a:moveTo>
                  <a:lnTo>
                    <a:pt x="482" y="639"/>
                  </a:lnTo>
                  <a:lnTo>
                    <a:pt x="484" y="639"/>
                  </a:lnTo>
                  <a:close/>
                  <a:moveTo>
                    <a:pt x="1073" y="639"/>
                  </a:moveTo>
                  <a:lnTo>
                    <a:pt x="1071" y="639"/>
                  </a:lnTo>
                  <a:lnTo>
                    <a:pt x="1073" y="639"/>
                  </a:lnTo>
                  <a:close/>
                  <a:moveTo>
                    <a:pt x="487" y="639"/>
                  </a:moveTo>
                  <a:lnTo>
                    <a:pt x="484" y="639"/>
                  </a:lnTo>
                  <a:lnTo>
                    <a:pt x="487" y="639"/>
                  </a:lnTo>
                  <a:close/>
                  <a:moveTo>
                    <a:pt x="487" y="639"/>
                  </a:moveTo>
                  <a:lnTo>
                    <a:pt x="484" y="639"/>
                  </a:lnTo>
                  <a:lnTo>
                    <a:pt x="487" y="639"/>
                  </a:lnTo>
                  <a:close/>
                  <a:moveTo>
                    <a:pt x="1127" y="637"/>
                  </a:moveTo>
                  <a:lnTo>
                    <a:pt x="1125" y="637"/>
                  </a:lnTo>
                  <a:lnTo>
                    <a:pt x="1127" y="637"/>
                  </a:lnTo>
                  <a:close/>
                  <a:moveTo>
                    <a:pt x="487" y="637"/>
                  </a:moveTo>
                  <a:lnTo>
                    <a:pt x="484" y="637"/>
                  </a:lnTo>
                  <a:lnTo>
                    <a:pt x="487" y="637"/>
                  </a:lnTo>
                  <a:close/>
                  <a:moveTo>
                    <a:pt x="821" y="634"/>
                  </a:moveTo>
                  <a:lnTo>
                    <a:pt x="824" y="634"/>
                  </a:lnTo>
                  <a:lnTo>
                    <a:pt x="821" y="634"/>
                  </a:lnTo>
                  <a:close/>
                  <a:moveTo>
                    <a:pt x="821" y="634"/>
                  </a:moveTo>
                  <a:lnTo>
                    <a:pt x="819" y="634"/>
                  </a:lnTo>
                  <a:lnTo>
                    <a:pt x="821" y="634"/>
                  </a:lnTo>
                  <a:close/>
                  <a:moveTo>
                    <a:pt x="817" y="634"/>
                  </a:moveTo>
                  <a:lnTo>
                    <a:pt x="819" y="634"/>
                  </a:lnTo>
                  <a:lnTo>
                    <a:pt x="817" y="634"/>
                  </a:lnTo>
                  <a:close/>
                  <a:moveTo>
                    <a:pt x="489" y="634"/>
                  </a:moveTo>
                  <a:lnTo>
                    <a:pt x="487" y="634"/>
                  </a:lnTo>
                  <a:lnTo>
                    <a:pt x="489" y="634"/>
                  </a:lnTo>
                  <a:lnTo>
                    <a:pt x="487" y="634"/>
                  </a:lnTo>
                  <a:lnTo>
                    <a:pt x="489" y="634"/>
                  </a:lnTo>
                  <a:close/>
                  <a:moveTo>
                    <a:pt x="489" y="634"/>
                  </a:moveTo>
                  <a:lnTo>
                    <a:pt x="487" y="634"/>
                  </a:lnTo>
                  <a:lnTo>
                    <a:pt x="489" y="634"/>
                  </a:lnTo>
                  <a:close/>
                  <a:moveTo>
                    <a:pt x="1142" y="634"/>
                  </a:moveTo>
                  <a:lnTo>
                    <a:pt x="1139" y="634"/>
                  </a:lnTo>
                  <a:lnTo>
                    <a:pt x="1142" y="634"/>
                  </a:lnTo>
                  <a:close/>
                  <a:moveTo>
                    <a:pt x="1142" y="632"/>
                  </a:moveTo>
                  <a:lnTo>
                    <a:pt x="1142" y="634"/>
                  </a:lnTo>
                  <a:lnTo>
                    <a:pt x="1142" y="632"/>
                  </a:lnTo>
                  <a:close/>
                  <a:moveTo>
                    <a:pt x="814" y="632"/>
                  </a:moveTo>
                  <a:lnTo>
                    <a:pt x="814" y="634"/>
                  </a:lnTo>
                  <a:lnTo>
                    <a:pt x="814" y="632"/>
                  </a:lnTo>
                  <a:close/>
                  <a:moveTo>
                    <a:pt x="489" y="630"/>
                  </a:moveTo>
                  <a:lnTo>
                    <a:pt x="487" y="630"/>
                  </a:lnTo>
                  <a:lnTo>
                    <a:pt x="489" y="630"/>
                  </a:lnTo>
                  <a:close/>
                  <a:moveTo>
                    <a:pt x="807" y="630"/>
                  </a:moveTo>
                  <a:lnTo>
                    <a:pt x="807" y="627"/>
                  </a:lnTo>
                  <a:lnTo>
                    <a:pt x="807" y="630"/>
                  </a:lnTo>
                  <a:close/>
                  <a:moveTo>
                    <a:pt x="489" y="627"/>
                  </a:moveTo>
                  <a:lnTo>
                    <a:pt x="487" y="627"/>
                  </a:lnTo>
                  <a:lnTo>
                    <a:pt x="489" y="627"/>
                  </a:lnTo>
                  <a:close/>
                  <a:moveTo>
                    <a:pt x="487" y="627"/>
                  </a:moveTo>
                  <a:lnTo>
                    <a:pt x="487" y="625"/>
                  </a:lnTo>
                  <a:lnTo>
                    <a:pt x="487" y="627"/>
                  </a:lnTo>
                  <a:close/>
                  <a:moveTo>
                    <a:pt x="494" y="625"/>
                  </a:moveTo>
                  <a:lnTo>
                    <a:pt x="494" y="627"/>
                  </a:lnTo>
                  <a:lnTo>
                    <a:pt x="494" y="625"/>
                  </a:lnTo>
                  <a:close/>
                  <a:moveTo>
                    <a:pt x="487" y="625"/>
                  </a:moveTo>
                  <a:lnTo>
                    <a:pt x="487" y="627"/>
                  </a:lnTo>
                  <a:lnTo>
                    <a:pt x="487" y="625"/>
                  </a:lnTo>
                  <a:close/>
                  <a:moveTo>
                    <a:pt x="489" y="625"/>
                  </a:moveTo>
                  <a:lnTo>
                    <a:pt x="487" y="625"/>
                  </a:lnTo>
                  <a:lnTo>
                    <a:pt x="489" y="625"/>
                  </a:lnTo>
                  <a:close/>
                  <a:moveTo>
                    <a:pt x="489" y="625"/>
                  </a:moveTo>
                  <a:lnTo>
                    <a:pt x="487" y="625"/>
                  </a:lnTo>
                  <a:lnTo>
                    <a:pt x="489" y="625"/>
                  </a:lnTo>
                  <a:close/>
                  <a:moveTo>
                    <a:pt x="496" y="623"/>
                  </a:moveTo>
                  <a:lnTo>
                    <a:pt x="494" y="625"/>
                  </a:lnTo>
                  <a:lnTo>
                    <a:pt x="496" y="623"/>
                  </a:lnTo>
                  <a:close/>
                  <a:moveTo>
                    <a:pt x="1213" y="625"/>
                  </a:moveTo>
                  <a:lnTo>
                    <a:pt x="1213" y="623"/>
                  </a:lnTo>
                  <a:lnTo>
                    <a:pt x="1213" y="625"/>
                  </a:lnTo>
                  <a:close/>
                  <a:moveTo>
                    <a:pt x="487" y="623"/>
                  </a:moveTo>
                  <a:lnTo>
                    <a:pt x="487" y="625"/>
                  </a:lnTo>
                  <a:lnTo>
                    <a:pt x="487" y="623"/>
                  </a:lnTo>
                  <a:lnTo>
                    <a:pt x="487" y="625"/>
                  </a:lnTo>
                  <a:lnTo>
                    <a:pt x="487" y="623"/>
                  </a:lnTo>
                  <a:close/>
                  <a:moveTo>
                    <a:pt x="487" y="623"/>
                  </a:moveTo>
                  <a:lnTo>
                    <a:pt x="489" y="623"/>
                  </a:lnTo>
                  <a:lnTo>
                    <a:pt x="487" y="623"/>
                  </a:lnTo>
                  <a:close/>
                  <a:moveTo>
                    <a:pt x="496" y="623"/>
                  </a:moveTo>
                  <a:lnTo>
                    <a:pt x="494" y="623"/>
                  </a:lnTo>
                  <a:lnTo>
                    <a:pt x="496" y="623"/>
                  </a:lnTo>
                  <a:close/>
                  <a:moveTo>
                    <a:pt x="494" y="623"/>
                  </a:moveTo>
                  <a:lnTo>
                    <a:pt x="492" y="623"/>
                  </a:lnTo>
                  <a:lnTo>
                    <a:pt x="494" y="623"/>
                  </a:lnTo>
                  <a:close/>
                  <a:moveTo>
                    <a:pt x="499" y="623"/>
                  </a:moveTo>
                  <a:lnTo>
                    <a:pt x="496" y="623"/>
                  </a:lnTo>
                  <a:lnTo>
                    <a:pt x="499" y="623"/>
                  </a:lnTo>
                  <a:close/>
                  <a:moveTo>
                    <a:pt x="494" y="623"/>
                  </a:moveTo>
                  <a:lnTo>
                    <a:pt x="492" y="623"/>
                  </a:lnTo>
                  <a:lnTo>
                    <a:pt x="494" y="623"/>
                  </a:lnTo>
                  <a:close/>
                  <a:moveTo>
                    <a:pt x="489" y="620"/>
                  </a:moveTo>
                  <a:lnTo>
                    <a:pt x="489" y="623"/>
                  </a:lnTo>
                  <a:lnTo>
                    <a:pt x="489" y="620"/>
                  </a:lnTo>
                  <a:close/>
                  <a:moveTo>
                    <a:pt x="487" y="623"/>
                  </a:moveTo>
                  <a:lnTo>
                    <a:pt x="484" y="623"/>
                  </a:lnTo>
                  <a:lnTo>
                    <a:pt x="487" y="620"/>
                  </a:lnTo>
                  <a:lnTo>
                    <a:pt x="487" y="623"/>
                  </a:lnTo>
                  <a:close/>
                  <a:moveTo>
                    <a:pt x="494" y="620"/>
                  </a:moveTo>
                  <a:lnTo>
                    <a:pt x="494" y="623"/>
                  </a:lnTo>
                  <a:lnTo>
                    <a:pt x="494" y="620"/>
                  </a:lnTo>
                  <a:close/>
                  <a:moveTo>
                    <a:pt x="496" y="623"/>
                  </a:moveTo>
                  <a:lnTo>
                    <a:pt x="496" y="620"/>
                  </a:lnTo>
                  <a:lnTo>
                    <a:pt x="496" y="623"/>
                  </a:lnTo>
                  <a:close/>
                  <a:moveTo>
                    <a:pt x="494" y="620"/>
                  </a:moveTo>
                  <a:lnTo>
                    <a:pt x="492" y="620"/>
                  </a:lnTo>
                  <a:lnTo>
                    <a:pt x="494" y="620"/>
                  </a:lnTo>
                  <a:close/>
                  <a:moveTo>
                    <a:pt x="487" y="620"/>
                  </a:moveTo>
                  <a:lnTo>
                    <a:pt x="484" y="620"/>
                  </a:lnTo>
                  <a:lnTo>
                    <a:pt x="487" y="620"/>
                  </a:lnTo>
                  <a:close/>
                  <a:moveTo>
                    <a:pt x="496" y="620"/>
                  </a:moveTo>
                  <a:lnTo>
                    <a:pt x="494" y="620"/>
                  </a:lnTo>
                  <a:lnTo>
                    <a:pt x="496" y="620"/>
                  </a:lnTo>
                  <a:close/>
                  <a:moveTo>
                    <a:pt x="496" y="620"/>
                  </a:moveTo>
                  <a:lnTo>
                    <a:pt x="496" y="618"/>
                  </a:lnTo>
                  <a:lnTo>
                    <a:pt x="496" y="620"/>
                  </a:lnTo>
                  <a:close/>
                  <a:moveTo>
                    <a:pt x="800" y="618"/>
                  </a:moveTo>
                  <a:lnTo>
                    <a:pt x="800" y="620"/>
                  </a:lnTo>
                  <a:lnTo>
                    <a:pt x="800" y="618"/>
                  </a:lnTo>
                  <a:close/>
                  <a:moveTo>
                    <a:pt x="1063" y="618"/>
                  </a:moveTo>
                  <a:lnTo>
                    <a:pt x="1066" y="618"/>
                  </a:lnTo>
                  <a:lnTo>
                    <a:pt x="1063" y="618"/>
                  </a:lnTo>
                  <a:close/>
                  <a:moveTo>
                    <a:pt x="494" y="618"/>
                  </a:moveTo>
                  <a:lnTo>
                    <a:pt x="492" y="618"/>
                  </a:lnTo>
                  <a:lnTo>
                    <a:pt x="494" y="618"/>
                  </a:lnTo>
                  <a:close/>
                  <a:moveTo>
                    <a:pt x="494" y="615"/>
                  </a:moveTo>
                  <a:lnTo>
                    <a:pt x="494" y="618"/>
                  </a:lnTo>
                  <a:lnTo>
                    <a:pt x="494" y="615"/>
                  </a:lnTo>
                  <a:close/>
                  <a:moveTo>
                    <a:pt x="492" y="618"/>
                  </a:moveTo>
                  <a:lnTo>
                    <a:pt x="492" y="615"/>
                  </a:lnTo>
                  <a:lnTo>
                    <a:pt x="492" y="618"/>
                  </a:lnTo>
                  <a:close/>
                  <a:moveTo>
                    <a:pt x="800" y="615"/>
                  </a:moveTo>
                  <a:lnTo>
                    <a:pt x="800" y="618"/>
                  </a:lnTo>
                  <a:lnTo>
                    <a:pt x="800" y="615"/>
                  </a:lnTo>
                  <a:lnTo>
                    <a:pt x="800" y="618"/>
                  </a:lnTo>
                  <a:lnTo>
                    <a:pt x="800" y="615"/>
                  </a:lnTo>
                  <a:close/>
                  <a:moveTo>
                    <a:pt x="492" y="615"/>
                  </a:moveTo>
                  <a:lnTo>
                    <a:pt x="492" y="618"/>
                  </a:lnTo>
                  <a:lnTo>
                    <a:pt x="492" y="615"/>
                  </a:lnTo>
                  <a:close/>
                  <a:moveTo>
                    <a:pt x="492" y="615"/>
                  </a:moveTo>
                  <a:lnTo>
                    <a:pt x="492" y="618"/>
                  </a:lnTo>
                  <a:lnTo>
                    <a:pt x="492" y="615"/>
                  </a:lnTo>
                  <a:close/>
                  <a:moveTo>
                    <a:pt x="1215" y="615"/>
                  </a:moveTo>
                  <a:lnTo>
                    <a:pt x="1213" y="615"/>
                  </a:lnTo>
                  <a:lnTo>
                    <a:pt x="1215" y="615"/>
                  </a:lnTo>
                  <a:close/>
                  <a:moveTo>
                    <a:pt x="492" y="613"/>
                  </a:moveTo>
                  <a:lnTo>
                    <a:pt x="492" y="615"/>
                  </a:lnTo>
                  <a:lnTo>
                    <a:pt x="492" y="613"/>
                  </a:lnTo>
                  <a:close/>
                  <a:moveTo>
                    <a:pt x="798" y="613"/>
                  </a:moveTo>
                  <a:lnTo>
                    <a:pt x="798" y="615"/>
                  </a:lnTo>
                  <a:lnTo>
                    <a:pt x="798" y="613"/>
                  </a:lnTo>
                  <a:close/>
                  <a:moveTo>
                    <a:pt x="1303" y="613"/>
                  </a:moveTo>
                  <a:lnTo>
                    <a:pt x="1303" y="615"/>
                  </a:lnTo>
                  <a:lnTo>
                    <a:pt x="1303" y="613"/>
                  </a:lnTo>
                  <a:close/>
                  <a:moveTo>
                    <a:pt x="798" y="613"/>
                  </a:moveTo>
                  <a:lnTo>
                    <a:pt x="798" y="615"/>
                  </a:lnTo>
                  <a:lnTo>
                    <a:pt x="798" y="613"/>
                  </a:lnTo>
                  <a:close/>
                  <a:moveTo>
                    <a:pt x="492" y="613"/>
                  </a:moveTo>
                  <a:lnTo>
                    <a:pt x="489" y="613"/>
                  </a:lnTo>
                  <a:lnTo>
                    <a:pt x="492" y="613"/>
                  </a:lnTo>
                  <a:close/>
                  <a:moveTo>
                    <a:pt x="489" y="613"/>
                  </a:moveTo>
                  <a:lnTo>
                    <a:pt x="487" y="613"/>
                  </a:lnTo>
                  <a:lnTo>
                    <a:pt x="489" y="613"/>
                  </a:lnTo>
                  <a:close/>
                  <a:moveTo>
                    <a:pt x="487" y="613"/>
                  </a:moveTo>
                  <a:lnTo>
                    <a:pt x="484" y="613"/>
                  </a:lnTo>
                  <a:lnTo>
                    <a:pt x="487" y="613"/>
                  </a:lnTo>
                  <a:close/>
                  <a:moveTo>
                    <a:pt x="487" y="611"/>
                  </a:moveTo>
                  <a:lnTo>
                    <a:pt x="487" y="613"/>
                  </a:lnTo>
                  <a:lnTo>
                    <a:pt x="487" y="611"/>
                  </a:lnTo>
                  <a:close/>
                  <a:moveTo>
                    <a:pt x="487" y="611"/>
                  </a:moveTo>
                  <a:lnTo>
                    <a:pt x="484" y="611"/>
                  </a:lnTo>
                  <a:lnTo>
                    <a:pt x="487" y="611"/>
                  </a:lnTo>
                  <a:close/>
                  <a:moveTo>
                    <a:pt x="798" y="611"/>
                  </a:moveTo>
                  <a:lnTo>
                    <a:pt x="795" y="611"/>
                  </a:lnTo>
                  <a:lnTo>
                    <a:pt x="798" y="611"/>
                  </a:lnTo>
                  <a:close/>
                  <a:moveTo>
                    <a:pt x="795" y="608"/>
                  </a:moveTo>
                  <a:lnTo>
                    <a:pt x="798" y="611"/>
                  </a:lnTo>
                  <a:lnTo>
                    <a:pt x="795" y="611"/>
                  </a:lnTo>
                  <a:lnTo>
                    <a:pt x="795" y="608"/>
                  </a:lnTo>
                  <a:close/>
                  <a:moveTo>
                    <a:pt x="1248" y="608"/>
                  </a:moveTo>
                  <a:lnTo>
                    <a:pt x="1251" y="608"/>
                  </a:lnTo>
                  <a:lnTo>
                    <a:pt x="1248" y="608"/>
                  </a:lnTo>
                  <a:close/>
                  <a:moveTo>
                    <a:pt x="798" y="606"/>
                  </a:moveTo>
                  <a:lnTo>
                    <a:pt x="795" y="606"/>
                  </a:lnTo>
                  <a:lnTo>
                    <a:pt x="798" y="606"/>
                  </a:lnTo>
                  <a:lnTo>
                    <a:pt x="795" y="606"/>
                  </a:lnTo>
                  <a:lnTo>
                    <a:pt x="798" y="606"/>
                  </a:lnTo>
                  <a:close/>
                  <a:moveTo>
                    <a:pt x="703" y="606"/>
                  </a:moveTo>
                  <a:lnTo>
                    <a:pt x="703" y="603"/>
                  </a:lnTo>
                  <a:lnTo>
                    <a:pt x="703" y="606"/>
                  </a:lnTo>
                  <a:close/>
                  <a:moveTo>
                    <a:pt x="774" y="606"/>
                  </a:moveTo>
                  <a:lnTo>
                    <a:pt x="774" y="603"/>
                  </a:lnTo>
                  <a:lnTo>
                    <a:pt x="774" y="606"/>
                  </a:lnTo>
                  <a:close/>
                  <a:moveTo>
                    <a:pt x="774" y="606"/>
                  </a:moveTo>
                  <a:lnTo>
                    <a:pt x="774" y="603"/>
                  </a:lnTo>
                  <a:lnTo>
                    <a:pt x="774" y="606"/>
                  </a:lnTo>
                  <a:close/>
                  <a:moveTo>
                    <a:pt x="1258" y="606"/>
                  </a:moveTo>
                  <a:lnTo>
                    <a:pt x="1258" y="603"/>
                  </a:lnTo>
                  <a:lnTo>
                    <a:pt x="1258" y="606"/>
                  </a:lnTo>
                  <a:close/>
                  <a:moveTo>
                    <a:pt x="622" y="603"/>
                  </a:moveTo>
                  <a:lnTo>
                    <a:pt x="620" y="603"/>
                  </a:lnTo>
                  <a:lnTo>
                    <a:pt x="622" y="603"/>
                  </a:lnTo>
                  <a:close/>
                  <a:moveTo>
                    <a:pt x="774" y="601"/>
                  </a:moveTo>
                  <a:lnTo>
                    <a:pt x="772" y="601"/>
                  </a:lnTo>
                  <a:lnTo>
                    <a:pt x="774" y="601"/>
                  </a:lnTo>
                  <a:close/>
                  <a:moveTo>
                    <a:pt x="1213" y="601"/>
                  </a:moveTo>
                  <a:lnTo>
                    <a:pt x="1213" y="599"/>
                  </a:lnTo>
                  <a:lnTo>
                    <a:pt x="1213" y="601"/>
                  </a:lnTo>
                  <a:close/>
                  <a:moveTo>
                    <a:pt x="715" y="601"/>
                  </a:moveTo>
                  <a:lnTo>
                    <a:pt x="715" y="599"/>
                  </a:lnTo>
                  <a:lnTo>
                    <a:pt x="715" y="601"/>
                  </a:lnTo>
                  <a:close/>
                  <a:moveTo>
                    <a:pt x="1163" y="596"/>
                  </a:moveTo>
                  <a:lnTo>
                    <a:pt x="1163" y="599"/>
                  </a:lnTo>
                  <a:lnTo>
                    <a:pt x="1163" y="596"/>
                  </a:lnTo>
                  <a:close/>
                  <a:moveTo>
                    <a:pt x="781" y="596"/>
                  </a:moveTo>
                  <a:lnTo>
                    <a:pt x="779" y="596"/>
                  </a:lnTo>
                  <a:lnTo>
                    <a:pt x="781" y="596"/>
                  </a:lnTo>
                  <a:close/>
                  <a:moveTo>
                    <a:pt x="783" y="596"/>
                  </a:moveTo>
                  <a:lnTo>
                    <a:pt x="786" y="596"/>
                  </a:lnTo>
                  <a:lnTo>
                    <a:pt x="783" y="596"/>
                  </a:lnTo>
                  <a:close/>
                  <a:moveTo>
                    <a:pt x="1173" y="594"/>
                  </a:moveTo>
                  <a:lnTo>
                    <a:pt x="1175" y="594"/>
                  </a:lnTo>
                  <a:lnTo>
                    <a:pt x="1173" y="594"/>
                  </a:lnTo>
                  <a:close/>
                  <a:moveTo>
                    <a:pt x="1315" y="592"/>
                  </a:moveTo>
                  <a:lnTo>
                    <a:pt x="1315" y="589"/>
                  </a:lnTo>
                  <a:lnTo>
                    <a:pt x="1315" y="592"/>
                  </a:lnTo>
                  <a:close/>
                  <a:moveTo>
                    <a:pt x="558" y="589"/>
                  </a:moveTo>
                  <a:lnTo>
                    <a:pt x="558" y="592"/>
                  </a:lnTo>
                  <a:lnTo>
                    <a:pt x="558" y="589"/>
                  </a:lnTo>
                  <a:close/>
                  <a:moveTo>
                    <a:pt x="458" y="589"/>
                  </a:moveTo>
                  <a:lnTo>
                    <a:pt x="456" y="589"/>
                  </a:lnTo>
                  <a:lnTo>
                    <a:pt x="458" y="589"/>
                  </a:lnTo>
                  <a:close/>
                  <a:moveTo>
                    <a:pt x="1201" y="589"/>
                  </a:moveTo>
                  <a:lnTo>
                    <a:pt x="1199" y="589"/>
                  </a:lnTo>
                  <a:lnTo>
                    <a:pt x="1201" y="589"/>
                  </a:lnTo>
                  <a:close/>
                  <a:moveTo>
                    <a:pt x="553" y="589"/>
                  </a:moveTo>
                  <a:lnTo>
                    <a:pt x="551" y="589"/>
                  </a:lnTo>
                  <a:lnTo>
                    <a:pt x="553" y="589"/>
                  </a:lnTo>
                  <a:close/>
                  <a:moveTo>
                    <a:pt x="772" y="589"/>
                  </a:moveTo>
                  <a:lnTo>
                    <a:pt x="772" y="587"/>
                  </a:lnTo>
                  <a:lnTo>
                    <a:pt x="772" y="589"/>
                  </a:lnTo>
                  <a:close/>
                  <a:moveTo>
                    <a:pt x="726" y="587"/>
                  </a:moveTo>
                  <a:lnTo>
                    <a:pt x="726" y="589"/>
                  </a:lnTo>
                  <a:lnTo>
                    <a:pt x="726" y="587"/>
                  </a:lnTo>
                  <a:close/>
                  <a:moveTo>
                    <a:pt x="454" y="587"/>
                  </a:moveTo>
                  <a:lnTo>
                    <a:pt x="451" y="587"/>
                  </a:lnTo>
                  <a:lnTo>
                    <a:pt x="454" y="587"/>
                  </a:lnTo>
                  <a:close/>
                  <a:moveTo>
                    <a:pt x="551" y="587"/>
                  </a:moveTo>
                  <a:lnTo>
                    <a:pt x="551" y="589"/>
                  </a:lnTo>
                  <a:lnTo>
                    <a:pt x="551" y="587"/>
                  </a:lnTo>
                  <a:close/>
                  <a:moveTo>
                    <a:pt x="454" y="587"/>
                  </a:moveTo>
                  <a:lnTo>
                    <a:pt x="451" y="587"/>
                  </a:lnTo>
                  <a:lnTo>
                    <a:pt x="454" y="587"/>
                  </a:lnTo>
                  <a:close/>
                  <a:moveTo>
                    <a:pt x="454" y="587"/>
                  </a:moveTo>
                  <a:lnTo>
                    <a:pt x="451" y="587"/>
                  </a:lnTo>
                  <a:lnTo>
                    <a:pt x="454" y="587"/>
                  </a:lnTo>
                  <a:close/>
                  <a:moveTo>
                    <a:pt x="456" y="582"/>
                  </a:moveTo>
                  <a:lnTo>
                    <a:pt x="456" y="584"/>
                  </a:lnTo>
                  <a:lnTo>
                    <a:pt x="456" y="582"/>
                  </a:lnTo>
                  <a:close/>
                  <a:moveTo>
                    <a:pt x="769" y="584"/>
                  </a:moveTo>
                  <a:lnTo>
                    <a:pt x="767" y="584"/>
                  </a:lnTo>
                  <a:lnTo>
                    <a:pt x="767" y="582"/>
                  </a:lnTo>
                  <a:lnTo>
                    <a:pt x="769" y="584"/>
                  </a:lnTo>
                  <a:close/>
                  <a:moveTo>
                    <a:pt x="1310" y="582"/>
                  </a:moveTo>
                  <a:lnTo>
                    <a:pt x="1310" y="584"/>
                  </a:lnTo>
                  <a:lnTo>
                    <a:pt x="1310" y="582"/>
                  </a:lnTo>
                  <a:close/>
                  <a:moveTo>
                    <a:pt x="451" y="582"/>
                  </a:moveTo>
                  <a:lnTo>
                    <a:pt x="449" y="582"/>
                  </a:lnTo>
                  <a:lnTo>
                    <a:pt x="451" y="582"/>
                  </a:lnTo>
                  <a:close/>
                  <a:moveTo>
                    <a:pt x="447" y="582"/>
                  </a:moveTo>
                  <a:lnTo>
                    <a:pt x="447" y="580"/>
                  </a:lnTo>
                  <a:lnTo>
                    <a:pt x="447" y="582"/>
                  </a:lnTo>
                  <a:close/>
                  <a:moveTo>
                    <a:pt x="447" y="582"/>
                  </a:moveTo>
                  <a:lnTo>
                    <a:pt x="447" y="580"/>
                  </a:lnTo>
                  <a:lnTo>
                    <a:pt x="447" y="582"/>
                  </a:lnTo>
                  <a:close/>
                  <a:moveTo>
                    <a:pt x="447" y="580"/>
                  </a:moveTo>
                  <a:lnTo>
                    <a:pt x="449" y="580"/>
                  </a:lnTo>
                  <a:lnTo>
                    <a:pt x="447" y="580"/>
                  </a:lnTo>
                  <a:close/>
                  <a:moveTo>
                    <a:pt x="1310" y="580"/>
                  </a:moveTo>
                  <a:lnTo>
                    <a:pt x="1308" y="580"/>
                  </a:lnTo>
                  <a:lnTo>
                    <a:pt x="1310" y="580"/>
                  </a:lnTo>
                  <a:close/>
                  <a:moveTo>
                    <a:pt x="442" y="580"/>
                  </a:moveTo>
                  <a:lnTo>
                    <a:pt x="439" y="580"/>
                  </a:lnTo>
                  <a:lnTo>
                    <a:pt x="442" y="580"/>
                  </a:lnTo>
                  <a:close/>
                  <a:moveTo>
                    <a:pt x="447" y="580"/>
                  </a:moveTo>
                  <a:lnTo>
                    <a:pt x="444" y="580"/>
                  </a:lnTo>
                  <a:lnTo>
                    <a:pt x="447" y="580"/>
                  </a:lnTo>
                  <a:close/>
                  <a:moveTo>
                    <a:pt x="501" y="580"/>
                  </a:moveTo>
                  <a:lnTo>
                    <a:pt x="499" y="580"/>
                  </a:lnTo>
                  <a:lnTo>
                    <a:pt x="501" y="580"/>
                  </a:lnTo>
                  <a:close/>
                  <a:moveTo>
                    <a:pt x="805" y="577"/>
                  </a:moveTo>
                  <a:lnTo>
                    <a:pt x="805" y="580"/>
                  </a:lnTo>
                  <a:lnTo>
                    <a:pt x="805" y="577"/>
                  </a:lnTo>
                  <a:close/>
                  <a:moveTo>
                    <a:pt x="805" y="577"/>
                  </a:moveTo>
                  <a:lnTo>
                    <a:pt x="805" y="580"/>
                  </a:lnTo>
                  <a:lnTo>
                    <a:pt x="805" y="577"/>
                  </a:lnTo>
                  <a:close/>
                  <a:moveTo>
                    <a:pt x="449" y="577"/>
                  </a:moveTo>
                  <a:lnTo>
                    <a:pt x="449" y="580"/>
                  </a:lnTo>
                  <a:lnTo>
                    <a:pt x="449" y="577"/>
                  </a:lnTo>
                  <a:close/>
                  <a:moveTo>
                    <a:pt x="449" y="577"/>
                  </a:moveTo>
                  <a:lnTo>
                    <a:pt x="447" y="577"/>
                  </a:lnTo>
                  <a:lnTo>
                    <a:pt x="449" y="577"/>
                  </a:lnTo>
                  <a:close/>
                  <a:moveTo>
                    <a:pt x="1294" y="577"/>
                  </a:moveTo>
                  <a:lnTo>
                    <a:pt x="1291" y="577"/>
                  </a:lnTo>
                  <a:lnTo>
                    <a:pt x="1294" y="577"/>
                  </a:lnTo>
                  <a:close/>
                  <a:moveTo>
                    <a:pt x="1073" y="577"/>
                  </a:moveTo>
                  <a:lnTo>
                    <a:pt x="1073" y="575"/>
                  </a:lnTo>
                  <a:lnTo>
                    <a:pt x="1073" y="577"/>
                  </a:lnTo>
                  <a:close/>
                  <a:moveTo>
                    <a:pt x="428" y="575"/>
                  </a:moveTo>
                  <a:lnTo>
                    <a:pt x="425" y="575"/>
                  </a:lnTo>
                  <a:lnTo>
                    <a:pt x="428" y="575"/>
                  </a:lnTo>
                  <a:close/>
                  <a:moveTo>
                    <a:pt x="428" y="575"/>
                  </a:moveTo>
                  <a:lnTo>
                    <a:pt x="428" y="573"/>
                  </a:lnTo>
                  <a:lnTo>
                    <a:pt x="428" y="575"/>
                  </a:lnTo>
                  <a:close/>
                  <a:moveTo>
                    <a:pt x="428" y="573"/>
                  </a:moveTo>
                  <a:lnTo>
                    <a:pt x="428" y="575"/>
                  </a:lnTo>
                  <a:lnTo>
                    <a:pt x="428" y="573"/>
                  </a:lnTo>
                  <a:lnTo>
                    <a:pt x="428" y="575"/>
                  </a:lnTo>
                  <a:lnTo>
                    <a:pt x="428" y="573"/>
                  </a:lnTo>
                  <a:close/>
                  <a:moveTo>
                    <a:pt x="428" y="573"/>
                  </a:moveTo>
                  <a:lnTo>
                    <a:pt x="425" y="573"/>
                  </a:lnTo>
                  <a:lnTo>
                    <a:pt x="428" y="573"/>
                  </a:lnTo>
                  <a:close/>
                  <a:moveTo>
                    <a:pt x="1407" y="573"/>
                  </a:moveTo>
                  <a:lnTo>
                    <a:pt x="1405" y="573"/>
                  </a:lnTo>
                  <a:lnTo>
                    <a:pt x="1407" y="573"/>
                  </a:lnTo>
                  <a:close/>
                  <a:moveTo>
                    <a:pt x="480" y="570"/>
                  </a:moveTo>
                  <a:lnTo>
                    <a:pt x="480" y="573"/>
                  </a:lnTo>
                  <a:lnTo>
                    <a:pt x="477" y="570"/>
                  </a:lnTo>
                  <a:lnTo>
                    <a:pt x="480" y="570"/>
                  </a:lnTo>
                  <a:close/>
                  <a:moveTo>
                    <a:pt x="439" y="570"/>
                  </a:moveTo>
                  <a:lnTo>
                    <a:pt x="439" y="573"/>
                  </a:lnTo>
                  <a:lnTo>
                    <a:pt x="439" y="570"/>
                  </a:lnTo>
                  <a:close/>
                  <a:moveTo>
                    <a:pt x="1071" y="570"/>
                  </a:moveTo>
                  <a:lnTo>
                    <a:pt x="1073" y="570"/>
                  </a:lnTo>
                  <a:lnTo>
                    <a:pt x="1071" y="570"/>
                  </a:lnTo>
                  <a:close/>
                  <a:moveTo>
                    <a:pt x="470" y="568"/>
                  </a:moveTo>
                  <a:lnTo>
                    <a:pt x="468" y="568"/>
                  </a:lnTo>
                  <a:lnTo>
                    <a:pt x="470" y="568"/>
                  </a:lnTo>
                  <a:close/>
                  <a:moveTo>
                    <a:pt x="468" y="568"/>
                  </a:moveTo>
                  <a:lnTo>
                    <a:pt x="468" y="570"/>
                  </a:lnTo>
                  <a:lnTo>
                    <a:pt x="468" y="568"/>
                  </a:lnTo>
                  <a:close/>
                  <a:moveTo>
                    <a:pt x="802" y="568"/>
                  </a:moveTo>
                  <a:lnTo>
                    <a:pt x="800" y="568"/>
                  </a:lnTo>
                  <a:lnTo>
                    <a:pt x="802" y="568"/>
                  </a:lnTo>
                  <a:close/>
                  <a:moveTo>
                    <a:pt x="458" y="568"/>
                  </a:moveTo>
                  <a:lnTo>
                    <a:pt x="461" y="568"/>
                  </a:lnTo>
                  <a:lnTo>
                    <a:pt x="458" y="568"/>
                  </a:lnTo>
                  <a:close/>
                  <a:moveTo>
                    <a:pt x="461" y="568"/>
                  </a:moveTo>
                  <a:lnTo>
                    <a:pt x="458" y="568"/>
                  </a:lnTo>
                  <a:lnTo>
                    <a:pt x="461" y="568"/>
                  </a:lnTo>
                  <a:close/>
                  <a:moveTo>
                    <a:pt x="458" y="568"/>
                  </a:moveTo>
                  <a:lnTo>
                    <a:pt x="456" y="568"/>
                  </a:lnTo>
                  <a:lnTo>
                    <a:pt x="458" y="568"/>
                  </a:lnTo>
                  <a:close/>
                  <a:moveTo>
                    <a:pt x="447" y="568"/>
                  </a:moveTo>
                  <a:lnTo>
                    <a:pt x="447" y="565"/>
                  </a:lnTo>
                  <a:lnTo>
                    <a:pt x="447" y="568"/>
                  </a:lnTo>
                  <a:close/>
                  <a:moveTo>
                    <a:pt x="425" y="565"/>
                  </a:moveTo>
                  <a:lnTo>
                    <a:pt x="425" y="568"/>
                  </a:lnTo>
                  <a:lnTo>
                    <a:pt x="425" y="565"/>
                  </a:lnTo>
                  <a:close/>
                  <a:moveTo>
                    <a:pt x="1068" y="565"/>
                  </a:moveTo>
                  <a:lnTo>
                    <a:pt x="1068" y="568"/>
                  </a:lnTo>
                  <a:lnTo>
                    <a:pt x="1068" y="565"/>
                  </a:lnTo>
                  <a:close/>
                  <a:moveTo>
                    <a:pt x="456" y="565"/>
                  </a:moveTo>
                  <a:lnTo>
                    <a:pt x="456" y="568"/>
                  </a:lnTo>
                  <a:lnTo>
                    <a:pt x="456" y="565"/>
                  </a:lnTo>
                  <a:close/>
                  <a:moveTo>
                    <a:pt x="458" y="565"/>
                  </a:moveTo>
                  <a:lnTo>
                    <a:pt x="456" y="565"/>
                  </a:lnTo>
                  <a:lnTo>
                    <a:pt x="458" y="565"/>
                  </a:lnTo>
                  <a:close/>
                  <a:moveTo>
                    <a:pt x="698" y="565"/>
                  </a:moveTo>
                  <a:lnTo>
                    <a:pt x="696" y="565"/>
                  </a:lnTo>
                  <a:lnTo>
                    <a:pt x="698" y="565"/>
                  </a:lnTo>
                  <a:close/>
                  <a:moveTo>
                    <a:pt x="874" y="565"/>
                  </a:moveTo>
                  <a:lnTo>
                    <a:pt x="871" y="565"/>
                  </a:lnTo>
                  <a:lnTo>
                    <a:pt x="874" y="565"/>
                  </a:lnTo>
                  <a:close/>
                  <a:moveTo>
                    <a:pt x="432" y="565"/>
                  </a:moveTo>
                  <a:lnTo>
                    <a:pt x="430" y="565"/>
                  </a:lnTo>
                  <a:lnTo>
                    <a:pt x="432" y="565"/>
                  </a:lnTo>
                  <a:close/>
                  <a:moveTo>
                    <a:pt x="423" y="565"/>
                  </a:moveTo>
                  <a:lnTo>
                    <a:pt x="420" y="565"/>
                  </a:lnTo>
                  <a:lnTo>
                    <a:pt x="423" y="565"/>
                  </a:lnTo>
                  <a:close/>
                  <a:moveTo>
                    <a:pt x="423" y="565"/>
                  </a:moveTo>
                  <a:lnTo>
                    <a:pt x="420" y="565"/>
                  </a:lnTo>
                  <a:lnTo>
                    <a:pt x="423" y="565"/>
                  </a:lnTo>
                  <a:close/>
                  <a:moveTo>
                    <a:pt x="1071" y="563"/>
                  </a:moveTo>
                  <a:lnTo>
                    <a:pt x="1071" y="565"/>
                  </a:lnTo>
                  <a:lnTo>
                    <a:pt x="1071" y="563"/>
                  </a:lnTo>
                  <a:close/>
                  <a:moveTo>
                    <a:pt x="451" y="563"/>
                  </a:moveTo>
                  <a:lnTo>
                    <a:pt x="451" y="561"/>
                  </a:lnTo>
                  <a:lnTo>
                    <a:pt x="451" y="563"/>
                  </a:lnTo>
                  <a:close/>
                  <a:moveTo>
                    <a:pt x="423" y="561"/>
                  </a:moveTo>
                  <a:lnTo>
                    <a:pt x="420" y="561"/>
                  </a:lnTo>
                  <a:lnTo>
                    <a:pt x="423" y="561"/>
                  </a:lnTo>
                  <a:close/>
                  <a:moveTo>
                    <a:pt x="916" y="561"/>
                  </a:moveTo>
                  <a:lnTo>
                    <a:pt x="914" y="561"/>
                  </a:lnTo>
                  <a:lnTo>
                    <a:pt x="916" y="561"/>
                  </a:lnTo>
                  <a:close/>
                  <a:moveTo>
                    <a:pt x="810" y="561"/>
                  </a:moveTo>
                  <a:lnTo>
                    <a:pt x="807" y="561"/>
                  </a:lnTo>
                  <a:lnTo>
                    <a:pt x="810" y="561"/>
                  </a:lnTo>
                  <a:close/>
                  <a:moveTo>
                    <a:pt x="423" y="558"/>
                  </a:moveTo>
                  <a:lnTo>
                    <a:pt x="423" y="561"/>
                  </a:lnTo>
                  <a:lnTo>
                    <a:pt x="423" y="558"/>
                  </a:lnTo>
                  <a:close/>
                  <a:moveTo>
                    <a:pt x="810" y="558"/>
                  </a:moveTo>
                  <a:lnTo>
                    <a:pt x="807" y="558"/>
                  </a:lnTo>
                  <a:lnTo>
                    <a:pt x="810" y="558"/>
                  </a:lnTo>
                  <a:close/>
                  <a:moveTo>
                    <a:pt x="895" y="558"/>
                  </a:moveTo>
                  <a:lnTo>
                    <a:pt x="893" y="558"/>
                  </a:lnTo>
                  <a:lnTo>
                    <a:pt x="895" y="558"/>
                  </a:lnTo>
                  <a:close/>
                  <a:moveTo>
                    <a:pt x="810" y="558"/>
                  </a:moveTo>
                  <a:lnTo>
                    <a:pt x="807" y="558"/>
                  </a:lnTo>
                  <a:lnTo>
                    <a:pt x="810" y="558"/>
                  </a:lnTo>
                  <a:close/>
                  <a:moveTo>
                    <a:pt x="416" y="558"/>
                  </a:moveTo>
                  <a:lnTo>
                    <a:pt x="413" y="558"/>
                  </a:lnTo>
                  <a:lnTo>
                    <a:pt x="416" y="558"/>
                  </a:lnTo>
                  <a:close/>
                  <a:moveTo>
                    <a:pt x="810" y="556"/>
                  </a:moveTo>
                  <a:lnTo>
                    <a:pt x="807" y="556"/>
                  </a:lnTo>
                  <a:lnTo>
                    <a:pt x="810" y="556"/>
                  </a:lnTo>
                  <a:close/>
                  <a:moveTo>
                    <a:pt x="418" y="551"/>
                  </a:moveTo>
                  <a:lnTo>
                    <a:pt x="418" y="554"/>
                  </a:lnTo>
                  <a:lnTo>
                    <a:pt x="418" y="551"/>
                  </a:lnTo>
                  <a:close/>
                  <a:moveTo>
                    <a:pt x="418" y="551"/>
                  </a:moveTo>
                  <a:lnTo>
                    <a:pt x="418" y="554"/>
                  </a:lnTo>
                  <a:lnTo>
                    <a:pt x="418" y="551"/>
                  </a:lnTo>
                  <a:close/>
                  <a:moveTo>
                    <a:pt x="425" y="549"/>
                  </a:moveTo>
                  <a:lnTo>
                    <a:pt x="425" y="551"/>
                  </a:lnTo>
                  <a:lnTo>
                    <a:pt x="425" y="549"/>
                  </a:lnTo>
                  <a:close/>
                  <a:moveTo>
                    <a:pt x="418" y="549"/>
                  </a:moveTo>
                  <a:lnTo>
                    <a:pt x="420" y="549"/>
                  </a:lnTo>
                  <a:lnTo>
                    <a:pt x="420" y="551"/>
                  </a:lnTo>
                  <a:lnTo>
                    <a:pt x="420" y="549"/>
                  </a:lnTo>
                  <a:lnTo>
                    <a:pt x="418" y="549"/>
                  </a:lnTo>
                  <a:close/>
                  <a:moveTo>
                    <a:pt x="418" y="549"/>
                  </a:moveTo>
                  <a:lnTo>
                    <a:pt x="416" y="549"/>
                  </a:lnTo>
                  <a:lnTo>
                    <a:pt x="418" y="549"/>
                  </a:lnTo>
                  <a:close/>
                  <a:moveTo>
                    <a:pt x="1071" y="549"/>
                  </a:moveTo>
                  <a:lnTo>
                    <a:pt x="1068" y="549"/>
                  </a:lnTo>
                  <a:lnTo>
                    <a:pt x="1071" y="549"/>
                  </a:lnTo>
                  <a:close/>
                  <a:moveTo>
                    <a:pt x="1071" y="549"/>
                  </a:moveTo>
                  <a:lnTo>
                    <a:pt x="1068" y="549"/>
                  </a:lnTo>
                  <a:lnTo>
                    <a:pt x="1071" y="549"/>
                  </a:lnTo>
                  <a:close/>
                  <a:moveTo>
                    <a:pt x="1075" y="546"/>
                  </a:moveTo>
                  <a:lnTo>
                    <a:pt x="1075" y="549"/>
                  </a:lnTo>
                  <a:lnTo>
                    <a:pt x="1075" y="546"/>
                  </a:lnTo>
                  <a:close/>
                  <a:moveTo>
                    <a:pt x="409" y="546"/>
                  </a:moveTo>
                  <a:lnTo>
                    <a:pt x="409" y="549"/>
                  </a:lnTo>
                  <a:lnTo>
                    <a:pt x="409" y="546"/>
                  </a:lnTo>
                  <a:close/>
                  <a:moveTo>
                    <a:pt x="418" y="546"/>
                  </a:moveTo>
                  <a:lnTo>
                    <a:pt x="416" y="546"/>
                  </a:lnTo>
                  <a:lnTo>
                    <a:pt x="418" y="546"/>
                  </a:lnTo>
                  <a:close/>
                  <a:moveTo>
                    <a:pt x="409" y="546"/>
                  </a:moveTo>
                  <a:lnTo>
                    <a:pt x="406" y="546"/>
                  </a:lnTo>
                  <a:lnTo>
                    <a:pt x="409" y="546"/>
                  </a:lnTo>
                  <a:close/>
                  <a:moveTo>
                    <a:pt x="423" y="546"/>
                  </a:moveTo>
                  <a:lnTo>
                    <a:pt x="420" y="546"/>
                  </a:lnTo>
                  <a:lnTo>
                    <a:pt x="423" y="546"/>
                  </a:lnTo>
                  <a:close/>
                  <a:moveTo>
                    <a:pt x="413" y="546"/>
                  </a:moveTo>
                  <a:lnTo>
                    <a:pt x="411" y="546"/>
                  </a:lnTo>
                  <a:lnTo>
                    <a:pt x="413" y="546"/>
                  </a:lnTo>
                  <a:close/>
                  <a:moveTo>
                    <a:pt x="420" y="546"/>
                  </a:moveTo>
                  <a:lnTo>
                    <a:pt x="420" y="544"/>
                  </a:lnTo>
                  <a:lnTo>
                    <a:pt x="420" y="546"/>
                  </a:lnTo>
                  <a:close/>
                  <a:moveTo>
                    <a:pt x="1061" y="544"/>
                  </a:moveTo>
                  <a:lnTo>
                    <a:pt x="1059" y="544"/>
                  </a:lnTo>
                  <a:lnTo>
                    <a:pt x="1061" y="544"/>
                  </a:lnTo>
                  <a:close/>
                  <a:moveTo>
                    <a:pt x="420" y="544"/>
                  </a:moveTo>
                  <a:lnTo>
                    <a:pt x="418" y="544"/>
                  </a:lnTo>
                  <a:lnTo>
                    <a:pt x="420" y="544"/>
                  </a:lnTo>
                  <a:close/>
                  <a:moveTo>
                    <a:pt x="411" y="544"/>
                  </a:moveTo>
                  <a:lnTo>
                    <a:pt x="409" y="544"/>
                  </a:lnTo>
                  <a:lnTo>
                    <a:pt x="411" y="544"/>
                  </a:lnTo>
                  <a:close/>
                  <a:moveTo>
                    <a:pt x="916" y="542"/>
                  </a:moveTo>
                  <a:lnTo>
                    <a:pt x="919" y="542"/>
                  </a:lnTo>
                  <a:lnTo>
                    <a:pt x="916" y="542"/>
                  </a:lnTo>
                  <a:close/>
                  <a:moveTo>
                    <a:pt x="1047" y="537"/>
                  </a:moveTo>
                  <a:lnTo>
                    <a:pt x="1047" y="539"/>
                  </a:lnTo>
                  <a:lnTo>
                    <a:pt x="1047" y="537"/>
                  </a:lnTo>
                  <a:close/>
                  <a:moveTo>
                    <a:pt x="1047" y="537"/>
                  </a:moveTo>
                  <a:lnTo>
                    <a:pt x="1047" y="539"/>
                  </a:lnTo>
                  <a:lnTo>
                    <a:pt x="1047" y="537"/>
                  </a:lnTo>
                  <a:close/>
                  <a:moveTo>
                    <a:pt x="1049" y="537"/>
                  </a:moveTo>
                  <a:lnTo>
                    <a:pt x="1047" y="537"/>
                  </a:lnTo>
                  <a:lnTo>
                    <a:pt x="1049" y="537"/>
                  </a:lnTo>
                  <a:close/>
                  <a:moveTo>
                    <a:pt x="1047" y="535"/>
                  </a:moveTo>
                  <a:lnTo>
                    <a:pt x="1049" y="535"/>
                  </a:lnTo>
                  <a:lnTo>
                    <a:pt x="1047" y="535"/>
                  </a:lnTo>
                  <a:close/>
                  <a:moveTo>
                    <a:pt x="1044" y="535"/>
                  </a:moveTo>
                  <a:lnTo>
                    <a:pt x="1047" y="535"/>
                  </a:lnTo>
                  <a:lnTo>
                    <a:pt x="1044" y="535"/>
                  </a:lnTo>
                  <a:close/>
                  <a:moveTo>
                    <a:pt x="1049" y="535"/>
                  </a:moveTo>
                  <a:lnTo>
                    <a:pt x="1049" y="532"/>
                  </a:lnTo>
                  <a:lnTo>
                    <a:pt x="1049" y="535"/>
                  </a:lnTo>
                  <a:close/>
                  <a:moveTo>
                    <a:pt x="1052" y="532"/>
                  </a:moveTo>
                  <a:lnTo>
                    <a:pt x="1049" y="532"/>
                  </a:lnTo>
                  <a:lnTo>
                    <a:pt x="1052" y="532"/>
                  </a:lnTo>
                  <a:close/>
                  <a:moveTo>
                    <a:pt x="1047" y="530"/>
                  </a:moveTo>
                  <a:lnTo>
                    <a:pt x="1044" y="530"/>
                  </a:lnTo>
                  <a:lnTo>
                    <a:pt x="1047" y="530"/>
                  </a:lnTo>
                  <a:close/>
                  <a:moveTo>
                    <a:pt x="1049" y="527"/>
                  </a:moveTo>
                  <a:lnTo>
                    <a:pt x="1047" y="527"/>
                  </a:lnTo>
                  <a:lnTo>
                    <a:pt x="1049" y="527"/>
                  </a:lnTo>
                  <a:close/>
                  <a:moveTo>
                    <a:pt x="1052" y="527"/>
                  </a:moveTo>
                  <a:lnTo>
                    <a:pt x="1049" y="527"/>
                  </a:lnTo>
                  <a:lnTo>
                    <a:pt x="1052" y="527"/>
                  </a:lnTo>
                  <a:close/>
                  <a:moveTo>
                    <a:pt x="1052" y="527"/>
                  </a:moveTo>
                  <a:lnTo>
                    <a:pt x="1049" y="527"/>
                  </a:lnTo>
                  <a:lnTo>
                    <a:pt x="1052" y="527"/>
                  </a:lnTo>
                  <a:close/>
                  <a:moveTo>
                    <a:pt x="1052" y="527"/>
                  </a:moveTo>
                  <a:lnTo>
                    <a:pt x="1049" y="527"/>
                  </a:lnTo>
                  <a:lnTo>
                    <a:pt x="1052" y="527"/>
                  </a:lnTo>
                  <a:close/>
                  <a:moveTo>
                    <a:pt x="1056" y="520"/>
                  </a:moveTo>
                  <a:lnTo>
                    <a:pt x="1059" y="520"/>
                  </a:lnTo>
                  <a:lnTo>
                    <a:pt x="1056" y="520"/>
                  </a:lnTo>
                  <a:close/>
                  <a:moveTo>
                    <a:pt x="1059" y="518"/>
                  </a:moveTo>
                  <a:lnTo>
                    <a:pt x="1056" y="518"/>
                  </a:lnTo>
                  <a:lnTo>
                    <a:pt x="1059" y="518"/>
                  </a:lnTo>
                  <a:close/>
                  <a:moveTo>
                    <a:pt x="1085" y="513"/>
                  </a:moveTo>
                  <a:lnTo>
                    <a:pt x="1082" y="513"/>
                  </a:lnTo>
                  <a:lnTo>
                    <a:pt x="1085" y="513"/>
                  </a:lnTo>
                  <a:close/>
                  <a:moveTo>
                    <a:pt x="1068" y="506"/>
                  </a:moveTo>
                  <a:lnTo>
                    <a:pt x="1068" y="508"/>
                  </a:lnTo>
                  <a:lnTo>
                    <a:pt x="1068" y="506"/>
                  </a:lnTo>
                  <a:close/>
                  <a:moveTo>
                    <a:pt x="1066" y="506"/>
                  </a:moveTo>
                  <a:lnTo>
                    <a:pt x="1066" y="508"/>
                  </a:lnTo>
                  <a:lnTo>
                    <a:pt x="1066" y="506"/>
                  </a:lnTo>
                  <a:close/>
                  <a:moveTo>
                    <a:pt x="859" y="506"/>
                  </a:moveTo>
                  <a:lnTo>
                    <a:pt x="859" y="504"/>
                  </a:lnTo>
                  <a:lnTo>
                    <a:pt x="859" y="506"/>
                  </a:lnTo>
                  <a:close/>
                  <a:moveTo>
                    <a:pt x="1099" y="504"/>
                  </a:moveTo>
                  <a:lnTo>
                    <a:pt x="1099" y="506"/>
                  </a:lnTo>
                  <a:lnTo>
                    <a:pt x="1099" y="504"/>
                  </a:lnTo>
                  <a:close/>
                  <a:moveTo>
                    <a:pt x="679" y="501"/>
                  </a:moveTo>
                  <a:lnTo>
                    <a:pt x="679" y="504"/>
                  </a:lnTo>
                  <a:lnTo>
                    <a:pt x="679" y="501"/>
                  </a:lnTo>
                  <a:close/>
                  <a:moveTo>
                    <a:pt x="677" y="504"/>
                  </a:moveTo>
                  <a:lnTo>
                    <a:pt x="677" y="501"/>
                  </a:lnTo>
                  <a:lnTo>
                    <a:pt x="677" y="504"/>
                  </a:lnTo>
                  <a:close/>
                  <a:moveTo>
                    <a:pt x="802" y="499"/>
                  </a:moveTo>
                  <a:lnTo>
                    <a:pt x="800" y="499"/>
                  </a:lnTo>
                  <a:lnTo>
                    <a:pt x="802" y="499"/>
                  </a:lnTo>
                  <a:close/>
                  <a:moveTo>
                    <a:pt x="1099" y="499"/>
                  </a:moveTo>
                  <a:lnTo>
                    <a:pt x="1097" y="499"/>
                  </a:lnTo>
                  <a:lnTo>
                    <a:pt x="1099" y="499"/>
                  </a:lnTo>
                  <a:close/>
                  <a:moveTo>
                    <a:pt x="1082" y="499"/>
                  </a:moveTo>
                  <a:lnTo>
                    <a:pt x="1082" y="497"/>
                  </a:lnTo>
                  <a:lnTo>
                    <a:pt x="1082" y="499"/>
                  </a:lnTo>
                  <a:close/>
                  <a:moveTo>
                    <a:pt x="1080" y="499"/>
                  </a:moveTo>
                  <a:lnTo>
                    <a:pt x="1080" y="497"/>
                  </a:lnTo>
                  <a:lnTo>
                    <a:pt x="1080" y="499"/>
                  </a:lnTo>
                  <a:close/>
                  <a:moveTo>
                    <a:pt x="670" y="497"/>
                  </a:moveTo>
                  <a:lnTo>
                    <a:pt x="667" y="497"/>
                  </a:lnTo>
                  <a:lnTo>
                    <a:pt x="670" y="497"/>
                  </a:lnTo>
                  <a:close/>
                  <a:moveTo>
                    <a:pt x="798" y="497"/>
                  </a:moveTo>
                  <a:lnTo>
                    <a:pt x="798" y="494"/>
                  </a:lnTo>
                  <a:lnTo>
                    <a:pt x="798" y="497"/>
                  </a:lnTo>
                  <a:close/>
                  <a:moveTo>
                    <a:pt x="800" y="492"/>
                  </a:moveTo>
                  <a:lnTo>
                    <a:pt x="798" y="492"/>
                  </a:lnTo>
                  <a:lnTo>
                    <a:pt x="800" y="492"/>
                  </a:lnTo>
                  <a:close/>
                  <a:moveTo>
                    <a:pt x="800" y="489"/>
                  </a:moveTo>
                  <a:lnTo>
                    <a:pt x="800" y="492"/>
                  </a:lnTo>
                  <a:lnTo>
                    <a:pt x="800" y="489"/>
                  </a:lnTo>
                  <a:close/>
                  <a:moveTo>
                    <a:pt x="651" y="489"/>
                  </a:moveTo>
                  <a:lnTo>
                    <a:pt x="648" y="489"/>
                  </a:lnTo>
                  <a:lnTo>
                    <a:pt x="651" y="489"/>
                  </a:lnTo>
                  <a:close/>
                  <a:moveTo>
                    <a:pt x="1229" y="487"/>
                  </a:moveTo>
                  <a:lnTo>
                    <a:pt x="1229" y="489"/>
                  </a:lnTo>
                  <a:lnTo>
                    <a:pt x="1229" y="487"/>
                  </a:lnTo>
                  <a:close/>
                  <a:moveTo>
                    <a:pt x="1111" y="489"/>
                  </a:moveTo>
                  <a:lnTo>
                    <a:pt x="1111" y="487"/>
                  </a:lnTo>
                  <a:lnTo>
                    <a:pt x="1111" y="489"/>
                  </a:lnTo>
                  <a:close/>
                  <a:moveTo>
                    <a:pt x="643" y="487"/>
                  </a:moveTo>
                  <a:lnTo>
                    <a:pt x="641" y="487"/>
                  </a:lnTo>
                  <a:lnTo>
                    <a:pt x="643" y="487"/>
                  </a:lnTo>
                  <a:close/>
                  <a:moveTo>
                    <a:pt x="641" y="487"/>
                  </a:moveTo>
                  <a:lnTo>
                    <a:pt x="643" y="487"/>
                  </a:lnTo>
                  <a:lnTo>
                    <a:pt x="641" y="487"/>
                  </a:lnTo>
                  <a:close/>
                  <a:moveTo>
                    <a:pt x="1097" y="487"/>
                  </a:moveTo>
                  <a:lnTo>
                    <a:pt x="1097" y="485"/>
                  </a:lnTo>
                  <a:lnTo>
                    <a:pt x="1097" y="487"/>
                  </a:lnTo>
                  <a:close/>
                  <a:moveTo>
                    <a:pt x="1127" y="485"/>
                  </a:moveTo>
                  <a:lnTo>
                    <a:pt x="1127" y="487"/>
                  </a:lnTo>
                  <a:lnTo>
                    <a:pt x="1127" y="485"/>
                  </a:lnTo>
                  <a:close/>
                  <a:moveTo>
                    <a:pt x="1094" y="485"/>
                  </a:moveTo>
                  <a:lnTo>
                    <a:pt x="1094" y="487"/>
                  </a:lnTo>
                  <a:lnTo>
                    <a:pt x="1094" y="485"/>
                  </a:lnTo>
                  <a:close/>
                  <a:moveTo>
                    <a:pt x="1097" y="485"/>
                  </a:moveTo>
                  <a:lnTo>
                    <a:pt x="1094" y="485"/>
                  </a:lnTo>
                  <a:lnTo>
                    <a:pt x="1097" y="485"/>
                  </a:lnTo>
                  <a:close/>
                  <a:moveTo>
                    <a:pt x="883" y="485"/>
                  </a:moveTo>
                  <a:lnTo>
                    <a:pt x="881" y="485"/>
                  </a:lnTo>
                  <a:lnTo>
                    <a:pt x="883" y="485"/>
                  </a:lnTo>
                  <a:close/>
                  <a:moveTo>
                    <a:pt x="881" y="482"/>
                  </a:moveTo>
                  <a:lnTo>
                    <a:pt x="881" y="485"/>
                  </a:lnTo>
                  <a:lnTo>
                    <a:pt x="881" y="482"/>
                  </a:lnTo>
                  <a:close/>
                  <a:moveTo>
                    <a:pt x="881" y="482"/>
                  </a:moveTo>
                  <a:lnTo>
                    <a:pt x="878" y="482"/>
                  </a:lnTo>
                  <a:lnTo>
                    <a:pt x="881" y="482"/>
                  </a:lnTo>
                  <a:close/>
                  <a:moveTo>
                    <a:pt x="871" y="482"/>
                  </a:moveTo>
                  <a:lnTo>
                    <a:pt x="869" y="482"/>
                  </a:lnTo>
                  <a:lnTo>
                    <a:pt x="871" y="482"/>
                  </a:lnTo>
                  <a:close/>
                  <a:moveTo>
                    <a:pt x="1123" y="480"/>
                  </a:moveTo>
                  <a:lnTo>
                    <a:pt x="1120" y="480"/>
                  </a:lnTo>
                  <a:lnTo>
                    <a:pt x="1123" y="480"/>
                  </a:lnTo>
                  <a:close/>
                  <a:moveTo>
                    <a:pt x="1104" y="478"/>
                  </a:moveTo>
                  <a:lnTo>
                    <a:pt x="1104" y="480"/>
                  </a:lnTo>
                  <a:lnTo>
                    <a:pt x="1104" y="478"/>
                  </a:lnTo>
                  <a:close/>
                  <a:moveTo>
                    <a:pt x="1125" y="480"/>
                  </a:moveTo>
                  <a:lnTo>
                    <a:pt x="1125" y="478"/>
                  </a:lnTo>
                  <a:lnTo>
                    <a:pt x="1125" y="480"/>
                  </a:lnTo>
                  <a:close/>
                  <a:moveTo>
                    <a:pt x="1099" y="478"/>
                  </a:moveTo>
                  <a:lnTo>
                    <a:pt x="1099" y="480"/>
                  </a:lnTo>
                  <a:lnTo>
                    <a:pt x="1099" y="478"/>
                  </a:lnTo>
                  <a:close/>
                  <a:moveTo>
                    <a:pt x="1127" y="480"/>
                  </a:moveTo>
                  <a:lnTo>
                    <a:pt x="1127" y="478"/>
                  </a:lnTo>
                  <a:lnTo>
                    <a:pt x="1127" y="480"/>
                  </a:lnTo>
                  <a:close/>
                  <a:moveTo>
                    <a:pt x="1310" y="473"/>
                  </a:moveTo>
                  <a:lnTo>
                    <a:pt x="1313" y="473"/>
                  </a:lnTo>
                  <a:lnTo>
                    <a:pt x="1310" y="473"/>
                  </a:lnTo>
                  <a:close/>
                  <a:moveTo>
                    <a:pt x="1310" y="473"/>
                  </a:moveTo>
                  <a:lnTo>
                    <a:pt x="1313" y="473"/>
                  </a:lnTo>
                  <a:lnTo>
                    <a:pt x="1310" y="473"/>
                  </a:lnTo>
                  <a:close/>
                  <a:moveTo>
                    <a:pt x="1313" y="473"/>
                  </a:moveTo>
                  <a:lnTo>
                    <a:pt x="1315" y="473"/>
                  </a:lnTo>
                  <a:lnTo>
                    <a:pt x="1313" y="473"/>
                  </a:lnTo>
                  <a:close/>
                  <a:moveTo>
                    <a:pt x="1315" y="470"/>
                  </a:moveTo>
                  <a:lnTo>
                    <a:pt x="1315" y="473"/>
                  </a:lnTo>
                  <a:lnTo>
                    <a:pt x="1315" y="470"/>
                  </a:lnTo>
                  <a:close/>
                  <a:moveTo>
                    <a:pt x="1018" y="470"/>
                  </a:moveTo>
                  <a:lnTo>
                    <a:pt x="1018" y="473"/>
                  </a:lnTo>
                  <a:lnTo>
                    <a:pt x="1018" y="470"/>
                  </a:lnTo>
                  <a:close/>
                  <a:moveTo>
                    <a:pt x="1218" y="470"/>
                  </a:moveTo>
                  <a:lnTo>
                    <a:pt x="1215" y="470"/>
                  </a:lnTo>
                  <a:lnTo>
                    <a:pt x="1218" y="470"/>
                  </a:lnTo>
                  <a:close/>
                  <a:moveTo>
                    <a:pt x="1023" y="470"/>
                  </a:moveTo>
                  <a:lnTo>
                    <a:pt x="1021" y="470"/>
                  </a:lnTo>
                  <a:lnTo>
                    <a:pt x="1023" y="470"/>
                  </a:lnTo>
                  <a:close/>
                  <a:moveTo>
                    <a:pt x="1317" y="468"/>
                  </a:moveTo>
                  <a:lnTo>
                    <a:pt x="1320" y="468"/>
                  </a:lnTo>
                  <a:lnTo>
                    <a:pt x="1317" y="468"/>
                  </a:lnTo>
                  <a:close/>
                  <a:moveTo>
                    <a:pt x="1042" y="468"/>
                  </a:moveTo>
                  <a:lnTo>
                    <a:pt x="1040" y="468"/>
                  </a:lnTo>
                  <a:lnTo>
                    <a:pt x="1042" y="468"/>
                  </a:lnTo>
                  <a:close/>
                  <a:moveTo>
                    <a:pt x="1042" y="466"/>
                  </a:moveTo>
                  <a:lnTo>
                    <a:pt x="1040" y="466"/>
                  </a:lnTo>
                  <a:lnTo>
                    <a:pt x="1042" y="466"/>
                  </a:lnTo>
                  <a:close/>
                  <a:moveTo>
                    <a:pt x="1082" y="466"/>
                  </a:moveTo>
                  <a:lnTo>
                    <a:pt x="1080" y="466"/>
                  </a:lnTo>
                  <a:lnTo>
                    <a:pt x="1082" y="466"/>
                  </a:lnTo>
                  <a:close/>
                  <a:moveTo>
                    <a:pt x="1042" y="466"/>
                  </a:moveTo>
                  <a:lnTo>
                    <a:pt x="1042" y="463"/>
                  </a:lnTo>
                  <a:lnTo>
                    <a:pt x="1042" y="466"/>
                  </a:lnTo>
                  <a:close/>
                  <a:moveTo>
                    <a:pt x="1163" y="466"/>
                  </a:moveTo>
                  <a:lnTo>
                    <a:pt x="1163" y="463"/>
                  </a:lnTo>
                  <a:lnTo>
                    <a:pt x="1163" y="466"/>
                  </a:lnTo>
                  <a:close/>
                  <a:moveTo>
                    <a:pt x="1163" y="463"/>
                  </a:moveTo>
                  <a:lnTo>
                    <a:pt x="1163" y="466"/>
                  </a:lnTo>
                  <a:lnTo>
                    <a:pt x="1163" y="463"/>
                  </a:lnTo>
                  <a:close/>
                  <a:moveTo>
                    <a:pt x="1225" y="463"/>
                  </a:moveTo>
                  <a:lnTo>
                    <a:pt x="1222" y="463"/>
                  </a:lnTo>
                  <a:lnTo>
                    <a:pt x="1222" y="461"/>
                  </a:lnTo>
                  <a:lnTo>
                    <a:pt x="1225" y="463"/>
                  </a:lnTo>
                  <a:close/>
                  <a:moveTo>
                    <a:pt x="1232" y="461"/>
                  </a:moveTo>
                  <a:lnTo>
                    <a:pt x="1232" y="463"/>
                  </a:lnTo>
                  <a:lnTo>
                    <a:pt x="1232" y="461"/>
                  </a:lnTo>
                  <a:close/>
                  <a:moveTo>
                    <a:pt x="1068" y="461"/>
                  </a:moveTo>
                  <a:lnTo>
                    <a:pt x="1068" y="463"/>
                  </a:lnTo>
                  <a:lnTo>
                    <a:pt x="1068" y="461"/>
                  </a:lnTo>
                  <a:close/>
                  <a:moveTo>
                    <a:pt x="1232" y="461"/>
                  </a:moveTo>
                  <a:lnTo>
                    <a:pt x="1232" y="463"/>
                  </a:lnTo>
                  <a:lnTo>
                    <a:pt x="1232" y="461"/>
                  </a:lnTo>
                  <a:close/>
                  <a:moveTo>
                    <a:pt x="1229" y="461"/>
                  </a:moveTo>
                  <a:lnTo>
                    <a:pt x="1229" y="463"/>
                  </a:lnTo>
                  <a:lnTo>
                    <a:pt x="1229" y="461"/>
                  </a:lnTo>
                  <a:close/>
                  <a:moveTo>
                    <a:pt x="1073" y="461"/>
                  </a:moveTo>
                  <a:lnTo>
                    <a:pt x="1071" y="461"/>
                  </a:lnTo>
                  <a:lnTo>
                    <a:pt x="1073" y="461"/>
                  </a:lnTo>
                  <a:close/>
                  <a:moveTo>
                    <a:pt x="1165" y="461"/>
                  </a:moveTo>
                  <a:lnTo>
                    <a:pt x="1165" y="463"/>
                  </a:lnTo>
                  <a:lnTo>
                    <a:pt x="1165" y="461"/>
                  </a:lnTo>
                  <a:close/>
                  <a:moveTo>
                    <a:pt x="1234" y="461"/>
                  </a:moveTo>
                  <a:lnTo>
                    <a:pt x="1232" y="461"/>
                  </a:lnTo>
                  <a:lnTo>
                    <a:pt x="1234" y="461"/>
                  </a:lnTo>
                  <a:close/>
                  <a:moveTo>
                    <a:pt x="1066" y="461"/>
                  </a:moveTo>
                  <a:lnTo>
                    <a:pt x="1063" y="461"/>
                  </a:lnTo>
                  <a:lnTo>
                    <a:pt x="1066" y="461"/>
                  </a:lnTo>
                  <a:lnTo>
                    <a:pt x="1063" y="461"/>
                  </a:lnTo>
                  <a:lnTo>
                    <a:pt x="1066" y="461"/>
                  </a:lnTo>
                  <a:close/>
                  <a:moveTo>
                    <a:pt x="1071" y="461"/>
                  </a:moveTo>
                  <a:lnTo>
                    <a:pt x="1068" y="461"/>
                  </a:lnTo>
                  <a:lnTo>
                    <a:pt x="1071" y="461"/>
                  </a:lnTo>
                  <a:close/>
                  <a:moveTo>
                    <a:pt x="1177" y="461"/>
                  </a:moveTo>
                  <a:lnTo>
                    <a:pt x="1175" y="461"/>
                  </a:lnTo>
                  <a:lnTo>
                    <a:pt x="1177" y="461"/>
                  </a:lnTo>
                  <a:close/>
                  <a:moveTo>
                    <a:pt x="1237" y="459"/>
                  </a:moveTo>
                  <a:lnTo>
                    <a:pt x="1237" y="461"/>
                  </a:lnTo>
                  <a:lnTo>
                    <a:pt x="1237" y="459"/>
                  </a:lnTo>
                  <a:close/>
                  <a:moveTo>
                    <a:pt x="1215" y="461"/>
                  </a:moveTo>
                  <a:lnTo>
                    <a:pt x="1215" y="459"/>
                  </a:lnTo>
                  <a:lnTo>
                    <a:pt x="1215" y="461"/>
                  </a:lnTo>
                  <a:close/>
                  <a:moveTo>
                    <a:pt x="1237" y="461"/>
                  </a:moveTo>
                  <a:lnTo>
                    <a:pt x="1237" y="459"/>
                  </a:lnTo>
                  <a:lnTo>
                    <a:pt x="1237" y="461"/>
                  </a:lnTo>
                  <a:close/>
                  <a:moveTo>
                    <a:pt x="1213" y="461"/>
                  </a:moveTo>
                  <a:lnTo>
                    <a:pt x="1213" y="459"/>
                  </a:lnTo>
                  <a:lnTo>
                    <a:pt x="1213" y="461"/>
                  </a:lnTo>
                  <a:close/>
                  <a:moveTo>
                    <a:pt x="1291" y="459"/>
                  </a:moveTo>
                  <a:lnTo>
                    <a:pt x="1291" y="461"/>
                  </a:lnTo>
                  <a:lnTo>
                    <a:pt x="1291" y="459"/>
                  </a:lnTo>
                  <a:close/>
                  <a:moveTo>
                    <a:pt x="1215" y="459"/>
                  </a:moveTo>
                  <a:lnTo>
                    <a:pt x="1213" y="459"/>
                  </a:lnTo>
                  <a:lnTo>
                    <a:pt x="1215" y="459"/>
                  </a:lnTo>
                  <a:close/>
                  <a:moveTo>
                    <a:pt x="1068" y="459"/>
                  </a:moveTo>
                  <a:lnTo>
                    <a:pt x="1071" y="459"/>
                  </a:lnTo>
                  <a:lnTo>
                    <a:pt x="1068" y="459"/>
                  </a:lnTo>
                  <a:lnTo>
                    <a:pt x="1071" y="459"/>
                  </a:lnTo>
                  <a:lnTo>
                    <a:pt x="1068" y="459"/>
                  </a:lnTo>
                  <a:close/>
                  <a:moveTo>
                    <a:pt x="1208" y="459"/>
                  </a:moveTo>
                  <a:lnTo>
                    <a:pt x="1206" y="459"/>
                  </a:lnTo>
                  <a:lnTo>
                    <a:pt x="1208" y="459"/>
                  </a:lnTo>
                  <a:close/>
                  <a:moveTo>
                    <a:pt x="1068" y="459"/>
                  </a:moveTo>
                  <a:lnTo>
                    <a:pt x="1071" y="459"/>
                  </a:lnTo>
                  <a:lnTo>
                    <a:pt x="1068" y="459"/>
                  </a:lnTo>
                  <a:close/>
                  <a:moveTo>
                    <a:pt x="1215" y="459"/>
                  </a:moveTo>
                  <a:lnTo>
                    <a:pt x="1213" y="459"/>
                  </a:lnTo>
                  <a:lnTo>
                    <a:pt x="1215" y="459"/>
                  </a:lnTo>
                  <a:close/>
                  <a:moveTo>
                    <a:pt x="1215" y="459"/>
                  </a:moveTo>
                  <a:lnTo>
                    <a:pt x="1213" y="459"/>
                  </a:lnTo>
                  <a:lnTo>
                    <a:pt x="1215" y="459"/>
                  </a:lnTo>
                  <a:close/>
                  <a:moveTo>
                    <a:pt x="1199" y="459"/>
                  </a:moveTo>
                  <a:lnTo>
                    <a:pt x="1196" y="459"/>
                  </a:lnTo>
                  <a:lnTo>
                    <a:pt x="1199" y="459"/>
                  </a:lnTo>
                  <a:close/>
                  <a:moveTo>
                    <a:pt x="1284" y="459"/>
                  </a:moveTo>
                  <a:lnTo>
                    <a:pt x="1286" y="459"/>
                  </a:lnTo>
                  <a:lnTo>
                    <a:pt x="1284" y="459"/>
                  </a:lnTo>
                  <a:close/>
                  <a:moveTo>
                    <a:pt x="1066" y="459"/>
                  </a:moveTo>
                  <a:lnTo>
                    <a:pt x="1063" y="459"/>
                  </a:lnTo>
                  <a:lnTo>
                    <a:pt x="1066" y="459"/>
                  </a:lnTo>
                  <a:close/>
                  <a:moveTo>
                    <a:pt x="1213" y="459"/>
                  </a:moveTo>
                  <a:lnTo>
                    <a:pt x="1215" y="459"/>
                  </a:lnTo>
                  <a:lnTo>
                    <a:pt x="1213" y="459"/>
                  </a:lnTo>
                  <a:close/>
                  <a:moveTo>
                    <a:pt x="591" y="456"/>
                  </a:moveTo>
                  <a:lnTo>
                    <a:pt x="589" y="456"/>
                  </a:lnTo>
                  <a:lnTo>
                    <a:pt x="591" y="456"/>
                  </a:lnTo>
                  <a:close/>
                  <a:moveTo>
                    <a:pt x="1291" y="456"/>
                  </a:moveTo>
                  <a:lnTo>
                    <a:pt x="1294" y="456"/>
                  </a:lnTo>
                  <a:lnTo>
                    <a:pt x="1291" y="456"/>
                  </a:lnTo>
                  <a:close/>
                  <a:moveTo>
                    <a:pt x="1294" y="456"/>
                  </a:moveTo>
                  <a:lnTo>
                    <a:pt x="1291" y="456"/>
                  </a:lnTo>
                  <a:lnTo>
                    <a:pt x="1294" y="456"/>
                  </a:lnTo>
                  <a:close/>
                  <a:moveTo>
                    <a:pt x="1294" y="456"/>
                  </a:moveTo>
                  <a:lnTo>
                    <a:pt x="1294" y="454"/>
                  </a:lnTo>
                  <a:lnTo>
                    <a:pt x="1294" y="456"/>
                  </a:lnTo>
                  <a:close/>
                  <a:moveTo>
                    <a:pt x="1294" y="456"/>
                  </a:moveTo>
                  <a:lnTo>
                    <a:pt x="1294" y="454"/>
                  </a:lnTo>
                  <a:lnTo>
                    <a:pt x="1294" y="456"/>
                  </a:lnTo>
                  <a:close/>
                  <a:moveTo>
                    <a:pt x="1294" y="456"/>
                  </a:moveTo>
                  <a:lnTo>
                    <a:pt x="1294" y="454"/>
                  </a:lnTo>
                  <a:lnTo>
                    <a:pt x="1294" y="456"/>
                  </a:lnTo>
                  <a:close/>
                  <a:moveTo>
                    <a:pt x="1294" y="454"/>
                  </a:moveTo>
                  <a:lnTo>
                    <a:pt x="1294" y="456"/>
                  </a:lnTo>
                  <a:lnTo>
                    <a:pt x="1294" y="454"/>
                  </a:lnTo>
                  <a:close/>
                  <a:moveTo>
                    <a:pt x="589" y="454"/>
                  </a:moveTo>
                  <a:lnTo>
                    <a:pt x="586" y="454"/>
                  </a:lnTo>
                  <a:lnTo>
                    <a:pt x="589" y="454"/>
                  </a:lnTo>
                  <a:close/>
                  <a:moveTo>
                    <a:pt x="1296" y="454"/>
                  </a:moveTo>
                  <a:lnTo>
                    <a:pt x="1294" y="454"/>
                  </a:lnTo>
                  <a:lnTo>
                    <a:pt x="1296" y="454"/>
                  </a:lnTo>
                  <a:close/>
                  <a:moveTo>
                    <a:pt x="959" y="451"/>
                  </a:moveTo>
                  <a:lnTo>
                    <a:pt x="959" y="454"/>
                  </a:lnTo>
                  <a:lnTo>
                    <a:pt x="959" y="451"/>
                  </a:lnTo>
                  <a:close/>
                  <a:moveTo>
                    <a:pt x="1094" y="454"/>
                  </a:moveTo>
                  <a:lnTo>
                    <a:pt x="1094" y="451"/>
                  </a:lnTo>
                  <a:lnTo>
                    <a:pt x="1094" y="454"/>
                  </a:lnTo>
                  <a:close/>
                  <a:moveTo>
                    <a:pt x="1092" y="451"/>
                  </a:moveTo>
                  <a:lnTo>
                    <a:pt x="1092" y="454"/>
                  </a:lnTo>
                  <a:lnTo>
                    <a:pt x="1092" y="451"/>
                  </a:lnTo>
                  <a:close/>
                  <a:moveTo>
                    <a:pt x="957" y="451"/>
                  </a:moveTo>
                  <a:lnTo>
                    <a:pt x="959" y="451"/>
                  </a:lnTo>
                  <a:lnTo>
                    <a:pt x="957" y="451"/>
                  </a:lnTo>
                  <a:close/>
                  <a:moveTo>
                    <a:pt x="957" y="451"/>
                  </a:moveTo>
                  <a:lnTo>
                    <a:pt x="959" y="451"/>
                  </a:lnTo>
                  <a:lnTo>
                    <a:pt x="957" y="451"/>
                  </a:lnTo>
                  <a:close/>
                  <a:moveTo>
                    <a:pt x="957" y="451"/>
                  </a:moveTo>
                  <a:lnTo>
                    <a:pt x="959" y="451"/>
                  </a:lnTo>
                  <a:lnTo>
                    <a:pt x="957" y="451"/>
                  </a:lnTo>
                  <a:close/>
                  <a:moveTo>
                    <a:pt x="1310" y="449"/>
                  </a:moveTo>
                  <a:lnTo>
                    <a:pt x="1310" y="451"/>
                  </a:lnTo>
                  <a:lnTo>
                    <a:pt x="1310" y="449"/>
                  </a:lnTo>
                  <a:close/>
                  <a:moveTo>
                    <a:pt x="1310" y="451"/>
                  </a:moveTo>
                  <a:lnTo>
                    <a:pt x="1310" y="449"/>
                  </a:lnTo>
                  <a:lnTo>
                    <a:pt x="1310" y="451"/>
                  </a:lnTo>
                  <a:lnTo>
                    <a:pt x="1310" y="449"/>
                  </a:lnTo>
                  <a:lnTo>
                    <a:pt x="1310" y="451"/>
                  </a:lnTo>
                  <a:close/>
                  <a:moveTo>
                    <a:pt x="579" y="449"/>
                  </a:moveTo>
                  <a:lnTo>
                    <a:pt x="579" y="451"/>
                  </a:lnTo>
                  <a:lnTo>
                    <a:pt x="579" y="449"/>
                  </a:lnTo>
                  <a:close/>
                  <a:moveTo>
                    <a:pt x="1097" y="449"/>
                  </a:moveTo>
                  <a:lnTo>
                    <a:pt x="1094" y="449"/>
                  </a:lnTo>
                  <a:lnTo>
                    <a:pt x="1097" y="449"/>
                  </a:lnTo>
                  <a:close/>
                  <a:moveTo>
                    <a:pt x="1199" y="447"/>
                  </a:moveTo>
                  <a:lnTo>
                    <a:pt x="1199" y="449"/>
                  </a:lnTo>
                  <a:lnTo>
                    <a:pt x="1199" y="447"/>
                  </a:lnTo>
                  <a:close/>
                  <a:moveTo>
                    <a:pt x="938" y="449"/>
                  </a:moveTo>
                  <a:lnTo>
                    <a:pt x="938" y="447"/>
                  </a:lnTo>
                  <a:lnTo>
                    <a:pt x="938" y="449"/>
                  </a:lnTo>
                  <a:close/>
                  <a:moveTo>
                    <a:pt x="1137" y="447"/>
                  </a:moveTo>
                  <a:lnTo>
                    <a:pt x="1135" y="447"/>
                  </a:lnTo>
                  <a:lnTo>
                    <a:pt x="1137" y="447"/>
                  </a:lnTo>
                  <a:close/>
                  <a:moveTo>
                    <a:pt x="1362" y="447"/>
                  </a:moveTo>
                  <a:lnTo>
                    <a:pt x="1360" y="447"/>
                  </a:lnTo>
                  <a:lnTo>
                    <a:pt x="1362" y="447"/>
                  </a:lnTo>
                  <a:close/>
                  <a:moveTo>
                    <a:pt x="1348" y="447"/>
                  </a:moveTo>
                  <a:lnTo>
                    <a:pt x="1346" y="447"/>
                  </a:lnTo>
                  <a:lnTo>
                    <a:pt x="1348" y="447"/>
                  </a:lnTo>
                  <a:close/>
                  <a:moveTo>
                    <a:pt x="1137" y="447"/>
                  </a:moveTo>
                  <a:lnTo>
                    <a:pt x="1135" y="447"/>
                  </a:lnTo>
                  <a:lnTo>
                    <a:pt x="1137" y="447"/>
                  </a:lnTo>
                  <a:close/>
                  <a:moveTo>
                    <a:pt x="935" y="447"/>
                  </a:moveTo>
                  <a:lnTo>
                    <a:pt x="933" y="447"/>
                  </a:lnTo>
                  <a:lnTo>
                    <a:pt x="935" y="447"/>
                  </a:lnTo>
                  <a:close/>
                  <a:moveTo>
                    <a:pt x="1125" y="447"/>
                  </a:moveTo>
                  <a:lnTo>
                    <a:pt x="1123" y="447"/>
                  </a:lnTo>
                  <a:lnTo>
                    <a:pt x="1125" y="447"/>
                  </a:lnTo>
                  <a:close/>
                  <a:moveTo>
                    <a:pt x="1346" y="444"/>
                  </a:moveTo>
                  <a:lnTo>
                    <a:pt x="1346" y="447"/>
                  </a:lnTo>
                  <a:lnTo>
                    <a:pt x="1346" y="444"/>
                  </a:lnTo>
                  <a:close/>
                  <a:moveTo>
                    <a:pt x="1135" y="444"/>
                  </a:moveTo>
                  <a:lnTo>
                    <a:pt x="1135" y="447"/>
                  </a:lnTo>
                  <a:lnTo>
                    <a:pt x="1135" y="444"/>
                  </a:lnTo>
                  <a:close/>
                  <a:moveTo>
                    <a:pt x="1123" y="444"/>
                  </a:moveTo>
                  <a:lnTo>
                    <a:pt x="1123" y="447"/>
                  </a:lnTo>
                  <a:lnTo>
                    <a:pt x="1123" y="444"/>
                  </a:lnTo>
                  <a:close/>
                  <a:moveTo>
                    <a:pt x="1135" y="447"/>
                  </a:moveTo>
                  <a:lnTo>
                    <a:pt x="1135" y="444"/>
                  </a:lnTo>
                  <a:lnTo>
                    <a:pt x="1135" y="447"/>
                  </a:lnTo>
                  <a:close/>
                  <a:moveTo>
                    <a:pt x="1135" y="444"/>
                  </a:moveTo>
                  <a:lnTo>
                    <a:pt x="1132" y="444"/>
                  </a:lnTo>
                  <a:lnTo>
                    <a:pt x="1135" y="444"/>
                  </a:lnTo>
                  <a:close/>
                  <a:moveTo>
                    <a:pt x="1313" y="444"/>
                  </a:moveTo>
                  <a:lnTo>
                    <a:pt x="1310" y="444"/>
                  </a:lnTo>
                  <a:lnTo>
                    <a:pt x="1313" y="444"/>
                  </a:lnTo>
                  <a:close/>
                  <a:moveTo>
                    <a:pt x="1132" y="444"/>
                  </a:moveTo>
                  <a:lnTo>
                    <a:pt x="1130" y="444"/>
                  </a:lnTo>
                  <a:lnTo>
                    <a:pt x="1132" y="444"/>
                  </a:lnTo>
                  <a:close/>
                  <a:moveTo>
                    <a:pt x="1313" y="444"/>
                  </a:moveTo>
                  <a:lnTo>
                    <a:pt x="1310" y="444"/>
                  </a:lnTo>
                  <a:lnTo>
                    <a:pt x="1313" y="444"/>
                  </a:lnTo>
                  <a:close/>
                  <a:moveTo>
                    <a:pt x="1305" y="442"/>
                  </a:moveTo>
                  <a:lnTo>
                    <a:pt x="1305" y="444"/>
                  </a:lnTo>
                  <a:lnTo>
                    <a:pt x="1305" y="442"/>
                  </a:lnTo>
                  <a:close/>
                  <a:moveTo>
                    <a:pt x="1313" y="442"/>
                  </a:moveTo>
                  <a:lnTo>
                    <a:pt x="1313" y="444"/>
                  </a:lnTo>
                  <a:lnTo>
                    <a:pt x="1313" y="442"/>
                  </a:lnTo>
                  <a:close/>
                  <a:moveTo>
                    <a:pt x="1116" y="442"/>
                  </a:moveTo>
                  <a:lnTo>
                    <a:pt x="1118" y="442"/>
                  </a:lnTo>
                  <a:lnTo>
                    <a:pt x="1116" y="442"/>
                  </a:lnTo>
                  <a:close/>
                  <a:moveTo>
                    <a:pt x="1313" y="442"/>
                  </a:moveTo>
                  <a:lnTo>
                    <a:pt x="1310" y="442"/>
                  </a:lnTo>
                  <a:lnTo>
                    <a:pt x="1313" y="442"/>
                  </a:lnTo>
                  <a:close/>
                  <a:moveTo>
                    <a:pt x="1301" y="442"/>
                  </a:moveTo>
                  <a:lnTo>
                    <a:pt x="1298" y="442"/>
                  </a:lnTo>
                  <a:lnTo>
                    <a:pt x="1301" y="442"/>
                  </a:lnTo>
                  <a:close/>
                  <a:moveTo>
                    <a:pt x="1358" y="442"/>
                  </a:moveTo>
                  <a:lnTo>
                    <a:pt x="1355" y="442"/>
                  </a:lnTo>
                  <a:lnTo>
                    <a:pt x="1358" y="442"/>
                  </a:lnTo>
                  <a:close/>
                  <a:moveTo>
                    <a:pt x="1301" y="442"/>
                  </a:moveTo>
                  <a:lnTo>
                    <a:pt x="1301" y="440"/>
                  </a:lnTo>
                  <a:lnTo>
                    <a:pt x="1301" y="442"/>
                  </a:lnTo>
                  <a:close/>
                  <a:moveTo>
                    <a:pt x="1305" y="442"/>
                  </a:moveTo>
                  <a:lnTo>
                    <a:pt x="1305" y="440"/>
                  </a:lnTo>
                  <a:lnTo>
                    <a:pt x="1305" y="442"/>
                  </a:lnTo>
                  <a:close/>
                  <a:moveTo>
                    <a:pt x="1298" y="440"/>
                  </a:moveTo>
                  <a:lnTo>
                    <a:pt x="1298" y="442"/>
                  </a:lnTo>
                  <a:lnTo>
                    <a:pt x="1298" y="440"/>
                  </a:lnTo>
                  <a:close/>
                  <a:moveTo>
                    <a:pt x="1308" y="440"/>
                  </a:moveTo>
                  <a:lnTo>
                    <a:pt x="1308" y="442"/>
                  </a:lnTo>
                  <a:lnTo>
                    <a:pt x="1308" y="440"/>
                  </a:lnTo>
                  <a:close/>
                  <a:moveTo>
                    <a:pt x="983" y="442"/>
                  </a:moveTo>
                  <a:lnTo>
                    <a:pt x="983" y="440"/>
                  </a:lnTo>
                  <a:lnTo>
                    <a:pt x="983" y="442"/>
                  </a:lnTo>
                  <a:close/>
                  <a:moveTo>
                    <a:pt x="1298" y="442"/>
                  </a:moveTo>
                  <a:lnTo>
                    <a:pt x="1298" y="440"/>
                  </a:lnTo>
                  <a:lnTo>
                    <a:pt x="1298" y="442"/>
                  </a:lnTo>
                  <a:close/>
                  <a:moveTo>
                    <a:pt x="1305" y="440"/>
                  </a:moveTo>
                  <a:lnTo>
                    <a:pt x="1305" y="442"/>
                  </a:lnTo>
                  <a:lnTo>
                    <a:pt x="1305" y="440"/>
                  </a:lnTo>
                  <a:close/>
                  <a:moveTo>
                    <a:pt x="1298" y="440"/>
                  </a:moveTo>
                  <a:lnTo>
                    <a:pt x="1298" y="442"/>
                  </a:lnTo>
                  <a:lnTo>
                    <a:pt x="1298" y="440"/>
                  </a:lnTo>
                  <a:close/>
                  <a:moveTo>
                    <a:pt x="558" y="440"/>
                  </a:moveTo>
                  <a:lnTo>
                    <a:pt x="556" y="440"/>
                  </a:lnTo>
                  <a:lnTo>
                    <a:pt x="558" y="440"/>
                  </a:lnTo>
                  <a:close/>
                  <a:moveTo>
                    <a:pt x="985" y="440"/>
                  </a:moveTo>
                  <a:lnTo>
                    <a:pt x="983" y="440"/>
                  </a:lnTo>
                  <a:lnTo>
                    <a:pt x="985" y="440"/>
                  </a:lnTo>
                  <a:close/>
                  <a:moveTo>
                    <a:pt x="985" y="437"/>
                  </a:moveTo>
                  <a:lnTo>
                    <a:pt x="985" y="440"/>
                  </a:lnTo>
                  <a:lnTo>
                    <a:pt x="985" y="437"/>
                  </a:lnTo>
                  <a:close/>
                  <a:moveTo>
                    <a:pt x="556" y="437"/>
                  </a:moveTo>
                  <a:lnTo>
                    <a:pt x="556" y="440"/>
                  </a:lnTo>
                  <a:lnTo>
                    <a:pt x="556" y="437"/>
                  </a:lnTo>
                  <a:close/>
                  <a:moveTo>
                    <a:pt x="985" y="437"/>
                  </a:moveTo>
                  <a:lnTo>
                    <a:pt x="985" y="440"/>
                  </a:lnTo>
                  <a:lnTo>
                    <a:pt x="985" y="437"/>
                  </a:lnTo>
                  <a:close/>
                  <a:moveTo>
                    <a:pt x="990" y="440"/>
                  </a:moveTo>
                  <a:lnTo>
                    <a:pt x="990" y="437"/>
                  </a:lnTo>
                  <a:lnTo>
                    <a:pt x="990" y="440"/>
                  </a:lnTo>
                  <a:close/>
                  <a:moveTo>
                    <a:pt x="990" y="437"/>
                  </a:moveTo>
                  <a:lnTo>
                    <a:pt x="990" y="440"/>
                  </a:lnTo>
                  <a:lnTo>
                    <a:pt x="990" y="437"/>
                  </a:lnTo>
                  <a:close/>
                  <a:moveTo>
                    <a:pt x="990" y="437"/>
                  </a:moveTo>
                  <a:lnTo>
                    <a:pt x="990" y="440"/>
                  </a:lnTo>
                  <a:lnTo>
                    <a:pt x="990" y="437"/>
                  </a:lnTo>
                  <a:close/>
                  <a:moveTo>
                    <a:pt x="1002" y="437"/>
                  </a:moveTo>
                  <a:lnTo>
                    <a:pt x="999" y="437"/>
                  </a:lnTo>
                  <a:lnTo>
                    <a:pt x="1002" y="437"/>
                  </a:lnTo>
                  <a:close/>
                  <a:moveTo>
                    <a:pt x="1142" y="437"/>
                  </a:moveTo>
                  <a:lnTo>
                    <a:pt x="1139" y="437"/>
                  </a:lnTo>
                  <a:lnTo>
                    <a:pt x="1142" y="437"/>
                  </a:lnTo>
                  <a:close/>
                  <a:moveTo>
                    <a:pt x="987" y="437"/>
                  </a:moveTo>
                  <a:lnTo>
                    <a:pt x="987" y="435"/>
                  </a:lnTo>
                  <a:lnTo>
                    <a:pt x="987" y="437"/>
                  </a:lnTo>
                  <a:close/>
                  <a:moveTo>
                    <a:pt x="995" y="435"/>
                  </a:moveTo>
                  <a:lnTo>
                    <a:pt x="995" y="437"/>
                  </a:lnTo>
                  <a:lnTo>
                    <a:pt x="995" y="435"/>
                  </a:lnTo>
                  <a:close/>
                  <a:moveTo>
                    <a:pt x="1004" y="437"/>
                  </a:moveTo>
                  <a:lnTo>
                    <a:pt x="1004" y="435"/>
                  </a:lnTo>
                  <a:lnTo>
                    <a:pt x="1004" y="437"/>
                  </a:lnTo>
                  <a:close/>
                  <a:moveTo>
                    <a:pt x="995" y="435"/>
                  </a:moveTo>
                  <a:lnTo>
                    <a:pt x="992" y="435"/>
                  </a:lnTo>
                  <a:lnTo>
                    <a:pt x="995" y="435"/>
                  </a:lnTo>
                  <a:close/>
                  <a:moveTo>
                    <a:pt x="1004" y="435"/>
                  </a:moveTo>
                  <a:lnTo>
                    <a:pt x="1004" y="437"/>
                  </a:lnTo>
                  <a:lnTo>
                    <a:pt x="1004" y="435"/>
                  </a:lnTo>
                  <a:close/>
                  <a:moveTo>
                    <a:pt x="990" y="435"/>
                  </a:moveTo>
                  <a:lnTo>
                    <a:pt x="987" y="435"/>
                  </a:lnTo>
                  <a:lnTo>
                    <a:pt x="990" y="435"/>
                  </a:lnTo>
                  <a:close/>
                  <a:moveTo>
                    <a:pt x="1002" y="435"/>
                  </a:moveTo>
                  <a:lnTo>
                    <a:pt x="999" y="435"/>
                  </a:lnTo>
                  <a:lnTo>
                    <a:pt x="1002" y="435"/>
                  </a:lnTo>
                  <a:close/>
                  <a:moveTo>
                    <a:pt x="1355" y="435"/>
                  </a:moveTo>
                  <a:lnTo>
                    <a:pt x="1353" y="435"/>
                  </a:lnTo>
                  <a:lnTo>
                    <a:pt x="1355" y="435"/>
                  </a:lnTo>
                  <a:close/>
                  <a:moveTo>
                    <a:pt x="995" y="435"/>
                  </a:moveTo>
                  <a:lnTo>
                    <a:pt x="992" y="435"/>
                  </a:lnTo>
                  <a:lnTo>
                    <a:pt x="995" y="435"/>
                  </a:lnTo>
                  <a:lnTo>
                    <a:pt x="992" y="435"/>
                  </a:lnTo>
                  <a:lnTo>
                    <a:pt x="995" y="435"/>
                  </a:lnTo>
                  <a:close/>
                  <a:moveTo>
                    <a:pt x="990" y="432"/>
                  </a:moveTo>
                  <a:lnTo>
                    <a:pt x="990" y="435"/>
                  </a:lnTo>
                  <a:lnTo>
                    <a:pt x="990" y="432"/>
                  </a:lnTo>
                  <a:close/>
                  <a:moveTo>
                    <a:pt x="992" y="432"/>
                  </a:moveTo>
                  <a:lnTo>
                    <a:pt x="995" y="432"/>
                  </a:lnTo>
                  <a:lnTo>
                    <a:pt x="992" y="435"/>
                  </a:lnTo>
                  <a:lnTo>
                    <a:pt x="992" y="432"/>
                  </a:lnTo>
                  <a:close/>
                  <a:moveTo>
                    <a:pt x="992" y="432"/>
                  </a:moveTo>
                  <a:lnTo>
                    <a:pt x="990" y="432"/>
                  </a:lnTo>
                  <a:lnTo>
                    <a:pt x="992" y="432"/>
                  </a:lnTo>
                  <a:close/>
                  <a:moveTo>
                    <a:pt x="992" y="432"/>
                  </a:moveTo>
                  <a:lnTo>
                    <a:pt x="990" y="432"/>
                  </a:lnTo>
                  <a:lnTo>
                    <a:pt x="992" y="432"/>
                  </a:lnTo>
                  <a:close/>
                  <a:moveTo>
                    <a:pt x="541" y="432"/>
                  </a:moveTo>
                  <a:lnTo>
                    <a:pt x="541" y="430"/>
                  </a:lnTo>
                  <a:lnTo>
                    <a:pt x="541" y="432"/>
                  </a:lnTo>
                  <a:close/>
                  <a:moveTo>
                    <a:pt x="1472" y="430"/>
                  </a:moveTo>
                  <a:lnTo>
                    <a:pt x="1469" y="432"/>
                  </a:lnTo>
                  <a:lnTo>
                    <a:pt x="1469" y="430"/>
                  </a:lnTo>
                  <a:lnTo>
                    <a:pt x="1472" y="430"/>
                  </a:lnTo>
                  <a:close/>
                  <a:moveTo>
                    <a:pt x="1353" y="430"/>
                  </a:moveTo>
                  <a:lnTo>
                    <a:pt x="1351" y="430"/>
                  </a:lnTo>
                  <a:lnTo>
                    <a:pt x="1353" y="430"/>
                  </a:lnTo>
                  <a:close/>
                  <a:moveTo>
                    <a:pt x="995" y="430"/>
                  </a:moveTo>
                  <a:lnTo>
                    <a:pt x="992" y="430"/>
                  </a:lnTo>
                  <a:lnTo>
                    <a:pt x="995" y="430"/>
                  </a:lnTo>
                  <a:close/>
                  <a:moveTo>
                    <a:pt x="1310" y="430"/>
                  </a:moveTo>
                  <a:lnTo>
                    <a:pt x="1313" y="430"/>
                  </a:lnTo>
                  <a:lnTo>
                    <a:pt x="1310" y="430"/>
                  </a:lnTo>
                  <a:close/>
                  <a:moveTo>
                    <a:pt x="995" y="430"/>
                  </a:moveTo>
                  <a:lnTo>
                    <a:pt x="992" y="430"/>
                  </a:lnTo>
                  <a:lnTo>
                    <a:pt x="995" y="430"/>
                  </a:lnTo>
                  <a:close/>
                  <a:moveTo>
                    <a:pt x="995" y="428"/>
                  </a:moveTo>
                  <a:lnTo>
                    <a:pt x="995" y="430"/>
                  </a:lnTo>
                  <a:lnTo>
                    <a:pt x="992" y="430"/>
                  </a:lnTo>
                  <a:lnTo>
                    <a:pt x="992" y="428"/>
                  </a:lnTo>
                  <a:lnTo>
                    <a:pt x="995" y="428"/>
                  </a:lnTo>
                  <a:close/>
                  <a:moveTo>
                    <a:pt x="1310" y="428"/>
                  </a:moveTo>
                  <a:lnTo>
                    <a:pt x="1310" y="430"/>
                  </a:lnTo>
                  <a:lnTo>
                    <a:pt x="1310" y="428"/>
                  </a:lnTo>
                  <a:close/>
                  <a:moveTo>
                    <a:pt x="995" y="428"/>
                  </a:moveTo>
                  <a:lnTo>
                    <a:pt x="995" y="430"/>
                  </a:lnTo>
                  <a:lnTo>
                    <a:pt x="995" y="428"/>
                  </a:lnTo>
                  <a:close/>
                  <a:moveTo>
                    <a:pt x="534" y="428"/>
                  </a:moveTo>
                  <a:lnTo>
                    <a:pt x="537" y="428"/>
                  </a:lnTo>
                  <a:lnTo>
                    <a:pt x="534" y="428"/>
                  </a:lnTo>
                  <a:close/>
                  <a:moveTo>
                    <a:pt x="537" y="428"/>
                  </a:moveTo>
                  <a:lnTo>
                    <a:pt x="534" y="428"/>
                  </a:lnTo>
                  <a:lnTo>
                    <a:pt x="537" y="428"/>
                  </a:lnTo>
                  <a:close/>
                  <a:moveTo>
                    <a:pt x="1303" y="428"/>
                  </a:moveTo>
                  <a:lnTo>
                    <a:pt x="1301" y="428"/>
                  </a:lnTo>
                  <a:lnTo>
                    <a:pt x="1303" y="428"/>
                  </a:lnTo>
                  <a:close/>
                  <a:moveTo>
                    <a:pt x="447" y="428"/>
                  </a:moveTo>
                  <a:lnTo>
                    <a:pt x="444" y="428"/>
                  </a:lnTo>
                  <a:lnTo>
                    <a:pt x="447" y="428"/>
                  </a:lnTo>
                  <a:close/>
                  <a:moveTo>
                    <a:pt x="1476" y="428"/>
                  </a:moveTo>
                  <a:lnTo>
                    <a:pt x="1476" y="425"/>
                  </a:lnTo>
                  <a:lnTo>
                    <a:pt x="1476" y="428"/>
                  </a:lnTo>
                  <a:close/>
                  <a:moveTo>
                    <a:pt x="1481" y="425"/>
                  </a:moveTo>
                  <a:lnTo>
                    <a:pt x="1479" y="425"/>
                  </a:lnTo>
                  <a:lnTo>
                    <a:pt x="1481" y="425"/>
                  </a:lnTo>
                  <a:close/>
                  <a:moveTo>
                    <a:pt x="1479" y="425"/>
                  </a:moveTo>
                  <a:lnTo>
                    <a:pt x="1479" y="423"/>
                  </a:lnTo>
                  <a:lnTo>
                    <a:pt x="1479" y="425"/>
                  </a:lnTo>
                  <a:close/>
                  <a:moveTo>
                    <a:pt x="1481" y="423"/>
                  </a:moveTo>
                  <a:lnTo>
                    <a:pt x="1479" y="423"/>
                  </a:lnTo>
                  <a:lnTo>
                    <a:pt x="1481" y="423"/>
                  </a:lnTo>
                  <a:close/>
                  <a:moveTo>
                    <a:pt x="447" y="423"/>
                  </a:moveTo>
                  <a:lnTo>
                    <a:pt x="447" y="421"/>
                  </a:lnTo>
                  <a:lnTo>
                    <a:pt x="447" y="423"/>
                  </a:lnTo>
                  <a:close/>
                  <a:moveTo>
                    <a:pt x="492" y="421"/>
                  </a:moveTo>
                  <a:lnTo>
                    <a:pt x="489" y="421"/>
                  </a:lnTo>
                  <a:lnTo>
                    <a:pt x="492" y="421"/>
                  </a:lnTo>
                  <a:close/>
                  <a:moveTo>
                    <a:pt x="1479" y="421"/>
                  </a:moveTo>
                  <a:lnTo>
                    <a:pt x="1479" y="418"/>
                  </a:lnTo>
                  <a:lnTo>
                    <a:pt x="1479" y="421"/>
                  </a:lnTo>
                  <a:close/>
                  <a:moveTo>
                    <a:pt x="447" y="421"/>
                  </a:moveTo>
                  <a:lnTo>
                    <a:pt x="447" y="418"/>
                  </a:lnTo>
                  <a:lnTo>
                    <a:pt x="447" y="421"/>
                  </a:lnTo>
                  <a:close/>
                  <a:moveTo>
                    <a:pt x="456" y="416"/>
                  </a:moveTo>
                  <a:lnTo>
                    <a:pt x="454" y="416"/>
                  </a:lnTo>
                  <a:lnTo>
                    <a:pt x="456" y="416"/>
                  </a:lnTo>
                  <a:close/>
                  <a:moveTo>
                    <a:pt x="430" y="411"/>
                  </a:moveTo>
                  <a:lnTo>
                    <a:pt x="430" y="413"/>
                  </a:lnTo>
                  <a:lnTo>
                    <a:pt x="430" y="411"/>
                  </a:lnTo>
                  <a:close/>
                  <a:moveTo>
                    <a:pt x="439" y="409"/>
                  </a:moveTo>
                  <a:lnTo>
                    <a:pt x="437" y="409"/>
                  </a:lnTo>
                  <a:lnTo>
                    <a:pt x="439" y="409"/>
                  </a:lnTo>
                  <a:close/>
                  <a:moveTo>
                    <a:pt x="409" y="409"/>
                  </a:moveTo>
                  <a:lnTo>
                    <a:pt x="406" y="409"/>
                  </a:lnTo>
                  <a:lnTo>
                    <a:pt x="409" y="409"/>
                  </a:lnTo>
                  <a:close/>
                  <a:moveTo>
                    <a:pt x="1343" y="397"/>
                  </a:moveTo>
                  <a:lnTo>
                    <a:pt x="1346" y="397"/>
                  </a:lnTo>
                  <a:lnTo>
                    <a:pt x="1343" y="397"/>
                  </a:lnTo>
                  <a:close/>
                  <a:moveTo>
                    <a:pt x="1346" y="397"/>
                  </a:moveTo>
                  <a:lnTo>
                    <a:pt x="1343" y="397"/>
                  </a:lnTo>
                  <a:lnTo>
                    <a:pt x="1346" y="397"/>
                  </a:lnTo>
                  <a:close/>
                  <a:moveTo>
                    <a:pt x="382" y="394"/>
                  </a:moveTo>
                  <a:lnTo>
                    <a:pt x="380" y="394"/>
                  </a:lnTo>
                  <a:lnTo>
                    <a:pt x="382" y="394"/>
                  </a:lnTo>
                  <a:close/>
                  <a:moveTo>
                    <a:pt x="1322" y="394"/>
                  </a:moveTo>
                  <a:lnTo>
                    <a:pt x="1322" y="392"/>
                  </a:lnTo>
                  <a:lnTo>
                    <a:pt x="1322" y="394"/>
                  </a:lnTo>
                  <a:close/>
                  <a:moveTo>
                    <a:pt x="1412" y="392"/>
                  </a:moveTo>
                  <a:lnTo>
                    <a:pt x="1410" y="392"/>
                  </a:lnTo>
                  <a:lnTo>
                    <a:pt x="1412" y="392"/>
                  </a:lnTo>
                  <a:close/>
                  <a:moveTo>
                    <a:pt x="1339" y="392"/>
                  </a:moveTo>
                  <a:lnTo>
                    <a:pt x="1336" y="392"/>
                  </a:lnTo>
                  <a:lnTo>
                    <a:pt x="1339" y="392"/>
                  </a:lnTo>
                  <a:close/>
                  <a:moveTo>
                    <a:pt x="428" y="390"/>
                  </a:moveTo>
                  <a:lnTo>
                    <a:pt x="425" y="390"/>
                  </a:lnTo>
                  <a:lnTo>
                    <a:pt x="428" y="390"/>
                  </a:lnTo>
                  <a:close/>
                  <a:moveTo>
                    <a:pt x="397" y="385"/>
                  </a:moveTo>
                  <a:lnTo>
                    <a:pt x="394" y="385"/>
                  </a:lnTo>
                  <a:lnTo>
                    <a:pt x="397" y="385"/>
                  </a:lnTo>
                  <a:close/>
                  <a:moveTo>
                    <a:pt x="392" y="383"/>
                  </a:moveTo>
                  <a:lnTo>
                    <a:pt x="392" y="380"/>
                  </a:lnTo>
                  <a:lnTo>
                    <a:pt x="392" y="383"/>
                  </a:lnTo>
                  <a:close/>
                  <a:moveTo>
                    <a:pt x="1265" y="364"/>
                  </a:moveTo>
                  <a:lnTo>
                    <a:pt x="1267" y="364"/>
                  </a:lnTo>
                  <a:lnTo>
                    <a:pt x="1265" y="364"/>
                  </a:lnTo>
                  <a:close/>
                  <a:moveTo>
                    <a:pt x="1265" y="361"/>
                  </a:moveTo>
                  <a:lnTo>
                    <a:pt x="1267" y="361"/>
                  </a:lnTo>
                  <a:lnTo>
                    <a:pt x="1265" y="361"/>
                  </a:lnTo>
                  <a:close/>
                  <a:moveTo>
                    <a:pt x="1272" y="356"/>
                  </a:moveTo>
                  <a:lnTo>
                    <a:pt x="1270" y="356"/>
                  </a:lnTo>
                  <a:lnTo>
                    <a:pt x="1272" y="356"/>
                  </a:lnTo>
                  <a:close/>
                  <a:moveTo>
                    <a:pt x="1277" y="356"/>
                  </a:moveTo>
                  <a:lnTo>
                    <a:pt x="1275" y="356"/>
                  </a:lnTo>
                  <a:lnTo>
                    <a:pt x="1277" y="356"/>
                  </a:lnTo>
                  <a:close/>
                  <a:moveTo>
                    <a:pt x="1215" y="345"/>
                  </a:moveTo>
                  <a:lnTo>
                    <a:pt x="1218" y="345"/>
                  </a:lnTo>
                  <a:lnTo>
                    <a:pt x="1215" y="345"/>
                  </a:lnTo>
                  <a:close/>
                  <a:moveTo>
                    <a:pt x="1229" y="345"/>
                  </a:moveTo>
                  <a:lnTo>
                    <a:pt x="1232" y="345"/>
                  </a:lnTo>
                  <a:lnTo>
                    <a:pt x="1229" y="345"/>
                  </a:lnTo>
                  <a:close/>
                  <a:moveTo>
                    <a:pt x="1168" y="342"/>
                  </a:moveTo>
                  <a:lnTo>
                    <a:pt x="1168" y="345"/>
                  </a:lnTo>
                  <a:lnTo>
                    <a:pt x="1168" y="342"/>
                  </a:lnTo>
                  <a:close/>
                  <a:moveTo>
                    <a:pt x="1232" y="342"/>
                  </a:moveTo>
                  <a:lnTo>
                    <a:pt x="1229" y="342"/>
                  </a:lnTo>
                  <a:lnTo>
                    <a:pt x="1232" y="342"/>
                  </a:lnTo>
                  <a:close/>
                  <a:moveTo>
                    <a:pt x="1201" y="342"/>
                  </a:moveTo>
                  <a:lnTo>
                    <a:pt x="1199" y="342"/>
                  </a:lnTo>
                  <a:lnTo>
                    <a:pt x="1201" y="342"/>
                  </a:lnTo>
                  <a:close/>
                  <a:moveTo>
                    <a:pt x="1180" y="342"/>
                  </a:moveTo>
                  <a:lnTo>
                    <a:pt x="1180" y="340"/>
                  </a:lnTo>
                  <a:lnTo>
                    <a:pt x="1180" y="342"/>
                  </a:lnTo>
                  <a:close/>
                  <a:moveTo>
                    <a:pt x="1156" y="340"/>
                  </a:moveTo>
                  <a:lnTo>
                    <a:pt x="1156" y="337"/>
                  </a:lnTo>
                  <a:lnTo>
                    <a:pt x="1156" y="340"/>
                  </a:lnTo>
                  <a:close/>
                  <a:moveTo>
                    <a:pt x="1187" y="337"/>
                  </a:moveTo>
                  <a:lnTo>
                    <a:pt x="1187" y="340"/>
                  </a:lnTo>
                  <a:lnTo>
                    <a:pt x="1187" y="337"/>
                  </a:lnTo>
                  <a:close/>
                  <a:moveTo>
                    <a:pt x="1168" y="337"/>
                  </a:moveTo>
                  <a:lnTo>
                    <a:pt x="1165" y="337"/>
                  </a:lnTo>
                  <a:lnTo>
                    <a:pt x="1168" y="337"/>
                  </a:lnTo>
                  <a:close/>
                  <a:moveTo>
                    <a:pt x="1177" y="337"/>
                  </a:moveTo>
                  <a:lnTo>
                    <a:pt x="1175" y="337"/>
                  </a:lnTo>
                  <a:lnTo>
                    <a:pt x="1177" y="337"/>
                  </a:lnTo>
                  <a:close/>
                  <a:moveTo>
                    <a:pt x="1206" y="335"/>
                  </a:moveTo>
                  <a:lnTo>
                    <a:pt x="1203" y="335"/>
                  </a:lnTo>
                  <a:lnTo>
                    <a:pt x="1206" y="335"/>
                  </a:lnTo>
                  <a:close/>
                  <a:moveTo>
                    <a:pt x="1142" y="335"/>
                  </a:moveTo>
                  <a:lnTo>
                    <a:pt x="1139" y="335"/>
                  </a:lnTo>
                  <a:lnTo>
                    <a:pt x="1142" y="335"/>
                  </a:lnTo>
                  <a:close/>
                  <a:moveTo>
                    <a:pt x="1146" y="333"/>
                  </a:moveTo>
                  <a:lnTo>
                    <a:pt x="1144" y="333"/>
                  </a:lnTo>
                  <a:lnTo>
                    <a:pt x="1146" y="333"/>
                  </a:lnTo>
                  <a:close/>
                  <a:moveTo>
                    <a:pt x="1108" y="328"/>
                  </a:moveTo>
                  <a:lnTo>
                    <a:pt x="1108" y="326"/>
                  </a:lnTo>
                  <a:lnTo>
                    <a:pt x="1108" y="328"/>
                  </a:lnTo>
                  <a:close/>
                  <a:moveTo>
                    <a:pt x="1139" y="326"/>
                  </a:moveTo>
                  <a:lnTo>
                    <a:pt x="1139" y="328"/>
                  </a:lnTo>
                  <a:lnTo>
                    <a:pt x="1139" y="326"/>
                  </a:lnTo>
                  <a:close/>
                  <a:moveTo>
                    <a:pt x="1094" y="316"/>
                  </a:moveTo>
                  <a:lnTo>
                    <a:pt x="1094" y="318"/>
                  </a:lnTo>
                  <a:lnTo>
                    <a:pt x="1094" y="316"/>
                  </a:lnTo>
                  <a:close/>
                  <a:moveTo>
                    <a:pt x="1104" y="307"/>
                  </a:moveTo>
                  <a:lnTo>
                    <a:pt x="1101" y="307"/>
                  </a:lnTo>
                  <a:lnTo>
                    <a:pt x="1104" y="307"/>
                  </a:lnTo>
                  <a:close/>
                  <a:moveTo>
                    <a:pt x="1125" y="304"/>
                  </a:moveTo>
                  <a:lnTo>
                    <a:pt x="1125" y="302"/>
                  </a:lnTo>
                  <a:lnTo>
                    <a:pt x="1125" y="304"/>
                  </a:lnTo>
                  <a:close/>
                  <a:moveTo>
                    <a:pt x="1078" y="292"/>
                  </a:moveTo>
                  <a:lnTo>
                    <a:pt x="1080" y="292"/>
                  </a:lnTo>
                  <a:lnTo>
                    <a:pt x="1078" y="292"/>
                  </a:lnTo>
                  <a:close/>
                  <a:moveTo>
                    <a:pt x="1189" y="292"/>
                  </a:moveTo>
                  <a:lnTo>
                    <a:pt x="1187" y="292"/>
                  </a:lnTo>
                  <a:lnTo>
                    <a:pt x="1189" y="292"/>
                  </a:lnTo>
                  <a:close/>
                  <a:moveTo>
                    <a:pt x="1099" y="290"/>
                  </a:moveTo>
                  <a:lnTo>
                    <a:pt x="1097" y="290"/>
                  </a:lnTo>
                  <a:lnTo>
                    <a:pt x="1099" y="290"/>
                  </a:lnTo>
                  <a:close/>
                  <a:moveTo>
                    <a:pt x="1099" y="290"/>
                  </a:moveTo>
                  <a:lnTo>
                    <a:pt x="1097" y="290"/>
                  </a:lnTo>
                  <a:lnTo>
                    <a:pt x="1099" y="290"/>
                  </a:lnTo>
                  <a:close/>
                  <a:moveTo>
                    <a:pt x="1101" y="290"/>
                  </a:moveTo>
                  <a:lnTo>
                    <a:pt x="1101" y="288"/>
                  </a:lnTo>
                  <a:lnTo>
                    <a:pt x="1101" y="290"/>
                  </a:lnTo>
                  <a:close/>
                  <a:moveTo>
                    <a:pt x="1099" y="288"/>
                  </a:moveTo>
                  <a:lnTo>
                    <a:pt x="1097" y="288"/>
                  </a:lnTo>
                  <a:lnTo>
                    <a:pt x="1099" y="288"/>
                  </a:lnTo>
                  <a:close/>
                  <a:moveTo>
                    <a:pt x="1066" y="280"/>
                  </a:moveTo>
                  <a:lnTo>
                    <a:pt x="1066" y="283"/>
                  </a:lnTo>
                  <a:lnTo>
                    <a:pt x="1066" y="280"/>
                  </a:lnTo>
                  <a:close/>
                  <a:moveTo>
                    <a:pt x="1161" y="261"/>
                  </a:moveTo>
                  <a:lnTo>
                    <a:pt x="1158" y="261"/>
                  </a:lnTo>
                  <a:lnTo>
                    <a:pt x="1161" y="261"/>
                  </a:lnTo>
                  <a:close/>
                  <a:moveTo>
                    <a:pt x="1061" y="250"/>
                  </a:moveTo>
                  <a:lnTo>
                    <a:pt x="1059" y="250"/>
                  </a:lnTo>
                  <a:lnTo>
                    <a:pt x="1061" y="250"/>
                  </a:lnTo>
                  <a:close/>
                  <a:moveTo>
                    <a:pt x="1078" y="233"/>
                  </a:moveTo>
                  <a:lnTo>
                    <a:pt x="1075" y="233"/>
                  </a:lnTo>
                  <a:lnTo>
                    <a:pt x="1078" y="233"/>
                  </a:lnTo>
                  <a:close/>
                  <a:moveTo>
                    <a:pt x="1080" y="233"/>
                  </a:moveTo>
                  <a:lnTo>
                    <a:pt x="1078" y="233"/>
                  </a:lnTo>
                  <a:lnTo>
                    <a:pt x="1080" y="233"/>
                  </a:lnTo>
                  <a:close/>
                  <a:moveTo>
                    <a:pt x="1080" y="228"/>
                  </a:moveTo>
                  <a:lnTo>
                    <a:pt x="1080" y="226"/>
                  </a:lnTo>
                  <a:lnTo>
                    <a:pt x="1080" y="228"/>
                  </a:lnTo>
                  <a:close/>
                  <a:moveTo>
                    <a:pt x="1082" y="223"/>
                  </a:moveTo>
                  <a:lnTo>
                    <a:pt x="1080" y="223"/>
                  </a:lnTo>
                  <a:lnTo>
                    <a:pt x="1082" y="223"/>
                  </a:lnTo>
                  <a:close/>
                  <a:moveTo>
                    <a:pt x="1168" y="221"/>
                  </a:moveTo>
                  <a:lnTo>
                    <a:pt x="1165" y="221"/>
                  </a:lnTo>
                  <a:lnTo>
                    <a:pt x="1168" y="221"/>
                  </a:lnTo>
                  <a:close/>
                  <a:moveTo>
                    <a:pt x="1165" y="219"/>
                  </a:moveTo>
                  <a:lnTo>
                    <a:pt x="1165" y="221"/>
                  </a:lnTo>
                  <a:lnTo>
                    <a:pt x="1165" y="219"/>
                  </a:lnTo>
                  <a:close/>
                  <a:moveTo>
                    <a:pt x="1165" y="219"/>
                  </a:moveTo>
                  <a:lnTo>
                    <a:pt x="1163" y="219"/>
                  </a:lnTo>
                  <a:lnTo>
                    <a:pt x="1165" y="219"/>
                  </a:lnTo>
                  <a:close/>
                  <a:moveTo>
                    <a:pt x="1082" y="214"/>
                  </a:moveTo>
                  <a:lnTo>
                    <a:pt x="1082" y="216"/>
                  </a:lnTo>
                  <a:lnTo>
                    <a:pt x="1082" y="214"/>
                  </a:lnTo>
                  <a:close/>
                  <a:moveTo>
                    <a:pt x="1187" y="197"/>
                  </a:moveTo>
                  <a:lnTo>
                    <a:pt x="1184" y="197"/>
                  </a:lnTo>
                  <a:lnTo>
                    <a:pt x="1187" y="197"/>
                  </a:lnTo>
                  <a:close/>
                  <a:moveTo>
                    <a:pt x="1099" y="193"/>
                  </a:moveTo>
                  <a:lnTo>
                    <a:pt x="1097" y="193"/>
                  </a:lnTo>
                  <a:lnTo>
                    <a:pt x="1099" y="193"/>
                  </a:lnTo>
                  <a:close/>
                  <a:moveTo>
                    <a:pt x="1094" y="190"/>
                  </a:moveTo>
                  <a:lnTo>
                    <a:pt x="1092" y="190"/>
                  </a:lnTo>
                  <a:lnTo>
                    <a:pt x="1094" y="190"/>
                  </a:lnTo>
                  <a:close/>
                  <a:moveTo>
                    <a:pt x="1101" y="183"/>
                  </a:moveTo>
                  <a:lnTo>
                    <a:pt x="1099" y="183"/>
                  </a:lnTo>
                  <a:lnTo>
                    <a:pt x="1101" y="183"/>
                  </a:lnTo>
                  <a:close/>
                  <a:moveTo>
                    <a:pt x="1104" y="178"/>
                  </a:moveTo>
                  <a:lnTo>
                    <a:pt x="1104" y="181"/>
                  </a:lnTo>
                  <a:lnTo>
                    <a:pt x="1104" y="178"/>
                  </a:lnTo>
                  <a:close/>
                  <a:moveTo>
                    <a:pt x="1192" y="176"/>
                  </a:moveTo>
                  <a:lnTo>
                    <a:pt x="1189" y="176"/>
                  </a:lnTo>
                  <a:lnTo>
                    <a:pt x="1192" y="176"/>
                  </a:lnTo>
                  <a:close/>
                  <a:moveTo>
                    <a:pt x="1227" y="169"/>
                  </a:moveTo>
                  <a:lnTo>
                    <a:pt x="1225" y="169"/>
                  </a:lnTo>
                  <a:lnTo>
                    <a:pt x="1227" y="169"/>
                  </a:lnTo>
                  <a:close/>
                  <a:moveTo>
                    <a:pt x="1241" y="152"/>
                  </a:moveTo>
                  <a:lnTo>
                    <a:pt x="1239" y="152"/>
                  </a:lnTo>
                  <a:lnTo>
                    <a:pt x="1241" y="152"/>
                  </a:lnTo>
                  <a:close/>
                  <a:moveTo>
                    <a:pt x="1213" y="152"/>
                  </a:moveTo>
                  <a:lnTo>
                    <a:pt x="1211" y="152"/>
                  </a:lnTo>
                  <a:lnTo>
                    <a:pt x="1213" y="152"/>
                  </a:lnTo>
                  <a:close/>
                  <a:moveTo>
                    <a:pt x="1232" y="143"/>
                  </a:moveTo>
                  <a:lnTo>
                    <a:pt x="1232" y="145"/>
                  </a:lnTo>
                  <a:lnTo>
                    <a:pt x="1232" y="143"/>
                  </a:lnTo>
                  <a:close/>
                  <a:moveTo>
                    <a:pt x="1177" y="126"/>
                  </a:moveTo>
                  <a:lnTo>
                    <a:pt x="1180" y="126"/>
                  </a:lnTo>
                  <a:lnTo>
                    <a:pt x="1177" y="126"/>
                  </a:lnTo>
                  <a:close/>
                  <a:moveTo>
                    <a:pt x="1277" y="107"/>
                  </a:moveTo>
                  <a:lnTo>
                    <a:pt x="1275" y="107"/>
                  </a:lnTo>
                  <a:lnTo>
                    <a:pt x="1277" y="107"/>
                  </a:lnTo>
                  <a:close/>
                  <a:moveTo>
                    <a:pt x="1211" y="105"/>
                  </a:moveTo>
                  <a:lnTo>
                    <a:pt x="1208" y="105"/>
                  </a:lnTo>
                  <a:lnTo>
                    <a:pt x="1211" y="105"/>
                  </a:lnTo>
                  <a:close/>
                  <a:moveTo>
                    <a:pt x="1270" y="100"/>
                  </a:moveTo>
                  <a:lnTo>
                    <a:pt x="1272" y="100"/>
                  </a:lnTo>
                  <a:lnTo>
                    <a:pt x="1270" y="100"/>
                  </a:lnTo>
                  <a:close/>
                  <a:moveTo>
                    <a:pt x="1301" y="97"/>
                  </a:moveTo>
                  <a:lnTo>
                    <a:pt x="1298" y="97"/>
                  </a:lnTo>
                  <a:lnTo>
                    <a:pt x="1301" y="97"/>
                  </a:lnTo>
                  <a:close/>
                  <a:moveTo>
                    <a:pt x="1201" y="83"/>
                  </a:moveTo>
                  <a:lnTo>
                    <a:pt x="1201" y="86"/>
                  </a:lnTo>
                  <a:lnTo>
                    <a:pt x="1201" y="83"/>
                  </a:lnTo>
                  <a:close/>
                  <a:moveTo>
                    <a:pt x="1270" y="24"/>
                  </a:moveTo>
                  <a:lnTo>
                    <a:pt x="1267" y="24"/>
                  </a:lnTo>
                  <a:lnTo>
                    <a:pt x="1270" y="24"/>
                  </a:lnTo>
                  <a:close/>
                  <a:moveTo>
                    <a:pt x="1289" y="12"/>
                  </a:moveTo>
                  <a:lnTo>
                    <a:pt x="1286" y="12"/>
                  </a:lnTo>
                  <a:lnTo>
                    <a:pt x="1289" y="12"/>
                  </a:lnTo>
                  <a:close/>
                  <a:moveTo>
                    <a:pt x="1324" y="7"/>
                  </a:moveTo>
                  <a:lnTo>
                    <a:pt x="1322" y="7"/>
                  </a:lnTo>
                  <a:lnTo>
                    <a:pt x="1324" y="7"/>
                  </a:lnTo>
                  <a:close/>
                  <a:moveTo>
                    <a:pt x="1348" y="5"/>
                  </a:moveTo>
                  <a:lnTo>
                    <a:pt x="1346" y="5"/>
                  </a:lnTo>
                  <a:lnTo>
                    <a:pt x="1348" y="5"/>
                  </a:lnTo>
                  <a:close/>
                  <a:moveTo>
                    <a:pt x="1339" y="5"/>
                  </a:moveTo>
                  <a:lnTo>
                    <a:pt x="1336" y="5"/>
                  </a:lnTo>
                  <a:lnTo>
                    <a:pt x="1339" y="5"/>
                  </a:lnTo>
                  <a:close/>
                  <a:moveTo>
                    <a:pt x="1346" y="5"/>
                  </a:moveTo>
                  <a:lnTo>
                    <a:pt x="1346" y="2"/>
                  </a:lnTo>
                  <a:lnTo>
                    <a:pt x="1346" y="5"/>
                  </a:lnTo>
                  <a:close/>
                  <a:moveTo>
                    <a:pt x="1346" y="2"/>
                  </a:moveTo>
                  <a:lnTo>
                    <a:pt x="1348" y="2"/>
                  </a:lnTo>
                  <a:lnTo>
                    <a:pt x="1346" y="2"/>
                  </a:lnTo>
                  <a:close/>
                  <a:moveTo>
                    <a:pt x="1358" y="0"/>
                  </a:moveTo>
                  <a:lnTo>
                    <a:pt x="1355" y="0"/>
                  </a:lnTo>
                  <a:lnTo>
                    <a:pt x="135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3" name="Freeform 56634"/>
            <p:cNvSpPr>
              <a:spLocks/>
            </p:cNvSpPr>
            <p:nvPr/>
          </p:nvSpPr>
          <p:spPr bwMode="auto">
            <a:xfrm>
              <a:off x="2676523" y="5154630"/>
              <a:ext cx="4763" cy="3175"/>
            </a:xfrm>
            <a:custGeom>
              <a:avLst/>
              <a:gdLst>
                <a:gd name="T0" fmla="*/ 3 w 3"/>
                <a:gd name="T1" fmla="*/ 2 h 2"/>
                <a:gd name="T2" fmla="*/ 3 w 3"/>
                <a:gd name="T3" fmla="*/ 2 h 2"/>
                <a:gd name="T4" fmla="*/ 3 w 3"/>
                <a:gd name="T5" fmla="*/ 2 h 2"/>
                <a:gd name="T6" fmla="*/ 3 w 3"/>
                <a:gd name="T7" fmla="*/ 2 h 2"/>
                <a:gd name="T8" fmla="*/ 3 w 3"/>
                <a:gd name="T9" fmla="*/ 2 h 2"/>
                <a:gd name="T10" fmla="*/ 0 w 3"/>
                <a:gd name="T11" fmla="*/ 2 h 2"/>
                <a:gd name="T12" fmla="*/ 0 w 3"/>
                <a:gd name="T13" fmla="*/ 2 h 2"/>
                <a:gd name="T14" fmla="*/ 0 w 3"/>
                <a:gd name="T15" fmla="*/ 2 h 2"/>
                <a:gd name="T16" fmla="*/ 0 w 3"/>
                <a:gd name="T17" fmla="*/ 2 h 2"/>
                <a:gd name="T18" fmla="*/ 0 w 3"/>
                <a:gd name="T19" fmla="*/ 2 h 2"/>
                <a:gd name="T20" fmla="*/ 0 w 3"/>
                <a:gd name="T21" fmla="*/ 2 h 2"/>
                <a:gd name="T22" fmla="*/ 0 w 3"/>
                <a:gd name="T23" fmla="*/ 2 h 2"/>
                <a:gd name="T24" fmla="*/ 0 w 3"/>
                <a:gd name="T25" fmla="*/ 2 h 2"/>
                <a:gd name="T26" fmla="*/ 0 w 3"/>
                <a:gd name="T27" fmla="*/ 2 h 2"/>
                <a:gd name="T28" fmla="*/ 0 w 3"/>
                <a:gd name="T29" fmla="*/ 0 h 2"/>
                <a:gd name="T30" fmla="*/ 0 w 3"/>
                <a:gd name="T31" fmla="*/ 0 h 2"/>
                <a:gd name="T32" fmla="*/ 0 w 3"/>
                <a:gd name="T33" fmla="*/ 0 h 2"/>
                <a:gd name="T34" fmla="*/ 0 w 3"/>
                <a:gd name="T35" fmla="*/ 0 h 2"/>
                <a:gd name="T36" fmla="*/ 0 w 3"/>
                <a:gd name="T37" fmla="*/ 0 h 2"/>
                <a:gd name="T38" fmla="*/ 0 w 3"/>
                <a:gd name="T39" fmla="*/ 0 h 2"/>
                <a:gd name="T40" fmla="*/ 0 w 3"/>
                <a:gd name="T41" fmla="*/ 0 h 2"/>
                <a:gd name="T42" fmla="*/ 0 w 3"/>
                <a:gd name="T43" fmla="*/ 0 h 2"/>
                <a:gd name="T44" fmla="*/ 3 w 3"/>
                <a:gd name="T45" fmla="*/ 0 h 2"/>
                <a:gd name="T46" fmla="*/ 3 w 3"/>
                <a:gd name="T47" fmla="*/ 0 h 2"/>
                <a:gd name="T48" fmla="*/ 3 w 3"/>
                <a:gd name="T49" fmla="*/ 0 h 2"/>
                <a:gd name="T50" fmla="*/ 3 w 3"/>
                <a:gd name="T51" fmla="*/ 0 h 2"/>
                <a:gd name="T52" fmla="*/ 3 w 3"/>
                <a:gd name="T53" fmla="*/ 0 h 2"/>
                <a:gd name="T54" fmla="*/ 3 w 3"/>
                <a:gd name="T55" fmla="*/ 0 h 2"/>
                <a:gd name="T56" fmla="*/ 3 w 3"/>
                <a:gd name="T57" fmla="*/ 0 h 2"/>
                <a:gd name="T58" fmla="*/ 3 w 3"/>
                <a:gd name="T59" fmla="*/ 0 h 2"/>
                <a:gd name="T60" fmla="*/ 3 w 3"/>
                <a:gd name="T61" fmla="*/ 0 h 2"/>
                <a:gd name="T62" fmla="*/ 3 w 3"/>
                <a:gd name="T63" fmla="*/ 2 h 2"/>
                <a:gd name="T64" fmla="*/ 3 w 3"/>
                <a:gd name="T65" fmla="*/ 2 h 2"/>
                <a:gd name="T66" fmla="*/ 3 w 3"/>
                <a:gd name="T67" fmla="*/ 2 h 2"/>
                <a:gd name="T68" fmla="*/ 3 w 3"/>
                <a:gd name="T6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2">
                  <a:moveTo>
                    <a:pt x="3" y="2"/>
                  </a:moveTo>
                  <a:lnTo>
                    <a:pt x="3" y="2"/>
                  </a:lnTo>
                  <a:lnTo>
                    <a:pt x="3" y="2"/>
                  </a:lnTo>
                  <a:lnTo>
                    <a:pt x="3" y="2"/>
                  </a:lnTo>
                  <a:lnTo>
                    <a:pt x="3"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3" y="0"/>
                  </a:lnTo>
                  <a:lnTo>
                    <a:pt x="3" y="0"/>
                  </a:lnTo>
                  <a:lnTo>
                    <a:pt x="3" y="0"/>
                  </a:lnTo>
                  <a:lnTo>
                    <a:pt x="3" y="0"/>
                  </a:lnTo>
                  <a:lnTo>
                    <a:pt x="3" y="0"/>
                  </a:lnTo>
                  <a:lnTo>
                    <a:pt x="3" y="0"/>
                  </a:lnTo>
                  <a:lnTo>
                    <a:pt x="3" y="0"/>
                  </a:lnTo>
                  <a:lnTo>
                    <a:pt x="3" y="0"/>
                  </a:lnTo>
                  <a:lnTo>
                    <a:pt x="3" y="0"/>
                  </a:lnTo>
                  <a:lnTo>
                    <a:pt x="3" y="2"/>
                  </a:lnTo>
                  <a:lnTo>
                    <a:pt x="3" y="2"/>
                  </a:lnTo>
                  <a:lnTo>
                    <a:pt x="3" y="2"/>
                  </a:lnTo>
                  <a:lnTo>
                    <a:pt x="3"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4" name="Freeform 56635"/>
            <p:cNvSpPr>
              <a:spLocks noEditPoints="1"/>
            </p:cNvSpPr>
            <p:nvPr/>
          </p:nvSpPr>
          <p:spPr bwMode="auto">
            <a:xfrm>
              <a:off x="3011485" y="4987943"/>
              <a:ext cx="219075" cy="320676"/>
            </a:xfrm>
            <a:custGeom>
              <a:avLst/>
              <a:gdLst>
                <a:gd name="T0" fmla="*/ 36 w 138"/>
                <a:gd name="T1" fmla="*/ 2 h 202"/>
                <a:gd name="T2" fmla="*/ 50 w 138"/>
                <a:gd name="T3" fmla="*/ 7 h 202"/>
                <a:gd name="T4" fmla="*/ 62 w 138"/>
                <a:gd name="T5" fmla="*/ 19 h 202"/>
                <a:gd name="T6" fmla="*/ 67 w 138"/>
                <a:gd name="T7" fmla="*/ 24 h 202"/>
                <a:gd name="T8" fmla="*/ 67 w 138"/>
                <a:gd name="T9" fmla="*/ 31 h 202"/>
                <a:gd name="T10" fmla="*/ 72 w 138"/>
                <a:gd name="T11" fmla="*/ 38 h 202"/>
                <a:gd name="T12" fmla="*/ 79 w 138"/>
                <a:gd name="T13" fmla="*/ 45 h 202"/>
                <a:gd name="T14" fmla="*/ 91 w 138"/>
                <a:gd name="T15" fmla="*/ 50 h 202"/>
                <a:gd name="T16" fmla="*/ 84 w 138"/>
                <a:gd name="T17" fmla="*/ 55 h 202"/>
                <a:gd name="T18" fmla="*/ 88 w 138"/>
                <a:gd name="T19" fmla="*/ 62 h 202"/>
                <a:gd name="T20" fmla="*/ 86 w 138"/>
                <a:gd name="T21" fmla="*/ 67 h 202"/>
                <a:gd name="T22" fmla="*/ 98 w 138"/>
                <a:gd name="T23" fmla="*/ 74 h 202"/>
                <a:gd name="T24" fmla="*/ 107 w 138"/>
                <a:gd name="T25" fmla="*/ 81 h 202"/>
                <a:gd name="T26" fmla="*/ 117 w 138"/>
                <a:gd name="T27" fmla="*/ 71 h 202"/>
                <a:gd name="T28" fmla="*/ 129 w 138"/>
                <a:gd name="T29" fmla="*/ 76 h 202"/>
                <a:gd name="T30" fmla="*/ 121 w 138"/>
                <a:gd name="T31" fmla="*/ 81 h 202"/>
                <a:gd name="T32" fmla="*/ 129 w 138"/>
                <a:gd name="T33" fmla="*/ 93 h 202"/>
                <a:gd name="T34" fmla="*/ 126 w 138"/>
                <a:gd name="T35" fmla="*/ 97 h 202"/>
                <a:gd name="T36" fmla="*/ 119 w 138"/>
                <a:gd name="T37" fmla="*/ 107 h 202"/>
                <a:gd name="T38" fmla="*/ 121 w 138"/>
                <a:gd name="T39" fmla="*/ 119 h 202"/>
                <a:gd name="T40" fmla="*/ 126 w 138"/>
                <a:gd name="T41" fmla="*/ 131 h 202"/>
                <a:gd name="T42" fmla="*/ 133 w 138"/>
                <a:gd name="T43" fmla="*/ 135 h 202"/>
                <a:gd name="T44" fmla="*/ 136 w 138"/>
                <a:gd name="T45" fmla="*/ 145 h 202"/>
                <a:gd name="T46" fmla="*/ 129 w 138"/>
                <a:gd name="T47" fmla="*/ 154 h 202"/>
                <a:gd name="T48" fmla="*/ 119 w 138"/>
                <a:gd name="T49" fmla="*/ 157 h 202"/>
                <a:gd name="T50" fmla="*/ 121 w 138"/>
                <a:gd name="T51" fmla="*/ 169 h 202"/>
                <a:gd name="T52" fmla="*/ 119 w 138"/>
                <a:gd name="T53" fmla="*/ 181 h 202"/>
                <a:gd name="T54" fmla="*/ 107 w 138"/>
                <a:gd name="T55" fmla="*/ 181 h 202"/>
                <a:gd name="T56" fmla="*/ 98 w 138"/>
                <a:gd name="T57" fmla="*/ 178 h 202"/>
                <a:gd name="T58" fmla="*/ 91 w 138"/>
                <a:gd name="T59" fmla="*/ 183 h 202"/>
                <a:gd name="T60" fmla="*/ 79 w 138"/>
                <a:gd name="T61" fmla="*/ 188 h 202"/>
                <a:gd name="T62" fmla="*/ 67 w 138"/>
                <a:gd name="T63" fmla="*/ 190 h 202"/>
                <a:gd name="T64" fmla="*/ 60 w 138"/>
                <a:gd name="T65" fmla="*/ 200 h 202"/>
                <a:gd name="T66" fmla="*/ 60 w 138"/>
                <a:gd name="T67" fmla="*/ 192 h 202"/>
                <a:gd name="T68" fmla="*/ 53 w 138"/>
                <a:gd name="T69" fmla="*/ 183 h 202"/>
                <a:gd name="T70" fmla="*/ 48 w 138"/>
                <a:gd name="T71" fmla="*/ 176 h 202"/>
                <a:gd name="T72" fmla="*/ 41 w 138"/>
                <a:gd name="T73" fmla="*/ 164 h 202"/>
                <a:gd name="T74" fmla="*/ 48 w 138"/>
                <a:gd name="T75" fmla="*/ 162 h 202"/>
                <a:gd name="T76" fmla="*/ 43 w 138"/>
                <a:gd name="T77" fmla="*/ 152 h 202"/>
                <a:gd name="T78" fmla="*/ 34 w 138"/>
                <a:gd name="T79" fmla="*/ 143 h 202"/>
                <a:gd name="T80" fmla="*/ 24 w 138"/>
                <a:gd name="T81" fmla="*/ 135 h 202"/>
                <a:gd name="T82" fmla="*/ 15 w 138"/>
                <a:gd name="T83" fmla="*/ 126 h 202"/>
                <a:gd name="T84" fmla="*/ 19 w 138"/>
                <a:gd name="T85" fmla="*/ 124 h 202"/>
                <a:gd name="T86" fmla="*/ 24 w 138"/>
                <a:gd name="T87" fmla="*/ 121 h 202"/>
                <a:gd name="T88" fmla="*/ 17 w 138"/>
                <a:gd name="T89" fmla="*/ 109 h 202"/>
                <a:gd name="T90" fmla="*/ 17 w 138"/>
                <a:gd name="T91" fmla="*/ 105 h 202"/>
                <a:gd name="T92" fmla="*/ 27 w 138"/>
                <a:gd name="T93" fmla="*/ 102 h 202"/>
                <a:gd name="T94" fmla="*/ 17 w 138"/>
                <a:gd name="T95" fmla="*/ 93 h 202"/>
                <a:gd name="T96" fmla="*/ 12 w 138"/>
                <a:gd name="T97" fmla="*/ 83 h 202"/>
                <a:gd name="T98" fmla="*/ 15 w 138"/>
                <a:gd name="T99" fmla="*/ 74 h 202"/>
                <a:gd name="T100" fmla="*/ 19 w 138"/>
                <a:gd name="T101" fmla="*/ 62 h 202"/>
                <a:gd name="T102" fmla="*/ 8 w 138"/>
                <a:gd name="T103" fmla="*/ 64 h 202"/>
                <a:gd name="T104" fmla="*/ 12 w 138"/>
                <a:gd name="T105" fmla="*/ 59 h 202"/>
                <a:gd name="T106" fmla="*/ 15 w 138"/>
                <a:gd name="T107" fmla="*/ 50 h 202"/>
                <a:gd name="T108" fmla="*/ 15 w 138"/>
                <a:gd name="T109" fmla="*/ 45 h 202"/>
                <a:gd name="T110" fmla="*/ 5 w 138"/>
                <a:gd name="T111" fmla="*/ 38 h 202"/>
                <a:gd name="T112" fmla="*/ 10 w 138"/>
                <a:gd name="T113" fmla="*/ 31 h 202"/>
                <a:gd name="T114" fmla="*/ 3 w 138"/>
                <a:gd name="T115" fmla="*/ 24 h 202"/>
                <a:gd name="T116" fmla="*/ 3 w 138"/>
                <a:gd name="T117" fmla="*/ 17 h 202"/>
                <a:gd name="T118" fmla="*/ 10 w 138"/>
                <a:gd name="T119" fmla="*/ 12 h 202"/>
                <a:gd name="T120" fmla="*/ 19 w 138"/>
                <a:gd name="T121" fmla="*/ 7 h 202"/>
                <a:gd name="T122" fmla="*/ 29 w 138"/>
                <a:gd name="T1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 h="202">
                  <a:moveTo>
                    <a:pt x="29" y="0"/>
                  </a:moveTo>
                  <a:lnTo>
                    <a:pt x="29" y="2"/>
                  </a:lnTo>
                  <a:lnTo>
                    <a:pt x="31" y="2"/>
                  </a:lnTo>
                  <a:lnTo>
                    <a:pt x="34" y="2"/>
                  </a:lnTo>
                  <a:lnTo>
                    <a:pt x="34" y="5"/>
                  </a:lnTo>
                  <a:lnTo>
                    <a:pt x="34" y="2"/>
                  </a:lnTo>
                  <a:lnTo>
                    <a:pt x="36" y="2"/>
                  </a:lnTo>
                  <a:lnTo>
                    <a:pt x="38" y="2"/>
                  </a:lnTo>
                  <a:lnTo>
                    <a:pt x="41" y="2"/>
                  </a:lnTo>
                  <a:lnTo>
                    <a:pt x="43" y="2"/>
                  </a:lnTo>
                  <a:lnTo>
                    <a:pt x="46" y="2"/>
                  </a:lnTo>
                  <a:lnTo>
                    <a:pt x="48" y="5"/>
                  </a:lnTo>
                  <a:lnTo>
                    <a:pt x="50" y="5"/>
                  </a:lnTo>
                  <a:lnTo>
                    <a:pt x="50" y="7"/>
                  </a:lnTo>
                  <a:lnTo>
                    <a:pt x="50" y="10"/>
                  </a:lnTo>
                  <a:lnTo>
                    <a:pt x="53" y="12"/>
                  </a:lnTo>
                  <a:lnTo>
                    <a:pt x="55" y="12"/>
                  </a:lnTo>
                  <a:lnTo>
                    <a:pt x="57" y="14"/>
                  </a:lnTo>
                  <a:lnTo>
                    <a:pt x="57" y="17"/>
                  </a:lnTo>
                  <a:lnTo>
                    <a:pt x="60" y="17"/>
                  </a:lnTo>
                  <a:lnTo>
                    <a:pt x="62" y="19"/>
                  </a:lnTo>
                  <a:lnTo>
                    <a:pt x="60" y="19"/>
                  </a:lnTo>
                  <a:lnTo>
                    <a:pt x="62" y="19"/>
                  </a:lnTo>
                  <a:lnTo>
                    <a:pt x="62" y="21"/>
                  </a:lnTo>
                  <a:lnTo>
                    <a:pt x="65" y="21"/>
                  </a:lnTo>
                  <a:lnTo>
                    <a:pt x="65" y="19"/>
                  </a:lnTo>
                  <a:lnTo>
                    <a:pt x="67" y="21"/>
                  </a:lnTo>
                  <a:lnTo>
                    <a:pt x="67" y="24"/>
                  </a:lnTo>
                  <a:lnTo>
                    <a:pt x="65" y="24"/>
                  </a:lnTo>
                  <a:lnTo>
                    <a:pt x="67" y="24"/>
                  </a:lnTo>
                  <a:lnTo>
                    <a:pt x="67" y="26"/>
                  </a:lnTo>
                  <a:lnTo>
                    <a:pt x="65" y="26"/>
                  </a:lnTo>
                  <a:lnTo>
                    <a:pt x="65" y="29"/>
                  </a:lnTo>
                  <a:lnTo>
                    <a:pt x="67" y="29"/>
                  </a:lnTo>
                  <a:lnTo>
                    <a:pt x="67" y="31"/>
                  </a:lnTo>
                  <a:lnTo>
                    <a:pt x="67" y="33"/>
                  </a:lnTo>
                  <a:lnTo>
                    <a:pt x="65" y="33"/>
                  </a:lnTo>
                  <a:lnTo>
                    <a:pt x="67" y="33"/>
                  </a:lnTo>
                  <a:lnTo>
                    <a:pt x="67" y="36"/>
                  </a:lnTo>
                  <a:lnTo>
                    <a:pt x="69" y="36"/>
                  </a:lnTo>
                  <a:lnTo>
                    <a:pt x="69" y="38"/>
                  </a:lnTo>
                  <a:lnTo>
                    <a:pt x="72" y="38"/>
                  </a:lnTo>
                  <a:lnTo>
                    <a:pt x="72" y="40"/>
                  </a:lnTo>
                  <a:lnTo>
                    <a:pt x="74" y="40"/>
                  </a:lnTo>
                  <a:lnTo>
                    <a:pt x="74" y="43"/>
                  </a:lnTo>
                  <a:lnTo>
                    <a:pt x="76" y="43"/>
                  </a:lnTo>
                  <a:lnTo>
                    <a:pt x="79" y="40"/>
                  </a:lnTo>
                  <a:lnTo>
                    <a:pt x="79" y="43"/>
                  </a:lnTo>
                  <a:lnTo>
                    <a:pt x="79" y="45"/>
                  </a:lnTo>
                  <a:lnTo>
                    <a:pt x="81" y="45"/>
                  </a:lnTo>
                  <a:lnTo>
                    <a:pt x="84" y="45"/>
                  </a:lnTo>
                  <a:lnTo>
                    <a:pt x="86" y="48"/>
                  </a:lnTo>
                  <a:lnTo>
                    <a:pt x="86" y="45"/>
                  </a:lnTo>
                  <a:lnTo>
                    <a:pt x="86" y="48"/>
                  </a:lnTo>
                  <a:lnTo>
                    <a:pt x="88" y="48"/>
                  </a:lnTo>
                  <a:lnTo>
                    <a:pt x="91" y="50"/>
                  </a:lnTo>
                  <a:lnTo>
                    <a:pt x="88" y="50"/>
                  </a:lnTo>
                  <a:lnTo>
                    <a:pt x="88" y="52"/>
                  </a:lnTo>
                  <a:lnTo>
                    <a:pt x="88" y="55"/>
                  </a:lnTo>
                  <a:lnTo>
                    <a:pt x="86" y="55"/>
                  </a:lnTo>
                  <a:lnTo>
                    <a:pt x="88" y="55"/>
                  </a:lnTo>
                  <a:lnTo>
                    <a:pt x="86" y="55"/>
                  </a:lnTo>
                  <a:lnTo>
                    <a:pt x="84" y="55"/>
                  </a:lnTo>
                  <a:lnTo>
                    <a:pt x="84" y="57"/>
                  </a:lnTo>
                  <a:lnTo>
                    <a:pt x="86" y="57"/>
                  </a:lnTo>
                  <a:lnTo>
                    <a:pt x="86" y="59"/>
                  </a:lnTo>
                  <a:lnTo>
                    <a:pt x="88" y="59"/>
                  </a:lnTo>
                  <a:lnTo>
                    <a:pt x="91" y="59"/>
                  </a:lnTo>
                  <a:lnTo>
                    <a:pt x="91" y="62"/>
                  </a:lnTo>
                  <a:lnTo>
                    <a:pt x="88" y="62"/>
                  </a:lnTo>
                  <a:lnTo>
                    <a:pt x="86" y="62"/>
                  </a:lnTo>
                  <a:lnTo>
                    <a:pt x="88" y="62"/>
                  </a:lnTo>
                  <a:lnTo>
                    <a:pt x="86" y="62"/>
                  </a:lnTo>
                  <a:lnTo>
                    <a:pt x="86" y="64"/>
                  </a:lnTo>
                  <a:lnTo>
                    <a:pt x="84" y="64"/>
                  </a:lnTo>
                  <a:lnTo>
                    <a:pt x="86" y="64"/>
                  </a:lnTo>
                  <a:lnTo>
                    <a:pt x="86" y="67"/>
                  </a:lnTo>
                  <a:lnTo>
                    <a:pt x="88" y="67"/>
                  </a:lnTo>
                  <a:lnTo>
                    <a:pt x="91" y="67"/>
                  </a:lnTo>
                  <a:lnTo>
                    <a:pt x="93" y="69"/>
                  </a:lnTo>
                  <a:lnTo>
                    <a:pt x="93" y="71"/>
                  </a:lnTo>
                  <a:lnTo>
                    <a:pt x="95" y="71"/>
                  </a:lnTo>
                  <a:lnTo>
                    <a:pt x="95" y="74"/>
                  </a:lnTo>
                  <a:lnTo>
                    <a:pt x="98" y="74"/>
                  </a:lnTo>
                  <a:lnTo>
                    <a:pt x="100" y="74"/>
                  </a:lnTo>
                  <a:lnTo>
                    <a:pt x="103" y="74"/>
                  </a:lnTo>
                  <a:lnTo>
                    <a:pt x="105" y="74"/>
                  </a:lnTo>
                  <a:lnTo>
                    <a:pt x="105" y="76"/>
                  </a:lnTo>
                  <a:lnTo>
                    <a:pt x="107" y="76"/>
                  </a:lnTo>
                  <a:lnTo>
                    <a:pt x="107" y="78"/>
                  </a:lnTo>
                  <a:lnTo>
                    <a:pt x="107" y="81"/>
                  </a:lnTo>
                  <a:lnTo>
                    <a:pt x="110" y="81"/>
                  </a:lnTo>
                  <a:lnTo>
                    <a:pt x="112" y="81"/>
                  </a:lnTo>
                  <a:lnTo>
                    <a:pt x="112" y="78"/>
                  </a:lnTo>
                  <a:lnTo>
                    <a:pt x="112" y="76"/>
                  </a:lnTo>
                  <a:lnTo>
                    <a:pt x="114" y="76"/>
                  </a:lnTo>
                  <a:lnTo>
                    <a:pt x="114" y="74"/>
                  </a:lnTo>
                  <a:lnTo>
                    <a:pt x="117" y="71"/>
                  </a:lnTo>
                  <a:lnTo>
                    <a:pt x="119" y="71"/>
                  </a:lnTo>
                  <a:lnTo>
                    <a:pt x="119" y="69"/>
                  </a:lnTo>
                  <a:lnTo>
                    <a:pt x="121" y="69"/>
                  </a:lnTo>
                  <a:lnTo>
                    <a:pt x="124" y="74"/>
                  </a:lnTo>
                  <a:lnTo>
                    <a:pt x="126" y="74"/>
                  </a:lnTo>
                  <a:lnTo>
                    <a:pt x="129" y="74"/>
                  </a:lnTo>
                  <a:lnTo>
                    <a:pt x="129" y="76"/>
                  </a:lnTo>
                  <a:lnTo>
                    <a:pt x="131" y="76"/>
                  </a:lnTo>
                  <a:lnTo>
                    <a:pt x="131" y="78"/>
                  </a:lnTo>
                  <a:lnTo>
                    <a:pt x="129" y="78"/>
                  </a:lnTo>
                  <a:lnTo>
                    <a:pt x="126" y="78"/>
                  </a:lnTo>
                  <a:lnTo>
                    <a:pt x="124" y="78"/>
                  </a:lnTo>
                  <a:lnTo>
                    <a:pt x="124" y="81"/>
                  </a:lnTo>
                  <a:lnTo>
                    <a:pt x="121" y="81"/>
                  </a:lnTo>
                  <a:lnTo>
                    <a:pt x="121" y="83"/>
                  </a:lnTo>
                  <a:lnTo>
                    <a:pt x="121" y="86"/>
                  </a:lnTo>
                  <a:lnTo>
                    <a:pt x="124" y="88"/>
                  </a:lnTo>
                  <a:lnTo>
                    <a:pt x="124" y="90"/>
                  </a:lnTo>
                  <a:lnTo>
                    <a:pt x="126" y="90"/>
                  </a:lnTo>
                  <a:lnTo>
                    <a:pt x="129" y="90"/>
                  </a:lnTo>
                  <a:lnTo>
                    <a:pt x="129" y="93"/>
                  </a:lnTo>
                  <a:lnTo>
                    <a:pt x="126" y="93"/>
                  </a:lnTo>
                  <a:lnTo>
                    <a:pt x="129" y="93"/>
                  </a:lnTo>
                  <a:lnTo>
                    <a:pt x="126" y="93"/>
                  </a:lnTo>
                  <a:lnTo>
                    <a:pt x="129" y="93"/>
                  </a:lnTo>
                  <a:lnTo>
                    <a:pt x="126" y="93"/>
                  </a:lnTo>
                  <a:lnTo>
                    <a:pt x="126" y="95"/>
                  </a:lnTo>
                  <a:lnTo>
                    <a:pt x="126" y="97"/>
                  </a:lnTo>
                  <a:lnTo>
                    <a:pt x="126" y="100"/>
                  </a:lnTo>
                  <a:lnTo>
                    <a:pt x="124" y="100"/>
                  </a:lnTo>
                  <a:lnTo>
                    <a:pt x="124" y="102"/>
                  </a:lnTo>
                  <a:lnTo>
                    <a:pt x="121" y="102"/>
                  </a:lnTo>
                  <a:lnTo>
                    <a:pt x="119" y="102"/>
                  </a:lnTo>
                  <a:lnTo>
                    <a:pt x="119" y="105"/>
                  </a:lnTo>
                  <a:lnTo>
                    <a:pt x="119" y="107"/>
                  </a:lnTo>
                  <a:lnTo>
                    <a:pt x="119" y="109"/>
                  </a:lnTo>
                  <a:lnTo>
                    <a:pt x="117" y="109"/>
                  </a:lnTo>
                  <a:lnTo>
                    <a:pt x="117" y="112"/>
                  </a:lnTo>
                  <a:lnTo>
                    <a:pt x="119" y="114"/>
                  </a:lnTo>
                  <a:lnTo>
                    <a:pt x="119" y="116"/>
                  </a:lnTo>
                  <a:lnTo>
                    <a:pt x="119" y="119"/>
                  </a:lnTo>
                  <a:lnTo>
                    <a:pt x="121" y="119"/>
                  </a:lnTo>
                  <a:lnTo>
                    <a:pt x="121" y="121"/>
                  </a:lnTo>
                  <a:lnTo>
                    <a:pt x="121" y="124"/>
                  </a:lnTo>
                  <a:lnTo>
                    <a:pt x="121" y="126"/>
                  </a:lnTo>
                  <a:lnTo>
                    <a:pt x="124" y="126"/>
                  </a:lnTo>
                  <a:lnTo>
                    <a:pt x="124" y="128"/>
                  </a:lnTo>
                  <a:lnTo>
                    <a:pt x="126" y="128"/>
                  </a:lnTo>
                  <a:lnTo>
                    <a:pt x="126" y="131"/>
                  </a:lnTo>
                  <a:lnTo>
                    <a:pt x="126" y="128"/>
                  </a:lnTo>
                  <a:lnTo>
                    <a:pt x="126" y="131"/>
                  </a:lnTo>
                  <a:lnTo>
                    <a:pt x="129" y="131"/>
                  </a:lnTo>
                  <a:lnTo>
                    <a:pt x="131" y="131"/>
                  </a:lnTo>
                  <a:lnTo>
                    <a:pt x="131" y="133"/>
                  </a:lnTo>
                  <a:lnTo>
                    <a:pt x="133" y="133"/>
                  </a:lnTo>
                  <a:lnTo>
                    <a:pt x="133" y="135"/>
                  </a:lnTo>
                  <a:lnTo>
                    <a:pt x="133" y="138"/>
                  </a:lnTo>
                  <a:lnTo>
                    <a:pt x="136" y="138"/>
                  </a:lnTo>
                  <a:lnTo>
                    <a:pt x="136" y="140"/>
                  </a:lnTo>
                  <a:lnTo>
                    <a:pt x="138" y="140"/>
                  </a:lnTo>
                  <a:lnTo>
                    <a:pt x="138" y="143"/>
                  </a:lnTo>
                  <a:lnTo>
                    <a:pt x="138" y="145"/>
                  </a:lnTo>
                  <a:lnTo>
                    <a:pt x="136" y="145"/>
                  </a:lnTo>
                  <a:lnTo>
                    <a:pt x="136" y="147"/>
                  </a:lnTo>
                  <a:lnTo>
                    <a:pt x="133" y="147"/>
                  </a:lnTo>
                  <a:lnTo>
                    <a:pt x="133" y="150"/>
                  </a:lnTo>
                  <a:lnTo>
                    <a:pt x="131" y="150"/>
                  </a:lnTo>
                  <a:lnTo>
                    <a:pt x="131" y="152"/>
                  </a:lnTo>
                  <a:lnTo>
                    <a:pt x="131" y="154"/>
                  </a:lnTo>
                  <a:lnTo>
                    <a:pt x="129" y="154"/>
                  </a:lnTo>
                  <a:lnTo>
                    <a:pt x="126" y="154"/>
                  </a:lnTo>
                  <a:lnTo>
                    <a:pt x="124" y="154"/>
                  </a:lnTo>
                  <a:lnTo>
                    <a:pt x="124" y="157"/>
                  </a:lnTo>
                  <a:lnTo>
                    <a:pt x="124" y="154"/>
                  </a:lnTo>
                  <a:lnTo>
                    <a:pt x="121" y="154"/>
                  </a:lnTo>
                  <a:lnTo>
                    <a:pt x="121" y="157"/>
                  </a:lnTo>
                  <a:lnTo>
                    <a:pt x="119" y="157"/>
                  </a:lnTo>
                  <a:lnTo>
                    <a:pt x="119" y="159"/>
                  </a:lnTo>
                  <a:lnTo>
                    <a:pt x="121" y="159"/>
                  </a:lnTo>
                  <a:lnTo>
                    <a:pt x="121" y="162"/>
                  </a:lnTo>
                  <a:lnTo>
                    <a:pt x="121" y="164"/>
                  </a:lnTo>
                  <a:lnTo>
                    <a:pt x="121" y="166"/>
                  </a:lnTo>
                  <a:lnTo>
                    <a:pt x="119" y="169"/>
                  </a:lnTo>
                  <a:lnTo>
                    <a:pt x="121" y="169"/>
                  </a:lnTo>
                  <a:lnTo>
                    <a:pt x="121" y="171"/>
                  </a:lnTo>
                  <a:lnTo>
                    <a:pt x="124" y="171"/>
                  </a:lnTo>
                  <a:lnTo>
                    <a:pt x="124" y="173"/>
                  </a:lnTo>
                  <a:lnTo>
                    <a:pt x="124" y="176"/>
                  </a:lnTo>
                  <a:lnTo>
                    <a:pt x="121" y="178"/>
                  </a:lnTo>
                  <a:lnTo>
                    <a:pt x="121" y="181"/>
                  </a:lnTo>
                  <a:lnTo>
                    <a:pt x="119" y="181"/>
                  </a:lnTo>
                  <a:lnTo>
                    <a:pt x="117" y="181"/>
                  </a:lnTo>
                  <a:lnTo>
                    <a:pt x="117" y="178"/>
                  </a:lnTo>
                  <a:lnTo>
                    <a:pt x="114" y="178"/>
                  </a:lnTo>
                  <a:lnTo>
                    <a:pt x="114" y="181"/>
                  </a:lnTo>
                  <a:lnTo>
                    <a:pt x="112" y="181"/>
                  </a:lnTo>
                  <a:lnTo>
                    <a:pt x="110" y="181"/>
                  </a:lnTo>
                  <a:lnTo>
                    <a:pt x="107" y="181"/>
                  </a:lnTo>
                  <a:lnTo>
                    <a:pt x="107" y="183"/>
                  </a:lnTo>
                  <a:lnTo>
                    <a:pt x="105" y="181"/>
                  </a:lnTo>
                  <a:lnTo>
                    <a:pt x="105" y="183"/>
                  </a:lnTo>
                  <a:lnTo>
                    <a:pt x="103" y="183"/>
                  </a:lnTo>
                  <a:lnTo>
                    <a:pt x="103" y="181"/>
                  </a:lnTo>
                  <a:lnTo>
                    <a:pt x="100" y="178"/>
                  </a:lnTo>
                  <a:lnTo>
                    <a:pt x="98" y="178"/>
                  </a:lnTo>
                  <a:lnTo>
                    <a:pt x="98" y="181"/>
                  </a:lnTo>
                  <a:lnTo>
                    <a:pt x="98" y="183"/>
                  </a:lnTo>
                  <a:lnTo>
                    <a:pt x="95" y="183"/>
                  </a:lnTo>
                  <a:lnTo>
                    <a:pt x="95" y="185"/>
                  </a:lnTo>
                  <a:lnTo>
                    <a:pt x="95" y="183"/>
                  </a:lnTo>
                  <a:lnTo>
                    <a:pt x="93" y="183"/>
                  </a:lnTo>
                  <a:lnTo>
                    <a:pt x="91" y="183"/>
                  </a:lnTo>
                  <a:lnTo>
                    <a:pt x="88" y="183"/>
                  </a:lnTo>
                  <a:lnTo>
                    <a:pt x="86" y="183"/>
                  </a:lnTo>
                  <a:lnTo>
                    <a:pt x="84" y="185"/>
                  </a:lnTo>
                  <a:lnTo>
                    <a:pt x="84" y="188"/>
                  </a:lnTo>
                  <a:lnTo>
                    <a:pt x="84" y="190"/>
                  </a:lnTo>
                  <a:lnTo>
                    <a:pt x="81" y="190"/>
                  </a:lnTo>
                  <a:lnTo>
                    <a:pt x="79" y="188"/>
                  </a:lnTo>
                  <a:lnTo>
                    <a:pt x="76" y="185"/>
                  </a:lnTo>
                  <a:lnTo>
                    <a:pt x="76" y="188"/>
                  </a:lnTo>
                  <a:lnTo>
                    <a:pt x="74" y="188"/>
                  </a:lnTo>
                  <a:lnTo>
                    <a:pt x="72" y="188"/>
                  </a:lnTo>
                  <a:lnTo>
                    <a:pt x="72" y="190"/>
                  </a:lnTo>
                  <a:lnTo>
                    <a:pt x="69" y="190"/>
                  </a:lnTo>
                  <a:lnTo>
                    <a:pt x="67" y="190"/>
                  </a:lnTo>
                  <a:lnTo>
                    <a:pt x="67" y="192"/>
                  </a:lnTo>
                  <a:lnTo>
                    <a:pt x="65" y="192"/>
                  </a:lnTo>
                  <a:lnTo>
                    <a:pt x="65" y="195"/>
                  </a:lnTo>
                  <a:lnTo>
                    <a:pt x="65" y="197"/>
                  </a:lnTo>
                  <a:lnTo>
                    <a:pt x="65" y="200"/>
                  </a:lnTo>
                  <a:lnTo>
                    <a:pt x="62" y="200"/>
                  </a:lnTo>
                  <a:lnTo>
                    <a:pt x="60" y="200"/>
                  </a:lnTo>
                  <a:lnTo>
                    <a:pt x="60" y="202"/>
                  </a:lnTo>
                  <a:lnTo>
                    <a:pt x="60" y="200"/>
                  </a:lnTo>
                  <a:lnTo>
                    <a:pt x="57" y="200"/>
                  </a:lnTo>
                  <a:lnTo>
                    <a:pt x="60" y="200"/>
                  </a:lnTo>
                  <a:lnTo>
                    <a:pt x="60" y="197"/>
                  </a:lnTo>
                  <a:lnTo>
                    <a:pt x="60" y="195"/>
                  </a:lnTo>
                  <a:lnTo>
                    <a:pt x="60" y="192"/>
                  </a:lnTo>
                  <a:lnTo>
                    <a:pt x="57" y="192"/>
                  </a:lnTo>
                  <a:lnTo>
                    <a:pt x="57" y="190"/>
                  </a:lnTo>
                  <a:lnTo>
                    <a:pt x="57" y="188"/>
                  </a:lnTo>
                  <a:lnTo>
                    <a:pt x="57" y="185"/>
                  </a:lnTo>
                  <a:lnTo>
                    <a:pt x="55" y="185"/>
                  </a:lnTo>
                  <a:lnTo>
                    <a:pt x="55" y="183"/>
                  </a:lnTo>
                  <a:lnTo>
                    <a:pt x="53" y="183"/>
                  </a:lnTo>
                  <a:lnTo>
                    <a:pt x="53" y="181"/>
                  </a:lnTo>
                  <a:lnTo>
                    <a:pt x="50" y="181"/>
                  </a:lnTo>
                  <a:lnTo>
                    <a:pt x="48" y="181"/>
                  </a:lnTo>
                  <a:lnTo>
                    <a:pt x="48" y="178"/>
                  </a:lnTo>
                  <a:lnTo>
                    <a:pt x="46" y="178"/>
                  </a:lnTo>
                  <a:lnTo>
                    <a:pt x="46" y="176"/>
                  </a:lnTo>
                  <a:lnTo>
                    <a:pt x="48" y="176"/>
                  </a:lnTo>
                  <a:lnTo>
                    <a:pt x="46" y="176"/>
                  </a:lnTo>
                  <a:lnTo>
                    <a:pt x="46" y="173"/>
                  </a:lnTo>
                  <a:lnTo>
                    <a:pt x="46" y="171"/>
                  </a:lnTo>
                  <a:lnTo>
                    <a:pt x="43" y="171"/>
                  </a:lnTo>
                  <a:lnTo>
                    <a:pt x="43" y="169"/>
                  </a:lnTo>
                  <a:lnTo>
                    <a:pt x="41" y="166"/>
                  </a:lnTo>
                  <a:lnTo>
                    <a:pt x="41" y="164"/>
                  </a:lnTo>
                  <a:lnTo>
                    <a:pt x="38" y="164"/>
                  </a:lnTo>
                  <a:lnTo>
                    <a:pt x="38" y="162"/>
                  </a:lnTo>
                  <a:lnTo>
                    <a:pt x="41" y="159"/>
                  </a:lnTo>
                  <a:lnTo>
                    <a:pt x="43" y="159"/>
                  </a:lnTo>
                  <a:lnTo>
                    <a:pt x="43" y="162"/>
                  </a:lnTo>
                  <a:lnTo>
                    <a:pt x="46" y="162"/>
                  </a:lnTo>
                  <a:lnTo>
                    <a:pt x="48" y="162"/>
                  </a:lnTo>
                  <a:lnTo>
                    <a:pt x="48" y="159"/>
                  </a:lnTo>
                  <a:lnTo>
                    <a:pt x="50" y="157"/>
                  </a:lnTo>
                  <a:lnTo>
                    <a:pt x="50" y="154"/>
                  </a:lnTo>
                  <a:lnTo>
                    <a:pt x="48" y="152"/>
                  </a:lnTo>
                  <a:lnTo>
                    <a:pt x="46" y="152"/>
                  </a:lnTo>
                  <a:lnTo>
                    <a:pt x="46" y="150"/>
                  </a:lnTo>
                  <a:lnTo>
                    <a:pt x="43" y="152"/>
                  </a:lnTo>
                  <a:lnTo>
                    <a:pt x="41" y="150"/>
                  </a:lnTo>
                  <a:lnTo>
                    <a:pt x="41" y="147"/>
                  </a:lnTo>
                  <a:lnTo>
                    <a:pt x="38" y="147"/>
                  </a:lnTo>
                  <a:lnTo>
                    <a:pt x="38" y="145"/>
                  </a:lnTo>
                  <a:lnTo>
                    <a:pt x="38" y="143"/>
                  </a:lnTo>
                  <a:lnTo>
                    <a:pt x="36" y="143"/>
                  </a:lnTo>
                  <a:lnTo>
                    <a:pt x="34" y="143"/>
                  </a:lnTo>
                  <a:lnTo>
                    <a:pt x="31" y="143"/>
                  </a:lnTo>
                  <a:lnTo>
                    <a:pt x="29" y="143"/>
                  </a:lnTo>
                  <a:lnTo>
                    <a:pt x="29" y="140"/>
                  </a:lnTo>
                  <a:lnTo>
                    <a:pt x="27" y="140"/>
                  </a:lnTo>
                  <a:lnTo>
                    <a:pt x="27" y="138"/>
                  </a:lnTo>
                  <a:lnTo>
                    <a:pt x="24" y="138"/>
                  </a:lnTo>
                  <a:lnTo>
                    <a:pt x="24" y="135"/>
                  </a:lnTo>
                  <a:lnTo>
                    <a:pt x="22" y="133"/>
                  </a:lnTo>
                  <a:lnTo>
                    <a:pt x="22" y="131"/>
                  </a:lnTo>
                  <a:lnTo>
                    <a:pt x="19" y="131"/>
                  </a:lnTo>
                  <a:lnTo>
                    <a:pt x="17" y="131"/>
                  </a:lnTo>
                  <a:lnTo>
                    <a:pt x="17" y="128"/>
                  </a:lnTo>
                  <a:lnTo>
                    <a:pt x="15" y="128"/>
                  </a:lnTo>
                  <a:lnTo>
                    <a:pt x="15" y="126"/>
                  </a:lnTo>
                  <a:lnTo>
                    <a:pt x="15" y="124"/>
                  </a:lnTo>
                  <a:lnTo>
                    <a:pt x="15" y="121"/>
                  </a:lnTo>
                  <a:lnTo>
                    <a:pt x="17" y="121"/>
                  </a:lnTo>
                  <a:lnTo>
                    <a:pt x="19" y="121"/>
                  </a:lnTo>
                  <a:lnTo>
                    <a:pt x="19" y="124"/>
                  </a:lnTo>
                  <a:lnTo>
                    <a:pt x="19" y="121"/>
                  </a:lnTo>
                  <a:lnTo>
                    <a:pt x="19" y="124"/>
                  </a:lnTo>
                  <a:lnTo>
                    <a:pt x="22" y="121"/>
                  </a:lnTo>
                  <a:lnTo>
                    <a:pt x="22" y="124"/>
                  </a:lnTo>
                  <a:lnTo>
                    <a:pt x="24" y="121"/>
                  </a:lnTo>
                  <a:lnTo>
                    <a:pt x="22" y="121"/>
                  </a:lnTo>
                  <a:lnTo>
                    <a:pt x="22" y="119"/>
                  </a:lnTo>
                  <a:lnTo>
                    <a:pt x="22" y="121"/>
                  </a:lnTo>
                  <a:lnTo>
                    <a:pt x="24" y="121"/>
                  </a:lnTo>
                  <a:lnTo>
                    <a:pt x="24" y="119"/>
                  </a:lnTo>
                  <a:lnTo>
                    <a:pt x="24" y="116"/>
                  </a:lnTo>
                  <a:lnTo>
                    <a:pt x="22" y="116"/>
                  </a:lnTo>
                  <a:lnTo>
                    <a:pt x="22" y="114"/>
                  </a:lnTo>
                  <a:lnTo>
                    <a:pt x="19" y="114"/>
                  </a:lnTo>
                  <a:lnTo>
                    <a:pt x="19" y="112"/>
                  </a:lnTo>
                  <a:lnTo>
                    <a:pt x="17" y="109"/>
                  </a:lnTo>
                  <a:lnTo>
                    <a:pt x="17" y="107"/>
                  </a:lnTo>
                  <a:lnTo>
                    <a:pt x="15" y="107"/>
                  </a:lnTo>
                  <a:lnTo>
                    <a:pt x="15" y="105"/>
                  </a:lnTo>
                  <a:lnTo>
                    <a:pt x="15" y="102"/>
                  </a:lnTo>
                  <a:lnTo>
                    <a:pt x="17" y="105"/>
                  </a:lnTo>
                  <a:lnTo>
                    <a:pt x="17" y="102"/>
                  </a:lnTo>
                  <a:lnTo>
                    <a:pt x="17" y="105"/>
                  </a:lnTo>
                  <a:lnTo>
                    <a:pt x="19" y="105"/>
                  </a:lnTo>
                  <a:lnTo>
                    <a:pt x="22" y="105"/>
                  </a:lnTo>
                  <a:lnTo>
                    <a:pt x="24" y="105"/>
                  </a:lnTo>
                  <a:lnTo>
                    <a:pt x="24" y="102"/>
                  </a:lnTo>
                  <a:lnTo>
                    <a:pt x="27" y="102"/>
                  </a:lnTo>
                  <a:lnTo>
                    <a:pt x="27" y="100"/>
                  </a:lnTo>
                  <a:lnTo>
                    <a:pt x="27" y="102"/>
                  </a:lnTo>
                  <a:lnTo>
                    <a:pt x="24" y="100"/>
                  </a:lnTo>
                  <a:lnTo>
                    <a:pt x="22" y="97"/>
                  </a:lnTo>
                  <a:lnTo>
                    <a:pt x="19" y="97"/>
                  </a:lnTo>
                  <a:lnTo>
                    <a:pt x="19" y="95"/>
                  </a:lnTo>
                  <a:lnTo>
                    <a:pt x="17" y="93"/>
                  </a:lnTo>
                  <a:lnTo>
                    <a:pt x="19" y="93"/>
                  </a:lnTo>
                  <a:lnTo>
                    <a:pt x="17" y="93"/>
                  </a:lnTo>
                  <a:lnTo>
                    <a:pt x="17" y="90"/>
                  </a:lnTo>
                  <a:lnTo>
                    <a:pt x="15" y="90"/>
                  </a:lnTo>
                  <a:lnTo>
                    <a:pt x="12" y="90"/>
                  </a:lnTo>
                  <a:lnTo>
                    <a:pt x="10" y="88"/>
                  </a:lnTo>
                  <a:lnTo>
                    <a:pt x="10" y="86"/>
                  </a:lnTo>
                  <a:lnTo>
                    <a:pt x="10" y="83"/>
                  </a:lnTo>
                  <a:lnTo>
                    <a:pt x="12" y="83"/>
                  </a:lnTo>
                  <a:lnTo>
                    <a:pt x="12" y="81"/>
                  </a:lnTo>
                  <a:lnTo>
                    <a:pt x="10" y="81"/>
                  </a:lnTo>
                  <a:lnTo>
                    <a:pt x="10" y="78"/>
                  </a:lnTo>
                  <a:lnTo>
                    <a:pt x="12" y="78"/>
                  </a:lnTo>
                  <a:lnTo>
                    <a:pt x="12" y="76"/>
                  </a:lnTo>
                  <a:lnTo>
                    <a:pt x="15" y="76"/>
                  </a:lnTo>
                  <a:lnTo>
                    <a:pt x="15" y="74"/>
                  </a:lnTo>
                  <a:lnTo>
                    <a:pt x="15" y="71"/>
                  </a:lnTo>
                  <a:lnTo>
                    <a:pt x="17" y="71"/>
                  </a:lnTo>
                  <a:lnTo>
                    <a:pt x="17" y="69"/>
                  </a:lnTo>
                  <a:lnTo>
                    <a:pt x="17" y="67"/>
                  </a:lnTo>
                  <a:lnTo>
                    <a:pt x="17" y="64"/>
                  </a:lnTo>
                  <a:lnTo>
                    <a:pt x="19" y="64"/>
                  </a:lnTo>
                  <a:lnTo>
                    <a:pt x="19" y="62"/>
                  </a:lnTo>
                  <a:lnTo>
                    <a:pt x="17" y="62"/>
                  </a:lnTo>
                  <a:lnTo>
                    <a:pt x="15" y="62"/>
                  </a:lnTo>
                  <a:lnTo>
                    <a:pt x="12" y="62"/>
                  </a:lnTo>
                  <a:lnTo>
                    <a:pt x="12" y="59"/>
                  </a:lnTo>
                  <a:lnTo>
                    <a:pt x="12" y="62"/>
                  </a:lnTo>
                  <a:lnTo>
                    <a:pt x="10" y="62"/>
                  </a:lnTo>
                  <a:lnTo>
                    <a:pt x="8" y="64"/>
                  </a:lnTo>
                  <a:lnTo>
                    <a:pt x="8" y="62"/>
                  </a:lnTo>
                  <a:lnTo>
                    <a:pt x="5" y="62"/>
                  </a:lnTo>
                  <a:lnTo>
                    <a:pt x="8" y="59"/>
                  </a:lnTo>
                  <a:lnTo>
                    <a:pt x="8" y="62"/>
                  </a:lnTo>
                  <a:lnTo>
                    <a:pt x="10" y="62"/>
                  </a:lnTo>
                  <a:lnTo>
                    <a:pt x="10" y="59"/>
                  </a:lnTo>
                  <a:lnTo>
                    <a:pt x="12" y="59"/>
                  </a:lnTo>
                  <a:lnTo>
                    <a:pt x="12" y="57"/>
                  </a:lnTo>
                  <a:lnTo>
                    <a:pt x="10" y="57"/>
                  </a:lnTo>
                  <a:lnTo>
                    <a:pt x="8" y="57"/>
                  </a:lnTo>
                  <a:lnTo>
                    <a:pt x="10" y="57"/>
                  </a:lnTo>
                  <a:lnTo>
                    <a:pt x="10" y="55"/>
                  </a:lnTo>
                  <a:lnTo>
                    <a:pt x="10" y="52"/>
                  </a:lnTo>
                  <a:lnTo>
                    <a:pt x="15" y="50"/>
                  </a:lnTo>
                  <a:lnTo>
                    <a:pt x="17" y="50"/>
                  </a:lnTo>
                  <a:lnTo>
                    <a:pt x="19" y="50"/>
                  </a:lnTo>
                  <a:lnTo>
                    <a:pt x="19" y="48"/>
                  </a:lnTo>
                  <a:lnTo>
                    <a:pt x="22" y="45"/>
                  </a:lnTo>
                  <a:lnTo>
                    <a:pt x="19" y="45"/>
                  </a:lnTo>
                  <a:lnTo>
                    <a:pt x="17" y="45"/>
                  </a:lnTo>
                  <a:lnTo>
                    <a:pt x="15" y="45"/>
                  </a:lnTo>
                  <a:lnTo>
                    <a:pt x="12" y="45"/>
                  </a:lnTo>
                  <a:lnTo>
                    <a:pt x="12" y="43"/>
                  </a:lnTo>
                  <a:lnTo>
                    <a:pt x="10" y="43"/>
                  </a:lnTo>
                  <a:lnTo>
                    <a:pt x="10" y="40"/>
                  </a:lnTo>
                  <a:lnTo>
                    <a:pt x="8" y="40"/>
                  </a:lnTo>
                  <a:lnTo>
                    <a:pt x="5" y="40"/>
                  </a:lnTo>
                  <a:lnTo>
                    <a:pt x="5" y="38"/>
                  </a:lnTo>
                  <a:lnTo>
                    <a:pt x="8" y="38"/>
                  </a:lnTo>
                  <a:lnTo>
                    <a:pt x="8" y="36"/>
                  </a:lnTo>
                  <a:lnTo>
                    <a:pt x="5" y="36"/>
                  </a:lnTo>
                  <a:lnTo>
                    <a:pt x="5" y="33"/>
                  </a:lnTo>
                  <a:lnTo>
                    <a:pt x="8" y="33"/>
                  </a:lnTo>
                  <a:lnTo>
                    <a:pt x="10" y="33"/>
                  </a:lnTo>
                  <a:lnTo>
                    <a:pt x="10" y="31"/>
                  </a:lnTo>
                  <a:lnTo>
                    <a:pt x="8" y="31"/>
                  </a:lnTo>
                  <a:lnTo>
                    <a:pt x="5" y="31"/>
                  </a:lnTo>
                  <a:lnTo>
                    <a:pt x="3" y="31"/>
                  </a:lnTo>
                  <a:lnTo>
                    <a:pt x="3" y="29"/>
                  </a:lnTo>
                  <a:lnTo>
                    <a:pt x="5" y="26"/>
                  </a:lnTo>
                  <a:lnTo>
                    <a:pt x="5" y="24"/>
                  </a:lnTo>
                  <a:lnTo>
                    <a:pt x="3" y="24"/>
                  </a:lnTo>
                  <a:lnTo>
                    <a:pt x="5" y="24"/>
                  </a:lnTo>
                  <a:lnTo>
                    <a:pt x="5" y="21"/>
                  </a:lnTo>
                  <a:lnTo>
                    <a:pt x="5" y="19"/>
                  </a:lnTo>
                  <a:lnTo>
                    <a:pt x="3" y="21"/>
                  </a:lnTo>
                  <a:lnTo>
                    <a:pt x="3" y="19"/>
                  </a:lnTo>
                  <a:lnTo>
                    <a:pt x="0" y="19"/>
                  </a:lnTo>
                  <a:lnTo>
                    <a:pt x="3" y="17"/>
                  </a:lnTo>
                  <a:lnTo>
                    <a:pt x="3" y="14"/>
                  </a:lnTo>
                  <a:lnTo>
                    <a:pt x="3" y="12"/>
                  </a:lnTo>
                  <a:lnTo>
                    <a:pt x="5" y="14"/>
                  </a:lnTo>
                  <a:lnTo>
                    <a:pt x="5" y="12"/>
                  </a:lnTo>
                  <a:lnTo>
                    <a:pt x="8" y="14"/>
                  </a:lnTo>
                  <a:lnTo>
                    <a:pt x="8" y="12"/>
                  </a:lnTo>
                  <a:lnTo>
                    <a:pt x="10" y="12"/>
                  </a:lnTo>
                  <a:lnTo>
                    <a:pt x="8" y="10"/>
                  </a:lnTo>
                  <a:lnTo>
                    <a:pt x="10" y="7"/>
                  </a:lnTo>
                  <a:lnTo>
                    <a:pt x="12" y="10"/>
                  </a:lnTo>
                  <a:lnTo>
                    <a:pt x="15" y="10"/>
                  </a:lnTo>
                  <a:lnTo>
                    <a:pt x="17" y="10"/>
                  </a:lnTo>
                  <a:lnTo>
                    <a:pt x="15" y="10"/>
                  </a:lnTo>
                  <a:lnTo>
                    <a:pt x="19" y="7"/>
                  </a:lnTo>
                  <a:lnTo>
                    <a:pt x="22" y="7"/>
                  </a:lnTo>
                  <a:lnTo>
                    <a:pt x="22" y="5"/>
                  </a:lnTo>
                  <a:lnTo>
                    <a:pt x="24" y="5"/>
                  </a:lnTo>
                  <a:lnTo>
                    <a:pt x="22" y="2"/>
                  </a:lnTo>
                  <a:lnTo>
                    <a:pt x="24" y="2"/>
                  </a:lnTo>
                  <a:lnTo>
                    <a:pt x="27" y="2"/>
                  </a:lnTo>
                  <a:lnTo>
                    <a:pt x="29" y="0"/>
                  </a:lnTo>
                  <a:close/>
                  <a:moveTo>
                    <a:pt x="19" y="124"/>
                  </a:moveTo>
                  <a:lnTo>
                    <a:pt x="22" y="124"/>
                  </a:lnTo>
                  <a:lnTo>
                    <a:pt x="19" y="124"/>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5" name="Freeform 56636"/>
            <p:cNvSpPr>
              <a:spLocks/>
            </p:cNvSpPr>
            <p:nvPr/>
          </p:nvSpPr>
          <p:spPr bwMode="auto">
            <a:xfrm>
              <a:off x="2906710" y="4730767"/>
              <a:ext cx="301625" cy="144463"/>
            </a:xfrm>
            <a:custGeom>
              <a:avLst/>
              <a:gdLst>
                <a:gd name="T0" fmla="*/ 95 w 190"/>
                <a:gd name="T1" fmla="*/ 8 h 91"/>
                <a:gd name="T2" fmla="*/ 100 w 190"/>
                <a:gd name="T3" fmla="*/ 12 h 91"/>
                <a:gd name="T4" fmla="*/ 100 w 190"/>
                <a:gd name="T5" fmla="*/ 20 h 91"/>
                <a:gd name="T6" fmla="*/ 107 w 190"/>
                <a:gd name="T7" fmla="*/ 20 h 91"/>
                <a:gd name="T8" fmla="*/ 112 w 190"/>
                <a:gd name="T9" fmla="*/ 12 h 91"/>
                <a:gd name="T10" fmla="*/ 121 w 190"/>
                <a:gd name="T11" fmla="*/ 10 h 91"/>
                <a:gd name="T12" fmla="*/ 131 w 190"/>
                <a:gd name="T13" fmla="*/ 12 h 91"/>
                <a:gd name="T14" fmla="*/ 133 w 190"/>
                <a:gd name="T15" fmla="*/ 12 h 91"/>
                <a:gd name="T16" fmla="*/ 138 w 190"/>
                <a:gd name="T17" fmla="*/ 15 h 91"/>
                <a:gd name="T18" fmla="*/ 140 w 190"/>
                <a:gd name="T19" fmla="*/ 10 h 91"/>
                <a:gd name="T20" fmla="*/ 147 w 190"/>
                <a:gd name="T21" fmla="*/ 8 h 91"/>
                <a:gd name="T22" fmla="*/ 154 w 190"/>
                <a:gd name="T23" fmla="*/ 8 h 91"/>
                <a:gd name="T24" fmla="*/ 164 w 190"/>
                <a:gd name="T25" fmla="*/ 10 h 91"/>
                <a:gd name="T26" fmla="*/ 171 w 190"/>
                <a:gd name="T27" fmla="*/ 15 h 91"/>
                <a:gd name="T28" fmla="*/ 178 w 190"/>
                <a:gd name="T29" fmla="*/ 20 h 91"/>
                <a:gd name="T30" fmla="*/ 185 w 190"/>
                <a:gd name="T31" fmla="*/ 24 h 91"/>
                <a:gd name="T32" fmla="*/ 187 w 190"/>
                <a:gd name="T33" fmla="*/ 29 h 91"/>
                <a:gd name="T34" fmla="*/ 183 w 190"/>
                <a:gd name="T35" fmla="*/ 36 h 91"/>
                <a:gd name="T36" fmla="*/ 180 w 190"/>
                <a:gd name="T37" fmla="*/ 46 h 91"/>
                <a:gd name="T38" fmla="*/ 176 w 190"/>
                <a:gd name="T39" fmla="*/ 55 h 91"/>
                <a:gd name="T40" fmla="*/ 171 w 190"/>
                <a:gd name="T41" fmla="*/ 58 h 91"/>
                <a:gd name="T42" fmla="*/ 161 w 190"/>
                <a:gd name="T43" fmla="*/ 60 h 91"/>
                <a:gd name="T44" fmla="*/ 154 w 190"/>
                <a:gd name="T45" fmla="*/ 50 h 91"/>
                <a:gd name="T46" fmla="*/ 150 w 190"/>
                <a:gd name="T47" fmla="*/ 53 h 91"/>
                <a:gd name="T48" fmla="*/ 142 w 190"/>
                <a:gd name="T49" fmla="*/ 53 h 91"/>
                <a:gd name="T50" fmla="*/ 133 w 190"/>
                <a:gd name="T51" fmla="*/ 50 h 91"/>
                <a:gd name="T52" fmla="*/ 126 w 190"/>
                <a:gd name="T53" fmla="*/ 50 h 91"/>
                <a:gd name="T54" fmla="*/ 121 w 190"/>
                <a:gd name="T55" fmla="*/ 53 h 91"/>
                <a:gd name="T56" fmla="*/ 116 w 190"/>
                <a:gd name="T57" fmla="*/ 62 h 91"/>
                <a:gd name="T58" fmla="*/ 109 w 190"/>
                <a:gd name="T59" fmla="*/ 67 h 91"/>
                <a:gd name="T60" fmla="*/ 102 w 190"/>
                <a:gd name="T61" fmla="*/ 69 h 91"/>
                <a:gd name="T62" fmla="*/ 97 w 190"/>
                <a:gd name="T63" fmla="*/ 67 h 91"/>
                <a:gd name="T64" fmla="*/ 90 w 190"/>
                <a:gd name="T65" fmla="*/ 67 h 91"/>
                <a:gd name="T66" fmla="*/ 88 w 190"/>
                <a:gd name="T67" fmla="*/ 72 h 91"/>
                <a:gd name="T68" fmla="*/ 81 w 190"/>
                <a:gd name="T69" fmla="*/ 74 h 91"/>
                <a:gd name="T70" fmla="*/ 69 w 190"/>
                <a:gd name="T71" fmla="*/ 74 h 91"/>
                <a:gd name="T72" fmla="*/ 64 w 190"/>
                <a:gd name="T73" fmla="*/ 79 h 91"/>
                <a:gd name="T74" fmla="*/ 69 w 190"/>
                <a:gd name="T75" fmla="*/ 86 h 91"/>
                <a:gd name="T76" fmla="*/ 59 w 190"/>
                <a:gd name="T77" fmla="*/ 88 h 91"/>
                <a:gd name="T78" fmla="*/ 47 w 190"/>
                <a:gd name="T79" fmla="*/ 88 h 91"/>
                <a:gd name="T80" fmla="*/ 36 w 190"/>
                <a:gd name="T81" fmla="*/ 88 h 91"/>
                <a:gd name="T82" fmla="*/ 26 w 190"/>
                <a:gd name="T83" fmla="*/ 86 h 91"/>
                <a:gd name="T84" fmla="*/ 19 w 190"/>
                <a:gd name="T85" fmla="*/ 81 h 91"/>
                <a:gd name="T86" fmla="*/ 12 w 190"/>
                <a:gd name="T87" fmla="*/ 77 h 91"/>
                <a:gd name="T88" fmla="*/ 7 w 190"/>
                <a:gd name="T89" fmla="*/ 69 h 91"/>
                <a:gd name="T90" fmla="*/ 2 w 190"/>
                <a:gd name="T91" fmla="*/ 60 h 91"/>
                <a:gd name="T92" fmla="*/ 2 w 190"/>
                <a:gd name="T93" fmla="*/ 60 h 91"/>
                <a:gd name="T94" fmla="*/ 5 w 190"/>
                <a:gd name="T95" fmla="*/ 50 h 91"/>
                <a:gd name="T96" fmla="*/ 7 w 190"/>
                <a:gd name="T97" fmla="*/ 41 h 91"/>
                <a:gd name="T98" fmla="*/ 14 w 190"/>
                <a:gd name="T99" fmla="*/ 36 h 91"/>
                <a:gd name="T100" fmla="*/ 24 w 190"/>
                <a:gd name="T101" fmla="*/ 36 h 91"/>
                <a:gd name="T102" fmla="*/ 31 w 190"/>
                <a:gd name="T103" fmla="*/ 36 h 91"/>
                <a:gd name="T104" fmla="*/ 36 w 190"/>
                <a:gd name="T105" fmla="*/ 31 h 91"/>
                <a:gd name="T106" fmla="*/ 40 w 190"/>
                <a:gd name="T107" fmla="*/ 27 h 91"/>
                <a:gd name="T108" fmla="*/ 45 w 190"/>
                <a:gd name="T109" fmla="*/ 20 h 91"/>
                <a:gd name="T110" fmla="*/ 52 w 190"/>
                <a:gd name="T111" fmla="*/ 15 h 91"/>
                <a:gd name="T112" fmla="*/ 57 w 190"/>
                <a:gd name="T113" fmla="*/ 8 h 91"/>
                <a:gd name="T114" fmla="*/ 66 w 190"/>
                <a:gd name="T115" fmla="*/ 5 h 91"/>
                <a:gd name="T116" fmla="*/ 71 w 190"/>
                <a:gd name="T117" fmla="*/ 3 h 91"/>
                <a:gd name="T118" fmla="*/ 76 w 190"/>
                <a:gd name="T119" fmla="*/ 10 h 91"/>
                <a:gd name="T120" fmla="*/ 81 w 190"/>
                <a:gd name="T121" fmla="*/ 3 h 91"/>
                <a:gd name="T122" fmla="*/ 90 w 190"/>
                <a:gd name="T1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 h="91">
                  <a:moveTo>
                    <a:pt x="90" y="0"/>
                  </a:moveTo>
                  <a:lnTo>
                    <a:pt x="90" y="3"/>
                  </a:lnTo>
                  <a:lnTo>
                    <a:pt x="90" y="5"/>
                  </a:lnTo>
                  <a:lnTo>
                    <a:pt x="93" y="8"/>
                  </a:lnTo>
                  <a:lnTo>
                    <a:pt x="95" y="8"/>
                  </a:lnTo>
                  <a:lnTo>
                    <a:pt x="93" y="10"/>
                  </a:lnTo>
                  <a:lnTo>
                    <a:pt x="95" y="10"/>
                  </a:lnTo>
                  <a:lnTo>
                    <a:pt x="97" y="10"/>
                  </a:lnTo>
                  <a:lnTo>
                    <a:pt x="100" y="10"/>
                  </a:lnTo>
                  <a:lnTo>
                    <a:pt x="100" y="12"/>
                  </a:lnTo>
                  <a:lnTo>
                    <a:pt x="100" y="15"/>
                  </a:lnTo>
                  <a:lnTo>
                    <a:pt x="100" y="17"/>
                  </a:lnTo>
                  <a:lnTo>
                    <a:pt x="97" y="17"/>
                  </a:lnTo>
                  <a:lnTo>
                    <a:pt x="97" y="20"/>
                  </a:lnTo>
                  <a:lnTo>
                    <a:pt x="100" y="20"/>
                  </a:lnTo>
                  <a:lnTo>
                    <a:pt x="102" y="20"/>
                  </a:lnTo>
                  <a:lnTo>
                    <a:pt x="102" y="17"/>
                  </a:lnTo>
                  <a:lnTo>
                    <a:pt x="104" y="17"/>
                  </a:lnTo>
                  <a:lnTo>
                    <a:pt x="104" y="20"/>
                  </a:lnTo>
                  <a:lnTo>
                    <a:pt x="107" y="20"/>
                  </a:lnTo>
                  <a:lnTo>
                    <a:pt x="109" y="20"/>
                  </a:lnTo>
                  <a:lnTo>
                    <a:pt x="109" y="17"/>
                  </a:lnTo>
                  <a:lnTo>
                    <a:pt x="109" y="15"/>
                  </a:lnTo>
                  <a:lnTo>
                    <a:pt x="112" y="15"/>
                  </a:lnTo>
                  <a:lnTo>
                    <a:pt x="112" y="12"/>
                  </a:lnTo>
                  <a:lnTo>
                    <a:pt x="114" y="12"/>
                  </a:lnTo>
                  <a:lnTo>
                    <a:pt x="116" y="12"/>
                  </a:lnTo>
                  <a:lnTo>
                    <a:pt x="116" y="10"/>
                  </a:lnTo>
                  <a:lnTo>
                    <a:pt x="119" y="10"/>
                  </a:lnTo>
                  <a:lnTo>
                    <a:pt x="121" y="10"/>
                  </a:lnTo>
                  <a:lnTo>
                    <a:pt x="123" y="10"/>
                  </a:lnTo>
                  <a:lnTo>
                    <a:pt x="126" y="10"/>
                  </a:lnTo>
                  <a:lnTo>
                    <a:pt x="128" y="10"/>
                  </a:lnTo>
                  <a:lnTo>
                    <a:pt x="131" y="10"/>
                  </a:lnTo>
                  <a:lnTo>
                    <a:pt x="131" y="12"/>
                  </a:lnTo>
                  <a:lnTo>
                    <a:pt x="131" y="10"/>
                  </a:lnTo>
                  <a:lnTo>
                    <a:pt x="131" y="12"/>
                  </a:lnTo>
                  <a:lnTo>
                    <a:pt x="133" y="12"/>
                  </a:lnTo>
                  <a:lnTo>
                    <a:pt x="131" y="12"/>
                  </a:lnTo>
                  <a:lnTo>
                    <a:pt x="133" y="12"/>
                  </a:lnTo>
                  <a:lnTo>
                    <a:pt x="135" y="12"/>
                  </a:lnTo>
                  <a:lnTo>
                    <a:pt x="135" y="15"/>
                  </a:lnTo>
                  <a:lnTo>
                    <a:pt x="135" y="12"/>
                  </a:lnTo>
                  <a:lnTo>
                    <a:pt x="135" y="15"/>
                  </a:lnTo>
                  <a:lnTo>
                    <a:pt x="138" y="15"/>
                  </a:lnTo>
                  <a:lnTo>
                    <a:pt x="138" y="12"/>
                  </a:lnTo>
                  <a:lnTo>
                    <a:pt x="140" y="12"/>
                  </a:lnTo>
                  <a:lnTo>
                    <a:pt x="142" y="12"/>
                  </a:lnTo>
                  <a:lnTo>
                    <a:pt x="142" y="10"/>
                  </a:lnTo>
                  <a:lnTo>
                    <a:pt x="140" y="10"/>
                  </a:lnTo>
                  <a:lnTo>
                    <a:pt x="140" y="8"/>
                  </a:lnTo>
                  <a:lnTo>
                    <a:pt x="142" y="8"/>
                  </a:lnTo>
                  <a:lnTo>
                    <a:pt x="145" y="10"/>
                  </a:lnTo>
                  <a:lnTo>
                    <a:pt x="145" y="8"/>
                  </a:lnTo>
                  <a:lnTo>
                    <a:pt x="147" y="8"/>
                  </a:lnTo>
                  <a:lnTo>
                    <a:pt x="150" y="8"/>
                  </a:lnTo>
                  <a:lnTo>
                    <a:pt x="152" y="8"/>
                  </a:lnTo>
                  <a:lnTo>
                    <a:pt x="152" y="10"/>
                  </a:lnTo>
                  <a:lnTo>
                    <a:pt x="154" y="10"/>
                  </a:lnTo>
                  <a:lnTo>
                    <a:pt x="154" y="8"/>
                  </a:lnTo>
                  <a:lnTo>
                    <a:pt x="157" y="10"/>
                  </a:lnTo>
                  <a:lnTo>
                    <a:pt x="157" y="8"/>
                  </a:lnTo>
                  <a:lnTo>
                    <a:pt x="159" y="8"/>
                  </a:lnTo>
                  <a:lnTo>
                    <a:pt x="161" y="10"/>
                  </a:lnTo>
                  <a:lnTo>
                    <a:pt x="164" y="10"/>
                  </a:lnTo>
                  <a:lnTo>
                    <a:pt x="164" y="12"/>
                  </a:lnTo>
                  <a:lnTo>
                    <a:pt x="166" y="10"/>
                  </a:lnTo>
                  <a:lnTo>
                    <a:pt x="169" y="12"/>
                  </a:lnTo>
                  <a:lnTo>
                    <a:pt x="171" y="12"/>
                  </a:lnTo>
                  <a:lnTo>
                    <a:pt x="171" y="15"/>
                  </a:lnTo>
                  <a:lnTo>
                    <a:pt x="173" y="15"/>
                  </a:lnTo>
                  <a:lnTo>
                    <a:pt x="173" y="17"/>
                  </a:lnTo>
                  <a:lnTo>
                    <a:pt x="173" y="20"/>
                  </a:lnTo>
                  <a:lnTo>
                    <a:pt x="176" y="20"/>
                  </a:lnTo>
                  <a:lnTo>
                    <a:pt x="178" y="20"/>
                  </a:lnTo>
                  <a:lnTo>
                    <a:pt x="178" y="22"/>
                  </a:lnTo>
                  <a:lnTo>
                    <a:pt x="180" y="22"/>
                  </a:lnTo>
                  <a:lnTo>
                    <a:pt x="183" y="22"/>
                  </a:lnTo>
                  <a:lnTo>
                    <a:pt x="185" y="22"/>
                  </a:lnTo>
                  <a:lnTo>
                    <a:pt x="185" y="24"/>
                  </a:lnTo>
                  <a:lnTo>
                    <a:pt x="187" y="24"/>
                  </a:lnTo>
                  <a:lnTo>
                    <a:pt x="190" y="24"/>
                  </a:lnTo>
                  <a:lnTo>
                    <a:pt x="190" y="27"/>
                  </a:lnTo>
                  <a:lnTo>
                    <a:pt x="190" y="29"/>
                  </a:lnTo>
                  <a:lnTo>
                    <a:pt x="187" y="29"/>
                  </a:lnTo>
                  <a:lnTo>
                    <a:pt x="187" y="31"/>
                  </a:lnTo>
                  <a:lnTo>
                    <a:pt x="185" y="31"/>
                  </a:lnTo>
                  <a:lnTo>
                    <a:pt x="185" y="34"/>
                  </a:lnTo>
                  <a:lnTo>
                    <a:pt x="185" y="36"/>
                  </a:lnTo>
                  <a:lnTo>
                    <a:pt x="183" y="36"/>
                  </a:lnTo>
                  <a:lnTo>
                    <a:pt x="185" y="39"/>
                  </a:lnTo>
                  <a:lnTo>
                    <a:pt x="183" y="39"/>
                  </a:lnTo>
                  <a:lnTo>
                    <a:pt x="183" y="41"/>
                  </a:lnTo>
                  <a:lnTo>
                    <a:pt x="183" y="43"/>
                  </a:lnTo>
                  <a:lnTo>
                    <a:pt x="180" y="46"/>
                  </a:lnTo>
                  <a:lnTo>
                    <a:pt x="180" y="48"/>
                  </a:lnTo>
                  <a:lnTo>
                    <a:pt x="178" y="48"/>
                  </a:lnTo>
                  <a:lnTo>
                    <a:pt x="176" y="50"/>
                  </a:lnTo>
                  <a:lnTo>
                    <a:pt x="176" y="53"/>
                  </a:lnTo>
                  <a:lnTo>
                    <a:pt x="176" y="55"/>
                  </a:lnTo>
                  <a:lnTo>
                    <a:pt x="176" y="58"/>
                  </a:lnTo>
                  <a:lnTo>
                    <a:pt x="176" y="60"/>
                  </a:lnTo>
                  <a:lnTo>
                    <a:pt x="173" y="60"/>
                  </a:lnTo>
                  <a:lnTo>
                    <a:pt x="173" y="58"/>
                  </a:lnTo>
                  <a:lnTo>
                    <a:pt x="171" y="58"/>
                  </a:lnTo>
                  <a:lnTo>
                    <a:pt x="171" y="60"/>
                  </a:lnTo>
                  <a:lnTo>
                    <a:pt x="169" y="60"/>
                  </a:lnTo>
                  <a:lnTo>
                    <a:pt x="166" y="60"/>
                  </a:lnTo>
                  <a:lnTo>
                    <a:pt x="164" y="60"/>
                  </a:lnTo>
                  <a:lnTo>
                    <a:pt x="161" y="60"/>
                  </a:lnTo>
                  <a:lnTo>
                    <a:pt x="161" y="58"/>
                  </a:lnTo>
                  <a:lnTo>
                    <a:pt x="159" y="55"/>
                  </a:lnTo>
                  <a:lnTo>
                    <a:pt x="159" y="53"/>
                  </a:lnTo>
                  <a:lnTo>
                    <a:pt x="157" y="53"/>
                  </a:lnTo>
                  <a:lnTo>
                    <a:pt x="154" y="50"/>
                  </a:lnTo>
                  <a:lnTo>
                    <a:pt x="154" y="48"/>
                  </a:lnTo>
                  <a:lnTo>
                    <a:pt x="152" y="48"/>
                  </a:lnTo>
                  <a:lnTo>
                    <a:pt x="152" y="50"/>
                  </a:lnTo>
                  <a:lnTo>
                    <a:pt x="150" y="50"/>
                  </a:lnTo>
                  <a:lnTo>
                    <a:pt x="150" y="53"/>
                  </a:lnTo>
                  <a:lnTo>
                    <a:pt x="147" y="53"/>
                  </a:lnTo>
                  <a:lnTo>
                    <a:pt x="147" y="50"/>
                  </a:lnTo>
                  <a:lnTo>
                    <a:pt x="145" y="50"/>
                  </a:lnTo>
                  <a:lnTo>
                    <a:pt x="145" y="53"/>
                  </a:lnTo>
                  <a:lnTo>
                    <a:pt x="142" y="53"/>
                  </a:lnTo>
                  <a:lnTo>
                    <a:pt x="140" y="53"/>
                  </a:lnTo>
                  <a:lnTo>
                    <a:pt x="138" y="53"/>
                  </a:lnTo>
                  <a:lnTo>
                    <a:pt x="138" y="50"/>
                  </a:lnTo>
                  <a:lnTo>
                    <a:pt x="135" y="50"/>
                  </a:lnTo>
                  <a:lnTo>
                    <a:pt x="133" y="50"/>
                  </a:lnTo>
                  <a:lnTo>
                    <a:pt x="133" y="48"/>
                  </a:lnTo>
                  <a:lnTo>
                    <a:pt x="133" y="50"/>
                  </a:lnTo>
                  <a:lnTo>
                    <a:pt x="131" y="50"/>
                  </a:lnTo>
                  <a:lnTo>
                    <a:pt x="128" y="50"/>
                  </a:lnTo>
                  <a:lnTo>
                    <a:pt x="126" y="50"/>
                  </a:lnTo>
                  <a:lnTo>
                    <a:pt x="123" y="50"/>
                  </a:lnTo>
                  <a:lnTo>
                    <a:pt x="123" y="53"/>
                  </a:lnTo>
                  <a:lnTo>
                    <a:pt x="123" y="50"/>
                  </a:lnTo>
                  <a:lnTo>
                    <a:pt x="121" y="50"/>
                  </a:lnTo>
                  <a:lnTo>
                    <a:pt x="121" y="53"/>
                  </a:lnTo>
                  <a:lnTo>
                    <a:pt x="121" y="55"/>
                  </a:lnTo>
                  <a:lnTo>
                    <a:pt x="119" y="58"/>
                  </a:lnTo>
                  <a:lnTo>
                    <a:pt x="119" y="60"/>
                  </a:lnTo>
                  <a:lnTo>
                    <a:pt x="119" y="62"/>
                  </a:lnTo>
                  <a:lnTo>
                    <a:pt x="116" y="62"/>
                  </a:lnTo>
                  <a:lnTo>
                    <a:pt x="116" y="65"/>
                  </a:lnTo>
                  <a:lnTo>
                    <a:pt x="114" y="65"/>
                  </a:lnTo>
                  <a:lnTo>
                    <a:pt x="112" y="65"/>
                  </a:lnTo>
                  <a:lnTo>
                    <a:pt x="109" y="65"/>
                  </a:lnTo>
                  <a:lnTo>
                    <a:pt x="109" y="67"/>
                  </a:lnTo>
                  <a:lnTo>
                    <a:pt x="107" y="67"/>
                  </a:lnTo>
                  <a:lnTo>
                    <a:pt x="107" y="69"/>
                  </a:lnTo>
                  <a:lnTo>
                    <a:pt x="104" y="69"/>
                  </a:lnTo>
                  <a:lnTo>
                    <a:pt x="102" y="72"/>
                  </a:lnTo>
                  <a:lnTo>
                    <a:pt x="102" y="69"/>
                  </a:lnTo>
                  <a:lnTo>
                    <a:pt x="100" y="69"/>
                  </a:lnTo>
                  <a:lnTo>
                    <a:pt x="97" y="69"/>
                  </a:lnTo>
                  <a:lnTo>
                    <a:pt x="100" y="69"/>
                  </a:lnTo>
                  <a:lnTo>
                    <a:pt x="100" y="67"/>
                  </a:lnTo>
                  <a:lnTo>
                    <a:pt x="97" y="67"/>
                  </a:lnTo>
                  <a:lnTo>
                    <a:pt x="95" y="67"/>
                  </a:lnTo>
                  <a:lnTo>
                    <a:pt x="95" y="65"/>
                  </a:lnTo>
                  <a:lnTo>
                    <a:pt x="93" y="65"/>
                  </a:lnTo>
                  <a:lnTo>
                    <a:pt x="93" y="67"/>
                  </a:lnTo>
                  <a:lnTo>
                    <a:pt x="90" y="67"/>
                  </a:lnTo>
                  <a:lnTo>
                    <a:pt x="90" y="69"/>
                  </a:lnTo>
                  <a:lnTo>
                    <a:pt x="88" y="69"/>
                  </a:lnTo>
                  <a:lnTo>
                    <a:pt x="88" y="72"/>
                  </a:lnTo>
                  <a:lnTo>
                    <a:pt x="88" y="74"/>
                  </a:lnTo>
                  <a:lnTo>
                    <a:pt x="88" y="72"/>
                  </a:lnTo>
                  <a:lnTo>
                    <a:pt x="85" y="72"/>
                  </a:lnTo>
                  <a:lnTo>
                    <a:pt x="85" y="74"/>
                  </a:lnTo>
                  <a:lnTo>
                    <a:pt x="85" y="72"/>
                  </a:lnTo>
                  <a:lnTo>
                    <a:pt x="83" y="72"/>
                  </a:lnTo>
                  <a:lnTo>
                    <a:pt x="81" y="74"/>
                  </a:lnTo>
                  <a:lnTo>
                    <a:pt x="78" y="74"/>
                  </a:lnTo>
                  <a:lnTo>
                    <a:pt x="76" y="74"/>
                  </a:lnTo>
                  <a:lnTo>
                    <a:pt x="74" y="74"/>
                  </a:lnTo>
                  <a:lnTo>
                    <a:pt x="71" y="74"/>
                  </a:lnTo>
                  <a:lnTo>
                    <a:pt x="69" y="74"/>
                  </a:lnTo>
                  <a:lnTo>
                    <a:pt x="66" y="74"/>
                  </a:lnTo>
                  <a:lnTo>
                    <a:pt x="66" y="77"/>
                  </a:lnTo>
                  <a:lnTo>
                    <a:pt x="66" y="79"/>
                  </a:lnTo>
                  <a:lnTo>
                    <a:pt x="66" y="77"/>
                  </a:lnTo>
                  <a:lnTo>
                    <a:pt x="64" y="79"/>
                  </a:lnTo>
                  <a:lnTo>
                    <a:pt x="64" y="81"/>
                  </a:lnTo>
                  <a:lnTo>
                    <a:pt x="64" y="84"/>
                  </a:lnTo>
                  <a:lnTo>
                    <a:pt x="66" y="84"/>
                  </a:lnTo>
                  <a:lnTo>
                    <a:pt x="66" y="86"/>
                  </a:lnTo>
                  <a:lnTo>
                    <a:pt x="69" y="86"/>
                  </a:lnTo>
                  <a:lnTo>
                    <a:pt x="66" y="86"/>
                  </a:lnTo>
                  <a:lnTo>
                    <a:pt x="64" y="86"/>
                  </a:lnTo>
                  <a:lnTo>
                    <a:pt x="64" y="88"/>
                  </a:lnTo>
                  <a:lnTo>
                    <a:pt x="62" y="88"/>
                  </a:lnTo>
                  <a:lnTo>
                    <a:pt x="59" y="88"/>
                  </a:lnTo>
                  <a:lnTo>
                    <a:pt x="57" y="88"/>
                  </a:lnTo>
                  <a:lnTo>
                    <a:pt x="55" y="88"/>
                  </a:lnTo>
                  <a:lnTo>
                    <a:pt x="52" y="88"/>
                  </a:lnTo>
                  <a:lnTo>
                    <a:pt x="50" y="91"/>
                  </a:lnTo>
                  <a:lnTo>
                    <a:pt x="47" y="88"/>
                  </a:lnTo>
                  <a:lnTo>
                    <a:pt x="45" y="88"/>
                  </a:lnTo>
                  <a:lnTo>
                    <a:pt x="43" y="88"/>
                  </a:lnTo>
                  <a:lnTo>
                    <a:pt x="40" y="88"/>
                  </a:lnTo>
                  <a:lnTo>
                    <a:pt x="38" y="88"/>
                  </a:lnTo>
                  <a:lnTo>
                    <a:pt x="36" y="88"/>
                  </a:lnTo>
                  <a:lnTo>
                    <a:pt x="33" y="88"/>
                  </a:lnTo>
                  <a:lnTo>
                    <a:pt x="31" y="88"/>
                  </a:lnTo>
                  <a:lnTo>
                    <a:pt x="29" y="88"/>
                  </a:lnTo>
                  <a:lnTo>
                    <a:pt x="29" y="86"/>
                  </a:lnTo>
                  <a:lnTo>
                    <a:pt x="26" y="86"/>
                  </a:lnTo>
                  <a:lnTo>
                    <a:pt x="24" y="86"/>
                  </a:lnTo>
                  <a:lnTo>
                    <a:pt x="24" y="84"/>
                  </a:lnTo>
                  <a:lnTo>
                    <a:pt x="21" y="84"/>
                  </a:lnTo>
                  <a:lnTo>
                    <a:pt x="21" y="81"/>
                  </a:lnTo>
                  <a:lnTo>
                    <a:pt x="19" y="81"/>
                  </a:lnTo>
                  <a:lnTo>
                    <a:pt x="19" y="79"/>
                  </a:lnTo>
                  <a:lnTo>
                    <a:pt x="17" y="79"/>
                  </a:lnTo>
                  <a:lnTo>
                    <a:pt x="17" y="77"/>
                  </a:lnTo>
                  <a:lnTo>
                    <a:pt x="14" y="77"/>
                  </a:lnTo>
                  <a:lnTo>
                    <a:pt x="12" y="77"/>
                  </a:lnTo>
                  <a:lnTo>
                    <a:pt x="10" y="77"/>
                  </a:lnTo>
                  <a:lnTo>
                    <a:pt x="10" y="74"/>
                  </a:lnTo>
                  <a:lnTo>
                    <a:pt x="10" y="72"/>
                  </a:lnTo>
                  <a:lnTo>
                    <a:pt x="10" y="69"/>
                  </a:lnTo>
                  <a:lnTo>
                    <a:pt x="7" y="69"/>
                  </a:lnTo>
                  <a:lnTo>
                    <a:pt x="5" y="69"/>
                  </a:lnTo>
                  <a:lnTo>
                    <a:pt x="5" y="67"/>
                  </a:lnTo>
                  <a:lnTo>
                    <a:pt x="5" y="65"/>
                  </a:lnTo>
                  <a:lnTo>
                    <a:pt x="2" y="62"/>
                  </a:lnTo>
                  <a:lnTo>
                    <a:pt x="2" y="60"/>
                  </a:lnTo>
                  <a:lnTo>
                    <a:pt x="0" y="60"/>
                  </a:lnTo>
                  <a:lnTo>
                    <a:pt x="2" y="60"/>
                  </a:lnTo>
                  <a:lnTo>
                    <a:pt x="0" y="60"/>
                  </a:lnTo>
                  <a:lnTo>
                    <a:pt x="0" y="58"/>
                  </a:lnTo>
                  <a:lnTo>
                    <a:pt x="2" y="60"/>
                  </a:lnTo>
                  <a:lnTo>
                    <a:pt x="2" y="58"/>
                  </a:lnTo>
                  <a:lnTo>
                    <a:pt x="2" y="55"/>
                  </a:lnTo>
                  <a:lnTo>
                    <a:pt x="2" y="53"/>
                  </a:lnTo>
                  <a:lnTo>
                    <a:pt x="5" y="53"/>
                  </a:lnTo>
                  <a:lnTo>
                    <a:pt x="5" y="50"/>
                  </a:lnTo>
                  <a:lnTo>
                    <a:pt x="5" y="48"/>
                  </a:lnTo>
                  <a:lnTo>
                    <a:pt x="5" y="46"/>
                  </a:lnTo>
                  <a:lnTo>
                    <a:pt x="5" y="43"/>
                  </a:lnTo>
                  <a:lnTo>
                    <a:pt x="7" y="43"/>
                  </a:lnTo>
                  <a:lnTo>
                    <a:pt x="7" y="41"/>
                  </a:lnTo>
                  <a:lnTo>
                    <a:pt x="10" y="41"/>
                  </a:lnTo>
                  <a:lnTo>
                    <a:pt x="10" y="39"/>
                  </a:lnTo>
                  <a:lnTo>
                    <a:pt x="10" y="36"/>
                  </a:lnTo>
                  <a:lnTo>
                    <a:pt x="12" y="36"/>
                  </a:lnTo>
                  <a:lnTo>
                    <a:pt x="14" y="36"/>
                  </a:lnTo>
                  <a:lnTo>
                    <a:pt x="17" y="36"/>
                  </a:lnTo>
                  <a:lnTo>
                    <a:pt x="19" y="39"/>
                  </a:lnTo>
                  <a:lnTo>
                    <a:pt x="21" y="39"/>
                  </a:lnTo>
                  <a:lnTo>
                    <a:pt x="21" y="36"/>
                  </a:lnTo>
                  <a:lnTo>
                    <a:pt x="24" y="36"/>
                  </a:lnTo>
                  <a:lnTo>
                    <a:pt x="24" y="39"/>
                  </a:lnTo>
                  <a:lnTo>
                    <a:pt x="26" y="39"/>
                  </a:lnTo>
                  <a:lnTo>
                    <a:pt x="26" y="36"/>
                  </a:lnTo>
                  <a:lnTo>
                    <a:pt x="29" y="36"/>
                  </a:lnTo>
                  <a:lnTo>
                    <a:pt x="31" y="36"/>
                  </a:lnTo>
                  <a:lnTo>
                    <a:pt x="31" y="34"/>
                  </a:lnTo>
                  <a:lnTo>
                    <a:pt x="33" y="34"/>
                  </a:lnTo>
                  <a:lnTo>
                    <a:pt x="33" y="31"/>
                  </a:lnTo>
                  <a:lnTo>
                    <a:pt x="36" y="34"/>
                  </a:lnTo>
                  <a:lnTo>
                    <a:pt x="36" y="31"/>
                  </a:lnTo>
                  <a:lnTo>
                    <a:pt x="36" y="29"/>
                  </a:lnTo>
                  <a:lnTo>
                    <a:pt x="38" y="29"/>
                  </a:lnTo>
                  <a:lnTo>
                    <a:pt x="40" y="27"/>
                  </a:lnTo>
                  <a:lnTo>
                    <a:pt x="40" y="29"/>
                  </a:lnTo>
                  <a:lnTo>
                    <a:pt x="40" y="27"/>
                  </a:lnTo>
                  <a:lnTo>
                    <a:pt x="43" y="27"/>
                  </a:lnTo>
                  <a:lnTo>
                    <a:pt x="43" y="24"/>
                  </a:lnTo>
                  <a:lnTo>
                    <a:pt x="43" y="22"/>
                  </a:lnTo>
                  <a:lnTo>
                    <a:pt x="43" y="20"/>
                  </a:lnTo>
                  <a:lnTo>
                    <a:pt x="45" y="20"/>
                  </a:lnTo>
                  <a:lnTo>
                    <a:pt x="45" y="17"/>
                  </a:lnTo>
                  <a:lnTo>
                    <a:pt x="45" y="15"/>
                  </a:lnTo>
                  <a:lnTo>
                    <a:pt x="47" y="15"/>
                  </a:lnTo>
                  <a:lnTo>
                    <a:pt x="50" y="15"/>
                  </a:lnTo>
                  <a:lnTo>
                    <a:pt x="52" y="15"/>
                  </a:lnTo>
                  <a:lnTo>
                    <a:pt x="52" y="12"/>
                  </a:lnTo>
                  <a:lnTo>
                    <a:pt x="52" y="10"/>
                  </a:lnTo>
                  <a:lnTo>
                    <a:pt x="55" y="10"/>
                  </a:lnTo>
                  <a:lnTo>
                    <a:pt x="55" y="8"/>
                  </a:lnTo>
                  <a:lnTo>
                    <a:pt x="57" y="8"/>
                  </a:lnTo>
                  <a:lnTo>
                    <a:pt x="57" y="5"/>
                  </a:lnTo>
                  <a:lnTo>
                    <a:pt x="59" y="5"/>
                  </a:lnTo>
                  <a:lnTo>
                    <a:pt x="62" y="5"/>
                  </a:lnTo>
                  <a:lnTo>
                    <a:pt x="64" y="5"/>
                  </a:lnTo>
                  <a:lnTo>
                    <a:pt x="66" y="5"/>
                  </a:lnTo>
                  <a:lnTo>
                    <a:pt x="66" y="3"/>
                  </a:lnTo>
                  <a:lnTo>
                    <a:pt x="69" y="3"/>
                  </a:lnTo>
                  <a:lnTo>
                    <a:pt x="69" y="5"/>
                  </a:lnTo>
                  <a:lnTo>
                    <a:pt x="69" y="3"/>
                  </a:lnTo>
                  <a:lnTo>
                    <a:pt x="71" y="3"/>
                  </a:lnTo>
                  <a:lnTo>
                    <a:pt x="71" y="5"/>
                  </a:lnTo>
                  <a:lnTo>
                    <a:pt x="71" y="8"/>
                  </a:lnTo>
                  <a:lnTo>
                    <a:pt x="71" y="10"/>
                  </a:lnTo>
                  <a:lnTo>
                    <a:pt x="74" y="10"/>
                  </a:lnTo>
                  <a:lnTo>
                    <a:pt x="76" y="10"/>
                  </a:lnTo>
                  <a:lnTo>
                    <a:pt x="78" y="10"/>
                  </a:lnTo>
                  <a:lnTo>
                    <a:pt x="78" y="8"/>
                  </a:lnTo>
                  <a:lnTo>
                    <a:pt x="81" y="8"/>
                  </a:lnTo>
                  <a:lnTo>
                    <a:pt x="81" y="5"/>
                  </a:lnTo>
                  <a:lnTo>
                    <a:pt x="81" y="3"/>
                  </a:lnTo>
                  <a:lnTo>
                    <a:pt x="83" y="3"/>
                  </a:lnTo>
                  <a:lnTo>
                    <a:pt x="85" y="3"/>
                  </a:lnTo>
                  <a:lnTo>
                    <a:pt x="85" y="0"/>
                  </a:lnTo>
                  <a:lnTo>
                    <a:pt x="88" y="0"/>
                  </a:lnTo>
                  <a:lnTo>
                    <a:pt x="9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6" name="Freeform 56637"/>
            <p:cNvSpPr>
              <a:spLocks/>
            </p:cNvSpPr>
            <p:nvPr/>
          </p:nvSpPr>
          <p:spPr bwMode="auto">
            <a:xfrm>
              <a:off x="2725735" y="4938730"/>
              <a:ext cx="173038" cy="109538"/>
            </a:xfrm>
            <a:custGeom>
              <a:avLst/>
              <a:gdLst>
                <a:gd name="T0" fmla="*/ 97 w 109"/>
                <a:gd name="T1" fmla="*/ 3 h 69"/>
                <a:gd name="T2" fmla="*/ 102 w 109"/>
                <a:gd name="T3" fmla="*/ 10 h 69"/>
                <a:gd name="T4" fmla="*/ 102 w 109"/>
                <a:gd name="T5" fmla="*/ 14 h 69"/>
                <a:gd name="T6" fmla="*/ 107 w 109"/>
                <a:gd name="T7" fmla="*/ 19 h 69"/>
                <a:gd name="T8" fmla="*/ 105 w 109"/>
                <a:gd name="T9" fmla="*/ 17 h 69"/>
                <a:gd name="T10" fmla="*/ 100 w 109"/>
                <a:gd name="T11" fmla="*/ 17 h 69"/>
                <a:gd name="T12" fmla="*/ 97 w 109"/>
                <a:gd name="T13" fmla="*/ 22 h 69"/>
                <a:gd name="T14" fmla="*/ 90 w 109"/>
                <a:gd name="T15" fmla="*/ 24 h 69"/>
                <a:gd name="T16" fmla="*/ 83 w 109"/>
                <a:gd name="T17" fmla="*/ 29 h 69"/>
                <a:gd name="T18" fmla="*/ 76 w 109"/>
                <a:gd name="T19" fmla="*/ 31 h 69"/>
                <a:gd name="T20" fmla="*/ 76 w 109"/>
                <a:gd name="T21" fmla="*/ 36 h 69"/>
                <a:gd name="T22" fmla="*/ 78 w 109"/>
                <a:gd name="T23" fmla="*/ 43 h 69"/>
                <a:gd name="T24" fmla="*/ 76 w 109"/>
                <a:gd name="T25" fmla="*/ 50 h 69"/>
                <a:gd name="T26" fmla="*/ 71 w 109"/>
                <a:gd name="T27" fmla="*/ 50 h 69"/>
                <a:gd name="T28" fmla="*/ 64 w 109"/>
                <a:gd name="T29" fmla="*/ 52 h 69"/>
                <a:gd name="T30" fmla="*/ 64 w 109"/>
                <a:gd name="T31" fmla="*/ 57 h 69"/>
                <a:gd name="T32" fmla="*/ 67 w 109"/>
                <a:gd name="T33" fmla="*/ 64 h 69"/>
                <a:gd name="T34" fmla="*/ 59 w 109"/>
                <a:gd name="T35" fmla="*/ 69 h 69"/>
                <a:gd name="T36" fmla="*/ 55 w 109"/>
                <a:gd name="T37" fmla="*/ 64 h 69"/>
                <a:gd name="T38" fmla="*/ 50 w 109"/>
                <a:gd name="T39" fmla="*/ 64 h 69"/>
                <a:gd name="T40" fmla="*/ 45 w 109"/>
                <a:gd name="T41" fmla="*/ 64 h 69"/>
                <a:gd name="T42" fmla="*/ 45 w 109"/>
                <a:gd name="T43" fmla="*/ 60 h 69"/>
                <a:gd name="T44" fmla="*/ 38 w 109"/>
                <a:gd name="T45" fmla="*/ 60 h 69"/>
                <a:gd name="T46" fmla="*/ 33 w 109"/>
                <a:gd name="T47" fmla="*/ 64 h 69"/>
                <a:gd name="T48" fmla="*/ 26 w 109"/>
                <a:gd name="T49" fmla="*/ 64 h 69"/>
                <a:gd name="T50" fmla="*/ 19 w 109"/>
                <a:gd name="T51" fmla="*/ 67 h 69"/>
                <a:gd name="T52" fmla="*/ 12 w 109"/>
                <a:gd name="T53" fmla="*/ 67 h 69"/>
                <a:gd name="T54" fmla="*/ 7 w 109"/>
                <a:gd name="T55" fmla="*/ 62 h 69"/>
                <a:gd name="T56" fmla="*/ 7 w 109"/>
                <a:gd name="T57" fmla="*/ 62 h 69"/>
                <a:gd name="T58" fmla="*/ 12 w 109"/>
                <a:gd name="T59" fmla="*/ 62 h 69"/>
                <a:gd name="T60" fmla="*/ 19 w 109"/>
                <a:gd name="T61" fmla="*/ 60 h 69"/>
                <a:gd name="T62" fmla="*/ 14 w 109"/>
                <a:gd name="T63" fmla="*/ 55 h 69"/>
                <a:gd name="T64" fmla="*/ 10 w 109"/>
                <a:gd name="T65" fmla="*/ 50 h 69"/>
                <a:gd name="T66" fmla="*/ 10 w 109"/>
                <a:gd name="T67" fmla="*/ 45 h 69"/>
                <a:gd name="T68" fmla="*/ 7 w 109"/>
                <a:gd name="T69" fmla="*/ 43 h 69"/>
                <a:gd name="T70" fmla="*/ 7 w 109"/>
                <a:gd name="T71" fmla="*/ 38 h 69"/>
                <a:gd name="T72" fmla="*/ 10 w 109"/>
                <a:gd name="T73" fmla="*/ 31 h 69"/>
                <a:gd name="T74" fmla="*/ 5 w 109"/>
                <a:gd name="T75" fmla="*/ 31 h 69"/>
                <a:gd name="T76" fmla="*/ 0 w 109"/>
                <a:gd name="T77" fmla="*/ 26 h 69"/>
                <a:gd name="T78" fmla="*/ 7 w 109"/>
                <a:gd name="T79" fmla="*/ 22 h 69"/>
                <a:gd name="T80" fmla="*/ 12 w 109"/>
                <a:gd name="T81" fmla="*/ 17 h 69"/>
                <a:gd name="T82" fmla="*/ 22 w 109"/>
                <a:gd name="T83" fmla="*/ 17 h 69"/>
                <a:gd name="T84" fmla="*/ 24 w 109"/>
                <a:gd name="T85" fmla="*/ 19 h 69"/>
                <a:gd name="T86" fmla="*/ 29 w 109"/>
                <a:gd name="T87" fmla="*/ 22 h 69"/>
                <a:gd name="T88" fmla="*/ 33 w 109"/>
                <a:gd name="T89" fmla="*/ 19 h 69"/>
                <a:gd name="T90" fmla="*/ 40 w 109"/>
                <a:gd name="T91" fmla="*/ 22 h 69"/>
                <a:gd name="T92" fmla="*/ 43 w 109"/>
                <a:gd name="T93" fmla="*/ 19 h 69"/>
                <a:gd name="T94" fmla="*/ 50 w 109"/>
                <a:gd name="T95" fmla="*/ 17 h 69"/>
                <a:gd name="T96" fmla="*/ 55 w 109"/>
                <a:gd name="T97" fmla="*/ 12 h 69"/>
                <a:gd name="T98" fmla="*/ 62 w 109"/>
                <a:gd name="T99" fmla="*/ 10 h 69"/>
                <a:gd name="T100" fmla="*/ 69 w 109"/>
                <a:gd name="T101" fmla="*/ 12 h 69"/>
                <a:gd name="T102" fmla="*/ 76 w 109"/>
                <a:gd name="T103" fmla="*/ 7 h 69"/>
                <a:gd name="T104" fmla="*/ 86 w 109"/>
                <a:gd name="T105" fmla="*/ 7 h 69"/>
                <a:gd name="T106" fmla="*/ 88 w 109"/>
                <a:gd name="T107" fmla="*/ 3 h 69"/>
                <a:gd name="T108" fmla="*/ 90 w 109"/>
                <a:gd name="T10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 h="69">
                  <a:moveTo>
                    <a:pt x="97" y="0"/>
                  </a:moveTo>
                  <a:lnTo>
                    <a:pt x="100" y="0"/>
                  </a:lnTo>
                  <a:lnTo>
                    <a:pt x="100" y="3"/>
                  </a:lnTo>
                  <a:lnTo>
                    <a:pt x="97" y="3"/>
                  </a:lnTo>
                  <a:lnTo>
                    <a:pt x="97" y="5"/>
                  </a:lnTo>
                  <a:lnTo>
                    <a:pt x="100" y="7"/>
                  </a:lnTo>
                  <a:lnTo>
                    <a:pt x="102" y="7"/>
                  </a:lnTo>
                  <a:lnTo>
                    <a:pt x="102" y="10"/>
                  </a:lnTo>
                  <a:lnTo>
                    <a:pt x="100" y="10"/>
                  </a:lnTo>
                  <a:lnTo>
                    <a:pt x="100" y="12"/>
                  </a:lnTo>
                  <a:lnTo>
                    <a:pt x="102" y="12"/>
                  </a:lnTo>
                  <a:lnTo>
                    <a:pt x="102" y="14"/>
                  </a:lnTo>
                  <a:lnTo>
                    <a:pt x="105" y="14"/>
                  </a:lnTo>
                  <a:lnTo>
                    <a:pt x="105" y="17"/>
                  </a:lnTo>
                  <a:lnTo>
                    <a:pt x="107" y="17"/>
                  </a:lnTo>
                  <a:lnTo>
                    <a:pt x="107" y="19"/>
                  </a:lnTo>
                  <a:lnTo>
                    <a:pt x="109" y="19"/>
                  </a:lnTo>
                  <a:lnTo>
                    <a:pt x="107" y="19"/>
                  </a:lnTo>
                  <a:lnTo>
                    <a:pt x="105" y="19"/>
                  </a:lnTo>
                  <a:lnTo>
                    <a:pt x="105" y="17"/>
                  </a:lnTo>
                  <a:lnTo>
                    <a:pt x="102" y="17"/>
                  </a:lnTo>
                  <a:lnTo>
                    <a:pt x="100" y="17"/>
                  </a:lnTo>
                  <a:lnTo>
                    <a:pt x="100" y="14"/>
                  </a:lnTo>
                  <a:lnTo>
                    <a:pt x="100" y="17"/>
                  </a:lnTo>
                  <a:lnTo>
                    <a:pt x="97" y="17"/>
                  </a:lnTo>
                  <a:lnTo>
                    <a:pt x="95" y="19"/>
                  </a:lnTo>
                  <a:lnTo>
                    <a:pt x="97" y="19"/>
                  </a:lnTo>
                  <a:lnTo>
                    <a:pt x="97" y="22"/>
                  </a:lnTo>
                  <a:lnTo>
                    <a:pt x="95" y="22"/>
                  </a:lnTo>
                  <a:lnTo>
                    <a:pt x="93" y="22"/>
                  </a:lnTo>
                  <a:lnTo>
                    <a:pt x="90" y="22"/>
                  </a:lnTo>
                  <a:lnTo>
                    <a:pt x="90" y="24"/>
                  </a:lnTo>
                  <a:lnTo>
                    <a:pt x="88" y="24"/>
                  </a:lnTo>
                  <a:lnTo>
                    <a:pt x="88" y="26"/>
                  </a:lnTo>
                  <a:lnTo>
                    <a:pt x="86" y="26"/>
                  </a:lnTo>
                  <a:lnTo>
                    <a:pt x="83" y="29"/>
                  </a:lnTo>
                  <a:lnTo>
                    <a:pt x="81" y="29"/>
                  </a:lnTo>
                  <a:lnTo>
                    <a:pt x="81" y="31"/>
                  </a:lnTo>
                  <a:lnTo>
                    <a:pt x="78" y="31"/>
                  </a:lnTo>
                  <a:lnTo>
                    <a:pt x="76" y="31"/>
                  </a:lnTo>
                  <a:lnTo>
                    <a:pt x="76" y="33"/>
                  </a:lnTo>
                  <a:lnTo>
                    <a:pt x="74" y="33"/>
                  </a:lnTo>
                  <a:lnTo>
                    <a:pt x="74" y="36"/>
                  </a:lnTo>
                  <a:lnTo>
                    <a:pt x="76" y="36"/>
                  </a:lnTo>
                  <a:lnTo>
                    <a:pt x="76" y="38"/>
                  </a:lnTo>
                  <a:lnTo>
                    <a:pt x="78" y="38"/>
                  </a:lnTo>
                  <a:lnTo>
                    <a:pt x="78" y="41"/>
                  </a:lnTo>
                  <a:lnTo>
                    <a:pt x="78" y="43"/>
                  </a:lnTo>
                  <a:lnTo>
                    <a:pt x="78" y="45"/>
                  </a:lnTo>
                  <a:lnTo>
                    <a:pt x="76" y="45"/>
                  </a:lnTo>
                  <a:lnTo>
                    <a:pt x="76" y="48"/>
                  </a:lnTo>
                  <a:lnTo>
                    <a:pt x="76" y="50"/>
                  </a:lnTo>
                  <a:lnTo>
                    <a:pt x="76" y="48"/>
                  </a:lnTo>
                  <a:lnTo>
                    <a:pt x="74" y="48"/>
                  </a:lnTo>
                  <a:lnTo>
                    <a:pt x="71" y="48"/>
                  </a:lnTo>
                  <a:lnTo>
                    <a:pt x="71" y="50"/>
                  </a:lnTo>
                  <a:lnTo>
                    <a:pt x="69" y="50"/>
                  </a:lnTo>
                  <a:lnTo>
                    <a:pt x="67" y="50"/>
                  </a:lnTo>
                  <a:lnTo>
                    <a:pt x="67" y="52"/>
                  </a:lnTo>
                  <a:lnTo>
                    <a:pt x="64" y="52"/>
                  </a:lnTo>
                  <a:lnTo>
                    <a:pt x="64" y="55"/>
                  </a:lnTo>
                  <a:lnTo>
                    <a:pt x="67" y="55"/>
                  </a:lnTo>
                  <a:lnTo>
                    <a:pt x="67" y="57"/>
                  </a:lnTo>
                  <a:lnTo>
                    <a:pt x="64" y="57"/>
                  </a:lnTo>
                  <a:lnTo>
                    <a:pt x="64" y="60"/>
                  </a:lnTo>
                  <a:lnTo>
                    <a:pt x="64" y="62"/>
                  </a:lnTo>
                  <a:lnTo>
                    <a:pt x="64" y="64"/>
                  </a:lnTo>
                  <a:lnTo>
                    <a:pt x="67" y="64"/>
                  </a:lnTo>
                  <a:lnTo>
                    <a:pt x="67" y="67"/>
                  </a:lnTo>
                  <a:lnTo>
                    <a:pt x="64" y="67"/>
                  </a:lnTo>
                  <a:lnTo>
                    <a:pt x="62" y="67"/>
                  </a:lnTo>
                  <a:lnTo>
                    <a:pt x="59" y="69"/>
                  </a:lnTo>
                  <a:lnTo>
                    <a:pt x="59" y="67"/>
                  </a:lnTo>
                  <a:lnTo>
                    <a:pt x="57" y="67"/>
                  </a:lnTo>
                  <a:lnTo>
                    <a:pt x="57" y="64"/>
                  </a:lnTo>
                  <a:lnTo>
                    <a:pt x="55" y="64"/>
                  </a:lnTo>
                  <a:lnTo>
                    <a:pt x="52" y="64"/>
                  </a:lnTo>
                  <a:lnTo>
                    <a:pt x="52" y="62"/>
                  </a:lnTo>
                  <a:lnTo>
                    <a:pt x="52" y="64"/>
                  </a:lnTo>
                  <a:lnTo>
                    <a:pt x="50" y="64"/>
                  </a:lnTo>
                  <a:lnTo>
                    <a:pt x="50" y="67"/>
                  </a:lnTo>
                  <a:lnTo>
                    <a:pt x="48" y="67"/>
                  </a:lnTo>
                  <a:lnTo>
                    <a:pt x="48" y="64"/>
                  </a:lnTo>
                  <a:lnTo>
                    <a:pt x="45" y="64"/>
                  </a:lnTo>
                  <a:lnTo>
                    <a:pt x="45" y="62"/>
                  </a:lnTo>
                  <a:lnTo>
                    <a:pt x="45" y="64"/>
                  </a:lnTo>
                  <a:lnTo>
                    <a:pt x="45" y="62"/>
                  </a:lnTo>
                  <a:lnTo>
                    <a:pt x="45" y="60"/>
                  </a:lnTo>
                  <a:lnTo>
                    <a:pt x="43" y="60"/>
                  </a:lnTo>
                  <a:lnTo>
                    <a:pt x="43" y="57"/>
                  </a:lnTo>
                  <a:lnTo>
                    <a:pt x="40" y="57"/>
                  </a:lnTo>
                  <a:lnTo>
                    <a:pt x="38" y="60"/>
                  </a:lnTo>
                  <a:lnTo>
                    <a:pt x="38" y="62"/>
                  </a:lnTo>
                  <a:lnTo>
                    <a:pt x="38" y="64"/>
                  </a:lnTo>
                  <a:lnTo>
                    <a:pt x="36" y="64"/>
                  </a:lnTo>
                  <a:lnTo>
                    <a:pt x="33" y="64"/>
                  </a:lnTo>
                  <a:lnTo>
                    <a:pt x="31" y="64"/>
                  </a:lnTo>
                  <a:lnTo>
                    <a:pt x="29" y="64"/>
                  </a:lnTo>
                  <a:lnTo>
                    <a:pt x="29" y="67"/>
                  </a:lnTo>
                  <a:lnTo>
                    <a:pt x="26" y="64"/>
                  </a:lnTo>
                  <a:lnTo>
                    <a:pt x="24" y="64"/>
                  </a:lnTo>
                  <a:lnTo>
                    <a:pt x="22" y="64"/>
                  </a:lnTo>
                  <a:lnTo>
                    <a:pt x="22" y="67"/>
                  </a:lnTo>
                  <a:lnTo>
                    <a:pt x="19" y="67"/>
                  </a:lnTo>
                  <a:lnTo>
                    <a:pt x="17" y="67"/>
                  </a:lnTo>
                  <a:lnTo>
                    <a:pt x="17" y="64"/>
                  </a:lnTo>
                  <a:lnTo>
                    <a:pt x="14" y="67"/>
                  </a:lnTo>
                  <a:lnTo>
                    <a:pt x="12" y="67"/>
                  </a:lnTo>
                  <a:lnTo>
                    <a:pt x="10" y="67"/>
                  </a:lnTo>
                  <a:lnTo>
                    <a:pt x="10" y="64"/>
                  </a:lnTo>
                  <a:lnTo>
                    <a:pt x="7" y="64"/>
                  </a:lnTo>
                  <a:lnTo>
                    <a:pt x="7" y="62"/>
                  </a:lnTo>
                  <a:lnTo>
                    <a:pt x="7" y="64"/>
                  </a:lnTo>
                  <a:lnTo>
                    <a:pt x="7" y="62"/>
                  </a:lnTo>
                  <a:lnTo>
                    <a:pt x="7" y="64"/>
                  </a:lnTo>
                  <a:lnTo>
                    <a:pt x="7" y="62"/>
                  </a:lnTo>
                  <a:lnTo>
                    <a:pt x="10" y="62"/>
                  </a:lnTo>
                  <a:lnTo>
                    <a:pt x="7" y="62"/>
                  </a:lnTo>
                  <a:lnTo>
                    <a:pt x="10" y="62"/>
                  </a:lnTo>
                  <a:lnTo>
                    <a:pt x="12" y="62"/>
                  </a:lnTo>
                  <a:lnTo>
                    <a:pt x="12" y="60"/>
                  </a:lnTo>
                  <a:lnTo>
                    <a:pt x="14" y="60"/>
                  </a:lnTo>
                  <a:lnTo>
                    <a:pt x="17" y="60"/>
                  </a:lnTo>
                  <a:lnTo>
                    <a:pt x="19" y="60"/>
                  </a:lnTo>
                  <a:lnTo>
                    <a:pt x="19" y="57"/>
                  </a:lnTo>
                  <a:lnTo>
                    <a:pt x="17" y="57"/>
                  </a:lnTo>
                  <a:lnTo>
                    <a:pt x="17" y="55"/>
                  </a:lnTo>
                  <a:lnTo>
                    <a:pt x="14" y="55"/>
                  </a:lnTo>
                  <a:lnTo>
                    <a:pt x="14" y="52"/>
                  </a:lnTo>
                  <a:lnTo>
                    <a:pt x="12" y="52"/>
                  </a:lnTo>
                  <a:lnTo>
                    <a:pt x="12" y="50"/>
                  </a:lnTo>
                  <a:lnTo>
                    <a:pt x="10" y="50"/>
                  </a:lnTo>
                  <a:lnTo>
                    <a:pt x="7" y="50"/>
                  </a:lnTo>
                  <a:lnTo>
                    <a:pt x="7" y="48"/>
                  </a:lnTo>
                  <a:lnTo>
                    <a:pt x="7" y="45"/>
                  </a:lnTo>
                  <a:lnTo>
                    <a:pt x="10" y="45"/>
                  </a:lnTo>
                  <a:lnTo>
                    <a:pt x="10" y="43"/>
                  </a:lnTo>
                  <a:lnTo>
                    <a:pt x="10" y="41"/>
                  </a:lnTo>
                  <a:lnTo>
                    <a:pt x="7" y="41"/>
                  </a:lnTo>
                  <a:lnTo>
                    <a:pt x="7" y="43"/>
                  </a:lnTo>
                  <a:lnTo>
                    <a:pt x="5" y="43"/>
                  </a:lnTo>
                  <a:lnTo>
                    <a:pt x="5" y="41"/>
                  </a:lnTo>
                  <a:lnTo>
                    <a:pt x="5" y="38"/>
                  </a:lnTo>
                  <a:lnTo>
                    <a:pt x="7" y="38"/>
                  </a:lnTo>
                  <a:lnTo>
                    <a:pt x="7" y="36"/>
                  </a:lnTo>
                  <a:lnTo>
                    <a:pt x="10" y="36"/>
                  </a:lnTo>
                  <a:lnTo>
                    <a:pt x="10" y="33"/>
                  </a:lnTo>
                  <a:lnTo>
                    <a:pt x="10" y="31"/>
                  </a:lnTo>
                  <a:lnTo>
                    <a:pt x="7" y="31"/>
                  </a:lnTo>
                  <a:lnTo>
                    <a:pt x="5" y="31"/>
                  </a:lnTo>
                  <a:lnTo>
                    <a:pt x="3" y="31"/>
                  </a:lnTo>
                  <a:lnTo>
                    <a:pt x="5" y="31"/>
                  </a:lnTo>
                  <a:lnTo>
                    <a:pt x="3" y="31"/>
                  </a:lnTo>
                  <a:lnTo>
                    <a:pt x="3" y="29"/>
                  </a:lnTo>
                  <a:lnTo>
                    <a:pt x="3" y="26"/>
                  </a:lnTo>
                  <a:lnTo>
                    <a:pt x="0" y="26"/>
                  </a:lnTo>
                  <a:lnTo>
                    <a:pt x="3" y="26"/>
                  </a:lnTo>
                  <a:lnTo>
                    <a:pt x="3" y="24"/>
                  </a:lnTo>
                  <a:lnTo>
                    <a:pt x="5" y="24"/>
                  </a:lnTo>
                  <a:lnTo>
                    <a:pt x="7" y="22"/>
                  </a:lnTo>
                  <a:lnTo>
                    <a:pt x="7" y="19"/>
                  </a:lnTo>
                  <a:lnTo>
                    <a:pt x="10" y="19"/>
                  </a:lnTo>
                  <a:lnTo>
                    <a:pt x="12" y="19"/>
                  </a:lnTo>
                  <a:lnTo>
                    <a:pt x="12" y="17"/>
                  </a:lnTo>
                  <a:lnTo>
                    <a:pt x="14" y="17"/>
                  </a:lnTo>
                  <a:lnTo>
                    <a:pt x="17" y="17"/>
                  </a:lnTo>
                  <a:lnTo>
                    <a:pt x="19" y="17"/>
                  </a:lnTo>
                  <a:lnTo>
                    <a:pt x="22" y="17"/>
                  </a:lnTo>
                  <a:lnTo>
                    <a:pt x="22" y="19"/>
                  </a:lnTo>
                  <a:lnTo>
                    <a:pt x="22" y="17"/>
                  </a:lnTo>
                  <a:lnTo>
                    <a:pt x="24" y="17"/>
                  </a:lnTo>
                  <a:lnTo>
                    <a:pt x="24" y="19"/>
                  </a:lnTo>
                  <a:lnTo>
                    <a:pt x="26" y="19"/>
                  </a:lnTo>
                  <a:lnTo>
                    <a:pt x="26" y="22"/>
                  </a:lnTo>
                  <a:lnTo>
                    <a:pt x="29" y="19"/>
                  </a:lnTo>
                  <a:lnTo>
                    <a:pt x="29" y="22"/>
                  </a:lnTo>
                  <a:lnTo>
                    <a:pt x="31" y="19"/>
                  </a:lnTo>
                  <a:lnTo>
                    <a:pt x="31" y="22"/>
                  </a:lnTo>
                  <a:lnTo>
                    <a:pt x="33" y="22"/>
                  </a:lnTo>
                  <a:lnTo>
                    <a:pt x="33" y="19"/>
                  </a:lnTo>
                  <a:lnTo>
                    <a:pt x="36" y="19"/>
                  </a:lnTo>
                  <a:lnTo>
                    <a:pt x="36" y="22"/>
                  </a:lnTo>
                  <a:lnTo>
                    <a:pt x="38" y="22"/>
                  </a:lnTo>
                  <a:lnTo>
                    <a:pt x="40" y="22"/>
                  </a:lnTo>
                  <a:lnTo>
                    <a:pt x="40" y="24"/>
                  </a:lnTo>
                  <a:lnTo>
                    <a:pt x="40" y="22"/>
                  </a:lnTo>
                  <a:lnTo>
                    <a:pt x="40" y="19"/>
                  </a:lnTo>
                  <a:lnTo>
                    <a:pt x="43" y="19"/>
                  </a:lnTo>
                  <a:lnTo>
                    <a:pt x="45" y="19"/>
                  </a:lnTo>
                  <a:lnTo>
                    <a:pt x="45" y="17"/>
                  </a:lnTo>
                  <a:lnTo>
                    <a:pt x="48" y="17"/>
                  </a:lnTo>
                  <a:lnTo>
                    <a:pt x="50" y="17"/>
                  </a:lnTo>
                  <a:lnTo>
                    <a:pt x="50" y="14"/>
                  </a:lnTo>
                  <a:lnTo>
                    <a:pt x="50" y="12"/>
                  </a:lnTo>
                  <a:lnTo>
                    <a:pt x="52" y="12"/>
                  </a:lnTo>
                  <a:lnTo>
                    <a:pt x="55" y="12"/>
                  </a:lnTo>
                  <a:lnTo>
                    <a:pt x="55" y="10"/>
                  </a:lnTo>
                  <a:lnTo>
                    <a:pt x="57" y="10"/>
                  </a:lnTo>
                  <a:lnTo>
                    <a:pt x="59" y="10"/>
                  </a:lnTo>
                  <a:lnTo>
                    <a:pt x="62" y="10"/>
                  </a:lnTo>
                  <a:lnTo>
                    <a:pt x="64" y="10"/>
                  </a:lnTo>
                  <a:lnTo>
                    <a:pt x="67" y="10"/>
                  </a:lnTo>
                  <a:lnTo>
                    <a:pt x="69" y="10"/>
                  </a:lnTo>
                  <a:lnTo>
                    <a:pt x="69" y="12"/>
                  </a:lnTo>
                  <a:lnTo>
                    <a:pt x="71" y="12"/>
                  </a:lnTo>
                  <a:lnTo>
                    <a:pt x="74" y="10"/>
                  </a:lnTo>
                  <a:lnTo>
                    <a:pt x="74" y="7"/>
                  </a:lnTo>
                  <a:lnTo>
                    <a:pt x="76" y="7"/>
                  </a:lnTo>
                  <a:lnTo>
                    <a:pt x="78" y="7"/>
                  </a:lnTo>
                  <a:lnTo>
                    <a:pt x="81" y="7"/>
                  </a:lnTo>
                  <a:lnTo>
                    <a:pt x="83" y="7"/>
                  </a:lnTo>
                  <a:lnTo>
                    <a:pt x="86" y="7"/>
                  </a:lnTo>
                  <a:lnTo>
                    <a:pt x="88" y="10"/>
                  </a:lnTo>
                  <a:lnTo>
                    <a:pt x="88" y="7"/>
                  </a:lnTo>
                  <a:lnTo>
                    <a:pt x="88" y="5"/>
                  </a:lnTo>
                  <a:lnTo>
                    <a:pt x="88" y="3"/>
                  </a:lnTo>
                  <a:lnTo>
                    <a:pt x="88" y="0"/>
                  </a:lnTo>
                  <a:lnTo>
                    <a:pt x="88" y="3"/>
                  </a:lnTo>
                  <a:lnTo>
                    <a:pt x="88" y="0"/>
                  </a:lnTo>
                  <a:lnTo>
                    <a:pt x="90" y="0"/>
                  </a:lnTo>
                  <a:lnTo>
                    <a:pt x="93" y="0"/>
                  </a:lnTo>
                  <a:lnTo>
                    <a:pt x="95" y="0"/>
                  </a:lnTo>
                  <a:lnTo>
                    <a:pt x="97"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7" name="Freeform 56638"/>
            <p:cNvSpPr>
              <a:spLocks/>
            </p:cNvSpPr>
            <p:nvPr/>
          </p:nvSpPr>
          <p:spPr bwMode="auto">
            <a:xfrm>
              <a:off x="2736848" y="5040330"/>
              <a:ext cx="4763"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8" name="Freeform 56639"/>
            <p:cNvSpPr>
              <a:spLocks noEditPoints="1"/>
            </p:cNvSpPr>
            <p:nvPr/>
          </p:nvSpPr>
          <p:spPr bwMode="auto">
            <a:xfrm>
              <a:off x="2624135" y="4037027"/>
              <a:ext cx="403225" cy="174625"/>
            </a:xfrm>
            <a:custGeom>
              <a:avLst/>
              <a:gdLst>
                <a:gd name="T0" fmla="*/ 190 w 254"/>
                <a:gd name="T1" fmla="*/ 50 h 110"/>
                <a:gd name="T2" fmla="*/ 185 w 254"/>
                <a:gd name="T3" fmla="*/ 55 h 110"/>
                <a:gd name="T4" fmla="*/ 185 w 254"/>
                <a:gd name="T5" fmla="*/ 60 h 110"/>
                <a:gd name="T6" fmla="*/ 183 w 254"/>
                <a:gd name="T7" fmla="*/ 65 h 110"/>
                <a:gd name="T8" fmla="*/ 180 w 254"/>
                <a:gd name="T9" fmla="*/ 65 h 110"/>
                <a:gd name="T10" fmla="*/ 183 w 254"/>
                <a:gd name="T11" fmla="*/ 67 h 110"/>
                <a:gd name="T12" fmla="*/ 180 w 254"/>
                <a:gd name="T13" fmla="*/ 72 h 110"/>
                <a:gd name="T14" fmla="*/ 178 w 254"/>
                <a:gd name="T15" fmla="*/ 76 h 110"/>
                <a:gd name="T16" fmla="*/ 176 w 254"/>
                <a:gd name="T17" fmla="*/ 84 h 110"/>
                <a:gd name="T18" fmla="*/ 173 w 254"/>
                <a:gd name="T19" fmla="*/ 93 h 110"/>
                <a:gd name="T20" fmla="*/ 169 w 254"/>
                <a:gd name="T21" fmla="*/ 103 h 110"/>
                <a:gd name="T22" fmla="*/ 164 w 254"/>
                <a:gd name="T23" fmla="*/ 110 h 110"/>
                <a:gd name="T24" fmla="*/ 164 w 254"/>
                <a:gd name="T25" fmla="*/ 105 h 110"/>
                <a:gd name="T26" fmla="*/ 164 w 254"/>
                <a:gd name="T27" fmla="*/ 95 h 110"/>
                <a:gd name="T28" fmla="*/ 166 w 254"/>
                <a:gd name="T29" fmla="*/ 88 h 110"/>
                <a:gd name="T30" fmla="*/ 169 w 254"/>
                <a:gd name="T31" fmla="*/ 84 h 110"/>
                <a:gd name="T32" fmla="*/ 171 w 254"/>
                <a:gd name="T33" fmla="*/ 74 h 110"/>
                <a:gd name="T34" fmla="*/ 178 w 254"/>
                <a:gd name="T35" fmla="*/ 69 h 110"/>
                <a:gd name="T36" fmla="*/ 180 w 254"/>
                <a:gd name="T37" fmla="*/ 60 h 110"/>
                <a:gd name="T38" fmla="*/ 183 w 254"/>
                <a:gd name="T39" fmla="*/ 53 h 110"/>
                <a:gd name="T40" fmla="*/ 244 w 254"/>
                <a:gd name="T41" fmla="*/ 24 h 110"/>
                <a:gd name="T42" fmla="*/ 247 w 254"/>
                <a:gd name="T43" fmla="*/ 19 h 110"/>
                <a:gd name="T44" fmla="*/ 254 w 254"/>
                <a:gd name="T45" fmla="*/ 24 h 110"/>
                <a:gd name="T46" fmla="*/ 249 w 254"/>
                <a:gd name="T47" fmla="*/ 27 h 110"/>
                <a:gd name="T48" fmla="*/ 249 w 254"/>
                <a:gd name="T49" fmla="*/ 29 h 110"/>
                <a:gd name="T50" fmla="*/ 244 w 254"/>
                <a:gd name="T51" fmla="*/ 31 h 110"/>
                <a:gd name="T52" fmla="*/ 244 w 254"/>
                <a:gd name="T53" fmla="*/ 34 h 110"/>
                <a:gd name="T54" fmla="*/ 244 w 254"/>
                <a:gd name="T55" fmla="*/ 41 h 110"/>
                <a:gd name="T56" fmla="*/ 244 w 254"/>
                <a:gd name="T57" fmla="*/ 43 h 110"/>
                <a:gd name="T58" fmla="*/ 244 w 254"/>
                <a:gd name="T59" fmla="*/ 46 h 110"/>
                <a:gd name="T60" fmla="*/ 244 w 254"/>
                <a:gd name="T61" fmla="*/ 48 h 110"/>
                <a:gd name="T62" fmla="*/ 242 w 254"/>
                <a:gd name="T63" fmla="*/ 53 h 110"/>
                <a:gd name="T64" fmla="*/ 242 w 254"/>
                <a:gd name="T65" fmla="*/ 55 h 110"/>
                <a:gd name="T66" fmla="*/ 240 w 254"/>
                <a:gd name="T67" fmla="*/ 55 h 110"/>
                <a:gd name="T68" fmla="*/ 235 w 254"/>
                <a:gd name="T69" fmla="*/ 57 h 110"/>
                <a:gd name="T70" fmla="*/ 230 w 254"/>
                <a:gd name="T71" fmla="*/ 60 h 110"/>
                <a:gd name="T72" fmla="*/ 228 w 254"/>
                <a:gd name="T73" fmla="*/ 65 h 110"/>
                <a:gd name="T74" fmla="*/ 230 w 254"/>
                <a:gd name="T75" fmla="*/ 69 h 110"/>
                <a:gd name="T76" fmla="*/ 225 w 254"/>
                <a:gd name="T77" fmla="*/ 72 h 110"/>
                <a:gd name="T78" fmla="*/ 223 w 254"/>
                <a:gd name="T79" fmla="*/ 67 h 110"/>
                <a:gd name="T80" fmla="*/ 225 w 254"/>
                <a:gd name="T81" fmla="*/ 62 h 110"/>
                <a:gd name="T82" fmla="*/ 223 w 254"/>
                <a:gd name="T83" fmla="*/ 60 h 110"/>
                <a:gd name="T84" fmla="*/ 223 w 254"/>
                <a:gd name="T85" fmla="*/ 53 h 110"/>
                <a:gd name="T86" fmla="*/ 221 w 254"/>
                <a:gd name="T87" fmla="*/ 43 h 110"/>
                <a:gd name="T88" fmla="*/ 225 w 254"/>
                <a:gd name="T89" fmla="*/ 36 h 110"/>
                <a:gd name="T90" fmla="*/ 228 w 254"/>
                <a:gd name="T91" fmla="*/ 31 h 110"/>
                <a:gd name="T92" fmla="*/ 233 w 254"/>
                <a:gd name="T93" fmla="*/ 27 h 110"/>
                <a:gd name="T94" fmla="*/ 240 w 254"/>
                <a:gd name="T95" fmla="*/ 22 h 110"/>
                <a:gd name="T96" fmla="*/ 12 w 254"/>
                <a:gd name="T97" fmla="*/ 3 h 110"/>
                <a:gd name="T98" fmla="*/ 12 w 254"/>
                <a:gd name="T99" fmla="*/ 10 h 110"/>
                <a:gd name="T100" fmla="*/ 12 w 254"/>
                <a:gd name="T101" fmla="*/ 12 h 110"/>
                <a:gd name="T102" fmla="*/ 10 w 254"/>
                <a:gd name="T103" fmla="*/ 17 h 110"/>
                <a:gd name="T104" fmla="*/ 5 w 254"/>
                <a:gd name="T105" fmla="*/ 19 h 110"/>
                <a:gd name="T106" fmla="*/ 5 w 254"/>
                <a:gd name="T107" fmla="*/ 17 h 110"/>
                <a:gd name="T108" fmla="*/ 2 w 254"/>
                <a:gd name="T109" fmla="*/ 17 h 110"/>
                <a:gd name="T110" fmla="*/ 5 w 254"/>
                <a:gd name="T111" fmla="*/ 12 h 110"/>
                <a:gd name="T112" fmla="*/ 7 w 254"/>
                <a:gd name="T113" fmla="*/ 12 h 110"/>
                <a:gd name="T114" fmla="*/ 5 w 254"/>
                <a:gd name="T115" fmla="*/ 10 h 110"/>
                <a:gd name="T116" fmla="*/ 2 w 254"/>
                <a:gd name="T117" fmla="*/ 10 h 110"/>
                <a:gd name="T118" fmla="*/ 0 w 254"/>
                <a:gd name="T119" fmla="*/ 10 h 110"/>
                <a:gd name="T120" fmla="*/ 5 w 254"/>
                <a:gd name="T121" fmla="*/ 3 h 110"/>
                <a:gd name="T122" fmla="*/ 10 w 254"/>
                <a:gd name="T12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 h="110">
                  <a:moveTo>
                    <a:pt x="188" y="48"/>
                  </a:moveTo>
                  <a:lnTo>
                    <a:pt x="188" y="50"/>
                  </a:lnTo>
                  <a:lnTo>
                    <a:pt x="188" y="48"/>
                  </a:lnTo>
                  <a:lnTo>
                    <a:pt x="188" y="50"/>
                  </a:lnTo>
                  <a:lnTo>
                    <a:pt x="190" y="50"/>
                  </a:lnTo>
                  <a:lnTo>
                    <a:pt x="188" y="50"/>
                  </a:lnTo>
                  <a:lnTo>
                    <a:pt x="190" y="50"/>
                  </a:lnTo>
                  <a:lnTo>
                    <a:pt x="190" y="53"/>
                  </a:lnTo>
                  <a:lnTo>
                    <a:pt x="188" y="53"/>
                  </a:lnTo>
                  <a:lnTo>
                    <a:pt x="185" y="55"/>
                  </a:lnTo>
                  <a:lnTo>
                    <a:pt x="188" y="55"/>
                  </a:lnTo>
                  <a:lnTo>
                    <a:pt x="188" y="57"/>
                  </a:lnTo>
                  <a:lnTo>
                    <a:pt x="188" y="60"/>
                  </a:lnTo>
                  <a:lnTo>
                    <a:pt x="188" y="57"/>
                  </a:lnTo>
                  <a:lnTo>
                    <a:pt x="185" y="60"/>
                  </a:lnTo>
                  <a:lnTo>
                    <a:pt x="185" y="62"/>
                  </a:lnTo>
                  <a:lnTo>
                    <a:pt x="183" y="62"/>
                  </a:lnTo>
                  <a:lnTo>
                    <a:pt x="183" y="65"/>
                  </a:lnTo>
                  <a:lnTo>
                    <a:pt x="183" y="67"/>
                  </a:lnTo>
                  <a:lnTo>
                    <a:pt x="183" y="65"/>
                  </a:lnTo>
                  <a:lnTo>
                    <a:pt x="183" y="67"/>
                  </a:lnTo>
                  <a:lnTo>
                    <a:pt x="183" y="65"/>
                  </a:lnTo>
                  <a:lnTo>
                    <a:pt x="180" y="65"/>
                  </a:lnTo>
                  <a:lnTo>
                    <a:pt x="180" y="67"/>
                  </a:lnTo>
                  <a:lnTo>
                    <a:pt x="180" y="65"/>
                  </a:lnTo>
                  <a:lnTo>
                    <a:pt x="183" y="65"/>
                  </a:lnTo>
                  <a:lnTo>
                    <a:pt x="180" y="67"/>
                  </a:lnTo>
                  <a:lnTo>
                    <a:pt x="183" y="67"/>
                  </a:lnTo>
                  <a:lnTo>
                    <a:pt x="180" y="67"/>
                  </a:lnTo>
                  <a:lnTo>
                    <a:pt x="183" y="67"/>
                  </a:lnTo>
                  <a:lnTo>
                    <a:pt x="180" y="67"/>
                  </a:lnTo>
                  <a:lnTo>
                    <a:pt x="183" y="67"/>
                  </a:lnTo>
                  <a:lnTo>
                    <a:pt x="183" y="69"/>
                  </a:lnTo>
                  <a:lnTo>
                    <a:pt x="180" y="69"/>
                  </a:lnTo>
                  <a:lnTo>
                    <a:pt x="180" y="72"/>
                  </a:lnTo>
                  <a:lnTo>
                    <a:pt x="180" y="74"/>
                  </a:lnTo>
                  <a:lnTo>
                    <a:pt x="180" y="76"/>
                  </a:lnTo>
                  <a:lnTo>
                    <a:pt x="178" y="76"/>
                  </a:lnTo>
                  <a:lnTo>
                    <a:pt x="178" y="79"/>
                  </a:lnTo>
                  <a:lnTo>
                    <a:pt x="178" y="76"/>
                  </a:lnTo>
                  <a:lnTo>
                    <a:pt x="178" y="79"/>
                  </a:lnTo>
                  <a:lnTo>
                    <a:pt x="178" y="76"/>
                  </a:lnTo>
                  <a:lnTo>
                    <a:pt x="178" y="79"/>
                  </a:lnTo>
                  <a:lnTo>
                    <a:pt x="176" y="81"/>
                  </a:lnTo>
                  <a:lnTo>
                    <a:pt x="176" y="84"/>
                  </a:lnTo>
                  <a:lnTo>
                    <a:pt x="176" y="86"/>
                  </a:lnTo>
                  <a:lnTo>
                    <a:pt x="176" y="88"/>
                  </a:lnTo>
                  <a:lnTo>
                    <a:pt x="173" y="88"/>
                  </a:lnTo>
                  <a:lnTo>
                    <a:pt x="173" y="91"/>
                  </a:lnTo>
                  <a:lnTo>
                    <a:pt x="173" y="93"/>
                  </a:lnTo>
                  <a:lnTo>
                    <a:pt x="171" y="93"/>
                  </a:lnTo>
                  <a:lnTo>
                    <a:pt x="171" y="95"/>
                  </a:lnTo>
                  <a:lnTo>
                    <a:pt x="171" y="98"/>
                  </a:lnTo>
                  <a:lnTo>
                    <a:pt x="171" y="100"/>
                  </a:lnTo>
                  <a:lnTo>
                    <a:pt x="169" y="103"/>
                  </a:lnTo>
                  <a:lnTo>
                    <a:pt x="169" y="105"/>
                  </a:lnTo>
                  <a:lnTo>
                    <a:pt x="169" y="107"/>
                  </a:lnTo>
                  <a:lnTo>
                    <a:pt x="166" y="107"/>
                  </a:lnTo>
                  <a:lnTo>
                    <a:pt x="166" y="110"/>
                  </a:lnTo>
                  <a:lnTo>
                    <a:pt x="164" y="110"/>
                  </a:lnTo>
                  <a:lnTo>
                    <a:pt x="164" y="107"/>
                  </a:lnTo>
                  <a:lnTo>
                    <a:pt x="164" y="110"/>
                  </a:lnTo>
                  <a:lnTo>
                    <a:pt x="164" y="107"/>
                  </a:lnTo>
                  <a:lnTo>
                    <a:pt x="166" y="105"/>
                  </a:lnTo>
                  <a:lnTo>
                    <a:pt x="164" y="105"/>
                  </a:lnTo>
                  <a:lnTo>
                    <a:pt x="164" y="103"/>
                  </a:lnTo>
                  <a:lnTo>
                    <a:pt x="166" y="100"/>
                  </a:lnTo>
                  <a:lnTo>
                    <a:pt x="164" y="100"/>
                  </a:lnTo>
                  <a:lnTo>
                    <a:pt x="164" y="98"/>
                  </a:lnTo>
                  <a:lnTo>
                    <a:pt x="164" y="95"/>
                  </a:lnTo>
                  <a:lnTo>
                    <a:pt x="164" y="93"/>
                  </a:lnTo>
                  <a:lnTo>
                    <a:pt x="164" y="91"/>
                  </a:lnTo>
                  <a:lnTo>
                    <a:pt x="166" y="88"/>
                  </a:lnTo>
                  <a:lnTo>
                    <a:pt x="164" y="88"/>
                  </a:lnTo>
                  <a:lnTo>
                    <a:pt x="166" y="88"/>
                  </a:lnTo>
                  <a:lnTo>
                    <a:pt x="166" y="86"/>
                  </a:lnTo>
                  <a:lnTo>
                    <a:pt x="166" y="84"/>
                  </a:lnTo>
                  <a:lnTo>
                    <a:pt x="169" y="84"/>
                  </a:lnTo>
                  <a:lnTo>
                    <a:pt x="166" y="84"/>
                  </a:lnTo>
                  <a:lnTo>
                    <a:pt x="169" y="84"/>
                  </a:lnTo>
                  <a:lnTo>
                    <a:pt x="169" y="81"/>
                  </a:lnTo>
                  <a:lnTo>
                    <a:pt x="169" y="79"/>
                  </a:lnTo>
                  <a:lnTo>
                    <a:pt x="171" y="79"/>
                  </a:lnTo>
                  <a:lnTo>
                    <a:pt x="171" y="76"/>
                  </a:lnTo>
                  <a:lnTo>
                    <a:pt x="171" y="74"/>
                  </a:lnTo>
                  <a:lnTo>
                    <a:pt x="173" y="74"/>
                  </a:lnTo>
                  <a:lnTo>
                    <a:pt x="176" y="74"/>
                  </a:lnTo>
                  <a:lnTo>
                    <a:pt x="176" y="72"/>
                  </a:lnTo>
                  <a:lnTo>
                    <a:pt x="176" y="69"/>
                  </a:lnTo>
                  <a:lnTo>
                    <a:pt x="178" y="69"/>
                  </a:lnTo>
                  <a:lnTo>
                    <a:pt x="178" y="67"/>
                  </a:lnTo>
                  <a:lnTo>
                    <a:pt x="178" y="65"/>
                  </a:lnTo>
                  <a:lnTo>
                    <a:pt x="180" y="65"/>
                  </a:lnTo>
                  <a:lnTo>
                    <a:pt x="180" y="62"/>
                  </a:lnTo>
                  <a:lnTo>
                    <a:pt x="180" y="60"/>
                  </a:lnTo>
                  <a:lnTo>
                    <a:pt x="183" y="60"/>
                  </a:lnTo>
                  <a:lnTo>
                    <a:pt x="180" y="57"/>
                  </a:lnTo>
                  <a:lnTo>
                    <a:pt x="183" y="57"/>
                  </a:lnTo>
                  <a:lnTo>
                    <a:pt x="183" y="55"/>
                  </a:lnTo>
                  <a:lnTo>
                    <a:pt x="183" y="53"/>
                  </a:lnTo>
                  <a:lnTo>
                    <a:pt x="185" y="50"/>
                  </a:lnTo>
                  <a:lnTo>
                    <a:pt x="188" y="48"/>
                  </a:lnTo>
                  <a:close/>
                  <a:moveTo>
                    <a:pt x="242" y="19"/>
                  </a:moveTo>
                  <a:lnTo>
                    <a:pt x="242" y="22"/>
                  </a:lnTo>
                  <a:lnTo>
                    <a:pt x="244" y="24"/>
                  </a:lnTo>
                  <a:lnTo>
                    <a:pt x="242" y="24"/>
                  </a:lnTo>
                  <a:lnTo>
                    <a:pt x="244" y="24"/>
                  </a:lnTo>
                  <a:lnTo>
                    <a:pt x="244" y="22"/>
                  </a:lnTo>
                  <a:lnTo>
                    <a:pt x="244" y="19"/>
                  </a:lnTo>
                  <a:lnTo>
                    <a:pt x="247" y="19"/>
                  </a:lnTo>
                  <a:lnTo>
                    <a:pt x="249" y="19"/>
                  </a:lnTo>
                  <a:lnTo>
                    <a:pt x="252" y="19"/>
                  </a:lnTo>
                  <a:lnTo>
                    <a:pt x="252" y="22"/>
                  </a:lnTo>
                  <a:lnTo>
                    <a:pt x="252" y="24"/>
                  </a:lnTo>
                  <a:lnTo>
                    <a:pt x="254" y="24"/>
                  </a:lnTo>
                  <a:lnTo>
                    <a:pt x="254" y="27"/>
                  </a:lnTo>
                  <a:lnTo>
                    <a:pt x="254" y="24"/>
                  </a:lnTo>
                  <a:lnTo>
                    <a:pt x="252" y="24"/>
                  </a:lnTo>
                  <a:lnTo>
                    <a:pt x="252" y="27"/>
                  </a:lnTo>
                  <a:lnTo>
                    <a:pt x="249" y="27"/>
                  </a:lnTo>
                  <a:lnTo>
                    <a:pt x="249" y="29"/>
                  </a:lnTo>
                  <a:lnTo>
                    <a:pt x="249" y="27"/>
                  </a:lnTo>
                  <a:lnTo>
                    <a:pt x="249" y="29"/>
                  </a:lnTo>
                  <a:lnTo>
                    <a:pt x="249" y="31"/>
                  </a:lnTo>
                  <a:lnTo>
                    <a:pt x="249" y="29"/>
                  </a:lnTo>
                  <a:lnTo>
                    <a:pt x="247" y="29"/>
                  </a:lnTo>
                  <a:lnTo>
                    <a:pt x="247" y="31"/>
                  </a:lnTo>
                  <a:lnTo>
                    <a:pt x="247" y="29"/>
                  </a:lnTo>
                  <a:lnTo>
                    <a:pt x="247" y="31"/>
                  </a:lnTo>
                  <a:lnTo>
                    <a:pt x="244" y="31"/>
                  </a:lnTo>
                  <a:lnTo>
                    <a:pt x="244" y="29"/>
                  </a:lnTo>
                  <a:lnTo>
                    <a:pt x="244" y="31"/>
                  </a:lnTo>
                  <a:lnTo>
                    <a:pt x="242" y="31"/>
                  </a:lnTo>
                  <a:lnTo>
                    <a:pt x="244" y="31"/>
                  </a:lnTo>
                  <a:lnTo>
                    <a:pt x="244" y="34"/>
                  </a:lnTo>
                  <a:lnTo>
                    <a:pt x="242" y="34"/>
                  </a:lnTo>
                  <a:lnTo>
                    <a:pt x="242" y="36"/>
                  </a:lnTo>
                  <a:lnTo>
                    <a:pt x="244" y="36"/>
                  </a:lnTo>
                  <a:lnTo>
                    <a:pt x="244" y="38"/>
                  </a:lnTo>
                  <a:lnTo>
                    <a:pt x="244" y="41"/>
                  </a:lnTo>
                  <a:lnTo>
                    <a:pt x="242" y="41"/>
                  </a:lnTo>
                  <a:lnTo>
                    <a:pt x="244" y="41"/>
                  </a:lnTo>
                  <a:lnTo>
                    <a:pt x="242" y="41"/>
                  </a:lnTo>
                  <a:lnTo>
                    <a:pt x="242" y="43"/>
                  </a:lnTo>
                  <a:lnTo>
                    <a:pt x="244" y="43"/>
                  </a:lnTo>
                  <a:lnTo>
                    <a:pt x="242" y="43"/>
                  </a:lnTo>
                  <a:lnTo>
                    <a:pt x="244" y="43"/>
                  </a:lnTo>
                  <a:lnTo>
                    <a:pt x="244" y="46"/>
                  </a:lnTo>
                  <a:lnTo>
                    <a:pt x="244" y="43"/>
                  </a:lnTo>
                  <a:lnTo>
                    <a:pt x="244" y="46"/>
                  </a:lnTo>
                  <a:lnTo>
                    <a:pt x="247" y="46"/>
                  </a:lnTo>
                  <a:lnTo>
                    <a:pt x="249" y="46"/>
                  </a:lnTo>
                  <a:lnTo>
                    <a:pt x="247" y="46"/>
                  </a:lnTo>
                  <a:lnTo>
                    <a:pt x="247" y="48"/>
                  </a:lnTo>
                  <a:lnTo>
                    <a:pt x="244" y="48"/>
                  </a:lnTo>
                  <a:lnTo>
                    <a:pt x="242" y="48"/>
                  </a:lnTo>
                  <a:lnTo>
                    <a:pt x="242" y="50"/>
                  </a:lnTo>
                  <a:lnTo>
                    <a:pt x="240" y="50"/>
                  </a:lnTo>
                  <a:lnTo>
                    <a:pt x="240" y="53"/>
                  </a:lnTo>
                  <a:lnTo>
                    <a:pt x="242" y="53"/>
                  </a:lnTo>
                  <a:lnTo>
                    <a:pt x="242" y="55"/>
                  </a:lnTo>
                  <a:lnTo>
                    <a:pt x="240" y="55"/>
                  </a:lnTo>
                  <a:lnTo>
                    <a:pt x="242" y="55"/>
                  </a:lnTo>
                  <a:lnTo>
                    <a:pt x="240" y="55"/>
                  </a:lnTo>
                  <a:lnTo>
                    <a:pt x="242" y="55"/>
                  </a:lnTo>
                  <a:lnTo>
                    <a:pt x="240" y="55"/>
                  </a:lnTo>
                  <a:lnTo>
                    <a:pt x="240" y="57"/>
                  </a:lnTo>
                  <a:lnTo>
                    <a:pt x="240" y="55"/>
                  </a:lnTo>
                  <a:lnTo>
                    <a:pt x="240" y="57"/>
                  </a:lnTo>
                  <a:lnTo>
                    <a:pt x="240" y="55"/>
                  </a:lnTo>
                  <a:lnTo>
                    <a:pt x="237" y="55"/>
                  </a:lnTo>
                  <a:lnTo>
                    <a:pt x="237" y="57"/>
                  </a:lnTo>
                  <a:lnTo>
                    <a:pt x="237" y="55"/>
                  </a:lnTo>
                  <a:lnTo>
                    <a:pt x="237" y="57"/>
                  </a:lnTo>
                  <a:lnTo>
                    <a:pt x="235" y="57"/>
                  </a:lnTo>
                  <a:lnTo>
                    <a:pt x="237" y="57"/>
                  </a:lnTo>
                  <a:lnTo>
                    <a:pt x="235" y="57"/>
                  </a:lnTo>
                  <a:lnTo>
                    <a:pt x="235" y="60"/>
                  </a:lnTo>
                  <a:lnTo>
                    <a:pt x="233" y="60"/>
                  </a:lnTo>
                  <a:lnTo>
                    <a:pt x="230" y="60"/>
                  </a:lnTo>
                  <a:lnTo>
                    <a:pt x="230" y="62"/>
                  </a:lnTo>
                  <a:lnTo>
                    <a:pt x="233" y="62"/>
                  </a:lnTo>
                  <a:lnTo>
                    <a:pt x="230" y="62"/>
                  </a:lnTo>
                  <a:lnTo>
                    <a:pt x="230" y="65"/>
                  </a:lnTo>
                  <a:lnTo>
                    <a:pt x="228" y="65"/>
                  </a:lnTo>
                  <a:lnTo>
                    <a:pt x="230" y="65"/>
                  </a:lnTo>
                  <a:lnTo>
                    <a:pt x="228" y="65"/>
                  </a:lnTo>
                  <a:lnTo>
                    <a:pt x="228" y="67"/>
                  </a:lnTo>
                  <a:lnTo>
                    <a:pt x="230" y="67"/>
                  </a:lnTo>
                  <a:lnTo>
                    <a:pt x="230" y="69"/>
                  </a:lnTo>
                  <a:lnTo>
                    <a:pt x="230" y="67"/>
                  </a:lnTo>
                  <a:lnTo>
                    <a:pt x="230" y="69"/>
                  </a:lnTo>
                  <a:lnTo>
                    <a:pt x="228" y="69"/>
                  </a:lnTo>
                  <a:lnTo>
                    <a:pt x="228" y="72"/>
                  </a:lnTo>
                  <a:lnTo>
                    <a:pt x="225" y="72"/>
                  </a:lnTo>
                  <a:lnTo>
                    <a:pt x="223" y="72"/>
                  </a:lnTo>
                  <a:lnTo>
                    <a:pt x="221" y="72"/>
                  </a:lnTo>
                  <a:lnTo>
                    <a:pt x="223" y="72"/>
                  </a:lnTo>
                  <a:lnTo>
                    <a:pt x="223" y="69"/>
                  </a:lnTo>
                  <a:lnTo>
                    <a:pt x="223" y="67"/>
                  </a:lnTo>
                  <a:lnTo>
                    <a:pt x="225" y="67"/>
                  </a:lnTo>
                  <a:lnTo>
                    <a:pt x="225" y="65"/>
                  </a:lnTo>
                  <a:lnTo>
                    <a:pt x="228" y="65"/>
                  </a:lnTo>
                  <a:lnTo>
                    <a:pt x="228" y="62"/>
                  </a:lnTo>
                  <a:lnTo>
                    <a:pt x="225" y="62"/>
                  </a:lnTo>
                  <a:lnTo>
                    <a:pt x="225" y="65"/>
                  </a:lnTo>
                  <a:lnTo>
                    <a:pt x="223" y="65"/>
                  </a:lnTo>
                  <a:lnTo>
                    <a:pt x="225" y="62"/>
                  </a:lnTo>
                  <a:lnTo>
                    <a:pt x="225" y="60"/>
                  </a:lnTo>
                  <a:lnTo>
                    <a:pt x="223" y="60"/>
                  </a:lnTo>
                  <a:lnTo>
                    <a:pt x="223" y="57"/>
                  </a:lnTo>
                  <a:lnTo>
                    <a:pt x="223" y="55"/>
                  </a:lnTo>
                  <a:lnTo>
                    <a:pt x="221" y="55"/>
                  </a:lnTo>
                  <a:lnTo>
                    <a:pt x="221" y="53"/>
                  </a:lnTo>
                  <a:lnTo>
                    <a:pt x="223" y="53"/>
                  </a:lnTo>
                  <a:lnTo>
                    <a:pt x="223" y="50"/>
                  </a:lnTo>
                  <a:lnTo>
                    <a:pt x="223" y="48"/>
                  </a:lnTo>
                  <a:lnTo>
                    <a:pt x="223" y="46"/>
                  </a:lnTo>
                  <a:lnTo>
                    <a:pt x="221" y="46"/>
                  </a:lnTo>
                  <a:lnTo>
                    <a:pt x="221" y="43"/>
                  </a:lnTo>
                  <a:lnTo>
                    <a:pt x="221" y="41"/>
                  </a:lnTo>
                  <a:lnTo>
                    <a:pt x="221" y="38"/>
                  </a:lnTo>
                  <a:lnTo>
                    <a:pt x="223" y="38"/>
                  </a:lnTo>
                  <a:lnTo>
                    <a:pt x="223" y="36"/>
                  </a:lnTo>
                  <a:lnTo>
                    <a:pt x="225" y="36"/>
                  </a:lnTo>
                  <a:lnTo>
                    <a:pt x="225" y="34"/>
                  </a:lnTo>
                  <a:lnTo>
                    <a:pt x="228" y="34"/>
                  </a:lnTo>
                  <a:lnTo>
                    <a:pt x="225" y="34"/>
                  </a:lnTo>
                  <a:lnTo>
                    <a:pt x="228" y="34"/>
                  </a:lnTo>
                  <a:lnTo>
                    <a:pt x="228" y="31"/>
                  </a:lnTo>
                  <a:lnTo>
                    <a:pt x="230" y="31"/>
                  </a:lnTo>
                  <a:lnTo>
                    <a:pt x="228" y="31"/>
                  </a:lnTo>
                  <a:lnTo>
                    <a:pt x="230" y="31"/>
                  </a:lnTo>
                  <a:lnTo>
                    <a:pt x="230" y="29"/>
                  </a:lnTo>
                  <a:lnTo>
                    <a:pt x="233" y="27"/>
                  </a:lnTo>
                  <a:lnTo>
                    <a:pt x="233" y="24"/>
                  </a:lnTo>
                  <a:lnTo>
                    <a:pt x="235" y="24"/>
                  </a:lnTo>
                  <a:lnTo>
                    <a:pt x="237" y="24"/>
                  </a:lnTo>
                  <a:lnTo>
                    <a:pt x="237" y="22"/>
                  </a:lnTo>
                  <a:lnTo>
                    <a:pt x="240" y="22"/>
                  </a:lnTo>
                  <a:lnTo>
                    <a:pt x="240" y="19"/>
                  </a:lnTo>
                  <a:lnTo>
                    <a:pt x="242" y="19"/>
                  </a:lnTo>
                  <a:close/>
                  <a:moveTo>
                    <a:pt x="10" y="0"/>
                  </a:moveTo>
                  <a:lnTo>
                    <a:pt x="12" y="0"/>
                  </a:lnTo>
                  <a:lnTo>
                    <a:pt x="12" y="3"/>
                  </a:lnTo>
                  <a:lnTo>
                    <a:pt x="14" y="3"/>
                  </a:lnTo>
                  <a:lnTo>
                    <a:pt x="14" y="5"/>
                  </a:lnTo>
                  <a:lnTo>
                    <a:pt x="14" y="7"/>
                  </a:lnTo>
                  <a:lnTo>
                    <a:pt x="14" y="10"/>
                  </a:lnTo>
                  <a:lnTo>
                    <a:pt x="12" y="10"/>
                  </a:lnTo>
                  <a:lnTo>
                    <a:pt x="10" y="10"/>
                  </a:lnTo>
                  <a:lnTo>
                    <a:pt x="10" y="12"/>
                  </a:lnTo>
                  <a:lnTo>
                    <a:pt x="10" y="10"/>
                  </a:lnTo>
                  <a:lnTo>
                    <a:pt x="10" y="12"/>
                  </a:lnTo>
                  <a:lnTo>
                    <a:pt x="12" y="12"/>
                  </a:lnTo>
                  <a:lnTo>
                    <a:pt x="10" y="12"/>
                  </a:lnTo>
                  <a:lnTo>
                    <a:pt x="12" y="12"/>
                  </a:lnTo>
                  <a:lnTo>
                    <a:pt x="12" y="15"/>
                  </a:lnTo>
                  <a:lnTo>
                    <a:pt x="12" y="17"/>
                  </a:lnTo>
                  <a:lnTo>
                    <a:pt x="10" y="17"/>
                  </a:lnTo>
                  <a:lnTo>
                    <a:pt x="10" y="15"/>
                  </a:lnTo>
                  <a:lnTo>
                    <a:pt x="10" y="17"/>
                  </a:lnTo>
                  <a:lnTo>
                    <a:pt x="7" y="17"/>
                  </a:lnTo>
                  <a:lnTo>
                    <a:pt x="7" y="19"/>
                  </a:lnTo>
                  <a:lnTo>
                    <a:pt x="5" y="19"/>
                  </a:lnTo>
                  <a:lnTo>
                    <a:pt x="5" y="17"/>
                  </a:lnTo>
                  <a:lnTo>
                    <a:pt x="5" y="19"/>
                  </a:lnTo>
                  <a:lnTo>
                    <a:pt x="5" y="17"/>
                  </a:lnTo>
                  <a:lnTo>
                    <a:pt x="2" y="17"/>
                  </a:lnTo>
                  <a:lnTo>
                    <a:pt x="5" y="17"/>
                  </a:lnTo>
                  <a:lnTo>
                    <a:pt x="5" y="15"/>
                  </a:lnTo>
                  <a:lnTo>
                    <a:pt x="5" y="17"/>
                  </a:lnTo>
                  <a:lnTo>
                    <a:pt x="5" y="15"/>
                  </a:lnTo>
                  <a:lnTo>
                    <a:pt x="2" y="15"/>
                  </a:lnTo>
                  <a:lnTo>
                    <a:pt x="2" y="17"/>
                  </a:lnTo>
                  <a:lnTo>
                    <a:pt x="2" y="15"/>
                  </a:lnTo>
                  <a:lnTo>
                    <a:pt x="5" y="15"/>
                  </a:lnTo>
                  <a:lnTo>
                    <a:pt x="2" y="15"/>
                  </a:lnTo>
                  <a:lnTo>
                    <a:pt x="2" y="12"/>
                  </a:lnTo>
                  <a:lnTo>
                    <a:pt x="5" y="12"/>
                  </a:lnTo>
                  <a:lnTo>
                    <a:pt x="7" y="12"/>
                  </a:lnTo>
                  <a:lnTo>
                    <a:pt x="5" y="12"/>
                  </a:lnTo>
                  <a:lnTo>
                    <a:pt x="7" y="12"/>
                  </a:lnTo>
                  <a:lnTo>
                    <a:pt x="10" y="12"/>
                  </a:lnTo>
                  <a:lnTo>
                    <a:pt x="7" y="12"/>
                  </a:lnTo>
                  <a:lnTo>
                    <a:pt x="10" y="12"/>
                  </a:lnTo>
                  <a:lnTo>
                    <a:pt x="7" y="12"/>
                  </a:lnTo>
                  <a:lnTo>
                    <a:pt x="10" y="10"/>
                  </a:lnTo>
                  <a:lnTo>
                    <a:pt x="7" y="10"/>
                  </a:lnTo>
                  <a:lnTo>
                    <a:pt x="5" y="10"/>
                  </a:lnTo>
                  <a:lnTo>
                    <a:pt x="7" y="10"/>
                  </a:lnTo>
                  <a:lnTo>
                    <a:pt x="5" y="10"/>
                  </a:lnTo>
                  <a:lnTo>
                    <a:pt x="5" y="12"/>
                  </a:lnTo>
                  <a:lnTo>
                    <a:pt x="5" y="10"/>
                  </a:lnTo>
                  <a:lnTo>
                    <a:pt x="2" y="10"/>
                  </a:lnTo>
                  <a:lnTo>
                    <a:pt x="2" y="12"/>
                  </a:lnTo>
                  <a:lnTo>
                    <a:pt x="2" y="10"/>
                  </a:lnTo>
                  <a:lnTo>
                    <a:pt x="0" y="10"/>
                  </a:lnTo>
                  <a:lnTo>
                    <a:pt x="0" y="7"/>
                  </a:lnTo>
                  <a:lnTo>
                    <a:pt x="0" y="10"/>
                  </a:lnTo>
                  <a:lnTo>
                    <a:pt x="0" y="7"/>
                  </a:lnTo>
                  <a:lnTo>
                    <a:pt x="2" y="7"/>
                  </a:lnTo>
                  <a:lnTo>
                    <a:pt x="2" y="5"/>
                  </a:lnTo>
                  <a:lnTo>
                    <a:pt x="5" y="5"/>
                  </a:lnTo>
                  <a:lnTo>
                    <a:pt x="5" y="3"/>
                  </a:lnTo>
                  <a:lnTo>
                    <a:pt x="5" y="5"/>
                  </a:lnTo>
                  <a:lnTo>
                    <a:pt x="5" y="3"/>
                  </a:lnTo>
                  <a:lnTo>
                    <a:pt x="7" y="3"/>
                  </a:lnTo>
                  <a:lnTo>
                    <a:pt x="10" y="3"/>
                  </a:lnTo>
                  <a:lnTo>
                    <a:pt x="1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9" name="Freeform 56640"/>
            <p:cNvSpPr>
              <a:spLocks noEditPoints="1"/>
            </p:cNvSpPr>
            <p:nvPr/>
          </p:nvSpPr>
          <p:spPr bwMode="auto">
            <a:xfrm>
              <a:off x="2609847" y="3090875"/>
              <a:ext cx="681037" cy="1187455"/>
            </a:xfrm>
            <a:custGeom>
              <a:avLst/>
              <a:gdLst>
                <a:gd name="T0" fmla="*/ 415 w 429"/>
                <a:gd name="T1" fmla="*/ 188 h 748"/>
                <a:gd name="T2" fmla="*/ 389 w 429"/>
                <a:gd name="T3" fmla="*/ 183 h 748"/>
                <a:gd name="T4" fmla="*/ 382 w 429"/>
                <a:gd name="T5" fmla="*/ 121 h 748"/>
                <a:gd name="T6" fmla="*/ 386 w 429"/>
                <a:gd name="T7" fmla="*/ 162 h 748"/>
                <a:gd name="T8" fmla="*/ 391 w 429"/>
                <a:gd name="T9" fmla="*/ 193 h 748"/>
                <a:gd name="T10" fmla="*/ 370 w 429"/>
                <a:gd name="T11" fmla="*/ 195 h 748"/>
                <a:gd name="T12" fmla="*/ 356 w 429"/>
                <a:gd name="T13" fmla="*/ 200 h 748"/>
                <a:gd name="T14" fmla="*/ 346 w 429"/>
                <a:gd name="T15" fmla="*/ 214 h 748"/>
                <a:gd name="T16" fmla="*/ 337 w 429"/>
                <a:gd name="T17" fmla="*/ 212 h 748"/>
                <a:gd name="T18" fmla="*/ 341 w 429"/>
                <a:gd name="T19" fmla="*/ 231 h 748"/>
                <a:gd name="T20" fmla="*/ 334 w 429"/>
                <a:gd name="T21" fmla="*/ 252 h 748"/>
                <a:gd name="T22" fmla="*/ 341 w 429"/>
                <a:gd name="T23" fmla="*/ 264 h 748"/>
                <a:gd name="T24" fmla="*/ 318 w 429"/>
                <a:gd name="T25" fmla="*/ 297 h 748"/>
                <a:gd name="T26" fmla="*/ 301 w 429"/>
                <a:gd name="T27" fmla="*/ 304 h 748"/>
                <a:gd name="T28" fmla="*/ 277 w 429"/>
                <a:gd name="T29" fmla="*/ 321 h 748"/>
                <a:gd name="T30" fmla="*/ 258 w 429"/>
                <a:gd name="T31" fmla="*/ 330 h 748"/>
                <a:gd name="T32" fmla="*/ 239 w 429"/>
                <a:gd name="T33" fmla="*/ 345 h 748"/>
                <a:gd name="T34" fmla="*/ 230 w 429"/>
                <a:gd name="T35" fmla="*/ 356 h 748"/>
                <a:gd name="T36" fmla="*/ 216 w 429"/>
                <a:gd name="T37" fmla="*/ 335 h 748"/>
                <a:gd name="T38" fmla="*/ 218 w 429"/>
                <a:gd name="T39" fmla="*/ 371 h 748"/>
                <a:gd name="T40" fmla="*/ 216 w 429"/>
                <a:gd name="T41" fmla="*/ 385 h 748"/>
                <a:gd name="T42" fmla="*/ 204 w 429"/>
                <a:gd name="T43" fmla="*/ 409 h 748"/>
                <a:gd name="T44" fmla="*/ 199 w 429"/>
                <a:gd name="T45" fmla="*/ 421 h 748"/>
                <a:gd name="T46" fmla="*/ 201 w 429"/>
                <a:gd name="T47" fmla="*/ 437 h 748"/>
                <a:gd name="T48" fmla="*/ 201 w 429"/>
                <a:gd name="T49" fmla="*/ 463 h 748"/>
                <a:gd name="T50" fmla="*/ 216 w 429"/>
                <a:gd name="T51" fmla="*/ 480 h 748"/>
                <a:gd name="T52" fmla="*/ 234 w 429"/>
                <a:gd name="T53" fmla="*/ 485 h 748"/>
                <a:gd name="T54" fmla="*/ 246 w 429"/>
                <a:gd name="T55" fmla="*/ 499 h 748"/>
                <a:gd name="T56" fmla="*/ 256 w 429"/>
                <a:gd name="T57" fmla="*/ 511 h 748"/>
                <a:gd name="T58" fmla="*/ 242 w 429"/>
                <a:gd name="T59" fmla="*/ 535 h 748"/>
                <a:gd name="T60" fmla="*/ 244 w 429"/>
                <a:gd name="T61" fmla="*/ 539 h 748"/>
                <a:gd name="T62" fmla="*/ 244 w 429"/>
                <a:gd name="T63" fmla="*/ 546 h 748"/>
                <a:gd name="T64" fmla="*/ 227 w 429"/>
                <a:gd name="T65" fmla="*/ 558 h 748"/>
                <a:gd name="T66" fmla="*/ 218 w 429"/>
                <a:gd name="T67" fmla="*/ 558 h 748"/>
                <a:gd name="T68" fmla="*/ 213 w 429"/>
                <a:gd name="T69" fmla="*/ 563 h 748"/>
                <a:gd name="T70" fmla="*/ 199 w 429"/>
                <a:gd name="T71" fmla="*/ 575 h 748"/>
                <a:gd name="T72" fmla="*/ 189 w 429"/>
                <a:gd name="T73" fmla="*/ 582 h 748"/>
                <a:gd name="T74" fmla="*/ 185 w 429"/>
                <a:gd name="T75" fmla="*/ 596 h 748"/>
                <a:gd name="T76" fmla="*/ 185 w 429"/>
                <a:gd name="T77" fmla="*/ 611 h 748"/>
                <a:gd name="T78" fmla="*/ 180 w 429"/>
                <a:gd name="T79" fmla="*/ 615 h 748"/>
                <a:gd name="T80" fmla="*/ 185 w 429"/>
                <a:gd name="T81" fmla="*/ 630 h 748"/>
                <a:gd name="T82" fmla="*/ 180 w 429"/>
                <a:gd name="T83" fmla="*/ 644 h 748"/>
                <a:gd name="T84" fmla="*/ 175 w 429"/>
                <a:gd name="T85" fmla="*/ 675 h 748"/>
                <a:gd name="T86" fmla="*/ 156 w 429"/>
                <a:gd name="T87" fmla="*/ 708 h 748"/>
                <a:gd name="T88" fmla="*/ 132 w 429"/>
                <a:gd name="T89" fmla="*/ 706 h 748"/>
                <a:gd name="T90" fmla="*/ 113 w 429"/>
                <a:gd name="T91" fmla="*/ 713 h 748"/>
                <a:gd name="T92" fmla="*/ 73 w 429"/>
                <a:gd name="T93" fmla="*/ 748 h 748"/>
                <a:gd name="T94" fmla="*/ 49 w 429"/>
                <a:gd name="T95" fmla="*/ 708 h 748"/>
                <a:gd name="T96" fmla="*/ 38 w 429"/>
                <a:gd name="T97" fmla="*/ 663 h 748"/>
                <a:gd name="T98" fmla="*/ 28 w 429"/>
                <a:gd name="T99" fmla="*/ 644 h 748"/>
                <a:gd name="T100" fmla="*/ 28 w 429"/>
                <a:gd name="T101" fmla="*/ 620 h 748"/>
                <a:gd name="T102" fmla="*/ 19 w 429"/>
                <a:gd name="T103" fmla="*/ 594 h 748"/>
                <a:gd name="T104" fmla="*/ 11 w 429"/>
                <a:gd name="T105" fmla="*/ 592 h 748"/>
                <a:gd name="T106" fmla="*/ 4 w 429"/>
                <a:gd name="T107" fmla="*/ 584 h 748"/>
                <a:gd name="T108" fmla="*/ 4 w 429"/>
                <a:gd name="T109" fmla="*/ 558 h 748"/>
                <a:gd name="T110" fmla="*/ 23 w 429"/>
                <a:gd name="T111" fmla="*/ 516 h 748"/>
                <a:gd name="T112" fmla="*/ 33 w 429"/>
                <a:gd name="T113" fmla="*/ 411 h 748"/>
                <a:gd name="T114" fmla="*/ 92 w 429"/>
                <a:gd name="T115" fmla="*/ 242 h 748"/>
                <a:gd name="T116" fmla="*/ 218 w 429"/>
                <a:gd name="T117" fmla="*/ 62 h 748"/>
                <a:gd name="T118" fmla="*/ 341 w 429"/>
                <a:gd name="T119" fmla="*/ 24 h 748"/>
                <a:gd name="T120" fmla="*/ 412 w 429"/>
                <a:gd name="T121" fmla="*/ 67 h 748"/>
                <a:gd name="T122" fmla="*/ 422 w 429"/>
                <a:gd name="T123" fmla="*/ 128 h 748"/>
                <a:gd name="T124" fmla="*/ 204 w 429"/>
                <a:gd name="T125" fmla="*/ 385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748">
                  <a:moveTo>
                    <a:pt x="223" y="568"/>
                  </a:moveTo>
                  <a:lnTo>
                    <a:pt x="225" y="568"/>
                  </a:lnTo>
                  <a:lnTo>
                    <a:pt x="223" y="568"/>
                  </a:lnTo>
                  <a:close/>
                  <a:moveTo>
                    <a:pt x="237" y="537"/>
                  </a:moveTo>
                  <a:lnTo>
                    <a:pt x="239" y="537"/>
                  </a:lnTo>
                  <a:lnTo>
                    <a:pt x="239" y="539"/>
                  </a:lnTo>
                  <a:lnTo>
                    <a:pt x="237" y="539"/>
                  </a:lnTo>
                  <a:lnTo>
                    <a:pt x="237" y="537"/>
                  </a:lnTo>
                  <a:close/>
                  <a:moveTo>
                    <a:pt x="230" y="361"/>
                  </a:moveTo>
                  <a:lnTo>
                    <a:pt x="232" y="361"/>
                  </a:lnTo>
                  <a:lnTo>
                    <a:pt x="230" y="361"/>
                  </a:lnTo>
                  <a:lnTo>
                    <a:pt x="227" y="364"/>
                  </a:lnTo>
                  <a:lnTo>
                    <a:pt x="227" y="361"/>
                  </a:lnTo>
                  <a:lnTo>
                    <a:pt x="227" y="359"/>
                  </a:lnTo>
                  <a:lnTo>
                    <a:pt x="230" y="359"/>
                  </a:lnTo>
                  <a:lnTo>
                    <a:pt x="232" y="359"/>
                  </a:lnTo>
                  <a:lnTo>
                    <a:pt x="232" y="361"/>
                  </a:lnTo>
                  <a:lnTo>
                    <a:pt x="230" y="361"/>
                  </a:lnTo>
                  <a:close/>
                  <a:moveTo>
                    <a:pt x="429" y="193"/>
                  </a:moveTo>
                  <a:lnTo>
                    <a:pt x="429" y="195"/>
                  </a:lnTo>
                  <a:lnTo>
                    <a:pt x="429" y="193"/>
                  </a:lnTo>
                  <a:close/>
                  <a:moveTo>
                    <a:pt x="427" y="188"/>
                  </a:moveTo>
                  <a:lnTo>
                    <a:pt x="424" y="188"/>
                  </a:lnTo>
                  <a:lnTo>
                    <a:pt x="427" y="188"/>
                  </a:lnTo>
                  <a:lnTo>
                    <a:pt x="427" y="190"/>
                  </a:lnTo>
                  <a:lnTo>
                    <a:pt x="424" y="190"/>
                  </a:lnTo>
                  <a:lnTo>
                    <a:pt x="427" y="190"/>
                  </a:lnTo>
                  <a:lnTo>
                    <a:pt x="427" y="188"/>
                  </a:lnTo>
                  <a:lnTo>
                    <a:pt x="424" y="188"/>
                  </a:lnTo>
                  <a:lnTo>
                    <a:pt x="424" y="190"/>
                  </a:lnTo>
                  <a:lnTo>
                    <a:pt x="424" y="188"/>
                  </a:lnTo>
                  <a:lnTo>
                    <a:pt x="424" y="190"/>
                  </a:lnTo>
                  <a:lnTo>
                    <a:pt x="422" y="190"/>
                  </a:lnTo>
                  <a:lnTo>
                    <a:pt x="422" y="188"/>
                  </a:lnTo>
                  <a:lnTo>
                    <a:pt x="422" y="190"/>
                  </a:lnTo>
                  <a:lnTo>
                    <a:pt x="422" y="188"/>
                  </a:lnTo>
                  <a:lnTo>
                    <a:pt x="422" y="190"/>
                  </a:lnTo>
                  <a:lnTo>
                    <a:pt x="420" y="190"/>
                  </a:lnTo>
                  <a:lnTo>
                    <a:pt x="420" y="188"/>
                  </a:lnTo>
                  <a:lnTo>
                    <a:pt x="420" y="190"/>
                  </a:lnTo>
                  <a:lnTo>
                    <a:pt x="417" y="190"/>
                  </a:lnTo>
                  <a:lnTo>
                    <a:pt x="420" y="190"/>
                  </a:lnTo>
                  <a:lnTo>
                    <a:pt x="417" y="190"/>
                  </a:lnTo>
                  <a:lnTo>
                    <a:pt x="420" y="190"/>
                  </a:lnTo>
                  <a:lnTo>
                    <a:pt x="417" y="190"/>
                  </a:lnTo>
                  <a:lnTo>
                    <a:pt x="417" y="188"/>
                  </a:lnTo>
                  <a:lnTo>
                    <a:pt x="415" y="188"/>
                  </a:lnTo>
                  <a:lnTo>
                    <a:pt x="415" y="185"/>
                  </a:lnTo>
                  <a:lnTo>
                    <a:pt x="415" y="188"/>
                  </a:lnTo>
                  <a:lnTo>
                    <a:pt x="412" y="188"/>
                  </a:lnTo>
                  <a:lnTo>
                    <a:pt x="415" y="188"/>
                  </a:lnTo>
                  <a:lnTo>
                    <a:pt x="412" y="188"/>
                  </a:lnTo>
                  <a:lnTo>
                    <a:pt x="412" y="190"/>
                  </a:lnTo>
                  <a:lnTo>
                    <a:pt x="412" y="188"/>
                  </a:lnTo>
                  <a:lnTo>
                    <a:pt x="412" y="190"/>
                  </a:lnTo>
                  <a:lnTo>
                    <a:pt x="412" y="188"/>
                  </a:lnTo>
                  <a:lnTo>
                    <a:pt x="410" y="188"/>
                  </a:lnTo>
                  <a:lnTo>
                    <a:pt x="412" y="188"/>
                  </a:lnTo>
                  <a:lnTo>
                    <a:pt x="412" y="190"/>
                  </a:lnTo>
                  <a:lnTo>
                    <a:pt x="410" y="190"/>
                  </a:lnTo>
                  <a:lnTo>
                    <a:pt x="410" y="188"/>
                  </a:lnTo>
                  <a:lnTo>
                    <a:pt x="408" y="188"/>
                  </a:lnTo>
                  <a:lnTo>
                    <a:pt x="408" y="185"/>
                  </a:lnTo>
                  <a:lnTo>
                    <a:pt x="408" y="188"/>
                  </a:lnTo>
                  <a:lnTo>
                    <a:pt x="408" y="185"/>
                  </a:lnTo>
                  <a:lnTo>
                    <a:pt x="405" y="188"/>
                  </a:lnTo>
                  <a:lnTo>
                    <a:pt x="408" y="188"/>
                  </a:lnTo>
                  <a:lnTo>
                    <a:pt x="405" y="188"/>
                  </a:lnTo>
                  <a:lnTo>
                    <a:pt x="408" y="188"/>
                  </a:lnTo>
                  <a:lnTo>
                    <a:pt x="405" y="188"/>
                  </a:lnTo>
                  <a:lnTo>
                    <a:pt x="405" y="190"/>
                  </a:lnTo>
                  <a:lnTo>
                    <a:pt x="405" y="193"/>
                  </a:lnTo>
                  <a:lnTo>
                    <a:pt x="403" y="193"/>
                  </a:lnTo>
                  <a:lnTo>
                    <a:pt x="403" y="190"/>
                  </a:lnTo>
                  <a:lnTo>
                    <a:pt x="403" y="193"/>
                  </a:lnTo>
                  <a:lnTo>
                    <a:pt x="403" y="190"/>
                  </a:lnTo>
                  <a:lnTo>
                    <a:pt x="405" y="190"/>
                  </a:lnTo>
                  <a:lnTo>
                    <a:pt x="403" y="190"/>
                  </a:lnTo>
                  <a:lnTo>
                    <a:pt x="405" y="190"/>
                  </a:lnTo>
                  <a:lnTo>
                    <a:pt x="403" y="190"/>
                  </a:lnTo>
                  <a:lnTo>
                    <a:pt x="403" y="188"/>
                  </a:lnTo>
                  <a:lnTo>
                    <a:pt x="403" y="190"/>
                  </a:lnTo>
                  <a:lnTo>
                    <a:pt x="403" y="188"/>
                  </a:lnTo>
                  <a:lnTo>
                    <a:pt x="401" y="190"/>
                  </a:lnTo>
                  <a:lnTo>
                    <a:pt x="401" y="188"/>
                  </a:lnTo>
                  <a:lnTo>
                    <a:pt x="401" y="190"/>
                  </a:lnTo>
                  <a:lnTo>
                    <a:pt x="401" y="188"/>
                  </a:lnTo>
                  <a:lnTo>
                    <a:pt x="398" y="188"/>
                  </a:lnTo>
                  <a:lnTo>
                    <a:pt x="398" y="185"/>
                  </a:lnTo>
                  <a:lnTo>
                    <a:pt x="396" y="185"/>
                  </a:lnTo>
                  <a:lnTo>
                    <a:pt x="393" y="185"/>
                  </a:lnTo>
                  <a:lnTo>
                    <a:pt x="393" y="183"/>
                  </a:lnTo>
                  <a:lnTo>
                    <a:pt x="393" y="185"/>
                  </a:lnTo>
                  <a:lnTo>
                    <a:pt x="391" y="185"/>
                  </a:lnTo>
                  <a:lnTo>
                    <a:pt x="391" y="183"/>
                  </a:lnTo>
                  <a:lnTo>
                    <a:pt x="389" y="183"/>
                  </a:lnTo>
                  <a:lnTo>
                    <a:pt x="389" y="181"/>
                  </a:lnTo>
                  <a:lnTo>
                    <a:pt x="389" y="183"/>
                  </a:lnTo>
                  <a:lnTo>
                    <a:pt x="389" y="181"/>
                  </a:lnTo>
                  <a:lnTo>
                    <a:pt x="386" y="181"/>
                  </a:lnTo>
                  <a:lnTo>
                    <a:pt x="386" y="178"/>
                  </a:lnTo>
                  <a:lnTo>
                    <a:pt x="386" y="176"/>
                  </a:lnTo>
                  <a:lnTo>
                    <a:pt x="384" y="173"/>
                  </a:lnTo>
                  <a:lnTo>
                    <a:pt x="382" y="173"/>
                  </a:lnTo>
                  <a:lnTo>
                    <a:pt x="384" y="173"/>
                  </a:lnTo>
                  <a:lnTo>
                    <a:pt x="384" y="171"/>
                  </a:lnTo>
                  <a:lnTo>
                    <a:pt x="386" y="171"/>
                  </a:lnTo>
                  <a:lnTo>
                    <a:pt x="384" y="171"/>
                  </a:lnTo>
                  <a:lnTo>
                    <a:pt x="384" y="169"/>
                  </a:lnTo>
                  <a:lnTo>
                    <a:pt x="386" y="169"/>
                  </a:lnTo>
                  <a:lnTo>
                    <a:pt x="386" y="171"/>
                  </a:lnTo>
                  <a:lnTo>
                    <a:pt x="386" y="169"/>
                  </a:lnTo>
                  <a:lnTo>
                    <a:pt x="386" y="166"/>
                  </a:lnTo>
                  <a:lnTo>
                    <a:pt x="386" y="164"/>
                  </a:lnTo>
                  <a:lnTo>
                    <a:pt x="386" y="166"/>
                  </a:lnTo>
                  <a:lnTo>
                    <a:pt x="386" y="164"/>
                  </a:lnTo>
                  <a:lnTo>
                    <a:pt x="386" y="162"/>
                  </a:lnTo>
                  <a:lnTo>
                    <a:pt x="386" y="159"/>
                  </a:lnTo>
                  <a:lnTo>
                    <a:pt x="389" y="159"/>
                  </a:lnTo>
                  <a:lnTo>
                    <a:pt x="389" y="162"/>
                  </a:lnTo>
                  <a:lnTo>
                    <a:pt x="389" y="164"/>
                  </a:lnTo>
                  <a:lnTo>
                    <a:pt x="389" y="162"/>
                  </a:lnTo>
                  <a:lnTo>
                    <a:pt x="389" y="164"/>
                  </a:lnTo>
                  <a:lnTo>
                    <a:pt x="389" y="162"/>
                  </a:lnTo>
                  <a:lnTo>
                    <a:pt x="389" y="159"/>
                  </a:lnTo>
                  <a:lnTo>
                    <a:pt x="389" y="157"/>
                  </a:lnTo>
                  <a:lnTo>
                    <a:pt x="389" y="159"/>
                  </a:lnTo>
                  <a:lnTo>
                    <a:pt x="386" y="159"/>
                  </a:lnTo>
                  <a:lnTo>
                    <a:pt x="386" y="157"/>
                  </a:lnTo>
                  <a:lnTo>
                    <a:pt x="386" y="154"/>
                  </a:lnTo>
                  <a:lnTo>
                    <a:pt x="384" y="154"/>
                  </a:lnTo>
                  <a:lnTo>
                    <a:pt x="384" y="152"/>
                  </a:lnTo>
                  <a:lnTo>
                    <a:pt x="384" y="150"/>
                  </a:lnTo>
                  <a:lnTo>
                    <a:pt x="384" y="147"/>
                  </a:lnTo>
                  <a:lnTo>
                    <a:pt x="384" y="145"/>
                  </a:lnTo>
                  <a:lnTo>
                    <a:pt x="384" y="143"/>
                  </a:lnTo>
                  <a:lnTo>
                    <a:pt x="382" y="143"/>
                  </a:lnTo>
                  <a:lnTo>
                    <a:pt x="382" y="140"/>
                  </a:lnTo>
                  <a:lnTo>
                    <a:pt x="382" y="138"/>
                  </a:lnTo>
                  <a:lnTo>
                    <a:pt x="382" y="135"/>
                  </a:lnTo>
                  <a:lnTo>
                    <a:pt x="382" y="133"/>
                  </a:lnTo>
                  <a:lnTo>
                    <a:pt x="384" y="131"/>
                  </a:lnTo>
                  <a:lnTo>
                    <a:pt x="384" y="128"/>
                  </a:lnTo>
                  <a:lnTo>
                    <a:pt x="384" y="126"/>
                  </a:lnTo>
                  <a:lnTo>
                    <a:pt x="384" y="124"/>
                  </a:lnTo>
                  <a:lnTo>
                    <a:pt x="382" y="124"/>
                  </a:lnTo>
                  <a:lnTo>
                    <a:pt x="382" y="121"/>
                  </a:lnTo>
                  <a:lnTo>
                    <a:pt x="379" y="121"/>
                  </a:lnTo>
                  <a:lnTo>
                    <a:pt x="379" y="119"/>
                  </a:lnTo>
                  <a:lnTo>
                    <a:pt x="377" y="119"/>
                  </a:lnTo>
                  <a:lnTo>
                    <a:pt x="377" y="116"/>
                  </a:lnTo>
                  <a:lnTo>
                    <a:pt x="374" y="116"/>
                  </a:lnTo>
                  <a:lnTo>
                    <a:pt x="377" y="116"/>
                  </a:lnTo>
                  <a:lnTo>
                    <a:pt x="377" y="119"/>
                  </a:lnTo>
                  <a:lnTo>
                    <a:pt x="379" y="119"/>
                  </a:lnTo>
                  <a:lnTo>
                    <a:pt x="379" y="121"/>
                  </a:lnTo>
                  <a:lnTo>
                    <a:pt x="382" y="121"/>
                  </a:lnTo>
                  <a:lnTo>
                    <a:pt x="382" y="124"/>
                  </a:lnTo>
                  <a:lnTo>
                    <a:pt x="384" y="124"/>
                  </a:lnTo>
                  <a:lnTo>
                    <a:pt x="384" y="126"/>
                  </a:lnTo>
                  <a:lnTo>
                    <a:pt x="384" y="128"/>
                  </a:lnTo>
                  <a:lnTo>
                    <a:pt x="384" y="131"/>
                  </a:lnTo>
                  <a:lnTo>
                    <a:pt x="382" y="133"/>
                  </a:lnTo>
                  <a:lnTo>
                    <a:pt x="382" y="135"/>
                  </a:lnTo>
                  <a:lnTo>
                    <a:pt x="382" y="138"/>
                  </a:lnTo>
                  <a:lnTo>
                    <a:pt x="382" y="140"/>
                  </a:lnTo>
                  <a:lnTo>
                    <a:pt x="382" y="143"/>
                  </a:lnTo>
                  <a:lnTo>
                    <a:pt x="384" y="143"/>
                  </a:lnTo>
                  <a:lnTo>
                    <a:pt x="384" y="145"/>
                  </a:lnTo>
                  <a:lnTo>
                    <a:pt x="384" y="147"/>
                  </a:lnTo>
                  <a:lnTo>
                    <a:pt x="384" y="150"/>
                  </a:lnTo>
                  <a:lnTo>
                    <a:pt x="384" y="152"/>
                  </a:lnTo>
                  <a:lnTo>
                    <a:pt x="384" y="154"/>
                  </a:lnTo>
                  <a:lnTo>
                    <a:pt x="386" y="154"/>
                  </a:lnTo>
                  <a:lnTo>
                    <a:pt x="384" y="154"/>
                  </a:lnTo>
                  <a:lnTo>
                    <a:pt x="386" y="154"/>
                  </a:lnTo>
                  <a:lnTo>
                    <a:pt x="386" y="157"/>
                  </a:lnTo>
                  <a:lnTo>
                    <a:pt x="386" y="159"/>
                  </a:lnTo>
                  <a:lnTo>
                    <a:pt x="384" y="157"/>
                  </a:lnTo>
                  <a:lnTo>
                    <a:pt x="382" y="157"/>
                  </a:lnTo>
                  <a:lnTo>
                    <a:pt x="382" y="154"/>
                  </a:lnTo>
                  <a:lnTo>
                    <a:pt x="382" y="152"/>
                  </a:lnTo>
                  <a:lnTo>
                    <a:pt x="379" y="152"/>
                  </a:lnTo>
                  <a:lnTo>
                    <a:pt x="382" y="152"/>
                  </a:lnTo>
                  <a:lnTo>
                    <a:pt x="379" y="152"/>
                  </a:lnTo>
                  <a:lnTo>
                    <a:pt x="379" y="150"/>
                  </a:lnTo>
                  <a:lnTo>
                    <a:pt x="377" y="147"/>
                  </a:lnTo>
                  <a:lnTo>
                    <a:pt x="379" y="150"/>
                  </a:lnTo>
                  <a:lnTo>
                    <a:pt x="379" y="152"/>
                  </a:lnTo>
                  <a:lnTo>
                    <a:pt x="382" y="152"/>
                  </a:lnTo>
                  <a:lnTo>
                    <a:pt x="382" y="154"/>
                  </a:lnTo>
                  <a:lnTo>
                    <a:pt x="382" y="157"/>
                  </a:lnTo>
                  <a:lnTo>
                    <a:pt x="384" y="157"/>
                  </a:lnTo>
                  <a:lnTo>
                    <a:pt x="384" y="159"/>
                  </a:lnTo>
                  <a:lnTo>
                    <a:pt x="386" y="159"/>
                  </a:lnTo>
                  <a:lnTo>
                    <a:pt x="386" y="162"/>
                  </a:lnTo>
                  <a:lnTo>
                    <a:pt x="386" y="164"/>
                  </a:lnTo>
                  <a:lnTo>
                    <a:pt x="386" y="166"/>
                  </a:lnTo>
                  <a:lnTo>
                    <a:pt x="384" y="166"/>
                  </a:lnTo>
                  <a:lnTo>
                    <a:pt x="386" y="166"/>
                  </a:lnTo>
                  <a:lnTo>
                    <a:pt x="384" y="166"/>
                  </a:lnTo>
                  <a:lnTo>
                    <a:pt x="386" y="166"/>
                  </a:lnTo>
                  <a:lnTo>
                    <a:pt x="386" y="169"/>
                  </a:lnTo>
                  <a:lnTo>
                    <a:pt x="386" y="166"/>
                  </a:lnTo>
                  <a:lnTo>
                    <a:pt x="386" y="169"/>
                  </a:lnTo>
                  <a:lnTo>
                    <a:pt x="384" y="169"/>
                  </a:lnTo>
                  <a:lnTo>
                    <a:pt x="384" y="171"/>
                  </a:lnTo>
                  <a:lnTo>
                    <a:pt x="382" y="171"/>
                  </a:lnTo>
                  <a:lnTo>
                    <a:pt x="384" y="171"/>
                  </a:lnTo>
                  <a:lnTo>
                    <a:pt x="382" y="171"/>
                  </a:lnTo>
                  <a:lnTo>
                    <a:pt x="384" y="171"/>
                  </a:lnTo>
                  <a:lnTo>
                    <a:pt x="382" y="171"/>
                  </a:lnTo>
                  <a:lnTo>
                    <a:pt x="384" y="171"/>
                  </a:lnTo>
                  <a:lnTo>
                    <a:pt x="384" y="173"/>
                  </a:lnTo>
                  <a:lnTo>
                    <a:pt x="382" y="173"/>
                  </a:lnTo>
                  <a:lnTo>
                    <a:pt x="384" y="173"/>
                  </a:lnTo>
                  <a:lnTo>
                    <a:pt x="384" y="176"/>
                  </a:lnTo>
                  <a:lnTo>
                    <a:pt x="386" y="176"/>
                  </a:lnTo>
                  <a:lnTo>
                    <a:pt x="386" y="178"/>
                  </a:lnTo>
                  <a:lnTo>
                    <a:pt x="386" y="181"/>
                  </a:lnTo>
                  <a:lnTo>
                    <a:pt x="389" y="181"/>
                  </a:lnTo>
                  <a:lnTo>
                    <a:pt x="389" y="183"/>
                  </a:lnTo>
                  <a:lnTo>
                    <a:pt x="391" y="183"/>
                  </a:lnTo>
                  <a:lnTo>
                    <a:pt x="391" y="185"/>
                  </a:lnTo>
                  <a:lnTo>
                    <a:pt x="393" y="185"/>
                  </a:lnTo>
                  <a:lnTo>
                    <a:pt x="396" y="185"/>
                  </a:lnTo>
                  <a:lnTo>
                    <a:pt x="396" y="188"/>
                  </a:lnTo>
                  <a:lnTo>
                    <a:pt x="398" y="188"/>
                  </a:lnTo>
                  <a:lnTo>
                    <a:pt x="398" y="190"/>
                  </a:lnTo>
                  <a:lnTo>
                    <a:pt x="396" y="190"/>
                  </a:lnTo>
                  <a:lnTo>
                    <a:pt x="398" y="190"/>
                  </a:lnTo>
                  <a:lnTo>
                    <a:pt x="396" y="190"/>
                  </a:lnTo>
                  <a:lnTo>
                    <a:pt x="396" y="193"/>
                  </a:lnTo>
                  <a:lnTo>
                    <a:pt x="396" y="190"/>
                  </a:lnTo>
                  <a:lnTo>
                    <a:pt x="396" y="193"/>
                  </a:lnTo>
                  <a:lnTo>
                    <a:pt x="396" y="195"/>
                  </a:lnTo>
                  <a:lnTo>
                    <a:pt x="393" y="195"/>
                  </a:lnTo>
                  <a:lnTo>
                    <a:pt x="396" y="195"/>
                  </a:lnTo>
                  <a:lnTo>
                    <a:pt x="393" y="195"/>
                  </a:lnTo>
                  <a:lnTo>
                    <a:pt x="396" y="195"/>
                  </a:lnTo>
                  <a:lnTo>
                    <a:pt x="393" y="195"/>
                  </a:lnTo>
                  <a:lnTo>
                    <a:pt x="393" y="193"/>
                  </a:lnTo>
                  <a:lnTo>
                    <a:pt x="393" y="190"/>
                  </a:lnTo>
                  <a:lnTo>
                    <a:pt x="393" y="193"/>
                  </a:lnTo>
                  <a:lnTo>
                    <a:pt x="391" y="193"/>
                  </a:lnTo>
                  <a:lnTo>
                    <a:pt x="391" y="190"/>
                  </a:lnTo>
                  <a:lnTo>
                    <a:pt x="389" y="190"/>
                  </a:lnTo>
                  <a:lnTo>
                    <a:pt x="389" y="188"/>
                  </a:lnTo>
                  <a:lnTo>
                    <a:pt x="389" y="190"/>
                  </a:lnTo>
                  <a:lnTo>
                    <a:pt x="386" y="190"/>
                  </a:lnTo>
                  <a:lnTo>
                    <a:pt x="386" y="188"/>
                  </a:lnTo>
                  <a:lnTo>
                    <a:pt x="386" y="190"/>
                  </a:lnTo>
                  <a:lnTo>
                    <a:pt x="386" y="188"/>
                  </a:lnTo>
                  <a:lnTo>
                    <a:pt x="386" y="190"/>
                  </a:lnTo>
                  <a:lnTo>
                    <a:pt x="386" y="188"/>
                  </a:lnTo>
                  <a:lnTo>
                    <a:pt x="386" y="185"/>
                  </a:lnTo>
                  <a:lnTo>
                    <a:pt x="384" y="185"/>
                  </a:lnTo>
                  <a:lnTo>
                    <a:pt x="382" y="185"/>
                  </a:lnTo>
                  <a:lnTo>
                    <a:pt x="382" y="183"/>
                  </a:lnTo>
                  <a:lnTo>
                    <a:pt x="379" y="183"/>
                  </a:lnTo>
                  <a:lnTo>
                    <a:pt x="382" y="183"/>
                  </a:lnTo>
                  <a:lnTo>
                    <a:pt x="382" y="185"/>
                  </a:lnTo>
                  <a:lnTo>
                    <a:pt x="382" y="188"/>
                  </a:lnTo>
                  <a:lnTo>
                    <a:pt x="382" y="190"/>
                  </a:lnTo>
                  <a:lnTo>
                    <a:pt x="382" y="193"/>
                  </a:lnTo>
                  <a:lnTo>
                    <a:pt x="379" y="190"/>
                  </a:lnTo>
                  <a:lnTo>
                    <a:pt x="382" y="190"/>
                  </a:lnTo>
                  <a:lnTo>
                    <a:pt x="379" y="190"/>
                  </a:lnTo>
                  <a:lnTo>
                    <a:pt x="379" y="188"/>
                  </a:lnTo>
                  <a:lnTo>
                    <a:pt x="377" y="188"/>
                  </a:lnTo>
                  <a:lnTo>
                    <a:pt x="379" y="188"/>
                  </a:lnTo>
                  <a:lnTo>
                    <a:pt x="377" y="188"/>
                  </a:lnTo>
                  <a:lnTo>
                    <a:pt x="377" y="190"/>
                  </a:lnTo>
                  <a:lnTo>
                    <a:pt x="377" y="188"/>
                  </a:lnTo>
                  <a:lnTo>
                    <a:pt x="377" y="190"/>
                  </a:lnTo>
                  <a:lnTo>
                    <a:pt x="374" y="190"/>
                  </a:lnTo>
                  <a:lnTo>
                    <a:pt x="374" y="188"/>
                  </a:lnTo>
                  <a:lnTo>
                    <a:pt x="377" y="188"/>
                  </a:lnTo>
                  <a:lnTo>
                    <a:pt x="374" y="188"/>
                  </a:lnTo>
                  <a:lnTo>
                    <a:pt x="374" y="185"/>
                  </a:lnTo>
                  <a:lnTo>
                    <a:pt x="372" y="185"/>
                  </a:lnTo>
                  <a:lnTo>
                    <a:pt x="374" y="185"/>
                  </a:lnTo>
                  <a:lnTo>
                    <a:pt x="372" y="185"/>
                  </a:lnTo>
                  <a:lnTo>
                    <a:pt x="370" y="185"/>
                  </a:lnTo>
                  <a:lnTo>
                    <a:pt x="370" y="188"/>
                  </a:lnTo>
                  <a:lnTo>
                    <a:pt x="370" y="185"/>
                  </a:lnTo>
                  <a:lnTo>
                    <a:pt x="370" y="188"/>
                  </a:lnTo>
                  <a:lnTo>
                    <a:pt x="370" y="190"/>
                  </a:lnTo>
                  <a:lnTo>
                    <a:pt x="370" y="188"/>
                  </a:lnTo>
                  <a:lnTo>
                    <a:pt x="370" y="190"/>
                  </a:lnTo>
                  <a:lnTo>
                    <a:pt x="367" y="190"/>
                  </a:lnTo>
                  <a:lnTo>
                    <a:pt x="370" y="190"/>
                  </a:lnTo>
                  <a:lnTo>
                    <a:pt x="370" y="193"/>
                  </a:lnTo>
                  <a:lnTo>
                    <a:pt x="370" y="195"/>
                  </a:lnTo>
                  <a:lnTo>
                    <a:pt x="370" y="197"/>
                  </a:lnTo>
                  <a:lnTo>
                    <a:pt x="370" y="195"/>
                  </a:lnTo>
                  <a:lnTo>
                    <a:pt x="367" y="195"/>
                  </a:lnTo>
                  <a:lnTo>
                    <a:pt x="365" y="195"/>
                  </a:lnTo>
                  <a:lnTo>
                    <a:pt x="365" y="197"/>
                  </a:lnTo>
                  <a:lnTo>
                    <a:pt x="367" y="197"/>
                  </a:lnTo>
                  <a:lnTo>
                    <a:pt x="367" y="200"/>
                  </a:lnTo>
                  <a:lnTo>
                    <a:pt x="367" y="197"/>
                  </a:lnTo>
                  <a:lnTo>
                    <a:pt x="367" y="200"/>
                  </a:lnTo>
                  <a:lnTo>
                    <a:pt x="367" y="197"/>
                  </a:lnTo>
                  <a:lnTo>
                    <a:pt x="367" y="195"/>
                  </a:lnTo>
                  <a:lnTo>
                    <a:pt x="367" y="197"/>
                  </a:lnTo>
                  <a:lnTo>
                    <a:pt x="370" y="197"/>
                  </a:lnTo>
                  <a:lnTo>
                    <a:pt x="372" y="200"/>
                  </a:lnTo>
                  <a:lnTo>
                    <a:pt x="370" y="200"/>
                  </a:lnTo>
                  <a:lnTo>
                    <a:pt x="367" y="200"/>
                  </a:lnTo>
                  <a:lnTo>
                    <a:pt x="370" y="200"/>
                  </a:lnTo>
                  <a:lnTo>
                    <a:pt x="370" y="202"/>
                  </a:lnTo>
                  <a:lnTo>
                    <a:pt x="372" y="202"/>
                  </a:lnTo>
                  <a:lnTo>
                    <a:pt x="372" y="204"/>
                  </a:lnTo>
                  <a:lnTo>
                    <a:pt x="370" y="204"/>
                  </a:lnTo>
                  <a:lnTo>
                    <a:pt x="370" y="202"/>
                  </a:lnTo>
                  <a:lnTo>
                    <a:pt x="367" y="202"/>
                  </a:lnTo>
                  <a:lnTo>
                    <a:pt x="365" y="202"/>
                  </a:lnTo>
                  <a:lnTo>
                    <a:pt x="363" y="202"/>
                  </a:lnTo>
                  <a:lnTo>
                    <a:pt x="363" y="200"/>
                  </a:lnTo>
                  <a:lnTo>
                    <a:pt x="363" y="202"/>
                  </a:lnTo>
                  <a:lnTo>
                    <a:pt x="363" y="200"/>
                  </a:lnTo>
                  <a:lnTo>
                    <a:pt x="360" y="200"/>
                  </a:lnTo>
                  <a:lnTo>
                    <a:pt x="363" y="200"/>
                  </a:lnTo>
                  <a:lnTo>
                    <a:pt x="360" y="200"/>
                  </a:lnTo>
                  <a:lnTo>
                    <a:pt x="358" y="200"/>
                  </a:lnTo>
                  <a:lnTo>
                    <a:pt x="360" y="200"/>
                  </a:lnTo>
                  <a:lnTo>
                    <a:pt x="358" y="197"/>
                  </a:lnTo>
                  <a:lnTo>
                    <a:pt x="356" y="197"/>
                  </a:lnTo>
                  <a:lnTo>
                    <a:pt x="356" y="195"/>
                  </a:lnTo>
                  <a:lnTo>
                    <a:pt x="353" y="195"/>
                  </a:lnTo>
                  <a:lnTo>
                    <a:pt x="351" y="193"/>
                  </a:lnTo>
                  <a:lnTo>
                    <a:pt x="351" y="190"/>
                  </a:lnTo>
                  <a:lnTo>
                    <a:pt x="348" y="190"/>
                  </a:lnTo>
                  <a:lnTo>
                    <a:pt x="348" y="188"/>
                  </a:lnTo>
                  <a:lnTo>
                    <a:pt x="348" y="190"/>
                  </a:lnTo>
                  <a:lnTo>
                    <a:pt x="351" y="190"/>
                  </a:lnTo>
                  <a:lnTo>
                    <a:pt x="351" y="193"/>
                  </a:lnTo>
                  <a:lnTo>
                    <a:pt x="351" y="195"/>
                  </a:lnTo>
                  <a:lnTo>
                    <a:pt x="353" y="195"/>
                  </a:lnTo>
                  <a:lnTo>
                    <a:pt x="353" y="197"/>
                  </a:lnTo>
                  <a:lnTo>
                    <a:pt x="356" y="197"/>
                  </a:lnTo>
                  <a:lnTo>
                    <a:pt x="356" y="200"/>
                  </a:lnTo>
                  <a:lnTo>
                    <a:pt x="358" y="200"/>
                  </a:lnTo>
                  <a:lnTo>
                    <a:pt x="360" y="200"/>
                  </a:lnTo>
                  <a:lnTo>
                    <a:pt x="360" y="202"/>
                  </a:lnTo>
                  <a:lnTo>
                    <a:pt x="360" y="200"/>
                  </a:lnTo>
                  <a:lnTo>
                    <a:pt x="363" y="202"/>
                  </a:lnTo>
                  <a:lnTo>
                    <a:pt x="365" y="202"/>
                  </a:lnTo>
                  <a:lnTo>
                    <a:pt x="365" y="204"/>
                  </a:lnTo>
                  <a:lnTo>
                    <a:pt x="363" y="204"/>
                  </a:lnTo>
                  <a:lnTo>
                    <a:pt x="360" y="204"/>
                  </a:lnTo>
                  <a:lnTo>
                    <a:pt x="358" y="204"/>
                  </a:lnTo>
                  <a:lnTo>
                    <a:pt x="356" y="204"/>
                  </a:lnTo>
                  <a:lnTo>
                    <a:pt x="353" y="204"/>
                  </a:lnTo>
                  <a:lnTo>
                    <a:pt x="356" y="204"/>
                  </a:lnTo>
                  <a:lnTo>
                    <a:pt x="353" y="204"/>
                  </a:lnTo>
                  <a:lnTo>
                    <a:pt x="356" y="204"/>
                  </a:lnTo>
                  <a:lnTo>
                    <a:pt x="356" y="207"/>
                  </a:lnTo>
                  <a:lnTo>
                    <a:pt x="356" y="204"/>
                  </a:lnTo>
                  <a:lnTo>
                    <a:pt x="353" y="204"/>
                  </a:lnTo>
                  <a:lnTo>
                    <a:pt x="356" y="204"/>
                  </a:lnTo>
                  <a:lnTo>
                    <a:pt x="356" y="207"/>
                  </a:lnTo>
                  <a:lnTo>
                    <a:pt x="358" y="207"/>
                  </a:lnTo>
                  <a:lnTo>
                    <a:pt x="360" y="207"/>
                  </a:lnTo>
                  <a:lnTo>
                    <a:pt x="360" y="209"/>
                  </a:lnTo>
                  <a:lnTo>
                    <a:pt x="358" y="209"/>
                  </a:lnTo>
                  <a:lnTo>
                    <a:pt x="358" y="212"/>
                  </a:lnTo>
                  <a:lnTo>
                    <a:pt x="358" y="209"/>
                  </a:lnTo>
                  <a:lnTo>
                    <a:pt x="358" y="212"/>
                  </a:lnTo>
                  <a:lnTo>
                    <a:pt x="358" y="209"/>
                  </a:lnTo>
                  <a:lnTo>
                    <a:pt x="356" y="209"/>
                  </a:lnTo>
                  <a:lnTo>
                    <a:pt x="356" y="212"/>
                  </a:lnTo>
                  <a:lnTo>
                    <a:pt x="353" y="212"/>
                  </a:lnTo>
                  <a:lnTo>
                    <a:pt x="353" y="209"/>
                  </a:lnTo>
                  <a:lnTo>
                    <a:pt x="353" y="212"/>
                  </a:lnTo>
                  <a:lnTo>
                    <a:pt x="351" y="212"/>
                  </a:lnTo>
                  <a:lnTo>
                    <a:pt x="348" y="212"/>
                  </a:lnTo>
                  <a:lnTo>
                    <a:pt x="348" y="209"/>
                  </a:lnTo>
                  <a:lnTo>
                    <a:pt x="346" y="209"/>
                  </a:lnTo>
                  <a:lnTo>
                    <a:pt x="348" y="209"/>
                  </a:lnTo>
                  <a:lnTo>
                    <a:pt x="348" y="212"/>
                  </a:lnTo>
                  <a:lnTo>
                    <a:pt x="346" y="212"/>
                  </a:lnTo>
                  <a:lnTo>
                    <a:pt x="346" y="209"/>
                  </a:lnTo>
                  <a:lnTo>
                    <a:pt x="344" y="209"/>
                  </a:lnTo>
                  <a:lnTo>
                    <a:pt x="344" y="212"/>
                  </a:lnTo>
                  <a:lnTo>
                    <a:pt x="346" y="212"/>
                  </a:lnTo>
                  <a:lnTo>
                    <a:pt x="346" y="214"/>
                  </a:lnTo>
                  <a:lnTo>
                    <a:pt x="348" y="214"/>
                  </a:lnTo>
                  <a:lnTo>
                    <a:pt x="346" y="214"/>
                  </a:lnTo>
                  <a:lnTo>
                    <a:pt x="344" y="214"/>
                  </a:lnTo>
                  <a:lnTo>
                    <a:pt x="346" y="214"/>
                  </a:lnTo>
                  <a:lnTo>
                    <a:pt x="344" y="214"/>
                  </a:lnTo>
                  <a:lnTo>
                    <a:pt x="344" y="212"/>
                  </a:lnTo>
                  <a:lnTo>
                    <a:pt x="341" y="212"/>
                  </a:lnTo>
                  <a:lnTo>
                    <a:pt x="344" y="212"/>
                  </a:lnTo>
                  <a:lnTo>
                    <a:pt x="341" y="212"/>
                  </a:lnTo>
                  <a:lnTo>
                    <a:pt x="344" y="212"/>
                  </a:lnTo>
                  <a:lnTo>
                    <a:pt x="344" y="214"/>
                  </a:lnTo>
                  <a:lnTo>
                    <a:pt x="344" y="212"/>
                  </a:lnTo>
                  <a:lnTo>
                    <a:pt x="341" y="212"/>
                  </a:lnTo>
                  <a:lnTo>
                    <a:pt x="341" y="214"/>
                  </a:lnTo>
                  <a:lnTo>
                    <a:pt x="341" y="212"/>
                  </a:lnTo>
                  <a:lnTo>
                    <a:pt x="341" y="214"/>
                  </a:lnTo>
                  <a:lnTo>
                    <a:pt x="341" y="212"/>
                  </a:lnTo>
                  <a:lnTo>
                    <a:pt x="341" y="214"/>
                  </a:lnTo>
                  <a:lnTo>
                    <a:pt x="339" y="214"/>
                  </a:lnTo>
                  <a:lnTo>
                    <a:pt x="341" y="214"/>
                  </a:lnTo>
                  <a:lnTo>
                    <a:pt x="341" y="216"/>
                  </a:lnTo>
                  <a:lnTo>
                    <a:pt x="344" y="216"/>
                  </a:lnTo>
                  <a:lnTo>
                    <a:pt x="344" y="214"/>
                  </a:lnTo>
                  <a:lnTo>
                    <a:pt x="344" y="216"/>
                  </a:lnTo>
                  <a:lnTo>
                    <a:pt x="346" y="216"/>
                  </a:lnTo>
                  <a:lnTo>
                    <a:pt x="346" y="214"/>
                  </a:lnTo>
                  <a:lnTo>
                    <a:pt x="346" y="216"/>
                  </a:lnTo>
                  <a:lnTo>
                    <a:pt x="344" y="216"/>
                  </a:lnTo>
                  <a:lnTo>
                    <a:pt x="346" y="216"/>
                  </a:lnTo>
                  <a:lnTo>
                    <a:pt x="348" y="216"/>
                  </a:lnTo>
                  <a:lnTo>
                    <a:pt x="346" y="216"/>
                  </a:lnTo>
                  <a:lnTo>
                    <a:pt x="348" y="216"/>
                  </a:lnTo>
                  <a:lnTo>
                    <a:pt x="348" y="219"/>
                  </a:lnTo>
                  <a:lnTo>
                    <a:pt x="346" y="219"/>
                  </a:lnTo>
                  <a:lnTo>
                    <a:pt x="346" y="221"/>
                  </a:lnTo>
                  <a:lnTo>
                    <a:pt x="348" y="221"/>
                  </a:lnTo>
                  <a:lnTo>
                    <a:pt x="351" y="221"/>
                  </a:lnTo>
                  <a:lnTo>
                    <a:pt x="351" y="223"/>
                  </a:lnTo>
                  <a:lnTo>
                    <a:pt x="348" y="223"/>
                  </a:lnTo>
                  <a:lnTo>
                    <a:pt x="348" y="221"/>
                  </a:lnTo>
                  <a:lnTo>
                    <a:pt x="348" y="223"/>
                  </a:lnTo>
                  <a:lnTo>
                    <a:pt x="348" y="221"/>
                  </a:lnTo>
                  <a:lnTo>
                    <a:pt x="346" y="221"/>
                  </a:lnTo>
                  <a:lnTo>
                    <a:pt x="344" y="221"/>
                  </a:lnTo>
                  <a:lnTo>
                    <a:pt x="341" y="221"/>
                  </a:lnTo>
                  <a:lnTo>
                    <a:pt x="344" y="221"/>
                  </a:lnTo>
                  <a:lnTo>
                    <a:pt x="344" y="219"/>
                  </a:lnTo>
                  <a:lnTo>
                    <a:pt x="341" y="219"/>
                  </a:lnTo>
                  <a:lnTo>
                    <a:pt x="341" y="216"/>
                  </a:lnTo>
                  <a:lnTo>
                    <a:pt x="339" y="216"/>
                  </a:lnTo>
                  <a:lnTo>
                    <a:pt x="339" y="214"/>
                  </a:lnTo>
                  <a:lnTo>
                    <a:pt x="337" y="214"/>
                  </a:lnTo>
                  <a:lnTo>
                    <a:pt x="337" y="212"/>
                  </a:lnTo>
                  <a:lnTo>
                    <a:pt x="337" y="214"/>
                  </a:lnTo>
                  <a:lnTo>
                    <a:pt x="337" y="212"/>
                  </a:lnTo>
                  <a:lnTo>
                    <a:pt x="334" y="212"/>
                  </a:lnTo>
                  <a:lnTo>
                    <a:pt x="334" y="209"/>
                  </a:lnTo>
                  <a:lnTo>
                    <a:pt x="332" y="209"/>
                  </a:lnTo>
                  <a:lnTo>
                    <a:pt x="332" y="207"/>
                  </a:lnTo>
                  <a:lnTo>
                    <a:pt x="332" y="209"/>
                  </a:lnTo>
                  <a:lnTo>
                    <a:pt x="334" y="209"/>
                  </a:lnTo>
                  <a:lnTo>
                    <a:pt x="334" y="212"/>
                  </a:lnTo>
                  <a:lnTo>
                    <a:pt x="337" y="212"/>
                  </a:lnTo>
                  <a:lnTo>
                    <a:pt x="337" y="214"/>
                  </a:lnTo>
                  <a:lnTo>
                    <a:pt x="334" y="214"/>
                  </a:lnTo>
                  <a:lnTo>
                    <a:pt x="334" y="216"/>
                  </a:lnTo>
                  <a:lnTo>
                    <a:pt x="334" y="214"/>
                  </a:lnTo>
                  <a:lnTo>
                    <a:pt x="334" y="216"/>
                  </a:lnTo>
                  <a:lnTo>
                    <a:pt x="334" y="214"/>
                  </a:lnTo>
                  <a:lnTo>
                    <a:pt x="334" y="216"/>
                  </a:lnTo>
                  <a:lnTo>
                    <a:pt x="337" y="216"/>
                  </a:lnTo>
                  <a:lnTo>
                    <a:pt x="339" y="216"/>
                  </a:lnTo>
                  <a:lnTo>
                    <a:pt x="337" y="216"/>
                  </a:lnTo>
                  <a:lnTo>
                    <a:pt x="339" y="216"/>
                  </a:lnTo>
                  <a:lnTo>
                    <a:pt x="337" y="216"/>
                  </a:lnTo>
                  <a:lnTo>
                    <a:pt x="337" y="214"/>
                  </a:lnTo>
                  <a:lnTo>
                    <a:pt x="337" y="216"/>
                  </a:lnTo>
                  <a:lnTo>
                    <a:pt x="339" y="216"/>
                  </a:lnTo>
                  <a:lnTo>
                    <a:pt x="341" y="216"/>
                  </a:lnTo>
                  <a:lnTo>
                    <a:pt x="339" y="216"/>
                  </a:lnTo>
                  <a:lnTo>
                    <a:pt x="339" y="219"/>
                  </a:lnTo>
                  <a:lnTo>
                    <a:pt x="341" y="219"/>
                  </a:lnTo>
                  <a:lnTo>
                    <a:pt x="341" y="221"/>
                  </a:lnTo>
                  <a:lnTo>
                    <a:pt x="344" y="221"/>
                  </a:lnTo>
                  <a:lnTo>
                    <a:pt x="344" y="223"/>
                  </a:lnTo>
                  <a:lnTo>
                    <a:pt x="346" y="226"/>
                  </a:lnTo>
                  <a:lnTo>
                    <a:pt x="344" y="226"/>
                  </a:lnTo>
                  <a:lnTo>
                    <a:pt x="346" y="226"/>
                  </a:lnTo>
                  <a:lnTo>
                    <a:pt x="344" y="226"/>
                  </a:lnTo>
                  <a:lnTo>
                    <a:pt x="346" y="226"/>
                  </a:lnTo>
                  <a:lnTo>
                    <a:pt x="344" y="226"/>
                  </a:lnTo>
                  <a:lnTo>
                    <a:pt x="341" y="226"/>
                  </a:lnTo>
                  <a:lnTo>
                    <a:pt x="344" y="226"/>
                  </a:lnTo>
                  <a:lnTo>
                    <a:pt x="344" y="228"/>
                  </a:lnTo>
                  <a:lnTo>
                    <a:pt x="341" y="228"/>
                  </a:lnTo>
                  <a:lnTo>
                    <a:pt x="344" y="228"/>
                  </a:lnTo>
                  <a:lnTo>
                    <a:pt x="344" y="231"/>
                  </a:lnTo>
                  <a:lnTo>
                    <a:pt x="341" y="231"/>
                  </a:lnTo>
                  <a:lnTo>
                    <a:pt x="339" y="231"/>
                  </a:lnTo>
                  <a:lnTo>
                    <a:pt x="341" y="231"/>
                  </a:lnTo>
                  <a:lnTo>
                    <a:pt x="341" y="233"/>
                  </a:lnTo>
                  <a:lnTo>
                    <a:pt x="341" y="231"/>
                  </a:lnTo>
                  <a:lnTo>
                    <a:pt x="341" y="233"/>
                  </a:lnTo>
                  <a:lnTo>
                    <a:pt x="339" y="233"/>
                  </a:lnTo>
                  <a:lnTo>
                    <a:pt x="337" y="233"/>
                  </a:lnTo>
                  <a:lnTo>
                    <a:pt x="339" y="233"/>
                  </a:lnTo>
                  <a:lnTo>
                    <a:pt x="339" y="235"/>
                  </a:lnTo>
                  <a:lnTo>
                    <a:pt x="337" y="233"/>
                  </a:lnTo>
                  <a:lnTo>
                    <a:pt x="337" y="235"/>
                  </a:lnTo>
                  <a:lnTo>
                    <a:pt x="337" y="233"/>
                  </a:lnTo>
                  <a:lnTo>
                    <a:pt x="337" y="235"/>
                  </a:lnTo>
                  <a:lnTo>
                    <a:pt x="339" y="235"/>
                  </a:lnTo>
                  <a:lnTo>
                    <a:pt x="337" y="235"/>
                  </a:lnTo>
                  <a:lnTo>
                    <a:pt x="334" y="235"/>
                  </a:lnTo>
                  <a:lnTo>
                    <a:pt x="334" y="238"/>
                  </a:lnTo>
                  <a:lnTo>
                    <a:pt x="332" y="238"/>
                  </a:lnTo>
                  <a:lnTo>
                    <a:pt x="334" y="238"/>
                  </a:lnTo>
                  <a:lnTo>
                    <a:pt x="332" y="238"/>
                  </a:lnTo>
                  <a:lnTo>
                    <a:pt x="334" y="238"/>
                  </a:lnTo>
                  <a:lnTo>
                    <a:pt x="332" y="238"/>
                  </a:lnTo>
                  <a:lnTo>
                    <a:pt x="334" y="240"/>
                  </a:lnTo>
                  <a:lnTo>
                    <a:pt x="332" y="240"/>
                  </a:lnTo>
                  <a:lnTo>
                    <a:pt x="334" y="240"/>
                  </a:lnTo>
                  <a:lnTo>
                    <a:pt x="332" y="240"/>
                  </a:lnTo>
                  <a:lnTo>
                    <a:pt x="332" y="242"/>
                  </a:lnTo>
                  <a:lnTo>
                    <a:pt x="329" y="242"/>
                  </a:lnTo>
                  <a:lnTo>
                    <a:pt x="332" y="242"/>
                  </a:lnTo>
                  <a:lnTo>
                    <a:pt x="329" y="242"/>
                  </a:lnTo>
                  <a:lnTo>
                    <a:pt x="332" y="245"/>
                  </a:lnTo>
                  <a:lnTo>
                    <a:pt x="329" y="245"/>
                  </a:lnTo>
                  <a:lnTo>
                    <a:pt x="329" y="242"/>
                  </a:lnTo>
                  <a:lnTo>
                    <a:pt x="327" y="242"/>
                  </a:lnTo>
                  <a:lnTo>
                    <a:pt x="327" y="240"/>
                  </a:lnTo>
                  <a:lnTo>
                    <a:pt x="327" y="242"/>
                  </a:lnTo>
                  <a:lnTo>
                    <a:pt x="325" y="242"/>
                  </a:lnTo>
                  <a:lnTo>
                    <a:pt x="327" y="242"/>
                  </a:lnTo>
                  <a:lnTo>
                    <a:pt x="325" y="242"/>
                  </a:lnTo>
                  <a:lnTo>
                    <a:pt x="327" y="242"/>
                  </a:lnTo>
                  <a:lnTo>
                    <a:pt x="327" y="245"/>
                  </a:lnTo>
                  <a:lnTo>
                    <a:pt x="327" y="242"/>
                  </a:lnTo>
                  <a:lnTo>
                    <a:pt x="327" y="245"/>
                  </a:lnTo>
                  <a:lnTo>
                    <a:pt x="329" y="245"/>
                  </a:lnTo>
                  <a:lnTo>
                    <a:pt x="327" y="245"/>
                  </a:lnTo>
                  <a:lnTo>
                    <a:pt x="329" y="245"/>
                  </a:lnTo>
                  <a:lnTo>
                    <a:pt x="329" y="247"/>
                  </a:lnTo>
                  <a:lnTo>
                    <a:pt x="332" y="247"/>
                  </a:lnTo>
                  <a:lnTo>
                    <a:pt x="334" y="247"/>
                  </a:lnTo>
                  <a:lnTo>
                    <a:pt x="332" y="247"/>
                  </a:lnTo>
                  <a:lnTo>
                    <a:pt x="332" y="250"/>
                  </a:lnTo>
                  <a:lnTo>
                    <a:pt x="334" y="250"/>
                  </a:lnTo>
                  <a:lnTo>
                    <a:pt x="334" y="252"/>
                  </a:lnTo>
                  <a:lnTo>
                    <a:pt x="332" y="252"/>
                  </a:lnTo>
                  <a:lnTo>
                    <a:pt x="334" y="252"/>
                  </a:lnTo>
                  <a:lnTo>
                    <a:pt x="332" y="252"/>
                  </a:lnTo>
                  <a:lnTo>
                    <a:pt x="332" y="250"/>
                  </a:lnTo>
                  <a:lnTo>
                    <a:pt x="329" y="250"/>
                  </a:lnTo>
                  <a:lnTo>
                    <a:pt x="332" y="250"/>
                  </a:lnTo>
                  <a:lnTo>
                    <a:pt x="332" y="252"/>
                  </a:lnTo>
                  <a:lnTo>
                    <a:pt x="329" y="252"/>
                  </a:lnTo>
                  <a:lnTo>
                    <a:pt x="329" y="250"/>
                  </a:lnTo>
                  <a:lnTo>
                    <a:pt x="332" y="252"/>
                  </a:lnTo>
                  <a:lnTo>
                    <a:pt x="329" y="250"/>
                  </a:lnTo>
                  <a:lnTo>
                    <a:pt x="329" y="252"/>
                  </a:lnTo>
                  <a:lnTo>
                    <a:pt x="332" y="252"/>
                  </a:lnTo>
                  <a:lnTo>
                    <a:pt x="329" y="252"/>
                  </a:lnTo>
                  <a:lnTo>
                    <a:pt x="332" y="252"/>
                  </a:lnTo>
                  <a:lnTo>
                    <a:pt x="332" y="254"/>
                  </a:lnTo>
                  <a:lnTo>
                    <a:pt x="332" y="252"/>
                  </a:lnTo>
                  <a:lnTo>
                    <a:pt x="334" y="254"/>
                  </a:lnTo>
                  <a:lnTo>
                    <a:pt x="332" y="254"/>
                  </a:lnTo>
                  <a:lnTo>
                    <a:pt x="334" y="254"/>
                  </a:lnTo>
                  <a:lnTo>
                    <a:pt x="334" y="257"/>
                  </a:lnTo>
                  <a:lnTo>
                    <a:pt x="337" y="257"/>
                  </a:lnTo>
                  <a:lnTo>
                    <a:pt x="339" y="257"/>
                  </a:lnTo>
                  <a:lnTo>
                    <a:pt x="339" y="259"/>
                  </a:lnTo>
                  <a:lnTo>
                    <a:pt x="339" y="257"/>
                  </a:lnTo>
                  <a:lnTo>
                    <a:pt x="341" y="257"/>
                  </a:lnTo>
                  <a:lnTo>
                    <a:pt x="341" y="259"/>
                  </a:lnTo>
                  <a:lnTo>
                    <a:pt x="344" y="259"/>
                  </a:lnTo>
                  <a:lnTo>
                    <a:pt x="344" y="261"/>
                  </a:lnTo>
                  <a:lnTo>
                    <a:pt x="344" y="259"/>
                  </a:lnTo>
                  <a:lnTo>
                    <a:pt x="344" y="261"/>
                  </a:lnTo>
                  <a:lnTo>
                    <a:pt x="341" y="261"/>
                  </a:lnTo>
                  <a:lnTo>
                    <a:pt x="341" y="259"/>
                  </a:lnTo>
                  <a:lnTo>
                    <a:pt x="339" y="259"/>
                  </a:lnTo>
                  <a:lnTo>
                    <a:pt x="341" y="259"/>
                  </a:lnTo>
                  <a:lnTo>
                    <a:pt x="339" y="259"/>
                  </a:lnTo>
                  <a:lnTo>
                    <a:pt x="339" y="261"/>
                  </a:lnTo>
                  <a:lnTo>
                    <a:pt x="339" y="259"/>
                  </a:lnTo>
                  <a:lnTo>
                    <a:pt x="339" y="261"/>
                  </a:lnTo>
                  <a:lnTo>
                    <a:pt x="341" y="261"/>
                  </a:lnTo>
                  <a:lnTo>
                    <a:pt x="339" y="261"/>
                  </a:lnTo>
                  <a:lnTo>
                    <a:pt x="341" y="261"/>
                  </a:lnTo>
                  <a:lnTo>
                    <a:pt x="339" y="261"/>
                  </a:lnTo>
                  <a:lnTo>
                    <a:pt x="341" y="261"/>
                  </a:lnTo>
                  <a:lnTo>
                    <a:pt x="341" y="264"/>
                  </a:lnTo>
                  <a:lnTo>
                    <a:pt x="344" y="264"/>
                  </a:lnTo>
                  <a:lnTo>
                    <a:pt x="341" y="264"/>
                  </a:lnTo>
                  <a:lnTo>
                    <a:pt x="344" y="264"/>
                  </a:lnTo>
                  <a:lnTo>
                    <a:pt x="341" y="264"/>
                  </a:lnTo>
                  <a:lnTo>
                    <a:pt x="344" y="264"/>
                  </a:lnTo>
                  <a:lnTo>
                    <a:pt x="346" y="264"/>
                  </a:lnTo>
                  <a:lnTo>
                    <a:pt x="346" y="266"/>
                  </a:lnTo>
                  <a:lnTo>
                    <a:pt x="344" y="266"/>
                  </a:lnTo>
                  <a:lnTo>
                    <a:pt x="341" y="266"/>
                  </a:lnTo>
                  <a:lnTo>
                    <a:pt x="341" y="269"/>
                  </a:lnTo>
                  <a:lnTo>
                    <a:pt x="341" y="266"/>
                  </a:lnTo>
                  <a:lnTo>
                    <a:pt x="341" y="269"/>
                  </a:lnTo>
                  <a:lnTo>
                    <a:pt x="341" y="271"/>
                  </a:lnTo>
                  <a:lnTo>
                    <a:pt x="339" y="271"/>
                  </a:lnTo>
                  <a:lnTo>
                    <a:pt x="339" y="269"/>
                  </a:lnTo>
                  <a:lnTo>
                    <a:pt x="339" y="271"/>
                  </a:lnTo>
                  <a:lnTo>
                    <a:pt x="339" y="269"/>
                  </a:lnTo>
                  <a:lnTo>
                    <a:pt x="339" y="271"/>
                  </a:lnTo>
                  <a:lnTo>
                    <a:pt x="337" y="271"/>
                  </a:lnTo>
                  <a:lnTo>
                    <a:pt x="337" y="273"/>
                  </a:lnTo>
                  <a:lnTo>
                    <a:pt x="334" y="273"/>
                  </a:lnTo>
                  <a:lnTo>
                    <a:pt x="334" y="271"/>
                  </a:lnTo>
                  <a:lnTo>
                    <a:pt x="334" y="273"/>
                  </a:lnTo>
                  <a:lnTo>
                    <a:pt x="332" y="273"/>
                  </a:lnTo>
                  <a:lnTo>
                    <a:pt x="332" y="276"/>
                  </a:lnTo>
                  <a:lnTo>
                    <a:pt x="332" y="278"/>
                  </a:lnTo>
                  <a:lnTo>
                    <a:pt x="332" y="276"/>
                  </a:lnTo>
                  <a:lnTo>
                    <a:pt x="332" y="278"/>
                  </a:lnTo>
                  <a:lnTo>
                    <a:pt x="329" y="278"/>
                  </a:lnTo>
                  <a:lnTo>
                    <a:pt x="327" y="278"/>
                  </a:lnTo>
                  <a:lnTo>
                    <a:pt x="327" y="280"/>
                  </a:lnTo>
                  <a:lnTo>
                    <a:pt x="325" y="280"/>
                  </a:lnTo>
                  <a:lnTo>
                    <a:pt x="325" y="283"/>
                  </a:lnTo>
                  <a:lnTo>
                    <a:pt x="325" y="285"/>
                  </a:lnTo>
                  <a:lnTo>
                    <a:pt x="322" y="285"/>
                  </a:lnTo>
                  <a:lnTo>
                    <a:pt x="325" y="285"/>
                  </a:lnTo>
                  <a:lnTo>
                    <a:pt x="322" y="285"/>
                  </a:lnTo>
                  <a:lnTo>
                    <a:pt x="325" y="285"/>
                  </a:lnTo>
                  <a:lnTo>
                    <a:pt x="325" y="288"/>
                  </a:lnTo>
                  <a:lnTo>
                    <a:pt x="322" y="288"/>
                  </a:lnTo>
                  <a:lnTo>
                    <a:pt x="322" y="290"/>
                  </a:lnTo>
                  <a:lnTo>
                    <a:pt x="320" y="290"/>
                  </a:lnTo>
                  <a:lnTo>
                    <a:pt x="320" y="292"/>
                  </a:lnTo>
                  <a:lnTo>
                    <a:pt x="318" y="292"/>
                  </a:lnTo>
                  <a:lnTo>
                    <a:pt x="320" y="292"/>
                  </a:lnTo>
                  <a:lnTo>
                    <a:pt x="318" y="292"/>
                  </a:lnTo>
                  <a:lnTo>
                    <a:pt x="320" y="295"/>
                  </a:lnTo>
                  <a:lnTo>
                    <a:pt x="318" y="295"/>
                  </a:lnTo>
                  <a:lnTo>
                    <a:pt x="320" y="295"/>
                  </a:lnTo>
                  <a:lnTo>
                    <a:pt x="318" y="295"/>
                  </a:lnTo>
                  <a:lnTo>
                    <a:pt x="318" y="297"/>
                  </a:lnTo>
                  <a:lnTo>
                    <a:pt x="315" y="297"/>
                  </a:lnTo>
                  <a:lnTo>
                    <a:pt x="318" y="297"/>
                  </a:lnTo>
                  <a:lnTo>
                    <a:pt x="318" y="299"/>
                  </a:lnTo>
                  <a:lnTo>
                    <a:pt x="315" y="299"/>
                  </a:lnTo>
                  <a:lnTo>
                    <a:pt x="315" y="297"/>
                  </a:lnTo>
                  <a:lnTo>
                    <a:pt x="315" y="299"/>
                  </a:lnTo>
                  <a:lnTo>
                    <a:pt x="315" y="302"/>
                  </a:lnTo>
                  <a:lnTo>
                    <a:pt x="313" y="302"/>
                  </a:lnTo>
                  <a:lnTo>
                    <a:pt x="313" y="299"/>
                  </a:lnTo>
                  <a:lnTo>
                    <a:pt x="313" y="302"/>
                  </a:lnTo>
                  <a:lnTo>
                    <a:pt x="310" y="302"/>
                  </a:lnTo>
                  <a:lnTo>
                    <a:pt x="313" y="302"/>
                  </a:lnTo>
                  <a:lnTo>
                    <a:pt x="310" y="302"/>
                  </a:lnTo>
                  <a:lnTo>
                    <a:pt x="310" y="299"/>
                  </a:lnTo>
                  <a:lnTo>
                    <a:pt x="310" y="302"/>
                  </a:lnTo>
                  <a:lnTo>
                    <a:pt x="310" y="304"/>
                  </a:lnTo>
                  <a:lnTo>
                    <a:pt x="310" y="302"/>
                  </a:lnTo>
                  <a:lnTo>
                    <a:pt x="310" y="299"/>
                  </a:lnTo>
                  <a:lnTo>
                    <a:pt x="308" y="299"/>
                  </a:lnTo>
                  <a:lnTo>
                    <a:pt x="308" y="302"/>
                  </a:lnTo>
                  <a:lnTo>
                    <a:pt x="308" y="304"/>
                  </a:lnTo>
                  <a:lnTo>
                    <a:pt x="308" y="302"/>
                  </a:lnTo>
                  <a:lnTo>
                    <a:pt x="306" y="304"/>
                  </a:lnTo>
                  <a:lnTo>
                    <a:pt x="308" y="304"/>
                  </a:lnTo>
                  <a:lnTo>
                    <a:pt x="306" y="304"/>
                  </a:lnTo>
                  <a:lnTo>
                    <a:pt x="308" y="304"/>
                  </a:lnTo>
                  <a:lnTo>
                    <a:pt x="306" y="304"/>
                  </a:lnTo>
                  <a:lnTo>
                    <a:pt x="306" y="307"/>
                  </a:lnTo>
                  <a:lnTo>
                    <a:pt x="306" y="304"/>
                  </a:lnTo>
                  <a:lnTo>
                    <a:pt x="306" y="307"/>
                  </a:lnTo>
                  <a:lnTo>
                    <a:pt x="303" y="307"/>
                  </a:lnTo>
                  <a:lnTo>
                    <a:pt x="303" y="304"/>
                  </a:lnTo>
                  <a:lnTo>
                    <a:pt x="306" y="304"/>
                  </a:lnTo>
                  <a:lnTo>
                    <a:pt x="303" y="304"/>
                  </a:lnTo>
                  <a:lnTo>
                    <a:pt x="303" y="302"/>
                  </a:lnTo>
                  <a:lnTo>
                    <a:pt x="303" y="299"/>
                  </a:lnTo>
                  <a:lnTo>
                    <a:pt x="301" y="299"/>
                  </a:lnTo>
                  <a:lnTo>
                    <a:pt x="303" y="299"/>
                  </a:lnTo>
                  <a:lnTo>
                    <a:pt x="303" y="302"/>
                  </a:lnTo>
                  <a:lnTo>
                    <a:pt x="301" y="299"/>
                  </a:lnTo>
                  <a:lnTo>
                    <a:pt x="303" y="302"/>
                  </a:lnTo>
                  <a:lnTo>
                    <a:pt x="303" y="304"/>
                  </a:lnTo>
                  <a:lnTo>
                    <a:pt x="303" y="307"/>
                  </a:lnTo>
                  <a:lnTo>
                    <a:pt x="303" y="309"/>
                  </a:lnTo>
                  <a:lnTo>
                    <a:pt x="301" y="309"/>
                  </a:lnTo>
                  <a:lnTo>
                    <a:pt x="301" y="307"/>
                  </a:lnTo>
                  <a:lnTo>
                    <a:pt x="301" y="309"/>
                  </a:lnTo>
                  <a:lnTo>
                    <a:pt x="301" y="307"/>
                  </a:lnTo>
                  <a:lnTo>
                    <a:pt x="301" y="309"/>
                  </a:lnTo>
                  <a:lnTo>
                    <a:pt x="301" y="307"/>
                  </a:lnTo>
                  <a:lnTo>
                    <a:pt x="301" y="304"/>
                  </a:lnTo>
                  <a:lnTo>
                    <a:pt x="301" y="307"/>
                  </a:lnTo>
                  <a:lnTo>
                    <a:pt x="301" y="304"/>
                  </a:lnTo>
                  <a:lnTo>
                    <a:pt x="301" y="307"/>
                  </a:lnTo>
                  <a:lnTo>
                    <a:pt x="301" y="309"/>
                  </a:lnTo>
                  <a:lnTo>
                    <a:pt x="299" y="309"/>
                  </a:lnTo>
                  <a:lnTo>
                    <a:pt x="296" y="309"/>
                  </a:lnTo>
                  <a:lnTo>
                    <a:pt x="294" y="307"/>
                  </a:lnTo>
                  <a:lnTo>
                    <a:pt x="294" y="309"/>
                  </a:lnTo>
                  <a:lnTo>
                    <a:pt x="291" y="309"/>
                  </a:lnTo>
                  <a:lnTo>
                    <a:pt x="291" y="311"/>
                  </a:lnTo>
                  <a:lnTo>
                    <a:pt x="294" y="311"/>
                  </a:lnTo>
                  <a:lnTo>
                    <a:pt x="291" y="311"/>
                  </a:lnTo>
                  <a:lnTo>
                    <a:pt x="289" y="311"/>
                  </a:lnTo>
                  <a:lnTo>
                    <a:pt x="287" y="311"/>
                  </a:lnTo>
                  <a:lnTo>
                    <a:pt x="287" y="314"/>
                  </a:lnTo>
                  <a:lnTo>
                    <a:pt x="284" y="314"/>
                  </a:lnTo>
                  <a:lnTo>
                    <a:pt x="284" y="316"/>
                  </a:lnTo>
                  <a:lnTo>
                    <a:pt x="284" y="314"/>
                  </a:lnTo>
                  <a:lnTo>
                    <a:pt x="284" y="316"/>
                  </a:lnTo>
                  <a:lnTo>
                    <a:pt x="284" y="318"/>
                  </a:lnTo>
                  <a:lnTo>
                    <a:pt x="284" y="321"/>
                  </a:lnTo>
                  <a:lnTo>
                    <a:pt x="284" y="318"/>
                  </a:lnTo>
                  <a:lnTo>
                    <a:pt x="282" y="321"/>
                  </a:lnTo>
                  <a:lnTo>
                    <a:pt x="282" y="318"/>
                  </a:lnTo>
                  <a:lnTo>
                    <a:pt x="282" y="321"/>
                  </a:lnTo>
                  <a:lnTo>
                    <a:pt x="282" y="318"/>
                  </a:lnTo>
                  <a:lnTo>
                    <a:pt x="282" y="321"/>
                  </a:lnTo>
                  <a:lnTo>
                    <a:pt x="280" y="321"/>
                  </a:lnTo>
                  <a:lnTo>
                    <a:pt x="280" y="318"/>
                  </a:lnTo>
                  <a:lnTo>
                    <a:pt x="280" y="316"/>
                  </a:lnTo>
                  <a:lnTo>
                    <a:pt x="277" y="316"/>
                  </a:lnTo>
                  <a:lnTo>
                    <a:pt x="277" y="314"/>
                  </a:lnTo>
                  <a:lnTo>
                    <a:pt x="275" y="314"/>
                  </a:lnTo>
                  <a:lnTo>
                    <a:pt x="272" y="314"/>
                  </a:lnTo>
                  <a:lnTo>
                    <a:pt x="275" y="314"/>
                  </a:lnTo>
                  <a:lnTo>
                    <a:pt x="275" y="316"/>
                  </a:lnTo>
                  <a:lnTo>
                    <a:pt x="272" y="316"/>
                  </a:lnTo>
                  <a:lnTo>
                    <a:pt x="275" y="316"/>
                  </a:lnTo>
                  <a:lnTo>
                    <a:pt x="275" y="318"/>
                  </a:lnTo>
                  <a:lnTo>
                    <a:pt x="275" y="316"/>
                  </a:lnTo>
                  <a:lnTo>
                    <a:pt x="275" y="318"/>
                  </a:lnTo>
                  <a:lnTo>
                    <a:pt x="277" y="318"/>
                  </a:lnTo>
                  <a:lnTo>
                    <a:pt x="275" y="318"/>
                  </a:lnTo>
                  <a:lnTo>
                    <a:pt x="277" y="318"/>
                  </a:lnTo>
                  <a:lnTo>
                    <a:pt x="275" y="318"/>
                  </a:lnTo>
                  <a:lnTo>
                    <a:pt x="275" y="321"/>
                  </a:lnTo>
                  <a:lnTo>
                    <a:pt x="277" y="321"/>
                  </a:lnTo>
                  <a:lnTo>
                    <a:pt x="275" y="321"/>
                  </a:lnTo>
                  <a:lnTo>
                    <a:pt x="277" y="321"/>
                  </a:lnTo>
                  <a:lnTo>
                    <a:pt x="277" y="323"/>
                  </a:lnTo>
                  <a:lnTo>
                    <a:pt x="275" y="323"/>
                  </a:lnTo>
                  <a:lnTo>
                    <a:pt x="275" y="321"/>
                  </a:lnTo>
                  <a:lnTo>
                    <a:pt x="275" y="323"/>
                  </a:lnTo>
                  <a:lnTo>
                    <a:pt x="275" y="321"/>
                  </a:lnTo>
                  <a:lnTo>
                    <a:pt x="275" y="318"/>
                  </a:lnTo>
                  <a:lnTo>
                    <a:pt x="272" y="318"/>
                  </a:lnTo>
                  <a:lnTo>
                    <a:pt x="272" y="321"/>
                  </a:lnTo>
                  <a:lnTo>
                    <a:pt x="272" y="318"/>
                  </a:lnTo>
                  <a:lnTo>
                    <a:pt x="270" y="318"/>
                  </a:lnTo>
                  <a:lnTo>
                    <a:pt x="270" y="316"/>
                  </a:lnTo>
                  <a:lnTo>
                    <a:pt x="270" y="318"/>
                  </a:lnTo>
                  <a:lnTo>
                    <a:pt x="272" y="318"/>
                  </a:lnTo>
                  <a:lnTo>
                    <a:pt x="270" y="318"/>
                  </a:lnTo>
                  <a:lnTo>
                    <a:pt x="272" y="321"/>
                  </a:lnTo>
                  <a:lnTo>
                    <a:pt x="270" y="321"/>
                  </a:lnTo>
                  <a:lnTo>
                    <a:pt x="270" y="318"/>
                  </a:lnTo>
                  <a:lnTo>
                    <a:pt x="270" y="321"/>
                  </a:lnTo>
                  <a:lnTo>
                    <a:pt x="270" y="318"/>
                  </a:lnTo>
                  <a:lnTo>
                    <a:pt x="268" y="318"/>
                  </a:lnTo>
                  <a:lnTo>
                    <a:pt x="268" y="321"/>
                  </a:lnTo>
                  <a:lnTo>
                    <a:pt x="268" y="323"/>
                  </a:lnTo>
                  <a:lnTo>
                    <a:pt x="268" y="326"/>
                  </a:lnTo>
                  <a:lnTo>
                    <a:pt x="265" y="326"/>
                  </a:lnTo>
                  <a:lnTo>
                    <a:pt x="268" y="326"/>
                  </a:lnTo>
                  <a:lnTo>
                    <a:pt x="265" y="326"/>
                  </a:lnTo>
                  <a:lnTo>
                    <a:pt x="268" y="326"/>
                  </a:lnTo>
                  <a:lnTo>
                    <a:pt x="265" y="326"/>
                  </a:lnTo>
                  <a:lnTo>
                    <a:pt x="265" y="328"/>
                  </a:lnTo>
                  <a:lnTo>
                    <a:pt x="265" y="326"/>
                  </a:lnTo>
                  <a:lnTo>
                    <a:pt x="263" y="326"/>
                  </a:lnTo>
                  <a:lnTo>
                    <a:pt x="263" y="328"/>
                  </a:lnTo>
                  <a:lnTo>
                    <a:pt x="263" y="330"/>
                  </a:lnTo>
                  <a:lnTo>
                    <a:pt x="263" y="333"/>
                  </a:lnTo>
                  <a:lnTo>
                    <a:pt x="263" y="330"/>
                  </a:lnTo>
                  <a:lnTo>
                    <a:pt x="261" y="330"/>
                  </a:lnTo>
                  <a:lnTo>
                    <a:pt x="258" y="330"/>
                  </a:lnTo>
                  <a:lnTo>
                    <a:pt x="261" y="330"/>
                  </a:lnTo>
                  <a:lnTo>
                    <a:pt x="261" y="333"/>
                  </a:lnTo>
                  <a:lnTo>
                    <a:pt x="261" y="330"/>
                  </a:lnTo>
                  <a:lnTo>
                    <a:pt x="261" y="333"/>
                  </a:lnTo>
                  <a:lnTo>
                    <a:pt x="263" y="333"/>
                  </a:lnTo>
                  <a:lnTo>
                    <a:pt x="261" y="333"/>
                  </a:lnTo>
                  <a:lnTo>
                    <a:pt x="261" y="335"/>
                  </a:lnTo>
                  <a:lnTo>
                    <a:pt x="261" y="333"/>
                  </a:lnTo>
                  <a:lnTo>
                    <a:pt x="261" y="335"/>
                  </a:lnTo>
                  <a:lnTo>
                    <a:pt x="261" y="333"/>
                  </a:lnTo>
                  <a:lnTo>
                    <a:pt x="258" y="333"/>
                  </a:lnTo>
                  <a:lnTo>
                    <a:pt x="258" y="330"/>
                  </a:lnTo>
                  <a:lnTo>
                    <a:pt x="258" y="333"/>
                  </a:lnTo>
                  <a:lnTo>
                    <a:pt x="256" y="330"/>
                  </a:lnTo>
                  <a:lnTo>
                    <a:pt x="256" y="328"/>
                  </a:lnTo>
                  <a:lnTo>
                    <a:pt x="253" y="328"/>
                  </a:lnTo>
                  <a:lnTo>
                    <a:pt x="256" y="328"/>
                  </a:lnTo>
                  <a:lnTo>
                    <a:pt x="253" y="330"/>
                  </a:lnTo>
                  <a:lnTo>
                    <a:pt x="256" y="330"/>
                  </a:lnTo>
                  <a:lnTo>
                    <a:pt x="253" y="330"/>
                  </a:lnTo>
                  <a:lnTo>
                    <a:pt x="256" y="330"/>
                  </a:lnTo>
                  <a:lnTo>
                    <a:pt x="253" y="330"/>
                  </a:lnTo>
                  <a:lnTo>
                    <a:pt x="251" y="330"/>
                  </a:lnTo>
                  <a:lnTo>
                    <a:pt x="251" y="328"/>
                  </a:lnTo>
                  <a:lnTo>
                    <a:pt x="249" y="328"/>
                  </a:lnTo>
                  <a:lnTo>
                    <a:pt x="251" y="330"/>
                  </a:lnTo>
                  <a:lnTo>
                    <a:pt x="253" y="330"/>
                  </a:lnTo>
                  <a:lnTo>
                    <a:pt x="253" y="333"/>
                  </a:lnTo>
                  <a:lnTo>
                    <a:pt x="256" y="333"/>
                  </a:lnTo>
                  <a:lnTo>
                    <a:pt x="253" y="333"/>
                  </a:lnTo>
                  <a:lnTo>
                    <a:pt x="253" y="335"/>
                  </a:lnTo>
                  <a:lnTo>
                    <a:pt x="253" y="333"/>
                  </a:lnTo>
                  <a:lnTo>
                    <a:pt x="251" y="333"/>
                  </a:lnTo>
                  <a:lnTo>
                    <a:pt x="251" y="335"/>
                  </a:lnTo>
                  <a:lnTo>
                    <a:pt x="251" y="333"/>
                  </a:lnTo>
                  <a:lnTo>
                    <a:pt x="253" y="333"/>
                  </a:lnTo>
                  <a:lnTo>
                    <a:pt x="251" y="333"/>
                  </a:lnTo>
                  <a:lnTo>
                    <a:pt x="249" y="330"/>
                  </a:lnTo>
                  <a:lnTo>
                    <a:pt x="249" y="333"/>
                  </a:lnTo>
                  <a:lnTo>
                    <a:pt x="249" y="335"/>
                  </a:lnTo>
                  <a:lnTo>
                    <a:pt x="251" y="335"/>
                  </a:lnTo>
                  <a:lnTo>
                    <a:pt x="249" y="335"/>
                  </a:lnTo>
                  <a:lnTo>
                    <a:pt x="246" y="335"/>
                  </a:lnTo>
                  <a:lnTo>
                    <a:pt x="246" y="337"/>
                  </a:lnTo>
                  <a:lnTo>
                    <a:pt x="244" y="337"/>
                  </a:lnTo>
                  <a:lnTo>
                    <a:pt x="244" y="335"/>
                  </a:lnTo>
                  <a:lnTo>
                    <a:pt x="244" y="337"/>
                  </a:lnTo>
                  <a:lnTo>
                    <a:pt x="244" y="335"/>
                  </a:lnTo>
                  <a:lnTo>
                    <a:pt x="244" y="337"/>
                  </a:lnTo>
                  <a:lnTo>
                    <a:pt x="244" y="340"/>
                  </a:lnTo>
                  <a:lnTo>
                    <a:pt x="244" y="337"/>
                  </a:lnTo>
                  <a:lnTo>
                    <a:pt x="244" y="340"/>
                  </a:lnTo>
                  <a:lnTo>
                    <a:pt x="244" y="342"/>
                  </a:lnTo>
                  <a:lnTo>
                    <a:pt x="242" y="342"/>
                  </a:lnTo>
                  <a:lnTo>
                    <a:pt x="242" y="340"/>
                  </a:lnTo>
                  <a:lnTo>
                    <a:pt x="239" y="342"/>
                  </a:lnTo>
                  <a:lnTo>
                    <a:pt x="239" y="340"/>
                  </a:lnTo>
                  <a:lnTo>
                    <a:pt x="239" y="342"/>
                  </a:lnTo>
                  <a:lnTo>
                    <a:pt x="242" y="342"/>
                  </a:lnTo>
                  <a:lnTo>
                    <a:pt x="242" y="345"/>
                  </a:lnTo>
                  <a:lnTo>
                    <a:pt x="239" y="345"/>
                  </a:lnTo>
                  <a:lnTo>
                    <a:pt x="237" y="342"/>
                  </a:lnTo>
                  <a:lnTo>
                    <a:pt x="237" y="345"/>
                  </a:lnTo>
                  <a:lnTo>
                    <a:pt x="234" y="345"/>
                  </a:lnTo>
                  <a:lnTo>
                    <a:pt x="232" y="345"/>
                  </a:lnTo>
                  <a:lnTo>
                    <a:pt x="234" y="345"/>
                  </a:lnTo>
                  <a:lnTo>
                    <a:pt x="237" y="345"/>
                  </a:lnTo>
                  <a:lnTo>
                    <a:pt x="239" y="345"/>
                  </a:lnTo>
                  <a:lnTo>
                    <a:pt x="242" y="345"/>
                  </a:lnTo>
                  <a:lnTo>
                    <a:pt x="244" y="345"/>
                  </a:lnTo>
                  <a:lnTo>
                    <a:pt x="244" y="347"/>
                  </a:lnTo>
                  <a:lnTo>
                    <a:pt x="242" y="347"/>
                  </a:lnTo>
                  <a:lnTo>
                    <a:pt x="239" y="347"/>
                  </a:lnTo>
                  <a:lnTo>
                    <a:pt x="239" y="345"/>
                  </a:lnTo>
                  <a:lnTo>
                    <a:pt x="239" y="347"/>
                  </a:lnTo>
                  <a:lnTo>
                    <a:pt x="242" y="347"/>
                  </a:lnTo>
                  <a:lnTo>
                    <a:pt x="242" y="349"/>
                  </a:lnTo>
                  <a:lnTo>
                    <a:pt x="242" y="347"/>
                  </a:lnTo>
                  <a:lnTo>
                    <a:pt x="244" y="347"/>
                  </a:lnTo>
                  <a:lnTo>
                    <a:pt x="244" y="349"/>
                  </a:lnTo>
                  <a:lnTo>
                    <a:pt x="242" y="349"/>
                  </a:lnTo>
                  <a:lnTo>
                    <a:pt x="239" y="349"/>
                  </a:lnTo>
                  <a:lnTo>
                    <a:pt x="242" y="349"/>
                  </a:lnTo>
                  <a:lnTo>
                    <a:pt x="242" y="352"/>
                  </a:lnTo>
                  <a:lnTo>
                    <a:pt x="239" y="352"/>
                  </a:lnTo>
                  <a:lnTo>
                    <a:pt x="239" y="354"/>
                  </a:lnTo>
                  <a:lnTo>
                    <a:pt x="237" y="354"/>
                  </a:lnTo>
                  <a:lnTo>
                    <a:pt x="237" y="352"/>
                  </a:lnTo>
                  <a:lnTo>
                    <a:pt x="237" y="349"/>
                  </a:lnTo>
                  <a:lnTo>
                    <a:pt x="234" y="349"/>
                  </a:lnTo>
                  <a:lnTo>
                    <a:pt x="234" y="352"/>
                  </a:lnTo>
                  <a:lnTo>
                    <a:pt x="232" y="352"/>
                  </a:lnTo>
                  <a:lnTo>
                    <a:pt x="234" y="352"/>
                  </a:lnTo>
                  <a:lnTo>
                    <a:pt x="232" y="352"/>
                  </a:lnTo>
                  <a:lnTo>
                    <a:pt x="234" y="352"/>
                  </a:lnTo>
                  <a:lnTo>
                    <a:pt x="232" y="352"/>
                  </a:lnTo>
                  <a:lnTo>
                    <a:pt x="234" y="352"/>
                  </a:lnTo>
                  <a:lnTo>
                    <a:pt x="234" y="354"/>
                  </a:lnTo>
                  <a:lnTo>
                    <a:pt x="232" y="354"/>
                  </a:lnTo>
                  <a:lnTo>
                    <a:pt x="234" y="354"/>
                  </a:lnTo>
                  <a:lnTo>
                    <a:pt x="234" y="352"/>
                  </a:lnTo>
                  <a:lnTo>
                    <a:pt x="237" y="352"/>
                  </a:lnTo>
                  <a:lnTo>
                    <a:pt x="234" y="354"/>
                  </a:lnTo>
                  <a:lnTo>
                    <a:pt x="237" y="354"/>
                  </a:lnTo>
                  <a:lnTo>
                    <a:pt x="234" y="354"/>
                  </a:lnTo>
                  <a:lnTo>
                    <a:pt x="234" y="356"/>
                  </a:lnTo>
                  <a:lnTo>
                    <a:pt x="232" y="356"/>
                  </a:lnTo>
                  <a:lnTo>
                    <a:pt x="232" y="354"/>
                  </a:lnTo>
                  <a:lnTo>
                    <a:pt x="232" y="356"/>
                  </a:lnTo>
                  <a:lnTo>
                    <a:pt x="230" y="356"/>
                  </a:lnTo>
                  <a:lnTo>
                    <a:pt x="227" y="356"/>
                  </a:lnTo>
                  <a:lnTo>
                    <a:pt x="230" y="356"/>
                  </a:lnTo>
                  <a:lnTo>
                    <a:pt x="227" y="356"/>
                  </a:lnTo>
                  <a:lnTo>
                    <a:pt x="225" y="354"/>
                  </a:lnTo>
                  <a:lnTo>
                    <a:pt x="227" y="354"/>
                  </a:lnTo>
                  <a:lnTo>
                    <a:pt x="230" y="354"/>
                  </a:lnTo>
                  <a:lnTo>
                    <a:pt x="232" y="354"/>
                  </a:lnTo>
                  <a:lnTo>
                    <a:pt x="230" y="354"/>
                  </a:lnTo>
                  <a:lnTo>
                    <a:pt x="232" y="354"/>
                  </a:lnTo>
                  <a:lnTo>
                    <a:pt x="230" y="354"/>
                  </a:lnTo>
                  <a:lnTo>
                    <a:pt x="227" y="354"/>
                  </a:lnTo>
                  <a:lnTo>
                    <a:pt x="227" y="352"/>
                  </a:lnTo>
                  <a:lnTo>
                    <a:pt x="227" y="354"/>
                  </a:lnTo>
                  <a:lnTo>
                    <a:pt x="227" y="352"/>
                  </a:lnTo>
                  <a:lnTo>
                    <a:pt x="227" y="354"/>
                  </a:lnTo>
                  <a:lnTo>
                    <a:pt x="225" y="354"/>
                  </a:lnTo>
                  <a:lnTo>
                    <a:pt x="225" y="356"/>
                  </a:lnTo>
                  <a:lnTo>
                    <a:pt x="225" y="354"/>
                  </a:lnTo>
                  <a:lnTo>
                    <a:pt x="223" y="354"/>
                  </a:lnTo>
                  <a:lnTo>
                    <a:pt x="223" y="352"/>
                  </a:lnTo>
                  <a:lnTo>
                    <a:pt x="223" y="349"/>
                  </a:lnTo>
                  <a:lnTo>
                    <a:pt x="225" y="349"/>
                  </a:lnTo>
                  <a:lnTo>
                    <a:pt x="223" y="349"/>
                  </a:lnTo>
                  <a:lnTo>
                    <a:pt x="225" y="349"/>
                  </a:lnTo>
                  <a:lnTo>
                    <a:pt x="223" y="349"/>
                  </a:lnTo>
                  <a:lnTo>
                    <a:pt x="225" y="349"/>
                  </a:lnTo>
                  <a:lnTo>
                    <a:pt x="223" y="349"/>
                  </a:lnTo>
                  <a:lnTo>
                    <a:pt x="223" y="347"/>
                  </a:lnTo>
                  <a:lnTo>
                    <a:pt x="220" y="347"/>
                  </a:lnTo>
                  <a:lnTo>
                    <a:pt x="223" y="347"/>
                  </a:lnTo>
                  <a:lnTo>
                    <a:pt x="220" y="347"/>
                  </a:lnTo>
                  <a:lnTo>
                    <a:pt x="220" y="345"/>
                  </a:lnTo>
                  <a:lnTo>
                    <a:pt x="220" y="342"/>
                  </a:lnTo>
                  <a:lnTo>
                    <a:pt x="218" y="340"/>
                  </a:lnTo>
                  <a:lnTo>
                    <a:pt x="218" y="337"/>
                  </a:lnTo>
                  <a:lnTo>
                    <a:pt x="216" y="337"/>
                  </a:lnTo>
                  <a:lnTo>
                    <a:pt x="216" y="335"/>
                  </a:lnTo>
                  <a:lnTo>
                    <a:pt x="213" y="335"/>
                  </a:lnTo>
                  <a:lnTo>
                    <a:pt x="211" y="335"/>
                  </a:lnTo>
                  <a:lnTo>
                    <a:pt x="208" y="335"/>
                  </a:lnTo>
                  <a:lnTo>
                    <a:pt x="206" y="335"/>
                  </a:lnTo>
                  <a:lnTo>
                    <a:pt x="204" y="335"/>
                  </a:lnTo>
                  <a:lnTo>
                    <a:pt x="201" y="335"/>
                  </a:lnTo>
                  <a:lnTo>
                    <a:pt x="204" y="335"/>
                  </a:lnTo>
                  <a:lnTo>
                    <a:pt x="206" y="335"/>
                  </a:lnTo>
                  <a:lnTo>
                    <a:pt x="208" y="335"/>
                  </a:lnTo>
                  <a:lnTo>
                    <a:pt x="211" y="335"/>
                  </a:lnTo>
                  <a:lnTo>
                    <a:pt x="213" y="335"/>
                  </a:lnTo>
                  <a:lnTo>
                    <a:pt x="216" y="335"/>
                  </a:lnTo>
                  <a:lnTo>
                    <a:pt x="216" y="337"/>
                  </a:lnTo>
                  <a:lnTo>
                    <a:pt x="218" y="337"/>
                  </a:lnTo>
                  <a:lnTo>
                    <a:pt x="218" y="340"/>
                  </a:lnTo>
                  <a:lnTo>
                    <a:pt x="218" y="342"/>
                  </a:lnTo>
                  <a:lnTo>
                    <a:pt x="220" y="342"/>
                  </a:lnTo>
                  <a:lnTo>
                    <a:pt x="218" y="342"/>
                  </a:lnTo>
                  <a:lnTo>
                    <a:pt x="220" y="342"/>
                  </a:lnTo>
                  <a:lnTo>
                    <a:pt x="220" y="345"/>
                  </a:lnTo>
                  <a:lnTo>
                    <a:pt x="218" y="345"/>
                  </a:lnTo>
                  <a:lnTo>
                    <a:pt x="216" y="345"/>
                  </a:lnTo>
                  <a:lnTo>
                    <a:pt x="218" y="347"/>
                  </a:lnTo>
                  <a:lnTo>
                    <a:pt x="220" y="347"/>
                  </a:lnTo>
                  <a:lnTo>
                    <a:pt x="220" y="349"/>
                  </a:lnTo>
                  <a:lnTo>
                    <a:pt x="223" y="349"/>
                  </a:lnTo>
                  <a:lnTo>
                    <a:pt x="223" y="352"/>
                  </a:lnTo>
                  <a:lnTo>
                    <a:pt x="223" y="354"/>
                  </a:lnTo>
                  <a:lnTo>
                    <a:pt x="223" y="356"/>
                  </a:lnTo>
                  <a:lnTo>
                    <a:pt x="225" y="356"/>
                  </a:lnTo>
                  <a:lnTo>
                    <a:pt x="225" y="359"/>
                  </a:lnTo>
                  <a:lnTo>
                    <a:pt x="225" y="361"/>
                  </a:lnTo>
                  <a:lnTo>
                    <a:pt x="225" y="364"/>
                  </a:lnTo>
                  <a:lnTo>
                    <a:pt x="225" y="361"/>
                  </a:lnTo>
                  <a:lnTo>
                    <a:pt x="223" y="364"/>
                  </a:lnTo>
                  <a:lnTo>
                    <a:pt x="223" y="361"/>
                  </a:lnTo>
                  <a:lnTo>
                    <a:pt x="223" y="364"/>
                  </a:lnTo>
                  <a:lnTo>
                    <a:pt x="223" y="361"/>
                  </a:lnTo>
                  <a:lnTo>
                    <a:pt x="220" y="364"/>
                  </a:lnTo>
                  <a:lnTo>
                    <a:pt x="223" y="364"/>
                  </a:lnTo>
                  <a:lnTo>
                    <a:pt x="225" y="364"/>
                  </a:lnTo>
                  <a:lnTo>
                    <a:pt x="227" y="364"/>
                  </a:lnTo>
                  <a:lnTo>
                    <a:pt x="227" y="366"/>
                  </a:lnTo>
                  <a:lnTo>
                    <a:pt x="230" y="366"/>
                  </a:lnTo>
                  <a:lnTo>
                    <a:pt x="227" y="366"/>
                  </a:lnTo>
                  <a:lnTo>
                    <a:pt x="227" y="368"/>
                  </a:lnTo>
                  <a:lnTo>
                    <a:pt x="225" y="368"/>
                  </a:lnTo>
                  <a:lnTo>
                    <a:pt x="225" y="366"/>
                  </a:lnTo>
                  <a:lnTo>
                    <a:pt x="223" y="366"/>
                  </a:lnTo>
                  <a:lnTo>
                    <a:pt x="225" y="366"/>
                  </a:lnTo>
                  <a:lnTo>
                    <a:pt x="225" y="368"/>
                  </a:lnTo>
                  <a:lnTo>
                    <a:pt x="223" y="366"/>
                  </a:lnTo>
                  <a:lnTo>
                    <a:pt x="223" y="368"/>
                  </a:lnTo>
                  <a:lnTo>
                    <a:pt x="223" y="371"/>
                  </a:lnTo>
                  <a:lnTo>
                    <a:pt x="223" y="368"/>
                  </a:lnTo>
                  <a:lnTo>
                    <a:pt x="223" y="371"/>
                  </a:lnTo>
                  <a:lnTo>
                    <a:pt x="220" y="373"/>
                  </a:lnTo>
                  <a:lnTo>
                    <a:pt x="223" y="373"/>
                  </a:lnTo>
                  <a:lnTo>
                    <a:pt x="220" y="373"/>
                  </a:lnTo>
                  <a:lnTo>
                    <a:pt x="220" y="371"/>
                  </a:lnTo>
                  <a:lnTo>
                    <a:pt x="218" y="371"/>
                  </a:lnTo>
                  <a:lnTo>
                    <a:pt x="218" y="373"/>
                  </a:lnTo>
                  <a:lnTo>
                    <a:pt x="216" y="373"/>
                  </a:lnTo>
                  <a:lnTo>
                    <a:pt x="216" y="371"/>
                  </a:lnTo>
                  <a:lnTo>
                    <a:pt x="216" y="373"/>
                  </a:lnTo>
                  <a:lnTo>
                    <a:pt x="216" y="375"/>
                  </a:lnTo>
                  <a:lnTo>
                    <a:pt x="218" y="375"/>
                  </a:lnTo>
                  <a:lnTo>
                    <a:pt x="216" y="375"/>
                  </a:lnTo>
                  <a:lnTo>
                    <a:pt x="218" y="375"/>
                  </a:lnTo>
                  <a:lnTo>
                    <a:pt x="216" y="375"/>
                  </a:lnTo>
                  <a:lnTo>
                    <a:pt x="218" y="375"/>
                  </a:lnTo>
                  <a:lnTo>
                    <a:pt x="218" y="378"/>
                  </a:lnTo>
                  <a:lnTo>
                    <a:pt x="216" y="378"/>
                  </a:lnTo>
                  <a:lnTo>
                    <a:pt x="216" y="375"/>
                  </a:lnTo>
                  <a:lnTo>
                    <a:pt x="213" y="375"/>
                  </a:lnTo>
                  <a:lnTo>
                    <a:pt x="211" y="375"/>
                  </a:lnTo>
                  <a:lnTo>
                    <a:pt x="211" y="373"/>
                  </a:lnTo>
                  <a:lnTo>
                    <a:pt x="211" y="371"/>
                  </a:lnTo>
                  <a:lnTo>
                    <a:pt x="208" y="371"/>
                  </a:lnTo>
                  <a:lnTo>
                    <a:pt x="208" y="368"/>
                  </a:lnTo>
                  <a:lnTo>
                    <a:pt x="208" y="371"/>
                  </a:lnTo>
                  <a:lnTo>
                    <a:pt x="208" y="368"/>
                  </a:lnTo>
                  <a:lnTo>
                    <a:pt x="206" y="368"/>
                  </a:lnTo>
                  <a:lnTo>
                    <a:pt x="208" y="368"/>
                  </a:lnTo>
                  <a:lnTo>
                    <a:pt x="206" y="368"/>
                  </a:lnTo>
                  <a:lnTo>
                    <a:pt x="206" y="371"/>
                  </a:lnTo>
                  <a:lnTo>
                    <a:pt x="208" y="368"/>
                  </a:lnTo>
                  <a:lnTo>
                    <a:pt x="208" y="371"/>
                  </a:lnTo>
                  <a:lnTo>
                    <a:pt x="206" y="373"/>
                  </a:lnTo>
                  <a:lnTo>
                    <a:pt x="204" y="373"/>
                  </a:lnTo>
                  <a:lnTo>
                    <a:pt x="206" y="373"/>
                  </a:lnTo>
                  <a:lnTo>
                    <a:pt x="206" y="375"/>
                  </a:lnTo>
                  <a:lnTo>
                    <a:pt x="206" y="378"/>
                  </a:lnTo>
                  <a:lnTo>
                    <a:pt x="204" y="378"/>
                  </a:lnTo>
                  <a:lnTo>
                    <a:pt x="206" y="378"/>
                  </a:lnTo>
                  <a:lnTo>
                    <a:pt x="206" y="380"/>
                  </a:lnTo>
                  <a:lnTo>
                    <a:pt x="206" y="383"/>
                  </a:lnTo>
                  <a:lnTo>
                    <a:pt x="206" y="385"/>
                  </a:lnTo>
                  <a:lnTo>
                    <a:pt x="206" y="383"/>
                  </a:lnTo>
                  <a:lnTo>
                    <a:pt x="206" y="380"/>
                  </a:lnTo>
                  <a:lnTo>
                    <a:pt x="208" y="380"/>
                  </a:lnTo>
                  <a:lnTo>
                    <a:pt x="208" y="383"/>
                  </a:lnTo>
                  <a:lnTo>
                    <a:pt x="208" y="385"/>
                  </a:lnTo>
                  <a:lnTo>
                    <a:pt x="208" y="383"/>
                  </a:lnTo>
                  <a:lnTo>
                    <a:pt x="208" y="385"/>
                  </a:lnTo>
                  <a:lnTo>
                    <a:pt x="211" y="385"/>
                  </a:lnTo>
                  <a:lnTo>
                    <a:pt x="208" y="385"/>
                  </a:lnTo>
                  <a:lnTo>
                    <a:pt x="211" y="385"/>
                  </a:lnTo>
                  <a:lnTo>
                    <a:pt x="213" y="385"/>
                  </a:lnTo>
                  <a:lnTo>
                    <a:pt x="216" y="385"/>
                  </a:lnTo>
                  <a:lnTo>
                    <a:pt x="216" y="387"/>
                  </a:lnTo>
                  <a:lnTo>
                    <a:pt x="216" y="385"/>
                  </a:lnTo>
                  <a:lnTo>
                    <a:pt x="216" y="387"/>
                  </a:lnTo>
                  <a:lnTo>
                    <a:pt x="213" y="387"/>
                  </a:lnTo>
                  <a:lnTo>
                    <a:pt x="216" y="387"/>
                  </a:lnTo>
                  <a:lnTo>
                    <a:pt x="213" y="387"/>
                  </a:lnTo>
                  <a:lnTo>
                    <a:pt x="213" y="390"/>
                  </a:lnTo>
                  <a:lnTo>
                    <a:pt x="211" y="390"/>
                  </a:lnTo>
                  <a:lnTo>
                    <a:pt x="211" y="387"/>
                  </a:lnTo>
                  <a:lnTo>
                    <a:pt x="211" y="390"/>
                  </a:lnTo>
                  <a:lnTo>
                    <a:pt x="211" y="387"/>
                  </a:lnTo>
                  <a:lnTo>
                    <a:pt x="213" y="387"/>
                  </a:lnTo>
                  <a:lnTo>
                    <a:pt x="211" y="387"/>
                  </a:lnTo>
                  <a:lnTo>
                    <a:pt x="211" y="390"/>
                  </a:lnTo>
                  <a:lnTo>
                    <a:pt x="211" y="387"/>
                  </a:lnTo>
                  <a:lnTo>
                    <a:pt x="211" y="390"/>
                  </a:lnTo>
                  <a:lnTo>
                    <a:pt x="211" y="392"/>
                  </a:lnTo>
                  <a:lnTo>
                    <a:pt x="208" y="392"/>
                  </a:lnTo>
                  <a:lnTo>
                    <a:pt x="208" y="394"/>
                  </a:lnTo>
                  <a:lnTo>
                    <a:pt x="208" y="397"/>
                  </a:lnTo>
                  <a:lnTo>
                    <a:pt x="206" y="397"/>
                  </a:lnTo>
                  <a:lnTo>
                    <a:pt x="206" y="399"/>
                  </a:lnTo>
                  <a:lnTo>
                    <a:pt x="208" y="399"/>
                  </a:lnTo>
                  <a:lnTo>
                    <a:pt x="206" y="399"/>
                  </a:lnTo>
                  <a:lnTo>
                    <a:pt x="206" y="402"/>
                  </a:lnTo>
                  <a:lnTo>
                    <a:pt x="204" y="402"/>
                  </a:lnTo>
                  <a:lnTo>
                    <a:pt x="206" y="402"/>
                  </a:lnTo>
                  <a:lnTo>
                    <a:pt x="204" y="402"/>
                  </a:lnTo>
                  <a:lnTo>
                    <a:pt x="206" y="402"/>
                  </a:lnTo>
                  <a:lnTo>
                    <a:pt x="204" y="402"/>
                  </a:lnTo>
                  <a:lnTo>
                    <a:pt x="206" y="404"/>
                  </a:lnTo>
                  <a:lnTo>
                    <a:pt x="204" y="404"/>
                  </a:lnTo>
                  <a:lnTo>
                    <a:pt x="206" y="404"/>
                  </a:lnTo>
                  <a:lnTo>
                    <a:pt x="204" y="404"/>
                  </a:lnTo>
                  <a:lnTo>
                    <a:pt x="206" y="404"/>
                  </a:lnTo>
                  <a:lnTo>
                    <a:pt x="204" y="404"/>
                  </a:lnTo>
                  <a:lnTo>
                    <a:pt x="206" y="404"/>
                  </a:lnTo>
                  <a:lnTo>
                    <a:pt x="204" y="404"/>
                  </a:lnTo>
                  <a:lnTo>
                    <a:pt x="206" y="404"/>
                  </a:lnTo>
                  <a:lnTo>
                    <a:pt x="206" y="406"/>
                  </a:lnTo>
                  <a:lnTo>
                    <a:pt x="204" y="406"/>
                  </a:lnTo>
                  <a:lnTo>
                    <a:pt x="206" y="406"/>
                  </a:lnTo>
                  <a:lnTo>
                    <a:pt x="204" y="406"/>
                  </a:lnTo>
                  <a:lnTo>
                    <a:pt x="204" y="409"/>
                  </a:lnTo>
                  <a:lnTo>
                    <a:pt x="204" y="406"/>
                  </a:lnTo>
                  <a:lnTo>
                    <a:pt x="206" y="409"/>
                  </a:lnTo>
                  <a:lnTo>
                    <a:pt x="204" y="409"/>
                  </a:lnTo>
                  <a:lnTo>
                    <a:pt x="206" y="409"/>
                  </a:lnTo>
                  <a:lnTo>
                    <a:pt x="204" y="409"/>
                  </a:lnTo>
                  <a:lnTo>
                    <a:pt x="206" y="409"/>
                  </a:lnTo>
                  <a:lnTo>
                    <a:pt x="208" y="409"/>
                  </a:lnTo>
                  <a:lnTo>
                    <a:pt x="206" y="409"/>
                  </a:lnTo>
                  <a:lnTo>
                    <a:pt x="206" y="411"/>
                  </a:lnTo>
                  <a:lnTo>
                    <a:pt x="206" y="413"/>
                  </a:lnTo>
                  <a:lnTo>
                    <a:pt x="206" y="416"/>
                  </a:lnTo>
                  <a:lnTo>
                    <a:pt x="206" y="413"/>
                  </a:lnTo>
                  <a:lnTo>
                    <a:pt x="208" y="413"/>
                  </a:lnTo>
                  <a:lnTo>
                    <a:pt x="211" y="416"/>
                  </a:lnTo>
                  <a:lnTo>
                    <a:pt x="211" y="413"/>
                  </a:lnTo>
                  <a:lnTo>
                    <a:pt x="211" y="416"/>
                  </a:lnTo>
                  <a:lnTo>
                    <a:pt x="211" y="418"/>
                  </a:lnTo>
                  <a:lnTo>
                    <a:pt x="211" y="421"/>
                  </a:lnTo>
                  <a:lnTo>
                    <a:pt x="208" y="421"/>
                  </a:lnTo>
                  <a:lnTo>
                    <a:pt x="208" y="418"/>
                  </a:lnTo>
                  <a:lnTo>
                    <a:pt x="206" y="418"/>
                  </a:lnTo>
                  <a:lnTo>
                    <a:pt x="208" y="418"/>
                  </a:lnTo>
                  <a:lnTo>
                    <a:pt x="206" y="418"/>
                  </a:lnTo>
                  <a:lnTo>
                    <a:pt x="206" y="416"/>
                  </a:lnTo>
                  <a:lnTo>
                    <a:pt x="204" y="416"/>
                  </a:lnTo>
                  <a:lnTo>
                    <a:pt x="204" y="413"/>
                  </a:lnTo>
                  <a:lnTo>
                    <a:pt x="204" y="416"/>
                  </a:lnTo>
                  <a:lnTo>
                    <a:pt x="206" y="416"/>
                  </a:lnTo>
                  <a:lnTo>
                    <a:pt x="206" y="418"/>
                  </a:lnTo>
                  <a:lnTo>
                    <a:pt x="206" y="416"/>
                  </a:lnTo>
                  <a:lnTo>
                    <a:pt x="204" y="416"/>
                  </a:lnTo>
                  <a:lnTo>
                    <a:pt x="206" y="418"/>
                  </a:lnTo>
                  <a:lnTo>
                    <a:pt x="204" y="418"/>
                  </a:lnTo>
                  <a:lnTo>
                    <a:pt x="204" y="416"/>
                  </a:lnTo>
                  <a:lnTo>
                    <a:pt x="204" y="418"/>
                  </a:lnTo>
                  <a:lnTo>
                    <a:pt x="204" y="416"/>
                  </a:lnTo>
                  <a:lnTo>
                    <a:pt x="201" y="416"/>
                  </a:lnTo>
                  <a:lnTo>
                    <a:pt x="201" y="413"/>
                  </a:lnTo>
                  <a:lnTo>
                    <a:pt x="201" y="416"/>
                  </a:lnTo>
                  <a:lnTo>
                    <a:pt x="201" y="413"/>
                  </a:lnTo>
                  <a:lnTo>
                    <a:pt x="199" y="413"/>
                  </a:lnTo>
                  <a:lnTo>
                    <a:pt x="197" y="413"/>
                  </a:lnTo>
                  <a:lnTo>
                    <a:pt x="197" y="416"/>
                  </a:lnTo>
                  <a:lnTo>
                    <a:pt x="199" y="416"/>
                  </a:lnTo>
                  <a:lnTo>
                    <a:pt x="201" y="416"/>
                  </a:lnTo>
                  <a:lnTo>
                    <a:pt x="201" y="418"/>
                  </a:lnTo>
                  <a:lnTo>
                    <a:pt x="199" y="418"/>
                  </a:lnTo>
                  <a:lnTo>
                    <a:pt x="201" y="418"/>
                  </a:lnTo>
                  <a:lnTo>
                    <a:pt x="199" y="418"/>
                  </a:lnTo>
                  <a:lnTo>
                    <a:pt x="201" y="418"/>
                  </a:lnTo>
                  <a:lnTo>
                    <a:pt x="199" y="418"/>
                  </a:lnTo>
                  <a:lnTo>
                    <a:pt x="199" y="421"/>
                  </a:lnTo>
                  <a:lnTo>
                    <a:pt x="199" y="418"/>
                  </a:lnTo>
                  <a:lnTo>
                    <a:pt x="199" y="421"/>
                  </a:lnTo>
                  <a:lnTo>
                    <a:pt x="199" y="418"/>
                  </a:lnTo>
                  <a:lnTo>
                    <a:pt x="197" y="418"/>
                  </a:lnTo>
                  <a:lnTo>
                    <a:pt x="199" y="421"/>
                  </a:lnTo>
                  <a:lnTo>
                    <a:pt x="197" y="421"/>
                  </a:lnTo>
                  <a:lnTo>
                    <a:pt x="199" y="421"/>
                  </a:lnTo>
                  <a:lnTo>
                    <a:pt x="201" y="421"/>
                  </a:lnTo>
                  <a:lnTo>
                    <a:pt x="199" y="421"/>
                  </a:lnTo>
                  <a:lnTo>
                    <a:pt x="197" y="421"/>
                  </a:lnTo>
                  <a:lnTo>
                    <a:pt x="199" y="421"/>
                  </a:lnTo>
                  <a:lnTo>
                    <a:pt x="197" y="421"/>
                  </a:lnTo>
                  <a:lnTo>
                    <a:pt x="199" y="421"/>
                  </a:lnTo>
                  <a:lnTo>
                    <a:pt x="197" y="421"/>
                  </a:lnTo>
                  <a:lnTo>
                    <a:pt x="197" y="423"/>
                  </a:lnTo>
                  <a:lnTo>
                    <a:pt x="194" y="423"/>
                  </a:lnTo>
                  <a:lnTo>
                    <a:pt x="197" y="423"/>
                  </a:lnTo>
                  <a:lnTo>
                    <a:pt x="199" y="423"/>
                  </a:lnTo>
                  <a:lnTo>
                    <a:pt x="197" y="423"/>
                  </a:lnTo>
                  <a:lnTo>
                    <a:pt x="199" y="423"/>
                  </a:lnTo>
                  <a:lnTo>
                    <a:pt x="201" y="423"/>
                  </a:lnTo>
                  <a:lnTo>
                    <a:pt x="199" y="423"/>
                  </a:lnTo>
                  <a:lnTo>
                    <a:pt x="197" y="423"/>
                  </a:lnTo>
                  <a:lnTo>
                    <a:pt x="194" y="423"/>
                  </a:lnTo>
                  <a:lnTo>
                    <a:pt x="197" y="423"/>
                  </a:lnTo>
                  <a:lnTo>
                    <a:pt x="197" y="425"/>
                  </a:lnTo>
                  <a:lnTo>
                    <a:pt x="197" y="423"/>
                  </a:lnTo>
                  <a:lnTo>
                    <a:pt x="197" y="425"/>
                  </a:lnTo>
                  <a:lnTo>
                    <a:pt x="199" y="425"/>
                  </a:lnTo>
                  <a:lnTo>
                    <a:pt x="197" y="425"/>
                  </a:lnTo>
                  <a:lnTo>
                    <a:pt x="199" y="425"/>
                  </a:lnTo>
                  <a:lnTo>
                    <a:pt x="199" y="428"/>
                  </a:lnTo>
                  <a:lnTo>
                    <a:pt x="199" y="430"/>
                  </a:lnTo>
                  <a:lnTo>
                    <a:pt x="199" y="428"/>
                  </a:lnTo>
                  <a:lnTo>
                    <a:pt x="199" y="430"/>
                  </a:lnTo>
                  <a:lnTo>
                    <a:pt x="201" y="430"/>
                  </a:lnTo>
                  <a:lnTo>
                    <a:pt x="199" y="430"/>
                  </a:lnTo>
                  <a:lnTo>
                    <a:pt x="201" y="430"/>
                  </a:lnTo>
                  <a:lnTo>
                    <a:pt x="199" y="430"/>
                  </a:lnTo>
                  <a:lnTo>
                    <a:pt x="197" y="430"/>
                  </a:lnTo>
                  <a:lnTo>
                    <a:pt x="199" y="430"/>
                  </a:lnTo>
                  <a:lnTo>
                    <a:pt x="197" y="430"/>
                  </a:lnTo>
                  <a:lnTo>
                    <a:pt x="197" y="432"/>
                  </a:lnTo>
                  <a:lnTo>
                    <a:pt x="199" y="432"/>
                  </a:lnTo>
                  <a:lnTo>
                    <a:pt x="197" y="432"/>
                  </a:lnTo>
                  <a:lnTo>
                    <a:pt x="199" y="432"/>
                  </a:lnTo>
                  <a:lnTo>
                    <a:pt x="199" y="435"/>
                  </a:lnTo>
                  <a:lnTo>
                    <a:pt x="201" y="435"/>
                  </a:lnTo>
                  <a:lnTo>
                    <a:pt x="199" y="435"/>
                  </a:lnTo>
                  <a:lnTo>
                    <a:pt x="201" y="435"/>
                  </a:lnTo>
                  <a:lnTo>
                    <a:pt x="201" y="437"/>
                  </a:lnTo>
                  <a:lnTo>
                    <a:pt x="199" y="437"/>
                  </a:lnTo>
                  <a:lnTo>
                    <a:pt x="199" y="435"/>
                  </a:lnTo>
                  <a:lnTo>
                    <a:pt x="199" y="437"/>
                  </a:lnTo>
                  <a:lnTo>
                    <a:pt x="199" y="435"/>
                  </a:lnTo>
                  <a:lnTo>
                    <a:pt x="199" y="437"/>
                  </a:lnTo>
                  <a:lnTo>
                    <a:pt x="201" y="437"/>
                  </a:lnTo>
                  <a:lnTo>
                    <a:pt x="204" y="437"/>
                  </a:lnTo>
                  <a:lnTo>
                    <a:pt x="201" y="437"/>
                  </a:lnTo>
                  <a:lnTo>
                    <a:pt x="199" y="437"/>
                  </a:lnTo>
                  <a:lnTo>
                    <a:pt x="197" y="437"/>
                  </a:lnTo>
                  <a:lnTo>
                    <a:pt x="199" y="437"/>
                  </a:lnTo>
                  <a:lnTo>
                    <a:pt x="199" y="440"/>
                  </a:lnTo>
                  <a:lnTo>
                    <a:pt x="201" y="440"/>
                  </a:lnTo>
                  <a:lnTo>
                    <a:pt x="199" y="440"/>
                  </a:lnTo>
                  <a:lnTo>
                    <a:pt x="201" y="440"/>
                  </a:lnTo>
                  <a:lnTo>
                    <a:pt x="199" y="440"/>
                  </a:lnTo>
                  <a:lnTo>
                    <a:pt x="201" y="442"/>
                  </a:lnTo>
                  <a:lnTo>
                    <a:pt x="201" y="440"/>
                  </a:lnTo>
                  <a:lnTo>
                    <a:pt x="201" y="442"/>
                  </a:lnTo>
                  <a:lnTo>
                    <a:pt x="199" y="442"/>
                  </a:lnTo>
                  <a:lnTo>
                    <a:pt x="197" y="442"/>
                  </a:lnTo>
                  <a:lnTo>
                    <a:pt x="199" y="442"/>
                  </a:lnTo>
                  <a:lnTo>
                    <a:pt x="199" y="444"/>
                  </a:lnTo>
                  <a:lnTo>
                    <a:pt x="199" y="447"/>
                  </a:lnTo>
                  <a:lnTo>
                    <a:pt x="199" y="449"/>
                  </a:lnTo>
                  <a:lnTo>
                    <a:pt x="201" y="449"/>
                  </a:lnTo>
                  <a:lnTo>
                    <a:pt x="199" y="449"/>
                  </a:lnTo>
                  <a:lnTo>
                    <a:pt x="199" y="451"/>
                  </a:lnTo>
                  <a:lnTo>
                    <a:pt x="199" y="454"/>
                  </a:lnTo>
                  <a:lnTo>
                    <a:pt x="199" y="451"/>
                  </a:lnTo>
                  <a:lnTo>
                    <a:pt x="201" y="454"/>
                  </a:lnTo>
                  <a:lnTo>
                    <a:pt x="201" y="451"/>
                  </a:lnTo>
                  <a:lnTo>
                    <a:pt x="201" y="454"/>
                  </a:lnTo>
                  <a:lnTo>
                    <a:pt x="199" y="454"/>
                  </a:lnTo>
                  <a:lnTo>
                    <a:pt x="201" y="454"/>
                  </a:lnTo>
                  <a:lnTo>
                    <a:pt x="199" y="454"/>
                  </a:lnTo>
                  <a:lnTo>
                    <a:pt x="199" y="456"/>
                  </a:lnTo>
                  <a:lnTo>
                    <a:pt x="201" y="456"/>
                  </a:lnTo>
                  <a:lnTo>
                    <a:pt x="199" y="459"/>
                  </a:lnTo>
                  <a:lnTo>
                    <a:pt x="201" y="459"/>
                  </a:lnTo>
                  <a:lnTo>
                    <a:pt x="199" y="459"/>
                  </a:lnTo>
                  <a:lnTo>
                    <a:pt x="201" y="459"/>
                  </a:lnTo>
                  <a:lnTo>
                    <a:pt x="204" y="459"/>
                  </a:lnTo>
                  <a:lnTo>
                    <a:pt x="204" y="461"/>
                  </a:lnTo>
                  <a:lnTo>
                    <a:pt x="201" y="461"/>
                  </a:lnTo>
                  <a:lnTo>
                    <a:pt x="204" y="461"/>
                  </a:lnTo>
                  <a:lnTo>
                    <a:pt x="201" y="461"/>
                  </a:lnTo>
                  <a:lnTo>
                    <a:pt x="204" y="461"/>
                  </a:lnTo>
                  <a:lnTo>
                    <a:pt x="201" y="463"/>
                  </a:lnTo>
                  <a:lnTo>
                    <a:pt x="204" y="463"/>
                  </a:lnTo>
                  <a:lnTo>
                    <a:pt x="206" y="463"/>
                  </a:lnTo>
                  <a:lnTo>
                    <a:pt x="204" y="463"/>
                  </a:lnTo>
                  <a:lnTo>
                    <a:pt x="204" y="466"/>
                  </a:lnTo>
                  <a:lnTo>
                    <a:pt x="204" y="463"/>
                  </a:lnTo>
                  <a:lnTo>
                    <a:pt x="204" y="466"/>
                  </a:lnTo>
                  <a:lnTo>
                    <a:pt x="204" y="463"/>
                  </a:lnTo>
                  <a:lnTo>
                    <a:pt x="204" y="466"/>
                  </a:lnTo>
                  <a:lnTo>
                    <a:pt x="204" y="463"/>
                  </a:lnTo>
                  <a:lnTo>
                    <a:pt x="204" y="466"/>
                  </a:lnTo>
                  <a:lnTo>
                    <a:pt x="204" y="463"/>
                  </a:lnTo>
                  <a:lnTo>
                    <a:pt x="204" y="466"/>
                  </a:lnTo>
                  <a:lnTo>
                    <a:pt x="206" y="466"/>
                  </a:lnTo>
                  <a:lnTo>
                    <a:pt x="204" y="466"/>
                  </a:lnTo>
                  <a:lnTo>
                    <a:pt x="204" y="468"/>
                  </a:lnTo>
                  <a:lnTo>
                    <a:pt x="201" y="468"/>
                  </a:lnTo>
                  <a:lnTo>
                    <a:pt x="201" y="470"/>
                  </a:lnTo>
                  <a:lnTo>
                    <a:pt x="199" y="470"/>
                  </a:lnTo>
                  <a:lnTo>
                    <a:pt x="201" y="470"/>
                  </a:lnTo>
                  <a:lnTo>
                    <a:pt x="204" y="470"/>
                  </a:lnTo>
                  <a:lnTo>
                    <a:pt x="206" y="473"/>
                  </a:lnTo>
                  <a:lnTo>
                    <a:pt x="206" y="470"/>
                  </a:lnTo>
                  <a:lnTo>
                    <a:pt x="206" y="473"/>
                  </a:lnTo>
                  <a:lnTo>
                    <a:pt x="206" y="470"/>
                  </a:lnTo>
                  <a:lnTo>
                    <a:pt x="206" y="473"/>
                  </a:lnTo>
                  <a:lnTo>
                    <a:pt x="208" y="473"/>
                  </a:lnTo>
                  <a:lnTo>
                    <a:pt x="208" y="475"/>
                  </a:lnTo>
                  <a:lnTo>
                    <a:pt x="208" y="478"/>
                  </a:lnTo>
                  <a:lnTo>
                    <a:pt x="208" y="475"/>
                  </a:lnTo>
                  <a:lnTo>
                    <a:pt x="208" y="473"/>
                  </a:lnTo>
                  <a:lnTo>
                    <a:pt x="211" y="473"/>
                  </a:lnTo>
                  <a:lnTo>
                    <a:pt x="211" y="470"/>
                  </a:lnTo>
                  <a:lnTo>
                    <a:pt x="211" y="473"/>
                  </a:lnTo>
                  <a:lnTo>
                    <a:pt x="208" y="473"/>
                  </a:lnTo>
                  <a:lnTo>
                    <a:pt x="211" y="473"/>
                  </a:lnTo>
                  <a:lnTo>
                    <a:pt x="211" y="470"/>
                  </a:lnTo>
                  <a:lnTo>
                    <a:pt x="213" y="470"/>
                  </a:lnTo>
                  <a:lnTo>
                    <a:pt x="211" y="470"/>
                  </a:lnTo>
                  <a:lnTo>
                    <a:pt x="211" y="473"/>
                  </a:lnTo>
                  <a:lnTo>
                    <a:pt x="211" y="470"/>
                  </a:lnTo>
                  <a:lnTo>
                    <a:pt x="211" y="473"/>
                  </a:lnTo>
                  <a:lnTo>
                    <a:pt x="213" y="473"/>
                  </a:lnTo>
                  <a:lnTo>
                    <a:pt x="216" y="473"/>
                  </a:lnTo>
                  <a:lnTo>
                    <a:pt x="213" y="475"/>
                  </a:lnTo>
                  <a:lnTo>
                    <a:pt x="213" y="478"/>
                  </a:lnTo>
                  <a:lnTo>
                    <a:pt x="216" y="478"/>
                  </a:lnTo>
                  <a:lnTo>
                    <a:pt x="213" y="478"/>
                  </a:lnTo>
                  <a:lnTo>
                    <a:pt x="216" y="478"/>
                  </a:lnTo>
                  <a:lnTo>
                    <a:pt x="216" y="480"/>
                  </a:lnTo>
                  <a:lnTo>
                    <a:pt x="216" y="478"/>
                  </a:lnTo>
                  <a:lnTo>
                    <a:pt x="216" y="480"/>
                  </a:lnTo>
                  <a:lnTo>
                    <a:pt x="216" y="478"/>
                  </a:lnTo>
                  <a:lnTo>
                    <a:pt x="216" y="480"/>
                  </a:lnTo>
                  <a:lnTo>
                    <a:pt x="216" y="478"/>
                  </a:lnTo>
                  <a:lnTo>
                    <a:pt x="218" y="478"/>
                  </a:lnTo>
                  <a:lnTo>
                    <a:pt x="216" y="478"/>
                  </a:lnTo>
                  <a:lnTo>
                    <a:pt x="218" y="478"/>
                  </a:lnTo>
                  <a:lnTo>
                    <a:pt x="216" y="478"/>
                  </a:lnTo>
                  <a:lnTo>
                    <a:pt x="218" y="480"/>
                  </a:lnTo>
                  <a:lnTo>
                    <a:pt x="218" y="478"/>
                  </a:lnTo>
                  <a:lnTo>
                    <a:pt x="218" y="480"/>
                  </a:lnTo>
                  <a:lnTo>
                    <a:pt x="218" y="478"/>
                  </a:lnTo>
                  <a:lnTo>
                    <a:pt x="218" y="480"/>
                  </a:lnTo>
                  <a:lnTo>
                    <a:pt x="218" y="478"/>
                  </a:lnTo>
                  <a:lnTo>
                    <a:pt x="218" y="475"/>
                  </a:lnTo>
                  <a:lnTo>
                    <a:pt x="220" y="475"/>
                  </a:lnTo>
                  <a:lnTo>
                    <a:pt x="223" y="475"/>
                  </a:lnTo>
                  <a:lnTo>
                    <a:pt x="225" y="475"/>
                  </a:lnTo>
                  <a:lnTo>
                    <a:pt x="227" y="475"/>
                  </a:lnTo>
                  <a:lnTo>
                    <a:pt x="225" y="475"/>
                  </a:lnTo>
                  <a:lnTo>
                    <a:pt x="227" y="475"/>
                  </a:lnTo>
                  <a:lnTo>
                    <a:pt x="227" y="478"/>
                  </a:lnTo>
                  <a:lnTo>
                    <a:pt x="227" y="475"/>
                  </a:lnTo>
                  <a:lnTo>
                    <a:pt x="227" y="478"/>
                  </a:lnTo>
                  <a:lnTo>
                    <a:pt x="227" y="475"/>
                  </a:lnTo>
                  <a:lnTo>
                    <a:pt x="227" y="478"/>
                  </a:lnTo>
                  <a:lnTo>
                    <a:pt x="227" y="480"/>
                  </a:lnTo>
                  <a:lnTo>
                    <a:pt x="227" y="478"/>
                  </a:lnTo>
                  <a:lnTo>
                    <a:pt x="227" y="480"/>
                  </a:lnTo>
                  <a:lnTo>
                    <a:pt x="225" y="480"/>
                  </a:lnTo>
                  <a:lnTo>
                    <a:pt x="227" y="480"/>
                  </a:lnTo>
                  <a:lnTo>
                    <a:pt x="230" y="480"/>
                  </a:lnTo>
                  <a:lnTo>
                    <a:pt x="227" y="480"/>
                  </a:lnTo>
                  <a:lnTo>
                    <a:pt x="230" y="480"/>
                  </a:lnTo>
                  <a:lnTo>
                    <a:pt x="230" y="482"/>
                  </a:lnTo>
                  <a:lnTo>
                    <a:pt x="230" y="480"/>
                  </a:lnTo>
                  <a:lnTo>
                    <a:pt x="230" y="482"/>
                  </a:lnTo>
                  <a:lnTo>
                    <a:pt x="230" y="485"/>
                  </a:lnTo>
                  <a:lnTo>
                    <a:pt x="230" y="482"/>
                  </a:lnTo>
                  <a:lnTo>
                    <a:pt x="230" y="485"/>
                  </a:lnTo>
                  <a:lnTo>
                    <a:pt x="232" y="485"/>
                  </a:lnTo>
                  <a:lnTo>
                    <a:pt x="232" y="482"/>
                  </a:lnTo>
                  <a:lnTo>
                    <a:pt x="232" y="485"/>
                  </a:lnTo>
                  <a:lnTo>
                    <a:pt x="232" y="482"/>
                  </a:lnTo>
                  <a:lnTo>
                    <a:pt x="232" y="485"/>
                  </a:lnTo>
                  <a:lnTo>
                    <a:pt x="234" y="485"/>
                  </a:lnTo>
                  <a:lnTo>
                    <a:pt x="232" y="485"/>
                  </a:lnTo>
                  <a:lnTo>
                    <a:pt x="234" y="485"/>
                  </a:lnTo>
                  <a:lnTo>
                    <a:pt x="234" y="487"/>
                  </a:lnTo>
                  <a:lnTo>
                    <a:pt x="234" y="485"/>
                  </a:lnTo>
                  <a:lnTo>
                    <a:pt x="234" y="487"/>
                  </a:lnTo>
                  <a:lnTo>
                    <a:pt x="234" y="485"/>
                  </a:lnTo>
                  <a:lnTo>
                    <a:pt x="234" y="487"/>
                  </a:lnTo>
                  <a:lnTo>
                    <a:pt x="237" y="487"/>
                  </a:lnTo>
                  <a:lnTo>
                    <a:pt x="234" y="487"/>
                  </a:lnTo>
                  <a:lnTo>
                    <a:pt x="234" y="489"/>
                  </a:lnTo>
                  <a:lnTo>
                    <a:pt x="234" y="487"/>
                  </a:lnTo>
                  <a:lnTo>
                    <a:pt x="234" y="489"/>
                  </a:lnTo>
                  <a:lnTo>
                    <a:pt x="234" y="487"/>
                  </a:lnTo>
                  <a:lnTo>
                    <a:pt x="237" y="487"/>
                  </a:lnTo>
                  <a:lnTo>
                    <a:pt x="239" y="487"/>
                  </a:lnTo>
                  <a:lnTo>
                    <a:pt x="239" y="489"/>
                  </a:lnTo>
                  <a:lnTo>
                    <a:pt x="239" y="487"/>
                  </a:lnTo>
                  <a:lnTo>
                    <a:pt x="239" y="489"/>
                  </a:lnTo>
                  <a:lnTo>
                    <a:pt x="242" y="489"/>
                  </a:lnTo>
                  <a:lnTo>
                    <a:pt x="244" y="489"/>
                  </a:lnTo>
                  <a:lnTo>
                    <a:pt x="244" y="492"/>
                  </a:lnTo>
                  <a:lnTo>
                    <a:pt x="246" y="492"/>
                  </a:lnTo>
                  <a:lnTo>
                    <a:pt x="244" y="492"/>
                  </a:lnTo>
                  <a:lnTo>
                    <a:pt x="246" y="492"/>
                  </a:lnTo>
                  <a:lnTo>
                    <a:pt x="246" y="494"/>
                  </a:lnTo>
                  <a:lnTo>
                    <a:pt x="246" y="492"/>
                  </a:lnTo>
                  <a:lnTo>
                    <a:pt x="246" y="494"/>
                  </a:lnTo>
                  <a:lnTo>
                    <a:pt x="246" y="492"/>
                  </a:lnTo>
                  <a:lnTo>
                    <a:pt x="246" y="494"/>
                  </a:lnTo>
                  <a:lnTo>
                    <a:pt x="244" y="494"/>
                  </a:lnTo>
                  <a:lnTo>
                    <a:pt x="244" y="497"/>
                  </a:lnTo>
                  <a:lnTo>
                    <a:pt x="246" y="497"/>
                  </a:lnTo>
                  <a:lnTo>
                    <a:pt x="244" y="497"/>
                  </a:lnTo>
                  <a:lnTo>
                    <a:pt x="242" y="497"/>
                  </a:lnTo>
                  <a:lnTo>
                    <a:pt x="242" y="494"/>
                  </a:lnTo>
                  <a:lnTo>
                    <a:pt x="239" y="492"/>
                  </a:lnTo>
                  <a:lnTo>
                    <a:pt x="239" y="494"/>
                  </a:lnTo>
                  <a:lnTo>
                    <a:pt x="239" y="492"/>
                  </a:lnTo>
                  <a:lnTo>
                    <a:pt x="239" y="494"/>
                  </a:lnTo>
                  <a:lnTo>
                    <a:pt x="242" y="494"/>
                  </a:lnTo>
                  <a:lnTo>
                    <a:pt x="242" y="497"/>
                  </a:lnTo>
                  <a:lnTo>
                    <a:pt x="244" y="497"/>
                  </a:lnTo>
                  <a:lnTo>
                    <a:pt x="244" y="499"/>
                  </a:lnTo>
                  <a:lnTo>
                    <a:pt x="246" y="499"/>
                  </a:lnTo>
                  <a:lnTo>
                    <a:pt x="244" y="499"/>
                  </a:lnTo>
                  <a:lnTo>
                    <a:pt x="246" y="501"/>
                  </a:lnTo>
                  <a:lnTo>
                    <a:pt x="244" y="501"/>
                  </a:lnTo>
                  <a:lnTo>
                    <a:pt x="246" y="501"/>
                  </a:lnTo>
                  <a:lnTo>
                    <a:pt x="246" y="504"/>
                  </a:lnTo>
                  <a:lnTo>
                    <a:pt x="246" y="501"/>
                  </a:lnTo>
                  <a:lnTo>
                    <a:pt x="246" y="499"/>
                  </a:lnTo>
                  <a:lnTo>
                    <a:pt x="249" y="499"/>
                  </a:lnTo>
                  <a:lnTo>
                    <a:pt x="249" y="501"/>
                  </a:lnTo>
                  <a:lnTo>
                    <a:pt x="249" y="499"/>
                  </a:lnTo>
                  <a:lnTo>
                    <a:pt x="251" y="499"/>
                  </a:lnTo>
                  <a:lnTo>
                    <a:pt x="251" y="501"/>
                  </a:lnTo>
                  <a:lnTo>
                    <a:pt x="251" y="504"/>
                  </a:lnTo>
                  <a:lnTo>
                    <a:pt x="251" y="506"/>
                  </a:lnTo>
                  <a:lnTo>
                    <a:pt x="253" y="506"/>
                  </a:lnTo>
                  <a:lnTo>
                    <a:pt x="251" y="504"/>
                  </a:lnTo>
                  <a:lnTo>
                    <a:pt x="251" y="501"/>
                  </a:lnTo>
                  <a:lnTo>
                    <a:pt x="253" y="501"/>
                  </a:lnTo>
                  <a:lnTo>
                    <a:pt x="251" y="501"/>
                  </a:lnTo>
                  <a:lnTo>
                    <a:pt x="253" y="501"/>
                  </a:lnTo>
                  <a:lnTo>
                    <a:pt x="251" y="501"/>
                  </a:lnTo>
                  <a:lnTo>
                    <a:pt x="253" y="501"/>
                  </a:lnTo>
                  <a:lnTo>
                    <a:pt x="251" y="501"/>
                  </a:lnTo>
                  <a:lnTo>
                    <a:pt x="251" y="499"/>
                  </a:lnTo>
                  <a:lnTo>
                    <a:pt x="253" y="499"/>
                  </a:lnTo>
                  <a:lnTo>
                    <a:pt x="253" y="501"/>
                  </a:lnTo>
                  <a:lnTo>
                    <a:pt x="253" y="499"/>
                  </a:lnTo>
                  <a:lnTo>
                    <a:pt x="253" y="501"/>
                  </a:lnTo>
                  <a:lnTo>
                    <a:pt x="253" y="504"/>
                  </a:lnTo>
                  <a:lnTo>
                    <a:pt x="253" y="506"/>
                  </a:lnTo>
                  <a:lnTo>
                    <a:pt x="256" y="506"/>
                  </a:lnTo>
                  <a:lnTo>
                    <a:pt x="256" y="508"/>
                  </a:lnTo>
                  <a:lnTo>
                    <a:pt x="256" y="511"/>
                  </a:lnTo>
                  <a:lnTo>
                    <a:pt x="258" y="511"/>
                  </a:lnTo>
                  <a:lnTo>
                    <a:pt x="256" y="511"/>
                  </a:lnTo>
                  <a:lnTo>
                    <a:pt x="258" y="511"/>
                  </a:lnTo>
                  <a:lnTo>
                    <a:pt x="261" y="511"/>
                  </a:lnTo>
                  <a:lnTo>
                    <a:pt x="261" y="513"/>
                  </a:lnTo>
                  <a:lnTo>
                    <a:pt x="261" y="511"/>
                  </a:lnTo>
                  <a:lnTo>
                    <a:pt x="261" y="513"/>
                  </a:lnTo>
                  <a:lnTo>
                    <a:pt x="263" y="513"/>
                  </a:lnTo>
                  <a:lnTo>
                    <a:pt x="263" y="516"/>
                  </a:lnTo>
                  <a:lnTo>
                    <a:pt x="261" y="516"/>
                  </a:lnTo>
                  <a:lnTo>
                    <a:pt x="258" y="516"/>
                  </a:lnTo>
                  <a:lnTo>
                    <a:pt x="261" y="516"/>
                  </a:lnTo>
                  <a:lnTo>
                    <a:pt x="258" y="516"/>
                  </a:lnTo>
                  <a:lnTo>
                    <a:pt x="261" y="516"/>
                  </a:lnTo>
                  <a:lnTo>
                    <a:pt x="258" y="513"/>
                  </a:lnTo>
                  <a:lnTo>
                    <a:pt x="258" y="511"/>
                  </a:lnTo>
                  <a:lnTo>
                    <a:pt x="256" y="511"/>
                  </a:lnTo>
                  <a:lnTo>
                    <a:pt x="258" y="511"/>
                  </a:lnTo>
                  <a:lnTo>
                    <a:pt x="256" y="511"/>
                  </a:lnTo>
                  <a:lnTo>
                    <a:pt x="253" y="511"/>
                  </a:lnTo>
                  <a:lnTo>
                    <a:pt x="256" y="511"/>
                  </a:lnTo>
                  <a:lnTo>
                    <a:pt x="256" y="513"/>
                  </a:lnTo>
                  <a:lnTo>
                    <a:pt x="256" y="511"/>
                  </a:lnTo>
                  <a:lnTo>
                    <a:pt x="256" y="513"/>
                  </a:lnTo>
                  <a:lnTo>
                    <a:pt x="258" y="513"/>
                  </a:lnTo>
                  <a:lnTo>
                    <a:pt x="258" y="516"/>
                  </a:lnTo>
                  <a:lnTo>
                    <a:pt x="256" y="516"/>
                  </a:lnTo>
                  <a:lnTo>
                    <a:pt x="256" y="518"/>
                  </a:lnTo>
                  <a:lnTo>
                    <a:pt x="253" y="518"/>
                  </a:lnTo>
                  <a:lnTo>
                    <a:pt x="251" y="518"/>
                  </a:lnTo>
                  <a:lnTo>
                    <a:pt x="251" y="520"/>
                  </a:lnTo>
                  <a:lnTo>
                    <a:pt x="253" y="518"/>
                  </a:lnTo>
                  <a:lnTo>
                    <a:pt x="256" y="518"/>
                  </a:lnTo>
                  <a:lnTo>
                    <a:pt x="258" y="518"/>
                  </a:lnTo>
                  <a:lnTo>
                    <a:pt x="261" y="518"/>
                  </a:lnTo>
                  <a:lnTo>
                    <a:pt x="263" y="518"/>
                  </a:lnTo>
                  <a:lnTo>
                    <a:pt x="263" y="520"/>
                  </a:lnTo>
                  <a:lnTo>
                    <a:pt x="261" y="520"/>
                  </a:lnTo>
                  <a:lnTo>
                    <a:pt x="263" y="520"/>
                  </a:lnTo>
                  <a:lnTo>
                    <a:pt x="261" y="523"/>
                  </a:lnTo>
                  <a:lnTo>
                    <a:pt x="258" y="523"/>
                  </a:lnTo>
                  <a:lnTo>
                    <a:pt x="258" y="520"/>
                  </a:lnTo>
                  <a:lnTo>
                    <a:pt x="256" y="523"/>
                  </a:lnTo>
                  <a:lnTo>
                    <a:pt x="258" y="523"/>
                  </a:lnTo>
                  <a:lnTo>
                    <a:pt x="256" y="523"/>
                  </a:lnTo>
                  <a:lnTo>
                    <a:pt x="253" y="523"/>
                  </a:lnTo>
                  <a:lnTo>
                    <a:pt x="251" y="523"/>
                  </a:lnTo>
                  <a:lnTo>
                    <a:pt x="253" y="523"/>
                  </a:lnTo>
                  <a:lnTo>
                    <a:pt x="251" y="523"/>
                  </a:lnTo>
                  <a:lnTo>
                    <a:pt x="253" y="523"/>
                  </a:lnTo>
                  <a:lnTo>
                    <a:pt x="253" y="525"/>
                  </a:lnTo>
                  <a:lnTo>
                    <a:pt x="253" y="523"/>
                  </a:lnTo>
                  <a:lnTo>
                    <a:pt x="251" y="523"/>
                  </a:lnTo>
                  <a:lnTo>
                    <a:pt x="253" y="525"/>
                  </a:lnTo>
                  <a:lnTo>
                    <a:pt x="251" y="525"/>
                  </a:lnTo>
                  <a:lnTo>
                    <a:pt x="251" y="523"/>
                  </a:lnTo>
                  <a:lnTo>
                    <a:pt x="251" y="525"/>
                  </a:lnTo>
                  <a:lnTo>
                    <a:pt x="249" y="525"/>
                  </a:lnTo>
                  <a:lnTo>
                    <a:pt x="251" y="525"/>
                  </a:lnTo>
                  <a:lnTo>
                    <a:pt x="249" y="525"/>
                  </a:lnTo>
                  <a:lnTo>
                    <a:pt x="251" y="525"/>
                  </a:lnTo>
                  <a:lnTo>
                    <a:pt x="251" y="527"/>
                  </a:lnTo>
                  <a:lnTo>
                    <a:pt x="251" y="525"/>
                  </a:lnTo>
                  <a:lnTo>
                    <a:pt x="249" y="525"/>
                  </a:lnTo>
                  <a:lnTo>
                    <a:pt x="249" y="527"/>
                  </a:lnTo>
                  <a:lnTo>
                    <a:pt x="251" y="527"/>
                  </a:lnTo>
                  <a:lnTo>
                    <a:pt x="249" y="527"/>
                  </a:lnTo>
                  <a:lnTo>
                    <a:pt x="249" y="530"/>
                  </a:lnTo>
                  <a:lnTo>
                    <a:pt x="246" y="530"/>
                  </a:lnTo>
                  <a:lnTo>
                    <a:pt x="244" y="532"/>
                  </a:lnTo>
                  <a:lnTo>
                    <a:pt x="242" y="532"/>
                  </a:lnTo>
                  <a:lnTo>
                    <a:pt x="242" y="535"/>
                  </a:lnTo>
                  <a:lnTo>
                    <a:pt x="239" y="535"/>
                  </a:lnTo>
                  <a:lnTo>
                    <a:pt x="237" y="535"/>
                  </a:lnTo>
                  <a:lnTo>
                    <a:pt x="237" y="537"/>
                  </a:lnTo>
                  <a:lnTo>
                    <a:pt x="234" y="537"/>
                  </a:lnTo>
                  <a:lnTo>
                    <a:pt x="237" y="537"/>
                  </a:lnTo>
                  <a:lnTo>
                    <a:pt x="234" y="537"/>
                  </a:lnTo>
                  <a:lnTo>
                    <a:pt x="237" y="537"/>
                  </a:lnTo>
                  <a:lnTo>
                    <a:pt x="234" y="537"/>
                  </a:lnTo>
                  <a:lnTo>
                    <a:pt x="234" y="539"/>
                  </a:lnTo>
                  <a:lnTo>
                    <a:pt x="237" y="539"/>
                  </a:lnTo>
                  <a:lnTo>
                    <a:pt x="234" y="539"/>
                  </a:lnTo>
                  <a:lnTo>
                    <a:pt x="232" y="539"/>
                  </a:lnTo>
                  <a:lnTo>
                    <a:pt x="232" y="537"/>
                  </a:lnTo>
                  <a:lnTo>
                    <a:pt x="232" y="535"/>
                  </a:lnTo>
                  <a:lnTo>
                    <a:pt x="232" y="537"/>
                  </a:lnTo>
                  <a:lnTo>
                    <a:pt x="232" y="535"/>
                  </a:lnTo>
                  <a:lnTo>
                    <a:pt x="232" y="537"/>
                  </a:lnTo>
                  <a:lnTo>
                    <a:pt x="230" y="537"/>
                  </a:lnTo>
                  <a:lnTo>
                    <a:pt x="230" y="539"/>
                  </a:lnTo>
                  <a:lnTo>
                    <a:pt x="227" y="539"/>
                  </a:lnTo>
                  <a:lnTo>
                    <a:pt x="230" y="539"/>
                  </a:lnTo>
                  <a:lnTo>
                    <a:pt x="230" y="542"/>
                  </a:lnTo>
                  <a:lnTo>
                    <a:pt x="232" y="542"/>
                  </a:lnTo>
                  <a:lnTo>
                    <a:pt x="230" y="542"/>
                  </a:lnTo>
                  <a:lnTo>
                    <a:pt x="232" y="542"/>
                  </a:lnTo>
                  <a:lnTo>
                    <a:pt x="234" y="542"/>
                  </a:lnTo>
                  <a:lnTo>
                    <a:pt x="234" y="539"/>
                  </a:lnTo>
                  <a:lnTo>
                    <a:pt x="237" y="539"/>
                  </a:lnTo>
                  <a:lnTo>
                    <a:pt x="237" y="542"/>
                  </a:lnTo>
                  <a:lnTo>
                    <a:pt x="237" y="539"/>
                  </a:lnTo>
                  <a:lnTo>
                    <a:pt x="237" y="542"/>
                  </a:lnTo>
                  <a:lnTo>
                    <a:pt x="237" y="539"/>
                  </a:lnTo>
                  <a:lnTo>
                    <a:pt x="239" y="539"/>
                  </a:lnTo>
                  <a:lnTo>
                    <a:pt x="239" y="542"/>
                  </a:lnTo>
                  <a:lnTo>
                    <a:pt x="239" y="539"/>
                  </a:lnTo>
                  <a:lnTo>
                    <a:pt x="239" y="542"/>
                  </a:lnTo>
                  <a:lnTo>
                    <a:pt x="239" y="539"/>
                  </a:lnTo>
                  <a:lnTo>
                    <a:pt x="239" y="542"/>
                  </a:lnTo>
                  <a:lnTo>
                    <a:pt x="242" y="542"/>
                  </a:lnTo>
                  <a:lnTo>
                    <a:pt x="239" y="542"/>
                  </a:lnTo>
                  <a:lnTo>
                    <a:pt x="242" y="542"/>
                  </a:lnTo>
                  <a:lnTo>
                    <a:pt x="242" y="539"/>
                  </a:lnTo>
                  <a:lnTo>
                    <a:pt x="242" y="537"/>
                  </a:lnTo>
                  <a:lnTo>
                    <a:pt x="239" y="537"/>
                  </a:lnTo>
                  <a:lnTo>
                    <a:pt x="242" y="537"/>
                  </a:lnTo>
                  <a:lnTo>
                    <a:pt x="244" y="537"/>
                  </a:lnTo>
                  <a:lnTo>
                    <a:pt x="244" y="539"/>
                  </a:lnTo>
                  <a:lnTo>
                    <a:pt x="246" y="539"/>
                  </a:lnTo>
                  <a:lnTo>
                    <a:pt x="244" y="539"/>
                  </a:lnTo>
                  <a:lnTo>
                    <a:pt x="246" y="539"/>
                  </a:lnTo>
                  <a:lnTo>
                    <a:pt x="246" y="542"/>
                  </a:lnTo>
                  <a:lnTo>
                    <a:pt x="249" y="542"/>
                  </a:lnTo>
                  <a:lnTo>
                    <a:pt x="246" y="542"/>
                  </a:lnTo>
                  <a:lnTo>
                    <a:pt x="244" y="539"/>
                  </a:lnTo>
                  <a:lnTo>
                    <a:pt x="244" y="542"/>
                  </a:lnTo>
                  <a:lnTo>
                    <a:pt x="246" y="542"/>
                  </a:lnTo>
                  <a:lnTo>
                    <a:pt x="244" y="542"/>
                  </a:lnTo>
                  <a:lnTo>
                    <a:pt x="246" y="542"/>
                  </a:lnTo>
                  <a:lnTo>
                    <a:pt x="244" y="542"/>
                  </a:lnTo>
                  <a:lnTo>
                    <a:pt x="246" y="542"/>
                  </a:lnTo>
                  <a:lnTo>
                    <a:pt x="249" y="542"/>
                  </a:lnTo>
                  <a:lnTo>
                    <a:pt x="249" y="544"/>
                  </a:lnTo>
                  <a:lnTo>
                    <a:pt x="249" y="542"/>
                  </a:lnTo>
                  <a:lnTo>
                    <a:pt x="249" y="544"/>
                  </a:lnTo>
                  <a:lnTo>
                    <a:pt x="246" y="544"/>
                  </a:lnTo>
                  <a:lnTo>
                    <a:pt x="244" y="544"/>
                  </a:lnTo>
                  <a:lnTo>
                    <a:pt x="246" y="544"/>
                  </a:lnTo>
                  <a:lnTo>
                    <a:pt x="249" y="544"/>
                  </a:lnTo>
                  <a:lnTo>
                    <a:pt x="251" y="544"/>
                  </a:lnTo>
                  <a:lnTo>
                    <a:pt x="249" y="544"/>
                  </a:lnTo>
                  <a:lnTo>
                    <a:pt x="251" y="544"/>
                  </a:lnTo>
                  <a:lnTo>
                    <a:pt x="249" y="544"/>
                  </a:lnTo>
                  <a:lnTo>
                    <a:pt x="249" y="546"/>
                  </a:lnTo>
                  <a:lnTo>
                    <a:pt x="249" y="544"/>
                  </a:lnTo>
                  <a:lnTo>
                    <a:pt x="249" y="546"/>
                  </a:lnTo>
                  <a:lnTo>
                    <a:pt x="246" y="546"/>
                  </a:lnTo>
                  <a:lnTo>
                    <a:pt x="249" y="546"/>
                  </a:lnTo>
                  <a:lnTo>
                    <a:pt x="246" y="546"/>
                  </a:lnTo>
                  <a:lnTo>
                    <a:pt x="244" y="546"/>
                  </a:lnTo>
                  <a:lnTo>
                    <a:pt x="246" y="546"/>
                  </a:lnTo>
                  <a:lnTo>
                    <a:pt x="246" y="544"/>
                  </a:lnTo>
                  <a:lnTo>
                    <a:pt x="246" y="546"/>
                  </a:lnTo>
                  <a:lnTo>
                    <a:pt x="244" y="544"/>
                  </a:lnTo>
                  <a:lnTo>
                    <a:pt x="242" y="544"/>
                  </a:lnTo>
                  <a:lnTo>
                    <a:pt x="239" y="544"/>
                  </a:lnTo>
                  <a:lnTo>
                    <a:pt x="242" y="544"/>
                  </a:lnTo>
                  <a:lnTo>
                    <a:pt x="244" y="544"/>
                  </a:lnTo>
                  <a:lnTo>
                    <a:pt x="244" y="546"/>
                  </a:lnTo>
                  <a:lnTo>
                    <a:pt x="246" y="546"/>
                  </a:lnTo>
                  <a:lnTo>
                    <a:pt x="244" y="546"/>
                  </a:lnTo>
                  <a:lnTo>
                    <a:pt x="246" y="546"/>
                  </a:lnTo>
                  <a:lnTo>
                    <a:pt x="246" y="549"/>
                  </a:lnTo>
                  <a:lnTo>
                    <a:pt x="244" y="549"/>
                  </a:lnTo>
                  <a:lnTo>
                    <a:pt x="244" y="546"/>
                  </a:lnTo>
                  <a:lnTo>
                    <a:pt x="244" y="549"/>
                  </a:lnTo>
                  <a:lnTo>
                    <a:pt x="244" y="546"/>
                  </a:lnTo>
                  <a:lnTo>
                    <a:pt x="244" y="549"/>
                  </a:lnTo>
                  <a:lnTo>
                    <a:pt x="244" y="546"/>
                  </a:lnTo>
                  <a:lnTo>
                    <a:pt x="244" y="549"/>
                  </a:lnTo>
                  <a:lnTo>
                    <a:pt x="242" y="549"/>
                  </a:lnTo>
                  <a:lnTo>
                    <a:pt x="242" y="546"/>
                  </a:lnTo>
                  <a:lnTo>
                    <a:pt x="239" y="546"/>
                  </a:lnTo>
                  <a:lnTo>
                    <a:pt x="239" y="544"/>
                  </a:lnTo>
                  <a:lnTo>
                    <a:pt x="237" y="544"/>
                  </a:lnTo>
                  <a:lnTo>
                    <a:pt x="239" y="544"/>
                  </a:lnTo>
                  <a:lnTo>
                    <a:pt x="237" y="544"/>
                  </a:lnTo>
                  <a:lnTo>
                    <a:pt x="239" y="544"/>
                  </a:lnTo>
                  <a:lnTo>
                    <a:pt x="239" y="542"/>
                  </a:lnTo>
                  <a:lnTo>
                    <a:pt x="237" y="542"/>
                  </a:lnTo>
                  <a:lnTo>
                    <a:pt x="239" y="542"/>
                  </a:lnTo>
                  <a:lnTo>
                    <a:pt x="237" y="542"/>
                  </a:lnTo>
                  <a:lnTo>
                    <a:pt x="237" y="544"/>
                  </a:lnTo>
                  <a:lnTo>
                    <a:pt x="237" y="546"/>
                  </a:lnTo>
                  <a:lnTo>
                    <a:pt x="237" y="544"/>
                  </a:lnTo>
                  <a:lnTo>
                    <a:pt x="239" y="544"/>
                  </a:lnTo>
                  <a:lnTo>
                    <a:pt x="239" y="546"/>
                  </a:lnTo>
                  <a:lnTo>
                    <a:pt x="237" y="546"/>
                  </a:lnTo>
                  <a:lnTo>
                    <a:pt x="239" y="546"/>
                  </a:lnTo>
                  <a:lnTo>
                    <a:pt x="239" y="549"/>
                  </a:lnTo>
                  <a:lnTo>
                    <a:pt x="237" y="549"/>
                  </a:lnTo>
                  <a:lnTo>
                    <a:pt x="237" y="546"/>
                  </a:lnTo>
                  <a:lnTo>
                    <a:pt x="237" y="549"/>
                  </a:lnTo>
                  <a:lnTo>
                    <a:pt x="239" y="549"/>
                  </a:lnTo>
                  <a:lnTo>
                    <a:pt x="239" y="551"/>
                  </a:lnTo>
                  <a:lnTo>
                    <a:pt x="242" y="551"/>
                  </a:lnTo>
                  <a:lnTo>
                    <a:pt x="239" y="551"/>
                  </a:lnTo>
                  <a:lnTo>
                    <a:pt x="242" y="551"/>
                  </a:lnTo>
                  <a:lnTo>
                    <a:pt x="239" y="551"/>
                  </a:lnTo>
                  <a:lnTo>
                    <a:pt x="239" y="554"/>
                  </a:lnTo>
                  <a:lnTo>
                    <a:pt x="239" y="551"/>
                  </a:lnTo>
                  <a:lnTo>
                    <a:pt x="239" y="554"/>
                  </a:lnTo>
                  <a:lnTo>
                    <a:pt x="237" y="554"/>
                  </a:lnTo>
                  <a:lnTo>
                    <a:pt x="234" y="554"/>
                  </a:lnTo>
                  <a:lnTo>
                    <a:pt x="237" y="554"/>
                  </a:lnTo>
                  <a:lnTo>
                    <a:pt x="237" y="556"/>
                  </a:lnTo>
                  <a:lnTo>
                    <a:pt x="234" y="556"/>
                  </a:lnTo>
                  <a:lnTo>
                    <a:pt x="237" y="556"/>
                  </a:lnTo>
                  <a:lnTo>
                    <a:pt x="234" y="556"/>
                  </a:lnTo>
                  <a:lnTo>
                    <a:pt x="232" y="556"/>
                  </a:lnTo>
                  <a:lnTo>
                    <a:pt x="234" y="556"/>
                  </a:lnTo>
                  <a:lnTo>
                    <a:pt x="234" y="554"/>
                  </a:lnTo>
                  <a:lnTo>
                    <a:pt x="232" y="554"/>
                  </a:lnTo>
                  <a:lnTo>
                    <a:pt x="234" y="554"/>
                  </a:lnTo>
                  <a:lnTo>
                    <a:pt x="232" y="556"/>
                  </a:lnTo>
                  <a:lnTo>
                    <a:pt x="230" y="556"/>
                  </a:lnTo>
                  <a:lnTo>
                    <a:pt x="227" y="556"/>
                  </a:lnTo>
                  <a:lnTo>
                    <a:pt x="227" y="558"/>
                  </a:lnTo>
                  <a:lnTo>
                    <a:pt x="227" y="556"/>
                  </a:lnTo>
                  <a:lnTo>
                    <a:pt x="227" y="558"/>
                  </a:lnTo>
                  <a:lnTo>
                    <a:pt x="227" y="561"/>
                  </a:lnTo>
                  <a:lnTo>
                    <a:pt x="227" y="558"/>
                  </a:lnTo>
                  <a:lnTo>
                    <a:pt x="225" y="558"/>
                  </a:lnTo>
                  <a:lnTo>
                    <a:pt x="225" y="561"/>
                  </a:lnTo>
                  <a:lnTo>
                    <a:pt x="225" y="563"/>
                  </a:lnTo>
                  <a:lnTo>
                    <a:pt x="225" y="565"/>
                  </a:lnTo>
                  <a:lnTo>
                    <a:pt x="223" y="568"/>
                  </a:lnTo>
                  <a:lnTo>
                    <a:pt x="225" y="568"/>
                  </a:lnTo>
                  <a:lnTo>
                    <a:pt x="225" y="570"/>
                  </a:lnTo>
                  <a:lnTo>
                    <a:pt x="223" y="570"/>
                  </a:lnTo>
                  <a:lnTo>
                    <a:pt x="225" y="570"/>
                  </a:lnTo>
                  <a:lnTo>
                    <a:pt x="225" y="568"/>
                  </a:lnTo>
                  <a:lnTo>
                    <a:pt x="223" y="568"/>
                  </a:lnTo>
                  <a:lnTo>
                    <a:pt x="223" y="565"/>
                  </a:lnTo>
                  <a:lnTo>
                    <a:pt x="223" y="563"/>
                  </a:lnTo>
                  <a:lnTo>
                    <a:pt x="223" y="565"/>
                  </a:lnTo>
                  <a:lnTo>
                    <a:pt x="220" y="565"/>
                  </a:lnTo>
                  <a:lnTo>
                    <a:pt x="223" y="565"/>
                  </a:lnTo>
                  <a:lnTo>
                    <a:pt x="220" y="565"/>
                  </a:lnTo>
                  <a:lnTo>
                    <a:pt x="223" y="565"/>
                  </a:lnTo>
                  <a:lnTo>
                    <a:pt x="220" y="568"/>
                  </a:lnTo>
                  <a:lnTo>
                    <a:pt x="220" y="565"/>
                  </a:lnTo>
                  <a:lnTo>
                    <a:pt x="220" y="568"/>
                  </a:lnTo>
                  <a:lnTo>
                    <a:pt x="223" y="568"/>
                  </a:lnTo>
                  <a:lnTo>
                    <a:pt x="223" y="570"/>
                  </a:lnTo>
                  <a:lnTo>
                    <a:pt x="220" y="570"/>
                  </a:lnTo>
                  <a:lnTo>
                    <a:pt x="220" y="568"/>
                  </a:lnTo>
                  <a:lnTo>
                    <a:pt x="220" y="565"/>
                  </a:lnTo>
                  <a:lnTo>
                    <a:pt x="223" y="565"/>
                  </a:lnTo>
                  <a:lnTo>
                    <a:pt x="220" y="565"/>
                  </a:lnTo>
                  <a:lnTo>
                    <a:pt x="220" y="563"/>
                  </a:lnTo>
                  <a:lnTo>
                    <a:pt x="220" y="565"/>
                  </a:lnTo>
                  <a:lnTo>
                    <a:pt x="220" y="563"/>
                  </a:lnTo>
                  <a:lnTo>
                    <a:pt x="220" y="561"/>
                  </a:lnTo>
                  <a:lnTo>
                    <a:pt x="218" y="561"/>
                  </a:lnTo>
                  <a:lnTo>
                    <a:pt x="220" y="563"/>
                  </a:lnTo>
                  <a:lnTo>
                    <a:pt x="218" y="563"/>
                  </a:lnTo>
                  <a:lnTo>
                    <a:pt x="220" y="563"/>
                  </a:lnTo>
                  <a:lnTo>
                    <a:pt x="220" y="565"/>
                  </a:lnTo>
                  <a:lnTo>
                    <a:pt x="218" y="565"/>
                  </a:lnTo>
                  <a:lnTo>
                    <a:pt x="220" y="565"/>
                  </a:lnTo>
                  <a:lnTo>
                    <a:pt x="218" y="565"/>
                  </a:lnTo>
                  <a:lnTo>
                    <a:pt x="218" y="563"/>
                  </a:lnTo>
                  <a:lnTo>
                    <a:pt x="218" y="565"/>
                  </a:lnTo>
                  <a:lnTo>
                    <a:pt x="218" y="563"/>
                  </a:lnTo>
                  <a:lnTo>
                    <a:pt x="218" y="561"/>
                  </a:lnTo>
                  <a:lnTo>
                    <a:pt x="218" y="558"/>
                  </a:lnTo>
                  <a:lnTo>
                    <a:pt x="218" y="556"/>
                  </a:lnTo>
                  <a:lnTo>
                    <a:pt x="218" y="554"/>
                  </a:lnTo>
                  <a:lnTo>
                    <a:pt x="220" y="554"/>
                  </a:lnTo>
                  <a:lnTo>
                    <a:pt x="218" y="554"/>
                  </a:lnTo>
                  <a:lnTo>
                    <a:pt x="218" y="556"/>
                  </a:lnTo>
                  <a:lnTo>
                    <a:pt x="216" y="556"/>
                  </a:lnTo>
                  <a:lnTo>
                    <a:pt x="216" y="554"/>
                  </a:lnTo>
                  <a:lnTo>
                    <a:pt x="218" y="554"/>
                  </a:lnTo>
                  <a:lnTo>
                    <a:pt x="216" y="554"/>
                  </a:lnTo>
                  <a:lnTo>
                    <a:pt x="216" y="551"/>
                  </a:lnTo>
                  <a:lnTo>
                    <a:pt x="216" y="549"/>
                  </a:lnTo>
                  <a:lnTo>
                    <a:pt x="216" y="551"/>
                  </a:lnTo>
                  <a:lnTo>
                    <a:pt x="216" y="554"/>
                  </a:lnTo>
                  <a:lnTo>
                    <a:pt x="216" y="556"/>
                  </a:lnTo>
                  <a:lnTo>
                    <a:pt x="213" y="556"/>
                  </a:lnTo>
                  <a:lnTo>
                    <a:pt x="216" y="556"/>
                  </a:lnTo>
                  <a:lnTo>
                    <a:pt x="213" y="556"/>
                  </a:lnTo>
                  <a:lnTo>
                    <a:pt x="213" y="558"/>
                  </a:lnTo>
                  <a:lnTo>
                    <a:pt x="213" y="556"/>
                  </a:lnTo>
                  <a:lnTo>
                    <a:pt x="213" y="558"/>
                  </a:lnTo>
                  <a:lnTo>
                    <a:pt x="213" y="561"/>
                  </a:lnTo>
                  <a:lnTo>
                    <a:pt x="216" y="561"/>
                  </a:lnTo>
                  <a:lnTo>
                    <a:pt x="216" y="558"/>
                  </a:lnTo>
                  <a:lnTo>
                    <a:pt x="213" y="558"/>
                  </a:lnTo>
                  <a:lnTo>
                    <a:pt x="216" y="558"/>
                  </a:lnTo>
                  <a:lnTo>
                    <a:pt x="216" y="556"/>
                  </a:lnTo>
                  <a:lnTo>
                    <a:pt x="216" y="558"/>
                  </a:lnTo>
                  <a:lnTo>
                    <a:pt x="218" y="558"/>
                  </a:lnTo>
                  <a:lnTo>
                    <a:pt x="218" y="561"/>
                  </a:lnTo>
                  <a:lnTo>
                    <a:pt x="216" y="561"/>
                  </a:lnTo>
                  <a:lnTo>
                    <a:pt x="218" y="561"/>
                  </a:lnTo>
                  <a:lnTo>
                    <a:pt x="216" y="561"/>
                  </a:lnTo>
                  <a:lnTo>
                    <a:pt x="218" y="561"/>
                  </a:lnTo>
                  <a:lnTo>
                    <a:pt x="216" y="561"/>
                  </a:lnTo>
                  <a:lnTo>
                    <a:pt x="216" y="563"/>
                  </a:lnTo>
                  <a:lnTo>
                    <a:pt x="218" y="563"/>
                  </a:lnTo>
                  <a:lnTo>
                    <a:pt x="216" y="563"/>
                  </a:lnTo>
                  <a:lnTo>
                    <a:pt x="216" y="565"/>
                  </a:lnTo>
                  <a:lnTo>
                    <a:pt x="216" y="563"/>
                  </a:lnTo>
                  <a:lnTo>
                    <a:pt x="216" y="561"/>
                  </a:lnTo>
                  <a:lnTo>
                    <a:pt x="213" y="561"/>
                  </a:lnTo>
                  <a:lnTo>
                    <a:pt x="216" y="561"/>
                  </a:lnTo>
                  <a:lnTo>
                    <a:pt x="213" y="563"/>
                  </a:lnTo>
                  <a:lnTo>
                    <a:pt x="213" y="561"/>
                  </a:lnTo>
                  <a:lnTo>
                    <a:pt x="213" y="563"/>
                  </a:lnTo>
                  <a:lnTo>
                    <a:pt x="213" y="561"/>
                  </a:lnTo>
                  <a:lnTo>
                    <a:pt x="213" y="563"/>
                  </a:lnTo>
                  <a:lnTo>
                    <a:pt x="213" y="561"/>
                  </a:lnTo>
                  <a:lnTo>
                    <a:pt x="213" y="563"/>
                  </a:lnTo>
                  <a:lnTo>
                    <a:pt x="213" y="565"/>
                  </a:lnTo>
                  <a:lnTo>
                    <a:pt x="211" y="565"/>
                  </a:lnTo>
                  <a:lnTo>
                    <a:pt x="213" y="565"/>
                  </a:lnTo>
                  <a:lnTo>
                    <a:pt x="211" y="565"/>
                  </a:lnTo>
                  <a:lnTo>
                    <a:pt x="213" y="568"/>
                  </a:lnTo>
                  <a:lnTo>
                    <a:pt x="213" y="565"/>
                  </a:lnTo>
                  <a:lnTo>
                    <a:pt x="213" y="568"/>
                  </a:lnTo>
                  <a:lnTo>
                    <a:pt x="211" y="568"/>
                  </a:lnTo>
                  <a:lnTo>
                    <a:pt x="213" y="568"/>
                  </a:lnTo>
                  <a:lnTo>
                    <a:pt x="211" y="568"/>
                  </a:lnTo>
                  <a:lnTo>
                    <a:pt x="211" y="565"/>
                  </a:lnTo>
                  <a:lnTo>
                    <a:pt x="208" y="565"/>
                  </a:lnTo>
                  <a:lnTo>
                    <a:pt x="208" y="568"/>
                  </a:lnTo>
                  <a:lnTo>
                    <a:pt x="208" y="565"/>
                  </a:lnTo>
                  <a:lnTo>
                    <a:pt x="211" y="568"/>
                  </a:lnTo>
                  <a:lnTo>
                    <a:pt x="208" y="568"/>
                  </a:lnTo>
                  <a:lnTo>
                    <a:pt x="211" y="568"/>
                  </a:lnTo>
                  <a:lnTo>
                    <a:pt x="208" y="568"/>
                  </a:lnTo>
                  <a:lnTo>
                    <a:pt x="208" y="570"/>
                  </a:lnTo>
                  <a:lnTo>
                    <a:pt x="208" y="568"/>
                  </a:lnTo>
                  <a:lnTo>
                    <a:pt x="208" y="570"/>
                  </a:lnTo>
                  <a:lnTo>
                    <a:pt x="211" y="570"/>
                  </a:lnTo>
                  <a:lnTo>
                    <a:pt x="208" y="570"/>
                  </a:lnTo>
                  <a:lnTo>
                    <a:pt x="206" y="570"/>
                  </a:lnTo>
                  <a:lnTo>
                    <a:pt x="206" y="573"/>
                  </a:lnTo>
                  <a:lnTo>
                    <a:pt x="204" y="573"/>
                  </a:lnTo>
                  <a:lnTo>
                    <a:pt x="204" y="575"/>
                  </a:lnTo>
                  <a:lnTo>
                    <a:pt x="201" y="575"/>
                  </a:lnTo>
                  <a:lnTo>
                    <a:pt x="201" y="573"/>
                  </a:lnTo>
                  <a:lnTo>
                    <a:pt x="199" y="573"/>
                  </a:lnTo>
                  <a:lnTo>
                    <a:pt x="201" y="573"/>
                  </a:lnTo>
                  <a:lnTo>
                    <a:pt x="199" y="573"/>
                  </a:lnTo>
                  <a:lnTo>
                    <a:pt x="201" y="573"/>
                  </a:lnTo>
                  <a:lnTo>
                    <a:pt x="199" y="573"/>
                  </a:lnTo>
                  <a:lnTo>
                    <a:pt x="199" y="575"/>
                  </a:lnTo>
                  <a:lnTo>
                    <a:pt x="199" y="573"/>
                  </a:lnTo>
                  <a:lnTo>
                    <a:pt x="199" y="575"/>
                  </a:lnTo>
                  <a:lnTo>
                    <a:pt x="199" y="573"/>
                  </a:lnTo>
                  <a:lnTo>
                    <a:pt x="199" y="575"/>
                  </a:lnTo>
                  <a:lnTo>
                    <a:pt x="199" y="573"/>
                  </a:lnTo>
                  <a:lnTo>
                    <a:pt x="197" y="573"/>
                  </a:lnTo>
                  <a:lnTo>
                    <a:pt x="194" y="573"/>
                  </a:lnTo>
                  <a:lnTo>
                    <a:pt x="197" y="573"/>
                  </a:lnTo>
                  <a:lnTo>
                    <a:pt x="197" y="575"/>
                  </a:lnTo>
                  <a:lnTo>
                    <a:pt x="194" y="575"/>
                  </a:lnTo>
                  <a:lnTo>
                    <a:pt x="197" y="575"/>
                  </a:lnTo>
                  <a:lnTo>
                    <a:pt x="194" y="575"/>
                  </a:lnTo>
                  <a:lnTo>
                    <a:pt x="197" y="575"/>
                  </a:lnTo>
                  <a:lnTo>
                    <a:pt x="199" y="575"/>
                  </a:lnTo>
                  <a:lnTo>
                    <a:pt x="199" y="577"/>
                  </a:lnTo>
                  <a:lnTo>
                    <a:pt x="197" y="577"/>
                  </a:lnTo>
                  <a:lnTo>
                    <a:pt x="194" y="577"/>
                  </a:lnTo>
                  <a:lnTo>
                    <a:pt x="197" y="577"/>
                  </a:lnTo>
                  <a:lnTo>
                    <a:pt x="194" y="577"/>
                  </a:lnTo>
                  <a:lnTo>
                    <a:pt x="194" y="575"/>
                  </a:lnTo>
                  <a:lnTo>
                    <a:pt x="194" y="577"/>
                  </a:lnTo>
                  <a:lnTo>
                    <a:pt x="192" y="577"/>
                  </a:lnTo>
                  <a:lnTo>
                    <a:pt x="194" y="577"/>
                  </a:lnTo>
                  <a:lnTo>
                    <a:pt x="194" y="580"/>
                  </a:lnTo>
                  <a:lnTo>
                    <a:pt x="192" y="580"/>
                  </a:lnTo>
                  <a:lnTo>
                    <a:pt x="189" y="580"/>
                  </a:lnTo>
                  <a:lnTo>
                    <a:pt x="187" y="580"/>
                  </a:lnTo>
                  <a:lnTo>
                    <a:pt x="185" y="580"/>
                  </a:lnTo>
                  <a:lnTo>
                    <a:pt x="182" y="580"/>
                  </a:lnTo>
                  <a:lnTo>
                    <a:pt x="182" y="577"/>
                  </a:lnTo>
                  <a:lnTo>
                    <a:pt x="180" y="577"/>
                  </a:lnTo>
                  <a:lnTo>
                    <a:pt x="178" y="577"/>
                  </a:lnTo>
                  <a:lnTo>
                    <a:pt x="175" y="577"/>
                  </a:lnTo>
                  <a:lnTo>
                    <a:pt x="173" y="577"/>
                  </a:lnTo>
                  <a:lnTo>
                    <a:pt x="170" y="577"/>
                  </a:lnTo>
                  <a:lnTo>
                    <a:pt x="168" y="577"/>
                  </a:lnTo>
                  <a:lnTo>
                    <a:pt x="170" y="577"/>
                  </a:lnTo>
                  <a:lnTo>
                    <a:pt x="168" y="580"/>
                  </a:lnTo>
                  <a:lnTo>
                    <a:pt x="168" y="577"/>
                  </a:lnTo>
                  <a:lnTo>
                    <a:pt x="166" y="577"/>
                  </a:lnTo>
                  <a:lnTo>
                    <a:pt x="166" y="580"/>
                  </a:lnTo>
                  <a:lnTo>
                    <a:pt x="168" y="580"/>
                  </a:lnTo>
                  <a:lnTo>
                    <a:pt x="170" y="580"/>
                  </a:lnTo>
                  <a:lnTo>
                    <a:pt x="173" y="580"/>
                  </a:lnTo>
                  <a:lnTo>
                    <a:pt x="170" y="580"/>
                  </a:lnTo>
                  <a:lnTo>
                    <a:pt x="173" y="580"/>
                  </a:lnTo>
                  <a:lnTo>
                    <a:pt x="173" y="582"/>
                  </a:lnTo>
                  <a:lnTo>
                    <a:pt x="175" y="582"/>
                  </a:lnTo>
                  <a:lnTo>
                    <a:pt x="175" y="580"/>
                  </a:lnTo>
                  <a:lnTo>
                    <a:pt x="175" y="577"/>
                  </a:lnTo>
                  <a:lnTo>
                    <a:pt x="178" y="580"/>
                  </a:lnTo>
                  <a:lnTo>
                    <a:pt x="180" y="580"/>
                  </a:lnTo>
                  <a:lnTo>
                    <a:pt x="178" y="580"/>
                  </a:lnTo>
                  <a:lnTo>
                    <a:pt x="180" y="580"/>
                  </a:lnTo>
                  <a:lnTo>
                    <a:pt x="178" y="580"/>
                  </a:lnTo>
                  <a:lnTo>
                    <a:pt x="180" y="580"/>
                  </a:lnTo>
                  <a:lnTo>
                    <a:pt x="182" y="580"/>
                  </a:lnTo>
                  <a:lnTo>
                    <a:pt x="185" y="580"/>
                  </a:lnTo>
                  <a:lnTo>
                    <a:pt x="185" y="582"/>
                  </a:lnTo>
                  <a:lnTo>
                    <a:pt x="185" y="580"/>
                  </a:lnTo>
                  <a:lnTo>
                    <a:pt x="187" y="580"/>
                  </a:lnTo>
                  <a:lnTo>
                    <a:pt x="187" y="582"/>
                  </a:lnTo>
                  <a:lnTo>
                    <a:pt x="189" y="582"/>
                  </a:lnTo>
                  <a:lnTo>
                    <a:pt x="189" y="584"/>
                  </a:lnTo>
                  <a:lnTo>
                    <a:pt x="187" y="584"/>
                  </a:lnTo>
                  <a:lnTo>
                    <a:pt x="189" y="584"/>
                  </a:lnTo>
                  <a:lnTo>
                    <a:pt x="192" y="584"/>
                  </a:lnTo>
                  <a:lnTo>
                    <a:pt x="192" y="587"/>
                  </a:lnTo>
                  <a:lnTo>
                    <a:pt x="189" y="587"/>
                  </a:lnTo>
                  <a:lnTo>
                    <a:pt x="189" y="589"/>
                  </a:lnTo>
                  <a:lnTo>
                    <a:pt x="187" y="589"/>
                  </a:lnTo>
                  <a:lnTo>
                    <a:pt x="185" y="589"/>
                  </a:lnTo>
                  <a:lnTo>
                    <a:pt x="182" y="589"/>
                  </a:lnTo>
                  <a:lnTo>
                    <a:pt x="180" y="589"/>
                  </a:lnTo>
                  <a:lnTo>
                    <a:pt x="180" y="587"/>
                  </a:lnTo>
                  <a:lnTo>
                    <a:pt x="178" y="587"/>
                  </a:lnTo>
                  <a:lnTo>
                    <a:pt x="175" y="587"/>
                  </a:lnTo>
                  <a:lnTo>
                    <a:pt x="178" y="587"/>
                  </a:lnTo>
                  <a:lnTo>
                    <a:pt x="175" y="587"/>
                  </a:lnTo>
                  <a:lnTo>
                    <a:pt x="178" y="587"/>
                  </a:lnTo>
                  <a:lnTo>
                    <a:pt x="178" y="589"/>
                  </a:lnTo>
                  <a:lnTo>
                    <a:pt x="180" y="589"/>
                  </a:lnTo>
                  <a:lnTo>
                    <a:pt x="182" y="589"/>
                  </a:lnTo>
                  <a:lnTo>
                    <a:pt x="182" y="592"/>
                  </a:lnTo>
                  <a:lnTo>
                    <a:pt x="185" y="592"/>
                  </a:lnTo>
                  <a:lnTo>
                    <a:pt x="185" y="594"/>
                  </a:lnTo>
                  <a:lnTo>
                    <a:pt x="185" y="592"/>
                  </a:lnTo>
                  <a:lnTo>
                    <a:pt x="185" y="594"/>
                  </a:lnTo>
                  <a:lnTo>
                    <a:pt x="185" y="592"/>
                  </a:lnTo>
                  <a:lnTo>
                    <a:pt x="187" y="592"/>
                  </a:lnTo>
                  <a:lnTo>
                    <a:pt x="187" y="594"/>
                  </a:lnTo>
                  <a:lnTo>
                    <a:pt x="185" y="594"/>
                  </a:lnTo>
                  <a:lnTo>
                    <a:pt x="182" y="594"/>
                  </a:lnTo>
                  <a:lnTo>
                    <a:pt x="185" y="594"/>
                  </a:lnTo>
                  <a:lnTo>
                    <a:pt x="185" y="596"/>
                  </a:lnTo>
                  <a:lnTo>
                    <a:pt x="187" y="594"/>
                  </a:lnTo>
                  <a:lnTo>
                    <a:pt x="187" y="596"/>
                  </a:lnTo>
                  <a:lnTo>
                    <a:pt x="189" y="596"/>
                  </a:lnTo>
                  <a:lnTo>
                    <a:pt x="189" y="599"/>
                  </a:lnTo>
                  <a:lnTo>
                    <a:pt x="189" y="596"/>
                  </a:lnTo>
                  <a:lnTo>
                    <a:pt x="189" y="599"/>
                  </a:lnTo>
                  <a:lnTo>
                    <a:pt x="187" y="599"/>
                  </a:lnTo>
                  <a:lnTo>
                    <a:pt x="189" y="599"/>
                  </a:lnTo>
                  <a:lnTo>
                    <a:pt x="189" y="596"/>
                  </a:lnTo>
                  <a:lnTo>
                    <a:pt x="189" y="599"/>
                  </a:lnTo>
                  <a:lnTo>
                    <a:pt x="187" y="599"/>
                  </a:lnTo>
                  <a:lnTo>
                    <a:pt x="187" y="596"/>
                  </a:lnTo>
                  <a:lnTo>
                    <a:pt x="189" y="596"/>
                  </a:lnTo>
                  <a:lnTo>
                    <a:pt x="187" y="596"/>
                  </a:lnTo>
                  <a:lnTo>
                    <a:pt x="189" y="596"/>
                  </a:lnTo>
                  <a:lnTo>
                    <a:pt x="187" y="596"/>
                  </a:lnTo>
                  <a:lnTo>
                    <a:pt x="185" y="596"/>
                  </a:lnTo>
                  <a:lnTo>
                    <a:pt x="187" y="596"/>
                  </a:lnTo>
                  <a:lnTo>
                    <a:pt x="187" y="599"/>
                  </a:lnTo>
                  <a:lnTo>
                    <a:pt x="185" y="599"/>
                  </a:lnTo>
                  <a:lnTo>
                    <a:pt x="185" y="596"/>
                  </a:lnTo>
                  <a:lnTo>
                    <a:pt x="185" y="599"/>
                  </a:lnTo>
                  <a:lnTo>
                    <a:pt x="185" y="596"/>
                  </a:lnTo>
                  <a:lnTo>
                    <a:pt x="185" y="599"/>
                  </a:lnTo>
                  <a:lnTo>
                    <a:pt x="187" y="599"/>
                  </a:lnTo>
                  <a:lnTo>
                    <a:pt x="187" y="601"/>
                  </a:lnTo>
                  <a:lnTo>
                    <a:pt x="189" y="601"/>
                  </a:lnTo>
                  <a:lnTo>
                    <a:pt x="189" y="603"/>
                  </a:lnTo>
                  <a:lnTo>
                    <a:pt x="187" y="603"/>
                  </a:lnTo>
                  <a:lnTo>
                    <a:pt x="187" y="606"/>
                  </a:lnTo>
                  <a:lnTo>
                    <a:pt x="185" y="606"/>
                  </a:lnTo>
                  <a:lnTo>
                    <a:pt x="187" y="606"/>
                  </a:lnTo>
                  <a:lnTo>
                    <a:pt x="185" y="606"/>
                  </a:lnTo>
                  <a:lnTo>
                    <a:pt x="185" y="603"/>
                  </a:lnTo>
                  <a:lnTo>
                    <a:pt x="182" y="603"/>
                  </a:lnTo>
                  <a:lnTo>
                    <a:pt x="182" y="601"/>
                  </a:lnTo>
                  <a:lnTo>
                    <a:pt x="180" y="601"/>
                  </a:lnTo>
                  <a:lnTo>
                    <a:pt x="182" y="601"/>
                  </a:lnTo>
                  <a:lnTo>
                    <a:pt x="182" y="603"/>
                  </a:lnTo>
                  <a:lnTo>
                    <a:pt x="185" y="606"/>
                  </a:lnTo>
                  <a:lnTo>
                    <a:pt x="185" y="603"/>
                  </a:lnTo>
                  <a:lnTo>
                    <a:pt x="185" y="606"/>
                  </a:lnTo>
                  <a:lnTo>
                    <a:pt x="182" y="606"/>
                  </a:lnTo>
                  <a:lnTo>
                    <a:pt x="185" y="606"/>
                  </a:lnTo>
                  <a:lnTo>
                    <a:pt x="182" y="606"/>
                  </a:lnTo>
                  <a:lnTo>
                    <a:pt x="182" y="603"/>
                  </a:lnTo>
                  <a:lnTo>
                    <a:pt x="182" y="606"/>
                  </a:lnTo>
                  <a:lnTo>
                    <a:pt x="182" y="603"/>
                  </a:lnTo>
                  <a:lnTo>
                    <a:pt x="182" y="606"/>
                  </a:lnTo>
                  <a:lnTo>
                    <a:pt x="185" y="606"/>
                  </a:lnTo>
                  <a:lnTo>
                    <a:pt x="185" y="608"/>
                  </a:lnTo>
                  <a:lnTo>
                    <a:pt x="185" y="606"/>
                  </a:lnTo>
                  <a:lnTo>
                    <a:pt x="185" y="608"/>
                  </a:lnTo>
                  <a:lnTo>
                    <a:pt x="187" y="608"/>
                  </a:lnTo>
                  <a:lnTo>
                    <a:pt x="187" y="611"/>
                  </a:lnTo>
                  <a:lnTo>
                    <a:pt x="187" y="608"/>
                  </a:lnTo>
                  <a:lnTo>
                    <a:pt x="185" y="608"/>
                  </a:lnTo>
                  <a:lnTo>
                    <a:pt x="187" y="608"/>
                  </a:lnTo>
                  <a:lnTo>
                    <a:pt x="185" y="608"/>
                  </a:lnTo>
                  <a:lnTo>
                    <a:pt x="182" y="608"/>
                  </a:lnTo>
                  <a:lnTo>
                    <a:pt x="185" y="608"/>
                  </a:lnTo>
                  <a:lnTo>
                    <a:pt x="185" y="611"/>
                  </a:lnTo>
                  <a:lnTo>
                    <a:pt x="187" y="611"/>
                  </a:lnTo>
                  <a:lnTo>
                    <a:pt x="185" y="611"/>
                  </a:lnTo>
                  <a:lnTo>
                    <a:pt x="187" y="611"/>
                  </a:lnTo>
                  <a:lnTo>
                    <a:pt x="185" y="611"/>
                  </a:lnTo>
                  <a:lnTo>
                    <a:pt x="187" y="611"/>
                  </a:lnTo>
                  <a:lnTo>
                    <a:pt x="185" y="611"/>
                  </a:lnTo>
                  <a:lnTo>
                    <a:pt x="182" y="611"/>
                  </a:lnTo>
                  <a:lnTo>
                    <a:pt x="185" y="611"/>
                  </a:lnTo>
                  <a:lnTo>
                    <a:pt x="182" y="611"/>
                  </a:lnTo>
                  <a:lnTo>
                    <a:pt x="185" y="611"/>
                  </a:lnTo>
                  <a:lnTo>
                    <a:pt x="185" y="613"/>
                  </a:lnTo>
                  <a:lnTo>
                    <a:pt x="182" y="613"/>
                  </a:lnTo>
                  <a:lnTo>
                    <a:pt x="182" y="611"/>
                  </a:lnTo>
                  <a:lnTo>
                    <a:pt x="182" y="608"/>
                  </a:lnTo>
                  <a:lnTo>
                    <a:pt x="182" y="611"/>
                  </a:lnTo>
                  <a:lnTo>
                    <a:pt x="182" y="613"/>
                  </a:lnTo>
                  <a:lnTo>
                    <a:pt x="180" y="613"/>
                  </a:lnTo>
                  <a:lnTo>
                    <a:pt x="182" y="613"/>
                  </a:lnTo>
                  <a:lnTo>
                    <a:pt x="185" y="613"/>
                  </a:lnTo>
                  <a:lnTo>
                    <a:pt x="185" y="615"/>
                  </a:lnTo>
                  <a:lnTo>
                    <a:pt x="185" y="613"/>
                  </a:lnTo>
                  <a:lnTo>
                    <a:pt x="185" y="611"/>
                  </a:lnTo>
                  <a:lnTo>
                    <a:pt x="187" y="611"/>
                  </a:lnTo>
                  <a:lnTo>
                    <a:pt x="187" y="613"/>
                  </a:lnTo>
                  <a:lnTo>
                    <a:pt x="185" y="613"/>
                  </a:lnTo>
                  <a:lnTo>
                    <a:pt x="187" y="615"/>
                  </a:lnTo>
                  <a:lnTo>
                    <a:pt x="185" y="615"/>
                  </a:lnTo>
                  <a:lnTo>
                    <a:pt x="187" y="615"/>
                  </a:lnTo>
                  <a:lnTo>
                    <a:pt x="185" y="615"/>
                  </a:lnTo>
                  <a:lnTo>
                    <a:pt x="187" y="615"/>
                  </a:lnTo>
                  <a:lnTo>
                    <a:pt x="185" y="615"/>
                  </a:lnTo>
                  <a:lnTo>
                    <a:pt x="187" y="615"/>
                  </a:lnTo>
                  <a:lnTo>
                    <a:pt x="185" y="615"/>
                  </a:lnTo>
                  <a:lnTo>
                    <a:pt x="185" y="618"/>
                  </a:lnTo>
                  <a:lnTo>
                    <a:pt x="187" y="618"/>
                  </a:lnTo>
                  <a:lnTo>
                    <a:pt x="187" y="615"/>
                  </a:lnTo>
                  <a:lnTo>
                    <a:pt x="187" y="618"/>
                  </a:lnTo>
                  <a:lnTo>
                    <a:pt x="185" y="618"/>
                  </a:lnTo>
                  <a:lnTo>
                    <a:pt x="187" y="618"/>
                  </a:lnTo>
                  <a:lnTo>
                    <a:pt x="185" y="618"/>
                  </a:lnTo>
                  <a:lnTo>
                    <a:pt x="187" y="618"/>
                  </a:lnTo>
                  <a:lnTo>
                    <a:pt x="187" y="620"/>
                  </a:lnTo>
                  <a:lnTo>
                    <a:pt x="187" y="618"/>
                  </a:lnTo>
                  <a:lnTo>
                    <a:pt x="187" y="620"/>
                  </a:lnTo>
                  <a:lnTo>
                    <a:pt x="185" y="620"/>
                  </a:lnTo>
                  <a:lnTo>
                    <a:pt x="185" y="618"/>
                  </a:lnTo>
                  <a:lnTo>
                    <a:pt x="182" y="618"/>
                  </a:lnTo>
                  <a:lnTo>
                    <a:pt x="185" y="618"/>
                  </a:lnTo>
                  <a:lnTo>
                    <a:pt x="182" y="618"/>
                  </a:lnTo>
                  <a:lnTo>
                    <a:pt x="180" y="618"/>
                  </a:lnTo>
                  <a:lnTo>
                    <a:pt x="180" y="615"/>
                  </a:lnTo>
                  <a:lnTo>
                    <a:pt x="182" y="615"/>
                  </a:lnTo>
                  <a:lnTo>
                    <a:pt x="180" y="615"/>
                  </a:lnTo>
                  <a:lnTo>
                    <a:pt x="180" y="613"/>
                  </a:lnTo>
                  <a:lnTo>
                    <a:pt x="178" y="613"/>
                  </a:lnTo>
                  <a:lnTo>
                    <a:pt x="178" y="615"/>
                  </a:lnTo>
                  <a:lnTo>
                    <a:pt x="180" y="615"/>
                  </a:lnTo>
                  <a:lnTo>
                    <a:pt x="180" y="618"/>
                  </a:lnTo>
                  <a:lnTo>
                    <a:pt x="178" y="618"/>
                  </a:lnTo>
                  <a:lnTo>
                    <a:pt x="180" y="618"/>
                  </a:lnTo>
                  <a:lnTo>
                    <a:pt x="178" y="618"/>
                  </a:lnTo>
                  <a:lnTo>
                    <a:pt x="178" y="615"/>
                  </a:lnTo>
                  <a:lnTo>
                    <a:pt x="175" y="615"/>
                  </a:lnTo>
                  <a:lnTo>
                    <a:pt x="175" y="618"/>
                  </a:lnTo>
                  <a:lnTo>
                    <a:pt x="178" y="618"/>
                  </a:lnTo>
                  <a:lnTo>
                    <a:pt x="175" y="618"/>
                  </a:lnTo>
                  <a:lnTo>
                    <a:pt x="178" y="618"/>
                  </a:lnTo>
                  <a:lnTo>
                    <a:pt x="178" y="620"/>
                  </a:lnTo>
                  <a:lnTo>
                    <a:pt x="180" y="620"/>
                  </a:lnTo>
                  <a:lnTo>
                    <a:pt x="182" y="623"/>
                  </a:lnTo>
                  <a:lnTo>
                    <a:pt x="182" y="625"/>
                  </a:lnTo>
                  <a:lnTo>
                    <a:pt x="185" y="625"/>
                  </a:lnTo>
                  <a:lnTo>
                    <a:pt x="182" y="625"/>
                  </a:lnTo>
                  <a:lnTo>
                    <a:pt x="182" y="623"/>
                  </a:lnTo>
                  <a:lnTo>
                    <a:pt x="180" y="623"/>
                  </a:lnTo>
                  <a:lnTo>
                    <a:pt x="180" y="620"/>
                  </a:lnTo>
                  <a:lnTo>
                    <a:pt x="178" y="620"/>
                  </a:lnTo>
                  <a:lnTo>
                    <a:pt x="175" y="620"/>
                  </a:lnTo>
                  <a:lnTo>
                    <a:pt x="175" y="618"/>
                  </a:lnTo>
                  <a:lnTo>
                    <a:pt x="173" y="618"/>
                  </a:lnTo>
                  <a:lnTo>
                    <a:pt x="175" y="618"/>
                  </a:lnTo>
                  <a:lnTo>
                    <a:pt x="175" y="620"/>
                  </a:lnTo>
                  <a:lnTo>
                    <a:pt x="178" y="620"/>
                  </a:lnTo>
                  <a:lnTo>
                    <a:pt x="175" y="620"/>
                  </a:lnTo>
                  <a:lnTo>
                    <a:pt x="178" y="620"/>
                  </a:lnTo>
                  <a:lnTo>
                    <a:pt x="180" y="623"/>
                  </a:lnTo>
                  <a:lnTo>
                    <a:pt x="180" y="625"/>
                  </a:lnTo>
                  <a:lnTo>
                    <a:pt x="182" y="625"/>
                  </a:lnTo>
                  <a:lnTo>
                    <a:pt x="182" y="627"/>
                  </a:lnTo>
                  <a:lnTo>
                    <a:pt x="182" y="625"/>
                  </a:lnTo>
                  <a:lnTo>
                    <a:pt x="182" y="627"/>
                  </a:lnTo>
                  <a:lnTo>
                    <a:pt x="185" y="627"/>
                  </a:lnTo>
                  <a:lnTo>
                    <a:pt x="182" y="625"/>
                  </a:lnTo>
                  <a:lnTo>
                    <a:pt x="185" y="625"/>
                  </a:lnTo>
                  <a:lnTo>
                    <a:pt x="185" y="627"/>
                  </a:lnTo>
                  <a:lnTo>
                    <a:pt x="185" y="625"/>
                  </a:lnTo>
                  <a:lnTo>
                    <a:pt x="185" y="627"/>
                  </a:lnTo>
                  <a:lnTo>
                    <a:pt x="182" y="627"/>
                  </a:lnTo>
                  <a:lnTo>
                    <a:pt x="185" y="627"/>
                  </a:lnTo>
                  <a:lnTo>
                    <a:pt x="185" y="630"/>
                  </a:lnTo>
                  <a:lnTo>
                    <a:pt x="185" y="627"/>
                  </a:lnTo>
                  <a:lnTo>
                    <a:pt x="185" y="630"/>
                  </a:lnTo>
                  <a:lnTo>
                    <a:pt x="185" y="627"/>
                  </a:lnTo>
                  <a:lnTo>
                    <a:pt x="182" y="627"/>
                  </a:lnTo>
                  <a:lnTo>
                    <a:pt x="182" y="630"/>
                  </a:lnTo>
                  <a:lnTo>
                    <a:pt x="182" y="627"/>
                  </a:lnTo>
                  <a:lnTo>
                    <a:pt x="180" y="627"/>
                  </a:lnTo>
                  <a:lnTo>
                    <a:pt x="180" y="625"/>
                  </a:lnTo>
                  <a:lnTo>
                    <a:pt x="180" y="627"/>
                  </a:lnTo>
                  <a:lnTo>
                    <a:pt x="178" y="625"/>
                  </a:lnTo>
                  <a:lnTo>
                    <a:pt x="178" y="627"/>
                  </a:lnTo>
                  <a:lnTo>
                    <a:pt x="180" y="627"/>
                  </a:lnTo>
                  <a:lnTo>
                    <a:pt x="182" y="630"/>
                  </a:lnTo>
                  <a:lnTo>
                    <a:pt x="180" y="630"/>
                  </a:lnTo>
                  <a:lnTo>
                    <a:pt x="182" y="630"/>
                  </a:lnTo>
                  <a:lnTo>
                    <a:pt x="182" y="632"/>
                  </a:lnTo>
                  <a:lnTo>
                    <a:pt x="180" y="632"/>
                  </a:lnTo>
                  <a:lnTo>
                    <a:pt x="182" y="632"/>
                  </a:lnTo>
                  <a:lnTo>
                    <a:pt x="182" y="634"/>
                  </a:lnTo>
                  <a:lnTo>
                    <a:pt x="180" y="634"/>
                  </a:lnTo>
                  <a:lnTo>
                    <a:pt x="180" y="632"/>
                  </a:lnTo>
                  <a:lnTo>
                    <a:pt x="180" y="634"/>
                  </a:lnTo>
                  <a:lnTo>
                    <a:pt x="180" y="632"/>
                  </a:lnTo>
                  <a:lnTo>
                    <a:pt x="178" y="632"/>
                  </a:lnTo>
                  <a:lnTo>
                    <a:pt x="180" y="632"/>
                  </a:lnTo>
                  <a:lnTo>
                    <a:pt x="178" y="632"/>
                  </a:lnTo>
                  <a:lnTo>
                    <a:pt x="178" y="634"/>
                  </a:lnTo>
                  <a:lnTo>
                    <a:pt x="178" y="632"/>
                  </a:lnTo>
                  <a:lnTo>
                    <a:pt x="178" y="634"/>
                  </a:lnTo>
                  <a:lnTo>
                    <a:pt x="180" y="634"/>
                  </a:lnTo>
                  <a:lnTo>
                    <a:pt x="178" y="634"/>
                  </a:lnTo>
                  <a:lnTo>
                    <a:pt x="180" y="634"/>
                  </a:lnTo>
                  <a:lnTo>
                    <a:pt x="180" y="637"/>
                  </a:lnTo>
                  <a:lnTo>
                    <a:pt x="180" y="634"/>
                  </a:lnTo>
                  <a:lnTo>
                    <a:pt x="182" y="634"/>
                  </a:lnTo>
                  <a:lnTo>
                    <a:pt x="182" y="637"/>
                  </a:lnTo>
                  <a:lnTo>
                    <a:pt x="182" y="639"/>
                  </a:lnTo>
                  <a:lnTo>
                    <a:pt x="185" y="639"/>
                  </a:lnTo>
                  <a:lnTo>
                    <a:pt x="182" y="639"/>
                  </a:lnTo>
                  <a:lnTo>
                    <a:pt x="185" y="639"/>
                  </a:lnTo>
                  <a:lnTo>
                    <a:pt x="182" y="642"/>
                  </a:lnTo>
                  <a:lnTo>
                    <a:pt x="185" y="642"/>
                  </a:lnTo>
                  <a:lnTo>
                    <a:pt x="185" y="639"/>
                  </a:lnTo>
                  <a:lnTo>
                    <a:pt x="185" y="642"/>
                  </a:lnTo>
                  <a:lnTo>
                    <a:pt x="182" y="642"/>
                  </a:lnTo>
                  <a:lnTo>
                    <a:pt x="185" y="642"/>
                  </a:lnTo>
                  <a:lnTo>
                    <a:pt x="182" y="642"/>
                  </a:lnTo>
                  <a:lnTo>
                    <a:pt x="182" y="644"/>
                  </a:lnTo>
                  <a:lnTo>
                    <a:pt x="182" y="642"/>
                  </a:lnTo>
                  <a:lnTo>
                    <a:pt x="182" y="644"/>
                  </a:lnTo>
                  <a:lnTo>
                    <a:pt x="180" y="644"/>
                  </a:lnTo>
                  <a:lnTo>
                    <a:pt x="180" y="646"/>
                  </a:lnTo>
                  <a:lnTo>
                    <a:pt x="178" y="646"/>
                  </a:lnTo>
                  <a:lnTo>
                    <a:pt x="180" y="646"/>
                  </a:lnTo>
                  <a:lnTo>
                    <a:pt x="180" y="649"/>
                  </a:lnTo>
                  <a:lnTo>
                    <a:pt x="178" y="649"/>
                  </a:lnTo>
                  <a:lnTo>
                    <a:pt x="175" y="649"/>
                  </a:lnTo>
                  <a:lnTo>
                    <a:pt x="178" y="649"/>
                  </a:lnTo>
                  <a:lnTo>
                    <a:pt x="175" y="649"/>
                  </a:lnTo>
                  <a:lnTo>
                    <a:pt x="178" y="649"/>
                  </a:lnTo>
                  <a:lnTo>
                    <a:pt x="175" y="649"/>
                  </a:lnTo>
                  <a:lnTo>
                    <a:pt x="175" y="651"/>
                  </a:lnTo>
                  <a:lnTo>
                    <a:pt x="178" y="651"/>
                  </a:lnTo>
                  <a:lnTo>
                    <a:pt x="178" y="653"/>
                  </a:lnTo>
                  <a:lnTo>
                    <a:pt x="175" y="653"/>
                  </a:lnTo>
                  <a:lnTo>
                    <a:pt x="175" y="656"/>
                  </a:lnTo>
                  <a:lnTo>
                    <a:pt x="178" y="656"/>
                  </a:lnTo>
                  <a:lnTo>
                    <a:pt x="178" y="658"/>
                  </a:lnTo>
                  <a:lnTo>
                    <a:pt x="180" y="658"/>
                  </a:lnTo>
                  <a:lnTo>
                    <a:pt x="180" y="661"/>
                  </a:lnTo>
                  <a:lnTo>
                    <a:pt x="178" y="661"/>
                  </a:lnTo>
                  <a:lnTo>
                    <a:pt x="180" y="661"/>
                  </a:lnTo>
                  <a:lnTo>
                    <a:pt x="178" y="661"/>
                  </a:lnTo>
                  <a:lnTo>
                    <a:pt x="178" y="663"/>
                  </a:lnTo>
                  <a:lnTo>
                    <a:pt x="175" y="663"/>
                  </a:lnTo>
                  <a:lnTo>
                    <a:pt x="175" y="661"/>
                  </a:lnTo>
                  <a:lnTo>
                    <a:pt x="175" y="663"/>
                  </a:lnTo>
                  <a:lnTo>
                    <a:pt x="178" y="663"/>
                  </a:lnTo>
                  <a:lnTo>
                    <a:pt x="175" y="663"/>
                  </a:lnTo>
                  <a:lnTo>
                    <a:pt x="178" y="663"/>
                  </a:lnTo>
                  <a:lnTo>
                    <a:pt x="175" y="663"/>
                  </a:lnTo>
                  <a:lnTo>
                    <a:pt x="175" y="665"/>
                  </a:lnTo>
                  <a:lnTo>
                    <a:pt x="178" y="665"/>
                  </a:lnTo>
                  <a:lnTo>
                    <a:pt x="175" y="665"/>
                  </a:lnTo>
                  <a:lnTo>
                    <a:pt x="178" y="665"/>
                  </a:lnTo>
                  <a:lnTo>
                    <a:pt x="175" y="665"/>
                  </a:lnTo>
                  <a:lnTo>
                    <a:pt x="178" y="665"/>
                  </a:lnTo>
                  <a:lnTo>
                    <a:pt x="175" y="665"/>
                  </a:lnTo>
                  <a:lnTo>
                    <a:pt x="175" y="663"/>
                  </a:lnTo>
                  <a:lnTo>
                    <a:pt x="175" y="665"/>
                  </a:lnTo>
                  <a:lnTo>
                    <a:pt x="175" y="668"/>
                  </a:lnTo>
                  <a:lnTo>
                    <a:pt x="175" y="670"/>
                  </a:lnTo>
                  <a:lnTo>
                    <a:pt x="175" y="672"/>
                  </a:lnTo>
                  <a:lnTo>
                    <a:pt x="173" y="672"/>
                  </a:lnTo>
                  <a:lnTo>
                    <a:pt x="175" y="672"/>
                  </a:lnTo>
                  <a:lnTo>
                    <a:pt x="175" y="675"/>
                  </a:lnTo>
                  <a:lnTo>
                    <a:pt x="173" y="675"/>
                  </a:lnTo>
                  <a:lnTo>
                    <a:pt x="175" y="675"/>
                  </a:lnTo>
                  <a:lnTo>
                    <a:pt x="173" y="675"/>
                  </a:lnTo>
                  <a:lnTo>
                    <a:pt x="175" y="675"/>
                  </a:lnTo>
                  <a:lnTo>
                    <a:pt x="173" y="675"/>
                  </a:lnTo>
                  <a:lnTo>
                    <a:pt x="175" y="675"/>
                  </a:lnTo>
                  <a:lnTo>
                    <a:pt x="173" y="675"/>
                  </a:lnTo>
                  <a:lnTo>
                    <a:pt x="175" y="675"/>
                  </a:lnTo>
                  <a:lnTo>
                    <a:pt x="178" y="675"/>
                  </a:lnTo>
                  <a:lnTo>
                    <a:pt x="175" y="675"/>
                  </a:lnTo>
                  <a:lnTo>
                    <a:pt x="178" y="675"/>
                  </a:lnTo>
                  <a:lnTo>
                    <a:pt x="175" y="675"/>
                  </a:lnTo>
                  <a:lnTo>
                    <a:pt x="175" y="677"/>
                  </a:lnTo>
                  <a:lnTo>
                    <a:pt x="175" y="675"/>
                  </a:lnTo>
                  <a:lnTo>
                    <a:pt x="173" y="675"/>
                  </a:lnTo>
                  <a:lnTo>
                    <a:pt x="173" y="677"/>
                  </a:lnTo>
                  <a:lnTo>
                    <a:pt x="173" y="680"/>
                  </a:lnTo>
                  <a:lnTo>
                    <a:pt x="173" y="677"/>
                  </a:lnTo>
                  <a:lnTo>
                    <a:pt x="173" y="680"/>
                  </a:lnTo>
                  <a:lnTo>
                    <a:pt x="173" y="682"/>
                  </a:lnTo>
                  <a:lnTo>
                    <a:pt x="173" y="680"/>
                  </a:lnTo>
                  <a:lnTo>
                    <a:pt x="173" y="682"/>
                  </a:lnTo>
                  <a:lnTo>
                    <a:pt x="170" y="682"/>
                  </a:lnTo>
                  <a:lnTo>
                    <a:pt x="168" y="682"/>
                  </a:lnTo>
                  <a:lnTo>
                    <a:pt x="168" y="684"/>
                  </a:lnTo>
                  <a:lnTo>
                    <a:pt x="168" y="687"/>
                  </a:lnTo>
                  <a:lnTo>
                    <a:pt x="168" y="689"/>
                  </a:lnTo>
                  <a:lnTo>
                    <a:pt x="168" y="687"/>
                  </a:lnTo>
                  <a:lnTo>
                    <a:pt x="168" y="689"/>
                  </a:lnTo>
                  <a:lnTo>
                    <a:pt x="168" y="687"/>
                  </a:lnTo>
                  <a:lnTo>
                    <a:pt x="166" y="687"/>
                  </a:lnTo>
                  <a:lnTo>
                    <a:pt x="166" y="689"/>
                  </a:lnTo>
                  <a:lnTo>
                    <a:pt x="166" y="691"/>
                  </a:lnTo>
                  <a:lnTo>
                    <a:pt x="163" y="691"/>
                  </a:lnTo>
                  <a:lnTo>
                    <a:pt x="163" y="694"/>
                  </a:lnTo>
                  <a:lnTo>
                    <a:pt x="166" y="691"/>
                  </a:lnTo>
                  <a:lnTo>
                    <a:pt x="166" y="694"/>
                  </a:lnTo>
                  <a:lnTo>
                    <a:pt x="163" y="694"/>
                  </a:lnTo>
                  <a:lnTo>
                    <a:pt x="163" y="696"/>
                  </a:lnTo>
                  <a:lnTo>
                    <a:pt x="163" y="694"/>
                  </a:lnTo>
                  <a:lnTo>
                    <a:pt x="163" y="696"/>
                  </a:lnTo>
                  <a:lnTo>
                    <a:pt x="163" y="699"/>
                  </a:lnTo>
                  <a:lnTo>
                    <a:pt x="161" y="699"/>
                  </a:lnTo>
                  <a:lnTo>
                    <a:pt x="163" y="699"/>
                  </a:lnTo>
                  <a:lnTo>
                    <a:pt x="163" y="701"/>
                  </a:lnTo>
                  <a:lnTo>
                    <a:pt x="161" y="701"/>
                  </a:lnTo>
                  <a:lnTo>
                    <a:pt x="161" y="703"/>
                  </a:lnTo>
                  <a:lnTo>
                    <a:pt x="161" y="701"/>
                  </a:lnTo>
                  <a:lnTo>
                    <a:pt x="161" y="703"/>
                  </a:lnTo>
                  <a:lnTo>
                    <a:pt x="161" y="706"/>
                  </a:lnTo>
                  <a:lnTo>
                    <a:pt x="159" y="706"/>
                  </a:lnTo>
                  <a:lnTo>
                    <a:pt x="159" y="708"/>
                  </a:lnTo>
                  <a:lnTo>
                    <a:pt x="156" y="708"/>
                  </a:lnTo>
                  <a:lnTo>
                    <a:pt x="156" y="710"/>
                  </a:lnTo>
                  <a:lnTo>
                    <a:pt x="154" y="710"/>
                  </a:lnTo>
                  <a:lnTo>
                    <a:pt x="154" y="708"/>
                  </a:lnTo>
                  <a:lnTo>
                    <a:pt x="154" y="706"/>
                  </a:lnTo>
                  <a:lnTo>
                    <a:pt x="154" y="708"/>
                  </a:lnTo>
                  <a:lnTo>
                    <a:pt x="151" y="708"/>
                  </a:lnTo>
                  <a:lnTo>
                    <a:pt x="154" y="708"/>
                  </a:lnTo>
                  <a:lnTo>
                    <a:pt x="154" y="710"/>
                  </a:lnTo>
                  <a:lnTo>
                    <a:pt x="151" y="710"/>
                  </a:lnTo>
                  <a:lnTo>
                    <a:pt x="151" y="708"/>
                  </a:lnTo>
                  <a:lnTo>
                    <a:pt x="151" y="710"/>
                  </a:lnTo>
                  <a:lnTo>
                    <a:pt x="151" y="708"/>
                  </a:lnTo>
                  <a:lnTo>
                    <a:pt x="154" y="706"/>
                  </a:lnTo>
                  <a:lnTo>
                    <a:pt x="151" y="706"/>
                  </a:lnTo>
                  <a:lnTo>
                    <a:pt x="151" y="708"/>
                  </a:lnTo>
                  <a:lnTo>
                    <a:pt x="151" y="706"/>
                  </a:lnTo>
                  <a:lnTo>
                    <a:pt x="151" y="708"/>
                  </a:lnTo>
                  <a:lnTo>
                    <a:pt x="151" y="706"/>
                  </a:lnTo>
                  <a:lnTo>
                    <a:pt x="149" y="706"/>
                  </a:lnTo>
                  <a:lnTo>
                    <a:pt x="149" y="708"/>
                  </a:lnTo>
                  <a:lnTo>
                    <a:pt x="149" y="706"/>
                  </a:lnTo>
                  <a:lnTo>
                    <a:pt x="149" y="708"/>
                  </a:lnTo>
                  <a:lnTo>
                    <a:pt x="149" y="706"/>
                  </a:lnTo>
                  <a:lnTo>
                    <a:pt x="147" y="706"/>
                  </a:lnTo>
                  <a:lnTo>
                    <a:pt x="147" y="708"/>
                  </a:lnTo>
                  <a:lnTo>
                    <a:pt x="147" y="706"/>
                  </a:lnTo>
                  <a:lnTo>
                    <a:pt x="147" y="703"/>
                  </a:lnTo>
                  <a:lnTo>
                    <a:pt x="147" y="706"/>
                  </a:lnTo>
                  <a:lnTo>
                    <a:pt x="144" y="706"/>
                  </a:lnTo>
                  <a:lnTo>
                    <a:pt x="144" y="708"/>
                  </a:lnTo>
                  <a:lnTo>
                    <a:pt x="142" y="708"/>
                  </a:lnTo>
                  <a:lnTo>
                    <a:pt x="142" y="706"/>
                  </a:lnTo>
                  <a:lnTo>
                    <a:pt x="140" y="706"/>
                  </a:lnTo>
                  <a:lnTo>
                    <a:pt x="140" y="708"/>
                  </a:lnTo>
                  <a:lnTo>
                    <a:pt x="140" y="706"/>
                  </a:lnTo>
                  <a:lnTo>
                    <a:pt x="142" y="708"/>
                  </a:lnTo>
                  <a:lnTo>
                    <a:pt x="140" y="708"/>
                  </a:lnTo>
                  <a:lnTo>
                    <a:pt x="137" y="708"/>
                  </a:lnTo>
                  <a:lnTo>
                    <a:pt x="137" y="706"/>
                  </a:lnTo>
                  <a:lnTo>
                    <a:pt x="135" y="706"/>
                  </a:lnTo>
                  <a:lnTo>
                    <a:pt x="135" y="708"/>
                  </a:lnTo>
                  <a:lnTo>
                    <a:pt x="135" y="706"/>
                  </a:lnTo>
                  <a:lnTo>
                    <a:pt x="135" y="708"/>
                  </a:lnTo>
                  <a:lnTo>
                    <a:pt x="135" y="706"/>
                  </a:lnTo>
                  <a:lnTo>
                    <a:pt x="135" y="708"/>
                  </a:lnTo>
                  <a:lnTo>
                    <a:pt x="132" y="706"/>
                  </a:lnTo>
                  <a:lnTo>
                    <a:pt x="135" y="708"/>
                  </a:lnTo>
                  <a:lnTo>
                    <a:pt x="132" y="708"/>
                  </a:lnTo>
                  <a:lnTo>
                    <a:pt x="132" y="706"/>
                  </a:lnTo>
                  <a:lnTo>
                    <a:pt x="132" y="708"/>
                  </a:lnTo>
                  <a:lnTo>
                    <a:pt x="132" y="706"/>
                  </a:lnTo>
                  <a:lnTo>
                    <a:pt x="132" y="708"/>
                  </a:lnTo>
                  <a:lnTo>
                    <a:pt x="130" y="708"/>
                  </a:lnTo>
                  <a:lnTo>
                    <a:pt x="130" y="706"/>
                  </a:lnTo>
                  <a:lnTo>
                    <a:pt x="128" y="706"/>
                  </a:lnTo>
                  <a:lnTo>
                    <a:pt x="130" y="706"/>
                  </a:lnTo>
                  <a:lnTo>
                    <a:pt x="128" y="706"/>
                  </a:lnTo>
                  <a:lnTo>
                    <a:pt x="128" y="708"/>
                  </a:lnTo>
                  <a:lnTo>
                    <a:pt x="128" y="706"/>
                  </a:lnTo>
                  <a:lnTo>
                    <a:pt x="128" y="708"/>
                  </a:lnTo>
                  <a:lnTo>
                    <a:pt x="128" y="706"/>
                  </a:lnTo>
                  <a:lnTo>
                    <a:pt x="125" y="706"/>
                  </a:lnTo>
                  <a:lnTo>
                    <a:pt x="128" y="706"/>
                  </a:lnTo>
                  <a:lnTo>
                    <a:pt x="125" y="706"/>
                  </a:lnTo>
                  <a:lnTo>
                    <a:pt x="125" y="708"/>
                  </a:lnTo>
                  <a:lnTo>
                    <a:pt x="125" y="706"/>
                  </a:lnTo>
                  <a:lnTo>
                    <a:pt x="125" y="708"/>
                  </a:lnTo>
                  <a:lnTo>
                    <a:pt x="125" y="706"/>
                  </a:lnTo>
                  <a:lnTo>
                    <a:pt x="123" y="708"/>
                  </a:lnTo>
                  <a:lnTo>
                    <a:pt x="123" y="706"/>
                  </a:lnTo>
                  <a:lnTo>
                    <a:pt x="123" y="708"/>
                  </a:lnTo>
                  <a:lnTo>
                    <a:pt x="123" y="706"/>
                  </a:lnTo>
                  <a:lnTo>
                    <a:pt x="123" y="708"/>
                  </a:lnTo>
                  <a:lnTo>
                    <a:pt x="121" y="708"/>
                  </a:lnTo>
                  <a:lnTo>
                    <a:pt x="121" y="706"/>
                  </a:lnTo>
                  <a:lnTo>
                    <a:pt x="121" y="708"/>
                  </a:lnTo>
                  <a:lnTo>
                    <a:pt x="121" y="706"/>
                  </a:lnTo>
                  <a:lnTo>
                    <a:pt x="121" y="708"/>
                  </a:lnTo>
                  <a:lnTo>
                    <a:pt x="121" y="706"/>
                  </a:lnTo>
                  <a:lnTo>
                    <a:pt x="121" y="708"/>
                  </a:lnTo>
                  <a:lnTo>
                    <a:pt x="118" y="708"/>
                  </a:lnTo>
                  <a:lnTo>
                    <a:pt x="118" y="706"/>
                  </a:lnTo>
                  <a:lnTo>
                    <a:pt x="118" y="708"/>
                  </a:lnTo>
                  <a:lnTo>
                    <a:pt x="118" y="706"/>
                  </a:lnTo>
                  <a:lnTo>
                    <a:pt x="118" y="708"/>
                  </a:lnTo>
                  <a:lnTo>
                    <a:pt x="118" y="706"/>
                  </a:lnTo>
                  <a:lnTo>
                    <a:pt x="116" y="708"/>
                  </a:lnTo>
                  <a:lnTo>
                    <a:pt x="118" y="708"/>
                  </a:lnTo>
                  <a:lnTo>
                    <a:pt x="118" y="710"/>
                  </a:lnTo>
                  <a:lnTo>
                    <a:pt x="118" y="713"/>
                  </a:lnTo>
                  <a:lnTo>
                    <a:pt x="121" y="713"/>
                  </a:lnTo>
                  <a:lnTo>
                    <a:pt x="121" y="715"/>
                  </a:lnTo>
                  <a:lnTo>
                    <a:pt x="118" y="715"/>
                  </a:lnTo>
                  <a:lnTo>
                    <a:pt x="116" y="715"/>
                  </a:lnTo>
                  <a:lnTo>
                    <a:pt x="113" y="715"/>
                  </a:lnTo>
                  <a:lnTo>
                    <a:pt x="113" y="713"/>
                  </a:lnTo>
                  <a:lnTo>
                    <a:pt x="113" y="715"/>
                  </a:lnTo>
                  <a:lnTo>
                    <a:pt x="113" y="713"/>
                  </a:lnTo>
                  <a:lnTo>
                    <a:pt x="116" y="713"/>
                  </a:lnTo>
                  <a:lnTo>
                    <a:pt x="113" y="713"/>
                  </a:lnTo>
                  <a:lnTo>
                    <a:pt x="111" y="713"/>
                  </a:lnTo>
                  <a:lnTo>
                    <a:pt x="109" y="713"/>
                  </a:lnTo>
                  <a:lnTo>
                    <a:pt x="109" y="715"/>
                  </a:lnTo>
                  <a:lnTo>
                    <a:pt x="111" y="715"/>
                  </a:lnTo>
                  <a:lnTo>
                    <a:pt x="109" y="715"/>
                  </a:lnTo>
                  <a:lnTo>
                    <a:pt x="109" y="718"/>
                  </a:lnTo>
                  <a:lnTo>
                    <a:pt x="109" y="715"/>
                  </a:lnTo>
                  <a:lnTo>
                    <a:pt x="109" y="718"/>
                  </a:lnTo>
                  <a:lnTo>
                    <a:pt x="106" y="715"/>
                  </a:lnTo>
                  <a:lnTo>
                    <a:pt x="106" y="718"/>
                  </a:lnTo>
                  <a:lnTo>
                    <a:pt x="104" y="718"/>
                  </a:lnTo>
                  <a:lnTo>
                    <a:pt x="106" y="718"/>
                  </a:lnTo>
                  <a:lnTo>
                    <a:pt x="106" y="720"/>
                  </a:lnTo>
                  <a:lnTo>
                    <a:pt x="104" y="720"/>
                  </a:lnTo>
                  <a:lnTo>
                    <a:pt x="106" y="720"/>
                  </a:lnTo>
                  <a:lnTo>
                    <a:pt x="104" y="720"/>
                  </a:lnTo>
                  <a:lnTo>
                    <a:pt x="106" y="720"/>
                  </a:lnTo>
                  <a:lnTo>
                    <a:pt x="104" y="720"/>
                  </a:lnTo>
                  <a:lnTo>
                    <a:pt x="102" y="722"/>
                  </a:lnTo>
                  <a:lnTo>
                    <a:pt x="102" y="725"/>
                  </a:lnTo>
                  <a:lnTo>
                    <a:pt x="102" y="727"/>
                  </a:lnTo>
                  <a:lnTo>
                    <a:pt x="102" y="729"/>
                  </a:lnTo>
                  <a:lnTo>
                    <a:pt x="102" y="732"/>
                  </a:lnTo>
                  <a:lnTo>
                    <a:pt x="104" y="732"/>
                  </a:lnTo>
                  <a:lnTo>
                    <a:pt x="104" y="734"/>
                  </a:lnTo>
                  <a:lnTo>
                    <a:pt x="104" y="737"/>
                  </a:lnTo>
                  <a:lnTo>
                    <a:pt x="106" y="737"/>
                  </a:lnTo>
                  <a:lnTo>
                    <a:pt x="106" y="739"/>
                  </a:lnTo>
                  <a:lnTo>
                    <a:pt x="106" y="741"/>
                  </a:lnTo>
                  <a:lnTo>
                    <a:pt x="104" y="741"/>
                  </a:lnTo>
                  <a:lnTo>
                    <a:pt x="104" y="744"/>
                  </a:lnTo>
                  <a:lnTo>
                    <a:pt x="102" y="744"/>
                  </a:lnTo>
                  <a:lnTo>
                    <a:pt x="102" y="746"/>
                  </a:lnTo>
                  <a:lnTo>
                    <a:pt x="99" y="746"/>
                  </a:lnTo>
                  <a:lnTo>
                    <a:pt x="97" y="746"/>
                  </a:lnTo>
                  <a:lnTo>
                    <a:pt x="95" y="744"/>
                  </a:lnTo>
                  <a:lnTo>
                    <a:pt x="92" y="744"/>
                  </a:lnTo>
                  <a:lnTo>
                    <a:pt x="90" y="744"/>
                  </a:lnTo>
                  <a:lnTo>
                    <a:pt x="87" y="744"/>
                  </a:lnTo>
                  <a:lnTo>
                    <a:pt x="85" y="744"/>
                  </a:lnTo>
                  <a:lnTo>
                    <a:pt x="83" y="744"/>
                  </a:lnTo>
                  <a:lnTo>
                    <a:pt x="83" y="746"/>
                  </a:lnTo>
                  <a:lnTo>
                    <a:pt x="80" y="746"/>
                  </a:lnTo>
                  <a:lnTo>
                    <a:pt x="78" y="746"/>
                  </a:lnTo>
                  <a:lnTo>
                    <a:pt x="76" y="746"/>
                  </a:lnTo>
                  <a:lnTo>
                    <a:pt x="76" y="748"/>
                  </a:lnTo>
                  <a:lnTo>
                    <a:pt x="73" y="748"/>
                  </a:lnTo>
                  <a:lnTo>
                    <a:pt x="71" y="748"/>
                  </a:lnTo>
                  <a:lnTo>
                    <a:pt x="68" y="748"/>
                  </a:lnTo>
                  <a:lnTo>
                    <a:pt x="66" y="746"/>
                  </a:lnTo>
                  <a:lnTo>
                    <a:pt x="66" y="748"/>
                  </a:lnTo>
                  <a:lnTo>
                    <a:pt x="66" y="746"/>
                  </a:lnTo>
                  <a:lnTo>
                    <a:pt x="66" y="748"/>
                  </a:lnTo>
                  <a:lnTo>
                    <a:pt x="66" y="746"/>
                  </a:lnTo>
                  <a:lnTo>
                    <a:pt x="64" y="746"/>
                  </a:lnTo>
                  <a:lnTo>
                    <a:pt x="61" y="746"/>
                  </a:lnTo>
                  <a:lnTo>
                    <a:pt x="59" y="746"/>
                  </a:lnTo>
                  <a:lnTo>
                    <a:pt x="57" y="746"/>
                  </a:lnTo>
                  <a:lnTo>
                    <a:pt x="54" y="746"/>
                  </a:lnTo>
                  <a:lnTo>
                    <a:pt x="57" y="746"/>
                  </a:lnTo>
                  <a:lnTo>
                    <a:pt x="57" y="744"/>
                  </a:lnTo>
                  <a:lnTo>
                    <a:pt x="59" y="746"/>
                  </a:lnTo>
                  <a:lnTo>
                    <a:pt x="59" y="744"/>
                  </a:lnTo>
                  <a:lnTo>
                    <a:pt x="61" y="744"/>
                  </a:lnTo>
                  <a:lnTo>
                    <a:pt x="61" y="741"/>
                  </a:lnTo>
                  <a:lnTo>
                    <a:pt x="59" y="741"/>
                  </a:lnTo>
                  <a:lnTo>
                    <a:pt x="59" y="739"/>
                  </a:lnTo>
                  <a:lnTo>
                    <a:pt x="59" y="737"/>
                  </a:lnTo>
                  <a:lnTo>
                    <a:pt x="61" y="734"/>
                  </a:lnTo>
                  <a:lnTo>
                    <a:pt x="64" y="734"/>
                  </a:lnTo>
                  <a:lnTo>
                    <a:pt x="61" y="734"/>
                  </a:lnTo>
                  <a:lnTo>
                    <a:pt x="64" y="734"/>
                  </a:lnTo>
                  <a:lnTo>
                    <a:pt x="61" y="734"/>
                  </a:lnTo>
                  <a:lnTo>
                    <a:pt x="64" y="734"/>
                  </a:lnTo>
                  <a:lnTo>
                    <a:pt x="61" y="734"/>
                  </a:lnTo>
                  <a:lnTo>
                    <a:pt x="64" y="734"/>
                  </a:lnTo>
                  <a:lnTo>
                    <a:pt x="64" y="732"/>
                  </a:lnTo>
                  <a:lnTo>
                    <a:pt x="64" y="729"/>
                  </a:lnTo>
                  <a:lnTo>
                    <a:pt x="61" y="729"/>
                  </a:lnTo>
                  <a:lnTo>
                    <a:pt x="59" y="729"/>
                  </a:lnTo>
                  <a:lnTo>
                    <a:pt x="61" y="729"/>
                  </a:lnTo>
                  <a:lnTo>
                    <a:pt x="61" y="727"/>
                  </a:lnTo>
                  <a:lnTo>
                    <a:pt x="59" y="727"/>
                  </a:lnTo>
                  <a:lnTo>
                    <a:pt x="59" y="729"/>
                  </a:lnTo>
                  <a:lnTo>
                    <a:pt x="59" y="727"/>
                  </a:lnTo>
                  <a:lnTo>
                    <a:pt x="59" y="725"/>
                  </a:lnTo>
                  <a:lnTo>
                    <a:pt x="59" y="722"/>
                  </a:lnTo>
                  <a:lnTo>
                    <a:pt x="57" y="722"/>
                  </a:lnTo>
                  <a:lnTo>
                    <a:pt x="57" y="720"/>
                  </a:lnTo>
                  <a:lnTo>
                    <a:pt x="54" y="720"/>
                  </a:lnTo>
                  <a:lnTo>
                    <a:pt x="54" y="718"/>
                  </a:lnTo>
                  <a:lnTo>
                    <a:pt x="54" y="715"/>
                  </a:lnTo>
                  <a:lnTo>
                    <a:pt x="52" y="715"/>
                  </a:lnTo>
                  <a:lnTo>
                    <a:pt x="52" y="713"/>
                  </a:lnTo>
                  <a:lnTo>
                    <a:pt x="49" y="710"/>
                  </a:lnTo>
                  <a:lnTo>
                    <a:pt x="49" y="708"/>
                  </a:lnTo>
                  <a:lnTo>
                    <a:pt x="47" y="708"/>
                  </a:lnTo>
                  <a:lnTo>
                    <a:pt x="47" y="706"/>
                  </a:lnTo>
                  <a:lnTo>
                    <a:pt x="47" y="703"/>
                  </a:lnTo>
                  <a:lnTo>
                    <a:pt x="45" y="701"/>
                  </a:lnTo>
                  <a:lnTo>
                    <a:pt x="42" y="701"/>
                  </a:lnTo>
                  <a:lnTo>
                    <a:pt x="42" y="699"/>
                  </a:lnTo>
                  <a:lnTo>
                    <a:pt x="45" y="699"/>
                  </a:lnTo>
                  <a:lnTo>
                    <a:pt x="45" y="701"/>
                  </a:lnTo>
                  <a:lnTo>
                    <a:pt x="47" y="701"/>
                  </a:lnTo>
                  <a:lnTo>
                    <a:pt x="49" y="701"/>
                  </a:lnTo>
                  <a:lnTo>
                    <a:pt x="49" y="703"/>
                  </a:lnTo>
                  <a:lnTo>
                    <a:pt x="52" y="703"/>
                  </a:lnTo>
                  <a:lnTo>
                    <a:pt x="54" y="703"/>
                  </a:lnTo>
                  <a:lnTo>
                    <a:pt x="57" y="703"/>
                  </a:lnTo>
                  <a:lnTo>
                    <a:pt x="57" y="701"/>
                  </a:lnTo>
                  <a:lnTo>
                    <a:pt x="54" y="701"/>
                  </a:lnTo>
                  <a:lnTo>
                    <a:pt x="54" y="699"/>
                  </a:lnTo>
                  <a:lnTo>
                    <a:pt x="54" y="696"/>
                  </a:lnTo>
                  <a:lnTo>
                    <a:pt x="52" y="696"/>
                  </a:lnTo>
                  <a:lnTo>
                    <a:pt x="49" y="696"/>
                  </a:lnTo>
                  <a:lnTo>
                    <a:pt x="49" y="694"/>
                  </a:lnTo>
                  <a:lnTo>
                    <a:pt x="49" y="691"/>
                  </a:lnTo>
                  <a:lnTo>
                    <a:pt x="52" y="691"/>
                  </a:lnTo>
                  <a:lnTo>
                    <a:pt x="54" y="691"/>
                  </a:lnTo>
                  <a:lnTo>
                    <a:pt x="57" y="691"/>
                  </a:lnTo>
                  <a:lnTo>
                    <a:pt x="57" y="694"/>
                  </a:lnTo>
                  <a:lnTo>
                    <a:pt x="59" y="691"/>
                  </a:lnTo>
                  <a:lnTo>
                    <a:pt x="59" y="689"/>
                  </a:lnTo>
                  <a:lnTo>
                    <a:pt x="59" y="687"/>
                  </a:lnTo>
                  <a:lnTo>
                    <a:pt x="59" y="684"/>
                  </a:lnTo>
                  <a:lnTo>
                    <a:pt x="59" y="682"/>
                  </a:lnTo>
                  <a:lnTo>
                    <a:pt x="57" y="682"/>
                  </a:lnTo>
                  <a:lnTo>
                    <a:pt x="54" y="682"/>
                  </a:lnTo>
                  <a:lnTo>
                    <a:pt x="52" y="682"/>
                  </a:lnTo>
                  <a:lnTo>
                    <a:pt x="52" y="680"/>
                  </a:lnTo>
                  <a:lnTo>
                    <a:pt x="49" y="677"/>
                  </a:lnTo>
                  <a:lnTo>
                    <a:pt x="49" y="675"/>
                  </a:lnTo>
                  <a:lnTo>
                    <a:pt x="49" y="672"/>
                  </a:lnTo>
                  <a:lnTo>
                    <a:pt x="47" y="672"/>
                  </a:lnTo>
                  <a:lnTo>
                    <a:pt x="47" y="670"/>
                  </a:lnTo>
                  <a:lnTo>
                    <a:pt x="45" y="670"/>
                  </a:lnTo>
                  <a:lnTo>
                    <a:pt x="42" y="670"/>
                  </a:lnTo>
                  <a:lnTo>
                    <a:pt x="42" y="668"/>
                  </a:lnTo>
                  <a:lnTo>
                    <a:pt x="40" y="668"/>
                  </a:lnTo>
                  <a:lnTo>
                    <a:pt x="40" y="665"/>
                  </a:lnTo>
                  <a:lnTo>
                    <a:pt x="40" y="663"/>
                  </a:lnTo>
                  <a:lnTo>
                    <a:pt x="38" y="663"/>
                  </a:lnTo>
                  <a:lnTo>
                    <a:pt x="40" y="663"/>
                  </a:lnTo>
                  <a:lnTo>
                    <a:pt x="38" y="663"/>
                  </a:lnTo>
                  <a:lnTo>
                    <a:pt x="38" y="661"/>
                  </a:lnTo>
                  <a:lnTo>
                    <a:pt x="38" y="658"/>
                  </a:lnTo>
                  <a:lnTo>
                    <a:pt x="38" y="661"/>
                  </a:lnTo>
                  <a:lnTo>
                    <a:pt x="35" y="658"/>
                  </a:lnTo>
                  <a:lnTo>
                    <a:pt x="38" y="658"/>
                  </a:lnTo>
                  <a:lnTo>
                    <a:pt x="35" y="658"/>
                  </a:lnTo>
                  <a:lnTo>
                    <a:pt x="35" y="656"/>
                  </a:lnTo>
                  <a:lnTo>
                    <a:pt x="35" y="658"/>
                  </a:lnTo>
                  <a:lnTo>
                    <a:pt x="35" y="656"/>
                  </a:lnTo>
                  <a:lnTo>
                    <a:pt x="35" y="653"/>
                  </a:lnTo>
                  <a:lnTo>
                    <a:pt x="33" y="653"/>
                  </a:lnTo>
                  <a:lnTo>
                    <a:pt x="35" y="653"/>
                  </a:lnTo>
                  <a:lnTo>
                    <a:pt x="35" y="651"/>
                  </a:lnTo>
                  <a:lnTo>
                    <a:pt x="35" y="653"/>
                  </a:lnTo>
                  <a:lnTo>
                    <a:pt x="33" y="653"/>
                  </a:lnTo>
                  <a:lnTo>
                    <a:pt x="33" y="651"/>
                  </a:lnTo>
                  <a:lnTo>
                    <a:pt x="30" y="651"/>
                  </a:lnTo>
                  <a:lnTo>
                    <a:pt x="33" y="651"/>
                  </a:lnTo>
                  <a:lnTo>
                    <a:pt x="33" y="649"/>
                  </a:lnTo>
                  <a:lnTo>
                    <a:pt x="35" y="649"/>
                  </a:lnTo>
                  <a:lnTo>
                    <a:pt x="33" y="649"/>
                  </a:lnTo>
                  <a:lnTo>
                    <a:pt x="35" y="649"/>
                  </a:lnTo>
                  <a:lnTo>
                    <a:pt x="33" y="649"/>
                  </a:lnTo>
                  <a:lnTo>
                    <a:pt x="35" y="649"/>
                  </a:lnTo>
                  <a:lnTo>
                    <a:pt x="33" y="649"/>
                  </a:lnTo>
                  <a:lnTo>
                    <a:pt x="33" y="646"/>
                  </a:lnTo>
                  <a:lnTo>
                    <a:pt x="30" y="646"/>
                  </a:lnTo>
                  <a:lnTo>
                    <a:pt x="30" y="644"/>
                  </a:lnTo>
                  <a:lnTo>
                    <a:pt x="33" y="644"/>
                  </a:lnTo>
                  <a:lnTo>
                    <a:pt x="30" y="644"/>
                  </a:lnTo>
                  <a:lnTo>
                    <a:pt x="30" y="642"/>
                  </a:lnTo>
                  <a:lnTo>
                    <a:pt x="33" y="642"/>
                  </a:lnTo>
                  <a:lnTo>
                    <a:pt x="30" y="642"/>
                  </a:lnTo>
                  <a:lnTo>
                    <a:pt x="30" y="639"/>
                  </a:lnTo>
                  <a:lnTo>
                    <a:pt x="30" y="642"/>
                  </a:lnTo>
                  <a:lnTo>
                    <a:pt x="30" y="644"/>
                  </a:lnTo>
                  <a:lnTo>
                    <a:pt x="28" y="644"/>
                  </a:lnTo>
                  <a:lnTo>
                    <a:pt x="30" y="644"/>
                  </a:lnTo>
                  <a:lnTo>
                    <a:pt x="28" y="644"/>
                  </a:lnTo>
                  <a:lnTo>
                    <a:pt x="30" y="644"/>
                  </a:lnTo>
                  <a:lnTo>
                    <a:pt x="28" y="644"/>
                  </a:lnTo>
                  <a:lnTo>
                    <a:pt x="28" y="646"/>
                  </a:lnTo>
                  <a:lnTo>
                    <a:pt x="28" y="644"/>
                  </a:lnTo>
                  <a:lnTo>
                    <a:pt x="28" y="646"/>
                  </a:lnTo>
                  <a:lnTo>
                    <a:pt x="28" y="644"/>
                  </a:lnTo>
                  <a:lnTo>
                    <a:pt x="28" y="646"/>
                  </a:lnTo>
                  <a:lnTo>
                    <a:pt x="26" y="646"/>
                  </a:lnTo>
                  <a:lnTo>
                    <a:pt x="26" y="644"/>
                  </a:lnTo>
                  <a:lnTo>
                    <a:pt x="28" y="644"/>
                  </a:lnTo>
                  <a:lnTo>
                    <a:pt x="26" y="644"/>
                  </a:lnTo>
                  <a:lnTo>
                    <a:pt x="28" y="644"/>
                  </a:lnTo>
                  <a:lnTo>
                    <a:pt x="26" y="644"/>
                  </a:lnTo>
                  <a:lnTo>
                    <a:pt x="28" y="644"/>
                  </a:lnTo>
                  <a:lnTo>
                    <a:pt x="26" y="644"/>
                  </a:lnTo>
                  <a:lnTo>
                    <a:pt x="26" y="642"/>
                  </a:lnTo>
                  <a:lnTo>
                    <a:pt x="26" y="639"/>
                  </a:lnTo>
                  <a:lnTo>
                    <a:pt x="28" y="639"/>
                  </a:lnTo>
                  <a:lnTo>
                    <a:pt x="26" y="639"/>
                  </a:lnTo>
                  <a:lnTo>
                    <a:pt x="28" y="639"/>
                  </a:lnTo>
                  <a:lnTo>
                    <a:pt x="28" y="637"/>
                  </a:lnTo>
                  <a:lnTo>
                    <a:pt x="26" y="637"/>
                  </a:lnTo>
                  <a:lnTo>
                    <a:pt x="26" y="634"/>
                  </a:lnTo>
                  <a:lnTo>
                    <a:pt x="26" y="632"/>
                  </a:lnTo>
                  <a:lnTo>
                    <a:pt x="26" y="634"/>
                  </a:lnTo>
                  <a:lnTo>
                    <a:pt x="26" y="632"/>
                  </a:lnTo>
                  <a:lnTo>
                    <a:pt x="26" y="634"/>
                  </a:lnTo>
                  <a:lnTo>
                    <a:pt x="26" y="632"/>
                  </a:lnTo>
                  <a:lnTo>
                    <a:pt x="23" y="632"/>
                  </a:lnTo>
                  <a:lnTo>
                    <a:pt x="26" y="632"/>
                  </a:lnTo>
                  <a:lnTo>
                    <a:pt x="23" y="632"/>
                  </a:lnTo>
                  <a:lnTo>
                    <a:pt x="26" y="632"/>
                  </a:lnTo>
                  <a:lnTo>
                    <a:pt x="23" y="632"/>
                  </a:lnTo>
                  <a:lnTo>
                    <a:pt x="23" y="630"/>
                  </a:lnTo>
                  <a:lnTo>
                    <a:pt x="23" y="627"/>
                  </a:lnTo>
                  <a:lnTo>
                    <a:pt x="23" y="630"/>
                  </a:lnTo>
                  <a:lnTo>
                    <a:pt x="23" y="627"/>
                  </a:lnTo>
                  <a:lnTo>
                    <a:pt x="26" y="627"/>
                  </a:lnTo>
                  <a:lnTo>
                    <a:pt x="28" y="627"/>
                  </a:lnTo>
                  <a:lnTo>
                    <a:pt x="26" y="627"/>
                  </a:lnTo>
                  <a:lnTo>
                    <a:pt x="23" y="627"/>
                  </a:lnTo>
                  <a:lnTo>
                    <a:pt x="21" y="627"/>
                  </a:lnTo>
                  <a:lnTo>
                    <a:pt x="23" y="627"/>
                  </a:lnTo>
                  <a:lnTo>
                    <a:pt x="21" y="627"/>
                  </a:lnTo>
                  <a:lnTo>
                    <a:pt x="23" y="627"/>
                  </a:lnTo>
                  <a:lnTo>
                    <a:pt x="21" y="627"/>
                  </a:lnTo>
                  <a:lnTo>
                    <a:pt x="19" y="627"/>
                  </a:lnTo>
                  <a:lnTo>
                    <a:pt x="19" y="625"/>
                  </a:lnTo>
                  <a:lnTo>
                    <a:pt x="19" y="627"/>
                  </a:lnTo>
                  <a:lnTo>
                    <a:pt x="19" y="625"/>
                  </a:lnTo>
                  <a:lnTo>
                    <a:pt x="21" y="625"/>
                  </a:lnTo>
                  <a:lnTo>
                    <a:pt x="19" y="625"/>
                  </a:lnTo>
                  <a:lnTo>
                    <a:pt x="21" y="625"/>
                  </a:lnTo>
                  <a:lnTo>
                    <a:pt x="21" y="623"/>
                  </a:lnTo>
                  <a:lnTo>
                    <a:pt x="21" y="625"/>
                  </a:lnTo>
                  <a:lnTo>
                    <a:pt x="21" y="623"/>
                  </a:lnTo>
                  <a:lnTo>
                    <a:pt x="23" y="623"/>
                  </a:lnTo>
                  <a:lnTo>
                    <a:pt x="26" y="620"/>
                  </a:lnTo>
                  <a:lnTo>
                    <a:pt x="28" y="620"/>
                  </a:lnTo>
                  <a:lnTo>
                    <a:pt x="28" y="618"/>
                  </a:lnTo>
                  <a:lnTo>
                    <a:pt x="28" y="620"/>
                  </a:lnTo>
                  <a:lnTo>
                    <a:pt x="30" y="618"/>
                  </a:lnTo>
                  <a:lnTo>
                    <a:pt x="30" y="615"/>
                  </a:lnTo>
                  <a:lnTo>
                    <a:pt x="30" y="618"/>
                  </a:lnTo>
                  <a:lnTo>
                    <a:pt x="28" y="618"/>
                  </a:lnTo>
                  <a:lnTo>
                    <a:pt x="28" y="620"/>
                  </a:lnTo>
                  <a:lnTo>
                    <a:pt x="28" y="618"/>
                  </a:lnTo>
                  <a:lnTo>
                    <a:pt x="28" y="620"/>
                  </a:lnTo>
                  <a:lnTo>
                    <a:pt x="26" y="620"/>
                  </a:lnTo>
                  <a:lnTo>
                    <a:pt x="23" y="623"/>
                  </a:lnTo>
                  <a:lnTo>
                    <a:pt x="21" y="623"/>
                  </a:lnTo>
                  <a:lnTo>
                    <a:pt x="19" y="623"/>
                  </a:lnTo>
                  <a:lnTo>
                    <a:pt x="21" y="623"/>
                  </a:lnTo>
                  <a:lnTo>
                    <a:pt x="19" y="623"/>
                  </a:lnTo>
                  <a:lnTo>
                    <a:pt x="19" y="620"/>
                  </a:lnTo>
                  <a:lnTo>
                    <a:pt x="16" y="620"/>
                  </a:lnTo>
                  <a:lnTo>
                    <a:pt x="19" y="620"/>
                  </a:lnTo>
                  <a:lnTo>
                    <a:pt x="19" y="618"/>
                  </a:lnTo>
                  <a:lnTo>
                    <a:pt x="19" y="620"/>
                  </a:lnTo>
                  <a:lnTo>
                    <a:pt x="19" y="618"/>
                  </a:lnTo>
                  <a:lnTo>
                    <a:pt x="21" y="618"/>
                  </a:lnTo>
                  <a:lnTo>
                    <a:pt x="21" y="615"/>
                  </a:lnTo>
                  <a:lnTo>
                    <a:pt x="21" y="613"/>
                  </a:lnTo>
                  <a:lnTo>
                    <a:pt x="23" y="613"/>
                  </a:lnTo>
                  <a:lnTo>
                    <a:pt x="23" y="611"/>
                  </a:lnTo>
                  <a:lnTo>
                    <a:pt x="21" y="611"/>
                  </a:lnTo>
                  <a:lnTo>
                    <a:pt x="23" y="611"/>
                  </a:lnTo>
                  <a:lnTo>
                    <a:pt x="23" y="608"/>
                  </a:lnTo>
                  <a:lnTo>
                    <a:pt x="21" y="608"/>
                  </a:lnTo>
                  <a:lnTo>
                    <a:pt x="23" y="608"/>
                  </a:lnTo>
                  <a:lnTo>
                    <a:pt x="23" y="606"/>
                  </a:lnTo>
                  <a:lnTo>
                    <a:pt x="21" y="606"/>
                  </a:lnTo>
                  <a:lnTo>
                    <a:pt x="23" y="606"/>
                  </a:lnTo>
                  <a:lnTo>
                    <a:pt x="23" y="603"/>
                  </a:lnTo>
                  <a:lnTo>
                    <a:pt x="23" y="601"/>
                  </a:lnTo>
                  <a:lnTo>
                    <a:pt x="26" y="601"/>
                  </a:lnTo>
                  <a:lnTo>
                    <a:pt x="26" y="599"/>
                  </a:lnTo>
                  <a:lnTo>
                    <a:pt x="26" y="601"/>
                  </a:lnTo>
                  <a:lnTo>
                    <a:pt x="23" y="601"/>
                  </a:lnTo>
                  <a:lnTo>
                    <a:pt x="23" y="599"/>
                  </a:lnTo>
                  <a:lnTo>
                    <a:pt x="23" y="596"/>
                  </a:lnTo>
                  <a:lnTo>
                    <a:pt x="23" y="594"/>
                  </a:lnTo>
                  <a:lnTo>
                    <a:pt x="26" y="594"/>
                  </a:lnTo>
                  <a:lnTo>
                    <a:pt x="23" y="594"/>
                  </a:lnTo>
                  <a:lnTo>
                    <a:pt x="21" y="594"/>
                  </a:lnTo>
                  <a:lnTo>
                    <a:pt x="23" y="594"/>
                  </a:lnTo>
                  <a:lnTo>
                    <a:pt x="21" y="594"/>
                  </a:lnTo>
                  <a:lnTo>
                    <a:pt x="19" y="594"/>
                  </a:lnTo>
                  <a:lnTo>
                    <a:pt x="19" y="596"/>
                  </a:lnTo>
                  <a:lnTo>
                    <a:pt x="21" y="594"/>
                  </a:lnTo>
                  <a:lnTo>
                    <a:pt x="21" y="596"/>
                  </a:lnTo>
                  <a:lnTo>
                    <a:pt x="19" y="596"/>
                  </a:lnTo>
                  <a:lnTo>
                    <a:pt x="16" y="596"/>
                  </a:lnTo>
                  <a:lnTo>
                    <a:pt x="19" y="596"/>
                  </a:lnTo>
                  <a:lnTo>
                    <a:pt x="19" y="599"/>
                  </a:lnTo>
                  <a:lnTo>
                    <a:pt x="16" y="599"/>
                  </a:lnTo>
                  <a:lnTo>
                    <a:pt x="14" y="599"/>
                  </a:lnTo>
                  <a:lnTo>
                    <a:pt x="11" y="599"/>
                  </a:lnTo>
                  <a:lnTo>
                    <a:pt x="11" y="601"/>
                  </a:lnTo>
                  <a:lnTo>
                    <a:pt x="9" y="601"/>
                  </a:lnTo>
                  <a:lnTo>
                    <a:pt x="11" y="601"/>
                  </a:lnTo>
                  <a:lnTo>
                    <a:pt x="9" y="601"/>
                  </a:lnTo>
                  <a:lnTo>
                    <a:pt x="9" y="599"/>
                  </a:lnTo>
                  <a:lnTo>
                    <a:pt x="11" y="599"/>
                  </a:lnTo>
                  <a:lnTo>
                    <a:pt x="11" y="596"/>
                  </a:lnTo>
                  <a:lnTo>
                    <a:pt x="11" y="599"/>
                  </a:lnTo>
                  <a:lnTo>
                    <a:pt x="11" y="596"/>
                  </a:lnTo>
                  <a:lnTo>
                    <a:pt x="14" y="596"/>
                  </a:lnTo>
                  <a:lnTo>
                    <a:pt x="14" y="594"/>
                  </a:lnTo>
                  <a:lnTo>
                    <a:pt x="16" y="594"/>
                  </a:lnTo>
                  <a:lnTo>
                    <a:pt x="14" y="594"/>
                  </a:lnTo>
                  <a:lnTo>
                    <a:pt x="16" y="594"/>
                  </a:lnTo>
                  <a:lnTo>
                    <a:pt x="16" y="592"/>
                  </a:lnTo>
                  <a:lnTo>
                    <a:pt x="16" y="589"/>
                  </a:lnTo>
                  <a:lnTo>
                    <a:pt x="19" y="589"/>
                  </a:lnTo>
                  <a:lnTo>
                    <a:pt x="16" y="589"/>
                  </a:lnTo>
                  <a:lnTo>
                    <a:pt x="16" y="592"/>
                  </a:lnTo>
                  <a:lnTo>
                    <a:pt x="16" y="589"/>
                  </a:lnTo>
                  <a:lnTo>
                    <a:pt x="14" y="589"/>
                  </a:lnTo>
                  <a:lnTo>
                    <a:pt x="16" y="589"/>
                  </a:lnTo>
                  <a:lnTo>
                    <a:pt x="14" y="587"/>
                  </a:lnTo>
                  <a:lnTo>
                    <a:pt x="14" y="589"/>
                  </a:lnTo>
                  <a:lnTo>
                    <a:pt x="14" y="592"/>
                  </a:lnTo>
                  <a:lnTo>
                    <a:pt x="14" y="594"/>
                  </a:lnTo>
                  <a:lnTo>
                    <a:pt x="14" y="596"/>
                  </a:lnTo>
                  <a:lnTo>
                    <a:pt x="11" y="596"/>
                  </a:lnTo>
                  <a:lnTo>
                    <a:pt x="11" y="599"/>
                  </a:lnTo>
                  <a:lnTo>
                    <a:pt x="9" y="596"/>
                  </a:lnTo>
                  <a:lnTo>
                    <a:pt x="11" y="596"/>
                  </a:lnTo>
                  <a:lnTo>
                    <a:pt x="9" y="596"/>
                  </a:lnTo>
                  <a:lnTo>
                    <a:pt x="9" y="599"/>
                  </a:lnTo>
                  <a:lnTo>
                    <a:pt x="9" y="596"/>
                  </a:lnTo>
                  <a:lnTo>
                    <a:pt x="11" y="596"/>
                  </a:lnTo>
                  <a:lnTo>
                    <a:pt x="9" y="596"/>
                  </a:lnTo>
                  <a:lnTo>
                    <a:pt x="9" y="594"/>
                  </a:lnTo>
                  <a:lnTo>
                    <a:pt x="11" y="594"/>
                  </a:lnTo>
                  <a:lnTo>
                    <a:pt x="11" y="592"/>
                  </a:lnTo>
                  <a:lnTo>
                    <a:pt x="9" y="592"/>
                  </a:lnTo>
                  <a:lnTo>
                    <a:pt x="11" y="592"/>
                  </a:lnTo>
                  <a:lnTo>
                    <a:pt x="9" y="592"/>
                  </a:lnTo>
                  <a:lnTo>
                    <a:pt x="9" y="594"/>
                  </a:lnTo>
                  <a:lnTo>
                    <a:pt x="7" y="594"/>
                  </a:lnTo>
                  <a:lnTo>
                    <a:pt x="9" y="594"/>
                  </a:lnTo>
                  <a:lnTo>
                    <a:pt x="7" y="594"/>
                  </a:lnTo>
                  <a:lnTo>
                    <a:pt x="7" y="592"/>
                  </a:lnTo>
                  <a:lnTo>
                    <a:pt x="9" y="592"/>
                  </a:lnTo>
                  <a:lnTo>
                    <a:pt x="9" y="594"/>
                  </a:lnTo>
                  <a:lnTo>
                    <a:pt x="9" y="592"/>
                  </a:lnTo>
                  <a:lnTo>
                    <a:pt x="9" y="589"/>
                  </a:lnTo>
                  <a:lnTo>
                    <a:pt x="11" y="589"/>
                  </a:lnTo>
                  <a:lnTo>
                    <a:pt x="11" y="587"/>
                  </a:lnTo>
                  <a:lnTo>
                    <a:pt x="9" y="589"/>
                  </a:lnTo>
                  <a:lnTo>
                    <a:pt x="9" y="592"/>
                  </a:lnTo>
                  <a:lnTo>
                    <a:pt x="7" y="592"/>
                  </a:lnTo>
                  <a:lnTo>
                    <a:pt x="7" y="594"/>
                  </a:lnTo>
                  <a:lnTo>
                    <a:pt x="7" y="592"/>
                  </a:lnTo>
                  <a:lnTo>
                    <a:pt x="7" y="594"/>
                  </a:lnTo>
                  <a:lnTo>
                    <a:pt x="7" y="592"/>
                  </a:lnTo>
                  <a:lnTo>
                    <a:pt x="7" y="594"/>
                  </a:lnTo>
                  <a:lnTo>
                    <a:pt x="7" y="592"/>
                  </a:lnTo>
                  <a:lnTo>
                    <a:pt x="4" y="592"/>
                  </a:lnTo>
                  <a:lnTo>
                    <a:pt x="7" y="592"/>
                  </a:lnTo>
                  <a:lnTo>
                    <a:pt x="4" y="592"/>
                  </a:lnTo>
                  <a:lnTo>
                    <a:pt x="4" y="594"/>
                  </a:lnTo>
                  <a:lnTo>
                    <a:pt x="4" y="592"/>
                  </a:lnTo>
                  <a:lnTo>
                    <a:pt x="4" y="594"/>
                  </a:lnTo>
                  <a:lnTo>
                    <a:pt x="2" y="594"/>
                  </a:lnTo>
                  <a:lnTo>
                    <a:pt x="2" y="592"/>
                  </a:lnTo>
                  <a:lnTo>
                    <a:pt x="4" y="592"/>
                  </a:lnTo>
                  <a:lnTo>
                    <a:pt x="2" y="592"/>
                  </a:lnTo>
                  <a:lnTo>
                    <a:pt x="4" y="592"/>
                  </a:lnTo>
                  <a:lnTo>
                    <a:pt x="2" y="589"/>
                  </a:lnTo>
                  <a:lnTo>
                    <a:pt x="2" y="592"/>
                  </a:lnTo>
                  <a:lnTo>
                    <a:pt x="2" y="589"/>
                  </a:lnTo>
                  <a:lnTo>
                    <a:pt x="4" y="589"/>
                  </a:lnTo>
                  <a:lnTo>
                    <a:pt x="7" y="587"/>
                  </a:lnTo>
                  <a:lnTo>
                    <a:pt x="4" y="587"/>
                  </a:lnTo>
                  <a:lnTo>
                    <a:pt x="4" y="589"/>
                  </a:lnTo>
                  <a:lnTo>
                    <a:pt x="4" y="587"/>
                  </a:lnTo>
                  <a:lnTo>
                    <a:pt x="7" y="587"/>
                  </a:lnTo>
                  <a:lnTo>
                    <a:pt x="4" y="587"/>
                  </a:lnTo>
                  <a:lnTo>
                    <a:pt x="7" y="587"/>
                  </a:lnTo>
                  <a:lnTo>
                    <a:pt x="4" y="587"/>
                  </a:lnTo>
                  <a:lnTo>
                    <a:pt x="4" y="584"/>
                  </a:lnTo>
                  <a:lnTo>
                    <a:pt x="4" y="582"/>
                  </a:lnTo>
                  <a:lnTo>
                    <a:pt x="4" y="584"/>
                  </a:lnTo>
                  <a:lnTo>
                    <a:pt x="4" y="582"/>
                  </a:lnTo>
                  <a:lnTo>
                    <a:pt x="7" y="582"/>
                  </a:lnTo>
                  <a:lnTo>
                    <a:pt x="4" y="582"/>
                  </a:lnTo>
                  <a:lnTo>
                    <a:pt x="4" y="580"/>
                  </a:lnTo>
                  <a:lnTo>
                    <a:pt x="4" y="577"/>
                  </a:lnTo>
                  <a:lnTo>
                    <a:pt x="4" y="575"/>
                  </a:lnTo>
                  <a:lnTo>
                    <a:pt x="4" y="577"/>
                  </a:lnTo>
                  <a:lnTo>
                    <a:pt x="4" y="575"/>
                  </a:lnTo>
                  <a:lnTo>
                    <a:pt x="2" y="575"/>
                  </a:lnTo>
                  <a:lnTo>
                    <a:pt x="4" y="575"/>
                  </a:lnTo>
                  <a:lnTo>
                    <a:pt x="2" y="575"/>
                  </a:lnTo>
                  <a:lnTo>
                    <a:pt x="2" y="573"/>
                  </a:lnTo>
                  <a:lnTo>
                    <a:pt x="4" y="573"/>
                  </a:lnTo>
                  <a:lnTo>
                    <a:pt x="4" y="575"/>
                  </a:lnTo>
                  <a:lnTo>
                    <a:pt x="4" y="573"/>
                  </a:lnTo>
                  <a:lnTo>
                    <a:pt x="2" y="573"/>
                  </a:lnTo>
                  <a:lnTo>
                    <a:pt x="2" y="570"/>
                  </a:lnTo>
                  <a:lnTo>
                    <a:pt x="4" y="570"/>
                  </a:lnTo>
                  <a:lnTo>
                    <a:pt x="4" y="568"/>
                  </a:lnTo>
                  <a:lnTo>
                    <a:pt x="4" y="570"/>
                  </a:lnTo>
                  <a:lnTo>
                    <a:pt x="4" y="568"/>
                  </a:lnTo>
                  <a:lnTo>
                    <a:pt x="2" y="568"/>
                  </a:lnTo>
                  <a:lnTo>
                    <a:pt x="4" y="568"/>
                  </a:lnTo>
                  <a:lnTo>
                    <a:pt x="2" y="568"/>
                  </a:lnTo>
                  <a:lnTo>
                    <a:pt x="4" y="568"/>
                  </a:lnTo>
                  <a:lnTo>
                    <a:pt x="2" y="568"/>
                  </a:lnTo>
                  <a:lnTo>
                    <a:pt x="0" y="568"/>
                  </a:lnTo>
                  <a:lnTo>
                    <a:pt x="2" y="568"/>
                  </a:lnTo>
                  <a:lnTo>
                    <a:pt x="0" y="568"/>
                  </a:lnTo>
                  <a:lnTo>
                    <a:pt x="2" y="568"/>
                  </a:lnTo>
                  <a:lnTo>
                    <a:pt x="2" y="565"/>
                  </a:lnTo>
                  <a:lnTo>
                    <a:pt x="0" y="565"/>
                  </a:lnTo>
                  <a:lnTo>
                    <a:pt x="2" y="565"/>
                  </a:lnTo>
                  <a:lnTo>
                    <a:pt x="2" y="568"/>
                  </a:lnTo>
                  <a:lnTo>
                    <a:pt x="2" y="565"/>
                  </a:lnTo>
                  <a:lnTo>
                    <a:pt x="0" y="565"/>
                  </a:lnTo>
                  <a:lnTo>
                    <a:pt x="2" y="565"/>
                  </a:lnTo>
                  <a:lnTo>
                    <a:pt x="0" y="565"/>
                  </a:lnTo>
                  <a:lnTo>
                    <a:pt x="0" y="563"/>
                  </a:lnTo>
                  <a:lnTo>
                    <a:pt x="2" y="563"/>
                  </a:lnTo>
                  <a:lnTo>
                    <a:pt x="0" y="563"/>
                  </a:lnTo>
                  <a:lnTo>
                    <a:pt x="2" y="563"/>
                  </a:lnTo>
                  <a:lnTo>
                    <a:pt x="0" y="563"/>
                  </a:lnTo>
                  <a:lnTo>
                    <a:pt x="0" y="561"/>
                  </a:lnTo>
                  <a:lnTo>
                    <a:pt x="2" y="561"/>
                  </a:lnTo>
                  <a:lnTo>
                    <a:pt x="2" y="558"/>
                  </a:lnTo>
                  <a:lnTo>
                    <a:pt x="4" y="558"/>
                  </a:lnTo>
                  <a:lnTo>
                    <a:pt x="2" y="558"/>
                  </a:lnTo>
                  <a:lnTo>
                    <a:pt x="4" y="558"/>
                  </a:lnTo>
                  <a:lnTo>
                    <a:pt x="2" y="558"/>
                  </a:lnTo>
                  <a:lnTo>
                    <a:pt x="2" y="561"/>
                  </a:lnTo>
                  <a:lnTo>
                    <a:pt x="0" y="561"/>
                  </a:lnTo>
                  <a:lnTo>
                    <a:pt x="0" y="558"/>
                  </a:lnTo>
                  <a:lnTo>
                    <a:pt x="0" y="561"/>
                  </a:lnTo>
                  <a:lnTo>
                    <a:pt x="0" y="558"/>
                  </a:lnTo>
                  <a:lnTo>
                    <a:pt x="0" y="556"/>
                  </a:lnTo>
                  <a:lnTo>
                    <a:pt x="2" y="556"/>
                  </a:lnTo>
                  <a:lnTo>
                    <a:pt x="4" y="556"/>
                  </a:lnTo>
                  <a:lnTo>
                    <a:pt x="4" y="554"/>
                  </a:lnTo>
                  <a:lnTo>
                    <a:pt x="7" y="554"/>
                  </a:lnTo>
                  <a:lnTo>
                    <a:pt x="9" y="556"/>
                  </a:lnTo>
                  <a:lnTo>
                    <a:pt x="7" y="556"/>
                  </a:lnTo>
                  <a:lnTo>
                    <a:pt x="9" y="556"/>
                  </a:lnTo>
                  <a:lnTo>
                    <a:pt x="9" y="558"/>
                  </a:lnTo>
                  <a:lnTo>
                    <a:pt x="11" y="558"/>
                  </a:lnTo>
                  <a:lnTo>
                    <a:pt x="11" y="561"/>
                  </a:lnTo>
                  <a:lnTo>
                    <a:pt x="11" y="563"/>
                  </a:lnTo>
                  <a:lnTo>
                    <a:pt x="11" y="565"/>
                  </a:lnTo>
                  <a:lnTo>
                    <a:pt x="14" y="565"/>
                  </a:lnTo>
                  <a:lnTo>
                    <a:pt x="16" y="565"/>
                  </a:lnTo>
                  <a:lnTo>
                    <a:pt x="16" y="563"/>
                  </a:lnTo>
                  <a:lnTo>
                    <a:pt x="16" y="565"/>
                  </a:lnTo>
                  <a:lnTo>
                    <a:pt x="16" y="563"/>
                  </a:lnTo>
                  <a:lnTo>
                    <a:pt x="19" y="563"/>
                  </a:lnTo>
                  <a:lnTo>
                    <a:pt x="16" y="563"/>
                  </a:lnTo>
                  <a:lnTo>
                    <a:pt x="19" y="563"/>
                  </a:lnTo>
                  <a:lnTo>
                    <a:pt x="19" y="561"/>
                  </a:lnTo>
                  <a:lnTo>
                    <a:pt x="19" y="558"/>
                  </a:lnTo>
                  <a:lnTo>
                    <a:pt x="21" y="556"/>
                  </a:lnTo>
                  <a:lnTo>
                    <a:pt x="21" y="554"/>
                  </a:lnTo>
                  <a:lnTo>
                    <a:pt x="21" y="551"/>
                  </a:lnTo>
                  <a:lnTo>
                    <a:pt x="21" y="549"/>
                  </a:lnTo>
                  <a:lnTo>
                    <a:pt x="23" y="546"/>
                  </a:lnTo>
                  <a:lnTo>
                    <a:pt x="23" y="542"/>
                  </a:lnTo>
                  <a:lnTo>
                    <a:pt x="21" y="539"/>
                  </a:lnTo>
                  <a:lnTo>
                    <a:pt x="21" y="537"/>
                  </a:lnTo>
                  <a:lnTo>
                    <a:pt x="21" y="535"/>
                  </a:lnTo>
                  <a:lnTo>
                    <a:pt x="21" y="532"/>
                  </a:lnTo>
                  <a:lnTo>
                    <a:pt x="19" y="532"/>
                  </a:lnTo>
                  <a:lnTo>
                    <a:pt x="19" y="527"/>
                  </a:lnTo>
                  <a:lnTo>
                    <a:pt x="19" y="525"/>
                  </a:lnTo>
                  <a:lnTo>
                    <a:pt x="21" y="525"/>
                  </a:lnTo>
                  <a:lnTo>
                    <a:pt x="23" y="525"/>
                  </a:lnTo>
                  <a:lnTo>
                    <a:pt x="26" y="523"/>
                  </a:lnTo>
                  <a:lnTo>
                    <a:pt x="26" y="520"/>
                  </a:lnTo>
                  <a:lnTo>
                    <a:pt x="26" y="518"/>
                  </a:lnTo>
                  <a:lnTo>
                    <a:pt x="26" y="516"/>
                  </a:lnTo>
                  <a:lnTo>
                    <a:pt x="23" y="516"/>
                  </a:lnTo>
                  <a:lnTo>
                    <a:pt x="26" y="513"/>
                  </a:lnTo>
                  <a:lnTo>
                    <a:pt x="28" y="513"/>
                  </a:lnTo>
                  <a:lnTo>
                    <a:pt x="28" y="511"/>
                  </a:lnTo>
                  <a:lnTo>
                    <a:pt x="28" y="513"/>
                  </a:lnTo>
                  <a:lnTo>
                    <a:pt x="30" y="513"/>
                  </a:lnTo>
                  <a:lnTo>
                    <a:pt x="33" y="513"/>
                  </a:lnTo>
                  <a:lnTo>
                    <a:pt x="35" y="513"/>
                  </a:lnTo>
                  <a:lnTo>
                    <a:pt x="35" y="511"/>
                  </a:lnTo>
                  <a:lnTo>
                    <a:pt x="38" y="508"/>
                  </a:lnTo>
                  <a:lnTo>
                    <a:pt x="40" y="508"/>
                  </a:lnTo>
                  <a:lnTo>
                    <a:pt x="40" y="506"/>
                  </a:lnTo>
                  <a:lnTo>
                    <a:pt x="42" y="506"/>
                  </a:lnTo>
                  <a:lnTo>
                    <a:pt x="42" y="504"/>
                  </a:lnTo>
                  <a:lnTo>
                    <a:pt x="45" y="504"/>
                  </a:lnTo>
                  <a:lnTo>
                    <a:pt x="45" y="501"/>
                  </a:lnTo>
                  <a:lnTo>
                    <a:pt x="45" y="499"/>
                  </a:lnTo>
                  <a:lnTo>
                    <a:pt x="47" y="497"/>
                  </a:lnTo>
                  <a:lnTo>
                    <a:pt x="47" y="494"/>
                  </a:lnTo>
                  <a:lnTo>
                    <a:pt x="45" y="494"/>
                  </a:lnTo>
                  <a:lnTo>
                    <a:pt x="45" y="492"/>
                  </a:lnTo>
                  <a:lnTo>
                    <a:pt x="45" y="489"/>
                  </a:lnTo>
                  <a:lnTo>
                    <a:pt x="47" y="487"/>
                  </a:lnTo>
                  <a:lnTo>
                    <a:pt x="49" y="485"/>
                  </a:lnTo>
                  <a:lnTo>
                    <a:pt x="49" y="480"/>
                  </a:lnTo>
                  <a:lnTo>
                    <a:pt x="47" y="478"/>
                  </a:lnTo>
                  <a:lnTo>
                    <a:pt x="45" y="475"/>
                  </a:lnTo>
                  <a:lnTo>
                    <a:pt x="45" y="473"/>
                  </a:lnTo>
                  <a:lnTo>
                    <a:pt x="42" y="468"/>
                  </a:lnTo>
                  <a:lnTo>
                    <a:pt x="40" y="461"/>
                  </a:lnTo>
                  <a:lnTo>
                    <a:pt x="40" y="459"/>
                  </a:lnTo>
                  <a:lnTo>
                    <a:pt x="38" y="456"/>
                  </a:lnTo>
                  <a:lnTo>
                    <a:pt x="35" y="451"/>
                  </a:lnTo>
                  <a:lnTo>
                    <a:pt x="42" y="451"/>
                  </a:lnTo>
                  <a:lnTo>
                    <a:pt x="45" y="451"/>
                  </a:lnTo>
                  <a:lnTo>
                    <a:pt x="49" y="451"/>
                  </a:lnTo>
                  <a:lnTo>
                    <a:pt x="52" y="449"/>
                  </a:lnTo>
                  <a:lnTo>
                    <a:pt x="52" y="444"/>
                  </a:lnTo>
                  <a:lnTo>
                    <a:pt x="54" y="442"/>
                  </a:lnTo>
                  <a:lnTo>
                    <a:pt x="57" y="437"/>
                  </a:lnTo>
                  <a:lnTo>
                    <a:pt x="57" y="435"/>
                  </a:lnTo>
                  <a:lnTo>
                    <a:pt x="54" y="430"/>
                  </a:lnTo>
                  <a:lnTo>
                    <a:pt x="52" y="428"/>
                  </a:lnTo>
                  <a:lnTo>
                    <a:pt x="49" y="425"/>
                  </a:lnTo>
                  <a:lnTo>
                    <a:pt x="47" y="423"/>
                  </a:lnTo>
                  <a:lnTo>
                    <a:pt x="42" y="423"/>
                  </a:lnTo>
                  <a:lnTo>
                    <a:pt x="40" y="421"/>
                  </a:lnTo>
                  <a:lnTo>
                    <a:pt x="38" y="418"/>
                  </a:lnTo>
                  <a:lnTo>
                    <a:pt x="33" y="413"/>
                  </a:lnTo>
                  <a:lnTo>
                    <a:pt x="33" y="411"/>
                  </a:lnTo>
                  <a:lnTo>
                    <a:pt x="35" y="399"/>
                  </a:lnTo>
                  <a:lnTo>
                    <a:pt x="38" y="394"/>
                  </a:lnTo>
                  <a:lnTo>
                    <a:pt x="38" y="387"/>
                  </a:lnTo>
                  <a:lnTo>
                    <a:pt x="38" y="385"/>
                  </a:lnTo>
                  <a:lnTo>
                    <a:pt x="38" y="383"/>
                  </a:lnTo>
                  <a:lnTo>
                    <a:pt x="38" y="380"/>
                  </a:lnTo>
                  <a:lnTo>
                    <a:pt x="30" y="366"/>
                  </a:lnTo>
                  <a:lnTo>
                    <a:pt x="33" y="359"/>
                  </a:lnTo>
                  <a:lnTo>
                    <a:pt x="33" y="356"/>
                  </a:lnTo>
                  <a:lnTo>
                    <a:pt x="30" y="349"/>
                  </a:lnTo>
                  <a:lnTo>
                    <a:pt x="35" y="345"/>
                  </a:lnTo>
                  <a:lnTo>
                    <a:pt x="35" y="342"/>
                  </a:lnTo>
                  <a:lnTo>
                    <a:pt x="30" y="335"/>
                  </a:lnTo>
                  <a:lnTo>
                    <a:pt x="28" y="333"/>
                  </a:lnTo>
                  <a:lnTo>
                    <a:pt x="28" y="330"/>
                  </a:lnTo>
                  <a:lnTo>
                    <a:pt x="28" y="328"/>
                  </a:lnTo>
                  <a:lnTo>
                    <a:pt x="30" y="326"/>
                  </a:lnTo>
                  <a:lnTo>
                    <a:pt x="35" y="318"/>
                  </a:lnTo>
                  <a:lnTo>
                    <a:pt x="33" y="311"/>
                  </a:lnTo>
                  <a:lnTo>
                    <a:pt x="38" y="309"/>
                  </a:lnTo>
                  <a:lnTo>
                    <a:pt x="38" y="307"/>
                  </a:lnTo>
                  <a:lnTo>
                    <a:pt x="40" y="307"/>
                  </a:lnTo>
                  <a:lnTo>
                    <a:pt x="45" y="297"/>
                  </a:lnTo>
                  <a:lnTo>
                    <a:pt x="49" y="295"/>
                  </a:lnTo>
                  <a:lnTo>
                    <a:pt x="52" y="290"/>
                  </a:lnTo>
                  <a:lnTo>
                    <a:pt x="54" y="290"/>
                  </a:lnTo>
                  <a:lnTo>
                    <a:pt x="59" y="288"/>
                  </a:lnTo>
                  <a:lnTo>
                    <a:pt x="66" y="285"/>
                  </a:lnTo>
                  <a:lnTo>
                    <a:pt x="68" y="285"/>
                  </a:lnTo>
                  <a:lnTo>
                    <a:pt x="78" y="285"/>
                  </a:lnTo>
                  <a:lnTo>
                    <a:pt x="83" y="288"/>
                  </a:lnTo>
                  <a:lnTo>
                    <a:pt x="85" y="288"/>
                  </a:lnTo>
                  <a:lnTo>
                    <a:pt x="95" y="290"/>
                  </a:lnTo>
                  <a:lnTo>
                    <a:pt x="95" y="288"/>
                  </a:lnTo>
                  <a:lnTo>
                    <a:pt x="99" y="280"/>
                  </a:lnTo>
                  <a:lnTo>
                    <a:pt x="99" y="278"/>
                  </a:lnTo>
                  <a:lnTo>
                    <a:pt x="99" y="266"/>
                  </a:lnTo>
                  <a:lnTo>
                    <a:pt x="99" y="264"/>
                  </a:lnTo>
                  <a:lnTo>
                    <a:pt x="97" y="264"/>
                  </a:lnTo>
                  <a:lnTo>
                    <a:pt x="97" y="261"/>
                  </a:lnTo>
                  <a:lnTo>
                    <a:pt x="95" y="261"/>
                  </a:lnTo>
                  <a:lnTo>
                    <a:pt x="92" y="261"/>
                  </a:lnTo>
                  <a:lnTo>
                    <a:pt x="90" y="259"/>
                  </a:lnTo>
                  <a:lnTo>
                    <a:pt x="83" y="257"/>
                  </a:lnTo>
                  <a:lnTo>
                    <a:pt x="85" y="257"/>
                  </a:lnTo>
                  <a:lnTo>
                    <a:pt x="85" y="254"/>
                  </a:lnTo>
                  <a:lnTo>
                    <a:pt x="87" y="250"/>
                  </a:lnTo>
                  <a:lnTo>
                    <a:pt x="90" y="250"/>
                  </a:lnTo>
                  <a:lnTo>
                    <a:pt x="92" y="242"/>
                  </a:lnTo>
                  <a:lnTo>
                    <a:pt x="97" y="238"/>
                  </a:lnTo>
                  <a:lnTo>
                    <a:pt x="99" y="235"/>
                  </a:lnTo>
                  <a:lnTo>
                    <a:pt x="104" y="228"/>
                  </a:lnTo>
                  <a:lnTo>
                    <a:pt x="106" y="228"/>
                  </a:lnTo>
                  <a:lnTo>
                    <a:pt x="106" y="221"/>
                  </a:lnTo>
                  <a:lnTo>
                    <a:pt x="111" y="216"/>
                  </a:lnTo>
                  <a:lnTo>
                    <a:pt x="111" y="214"/>
                  </a:lnTo>
                  <a:lnTo>
                    <a:pt x="111" y="204"/>
                  </a:lnTo>
                  <a:lnTo>
                    <a:pt x="113" y="195"/>
                  </a:lnTo>
                  <a:lnTo>
                    <a:pt x="116" y="188"/>
                  </a:lnTo>
                  <a:lnTo>
                    <a:pt x="113" y="183"/>
                  </a:lnTo>
                  <a:lnTo>
                    <a:pt x="113" y="178"/>
                  </a:lnTo>
                  <a:lnTo>
                    <a:pt x="113" y="173"/>
                  </a:lnTo>
                  <a:lnTo>
                    <a:pt x="111" y="169"/>
                  </a:lnTo>
                  <a:lnTo>
                    <a:pt x="113" y="169"/>
                  </a:lnTo>
                  <a:lnTo>
                    <a:pt x="123" y="169"/>
                  </a:lnTo>
                  <a:lnTo>
                    <a:pt x="128" y="169"/>
                  </a:lnTo>
                  <a:lnTo>
                    <a:pt x="130" y="169"/>
                  </a:lnTo>
                  <a:lnTo>
                    <a:pt x="140" y="164"/>
                  </a:lnTo>
                  <a:lnTo>
                    <a:pt x="144" y="162"/>
                  </a:lnTo>
                  <a:lnTo>
                    <a:pt x="142" y="159"/>
                  </a:lnTo>
                  <a:lnTo>
                    <a:pt x="142" y="157"/>
                  </a:lnTo>
                  <a:lnTo>
                    <a:pt x="140" y="150"/>
                  </a:lnTo>
                  <a:lnTo>
                    <a:pt x="142" y="147"/>
                  </a:lnTo>
                  <a:lnTo>
                    <a:pt x="149" y="143"/>
                  </a:lnTo>
                  <a:lnTo>
                    <a:pt x="161" y="126"/>
                  </a:lnTo>
                  <a:lnTo>
                    <a:pt x="163" y="124"/>
                  </a:lnTo>
                  <a:lnTo>
                    <a:pt x="168" y="121"/>
                  </a:lnTo>
                  <a:lnTo>
                    <a:pt x="170" y="121"/>
                  </a:lnTo>
                  <a:lnTo>
                    <a:pt x="173" y="119"/>
                  </a:lnTo>
                  <a:lnTo>
                    <a:pt x="173" y="109"/>
                  </a:lnTo>
                  <a:lnTo>
                    <a:pt x="173" y="107"/>
                  </a:lnTo>
                  <a:lnTo>
                    <a:pt x="168" y="102"/>
                  </a:lnTo>
                  <a:lnTo>
                    <a:pt x="163" y="95"/>
                  </a:lnTo>
                  <a:lnTo>
                    <a:pt x="166" y="93"/>
                  </a:lnTo>
                  <a:lnTo>
                    <a:pt x="166" y="90"/>
                  </a:lnTo>
                  <a:lnTo>
                    <a:pt x="175" y="90"/>
                  </a:lnTo>
                  <a:lnTo>
                    <a:pt x="175" y="88"/>
                  </a:lnTo>
                  <a:lnTo>
                    <a:pt x="178" y="86"/>
                  </a:lnTo>
                  <a:lnTo>
                    <a:pt x="180" y="83"/>
                  </a:lnTo>
                  <a:lnTo>
                    <a:pt x="182" y="76"/>
                  </a:lnTo>
                  <a:lnTo>
                    <a:pt x="185" y="67"/>
                  </a:lnTo>
                  <a:lnTo>
                    <a:pt x="187" y="67"/>
                  </a:lnTo>
                  <a:lnTo>
                    <a:pt x="194" y="62"/>
                  </a:lnTo>
                  <a:lnTo>
                    <a:pt x="199" y="59"/>
                  </a:lnTo>
                  <a:lnTo>
                    <a:pt x="204" y="55"/>
                  </a:lnTo>
                  <a:lnTo>
                    <a:pt x="211" y="59"/>
                  </a:lnTo>
                  <a:lnTo>
                    <a:pt x="216" y="59"/>
                  </a:lnTo>
                  <a:lnTo>
                    <a:pt x="218" y="62"/>
                  </a:lnTo>
                  <a:lnTo>
                    <a:pt x="223" y="64"/>
                  </a:lnTo>
                  <a:lnTo>
                    <a:pt x="225" y="64"/>
                  </a:lnTo>
                  <a:lnTo>
                    <a:pt x="225" y="59"/>
                  </a:lnTo>
                  <a:lnTo>
                    <a:pt x="230" y="55"/>
                  </a:lnTo>
                  <a:lnTo>
                    <a:pt x="232" y="50"/>
                  </a:lnTo>
                  <a:lnTo>
                    <a:pt x="230" y="38"/>
                  </a:lnTo>
                  <a:lnTo>
                    <a:pt x="230" y="31"/>
                  </a:lnTo>
                  <a:lnTo>
                    <a:pt x="239" y="29"/>
                  </a:lnTo>
                  <a:lnTo>
                    <a:pt x="246" y="33"/>
                  </a:lnTo>
                  <a:lnTo>
                    <a:pt x="258" y="33"/>
                  </a:lnTo>
                  <a:lnTo>
                    <a:pt x="289" y="43"/>
                  </a:lnTo>
                  <a:lnTo>
                    <a:pt x="291" y="40"/>
                  </a:lnTo>
                  <a:lnTo>
                    <a:pt x="301" y="33"/>
                  </a:lnTo>
                  <a:lnTo>
                    <a:pt x="294" y="33"/>
                  </a:lnTo>
                  <a:lnTo>
                    <a:pt x="294" y="31"/>
                  </a:lnTo>
                  <a:lnTo>
                    <a:pt x="291" y="31"/>
                  </a:lnTo>
                  <a:lnTo>
                    <a:pt x="294" y="29"/>
                  </a:lnTo>
                  <a:lnTo>
                    <a:pt x="299" y="24"/>
                  </a:lnTo>
                  <a:lnTo>
                    <a:pt x="303" y="17"/>
                  </a:lnTo>
                  <a:lnTo>
                    <a:pt x="303" y="10"/>
                  </a:lnTo>
                  <a:lnTo>
                    <a:pt x="294" y="2"/>
                  </a:lnTo>
                  <a:lnTo>
                    <a:pt x="296" y="2"/>
                  </a:lnTo>
                  <a:lnTo>
                    <a:pt x="308" y="0"/>
                  </a:lnTo>
                  <a:lnTo>
                    <a:pt x="310" y="0"/>
                  </a:lnTo>
                  <a:lnTo>
                    <a:pt x="310" y="2"/>
                  </a:lnTo>
                  <a:lnTo>
                    <a:pt x="313" y="0"/>
                  </a:lnTo>
                  <a:lnTo>
                    <a:pt x="313" y="2"/>
                  </a:lnTo>
                  <a:lnTo>
                    <a:pt x="315" y="2"/>
                  </a:lnTo>
                  <a:lnTo>
                    <a:pt x="318" y="2"/>
                  </a:lnTo>
                  <a:lnTo>
                    <a:pt x="320" y="2"/>
                  </a:lnTo>
                  <a:lnTo>
                    <a:pt x="320" y="5"/>
                  </a:lnTo>
                  <a:lnTo>
                    <a:pt x="322" y="5"/>
                  </a:lnTo>
                  <a:lnTo>
                    <a:pt x="322" y="7"/>
                  </a:lnTo>
                  <a:lnTo>
                    <a:pt x="320" y="7"/>
                  </a:lnTo>
                  <a:lnTo>
                    <a:pt x="320" y="10"/>
                  </a:lnTo>
                  <a:lnTo>
                    <a:pt x="322" y="10"/>
                  </a:lnTo>
                  <a:lnTo>
                    <a:pt x="325" y="10"/>
                  </a:lnTo>
                  <a:lnTo>
                    <a:pt x="325" y="12"/>
                  </a:lnTo>
                  <a:lnTo>
                    <a:pt x="327" y="12"/>
                  </a:lnTo>
                  <a:lnTo>
                    <a:pt x="329" y="12"/>
                  </a:lnTo>
                  <a:lnTo>
                    <a:pt x="329" y="14"/>
                  </a:lnTo>
                  <a:lnTo>
                    <a:pt x="332" y="14"/>
                  </a:lnTo>
                  <a:lnTo>
                    <a:pt x="334" y="14"/>
                  </a:lnTo>
                  <a:lnTo>
                    <a:pt x="334" y="17"/>
                  </a:lnTo>
                  <a:lnTo>
                    <a:pt x="334" y="19"/>
                  </a:lnTo>
                  <a:lnTo>
                    <a:pt x="337" y="19"/>
                  </a:lnTo>
                  <a:lnTo>
                    <a:pt x="339" y="19"/>
                  </a:lnTo>
                  <a:lnTo>
                    <a:pt x="339" y="21"/>
                  </a:lnTo>
                  <a:lnTo>
                    <a:pt x="341" y="24"/>
                  </a:lnTo>
                  <a:lnTo>
                    <a:pt x="344" y="24"/>
                  </a:lnTo>
                  <a:lnTo>
                    <a:pt x="346" y="24"/>
                  </a:lnTo>
                  <a:lnTo>
                    <a:pt x="346" y="26"/>
                  </a:lnTo>
                  <a:lnTo>
                    <a:pt x="348" y="26"/>
                  </a:lnTo>
                  <a:lnTo>
                    <a:pt x="348" y="29"/>
                  </a:lnTo>
                  <a:lnTo>
                    <a:pt x="351" y="29"/>
                  </a:lnTo>
                  <a:lnTo>
                    <a:pt x="353" y="29"/>
                  </a:lnTo>
                  <a:lnTo>
                    <a:pt x="356" y="29"/>
                  </a:lnTo>
                  <a:lnTo>
                    <a:pt x="356" y="31"/>
                  </a:lnTo>
                  <a:lnTo>
                    <a:pt x="358" y="31"/>
                  </a:lnTo>
                  <a:lnTo>
                    <a:pt x="358" y="33"/>
                  </a:lnTo>
                  <a:lnTo>
                    <a:pt x="360" y="33"/>
                  </a:lnTo>
                  <a:lnTo>
                    <a:pt x="360" y="36"/>
                  </a:lnTo>
                  <a:lnTo>
                    <a:pt x="363" y="36"/>
                  </a:lnTo>
                  <a:lnTo>
                    <a:pt x="365" y="36"/>
                  </a:lnTo>
                  <a:lnTo>
                    <a:pt x="367" y="36"/>
                  </a:lnTo>
                  <a:lnTo>
                    <a:pt x="370" y="36"/>
                  </a:lnTo>
                  <a:lnTo>
                    <a:pt x="372" y="36"/>
                  </a:lnTo>
                  <a:lnTo>
                    <a:pt x="374" y="36"/>
                  </a:lnTo>
                  <a:lnTo>
                    <a:pt x="374" y="38"/>
                  </a:lnTo>
                  <a:lnTo>
                    <a:pt x="377" y="38"/>
                  </a:lnTo>
                  <a:lnTo>
                    <a:pt x="379" y="38"/>
                  </a:lnTo>
                  <a:lnTo>
                    <a:pt x="382" y="38"/>
                  </a:lnTo>
                  <a:lnTo>
                    <a:pt x="382" y="40"/>
                  </a:lnTo>
                  <a:lnTo>
                    <a:pt x="384" y="40"/>
                  </a:lnTo>
                  <a:lnTo>
                    <a:pt x="386" y="40"/>
                  </a:lnTo>
                  <a:lnTo>
                    <a:pt x="386" y="43"/>
                  </a:lnTo>
                  <a:lnTo>
                    <a:pt x="389" y="43"/>
                  </a:lnTo>
                  <a:lnTo>
                    <a:pt x="391" y="43"/>
                  </a:lnTo>
                  <a:lnTo>
                    <a:pt x="391" y="45"/>
                  </a:lnTo>
                  <a:lnTo>
                    <a:pt x="393" y="45"/>
                  </a:lnTo>
                  <a:lnTo>
                    <a:pt x="393" y="48"/>
                  </a:lnTo>
                  <a:lnTo>
                    <a:pt x="396" y="48"/>
                  </a:lnTo>
                  <a:lnTo>
                    <a:pt x="396" y="50"/>
                  </a:lnTo>
                  <a:lnTo>
                    <a:pt x="396" y="52"/>
                  </a:lnTo>
                  <a:lnTo>
                    <a:pt x="396" y="55"/>
                  </a:lnTo>
                  <a:lnTo>
                    <a:pt x="398" y="55"/>
                  </a:lnTo>
                  <a:lnTo>
                    <a:pt x="401" y="55"/>
                  </a:lnTo>
                  <a:lnTo>
                    <a:pt x="403" y="55"/>
                  </a:lnTo>
                  <a:lnTo>
                    <a:pt x="403" y="57"/>
                  </a:lnTo>
                  <a:lnTo>
                    <a:pt x="403" y="59"/>
                  </a:lnTo>
                  <a:lnTo>
                    <a:pt x="405" y="59"/>
                  </a:lnTo>
                  <a:lnTo>
                    <a:pt x="403" y="59"/>
                  </a:lnTo>
                  <a:lnTo>
                    <a:pt x="405" y="59"/>
                  </a:lnTo>
                  <a:lnTo>
                    <a:pt x="408" y="62"/>
                  </a:lnTo>
                  <a:lnTo>
                    <a:pt x="410" y="62"/>
                  </a:lnTo>
                  <a:lnTo>
                    <a:pt x="410" y="64"/>
                  </a:lnTo>
                  <a:lnTo>
                    <a:pt x="412" y="64"/>
                  </a:lnTo>
                  <a:lnTo>
                    <a:pt x="412" y="67"/>
                  </a:lnTo>
                  <a:lnTo>
                    <a:pt x="412" y="69"/>
                  </a:lnTo>
                  <a:lnTo>
                    <a:pt x="410" y="69"/>
                  </a:lnTo>
                  <a:lnTo>
                    <a:pt x="408" y="69"/>
                  </a:lnTo>
                  <a:lnTo>
                    <a:pt x="408" y="71"/>
                  </a:lnTo>
                  <a:lnTo>
                    <a:pt x="408" y="74"/>
                  </a:lnTo>
                  <a:lnTo>
                    <a:pt x="408" y="76"/>
                  </a:lnTo>
                  <a:lnTo>
                    <a:pt x="408" y="78"/>
                  </a:lnTo>
                  <a:lnTo>
                    <a:pt x="408" y="81"/>
                  </a:lnTo>
                  <a:lnTo>
                    <a:pt x="408" y="83"/>
                  </a:lnTo>
                  <a:lnTo>
                    <a:pt x="410" y="83"/>
                  </a:lnTo>
                  <a:lnTo>
                    <a:pt x="410" y="86"/>
                  </a:lnTo>
                  <a:lnTo>
                    <a:pt x="410" y="88"/>
                  </a:lnTo>
                  <a:lnTo>
                    <a:pt x="408" y="88"/>
                  </a:lnTo>
                  <a:lnTo>
                    <a:pt x="405" y="88"/>
                  </a:lnTo>
                  <a:lnTo>
                    <a:pt x="408" y="88"/>
                  </a:lnTo>
                  <a:lnTo>
                    <a:pt x="408" y="90"/>
                  </a:lnTo>
                  <a:lnTo>
                    <a:pt x="405" y="90"/>
                  </a:lnTo>
                  <a:lnTo>
                    <a:pt x="405" y="93"/>
                  </a:lnTo>
                  <a:lnTo>
                    <a:pt x="405" y="95"/>
                  </a:lnTo>
                  <a:lnTo>
                    <a:pt x="408" y="95"/>
                  </a:lnTo>
                  <a:lnTo>
                    <a:pt x="410" y="95"/>
                  </a:lnTo>
                  <a:lnTo>
                    <a:pt x="410" y="93"/>
                  </a:lnTo>
                  <a:lnTo>
                    <a:pt x="410" y="95"/>
                  </a:lnTo>
                  <a:lnTo>
                    <a:pt x="412" y="95"/>
                  </a:lnTo>
                  <a:lnTo>
                    <a:pt x="415" y="95"/>
                  </a:lnTo>
                  <a:lnTo>
                    <a:pt x="417" y="95"/>
                  </a:lnTo>
                  <a:lnTo>
                    <a:pt x="417" y="97"/>
                  </a:lnTo>
                  <a:lnTo>
                    <a:pt x="415" y="97"/>
                  </a:lnTo>
                  <a:lnTo>
                    <a:pt x="415" y="100"/>
                  </a:lnTo>
                  <a:lnTo>
                    <a:pt x="417" y="100"/>
                  </a:lnTo>
                  <a:lnTo>
                    <a:pt x="417" y="102"/>
                  </a:lnTo>
                  <a:lnTo>
                    <a:pt x="415" y="102"/>
                  </a:lnTo>
                  <a:lnTo>
                    <a:pt x="415" y="105"/>
                  </a:lnTo>
                  <a:lnTo>
                    <a:pt x="412" y="105"/>
                  </a:lnTo>
                  <a:lnTo>
                    <a:pt x="410" y="105"/>
                  </a:lnTo>
                  <a:lnTo>
                    <a:pt x="410" y="107"/>
                  </a:lnTo>
                  <a:lnTo>
                    <a:pt x="410" y="109"/>
                  </a:lnTo>
                  <a:lnTo>
                    <a:pt x="410" y="112"/>
                  </a:lnTo>
                  <a:lnTo>
                    <a:pt x="412" y="114"/>
                  </a:lnTo>
                  <a:lnTo>
                    <a:pt x="412" y="116"/>
                  </a:lnTo>
                  <a:lnTo>
                    <a:pt x="415" y="116"/>
                  </a:lnTo>
                  <a:lnTo>
                    <a:pt x="415" y="119"/>
                  </a:lnTo>
                  <a:lnTo>
                    <a:pt x="417" y="119"/>
                  </a:lnTo>
                  <a:lnTo>
                    <a:pt x="417" y="121"/>
                  </a:lnTo>
                  <a:lnTo>
                    <a:pt x="420" y="121"/>
                  </a:lnTo>
                  <a:lnTo>
                    <a:pt x="420" y="124"/>
                  </a:lnTo>
                  <a:lnTo>
                    <a:pt x="420" y="126"/>
                  </a:lnTo>
                  <a:lnTo>
                    <a:pt x="422" y="126"/>
                  </a:lnTo>
                  <a:lnTo>
                    <a:pt x="422" y="128"/>
                  </a:lnTo>
                  <a:lnTo>
                    <a:pt x="424" y="128"/>
                  </a:lnTo>
                  <a:lnTo>
                    <a:pt x="424" y="131"/>
                  </a:lnTo>
                  <a:lnTo>
                    <a:pt x="424" y="133"/>
                  </a:lnTo>
                  <a:lnTo>
                    <a:pt x="422" y="133"/>
                  </a:lnTo>
                  <a:lnTo>
                    <a:pt x="420" y="133"/>
                  </a:lnTo>
                  <a:lnTo>
                    <a:pt x="420" y="135"/>
                  </a:lnTo>
                  <a:lnTo>
                    <a:pt x="422" y="135"/>
                  </a:lnTo>
                  <a:lnTo>
                    <a:pt x="422" y="138"/>
                  </a:lnTo>
                  <a:lnTo>
                    <a:pt x="420" y="138"/>
                  </a:lnTo>
                  <a:lnTo>
                    <a:pt x="420" y="140"/>
                  </a:lnTo>
                  <a:lnTo>
                    <a:pt x="420" y="143"/>
                  </a:lnTo>
                  <a:lnTo>
                    <a:pt x="420" y="145"/>
                  </a:lnTo>
                  <a:lnTo>
                    <a:pt x="417" y="147"/>
                  </a:lnTo>
                  <a:lnTo>
                    <a:pt x="415" y="147"/>
                  </a:lnTo>
                  <a:lnTo>
                    <a:pt x="415" y="150"/>
                  </a:lnTo>
                  <a:lnTo>
                    <a:pt x="415" y="147"/>
                  </a:lnTo>
                  <a:lnTo>
                    <a:pt x="415" y="150"/>
                  </a:lnTo>
                  <a:lnTo>
                    <a:pt x="412" y="150"/>
                  </a:lnTo>
                  <a:lnTo>
                    <a:pt x="412" y="152"/>
                  </a:lnTo>
                  <a:lnTo>
                    <a:pt x="412" y="154"/>
                  </a:lnTo>
                  <a:lnTo>
                    <a:pt x="412" y="157"/>
                  </a:lnTo>
                  <a:lnTo>
                    <a:pt x="412" y="159"/>
                  </a:lnTo>
                  <a:lnTo>
                    <a:pt x="412" y="162"/>
                  </a:lnTo>
                  <a:lnTo>
                    <a:pt x="412" y="164"/>
                  </a:lnTo>
                  <a:lnTo>
                    <a:pt x="415" y="164"/>
                  </a:lnTo>
                  <a:lnTo>
                    <a:pt x="415" y="166"/>
                  </a:lnTo>
                  <a:lnTo>
                    <a:pt x="417" y="166"/>
                  </a:lnTo>
                  <a:lnTo>
                    <a:pt x="420" y="169"/>
                  </a:lnTo>
                  <a:lnTo>
                    <a:pt x="422" y="169"/>
                  </a:lnTo>
                  <a:lnTo>
                    <a:pt x="422" y="171"/>
                  </a:lnTo>
                  <a:lnTo>
                    <a:pt x="422" y="173"/>
                  </a:lnTo>
                  <a:lnTo>
                    <a:pt x="424" y="176"/>
                  </a:lnTo>
                  <a:lnTo>
                    <a:pt x="427" y="178"/>
                  </a:lnTo>
                  <a:lnTo>
                    <a:pt x="424" y="178"/>
                  </a:lnTo>
                  <a:lnTo>
                    <a:pt x="427" y="178"/>
                  </a:lnTo>
                  <a:lnTo>
                    <a:pt x="424" y="178"/>
                  </a:lnTo>
                  <a:lnTo>
                    <a:pt x="427" y="178"/>
                  </a:lnTo>
                  <a:lnTo>
                    <a:pt x="427" y="181"/>
                  </a:lnTo>
                  <a:lnTo>
                    <a:pt x="429" y="181"/>
                  </a:lnTo>
                  <a:lnTo>
                    <a:pt x="429" y="183"/>
                  </a:lnTo>
                  <a:lnTo>
                    <a:pt x="427" y="183"/>
                  </a:lnTo>
                  <a:lnTo>
                    <a:pt x="429" y="183"/>
                  </a:lnTo>
                  <a:lnTo>
                    <a:pt x="427" y="183"/>
                  </a:lnTo>
                  <a:lnTo>
                    <a:pt x="429" y="183"/>
                  </a:lnTo>
                  <a:lnTo>
                    <a:pt x="429" y="185"/>
                  </a:lnTo>
                  <a:lnTo>
                    <a:pt x="429" y="188"/>
                  </a:lnTo>
                  <a:lnTo>
                    <a:pt x="427" y="188"/>
                  </a:lnTo>
                  <a:close/>
                  <a:moveTo>
                    <a:pt x="204" y="383"/>
                  </a:moveTo>
                  <a:lnTo>
                    <a:pt x="204" y="385"/>
                  </a:lnTo>
                  <a:lnTo>
                    <a:pt x="206" y="385"/>
                  </a:lnTo>
                  <a:lnTo>
                    <a:pt x="204" y="385"/>
                  </a:lnTo>
                  <a:lnTo>
                    <a:pt x="204" y="383"/>
                  </a:lnTo>
                  <a:lnTo>
                    <a:pt x="206" y="383"/>
                  </a:lnTo>
                  <a:lnTo>
                    <a:pt x="204" y="38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0" name="Freeform 56649"/>
            <p:cNvSpPr>
              <a:spLocks noEditPoints="1"/>
            </p:cNvSpPr>
            <p:nvPr/>
          </p:nvSpPr>
          <p:spPr bwMode="auto">
            <a:xfrm>
              <a:off x="2601910" y="3373450"/>
              <a:ext cx="688974" cy="860427"/>
            </a:xfrm>
            <a:custGeom>
              <a:avLst/>
              <a:gdLst>
                <a:gd name="T0" fmla="*/ 156 w 434"/>
                <a:gd name="T1" fmla="*/ 532 h 542"/>
                <a:gd name="T2" fmla="*/ 183 w 434"/>
                <a:gd name="T3" fmla="*/ 490 h 542"/>
                <a:gd name="T4" fmla="*/ 33 w 434"/>
                <a:gd name="T5" fmla="*/ 468 h 542"/>
                <a:gd name="T6" fmla="*/ 26 w 434"/>
                <a:gd name="T7" fmla="*/ 456 h 542"/>
                <a:gd name="T8" fmla="*/ 24 w 434"/>
                <a:gd name="T9" fmla="*/ 452 h 542"/>
                <a:gd name="T10" fmla="*/ 261 w 434"/>
                <a:gd name="T11" fmla="*/ 449 h 542"/>
                <a:gd name="T12" fmla="*/ 187 w 434"/>
                <a:gd name="T13" fmla="*/ 442 h 542"/>
                <a:gd name="T14" fmla="*/ 185 w 434"/>
                <a:gd name="T15" fmla="*/ 440 h 542"/>
                <a:gd name="T16" fmla="*/ 24 w 434"/>
                <a:gd name="T17" fmla="*/ 437 h 542"/>
                <a:gd name="T18" fmla="*/ 268 w 434"/>
                <a:gd name="T19" fmla="*/ 435 h 542"/>
                <a:gd name="T20" fmla="*/ 190 w 434"/>
                <a:gd name="T21" fmla="*/ 428 h 542"/>
                <a:gd name="T22" fmla="*/ 194 w 434"/>
                <a:gd name="T23" fmla="*/ 425 h 542"/>
                <a:gd name="T24" fmla="*/ 197 w 434"/>
                <a:gd name="T25" fmla="*/ 421 h 542"/>
                <a:gd name="T26" fmla="*/ 194 w 434"/>
                <a:gd name="T27" fmla="*/ 421 h 542"/>
                <a:gd name="T28" fmla="*/ 190 w 434"/>
                <a:gd name="T29" fmla="*/ 411 h 542"/>
                <a:gd name="T30" fmla="*/ 199 w 434"/>
                <a:gd name="T31" fmla="*/ 409 h 542"/>
                <a:gd name="T32" fmla="*/ 171 w 434"/>
                <a:gd name="T33" fmla="*/ 402 h 542"/>
                <a:gd name="T34" fmla="*/ 211 w 434"/>
                <a:gd name="T35" fmla="*/ 395 h 542"/>
                <a:gd name="T36" fmla="*/ 7 w 434"/>
                <a:gd name="T37" fmla="*/ 390 h 542"/>
                <a:gd name="T38" fmla="*/ 230 w 434"/>
                <a:gd name="T39" fmla="*/ 385 h 542"/>
                <a:gd name="T40" fmla="*/ 242 w 434"/>
                <a:gd name="T41" fmla="*/ 385 h 542"/>
                <a:gd name="T42" fmla="*/ 230 w 434"/>
                <a:gd name="T43" fmla="*/ 385 h 542"/>
                <a:gd name="T44" fmla="*/ 249 w 434"/>
                <a:gd name="T45" fmla="*/ 378 h 542"/>
                <a:gd name="T46" fmla="*/ 249 w 434"/>
                <a:gd name="T47" fmla="*/ 376 h 542"/>
                <a:gd name="T48" fmla="*/ 256 w 434"/>
                <a:gd name="T49" fmla="*/ 371 h 542"/>
                <a:gd name="T50" fmla="*/ 256 w 434"/>
                <a:gd name="T51" fmla="*/ 368 h 542"/>
                <a:gd name="T52" fmla="*/ 254 w 434"/>
                <a:gd name="T53" fmla="*/ 364 h 542"/>
                <a:gd name="T54" fmla="*/ 237 w 434"/>
                <a:gd name="T55" fmla="*/ 361 h 542"/>
                <a:gd name="T56" fmla="*/ 249 w 434"/>
                <a:gd name="T57" fmla="*/ 359 h 542"/>
                <a:gd name="T58" fmla="*/ 251 w 434"/>
                <a:gd name="T59" fmla="*/ 359 h 542"/>
                <a:gd name="T60" fmla="*/ 256 w 434"/>
                <a:gd name="T61" fmla="*/ 357 h 542"/>
                <a:gd name="T62" fmla="*/ 251 w 434"/>
                <a:gd name="T63" fmla="*/ 357 h 542"/>
                <a:gd name="T64" fmla="*/ 273 w 434"/>
                <a:gd name="T65" fmla="*/ 352 h 542"/>
                <a:gd name="T66" fmla="*/ 254 w 434"/>
                <a:gd name="T67" fmla="*/ 352 h 542"/>
                <a:gd name="T68" fmla="*/ 261 w 434"/>
                <a:gd name="T69" fmla="*/ 349 h 542"/>
                <a:gd name="T70" fmla="*/ 258 w 434"/>
                <a:gd name="T71" fmla="*/ 347 h 542"/>
                <a:gd name="T72" fmla="*/ 270 w 434"/>
                <a:gd name="T73" fmla="*/ 342 h 542"/>
                <a:gd name="T74" fmla="*/ 263 w 434"/>
                <a:gd name="T75" fmla="*/ 340 h 542"/>
                <a:gd name="T76" fmla="*/ 251 w 434"/>
                <a:gd name="T77" fmla="*/ 316 h 542"/>
                <a:gd name="T78" fmla="*/ 254 w 434"/>
                <a:gd name="T79" fmla="*/ 316 h 542"/>
                <a:gd name="T80" fmla="*/ 249 w 434"/>
                <a:gd name="T81" fmla="*/ 311 h 542"/>
                <a:gd name="T82" fmla="*/ 249 w 434"/>
                <a:gd name="T83" fmla="*/ 309 h 542"/>
                <a:gd name="T84" fmla="*/ 216 w 434"/>
                <a:gd name="T85" fmla="*/ 290 h 542"/>
                <a:gd name="T86" fmla="*/ 211 w 434"/>
                <a:gd name="T87" fmla="*/ 245 h 542"/>
                <a:gd name="T88" fmla="*/ 218 w 434"/>
                <a:gd name="T89" fmla="*/ 200 h 542"/>
                <a:gd name="T90" fmla="*/ 230 w 434"/>
                <a:gd name="T91" fmla="*/ 178 h 542"/>
                <a:gd name="T92" fmla="*/ 254 w 434"/>
                <a:gd name="T93" fmla="*/ 164 h 542"/>
                <a:gd name="T94" fmla="*/ 258 w 434"/>
                <a:gd name="T95" fmla="*/ 157 h 542"/>
                <a:gd name="T96" fmla="*/ 294 w 434"/>
                <a:gd name="T97" fmla="*/ 136 h 542"/>
                <a:gd name="T98" fmla="*/ 330 w 434"/>
                <a:gd name="T99" fmla="*/ 126 h 542"/>
                <a:gd name="T100" fmla="*/ 349 w 434"/>
                <a:gd name="T101" fmla="*/ 55 h 542"/>
                <a:gd name="T102" fmla="*/ 346 w 434"/>
                <a:gd name="T103" fmla="*/ 38 h 542"/>
                <a:gd name="T104" fmla="*/ 377 w 434"/>
                <a:gd name="T105" fmla="*/ 36 h 542"/>
                <a:gd name="T106" fmla="*/ 375 w 434"/>
                <a:gd name="T107" fmla="*/ 29 h 542"/>
                <a:gd name="T108" fmla="*/ 365 w 434"/>
                <a:gd name="T109" fmla="*/ 26 h 542"/>
                <a:gd name="T110" fmla="*/ 389 w 434"/>
                <a:gd name="T111" fmla="*/ 24 h 542"/>
                <a:gd name="T112" fmla="*/ 377 w 434"/>
                <a:gd name="T113" fmla="*/ 22 h 542"/>
                <a:gd name="T114" fmla="*/ 398 w 434"/>
                <a:gd name="T115" fmla="*/ 17 h 542"/>
                <a:gd name="T116" fmla="*/ 432 w 434"/>
                <a:gd name="T117" fmla="*/ 17 h 542"/>
                <a:gd name="T118" fmla="*/ 356 w 434"/>
                <a:gd name="T119" fmla="*/ 15 h 542"/>
                <a:gd name="T120" fmla="*/ 427 w 434"/>
                <a:gd name="T121" fmla="*/ 12 h 542"/>
                <a:gd name="T122" fmla="*/ 403 w 434"/>
                <a:gd name="T123" fmla="*/ 10 h 542"/>
                <a:gd name="T124" fmla="*/ 432 w 434"/>
                <a:gd name="T125"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4" h="542">
                  <a:moveTo>
                    <a:pt x="57" y="542"/>
                  </a:moveTo>
                  <a:lnTo>
                    <a:pt x="54" y="542"/>
                  </a:lnTo>
                  <a:lnTo>
                    <a:pt x="57" y="542"/>
                  </a:lnTo>
                  <a:close/>
                  <a:moveTo>
                    <a:pt x="159" y="535"/>
                  </a:moveTo>
                  <a:lnTo>
                    <a:pt x="159" y="537"/>
                  </a:lnTo>
                  <a:lnTo>
                    <a:pt x="159" y="535"/>
                  </a:lnTo>
                  <a:close/>
                  <a:moveTo>
                    <a:pt x="159" y="535"/>
                  </a:moveTo>
                  <a:lnTo>
                    <a:pt x="156" y="535"/>
                  </a:lnTo>
                  <a:lnTo>
                    <a:pt x="159" y="535"/>
                  </a:lnTo>
                  <a:lnTo>
                    <a:pt x="156" y="535"/>
                  </a:lnTo>
                  <a:lnTo>
                    <a:pt x="159" y="535"/>
                  </a:lnTo>
                  <a:lnTo>
                    <a:pt x="156" y="535"/>
                  </a:lnTo>
                  <a:lnTo>
                    <a:pt x="159" y="535"/>
                  </a:lnTo>
                  <a:close/>
                  <a:moveTo>
                    <a:pt x="156" y="535"/>
                  </a:moveTo>
                  <a:lnTo>
                    <a:pt x="156" y="532"/>
                  </a:lnTo>
                  <a:lnTo>
                    <a:pt x="156" y="535"/>
                  </a:lnTo>
                  <a:close/>
                  <a:moveTo>
                    <a:pt x="156" y="532"/>
                  </a:moveTo>
                  <a:lnTo>
                    <a:pt x="156" y="535"/>
                  </a:lnTo>
                  <a:lnTo>
                    <a:pt x="156" y="532"/>
                  </a:lnTo>
                  <a:close/>
                  <a:moveTo>
                    <a:pt x="159" y="532"/>
                  </a:moveTo>
                  <a:lnTo>
                    <a:pt x="156" y="532"/>
                  </a:lnTo>
                  <a:lnTo>
                    <a:pt x="159" y="532"/>
                  </a:lnTo>
                  <a:close/>
                  <a:moveTo>
                    <a:pt x="133" y="530"/>
                  </a:moveTo>
                  <a:lnTo>
                    <a:pt x="133" y="532"/>
                  </a:lnTo>
                  <a:lnTo>
                    <a:pt x="130" y="530"/>
                  </a:lnTo>
                  <a:lnTo>
                    <a:pt x="133" y="530"/>
                  </a:lnTo>
                  <a:close/>
                  <a:moveTo>
                    <a:pt x="149" y="530"/>
                  </a:moveTo>
                  <a:lnTo>
                    <a:pt x="149" y="532"/>
                  </a:lnTo>
                  <a:lnTo>
                    <a:pt x="147" y="532"/>
                  </a:lnTo>
                  <a:lnTo>
                    <a:pt x="149" y="532"/>
                  </a:lnTo>
                  <a:lnTo>
                    <a:pt x="147" y="532"/>
                  </a:lnTo>
                  <a:lnTo>
                    <a:pt x="147" y="530"/>
                  </a:lnTo>
                  <a:lnTo>
                    <a:pt x="149" y="530"/>
                  </a:lnTo>
                  <a:close/>
                  <a:moveTo>
                    <a:pt x="154" y="530"/>
                  </a:moveTo>
                  <a:lnTo>
                    <a:pt x="156" y="530"/>
                  </a:lnTo>
                  <a:lnTo>
                    <a:pt x="156" y="532"/>
                  </a:lnTo>
                  <a:lnTo>
                    <a:pt x="156" y="530"/>
                  </a:lnTo>
                  <a:lnTo>
                    <a:pt x="156" y="532"/>
                  </a:lnTo>
                  <a:lnTo>
                    <a:pt x="154" y="532"/>
                  </a:lnTo>
                  <a:lnTo>
                    <a:pt x="154" y="530"/>
                  </a:lnTo>
                  <a:close/>
                  <a:moveTo>
                    <a:pt x="149" y="530"/>
                  </a:moveTo>
                  <a:lnTo>
                    <a:pt x="152" y="530"/>
                  </a:lnTo>
                  <a:lnTo>
                    <a:pt x="152" y="532"/>
                  </a:lnTo>
                  <a:lnTo>
                    <a:pt x="149" y="532"/>
                  </a:lnTo>
                  <a:lnTo>
                    <a:pt x="149" y="530"/>
                  </a:lnTo>
                  <a:close/>
                  <a:moveTo>
                    <a:pt x="154" y="530"/>
                  </a:moveTo>
                  <a:lnTo>
                    <a:pt x="154" y="532"/>
                  </a:lnTo>
                  <a:lnTo>
                    <a:pt x="152" y="532"/>
                  </a:lnTo>
                  <a:lnTo>
                    <a:pt x="152" y="530"/>
                  </a:lnTo>
                  <a:lnTo>
                    <a:pt x="154" y="530"/>
                  </a:lnTo>
                  <a:close/>
                  <a:moveTo>
                    <a:pt x="147" y="528"/>
                  </a:moveTo>
                  <a:lnTo>
                    <a:pt x="147" y="530"/>
                  </a:lnTo>
                  <a:lnTo>
                    <a:pt x="147" y="528"/>
                  </a:lnTo>
                  <a:lnTo>
                    <a:pt x="147" y="530"/>
                  </a:lnTo>
                  <a:lnTo>
                    <a:pt x="147" y="528"/>
                  </a:lnTo>
                  <a:close/>
                  <a:moveTo>
                    <a:pt x="135" y="528"/>
                  </a:moveTo>
                  <a:lnTo>
                    <a:pt x="133" y="528"/>
                  </a:lnTo>
                  <a:lnTo>
                    <a:pt x="135" y="528"/>
                  </a:lnTo>
                  <a:close/>
                  <a:moveTo>
                    <a:pt x="154" y="528"/>
                  </a:moveTo>
                  <a:lnTo>
                    <a:pt x="154" y="530"/>
                  </a:lnTo>
                  <a:lnTo>
                    <a:pt x="154" y="528"/>
                  </a:lnTo>
                  <a:close/>
                  <a:moveTo>
                    <a:pt x="52" y="513"/>
                  </a:moveTo>
                  <a:lnTo>
                    <a:pt x="52" y="516"/>
                  </a:lnTo>
                  <a:lnTo>
                    <a:pt x="52" y="513"/>
                  </a:lnTo>
                  <a:close/>
                  <a:moveTo>
                    <a:pt x="180" y="492"/>
                  </a:moveTo>
                  <a:lnTo>
                    <a:pt x="180" y="490"/>
                  </a:lnTo>
                  <a:lnTo>
                    <a:pt x="180" y="492"/>
                  </a:lnTo>
                  <a:close/>
                  <a:moveTo>
                    <a:pt x="183" y="490"/>
                  </a:moveTo>
                  <a:lnTo>
                    <a:pt x="180" y="490"/>
                  </a:lnTo>
                  <a:lnTo>
                    <a:pt x="183" y="490"/>
                  </a:lnTo>
                  <a:lnTo>
                    <a:pt x="183" y="487"/>
                  </a:lnTo>
                  <a:lnTo>
                    <a:pt x="183" y="490"/>
                  </a:lnTo>
                  <a:close/>
                  <a:moveTo>
                    <a:pt x="185" y="480"/>
                  </a:moveTo>
                  <a:lnTo>
                    <a:pt x="187" y="480"/>
                  </a:lnTo>
                  <a:lnTo>
                    <a:pt x="185" y="480"/>
                  </a:lnTo>
                  <a:close/>
                  <a:moveTo>
                    <a:pt x="247" y="480"/>
                  </a:moveTo>
                  <a:lnTo>
                    <a:pt x="247" y="478"/>
                  </a:lnTo>
                  <a:lnTo>
                    <a:pt x="247" y="480"/>
                  </a:lnTo>
                  <a:close/>
                  <a:moveTo>
                    <a:pt x="249" y="480"/>
                  </a:moveTo>
                  <a:lnTo>
                    <a:pt x="249" y="478"/>
                  </a:lnTo>
                  <a:lnTo>
                    <a:pt x="249" y="480"/>
                  </a:lnTo>
                  <a:close/>
                  <a:moveTo>
                    <a:pt x="40" y="478"/>
                  </a:moveTo>
                  <a:lnTo>
                    <a:pt x="38" y="478"/>
                  </a:lnTo>
                  <a:lnTo>
                    <a:pt x="40" y="478"/>
                  </a:lnTo>
                  <a:close/>
                  <a:moveTo>
                    <a:pt x="185" y="478"/>
                  </a:moveTo>
                  <a:lnTo>
                    <a:pt x="183" y="478"/>
                  </a:lnTo>
                  <a:lnTo>
                    <a:pt x="183" y="475"/>
                  </a:lnTo>
                  <a:lnTo>
                    <a:pt x="185" y="478"/>
                  </a:lnTo>
                  <a:lnTo>
                    <a:pt x="185" y="475"/>
                  </a:lnTo>
                  <a:lnTo>
                    <a:pt x="185" y="478"/>
                  </a:lnTo>
                  <a:close/>
                  <a:moveTo>
                    <a:pt x="183" y="475"/>
                  </a:moveTo>
                  <a:lnTo>
                    <a:pt x="180" y="475"/>
                  </a:lnTo>
                  <a:lnTo>
                    <a:pt x="183" y="475"/>
                  </a:lnTo>
                  <a:lnTo>
                    <a:pt x="180" y="475"/>
                  </a:lnTo>
                  <a:lnTo>
                    <a:pt x="183" y="475"/>
                  </a:lnTo>
                  <a:close/>
                  <a:moveTo>
                    <a:pt x="235" y="471"/>
                  </a:moveTo>
                  <a:lnTo>
                    <a:pt x="232" y="471"/>
                  </a:lnTo>
                  <a:lnTo>
                    <a:pt x="232" y="468"/>
                  </a:lnTo>
                  <a:lnTo>
                    <a:pt x="235" y="468"/>
                  </a:lnTo>
                  <a:lnTo>
                    <a:pt x="235" y="471"/>
                  </a:lnTo>
                  <a:close/>
                  <a:moveTo>
                    <a:pt x="185" y="468"/>
                  </a:moveTo>
                  <a:lnTo>
                    <a:pt x="185" y="471"/>
                  </a:lnTo>
                  <a:lnTo>
                    <a:pt x="185" y="468"/>
                  </a:lnTo>
                  <a:lnTo>
                    <a:pt x="185" y="471"/>
                  </a:lnTo>
                  <a:lnTo>
                    <a:pt x="185" y="468"/>
                  </a:lnTo>
                  <a:close/>
                  <a:moveTo>
                    <a:pt x="33" y="468"/>
                  </a:moveTo>
                  <a:lnTo>
                    <a:pt x="31" y="468"/>
                  </a:lnTo>
                  <a:lnTo>
                    <a:pt x="33" y="468"/>
                  </a:lnTo>
                  <a:close/>
                  <a:moveTo>
                    <a:pt x="185" y="466"/>
                  </a:moveTo>
                  <a:lnTo>
                    <a:pt x="185" y="468"/>
                  </a:lnTo>
                  <a:lnTo>
                    <a:pt x="185" y="466"/>
                  </a:lnTo>
                  <a:close/>
                  <a:moveTo>
                    <a:pt x="31" y="466"/>
                  </a:moveTo>
                  <a:lnTo>
                    <a:pt x="33" y="466"/>
                  </a:lnTo>
                  <a:lnTo>
                    <a:pt x="31" y="466"/>
                  </a:lnTo>
                  <a:close/>
                  <a:moveTo>
                    <a:pt x="190" y="461"/>
                  </a:moveTo>
                  <a:lnTo>
                    <a:pt x="187" y="461"/>
                  </a:lnTo>
                  <a:lnTo>
                    <a:pt x="190" y="461"/>
                  </a:lnTo>
                  <a:close/>
                  <a:moveTo>
                    <a:pt x="26" y="459"/>
                  </a:moveTo>
                  <a:lnTo>
                    <a:pt x="24" y="459"/>
                  </a:lnTo>
                  <a:lnTo>
                    <a:pt x="26" y="459"/>
                  </a:lnTo>
                  <a:close/>
                  <a:moveTo>
                    <a:pt x="31" y="459"/>
                  </a:moveTo>
                  <a:lnTo>
                    <a:pt x="28" y="459"/>
                  </a:lnTo>
                  <a:lnTo>
                    <a:pt x="31" y="459"/>
                  </a:lnTo>
                  <a:close/>
                  <a:moveTo>
                    <a:pt x="190" y="459"/>
                  </a:moveTo>
                  <a:lnTo>
                    <a:pt x="187" y="459"/>
                  </a:lnTo>
                  <a:lnTo>
                    <a:pt x="190" y="459"/>
                  </a:lnTo>
                  <a:close/>
                  <a:moveTo>
                    <a:pt x="187" y="456"/>
                  </a:moveTo>
                  <a:lnTo>
                    <a:pt x="187" y="459"/>
                  </a:lnTo>
                  <a:lnTo>
                    <a:pt x="187" y="456"/>
                  </a:lnTo>
                  <a:lnTo>
                    <a:pt x="190" y="459"/>
                  </a:lnTo>
                  <a:lnTo>
                    <a:pt x="187" y="459"/>
                  </a:lnTo>
                  <a:lnTo>
                    <a:pt x="190" y="459"/>
                  </a:lnTo>
                  <a:lnTo>
                    <a:pt x="187" y="459"/>
                  </a:lnTo>
                  <a:lnTo>
                    <a:pt x="187" y="456"/>
                  </a:lnTo>
                  <a:close/>
                  <a:moveTo>
                    <a:pt x="190" y="456"/>
                  </a:moveTo>
                  <a:lnTo>
                    <a:pt x="187" y="456"/>
                  </a:lnTo>
                  <a:lnTo>
                    <a:pt x="190" y="456"/>
                  </a:lnTo>
                  <a:close/>
                  <a:moveTo>
                    <a:pt x="185" y="456"/>
                  </a:moveTo>
                  <a:lnTo>
                    <a:pt x="187" y="456"/>
                  </a:lnTo>
                  <a:lnTo>
                    <a:pt x="185" y="456"/>
                  </a:lnTo>
                  <a:close/>
                  <a:moveTo>
                    <a:pt x="190" y="456"/>
                  </a:moveTo>
                  <a:lnTo>
                    <a:pt x="192" y="456"/>
                  </a:lnTo>
                  <a:lnTo>
                    <a:pt x="190" y="456"/>
                  </a:lnTo>
                  <a:close/>
                  <a:moveTo>
                    <a:pt x="26" y="456"/>
                  </a:moveTo>
                  <a:lnTo>
                    <a:pt x="26" y="454"/>
                  </a:lnTo>
                  <a:lnTo>
                    <a:pt x="26" y="456"/>
                  </a:lnTo>
                  <a:close/>
                  <a:moveTo>
                    <a:pt x="183" y="454"/>
                  </a:moveTo>
                  <a:lnTo>
                    <a:pt x="185" y="454"/>
                  </a:lnTo>
                  <a:lnTo>
                    <a:pt x="185" y="456"/>
                  </a:lnTo>
                  <a:lnTo>
                    <a:pt x="183" y="456"/>
                  </a:lnTo>
                  <a:lnTo>
                    <a:pt x="183" y="454"/>
                  </a:lnTo>
                  <a:close/>
                  <a:moveTo>
                    <a:pt x="190" y="454"/>
                  </a:moveTo>
                  <a:lnTo>
                    <a:pt x="190" y="456"/>
                  </a:lnTo>
                  <a:lnTo>
                    <a:pt x="187" y="456"/>
                  </a:lnTo>
                  <a:lnTo>
                    <a:pt x="190" y="456"/>
                  </a:lnTo>
                  <a:lnTo>
                    <a:pt x="187" y="456"/>
                  </a:lnTo>
                  <a:lnTo>
                    <a:pt x="187" y="454"/>
                  </a:lnTo>
                  <a:lnTo>
                    <a:pt x="187" y="456"/>
                  </a:lnTo>
                  <a:lnTo>
                    <a:pt x="187" y="454"/>
                  </a:lnTo>
                  <a:lnTo>
                    <a:pt x="187" y="456"/>
                  </a:lnTo>
                  <a:lnTo>
                    <a:pt x="187" y="454"/>
                  </a:lnTo>
                  <a:lnTo>
                    <a:pt x="187" y="456"/>
                  </a:lnTo>
                  <a:lnTo>
                    <a:pt x="187" y="454"/>
                  </a:lnTo>
                  <a:lnTo>
                    <a:pt x="190" y="454"/>
                  </a:lnTo>
                  <a:close/>
                  <a:moveTo>
                    <a:pt x="28" y="454"/>
                  </a:moveTo>
                  <a:lnTo>
                    <a:pt x="26" y="454"/>
                  </a:lnTo>
                  <a:lnTo>
                    <a:pt x="28" y="454"/>
                  </a:lnTo>
                  <a:lnTo>
                    <a:pt x="26" y="454"/>
                  </a:lnTo>
                  <a:lnTo>
                    <a:pt x="28" y="454"/>
                  </a:lnTo>
                  <a:close/>
                  <a:moveTo>
                    <a:pt x="21" y="454"/>
                  </a:moveTo>
                  <a:lnTo>
                    <a:pt x="21" y="452"/>
                  </a:lnTo>
                  <a:lnTo>
                    <a:pt x="21" y="454"/>
                  </a:lnTo>
                  <a:close/>
                  <a:moveTo>
                    <a:pt x="28" y="454"/>
                  </a:moveTo>
                  <a:lnTo>
                    <a:pt x="26" y="454"/>
                  </a:lnTo>
                  <a:lnTo>
                    <a:pt x="28" y="452"/>
                  </a:lnTo>
                  <a:lnTo>
                    <a:pt x="26" y="452"/>
                  </a:lnTo>
                  <a:lnTo>
                    <a:pt x="28" y="452"/>
                  </a:lnTo>
                  <a:lnTo>
                    <a:pt x="28" y="454"/>
                  </a:lnTo>
                  <a:close/>
                  <a:moveTo>
                    <a:pt x="26" y="452"/>
                  </a:moveTo>
                  <a:lnTo>
                    <a:pt x="24" y="452"/>
                  </a:lnTo>
                  <a:lnTo>
                    <a:pt x="26" y="452"/>
                  </a:lnTo>
                  <a:close/>
                  <a:moveTo>
                    <a:pt x="190" y="452"/>
                  </a:moveTo>
                  <a:lnTo>
                    <a:pt x="187" y="452"/>
                  </a:lnTo>
                  <a:lnTo>
                    <a:pt x="190" y="452"/>
                  </a:lnTo>
                  <a:close/>
                  <a:moveTo>
                    <a:pt x="26" y="452"/>
                  </a:moveTo>
                  <a:lnTo>
                    <a:pt x="28" y="452"/>
                  </a:lnTo>
                  <a:lnTo>
                    <a:pt x="26" y="452"/>
                  </a:lnTo>
                  <a:lnTo>
                    <a:pt x="28" y="452"/>
                  </a:lnTo>
                  <a:lnTo>
                    <a:pt x="26" y="452"/>
                  </a:lnTo>
                  <a:lnTo>
                    <a:pt x="26" y="454"/>
                  </a:lnTo>
                  <a:lnTo>
                    <a:pt x="26" y="452"/>
                  </a:lnTo>
                  <a:lnTo>
                    <a:pt x="26" y="454"/>
                  </a:lnTo>
                  <a:lnTo>
                    <a:pt x="26" y="452"/>
                  </a:lnTo>
                  <a:lnTo>
                    <a:pt x="24" y="452"/>
                  </a:lnTo>
                  <a:lnTo>
                    <a:pt x="26" y="452"/>
                  </a:lnTo>
                  <a:close/>
                  <a:moveTo>
                    <a:pt x="24" y="452"/>
                  </a:moveTo>
                  <a:lnTo>
                    <a:pt x="21" y="452"/>
                  </a:lnTo>
                  <a:lnTo>
                    <a:pt x="24" y="452"/>
                  </a:lnTo>
                  <a:close/>
                  <a:moveTo>
                    <a:pt x="187" y="452"/>
                  </a:moveTo>
                  <a:lnTo>
                    <a:pt x="190" y="452"/>
                  </a:lnTo>
                  <a:lnTo>
                    <a:pt x="187" y="452"/>
                  </a:lnTo>
                  <a:close/>
                  <a:moveTo>
                    <a:pt x="26" y="449"/>
                  </a:moveTo>
                  <a:lnTo>
                    <a:pt x="24" y="449"/>
                  </a:lnTo>
                  <a:lnTo>
                    <a:pt x="26" y="449"/>
                  </a:lnTo>
                  <a:close/>
                  <a:moveTo>
                    <a:pt x="21" y="449"/>
                  </a:moveTo>
                  <a:lnTo>
                    <a:pt x="24" y="449"/>
                  </a:lnTo>
                  <a:lnTo>
                    <a:pt x="24" y="452"/>
                  </a:lnTo>
                  <a:lnTo>
                    <a:pt x="24" y="449"/>
                  </a:lnTo>
                  <a:lnTo>
                    <a:pt x="21" y="449"/>
                  </a:lnTo>
                  <a:lnTo>
                    <a:pt x="21" y="452"/>
                  </a:lnTo>
                  <a:lnTo>
                    <a:pt x="21" y="449"/>
                  </a:lnTo>
                  <a:close/>
                  <a:moveTo>
                    <a:pt x="192" y="449"/>
                  </a:moveTo>
                  <a:lnTo>
                    <a:pt x="190" y="449"/>
                  </a:lnTo>
                  <a:lnTo>
                    <a:pt x="192" y="449"/>
                  </a:lnTo>
                  <a:close/>
                  <a:moveTo>
                    <a:pt x="258" y="449"/>
                  </a:moveTo>
                  <a:lnTo>
                    <a:pt x="261" y="449"/>
                  </a:lnTo>
                  <a:lnTo>
                    <a:pt x="258" y="449"/>
                  </a:lnTo>
                  <a:close/>
                  <a:moveTo>
                    <a:pt x="21" y="447"/>
                  </a:moveTo>
                  <a:lnTo>
                    <a:pt x="24" y="447"/>
                  </a:lnTo>
                  <a:lnTo>
                    <a:pt x="21" y="447"/>
                  </a:lnTo>
                  <a:lnTo>
                    <a:pt x="21" y="449"/>
                  </a:lnTo>
                  <a:lnTo>
                    <a:pt x="24" y="449"/>
                  </a:lnTo>
                  <a:lnTo>
                    <a:pt x="21" y="449"/>
                  </a:lnTo>
                  <a:lnTo>
                    <a:pt x="21" y="447"/>
                  </a:lnTo>
                  <a:close/>
                  <a:moveTo>
                    <a:pt x="24" y="447"/>
                  </a:moveTo>
                  <a:lnTo>
                    <a:pt x="24" y="449"/>
                  </a:lnTo>
                  <a:lnTo>
                    <a:pt x="24" y="447"/>
                  </a:lnTo>
                  <a:close/>
                  <a:moveTo>
                    <a:pt x="187" y="445"/>
                  </a:moveTo>
                  <a:lnTo>
                    <a:pt x="190" y="445"/>
                  </a:lnTo>
                  <a:lnTo>
                    <a:pt x="190" y="447"/>
                  </a:lnTo>
                  <a:lnTo>
                    <a:pt x="190" y="445"/>
                  </a:lnTo>
                  <a:lnTo>
                    <a:pt x="187" y="445"/>
                  </a:lnTo>
                  <a:close/>
                  <a:moveTo>
                    <a:pt x="21" y="445"/>
                  </a:moveTo>
                  <a:lnTo>
                    <a:pt x="21" y="447"/>
                  </a:lnTo>
                  <a:lnTo>
                    <a:pt x="21" y="445"/>
                  </a:lnTo>
                  <a:lnTo>
                    <a:pt x="21" y="447"/>
                  </a:lnTo>
                  <a:lnTo>
                    <a:pt x="21" y="445"/>
                  </a:lnTo>
                  <a:lnTo>
                    <a:pt x="21" y="447"/>
                  </a:lnTo>
                  <a:lnTo>
                    <a:pt x="21" y="445"/>
                  </a:lnTo>
                  <a:close/>
                  <a:moveTo>
                    <a:pt x="24" y="445"/>
                  </a:moveTo>
                  <a:lnTo>
                    <a:pt x="24" y="442"/>
                  </a:lnTo>
                  <a:lnTo>
                    <a:pt x="24" y="445"/>
                  </a:lnTo>
                  <a:close/>
                  <a:moveTo>
                    <a:pt x="190" y="442"/>
                  </a:moveTo>
                  <a:lnTo>
                    <a:pt x="190" y="445"/>
                  </a:lnTo>
                  <a:lnTo>
                    <a:pt x="190" y="442"/>
                  </a:lnTo>
                  <a:close/>
                  <a:moveTo>
                    <a:pt x="187" y="442"/>
                  </a:moveTo>
                  <a:lnTo>
                    <a:pt x="187" y="445"/>
                  </a:lnTo>
                  <a:lnTo>
                    <a:pt x="187" y="442"/>
                  </a:lnTo>
                  <a:close/>
                  <a:moveTo>
                    <a:pt x="24" y="442"/>
                  </a:moveTo>
                  <a:lnTo>
                    <a:pt x="24" y="445"/>
                  </a:lnTo>
                  <a:lnTo>
                    <a:pt x="24" y="442"/>
                  </a:lnTo>
                  <a:close/>
                  <a:moveTo>
                    <a:pt x="187" y="442"/>
                  </a:moveTo>
                  <a:lnTo>
                    <a:pt x="190" y="442"/>
                  </a:lnTo>
                  <a:lnTo>
                    <a:pt x="187" y="442"/>
                  </a:lnTo>
                  <a:lnTo>
                    <a:pt x="190" y="442"/>
                  </a:lnTo>
                  <a:lnTo>
                    <a:pt x="190" y="445"/>
                  </a:lnTo>
                  <a:lnTo>
                    <a:pt x="187" y="445"/>
                  </a:lnTo>
                  <a:lnTo>
                    <a:pt x="190" y="445"/>
                  </a:lnTo>
                  <a:lnTo>
                    <a:pt x="187" y="445"/>
                  </a:lnTo>
                  <a:lnTo>
                    <a:pt x="187" y="442"/>
                  </a:lnTo>
                  <a:close/>
                  <a:moveTo>
                    <a:pt x="21" y="442"/>
                  </a:moveTo>
                  <a:lnTo>
                    <a:pt x="19" y="442"/>
                  </a:lnTo>
                  <a:lnTo>
                    <a:pt x="21" y="442"/>
                  </a:lnTo>
                  <a:close/>
                  <a:moveTo>
                    <a:pt x="190" y="442"/>
                  </a:moveTo>
                  <a:lnTo>
                    <a:pt x="192" y="442"/>
                  </a:lnTo>
                  <a:lnTo>
                    <a:pt x="190" y="442"/>
                  </a:lnTo>
                  <a:lnTo>
                    <a:pt x="192" y="445"/>
                  </a:lnTo>
                  <a:lnTo>
                    <a:pt x="190" y="442"/>
                  </a:lnTo>
                  <a:lnTo>
                    <a:pt x="190" y="445"/>
                  </a:lnTo>
                  <a:lnTo>
                    <a:pt x="190" y="442"/>
                  </a:lnTo>
                  <a:lnTo>
                    <a:pt x="190" y="445"/>
                  </a:lnTo>
                  <a:lnTo>
                    <a:pt x="190" y="442"/>
                  </a:lnTo>
                  <a:lnTo>
                    <a:pt x="187" y="442"/>
                  </a:lnTo>
                  <a:lnTo>
                    <a:pt x="190" y="442"/>
                  </a:lnTo>
                  <a:close/>
                  <a:moveTo>
                    <a:pt x="190" y="440"/>
                  </a:moveTo>
                  <a:lnTo>
                    <a:pt x="190" y="442"/>
                  </a:lnTo>
                  <a:lnTo>
                    <a:pt x="187" y="442"/>
                  </a:lnTo>
                  <a:lnTo>
                    <a:pt x="190" y="442"/>
                  </a:lnTo>
                  <a:lnTo>
                    <a:pt x="187" y="442"/>
                  </a:lnTo>
                  <a:lnTo>
                    <a:pt x="187" y="440"/>
                  </a:lnTo>
                  <a:lnTo>
                    <a:pt x="190" y="440"/>
                  </a:lnTo>
                  <a:close/>
                  <a:moveTo>
                    <a:pt x="190" y="442"/>
                  </a:moveTo>
                  <a:lnTo>
                    <a:pt x="190" y="440"/>
                  </a:lnTo>
                  <a:lnTo>
                    <a:pt x="190" y="442"/>
                  </a:lnTo>
                  <a:close/>
                  <a:moveTo>
                    <a:pt x="185" y="440"/>
                  </a:moveTo>
                  <a:lnTo>
                    <a:pt x="185" y="442"/>
                  </a:lnTo>
                  <a:lnTo>
                    <a:pt x="185" y="440"/>
                  </a:lnTo>
                  <a:close/>
                  <a:moveTo>
                    <a:pt x="185" y="440"/>
                  </a:moveTo>
                  <a:lnTo>
                    <a:pt x="185" y="442"/>
                  </a:lnTo>
                  <a:lnTo>
                    <a:pt x="185" y="440"/>
                  </a:lnTo>
                  <a:close/>
                  <a:moveTo>
                    <a:pt x="187" y="440"/>
                  </a:moveTo>
                  <a:lnTo>
                    <a:pt x="187" y="442"/>
                  </a:lnTo>
                  <a:lnTo>
                    <a:pt x="187" y="440"/>
                  </a:lnTo>
                  <a:close/>
                  <a:moveTo>
                    <a:pt x="190" y="440"/>
                  </a:moveTo>
                  <a:lnTo>
                    <a:pt x="187" y="440"/>
                  </a:lnTo>
                  <a:lnTo>
                    <a:pt x="190" y="440"/>
                  </a:lnTo>
                  <a:close/>
                  <a:moveTo>
                    <a:pt x="21" y="440"/>
                  </a:moveTo>
                  <a:lnTo>
                    <a:pt x="21" y="442"/>
                  </a:lnTo>
                  <a:lnTo>
                    <a:pt x="19" y="442"/>
                  </a:lnTo>
                  <a:lnTo>
                    <a:pt x="21" y="440"/>
                  </a:lnTo>
                  <a:lnTo>
                    <a:pt x="19" y="440"/>
                  </a:lnTo>
                  <a:lnTo>
                    <a:pt x="19" y="442"/>
                  </a:lnTo>
                  <a:lnTo>
                    <a:pt x="19" y="440"/>
                  </a:lnTo>
                  <a:lnTo>
                    <a:pt x="19" y="442"/>
                  </a:lnTo>
                  <a:lnTo>
                    <a:pt x="19" y="440"/>
                  </a:lnTo>
                  <a:lnTo>
                    <a:pt x="21" y="440"/>
                  </a:lnTo>
                  <a:lnTo>
                    <a:pt x="19" y="440"/>
                  </a:lnTo>
                  <a:lnTo>
                    <a:pt x="21" y="440"/>
                  </a:lnTo>
                  <a:close/>
                  <a:moveTo>
                    <a:pt x="21" y="440"/>
                  </a:moveTo>
                  <a:lnTo>
                    <a:pt x="24" y="440"/>
                  </a:lnTo>
                  <a:lnTo>
                    <a:pt x="21" y="440"/>
                  </a:lnTo>
                  <a:lnTo>
                    <a:pt x="24" y="440"/>
                  </a:lnTo>
                  <a:lnTo>
                    <a:pt x="21" y="440"/>
                  </a:lnTo>
                  <a:lnTo>
                    <a:pt x="24" y="440"/>
                  </a:lnTo>
                  <a:lnTo>
                    <a:pt x="21" y="440"/>
                  </a:lnTo>
                  <a:close/>
                  <a:moveTo>
                    <a:pt x="26" y="437"/>
                  </a:moveTo>
                  <a:lnTo>
                    <a:pt x="24" y="437"/>
                  </a:lnTo>
                  <a:lnTo>
                    <a:pt x="26" y="437"/>
                  </a:lnTo>
                  <a:close/>
                  <a:moveTo>
                    <a:pt x="21" y="437"/>
                  </a:moveTo>
                  <a:lnTo>
                    <a:pt x="24" y="437"/>
                  </a:lnTo>
                  <a:lnTo>
                    <a:pt x="21" y="437"/>
                  </a:lnTo>
                  <a:close/>
                  <a:moveTo>
                    <a:pt x="24" y="437"/>
                  </a:moveTo>
                  <a:lnTo>
                    <a:pt x="21" y="437"/>
                  </a:lnTo>
                  <a:lnTo>
                    <a:pt x="24" y="437"/>
                  </a:lnTo>
                  <a:lnTo>
                    <a:pt x="21" y="437"/>
                  </a:lnTo>
                  <a:lnTo>
                    <a:pt x="24" y="437"/>
                  </a:lnTo>
                  <a:lnTo>
                    <a:pt x="21" y="437"/>
                  </a:lnTo>
                  <a:lnTo>
                    <a:pt x="24" y="437"/>
                  </a:lnTo>
                  <a:close/>
                  <a:moveTo>
                    <a:pt x="24" y="437"/>
                  </a:moveTo>
                  <a:lnTo>
                    <a:pt x="26" y="437"/>
                  </a:lnTo>
                  <a:lnTo>
                    <a:pt x="24" y="437"/>
                  </a:lnTo>
                  <a:close/>
                  <a:moveTo>
                    <a:pt x="192" y="437"/>
                  </a:moveTo>
                  <a:lnTo>
                    <a:pt x="192" y="435"/>
                  </a:lnTo>
                  <a:lnTo>
                    <a:pt x="192" y="437"/>
                  </a:lnTo>
                  <a:close/>
                  <a:moveTo>
                    <a:pt x="19" y="435"/>
                  </a:moveTo>
                  <a:lnTo>
                    <a:pt x="16" y="435"/>
                  </a:lnTo>
                  <a:lnTo>
                    <a:pt x="19" y="435"/>
                  </a:lnTo>
                  <a:close/>
                  <a:moveTo>
                    <a:pt x="187" y="435"/>
                  </a:moveTo>
                  <a:lnTo>
                    <a:pt x="190" y="435"/>
                  </a:lnTo>
                  <a:lnTo>
                    <a:pt x="187" y="435"/>
                  </a:lnTo>
                  <a:close/>
                  <a:moveTo>
                    <a:pt x="270" y="435"/>
                  </a:moveTo>
                  <a:lnTo>
                    <a:pt x="273" y="435"/>
                  </a:lnTo>
                  <a:lnTo>
                    <a:pt x="270" y="435"/>
                  </a:lnTo>
                  <a:lnTo>
                    <a:pt x="273" y="435"/>
                  </a:lnTo>
                  <a:lnTo>
                    <a:pt x="275" y="435"/>
                  </a:lnTo>
                  <a:lnTo>
                    <a:pt x="275" y="437"/>
                  </a:lnTo>
                  <a:lnTo>
                    <a:pt x="273" y="437"/>
                  </a:lnTo>
                  <a:lnTo>
                    <a:pt x="270" y="437"/>
                  </a:lnTo>
                  <a:lnTo>
                    <a:pt x="268" y="437"/>
                  </a:lnTo>
                  <a:lnTo>
                    <a:pt x="270" y="440"/>
                  </a:lnTo>
                  <a:lnTo>
                    <a:pt x="268" y="440"/>
                  </a:lnTo>
                  <a:lnTo>
                    <a:pt x="270" y="442"/>
                  </a:lnTo>
                  <a:lnTo>
                    <a:pt x="268" y="442"/>
                  </a:lnTo>
                  <a:lnTo>
                    <a:pt x="268" y="440"/>
                  </a:lnTo>
                  <a:lnTo>
                    <a:pt x="266" y="440"/>
                  </a:lnTo>
                  <a:lnTo>
                    <a:pt x="266" y="437"/>
                  </a:lnTo>
                  <a:lnTo>
                    <a:pt x="268" y="437"/>
                  </a:lnTo>
                  <a:lnTo>
                    <a:pt x="268" y="435"/>
                  </a:lnTo>
                  <a:lnTo>
                    <a:pt x="268" y="437"/>
                  </a:lnTo>
                  <a:lnTo>
                    <a:pt x="268" y="435"/>
                  </a:lnTo>
                  <a:lnTo>
                    <a:pt x="270" y="435"/>
                  </a:lnTo>
                  <a:lnTo>
                    <a:pt x="270" y="433"/>
                  </a:lnTo>
                  <a:lnTo>
                    <a:pt x="270" y="435"/>
                  </a:lnTo>
                  <a:close/>
                  <a:moveTo>
                    <a:pt x="19" y="435"/>
                  </a:moveTo>
                  <a:lnTo>
                    <a:pt x="19" y="433"/>
                  </a:lnTo>
                  <a:lnTo>
                    <a:pt x="19" y="435"/>
                  </a:lnTo>
                  <a:close/>
                  <a:moveTo>
                    <a:pt x="26" y="430"/>
                  </a:moveTo>
                  <a:lnTo>
                    <a:pt x="26" y="433"/>
                  </a:lnTo>
                  <a:lnTo>
                    <a:pt x="26" y="430"/>
                  </a:lnTo>
                  <a:close/>
                  <a:moveTo>
                    <a:pt x="16" y="430"/>
                  </a:moveTo>
                  <a:lnTo>
                    <a:pt x="14" y="430"/>
                  </a:lnTo>
                  <a:lnTo>
                    <a:pt x="16" y="430"/>
                  </a:lnTo>
                  <a:lnTo>
                    <a:pt x="14" y="430"/>
                  </a:lnTo>
                  <a:lnTo>
                    <a:pt x="16" y="430"/>
                  </a:lnTo>
                  <a:lnTo>
                    <a:pt x="14" y="430"/>
                  </a:lnTo>
                  <a:lnTo>
                    <a:pt x="16" y="430"/>
                  </a:lnTo>
                  <a:close/>
                  <a:moveTo>
                    <a:pt x="26" y="430"/>
                  </a:moveTo>
                  <a:lnTo>
                    <a:pt x="28" y="430"/>
                  </a:lnTo>
                  <a:lnTo>
                    <a:pt x="26" y="430"/>
                  </a:lnTo>
                  <a:close/>
                  <a:moveTo>
                    <a:pt x="14" y="430"/>
                  </a:moveTo>
                  <a:lnTo>
                    <a:pt x="14" y="428"/>
                  </a:lnTo>
                  <a:lnTo>
                    <a:pt x="14" y="430"/>
                  </a:lnTo>
                  <a:close/>
                  <a:moveTo>
                    <a:pt x="21" y="430"/>
                  </a:moveTo>
                  <a:lnTo>
                    <a:pt x="21" y="428"/>
                  </a:lnTo>
                  <a:lnTo>
                    <a:pt x="21" y="430"/>
                  </a:lnTo>
                  <a:close/>
                  <a:moveTo>
                    <a:pt x="12" y="428"/>
                  </a:moveTo>
                  <a:lnTo>
                    <a:pt x="12" y="430"/>
                  </a:lnTo>
                  <a:lnTo>
                    <a:pt x="12" y="428"/>
                  </a:lnTo>
                  <a:close/>
                  <a:moveTo>
                    <a:pt x="19" y="430"/>
                  </a:moveTo>
                  <a:lnTo>
                    <a:pt x="16" y="430"/>
                  </a:lnTo>
                  <a:lnTo>
                    <a:pt x="16" y="428"/>
                  </a:lnTo>
                  <a:lnTo>
                    <a:pt x="19" y="428"/>
                  </a:lnTo>
                  <a:lnTo>
                    <a:pt x="19" y="430"/>
                  </a:lnTo>
                  <a:close/>
                  <a:moveTo>
                    <a:pt x="192" y="430"/>
                  </a:moveTo>
                  <a:lnTo>
                    <a:pt x="192" y="428"/>
                  </a:lnTo>
                  <a:lnTo>
                    <a:pt x="190" y="428"/>
                  </a:lnTo>
                  <a:lnTo>
                    <a:pt x="192" y="428"/>
                  </a:lnTo>
                  <a:lnTo>
                    <a:pt x="192" y="430"/>
                  </a:lnTo>
                  <a:close/>
                  <a:moveTo>
                    <a:pt x="21" y="430"/>
                  </a:moveTo>
                  <a:lnTo>
                    <a:pt x="21" y="428"/>
                  </a:lnTo>
                  <a:lnTo>
                    <a:pt x="21" y="430"/>
                  </a:lnTo>
                  <a:close/>
                  <a:moveTo>
                    <a:pt x="26" y="428"/>
                  </a:moveTo>
                  <a:lnTo>
                    <a:pt x="26" y="430"/>
                  </a:lnTo>
                  <a:lnTo>
                    <a:pt x="24" y="430"/>
                  </a:lnTo>
                  <a:lnTo>
                    <a:pt x="24" y="428"/>
                  </a:lnTo>
                  <a:lnTo>
                    <a:pt x="26" y="428"/>
                  </a:lnTo>
                  <a:close/>
                  <a:moveTo>
                    <a:pt x="16" y="428"/>
                  </a:moveTo>
                  <a:lnTo>
                    <a:pt x="14" y="428"/>
                  </a:lnTo>
                  <a:lnTo>
                    <a:pt x="16" y="428"/>
                  </a:lnTo>
                  <a:close/>
                  <a:moveTo>
                    <a:pt x="19" y="428"/>
                  </a:moveTo>
                  <a:lnTo>
                    <a:pt x="19" y="430"/>
                  </a:lnTo>
                  <a:lnTo>
                    <a:pt x="19" y="428"/>
                  </a:lnTo>
                  <a:close/>
                  <a:moveTo>
                    <a:pt x="26" y="428"/>
                  </a:moveTo>
                  <a:lnTo>
                    <a:pt x="26" y="430"/>
                  </a:lnTo>
                  <a:lnTo>
                    <a:pt x="26" y="428"/>
                  </a:lnTo>
                  <a:close/>
                  <a:moveTo>
                    <a:pt x="12" y="428"/>
                  </a:moveTo>
                  <a:lnTo>
                    <a:pt x="14" y="428"/>
                  </a:lnTo>
                  <a:lnTo>
                    <a:pt x="12" y="428"/>
                  </a:lnTo>
                  <a:close/>
                  <a:moveTo>
                    <a:pt x="194" y="428"/>
                  </a:moveTo>
                  <a:lnTo>
                    <a:pt x="192" y="428"/>
                  </a:lnTo>
                  <a:lnTo>
                    <a:pt x="194" y="428"/>
                  </a:lnTo>
                  <a:close/>
                  <a:moveTo>
                    <a:pt x="192" y="428"/>
                  </a:moveTo>
                  <a:lnTo>
                    <a:pt x="194" y="428"/>
                  </a:lnTo>
                  <a:lnTo>
                    <a:pt x="192" y="428"/>
                  </a:lnTo>
                  <a:lnTo>
                    <a:pt x="194" y="430"/>
                  </a:lnTo>
                  <a:lnTo>
                    <a:pt x="192" y="430"/>
                  </a:lnTo>
                  <a:lnTo>
                    <a:pt x="192" y="428"/>
                  </a:lnTo>
                  <a:close/>
                  <a:moveTo>
                    <a:pt x="194" y="425"/>
                  </a:moveTo>
                  <a:lnTo>
                    <a:pt x="194" y="428"/>
                  </a:lnTo>
                  <a:lnTo>
                    <a:pt x="192" y="428"/>
                  </a:lnTo>
                  <a:lnTo>
                    <a:pt x="192" y="425"/>
                  </a:lnTo>
                  <a:lnTo>
                    <a:pt x="194" y="425"/>
                  </a:lnTo>
                  <a:close/>
                  <a:moveTo>
                    <a:pt x="199" y="425"/>
                  </a:moveTo>
                  <a:lnTo>
                    <a:pt x="197" y="425"/>
                  </a:lnTo>
                  <a:lnTo>
                    <a:pt x="199" y="425"/>
                  </a:lnTo>
                  <a:close/>
                  <a:moveTo>
                    <a:pt x="14" y="425"/>
                  </a:moveTo>
                  <a:lnTo>
                    <a:pt x="12" y="425"/>
                  </a:lnTo>
                  <a:lnTo>
                    <a:pt x="14" y="425"/>
                  </a:lnTo>
                  <a:lnTo>
                    <a:pt x="14" y="423"/>
                  </a:lnTo>
                  <a:lnTo>
                    <a:pt x="14" y="425"/>
                  </a:lnTo>
                  <a:lnTo>
                    <a:pt x="14" y="423"/>
                  </a:lnTo>
                  <a:lnTo>
                    <a:pt x="14" y="425"/>
                  </a:lnTo>
                  <a:close/>
                  <a:moveTo>
                    <a:pt x="194" y="423"/>
                  </a:moveTo>
                  <a:lnTo>
                    <a:pt x="197" y="423"/>
                  </a:lnTo>
                  <a:lnTo>
                    <a:pt x="194" y="423"/>
                  </a:lnTo>
                  <a:lnTo>
                    <a:pt x="197" y="423"/>
                  </a:lnTo>
                  <a:lnTo>
                    <a:pt x="197" y="425"/>
                  </a:lnTo>
                  <a:lnTo>
                    <a:pt x="197" y="423"/>
                  </a:lnTo>
                  <a:lnTo>
                    <a:pt x="197" y="425"/>
                  </a:lnTo>
                  <a:lnTo>
                    <a:pt x="197" y="423"/>
                  </a:lnTo>
                  <a:lnTo>
                    <a:pt x="194" y="423"/>
                  </a:lnTo>
                  <a:lnTo>
                    <a:pt x="197" y="423"/>
                  </a:lnTo>
                  <a:lnTo>
                    <a:pt x="194" y="423"/>
                  </a:lnTo>
                  <a:lnTo>
                    <a:pt x="197" y="423"/>
                  </a:lnTo>
                  <a:lnTo>
                    <a:pt x="194" y="423"/>
                  </a:lnTo>
                  <a:close/>
                  <a:moveTo>
                    <a:pt x="199" y="421"/>
                  </a:moveTo>
                  <a:lnTo>
                    <a:pt x="199" y="423"/>
                  </a:lnTo>
                  <a:lnTo>
                    <a:pt x="199" y="421"/>
                  </a:lnTo>
                  <a:lnTo>
                    <a:pt x="199" y="423"/>
                  </a:lnTo>
                  <a:lnTo>
                    <a:pt x="199" y="421"/>
                  </a:lnTo>
                  <a:close/>
                  <a:moveTo>
                    <a:pt x="197" y="423"/>
                  </a:moveTo>
                  <a:lnTo>
                    <a:pt x="197" y="421"/>
                  </a:lnTo>
                  <a:lnTo>
                    <a:pt x="197" y="423"/>
                  </a:lnTo>
                  <a:lnTo>
                    <a:pt x="197" y="421"/>
                  </a:lnTo>
                  <a:lnTo>
                    <a:pt x="197" y="423"/>
                  </a:lnTo>
                  <a:close/>
                  <a:moveTo>
                    <a:pt x="197" y="421"/>
                  </a:moveTo>
                  <a:lnTo>
                    <a:pt x="197" y="423"/>
                  </a:lnTo>
                  <a:lnTo>
                    <a:pt x="197" y="421"/>
                  </a:lnTo>
                  <a:lnTo>
                    <a:pt x="197" y="423"/>
                  </a:lnTo>
                  <a:lnTo>
                    <a:pt x="194" y="423"/>
                  </a:lnTo>
                  <a:lnTo>
                    <a:pt x="197" y="423"/>
                  </a:lnTo>
                  <a:lnTo>
                    <a:pt x="194" y="423"/>
                  </a:lnTo>
                  <a:lnTo>
                    <a:pt x="197" y="423"/>
                  </a:lnTo>
                  <a:lnTo>
                    <a:pt x="194" y="421"/>
                  </a:lnTo>
                  <a:lnTo>
                    <a:pt x="197" y="421"/>
                  </a:lnTo>
                  <a:close/>
                  <a:moveTo>
                    <a:pt x="19" y="421"/>
                  </a:moveTo>
                  <a:lnTo>
                    <a:pt x="19" y="423"/>
                  </a:lnTo>
                  <a:lnTo>
                    <a:pt x="16" y="423"/>
                  </a:lnTo>
                  <a:lnTo>
                    <a:pt x="19" y="423"/>
                  </a:lnTo>
                  <a:lnTo>
                    <a:pt x="16" y="423"/>
                  </a:lnTo>
                  <a:lnTo>
                    <a:pt x="16" y="421"/>
                  </a:lnTo>
                  <a:lnTo>
                    <a:pt x="19" y="421"/>
                  </a:lnTo>
                  <a:close/>
                  <a:moveTo>
                    <a:pt x="14" y="421"/>
                  </a:moveTo>
                  <a:lnTo>
                    <a:pt x="14" y="423"/>
                  </a:lnTo>
                  <a:lnTo>
                    <a:pt x="14" y="421"/>
                  </a:lnTo>
                  <a:close/>
                  <a:moveTo>
                    <a:pt x="197" y="421"/>
                  </a:moveTo>
                  <a:lnTo>
                    <a:pt x="194" y="421"/>
                  </a:lnTo>
                  <a:lnTo>
                    <a:pt x="197" y="421"/>
                  </a:lnTo>
                  <a:close/>
                  <a:moveTo>
                    <a:pt x="199" y="421"/>
                  </a:moveTo>
                  <a:lnTo>
                    <a:pt x="197" y="421"/>
                  </a:lnTo>
                  <a:lnTo>
                    <a:pt x="199" y="421"/>
                  </a:lnTo>
                  <a:close/>
                  <a:moveTo>
                    <a:pt x="192" y="421"/>
                  </a:moveTo>
                  <a:lnTo>
                    <a:pt x="192" y="418"/>
                  </a:lnTo>
                  <a:lnTo>
                    <a:pt x="192" y="421"/>
                  </a:lnTo>
                  <a:close/>
                  <a:moveTo>
                    <a:pt x="26" y="421"/>
                  </a:moveTo>
                  <a:lnTo>
                    <a:pt x="26" y="418"/>
                  </a:lnTo>
                  <a:lnTo>
                    <a:pt x="26" y="421"/>
                  </a:lnTo>
                  <a:close/>
                  <a:moveTo>
                    <a:pt x="197" y="418"/>
                  </a:moveTo>
                  <a:lnTo>
                    <a:pt x="197" y="421"/>
                  </a:lnTo>
                  <a:lnTo>
                    <a:pt x="197" y="418"/>
                  </a:lnTo>
                  <a:close/>
                  <a:moveTo>
                    <a:pt x="197" y="421"/>
                  </a:moveTo>
                  <a:lnTo>
                    <a:pt x="194" y="421"/>
                  </a:lnTo>
                  <a:lnTo>
                    <a:pt x="194" y="418"/>
                  </a:lnTo>
                  <a:lnTo>
                    <a:pt x="194" y="421"/>
                  </a:lnTo>
                  <a:lnTo>
                    <a:pt x="194" y="418"/>
                  </a:lnTo>
                  <a:lnTo>
                    <a:pt x="197" y="418"/>
                  </a:lnTo>
                  <a:lnTo>
                    <a:pt x="197" y="421"/>
                  </a:lnTo>
                  <a:close/>
                  <a:moveTo>
                    <a:pt x="14" y="418"/>
                  </a:moveTo>
                  <a:lnTo>
                    <a:pt x="12" y="418"/>
                  </a:lnTo>
                  <a:lnTo>
                    <a:pt x="14" y="418"/>
                  </a:lnTo>
                  <a:close/>
                  <a:moveTo>
                    <a:pt x="197" y="418"/>
                  </a:moveTo>
                  <a:lnTo>
                    <a:pt x="197" y="416"/>
                  </a:lnTo>
                  <a:lnTo>
                    <a:pt x="197" y="418"/>
                  </a:lnTo>
                  <a:close/>
                  <a:moveTo>
                    <a:pt x="197" y="418"/>
                  </a:moveTo>
                  <a:lnTo>
                    <a:pt x="197" y="416"/>
                  </a:lnTo>
                  <a:lnTo>
                    <a:pt x="197" y="418"/>
                  </a:lnTo>
                  <a:close/>
                  <a:moveTo>
                    <a:pt x="14" y="414"/>
                  </a:moveTo>
                  <a:lnTo>
                    <a:pt x="14" y="416"/>
                  </a:lnTo>
                  <a:lnTo>
                    <a:pt x="14" y="414"/>
                  </a:lnTo>
                  <a:close/>
                  <a:moveTo>
                    <a:pt x="194" y="414"/>
                  </a:moveTo>
                  <a:lnTo>
                    <a:pt x="194" y="416"/>
                  </a:lnTo>
                  <a:lnTo>
                    <a:pt x="194" y="414"/>
                  </a:lnTo>
                  <a:close/>
                  <a:moveTo>
                    <a:pt x="19" y="414"/>
                  </a:moveTo>
                  <a:lnTo>
                    <a:pt x="19" y="416"/>
                  </a:lnTo>
                  <a:lnTo>
                    <a:pt x="19" y="414"/>
                  </a:lnTo>
                  <a:lnTo>
                    <a:pt x="21" y="414"/>
                  </a:lnTo>
                  <a:lnTo>
                    <a:pt x="19" y="414"/>
                  </a:lnTo>
                  <a:lnTo>
                    <a:pt x="21" y="414"/>
                  </a:lnTo>
                  <a:lnTo>
                    <a:pt x="19" y="414"/>
                  </a:lnTo>
                  <a:lnTo>
                    <a:pt x="21" y="414"/>
                  </a:lnTo>
                  <a:lnTo>
                    <a:pt x="19" y="414"/>
                  </a:lnTo>
                  <a:close/>
                  <a:moveTo>
                    <a:pt x="273" y="414"/>
                  </a:moveTo>
                  <a:lnTo>
                    <a:pt x="275" y="414"/>
                  </a:lnTo>
                  <a:lnTo>
                    <a:pt x="275" y="416"/>
                  </a:lnTo>
                  <a:lnTo>
                    <a:pt x="273" y="416"/>
                  </a:lnTo>
                  <a:lnTo>
                    <a:pt x="270" y="416"/>
                  </a:lnTo>
                  <a:lnTo>
                    <a:pt x="270" y="414"/>
                  </a:lnTo>
                  <a:lnTo>
                    <a:pt x="273" y="414"/>
                  </a:lnTo>
                  <a:close/>
                  <a:moveTo>
                    <a:pt x="190" y="414"/>
                  </a:moveTo>
                  <a:lnTo>
                    <a:pt x="190" y="411"/>
                  </a:lnTo>
                  <a:lnTo>
                    <a:pt x="190" y="414"/>
                  </a:lnTo>
                  <a:close/>
                  <a:moveTo>
                    <a:pt x="194" y="411"/>
                  </a:moveTo>
                  <a:lnTo>
                    <a:pt x="194" y="414"/>
                  </a:lnTo>
                  <a:lnTo>
                    <a:pt x="194" y="411"/>
                  </a:lnTo>
                  <a:lnTo>
                    <a:pt x="194" y="414"/>
                  </a:lnTo>
                  <a:lnTo>
                    <a:pt x="194" y="411"/>
                  </a:lnTo>
                  <a:close/>
                  <a:moveTo>
                    <a:pt x="192" y="411"/>
                  </a:moveTo>
                  <a:lnTo>
                    <a:pt x="192" y="414"/>
                  </a:lnTo>
                  <a:lnTo>
                    <a:pt x="194" y="414"/>
                  </a:lnTo>
                  <a:lnTo>
                    <a:pt x="192" y="414"/>
                  </a:lnTo>
                  <a:lnTo>
                    <a:pt x="194" y="414"/>
                  </a:lnTo>
                  <a:lnTo>
                    <a:pt x="192" y="414"/>
                  </a:lnTo>
                  <a:lnTo>
                    <a:pt x="194" y="414"/>
                  </a:lnTo>
                  <a:lnTo>
                    <a:pt x="192" y="414"/>
                  </a:lnTo>
                  <a:lnTo>
                    <a:pt x="192" y="416"/>
                  </a:lnTo>
                  <a:lnTo>
                    <a:pt x="194" y="416"/>
                  </a:lnTo>
                  <a:lnTo>
                    <a:pt x="197" y="416"/>
                  </a:lnTo>
                  <a:lnTo>
                    <a:pt x="194" y="416"/>
                  </a:lnTo>
                  <a:lnTo>
                    <a:pt x="197" y="416"/>
                  </a:lnTo>
                  <a:lnTo>
                    <a:pt x="194" y="416"/>
                  </a:lnTo>
                  <a:lnTo>
                    <a:pt x="194" y="418"/>
                  </a:lnTo>
                  <a:lnTo>
                    <a:pt x="194" y="416"/>
                  </a:lnTo>
                  <a:lnTo>
                    <a:pt x="192" y="416"/>
                  </a:lnTo>
                  <a:lnTo>
                    <a:pt x="192" y="414"/>
                  </a:lnTo>
                  <a:lnTo>
                    <a:pt x="192" y="411"/>
                  </a:lnTo>
                  <a:close/>
                  <a:moveTo>
                    <a:pt x="192" y="411"/>
                  </a:moveTo>
                  <a:lnTo>
                    <a:pt x="194" y="411"/>
                  </a:lnTo>
                  <a:lnTo>
                    <a:pt x="192" y="411"/>
                  </a:lnTo>
                  <a:lnTo>
                    <a:pt x="192" y="414"/>
                  </a:lnTo>
                  <a:lnTo>
                    <a:pt x="192" y="411"/>
                  </a:lnTo>
                  <a:close/>
                  <a:moveTo>
                    <a:pt x="197" y="411"/>
                  </a:moveTo>
                  <a:lnTo>
                    <a:pt x="199" y="411"/>
                  </a:lnTo>
                  <a:lnTo>
                    <a:pt x="197" y="411"/>
                  </a:lnTo>
                  <a:close/>
                  <a:moveTo>
                    <a:pt x="199" y="409"/>
                  </a:moveTo>
                  <a:lnTo>
                    <a:pt x="199" y="406"/>
                  </a:lnTo>
                  <a:lnTo>
                    <a:pt x="199" y="409"/>
                  </a:lnTo>
                  <a:close/>
                  <a:moveTo>
                    <a:pt x="197" y="406"/>
                  </a:moveTo>
                  <a:lnTo>
                    <a:pt x="197" y="409"/>
                  </a:lnTo>
                  <a:lnTo>
                    <a:pt x="199" y="409"/>
                  </a:lnTo>
                  <a:lnTo>
                    <a:pt x="197" y="409"/>
                  </a:lnTo>
                  <a:lnTo>
                    <a:pt x="197" y="406"/>
                  </a:lnTo>
                  <a:lnTo>
                    <a:pt x="194" y="406"/>
                  </a:lnTo>
                  <a:lnTo>
                    <a:pt x="197" y="406"/>
                  </a:lnTo>
                  <a:close/>
                  <a:moveTo>
                    <a:pt x="9" y="406"/>
                  </a:moveTo>
                  <a:lnTo>
                    <a:pt x="7" y="406"/>
                  </a:lnTo>
                  <a:lnTo>
                    <a:pt x="9" y="406"/>
                  </a:lnTo>
                  <a:close/>
                  <a:moveTo>
                    <a:pt x="9" y="404"/>
                  </a:moveTo>
                  <a:lnTo>
                    <a:pt x="7" y="404"/>
                  </a:lnTo>
                  <a:lnTo>
                    <a:pt x="9" y="404"/>
                  </a:lnTo>
                  <a:close/>
                  <a:moveTo>
                    <a:pt x="9" y="404"/>
                  </a:moveTo>
                  <a:lnTo>
                    <a:pt x="9" y="402"/>
                  </a:lnTo>
                  <a:lnTo>
                    <a:pt x="9" y="404"/>
                  </a:lnTo>
                  <a:close/>
                  <a:moveTo>
                    <a:pt x="7" y="402"/>
                  </a:moveTo>
                  <a:lnTo>
                    <a:pt x="7" y="404"/>
                  </a:lnTo>
                  <a:lnTo>
                    <a:pt x="9" y="404"/>
                  </a:lnTo>
                  <a:lnTo>
                    <a:pt x="7" y="404"/>
                  </a:lnTo>
                  <a:lnTo>
                    <a:pt x="7" y="402"/>
                  </a:lnTo>
                  <a:close/>
                  <a:moveTo>
                    <a:pt x="9" y="402"/>
                  </a:moveTo>
                  <a:lnTo>
                    <a:pt x="9" y="404"/>
                  </a:lnTo>
                  <a:lnTo>
                    <a:pt x="9" y="402"/>
                  </a:lnTo>
                  <a:close/>
                  <a:moveTo>
                    <a:pt x="7" y="402"/>
                  </a:moveTo>
                  <a:lnTo>
                    <a:pt x="9" y="402"/>
                  </a:lnTo>
                  <a:lnTo>
                    <a:pt x="7" y="402"/>
                  </a:lnTo>
                  <a:lnTo>
                    <a:pt x="9" y="402"/>
                  </a:lnTo>
                  <a:lnTo>
                    <a:pt x="7" y="402"/>
                  </a:lnTo>
                  <a:close/>
                  <a:moveTo>
                    <a:pt x="180" y="402"/>
                  </a:moveTo>
                  <a:lnTo>
                    <a:pt x="178" y="402"/>
                  </a:lnTo>
                  <a:lnTo>
                    <a:pt x="180" y="402"/>
                  </a:lnTo>
                  <a:close/>
                  <a:moveTo>
                    <a:pt x="173" y="402"/>
                  </a:moveTo>
                  <a:lnTo>
                    <a:pt x="171" y="402"/>
                  </a:lnTo>
                  <a:lnTo>
                    <a:pt x="173" y="402"/>
                  </a:lnTo>
                  <a:lnTo>
                    <a:pt x="171" y="402"/>
                  </a:lnTo>
                  <a:lnTo>
                    <a:pt x="173" y="402"/>
                  </a:lnTo>
                  <a:close/>
                  <a:moveTo>
                    <a:pt x="9" y="399"/>
                  </a:moveTo>
                  <a:lnTo>
                    <a:pt x="9" y="402"/>
                  </a:lnTo>
                  <a:lnTo>
                    <a:pt x="7" y="402"/>
                  </a:lnTo>
                  <a:lnTo>
                    <a:pt x="9" y="399"/>
                  </a:lnTo>
                  <a:lnTo>
                    <a:pt x="9" y="402"/>
                  </a:lnTo>
                  <a:lnTo>
                    <a:pt x="9" y="399"/>
                  </a:lnTo>
                  <a:close/>
                  <a:moveTo>
                    <a:pt x="175" y="399"/>
                  </a:moveTo>
                  <a:lnTo>
                    <a:pt x="178" y="399"/>
                  </a:lnTo>
                  <a:lnTo>
                    <a:pt x="175" y="399"/>
                  </a:lnTo>
                  <a:close/>
                  <a:moveTo>
                    <a:pt x="204" y="399"/>
                  </a:moveTo>
                  <a:lnTo>
                    <a:pt x="202" y="399"/>
                  </a:lnTo>
                  <a:lnTo>
                    <a:pt x="204" y="399"/>
                  </a:lnTo>
                  <a:close/>
                  <a:moveTo>
                    <a:pt x="9" y="399"/>
                  </a:moveTo>
                  <a:lnTo>
                    <a:pt x="7" y="399"/>
                  </a:lnTo>
                  <a:lnTo>
                    <a:pt x="9" y="399"/>
                  </a:lnTo>
                  <a:close/>
                  <a:moveTo>
                    <a:pt x="7" y="399"/>
                  </a:moveTo>
                  <a:lnTo>
                    <a:pt x="7" y="397"/>
                  </a:lnTo>
                  <a:lnTo>
                    <a:pt x="7" y="399"/>
                  </a:lnTo>
                  <a:close/>
                  <a:moveTo>
                    <a:pt x="213" y="397"/>
                  </a:moveTo>
                  <a:lnTo>
                    <a:pt x="213" y="399"/>
                  </a:lnTo>
                  <a:lnTo>
                    <a:pt x="213" y="397"/>
                  </a:lnTo>
                  <a:close/>
                  <a:moveTo>
                    <a:pt x="209" y="397"/>
                  </a:moveTo>
                  <a:lnTo>
                    <a:pt x="206" y="397"/>
                  </a:lnTo>
                  <a:lnTo>
                    <a:pt x="209" y="397"/>
                  </a:lnTo>
                  <a:close/>
                  <a:moveTo>
                    <a:pt x="206" y="397"/>
                  </a:moveTo>
                  <a:lnTo>
                    <a:pt x="204" y="397"/>
                  </a:lnTo>
                  <a:lnTo>
                    <a:pt x="206" y="397"/>
                  </a:lnTo>
                  <a:close/>
                  <a:moveTo>
                    <a:pt x="5" y="397"/>
                  </a:moveTo>
                  <a:lnTo>
                    <a:pt x="5" y="395"/>
                  </a:lnTo>
                  <a:lnTo>
                    <a:pt x="5" y="397"/>
                  </a:lnTo>
                  <a:close/>
                  <a:moveTo>
                    <a:pt x="211" y="395"/>
                  </a:moveTo>
                  <a:lnTo>
                    <a:pt x="213" y="395"/>
                  </a:lnTo>
                  <a:lnTo>
                    <a:pt x="211" y="395"/>
                  </a:lnTo>
                  <a:lnTo>
                    <a:pt x="211" y="397"/>
                  </a:lnTo>
                  <a:lnTo>
                    <a:pt x="211" y="395"/>
                  </a:lnTo>
                  <a:close/>
                  <a:moveTo>
                    <a:pt x="209" y="395"/>
                  </a:moveTo>
                  <a:lnTo>
                    <a:pt x="209" y="397"/>
                  </a:lnTo>
                  <a:lnTo>
                    <a:pt x="209" y="395"/>
                  </a:lnTo>
                  <a:close/>
                  <a:moveTo>
                    <a:pt x="218" y="395"/>
                  </a:moveTo>
                  <a:lnTo>
                    <a:pt x="216" y="395"/>
                  </a:lnTo>
                  <a:lnTo>
                    <a:pt x="218" y="395"/>
                  </a:lnTo>
                  <a:close/>
                  <a:moveTo>
                    <a:pt x="216" y="395"/>
                  </a:moveTo>
                  <a:lnTo>
                    <a:pt x="218" y="395"/>
                  </a:lnTo>
                  <a:lnTo>
                    <a:pt x="216" y="395"/>
                  </a:lnTo>
                  <a:close/>
                  <a:moveTo>
                    <a:pt x="228" y="395"/>
                  </a:moveTo>
                  <a:lnTo>
                    <a:pt x="228" y="392"/>
                  </a:lnTo>
                  <a:lnTo>
                    <a:pt x="228" y="395"/>
                  </a:lnTo>
                  <a:close/>
                  <a:moveTo>
                    <a:pt x="213" y="395"/>
                  </a:moveTo>
                  <a:lnTo>
                    <a:pt x="216" y="395"/>
                  </a:lnTo>
                  <a:lnTo>
                    <a:pt x="213" y="395"/>
                  </a:lnTo>
                  <a:lnTo>
                    <a:pt x="213" y="397"/>
                  </a:lnTo>
                  <a:lnTo>
                    <a:pt x="216" y="397"/>
                  </a:lnTo>
                  <a:lnTo>
                    <a:pt x="213" y="397"/>
                  </a:lnTo>
                  <a:lnTo>
                    <a:pt x="213" y="395"/>
                  </a:lnTo>
                  <a:lnTo>
                    <a:pt x="213" y="392"/>
                  </a:lnTo>
                  <a:lnTo>
                    <a:pt x="213" y="395"/>
                  </a:lnTo>
                  <a:close/>
                  <a:moveTo>
                    <a:pt x="5" y="392"/>
                  </a:moveTo>
                  <a:lnTo>
                    <a:pt x="7" y="392"/>
                  </a:lnTo>
                  <a:lnTo>
                    <a:pt x="5" y="392"/>
                  </a:lnTo>
                  <a:lnTo>
                    <a:pt x="5" y="395"/>
                  </a:lnTo>
                  <a:lnTo>
                    <a:pt x="7" y="392"/>
                  </a:lnTo>
                  <a:lnTo>
                    <a:pt x="7" y="395"/>
                  </a:lnTo>
                  <a:lnTo>
                    <a:pt x="5" y="395"/>
                  </a:lnTo>
                  <a:lnTo>
                    <a:pt x="5" y="392"/>
                  </a:lnTo>
                  <a:close/>
                  <a:moveTo>
                    <a:pt x="7" y="390"/>
                  </a:moveTo>
                  <a:lnTo>
                    <a:pt x="7" y="392"/>
                  </a:lnTo>
                  <a:lnTo>
                    <a:pt x="7" y="390"/>
                  </a:lnTo>
                  <a:close/>
                  <a:moveTo>
                    <a:pt x="223" y="392"/>
                  </a:moveTo>
                  <a:lnTo>
                    <a:pt x="223" y="390"/>
                  </a:lnTo>
                  <a:lnTo>
                    <a:pt x="223" y="392"/>
                  </a:lnTo>
                  <a:close/>
                  <a:moveTo>
                    <a:pt x="7" y="390"/>
                  </a:moveTo>
                  <a:lnTo>
                    <a:pt x="9" y="390"/>
                  </a:lnTo>
                  <a:lnTo>
                    <a:pt x="7" y="392"/>
                  </a:lnTo>
                  <a:lnTo>
                    <a:pt x="9" y="392"/>
                  </a:lnTo>
                  <a:lnTo>
                    <a:pt x="7" y="392"/>
                  </a:lnTo>
                  <a:lnTo>
                    <a:pt x="7" y="390"/>
                  </a:lnTo>
                  <a:close/>
                  <a:moveTo>
                    <a:pt x="218" y="390"/>
                  </a:moveTo>
                  <a:lnTo>
                    <a:pt x="221" y="390"/>
                  </a:lnTo>
                  <a:lnTo>
                    <a:pt x="221" y="392"/>
                  </a:lnTo>
                  <a:lnTo>
                    <a:pt x="223" y="392"/>
                  </a:lnTo>
                  <a:lnTo>
                    <a:pt x="221" y="392"/>
                  </a:lnTo>
                  <a:lnTo>
                    <a:pt x="221" y="390"/>
                  </a:lnTo>
                  <a:lnTo>
                    <a:pt x="218" y="390"/>
                  </a:lnTo>
                  <a:close/>
                  <a:moveTo>
                    <a:pt x="221" y="387"/>
                  </a:moveTo>
                  <a:lnTo>
                    <a:pt x="221" y="390"/>
                  </a:lnTo>
                  <a:lnTo>
                    <a:pt x="223" y="390"/>
                  </a:lnTo>
                  <a:lnTo>
                    <a:pt x="221" y="390"/>
                  </a:lnTo>
                  <a:lnTo>
                    <a:pt x="221" y="387"/>
                  </a:lnTo>
                  <a:close/>
                  <a:moveTo>
                    <a:pt x="0" y="390"/>
                  </a:moveTo>
                  <a:lnTo>
                    <a:pt x="0" y="387"/>
                  </a:lnTo>
                  <a:lnTo>
                    <a:pt x="0" y="390"/>
                  </a:lnTo>
                  <a:close/>
                  <a:moveTo>
                    <a:pt x="223" y="390"/>
                  </a:moveTo>
                  <a:lnTo>
                    <a:pt x="223" y="387"/>
                  </a:lnTo>
                  <a:lnTo>
                    <a:pt x="223" y="390"/>
                  </a:lnTo>
                  <a:close/>
                  <a:moveTo>
                    <a:pt x="218" y="387"/>
                  </a:moveTo>
                  <a:lnTo>
                    <a:pt x="216" y="387"/>
                  </a:lnTo>
                  <a:lnTo>
                    <a:pt x="218" y="387"/>
                  </a:lnTo>
                  <a:close/>
                  <a:moveTo>
                    <a:pt x="237" y="387"/>
                  </a:moveTo>
                  <a:lnTo>
                    <a:pt x="235" y="387"/>
                  </a:lnTo>
                  <a:lnTo>
                    <a:pt x="237" y="387"/>
                  </a:lnTo>
                  <a:lnTo>
                    <a:pt x="235" y="387"/>
                  </a:lnTo>
                  <a:lnTo>
                    <a:pt x="235" y="390"/>
                  </a:lnTo>
                  <a:lnTo>
                    <a:pt x="235" y="387"/>
                  </a:lnTo>
                  <a:lnTo>
                    <a:pt x="237" y="387"/>
                  </a:lnTo>
                  <a:close/>
                  <a:moveTo>
                    <a:pt x="230" y="385"/>
                  </a:moveTo>
                  <a:lnTo>
                    <a:pt x="230" y="387"/>
                  </a:lnTo>
                  <a:lnTo>
                    <a:pt x="230" y="385"/>
                  </a:lnTo>
                  <a:lnTo>
                    <a:pt x="230" y="387"/>
                  </a:lnTo>
                  <a:lnTo>
                    <a:pt x="230" y="390"/>
                  </a:lnTo>
                  <a:lnTo>
                    <a:pt x="230" y="387"/>
                  </a:lnTo>
                  <a:lnTo>
                    <a:pt x="230" y="385"/>
                  </a:lnTo>
                  <a:close/>
                  <a:moveTo>
                    <a:pt x="221" y="387"/>
                  </a:moveTo>
                  <a:lnTo>
                    <a:pt x="221" y="385"/>
                  </a:lnTo>
                  <a:lnTo>
                    <a:pt x="221" y="387"/>
                  </a:lnTo>
                  <a:close/>
                  <a:moveTo>
                    <a:pt x="0" y="385"/>
                  </a:moveTo>
                  <a:lnTo>
                    <a:pt x="2" y="385"/>
                  </a:lnTo>
                  <a:lnTo>
                    <a:pt x="2" y="387"/>
                  </a:lnTo>
                  <a:lnTo>
                    <a:pt x="0" y="387"/>
                  </a:lnTo>
                  <a:lnTo>
                    <a:pt x="2" y="387"/>
                  </a:lnTo>
                  <a:lnTo>
                    <a:pt x="2" y="390"/>
                  </a:lnTo>
                  <a:lnTo>
                    <a:pt x="2" y="387"/>
                  </a:lnTo>
                  <a:lnTo>
                    <a:pt x="0" y="387"/>
                  </a:lnTo>
                  <a:lnTo>
                    <a:pt x="0" y="385"/>
                  </a:lnTo>
                  <a:close/>
                  <a:moveTo>
                    <a:pt x="5" y="385"/>
                  </a:moveTo>
                  <a:lnTo>
                    <a:pt x="2" y="383"/>
                  </a:lnTo>
                  <a:lnTo>
                    <a:pt x="5" y="383"/>
                  </a:lnTo>
                  <a:lnTo>
                    <a:pt x="5" y="385"/>
                  </a:lnTo>
                  <a:close/>
                  <a:moveTo>
                    <a:pt x="5" y="385"/>
                  </a:moveTo>
                  <a:lnTo>
                    <a:pt x="5" y="383"/>
                  </a:lnTo>
                  <a:lnTo>
                    <a:pt x="5" y="385"/>
                  </a:lnTo>
                  <a:close/>
                  <a:moveTo>
                    <a:pt x="249" y="383"/>
                  </a:moveTo>
                  <a:lnTo>
                    <a:pt x="251" y="383"/>
                  </a:lnTo>
                  <a:lnTo>
                    <a:pt x="249" y="383"/>
                  </a:lnTo>
                  <a:close/>
                  <a:moveTo>
                    <a:pt x="244" y="383"/>
                  </a:moveTo>
                  <a:lnTo>
                    <a:pt x="247" y="383"/>
                  </a:lnTo>
                  <a:lnTo>
                    <a:pt x="244" y="383"/>
                  </a:lnTo>
                  <a:lnTo>
                    <a:pt x="247" y="383"/>
                  </a:lnTo>
                  <a:lnTo>
                    <a:pt x="244" y="383"/>
                  </a:lnTo>
                  <a:close/>
                  <a:moveTo>
                    <a:pt x="244" y="383"/>
                  </a:moveTo>
                  <a:lnTo>
                    <a:pt x="242" y="383"/>
                  </a:lnTo>
                  <a:lnTo>
                    <a:pt x="242" y="385"/>
                  </a:lnTo>
                  <a:lnTo>
                    <a:pt x="242" y="383"/>
                  </a:lnTo>
                  <a:lnTo>
                    <a:pt x="242" y="385"/>
                  </a:lnTo>
                  <a:lnTo>
                    <a:pt x="239" y="385"/>
                  </a:lnTo>
                  <a:lnTo>
                    <a:pt x="239" y="387"/>
                  </a:lnTo>
                  <a:lnTo>
                    <a:pt x="237" y="387"/>
                  </a:lnTo>
                  <a:lnTo>
                    <a:pt x="237" y="385"/>
                  </a:lnTo>
                  <a:lnTo>
                    <a:pt x="237" y="387"/>
                  </a:lnTo>
                  <a:lnTo>
                    <a:pt x="235" y="387"/>
                  </a:lnTo>
                  <a:lnTo>
                    <a:pt x="237" y="387"/>
                  </a:lnTo>
                  <a:lnTo>
                    <a:pt x="237" y="385"/>
                  </a:lnTo>
                  <a:lnTo>
                    <a:pt x="237" y="387"/>
                  </a:lnTo>
                  <a:lnTo>
                    <a:pt x="237" y="385"/>
                  </a:lnTo>
                  <a:lnTo>
                    <a:pt x="239" y="385"/>
                  </a:lnTo>
                  <a:lnTo>
                    <a:pt x="239" y="383"/>
                  </a:lnTo>
                  <a:lnTo>
                    <a:pt x="242" y="383"/>
                  </a:lnTo>
                  <a:lnTo>
                    <a:pt x="244" y="383"/>
                  </a:lnTo>
                  <a:close/>
                  <a:moveTo>
                    <a:pt x="244" y="383"/>
                  </a:moveTo>
                  <a:lnTo>
                    <a:pt x="244" y="380"/>
                  </a:lnTo>
                  <a:lnTo>
                    <a:pt x="244" y="383"/>
                  </a:lnTo>
                  <a:close/>
                  <a:moveTo>
                    <a:pt x="237" y="383"/>
                  </a:moveTo>
                  <a:lnTo>
                    <a:pt x="237" y="380"/>
                  </a:lnTo>
                  <a:lnTo>
                    <a:pt x="237" y="383"/>
                  </a:lnTo>
                  <a:close/>
                  <a:moveTo>
                    <a:pt x="237" y="380"/>
                  </a:moveTo>
                  <a:lnTo>
                    <a:pt x="239" y="380"/>
                  </a:lnTo>
                  <a:lnTo>
                    <a:pt x="237" y="380"/>
                  </a:lnTo>
                  <a:lnTo>
                    <a:pt x="237" y="383"/>
                  </a:lnTo>
                  <a:lnTo>
                    <a:pt x="237" y="380"/>
                  </a:lnTo>
                  <a:lnTo>
                    <a:pt x="237" y="383"/>
                  </a:lnTo>
                  <a:lnTo>
                    <a:pt x="237" y="380"/>
                  </a:lnTo>
                  <a:lnTo>
                    <a:pt x="237" y="383"/>
                  </a:lnTo>
                  <a:lnTo>
                    <a:pt x="237" y="380"/>
                  </a:lnTo>
                  <a:lnTo>
                    <a:pt x="237" y="383"/>
                  </a:lnTo>
                  <a:lnTo>
                    <a:pt x="235" y="383"/>
                  </a:lnTo>
                  <a:lnTo>
                    <a:pt x="232" y="383"/>
                  </a:lnTo>
                  <a:lnTo>
                    <a:pt x="232" y="385"/>
                  </a:lnTo>
                  <a:lnTo>
                    <a:pt x="230" y="385"/>
                  </a:lnTo>
                  <a:lnTo>
                    <a:pt x="230" y="383"/>
                  </a:lnTo>
                  <a:lnTo>
                    <a:pt x="230" y="385"/>
                  </a:lnTo>
                  <a:lnTo>
                    <a:pt x="230" y="383"/>
                  </a:lnTo>
                  <a:lnTo>
                    <a:pt x="230" y="385"/>
                  </a:lnTo>
                  <a:lnTo>
                    <a:pt x="230" y="383"/>
                  </a:lnTo>
                  <a:lnTo>
                    <a:pt x="232" y="383"/>
                  </a:lnTo>
                  <a:lnTo>
                    <a:pt x="232" y="380"/>
                  </a:lnTo>
                  <a:lnTo>
                    <a:pt x="232" y="383"/>
                  </a:lnTo>
                  <a:lnTo>
                    <a:pt x="235" y="383"/>
                  </a:lnTo>
                  <a:lnTo>
                    <a:pt x="232" y="383"/>
                  </a:lnTo>
                  <a:lnTo>
                    <a:pt x="235" y="383"/>
                  </a:lnTo>
                  <a:lnTo>
                    <a:pt x="235" y="380"/>
                  </a:lnTo>
                  <a:lnTo>
                    <a:pt x="237" y="380"/>
                  </a:lnTo>
                  <a:lnTo>
                    <a:pt x="235" y="380"/>
                  </a:lnTo>
                  <a:lnTo>
                    <a:pt x="237" y="380"/>
                  </a:lnTo>
                  <a:close/>
                  <a:moveTo>
                    <a:pt x="249" y="380"/>
                  </a:moveTo>
                  <a:lnTo>
                    <a:pt x="251" y="380"/>
                  </a:lnTo>
                  <a:lnTo>
                    <a:pt x="249" y="380"/>
                  </a:lnTo>
                  <a:close/>
                  <a:moveTo>
                    <a:pt x="235" y="380"/>
                  </a:moveTo>
                  <a:lnTo>
                    <a:pt x="232" y="380"/>
                  </a:lnTo>
                  <a:lnTo>
                    <a:pt x="235" y="380"/>
                  </a:lnTo>
                  <a:lnTo>
                    <a:pt x="232" y="380"/>
                  </a:lnTo>
                  <a:lnTo>
                    <a:pt x="235" y="380"/>
                  </a:lnTo>
                  <a:close/>
                  <a:moveTo>
                    <a:pt x="232" y="380"/>
                  </a:moveTo>
                  <a:lnTo>
                    <a:pt x="232" y="378"/>
                  </a:lnTo>
                  <a:lnTo>
                    <a:pt x="235" y="380"/>
                  </a:lnTo>
                  <a:lnTo>
                    <a:pt x="232" y="380"/>
                  </a:lnTo>
                  <a:close/>
                  <a:moveTo>
                    <a:pt x="242" y="378"/>
                  </a:moveTo>
                  <a:lnTo>
                    <a:pt x="242" y="380"/>
                  </a:lnTo>
                  <a:lnTo>
                    <a:pt x="242" y="378"/>
                  </a:lnTo>
                  <a:close/>
                  <a:moveTo>
                    <a:pt x="237" y="378"/>
                  </a:moveTo>
                  <a:lnTo>
                    <a:pt x="237" y="380"/>
                  </a:lnTo>
                  <a:lnTo>
                    <a:pt x="237" y="378"/>
                  </a:lnTo>
                  <a:lnTo>
                    <a:pt x="235" y="378"/>
                  </a:lnTo>
                  <a:lnTo>
                    <a:pt x="237" y="378"/>
                  </a:lnTo>
                  <a:close/>
                  <a:moveTo>
                    <a:pt x="249" y="378"/>
                  </a:moveTo>
                  <a:lnTo>
                    <a:pt x="249" y="380"/>
                  </a:lnTo>
                  <a:lnTo>
                    <a:pt x="249" y="378"/>
                  </a:lnTo>
                  <a:close/>
                  <a:moveTo>
                    <a:pt x="254" y="376"/>
                  </a:moveTo>
                  <a:lnTo>
                    <a:pt x="256" y="376"/>
                  </a:lnTo>
                  <a:lnTo>
                    <a:pt x="256" y="378"/>
                  </a:lnTo>
                  <a:lnTo>
                    <a:pt x="254" y="378"/>
                  </a:lnTo>
                  <a:lnTo>
                    <a:pt x="256" y="378"/>
                  </a:lnTo>
                  <a:lnTo>
                    <a:pt x="254" y="378"/>
                  </a:lnTo>
                  <a:lnTo>
                    <a:pt x="254" y="376"/>
                  </a:lnTo>
                  <a:close/>
                  <a:moveTo>
                    <a:pt x="251" y="378"/>
                  </a:moveTo>
                  <a:lnTo>
                    <a:pt x="251" y="376"/>
                  </a:lnTo>
                  <a:lnTo>
                    <a:pt x="251" y="378"/>
                  </a:lnTo>
                  <a:close/>
                  <a:moveTo>
                    <a:pt x="254" y="376"/>
                  </a:moveTo>
                  <a:lnTo>
                    <a:pt x="251" y="376"/>
                  </a:lnTo>
                  <a:lnTo>
                    <a:pt x="251" y="378"/>
                  </a:lnTo>
                  <a:lnTo>
                    <a:pt x="251" y="376"/>
                  </a:lnTo>
                  <a:lnTo>
                    <a:pt x="254" y="376"/>
                  </a:lnTo>
                  <a:close/>
                  <a:moveTo>
                    <a:pt x="249" y="376"/>
                  </a:moveTo>
                  <a:lnTo>
                    <a:pt x="247" y="376"/>
                  </a:lnTo>
                  <a:lnTo>
                    <a:pt x="249" y="376"/>
                  </a:lnTo>
                  <a:close/>
                  <a:moveTo>
                    <a:pt x="247" y="376"/>
                  </a:moveTo>
                  <a:lnTo>
                    <a:pt x="247" y="378"/>
                  </a:lnTo>
                  <a:lnTo>
                    <a:pt x="247" y="380"/>
                  </a:lnTo>
                  <a:lnTo>
                    <a:pt x="244" y="380"/>
                  </a:lnTo>
                  <a:lnTo>
                    <a:pt x="247" y="380"/>
                  </a:lnTo>
                  <a:lnTo>
                    <a:pt x="244" y="380"/>
                  </a:lnTo>
                  <a:lnTo>
                    <a:pt x="242" y="380"/>
                  </a:lnTo>
                  <a:lnTo>
                    <a:pt x="244" y="380"/>
                  </a:lnTo>
                  <a:lnTo>
                    <a:pt x="242" y="380"/>
                  </a:lnTo>
                  <a:lnTo>
                    <a:pt x="244" y="380"/>
                  </a:lnTo>
                  <a:lnTo>
                    <a:pt x="244" y="378"/>
                  </a:lnTo>
                  <a:lnTo>
                    <a:pt x="242" y="378"/>
                  </a:lnTo>
                  <a:lnTo>
                    <a:pt x="244" y="378"/>
                  </a:lnTo>
                  <a:lnTo>
                    <a:pt x="244" y="376"/>
                  </a:lnTo>
                  <a:lnTo>
                    <a:pt x="247" y="376"/>
                  </a:lnTo>
                  <a:close/>
                  <a:moveTo>
                    <a:pt x="249" y="376"/>
                  </a:moveTo>
                  <a:lnTo>
                    <a:pt x="251" y="376"/>
                  </a:lnTo>
                  <a:lnTo>
                    <a:pt x="249" y="376"/>
                  </a:lnTo>
                  <a:close/>
                  <a:moveTo>
                    <a:pt x="251" y="373"/>
                  </a:moveTo>
                  <a:lnTo>
                    <a:pt x="251" y="376"/>
                  </a:lnTo>
                  <a:lnTo>
                    <a:pt x="251" y="373"/>
                  </a:lnTo>
                  <a:lnTo>
                    <a:pt x="251" y="376"/>
                  </a:lnTo>
                  <a:lnTo>
                    <a:pt x="251" y="373"/>
                  </a:lnTo>
                  <a:close/>
                  <a:moveTo>
                    <a:pt x="258" y="373"/>
                  </a:moveTo>
                  <a:lnTo>
                    <a:pt x="256" y="373"/>
                  </a:lnTo>
                  <a:lnTo>
                    <a:pt x="258" y="373"/>
                  </a:lnTo>
                  <a:close/>
                  <a:moveTo>
                    <a:pt x="256" y="373"/>
                  </a:moveTo>
                  <a:lnTo>
                    <a:pt x="254" y="373"/>
                  </a:lnTo>
                  <a:lnTo>
                    <a:pt x="254" y="376"/>
                  </a:lnTo>
                  <a:lnTo>
                    <a:pt x="254" y="373"/>
                  </a:lnTo>
                  <a:lnTo>
                    <a:pt x="254" y="376"/>
                  </a:lnTo>
                  <a:lnTo>
                    <a:pt x="254" y="373"/>
                  </a:lnTo>
                  <a:lnTo>
                    <a:pt x="256" y="373"/>
                  </a:lnTo>
                  <a:close/>
                  <a:moveTo>
                    <a:pt x="254" y="373"/>
                  </a:moveTo>
                  <a:lnTo>
                    <a:pt x="251" y="373"/>
                  </a:lnTo>
                  <a:lnTo>
                    <a:pt x="254" y="373"/>
                  </a:lnTo>
                  <a:close/>
                  <a:moveTo>
                    <a:pt x="254" y="371"/>
                  </a:moveTo>
                  <a:lnTo>
                    <a:pt x="256" y="373"/>
                  </a:lnTo>
                  <a:lnTo>
                    <a:pt x="254" y="373"/>
                  </a:lnTo>
                  <a:lnTo>
                    <a:pt x="254" y="371"/>
                  </a:lnTo>
                  <a:close/>
                  <a:moveTo>
                    <a:pt x="247" y="373"/>
                  </a:moveTo>
                  <a:lnTo>
                    <a:pt x="247" y="371"/>
                  </a:lnTo>
                  <a:lnTo>
                    <a:pt x="247" y="373"/>
                  </a:lnTo>
                  <a:close/>
                  <a:moveTo>
                    <a:pt x="254" y="371"/>
                  </a:moveTo>
                  <a:lnTo>
                    <a:pt x="251" y="373"/>
                  </a:lnTo>
                  <a:lnTo>
                    <a:pt x="254" y="373"/>
                  </a:lnTo>
                  <a:lnTo>
                    <a:pt x="251" y="373"/>
                  </a:lnTo>
                  <a:lnTo>
                    <a:pt x="254" y="371"/>
                  </a:lnTo>
                  <a:close/>
                  <a:moveTo>
                    <a:pt x="249" y="371"/>
                  </a:moveTo>
                  <a:lnTo>
                    <a:pt x="247" y="371"/>
                  </a:lnTo>
                  <a:lnTo>
                    <a:pt x="249" y="371"/>
                  </a:lnTo>
                  <a:close/>
                  <a:moveTo>
                    <a:pt x="256" y="371"/>
                  </a:moveTo>
                  <a:lnTo>
                    <a:pt x="254" y="371"/>
                  </a:lnTo>
                  <a:lnTo>
                    <a:pt x="256" y="371"/>
                  </a:lnTo>
                  <a:lnTo>
                    <a:pt x="254" y="371"/>
                  </a:lnTo>
                  <a:lnTo>
                    <a:pt x="254" y="373"/>
                  </a:lnTo>
                  <a:lnTo>
                    <a:pt x="254" y="371"/>
                  </a:lnTo>
                  <a:lnTo>
                    <a:pt x="256" y="371"/>
                  </a:lnTo>
                  <a:close/>
                  <a:moveTo>
                    <a:pt x="244" y="371"/>
                  </a:moveTo>
                  <a:lnTo>
                    <a:pt x="247" y="371"/>
                  </a:lnTo>
                  <a:lnTo>
                    <a:pt x="244" y="371"/>
                  </a:lnTo>
                  <a:close/>
                  <a:moveTo>
                    <a:pt x="256" y="368"/>
                  </a:moveTo>
                  <a:lnTo>
                    <a:pt x="256" y="371"/>
                  </a:lnTo>
                  <a:lnTo>
                    <a:pt x="256" y="368"/>
                  </a:lnTo>
                  <a:lnTo>
                    <a:pt x="256" y="371"/>
                  </a:lnTo>
                  <a:lnTo>
                    <a:pt x="256" y="368"/>
                  </a:lnTo>
                  <a:close/>
                  <a:moveTo>
                    <a:pt x="258" y="368"/>
                  </a:moveTo>
                  <a:lnTo>
                    <a:pt x="256" y="368"/>
                  </a:lnTo>
                  <a:lnTo>
                    <a:pt x="258" y="368"/>
                  </a:lnTo>
                  <a:close/>
                  <a:moveTo>
                    <a:pt x="244" y="368"/>
                  </a:moveTo>
                  <a:lnTo>
                    <a:pt x="242" y="368"/>
                  </a:lnTo>
                  <a:lnTo>
                    <a:pt x="244" y="368"/>
                  </a:lnTo>
                  <a:close/>
                  <a:moveTo>
                    <a:pt x="261" y="366"/>
                  </a:moveTo>
                  <a:lnTo>
                    <a:pt x="263" y="366"/>
                  </a:lnTo>
                  <a:lnTo>
                    <a:pt x="261" y="366"/>
                  </a:lnTo>
                  <a:close/>
                  <a:moveTo>
                    <a:pt x="263" y="366"/>
                  </a:moveTo>
                  <a:lnTo>
                    <a:pt x="261" y="366"/>
                  </a:lnTo>
                  <a:lnTo>
                    <a:pt x="263" y="366"/>
                  </a:lnTo>
                  <a:close/>
                  <a:moveTo>
                    <a:pt x="261" y="366"/>
                  </a:moveTo>
                  <a:lnTo>
                    <a:pt x="258" y="366"/>
                  </a:lnTo>
                  <a:lnTo>
                    <a:pt x="261" y="366"/>
                  </a:lnTo>
                  <a:close/>
                  <a:moveTo>
                    <a:pt x="258" y="366"/>
                  </a:moveTo>
                  <a:lnTo>
                    <a:pt x="256" y="366"/>
                  </a:lnTo>
                  <a:lnTo>
                    <a:pt x="258" y="366"/>
                  </a:lnTo>
                  <a:lnTo>
                    <a:pt x="258" y="368"/>
                  </a:lnTo>
                  <a:lnTo>
                    <a:pt x="256" y="368"/>
                  </a:lnTo>
                  <a:lnTo>
                    <a:pt x="258" y="368"/>
                  </a:lnTo>
                  <a:lnTo>
                    <a:pt x="256" y="368"/>
                  </a:lnTo>
                  <a:lnTo>
                    <a:pt x="254" y="368"/>
                  </a:lnTo>
                  <a:lnTo>
                    <a:pt x="256" y="368"/>
                  </a:lnTo>
                  <a:lnTo>
                    <a:pt x="256" y="366"/>
                  </a:lnTo>
                  <a:lnTo>
                    <a:pt x="256" y="368"/>
                  </a:lnTo>
                  <a:lnTo>
                    <a:pt x="256" y="366"/>
                  </a:lnTo>
                  <a:lnTo>
                    <a:pt x="258" y="366"/>
                  </a:lnTo>
                  <a:close/>
                  <a:moveTo>
                    <a:pt x="258" y="366"/>
                  </a:moveTo>
                  <a:lnTo>
                    <a:pt x="261" y="366"/>
                  </a:lnTo>
                  <a:lnTo>
                    <a:pt x="258" y="366"/>
                  </a:lnTo>
                  <a:close/>
                  <a:moveTo>
                    <a:pt x="268" y="366"/>
                  </a:moveTo>
                  <a:lnTo>
                    <a:pt x="270" y="366"/>
                  </a:lnTo>
                  <a:lnTo>
                    <a:pt x="268" y="366"/>
                  </a:lnTo>
                  <a:close/>
                  <a:moveTo>
                    <a:pt x="261" y="366"/>
                  </a:moveTo>
                  <a:lnTo>
                    <a:pt x="258" y="366"/>
                  </a:lnTo>
                  <a:lnTo>
                    <a:pt x="261" y="366"/>
                  </a:lnTo>
                  <a:lnTo>
                    <a:pt x="261" y="364"/>
                  </a:lnTo>
                  <a:lnTo>
                    <a:pt x="261" y="366"/>
                  </a:lnTo>
                  <a:close/>
                  <a:moveTo>
                    <a:pt x="261" y="364"/>
                  </a:moveTo>
                  <a:lnTo>
                    <a:pt x="263" y="364"/>
                  </a:lnTo>
                  <a:lnTo>
                    <a:pt x="261" y="364"/>
                  </a:lnTo>
                  <a:lnTo>
                    <a:pt x="258" y="364"/>
                  </a:lnTo>
                  <a:lnTo>
                    <a:pt x="261" y="364"/>
                  </a:lnTo>
                  <a:lnTo>
                    <a:pt x="258" y="364"/>
                  </a:lnTo>
                  <a:lnTo>
                    <a:pt x="261" y="364"/>
                  </a:lnTo>
                  <a:close/>
                  <a:moveTo>
                    <a:pt x="242" y="361"/>
                  </a:moveTo>
                  <a:lnTo>
                    <a:pt x="242" y="364"/>
                  </a:lnTo>
                  <a:lnTo>
                    <a:pt x="242" y="361"/>
                  </a:lnTo>
                  <a:close/>
                  <a:moveTo>
                    <a:pt x="268" y="361"/>
                  </a:moveTo>
                  <a:lnTo>
                    <a:pt x="268" y="364"/>
                  </a:lnTo>
                  <a:lnTo>
                    <a:pt x="268" y="361"/>
                  </a:lnTo>
                  <a:close/>
                  <a:moveTo>
                    <a:pt x="254" y="361"/>
                  </a:moveTo>
                  <a:lnTo>
                    <a:pt x="256" y="361"/>
                  </a:lnTo>
                  <a:lnTo>
                    <a:pt x="256" y="364"/>
                  </a:lnTo>
                  <a:lnTo>
                    <a:pt x="256" y="366"/>
                  </a:lnTo>
                  <a:lnTo>
                    <a:pt x="254" y="366"/>
                  </a:lnTo>
                  <a:lnTo>
                    <a:pt x="254" y="364"/>
                  </a:lnTo>
                  <a:lnTo>
                    <a:pt x="254" y="366"/>
                  </a:lnTo>
                  <a:lnTo>
                    <a:pt x="254" y="364"/>
                  </a:lnTo>
                  <a:lnTo>
                    <a:pt x="254" y="366"/>
                  </a:lnTo>
                  <a:lnTo>
                    <a:pt x="254" y="364"/>
                  </a:lnTo>
                  <a:lnTo>
                    <a:pt x="254" y="361"/>
                  </a:lnTo>
                  <a:lnTo>
                    <a:pt x="251" y="361"/>
                  </a:lnTo>
                  <a:lnTo>
                    <a:pt x="254" y="361"/>
                  </a:lnTo>
                  <a:close/>
                  <a:moveTo>
                    <a:pt x="247" y="361"/>
                  </a:moveTo>
                  <a:lnTo>
                    <a:pt x="244" y="361"/>
                  </a:lnTo>
                  <a:lnTo>
                    <a:pt x="247" y="361"/>
                  </a:lnTo>
                  <a:lnTo>
                    <a:pt x="244" y="361"/>
                  </a:lnTo>
                  <a:lnTo>
                    <a:pt x="247" y="361"/>
                  </a:lnTo>
                  <a:close/>
                  <a:moveTo>
                    <a:pt x="258" y="361"/>
                  </a:moveTo>
                  <a:lnTo>
                    <a:pt x="256" y="361"/>
                  </a:lnTo>
                  <a:lnTo>
                    <a:pt x="258" y="361"/>
                  </a:lnTo>
                  <a:close/>
                  <a:moveTo>
                    <a:pt x="254" y="361"/>
                  </a:moveTo>
                  <a:lnTo>
                    <a:pt x="256" y="361"/>
                  </a:lnTo>
                  <a:lnTo>
                    <a:pt x="254" y="361"/>
                  </a:lnTo>
                  <a:close/>
                  <a:moveTo>
                    <a:pt x="258" y="361"/>
                  </a:moveTo>
                  <a:lnTo>
                    <a:pt x="256" y="361"/>
                  </a:lnTo>
                  <a:lnTo>
                    <a:pt x="258" y="361"/>
                  </a:lnTo>
                  <a:close/>
                  <a:moveTo>
                    <a:pt x="235" y="361"/>
                  </a:moveTo>
                  <a:lnTo>
                    <a:pt x="237" y="361"/>
                  </a:lnTo>
                  <a:lnTo>
                    <a:pt x="239" y="361"/>
                  </a:lnTo>
                  <a:lnTo>
                    <a:pt x="237" y="361"/>
                  </a:lnTo>
                  <a:lnTo>
                    <a:pt x="239" y="361"/>
                  </a:lnTo>
                  <a:lnTo>
                    <a:pt x="239" y="364"/>
                  </a:lnTo>
                  <a:lnTo>
                    <a:pt x="237" y="364"/>
                  </a:lnTo>
                  <a:lnTo>
                    <a:pt x="235" y="361"/>
                  </a:lnTo>
                  <a:close/>
                  <a:moveTo>
                    <a:pt x="244" y="361"/>
                  </a:moveTo>
                  <a:lnTo>
                    <a:pt x="247" y="361"/>
                  </a:lnTo>
                  <a:lnTo>
                    <a:pt x="244" y="361"/>
                  </a:lnTo>
                  <a:lnTo>
                    <a:pt x="242" y="361"/>
                  </a:lnTo>
                  <a:lnTo>
                    <a:pt x="244" y="361"/>
                  </a:lnTo>
                  <a:close/>
                  <a:moveTo>
                    <a:pt x="258" y="361"/>
                  </a:moveTo>
                  <a:lnTo>
                    <a:pt x="256" y="361"/>
                  </a:lnTo>
                  <a:lnTo>
                    <a:pt x="258" y="361"/>
                  </a:lnTo>
                  <a:close/>
                  <a:moveTo>
                    <a:pt x="237" y="361"/>
                  </a:moveTo>
                  <a:lnTo>
                    <a:pt x="235" y="361"/>
                  </a:lnTo>
                  <a:lnTo>
                    <a:pt x="237" y="361"/>
                  </a:lnTo>
                  <a:close/>
                  <a:moveTo>
                    <a:pt x="256" y="361"/>
                  </a:moveTo>
                  <a:lnTo>
                    <a:pt x="256" y="359"/>
                  </a:lnTo>
                  <a:lnTo>
                    <a:pt x="256" y="361"/>
                  </a:lnTo>
                  <a:close/>
                  <a:moveTo>
                    <a:pt x="256" y="361"/>
                  </a:moveTo>
                  <a:lnTo>
                    <a:pt x="256" y="359"/>
                  </a:lnTo>
                  <a:lnTo>
                    <a:pt x="256" y="361"/>
                  </a:lnTo>
                  <a:close/>
                  <a:moveTo>
                    <a:pt x="249" y="359"/>
                  </a:moveTo>
                  <a:lnTo>
                    <a:pt x="249" y="361"/>
                  </a:lnTo>
                  <a:lnTo>
                    <a:pt x="249" y="359"/>
                  </a:lnTo>
                  <a:lnTo>
                    <a:pt x="249" y="361"/>
                  </a:lnTo>
                  <a:lnTo>
                    <a:pt x="249" y="359"/>
                  </a:lnTo>
                  <a:close/>
                  <a:moveTo>
                    <a:pt x="263" y="359"/>
                  </a:moveTo>
                  <a:lnTo>
                    <a:pt x="263" y="361"/>
                  </a:lnTo>
                  <a:lnTo>
                    <a:pt x="263" y="364"/>
                  </a:lnTo>
                  <a:lnTo>
                    <a:pt x="263" y="361"/>
                  </a:lnTo>
                  <a:lnTo>
                    <a:pt x="261" y="361"/>
                  </a:lnTo>
                  <a:lnTo>
                    <a:pt x="263" y="361"/>
                  </a:lnTo>
                  <a:lnTo>
                    <a:pt x="261" y="361"/>
                  </a:lnTo>
                  <a:lnTo>
                    <a:pt x="263" y="361"/>
                  </a:lnTo>
                  <a:lnTo>
                    <a:pt x="261" y="361"/>
                  </a:lnTo>
                  <a:lnTo>
                    <a:pt x="261" y="359"/>
                  </a:lnTo>
                  <a:lnTo>
                    <a:pt x="263" y="359"/>
                  </a:lnTo>
                  <a:close/>
                  <a:moveTo>
                    <a:pt x="256" y="359"/>
                  </a:moveTo>
                  <a:lnTo>
                    <a:pt x="258" y="359"/>
                  </a:lnTo>
                  <a:lnTo>
                    <a:pt x="256" y="359"/>
                  </a:lnTo>
                  <a:lnTo>
                    <a:pt x="258" y="359"/>
                  </a:lnTo>
                  <a:lnTo>
                    <a:pt x="258" y="361"/>
                  </a:lnTo>
                  <a:lnTo>
                    <a:pt x="256" y="359"/>
                  </a:lnTo>
                  <a:close/>
                  <a:moveTo>
                    <a:pt x="242" y="359"/>
                  </a:moveTo>
                  <a:lnTo>
                    <a:pt x="244" y="359"/>
                  </a:lnTo>
                  <a:lnTo>
                    <a:pt x="242" y="359"/>
                  </a:lnTo>
                  <a:close/>
                  <a:moveTo>
                    <a:pt x="249" y="359"/>
                  </a:moveTo>
                  <a:lnTo>
                    <a:pt x="251" y="359"/>
                  </a:lnTo>
                  <a:lnTo>
                    <a:pt x="249" y="359"/>
                  </a:lnTo>
                  <a:close/>
                  <a:moveTo>
                    <a:pt x="258" y="359"/>
                  </a:moveTo>
                  <a:lnTo>
                    <a:pt x="256" y="359"/>
                  </a:lnTo>
                  <a:lnTo>
                    <a:pt x="258" y="359"/>
                  </a:lnTo>
                  <a:close/>
                  <a:moveTo>
                    <a:pt x="244" y="359"/>
                  </a:moveTo>
                  <a:lnTo>
                    <a:pt x="244" y="361"/>
                  </a:lnTo>
                  <a:lnTo>
                    <a:pt x="247" y="361"/>
                  </a:lnTo>
                  <a:lnTo>
                    <a:pt x="244" y="361"/>
                  </a:lnTo>
                  <a:lnTo>
                    <a:pt x="244" y="359"/>
                  </a:lnTo>
                  <a:close/>
                  <a:moveTo>
                    <a:pt x="263" y="359"/>
                  </a:moveTo>
                  <a:lnTo>
                    <a:pt x="263" y="361"/>
                  </a:lnTo>
                  <a:lnTo>
                    <a:pt x="263" y="359"/>
                  </a:lnTo>
                  <a:close/>
                  <a:moveTo>
                    <a:pt x="256" y="359"/>
                  </a:moveTo>
                  <a:lnTo>
                    <a:pt x="254" y="359"/>
                  </a:lnTo>
                  <a:lnTo>
                    <a:pt x="256" y="359"/>
                  </a:lnTo>
                  <a:lnTo>
                    <a:pt x="254" y="359"/>
                  </a:lnTo>
                  <a:lnTo>
                    <a:pt x="256" y="359"/>
                  </a:lnTo>
                  <a:lnTo>
                    <a:pt x="254" y="359"/>
                  </a:lnTo>
                  <a:lnTo>
                    <a:pt x="256" y="359"/>
                  </a:lnTo>
                  <a:close/>
                  <a:moveTo>
                    <a:pt x="273" y="359"/>
                  </a:moveTo>
                  <a:lnTo>
                    <a:pt x="270" y="359"/>
                  </a:lnTo>
                  <a:lnTo>
                    <a:pt x="273" y="359"/>
                  </a:lnTo>
                  <a:close/>
                  <a:moveTo>
                    <a:pt x="251" y="359"/>
                  </a:moveTo>
                  <a:lnTo>
                    <a:pt x="254" y="359"/>
                  </a:lnTo>
                  <a:lnTo>
                    <a:pt x="254" y="361"/>
                  </a:lnTo>
                  <a:lnTo>
                    <a:pt x="254" y="359"/>
                  </a:lnTo>
                  <a:lnTo>
                    <a:pt x="254" y="361"/>
                  </a:lnTo>
                  <a:lnTo>
                    <a:pt x="254" y="359"/>
                  </a:lnTo>
                  <a:lnTo>
                    <a:pt x="254" y="361"/>
                  </a:lnTo>
                  <a:lnTo>
                    <a:pt x="251" y="361"/>
                  </a:lnTo>
                  <a:lnTo>
                    <a:pt x="254" y="361"/>
                  </a:lnTo>
                  <a:lnTo>
                    <a:pt x="251" y="361"/>
                  </a:lnTo>
                  <a:lnTo>
                    <a:pt x="254" y="361"/>
                  </a:lnTo>
                  <a:lnTo>
                    <a:pt x="251" y="361"/>
                  </a:lnTo>
                  <a:lnTo>
                    <a:pt x="251" y="359"/>
                  </a:lnTo>
                  <a:lnTo>
                    <a:pt x="254" y="359"/>
                  </a:lnTo>
                  <a:lnTo>
                    <a:pt x="251" y="359"/>
                  </a:lnTo>
                  <a:lnTo>
                    <a:pt x="254" y="359"/>
                  </a:lnTo>
                  <a:lnTo>
                    <a:pt x="251" y="359"/>
                  </a:lnTo>
                  <a:close/>
                  <a:moveTo>
                    <a:pt x="247" y="359"/>
                  </a:moveTo>
                  <a:lnTo>
                    <a:pt x="249" y="359"/>
                  </a:lnTo>
                  <a:lnTo>
                    <a:pt x="247" y="359"/>
                  </a:lnTo>
                  <a:close/>
                  <a:moveTo>
                    <a:pt x="254" y="359"/>
                  </a:moveTo>
                  <a:lnTo>
                    <a:pt x="251" y="359"/>
                  </a:lnTo>
                  <a:lnTo>
                    <a:pt x="254" y="359"/>
                  </a:lnTo>
                  <a:close/>
                  <a:moveTo>
                    <a:pt x="256" y="359"/>
                  </a:moveTo>
                  <a:lnTo>
                    <a:pt x="254" y="359"/>
                  </a:lnTo>
                  <a:lnTo>
                    <a:pt x="256" y="359"/>
                  </a:lnTo>
                  <a:close/>
                  <a:moveTo>
                    <a:pt x="247" y="359"/>
                  </a:moveTo>
                  <a:lnTo>
                    <a:pt x="244" y="359"/>
                  </a:lnTo>
                  <a:lnTo>
                    <a:pt x="247" y="359"/>
                  </a:lnTo>
                  <a:close/>
                  <a:moveTo>
                    <a:pt x="242" y="359"/>
                  </a:moveTo>
                  <a:lnTo>
                    <a:pt x="244" y="359"/>
                  </a:lnTo>
                  <a:lnTo>
                    <a:pt x="242" y="359"/>
                  </a:lnTo>
                  <a:close/>
                  <a:moveTo>
                    <a:pt x="261" y="359"/>
                  </a:moveTo>
                  <a:lnTo>
                    <a:pt x="263" y="359"/>
                  </a:lnTo>
                  <a:lnTo>
                    <a:pt x="261" y="359"/>
                  </a:lnTo>
                  <a:lnTo>
                    <a:pt x="261" y="361"/>
                  </a:lnTo>
                  <a:lnTo>
                    <a:pt x="261" y="359"/>
                  </a:lnTo>
                  <a:lnTo>
                    <a:pt x="261" y="361"/>
                  </a:lnTo>
                  <a:lnTo>
                    <a:pt x="258" y="361"/>
                  </a:lnTo>
                  <a:lnTo>
                    <a:pt x="258" y="359"/>
                  </a:lnTo>
                  <a:lnTo>
                    <a:pt x="261" y="359"/>
                  </a:lnTo>
                  <a:lnTo>
                    <a:pt x="258" y="359"/>
                  </a:lnTo>
                  <a:lnTo>
                    <a:pt x="261" y="359"/>
                  </a:lnTo>
                  <a:lnTo>
                    <a:pt x="258" y="359"/>
                  </a:lnTo>
                  <a:lnTo>
                    <a:pt x="261" y="359"/>
                  </a:lnTo>
                  <a:close/>
                  <a:moveTo>
                    <a:pt x="282" y="359"/>
                  </a:moveTo>
                  <a:lnTo>
                    <a:pt x="280" y="359"/>
                  </a:lnTo>
                  <a:lnTo>
                    <a:pt x="280" y="357"/>
                  </a:lnTo>
                  <a:lnTo>
                    <a:pt x="282" y="357"/>
                  </a:lnTo>
                  <a:lnTo>
                    <a:pt x="282" y="359"/>
                  </a:lnTo>
                  <a:close/>
                  <a:moveTo>
                    <a:pt x="256" y="357"/>
                  </a:moveTo>
                  <a:lnTo>
                    <a:pt x="256" y="359"/>
                  </a:lnTo>
                  <a:lnTo>
                    <a:pt x="256" y="357"/>
                  </a:lnTo>
                  <a:close/>
                  <a:moveTo>
                    <a:pt x="270" y="359"/>
                  </a:moveTo>
                  <a:lnTo>
                    <a:pt x="273" y="359"/>
                  </a:lnTo>
                  <a:lnTo>
                    <a:pt x="273" y="357"/>
                  </a:lnTo>
                  <a:lnTo>
                    <a:pt x="273" y="359"/>
                  </a:lnTo>
                  <a:lnTo>
                    <a:pt x="270" y="359"/>
                  </a:lnTo>
                  <a:lnTo>
                    <a:pt x="273" y="359"/>
                  </a:lnTo>
                  <a:lnTo>
                    <a:pt x="270" y="359"/>
                  </a:lnTo>
                  <a:lnTo>
                    <a:pt x="270" y="357"/>
                  </a:lnTo>
                  <a:lnTo>
                    <a:pt x="273" y="357"/>
                  </a:lnTo>
                  <a:lnTo>
                    <a:pt x="270" y="357"/>
                  </a:lnTo>
                  <a:lnTo>
                    <a:pt x="270" y="359"/>
                  </a:lnTo>
                  <a:close/>
                  <a:moveTo>
                    <a:pt x="258" y="357"/>
                  </a:moveTo>
                  <a:lnTo>
                    <a:pt x="258" y="359"/>
                  </a:lnTo>
                  <a:lnTo>
                    <a:pt x="256" y="359"/>
                  </a:lnTo>
                  <a:lnTo>
                    <a:pt x="258" y="359"/>
                  </a:lnTo>
                  <a:lnTo>
                    <a:pt x="258" y="357"/>
                  </a:lnTo>
                  <a:close/>
                  <a:moveTo>
                    <a:pt x="244" y="359"/>
                  </a:moveTo>
                  <a:lnTo>
                    <a:pt x="244" y="357"/>
                  </a:lnTo>
                  <a:lnTo>
                    <a:pt x="244" y="359"/>
                  </a:lnTo>
                  <a:close/>
                  <a:moveTo>
                    <a:pt x="247" y="357"/>
                  </a:moveTo>
                  <a:lnTo>
                    <a:pt x="247" y="359"/>
                  </a:lnTo>
                  <a:lnTo>
                    <a:pt x="247" y="357"/>
                  </a:lnTo>
                  <a:close/>
                  <a:moveTo>
                    <a:pt x="256" y="357"/>
                  </a:moveTo>
                  <a:lnTo>
                    <a:pt x="254" y="357"/>
                  </a:lnTo>
                  <a:lnTo>
                    <a:pt x="254" y="359"/>
                  </a:lnTo>
                  <a:lnTo>
                    <a:pt x="256" y="359"/>
                  </a:lnTo>
                  <a:lnTo>
                    <a:pt x="254" y="359"/>
                  </a:lnTo>
                  <a:lnTo>
                    <a:pt x="254" y="357"/>
                  </a:lnTo>
                  <a:lnTo>
                    <a:pt x="256" y="357"/>
                  </a:lnTo>
                  <a:close/>
                  <a:moveTo>
                    <a:pt x="247" y="357"/>
                  </a:moveTo>
                  <a:lnTo>
                    <a:pt x="244" y="357"/>
                  </a:lnTo>
                  <a:lnTo>
                    <a:pt x="247" y="357"/>
                  </a:lnTo>
                  <a:close/>
                  <a:moveTo>
                    <a:pt x="254" y="357"/>
                  </a:moveTo>
                  <a:lnTo>
                    <a:pt x="251" y="357"/>
                  </a:lnTo>
                  <a:lnTo>
                    <a:pt x="254" y="357"/>
                  </a:lnTo>
                  <a:close/>
                  <a:moveTo>
                    <a:pt x="258" y="357"/>
                  </a:moveTo>
                  <a:lnTo>
                    <a:pt x="256" y="357"/>
                  </a:lnTo>
                  <a:lnTo>
                    <a:pt x="254" y="357"/>
                  </a:lnTo>
                  <a:lnTo>
                    <a:pt x="256" y="357"/>
                  </a:lnTo>
                  <a:lnTo>
                    <a:pt x="258" y="357"/>
                  </a:lnTo>
                  <a:close/>
                  <a:moveTo>
                    <a:pt x="256" y="357"/>
                  </a:moveTo>
                  <a:lnTo>
                    <a:pt x="256" y="354"/>
                  </a:lnTo>
                  <a:lnTo>
                    <a:pt x="256" y="357"/>
                  </a:lnTo>
                  <a:close/>
                  <a:moveTo>
                    <a:pt x="261" y="354"/>
                  </a:moveTo>
                  <a:lnTo>
                    <a:pt x="261" y="357"/>
                  </a:lnTo>
                  <a:lnTo>
                    <a:pt x="261" y="354"/>
                  </a:lnTo>
                  <a:lnTo>
                    <a:pt x="261" y="357"/>
                  </a:lnTo>
                  <a:lnTo>
                    <a:pt x="258" y="357"/>
                  </a:lnTo>
                  <a:lnTo>
                    <a:pt x="258" y="354"/>
                  </a:lnTo>
                  <a:lnTo>
                    <a:pt x="261" y="354"/>
                  </a:lnTo>
                  <a:close/>
                  <a:moveTo>
                    <a:pt x="249" y="354"/>
                  </a:moveTo>
                  <a:lnTo>
                    <a:pt x="247" y="354"/>
                  </a:lnTo>
                  <a:lnTo>
                    <a:pt x="249" y="354"/>
                  </a:lnTo>
                  <a:close/>
                  <a:moveTo>
                    <a:pt x="275" y="354"/>
                  </a:moveTo>
                  <a:lnTo>
                    <a:pt x="277" y="354"/>
                  </a:lnTo>
                  <a:lnTo>
                    <a:pt x="275" y="354"/>
                  </a:lnTo>
                  <a:close/>
                  <a:moveTo>
                    <a:pt x="261" y="354"/>
                  </a:moveTo>
                  <a:lnTo>
                    <a:pt x="258" y="354"/>
                  </a:lnTo>
                  <a:lnTo>
                    <a:pt x="261" y="354"/>
                  </a:lnTo>
                  <a:lnTo>
                    <a:pt x="258" y="354"/>
                  </a:lnTo>
                  <a:lnTo>
                    <a:pt x="261" y="354"/>
                  </a:lnTo>
                  <a:close/>
                  <a:moveTo>
                    <a:pt x="277" y="354"/>
                  </a:moveTo>
                  <a:lnTo>
                    <a:pt x="275" y="354"/>
                  </a:lnTo>
                  <a:lnTo>
                    <a:pt x="277" y="354"/>
                  </a:lnTo>
                  <a:lnTo>
                    <a:pt x="275" y="354"/>
                  </a:lnTo>
                  <a:lnTo>
                    <a:pt x="277" y="354"/>
                  </a:lnTo>
                  <a:close/>
                  <a:moveTo>
                    <a:pt x="273" y="354"/>
                  </a:moveTo>
                  <a:lnTo>
                    <a:pt x="273" y="352"/>
                  </a:lnTo>
                  <a:lnTo>
                    <a:pt x="275" y="352"/>
                  </a:lnTo>
                  <a:lnTo>
                    <a:pt x="273" y="352"/>
                  </a:lnTo>
                  <a:lnTo>
                    <a:pt x="273" y="354"/>
                  </a:lnTo>
                  <a:close/>
                  <a:moveTo>
                    <a:pt x="254" y="352"/>
                  </a:moveTo>
                  <a:lnTo>
                    <a:pt x="254" y="354"/>
                  </a:lnTo>
                  <a:lnTo>
                    <a:pt x="256" y="354"/>
                  </a:lnTo>
                  <a:lnTo>
                    <a:pt x="256" y="352"/>
                  </a:lnTo>
                  <a:lnTo>
                    <a:pt x="258" y="352"/>
                  </a:lnTo>
                  <a:lnTo>
                    <a:pt x="258" y="354"/>
                  </a:lnTo>
                  <a:lnTo>
                    <a:pt x="258" y="352"/>
                  </a:lnTo>
                  <a:lnTo>
                    <a:pt x="256" y="352"/>
                  </a:lnTo>
                  <a:lnTo>
                    <a:pt x="256" y="354"/>
                  </a:lnTo>
                  <a:lnTo>
                    <a:pt x="256" y="352"/>
                  </a:lnTo>
                  <a:lnTo>
                    <a:pt x="256" y="354"/>
                  </a:lnTo>
                  <a:lnTo>
                    <a:pt x="254" y="354"/>
                  </a:lnTo>
                  <a:lnTo>
                    <a:pt x="251" y="354"/>
                  </a:lnTo>
                  <a:lnTo>
                    <a:pt x="254" y="354"/>
                  </a:lnTo>
                  <a:lnTo>
                    <a:pt x="251" y="354"/>
                  </a:lnTo>
                  <a:lnTo>
                    <a:pt x="251" y="357"/>
                  </a:lnTo>
                  <a:lnTo>
                    <a:pt x="251" y="354"/>
                  </a:lnTo>
                  <a:lnTo>
                    <a:pt x="251" y="357"/>
                  </a:lnTo>
                  <a:lnTo>
                    <a:pt x="251" y="359"/>
                  </a:lnTo>
                  <a:lnTo>
                    <a:pt x="251" y="357"/>
                  </a:lnTo>
                  <a:lnTo>
                    <a:pt x="251" y="359"/>
                  </a:lnTo>
                  <a:lnTo>
                    <a:pt x="251" y="357"/>
                  </a:lnTo>
                  <a:lnTo>
                    <a:pt x="251" y="359"/>
                  </a:lnTo>
                  <a:lnTo>
                    <a:pt x="249" y="359"/>
                  </a:lnTo>
                  <a:lnTo>
                    <a:pt x="249" y="357"/>
                  </a:lnTo>
                  <a:lnTo>
                    <a:pt x="249" y="354"/>
                  </a:lnTo>
                  <a:lnTo>
                    <a:pt x="251" y="354"/>
                  </a:lnTo>
                  <a:lnTo>
                    <a:pt x="251" y="352"/>
                  </a:lnTo>
                  <a:lnTo>
                    <a:pt x="254" y="352"/>
                  </a:lnTo>
                  <a:lnTo>
                    <a:pt x="251" y="352"/>
                  </a:lnTo>
                  <a:lnTo>
                    <a:pt x="254" y="352"/>
                  </a:lnTo>
                  <a:close/>
                  <a:moveTo>
                    <a:pt x="258" y="352"/>
                  </a:moveTo>
                  <a:lnTo>
                    <a:pt x="256" y="352"/>
                  </a:lnTo>
                  <a:lnTo>
                    <a:pt x="258" y="352"/>
                  </a:lnTo>
                  <a:close/>
                  <a:moveTo>
                    <a:pt x="254" y="352"/>
                  </a:moveTo>
                  <a:lnTo>
                    <a:pt x="256" y="352"/>
                  </a:lnTo>
                  <a:lnTo>
                    <a:pt x="254" y="352"/>
                  </a:lnTo>
                  <a:close/>
                  <a:moveTo>
                    <a:pt x="266" y="352"/>
                  </a:moveTo>
                  <a:lnTo>
                    <a:pt x="268" y="352"/>
                  </a:lnTo>
                  <a:lnTo>
                    <a:pt x="266" y="352"/>
                  </a:lnTo>
                  <a:lnTo>
                    <a:pt x="268" y="352"/>
                  </a:lnTo>
                  <a:lnTo>
                    <a:pt x="266" y="352"/>
                  </a:lnTo>
                  <a:close/>
                  <a:moveTo>
                    <a:pt x="280" y="349"/>
                  </a:moveTo>
                  <a:lnTo>
                    <a:pt x="277" y="349"/>
                  </a:lnTo>
                  <a:lnTo>
                    <a:pt x="280" y="349"/>
                  </a:lnTo>
                  <a:close/>
                  <a:moveTo>
                    <a:pt x="270" y="349"/>
                  </a:moveTo>
                  <a:lnTo>
                    <a:pt x="268" y="349"/>
                  </a:lnTo>
                  <a:lnTo>
                    <a:pt x="270" y="349"/>
                  </a:lnTo>
                  <a:lnTo>
                    <a:pt x="268" y="349"/>
                  </a:lnTo>
                  <a:lnTo>
                    <a:pt x="270" y="349"/>
                  </a:lnTo>
                  <a:close/>
                  <a:moveTo>
                    <a:pt x="256" y="349"/>
                  </a:moveTo>
                  <a:lnTo>
                    <a:pt x="254" y="349"/>
                  </a:lnTo>
                  <a:lnTo>
                    <a:pt x="256" y="349"/>
                  </a:lnTo>
                  <a:close/>
                  <a:moveTo>
                    <a:pt x="256" y="347"/>
                  </a:moveTo>
                  <a:lnTo>
                    <a:pt x="256" y="349"/>
                  </a:lnTo>
                  <a:lnTo>
                    <a:pt x="256" y="347"/>
                  </a:lnTo>
                  <a:close/>
                  <a:moveTo>
                    <a:pt x="273" y="347"/>
                  </a:moveTo>
                  <a:lnTo>
                    <a:pt x="273" y="349"/>
                  </a:lnTo>
                  <a:lnTo>
                    <a:pt x="273" y="347"/>
                  </a:lnTo>
                  <a:lnTo>
                    <a:pt x="273" y="349"/>
                  </a:lnTo>
                  <a:lnTo>
                    <a:pt x="273" y="347"/>
                  </a:lnTo>
                  <a:lnTo>
                    <a:pt x="273" y="349"/>
                  </a:lnTo>
                  <a:lnTo>
                    <a:pt x="273" y="347"/>
                  </a:lnTo>
                  <a:close/>
                  <a:moveTo>
                    <a:pt x="266" y="347"/>
                  </a:moveTo>
                  <a:lnTo>
                    <a:pt x="266" y="349"/>
                  </a:lnTo>
                  <a:lnTo>
                    <a:pt x="266" y="347"/>
                  </a:lnTo>
                  <a:lnTo>
                    <a:pt x="266" y="349"/>
                  </a:lnTo>
                  <a:lnTo>
                    <a:pt x="266" y="347"/>
                  </a:lnTo>
                  <a:close/>
                  <a:moveTo>
                    <a:pt x="263" y="347"/>
                  </a:moveTo>
                  <a:lnTo>
                    <a:pt x="263" y="349"/>
                  </a:lnTo>
                  <a:lnTo>
                    <a:pt x="261" y="349"/>
                  </a:lnTo>
                  <a:lnTo>
                    <a:pt x="263" y="349"/>
                  </a:lnTo>
                  <a:lnTo>
                    <a:pt x="263" y="347"/>
                  </a:lnTo>
                  <a:lnTo>
                    <a:pt x="261" y="349"/>
                  </a:lnTo>
                  <a:lnTo>
                    <a:pt x="261" y="352"/>
                  </a:lnTo>
                  <a:lnTo>
                    <a:pt x="261" y="349"/>
                  </a:lnTo>
                  <a:lnTo>
                    <a:pt x="261" y="352"/>
                  </a:lnTo>
                  <a:lnTo>
                    <a:pt x="258" y="349"/>
                  </a:lnTo>
                  <a:lnTo>
                    <a:pt x="261" y="349"/>
                  </a:lnTo>
                  <a:lnTo>
                    <a:pt x="261" y="347"/>
                  </a:lnTo>
                  <a:lnTo>
                    <a:pt x="263" y="347"/>
                  </a:lnTo>
                  <a:close/>
                  <a:moveTo>
                    <a:pt x="258" y="347"/>
                  </a:moveTo>
                  <a:lnTo>
                    <a:pt x="256" y="347"/>
                  </a:lnTo>
                  <a:lnTo>
                    <a:pt x="258" y="347"/>
                  </a:lnTo>
                  <a:close/>
                  <a:moveTo>
                    <a:pt x="258" y="347"/>
                  </a:moveTo>
                  <a:lnTo>
                    <a:pt x="261" y="347"/>
                  </a:lnTo>
                  <a:lnTo>
                    <a:pt x="258" y="347"/>
                  </a:lnTo>
                  <a:lnTo>
                    <a:pt x="261" y="347"/>
                  </a:lnTo>
                  <a:lnTo>
                    <a:pt x="258" y="347"/>
                  </a:lnTo>
                  <a:close/>
                  <a:moveTo>
                    <a:pt x="268" y="347"/>
                  </a:moveTo>
                  <a:lnTo>
                    <a:pt x="270" y="347"/>
                  </a:lnTo>
                  <a:lnTo>
                    <a:pt x="268" y="347"/>
                  </a:lnTo>
                  <a:lnTo>
                    <a:pt x="270" y="347"/>
                  </a:lnTo>
                  <a:lnTo>
                    <a:pt x="268" y="347"/>
                  </a:lnTo>
                  <a:close/>
                  <a:moveTo>
                    <a:pt x="263" y="347"/>
                  </a:moveTo>
                  <a:lnTo>
                    <a:pt x="261" y="347"/>
                  </a:lnTo>
                  <a:lnTo>
                    <a:pt x="261" y="349"/>
                  </a:lnTo>
                  <a:lnTo>
                    <a:pt x="258" y="349"/>
                  </a:lnTo>
                  <a:lnTo>
                    <a:pt x="258" y="352"/>
                  </a:lnTo>
                  <a:lnTo>
                    <a:pt x="256" y="352"/>
                  </a:lnTo>
                  <a:lnTo>
                    <a:pt x="256" y="349"/>
                  </a:lnTo>
                  <a:lnTo>
                    <a:pt x="258" y="349"/>
                  </a:lnTo>
                  <a:lnTo>
                    <a:pt x="261" y="347"/>
                  </a:lnTo>
                  <a:lnTo>
                    <a:pt x="263" y="347"/>
                  </a:lnTo>
                  <a:close/>
                  <a:moveTo>
                    <a:pt x="258" y="347"/>
                  </a:moveTo>
                  <a:lnTo>
                    <a:pt x="256" y="347"/>
                  </a:lnTo>
                  <a:lnTo>
                    <a:pt x="258" y="347"/>
                  </a:lnTo>
                  <a:close/>
                  <a:moveTo>
                    <a:pt x="263" y="347"/>
                  </a:moveTo>
                  <a:lnTo>
                    <a:pt x="261" y="347"/>
                  </a:lnTo>
                  <a:lnTo>
                    <a:pt x="263" y="347"/>
                  </a:lnTo>
                  <a:close/>
                  <a:moveTo>
                    <a:pt x="270" y="347"/>
                  </a:moveTo>
                  <a:lnTo>
                    <a:pt x="270" y="345"/>
                  </a:lnTo>
                  <a:lnTo>
                    <a:pt x="270" y="347"/>
                  </a:lnTo>
                  <a:close/>
                  <a:moveTo>
                    <a:pt x="270" y="345"/>
                  </a:moveTo>
                  <a:lnTo>
                    <a:pt x="270" y="347"/>
                  </a:lnTo>
                  <a:lnTo>
                    <a:pt x="270" y="345"/>
                  </a:lnTo>
                  <a:close/>
                  <a:moveTo>
                    <a:pt x="270" y="345"/>
                  </a:moveTo>
                  <a:lnTo>
                    <a:pt x="268" y="345"/>
                  </a:lnTo>
                  <a:lnTo>
                    <a:pt x="270" y="345"/>
                  </a:lnTo>
                  <a:close/>
                  <a:moveTo>
                    <a:pt x="268" y="345"/>
                  </a:moveTo>
                  <a:lnTo>
                    <a:pt x="270" y="345"/>
                  </a:lnTo>
                  <a:lnTo>
                    <a:pt x="268" y="345"/>
                  </a:lnTo>
                  <a:close/>
                  <a:moveTo>
                    <a:pt x="263" y="345"/>
                  </a:moveTo>
                  <a:lnTo>
                    <a:pt x="261" y="345"/>
                  </a:lnTo>
                  <a:lnTo>
                    <a:pt x="263" y="345"/>
                  </a:lnTo>
                  <a:close/>
                  <a:moveTo>
                    <a:pt x="273" y="345"/>
                  </a:moveTo>
                  <a:lnTo>
                    <a:pt x="275" y="345"/>
                  </a:lnTo>
                  <a:lnTo>
                    <a:pt x="273" y="345"/>
                  </a:lnTo>
                  <a:lnTo>
                    <a:pt x="275" y="345"/>
                  </a:lnTo>
                  <a:lnTo>
                    <a:pt x="273" y="345"/>
                  </a:lnTo>
                  <a:close/>
                  <a:moveTo>
                    <a:pt x="275" y="342"/>
                  </a:moveTo>
                  <a:lnTo>
                    <a:pt x="277" y="342"/>
                  </a:lnTo>
                  <a:lnTo>
                    <a:pt x="275" y="342"/>
                  </a:lnTo>
                  <a:close/>
                  <a:moveTo>
                    <a:pt x="268" y="342"/>
                  </a:moveTo>
                  <a:lnTo>
                    <a:pt x="270" y="342"/>
                  </a:lnTo>
                  <a:lnTo>
                    <a:pt x="268" y="342"/>
                  </a:lnTo>
                  <a:lnTo>
                    <a:pt x="270" y="342"/>
                  </a:lnTo>
                  <a:lnTo>
                    <a:pt x="268" y="342"/>
                  </a:lnTo>
                  <a:close/>
                  <a:moveTo>
                    <a:pt x="270" y="340"/>
                  </a:moveTo>
                  <a:lnTo>
                    <a:pt x="270" y="342"/>
                  </a:lnTo>
                  <a:lnTo>
                    <a:pt x="270" y="340"/>
                  </a:lnTo>
                  <a:close/>
                  <a:moveTo>
                    <a:pt x="270" y="340"/>
                  </a:moveTo>
                  <a:lnTo>
                    <a:pt x="270" y="342"/>
                  </a:lnTo>
                  <a:lnTo>
                    <a:pt x="270" y="340"/>
                  </a:lnTo>
                  <a:close/>
                  <a:moveTo>
                    <a:pt x="268" y="340"/>
                  </a:moveTo>
                  <a:lnTo>
                    <a:pt x="270" y="340"/>
                  </a:lnTo>
                  <a:lnTo>
                    <a:pt x="268" y="340"/>
                  </a:lnTo>
                  <a:close/>
                  <a:moveTo>
                    <a:pt x="270" y="340"/>
                  </a:moveTo>
                  <a:lnTo>
                    <a:pt x="270" y="342"/>
                  </a:lnTo>
                  <a:lnTo>
                    <a:pt x="270" y="340"/>
                  </a:lnTo>
                  <a:lnTo>
                    <a:pt x="268" y="340"/>
                  </a:lnTo>
                  <a:lnTo>
                    <a:pt x="270" y="340"/>
                  </a:lnTo>
                  <a:close/>
                  <a:moveTo>
                    <a:pt x="273" y="340"/>
                  </a:moveTo>
                  <a:lnTo>
                    <a:pt x="270" y="340"/>
                  </a:lnTo>
                  <a:lnTo>
                    <a:pt x="273" y="340"/>
                  </a:lnTo>
                  <a:close/>
                  <a:moveTo>
                    <a:pt x="268" y="340"/>
                  </a:moveTo>
                  <a:lnTo>
                    <a:pt x="266" y="340"/>
                  </a:lnTo>
                  <a:lnTo>
                    <a:pt x="268" y="340"/>
                  </a:lnTo>
                  <a:close/>
                  <a:moveTo>
                    <a:pt x="270" y="338"/>
                  </a:moveTo>
                  <a:lnTo>
                    <a:pt x="270" y="340"/>
                  </a:lnTo>
                  <a:lnTo>
                    <a:pt x="268" y="340"/>
                  </a:lnTo>
                  <a:lnTo>
                    <a:pt x="270" y="340"/>
                  </a:lnTo>
                  <a:lnTo>
                    <a:pt x="268" y="340"/>
                  </a:lnTo>
                  <a:lnTo>
                    <a:pt x="268" y="338"/>
                  </a:lnTo>
                  <a:lnTo>
                    <a:pt x="270" y="338"/>
                  </a:lnTo>
                  <a:close/>
                  <a:moveTo>
                    <a:pt x="270" y="338"/>
                  </a:moveTo>
                  <a:lnTo>
                    <a:pt x="268" y="338"/>
                  </a:lnTo>
                  <a:lnTo>
                    <a:pt x="270" y="338"/>
                  </a:lnTo>
                  <a:close/>
                  <a:moveTo>
                    <a:pt x="263" y="335"/>
                  </a:moveTo>
                  <a:lnTo>
                    <a:pt x="263" y="338"/>
                  </a:lnTo>
                  <a:lnTo>
                    <a:pt x="266" y="338"/>
                  </a:lnTo>
                  <a:lnTo>
                    <a:pt x="263" y="338"/>
                  </a:lnTo>
                  <a:lnTo>
                    <a:pt x="263" y="340"/>
                  </a:lnTo>
                  <a:lnTo>
                    <a:pt x="266" y="340"/>
                  </a:lnTo>
                  <a:lnTo>
                    <a:pt x="263" y="340"/>
                  </a:lnTo>
                  <a:lnTo>
                    <a:pt x="266" y="340"/>
                  </a:lnTo>
                  <a:lnTo>
                    <a:pt x="263" y="340"/>
                  </a:lnTo>
                  <a:lnTo>
                    <a:pt x="261" y="340"/>
                  </a:lnTo>
                  <a:lnTo>
                    <a:pt x="263" y="340"/>
                  </a:lnTo>
                  <a:lnTo>
                    <a:pt x="261" y="340"/>
                  </a:lnTo>
                  <a:lnTo>
                    <a:pt x="263" y="340"/>
                  </a:lnTo>
                  <a:lnTo>
                    <a:pt x="261" y="340"/>
                  </a:lnTo>
                  <a:lnTo>
                    <a:pt x="261" y="338"/>
                  </a:lnTo>
                  <a:lnTo>
                    <a:pt x="263" y="338"/>
                  </a:lnTo>
                  <a:lnTo>
                    <a:pt x="263" y="335"/>
                  </a:lnTo>
                  <a:close/>
                  <a:moveTo>
                    <a:pt x="270" y="335"/>
                  </a:moveTo>
                  <a:lnTo>
                    <a:pt x="268" y="338"/>
                  </a:lnTo>
                  <a:lnTo>
                    <a:pt x="268" y="335"/>
                  </a:lnTo>
                  <a:lnTo>
                    <a:pt x="270" y="335"/>
                  </a:lnTo>
                  <a:close/>
                  <a:moveTo>
                    <a:pt x="258" y="321"/>
                  </a:moveTo>
                  <a:lnTo>
                    <a:pt x="256" y="321"/>
                  </a:lnTo>
                  <a:lnTo>
                    <a:pt x="258" y="321"/>
                  </a:lnTo>
                  <a:close/>
                  <a:moveTo>
                    <a:pt x="254" y="321"/>
                  </a:moveTo>
                  <a:lnTo>
                    <a:pt x="251" y="321"/>
                  </a:lnTo>
                  <a:lnTo>
                    <a:pt x="254" y="321"/>
                  </a:lnTo>
                  <a:close/>
                  <a:moveTo>
                    <a:pt x="251" y="321"/>
                  </a:moveTo>
                  <a:lnTo>
                    <a:pt x="249" y="321"/>
                  </a:lnTo>
                  <a:lnTo>
                    <a:pt x="251" y="321"/>
                  </a:lnTo>
                  <a:lnTo>
                    <a:pt x="249" y="321"/>
                  </a:lnTo>
                  <a:lnTo>
                    <a:pt x="251" y="321"/>
                  </a:lnTo>
                  <a:close/>
                  <a:moveTo>
                    <a:pt x="249" y="319"/>
                  </a:moveTo>
                  <a:lnTo>
                    <a:pt x="249" y="321"/>
                  </a:lnTo>
                  <a:lnTo>
                    <a:pt x="249" y="319"/>
                  </a:lnTo>
                  <a:close/>
                  <a:moveTo>
                    <a:pt x="254" y="319"/>
                  </a:moveTo>
                  <a:lnTo>
                    <a:pt x="251" y="319"/>
                  </a:lnTo>
                  <a:lnTo>
                    <a:pt x="254" y="319"/>
                  </a:lnTo>
                  <a:lnTo>
                    <a:pt x="251" y="319"/>
                  </a:lnTo>
                  <a:lnTo>
                    <a:pt x="254" y="319"/>
                  </a:lnTo>
                  <a:close/>
                  <a:moveTo>
                    <a:pt x="249" y="319"/>
                  </a:moveTo>
                  <a:lnTo>
                    <a:pt x="247" y="319"/>
                  </a:lnTo>
                  <a:lnTo>
                    <a:pt x="249" y="319"/>
                  </a:lnTo>
                  <a:close/>
                  <a:moveTo>
                    <a:pt x="258" y="319"/>
                  </a:moveTo>
                  <a:lnTo>
                    <a:pt x="256" y="319"/>
                  </a:lnTo>
                  <a:lnTo>
                    <a:pt x="258" y="319"/>
                  </a:lnTo>
                  <a:close/>
                  <a:moveTo>
                    <a:pt x="251" y="316"/>
                  </a:moveTo>
                  <a:lnTo>
                    <a:pt x="251" y="319"/>
                  </a:lnTo>
                  <a:lnTo>
                    <a:pt x="249" y="319"/>
                  </a:lnTo>
                  <a:lnTo>
                    <a:pt x="249" y="316"/>
                  </a:lnTo>
                  <a:lnTo>
                    <a:pt x="251" y="316"/>
                  </a:lnTo>
                  <a:close/>
                  <a:moveTo>
                    <a:pt x="256" y="316"/>
                  </a:moveTo>
                  <a:lnTo>
                    <a:pt x="256" y="319"/>
                  </a:lnTo>
                  <a:lnTo>
                    <a:pt x="258" y="319"/>
                  </a:lnTo>
                  <a:lnTo>
                    <a:pt x="256" y="319"/>
                  </a:lnTo>
                  <a:lnTo>
                    <a:pt x="258" y="319"/>
                  </a:lnTo>
                  <a:lnTo>
                    <a:pt x="258" y="321"/>
                  </a:lnTo>
                  <a:lnTo>
                    <a:pt x="258" y="319"/>
                  </a:lnTo>
                  <a:lnTo>
                    <a:pt x="258" y="321"/>
                  </a:lnTo>
                  <a:lnTo>
                    <a:pt x="256" y="321"/>
                  </a:lnTo>
                  <a:lnTo>
                    <a:pt x="258" y="321"/>
                  </a:lnTo>
                  <a:lnTo>
                    <a:pt x="256" y="321"/>
                  </a:lnTo>
                  <a:lnTo>
                    <a:pt x="256" y="319"/>
                  </a:lnTo>
                  <a:lnTo>
                    <a:pt x="254" y="319"/>
                  </a:lnTo>
                  <a:lnTo>
                    <a:pt x="254" y="316"/>
                  </a:lnTo>
                  <a:lnTo>
                    <a:pt x="256" y="316"/>
                  </a:lnTo>
                  <a:lnTo>
                    <a:pt x="254" y="316"/>
                  </a:lnTo>
                  <a:lnTo>
                    <a:pt x="256" y="316"/>
                  </a:lnTo>
                  <a:close/>
                  <a:moveTo>
                    <a:pt x="254" y="316"/>
                  </a:moveTo>
                  <a:lnTo>
                    <a:pt x="256" y="316"/>
                  </a:lnTo>
                  <a:lnTo>
                    <a:pt x="254" y="316"/>
                  </a:lnTo>
                  <a:lnTo>
                    <a:pt x="256" y="316"/>
                  </a:lnTo>
                  <a:lnTo>
                    <a:pt x="254" y="316"/>
                  </a:lnTo>
                  <a:close/>
                  <a:moveTo>
                    <a:pt x="251" y="316"/>
                  </a:moveTo>
                  <a:lnTo>
                    <a:pt x="254" y="316"/>
                  </a:lnTo>
                  <a:lnTo>
                    <a:pt x="254" y="319"/>
                  </a:lnTo>
                  <a:lnTo>
                    <a:pt x="254" y="316"/>
                  </a:lnTo>
                  <a:lnTo>
                    <a:pt x="251" y="316"/>
                  </a:lnTo>
                  <a:close/>
                  <a:moveTo>
                    <a:pt x="258" y="314"/>
                  </a:moveTo>
                  <a:lnTo>
                    <a:pt x="258" y="316"/>
                  </a:lnTo>
                  <a:lnTo>
                    <a:pt x="258" y="314"/>
                  </a:lnTo>
                  <a:close/>
                  <a:moveTo>
                    <a:pt x="254" y="314"/>
                  </a:moveTo>
                  <a:lnTo>
                    <a:pt x="254" y="316"/>
                  </a:lnTo>
                  <a:lnTo>
                    <a:pt x="254" y="314"/>
                  </a:lnTo>
                  <a:close/>
                  <a:moveTo>
                    <a:pt x="254" y="314"/>
                  </a:moveTo>
                  <a:lnTo>
                    <a:pt x="254" y="316"/>
                  </a:lnTo>
                  <a:lnTo>
                    <a:pt x="254" y="314"/>
                  </a:lnTo>
                  <a:close/>
                  <a:moveTo>
                    <a:pt x="249" y="314"/>
                  </a:moveTo>
                  <a:lnTo>
                    <a:pt x="251" y="314"/>
                  </a:lnTo>
                  <a:lnTo>
                    <a:pt x="249" y="314"/>
                  </a:lnTo>
                  <a:close/>
                  <a:moveTo>
                    <a:pt x="251" y="314"/>
                  </a:moveTo>
                  <a:lnTo>
                    <a:pt x="254" y="314"/>
                  </a:lnTo>
                  <a:lnTo>
                    <a:pt x="251" y="314"/>
                  </a:lnTo>
                  <a:lnTo>
                    <a:pt x="254" y="314"/>
                  </a:lnTo>
                  <a:lnTo>
                    <a:pt x="251" y="314"/>
                  </a:lnTo>
                  <a:close/>
                  <a:moveTo>
                    <a:pt x="251" y="314"/>
                  </a:moveTo>
                  <a:lnTo>
                    <a:pt x="249" y="314"/>
                  </a:lnTo>
                  <a:lnTo>
                    <a:pt x="251" y="314"/>
                  </a:lnTo>
                  <a:close/>
                  <a:moveTo>
                    <a:pt x="251" y="314"/>
                  </a:moveTo>
                  <a:lnTo>
                    <a:pt x="251" y="311"/>
                  </a:lnTo>
                  <a:lnTo>
                    <a:pt x="251" y="314"/>
                  </a:lnTo>
                  <a:lnTo>
                    <a:pt x="251" y="311"/>
                  </a:lnTo>
                  <a:lnTo>
                    <a:pt x="251" y="314"/>
                  </a:lnTo>
                  <a:close/>
                  <a:moveTo>
                    <a:pt x="254" y="311"/>
                  </a:moveTo>
                  <a:lnTo>
                    <a:pt x="254" y="314"/>
                  </a:lnTo>
                  <a:lnTo>
                    <a:pt x="254" y="311"/>
                  </a:lnTo>
                  <a:lnTo>
                    <a:pt x="254" y="314"/>
                  </a:lnTo>
                  <a:lnTo>
                    <a:pt x="254" y="311"/>
                  </a:lnTo>
                  <a:lnTo>
                    <a:pt x="254" y="314"/>
                  </a:lnTo>
                  <a:lnTo>
                    <a:pt x="254" y="311"/>
                  </a:lnTo>
                  <a:close/>
                  <a:moveTo>
                    <a:pt x="251" y="311"/>
                  </a:moveTo>
                  <a:lnTo>
                    <a:pt x="251" y="314"/>
                  </a:lnTo>
                  <a:lnTo>
                    <a:pt x="251" y="311"/>
                  </a:lnTo>
                  <a:lnTo>
                    <a:pt x="251" y="314"/>
                  </a:lnTo>
                  <a:lnTo>
                    <a:pt x="254" y="314"/>
                  </a:lnTo>
                  <a:lnTo>
                    <a:pt x="251" y="314"/>
                  </a:lnTo>
                  <a:lnTo>
                    <a:pt x="251" y="311"/>
                  </a:lnTo>
                  <a:close/>
                  <a:moveTo>
                    <a:pt x="249" y="314"/>
                  </a:moveTo>
                  <a:lnTo>
                    <a:pt x="249" y="311"/>
                  </a:lnTo>
                  <a:lnTo>
                    <a:pt x="249" y="314"/>
                  </a:lnTo>
                  <a:close/>
                  <a:moveTo>
                    <a:pt x="254" y="311"/>
                  </a:moveTo>
                  <a:lnTo>
                    <a:pt x="251" y="311"/>
                  </a:lnTo>
                  <a:lnTo>
                    <a:pt x="254" y="311"/>
                  </a:lnTo>
                  <a:close/>
                  <a:moveTo>
                    <a:pt x="254" y="309"/>
                  </a:moveTo>
                  <a:lnTo>
                    <a:pt x="251" y="309"/>
                  </a:lnTo>
                  <a:lnTo>
                    <a:pt x="254" y="309"/>
                  </a:lnTo>
                  <a:close/>
                  <a:moveTo>
                    <a:pt x="247" y="304"/>
                  </a:moveTo>
                  <a:lnTo>
                    <a:pt x="249" y="304"/>
                  </a:lnTo>
                  <a:lnTo>
                    <a:pt x="247" y="304"/>
                  </a:lnTo>
                  <a:lnTo>
                    <a:pt x="249" y="304"/>
                  </a:lnTo>
                  <a:lnTo>
                    <a:pt x="247" y="304"/>
                  </a:lnTo>
                  <a:lnTo>
                    <a:pt x="249" y="304"/>
                  </a:lnTo>
                  <a:lnTo>
                    <a:pt x="247" y="304"/>
                  </a:lnTo>
                  <a:close/>
                  <a:moveTo>
                    <a:pt x="249" y="304"/>
                  </a:moveTo>
                  <a:lnTo>
                    <a:pt x="249" y="302"/>
                  </a:lnTo>
                  <a:lnTo>
                    <a:pt x="249" y="304"/>
                  </a:lnTo>
                  <a:lnTo>
                    <a:pt x="249" y="302"/>
                  </a:lnTo>
                  <a:lnTo>
                    <a:pt x="249" y="304"/>
                  </a:lnTo>
                  <a:close/>
                  <a:moveTo>
                    <a:pt x="247" y="302"/>
                  </a:moveTo>
                  <a:lnTo>
                    <a:pt x="247" y="304"/>
                  </a:lnTo>
                  <a:lnTo>
                    <a:pt x="247" y="302"/>
                  </a:lnTo>
                  <a:lnTo>
                    <a:pt x="247" y="304"/>
                  </a:lnTo>
                  <a:lnTo>
                    <a:pt x="247" y="302"/>
                  </a:lnTo>
                  <a:close/>
                  <a:moveTo>
                    <a:pt x="244" y="302"/>
                  </a:moveTo>
                  <a:lnTo>
                    <a:pt x="247" y="302"/>
                  </a:lnTo>
                  <a:lnTo>
                    <a:pt x="244" y="302"/>
                  </a:lnTo>
                  <a:lnTo>
                    <a:pt x="247" y="302"/>
                  </a:lnTo>
                  <a:lnTo>
                    <a:pt x="247" y="304"/>
                  </a:lnTo>
                  <a:lnTo>
                    <a:pt x="247" y="307"/>
                  </a:lnTo>
                  <a:lnTo>
                    <a:pt x="247" y="309"/>
                  </a:lnTo>
                  <a:lnTo>
                    <a:pt x="249" y="309"/>
                  </a:lnTo>
                  <a:lnTo>
                    <a:pt x="247" y="309"/>
                  </a:lnTo>
                  <a:lnTo>
                    <a:pt x="249" y="309"/>
                  </a:lnTo>
                  <a:lnTo>
                    <a:pt x="251" y="309"/>
                  </a:lnTo>
                  <a:lnTo>
                    <a:pt x="249" y="309"/>
                  </a:lnTo>
                  <a:lnTo>
                    <a:pt x="251" y="309"/>
                  </a:lnTo>
                  <a:lnTo>
                    <a:pt x="249" y="309"/>
                  </a:lnTo>
                  <a:lnTo>
                    <a:pt x="251" y="309"/>
                  </a:lnTo>
                  <a:lnTo>
                    <a:pt x="249" y="309"/>
                  </a:lnTo>
                  <a:lnTo>
                    <a:pt x="251" y="309"/>
                  </a:lnTo>
                  <a:lnTo>
                    <a:pt x="251" y="311"/>
                  </a:lnTo>
                  <a:lnTo>
                    <a:pt x="251" y="309"/>
                  </a:lnTo>
                  <a:lnTo>
                    <a:pt x="251" y="311"/>
                  </a:lnTo>
                  <a:lnTo>
                    <a:pt x="249" y="311"/>
                  </a:lnTo>
                  <a:lnTo>
                    <a:pt x="251" y="311"/>
                  </a:lnTo>
                  <a:lnTo>
                    <a:pt x="249" y="314"/>
                  </a:lnTo>
                  <a:lnTo>
                    <a:pt x="249" y="311"/>
                  </a:lnTo>
                  <a:lnTo>
                    <a:pt x="247" y="311"/>
                  </a:lnTo>
                  <a:lnTo>
                    <a:pt x="249" y="311"/>
                  </a:lnTo>
                  <a:lnTo>
                    <a:pt x="247" y="311"/>
                  </a:lnTo>
                  <a:lnTo>
                    <a:pt x="247" y="309"/>
                  </a:lnTo>
                  <a:lnTo>
                    <a:pt x="244" y="309"/>
                  </a:lnTo>
                  <a:lnTo>
                    <a:pt x="247" y="309"/>
                  </a:lnTo>
                  <a:lnTo>
                    <a:pt x="244" y="309"/>
                  </a:lnTo>
                  <a:lnTo>
                    <a:pt x="244" y="307"/>
                  </a:lnTo>
                  <a:lnTo>
                    <a:pt x="244" y="304"/>
                  </a:lnTo>
                  <a:lnTo>
                    <a:pt x="244" y="302"/>
                  </a:lnTo>
                  <a:close/>
                  <a:moveTo>
                    <a:pt x="244" y="300"/>
                  </a:moveTo>
                  <a:lnTo>
                    <a:pt x="244" y="302"/>
                  </a:lnTo>
                  <a:lnTo>
                    <a:pt x="244" y="300"/>
                  </a:lnTo>
                  <a:close/>
                  <a:moveTo>
                    <a:pt x="230" y="297"/>
                  </a:moveTo>
                  <a:lnTo>
                    <a:pt x="230" y="295"/>
                  </a:lnTo>
                  <a:lnTo>
                    <a:pt x="230" y="297"/>
                  </a:lnTo>
                  <a:lnTo>
                    <a:pt x="230" y="295"/>
                  </a:lnTo>
                  <a:lnTo>
                    <a:pt x="230" y="297"/>
                  </a:lnTo>
                  <a:close/>
                  <a:moveTo>
                    <a:pt x="209" y="290"/>
                  </a:moveTo>
                  <a:lnTo>
                    <a:pt x="211" y="290"/>
                  </a:lnTo>
                  <a:lnTo>
                    <a:pt x="209" y="290"/>
                  </a:lnTo>
                  <a:close/>
                  <a:moveTo>
                    <a:pt x="216" y="290"/>
                  </a:moveTo>
                  <a:lnTo>
                    <a:pt x="218" y="290"/>
                  </a:lnTo>
                  <a:lnTo>
                    <a:pt x="216" y="290"/>
                  </a:lnTo>
                  <a:close/>
                  <a:moveTo>
                    <a:pt x="213" y="288"/>
                  </a:moveTo>
                  <a:lnTo>
                    <a:pt x="213" y="290"/>
                  </a:lnTo>
                  <a:lnTo>
                    <a:pt x="213" y="288"/>
                  </a:lnTo>
                  <a:close/>
                  <a:moveTo>
                    <a:pt x="206" y="285"/>
                  </a:moveTo>
                  <a:lnTo>
                    <a:pt x="209" y="285"/>
                  </a:lnTo>
                  <a:lnTo>
                    <a:pt x="206" y="285"/>
                  </a:lnTo>
                  <a:close/>
                  <a:moveTo>
                    <a:pt x="206" y="273"/>
                  </a:moveTo>
                  <a:lnTo>
                    <a:pt x="206" y="276"/>
                  </a:lnTo>
                  <a:lnTo>
                    <a:pt x="206" y="273"/>
                  </a:lnTo>
                  <a:close/>
                  <a:moveTo>
                    <a:pt x="209" y="271"/>
                  </a:moveTo>
                  <a:lnTo>
                    <a:pt x="206" y="271"/>
                  </a:lnTo>
                  <a:lnTo>
                    <a:pt x="209" y="271"/>
                  </a:lnTo>
                  <a:lnTo>
                    <a:pt x="206" y="271"/>
                  </a:lnTo>
                  <a:lnTo>
                    <a:pt x="209" y="271"/>
                  </a:lnTo>
                  <a:close/>
                  <a:moveTo>
                    <a:pt x="206" y="262"/>
                  </a:moveTo>
                  <a:lnTo>
                    <a:pt x="206" y="264"/>
                  </a:lnTo>
                  <a:lnTo>
                    <a:pt x="206" y="262"/>
                  </a:lnTo>
                  <a:close/>
                  <a:moveTo>
                    <a:pt x="209" y="262"/>
                  </a:moveTo>
                  <a:lnTo>
                    <a:pt x="206" y="262"/>
                  </a:lnTo>
                  <a:lnTo>
                    <a:pt x="209" y="262"/>
                  </a:lnTo>
                  <a:lnTo>
                    <a:pt x="206" y="262"/>
                  </a:lnTo>
                  <a:lnTo>
                    <a:pt x="209" y="262"/>
                  </a:lnTo>
                  <a:close/>
                  <a:moveTo>
                    <a:pt x="209" y="257"/>
                  </a:moveTo>
                  <a:lnTo>
                    <a:pt x="211" y="257"/>
                  </a:lnTo>
                  <a:lnTo>
                    <a:pt x="209" y="257"/>
                  </a:lnTo>
                  <a:close/>
                  <a:moveTo>
                    <a:pt x="206" y="254"/>
                  </a:moveTo>
                  <a:lnTo>
                    <a:pt x="206" y="257"/>
                  </a:lnTo>
                  <a:lnTo>
                    <a:pt x="206" y="254"/>
                  </a:lnTo>
                  <a:close/>
                  <a:moveTo>
                    <a:pt x="211" y="245"/>
                  </a:moveTo>
                  <a:lnTo>
                    <a:pt x="213" y="245"/>
                  </a:lnTo>
                  <a:lnTo>
                    <a:pt x="213" y="247"/>
                  </a:lnTo>
                  <a:lnTo>
                    <a:pt x="213" y="245"/>
                  </a:lnTo>
                  <a:lnTo>
                    <a:pt x="213" y="247"/>
                  </a:lnTo>
                  <a:lnTo>
                    <a:pt x="211" y="245"/>
                  </a:lnTo>
                  <a:lnTo>
                    <a:pt x="211" y="247"/>
                  </a:lnTo>
                  <a:lnTo>
                    <a:pt x="211" y="245"/>
                  </a:lnTo>
                  <a:lnTo>
                    <a:pt x="211" y="247"/>
                  </a:lnTo>
                  <a:lnTo>
                    <a:pt x="211" y="245"/>
                  </a:lnTo>
                  <a:close/>
                  <a:moveTo>
                    <a:pt x="211" y="245"/>
                  </a:moveTo>
                  <a:lnTo>
                    <a:pt x="209" y="245"/>
                  </a:lnTo>
                  <a:lnTo>
                    <a:pt x="211" y="245"/>
                  </a:lnTo>
                  <a:close/>
                  <a:moveTo>
                    <a:pt x="209" y="245"/>
                  </a:moveTo>
                  <a:lnTo>
                    <a:pt x="206" y="245"/>
                  </a:lnTo>
                  <a:lnTo>
                    <a:pt x="209" y="245"/>
                  </a:lnTo>
                  <a:lnTo>
                    <a:pt x="206" y="245"/>
                  </a:lnTo>
                  <a:lnTo>
                    <a:pt x="209" y="245"/>
                  </a:lnTo>
                  <a:close/>
                  <a:moveTo>
                    <a:pt x="204" y="245"/>
                  </a:moveTo>
                  <a:lnTo>
                    <a:pt x="206" y="245"/>
                  </a:lnTo>
                  <a:lnTo>
                    <a:pt x="204" y="245"/>
                  </a:lnTo>
                  <a:close/>
                  <a:moveTo>
                    <a:pt x="204" y="243"/>
                  </a:moveTo>
                  <a:lnTo>
                    <a:pt x="206" y="243"/>
                  </a:lnTo>
                  <a:lnTo>
                    <a:pt x="204" y="243"/>
                  </a:lnTo>
                  <a:lnTo>
                    <a:pt x="206" y="243"/>
                  </a:lnTo>
                  <a:lnTo>
                    <a:pt x="204" y="243"/>
                  </a:lnTo>
                  <a:close/>
                  <a:moveTo>
                    <a:pt x="211" y="240"/>
                  </a:moveTo>
                  <a:lnTo>
                    <a:pt x="211" y="243"/>
                  </a:lnTo>
                  <a:lnTo>
                    <a:pt x="211" y="240"/>
                  </a:lnTo>
                  <a:close/>
                  <a:moveTo>
                    <a:pt x="216" y="235"/>
                  </a:moveTo>
                  <a:lnTo>
                    <a:pt x="216" y="238"/>
                  </a:lnTo>
                  <a:lnTo>
                    <a:pt x="216" y="235"/>
                  </a:lnTo>
                  <a:close/>
                  <a:moveTo>
                    <a:pt x="216" y="224"/>
                  </a:moveTo>
                  <a:lnTo>
                    <a:pt x="213" y="224"/>
                  </a:lnTo>
                  <a:lnTo>
                    <a:pt x="216" y="224"/>
                  </a:lnTo>
                  <a:close/>
                  <a:moveTo>
                    <a:pt x="221" y="221"/>
                  </a:moveTo>
                  <a:lnTo>
                    <a:pt x="218" y="221"/>
                  </a:lnTo>
                  <a:lnTo>
                    <a:pt x="221" y="221"/>
                  </a:lnTo>
                  <a:close/>
                  <a:moveTo>
                    <a:pt x="223" y="209"/>
                  </a:moveTo>
                  <a:lnTo>
                    <a:pt x="223" y="212"/>
                  </a:lnTo>
                  <a:lnTo>
                    <a:pt x="221" y="212"/>
                  </a:lnTo>
                  <a:lnTo>
                    <a:pt x="221" y="209"/>
                  </a:lnTo>
                  <a:lnTo>
                    <a:pt x="223" y="209"/>
                  </a:lnTo>
                  <a:close/>
                  <a:moveTo>
                    <a:pt x="218" y="200"/>
                  </a:moveTo>
                  <a:lnTo>
                    <a:pt x="216" y="200"/>
                  </a:lnTo>
                  <a:lnTo>
                    <a:pt x="218" y="200"/>
                  </a:lnTo>
                  <a:close/>
                  <a:moveTo>
                    <a:pt x="216" y="197"/>
                  </a:moveTo>
                  <a:lnTo>
                    <a:pt x="218" y="197"/>
                  </a:lnTo>
                  <a:lnTo>
                    <a:pt x="216" y="197"/>
                  </a:lnTo>
                  <a:close/>
                  <a:moveTo>
                    <a:pt x="211" y="195"/>
                  </a:moveTo>
                  <a:lnTo>
                    <a:pt x="213" y="195"/>
                  </a:lnTo>
                  <a:lnTo>
                    <a:pt x="216" y="195"/>
                  </a:lnTo>
                  <a:lnTo>
                    <a:pt x="216" y="197"/>
                  </a:lnTo>
                  <a:lnTo>
                    <a:pt x="213" y="197"/>
                  </a:lnTo>
                  <a:lnTo>
                    <a:pt x="216" y="197"/>
                  </a:lnTo>
                  <a:lnTo>
                    <a:pt x="216" y="200"/>
                  </a:lnTo>
                  <a:lnTo>
                    <a:pt x="216" y="202"/>
                  </a:lnTo>
                  <a:lnTo>
                    <a:pt x="213" y="202"/>
                  </a:lnTo>
                  <a:lnTo>
                    <a:pt x="211" y="202"/>
                  </a:lnTo>
                  <a:lnTo>
                    <a:pt x="211" y="200"/>
                  </a:lnTo>
                  <a:lnTo>
                    <a:pt x="211" y="197"/>
                  </a:lnTo>
                  <a:lnTo>
                    <a:pt x="211" y="195"/>
                  </a:lnTo>
                  <a:close/>
                  <a:moveTo>
                    <a:pt x="235" y="186"/>
                  </a:moveTo>
                  <a:lnTo>
                    <a:pt x="232" y="186"/>
                  </a:lnTo>
                  <a:lnTo>
                    <a:pt x="235" y="186"/>
                  </a:lnTo>
                  <a:close/>
                  <a:moveTo>
                    <a:pt x="237" y="178"/>
                  </a:moveTo>
                  <a:lnTo>
                    <a:pt x="237" y="181"/>
                  </a:lnTo>
                  <a:lnTo>
                    <a:pt x="235" y="181"/>
                  </a:lnTo>
                  <a:lnTo>
                    <a:pt x="235" y="178"/>
                  </a:lnTo>
                  <a:lnTo>
                    <a:pt x="237" y="178"/>
                  </a:lnTo>
                  <a:close/>
                  <a:moveTo>
                    <a:pt x="237" y="181"/>
                  </a:moveTo>
                  <a:lnTo>
                    <a:pt x="239" y="178"/>
                  </a:lnTo>
                  <a:lnTo>
                    <a:pt x="239" y="181"/>
                  </a:lnTo>
                  <a:lnTo>
                    <a:pt x="237" y="181"/>
                  </a:lnTo>
                  <a:close/>
                  <a:moveTo>
                    <a:pt x="230" y="178"/>
                  </a:moveTo>
                  <a:lnTo>
                    <a:pt x="232" y="178"/>
                  </a:lnTo>
                  <a:lnTo>
                    <a:pt x="232" y="181"/>
                  </a:lnTo>
                  <a:lnTo>
                    <a:pt x="230" y="181"/>
                  </a:lnTo>
                  <a:lnTo>
                    <a:pt x="232" y="178"/>
                  </a:lnTo>
                  <a:lnTo>
                    <a:pt x="230" y="178"/>
                  </a:lnTo>
                  <a:close/>
                  <a:moveTo>
                    <a:pt x="247" y="174"/>
                  </a:moveTo>
                  <a:lnTo>
                    <a:pt x="244" y="174"/>
                  </a:lnTo>
                  <a:lnTo>
                    <a:pt x="247" y="174"/>
                  </a:lnTo>
                  <a:close/>
                  <a:moveTo>
                    <a:pt x="239" y="174"/>
                  </a:moveTo>
                  <a:lnTo>
                    <a:pt x="239" y="171"/>
                  </a:lnTo>
                  <a:lnTo>
                    <a:pt x="239" y="174"/>
                  </a:lnTo>
                  <a:close/>
                  <a:moveTo>
                    <a:pt x="228" y="171"/>
                  </a:moveTo>
                  <a:lnTo>
                    <a:pt x="228" y="174"/>
                  </a:lnTo>
                  <a:lnTo>
                    <a:pt x="228" y="171"/>
                  </a:lnTo>
                  <a:close/>
                  <a:moveTo>
                    <a:pt x="254" y="167"/>
                  </a:moveTo>
                  <a:lnTo>
                    <a:pt x="251" y="169"/>
                  </a:lnTo>
                  <a:lnTo>
                    <a:pt x="251" y="167"/>
                  </a:lnTo>
                  <a:lnTo>
                    <a:pt x="254" y="167"/>
                  </a:lnTo>
                  <a:close/>
                  <a:moveTo>
                    <a:pt x="249" y="164"/>
                  </a:moveTo>
                  <a:lnTo>
                    <a:pt x="251" y="164"/>
                  </a:lnTo>
                  <a:lnTo>
                    <a:pt x="249" y="164"/>
                  </a:lnTo>
                  <a:lnTo>
                    <a:pt x="249" y="167"/>
                  </a:lnTo>
                  <a:lnTo>
                    <a:pt x="247" y="164"/>
                  </a:lnTo>
                  <a:lnTo>
                    <a:pt x="249" y="164"/>
                  </a:lnTo>
                  <a:lnTo>
                    <a:pt x="247" y="164"/>
                  </a:lnTo>
                  <a:lnTo>
                    <a:pt x="249" y="164"/>
                  </a:lnTo>
                  <a:lnTo>
                    <a:pt x="247" y="164"/>
                  </a:lnTo>
                  <a:lnTo>
                    <a:pt x="249" y="164"/>
                  </a:lnTo>
                  <a:lnTo>
                    <a:pt x="249" y="162"/>
                  </a:lnTo>
                  <a:lnTo>
                    <a:pt x="249" y="164"/>
                  </a:lnTo>
                  <a:close/>
                  <a:moveTo>
                    <a:pt x="256" y="164"/>
                  </a:moveTo>
                  <a:lnTo>
                    <a:pt x="256" y="162"/>
                  </a:lnTo>
                  <a:lnTo>
                    <a:pt x="256" y="164"/>
                  </a:lnTo>
                  <a:close/>
                  <a:moveTo>
                    <a:pt x="254" y="162"/>
                  </a:moveTo>
                  <a:lnTo>
                    <a:pt x="254" y="164"/>
                  </a:lnTo>
                  <a:lnTo>
                    <a:pt x="254" y="167"/>
                  </a:lnTo>
                  <a:lnTo>
                    <a:pt x="251" y="167"/>
                  </a:lnTo>
                  <a:lnTo>
                    <a:pt x="251" y="164"/>
                  </a:lnTo>
                  <a:lnTo>
                    <a:pt x="254" y="164"/>
                  </a:lnTo>
                  <a:lnTo>
                    <a:pt x="251" y="164"/>
                  </a:lnTo>
                  <a:lnTo>
                    <a:pt x="254" y="164"/>
                  </a:lnTo>
                  <a:lnTo>
                    <a:pt x="254" y="162"/>
                  </a:lnTo>
                  <a:close/>
                  <a:moveTo>
                    <a:pt x="251" y="162"/>
                  </a:moveTo>
                  <a:lnTo>
                    <a:pt x="251" y="164"/>
                  </a:lnTo>
                  <a:lnTo>
                    <a:pt x="251" y="162"/>
                  </a:lnTo>
                  <a:close/>
                  <a:moveTo>
                    <a:pt x="256" y="162"/>
                  </a:moveTo>
                  <a:lnTo>
                    <a:pt x="256" y="164"/>
                  </a:lnTo>
                  <a:lnTo>
                    <a:pt x="256" y="162"/>
                  </a:lnTo>
                  <a:close/>
                  <a:moveTo>
                    <a:pt x="251" y="159"/>
                  </a:moveTo>
                  <a:lnTo>
                    <a:pt x="249" y="159"/>
                  </a:lnTo>
                  <a:lnTo>
                    <a:pt x="251" y="159"/>
                  </a:lnTo>
                  <a:lnTo>
                    <a:pt x="249" y="159"/>
                  </a:lnTo>
                  <a:lnTo>
                    <a:pt x="251" y="159"/>
                  </a:lnTo>
                  <a:close/>
                  <a:moveTo>
                    <a:pt x="254" y="159"/>
                  </a:moveTo>
                  <a:lnTo>
                    <a:pt x="251" y="159"/>
                  </a:lnTo>
                  <a:lnTo>
                    <a:pt x="254" y="159"/>
                  </a:lnTo>
                  <a:close/>
                  <a:moveTo>
                    <a:pt x="223" y="159"/>
                  </a:moveTo>
                  <a:lnTo>
                    <a:pt x="221" y="159"/>
                  </a:lnTo>
                  <a:lnTo>
                    <a:pt x="223" y="159"/>
                  </a:lnTo>
                  <a:close/>
                  <a:moveTo>
                    <a:pt x="258" y="159"/>
                  </a:moveTo>
                  <a:lnTo>
                    <a:pt x="256" y="159"/>
                  </a:lnTo>
                  <a:lnTo>
                    <a:pt x="258" y="159"/>
                  </a:lnTo>
                  <a:lnTo>
                    <a:pt x="256" y="159"/>
                  </a:lnTo>
                  <a:lnTo>
                    <a:pt x="258" y="159"/>
                  </a:lnTo>
                  <a:close/>
                  <a:moveTo>
                    <a:pt x="261" y="159"/>
                  </a:moveTo>
                  <a:lnTo>
                    <a:pt x="258" y="159"/>
                  </a:lnTo>
                  <a:lnTo>
                    <a:pt x="261" y="159"/>
                  </a:lnTo>
                  <a:close/>
                  <a:moveTo>
                    <a:pt x="254" y="159"/>
                  </a:moveTo>
                  <a:lnTo>
                    <a:pt x="254" y="157"/>
                  </a:lnTo>
                  <a:lnTo>
                    <a:pt x="254" y="159"/>
                  </a:lnTo>
                  <a:close/>
                  <a:moveTo>
                    <a:pt x="261" y="159"/>
                  </a:moveTo>
                  <a:lnTo>
                    <a:pt x="258" y="159"/>
                  </a:lnTo>
                  <a:lnTo>
                    <a:pt x="258" y="157"/>
                  </a:lnTo>
                  <a:lnTo>
                    <a:pt x="261" y="157"/>
                  </a:lnTo>
                  <a:lnTo>
                    <a:pt x="261" y="159"/>
                  </a:lnTo>
                  <a:close/>
                  <a:moveTo>
                    <a:pt x="261" y="157"/>
                  </a:moveTo>
                  <a:lnTo>
                    <a:pt x="258" y="157"/>
                  </a:lnTo>
                  <a:lnTo>
                    <a:pt x="261" y="157"/>
                  </a:lnTo>
                  <a:close/>
                  <a:moveTo>
                    <a:pt x="261" y="155"/>
                  </a:moveTo>
                  <a:lnTo>
                    <a:pt x="261" y="157"/>
                  </a:lnTo>
                  <a:lnTo>
                    <a:pt x="261" y="155"/>
                  </a:lnTo>
                  <a:close/>
                  <a:moveTo>
                    <a:pt x="263" y="155"/>
                  </a:moveTo>
                  <a:lnTo>
                    <a:pt x="261" y="155"/>
                  </a:lnTo>
                  <a:lnTo>
                    <a:pt x="263" y="155"/>
                  </a:lnTo>
                  <a:close/>
                  <a:moveTo>
                    <a:pt x="266" y="155"/>
                  </a:moveTo>
                  <a:lnTo>
                    <a:pt x="266" y="152"/>
                  </a:lnTo>
                  <a:lnTo>
                    <a:pt x="266" y="155"/>
                  </a:lnTo>
                  <a:close/>
                  <a:moveTo>
                    <a:pt x="261" y="152"/>
                  </a:moveTo>
                  <a:lnTo>
                    <a:pt x="258" y="152"/>
                  </a:lnTo>
                  <a:lnTo>
                    <a:pt x="261" y="152"/>
                  </a:lnTo>
                  <a:close/>
                  <a:moveTo>
                    <a:pt x="270" y="152"/>
                  </a:moveTo>
                  <a:lnTo>
                    <a:pt x="270" y="150"/>
                  </a:lnTo>
                  <a:lnTo>
                    <a:pt x="270" y="152"/>
                  </a:lnTo>
                  <a:close/>
                  <a:moveTo>
                    <a:pt x="277" y="143"/>
                  </a:moveTo>
                  <a:lnTo>
                    <a:pt x="277" y="140"/>
                  </a:lnTo>
                  <a:lnTo>
                    <a:pt x="277" y="143"/>
                  </a:lnTo>
                  <a:close/>
                  <a:moveTo>
                    <a:pt x="280" y="140"/>
                  </a:moveTo>
                  <a:lnTo>
                    <a:pt x="282" y="140"/>
                  </a:lnTo>
                  <a:lnTo>
                    <a:pt x="282" y="143"/>
                  </a:lnTo>
                  <a:lnTo>
                    <a:pt x="280" y="143"/>
                  </a:lnTo>
                  <a:lnTo>
                    <a:pt x="280" y="140"/>
                  </a:lnTo>
                  <a:close/>
                  <a:moveTo>
                    <a:pt x="292" y="140"/>
                  </a:moveTo>
                  <a:lnTo>
                    <a:pt x="289" y="140"/>
                  </a:lnTo>
                  <a:lnTo>
                    <a:pt x="292" y="140"/>
                  </a:lnTo>
                  <a:lnTo>
                    <a:pt x="289" y="140"/>
                  </a:lnTo>
                  <a:lnTo>
                    <a:pt x="292" y="140"/>
                  </a:lnTo>
                  <a:close/>
                  <a:moveTo>
                    <a:pt x="282" y="140"/>
                  </a:moveTo>
                  <a:lnTo>
                    <a:pt x="282" y="138"/>
                  </a:lnTo>
                  <a:lnTo>
                    <a:pt x="282" y="140"/>
                  </a:lnTo>
                  <a:close/>
                  <a:moveTo>
                    <a:pt x="294" y="140"/>
                  </a:moveTo>
                  <a:lnTo>
                    <a:pt x="294" y="138"/>
                  </a:lnTo>
                  <a:lnTo>
                    <a:pt x="294" y="140"/>
                  </a:lnTo>
                  <a:close/>
                  <a:moveTo>
                    <a:pt x="294" y="136"/>
                  </a:moveTo>
                  <a:lnTo>
                    <a:pt x="294" y="138"/>
                  </a:lnTo>
                  <a:lnTo>
                    <a:pt x="294" y="136"/>
                  </a:lnTo>
                  <a:lnTo>
                    <a:pt x="294" y="138"/>
                  </a:lnTo>
                  <a:lnTo>
                    <a:pt x="294" y="136"/>
                  </a:lnTo>
                  <a:close/>
                  <a:moveTo>
                    <a:pt x="294" y="136"/>
                  </a:moveTo>
                  <a:lnTo>
                    <a:pt x="294" y="133"/>
                  </a:lnTo>
                  <a:lnTo>
                    <a:pt x="294" y="136"/>
                  </a:lnTo>
                  <a:close/>
                  <a:moveTo>
                    <a:pt x="325" y="129"/>
                  </a:moveTo>
                  <a:lnTo>
                    <a:pt x="327" y="129"/>
                  </a:lnTo>
                  <a:lnTo>
                    <a:pt x="327" y="131"/>
                  </a:lnTo>
                  <a:lnTo>
                    <a:pt x="325" y="131"/>
                  </a:lnTo>
                  <a:lnTo>
                    <a:pt x="325" y="129"/>
                  </a:lnTo>
                  <a:close/>
                  <a:moveTo>
                    <a:pt x="308" y="129"/>
                  </a:moveTo>
                  <a:lnTo>
                    <a:pt x="308" y="126"/>
                  </a:lnTo>
                  <a:lnTo>
                    <a:pt x="308" y="129"/>
                  </a:lnTo>
                  <a:close/>
                  <a:moveTo>
                    <a:pt x="330" y="121"/>
                  </a:moveTo>
                  <a:lnTo>
                    <a:pt x="332" y="121"/>
                  </a:lnTo>
                  <a:lnTo>
                    <a:pt x="330" y="121"/>
                  </a:lnTo>
                  <a:close/>
                  <a:moveTo>
                    <a:pt x="320" y="121"/>
                  </a:moveTo>
                  <a:lnTo>
                    <a:pt x="320" y="124"/>
                  </a:lnTo>
                  <a:lnTo>
                    <a:pt x="320" y="121"/>
                  </a:lnTo>
                  <a:close/>
                  <a:moveTo>
                    <a:pt x="327" y="121"/>
                  </a:moveTo>
                  <a:lnTo>
                    <a:pt x="327" y="124"/>
                  </a:lnTo>
                  <a:lnTo>
                    <a:pt x="327" y="121"/>
                  </a:lnTo>
                  <a:lnTo>
                    <a:pt x="327" y="124"/>
                  </a:lnTo>
                  <a:lnTo>
                    <a:pt x="330" y="124"/>
                  </a:lnTo>
                  <a:lnTo>
                    <a:pt x="327" y="124"/>
                  </a:lnTo>
                  <a:lnTo>
                    <a:pt x="330" y="124"/>
                  </a:lnTo>
                  <a:lnTo>
                    <a:pt x="327" y="124"/>
                  </a:lnTo>
                  <a:lnTo>
                    <a:pt x="330" y="124"/>
                  </a:lnTo>
                  <a:lnTo>
                    <a:pt x="327" y="124"/>
                  </a:lnTo>
                  <a:lnTo>
                    <a:pt x="330" y="124"/>
                  </a:lnTo>
                  <a:lnTo>
                    <a:pt x="327" y="126"/>
                  </a:lnTo>
                  <a:lnTo>
                    <a:pt x="330" y="126"/>
                  </a:lnTo>
                  <a:lnTo>
                    <a:pt x="327" y="126"/>
                  </a:lnTo>
                  <a:lnTo>
                    <a:pt x="330" y="126"/>
                  </a:lnTo>
                  <a:lnTo>
                    <a:pt x="327" y="126"/>
                  </a:lnTo>
                  <a:lnTo>
                    <a:pt x="330" y="126"/>
                  </a:lnTo>
                  <a:lnTo>
                    <a:pt x="327" y="126"/>
                  </a:lnTo>
                  <a:lnTo>
                    <a:pt x="327" y="129"/>
                  </a:lnTo>
                  <a:lnTo>
                    <a:pt x="325" y="129"/>
                  </a:lnTo>
                  <a:lnTo>
                    <a:pt x="327" y="129"/>
                  </a:lnTo>
                  <a:lnTo>
                    <a:pt x="325" y="126"/>
                  </a:lnTo>
                  <a:lnTo>
                    <a:pt x="327" y="126"/>
                  </a:lnTo>
                  <a:lnTo>
                    <a:pt x="327" y="124"/>
                  </a:lnTo>
                  <a:lnTo>
                    <a:pt x="327" y="126"/>
                  </a:lnTo>
                  <a:lnTo>
                    <a:pt x="327" y="124"/>
                  </a:lnTo>
                  <a:lnTo>
                    <a:pt x="327" y="126"/>
                  </a:lnTo>
                  <a:lnTo>
                    <a:pt x="325" y="126"/>
                  </a:lnTo>
                  <a:lnTo>
                    <a:pt x="325" y="124"/>
                  </a:lnTo>
                  <a:lnTo>
                    <a:pt x="325" y="121"/>
                  </a:lnTo>
                  <a:lnTo>
                    <a:pt x="327" y="121"/>
                  </a:lnTo>
                  <a:close/>
                  <a:moveTo>
                    <a:pt x="339" y="74"/>
                  </a:moveTo>
                  <a:lnTo>
                    <a:pt x="339" y="72"/>
                  </a:lnTo>
                  <a:lnTo>
                    <a:pt x="339" y="74"/>
                  </a:lnTo>
                  <a:close/>
                  <a:moveTo>
                    <a:pt x="339" y="62"/>
                  </a:moveTo>
                  <a:lnTo>
                    <a:pt x="337" y="62"/>
                  </a:lnTo>
                  <a:lnTo>
                    <a:pt x="339" y="62"/>
                  </a:lnTo>
                  <a:lnTo>
                    <a:pt x="339" y="60"/>
                  </a:lnTo>
                  <a:lnTo>
                    <a:pt x="339" y="62"/>
                  </a:lnTo>
                  <a:close/>
                  <a:moveTo>
                    <a:pt x="342" y="60"/>
                  </a:moveTo>
                  <a:lnTo>
                    <a:pt x="342" y="57"/>
                  </a:lnTo>
                  <a:lnTo>
                    <a:pt x="342" y="60"/>
                  </a:lnTo>
                  <a:close/>
                  <a:moveTo>
                    <a:pt x="346" y="53"/>
                  </a:moveTo>
                  <a:lnTo>
                    <a:pt x="349" y="53"/>
                  </a:lnTo>
                  <a:lnTo>
                    <a:pt x="349" y="55"/>
                  </a:lnTo>
                  <a:lnTo>
                    <a:pt x="349" y="53"/>
                  </a:lnTo>
                  <a:lnTo>
                    <a:pt x="349" y="55"/>
                  </a:lnTo>
                  <a:lnTo>
                    <a:pt x="346" y="55"/>
                  </a:lnTo>
                  <a:lnTo>
                    <a:pt x="346" y="53"/>
                  </a:lnTo>
                  <a:close/>
                  <a:moveTo>
                    <a:pt x="349" y="53"/>
                  </a:moveTo>
                  <a:lnTo>
                    <a:pt x="349" y="55"/>
                  </a:lnTo>
                  <a:lnTo>
                    <a:pt x="349" y="53"/>
                  </a:lnTo>
                  <a:lnTo>
                    <a:pt x="349" y="55"/>
                  </a:lnTo>
                  <a:lnTo>
                    <a:pt x="349" y="53"/>
                  </a:lnTo>
                  <a:close/>
                  <a:moveTo>
                    <a:pt x="351" y="50"/>
                  </a:moveTo>
                  <a:lnTo>
                    <a:pt x="349" y="50"/>
                  </a:lnTo>
                  <a:lnTo>
                    <a:pt x="351" y="50"/>
                  </a:lnTo>
                  <a:close/>
                  <a:moveTo>
                    <a:pt x="356" y="48"/>
                  </a:moveTo>
                  <a:lnTo>
                    <a:pt x="353" y="48"/>
                  </a:lnTo>
                  <a:lnTo>
                    <a:pt x="356" y="48"/>
                  </a:lnTo>
                  <a:close/>
                  <a:moveTo>
                    <a:pt x="353" y="48"/>
                  </a:moveTo>
                  <a:lnTo>
                    <a:pt x="351" y="48"/>
                  </a:lnTo>
                  <a:lnTo>
                    <a:pt x="353" y="48"/>
                  </a:lnTo>
                  <a:lnTo>
                    <a:pt x="351" y="48"/>
                  </a:lnTo>
                  <a:lnTo>
                    <a:pt x="353" y="48"/>
                  </a:lnTo>
                  <a:close/>
                  <a:moveTo>
                    <a:pt x="361" y="45"/>
                  </a:moveTo>
                  <a:lnTo>
                    <a:pt x="363" y="45"/>
                  </a:lnTo>
                  <a:lnTo>
                    <a:pt x="361" y="45"/>
                  </a:lnTo>
                  <a:lnTo>
                    <a:pt x="358" y="45"/>
                  </a:lnTo>
                  <a:lnTo>
                    <a:pt x="358" y="43"/>
                  </a:lnTo>
                  <a:lnTo>
                    <a:pt x="358" y="45"/>
                  </a:lnTo>
                  <a:lnTo>
                    <a:pt x="361" y="45"/>
                  </a:lnTo>
                  <a:close/>
                  <a:moveTo>
                    <a:pt x="356" y="43"/>
                  </a:moveTo>
                  <a:lnTo>
                    <a:pt x="358" y="43"/>
                  </a:lnTo>
                  <a:lnTo>
                    <a:pt x="358" y="45"/>
                  </a:lnTo>
                  <a:lnTo>
                    <a:pt x="358" y="43"/>
                  </a:lnTo>
                  <a:lnTo>
                    <a:pt x="356" y="43"/>
                  </a:lnTo>
                  <a:close/>
                  <a:moveTo>
                    <a:pt x="356" y="41"/>
                  </a:moveTo>
                  <a:lnTo>
                    <a:pt x="358" y="41"/>
                  </a:lnTo>
                  <a:lnTo>
                    <a:pt x="358" y="43"/>
                  </a:lnTo>
                  <a:lnTo>
                    <a:pt x="358" y="41"/>
                  </a:lnTo>
                  <a:lnTo>
                    <a:pt x="358" y="43"/>
                  </a:lnTo>
                  <a:lnTo>
                    <a:pt x="358" y="41"/>
                  </a:lnTo>
                  <a:lnTo>
                    <a:pt x="356" y="41"/>
                  </a:lnTo>
                  <a:lnTo>
                    <a:pt x="356" y="38"/>
                  </a:lnTo>
                  <a:lnTo>
                    <a:pt x="356" y="41"/>
                  </a:lnTo>
                  <a:close/>
                  <a:moveTo>
                    <a:pt x="346" y="38"/>
                  </a:moveTo>
                  <a:lnTo>
                    <a:pt x="346" y="41"/>
                  </a:lnTo>
                  <a:lnTo>
                    <a:pt x="346" y="38"/>
                  </a:lnTo>
                  <a:close/>
                  <a:moveTo>
                    <a:pt x="375" y="38"/>
                  </a:moveTo>
                  <a:lnTo>
                    <a:pt x="377" y="38"/>
                  </a:lnTo>
                  <a:lnTo>
                    <a:pt x="375" y="38"/>
                  </a:lnTo>
                  <a:close/>
                  <a:moveTo>
                    <a:pt x="358" y="38"/>
                  </a:moveTo>
                  <a:lnTo>
                    <a:pt x="356" y="38"/>
                  </a:lnTo>
                  <a:lnTo>
                    <a:pt x="356" y="36"/>
                  </a:lnTo>
                  <a:lnTo>
                    <a:pt x="356" y="38"/>
                  </a:lnTo>
                  <a:lnTo>
                    <a:pt x="358" y="38"/>
                  </a:lnTo>
                  <a:close/>
                  <a:moveTo>
                    <a:pt x="361" y="36"/>
                  </a:moveTo>
                  <a:lnTo>
                    <a:pt x="358" y="36"/>
                  </a:lnTo>
                  <a:lnTo>
                    <a:pt x="361" y="36"/>
                  </a:lnTo>
                  <a:close/>
                  <a:moveTo>
                    <a:pt x="349" y="36"/>
                  </a:moveTo>
                  <a:lnTo>
                    <a:pt x="346" y="36"/>
                  </a:lnTo>
                  <a:lnTo>
                    <a:pt x="349" y="36"/>
                  </a:lnTo>
                  <a:lnTo>
                    <a:pt x="346" y="38"/>
                  </a:lnTo>
                  <a:lnTo>
                    <a:pt x="346" y="36"/>
                  </a:lnTo>
                  <a:lnTo>
                    <a:pt x="349" y="36"/>
                  </a:lnTo>
                  <a:close/>
                  <a:moveTo>
                    <a:pt x="349" y="36"/>
                  </a:moveTo>
                  <a:lnTo>
                    <a:pt x="346" y="36"/>
                  </a:lnTo>
                  <a:lnTo>
                    <a:pt x="346" y="34"/>
                  </a:lnTo>
                  <a:lnTo>
                    <a:pt x="349" y="36"/>
                  </a:lnTo>
                  <a:close/>
                  <a:moveTo>
                    <a:pt x="358" y="34"/>
                  </a:moveTo>
                  <a:lnTo>
                    <a:pt x="361" y="34"/>
                  </a:lnTo>
                  <a:lnTo>
                    <a:pt x="358" y="34"/>
                  </a:lnTo>
                  <a:close/>
                  <a:moveTo>
                    <a:pt x="379" y="36"/>
                  </a:moveTo>
                  <a:lnTo>
                    <a:pt x="379" y="34"/>
                  </a:lnTo>
                  <a:lnTo>
                    <a:pt x="377" y="34"/>
                  </a:lnTo>
                  <a:lnTo>
                    <a:pt x="379" y="34"/>
                  </a:lnTo>
                  <a:lnTo>
                    <a:pt x="379" y="36"/>
                  </a:lnTo>
                  <a:close/>
                  <a:moveTo>
                    <a:pt x="358" y="34"/>
                  </a:moveTo>
                  <a:lnTo>
                    <a:pt x="356" y="34"/>
                  </a:lnTo>
                  <a:lnTo>
                    <a:pt x="358" y="34"/>
                  </a:lnTo>
                  <a:close/>
                  <a:moveTo>
                    <a:pt x="377" y="34"/>
                  </a:moveTo>
                  <a:lnTo>
                    <a:pt x="377" y="36"/>
                  </a:lnTo>
                  <a:lnTo>
                    <a:pt x="379" y="36"/>
                  </a:lnTo>
                  <a:lnTo>
                    <a:pt x="377" y="36"/>
                  </a:lnTo>
                  <a:lnTo>
                    <a:pt x="377" y="34"/>
                  </a:lnTo>
                  <a:lnTo>
                    <a:pt x="375" y="34"/>
                  </a:lnTo>
                  <a:lnTo>
                    <a:pt x="377" y="34"/>
                  </a:lnTo>
                  <a:close/>
                  <a:moveTo>
                    <a:pt x="363" y="34"/>
                  </a:moveTo>
                  <a:lnTo>
                    <a:pt x="365" y="34"/>
                  </a:lnTo>
                  <a:lnTo>
                    <a:pt x="365" y="36"/>
                  </a:lnTo>
                  <a:lnTo>
                    <a:pt x="363" y="36"/>
                  </a:lnTo>
                  <a:lnTo>
                    <a:pt x="363" y="34"/>
                  </a:lnTo>
                  <a:close/>
                  <a:moveTo>
                    <a:pt x="353" y="34"/>
                  </a:moveTo>
                  <a:lnTo>
                    <a:pt x="356" y="34"/>
                  </a:lnTo>
                  <a:lnTo>
                    <a:pt x="356" y="36"/>
                  </a:lnTo>
                  <a:lnTo>
                    <a:pt x="358" y="36"/>
                  </a:lnTo>
                  <a:lnTo>
                    <a:pt x="356" y="36"/>
                  </a:lnTo>
                  <a:lnTo>
                    <a:pt x="356" y="34"/>
                  </a:lnTo>
                  <a:lnTo>
                    <a:pt x="353" y="34"/>
                  </a:lnTo>
                  <a:lnTo>
                    <a:pt x="351" y="34"/>
                  </a:lnTo>
                  <a:lnTo>
                    <a:pt x="353" y="34"/>
                  </a:lnTo>
                  <a:close/>
                  <a:moveTo>
                    <a:pt x="379" y="34"/>
                  </a:moveTo>
                  <a:lnTo>
                    <a:pt x="382" y="34"/>
                  </a:lnTo>
                  <a:lnTo>
                    <a:pt x="379" y="34"/>
                  </a:lnTo>
                  <a:lnTo>
                    <a:pt x="382" y="34"/>
                  </a:lnTo>
                  <a:lnTo>
                    <a:pt x="379" y="34"/>
                  </a:lnTo>
                  <a:close/>
                  <a:moveTo>
                    <a:pt x="368" y="31"/>
                  </a:moveTo>
                  <a:lnTo>
                    <a:pt x="368" y="34"/>
                  </a:lnTo>
                  <a:lnTo>
                    <a:pt x="368" y="31"/>
                  </a:lnTo>
                  <a:close/>
                  <a:moveTo>
                    <a:pt x="384" y="29"/>
                  </a:moveTo>
                  <a:lnTo>
                    <a:pt x="384" y="31"/>
                  </a:lnTo>
                  <a:lnTo>
                    <a:pt x="384" y="29"/>
                  </a:lnTo>
                  <a:close/>
                  <a:moveTo>
                    <a:pt x="377" y="31"/>
                  </a:moveTo>
                  <a:lnTo>
                    <a:pt x="375" y="31"/>
                  </a:lnTo>
                  <a:lnTo>
                    <a:pt x="372" y="31"/>
                  </a:lnTo>
                  <a:lnTo>
                    <a:pt x="372" y="29"/>
                  </a:lnTo>
                  <a:lnTo>
                    <a:pt x="375" y="31"/>
                  </a:lnTo>
                  <a:lnTo>
                    <a:pt x="375" y="29"/>
                  </a:lnTo>
                  <a:lnTo>
                    <a:pt x="377" y="29"/>
                  </a:lnTo>
                  <a:lnTo>
                    <a:pt x="377" y="31"/>
                  </a:lnTo>
                  <a:close/>
                  <a:moveTo>
                    <a:pt x="370" y="29"/>
                  </a:moveTo>
                  <a:lnTo>
                    <a:pt x="370" y="31"/>
                  </a:lnTo>
                  <a:lnTo>
                    <a:pt x="372" y="31"/>
                  </a:lnTo>
                  <a:lnTo>
                    <a:pt x="370" y="31"/>
                  </a:lnTo>
                  <a:lnTo>
                    <a:pt x="372" y="31"/>
                  </a:lnTo>
                  <a:lnTo>
                    <a:pt x="370" y="31"/>
                  </a:lnTo>
                  <a:lnTo>
                    <a:pt x="368" y="31"/>
                  </a:lnTo>
                  <a:lnTo>
                    <a:pt x="368" y="29"/>
                  </a:lnTo>
                  <a:lnTo>
                    <a:pt x="370" y="29"/>
                  </a:lnTo>
                  <a:close/>
                  <a:moveTo>
                    <a:pt x="389" y="29"/>
                  </a:moveTo>
                  <a:lnTo>
                    <a:pt x="387" y="29"/>
                  </a:lnTo>
                  <a:lnTo>
                    <a:pt x="389" y="29"/>
                  </a:lnTo>
                  <a:lnTo>
                    <a:pt x="387" y="29"/>
                  </a:lnTo>
                  <a:lnTo>
                    <a:pt x="389" y="29"/>
                  </a:lnTo>
                  <a:lnTo>
                    <a:pt x="387" y="29"/>
                  </a:lnTo>
                  <a:lnTo>
                    <a:pt x="389" y="29"/>
                  </a:lnTo>
                  <a:lnTo>
                    <a:pt x="387" y="29"/>
                  </a:lnTo>
                  <a:lnTo>
                    <a:pt x="389" y="29"/>
                  </a:lnTo>
                  <a:close/>
                  <a:moveTo>
                    <a:pt x="363" y="26"/>
                  </a:moveTo>
                  <a:lnTo>
                    <a:pt x="365" y="26"/>
                  </a:lnTo>
                  <a:lnTo>
                    <a:pt x="365" y="29"/>
                  </a:lnTo>
                  <a:lnTo>
                    <a:pt x="363" y="29"/>
                  </a:lnTo>
                  <a:lnTo>
                    <a:pt x="363" y="26"/>
                  </a:lnTo>
                  <a:close/>
                  <a:moveTo>
                    <a:pt x="382" y="26"/>
                  </a:moveTo>
                  <a:lnTo>
                    <a:pt x="382" y="29"/>
                  </a:lnTo>
                  <a:lnTo>
                    <a:pt x="379" y="29"/>
                  </a:lnTo>
                  <a:lnTo>
                    <a:pt x="379" y="26"/>
                  </a:lnTo>
                  <a:lnTo>
                    <a:pt x="382" y="26"/>
                  </a:lnTo>
                  <a:close/>
                  <a:moveTo>
                    <a:pt x="387" y="29"/>
                  </a:moveTo>
                  <a:lnTo>
                    <a:pt x="387" y="26"/>
                  </a:lnTo>
                  <a:lnTo>
                    <a:pt x="384" y="26"/>
                  </a:lnTo>
                  <a:lnTo>
                    <a:pt x="387" y="26"/>
                  </a:lnTo>
                  <a:lnTo>
                    <a:pt x="387" y="29"/>
                  </a:lnTo>
                  <a:close/>
                  <a:moveTo>
                    <a:pt x="365" y="26"/>
                  </a:moveTo>
                  <a:lnTo>
                    <a:pt x="368" y="26"/>
                  </a:lnTo>
                  <a:lnTo>
                    <a:pt x="368" y="29"/>
                  </a:lnTo>
                  <a:lnTo>
                    <a:pt x="365" y="29"/>
                  </a:lnTo>
                  <a:lnTo>
                    <a:pt x="368" y="29"/>
                  </a:lnTo>
                  <a:lnTo>
                    <a:pt x="365" y="29"/>
                  </a:lnTo>
                  <a:lnTo>
                    <a:pt x="365" y="26"/>
                  </a:lnTo>
                  <a:close/>
                  <a:moveTo>
                    <a:pt x="361" y="26"/>
                  </a:moveTo>
                  <a:lnTo>
                    <a:pt x="363" y="26"/>
                  </a:lnTo>
                  <a:lnTo>
                    <a:pt x="361" y="26"/>
                  </a:lnTo>
                  <a:close/>
                  <a:moveTo>
                    <a:pt x="384" y="26"/>
                  </a:moveTo>
                  <a:lnTo>
                    <a:pt x="382" y="26"/>
                  </a:lnTo>
                  <a:lnTo>
                    <a:pt x="384" y="26"/>
                  </a:lnTo>
                  <a:close/>
                  <a:moveTo>
                    <a:pt x="375" y="26"/>
                  </a:moveTo>
                  <a:lnTo>
                    <a:pt x="377" y="26"/>
                  </a:lnTo>
                  <a:lnTo>
                    <a:pt x="375" y="26"/>
                  </a:lnTo>
                  <a:lnTo>
                    <a:pt x="375" y="24"/>
                  </a:lnTo>
                  <a:lnTo>
                    <a:pt x="375" y="26"/>
                  </a:lnTo>
                  <a:close/>
                  <a:moveTo>
                    <a:pt x="384" y="26"/>
                  </a:moveTo>
                  <a:lnTo>
                    <a:pt x="382" y="26"/>
                  </a:lnTo>
                  <a:lnTo>
                    <a:pt x="384" y="26"/>
                  </a:lnTo>
                  <a:lnTo>
                    <a:pt x="384" y="24"/>
                  </a:lnTo>
                  <a:lnTo>
                    <a:pt x="384" y="26"/>
                  </a:lnTo>
                  <a:close/>
                  <a:moveTo>
                    <a:pt x="370" y="24"/>
                  </a:moveTo>
                  <a:lnTo>
                    <a:pt x="372" y="26"/>
                  </a:lnTo>
                  <a:lnTo>
                    <a:pt x="375" y="26"/>
                  </a:lnTo>
                  <a:lnTo>
                    <a:pt x="375" y="29"/>
                  </a:lnTo>
                  <a:lnTo>
                    <a:pt x="375" y="26"/>
                  </a:lnTo>
                  <a:lnTo>
                    <a:pt x="372" y="26"/>
                  </a:lnTo>
                  <a:lnTo>
                    <a:pt x="372" y="29"/>
                  </a:lnTo>
                  <a:lnTo>
                    <a:pt x="372" y="26"/>
                  </a:lnTo>
                  <a:lnTo>
                    <a:pt x="372" y="29"/>
                  </a:lnTo>
                  <a:lnTo>
                    <a:pt x="370" y="29"/>
                  </a:lnTo>
                  <a:lnTo>
                    <a:pt x="370" y="26"/>
                  </a:lnTo>
                  <a:lnTo>
                    <a:pt x="370" y="24"/>
                  </a:lnTo>
                  <a:close/>
                  <a:moveTo>
                    <a:pt x="387" y="24"/>
                  </a:moveTo>
                  <a:lnTo>
                    <a:pt x="389" y="24"/>
                  </a:lnTo>
                  <a:lnTo>
                    <a:pt x="389" y="26"/>
                  </a:lnTo>
                  <a:lnTo>
                    <a:pt x="389" y="24"/>
                  </a:lnTo>
                  <a:lnTo>
                    <a:pt x="391" y="26"/>
                  </a:lnTo>
                  <a:lnTo>
                    <a:pt x="389" y="26"/>
                  </a:lnTo>
                  <a:lnTo>
                    <a:pt x="389" y="24"/>
                  </a:lnTo>
                  <a:lnTo>
                    <a:pt x="387" y="24"/>
                  </a:lnTo>
                  <a:close/>
                  <a:moveTo>
                    <a:pt x="387" y="24"/>
                  </a:moveTo>
                  <a:lnTo>
                    <a:pt x="384" y="24"/>
                  </a:lnTo>
                  <a:lnTo>
                    <a:pt x="384" y="26"/>
                  </a:lnTo>
                  <a:lnTo>
                    <a:pt x="384" y="24"/>
                  </a:lnTo>
                  <a:lnTo>
                    <a:pt x="387" y="24"/>
                  </a:lnTo>
                  <a:close/>
                  <a:moveTo>
                    <a:pt x="389" y="24"/>
                  </a:moveTo>
                  <a:lnTo>
                    <a:pt x="391" y="24"/>
                  </a:lnTo>
                  <a:lnTo>
                    <a:pt x="389" y="24"/>
                  </a:lnTo>
                  <a:close/>
                  <a:moveTo>
                    <a:pt x="382" y="22"/>
                  </a:moveTo>
                  <a:lnTo>
                    <a:pt x="379" y="22"/>
                  </a:lnTo>
                  <a:lnTo>
                    <a:pt x="382" y="22"/>
                  </a:lnTo>
                  <a:close/>
                  <a:moveTo>
                    <a:pt x="384" y="24"/>
                  </a:moveTo>
                  <a:lnTo>
                    <a:pt x="382" y="24"/>
                  </a:lnTo>
                  <a:lnTo>
                    <a:pt x="382" y="22"/>
                  </a:lnTo>
                  <a:lnTo>
                    <a:pt x="384" y="22"/>
                  </a:lnTo>
                  <a:lnTo>
                    <a:pt x="384" y="24"/>
                  </a:lnTo>
                  <a:lnTo>
                    <a:pt x="384" y="22"/>
                  </a:lnTo>
                  <a:lnTo>
                    <a:pt x="384" y="24"/>
                  </a:lnTo>
                  <a:close/>
                  <a:moveTo>
                    <a:pt x="422" y="24"/>
                  </a:moveTo>
                  <a:lnTo>
                    <a:pt x="420" y="24"/>
                  </a:lnTo>
                  <a:lnTo>
                    <a:pt x="420" y="22"/>
                  </a:lnTo>
                  <a:lnTo>
                    <a:pt x="422" y="22"/>
                  </a:lnTo>
                  <a:lnTo>
                    <a:pt x="422" y="24"/>
                  </a:lnTo>
                  <a:close/>
                  <a:moveTo>
                    <a:pt x="422" y="22"/>
                  </a:moveTo>
                  <a:lnTo>
                    <a:pt x="425" y="22"/>
                  </a:lnTo>
                  <a:lnTo>
                    <a:pt x="422" y="22"/>
                  </a:lnTo>
                  <a:close/>
                  <a:moveTo>
                    <a:pt x="429" y="22"/>
                  </a:moveTo>
                  <a:lnTo>
                    <a:pt x="432" y="22"/>
                  </a:lnTo>
                  <a:lnTo>
                    <a:pt x="429" y="22"/>
                  </a:lnTo>
                  <a:close/>
                  <a:moveTo>
                    <a:pt x="377" y="22"/>
                  </a:moveTo>
                  <a:lnTo>
                    <a:pt x="375" y="22"/>
                  </a:lnTo>
                  <a:lnTo>
                    <a:pt x="377" y="22"/>
                  </a:lnTo>
                  <a:lnTo>
                    <a:pt x="375" y="22"/>
                  </a:lnTo>
                  <a:lnTo>
                    <a:pt x="377" y="22"/>
                  </a:lnTo>
                  <a:close/>
                  <a:moveTo>
                    <a:pt x="384" y="22"/>
                  </a:moveTo>
                  <a:lnTo>
                    <a:pt x="382" y="22"/>
                  </a:lnTo>
                  <a:lnTo>
                    <a:pt x="384" y="22"/>
                  </a:lnTo>
                  <a:close/>
                  <a:moveTo>
                    <a:pt x="377" y="22"/>
                  </a:moveTo>
                  <a:lnTo>
                    <a:pt x="379" y="22"/>
                  </a:lnTo>
                  <a:lnTo>
                    <a:pt x="377" y="22"/>
                  </a:lnTo>
                  <a:close/>
                  <a:moveTo>
                    <a:pt x="391" y="19"/>
                  </a:moveTo>
                  <a:lnTo>
                    <a:pt x="389" y="22"/>
                  </a:lnTo>
                  <a:lnTo>
                    <a:pt x="389" y="19"/>
                  </a:lnTo>
                  <a:lnTo>
                    <a:pt x="391" y="19"/>
                  </a:lnTo>
                  <a:close/>
                  <a:moveTo>
                    <a:pt x="379" y="19"/>
                  </a:moveTo>
                  <a:lnTo>
                    <a:pt x="379" y="22"/>
                  </a:lnTo>
                  <a:lnTo>
                    <a:pt x="379" y="19"/>
                  </a:lnTo>
                  <a:close/>
                  <a:moveTo>
                    <a:pt x="432" y="19"/>
                  </a:moveTo>
                  <a:lnTo>
                    <a:pt x="429" y="19"/>
                  </a:lnTo>
                  <a:lnTo>
                    <a:pt x="432" y="19"/>
                  </a:lnTo>
                  <a:close/>
                  <a:moveTo>
                    <a:pt x="425" y="19"/>
                  </a:moveTo>
                  <a:lnTo>
                    <a:pt x="425" y="17"/>
                  </a:lnTo>
                  <a:lnTo>
                    <a:pt x="425" y="19"/>
                  </a:lnTo>
                  <a:close/>
                  <a:moveTo>
                    <a:pt x="375" y="19"/>
                  </a:moveTo>
                  <a:lnTo>
                    <a:pt x="372" y="19"/>
                  </a:lnTo>
                  <a:lnTo>
                    <a:pt x="372" y="17"/>
                  </a:lnTo>
                  <a:lnTo>
                    <a:pt x="372" y="19"/>
                  </a:lnTo>
                  <a:lnTo>
                    <a:pt x="375" y="19"/>
                  </a:lnTo>
                  <a:close/>
                  <a:moveTo>
                    <a:pt x="398" y="17"/>
                  </a:moveTo>
                  <a:lnTo>
                    <a:pt x="398" y="19"/>
                  </a:lnTo>
                  <a:lnTo>
                    <a:pt x="398" y="17"/>
                  </a:lnTo>
                  <a:lnTo>
                    <a:pt x="398" y="19"/>
                  </a:lnTo>
                  <a:lnTo>
                    <a:pt x="396" y="19"/>
                  </a:lnTo>
                  <a:lnTo>
                    <a:pt x="398" y="19"/>
                  </a:lnTo>
                  <a:lnTo>
                    <a:pt x="396" y="17"/>
                  </a:lnTo>
                  <a:lnTo>
                    <a:pt x="398" y="17"/>
                  </a:lnTo>
                  <a:lnTo>
                    <a:pt x="396" y="17"/>
                  </a:lnTo>
                  <a:lnTo>
                    <a:pt x="398" y="17"/>
                  </a:lnTo>
                  <a:close/>
                  <a:moveTo>
                    <a:pt x="396" y="17"/>
                  </a:moveTo>
                  <a:lnTo>
                    <a:pt x="396" y="19"/>
                  </a:lnTo>
                  <a:lnTo>
                    <a:pt x="396" y="17"/>
                  </a:lnTo>
                  <a:close/>
                  <a:moveTo>
                    <a:pt x="434" y="17"/>
                  </a:moveTo>
                  <a:lnTo>
                    <a:pt x="434" y="19"/>
                  </a:lnTo>
                  <a:lnTo>
                    <a:pt x="434" y="17"/>
                  </a:lnTo>
                  <a:close/>
                  <a:moveTo>
                    <a:pt x="434" y="19"/>
                  </a:moveTo>
                  <a:lnTo>
                    <a:pt x="434" y="17"/>
                  </a:lnTo>
                  <a:lnTo>
                    <a:pt x="434" y="19"/>
                  </a:lnTo>
                  <a:close/>
                  <a:moveTo>
                    <a:pt x="398" y="17"/>
                  </a:moveTo>
                  <a:lnTo>
                    <a:pt x="398" y="19"/>
                  </a:lnTo>
                  <a:lnTo>
                    <a:pt x="398" y="17"/>
                  </a:lnTo>
                  <a:close/>
                  <a:moveTo>
                    <a:pt x="379" y="17"/>
                  </a:moveTo>
                  <a:lnTo>
                    <a:pt x="379" y="19"/>
                  </a:lnTo>
                  <a:lnTo>
                    <a:pt x="379" y="17"/>
                  </a:lnTo>
                  <a:lnTo>
                    <a:pt x="377" y="17"/>
                  </a:lnTo>
                  <a:lnTo>
                    <a:pt x="379" y="17"/>
                  </a:lnTo>
                  <a:close/>
                  <a:moveTo>
                    <a:pt x="394" y="17"/>
                  </a:moveTo>
                  <a:lnTo>
                    <a:pt x="391" y="17"/>
                  </a:lnTo>
                  <a:lnTo>
                    <a:pt x="394" y="17"/>
                  </a:lnTo>
                  <a:close/>
                  <a:moveTo>
                    <a:pt x="387" y="17"/>
                  </a:moveTo>
                  <a:lnTo>
                    <a:pt x="384" y="17"/>
                  </a:lnTo>
                  <a:lnTo>
                    <a:pt x="387" y="17"/>
                  </a:lnTo>
                  <a:close/>
                  <a:moveTo>
                    <a:pt x="387" y="17"/>
                  </a:moveTo>
                  <a:lnTo>
                    <a:pt x="387" y="19"/>
                  </a:lnTo>
                  <a:lnTo>
                    <a:pt x="387" y="17"/>
                  </a:lnTo>
                  <a:close/>
                  <a:moveTo>
                    <a:pt x="384" y="19"/>
                  </a:moveTo>
                  <a:lnTo>
                    <a:pt x="384" y="17"/>
                  </a:lnTo>
                  <a:lnTo>
                    <a:pt x="384" y="19"/>
                  </a:lnTo>
                  <a:close/>
                  <a:moveTo>
                    <a:pt x="429" y="17"/>
                  </a:moveTo>
                  <a:lnTo>
                    <a:pt x="427" y="17"/>
                  </a:lnTo>
                  <a:lnTo>
                    <a:pt x="429" y="17"/>
                  </a:lnTo>
                  <a:close/>
                  <a:moveTo>
                    <a:pt x="434" y="17"/>
                  </a:moveTo>
                  <a:lnTo>
                    <a:pt x="432" y="17"/>
                  </a:lnTo>
                  <a:lnTo>
                    <a:pt x="434" y="17"/>
                  </a:lnTo>
                  <a:close/>
                  <a:moveTo>
                    <a:pt x="377" y="15"/>
                  </a:moveTo>
                  <a:lnTo>
                    <a:pt x="377" y="17"/>
                  </a:lnTo>
                  <a:lnTo>
                    <a:pt x="377" y="15"/>
                  </a:lnTo>
                  <a:lnTo>
                    <a:pt x="377" y="17"/>
                  </a:lnTo>
                  <a:lnTo>
                    <a:pt x="377" y="15"/>
                  </a:lnTo>
                  <a:close/>
                  <a:moveTo>
                    <a:pt x="391" y="17"/>
                  </a:moveTo>
                  <a:lnTo>
                    <a:pt x="391" y="15"/>
                  </a:lnTo>
                  <a:lnTo>
                    <a:pt x="391" y="17"/>
                  </a:lnTo>
                  <a:close/>
                  <a:moveTo>
                    <a:pt x="403" y="15"/>
                  </a:moveTo>
                  <a:lnTo>
                    <a:pt x="401" y="15"/>
                  </a:lnTo>
                  <a:lnTo>
                    <a:pt x="403" y="15"/>
                  </a:lnTo>
                  <a:lnTo>
                    <a:pt x="401" y="15"/>
                  </a:lnTo>
                  <a:lnTo>
                    <a:pt x="403" y="15"/>
                  </a:lnTo>
                  <a:close/>
                  <a:moveTo>
                    <a:pt x="394" y="15"/>
                  </a:moveTo>
                  <a:lnTo>
                    <a:pt x="396" y="15"/>
                  </a:lnTo>
                  <a:lnTo>
                    <a:pt x="394" y="15"/>
                  </a:lnTo>
                  <a:lnTo>
                    <a:pt x="396" y="17"/>
                  </a:lnTo>
                  <a:lnTo>
                    <a:pt x="396" y="19"/>
                  </a:lnTo>
                  <a:lnTo>
                    <a:pt x="394" y="17"/>
                  </a:lnTo>
                  <a:lnTo>
                    <a:pt x="394" y="19"/>
                  </a:lnTo>
                  <a:lnTo>
                    <a:pt x="394" y="17"/>
                  </a:lnTo>
                  <a:lnTo>
                    <a:pt x="391" y="17"/>
                  </a:lnTo>
                  <a:lnTo>
                    <a:pt x="394" y="17"/>
                  </a:lnTo>
                  <a:lnTo>
                    <a:pt x="391" y="17"/>
                  </a:lnTo>
                  <a:lnTo>
                    <a:pt x="391" y="15"/>
                  </a:lnTo>
                  <a:lnTo>
                    <a:pt x="394" y="15"/>
                  </a:lnTo>
                  <a:close/>
                  <a:moveTo>
                    <a:pt x="391" y="15"/>
                  </a:moveTo>
                  <a:lnTo>
                    <a:pt x="391" y="17"/>
                  </a:lnTo>
                  <a:lnTo>
                    <a:pt x="391" y="15"/>
                  </a:lnTo>
                  <a:close/>
                  <a:moveTo>
                    <a:pt x="413" y="15"/>
                  </a:moveTo>
                  <a:lnTo>
                    <a:pt x="413" y="17"/>
                  </a:lnTo>
                  <a:lnTo>
                    <a:pt x="413" y="15"/>
                  </a:lnTo>
                  <a:close/>
                  <a:moveTo>
                    <a:pt x="358" y="17"/>
                  </a:moveTo>
                  <a:lnTo>
                    <a:pt x="356" y="17"/>
                  </a:lnTo>
                  <a:lnTo>
                    <a:pt x="356" y="15"/>
                  </a:lnTo>
                  <a:lnTo>
                    <a:pt x="358" y="17"/>
                  </a:lnTo>
                  <a:close/>
                  <a:moveTo>
                    <a:pt x="401" y="15"/>
                  </a:moveTo>
                  <a:lnTo>
                    <a:pt x="403" y="15"/>
                  </a:lnTo>
                  <a:lnTo>
                    <a:pt x="401" y="15"/>
                  </a:lnTo>
                  <a:close/>
                  <a:moveTo>
                    <a:pt x="415" y="15"/>
                  </a:moveTo>
                  <a:lnTo>
                    <a:pt x="415" y="12"/>
                  </a:lnTo>
                  <a:lnTo>
                    <a:pt x="415" y="15"/>
                  </a:lnTo>
                  <a:close/>
                  <a:moveTo>
                    <a:pt x="422" y="12"/>
                  </a:moveTo>
                  <a:lnTo>
                    <a:pt x="422" y="15"/>
                  </a:lnTo>
                  <a:lnTo>
                    <a:pt x="422" y="17"/>
                  </a:lnTo>
                  <a:lnTo>
                    <a:pt x="420" y="17"/>
                  </a:lnTo>
                  <a:lnTo>
                    <a:pt x="420" y="15"/>
                  </a:lnTo>
                  <a:lnTo>
                    <a:pt x="417" y="15"/>
                  </a:lnTo>
                  <a:lnTo>
                    <a:pt x="420" y="15"/>
                  </a:lnTo>
                  <a:lnTo>
                    <a:pt x="417" y="15"/>
                  </a:lnTo>
                  <a:lnTo>
                    <a:pt x="420" y="15"/>
                  </a:lnTo>
                  <a:lnTo>
                    <a:pt x="420" y="12"/>
                  </a:lnTo>
                  <a:lnTo>
                    <a:pt x="420" y="15"/>
                  </a:lnTo>
                  <a:lnTo>
                    <a:pt x="420" y="12"/>
                  </a:lnTo>
                  <a:lnTo>
                    <a:pt x="420" y="15"/>
                  </a:lnTo>
                  <a:lnTo>
                    <a:pt x="422" y="15"/>
                  </a:lnTo>
                  <a:lnTo>
                    <a:pt x="422" y="12"/>
                  </a:lnTo>
                  <a:lnTo>
                    <a:pt x="422" y="15"/>
                  </a:lnTo>
                  <a:lnTo>
                    <a:pt x="422" y="12"/>
                  </a:lnTo>
                  <a:close/>
                  <a:moveTo>
                    <a:pt x="410" y="12"/>
                  </a:moveTo>
                  <a:lnTo>
                    <a:pt x="410" y="15"/>
                  </a:lnTo>
                  <a:lnTo>
                    <a:pt x="410" y="12"/>
                  </a:lnTo>
                  <a:close/>
                  <a:moveTo>
                    <a:pt x="425" y="12"/>
                  </a:moveTo>
                  <a:lnTo>
                    <a:pt x="425" y="15"/>
                  </a:lnTo>
                  <a:lnTo>
                    <a:pt x="422" y="15"/>
                  </a:lnTo>
                  <a:lnTo>
                    <a:pt x="425" y="12"/>
                  </a:lnTo>
                  <a:lnTo>
                    <a:pt x="422" y="12"/>
                  </a:lnTo>
                  <a:lnTo>
                    <a:pt x="425" y="12"/>
                  </a:lnTo>
                  <a:close/>
                  <a:moveTo>
                    <a:pt x="427" y="12"/>
                  </a:moveTo>
                  <a:lnTo>
                    <a:pt x="425" y="12"/>
                  </a:lnTo>
                  <a:lnTo>
                    <a:pt x="427" y="12"/>
                  </a:lnTo>
                  <a:close/>
                  <a:moveTo>
                    <a:pt x="406" y="12"/>
                  </a:moveTo>
                  <a:lnTo>
                    <a:pt x="406" y="15"/>
                  </a:lnTo>
                  <a:lnTo>
                    <a:pt x="403" y="15"/>
                  </a:lnTo>
                  <a:lnTo>
                    <a:pt x="406" y="15"/>
                  </a:lnTo>
                  <a:lnTo>
                    <a:pt x="408" y="15"/>
                  </a:lnTo>
                  <a:lnTo>
                    <a:pt x="406" y="15"/>
                  </a:lnTo>
                  <a:lnTo>
                    <a:pt x="406" y="17"/>
                  </a:lnTo>
                  <a:lnTo>
                    <a:pt x="406" y="15"/>
                  </a:lnTo>
                  <a:lnTo>
                    <a:pt x="403" y="15"/>
                  </a:lnTo>
                  <a:lnTo>
                    <a:pt x="403" y="12"/>
                  </a:lnTo>
                  <a:lnTo>
                    <a:pt x="406" y="15"/>
                  </a:lnTo>
                  <a:lnTo>
                    <a:pt x="406" y="12"/>
                  </a:lnTo>
                  <a:lnTo>
                    <a:pt x="403" y="12"/>
                  </a:lnTo>
                  <a:lnTo>
                    <a:pt x="406" y="12"/>
                  </a:lnTo>
                  <a:close/>
                  <a:moveTo>
                    <a:pt x="389" y="12"/>
                  </a:moveTo>
                  <a:lnTo>
                    <a:pt x="389" y="15"/>
                  </a:lnTo>
                  <a:lnTo>
                    <a:pt x="391" y="17"/>
                  </a:lnTo>
                  <a:lnTo>
                    <a:pt x="389" y="17"/>
                  </a:lnTo>
                  <a:lnTo>
                    <a:pt x="387" y="15"/>
                  </a:lnTo>
                  <a:lnTo>
                    <a:pt x="389" y="15"/>
                  </a:lnTo>
                  <a:lnTo>
                    <a:pt x="387" y="15"/>
                  </a:lnTo>
                  <a:lnTo>
                    <a:pt x="389" y="15"/>
                  </a:lnTo>
                  <a:lnTo>
                    <a:pt x="387" y="15"/>
                  </a:lnTo>
                  <a:lnTo>
                    <a:pt x="387" y="12"/>
                  </a:lnTo>
                  <a:lnTo>
                    <a:pt x="389" y="12"/>
                  </a:lnTo>
                  <a:close/>
                  <a:moveTo>
                    <a:pt x="391" y="12"/>
                  </a:moveTo>
                  <a:lnTo>
                    <a:pt x="389" y="12"/>
                  </a:lnTo>
                  <a:lnTo>
                    <a:pt x="391" y="12"/>
                  </a:lnTo>
                  <a:close/>
                  <a:moveTo>
                    <a:pt x="413" y="12"/>
                  </a:moveTo>
                  <a:lnTo>
                    <a:pt x="410" y="12"/>
                  </a:lnTo>
                  <a:lnTo>
                    <a:pt x="413" y="12"/>
                  </a:lnTo>
                  <a:close/>
                  <a:moveTo>
                    <a:pt x="429" y="12"/>
                  </a:moveTo>
                  <a:lnTo>
                    <a:pt x="427" y="12"/>
                  </a:lnTo>
                  <a:lnTo>
                    <a:pt x="429" y="12"/>
                  </a:lnTo>
                  <a:close/>
                  <a:moveTo>
                    <a:pt x="403" y="12"/>
                  </a:moveTo>
                  <a:lnTo>
                    <a:pt x="403" y="10"/>
                  </a:lnTo>
                  <a:lnTo>
                    <a:pt x="406" y="12"/>
                  </a:lnTo>
                  <a:lnTo>
                    <a:pt x="403" y="12"/>
                  </a:lnTo>
                  <a:close/>
                  <a:moveTo>
                    <a:pt x="413" y="12"/>
                  </a:moveTo>
                  <a:lnTo>
                    <a:pt x="413" y="10"/>
                  </a:lnTo>
                  <a:lnTo>
                    <a:pt x="413" y="12"/>
                  </a:lnTo>
                  <a:close/>
                  <a:moveTo>
                    <a:pt x="377" y="12"/>
                  </a:moveTo>
                  <a:lnTo>
                    <a:pt x="377" y="10"/>
                  </a:lnTo>
                  <a:lnTo>
                    <a:pt x="377" y="12"/>
                  </a:lnTo>
                  <a:close/>
                  <a:moveTo>
                    <a:pt x="410" y="10"/>
                  </a:moveTo>
                  <a:lnTo>
                    <a:pt x="410" y="12"/>
                  </a:lnTo>
                  <a:lnTo>
                    <a:pt x="410" y="10"/>
                  </a:lnTo>
                  <a:lnTo>
                    <a:pt x="410" y="12"/>
                  </a:lnTo>
                  <a:lnTo>
                    <a:pt x="410" y="10"/>
                  </a:lnTo>
                  <a:close/>
                  <a:moveTo>
                    <a:pt x="434" y="10"/>
                  </a:moveTo>
                  <a:lnTo>
                    <a:pt x="434" y="12"/>
                  </a:lnTo>
                  <a:lnTo>
                    <a:pt x="432" y="12"/>
                  </a:lnTo>
                  <a:lnTo>
                    <a:pt x="432" y="10"/>
                  </a:lnTo>
                  <a:lnTo>
                    <a:pt x="434" y="10"/>
                  </a:lnTo>
                  <a:close/>
                  <a:moveTo>
                    <a:pt x="432" y="10"/>
                  </a:moveTo>
                  <a:lnTo>
                    <a:pt x="434" y="10"/>
                  </a:lnTo>
                  <a:lnTo>
                    <a:pt x="432" y="10"/>
                  </a:lnTo>
                  <a:close/>
                  <a:moveTo>
                    <a:pt x="389" y="12"/>
                  </a:moveTo>
                  <a:lnTo>
                    <a:pt x="389" y="10"/>
                  </a:lnTo>
                  <a:lnTo>
                    <a:pt x="387" y="10"/>
                  </a:lnTo>
                  <a:lnTo>
                    <a:pt x="389" y="10"/>
                  </a:lnTo>
                  <a:lnTo>
                    <a:pt x="389" y="12"/>
                  </a:lnTo>
                  <a:close/>
                  <a:moveTo>
                    <a:pt x="413" y="10"/>
                  </a:moveTo>
                  <a:lnTo>
                    <a:pt x="410" y="10"/>
                  </a:lnTo>
                  <a:lnTo>
                    <a:pt x="413" y="10"/>
                  </a:lnTo>
                  <a:close/>
                  <a:moveTo>
                    <a:pt x="379" y="10"/>
                  </a:moveTo>
                  <a:lnTo>
                    <a:pt x="379" y="12"/>
                  </a:lnTo>
                  <a:lnTo>
                    <a:pt x="379" y="10"/>
                  </a:lnTo>
                  <a:close/>
                  <a:moveTo>
                    <a:pt x="389" y="7"/>
                  </a:moveTo>
                  <a:lnTo>
                    <a:pt x="387" y="7"/>
                  </a:lnTo>
                  <a:lnTo>
                    <a:pt x="389" y="7"/>
                  </a:lnTo>
                  <a:close/>
                  <a:moveTo>
                    <a:pt x="432" y="0"/>
                  </a:moveTo>
                  <a:lnTo>
                    <a:pt x="429" y="0"/>
                  </a:lnTo>
                  <a:lnTo>
                    <a:pt x="43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1" name="Freeform 57121"/>
            <p:cNvSpPr>
              <a:spLocks noEditPoints="1"/>
            </p:cNvSpPr>
            <p:nvPr/>
          </p:nvSpPr>
          <p:spPr bwMode="auto">
            <a:xfrm>
              <a:off x="2601910" y="3335350"/>
              <a:ext cx="685800" cy="936628"/>
            </a:xfrm>
            <a:custGeom>
              <a:avLst/>
              <a:gdLst>
                <a:gd name="T0" fmla="*/ 123 w 432"/>
                <a:gd name="T1" fmla="*/ 554 h 590"/>
                <a:gd name="T2" fmla="*/ 178 w 432"/>
                <a:gd name="T3" fmla="*/ 523 h 590"/>
                <a:gd name="T4" fmla="*/ 185 w 432"/>
                <a:gd name="T5" fmla="*/ 509 h 590"/>
                <a:gd name="T6" fmla="*/ 187 w 432"/>
                <a:gd name="T7" fmla="*/ 495 h 590"/>
                <a:gd name="T8" fmla="*/ 187 w 432"/>
                <a:gd name="T9" fmla="*/ 483 h 590"/>
                <a:gd name="T10" fmla="*/ 31 w 432"/>
                <a:gd name="T11" fmla="*/ 478 h 590"/>
                <a:gd name="T12" fmla="*/ 258 w 432"/>
                <a:gd name="T13" fmla="*/ 473 h 590"/>
                <a:gd name="T14" fmla="*/ 185 w 432"/>
                <a:gd name="T15" fmla="*/ 466 h 590"/>
                <a:gd name="T16" fmla="*/ 192 w 432"/>
                <a:gd name="T17" fmla="*/ 464 h 590"/>
                <a:gd name="T18" fmla="*/ 16 w 432"/>
                <a:gd name="T19" fmla="*/ 461 h 590"/>
                <a:gd name="T20" fmla="*/ 26 w 432"/>
                <a:gd name="T21" fmla="*/ 457 h 590"/>
                <a:gd name="T22" fmla="*/ 197 w 432"/>
                <a:gd name="T23" fmla="*/ 449 h 590"/>
                <a:gd name="T24" fmla="*/ 199 w 432"/>
                <a:gd name="T25" fmla="*/ 445 h 590"/>
                <a:gd name="T26" fmla="*/ 202 w 432"/>
                <a:gd name="T27" fmla="*/ 445 h 590"/>
                <a:gd name="T28" fmla="*/ 14 w 432"/>
                <a:gd name="T29" fmla="*/ 442 h 590"/>
                <a:gd name="T30" fmla="*/ 197 w 432"/>
                <a:gd name="T31" fmla="*/ 438 h 590"/>
                <a:gd name="T32" fmla="*/ 9 w 432"/>
                <a:gd name="T33" fmla="*/ 433 h 590"/>
                <a:gd name="T34" fmla="*/ 197 w 432"/>
                <a:gd name="T35" fmla="*/ 430 h 590"/>
                <a:gd name="T36" fmla="*/ 7 w 432"/>
                <a:gd name="T37" fmla="*/ 428 h 590"/>
                <a:gd name="T38" fmla="*/ 206 w 432"/>
                <a:gd name="T39" fmla="*/ 421 h 590"/>
                <a:gd name="T40" fmla="*/ 218 w 432"/>
                <a:gd name="T41" fmla="*/ 419 h 590"/>
                <a:gd name="T42" fmla="*/ 7 w 432"/>
                <a:gd name="T43" fmla="*/ 416 h 590"/>
                <a:gd name="T44" fmla="*/ 237 w 432"/>
                <a:gd name="T45" fmla="*/ 411 h 590"/>
                <a:gd name="T46" fmla="*/ 223 w 432"/>
                <a:gd name="T47" fmla="*/ 409 h 590"/>
                <a:gd name="T48" fmla="*/ 235 w 432"/>
                <a:gd name="T49" fmla="*/ 404 h 590"/>
                <a:gd name="T50" fmla="*/ 258 w 432"/>
                <a:gd name="T51" fmla="*/ 397 h 590"/>
                <a:gd name="T52" fmla="*/ 258 w 432"/>
                <a:gd name="T53" fmla="*/ 395 h 590"/>
                <a:gd name="T54" fmla="*/ 261 w 432"/>
                <a:gd name="T55" fmla="*/ 388 h 590"/>
                <a:gd name="T56" fmla="*/ 244 w 432"/>
                <a:gd name="T57" fmla="*/ 385 h 590"/>
                <a:gd name="T58" fmla="*/ 251 w 432"/>
                <a:gd name="T59" fmla="*/ 383 h 590"/>
                <a:gd name="T60" fmla="*/ 273 w 432"/>
                <a:gd name="T61" fmla="*/ 381 h 590"/>
                <a:gd name="T62" fmla="*/ 275 w 432"/>
                <a:gd name="T63" fmla="*/ 378 h 590"/>
                <a:gd name="T64" fmla="*/ 282 w 432"/>
                <a:gd name="T65" fmla="*/ 378 h 590"/>
                <a:gd name="T66" fmla="*/ 256 w 432"/>
                <a:gd name="T67" fmla="*/ 371 h 590"/>
                <a:gd name="T68" fmla="*/ 277 w 432"/>
                <a:gd name="T69" fmla="*/ 369 h 590"/>
                <a:gd name="T70" fmla="*/ 268 w 432"/>
                <a:gd name="T71" fmla="*/ 362 h 590"/>
                <a:gd name="T72" fmla="*/ 249 w 432"/>
                <a:gd name="T73" fmla="*/ 343 h 590"/>
                <a:gd name="T74" fmla="*/ 251 w 432"/>
                <a:gd name="T75" fmla="*/ 340 h 590"/>
                <a:gd name="T76" fmla="*/ 251 w 432"/>
                <a:gd name="T77" fmla="*/ 331 h 590"/>
                <a:gd name="T78" fmla="*/ 235 w 432"/>
                <a:gd name="T79" fmla="*/ 328 h 590"/>
                <a:gd name="T80" fmla="*/ 232 w 432"/>
                <a:gd name="T81" fmla="*/ 326 h 590"/>
                <a:gd name="T82" fmla="*/ 218 w 432"/>
                <a:gd name="T83" fmla="*/ 319 h 590"/>
                <a:gd name="T84" fmla="*/ 206 w 432"/>
                <a:gd name="T85" fmla="*/ 300 h 590"/>
                <a:gd name="T86" fmla="*/ 204 w 432"/>
                <a:gd name="T87" fmla="*/ 283 h 590"/>
                <a:gd name="T88" fmla="*/ 204 w 432"/>
                <a:gd name="T89" fmla="*/ 267 h 590"/>
                <a:gd name="T90" fmla="*/ 225 w 432"/>
                <a:gd name="T91" fmla="*/ 219 h 590"/>
                <a:gd name="T92" fmla="*/ 223 w 432"/>
                <a:gd name="T93" fmla="*/ 186 h 590"/>
                <a:gd name="T94" fmla="*/ 263 w 432"/>
                <a:gd name="T95" fmla="*/ 179 h 590"/>
                <a:gd name="T96" fmla="*/ 280 w 432"/>
                <a:gd name="T97" fmla="*/ 167 h 590"/>
                <a:gd name="T98" fmla="*/ 292 w 432"/>
                <a:gd name="T99" fmla="*/ 162 h 590"/>
                <a:gd name="T100" fmla="*/ 325 w 432"/>
                <a:gd name="T101" fmla="*/ 153 h 590"/>
                <a:gd name="T102" fmla="*/ 315 w 432"/>
                <a:gd name="T103" fmla="*/ 148 h 590"/>
                <a:gd name="T104" fmla="*/ 327 w 432"/>
                <a:gd name="T105" fmla="*/ 131 h 590"/>
                <a:gd name="T106" fmla="*/ 342 w 432"/>
                <a:gd name="T107" fmla="*/ 93 h 590"/>
                <a:gd name="T108" fmla="*/ 351 w 432"/>
                <a:gd name="T109" fmla="*/ 67 h 590"/>
                <a:gd name="T110" fmla="*/ 363 w 432"/>
                <a:gd name="T111" fmla="*/ 60 h 590"/>
                <a:gd name="T112" fmla="*/ 375 w 432"/>
                <a:gd name="T113" fmla="*/ 53 h 590"/>
                <a:gd name="T114" fmla="*/ 398 w 432"/>
                <a:gd name="T115" fmla="*/ 43 h 590"/>
                <a:gd name="T116" fmla="*/ 394 w 432"/>
                <a:gd name="T117" fmla="*/ 41 h 590"/>
                <a:gd name="T118" fmla="*/ 415 w 432"/>
                <a:gd name="T119" fmla="*/ 39 h 590"/>
                <a:gd name="T120" fmla="*/ 387 w 432"/>
                <a:gd name="T121" fmla="*/ 39 h 590"/>
                <a:gd name="T122" fmla="*/ 429 w 432"/>
                <a:gd name="T123" fmla="*/ 34 h 590"/>
                <a:gd name="T124" fmla="*/ 377 w 432"/>
                <a:gd name="T125" fmla="*/ 31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2" h="590">
                  <a:moveTo>
                    <a:pt x="64" y="587"/>
                  </a:moveTo>
                  <a:lnTo>
                    <a:pt x="64" y="590"/>
                  </a:lnTo>
                  <a:lnTo>
                    <a:pt x="64" y="587"/>
                  </a:lnTo>
                  <a:close/>
                  <a:moveTo>
                    <a:pt x="64" y="587"/>
                  </a:moveTo>
                  <a:lnTo>
                    <a:pt x="64" y="590"/>
                  </a:lnTo>
                  <a:lnTo>
                    <a:pt x="64" y="587"/>
                  </a:lnTo>
                  <a:close/>
                  <a:moveTo>
                    <a:pt x="118" y="561"/>
                  </a:moveTo>
                  <a:lnTo>
                    <a:pt x="118" y="559"/>
                  </a:lnTo>
                  <a:lnTo>
                    <a:pt x="118" y="561"/>
                  </a:lnTo>
                  <a:close/>
                  <a:moveTo>
                    <a:pt x="116" y="559"/>
                  </a:moveTo>
                  <a:lnTo>
                    <a:pt x="118" y="559"/>
                  </a:lnTo>
                  <a:lnTo>
                    <a:pt x="116" y="559"/>
                  </a:lnTo>
                  <a:close/>
                  <a:moveTo>
                    <a:pt x="159" y="556"/>
                  </a:moveTo>
                  <a:lnTo>
                    <a:pt x="156" y="559"/>
                  </a:lnTo>
                  <a:lnTo>
                    <a:pt x="156" y="556"/>
                  </a:lnTo>
                  <a:lnTo>
                    <a:pt x="159" y="556"/>
                  </a:lnTo>
                  <a:close/>
                  <a:moveTo>
                    <a:pt x="147" y="554"/>
                  </a:moveTo>
                  <a:lnTo>
                    <a:pt x="147" y="556"/>
                  </a:lnTo>
                  <a:lnTo>
                    <a:pt x="147" y="554"/>
                  </a:lnTo>
                  <a:close/>
                  <a:moveTo>
                    <a:pt x="147" y="554"/>
                  </a:moveTo>
                  <a:lnTo>
                    <a:pt x="145" y="554"/>
                  </a:lnTo>
                  <a:lnTo>
                    <a:pt x="147" y="554"/>
                  </a:lnTo>
                  <a:close/>
                  <a:moveTo>
                    <a:pt x="137" y="554"/>
                  </a:moveTo>
                  <a:lnTo>
                    <a:pt x="135" y="554"/>
                  </a:lnTo>
                  <a:lnTo>
                    <a:pt x="137" y="554"/>
                  </a:lnTo>
                  <a:close/>
                  <a:moveTo>
                    <a:pt x="149" y="554"/>
                  </a:moveTo>
                  <a:lnTo>
                    <a:pt x="149" y="552"/>
                  </a:lnTo>
                  <a:lnTo>
                    <a:pt x="149" y="554"/>
                  </a:lnTo>
                  <a:close/>
                  <a:moveTo>
                    <a:pt x="123" y="554"/>
                  </a:moveTo>
                  <a:lnTo>
                    <a:pt x="123" y="552"/>
                  </a:lnTo>
                  <a:lnTo>
                    <a:pt x="123" y="554"/>
                  </a:lnTo>
                  <a:close/>
                  <a:moveTo>
                    <a:pt x="133" y="552"/>
                  </a:moveTo>
                  <a:lnTo>
                    <a:pt x="133" y="554"/>
                  </a:lnTo>
                  <a:lnTo>
                    <a:pt x="133" y="552"/>
                  </a:lnTo>
                  <a:close/>
                  <a:moveTo>
                    <a:pt x="140" y="554"/>
                  </a:moveTo>
                  <a:lnTo>
                    <a:pt x="140" y="552"/>
                  </a:lnTo>
                  <a:lnTo>
                    <a:pt x="140" y="554"/>
                  </a:lnTo>
                  <a:close/>
                  <a:moveTo>
                    <a:pt x="142" y="552"/>
                  </a:moveTo>
                  <a:lnTo>
                    <a:pt x="142" y="554"/>
                  </a:lnTo>
                  <a:lnTo>
                    <a:pt x="142" y="552"/>
                  </a:lnTo>
                  <a:lnTo>
                    <a:pt x="142" y="554"/>
                  </a:lnTo>
                  <a:lnTo>
                    <a:pt x="142" y="552"/>
                  </a:lnTo>
                  <a:close/>
                  <a:moveTo>
                    <a:pt x="154" y="552"/>
                  </a:moveTo>
                  <a:lnTo>
                    <a:pt x="152" y="552"/>
                  </a:lnTo>
                  <a:lnTo>
                    <a:pt x="154" y="552"/>
                  </a:lnTo>
                  <a:close/>
                  <a:moveTo>
                    <a:pt x="147" y="552"/>
                  </a:moveTo>
                  <a:lnTo>
                    <a:pt x="145" y="552"/>
                  </a:lnTo>
                  <a:lnTo>
                    <a:pt x="147" y="552"/>
                  </a:lnTo>
                  <a:close/>
                  <a:moveTo>
                    <a:pt x="168" y="547"/>
                  </a:moveTo>
                  <a:lnTo>
                    <a:pt x="166" y="547"/>
                  </a:lnTo>
                  <a:lnTo>
                    <a:pt x="168" y="547"/>
                  </a:lnTo>
                  <a:close/>
                  <a:moveTo>
                    <a:pt x="168" y="547"/>
                  </a:moveTo>
                  <a:lnTo>
                    <a:pt x="166" y="547"/>
                  </a:lnTo>
                  <a:lnTo>
                    <a:pt x="168" y="547"/>
                  </a:lnTo>
                  <a:close/>
                  <a:moveTo>
                    <a:pt x="171" y="537"/>
                  </a:moveTo>
                  <a:lnTo>
                    <a:pt x="171" y="535"/>
                  </a:lnTo>
                  <a:lnTo>
                    <a:pt x="171" y="537"/>
                  </a:lnTo>
                  <a:close/>
                  <a:moveTo>
                    <a:pt x="171" y="535"/>
                  </a:moveTo>
                  <a:lnTo>
                    <a:pt x="171" y="537"/>
                  </a:lnTo>
                  <a:lnTo>
                    <a:pt x="171" y="535"/>
                  </a:lnTo>
                  <a:close/>
                  <a:moveTo>
                    <a:pt x="178" y="521"/>
                  </a:moveTo>
                  <a:lnTo>
                    <a:pt x="178" y="523"/>
                  </a:lnTo>
                  <a:lnTo>
                    <a:pt x="178" y="521"/>
                  </a:lnTo>
                  <a:close/>
                  <a:moveTo>
                    <a:pt x="178" y="521"/>
                  </a:moveTo>
                  <a:lnTo>
                    <a:pt x="178" y="523"/>
                  </a:lnTo>
                  <a:lnTo>
                    <a:pt x="178" y="521"/>
                  </a:lnTo>
                  <a:close/>
                  <a:moveTo>
                    <a:pt x="180" y="518"/>
                  </a:moveTo>
                  <a:lnTo>
                    <a:pt x="180" y="521"/>
                  </a:lnTo>
                  <a:lnTo>
                    <a:pt x="180" y="518"/>
                  </a:lnTo>
                  <a:close/>
                  <a:moveTo>
                    <a:pt x="180" y="518"/>
                  </a:moveTo>
                  <a:lnTo>
                    <a:pt x="180" y="521"/>
                  </a:lnTo>
                  <a:lnTo>
                    <a:pt x="180" y="518"/>
                  </a:lnTo>
                  <a:close/>
                  <a:moveTo>
                    <a:pt x="183" y="518"/>
                  </a:moveTo>
                  <a:lnTo>
                    <a:pt x="180" y="518"/>
                  </a:lnTo>
                  <a:lnTo>
                    <a:pt x="183" y="518"/>
                  </a:lnTo>
                  <a:close/>
                  <a:moveTo>
                    <a:pt x="183" y="514"/>
                  </a:moveTo>
                  <a:lnTo>
                    <a:pt x="180" y="514"/>
                  </a:lnTo>
                  <a:lnTo>
                    <a:pt x="183" y="514"/>
                  </a:lnTo>
                  <a:close/>
                  <a:moveTo>
                    <a:pt x="197" y="511"/>
                  </a:moveTo>
                  <a:lnTo>
                    <a:pt x="194" y="511"/>
                  </a:lnTo>
                  <a:lnTo>
                    <a:pt x="197" y="511"/>
                  </a:lnTo>
                  <a:close/>
                  <a:moveTo>
                    <a:pt x="183" y="511"/>
                  </a:moveTo>
                  <a:lnTo>
                    <a:pt x="180" y="511"/>
                  </a:lnTo>
                  <a:lnTo>
                    <a:pt x="183" y="511"/>
                  </a:lnTo>
                  <a:close/>
                  <a:moveTo>
                    <a:pt x="183" y="509"/>
                  </a:moveTo>
                  <a:lnTo>
                    <a:pt x="180" y="509"/>
                  </a:lnTo>
                  <a:lnTo>
                    <a:pt x="183" y="509"/>
                  </a:lnTo>
                  <a:close/>
                  <a:moveTo>
                    <a:pt x="185" y="509"/>
                  </a:moveTo>
                  <a:lnTo>
                    <a:pt x="183" y="509"/>
                  </a:lnTo>
                  <a:lnTo>
                    <a:pt x="185" y="509"/>
                  </a:lnTo>
                  <a:close/>
                  <a:moveTo>
                    <a:pt x="185" y="509"/>
                  </a:moveTo>
                  <a:lnTo>
                    <a:pt x="183" y="509"/>
                  </a:lnTo>
                  <a:lnTo>
                    <a:pt x="185" y="509"/>
                  </a:lnTo>
                  <a:close/>
                  <a:moveTo>
                    <a:pt x="185" y="509"/>
                  </a:moveTo>
                  <a:lnTo>
                    <a:pt x="183" y="507"/>
                  </a:lnTo>
                  <a:lnTo>
                    <a:pt x="185" y="507"/>
                  </a:lnTo>
                  <a:lnTo>
                    <a:pt x="185" y="509"/>
                  </a:lnTo>
                  <a:close/>
                  <a:moveTo>
                    <a:pt x="185" y="509"/>
                  </a:moveTo>
                  <a:lnTo>
                    <a:pt x="185" y="507"/>
                  </a:lnTo>
                  <a:lnTo>
                    <a:pt x="185" y="509"/>
                  </a:lnTo>
                  <a:close/>
                  <a:moveTo>
                    <a:pt x="185" y="507"/>
                  </a:moveTo>
                  <a:lnTo>
                    <a:pt x="183" y="507"/>
                  </a:lnTo>
                  <a:lnTo>
                    <a:pt x="185" y="507"/>
                  </a:lnTo>
                  <a:close/>
                  <a:moveTo>
                    <a:pt x="183" y="507"/>
                  </a:moveTo>
                  <a:lnTo>
                    <a:pt x="185" y="507"/>
                  </a:lnTo>
                  <a:lnTo>
                    <a:pt x="183" y="507"/>
                  </a:lnTo>
                  <a:close/>
                  <a:moveTo>
                    <a:pt x="185" y="507"/>
                  </a:moveTo>
                  <a:lnTo>
                    <a:pt x="185" y="504"/>
                  </a:lnTo>
                  <a:lnTo>
                    <a:pt x="185" y="507"/>
                  </a:lnTo>
                  <a:close/>
                  <a:moveTo>
                    <a:pt x="187" y="504"/>
                  </a:moveTo>
                  <a:lnTo>
                    <a:pt x="185" y="504"/>
                  </a:lnTo>
                  <a:lnTo>
                    <a:pt x="187" y="504"/>
                  </a:lnTo>
                  <a:close/>
                  <a:moveTo>
                    <a:pt x="183" y="499"/>
                  </a:moveTo>
                  <a:lnTo>
                    <a:pt x="180" y="499"/>
                  </a:lnTo>
                  <a:lnTo>
                    <a:pt x="183" y="499"/>
                  </a:lnTo>
                  <a:close/>
                  <a:moveTo>
                    <a:pt x="38" y="499"/>
                  </a:moveTo>
                  <a:lnTo>
                    <a:pt x="35" y="499"/>
                  </a:lnTo>
                  <a:lnTo>
                    <a:pt x="35" y="497"/>
                  </a:lnTo>
                  <a:lnTo>
                    <a:pt x="38" y="497"/>
                  </a:lnTo>
                  <a:lnTo>
                    <a:pt x="38" y="499"/>
                  </a:lnTo>
                  <a:close/>
                  <a:moveTo>
                    <a:pt x="183" y="497"/>
                  </a:moveTo>
                  <a:lnTo>
                    <a:pt x="183" y="499"/>
                  </a:lnTo>
                  <a:lnTo>
                    <a:pt x="183" y="497"/>
                  </a:lnTo>
                  <a:close/>
                  <a:moveTo>
                    <a:pt x="187" y="495"/>
                  </a:moveTo>
                  <a:lnTo>
                    <a:pt x="185" y="495"/>
                  </a:lnTo>
                  <a:lnTo>
                    <a:pt x="187" y="495"/>
                  </a:lnTo>
                  <a:close/>
                  <a:moveTo>
                    <a:pt x="38" y="495"/>
                  </a:moveTo>
                  <a:lnTo>
                    <a:pt x="35" y="495"/>
                  </a:lnTo>
                  <a:lnTo>
                    <a:pt x="38" y="495"/>
                  </a:lnTo>
                  <a:close/>
                  <a:moveTo>
                    <a:pt x="38" y="495"/>
                  </a:moveTo>
                  <a:lnTo>
                    <a:pt x="38" y="492"/>
                  </a:lnTo>
                  <a:lnTo>
                    <a:pt x="38" y="495"/>
                  </a:lnTo>
                  <a:close/>
                  <a:moveTo>
                    <a:pt x="38" y="492"/>
                  </a:moveTo>
                  <a:lnTo>
                    <a:pt x="38" y="495"/>
                  </a:lnTo>
                  <a:lnTo>
                    <a:pt x="38" y="492"/>
                  </a:lnTo>
                  <a:lnTo>
                    <a:pt x="35" y="492"/>
                  </a:lnTo>
                  <a:lnTo>
                    <a:pt x="38" y="492"/>
                  </a:lnTo>
                  <a:close/>
                  <a:moveTo>
                    <a:pt x="35" y="492"/>
                  </a:moveTo>
                  <a:lnTo>
                    <a:pt x="35" y="490"/>
                  </a:lnTo>
                  <a:lnTo>
                    <a:pt x="35" y="492"/>
                  </a:lnTo>
                  <a:close/>
                  <a:moveTo>
                    <a:pt x="237" y="488"/>
                  </a:moveTo>
                  <a:lnTo>
                    <a:pt x="237" y="490"/>
                  </a:lnTo>
                  <a:lnTo>
                    <a:pt x="237" y="488"/>
                  </a:lnTo>
                  <a:close/>
                  <a:moveTo>
                    <a:pt x="31" y="485"/>
                  </a:moveTo>
                  <a:lnTo>
                    <a:pt x="31" y="483"/>
                  </a:lnTo>
                  <a:lnTo>
                    <a:pt x="31" y="485"/>
                  </a:lnTo>
                  <a:close/>
                  <a:moveTo>
                    <a:pt x="190" y="483"/>
                  </a:moveTo>
                  <a:lnTo>
                    <a:pt x="190" y="485"/>
                  </a:lnTo>
                  <a:lnTo>
                    <a:pt x="190" y="483"/>
                  </a:lnTo>
                  <a:close/>
                  <a:moveTo>
                    <a:pt x="190" y="483"/>
                  </a:moveTo>
                  <a:lnTo>
                    <a:pt x="187" y="485"/>
                  </a:lnTo>
                  <a:lnTo>
                    <a:pt x="187" y="483"/>
                  </a:lnTo>
                  <a:lnTo>
                    <a:pt x="190" y="483"/>
                  </a:lnTo>
                  <a:close/>
                  <a:moveTo>
                    <a:pt x="190" y="483"/>
                  </a:moveTo>
                  <a:lnTo>
                    <a:pt x="187" y="483"/>
                  </a:lnTo>
                  <a:lnTo>
                    <a:pt x="190" y="483"/>
                  </a:lnTo>
                  <a:close/>
                  <a:moveTo>
                    <a:pt x="190" y="483"/>
                  </a:moveTo>
                  <a:lnTo>
                    <a:pt x="190" y="485"/>
                  </a:lnTo>
                  <a:lnTo>
                    <a:pt x="190" y="483"/>
                  </a:lnTo>
                  <a:close/>
                  <a:moveTo>
                    <a:pt x="190" y="483"/>
                  </a:moveTo>
                  <a:lnTo>
                    <a:pt x="187" y="483"/>
                  </a:lnTo>
                  <a:lnTo>
                    <a:pt x="190" y="483"/>
                  </a:lnTo>
                  <a:close/>
                  <a:moveTo>
                    <a:pt x="31" y="483"/>
                  </a:moveTo>
                  <a:lnTo>
                    <a:pt x="31" y="480"/>
                  </a:lnTo>
                  <a:lnTo>
                    <a:pt x="31" y="483"/>
                  </a:lnTo>
                  <a:close/>
                  <a:moveTo>
                    <a:pt x="26" y="483"/>
                  </a:moveTo>
                  <a:lnTo>
                    <a:pt x="26" y="480"/>
                  </a:lnTo>
                  <a:lnTo>
                    <a:pt x="26" y="483"/>
                  </a:lnTo>
                  <a:close/>
                  <a:moveTo>
                    <a:pt x="185" y="480"/>
                  </a:moveTo>
                  <a:lnTo>
                    <a:pt x="183" y="480"/>
                  </a:lnTo>
                  <a:lnTo>
                    <a:pt x="185" y="480"/>
                  </a:lnTo>
                  <a:close/>
                  <a:moveTo>
                    <a:pt x="190" y="480"/>
                  </a:moveTo>
                  <a:lnTo>
                    <a:pt x="190" y="478"/>
                  </a:lnTo>
                  <a:lnTo>
                    <a:pt x="190" y="480"/>
                  </a:lnTo>
                  <a:close/>
                  <a:moveTo>
                    <a:pt x="187" y="478"/>
                  </a:moveTo>
                  <a:lnTo>
                    <a:pt x="187" y="480"/>
                  </a:lnTo>
                  <a:lnTo>
                    <a:pt x="187" y="478"/>
                  </a:lnTo>
                  <a:close/>
                  <a:moveTo>
                    <a:pt x="190" y="480"/>
                  </a:moveTo>
                  <a:lnTo>
                    <a:pt x="190" y="478"/>
                  </a:lnTo>
                  <a:lnTo>
                    <a:pt x="190" y="480"/>
                  </a:lnTo>
                  <a:close/>
                  <a:moveTo>
                    <a:pt x="192" y="478"/>
                  </a:moveTo>
                  <a:lnTo>
                    <a:pt x="190" y="478"/>
                  </a:lnTo>
                  <a:lnTo>
                    <a:pt x="192" y="478"/>
                  </a:lnTo>
                  <a:close/>
                  <a:moveTo>
                    <a:pt x="31" y="478"/>
                  </a:moveTo>
                  <a:lnTo>
                    <a:pt x="28" y="478"/>
                  </a:lnTo>
                  <a:lnTo>
                    <a:pt x="31" y="478"/>
                  </a:lnTo>
                  <a:close/>
                  <a:moveTo>
                    <a:pt x="192" y="478"/>
                  </a:moveTo>
                  <a:lnTo>
                    <a:pt x="190" y="478"/>
                  </a:lnTo>
                  <a:lnTo>
                    <a:pt x="192" y="478"/>
                  </a:lnTo>
                  <a:close/>
                  <a:moveTo>
                    <a:pt x="190" y="478"/>
                  </a:moveTo>
                  <a:lnTo>
                    <a:pt x="187" y="478"/>
                  </a:lnTo>
                  <a:lnTo>
                    <a:pt x="190" y="478"/>
                  </a:lnTo>
                  <a:close/>
                  <a:moveTo>
                    <a:pt x="187" y="478"/>
                  </a:moveTo>
                  <a:lnTo>
                    <a:pt x="187" y="476"/>
                  </a:lnTo>
                  <a:lnTo>
                    <a:pt x="187" y="478"/>
                  </a:lnTo>
                  <a:close/>
                  <a:moveTo>
                    <a:pt x="26" y="476"/>
                  </a:moveTo>
                  <a:lnTo>
                    <a:pt x="26" y="478"/>
                  </a:lnTo>
                  <a:lnTo>
                    <a:pt x="26" y="476"/>
                  </a:lnTo>
                  <a:close/>
                  <a:moveTo>
                    <a:pt x="190" y="478"/>
                  </a:moveTo>
                  <a:lnTo>
                    <a:pt x="190" y="476"/>
                  </a:lnTo>
                  <a:lnTo>
                    <a:pt x="190" y="478"/>
                  </a:lnTo>
                  <a:close/>
                  <a:moveTo>
                    <a:pt x="26" y="476"/>
                  </a:moveTo>
                  <a:lnTo>
                    <a:pt x="26" y="478"/>
                  </a:lnTo>
                  <a:lnTo>
                    <a:pt x="26" y="476"/>
                  </a:lnTo>
                  <a:lnTo>
                    <a:pt x="26" y="478"/>
                  </a:lnTo>
                  <a:lnTo>
                    <a:pt x="24" y="478"/>
                  </a:lnTo>
                  <a:lnTo>
                    <a:pt x="24" y="476"/>
                  </a:lnTo>
                  <a:lnTo>
                    <a:pt x="26" y="476"/>
                  </a:lnTo>
                  <a:close/>
                  <a:moveTo>
                    <a:pt x="192" y="476"/>
                  </a:moveTo>
                  <a:lnTo>
                    <a:pt x="190" y="476"/>
                  </a:lnTo>
                  <a:lnTo>
                    <a:pt x="192" y="476"/>
                  </a:lnTo>
                  <a:close/>
                  <a:moveTo>
                    <a:pt x="190" y="473"/>
                  </a:moveTo>
                  <a:lnTo>
                    <a:pt x="187" y="473"/>
                  </a:lnTo>
                  <a:lnTo>
                    <a:pt x="190" y="473"/>
                  </a:lnTo>
                  <a:close/>
                  <a:moveTo>
                    <a:pt x="261" y="476"/>
                  </a:moveTo>
                  <a:lnTo>
                    <a:pt x="258" y="476"/>
                  </a:lnTo>
                  <a:lnTo>
                    <a:pt x="258" y="473"/>
                  </a:lnTo>
                  <a:lnTo>
                    <a:pt x="261" y="473"/>
                  </a:lnTo>
                  <a:lnTo>
                    <a:pt x="261" y="476"/>
                  </a:lnTo>
                  <a:close/>
                  <a:moveTo>
                    <a:pt x="24" y="473"/>
                  </a:moveTo>
                  <a:lnTo>
                    <a:pt x="26" y="473"/>
                  </a:lnTo>
                  <a:lnTo>
                    <a:pt x="24" y="473"/>
                  </a:lnTo>
                  <a:close/>
                  <a:moveTo>
                    <a:pt x="192" y="473"/>
                  </a:moveTo>
                  <a:lnTo>
                    <a:pt x="190" y="473"/>
                  </a:lnTo>
                  <a:lnTo>
                    <a:pt x="192" y="473"/>
                  </a:lnTo>
                  <a:close/>
                  <a:moveTo>
                    <a:pt x="263" y="473"/>
                  </a:moveTo>
                  <a:lnTo>
                    <a:pt x="261" y="473"/>
                  </a:lnTo>
                  <a:lnTo>
                    <a:pt x="263" y="473"/>
                  </a:lnTo>
                  <a:close/>
                  <a:moveTo>
                    <a:pt x="24" y="471"/>
                  </a:moveTo>
                  <a:lnTo>
                    <a:pt x="24" y="469"/>
                  </a:lnTo>
                  <a:lnTo>
                    <a:pt x="24" y="471"/>
                  </a:lnTo>
                  <a:close/>
                  <a:moveTo>
                    <a:pt x="190" y="471"/>
                  </a:moveTo>
                  <a:lnTo>
                    <a:pt x="190" y="469"/>
                  </a:lnTo>
                  <a:lnTo>
                    <a:pt x="190" y="471"/>
                  </a:lnTo>
                  <a:close/>
                  <a:moveTo>
                    <a:pt x="24" y="469"/>
                  </a:moveTo>
                  <a:lnTo>
                    <a:pt x="21" y="469"/>
                  </a:lnTo>
                  <a:lnTo>
                    <a:pt x="24" y="469"/>
                  </a:lnTo>
                  <a:close/>
                  <a:moveTo>
                    <a:pt x="26" y="469"/>
                  </a:moveTo>
                  <a:lnTo>
                    <a:pt x="24" y="469"/>
                  </a:lnTo>
                  <a:lnTo>
                    <a:pt x="26" y="469"/>
                  </a:lnTo>
                  <a:close/>
                  <a:moveTo>
                    <a:pt x="21" y="469"/>
                  </a:moveTo>
                  <a:lnTo>
                    <a:pt x="19" y="469"/>
                  </a:lnTo>
                  <a:lnTo>
                    <a:pt x="21" y="469"/>
                  </a:lnTo>
                  <a:close/>
                  <a:moveTo>
                    <a:pt x="24" y="469"/>
                  </a:moveTo>
                  <a:lnTo>
                    <a:pt x="24" y="466"/>
                  </a:lnTo>
                  <a:lnTo>
                    <a:pt x="24" y="469"/>
                  </a:lnTo>
                  <a:close/>
                  <a:moveTo>
                    <a:pt x="185" y="469"/>
                  </a:moveTo>
                  <a:lnTo>
                    <a:pt x="185" y="466"/>
                  </a:lnTo>
                  <a:lnTo>
                    <a:pt x="185" y="469"/>
                  </a:lnTo>
                  <a:close/>
                  <a:moveTo>
                    <a:pt x="21" y="469"/>
                  </a:moveTo>
                  <a:lnTo>
                    <a:pt x="21" y="466"/>
                  </a:lnTo>
                  <a:lnTo>
                    <a:pt x="21" y="469"/>
                  </a:lnTo>
                  <a:close/>
                  <a:moveTo>
                    <a:pt x="21" y="469"/>
                  </a:moveTo>
                  <a:lnTo>
                    <a:pt x="21" y="466"/>
                  </a:lnTo>
                  <a:lnTo>
                    <a:pt x="21" y="469"/>
                  </a:lnTo>
                  <a:close/>
                  <a:moveTo>
                    <a:pt x="190" y="466"/>
                  </a:moveTo>
                  <a:lnTo>
                    <a:pt x="190" y="469"/>
                  </a:lnTo>
                  <a:lnTo>
                    <a:pt x="190" y="466"/>
                  </a:lnTo>
                  <a:close/>
                  <a:moveTo>
                    <a:pt x="185" y="466"/>
                  </a:moveTo>
                  <a:lnTo>
                    <a:pt x="183" y="466"/>
                  </a:lnTo>
                  <a:lnTo>
                    <a:pt x="185" y="466"/>
                  </a:lnTo>
                  <a:close/>
                  <a:moveTo>
                    <a:pt x="24" y="466"/>
                  </a:moveTo>
                  <a:lnTo>
                    <a:pt x="21" y="466"/>
                  </a:lnTo>
                  <a:lnTo>
                    <a:pt x="24" y="466"/>
                  </a:lnTo>
                  <a:close/>
                  <a:moveTo>
                    <a:pt x="19" y="466"/>
                  </a:moveTo>
                  <a:lnTo>
                    <a:pt x="21" y="466"/>
                  </a:lnTo>
                  <a:lnTo>
                    <a:pt x="19" y="466"/>
                  </a:lnTo>
                  <a:close/>
                  <a:moveTo>
                    <a:pt x="24" y="466"/>
                  </a:moveTo>
                  <a:lnTo>
                    <a:pt x="21" y="466"/>
                  </a:lnTo>
                  <a:lnTo>
                    <a:pt x="24" y="466"/>
                  </a:lnTo>
                  <a:close/>
                  <a:moveTo>
                    <a:pt x="21" y="466"/>
                  </a:moveTo>
                  <a:lnTo>
                    <a:pt x="21" y="464"/>
                  </a:lnTo>
                  <a:lnTo>
                    <a:pt x="21" y="466"/>
                  </a:lnTo>
                  <a:close/>
                  <a:moveTo>
                    <a:pt x="192" y="466"/>
                  </a:moveTo>
                  <a:lnTo>
                    <a:pt x="192" y="464"/>
                  </a:lnTo>
                  <a:lnTo>
                    <a:pt x="192" y="466"/>
                  </a:lnTo>
                  <a:close/>
                  <a:moveTo>
                    <a:pt x="192" y="464"/>
                  </a:moveTo>
                  <a:lnTo>
                    <a:pt x="192" y="466"/>
                  </a:lnTo>
                  <a:lnTo>
                    <a:pt x="192" y="464"/>
                  </a:lnTo>
                  <a:close/>
                  <a:moveTo>
                    <a:pt x="24" y="466"/>
                  </a:moveTo>
                  <a:lnTo>
                    <a:pt x="24" y="464"/>
                  </a:lnTo>
                  <a:lnTo>
                    <a:pt x="24" y="466"/>
                  </a:lnTo>
                  <a:close/>
                  <a:moveTo>
                    <a:pt x="192" y="464"/>
                  </a:moveTo>
                  <a:lnTo>
                    <a:pt x="192" y="466"/>
                  </a:lnTo>
                  <a:lnTo>
                    <a:pt x="192" y="464"/>
                  </a:lnTo>
                  <a:close/>
                  <a:moveTo>
                    <a:pt x="187" y="464"/>
                  </a:moveTo>
                  <a:lnTo>
                    <a:pt x="185" y="464"/>
                  </a:lnTo>
                  <a:lnTo>
                    <a:pt x="187" y="464"/>
                  </a:lnTo>
                  <a:close/>
                  <a:moveTo>
                    <a:pt x="185" y="464"/>
                  </a:moveTo>
                  <a:lnTo>
                    <a:pt x="183" y="464"/>
                  </a:lnTo>
                  <a:lnTo>
                    <a:pt x="185" y="464"/>
                  </a:lnTo>
                  <a:close/>
                  <a:moveTo>
                    <a:pt x="21" y="464"/>
                  </a:moveTo>
                  <a:lnTo>
                    <a:pt x="19" y="464"/>
                  </a:lnTo>
                  <a:lnTo>
                    <a:pt x="21" y="464"/>
                  </a:lnTo>
                  <a:close/>
                  <a:moveTo>
                    <a:pt x="21" y="464"/>
                  </a:moveTo>
                  <a:lnTo>
                    <a:pt x="21" y="461"/>
                  </a:lnTo>
                  <a:lnTo>
                    <a:pt x="21" y="464"/>
                  </a:lnTo>
                  <a:close/>
                  <a:moveTo>
                    <a:pt x="24" y="464"/>
                  </a:moveTo>
                  <a:lnTo>
                    <a:pt x="24" y="461"/>
                  </a:lnTo>
                  <a:lnTo>
                    <a:pt x="24" y="464"/>
                  </a:lnTo>
                  <a:close/>
                  <a:moveTo>
                    <a:pt x="192" y="464"/>
                  </a:moveTo>
                  <a:lnTo>
                    <a:pt x="192" y="461"/>
                  </a:lnTo>
                  <a:lnTo>
                    <a:pt x="192" y="464"/>
                  </a:lnTo>
                  <a:close/>
                  <a:moveTo>
                    <a:pt x="21" y="461"/>
                  </a:moveTo>
                  <a:lnTo>
                    <a:pt x="19" y="461"/>
                  </a:lnTo>
                  <a:lnTo>
                    <a:pt x="21" y="461"/>
                  </a:lnTo>
                  <a:close/>
                  <a:moveTo>
                    <a:pt x="21" y="461"/>
                  </a:moveTo>
                  <a:lnTo>
                    <a:pt x="19" y="461"/>
                  </a:lnTo>
                  <a:lnTo>
                    <a:pt x="21" y="461"/>
                  </a:lnTo>
                  <a:close/>
                  <a:moveTo>
                    <a:pt x="16" y="461"/>
                  </a:moveTo>
                  <a:lnTo>
                    <a:pt x="19" y="461"/>
                  </a:lnTo>
                  <a:lnTo>
                    <a:pt x="16" y="461"/>
                  </a:lnTo>
                  <a:close/>
                  <a:moveTo>
                    <a:pt x="16" y="461"/>
                  </a:moveTo>
                  <a:lnTo>
                    <a:pt x="19" y="461"/>
                  </a:lnTo>
                  <a:lnTo>
                    <a:pt x="16" y="461"/>
                  </a:lnTo>
                  <a:close/>
                  <a:moveTo>
                    <a:pt x="185" y="461"/>
                  </a:moveTo>
                  <a:lnTo>
                    <a:pt x="185" y="459"/>
                  </a:lnTo>
                  <a:lnTo>
                    <a:pt x="185" y="461"/>
                  </a:lnTo>
                  <a:close/>
                  <a:moveTo>
                    <a:pt x="19" y="461"/>
                  </a:moveTo>
                  <a:lnTo>
                    <a:pt x="19" y="459"/>
                  </a:lnTo>
                  <a:lnTo>
                    <a:pt x="19" y="461"/>
                  </a:lnTo>
                  <a:close/>
                  <a:moveTo>
                    <a:pt x="192" y="461"/>
                  </a:moveTo>
                  <a:lnTo>
                    <a:pt x="192" y="459"/>
                  </a:lnTo>
                  <a:lnTo>
                    <a:pt x="192" y="461"/>
                  </a:lnTo>
                  <a:close/>
                  <a:moveTo>
                    <a:pt x="192" y="461"/>
                  </a:moveTo>
                  <a:lnTo>
                    <a:pt x="192" y="459"/>
                  </a:lnTo>
                  <a:lnTo>
                    <a:pt x="192" y="461"/>
                  </a:lnTo>
                  <a:close/>
                  <a:moveTo>
                    <a:pt x="24" y="459"/>
                  </a:moveTo>
                  <a:lnTo>
                    <a:pt x="21" y="459"/>
                  </a:lnTo>
                  <a:lnTo>
                    <a:pt x="24" y="459"/>
                  </a:lnTo>
                  <a:close/>
                  <a:moveTo>
                    <a:pt x="19" y="459"/>
                  </a:moveTo>
                  <a:lnTo>
                    <a:pt x="16" y="459"/>
                  </a:lnTo>
                  <a:lnTo>
                    <a:pt x="19" y="459"/>
                  </a:lnTo>
                  <a:close/>
                  <a:moveTo>
                    <a:pt x="19" y="459"/>
                  </a:moveTo>
                  <a:lnTo>
                    <a:pt x="16" y="459"/>
                  </a:lnTo>
                  <a:lnTo>
                    <a:pt x="19" y="459"/>
                  </a:lnTo>
                  <a:close/>
                  <a:moveTo>
                    <a:pt x="14" y="459"/>
                  </a:moveTo>
                  <a:lnTo>
                    <a:pt x="16" y="459"/>
                  </a:lnTo>
                  <a:lnTo>
                    <a:pt x="14" y="459"/>
                  </a:lnTo>
                  <a:close/>
                  <a:moveTo>
                    <a:pt x="26" y="459"/>
                  </a:moveTo>
                  <a:lnTo>
                    <a:pt x="26" y="457"/>
                  </a:lnTo>
                  <a:lnTo>
                    <a:pt x="26" y="459"/>
                  </a:lnTo>
                  <a:close/>
                  <a:moveTo>
                    <a:pt x="16" y="459"/>
                  </a:moveTo>
                  <a:lnTo>
                    <a:pt x="16" y="457"/>
                  </a:lnTo>
                  <a:lnTo>
                    <a:pt x="16" y="459"/>
                  </a:lnTo>
                  <a:close/>
                  <a:moveTo>
                    <a:pt x="192" y="459"/>
                  </a:moveTo>
                  <a:lnTo>
                    <a:pt x="192" y="457"/>
                  </a:lnTo>
                  <a:lnTo>
                    <a:pt x="192" y="459"/>
                  </a:lnTo>
                  <a:close/>
                  <a:moveTo>
                    <a:pt x="194" y="457"/>
                  </a:moveTo>
                  <a:lnTo>
                    <a:pt x="192" y="457"/>
                  </a:lnTo>
                  <a:lnTo>
                    <a:pt x="194" y="457"/>
                  </a:lnTo>
                  <a:close/>
                  <a:moveTo>
                    <a:pt x="16" y="457"/>
                  </a:moveTo>
                  <a:lnTo>
                    <a:pt x="14" y="457"/>
                  </a:lnTo>
                  <a:lnTo>
                    <a:pt x="16" y="457"/>
                  </a:lnTo>
                  <a:close/>
                  <a:moveTo>
                    <a:pt x="26" y="457"/>
                  </a:moveTo>
                  <a:lnTo>
                    <a:pt x="28" y="457"/>
                  </a:lnTo>
                  <a:lnTo>
                    <a:pt x="26" y="457"/>
                  </a:lnTo>
                  <a:close/>
                  <a:moveTo>
                    <a:pt x="192" y="454"/>
                  </a:moveTo>
                  <a:lnTo>
                    <a:pt x="190" y="454"/>
                  </a:lnTo>
                  <a:lnTo>
                    <a:pt x="192" y="454"/>
                  </a:lnTo>
                  <a:close/>
                  <a:moveTo>
                    <a:pt x="21" y="454"/>
                  </a:moveTo>
                  <a:lnTo>
                    <a:pt x="21" y="452"/>
                  </a:lnTo>
                  <a:lnTo>
                    <a:pt x="21" y="454"/>
                  </a:lnTo>
                  <a:close/>
                  <a:moveTo>
                    <a:pt x="16" y="452"/>
                  </a:moveTo>
                  <a:lnTo>
                    <a:pt x="14" y="452"/>
                  </a:lnTo>
                  <a:lnTo>
                    <a:pt x="16" y="452"/>
                  </a:lnTo>
                  <a:close/>
                  <a:moveTo>
                    <a:pt x="14" y="452"/>
                  </a:moveTo>
                  <a:lnTo>
                    <a:pt x="12" y="452"/>
                  </a:lnTo>
                  <a:lnTo>
                    <a:pt x="14" y="452"/>
                  </a:lnTo>
                  <a:close/>
                  <a:moveTo>
                    <a:pt x="197" y="449"/>
                  </a:moveTo>
                  <a:lnTo>
                    <a:pt x="194" y="449"/>
                  </a:lnTo>
                  <a:lnTo>
                    <a:pt x="197" y="449"/>
                  </a:lnTo>
                  <a:close/>
                  <a:moveTo>
                    <a:pt x="194" y="447"/>
                  </a:moveTo>
                  <a:lnTo>
                    <a:pt x="194" y="449"/>
                  </a:lnTo>
                  <a:lnTo>
                    <a:pt x="194" y="447"/>
                  </a:lnTo>
                  <a:close/>
                  <a:moveTo>
                    <a:pt x="14" y="447"/>
                  </a:moveTo>
                  <a:lnTo>
                    <a:pt x="14" y="449"/>
                  </a:lnTo>
                  <a:lnTo>
                    <a:pt x="14" y="447"/>
                  </a:lnTo>
                  <a:close/>
                  <a:moveTo>
                    <a:pt x="199" y="447"/>
                  </a:moveTo>
                  <a:lnTo>
                    <a:pt x="197" y="447"/>
                  </a:lnTo>
                  <a:lnTo>
                    <a:pt x="199" y="447"/>
                  </a:lnTo>
                  <a:close/>
                  <a:moveTo>
                    <a:pt x="197" y="447"/>
                  </a:moveTo>
                  <a:lnTo>
                    <a:pt x="197" y="449"/>
                  </a:lnTo>
                  <a:lnTo>
                    <a:pt x="197" y="447"/>
                  </a:lnTo>
                  <a:lnTo>
                    <a:pt x="199" y="447"/>
                  </a:lnTo>
                  <a:lnTo>
                    <a:pt x="197" y="447"/>
                  </a:lnTo>
                  <a:close/>
                  <a:moveTo>
                    <a:pt x="194" y="447"/>
                  </a:moveTo>
                  <a:lnTo>
                    <a:pt x="192" y="447"/>
                  </a:lnTo>
                  <a:lnTo>
                    <a:pt x="194" y="447"/>
                  </a:lnTo>
                  <a:close/>
                  <a:moveTo>
                    <a:pt x="14" y="447"/>
                  </a:moveTo>
                  <a:lnTo>
                    <a:pt x="12" y="447"/>
                  </a:lnTo>
                  <a:lnTo>
                    <a:pt x="14" y="447"/>
                  </a:lnTo>
                  <a:close/>
                  <a:moveTo>
                    <a:pt x="199" y="447"/>
                  </a:moveTo>
                  <a:lnTo>
                    <a:pt x="199" y="445"/>
                  </a:lnTo>
                  <a:lnTo>
                    <a:pt x="199" y="447"/>
                  </a:lnTo>
                  <a:close/>
                  <a:moveTo>
                    <a:pt x="194" y="447"/>
                  </a:moveTo>
                  <a:lnTo>
                    <a:pt x="194" y="445"/>
                  </a:lnTo>
                  <a:lnTo>
                    <a:pt x="194" y="447"/>
                  </a:lnTo>
                  <a:close/>
                  <a:moveTo>
                    <a:pt x="199" y="445"/>
                  </a:moveTo>
                  <a:lnTo>
                    <a:pt x="199" y="447"/>
                  </a:lnTo>
                  <a:lnTo>
                    <a:pt x="199" y="445"/>
                  </a:lnTo>
                  <a:close/>
                  <a:moveTo>
                    <a:pt x="199" y="447"/>
                  </a:moveTo>
                  <a:lnTo>
                    <a:pt x="199" y="445"/>
                  </a:lnTo>
                  <a:lnTo>
                    <a:pt x="199" y="447"/>
                  </a:lnTo>
                  <a:close/>
                  <a:moveTo>
                    <a:pt x="194" y="447"/>
                  </a:moveTo>
                  <a:lnTo>
                    <a:pt x="192" y="447"/>
                  </a:lnTo>
                  <a:lnTo>
                    <a:pt x="192" y="445"/>
                  </a:lnTo>
                  <a:lnTo>
                    <a:pt x="194" y="445"/>
                  </a:lnTo>
                  <a:lnTo>
                    <a:pt x="194" y="447"/>
                  </a:lnTo>
                  <a:close/>
                  <a:moveTo>
                    <a:pt x="14" y="445"/>
                  </a:moveTo>
                  <a:lnTo>
                    <a:pt x="14" y="447"/>
                  </a:lnTo>
                  <a:lnTo>
                    <a:pt x="14" y="445"/>
                  </a:lnTo>
                  <a:close/>
                  <a:moveTo>
                    <a:pt x="202" y="445"/>
                  </a:moveTo>
                  <a:lnTo>
                    <a:pt x="199" y="445"/>
                  </a:lnTo>
                  <a:lnTo>
                    <a:pt x="202" y="445"/>
                  </a:lnTo>
                  <a:close/>
                  <a:moveTo>
                    <a:pt x="14" y="445"/>
                  </a:moveTo>
                  <a:lnTo>
                    <a:pt x="12" y="445"/>
                  </a:lnTo>
                  <a:lnTo>
                    <a:pt x="14" y="445"/>
                  </a:lnTo>
                  <a:close/>
                  <a:moveTo>
                    <a:pt x="194" y="445"/>
                  </a:moveTo>
                  <a:lnTo>
                    <a:pt x="192" y="445"/>
                  </a:lnTo>
                  <a:lnTo>
                    <a:pt x="194" y="445"/>
                  </a:lnTo>
                  <a:close/>
                  <a:moveTo>
                    <a:pt x="21" y="445"/>
                  </a:moveTo>
                  <a:lnTo>
                    <a:pt x="19" y="445"/>
                  </a:lnTo>
                  <a:lnTo>
                    <a:pt x="21" y="445"/>
                  </a:lnTo>
                  <a:close/>
                  <a:moveTo>
                    <a:pt x="14" y="445"/>
                  </a:moveTo>
                  <a:lnTo>
                    <a:pt x="16" y="445"/>
                  </a:lnTo>
                  <a:lnTo>
                    <a:pt x="14" y="445"/>
                  </a:lnTo>
                  <a:close/>
                  <a:moveTo>
                    <a:pt x="199" y="445"/>
                  </a:moveTo>
                  <a:lnTo>
                    <a:pt x="197" y="445"/>
                  </a:lnTo>
                  <a:lnTo>
                    <a:pt x="199" y="445"/>
                  </a:lnTo>
                  <a:close/>
                  <a:moveTo>
                    <a:pt x="199" y="445"/>
                  </a:moveTo>
                  <a:lnTo>
                    <a:pt x="197" y="445"/>
                  </a:lnTo>
                  <a:lnTo>
                    <a:pt x="199" y="445"/>
                  </a:lnTo>
                  <a:close/>
                  <a:moveTo>
                    <a:pt x="202" y="445"/>
                  </a:moveTo>
                  <a:lnTo>
                    <a:pt x="199" y="445"/>
                  </a:lnTo>
                  <a:lnTo>
                    <a:pt x="202" y="445"/>
                  </a:lnTo>
                  <a:lnTo>
                    <a:pt x="199" y="445"/>
                  </a:lnTo>
                  <a:lnTo>
                    <a:pt x="202" y="445"/>
                  </a:lnTo>
                  <a:close/>
                  <a:moveTo>
                    <a:pt x="202" y="445"/>
                  </a:moveTo>
                  <a:lnTo>
                    <a:pt x="199" y="445"/>
                  </a:lnTo>
                  <a:lnTo>
                    <a:pt x="202" y="445"/>
                  </a:lnTo>
                  <a:close/>
                  <a:moveTo>
                    <a:pt x="199" y="445"/>
                  </a:moveTo>
                  <a:lnTo>
                    <a:pt x="199" y="442"/>
                  </a:lnTo>
                  <a:lnTo>
                    <a:pt x="199" y="445"/>
                  </a:lnTo>
                  <a:close/>
                  <a:moveTo>
                    <a:pt x="14" y="445"/>
                  </a:moveTo>
                  <a:lnTo>
                    <a:pt x="12" y="445"/>
                  </a:lnTo>
                  <a:lnTo>
                    <a:pt x="14" y="442"/>
                  </a:lnTo>
                  <a:lnTo>
                    <a:pt x="14" y="445"/>
                  </a:lnTo>
                  <a:close/>
                  <a:moveTo>
                    <a:pt x="12" y="445"/>
                  </a:moveTo>
                  <a:lnTo>
                    <a:pt x="12" y="442"/>
                  </a:lnTo>
                  <a:lnTo>
                    <a:pt x="12" y="445"/>
                  </a:lnTo>
                  <a:close/>
                  <a:moveTo>
                    <a:pt x="199" y="442"/>
                  </a:moveTo>
                  <a:lnTo>
                    <a:pt x="202" y="442"/>
                  </a:lnTo>
                  <a:lnTo>
                    <a:pt x="199" y="442"/>
                  </a:lnTo>
                  <a:close/>
                  <a:moveTo>
                    <a:pt x="199" y="442"/>
                  </a:moveTo>
                  <a:lnTo>
                    <a:pt x="199" y="440"/>
                  </a:lnTo>
                  <a:lnTo>
                    <a:pt x="199" y="442"/>
                  </a:lnTo>
                  <a:close/>
                  <a:moveTo>
                    <a:pt x="192" y="442"/>
                  </a:moveTo>
                  <a:lnTo>
                    <a:pt x="192" y="440"/>
                  </a:lnTo>
                  <a:lnTo>
                    <a:pt x="192" y="442"/>
                  </a:lnTo>
                  <a:close/>
                  <a:moveTo>
                    <a:pt x="199" y="442"/>
                  </a:moveTo>
                  <a:lnTo>
                    <a:pt x="199" y="440"/>
                  </a:lnTo>
                  <a:lnTo>
                    <a:pt x="199" y="442"/>
                  </a:lnTo>
                  <a:close/>
                  <a:moveTo>
                    <a:pt x="14" y="440"/>
                  </a:moveTo>
                  <a:lnTo>
                    <a:pt x="14" y="442"/>
                  </a:lnTo>
                  <a:lnTo>
                    <a:pt x="12" y="440"/>
                  </a:lnTo>
                  <a:lnTo>
                    <a:pt x="14" y="440"/>
                  </a:lnTo>
                  <a:close/>
                  <a:moveTo>
                    <a:pt x="197" y="442"/>
                  </a:moveTo>
                  <a:lnTo>
                    <a:pt x="194" y="442"/>
                  </a:lnTo>
                  <a:lnTo>
                    <a:pt x="197" y="440"/>
                  </a:lnTo>
                  <a:lnTo>
                    <a:pt x="197" y="442"/>
                  </a:lnTo>
                  <a:close/>
                  <a:moveTo>
                    <a:pt x="199" y="438"/>
                  </a:moveTo>
                  <a:lnTo>
                    <a:pt x="199" y="440"/>
                  </a:lnTo>
                  <a:lnTo>
                    <a:pt x="199" y="438"/>
                  </a:lnTo>
                  <a:lnTo>
                    <a:pt x="199" y="440"/>
                  </a:lnTo>
                  <a:lnTo>
                    <a:pt x="199" y="438"/>
                  </a:lnTo>
                  <a:close/>
                  <a:moveTo>
                    <a:pt x="12" y="440"/>
                  </a:moveTo>
                  <a:lnTo>
                    <a:pt x="9" y="438"/>
                  </a:lnTo>
                  <a:lnTo>
                    <a:pt x="12" y="438"/>
                  </a:lnTo>
                  <a:lnTo>
                    <a:pt x="12" y="440"/>
                  </a:lnTo>
                  <a:close/>
                  <a:moveTo>
                    <a:pt x="199" y="440"/>
                  </a:moveTo>
                  <a:lnTo>
                    <a:pt x="199" y="438"/>
                  </a:lnTo>
                  <a:lnTo>
                    <a:pt x="199" y="440"/>
                  </a:lnTo>
                  <a:close/>
                  <a:moveTo>
                    <a:pt x="190" y="438"/>
                  </a:moveTo>
                  <a:lnTo>
                    <a:pt x="192" y="438"/>
                  </a:lnTo>
                  <a:lnTo>
                    <a:pt x="190" y="438"/>
                  </a:lnTo>
                  <a:close/>
                  <a:moveTo>
                    <a:pt x="192" y="438"/>
                  </a:moveTo>
                  <a:lnTo>
                    <a:pt x="190" y="438"/>
                  </a:lnTo>
                  <a:lnTo>
                    <a:pt x="192" y="438"/>
                  </a:lnTo>
                  <a:close/>
                  <a:moveTo>
                    <a:pt x="192" y="438"/>
                  </a:moveTo>
                  <a:lnTo>
                    <a:pt x="190" y="438"/>
                  </a:lnTo>
                  <a:lnTo>
                    <a:pt x="192" y="438"/>
                  </a:lnTo>
                  <a:close/>
                  <a:moveTo>
                    <a:pt x="190" y="438"/>
                  </a:moveTo>
                  <a:lnTo>
                    <a:pt x="192" y="438"/>
                  </a:lnTo>
                  <a:lnTo>
                    <a:pt x="190" y="438"/>
                  </a:lnTo>
                  <a:close/>
                  <a:moveTo>
                    <a:pt x="197" y="438"/>
                  </a:moveTo>
                  <a:lnTo>
                    <a:pt x="197" y="435"/>
                  </a:lnTo>
                  <a:lnTo>
                    <a:pt x="197" y="438"/>
                  </a:lnTo>
                  <a:close/>
                  <a:moveTo>
                    <a:pt x="199" y="435"/>
                  </a:moveTo>
                  <a:lnTo>
                    <a:pt x="199" y="438"/>
                  </a:lnTo>
                  <a:lnTo>
                    <a:pt x="199" y="435"/>
                  </a:lnTo>
                  <a:close/>
                  <a:moveTo>
                    <a:pt x="192" y="435"/>
                  </a:moveTo>
                  <a:lnTo>
                    <a:pt x="190" y="435"/>
                  </a:lnTo>
                  <a:lnTo>
                    <a:pt x="192" y="435"/>
                  </a:lnTo>
                  <a:close/>
                  <a:moveTo>
                    <a:pt x="185" y="435"/>
                  </a:moveTo>
                  <a:lnTo>
                    <a:pt x="183" y="435"/>
                  </a:lnTo>
                  <a:lnTo>
                    <a:pt x="185" y="435"/>
                  </a:lnTo>
                  <a:close/>
                  <a:moveTo>
                    <a:pt x="194" y="435"/>
                  </a:moveTo>
                  <a:lnTo>
                    <a:pt x="194" y="433"/>
                  </a:lnTo>
                  <a:lnTo>
                    <a:pt x="194" y="435"/>
                  </a:lnTo>
                  <a:close/>
                  <a:moveTo>
                    <a:pt x="9" y="435"/>
                  </a:moveTo>
                  <a:lnTo>
                    <a:pt x="9" y="433"/>
                  </a:lnTo>
                  <a:lnTo>
                    <a:pt x="9" y="435"/>
                  </a:lnTo>
                  <a:close/>
                  <a:moveTo>
                    <a:pt x="197" y="433"/>
                  </a:moveTo>
                  <a:lnTo>
                    <a:pt x="197" y="435"/>
                  </a:lnTo>
                  <a:lnTo>
                    <a:pt x="197" y="433"/>
                  </a:lnTo>
                  <a:close/>
                  <a:moveTo>
                    <a:pt x="194" y="433"/>
                  </a:moveTo>
                  <a:lnTo>
                    <a:pt x="197" y="433"/>
                  </a:lnTo>
                  <a:lnTo>
                    <a:pt x="194" y="433"/>
                  </a:lnTo>
                  <a:close/>
                  <a:moveTo>
                    <a:pt x="197" y="433"/>
                  </a:moveTo>
                  <a:lnTo>
                    <a:pt x="197" y="435"/>
                  </a:lnTo>
                  <a:lnTo>
                    <a:pt x="197" y="433"/>
                  </a:lnTo>
                  <a:close/>
                  <a:moveTo>
                    <a:pt x="12" y="433"/>
                  </a:moveTo>
                  <a:lnTo>
                    <a:pt x="9" y="433"/>
                  </a:lnTo>
                  <a:lnTo>
                    <a:pt x="12" y="433"/>
                  </a:lnTo>
                  <a:close/>
                  <a:moveTo>
                    <a:pt x="12" y="433"/>
                  </a:moveTo>
                  <a:lnTo>
                    <a:pt x="9" y="433"/>
                  </a:lnTo>
                  <a:lnTo>
                    <a:pt x="12" y="433"/>
                  </a:lnTo>
                  <a:close/>
                  <a:moveTo>
                    <a:pt x="9" y="430"/>
                  </a:moveTo>
                  <a:lnTo>
                    <a:pt x="9" y="433"/>
                  </a:lnTo>
                  <a:lnTo>
                    <a:pt x="9" y="430"/>
                  </a:lnTo>
                  <a:close/>
                  <a:moveTo>
                    <a:pt x="199" y="430"/>
                  </a:moveTo>
                  <a:lnTo>
                    <a:pt x="197" y="433"/>
                  </a:lnTo>
                  <a:lnTo>
                    <a:pt x="197" y="430"/>
                  </a:lnTo>
                  <a:lnTo>
                    <a:pt x="199" y="430"/>
                  </a:lnTo>
                  <a:close/>
                  <a:moveTo>
                    <a:pt x="9" y="430"/>
                  </a:moveTo>
                  <a:lnTo>
                    <a:pt x="7" y="430"/>
                  </a:lnTo>
                  <a:lnTo>
                    <a:pt x="9" y="430"/>
                  </a:lnTo>
                  <a:close/>
                  <a:moveTo>
                    <a:pt x="199" y="430"/>
                  </a:moveTo>
                  <a:lnTo>
                    <a:pt x="197" y="430"/>
                  </a:lnTo>
                  <a:lnTo>
                    <a:pt x="199" y="430"/>
                  </a:lnTo>
                  <a:lnTo>
                    <a:pt x="197" y="430"/>
                  </a:lnTo>
                  <a:lnTo>
                    <a:pt x="199" y="430"/>
                  </a:lnTo>
                  <a:close/>
                  <a:moveTo>
                    <a:pt x="197" y="430"/>
                  </a:moveTo>
                  <a:lnTo>
                    <a:pt x="194" y="430"/>
                  </a:lnTo>
                  <a:lnTo>
                    <a:pt x="197" y="430"/>
                  </a:lnTo>
                  <a:close/>
                  <a:moveTo>
                    <a:pt x="9" y="430"/>
                  </a:moveTo>
                  <a:lnTo>
                    <a:pt x="7" y="430"/>
                  </a:lnTo>
                  <a:lnTo>
                    <a:pt x="9" y="430"/>
                  </a:lnTo>
                  <a:close/>
                  <a:moveTo>
                    <a:pt x="7" y="430"/>
                  </a:moveTo>
                  <a:lnTo>
                    <a:pt x="7" y="428"/>
                  </a:lnTo>
                  <a:lnTo>
                    <a:pt x="7" y="430"/>
                  </a:lnTo>
                  <a:close/>
                  <a:moveTo>
                    <a:pt x="194" y="430"/>
                  </a:moveTo>
                  <a:lnTo>
                    <a:pt x="194" y="428"/>
                  </a:lnTo>
                  <a:lnTo>
                    <a:pt x="194" y="430"/>
                  </a:lnTo>
                  <a:close/>
                  <a:moveTo>
                    <a:pt x="197" y="430"/>
                  </a:moveTo>
                  <a:lnTo>
                    <a:pt x="197" y="428"/>
                  </a:lnTo>
                  <a:lnTo>
                    <a:pt x="197" y="430"/>
                  </a:lnTo>
                  <a:close/>
                  <a:moveTo>
                    <a:pt x="197" y="430"/>
                  </a:moveTo>
                  <a:lnTo>
                    <a:pt x="197" y="428"/>
                  </a:lnTo>
                  <a:lnTo>
                    <a:pt x="197" y="430"/>
                  </a:lnTo>
                  <a:close/>
                  <a:moveTo>
                    <a:pt x="5" y="428"/>
                  </a:moveTo>
                  <a:lnTo>
                    <a:pt x="5" y="430"/>
                  </a:lnTo>
                  <a:lnTo>
                    <a:pt x="5" y="428"/>
                  </a:lnTo>
                  <a:lnTo>
                    <a:pt x="2" y="428"/>
                  </a:lnTo>
                  <a:lnTo>
                    <a:pt x="5" y="428"/>
                  </a:lnTo>
                  <a:close/>
                  <a:moveTo>
                    <a:pt x="5" y="428"/>
                  </a:moveTo>
                  <a:lnTo>
                    <a:pt x="2" y="428"/>
                  </a:lnTo>
                  <a:lnTo>
                    <a:pt x="5" y="428"/>
                  </a:lnTo>
                  <a:close/>
                  <a:moveTo>
                    <a:pt x="197" y="428"/>
                  </a:moveTo>
                  <a:lnTo>
                    <a:pt x="194" y="428"/>
                  </a:lnTo>
                  <a:lnTo>
                    <a:pt x="197" y="428"/>
                  </a:lnTo>
                  <a:close/>
                  <a:moveTo>
                    <a:pt x="194" y="428"/>
                  </a:moveTo>
                  <a:lnTo>
                    <a:pt x="192" y="428"/>
                  </a:lnTo>
                  <a:lnTo>
                    <a:pt x="194" y="428"/>
                  </a:lnTo>
                  <a:close/>
                  <a:moveTo>
                    <a:pt x="9" y="428"/>
                  </a:moveTo>
                  <a:lnTo>
                    <a:pt x="7" y="428"/>
                  </a:lnTo>
                  <a:lnTo>
                    <a:pt x="9" y="428"/>
                  </a:lnTo>
                  <a:close/>
                  <a:moveTo>
                    <a:pt x="2" y="428"/>
                  </a:moveTo>
                  <a:lnTo>
                    <a:pt x="2" y="426"/>
                  </a:lnTo>
                  <a:lnTo>
                    <a:pt x="2" y="428"/>
                  </a:lnTo>
                  <a:close/>
                  <a:moveTo>
                    <a:pt x="7" y="428"/>
                  </a:moveTo>
                  <a:lnTo>
                    <a:pt x="7" y="426"/>
                  </a:lnTo>
                  <a:lnTo>
                    <a:pt x="7" y="428"/>
                  </a:lnTo>
                  <a:close/>
                  <a:moveTo>
                    <a:pt x="194" y="428"/>
                  </a:moveTo>
                  <a:lnTo>
                    <a:pt x="194" y="426"/>
                  </a:lnTo>
                  <a:lnTo>
                    <a:pt x="194" y="428"/>
                  </a:lnTo>
                  <a:close/>
                  <a:moveTo>
                    <a:pt x="7" y="426"/>
                  </a:moveTo>
                  <a:lnTo>
                    <a:pt x="7" y="428"/>
                  </a:lnTo>
                  <a:lnTo>
                    <a:pt x="7" y="426"/>
                  </a:lnTo>
                  <a:close/>
                  <a:moveTo>
                    <a:pt x="178" y="426"/>
                  </a:moveTo>
                  <a:lnTo>
                    <a:pt x="175" y="426"/>
                  </a:lnTo>
                  <a:lnTo>
                    <a:pt x="178" y="426"/>
                  </a:lnTo>
                  <a:close/>
                  <a:moveTo>
                    <a:pt x="7" y="426"/>
                  </a:moveTo>
                  <a:lnTo>
                    <a:pt x="9" y="426"/>
                  </a:lnTo>
                  <a:lnTo>
                    <a:pt x="7" y="426"/>
                  </a:lnTo>
                  <a:close/>
                  <a:moveTo>
                    <a:pt x="7" y="426"/>
                  </a:moveTo>
                  <a:lnTo>
                    <a:pt x="7" y="423"/>
                  </a:lnTo>
                  <a:lnTo>
                    <a:pt x="7" y="426"/>
                  </a:lnTo>
                  <a:close/>
                  <a:moveTo>
                    <a:pt x="175" y="423"/>
                  </a:moveTo>
                  <a:lnTo>
                    <a:pt x="175" y="426"/>
                  </a:lnTo>
                  <a:lnTo>
                    <a:pt x="175" y="423"/>
                  </a:lnTo>
                  <a:close/>
                  <a:moveTo>
                    <a:pt x="204" y="423"/>
                  </a:moveTo>
                  <a:lnTo>
                    <a:pt x="204" y="426"/>
                  </a:lnTo>
                  <a:lnTo>
                    <a:pt x="204" y="423"/>
                  </a:lnTo>
                  <a:close/>
                  <a:moveTo>
                    <a:pt x="199" y="423"/>
                  </a:moveTo>
                  <a:lnTo>
                    <a:pt x="197" y="423"/>
                  </a:lnTo>
                  <a:lnTo>
                    <a:pt x="199" y="423"/>
                  </a:lnTo>
                  <a:close/>
                  <a:moveTo>
                    <a:pt x="9" y="423"/>
                  </a:moveTo>
                  <a:lnTo>
                    <a:pt x="7" y="423"/>
                  </a:lnTo>
                  <a:lnTo>
                    <a:pt x="9" y="423"/>
                  </a:lnTo>
                  <a:close/>
                  <a:moveTo>
                    <a:pt x="7" y="423"/>
                  </a:moveTo>
                  <a:lnTo>
                    <a:pt x="7" y="421"/>
                  </a:lnTo>
                  <a:lnTo>
                    <a:pt x="7" y="423"/>
                  </a:lnTo>
                  <a:close/>
                  <a:moveTo>
                    <a:pt x="211" y="421"/>
                  </a:moveTo>
                  <a:lnTo>
                    <a:pt x="209" y="421"/>
                  </a:lnTo>
                  <a:lnTo>
                    <a:pt x="211" y="421"/>
                  </a:lnTo>
                  <a:close/>
                  <a:moveTo>
                    <a:pt x="206" y="421"/>
                  </a:moveTo>
                  <a:lnTo>
                    <a:pt x="204" y="421"/>
                  </a:lnTo>
                  <a:lnTo>
                    <a:pt x="206" y="421"/>
                  </a:lnTo>
                  <a:close/>
                  <a:moveTo>
                    <a:pt x="216" y="421"/>
                  </a:moveTo>
                  <a:lnTo>
                    <a:pt x="213" y="421"/>
                  </a:lnTo>
                  <a:lnTo>
                    <a:pt x="216" y="421"/>
                  </a:lnTo>
                  <a:close/>
                  <a:moveTo>
                    <a:pt x="211" y="421"/>
                  </a:moveTo>
                  <a:lnTo>
                    <a:pt x="209" y="421"/>
                  </a:lnTo>
                  <a:lnTo>
                    <a:pt x="211" y="421"/>
                  </a:lnTo>
                  <a:close/>
                  <a:moveTo>
                    <a:pt x="213" y="421"/>
                  </a:moveTo>
                  <a:lnTo>
                    <a:pt x="211" y="421"/>
                  </a:lnTo>
                  <a:lnTo>
                    <a:pt x="213" y="421"/>
                  </a:lnTo>
                  <a:close/>
                  <a:moveTo>
                    <a:pt x="204" y="421"/>
                  </a:moveTo>
                  <a:lnTo>
                    <a:pt x="204" y="419"/>
                  </a:lnTo>
                  <a:lnTo>
                    <a:pt x="204" y="421"/>
                  </a:lnTo>
                  <a:close/>
                  <a:moveTo>
                    <a:pt x="216" y="421"/>
                  </a:moveTo>
                  <a:lnTo>
                    <a:pt x="213" y="421"/>
                  </a:lnTo>
                  <a:lnTo>
                    <a:pt x="216" y="419"/>
                  </a:lnTo>
                  <a:lnTo>
                    <a:pt x="216" y="421"/>
                  </a:lnTo>
                  <a:close/>
                  <a:moveTo>
                    <a:pt x="211" y="421"/>
                  </a:moveTo>
                  <a:lnTo>
                    <a:pt x="211" y="419"/>
                  </a:lnTo>
                  <a:lnTo>
                    <a:pt x="211" y="421"/>
                  </a:lnTo>
                  <a:close/>
                  <a:moveTo>
                    <a:pt x="206" y="419"/>
                  </a:moveTo>
                  <a:lnTo>
                    <a:pt x="206" y="421"/>
                  </a:lnTo>
                  <a:lnTo>
                    <a:pt x="206" y="419"/>
                  </a:lnTo>
                  <a:close/>
                  <a:moveTo>
                    <a:pt x="211" y="419"/>
                  </a:moveTo>
                  <a:lnTo>
                    <a:pt x="209" y="419"/>
                  </a:lnTo>
                  <a:lnTo>
                    <a:pt x="211" y="419"/>
                  </a:lnTo>
                  <a:close/>
                  <a:moveTo>
                    <a:pt x="9" y="419"/>
                  </a:moveTo>
                  <a:lnTo>
                    <a:pt x="7" y="419"/>
                  </a:lnTo>
                  <a:lnTo>
                    <a:pt x="9" y="419"/>
                  </a:lnTo>
                  <a:close/>
                  <a:moveTo>
                    <a:pt x="218" y="419"/>
                  </a:moveTo>
                  <a:lnTo>
                    <a:pt x="216" y="419"/>
                  </a:lnTo>
                  <a:lnTo>
                    <a:pt x="218" y="419"/>
                  </a:lnTo>
                  <a:close/>
                  <a:moveTo>
                    <a:pt x="232" y="419"/>
                  </a:moveTo>
                  <a:lnTo>
                    <a:pt x="232" y="416"/>
                  </a:lnTo>
                  <a:lnTo>
                    <a:pt x="232" y="419"/>
                  </a:lnTo>
                  <a:close/>
                  <a:moveTo>
                    <a:pt x="228" y="419"/>
                  </a:moveTo>
                  <a:lnTo>
                    <a:pt x="228" y="416"/>
                  </a:lnTo>
                  <a:lnTo>
                    <a:pt x="228" y="419"/>
                  </a:lnTo>
                  <a:close/>
                  <a:moveTo>
                    <a:pt x="232" y="419"/>
                  </a:moveTo>
                  <a:lnTo>
                    <a:pt x="232" y="416"/>
                  </a:lnTo>
                  <a:lnTo>
                    <a:pt x="232" y="419"/>
                  </a:lnTo>
                  <a:close/>
                  <a:moveTo>
                    <a:pt x="218" y="416"/>
                  </a:moveTo>
                  <a:lnTo>
                    <a:pt x="218" y="419"/>
                  </a:lnTo>
                  <a:lnTo>
                    <a:pt x="218" y="416"/>
                  </a:lnTo>
                  <a:close/>
                  <a:moveTo>
                    <a:pt x="7" y="416"/>
                  </a:moveTo>
                  <a:lnTo>
                    <a:pt x="7" y="419"/>
                  </a:lnTo>
                  <a:lnTo>
                    <a:pt x="7" y="416"/>
                  </a:lnTo>
                  <a:close/>
                  <a:moveTo>
                    <a:pt x="7" y="416"/>
                  </a:moveTo>
                  <a:lnTo>
                    <a:pt x="5" y="416"/>
                  </a:lnTo>
                  <a:lnTo>
                    <a:pt x="7" y="416"/>
                  </a:lnTo>
                  <a:close/>
                  <a:moveTo>
                    <a:pt x="230" y="416"/>
                  </a:moveTo>
                  <a:lnTo>
                    <a:pt x="228" y="416"/>
                  </a:lnTo>
                  <a:lnTo>
                    <a:pt x="230" y="416"/>
                  </a:lnTo>
                  <a:close/>
                  <a:moveTo>
                    <a:pt x="228" y="416"/>
                  </a:moveTo>
                  <a:lnTo>
                    <a:pt x="225" y="416"/>
                  </a:lnTo>
                  <a:lnTo>
                    <a:pt x="228" y="416"/>
                  </a:lnTo>
                  <a:close/>
                  <a:moveTo>
                    <a:pt x="7" y="416"/>
                  </a:moveTo>
                  <a:lnTo>
                    <a:pt x="5" y="416"/>
                  </a:lnTo>
                  <a:lnTo>
                    <a:pt x="7" y="416"/>
                  </a:lnTo>
                  <a:close/>
                  <a:moveTo>
                    <a:pt x="225" y="416"/>
                  </a:moveTo>
                  <a:lnTo>
                    <a:pt x="223" y="416"/>
                  </a:lnTo>
                  <a:lnTo>
                    <a:pt x="225" y="416"/>
                  </a:lnTo>
                  <a:close/>
                  <a:moveTo>
                    <a:pt x="7" y="416"/>
                  </a:moveTo>
                  <a:lnTo>
                    <a:pt x="5" y="416"/>
                  </a:lnTo>
                  <a:lnTo>
                    <a:pt x="7" y="416"/>
                  </a:lnTo>
                  <a:close/>
                  <a:moveTo>
                    <a:pt x="216" y="416"/>
                  </a:moveTo>
                  <a:lnTo>
                    <a:pt x="213" y="416"/>
                  </a:lnTo>
                  <a:lnTo>
                    <a:pt x="216" y="416"/>
                  </a:lnTo>
                  <a:close/>
                  <a:moveTo>
                    <a:pt x="216" y="416"/>
                  </a:moveTo>
                  <a:lnTo>
                    <a:pt x="216" y="414"/>
                  </a:lnTo>
                  <a:lnTo>
                    <a:pt x="216" y="416"/>
                  </a:lnTo>
                  <a:close/>
                  <a:moveTo>
                    <a:pt x="228" y="414"/>
                  </a:moveTo>
                  <a:lnTo>
                    <a:pt x="228" y="416"/>
                  </a:lnTo>
                  <a:lnTo>
                    <a:pt x="228" y="414"/>
                  </a:lnTo>
                  <a:close/>
                  <a:moveTo>
                    <a:pt x="9" y="414"/>
                  </a:moveTo>
                  <a:lnTo>
                    <a:pt x="7" y="414"/>
                  </a:lnTo>
                  <a:lnTo>
                    <a:pt x="9" y="414"/>
                  </a:lnTo>
                  <a:close/>
                  <a:moveTo>
                    <a:pt x="0" y="414"/>
                  </a:moveTo>
                  <a:lnTo>
                    <a:pt x="2" y="414"/>
                  </a:lnTo>
                  <a:lnTo>
                    <a:pt x="0" y="414"/>
                  </a:lnTo>
                  <a:close/>
                  <a:moveTo>
                    <a:pt x="221" y="414"/>
                  </a:moveTo>
                  <a:lnTo>
                    <a:pt x="218" y="414"/>
                  </a:lnTo>
                  <a:lnTo>
                    <a:pt x="221" y="414"/>
                  </a:lnTo>
                  <a:close/>
                  <a:moveTo>
                    <a:pt x="2" y="414"/>
                  </a:moveTo>
                  <a:lnTo>
                    <a:pt x="0" y="414"/>
                  </a:lnTo>
                  <a:lnTo>
                    <a:pt x="2" y="414"/>
                  </a:lnTo>
                  <a:close/>
                  <a:moveTo>
                    <a:pt x="2" y="414"/>
                  </a:moveTo>
                  <a:lnTo>
                    <a:pt x="0" y="414"/>
                  </a:lnTo>
                  <a:lnTo>
                    <a:pt x="2" y="411"/>
                  </a:lnTo>
                  <a:lnTo>
                    <a:pt x="2" y="414"/>
                  </a:lnTo>
                  <a:close/>
                  <a:moveTo>
                    <a:pt x="7" y="414"/>
                  </a:moveTo>
                  <a:lnTo>
                    <a:pt x="7" y="411"/>
                  </a:lnTo>
                  <a:lnTo>
                    <a:pt x="7" y="414"/>
                  </a:lnTo>
                  <a:close/>
                  <a:moveTo>
                    <a:pt x="237" y="411"/>
                  </a:moveTo>
                  <a:lnTo>
                    <a:pt x="237" y="414"/>
                  </a:lnTo>
                  <a:lnTo>
                    <a:pt x="237" y="411"/>
                  </a:lnTo>
                  <a:close/>
                  <a:moveTo>
                    <a:pt x="221" y="411"/>
                  </a:moveTo>
                  <a:lnTo>
                    <a:pt x="221" y="414"/>
                  </a:lnTo>
                  <a:lnTo>
                    <a:pt x="221" y="411"/>
                  </a:lnTo>
                  <a:close/>
                  <a:moveTo>
                    <a:pt x="2" y="414"/>
                  </a:moveTo>
                  <a:lnTo>
                    <a:pt x="2" y="411"/>
                  </a:lnTo>
                  <a:lnTo>
                    <a:pt x="2" y="414"/>
                  </a:lnTo>
                  <a:close/>
                  <a:moveTo>
                    <a:pt x="239" y="411"/>
                  </a:moveTo>
                  <a:lnTo>
                    <a:pt x="237" y="411"/>
                  </a:lnTo>
                  <a:lnTo>
                    <a:pt x="239" y="411"/>
                  </a:lnTo>
                  <a:close/>
                  <a:moveTo>
                    <a:pt x="0" y="414"/>
                  </a:moveTo>
                  <a:lnTo>
                    <a:pt x="0" y="411"/>
                  </a:lnTo>
                  <a:lnTo>
                    <a:pt x="0" y="414"/>
                  </a:lnTo>
                  <a:close/>
                  <a:moveTo>
                    <a:pt x="225" y="411"/>
                  </a:moveTo>
                  <a:lnTo>
                    <a:pt x="225" y="414"/>
                  </a:lnTo>
                  <a:lnTo>
                    <a:pt x="225" y="411"/>
                  </a:lnTo>
                  <a:close/>
                  <a:moveTo>
                    <a:pt x="223" y="411"/>
                  </a:moveTo>
                  <a:lnTo>
                    <a:pt x="223" y="414"/>
                  </a:lnTo>
                  <a:lnTo>
                    <a:pt x="223" y="411"/>
                  </a:lnTo>
                  <a:close/>
                  <a:moveTo>
                    <a:pt x="221" y="411"/>
                  </a:moveTo>
                  <a:lnTo>
                    <a:pt x="218" y="411"/>
                  </a:lnTo>
                  <a:lnTo>
                    <a:pt x="221" y="411"/>
                  </a:lnTo>
                  <a:close/>
                  <a:moveTo>
                    <a:pt x="223" y="409"/>
                  </a:moveTo>
                  <a:lnTo>
                    <a:pt x="223" y="411"/>
                  </a:lnTo>
                  <a:lnTo>
                    <a:pt x="223" y="409"/>
                  </a:lnTo>
                  <a:lnTo>
                    <a:pt x="223" y="411"/>
                  </a:lnTo>
                  <a:lnTo>
                    <a:pt x="223" y="409"/>
                  </a:lnTo>
                  <a:close/>
                  <a:moveTo>
                    <a:pt x="223" y="409"/>
                  </a:moveTo>
                  <a:lnTo>
                    <a:pt x="221" y="409"/>
                  </a:lnTo>
                  <a:lnTo>
                    <a:pt x="223" y="409"/>
                  </a:lnTo>
                  <a:close/>
                  <a:moveTo>
                    <a:pt x="232" y="409"/>
                  </a:moveTo>
                  <a:lnTo>
                    <a:pt x="232" y="407"/>
                  </a:lnTo>
                  <a:lnTo>
                    <a:pt x="232" y="409"/>
                  </a:lnTo>
                  <a:close/>
                  <a:moveTo>
                    <a:pt x="249" y="407"/>
                  </a:moveTo>
                  <a:lnTo>
                    <a:pt x="249" y="409"/>
                  </a:lnTo>
                  <a:lnTo>
                    <a:pt x="249" y="407"/>
                  </a:lnTo>
                  <a:close/>
                  <a:moveTo>
                    <a:pt x="242" y="407"/>
                  </a:moveTo>
                  <a:lnTo>
                    <a:pt x="242" y="409"/>
                  </a:lnTo>
                  <a:lnTo>
                    <a:pt x="242" y="407"/>
                  </a:lnTo>
                  <a:close/>
                  <a:moveTo>
                    <a:pt x="235" y="407"/>
                  </a:moveTo>
                  <a:lnTo>
                    <a:pt x="235" y="409"/>
                  </a:lnTo>
                  <a:lnTo>
                    <a:pt x="235" y="407"/>
                  </a:lnTo>
                  <a:close/>
                  <a:moveTo>
                    <a:pt x="237" y="407"/>
                  </a:moveTo>
                  <a:lnTo>
                    <a:pt x="235" y="407"/>
                  </a:lnTo>
                  <a:lnTo>
                    <a:pt x="237" y="407"/>
                  </a:lnTo>
                  <a:close/>
                  <a:moveTo>
                    <a:pt x="223" y="407"/>
                  </a:moveTo>
                  <a:lnTo>
                    <a:pt x="221" y="407"/>
                  </a:lnTo>
                  <a:lnTo>
                    <a:pt x="223" y="407"/>
                  </a:lnTo>
                  <a:close/>
                  <a:moveTo>
                    <a:pt x="249" y="407"/>
                  </a:moveTo>
                  <a:lnTo>
                    <a:pt x="247" y="407"/>
                  </a:lnTo>
                  <a:lnTo>
                    <a:pt x="249" y="407"/>
                  </a:lnTo>
                  <a:close/>
                  <a:moveTo>
                    <a:pt x="237" y="407"/>
                  </a:moveTo>
                  <a:lnTo>
                    <a:pt x="237" y="404"/>
                  </a:lnTo>
                  <a:lnTo>
                    <a:pt x="237" y="407"/>
                  </a:lnTo>
                  <a:close/>
                  <a:moveTo>
                    <a:pt x="247" y="404"/>
                  </a:moveTo>
                  <a:lnTo>
                    <a:pt x="247" y="407"/>
                  </a:lnTo>
                  <a:lnTo>
                    <a:pt x="247" y="404"/>
                  </a:lnTo>
                  <a:close/>
                  <a:moveTo>
                    <a:pt x="232" y="404"/>
                  </a:moveTo>
                  <a:lnTo>
                    <a:pt x="232" y="407"/>
                  </a:lnTo>
                  <a:lnTo>
                    <a:pt x="232" y="404"/>
                  </a:lnTo>
                  <a:close/>
                  <a:moveTo>
                    <a:pt x="235" y="404"/>
                  </a:moveTo>
                  <a:lnTo>
                    <a:pt x="232" y="404"/>
                  </a:lnTo>
                  <a:lnTo>
                    <a:pt x="235" y="404"/>
                  </a:lnTo>
                  <a:close/>
                  <a:moveTo>
                    <a:pt x="249" y="404"/>
                  </a:moveTo>
                  <a:lnTo>
                    <a:pt x="249" y="402"/>
                  </a:lnTo>
                  <a:lnTo>
                    <a:pt x="249" y="404"/>
                  </a:lnTo>
                  <a:close/>
                  <a:moveTo>
                    <a:pt x="247" y="402"/>
                  </a:moveTo>
                  <a:lnTo>
                    <a:pt x="247" y="404"/>
                  </a:lnTo>
                  <a:lnTo>
                    <a:pt x="247" y="402"/>
                  </a:lnTo>
                  <a:close/>
                  <a:moveTo>
                    <a:pt x="235" y="402"/>
                  </a:moveTo>
                  <a:lnTo>
                    <a:pt x="232" y="402"/>
                  </a:lnTo>
                  <a:lnTo>
                    <a:pt x="235" y="402"/>
                  </a:lnTo>
                  <a:close/>
                  <a:moveTo>
                    <a:pt x="244" y="402"/>
                  </a:moveTo>
                  <a:lnTo>
                    <a:pt x="244" y="400"/>
                  </a:lnTo>
                  <a:lnTo>
                    <a:pt x="244" y="402"/>
                  </a:lnTo>
                  <a:close/>
                  <a:moveTo>
                    <a:pt x="221" y="400"/>
                  </a:moveTo>
                  <a:lnTo>
                    <a:pt x="221" y="402"/>
                  </a:lnTo>
                  <a:lnTo>
                    <a:pt x="221" y="400"/>
                  </a:lnTo>
                  <a:close/>
                  <a:moveTo>
                    <a:pt x="256" y="400"/>
                  </a:moveTo>
                  <a:lnTo>
                    <a:pt x="254" y="400"/>
                  </a:lnTo>
                  <a:lnTo>
                    <a:pt x="256" y="400"/>
                  </a:lnTo>
                  <a:close/>
                  <a:moveTo>
                    <a:pt x="244" y="400"/>
                  </a:moveTo>
                  <a:lnTo>
                    <a:pt x="247" y="400"/>
                  </a:lnTo>
                  <a:lnTo>
                    <a:pt x="244" y="400"/>
                  </a:lnTo>
                  <a:close/>
                  <a:moveTo>
                    <a:pt x="247" y="400"/>
                  </a:moveTo>
                  <a:lnTo>
                    <a:pt x="244" y="400"/>
                  </a:lnTo>
                  <a:lnTo>
                    <a:pt x="247" y="400"/>
                  </a:lnTo>
                  <a:close/>
                  <a:moveTo>
                    <a:pt x="256" y="400"/>
                  </a:moveTo>
                  <a:lnTo>
                    <a:pt x="254" y="400"/>
                  </a:lnTo>
                  <a:lnTo>
                    <a:pt x="256" y="400"/>
                  </a:lnTo>
                  <a:close/>
                  <a:moveTo>
                    <a:pt x="258" y="400"/>
                  </a:moveTo>
                  <a:lnTo>
                    <a:pt x="258" y="397"/>
                  </a:lnTo>
                  <a:lnTo>
                    <a:pt x="258" y="400"/>
                  </a:lnTo>
                  <a:close/>
                  <a:moveTo>
                    <a:pt x="247" y="400"/>
                  </a:moveTo>
                  <a:lnTo>
                    <a:pt x="247" y="397"/>
                  </a:lnTo>
                  <a:lnTo>
                    <a:pt x="247" y="400"/>
                  </a:lnTo>
                  <a:close/>
                  <a:moveTo>
                    <a:pt x="258" y="400"/>
                  </a:moveTo>
                  <a:lnTo>
                    <a:pt x="258" y="397"/>
                  </a:lnTo>
                  <a:lnTo>
                    <a:pt x="258" y="400"/>
                  </a:lnTo>
                  <a:close/>
                  <a:moveTo>
                    <a:pt x="251" y="400"/>
                  </a:moveTo>
                  <a:lnTo>
                    <a:pt x="251" y="397"/>
                  </a:lnTo>
                  <a:lnTo>
                    <a:pt x="251" y="400"/>
                  </a:lnTo>
                  <a:close/>
                  <a:moveTo>
                    <a:pt x="254" y="400"/>
                  </a:moveTo>
                  <a:lnTo>
                    <a:pt x="254" y="397"/>
                  </a:lnTo>
                  <a:lnTo>
                    <a:pt x="254" y="400"/>
                  </a:lnTo>
                  <a:close/>
                  <a:moveTo>
                    <a:pt x="256" y="397"/>
                  </a:moveTo>
                  <a:lnTo>
                    <a:pt x="256" y="395"/>
                  </a:lnTo>
                  <a:lnTo>
                    <a:pt x="256" y="397"/>
                  </a:lnTo>
                  <a:close/>
                  <a:moveTo>
                    <a:pt x="247" y="397"/>
                  </a:moveTo>
                  <a:lnTo>
                    <a:pt x="247" y="395"/>
                  </a:lnTo>
                  <a:lnTo>
                    <a:pt x="247" y="397"/>
                  </a:lnTo>
                  <a:close/>
                  <a:moveTo>
                    <a:pt x="249" y="397"/>
                  </a:moveTo>
                  <a:lnTo>
                    <a:pt x="249" y="395"/>
                  </a:lnTo>
                  <a:lnTo>
                    <a:pt x="249" y="397"/>
                  </a:lnTo>
                  <a:close/>
                  <a:moveTo>
                    <a:pt x="261" y="395"/>
                  </a:moveTo>
                  <a:lnTo>
                    <a:pt x="258" y="395"/>
                  </a:lnTo>
                  <a:lnTo>
                    <a:pt x="261" y="395"/>
                  </a:lnTo>
                  <a:close/>
                  <a:moveTo>
                    <a:pt x="258" y="395"/>
                  </a:moveTo>
                  <a:lnTo>
                    <a:pt x="256" y="395"/>
                  </a:lnTo>
                  <a:lnTo>
                    <a:pt x="258" y="395"/>
                  </a:lnTo>
                  <a:close/>
                  <a:moveTo>
                    <a:pt x="258" y="395"/>
                  </a:moveTo>
                  <a:lnTo>
                    <a:pt x="256" y="395"/>
                  </a:lnTo>
                  <a:lnTo>
                    <a:pt x="258" y="395"/>
                  </a:lnTo>
                  <a:close/>
                  <a:moveTo>
                    <a:pt x="247" y="395"/>
                  </a:moveTo>
                  <a:lnTo>
                    <a:pt x="244" y="395"/>
                  </a:lnTo>
                  <a:lnTo>
                    <a:pt x="244" y="392"/>
                  </a:lnTo>
                  <a:lnTo>
                    <a:pt x="247" y="392"/>
                  </a:lnTo>
                  <a:lnTo>
                    <a:pt x="247" y="395"/>
                  </a:lnTo>
                  <a:close/>
                  <a:moveTo>
                    <a:pt x="256" y="395"/>
                  </a:moveTo>
                  <a:lnTo>
                    <a:pt x="256" y="392"/>
                  </a:lnTo>
                  <a:lnTo>
                    <a:pt x="256" y="395"/>
                  </a:lnTo>
                  <a:close/>
                  <a:moveTo>
                    <a:pt x="254" y="392"/>
                  </a:moveTo>
                  <a:lnTo>
                    <a:pt x="251" y="392"/>
                  </a:lnTo>
                  <a:lnTo>
                    <a:pt x="254" y="392"/>
                  </a:lnTo>
                  <a:close/>
                  <a:moveTo>
                    <a:pt x="258" y="392"/>
                  </a:moveTo>
                  <a:lnTo>
                    <a:pt x="256" y="392"/>
                  </a:lnTo>
                  <a:lnTo>
                    <a:pt x="258" y="392"/>
                  </a:lnTo>
                  <a:close/>
                  <a:moveTo>
                    <a:pt x="263" y="392"/>
                  </a:moveTo>
                  <a:lnTo>
                    <a:pt x="261" y="392"/>
                  </a:lnTo>
                  <a:lnTo>
                    <a:pt x="263" y="392"/>
                  </a:lnTo>
                  <a:close/>
                  <a:moveTo>
                    <a:pt x="268" y="390"/>
                  </a:moveTo>
                  <a:lnTo>
                    <a:pt x="266" y="390"/>
                  </a:lnTo>
                  <a:lnTo>
                    <a:pt x="268" y="390"/>
                  </a:lnTo>
                  <a:close/>
                  <a:moveTo>
                    <a:pt x="266" y="390"/>
                  </a:moveTo>
                  <a:lnTo>
                    <a:pt x="263" y="390"/>
                  </a:lnTo>
                  <a:lnTo>
                    <a:pt x="266" y="390"/>
                  </a:lnTo>
                  <a:close/>
                  <a:moveTo>
                    <a:pt x="256" y="390"/>
                  </a:moveTo>
                  <a:lnTo>
                    <a:pt x="254" y="390"/>
                  </a:lnTo>
                  <a:lnTo>
                    <a:pt x="256" y="390"/>
                  </a:lnTo>
                  <a:close/>
                  <a:moveTo>
                    <a:pt x="258" y="390"/>
                  </a:moveTo>
                  <a:lnTo>
                    <a:pt x="258" y="388"/>
                  </a:lnTo>
                  <a:lnTo>
                    <a:pt x="258" y="390"/>
                  </a:lnTo>
                  <a:close/>
                  <a:moveTo>
                    <a:pt x="263" y="388"/>
                  </a:moveTo>
                  <a:lnTo>
                    <a:pt x="261" y="388"/>
                  </a:lnTo>
                  <a:lnTo>
                    <a:pt x="263" y="388"/>
                  </a:lnTo>
                  <a:close/>
                  <a:moveTo>
                    <a:pt x="254" y="388"/>
                  </a:moveTo>
                  <a:lnTo>
                    <a:pt x="251" y="388"/>
                  </a:lnTo>
                  <a:lnTo>
                    <a:pt x="254" y="388"/>
                  </a:lnTo>
                  <a:close/>
                  <a:moveTo>
                    <a:pt x="242" y="388"/>
                  </a:moveTo>
                  <a:lnTo>
                    <a:pt x="242" y="385"/>
                  </a:lnTo>
                  <a:lnTo>
                    <a:pt x="242" y="388"/>
                  </a:lnTo>
                  <a:close/>
                  <a:moveTo>
                    <a:pt x="263" y="388"/>
                  </a:moveTo>
                  <a:lnTo>
                    <a:pt x="261" y="388"/>
                  </a:lnTo>
                  <a:lnTo>
                    <a:pt x="261" y="385"/>
                  </a:lnTo>
                  <a:lnTo>
                    <a:pt x="263" y="385"/>
                  </a:lnTo>
                  <a:lnTo>
                    <a:pt x="263" y="388"/>
                  </a:lnTo>
                  <a:close/>
                  <a:moveTo>
                    <a:pt x="266" y="388"/>
                  </a:moveTo>
                  <a:lnTo>
                    <a:pt x="266" y="385"/>
                  </a:lnTo>
                  <a:lnTo>
                    <a:pt x="266" y="388"/>
                  </a:lnTo>
                  <a:close/>
                  <a:moveTo>
                    <a:pt x="258" y="388"/>
                  </a:moveTo>
                  <a:lnTo>
                    <a:pt x="258" y="385"/>
                  </a:lnTo>
                  <a:lnTo>
                    <a:pt x="258" y="388"/>
                  </a:lnTo>
                  <a:close/>
                  <a:moveTo>
                    <a:pt x="263" y="388"/>
                  </a:moveTo>
                  <a:lnTo>
                    <a:pt x="263" y="385"/>
                  </a:lnTo>
                  <a:lnTo>
                    <a:pt x="263" y="388"/>
                  </a:lnTo>
                  <a:close/>
                  <a:moveTo>
                    <a:pt x="263" y="388"/>
                  </a:moveTo>
                  <a:lnTo>
                    <a:pt x="263" y="385"/>
                  </a:lnTo>
                  <a:lnTo>
                    <a:pt x="263" y="388"/>
                  </a:lnTo>
                  <a:close/>
                  <a:moveTo>
                    <a:pt x="268" y="388"/>
                  </a:moveTo>
                  <a:lnTo>
                    <a:pt x="268" y="385"/>
                  </a:lnTo>
                  <a:lnTo>
                    <a:pt x="268" y="388"/>
                  </a:lnTo>
                  <a:close/>
                  <a:moveTo>
                    <a:pt x="270" y="385"/>
                  </a:moveTo>
                  <a:lnTo>
                    <a:pt x="268" y="385"/>
                  </a:lnTo>
                  <a:lnTo>
                    <a:pt x="270" y="385"/>
                  </a:lnTo>
                  <a:close/>
                  <a:moveTo>
                    <a:pt x="244" y="385"/>
                  </a:moveTo>
                  <a:lnTo>
                    <a:pt x="242" y="385"/>
                  </a:lnTo>
                  <a:lnTo>
                    <a:pt x="244" y="385"/>
                  </a:lnTo>
                  <a:close/>
                  <a:moveTo>
                    <a:pt x="251" y="385"/>
                  </a:moveTo>
                  <a:lnTo>
                    <a:pt x="254" y="385"/>
                  </a:lnTo>
                  <a:lnTo>
                    <a:pt x="251" y="385"/>
                  </a:lnTo>
                  <a:close/>
                  <a:moveTo>
                    <a:pt x="244" y="385"/>
                  </a:moveTo>
                  <a:lnTo>
                    <a:pt x="242" y="385"/>
                  </a:lnTo>
                  <a:lnTo>
                    <a:pt x="244" y="385"/>
                  </a:lnTo>
                  <a:close/>
                  <a:moveTo>
                    <a:pt x="247" y="385"/>
                  </a:moveTo>
                  <a:lnTo>
                    <a:pt x="244" y="385"/>
                  </a:lnTo>
                  <a:lnTo>
                    <a:pt x="247" y="385"/>
                  </a:lnTo>
                  <a:close/>
                  <a:moveTo>
                    <a:pt x="266" y="385"/>
                  </a:moveTo>
                  <a:lnTo>
                    <a:pt x="263" y="385"/>
                  </a:lnTo>
                  <a:lnTo>
                    <a:pt x="266" y="385"/>
                  </a:lnTo>
                  <a:close/>
                  <a:moveTo>
                    <a:pt x="256" y="385"/>
                  </a:moveTo>
                  <a:lnTo>
                    <a:pt x="254" y="385"/>
                  </a:lnTo>
                  <a:lnTo>
                    <a:pt x="256" y="385"/>
                  </a:lnTo>
                  <a:close/>
                  <a:moveTo>
                    <a:pt x="251" y="385"/>
                  </a:moveTo>
                  <a:lnTo>
                    <a:pt x="249" y="385"/>
                  </a:lnTo>
                  <a:lnTo>
                    <a:pt x="251" y="385"/>
                  </a:lnTo>
                  <a:close/>
                  <a:moveTo>
                    <a:pt x="258" y="385"/>
                  </a:moveTo>
                  <a:lnTo>
                    <a:pt x="256" y="385"/>
                  </a:lnTo>
                  <a:lnTo>
                    <a:pt x="258" y="385"/>
                  </a:lnTo>
                  <a:close/>
                  <a:moveTo>
                    <a:pt x="270" y="385"/>
                  </a:moveTo>
                  <a:lnTo>
                    <a:pt x="273" y="385"/>
                  </a:lnTo>
                  <a:lnTo>
                    <a:pt x="270" y="385"/>
                  </a:lnTo>
                  <a:close/>
                  <a:moveTo>
                    <a:pt x="244" y="385"/>
                  </a:moveTo>
                  <a:lnTo>
                    <a:pt x="244" y="383"/>
                  </a:lnTo>
                  <a:lnTo>
                    <a:pt x="244" y="385"/>
                  </a:lnTo>
                  <a:close/>
                  <a:moveTo>
                    <a:pt x="251" y="385"/>
                  </a:moveTo>
                  <a:lnTo>
                    <a:pt x="251" y="383"/>
                  </a:lnTo>
                  <a:lnTo>
                    <a:pt x="251" y="385"/>
                  </a:lnTo>
                  <a:close/>
                  <a:moveTo>
                    <a:pt x="244" y="383"/>
                  </a:moveTo>
                  <a:lnTo>
                    <a:pt x="242" y="383"/>
                  </a:lnTo>
                  <a:lnTo>
                    <a:pt x="244" y="383"/>
                  </a:lnTo>
                  <a:close/>
                  <a:moveTo>
                    <a:pt x="251" y="383"/>
                  </a:moveTo>
                  <a:lnTo>
                    <a:pt x="249" y="383"/>
                  </a:lnTo>
                  <a:lnTo>
                    <a:pt x="251" y="383"/>
                  </a:lnTo>
                  <a:close/>
                  <a:moveTo>
                    <a:pt x="258" y="383"/>
                  </a:moveTo>
                  <a:lnTo>
                    <a:pt x="256" y="383"/>
                  </a:lnTo>
                  <a:lnTo>
                    <a:pt x="258" y="383"/>
                  </a:lnTo>
                  <a:close/>
                  <a:moveTo>
                    <a:pt x="244" y="383"/>
                  </a:moveTo>
                  <a:lnTo>
                    <a:pt x="242" y="383"/>
                  </a:lnTo>
                  <a:lnTo>
                    <a:pt x="244" y="383"/>
                  </a:lnTo>
                  <a:close/>
                  <a:moveTo>
                    <a:pt x="237" y="383"/>
                  </a:moveTo>
                  <a:lnTo>
                    <a:pt x="235" y="383"/>
                  </a:lnTo>
                  <a:lnTo>
                    <a:pt x="237" y="383"/>
                  </a:lnTo>
                  <a:close/>
                  <a:moveTo>
                    <a:pt x="247" y="383"/>
                  </a:moveTo>
                  <a:lnTo>
                    <a:pt x="244" y="383"/>
                  </a:lnTo>
                  <a:lnTo>
                    <a:pt x="247" y="383"/>
                  </a:lnTo>
                  <a:close/>
                  <a:moveTo>
                    <a:pt x="249" y="383"/>
                  </a:moveTo>
                  <a:lnTo>
                    <a:pt x="247" y="383"/>
                  </a:lnTo>
                  <a:lnTo>
                    <a:pt x="249" y="383"/>
                  </a:lnTo>
                  <a:close/>
                  <a:moveTo>
                    <a:pt x="244" y="383"/>
                  </a:moveTo>
                  <a:lnTo>
                    <a:pt x="244" y="381"/>
                  </a:lnTo>
                  <a:lnTo>
                    <a:pt x="244" y="383"/>
                  </a:lnTo>
                  <a:close/>
                  <a:moveTo>
                    <a:pt x="256" y="383"/>
                  </a:moveTo>
                  <a:lnTo>
                    <a:pt x="256" y="381"/>
                  </a:lnTo>
                  <a:lnTo>
                    <a:pt x="256" y="383"/>
                  </a:lnTo>
                  <a:close/>
                  <a:moveTo>
                    <a:pt x="273" y="381"/>
                  </a:moveTo>
                  <a:lnTo>
                    <a:pt x="273" y="383"/>
                  </a:lnTo>
                  <a:lnTo>
                    <a:pt x="273" y="381"/>
                  </a:lnTo>
                  <a:close/>
                  <a:moveTo>
                    <a:pt x="258" y="381"/>
                  </a:moveTo>
                  <a:lnTo>
                    <a:pt x="256" y="381"/>
                  </a:lnTo>
                  <a:lnTo>
                    <a:pt x="258" y="381"/>
                  </a:lnTo>
                  <a:close/>
                  <a:moveTo>
                    <a:pt x="247" y="381"/>
                  </a:moveTo>
                  <a:lnTo>
                    <a:pt x="244" y="381"/>
                  </a:lnTo>
                  <a:lnTo>
                    <a:pt x="247" y="381"/>
                  </a:lnTo>
                  <a:close/>
                  <a:moveTo>
                    <a:pt x="266" y="381"/>
                  </a:moveTo>
                  <a:lnTo>
                    <a:pt x="263" y="381"/>
                  </a:lnTo>
                  <a:lnTo>
                    <a:pt x="266" y="381"/>
                  </a:lnTo>
                  <a:close/>
                  <a:moveTo>
                    <a:pt x="275" y="381"/>
                  </a:moveTo>
                  <a:lnTo>
                    <a:pt x="273" y="381"/>
                  </a:lnTo>
                  <a:lnTo>
                    <a:pt x="275" y="381"/>
                  </a:lnTo>
                  <a:close/>
                  <a:moveTo>
                    <a:pt x="256" y="381"/>
                  </a:moveTo>
                  <a:lnTo>
                    <a:pt x="256" y="378"/>
                  </a:lnTo>
                  <a:lnTo>
                    <a:pt x="256" y="381"/>
                  </a:lnTo>
                  <a:close/>
                  <a:moveTo>
                    <a:pt x="266" y="381"/>
                  </a:moveTo>
                  <a:lnTo>
                    <a:pt x="266" y="378"/>
                  </a:lnTo>
                  <a:lnTo>
                    <a:pt x="266" y="381"/>
                  </a:lnTo>
                  <a:close/>
                  <a:moveTo>
                    <a:pt x="258" y="381"/>
                  </a:moveTo>
                  <a:lnTo>
                    <a:pt x="258" y="378"/>
                  </a:lnTo>
                  <a:lnTo>
                    <a:pt x="258" y="381"/>
                  </a:lnTo>
                  <a:close/>
                  <a:moveTo>
                    <a:pt x="254" y="381"/>
                  </a:moveTo>
                  <a:lnTo>
                    <a:pt x="254" y="378"/>
                  </a:lnTo>
                  <a:lnTo>
                    <a:pt x="254" y="381"/>
                  </a:lnTo>
                  <a:close/>
                  <a:moveTo>
                    <a:pt x="251" y="381"/>
                  </a:moveTo>
                  <a:lnTo>
                    <a:pt x="251" y="378"/>
                  </a:lnTo>
                  <a:lnTo>
                    <a:pt x="254" y="378"/>
                  </a:lnTo>
                  <a:lnTo>
                    <a:pt x="251" y="381"/>
                  </a:lnTo>
                  <a:close/>
                  <a:moveTo>
                    <a:pt x="275" y="378"/>
                  </a:moveTo>
                  <a:lnTo>
                    <a:pt x="275" y="381"/>
                  </a:lnTo>
                  <a:lnTo>
                    <a:pt x="275" y="378"/>
                  </a:lnTo>
                  <a:close/>
                  <a:moveTo>
                    <a:pt x="266" y="378"/>
                  </a:moveTo>
                  <a:lnTo>
                    <a:pt x="263" y="378"/>
                  </a:lnTo>
                  <a:lnTo>
                    <a:pt x="266" y="378"/>
                  </a:lnTo>
                  <a:close/>
                  <a:moveTo>
                    <a:pt x="247" y="378"/>
                  </a:moveTo>
                  <a:lnTo>
                    <a:pt x="249" y="378"/>
                  </a:lnTo>
                  <a:lnTo>
                    <a:pt x="247" y="378"/>
                  </a:lnTo>
                  <a:close/>
                  <a:moveTo>
                    <a:pt x="247" y="378"/>
                  </a:moveTo>
                  <a:lnTo>
                    <a:pt x="249" y="378"/>
                  </a:lnTo>
                  <a:lnTo>
                    <a:pt x="247" y="378"/>
                  </a:lnTo>
                  <a:close/>
                  <a:moveTo>
                    <a:pt x="261" y="378"/>
                  </a:moveTo>
                  <a:lnTo>
                    <a:pt x="258" y="378"/>
                  </a:lnTo>
                  <a:lnTo>
                    <a:pt x="261" y="378"/>
                  </a:lnTo>
                  <a:close/>
                  <a:moveTo>
                    <a:pt x="266" y="378"/>
                  </a:moveTo>
                  <a:lnTo>
                    <a:pt x="268" y="378"/>
                  </a:lnTo>
                  <a:lnTo>
                    <a:pt x="266" y="378"/>
                  </a:lnTo>
                  <a:close/>
                  <a:moveTo>
                    <a:pt x="256" y="378"/>
                  </a:moveTo>
                  <a:lnTo>
                    <a:pt x="254" y="378"/>
                  </a:lnTo>
                  <a:lnTo>
                    <a:pt x="256" y="378"/>
                  </a:lnTo>
                  <a:close/>
                  <a:moveTo>
                    <a:pt x="275" y="376"/>
                  </a:moveTo>
                  <a:lnTo>
                    <a:pt x="275" y="378"/>
                  </a:lnTo>
                  <a:lnTo>
                    <a:pt x="273" y="378"/>
                  </a:lnTo>
                  <a:lnTo>
                    <a:pt x="273" y="376"/>
                  </a:lnTo>
                  <a:lnTo>
                    <a:pt x="275" y="376"/>
                  </a:lnTo>
                  <a:close/>
                  <a:moveTo>
                    <a:pt x="258" y="378"/>
                  </a:moveTo>
                  <a:lnTo>
                    <a:pt x="258" y="376"/>
                  </a:lnTo>
                  <a:lnTo>
                    <a:pt x="258" y="378"/>
                  </a:lnTo>
                  <a:close/>
                  <a:moveTo>
                    <a:pt x="280" y="378"/>
                  </a:moveTo>
                  <a:lnTo>
                    <a:pt x="280" y="376"/>
                  </a:lnTo>
                  <a:lnTo>
                    <a:pt x="280" y="378"/>
                  </a:lnTo>
                  <a:close/>
                  <a:moveTo>
                    <a:pt x="282" y="376"/>
                  </a:moveTo>
                  <a:lnTo>
                    <a:pt x="282" y="378"/>
                  </a:lnTo>
                  <a:lnTo>
                    <a:pt x="282" y="376"/>
                  </a:lnTo>
                  <a:close/>
                  <a:moveTo>
                    <a:pt x="280" y="376"/>
                  </a:moveTo>
                  <a:lnTo>
                    <a:pt x="280" y="378"/>
                  </a:lnTo>
                  <a:lnTo>
                    <a:pt x="280" y="376"/>
                  </a:lnTo>
                  <a:close/>
                  <a:moveTo>
                    <a:pt x="256" y="376"/>
                  </a:moveTo>
                  <a:lnTo>
                    <a:pt x="254" y="376"/>
                  </a:lnTo>
                  <a:lnTo>
                    <a:pt x="256" y="376"/>
                  </a:lnTo>
                  <a:close/>
                  <a:moveTo>
                    <a:pt x="263" y="376"/>
                  </a:moveTo>
                  <a:lnTo>
                    <a:pt x="261" y="376"/>
                  </a:lnTo>
                  <a:lnTo>
                    <a:pt x="263" y="376"/>
                  </a:lnTo>
                  <a:close/>
                  <a:moveTo>
                    <a:pt x="280" y="376"/>
                  </a:moveTo>
                  <a:lnTo>
                    <a:pt x="280" y="373"/>
                  </a:lnTo>
                  <a:lnTo>
                    <a:pt x="280" y="376"/>
                  </a:lnTo>
                  <a:close/>
                  <a:moveTo>
                    <a:pt x="275" y="373"/>
                  </a:moveTo>
                  <a:lnTo>
                    <a:pt x="273" y="373"/>
                  </a:lnTo>
                  <a:lnTo>
                    <a:pt x="275" y="373"/>
                  </a:lnTo>
                  <a:close/>
                  <a:moveTo>
                    <a:pt x="268" y="373"/>
                  </a:moveTo>
                  <a:lnTo>
                    <a:pt x="266" y="373"/>
                  </a:lnTo>
                  <a:lnTo>
                    <a:pt x="268" y="373"/>
                  </a:lnTo>
                  <a:close/>
                  <a:moveTo>
                    <a:pt x="256" y="373"/>
                  </a:moveTo>
                  <a:lnTo>
                    <a:pt x="254" y="373"/>
                  </a:lnTo>
                  <a:lnTo>
                    <a:pt x="256" y="373"/>
                  </a:lnTo>
                  <a:close/>
                  <a:moveTo>
                    <a:pt x="275" y="373"/>
                  </a:moveTo>
                  <a:lnTo>
                    <a:pt x="273" y="373"/>
                  </a:lnTo>
                  <a:lnTo>
                    <a:pt x="275" y="373"/>
                  </a:lnTo>
                  <a:close/>
                  <a:moveTo>
                    <a:pt x="256" y="371"/>
                  </a:moveTo>
                  <a:lnTo>
                    <a:pt x="254" y="371"/>
                  </a:lnTo>
                  <a:lnTo>
                    <a:pt x="256" y="371"/>
                  </a:lnTo>
                  <a:close/>
                  <a:moveTo>
                    <a:pt x="256" y="371"/>
                  </a:moveTo>
                  <a:lnTo>
                    <a:pt x="254" y="371"/>
                  </a:lnTo>
                  <a:lnTo>
                    <a:pt x="256" y="371"/>
                  </a:lnTo>
                  <a:close/>
                  <a:moveTo>
                    <a:pt x="275" y="371"/>
                  </a:moveTo>
                  <a:lnTo>
                    <a:pt x="273" y="371"/>
                  </a:lnTo>
                  <a:lnTo>
                    <a:pt x="275" y="371"/>
                  </a:lnTo>
                  <a:close/>
                  <a:moveTo>
                    <a:pt x="256" y="371"/>
                  </a:moveTo>
                  <a:lnTo>
                    <a:pt x="258" y="371"/>
                  </a:lnTo>
                  <a:lnTo>
                    <a:pt x="256" y="371"/>
                  </a:lnTo>
                  <a:close/>
                  <a:moveTo>
                    <a:pt x="256" y="371"/>
                  </a:moveTo>
                  <a:lnTo>
                    <a:pt x="256" y="369"/>
                  </a:lnTo>
                  <a:lnTo>
                    <a:pt x="256" y="371"/>
                  </a:lnTo>
                  <a:close/>
                  <a:moveTo>
                    <a:pt x="263" y="371"/>
                  </a:moveTo>
                  <a:lnTo>
                    <a:pt x="263" y="369"/>
                  </a:lnTo>
                  <a:lnTo>
                    <a:pt x="263" y="371"/>
                  </a:lnTo>
                  <a:close/>
                  <a:moveTo>
                    <a:pt x="261" y="369"/>
                  </a:moveTo>
                  <a:lnTo>
                    <a:pt x="263" y="369"/>
                  </a:lnTo>
                  <a:lnTo>
                    <a:pt x="261" y="369"/>
                  </a:lnTo>
                  <a:close/>
                  <a:moveTo>
                    <a:pt x="258" y="369"/>
                  </a:moveTo>
                  <a:lnTo>
                    <a:pt x="256" y="369"/>
                  </a:lnTo>
                  <a:lnTo>
                    <a:pt x="258" y="369"/>
                  </a:lnTo>
                  <a:close/>
                  <a:moveTo>
                    <a:pt x="270" y="369"/>
                  </a:moveTo>
                  <a:lnTo>
                    <a:pt x="268" y="369"/>
                  </a:lnTo>
                  <a:lnTo>
                    <a:pt x="270" y="369"/>
                  </a:lnTo>
                  <a:close/>
                  <a:moveTo>
                    <a:pt x="275" y="369"/>
                  </a:moveTo>
                  <a:lnTo>
                    <a:pt x="273" y="369"/>
                  </a:lnTo>
                  <a:lnTo>
                    <a:pt x="275" y="369"/>
                  </a:lnTo>
                  <a:close/>
                  <a:moveTo>
                    <a:pt x="268" y="369"/>
                  </a:moveTo>
                  <a:lnTo>
                    <a:pt x="266" y="369"/>
                  </a:lnTo>
                  <a:lnTo>
                    <a:pt x="268" y="369"/>
                  </a:lnTo>
                  <a:close/>
                  <a:moveTo>
                    <a:pt x="273" y="369"/>
                  </a:moveTo>
                  <a:lnTo>
                    <a:pt x="273" y="366"/>
                  </a:lnTo>
                  <a:lnTo>
                    <a:pt x="273" y="369"/>
                  </a:lnTo>
                  <a:close/>
                  <a:moveTo>
                    <a:pt x="277" y="369"/>
                  </a:moveTo>
                  <a:lnTo>
                    <a:pt x="277" y="366"/>
                  </a:lnTo>
                  <a:lnTo>
                    <a:pt x="277" y="369"/>
                  </a:lnTo>
                  <a:close/>
                  <a:moveTo>
                    <a:pt x="280" y="366"/>
                  </a:moveTo>
                  <a:lnTo>
                    <a:pt x="277" y="366"/>
                  </a:lnTo>
                  <a:lnTo>
                    <a:pt x="280" y="366"/>
                  </a:lnTo>
                  <a:close/>
                  <a:moveTo>
                    <a:pt x="270" y="366"/>
                  </a:moveTo>
                  <a:lnTo>
                    <a:pt x="273" y="366"/>
                  </a:lnTo>
                  <a:lnTo>
                    <a:pt x="270" y="366"/>
                  </a:lnTo>
                  <a:close/>
                  <a:moveTo>
                    <a:pt x="273" y="366"/>
                  </a:moveTo>
                  <a:lnTo>
                    <a:pt x="270" y="366"/>
                  </a:lnTo>
                  <a:lnTo>
                    <a:pt x="270" y="364"/>
                  </a:lnTo>
                  <a:lnTo>
                    <a:pt x="273" y="364"/>
                  </a:lnTo>
                  <a:lnTo>
                    <a:pt x="273" y="366"/>
                  </a:lnTo>
                  <a:close/>
                  <a:moveTo>
                    <a:pt x="273" y="366"/>
                  </a:moveTo>
                  <a:lnTo>
                    <a:pt x="273" y="364"/>
                  </a:lnTo>
                  <a:lnTo>
                    <a:pt x="275" y="366"/>
                  </a:lnTo>
                  <a:lnTo>
                    <a:pt x="273" y="366"/>
                  </a:lnTo>
                  <a:close/>
                  <a:moveTo>
                    <a:pt x="275" y="366"/>
                  </a:moveTo>
                  <a:lnTo>
                    <a:pt x="275" y="364"/>
                  </a:lnTo>
                  <a:lnTo>
                    <a:pt x="275" y="366"/>
                  </a:lnTo>
                  <a:close/>
                  <a:moveTo>
                    <a:pt x="268" y="364"/>
                  </a:moveTo>
                  <a:lnTo>
                    <a:pt x="268" y="366"/>
                  </a:lnTo>
                  <a:lnTo>
                    <a:pt x="268" y="364"/>
                  </a:lnTo>
                  <a:close/>
                  <a:moveTo>
                    <a:pt x="268" y="364"/>
                  </a:moveTo>
                  <a:lnTo>
                    <a:pt x="266" y="364"/>
                  </a:lnTo>
                  <a:lnTo>
                    <a:pt x="268" y="364"/>
                  </a:lnTo>
                  <a:close/>
                  <a:moveTo>
                    <a:pt x="273" y="364"/>
                  </a:moveTo>
                  <a:lnTo>
                    <a:pt x="270" y="364"/>
                  </a:lnTo>
                  <a:lnTo>
                    <a:pt x="273" y="364"/>
                  </a:lnTo>
                  <a:close/>
                  <a:moveTo>
                    <a:pt x="270" y="362"/>
                  </a:moveTo>
                  <a:lnTo>
                    <a:pt x="268" y="362"/>
                  </a:lnTo>
                  <a:lnTo>
                    <a:pt x="270" y="362"/>
                  </a:lnTo>
                  <a:close/>
                  <a:moveTo>
                    <a:pt x="270" y="362"/>
                  </a:moveTo>
                  <a:lnTo>
                    <a:pt x="268" y="362"/>
                  </a:lnTo>
                  <a:lnTo>
                    <a:pt x="270" y="362"/>
                  </a:lnTo>
                  <a:close/>
                  <a:moveTo>
                    <a:pt x="270" y="359"/>
                  </a:moveTo>
                  <a:lnTo>
                    <a:pt x="270" y="362"/>
                  </a:lnTo>
                  <a:lnTo>
                    <a:pt x="270" y="359"/>
                  </a:lnTo>
                  <a:close/>
                  <a:moveTo>
                    <a:pt x="266" y="359"/>
                  </a:moveTo>
                  <a:lnTo>
                    <a:pt x="266" y="357"/>
                  </a:lnTo>
                  <a:lnTo>
                    <a:pt x="266" y="359"/>
                  </a:lnTo>
                  <a:close/>
                  <a:moveTo>
                    <a:pt x="258" y="347"/>
                  </a:moveTo>
                  <a:lnTo>
                    <a:pt x="258" y="345"/>
                  </a:lnTo>
                  <a:lnTo>
                    <a:pt x="258" y="347"/>
                  </a:lnTo>
                  <a:close/>
                  <a:moveTo>
                    <a:pt x="249" y="345"/>
                  </a:moveTo>
                  <a:lnTo>
                    <a:pt x="251" y="345"/>
                  </a:lnTo>
                  <a:lnTo>
                    <a:pt x="249" y="345"/>
                  </a:lnTo>
                  <a:close/>
                  <a:moveTo>
                    <a:pt x="256" y="345"/>
                  </a:moveTo>
                  <a:lnTo>
                    <a:pt x="254" y="345"/>
                  </a:lnTo>
                  <a:lnTo>
                    <a:pt x="256" y="345"/>
                  </a:lnTo>
                  <a:close/>
                  <a:moveTo>
                    <a:pt x="251" y="345"/>
                  </a:moveTo>
                  <a:lnTo>
                    <a:pt x="251" y="343"/>
                  </a:lnTo>
                  <a:lnTo>
                    <a:pt x="251" y="345"/>
                  </a:lnTo>
                  <a:close/>
                  <a:moveTo>
                    <a:pt x="249" y="345"/>
                  </a:moveTo>
                  <a:lnTo>
                    <a:pt x="249" y="343"/>
                  </a:lnTo>
                  <a:lnTo>
                    <a:pt x="249" y="345"/>
                  </a:lnTo>
                  <a:close/>
                  <a:moveTo>
                    <a:pt x="254" y="343"/>
                  </a:moveTo>
                  <a:lnTo>
                    <a:pt x="251" y="343"/>
                  </a:lnTo>
                  <a:lnTo>
                    <a:pt x="254" y="343"/>
                  </a:lnTo>
                  <a:close/>
                  <a:moveTo>
                    <a:pt x="249" y="343"/>
                  </a:moveTo>
                  <a:lnTo>
                    <a:pt x="249" y="345"/>
                  </a:lnTo>
                  <a:lnTo>
                    <a:pt x="249" y="343"/>
                  </a:lnTo>
                  <a:close/>
                  <a:moveTo>
                    <a:pt x="254" y="343"/>
                  </a:moveTo>
                  <a:lnTo>
                    <a:pt x="251" y="343"/>
                  </a:lnTo>
                  <a:lnTo>
                    <a:pt x="254" y="343"/>
                  </a:lnTo>
                  <a:close/>
                  <a:moveTo>
                    <a:pt x="256" y="343"/>
                  </a:moveTo>
                  <a:lnTo>
                    <a:pt x="254" y="343"/>
                  </a:lnTo>
                  <a:lnTo>
                    <a:pt x="256" y="343"/>
                  </a:lnTo>
                  <a:close/>
                  <a:moveTo>
                    <a:pt x="256" y="343"/>
                  </a:moveTo>
                  <a:lnTo>
                    <a:pt x="254" y="343"/>
                  </a:lnTo>
                  <a:lnTo>
                    <a:pt x="256" y="343"/>
                  </a:lnTo>
                  <a:close/>
                  <a:moveTo>
                    <a:pt x="258" y="343"/>
                  </a:moveTo>
                  <a:lnTo>
                    <a:pt x="256" y="343"/>
                  </a:lnTo>
                  <a:lnTo>
                    <a:pt x="258" y="343"/>
                  </a:lnTo>
                  <a:close/>
                  <a:moveTo>
                    <a:pt x="251" y="343"/>
                  </a:moveTo>
                  <a:lnTo>
                    <a:pt x="249" y="343"/>
                  </a:lnTo>
                  <a:lnTo>
                    <a:pt x="251" y="343"/>
                  </a:lnTo>
                  <a:close/>
                  <a:moveTo>
                    <a:pt x="249" y="343"/>
                  </a:moveTo>
                  <a:lnTo>
                    <a:pt x="247" y="343"/>
                  </a:lnTo>
                  <a:lnTo>
                    <a:pt x="249" y="343"/>
                  </a:lnTo>
                  <a:close/>
                  <a:moveTo>
                    <a:pt x="249" y="343"/>
                  </a:moveTo>
                  <a:lnTo>
                    <a:pt x="247" y="343"/>
                  </a:lnTo>
                  <a:lnTo>
                    <a:pt x="249" y="343"/>
                  </a:lnTo>
                  <a:close/>
                  <a:moveTo>
                    <a:pt x="254" y="340"/>
                  </a:moveTo>
                  <a:lnTo>
                    <a:pt x="254" y="343"/>
                  </a:lnTo>
                  <a:lnTo>
                    <a:pt x="254" y="340"/>
                  </a:lnTo>
                  <a:close/>
                  <a:moveTo>
                    <a:pt x="249" y="340"/>
                  </a:moveTo>
                  <a:lnTo>
                    <a:pt x="251" y="340"/>
                  </a:lnTo>
                  <a:lnTo>
                    <a:pt x="249" y="340"/>
                  </a:lnTo>
                  <a:close/>
                  <a:moveTo>
                    <a:pt x="251" y="340"/>
                  </a:moveTo>
                  <a:lnTo>
                    <a:pt x="251" y="338"/>
                  </a:lnTo>
                  <a:lnTo>
                    <a:pt x="251" y="340"/>
                  </a:lnTo>
                  <a:close/>
                  <a:moveTo>
                    <a:pt x="251" y="340"/>
                  </a:moveTo>
                  <a:lnTo>
                    <a:pt x="251" y="338"/>
                  </a:lnTo>
                  <a:lnTo>
                    <a:pt x="251" y="340"/>
                  </a:lnTo>
                  <a:close/>
                  <a:moveTo>
                    <a:pt x="256" y="338"/>
                  </a:moveTo>
                  <a:lnTo>
                    <a:pt x="254" y="338"/>
                  </a:lnTo>
                  <a:lnTo>
                    <a:pt x="256" y="338"/>
                  </a:lnTo>
                  <a:close/>
                  <a:moveTo>
                    <a:pt x="261" y="338"/>
                  </a:moveTo>
                  <a:lnTo>
                    <a:pt x="258" y="338"/>
                  </a:lnTo>
                  <a:lnTo>
                    <a:pt x="261" y="338"/>
                  </a:lnTo>
                  <a:close/>
                  <a:moveTo>
                    <a:pt x="249" y="338"/>
                  </a:moveTo>
                  <a:lnTo>
                    <a:pt x="249" y="335"/>
                  </a:lnTo>
                  <a:lnTo>
                    <a:pt x="249" y="338"/>
                  </a:lnTo>
                  <a:close/>
                  <a:moveTo>
                    <a:pt x="261" y="335"/>
                  </a:moveTo>
                  <a:lnTo>
                    <a:pt x="261" y="338"/>
                  </a:lnTo>
                  <a:lnTo>
                    <a:pt x="258" y="335"/>
                  </a:lnTo>
                  <a:lnTo>
                    <a:pt x="261" y="335"/>
                  </a:lnTo>
                  <a:close/>
                  <a:moveTo>
                    <a:pt x="249" y="335"/>
                  </a:moveTo>
                  <a:lnTo>
                    <a:pt x="247" y="335"/>
                  </a:lnTo>
                  <a:lnTo>
                    <a:pt x="249" y="335"/>
                  </a:lnTo>
                  <a:close/>
                  <a:moveTo>
                    <a:pt x="247" y="335"/>
                  </a:moveTo>
                  <a:lnTo>
                    <a:pt x="249" y="335"/>
                  </a:lnTo>
                  <a:lnTo>
                    <a:pt x="247" y="335"/>
                  </a:lnTo>
                  <a:close/>
                  <a:moveTo>
                    <a:pt x="239" y="333"/>
                  </a:moveTo>
                  <a:lnTo>
                    <a:pt x="239" y="335"/>
                  </a:lnTo>
                  <a:lnTo>
                    <a:pt x="239" y="333"/>
                  </a:lnTo>
                  <a:close/>
                  <a:moveTo>
                    <a:pt x="256" y="335"/>
                  </a:moveTo>
                  <a:lnTo>
                    <a:pt x="256" y="333"/>
                  </a:lnTo>
                  <a:lnTo>
                    <a:pt x="256" y="335"/>
                  </a:lnTo>
                  <a:close/>
                  <a:moveTo>
                    <a:pt x="244" y="333"/>
                  </a:moveTo>
                  <a:lnTo>
                    <a:pt x="244" y="335"/>
                  </a:lnTo>
                  <a:lnTo>
                    <a:pt x="244" y="333"/>
                  </a:lnTo>
                  <a:close/>
                  <a:moveTo>
                    <a:pt x="251" y="331"/>
                  </a:moveTo>
                  <a:lnTo>
                    <a:pt x="251" y="333"/>
                  </a:lnTo>
                  <a:lnTo>
                    <a:pt x="251" y="331"/>
                  </a:lnTo>
                  <a:close/>
                  <a:moveTo>
                    <a:pt x="242" y="331"/>
                  </a:moveTo>
                  <a:lnTo>
                    <a:pt x="239" y="331"/>
                  </a:lnTo>
                  <a:lnTo>
                    <a:pt x="242" y="331"/>
                  </a:lnTo>
                  <a:close/>
                  <a:moveTo>
                    <a:pt x="242" y="331"/>
                  </a:moveTo>
                  <a:lnTo>
                    <a:pt x="239" y="331"/>
                  </a:lnTo>
                  <a:lnTo>
                    <a:pt x="242" y="331"/>
                  </a:lnTo>
                  <a:close/>
                  <a:moveTo>
                    <a:pt x="249" y="331"/>
                  </a:moveTo>
                  <a:lnTo>
                    <a:pt x="247" y="331"/>
                  </a:lnTo>
                  <a:lnTo>
                    <a:pt x="249" y="331"/>
                  </a:lnTo>
                  <a:close/>
                  <a:moveTo>
                    <a:pt x="251" y="328"/>
                  </a:moveTo>
                  <a:lnTo>
                    <a:pt x="251" y="331"/>
                  </a:lnTo>
                  <a:lnTo>
                    <a:pt x="251" y="328"/>
                  </a:lnTo>
                  <a:close/>
                  <a:moveTo>
                    <a:pt x="251" y="328"/>
                  </a:moveTo>
                  <a:lnTo>
                    <a:pt x="251" y="331"/>
                  </a:lnTo>
                  <a:lnTo>
                    <a:pt x="251" y="328"/>
                  </a:lnTo>
                  <a:close/>
                  <a:moveTo>
                    <a:pt x="251" y="331"/>
                  </a:moveTo>
                  <a:lnTo>
                    <a:pt x="251" y="328"/>
                  </a:lnTo>
                  <a:lnTo>
                    <a:pt x="251" y="331"/>
                  </a:lnTo>
                  <a:close/>
                  <a:moveTo>
                    <a:pt x="254" y="328"/>
                  </a:moveTo>
                  <a:lnTo>
                    <a:pt x="251" y="331"/>
                  </a:lnTo>
                  <a:lnTo>
                    <a:pt x="251" y="328"/>
                  </a:lnTo>
                  <a:lnTo>
                    <a:pt x="254" y="328"/>
                  </a:lnTo>
                  <a:close/>
                  <a:moveTo>
                    <a:pt x="237" y="328"/>
                  </a:moveTo>
                  <a:lnTo>
                    <a:pt x="235" y="331"/>
                  </a:lnTo>
                  <a:lnTo>
                    <a:pt x="235" y="328"/>
                  </a:lnTo>
                  <a:lnTo>
                    <a:pt x="237" y="328"/>
                  </a:lnTo>
                  <a:close/>
                  <a:moveTo>
                    <a:pt x="235" y="328"/>
                  </a:moveTo>
                  <a:lnTo>
                    <a:pt x="235" y="331"/>
                  </a:lnTo>
                  <a:lnTo>
                    <a:pt x="235" y="328"/>
                  </a:lnTo>
                  <a:close/>
                  <a:moveTo>
                    <a:pt x="251" y="328"/>
                  </a:moveTo>
                  <a:lnTo>
                    <a:pt x="251" y="331"/>
                  </a:lnTo>
                  <a:lnTo>
                    <a:pt x="251" y="328"/>
                  </a:lnTo>
                  <a:close/>
                  <a:moveTo>
                    <a:pt x="251" y="331"/>
                  </a:moveTo>
                  <a:lnTo>
                    <a:pt x="251" y="328"/>
                  </a:lnTo>
                  <a:lnTo>
                    <a:pt x="251" y="331"/>
                  </a:lnTo>
                  <a:close/>
                  <a:moveTo>
                    <a:pt x="237" y="328"/>
                  </a:moveTo>
                  <a:lnTo>
                    <a:pt x="237" y="331"/>
                  </a:lnTo>
                  <a:lnTo>
                    <a:pt x="237" y="328"/>
                  </a:lnTo>
                  <a:close/>
                  <a:moveTo>
                    <a:pt x="237" y="328"/>
                  </a:moveTo>
                  <a:lnTo>
                    <a:pt x="237" y="326"/>
                  </a:lnTo>
                  <a:lnTo>
                    <a:pt x="237" y="328"/>
                  </a:lnTo>
                  <a:close/>
                  <a:moveTo>
                    <a:pt x="247" y="328"/>
                  </a:moveTo>
                  <a:lnTo>
                    <a:pt x="247" y="326"/>
                  </a:lnTo>
                  <a:lnTo>
                    <a:pt x="247" y="328"/>
                  </a:lnTo>
                  <a:close/>
                  <a:moveTo>
                    <a:pt x="247" y="328"/>
                  </a:moveTo>
                  <a:lnTo>
                    <a:pt x="247" y="326"/>
                  </a:lnTo>
                  <a:lnTo>
                    <a:pt x="247" y="328"/>
                  </a:lnTo>
                  <a:close/>
                  <a:moveTo>
                    <a:pt x="235" y="326"/>
                  </a:moveTo>
                  <a:lnTo>
                    <a:pt x="235" y="328"/>
                  </a:lnTo>
                  <a:lnTo>
                    <a:pt x="235" y="326"/>
                  </a:lnTo>
                  <a:close/>
                  <a:moveTo>
                    <a:pt x="244" y="326"/>
                  </a:moveTo>
                  <a:lnTo>
                    <a:pt x="242" y="326"/>
                  </a:lnTo>
                  <a:lnTo>
                    <a:pt x="244" y="326"/>
                  </a:lnTo>
                  <a:close/>
                  <a:moveTo>
                    <a:pt x="244" y="326"/>
                  </a:moveTo>
                  <a:lnTo>
                    <a:pt x="242" y="326"/>
                  </a:lnTo>
                  <a:lnTo>
                    <a:pt x="244" y="326"/>
                  </a:lnTo>
                  <a:close/>
                  <a:moveTo>
                    <a:pt x="247" y="326"/>
                  </a:moveTo>
                  <a:lnTo>
                    <a:pt x="244" y="326"/>
                  </a:lnTo>
                  <a:lnTo>
                    <a:pt x="247" y="326"/>
                  </a:lnTo>
                  <a:close/>
                  <a:moveTo>
                    <a:pt x="232" y="326"/>
                  </a:moveTo>
                  <a:lnTo>
                    <a:pt x="232" y="324"/>
                  </a:lnTo>
                  <a:lnTo>
                    <a:pt x="232" y="326"/>
                  </a:lnTo>
                  <a:close/>
                  <a:moveTo>
                    <a:pt x="232" y="326"/>
                  </a:moveTo>
                  <a:lnTo>
                    <a:pt x="232" y="324"/>
                  </a:lnTo>
                  <a:lnTo>
                    <a:pt x="232" y="326"/>
                  </a:lnTo>
                  <a:close/>
                  <a:moveTo>
                    <a:pt x="221" y="326"/>
                  </a:moveTo>
                  <a:lnTo>
                    <a:pt x="221" y="324"/>
                  </a:lnTo>
                  <a:lnTo>
                    <a:pt x="221" y="326"/>
                  </a:lnTo>
                  <a:close/>
                  <a:moveTo>
                    <a:pt x="223" y="324"/>
                  </a:moveTo>
                  <a:lnTo>
                    <a:pt x="223" y="321"/>
                  </a:lnTo>
                  <a:lnTo>
                    <a:pt x="223" y="324"/>
                  </a:lnTo>
                  <a:close/>
                  <a:moveTo>
                    <a:pt x="235" y="324"/>
                  </a:moveTo>
                  <a:lnTo>
                    <a:pt x="235" y="321"/>
                  </a:lnTo>
                  <a:lnTo>
                    <a:pt x="235" y="324"/>
                  </a:lnTo>
                  <a:close/>
                  <a:moveTo>
                    <a:pt x="218" y="321"/>
                  </a:moveTo>
                  <a:lnTo>
                    <a:pt x="218" y="324"/>
                  </a:lnTo>
                  <a:lnTo>
                    <a:pt x="218" y="321"/>
                  </a:lnTo>
                  <a:close/>
                  <a:moveTo>
                    <a:pt x="223" y="321"/>
                  </a:moveTo>
                  <a:lnTo>
                    <a:pt x="223" y="324"/>
                  </a:lnTo>
                  <a:lnTo>
                    <a:pt x="223" y="321"/>
                  </a:lnTo>
                  <a:close/>
                  <a:moveTo>
                    <a:pt x="221" y="319"/>
                  </a:moveTo>
                  <a:lnTo>
                    <a:pt x="221" y="321"/>
                  </a:lnTo>
                  <a:lnTo>
                    <a:pt x="221" y="319"/>
                  </a:lnTo>
                  <a:close/>
                  <a:moveTo>
                    <a:pt x="221" y="321"/>
                  </a:moveTo>
                  <a:lnTo>
                    <a:pt x="221" y="319"/>
                  </a:lnTo>
                  <a:lnTo>
                    <a:pt x="221" y="321"/>
                  </a:lnTo>
                  <a:close/>
                  <a:moveTo>
                    <a:pt x="230" y="321"/>
                  </a:moveTo>
                  <a:lnTo>
                    <a:pt x="230" y="319"/>
                  </a:lnTo>
                  <a:lnTo>
                    <a:pt x="230" y="321"/>
                  </a:lnTo>
                  <a:close/>
                  <a:moveTo>
                    <a:pt x="221" y="319"/>
                  </a:moveTo>
                  <a:lnTo>
                    <a:pt x="218" y="319"/>
                  </a:lnTo>
                  <a:lnTo>
                    <a:pt x="221" y="319"/>
                  </a:lnTo>
                  <a:close/>
                  <a:moveTo>
                    <a:pt x="218" y="319"/>
                  </a:moveTo>
                  <a:lnTo>
                    <a:pt x="221" y="319"/>
                  </a:lnTo>
                  <a:lnTo>
                    <a:pt x="218" y="319"/>
                  </a:lnTo>
                  <a:close/>
                  <a:moveTo>
                    <a:pt x="216" y="319"/>
                  </a:moveTo>
                  <a:lnTo>
                    <a:pt x="216" y="316"/>
                  </a:lnTo>
                  <a:lnTo>
                    <a:pt x="216" y="319"/>
                  </a:lnTo>
                  <a:close/>
                  <a:moveTo>
                    <a:pt x="211" y="316"/>
                  </a:moveTo>
                  <a:lnTo>
                    <a:pt x="209" y="316"/>
                  </a:lnTo>
                  <a:lnTo>
                    <a:pt x="211" y="316"/>
                  </a:lnTo>
                  <a:close/>
                  <a:moveTo>
                    <a:pt x="211" y="314"/>
                  </a:moveTo>
                  <a:lnTo>
                    <a:pt x="209" y="314"/>
                  </a:lnTo>
                  <a:lnTo>
                    <a:pt x="211" y="314"/>
                  </a:lnTo>
                  <a:close/>
                  <a:moveTo>
                    <a:pt x="211" y="312"/>
                  </a:moveTo>
                  <a:lnTo>
                    <a:pt x="209" y="312"/>
                  </a:lnTo>
                  <a:lnTo>
                    <a:pt x="211" y="312"/>
                  </a:lnTo>
                  <a:close/>
                  <a:moveTo>
                    <a:pt x="209" y="309"/>
                  </a:moveTo>
                  <a:lnTo>
                    <a:pt x="209" y="307"/>
                  </a:lnTo>
                  <a:lnTo>
                    <a:pt x="209" y="309"/>
                  </a:lnTo>
                  <a:close/>
                  <a:moveTo>
                    <a:pt x="206" y="302"/>
                  </a:moveTo>
                  <a:lnTo>
                    <a:pt x="206" y="305"/>
                  </a:lnTo>
                  <a:lnTo>
                    <a:pt x="206" y="302"/>
                  </a:lnTo>
                  <a:close/>
                  <a:moveTo>
                    <a:pt x="204" y="302"/>
                  </a:moveTo>
                  <a:lnTo>
                    <a:pt x="206" y="302"/>
                  </a:lnTo>
                  <a:lnTo>
                    <a:pt x="204" y="302"/>
                  </a:lnTo>
                  <a:close/>
                  <a:moveTo>
                    <a:pt x="204" y="302"/>
                  </a:moveTo>
                  <a:lnTo>
                    <a:pt x="204" y="300"/>
                  </a:lnTo>
                  <a:lnTo>
                    <a:pt x="204" y="302"/>
                  </a:lnTo>
                  <a:close/>
                  <a:moveTo>
                    <a:pt x="206" y="300"/>
                  </a:moveTo>
                  <a:lnTo>
                    <a:pt x="209" y="300"/>
                  </a:lnTo>
                  <a:lnTo>
                    <a:pt x="206" y="300"/>
                  </a:lnTo>
                  <a:close/>
                  <a:moveTo>
                    <a:pt x="209" y="297"/>
                  </a:moveTo>
                  <a:lnTo>
                    <a:pt x="209" y="300"/>
                  </a:lnTo>
                  <a:lnTo>
                    <a:pt x="209" y="297"/>
                  </a:lnTo>
                  <a:close/>
                  <a:moveTo>
                    <a:pt x="206" y="295"/>
                  </a:moveTo>
                  <a:lnTo>
                    <a:pt x="209" y="295"/>
                  </a:lnTo>
                  <a:lnTo>
                    <a:pt x="206" y="295"/>
                  </a:lnTo>
                  <a:close/>
                  <a:moveTo>
                    <a:pt x="206" y="295"/>
                  </a:moveTo>
                  <a:lnTo>
                    <a:pt x="206" y="293"/>
                  </a:lnTo>
                  <a:lnTo>
                    <a:pt x="206" y="295"/>
                  </a:lnTo>
                  <a:close/>
                  <a:moveTo>
                    <a:pt x="209" y="293"/>
                  </a:moveTo>
                  <a:lnTo>
                    <a:pt x="209" y="295"/>
                  </a:lnTo>
                  <a:lnTo>
                    <a:pt x="209" y="293"/>
                  </a:lnTo>
                  <a:close/>
                  <a:moveTo>
                    <a:pt x="209" y="293"/>
                  </a:moveTo>
                  <a:lnTo>
                    <a:pt x="209" y="295"/>
                  </a:lnTo>
                  <a:lnTo>
                    <a:pt x="206" y="293"/>
                  </a:lnTo>
                  <a:lnTo>
                    <a:pt x="209" y="293"/>
                  </a:lnTo>
                  <a:close/>
                  <a:moveTo>
                    <a:pt x="206" y="290"/>
                  </a:moveTo>
                  <a:lnTo>
                    <a:pt x="204" y="290"/>
                  </a:lnTo>
                  <a:lnTo>
                    <a:pt x="206" y="290"/>
                  </a:lnTo>
                  <a:close/>
                  <a:moveTo>
                    <a:pt x="206" y="286"/>
                  </a:moveTo>
                  <a:lnTo>
                    <a:pt x="206" y="288"/>
                  </a:lnTo>
                  <a:lnTo>
                    <a:pt x="206" y="286"/>
                  </a:lnTo>
                  <a:lnTo>
                    <a:pt x="206" y="288"/>
                  </a:lnTo>
                  <a:lnTo>
                    <a:pt x="206" y="286"/>
                  </a:lnTo>
                  <a:close/>
                  <a:moveTo>
                    <a:pt x="206" y="286"/>
                  </a:moveTo>
                  <a:lnTo>
                    <a:pt x="204" y="286"/>
                  </a:lnTo>
                  <a:lnTo>
                    <a:pt x="206" y="286"/>
                  </a:lnTo>
                  <a:close/>
                  <a:moveTo>
                    <a:pt x="206" y="286"/>
                  </a:moveTo>
                  <a:lnTo>
                    <a:pt x="204" y="286"/>
                  </a:lnTo>
                  <a:lnTo>
                    <a:pt x="206" y="286"/>
                  </a:lnTo>
                  <a:close/>
                  <a:moveTo>
                    <a:pt x="204" y="283"/>
                  </a:moveTo>
                  <a:lnTo>
                    <a:pt x="204" y="286"/>
                  </a:lnTo>
                  <a:lnTo>
                    <a:pt x="204" y="283"/>
                  </a:lnTo>
                  <a:close/>
                  <a:moveTo>
                    <a:pt x="204" y="283"/>
                  </a:moveTo>
                  <a:lnTo>
                    <a:pt x="204" y="286"/>
                  </a:lnTo>
                  <a:lnTo>
                    <a:pt x="204" y="283"/>
                  </a:lnTo>
                  <a:close/>
                  <a:moveTo>
                    <a:pt x="206" y="283"/>
                  </a:moveTo>
                  <a:lnTo>
                    <a:pt x="206" y="286"/>
                  </a:lnTo>
                  <a:lnTo>
                    <a:pt x="206" y="283"/>
                  </a:lnTo>
                  <a:close/>
                  <a:moveTo>
                    <a:pt x="206" y="283"/>
                  </a:moveTo>
                  <a:lnTo>
                    <a:pt x="204" y="283"/>
                  </a:lnTo>
                  <a:lnTo>
                    <a:pt x="206" y="283"/>
                  </a:lnTo>
                  <a:close/>
                  <a:moveTo>
                    <a:pt x="206" y="281"/>
                  </a:moveTo>
                  <a:lnTo>
                    <a:pt x="204" y="281"/>
                  </a:lnTo>
                  <a:lnTo>
                    <a:pt x="206" y="281"/>
                  </a:lnTo>
                  <a:close/>
                  <a:moveTo>
                    <a:pt x="204" y="278"/>
                  </a:moveTo>
                  <a:lnTo>
                    <a:pt x="206" y="278"/>
                  </a:lnTo>
                  <a:lnTo>
                    <a:pt x="204" y="278"/>
                  </a:lnTo>
                  <a:close/>
                  <a:moveTo>
                    <a:pt x="206" y="271"/>
                  </a:moveTo>
                  <a:lnTo>
                    <a:pt x="204" y="271"/>
                  </a:lnTo>
                  <a:lnTo>
                    <a:pt x="206" y="271"/>
                  </a:lnTo>
                  <a:close/>
                  <a:moveTo>
                    <a:pt x="209" y="269"/>
                  </a:moveTo>
                  <a:lnTo>
                    <a:pt x="209" y="271"/>
                  </a:lnTo>
                  <a:lnTo>
                    <a:pt x="209" y="269"/>
                  </a:lnTo>
                  <a:close/>
                  <a:moveTo>
                    <a:pt x="204" y="269"/>
                  </a:moveTo>
                  <a:lnTo>
                    <a:pt x="206" y="269"/>
                  </a:lnTo>
                  <a:lnTo>
                    <a:pt x="204" y="269"/>
                  </a:lnTo>
                  <a:close/>
                  <a:moveTo>
                    <a:pt x="202" y="269"/>
                  </a:moveTo>
                  <a:lnTo>
                    <a:pt x="204" y="269"/>
                  </a:lnTo>
                  <a:lnTo>
                    <a:pt x="202" y="269"/>
                  </a:lnTo>
                  <a:close/>
                  <a:moveTo>
                    <a:pt x="204" y="264"/>
                  </a:moveTo>
                  <a:lnTo>
                    <a:pt x="204" y="267"/>
                  </a:lnTo>
                  <a:lnTo>
                    <a:pt x="204" y="264"/>
                  </a:lnTo>
                  <a:close/>
                  <a:moveTo>
                    <a:pt x="206" y="264"/>
                  </a:moveTo>
                  <a:lnTo>
                    <a:pt x="204" y="264"/>
                  </a:lnTo>
                  <a:lnTo>
                    <a:pt x="206" y="264"/>
                  </a:lnTo>
                  <a:close/>
                  <a:moveTo>
                    <a:pt x="211" y="262"/>
                  </a:moveTo>
                  <a:lnTo>
                    <a:pt x="209" y="262"/>
                  </a:lnTo>
                  <a:lnTo>
                    <a:pt x="211" y="262"/>
                  </a:lnTo>
                  <a:close/>
                  <a:moveTo>
                    <a:pt x="211" y="257"/>
                  </a:moveTo>
                  <a:lnTo>
                    <a:pt x="211" y="255"/>
                  </a:lnTo>
                  <a:lnTo>
                    <a:pt x="211" y="257"/>
                  </a:lnTo>
                  <a:close/>
                  <a:moveTo>
                    <a:pt x="213" y="252"/>
                  </a:moveTo>
                  <a:lnTo>
                    <a:pt x="213" y="255"/>
                  </a:lnTo>
                  <a:lnTo>
                    <a:pt x="213" y="252"/>
                  </a:lnTo>
                  <a:close/>
                  <a:moveTo>
                    <a:pt x="211" y="250"/>
                  </a:moveTo>
                  <a:lnTo>
                    <a:pt x="209" y="250"/>
                  </a:lnTo>
                  <a:lnTo>
                    <a:pt x="211" y="250"/>
                  </a:lnTo>
                  <a:close/>
                  <a:moveTo>
                    <a:pt x="213" y="245"/>
                  </a:moveTo>
                  <a:lnTo>
                    <a:pt x="211" y="245"/>
                  </a:lnTo>
                  <a:lnTo>
                    <a:pt x="213" y="245"/>
                  </a:lnTo>
                  <a:close/>
                  <a:moveTo>
                    <a:pt x="216" y="229"/>
                  </a:moveTo>
                  <a:lnTo>
                    <a:pt x="213" y="229"/>
                  </a:lnTo>
                  <a:lnTo>
                    <a:pt x="216" y="229"/>
                  </a:lnTo>
                  <a:close/>
                  <a:moveTo>
                    <a:pt x="216" y="229"/>
                  </a:moveTo>
                  <a:lnTo>
                    <a:pt x="213" y="229"/>
                  </a:lnTo>
                  <a:lnTo>
                    <a:pt x="216" y="229"/>
                  </a:lnTo>
                  <a:close/>
                  <a:moveTo>
                    <a:pt x="216" y="224"/>
                  </a:moveTo>
                  <a:lnTo>
                    <a:pt x="216" y="226"/>
                  </a:lnTo>
                  <a:lnTo>
                    <a:pt x="216" y="224"/>
                  </a:lnTo>
                  <a:close/>
                  <a:moveTo>
                    <a:pt x="225" y="219"/>
                  </a:moveTo>
                  <a:lnTo>
                    <a:pt x="223" y="219"/>
                  </a:lnTo>
                  <a:lnTo>
                    <a:pt x="225" y="219"/>
                  </a:lnTo>
                  <a:close/>
                  <a:moveTo>
                    <a:pt x="213" y="219"/>
                  </a:moveTo>
                  <a:lnTo>
                    <a:pt x="213" y="217"/>
                  </a:lnTo>
                  <a:lnTo>
                    <a:pt x="213" y="219"/>
                  </a:lnTo>
                  <a:close/>
                  <a:moveTo>
                    <a:pt x="232" y="202"/>
                  </a:moveTo>
                  <a:lnTo>
                    <a:pt x="235" y="202"/>
                  </a:lnTo>
                  <a:lnTo>
                    <a:pt x="232" y="202"/>
                  </a:lnTo>
                  <a:close/>
                  <a:moveTo>
                    <a:pt x="230" y="200"/>
                  </a:moveTo>
                  <a:lnTo>
                    <a:pt x="228" y="200"/>
                  </a:lnTo>
                  <a:lnTo>
                    <a:pt x="230" y="200"/>
                  </a:lnTo>
                  <a:close/>
                  <a:moveTo>
                    <a:pt x="244" y="200"/>
                  </a:moveTo>
                  <a:lnTo>
                    <a:pt x="244" y="198"/>
                  </a:lnTo>
                  <a:lnTo>
                    <a:pt x="244" y="200"/>
                  </a:lnTo>
                  <a:close/>
                  <a:moveTo>
                    <a:pt x="242" y="198"/>
                  </a:moveTo>
                  <a:lnTo>
                    <a:pt x="239" y="195"/>
                  </a:lnTo>
                  <a:lnTo>
                    <a:pt x="242" y="198"/>
                  </a:lnTo>
                  <a:close/>
                  <a:moveTo>
                    <a:pt x="251" y="191"/>
                  </a:moveTo>
                  <a:lnTo>
                    <a:pt x="251" y="193"/>
                  </a:lnTo>
                  <a:lnTo>
                    <a:pt x="251" y="191"/>
                  </a:lnTo>
                  <a:close/>
                  <a:moveTo>
                    <a:pt x="249" y="188"/>
                  </a:moveTo>
                  <a:lnTo>
                    <a:pt x="249" y="191"/>
                  </a:lnTo>
                  <a:lnTo>
                    <a:pt x="249" y="188"/>
                  </a:lnTo>
                  <a:close/>
                  <a:moveTo>
                    <a:pt x="254" y="191"/>
                  </a:moveTo>
                  <a:lnTo>
                    <a:pt x="254" y="188"/>
                  </a:lnTo>
                  <a:lnTo>
                    <a:pt x="254" y="191"/>
                  </a:lnTo>
                  <a:close/>
                  <a:moveTo>
                    <a:pt x="256" y="188"/>
                  </a:moveTo>
                  <a:lnTo>
                    <a:pt x="254" y="188"/>
                  </a:lnTo>
                  <a:lnTo>
                    <a:pt x="256" y="188"/>
                  </a:lnTo>
                  <a:close/>
                  <a:moveTo>
                    <a:pt x="251" y="186"/>
                  </a:moveTo>
                  <a:lnTo>
                    <a:pt x="249" y="186"/>
                  </a:lnTo>
                  <a:lnTo>
                    <a:pt x="251" y="186"/>
                  </a:lnTo>
                  <a:close/>
                  <a:moveTo>
                    <a:pt x="223" y="186"/>
                  </a:moveTo>
                  <a:lnTo>
                    <a:pt x="223" y="188"/>
                  </a:lnTo>
                  <a:lnTo>
                    <a:pt x="223" y="186"/>
                  </a:lnTo>
                  <a:close/>
                  <a:moveTo>
                    <a:pt x="254" y="186"/>
                  </a:moveTo>
                  <a:lnTo>
                    <a:pt x="251" y="186"/>
                  </a:lnTo>
                  <a:lnTo>
                    <a:pt x="254" y="186"/>
                  </a:lnTo>
                  <a:close/>
                  <a:moveTo>
                    <a:pt x="251" y="186"/>
                  </a:moveTo>
                  <a:lnTo>
                    <a:pt x="251" y="183"/>
                  </a:lnTo>
                  <a:lnTo>
                    <a:pt x="251" y="186"/>
                  </a:lnTo>
                  <a:close/>
                  <a:moveTo>
                    <a:pt x="254" y="183"/>
                  </a:moveTo>
                  <a:lnTo>
                    <a:pt x="251" y="186"/>
                  </a:lnTo>
                  <a:lnTo>
                    <a:pt x="251" y="183"/>
                  </a:lnTo>
                  <a:lnTo>
                    <a:pt x="254" y="183"/>
                  </a:lnTo>
                  <a:close/>
                  <a:moveTo>
                    <a:pt x="256" y="183"/>
                  </a:moveTo>
                  <a:lnTo>
                    <a:pt x="254" y="183"/>
                  </a:lnTo>
                  <a:lnTo>
                    <a:pt x="256" y="183"/>
                  </a:lnTo>
                  <a:close/>
                  <a:moveTo>
                    <a:pt x="263" y="181"/>
                  </a:moveTo>
                  <a:lnTo>
                    <a:pt x="263" y="179"/>
                  </a:lnTo>
                  <a:lnTo>
                    <a:pt x="263" y="181"/>
                  </a:lnTo>
                  <a:close/>
                  <a:moveTo>
                    <a:pt x="266" y="179"/>
                  </a:moveTo>
                  <a:lnTo>
                    <a:pt x="266" y="181"/>
                  </a:lnTo>
                  <a:lnTo>
                    <a:pt x="266" y="179"/>
                  </a:lnTo>
                  <a:close/>
                  <a:moveTo>
                    <a:pt x="266" y="179"/>
                  </a:moveTo>
                  <a:lnTo>
                    <a:pt x="266" y="181"/>
                  </a:lnTo>
                  <a:lnTo>
                    <a:pt x="263" y="181"/>
                  </a:lnTo>
                  <a:lnTo>
                    <a:pt x="263" y="179"/>
                  </a:lnTo>
                  <a:lnTo>
                    <a:pt x="266" y="179"/>
                  </a:lnTo>
                  <a:close/>
                  <a:moveTo>
                    <a:pt x="263" y="179"/>
                  </a:moveTo>
                  <a:lnTo>
                    <a:pt x="263" y="181"/>
                  </a:lnTo>
                  <a:lnTo>
                    <a:pt x="263" y="179"/>
                  </a:lnTo>
                  <a:lnTo>
                    <a:pt x="263" y="181"/>
                  </a:lnTo>
                  <a:lnTo>
                    <a:pt x="263" y="179"/>
                  </a:lnTo>
                  <a:close/>
                  <a:moveTo>
                    <a:pt x="268" y="179"/>
                  </a:moveTo>
                  <a:lnTo>
                    <a:pt x="266" y="179"/>
                  </a:lnTo>
                  <a:lnTo>
                    <a:pt x="268" y="179"/>
                  </a:lnTo>
                  <a:close/>
                  <a:moveTo>
                    <a:pt x="261" y="176"/>
                  </a:moveTo>
                  <a:lnTo>
                    <a:pt x="261" y="174"/>
                  </a:lnTo>
                  <a:lnTo>
                    <a:pt x="261" y="176"/>
                  </a:lnTo>
                  <a:close/>
                  <a:moveTo>
                    <a:pt x="268" y="176"/>
                  </a:moveTo>
                  <a:lnTo>
                    <a:pt x="268" y="174"/>
                  </a:lnTo>
                  <a:lnTo>
                    <a:pt x="268" y="176"/>
                  </a:lnTo>
                  <a:close/>
                  <a:moveTo>
                    <a:pt x="273" y="174"/>
                  </a:moveTo>
                  <a:lnTo>
                    <a:pt x="270" y="174"/>
                  </a:lnTo>
                  <a:lnTo>
                    <a:pt x="273" y="174"/>
                  </a:lnTo>
                  <a:close/>
                  <a:moveTo>
                    <a:pt x="273" y="174"/>
                  </a:moveTo>
                  <a:lnTo>
                    <a:pt x="273" y="172"/>
                  </a:lnTo>
                  <a:lnTo>
                    <a:pt x="273" y="174"/>
                  </a:lnTo>
                  <a:close/>
                  <a:moveTo>
                    <a:pt x="270" y="174"/>
                  </a:moveTo>
                  <a:lnTo>
                    <a:pt x="268" y="174"/>
                  </a:lnTo>
                  <a:lnTo>
                    <a:pt x="270" y="172"/>
                  </a:lnTo>
                  <a:lnTo>
                    <a:pt x="270" y="174"/>
                  </a:lnTo>
                  <a:close/>
                  <a:moveTo>
                    <a:pt x="285" y="169"/>
                  </a:moveTo>
                  <a:lnTo>
                    <a:pt x="285" y="167"/>
                  </a:lnTo>
                  <a:lnTo>
                    <a:pt x="285" y="169"/>
                  </a:lnTo>
                  <a:close/>
                  <a:moveTo>
                    <a:pt x="280" y="167"/>
                  </a:moveTo>
                  <a:lnTo>
                    <a:pt x="280" y="169"/>
                  </a:lnTo>
                  <a:lnTo>
                    <a:pt x="280" y="167"/>
                  </a:lnTo>
                  <a:close/>
                  <a:moveTo>
                    <a:pt x="289" y="167"/>
                  </a:moveTo>
                  <a:lnTo>
                    <a:pt x="287" y="167"/>
                  </a:lnTo>
                  <a:lnTo>
                    <a:pt x="289" y="167"/>
                  </a:lnTo>
                  <a:close/>
                  <a:moveTo>
                    <a:pt x="280" y="167"/>
                  </a:moveTo>
                  <a:lnTo>
                    <a:pt x="277" y="167"/>
                  </a:lnTo>
                  <a:lnTo>
                    <a:pt x="280" y="167"/>
                  </a:lnTo>
                  <a:close/>
                  <a:moveTo>
                    <a:pt x="289" y="164"/>
                  </a:moveTo>
                  <a:lnTo>
                    <a:pt x="289" y="167"/>
                  </a:lnTo>
                  <a:lnTo>
                    <a:pt x="289" y="164"/>
                  </a:lnTo>
                  <a:close/>
                  <a:moveTo>
                    <a:pt x="280" y="164"/>
                  </a:moveTo>
                  <a:lnTo>
                    <a:pt x="280" y="167"/>
                  </a:lnTo>
                  <a:lnTo>
                    <a:pt x="280" y="164"/>
                  </a:lnTo>
                  <a:lnTo>
                    <a:pt x="277" y="167"/>
                  </a:lnTo>
                  <a:lnTo>
                    <a:pt x="277" y="164"/>
                  </a:lnTo>
                  <a:lnTo>
                    <a:pt x="280" y="164"/>
                  </a:lnTo>
                  <a:close/>
                  <a:moveTo>
                    <a:pt x="277" y="167"/>
                  </a:moveTo>
                  <a:lnTo>
                    <a:pt x="277" y="164"/>
                  </a:lnTo>
                  <a:lnTo>
                    <a:pt x="277" y="167"/>
                  </a:lnTo>
                  <a:close/>
                  <a:moveTo>
                    <a:pt x="277" y="164"/>
                  </a:moveTo>
                  <a:lnTo>
                    <a:pt x="275" y="164"/>
                  </a:lnTo>
                  <a:lnTo>
                    <a:pt x="277" y="164"/>
                  </a:lnTo>
                  <a:close/>
                  <a:moveTo>
                    <a:pt x="282" y="164"/>
                  </a:moveTo>
                  <a:lnTo>
                    <a:pt x="282" y="162"/>
                  </a:lnTo>
                  <a:lnTo>
                    <a:pt x="282" y="164"/>
                  </a:lnTo>
                  <a:close/>
                  <a:moveTo>
                    <a:pt x="294" y="162"/>
                  </a:moveTo>
                  <a:lnTo>
                    <a:pt x="294" y="164"/>
                  </a:lnTo>
                  <a:lnTo>
                    <a:pt x="294" y="162"/>
                  </a:lnTo>
                  <a:close/>
                  <a:moveTo>
                    <a:pt x="294" y="162"/>
                  </a:moveTo>
                  <a:lnTo>
                    <a:pt x="292" y="162"/>
                  </a:lnTo>
                  <a:lnTo>
                    <a:pt x="294" y="162"/>
                  </a:lnTo>
                  <a:close/>
                  <a:moveTo>
                    <a:pt x="294" y="162"/>
                  </a:moveTo>
                  <a:lnTo>
                    <a:pt x="292" y="162"/>
                  </a:lnTo>
                  <a:lnTo>
                    <a:pt x="294" y="162"/>
                  </a:lnTo>
                  <a:close/>
                  <a:moveTo>
                    <a:pt x="294" y="160"/>
                  </a:moveTo>
                  <a:lnTo>
                    <a:pt x="294" y="162"/>
                  </a:lnTo>
                  <a:lnTo>
                    <a:pt x="294" y="160"/>
                  </a:lnTo>
                  <a:close/>
                  <a:moveTo>
                    <a:pt x="292" y="162"/>
                  </a:moveTo>
                  <a:lnTo>
                    <a:pt x="292" y="160"/>
                  </a:lnTo>
                  <a:lnTo>
                    <a:pt x="292" y="162"/>
                  </a:lnTo>
                  <a:close/>
                  <a:moveTo>
                    <a:pt x="294" y="160"/>
                  </a:moveTo>
                  <a:lnTo>
                    <a:pt x="292" y="160"/>
                  </a:lnTo>
                  <a:lnTo>
                    <a:pt x="294" y="160"/>
                  </a:lnTo>
                  <a:close/>
                  <a:moveTo>
                    <a:pt x="294" y="160"/>
                  </a:moveTo>
                  <a:lnTo>
                    <a:pt x="292" y="160"/>
                  </a:lnTo>
                  <a:lnTo>
                    <a:pt x="294" y="160"/>
                  </a:lnTo>
                  <a:close/>
                  <a:moveTo>
                    <a:pt x="299" y="160"/>
                  </a:moveTo>
                  <a:lnTo>
                    <a:pt x="299" y="157"/>
                  </a:lnTo>
                  <a:lnTo>
                    <a:pt x="299" y="160"/>
                  </a:lnTo>
                  <a:close/>
                  <a:moveTo>
                    <a:pt x="294" y="160"/>
                  </a:moveTo>
                  <a:lnTo>
                    <a:pt x="294" y="157"/>
                  </a:lnTo>
                  <a:lnTo>
                    <a:pt x="294" y="160"/>
                  </a:lnTo>
                  <a:close/>
                  <a:moveTo>
                    <a:pt x="325" y="157"/>
                  </a:moveTo>
                  <a:lnTo>
                    <a:pt x="323" y="157"/>
                  </a:lnTo>
                  <a:lnTo>
                    <a:pt x="325" y="157"/>
                  </a:lnTo>
                  <a:close/>
                  <a:moveTo>
                    <a:pt x="323" y="157"/>
                  </a:moveTo>
                  <a:lnTo>
                    <a:pt x="323" y="155"/>
                  </a:lnTo>
                  <a:lnTo>
                    <a:pt x="323" y="157"/>
                  </a:lnTo>
                  <a:close/>
                  <a:moveTo>
                    <a:pt x="325" y="155"/>
                  </a:moveTo>
                  <a:lnTo>
                    <a:pt x="325" y="157"/>
                  </a:lnTo>
                  <a:lnTo>
                    <a:pt x="325" y="155"/>
                  </a:lnTo>
                  <a:close/>
                  <a:moveTo>
                    <a:pt x="327" y="155"/>
                  </a:moveTo>
                  <a:lnTo>
                    <a:pt x="325" y="155"/>
                  </a:lnTo>
                  <a:lnTo>
                    <a:pt x="327" y="155"/>
                  </a:lnTo>
                  <a:close/>
                  <a:moveTo>
                    <a:pt x="308" y="155"/>
                  </a:moveTo>
                  <a:lnTo>
                    <a:pt x="308" y="153"/>
                  </a:lnTo>
                  <a:lnTo>
                    <a:pt x="308" y="155"/>
                  </a:lnTo>
                  <a:close/>
                  <a:moveTo>
                    <a:pt x="325" y="155"/>
                  </a:moveTo>
                  <a:lnTo>
                    <a:pt x="325" y="153"/>
                  </a:lnTo>
                  <a:lnTo>
                    <a:pt x="325" y="155"/>
                  </a:lnTo>
                  <a:close/>
                  <a:moveTo>
                    <a:pt x="311" y="155"/>
                  </a:moveTo>
                  <a:lnTo>
                    <a:pt x="311" y="153"/>
                  </a:lnTo>
                  <a:lnTo>
                    <a:pt x="311" y="155"/>
                  </a:lnTo>
                  <a:close/>
                  <a:moveTo>
                    <a:pt x="311" y="153"/>
                  </a:moveTo>
                  <a:lnTo>
                    <a:pt x="313" y="153"/>
                  </a:lnTo>
                  <a:lnTo>
                    <a:pt x="311" y="153"/>
                  </a:lnTo>
                  <a:close/>
                  <a:moveTo>
                    <a:pt x="311" y="153"/>
                  </a:moveTo>
                  <a:lnTo>
                    <a:pt x="313" y="153"/>
                  </a:lnTo>
                  <a:lnTo>
                    <a:pt x="311" y="153"/>
                  </a:lnTo>
                  <a:close/>
                  <a:moveTo>
                    <a:pt x="313" y="150"/>
                  </a:moveTo>
                  <a:lnTo>
                    <a:pt x="313" y="153"/>
                  </a:lnTo>
                  <a:lnTo>
                    <a:pt x="313" y="150"/>
                  </a:lnTo>
                  <a:close/>
                  <a:moveTo>
                    <a:pt x="318" y="148"/>
                  </a:moveTo>
                  <a:lnTo>
                    <a:pt x="318" y="150"/>
                  </a:lnTo>
                  <a:lnTo>
                    <a:pt x="318" y="148"/>
                  </a:lnTo>
                  <a:close/>
                  <a:moveTo>
                    <a:pt x="325" y="148"/>
                  </a:moveTo>
                  <a:lnTo>
                    <a:pt x="325" y="150"/>
                  </a:lnTo>
                  <a:lnTo>
                    <a:pt x="325" y="148"/>
                  </a:lnTo>
                  <a:close/>
                  <a:moveTo>
                    <a:pt x="313" y="150"/>
                  </a:moveTo>
                  <a:lnTo>
                    <a:pt x="313" y="148"/>
                  </a:lnTo>
                  <a:lnTo>
                    <a:pt x="313" y="150"/>
                  </a:lnTo>
                  <a:close/>
                  <a:moveTo>
                    <a:pt x="308" y="150"/>
                  </a:moveTo>
                  <a:lnTo>
                    <a:pt x="308" y="148"/>
                  </a:lnTo>
                  <a:lnTo>
                    <a:pt x="308" y="150"/>
                  </a:lnTo>
                  <a:close/>
                  <a:moveTo>
                    <a:pt x="315" y="148"/>
                  </a:moveTo>
                  <a:lnTo>
                    <a:pt x="313" y="148"/>
                  </a:lnTo>
                  <a:lnTo>
                    <a:pt x="315" y="148"/>
                  </a:lnTo>
                  <a:close/>
                  <a:moveTo>
                    <a:pt x="315" y="148"/>
                  </a:moveTo>
                  <a:lnTo>
                    <a:pt x="313" y="148"/>
                  </a:lnTo>
                  <a:lnTo>
                    <a:pt x="315" y="148"/>
                  </a:lnTo>
                  <a:close/>
                  <a:moveTo>
                    <a:pt x="330" y="148"/>
                  </a:moveTo>
                  <a:lnTo>
                    <a:pt x="327" y="148"/>
                  </a:lnTo>
                  <a:lnTo>
                    <a:pt x="330" y="148"/>
                  </a:lnTo>
                  <a:lnTo>
                    <a:pt x="327" y="148"/>
                  </a:lnTo>
                  <a:lnTo>
                    <a:pt x="330" y="148"/>
                  </a:lnTo>
                  <a:close/>
                  <a:moveTo>
                    <a:pt x="318" y="145"/>
                  </a:moveTo>
                  <a:lnTo>
                    <a:pt x="318" y="148"/>
                  </a:lnTo>
                  <a:lnTo>
                    <a:pt x="318" y="145"/>
                  </a:lnTo>
                  <a:close/>
                  <a:moveTo>
                    <a:pt x="318" y="148"/>
                  </a:moveTo>
                  <a:lnTo>
                    <a:pt x="318" y="145"/>
                  </a:lnTo>
                  <a:lnTo>
                    <a:pt x="318" y="148"/>
                  </a:lnTo>
                  <a:close/>
                  <a:moveTo>
                    <a:pt x="318" y="148"/>
                  </a:moveTo>
                  <a:lnTo>
                    <a:pt x="318" y="145"/>
                  </a:lnTo>
                  <a:lnTo>
                    <a:pt x="318" y="148"/>
                  </a:lnTo>
                  <a:close/>
                  <a:moveTo>
                    <a:pt x="330" y="145"/>
                  </a:moveTo>
                  <a:lnTo>
                    <a:pt x="327" y="145"/>
                  </a:lnTo>
                  <a:lnTo>
                    <a:pt x="330" y="145"/>
                  </a:lnTo>
                  <a:close/>
                  <a:moveTo>
                    <a:pt x="325" y="138"/>
                  </a:moveTo>
                  <a:lnTo>
                    <a:pt x="325" y="141"/>
                  </a:lnTo>
                  <a:lnTo>
                    <a:pt x="325" y="138"/>
                  </a:lnTo>
                  <a:close/>
                  <a:moveTo>
                    <a:pt x="325" y="138"/>
                  </a:moveTo>
                  <a:lnTo>
                    <a:pt x="325" y="141"/>
                  </a:lnTo>
                  <a:lnTo>
                    <a:pt x="325" y="138"/>
                  </a:lnTo>
                  <a:close/>
                  <a:moveTo>
                    <a:pt x="327" y="136"/>
                  </a:moveTo>
                  <a:lnTo>
                    <a:pt x="325" y="136"/>
                  </a:lnTo>
                  <a:lnTo>
                    <a:pt x="327" y="136"/>
                  </a:lnTo>
                  <a:close/>
                  <a:moveTo>
                    <a:pt x="327" y="134"/>
                  </a:moveTo>
                  <a:lnTo>
                    <a:pt x="327" y="136"/>
                  </a:lnTo>
                  <a:lnTo>
                    <a:pt x="327" y="134"/>
                  </a:lnTo>
                  <a:close/>
                  <a:moveTo>
                    <a:pt x="330" y="131"/>
                  </a:moveTo>
                  <a:lnTo>
                    <a:pt x="327" y="131"/>
                  </a:lnTo>
                  <a:lnTo>
                    <a:pt x="330" y="131"/>
                  </a:lnTo>
                  <a:close/>
                  <a:moveTo>
                    <a:pt x="330" y="126"/>
                  </a:moveTo>
                  <a:lnTo>
                    <a:pt x="330" y="129"/>
                  </a:lnTo>
                  <a:lnTo>
                    <a:pt x="330" y="126"/>
                  </a:lnTo>
                  <a:close/>
                  <a:moveTo>
                    <a:pt x="332" y="124"/>
                  </a:moveTo>
                  <a:lnTo>
                    <a:pt x="332" y="126"/>
                  </a:lnTo>
                  <a:lnTo>
                    <a:pt x="332" y="124"/>
                  </a:lnTo>
                  <a:close/>
                  <a:moveTo>
                    <a:pt x="339" y="122"/>
                  </a:moveTo>
                  <a:lnTo>
                    <a:pt x="337" y="122"/>
                  </a:lnTo>
                  <a:lnTo>
                    <a:pt x="339" y="122"/>
                  </a:lnTo>
                  <a:close/>
                  <a:moveTo>
                    <a:pt x="349" y="117"/>
                  </a:moveTo>
                  <a:lnTo>
                    <a:pt x="346" y="117"/>
                  </a:lnTo>
                  <a:lnTo>
                    <a:pt x="349" y="117"/>
                  </a:lnTo>
                  <a:close/>
                  <a:moveTo>
                    <a:pt x="349" y="110"/>
                  </a:moveTo>
                  <a:lnTo>
                    <a:pt x="346" y="110"/>
                  </a:lnTo>
                  <a:lnTo>
                    <a:pt x="349" y="110"/>
                  </a:lnTo>
                  <a:close/>
                  <a:moveTo>
                    <a:pt x="346" y="107"/>
                  </a:moveTo>
                  <a:lnTo>
                    <a:pt x="346" y="105"/>
                  </a:lnTo>
                  <a:lnTo>
                    <a:pt x="346" y="107"/>
                  </a:lnTo>
                  <a:close/>
                  <a:moveTo>
                    <a:pt x="339" y="100"/>
                  </a:moveTo>
                  <a:lnTo>
                    <a:pt x="339" y="103"/>
                  </a:lnTo>
                  <a:lnTo>
                    <a:pt x="339" y="100"/>
                  </a:lnTo>
                  <a:close/>
                  <a:moveTo>
                    <a:pt x="337" y="98"/>
                  </a:moveTo>
                  <a:lnTo>
                    <a:pt x="334" y="98"/>
                  </a:lnTo>
                  <a:lnTo>
                    <a:pt x="337" y="98"/>
                  </a:lnTo>
                  <a:close/>
                  <a:moveTo>
                    <a:pt x="339" y="96"/>
                  </a:moveTo>
                  <a:lnTo>
                    <a:pt x="342" y="96"/>
                  </a:lnTo>
                  <a:lnTo>
                    <a:pt x="339" y="96"/>
                  </a:lnTo>
                  <a:close/>
                  <a:moveTo>
                    <a:pt x="342" y="93"/>
                  </a:moveTo>
                  <a:lnTo>
                    <a:pt x="342" y="96"/>
                  </a:lnTo>
                  <a:lnTo>
                    <a:pt x="342" y="93"/>
                  </a:lnTo>
                  <a:close/>
                  <a:moveTo>
                    <a:pt x="334" y="93"/>
                  </a:moveTo>
                  <a:lnTo>
                    <a:pt x="334" y="91"/>
                  </a:lnTo>
                  <a:lnTo>
                    <a:pt x="334" y="93"/>
                  </a:lnTo>
                  <a:close/>
                  <a:moveTo>
                    <a:pt x="332" y="88"/>
                  </a:moveTo>
                  <a:lnTo>
                    <a:pt x="332" y="91"/>
                  </a:lnTo>
                  <a:lnTo>
                    <a:pt x="332" y="88"/>
                  </a:lnTo>
                  <a:close/>
                  <a:moveTo>
                    <a:pt x="342" y="86"/>
                  </a:moveTo>
                  <a:lnTo>
                    <a:pt x="339" y="86"/>
                  </a:lnTo>
                  <a:lnTo>
                    <a:pt x="342" y="86"/>
                  </a:lnTo>
                  <a:close/>
                  <a:moveTo>
                    <a:pt x="342" y="84"/>
                  </a:moveTo>
                  <a:lnTo>
                    <a:pt x="339" y="84"/>
                  </a:lnTo>
                  <a:lnTo>
                    <a:pt x="342" y="84"/>
                  </a:lnTo>
                  <a:close/>
                  <a:moveTo>
                    <a:pt x="342" y="84"/>
                  </a:moveTo>
                  <a:lnTo>
                    <a:pt x="342" y="81"/>
                  </a:lnTo>
                  <a:lnTo>
                    <a:pt x="342" y="84"/>
                  </a:lnTo>
                  <a:close/>
                  <a:moveTo>
                    <a:pt x="344" y="81"/>
                  </a:moveTo>
                  <a:lnTo>
                    <a:pt x="342" y="81"/>
                  </a:lnTo>
                  <a:lnTo>
                    <a:pt x="344" y="81"/>
                  </a:lnTo>
                  <a:close/>
                  <a:moveTo>
                    <a:pt x="349" y="74"/>
                  </a:moveTo>
                  <a:lnTo>
                    <a:pt x="351" y="77"/>
                  </a:lnTo>
                  <a:lnTo>
                    <a:pt x="351" y="74"/>
                  </a:lnTo>
                  <a:lnTo>
                    <a:pt x="351" y="77"/>
                  </a:lnTo>
                  <a:lnTo>
                    <a:pt x="349" y="77"/>
                  </a:lnTo>
                  <a:lnTo>
                    <a:pt x="349" y="74"/>
                  </a:lnTo>
                  <a:close/>
                  <a:moveTo>
                    <a:pt x="358" y="72"/>
                  </a:moveTo>
                  <a:lnTo>
                    <a:pt x="361" y="72"/>
                  </a:lnTo>
                  <a:lnTo>
                    <a:pt x="358" y="72"/>
                  </a:lnTo>
                  <a:close/>
                  <a:moveTo>
                    <a:pt x="353" y="69"/>
                  </a:moveTo>
                  <a:lnTo>
                    <a:pt x="351" y="69"/>
                  </a:lnTo>
                  <a:lnTo>
                    <a:pt x="353" y="69"/>
                  </a:lnTo>
                  <a:close/>
                  <a:moveTo>
                    <a:pt x="351" y="67"/>
                  </a:moveTo>
                  <a:lnTo>
                    <a:pt x="351" y="69"/>
                  </a:lnTo>
                  <a:lnTo>
                    <a:pt x="351" y="67"/>
                  </a:lnTo>
                  <a:close/>
                  <a:moveTo>
                    <a:pt x="351" y="67"/>
                  </a:moveTo>
                  <a:lnTo>
                    <a:pt x="349" y="67"/>
                  </a:lnTo>
                  <a:lnTo>
                    <a:pt x="351" y="67"/>
                  </a:lnTo>
                  <a:close/>
                  <a:moveTo>
                    <a:pt x="363" y="65"/>
                  </a:moveTo>
                  <a:lnTo>
                    <a:pt x="361" y="65"/>
                  </a:lnTo>
                  <a:lnTo>
                    <a:pt x="363" y="65"/>
                  </a:lnTo>
                  <a:close/>
                  <a:moveTo>
                    <a:pt x="356" y="62"/>
                  </a:moveTo>
                  <a:lnTo>
                    <a:pt x="353" y="62"/>
                  </a:lnTo>
                  <a:lnTo>
                    <a:pt x="356" y="62"/>
                  </a:lnTo>
                  <a:close/>
                  <a:moveTo>
                    <a:pt x="377" y="62"/>
                  </a:moveTo>
                  <a:lnTo>
                    <a:pt x="375" y="62"/>
                  </a:lnTo>
                  <a:lnTo>
                    <a:pt x="377" y="62"/>
                  </a:lnTo>
                  <a:close/>
                  <a:moveTo>
                    <a:pt x="361" y="62"/>
                  </a:moveTo>
                  <a:lnTo>
                    <a:pt x="358" y="62"/>
                  </a:lnTo>
                  <a:lnTo>
                    <a:pt x="361" y="62"/>
                  </a:lnTo>
                  <a:close/>
                  <a:moveTo>
                    <a:pt x="349" y="62"/>
                  </a:moveTo>
                  <a:lnTo>
                    <a:pt x="346" y="62"/>
                  </a:lnTo>
                  <a:lnTo>
                    <a:pt x="349" y="62"/>
                  </a:lnTo>
                  <a:close/>
                  <a:moveTo>
                    <a:pt x="353" y="62"/>
                  </a:moveTo>
                  <a:lnTo>
                    <a:pt x="351" y="62"/>
                  </a:lnTo>
                  <a:lnTo>
                    <a:pt x="353" y="62"/>
                  </a:lnTo>
                  <a:close/>
                  <a:moveTo>
                    <a:pt x="351" y="60"/>
                  </a:moveTo>
                  <a:lnTo>
                    <a:pt x="351" y="62"/>
                  </a:lnTo>
                  <a:lnTo>
                    <a:pt x="351" y="60"/>
                  </a:lnTo>
                  <a:lnTo>
                    <a:pt x="349" y="60"/>
                  </a:lnTo>
                  <a:lnTo>
                    <a:pt x="351" y="60"/>
                  </a:lnTo>
                  <a:close/>
                  <a:moveTo>
                    <a:pt x="363" y="60"/>
                  </a:moveTo>
                  <a:lnTo>
                    <a:pt x="361" y="60"/>
                  </a:lnTo>
                  <a:lnTo>
                    <a:pt x="363" y="60"/>
                  </a:lnTo>
                  <a:close/>
                  <a:moveTo>
                    <a:pt x="353" y="60"/>
                  </a:moveTo>
                  <a:lnTo>
                    <a:pt x="351" y="60"/>
                  </a:lnTo>
                  <a:lnTo>
                    <a:pt x="353" y="60"/>
                  </a:lnTo>
                  <a:close/>
                  <a:moveTo>
                    <a:pt x="361" y="58"/>
                  </a:moveTo>
                  <a:lnTo>
                    <a:pt x="358" y="58"/>
                  </a:lnTo>
                  <a:lnTo>
                    <a:pt x="361" y="58"/>
                  </a:lnTo>
                  <a:close/>
                  <a:moveTo>
                    <a:pt x="368" y="58"/>
                  </a:moveTo>
                  <a:lnTo>
                    <a:pt x="365" y="58"/>
                  </a:lnTo>
                  <a:lnTo>
                    <a:pt x="368" y="58"/>
                  </a:lnTo>
                  <a:close/>
                  <a:moveTo>
                    <a:pt x="349" y="55"/>
                  </a:moveTo>
                  <a:lnTo>
                    <a:pt x="349" y="58"/>
                  </a:lnTo>
                  <a:lnTo>
                    <a:pt x="349" y="55"/>
                  </a:lnTo>
                  <a:close/>
                  <a:moveTo>
                    <a:pt x="365" y="58"/>
                  </a:moveTo>
                  <a:lnTo>
                    <a:pt x="363" y="58"/>
                  </a:lnTo>
                  <a:lnTo>
                    <a:pt x="363" y="55"/>
                  </a:lnTo>
                  <a:lnTo>
                    <a:pt x="365" y="58"/>
                  </a:lnTo>
                  <a:close/>
                  <a:moveTo>
                    <a:pt x="379" y="55"/>
                  </a:moveTo>
                  <a:lnTo>
                    <a:pt x="379" y="58"/>
                  </a:lnTo>
                  <a:lnTo>
                    <a:pt x="377" y="55"/>
                  </a:lnTo>
                  <a:lnTo>
                    <a:pt x="379" y="55"/>
                  </a:lnTo>
                  <a:close/>
                  <a:moveTo>
                    <a:pt x="365" y="55"/>
                  </a:moveTo>
                  <a:lnTo>
                    <a:pt x="365" y="53"/>
                  </a:lnTo>
                  <a:lnTo>
                    <a:pt x="365" y="55"/>
                  </a:lnTo>
                  <a:close/>
                  <a:moveTo>
                    <a:pt x="372" y="53"/>
                  </a:moveTo>
                  <a:lnTo>
                    <a:pt x="375" y="53"/>
                  </a:lnTo>
                  <a:lnTo>
                    <a:pt x="372" y="53"/>
                  </a:lnTo>
                  <a:close/>
                  <a:moveTo>
                    <a:pt x="370" y="53"/>
                  </a:moveTo>
                  <a:lnTo>
                    <a:pt x="368" y="53"/>
                  </a:lnTo>
                  <a:lnTo>
                    <a:pt x="370" y="53"/>
                  </a:lnTo>
                  <a:close/>
                  <a:moveTo>
                    <a:pt x="377" y="53"/>
                  </a:moveTo>
                  <a:lnTo>
                    <a:pt x="375" y="53"/>
                  </a:lnTo>
                  <a:lnTo>
                    <a:pt x="377" y="53"/>
                  </a:lnTo>
                  <a:close/>
                  <a:moveTo>
                    <a:pt x="365" y="53"/>
                  </a:moveTo>
                  <a:lnTo>
                    <a:pt x="363" y="53"/>
                  </a:lnTo>
                  <a:lnTo>
                    <a:pt x="365" y="53"/>
                  </a:lnTo>
                  <a:close/>
                  <a:moveTo>
                    <a:pt x="379" y="53"/>
                  </a:moveTo>
                  <a:lnTo>
                    <a:pt x="379" y="50"/>
                  </a:lnTo>
                  <a:lnTo>
                    <a:pt x="379" y="53"/>
                  </a:lnTo>
                  <a:close/>
                  <a:moveTo>
                    <a:pt x="384" y="50"/>
                  </a:moveTo>
                  <a:lnTo>
                    <a:pt x="384" y="53"/>
                  </a:lnTo>
                  <a:lnTo>
                    <a:pt x="384" y="50"/>
                  </a:lnTo>
                  <a:close/>
                  <a:moveTo>
                    <a:pt x="379" y="50"/>
                  </a:moveTo>
                  <a:lnTo>
                    <a:pt x="379" y="53"/>
                  </a:lnTo>
                  <a:lnTo>
                    <a:pt x="379" y="50"/>
                  </a:lnTo>
                  <a:close/>
                  <a:moveTo>
                    <a:pt x="391" y="50"/>
                  </a:moveTo>
                  <a:lnTo>
                    <a:pt x="389" y="50"/>
                  </a:lnTo>
                  <a:lnTo>
                    <a:pt x="391" y="50"/>
                  </a:lnTo>
                  <a:close/>
                  <a:moveTo>
                    <a:pt x="372" y="50"/>
                  </a:moveTo>
                  <a:lnTo>
                    <a:pt x="375" y="50"/>
                  </a:lnTo>
                  <a:lnTo>
                    <a:pt x="372" y="50"/>
                  </a:lnTo>
                  <a:close/>
                  <a:moveTo>
                    <a:pt x="382" y="48"/>
                  </a:moveTo>
                  <a:lnTo>
                    <a:pt x="379" y="48"/>
                  </a:lnTo>
                  <a:lnTo>
                    <a:pt x="382" y="48"/>
                  </a:lnTo>
                  <a:close/>
                  <a:moveTo>
                    <a:pt x="379" y="43"/>
                  </a:moveTo>
                  <a:lnTo>
                    <a:pt x="379" y="46"/>
                  </a:lnTo>
                  <a:lnTo>
                    <a:pt x="382" y="46"/>
                  </a:lnTo>
                  <a:lnTo>
                    <a:pt x="379" y="46"/>
                  </a:lnTo>
                  <a:lnTo>
                    <a:pt x="379" y="43"/>
                  </a:lnTo>
                  <a:close/>
                  <a:moveTo>
                    <a:pt x="391" y="46"/>
                  </a:moveTo>
                  <a:lnTo>
                    <a:pt x="391" y="43"/>
                  </a:lnTo>
                  <a:lnTo>
                    <a:pt x="391" y="46"/>
                  </a:lnTo>
                  <a:close/>
                  <a:moveTo>
                    <a:pt x="398" y="43"/>
                  </a:moveTo>
                  <a:lnTo>
                    <a:pt x="398" y="46"/>
                  </a:lnTo>
                  <a:lnTo>
                    <a:pt x="398" y="43"/>
                  </a:lnTo>
                  <a:close/>
                  <a:moveTo>
                    <a:pt x="398" y="43"/>
                  </a:moveTo>
                  <a:lnTo>
                    <a:pt x="396" y="43"/>
                  </a:lnTo>
                  <a:lnTo>
                    <a:pt x="398" y="43"/>
                  </a:lnTo>
                  <a:close/>
                  <a:moveTo>
                    <a:pt x="429" y="43"/>
                  </a:moveTo>
                  <a:lnTo>
                    <a:pt x="429" y="41"/>
                  </a:lnTo>
                  <a:lnTo>
                    <a:pt x="429" y="43"/>
                  </a:lnTo>
                  <a:close/>
                  <a:moveTo>
                    <a:pt x="358" y="43"/>
                  </a:moveTo>
                  <a:lnTo>
                    <a:pt x="358" y="41"/>
                  </a:lnTo>
                  <a:lnTo>
                    <a:pt x="358" y="43"/>
                  </a:lnTo>
                  <a:close/>
                  <a:moveTo>
                    <a:pt x="379" y="41"/>
                  </a:moveTo>
                  <a:lnTo>
                    <a:pt x="379" y="43"/>
                  </a:lnTo>
                  <a:lnTo>
                    <a:pt x="379" y="41"/>
                  </a:lnTo>
                  <a:close/>
                  <a:moveTo>
                    <a:pt x="389" y="41"/>
                  </a:moveTo>
                  <a:lnTo>
                    <a:pt x="389" y="43"/>
                  </a:lnTo>
                  <a:lnTo>
                    <a:pt x="391" y="43"/>
                  </a:lnTo>
                  <a:lnTo>
                    <a:pt x="389" y="43"/>
                  </a:lnTo>
                  <a:lnTo>
                    <a:pt x="389" y="41"/>
                  </a:lnTo>
                  <a:close/>
                  <a:moveTo>
                    <a:pt x="394" y="41"/>
                  </a:moveTo>
                  <a:lnTo>
                    <a:pt x="394" y="43"/>
                  </a:lnTo>
                  <a:lnTo>
                    <a:pt x="394" y="41"/>
                  </a:lnTo>
                  <a:close/>
                  <a:moveTo>
                    <a:pt x="379" y="41"/>
                  </a:moveTo>
                  <a:lnTo>
                    <a:pt x="377" y="41"/>
                  </a:lnTo>
                  <a:lnTo>
                    <a:pt x="379" y="41"/>
                  </a:lnTo>
                  <a:close/>
                  <a:moveTo>
                    <a:pt x="358" y="41"/>
                  </a:moveTo>
                  <a:lnTo>
                    <a:pt x="356" y="41"/>
                  </a:lnTo>
                  <a:lnTo>
                    <a:pt x="358" y="41"/>
                  </a:lnTo>
                  <a:close/>
                  <a:moveTo>
                    <a:pt x="394" y="41"/>
                  </a:moveTo>
                  <a:lnTo>
                    <a:pt x="391" y="41"/>
                  </a:lnTo>
                  <a:lnTo>
                    <a:pt x="394" y="41"/>
                  </a:lnTo>
                  <a:close/>
                  <a:moveTo>
                    <a:pt x="387" y="41"/>
                  </a:moveTo>
                  <a:lnTo>
                    <a:pt x="389" y="41"/>
                  </a:lnTo>
                  <a:lnTo>
                    <a:pt x="387" y="41"/>
                  </a:lnTo>
                  <a:close/>
                  <a:moveTo>
                    <a:pt x="406" y="41"/>
                  </a:moveTo>
                  <a:lnTo>
                    <a:pt x="403" y="41"/>
                  </a:lnTo>
                  <a:lnTo>
                    <a:pt x="406" y="41"/>
                  </a:lnTo>
                  <a:close/>
                  <a:moveTo>
                    <a:pt x="377" y="41"/>
                  </a:moveTo>
                  <a:lnTo>
                    <a:pt x="377" y="39"/>
                  </a:lnTo>
                  <a:lnTo>
                    <a:pt x="377" y="41"/>
                  </a:lnTo>
                  <a:close/>
                  <a:moveTo>
                    <a:pt x="425" y="41"/>
                  </a:moveTo>
                  <a:lnTo>
                    <a:pt x="425" y="39"/>
                  </a:lnTo>
                  <a:lnTo>
                    <a:pt x="425" y="41"/>
                  </a:lnTo>
                  <a:close/>
                  <a:moveTo>
                    <a:pt x="401" y="41"/>
                  </a:moveTo>
                  <a:lnTo>
                    <a:pt x="401" y="39"/>
                  </a:lnTo>
                  <a:lnTo>
                    <a:pt x="401" y="41"/>
                  </a:lnTo>
                  <a:close/>
                  <a:moveTo>
                    <a:pt x="408" y="39"/>
                  </a:moveTo>
                  <a:lnTo>
                    <a:pt x="408" y="41"/>
                  </a:lnTo>
                  <a:lnTo>
                    <a:pt x="408" y="39"/>
                  </a:lnTo>
                  <a:close/>
                  <a:moveTo>
                    <a:pt x="406" y="41"/>
                  </a:moveTo>
                  <a:lnTo>
                    <a:pt x="406" y="39"/>
                  </a:lnTo>
                  <a:lnTo>
                    <a:pt x="406" y="41"/>
                  </a:lnTo>
                  <a:close/>
                  <a:moveTo>
                    <a:pt x="427" y="41"/>
                  </a:moveTo>
                  <a:lnTo>
                    <a:pt x="427" y="39"/>
                  </a:lnTo>
                  <a:lnTo>
                    <a:pt x="427" y="41"/>
                  </a:lnTo>
                  <a:close/>
                  <a:moveTo>
                    <a:pt x="401" y="39"/>
                  </a:moveTo>
                  <a:lnTo>
                    <a:pt x="401" y="41"/>
                  </a:lnTo>
                  <a:lnTo>
                    <a:pt x="401" y="39"/>
                  </a:lnTo>
                  <a:close/>
                  <a:moveTo>
                    <a:pt x="384" y="39"/>
                  </a:moveTo>
                  <a:lnTo>
                    <a:pt x="382" y="39"/>
                  </a:lnTo>
                  <a:lnTo>
                    <a:pt x="384" y="39"/>
                  </a:lnTo>
                  <a:close/>
                  <a:moveTo>
                    <a:pt x="415" y="39"/>
                  </a:moveTo>
                  <a:lnTo>
                    <a:pt x="413" y="39"/>
                  </a:lnTo>
                  <a:lnTo>
                    <a:pt x="415" y="39"/>
                  </a:lnTo>
                  <a:close/>
                  <a:moveTo>
                    <a:pt x="377" y="39"/>
                  </a:moveTo>
                  <a:lnTo>
                    <a:pt x="375" y="39"/>
                  </a:lnTo>
                  <a:lnTo>
                    <a:pt x="377" y="39"/>
                  </a:lnTo>
                  <a:close/>
                  <a:moveTo>
                    <a:pt x="410" y="39"/>
                  </a:moveTo>
                  <a:lnTo>
                    <a:pt x="408" y="39"/>
                  </a:lnTo>
                  <a:lnTo>
                    <a:pt x="410" y="39"/>
                  </a:lnTo>
                  <a:close/>
                  <a:moveTo>
                    <a:pt x="377" y="39"/>
                  </a:moveTo>
                  <a:lnTo>
                    <a:pt x="375" y="39"/>
                  </a:lnTo>
                  <a:lnTo>
                    <a:pt x="377" y="39"/>
                  </a:lnTo>
                  <a:close/>
                  <a:moveTo>
                    <a:pt x="413" y="39"/>
                  </a:moveTo>
                  <a:lnTo>
                    <a:pt x="410" y="39"/>
                  </a:lnTo>
                  <a:lnTo>
                    <a:pt x="413" y="39"/>
                  </a:lnTo>
                  <a:close/>
                  <a:moveTo>
                    <a:pt x="391" y="39"/>
                  </a:moveTo>
                  <a:lnTo>
                    <a:pt x="389" y="39"/>
                  </a:lnTo>
                  <a:lnTo>
                    <a:pt x="389" y="36"/>
                  </a:lnTo>
                  <a:lnTo>
                    <a:pt x="391" y="39"/>
                  </a:lnTo>
                  <a:close/>
                  <a:moveTo>
                    <a:pt x="432" y="36"/>
                  </a:moveTo>
                  <a:lnTo>
                    <a:pt x="432" y="39"/>
                  </a:lnTo>
                  <a:lnTo>
                    <a:pt x="432" y="36"/>
                  </a:lnTo>
                  <a:close/>
                  <a:moveTo>
                    <a:pt x="415" y="39"/>
                  </a:moveTo>
                  <a:lnTo>
                    <a:pt x="415" y="36"/>
                  </a:lnTo>
                  <a:lnTo>
                    <a:pt x="415" y="39"/>
                  </a:lnTo>
                  <a:close/>
                  <a:moveTo>
                    <a:pt x="420" y="36"/>
                  </a:moveTo>
                  <a:lnTo>
                    <a:pt x="420" y="39"/>
                  </a:lnTo>
                  <a:lnTo>
                    <a:pt x="420" y="36"/>
                  </a:lnTo>
                  <a:close/>
                  <a:moveTo>
                    <a:pt x="387" y="39"/>
                  </a:moveTo>
                  <a:lnTo>
                    <a:pt x="387" y="36"/>
                  </a:lnTo>
                  <a:lnTo>
                    <a:pt x="387" y="39"/>
                  </a:lnTo>
                  <a:close/>
                  <a:moveTo>
                    <a:pt x="387" y="39"/>
                  </a:moveTo>
                  <a:lnTo>
                    <a:pt x="387" y="36"/>
                  </a:lnTo>
                  <a:lnTo>
                    <a:pt x="387" y="39"/>
                  </a:lnTo>
                  <a:close/>
                  <a:moveTo>
                    <a:pt x="387" y="36"/>
                  </a:moveTo>
                  <a:lnTo>
                    <a:pt x="387" y="39"/>
                  </a:lnTo>
                  <a:lnTo>
                    <a:pt x="387" y="36"/>
                  </a:lnTo>
                  <a:close/>
                  <a:moveTo>
                    <a:pt x="403" y="36"/>
                  </a:moveTo>
                  <a:lnTo>
                    <a:pt x="401" y="36"/>
                  </a:lnTo>
                  <a:lnTo>
                    <a:pt x="403" y="36"/>
                  </a:lnTo>
                  <a:close/>
                  <a:moveTo>
                    <a:pt x="406" y="36"/>
                  </a:moveTo>
                  <a:lnTo>
                    <a:pt x="403" y="36"/>
                  </a:lnTo>
                  <a:lnTo>
                    <a:pt x="406" y="36"/>
                  </a:lnTo>
                  <a:close/>
                  <a:moveTo>
                    <a:pt x="408" y="36"/>
                  </a:moveTo>
                  <a:lnTo>
                    <a:pt x="410" y="36"/>
                  </a:lnTo>
                  <a:lnTo>
                    <a:pt x="408" y="36"/>
                  </a:lnTo>
                  <a:close/>
                  <a:moveTo>
                    <a:pt x="413" y="36"/>
                  </a:moveTo>
                  <a:lnTo>
                    <a:pt x="410" y="36"/>
                  </a:lnTo>
                  <a:lnTo>
                    <a:pt x="413" y="36"/>
                  </a:lnTo>
                  <a:close/>
                  <a:moveTo>
                    <a:pt x="408" y="36"/>
                  </a:moveTo>
                  <a:lnTo>
                    <a:pt x="406" y="36"/>
                  </a:lnTo>
                  <a:lnTo>
                    <a:pt x="408" y="36"/>
                  </a:lnTo>
                  <a:close/>
                  <a:moveTo>
                    <a:pt x="425" y="36"/>
                  </a:moveTo>
                  <a:lnTo>
                    <a:pt x="425" y="34"/>
                  </a:lnTo>
                  <a:lnTo>
                    <a:pt x="425" y="36"/>
                  </a:lnTo>
                  <a:close/>
                  <a:moveTo>
                    <a:pt x="408" y="34"/>
                  </a:moveTo>
                  <a:lnTo>
                    <a:pt x="408" y="36"/>
                  </a:lnTo>
                  <a:lnTo>
                    <a:pt x="406" y="36"/>
                  </a:lnTo>
                  <a:lnTo>
                    <a:pt x="408" y="34"/>
                  </a:lnTo>
                  <a:close/>
                  <a:moveTo>
                    <a:pt x="384" y="36"/>
                  </a:moveTo>
                  <a:lnTo>
                    <a:pt x="384" y="34"/>
                  </a:lnTo>
                  <a:lnTo>
                    <a:pt x="384" y="36"/>
                  </a:lnTo>
                  <a:close/>
                  <a:moveTo>
                    <a:pt x="429" y="34"/>
                  </a:moveTo>
                  <a:lnTo>
                    <a:pt x="429" y="36"/>
                  </a:lnTo>
                  <a:lnTo>
                    <a:pt x="429" y="34"/>
                  </a:lnTo>
                  <a:close/>
                  <a:moveTo>
                    <a:pt x="425" y="36"/>
                  </a:moveTo>
                  <a:lnTo>
                    <a:pt x="425" y="34"/>
                  </a:lnTo>
                  <a:lnTo>
                    <a:pt x="425" y="36"/>
                  </a:lnTo>
                  <a:close/>
                  <a:moveTo>
                    <a:pt x="408" y="36"/>
                  </a:moveTo>
                  <a:lnTo>
                    <a:pt x="408" y="34"/>
                  </a:lnTo>
                  <a:lnTo>
                    <a:pt x="408" y="36"/>
                  </a:lnTo>
                  <a:close/>
                  <a:moveTo>
                    <a:pt x="389" y="36"/>
                  </a:moveTo>
                  <a:lnTo>
                    <a:pt x="389" y="34"/>
                  </a:lnTo>
                  <a:lnTo>
                    <a:pt x="389" y="36"/>
                  </a:lnTo>
                  <a:close/>
                  <a:moveTo>
                    <a:pt x="389" y="34"/>
                  </a:moveTo>
                  <a:lnTo>
                    <a:pt x="389" y="36"/>
                  </a:lnTo>
                  <a:lnTo>
                    <a:pt x="389" y="34"/>
                  </a:lnTo>
                  <a:close/>
                  <a:moveTo>
                    <a:pt x="413" y="34"/>
                  </a:moveTo>
                  <a:lnTo>
                    <a:pt x="410" y="34"/>
                  </a:lnTo>
                  <a:lnTo>
                    <a:pt x="413" y="34"/>
                  </a:lnTo>
                  <a:close/>
                  <a:moveTo>
                    <a:pt x="422" y="34"/>
                  </a:moveTo>
                  <a:lnTo>
                    <a:pt x="420" y="34"/>
                  </a:lnTo>
                  <a:lnTo>
                    <a:pt x="422" y="34"/>
                  </a:lnTo>
                  <a:close/>
                  <a:moveTo>
                    <a:pt x="403" y="34"/>
                  </a:moveTo>
                  <a:lnTo>
                    <a:pt x="401" y="34"/>
                  </a:lnTo>
                  <a:lnTo>
                    <a:pt x="401" y="31"/>
                  </a:lnTo>
                  <a:lnTo>
                    <a:pt x="403" y="31"/>
                  </a:lnTo>
                  <a:lnTo>
                    <a:pt x="403" y="34"/>
                  </a:lnTo>
                  <a:close/>
                  <a:moveTo>
                    <a:pt x="375" y="31"/>
                  </a:moveTo>
                  <a:lnTo>
                    <a:pt x="375" y="34"/>
                  </a:lnTo>
                  <a:lnTo>
                    <a:pt x="375" y="31"/>
                  </a:lnTo>
                  <a:close/>
                  <a:moveTo>
                    <a:pt x="377" y="31"/>
                  </a:moveTo>
                  <a:lnTo>
                    <a:pt x="375" y="31"/>
                  </a:lnTo>
                  <a:lnTo>
                    <a:pt x="377" y="31"/>
                  </a:lnTo>
                  <a:close/>
                  <a:moveTo>
                    <a:pt x="398" y="31"/>
                  </a:moveTo>
                  <a:lnTo>
                    <a:pt x="401" y="31"/>
                  </a:lnTo>
                  <a:lnTo>
                    <a:pt x="398" y="31"/>
                  </a:lnTo>
                  <a:close/>
                  <a:moveTo>
                    <a:pt x="398" y="29"/>
                  </a:moveTo>
                  <a:lnTo>
                    <a:pt x="398" y="31"/>
                  </a:lnTo>
                  <a:lnTo>
                    <a:pt x="398" y="29"/>
                  </a:lnTo>
                  <a:close/>
                  <a:moveTo>
                    <a:pt x="384" y="29"/>
                  </a:moveTo>
                  <a:lnTo>
                    <a:pt x="387" y="29"/>
                  </a:lnTo>
                  <a:lnTo>
                    <a:pt x="384" y="29"/>
                  </a:lnTo>
                  <a:close/>
                  <a:moveTo>
                    <a:pt x="387" y="19"/>
                  </a:moveTo>
                  <a:lnTo>
                    <a:pt x="389" y="19"/>
                  </a:lnTo>
                  <a:lnTo>
                    <a:pt x="387" y="19"/>
                  </a:lnTo>
                  <a:close/>
                  <a:moveTo>
                    <a:pt x="391" y="12"/>
                  </a:moveTo>
                  <a:lnTo>
                    <a:pt x="391" y="10"/>
                  </a:lnTo>
                  <a:lnTo>
                    <a:pt x="391" y="12"/>
                  </a:lnTo>
                  <a:close/>
                  <a:moveTo>
                    <a:pt x="391" y="0"/>
                  </a:moveTo>
                  <a:lnTo>
                    <a:pt x="389" y="0"/>
                  </a:lnTo>
                  <a:lnTo>
                    <a:pt x="39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2" name="Freeform 57756"/>
            <p:cNvSpPr>
              <a:spLocks noEditPoints="1"/>
            </p:cNvSpPr>
            <p:nvPr/>
          </p:nvSpPr>
          <p:spPr bwMode="auto">
            <a:xfrm>
              <a:off x="2338385" y="4867293"/>
              <a:ext cx="236538" cy="150814"/>
            </a:xfrm>
            <a:custGeom>
              <a:avLst/>
              <a:gdLst>
                <a:gd name="T0" fmla="*/ 92 w 149"/>
                <a:gd name="T1" fmla="*/ 2 h 95"/>
                <a:gd name="T2" fmla="*/ 95 w 149"/>
                <a:gd name="T3" fmla="*/ 5 h 95"/>
                <a:gd name="T4" fmla="*/ 99 w 149"/>
                <a:gd name="T5" fmla="*/ 7 h 95"/>
                <a:gd name="T6" fmla="*/ 118 w 149"/>
                <a:gd name="T7" fmla="*/ 14 h 95"/>
                <a:gd name="T8" fmla="*/ 123 w 149"/>
                <a:gd name="T9" fmla="*/ 21 h 95"/>
                <a:gd name="T10" fmla="*/ 116 w 149"/>
                <a:gd name="T11" fmla="*/ 29 h 95"/>
                <a:gd name="T12" fmla="*/ 118 w 149"/>
                <a:gd name="T13" fmla="*/ 36 h 95"/>
                <a:gd name="T14" fmla="*/ 130 w 149"/>
                <a:gd name="T15" fmla="*/ 40 h 95"/>
                <a:gd name="T16" fmla="*/ 140 w 149"/>
                <a:gd name="T17" fmla="*/ 45 h 95"/>
                <a:gd name="T18" fmla="*/ 147 w 149"/>
                <a:gd name="T19" fmla="*/ 38 h 95"/>
                <a:gd name="T20" fmla="*/ 147 w 149"/>
                <a:gd name="T21" fmla="*/ 48 h 95"/>
                <a:gd name="T22" fmla="*/ 149 w 149"/>
                <a:gd name="T23" fmla="*/ 55 h 95"/>
                <a:gd name="T24" fmla="*/ 142 w 149"/>
                <a:gd name="T25" fmla="*/ 57 h 95"/>
                <a:gd name="T26" fmla="*/ 135 w 149"/>
                <a:gd name="T27" fmla="*/ 59 h 95"/>
                <a:gd name="T28" fmla="*/ 137 w 149"/>
                <a:gd name="T29" fmla="*/ 69 h 95"/>
                <a:gd name="T30" fmla="*/ 135 w 149"/>
                <a:gd name="T31" fmla="*/ 74 h 95"/>
                <a:gd name="T32" fmla="*/ 126 w 149"/>
                <a:gd name="T33" fmla="*/ 69 h 95"/>
                <a:gd name="T34" fmla="*/ 118 w 149"/>
                <a:gd name="T35" fmla="*/ 71 h 95"/>
                <a:gd name="T36" fmla="*/ 114 w 149"/>
                <a:gd name="T37" fmla="*/ 62 h 95"/>
                <a:gd name="T38" fmla="*/ 109 w 149"/>
                <a:gd name="T39" fmla="*/ 67 h 95"/>
                <a:gd name="T40" fmla="*/ 109 w 149"/>
                <a:gd name="T41" fmla="*/ 76 h 95"/>
                <a:gd name="T42" fmla="*/ 102 w 149"/>
                <a:gd name="T43" fmla="*/ 83 h 95"/>
                <a:gd name="T44" fmla="*/ 102 w 149"/>
                <a:gd name="T45" fmla="*/ 93 h 95"/>
                <a:gd name="T46" fmla="*/ 99 w 149"/>
                <a:gd name="T47" fmla="*/ 90 h 95"/>
                <a:gd name="T48" fmla="*/ 97 w 149"/>
                <a:gd name="T49" fmla="*/ 83 h 95"/>
                <a:gd name="T50" fmla="*/ 88 w 149"/>
                <a:gd name="T51" fmla="*/ 78 h 95"/>
                <a:gd name="T52" fmla="*/ 83 w 149"/>
                <a:gd name="T53" fmla="*/ 67 h 95"/>
                <a:gd name="T54" fmla="*/ 76 w 149"/>
                <a:gd name="T55" fmla="*/ 71 h 95"/>
                <a:gd name="T56" fmla="*/ 73 w 149"/>
                <a:gd name="T57" fmla="*/ 78 h 95"/>
                <a:gd name="T58" fmla="*/ 66 w 149"/>
                <a:gd name="T59" fmla="*/ 86 h 95"/>
                <a:gd name="T60" fmla="*/ 59 w 149"/>
                <a:gd name="T61" fmla="*/ 90 h 95"/>
                <a:gd name="T62" fmla="*/ 52 w 149"/>
                <a:gd name="T63" fmla="*/ 88 h 95"/>
                <a:gd name="T64" fmla="*/ 42 w 149"/>
                <a:gd name="T65" fmla="*/ 93 h 95"/>
                <a:gd name="T66" fmla="*/ 35 w 149"/>
                <a:gd name="T67" fmla="*/ 90 h 95"/>
                <a:gd name="T68" fmla="*/ 31 w 149"/>
                <a:gd name="T69" fmla="*/ 81 h 95"/>
                <a:gd name="T70" fmla="*/ 28 w 149"/>
                <a:gd name="T71" fmla="*/ 71 h 95"/>
                <a:gd name="T72" fmla="*/ 14 w 149"/>
                <a:gd name="T73" fmla="*/ 67 h 95"/>
                <a:gd name="T74" fmla="*/ 12 w 149"/>
                <a:gd name="T75" fmla="*/ 76 h 95"/>
                <a:gd name="T76" fmla="*/ 0 w 149"/>
                <a:gd name="T77" fmla="*/ 78 h 95"/>
                <a:gd name="T78" fmla="*/ 2 w 149"/>
                <a:gd name="T79" fmla="*/ 76 h 95"/>
                <a:gd name="T80" fmla="*/ 7 w 149"/>
                <a:gd name="T81" fmla="*/ 71 h 95"/>
                <a:gd name="T82" fmla="*/ 7 w 149"/>
                <a:gd name="T83" fmla="*/ 62 h 95"/>
                <a:gd name="T84" fmla="*/ 12 w 149"/>
                <a:gd name="T85" fmla="*/ 55 h 95"/>
                <a:gd name="T86" fmla="*/ 16 w 149"/>
                <a:gd name="T87" fmla="*/ 45 h 95"/>
                <a:gd name="T88" fmla="*/ 23 w 149"/>
                <a:gd name="T89" fmla="*/ 38 h 95"/>
                <a:gd name="T90" fmla="*/ 28 w 149"/>
                <a:gd name="T91" fmla="*/ 31 h 95"/>
                <a:gd name="T92" fmla="*/ 35 w 149"/>
                <a:gd name="T93" fmla="*/ 24 h 95"/>
                <a:gd name="T94" fmla="*/ 31 w 149"/>
                <a:gd name="T95" fmla="*/ 19 h 95"/>
                <a:gd name="T96" fmla="*/ 40 w 149"/>
                <a:gd name="T97" fmla="*/ 14 h 95"/>
                <a:gd name="T98" fmla="*/ 45 w 149"/>
                <a:gd name="T99" fmla="*/ 19 h 95"/>
                <a:gd name="T100" fmla="*/ 50 w 149"/>
                <a:gd name="T101" fmla="*/ 17 h 95"/>
                <a:gd name="T102" fmla="*/ 57 w 149"/>
                <a:gd name="T103" fmla="*/ 12 h 95"/>
                <a:gd name="T104" fmla="*/ 61 w 149"/>
                <a:gd name="T105" fmla="*/ 10 h 95"/>
                <a:gd name="T106" fmla="*/ 71 w 149"/>
                <a:gd name="T107" fmla="*/ 12 h 95"/>
                <a:gd name="T108" fmla="*/ 80 w 149"/>
                <a:gd name="T109" fmla="*/ 12 h 95"/>
                <a:gd name="T110" fmla="*/ 88 w 149"/>
                <a:gd name="T111" fmla="*/ 10 h 95"/>
                <a:gd name="T112" fmla="*/ 80 w 149"/>
                <a:gd name="T113" fmla="*/ 7 h 95"/>
                <a:gd name="T114" fmla="*/ 88 w 149"/>
                <a:gd name="T115" fmla="*/ 2 h 95"/>
                <a:gd name="T116" fmla="*/ 92 w 149"/>
                <a:gd name="T117"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95">
                  <a:moveTo>
                    <a:pt x="88" y="0"/>
                  </a:moveTo>
                  <a:lnTo>
                    <a:pt x="88" y="2"/>
                  </a:lnTo>
                  <a:lnTo>
                    <a:pt x="90" y="2"/>
                  </a:lnTo>
                  <a:lnTo>
                    <a:pt x="90" y="0"/>
                  </a:lnTo>
                  <a:lnTo>
                    <a:pt x="90" y="2"/>
                  </a:lnTo>
                  <a:lnTo>
                    <a:pt x="92" y="2"/>
                  </a:lnTo>
                  <a:lnTo>
                    <a:pt x="92" y="5"/>
                  </a:lnTo>
                  <a:lnTo>
                    <a:pt x="92" y="7"/>
                  </a:lnTo>
                  <a:lnTo>
                    <a:pt x="95" y="7"/>
                  </a:lnTo>
                  <a:lnTo>
                    <a:pt x="95" y="5"/>
                  </a:lnTo>
                  <a:lnTo>
                    <a:pt x="92" y="5"/>
                  </a:lnTo>
                  <a:lnTo>
                    <a:pt x="95" y="5"/>
                  </a:lnTo>
                  <a:lnTo>
                    <a:pt x="97" y="5"/>
                  </a:lnTo>
                  <a:lnTo>
                    <a:pt x="95" y="5"/>
                  </a:lnTo>
                  <a:lnTo>
                    <a:pt x="97" y="5"/>
                  </a:lnTo>
                  <a:lnTo>
                    <a:pt x="95" y="7"/>
                  </a:lnTo>
                  <a:lnTo>
                    <a:pt x="97" y="7"/>
                  </a:lnTo>
                  <a:lnTo>
                    <a:pt x="99" y="7"/>
                  </a:lnTo>
                  <a:lnTo>
                    <a:pt x="104" y="7"/>
                  </a:lnTo>
                  <a:lnTo>
                    <a:pt x="107" y="7"/>
                  </a:lnTo>
                  <a:lnTo>
                    <a:pt x="114" y="10"/>
                  </a:lnTo>
                  <a:lnTo>
                    <a:pt x="116" y="12"/>
                  </a:lnTo>
                  <a:lnTo>
                    <a:pt x="118" y="12"/>
                  </a:lnTo>
                  <a:lnTo>
                    <a:pt x="118" y="14"/>
                  </a:lnTo>
                  <a:lnTo>
                    <a:pt x="121" y="17"/>
                  </a:lnTo>
                  <a:lnTo>
                    <a:pt x="123" y="17"/>
                  </a:lnTo>
                  <a:lnTo>
                    <a:pt x="121" y="17"/>
                  </a:lnTo>
                  <a:lnTo>
                    <a:pt x="121" y="19"/>
                  </a:lnTo>
                  <a:lnTo>
                    <a:pt x="123" y="19"/>
                  </a:lnTo>
                  <a:lnTo>
                    <a:pt x="123" y="21"/>
                  </a:lnTo>
                  <a:lnTo>
                    <a:pt x="121" y="21"/>
                  </a:lnTo>
                  <a:lnTo>
                    <a:pt x="121" y="24"/>
                  </a:lnTo>
                  <a:lnTo>
                    <a:pt x="118" y="24"/>
                  </a:lnTo>
                  <a:lnTo>
                    <a:pt x="118" y="26"/>
                  </a:lnTo>
                  <a:lnTo>
                    <a:pt x="118" y="29"/>
                  </a:lnTo>
                  <a:lnTo>
                    <a:pt x="116" y="29"/>
                  </a:lnTo>
                  <a:lnTo>
                    <a:pt x="116" y="31"/>
                  </a:lnTo>
                  <a:lnTo>
                    <a:pt x="118" y="31"/>
                  </a:lnTo>
                  <a:lnTo>
                    <a:pt x="118" y="33"/>
                  </a:lnTo>
                  <a:lnTo>
                    <a:pt x="118" y="36"/>
                  </a:lnTo>
                  <a:lnTo>
                    <a:pt x="116" y="36"/>
                  </a:lnTo>
                  <a:lnTo>
                    <a:pt x="118" y="36"/>
                  </a:lnTo>
                  <a:lnTo>
                    <a:pt x="121" y="36"/>
                  </a:lnTo>
                  <a:lnTo>
                    <a:pt x="123" y="36"/>
                  </a:lnTo>
                  <a:lnTo>
                    <a:pt x="126" y="36"/>
                  </a:lnTo>
                  <a:lnTo>
                    <a:pt x="128" y="38"/>
                  </a:lnTo>
                  <a:lnTo>
                    <a:pt x="130" y="38"/>
                  </a:lnTo>
                  <a:lnTo>
                    <a:pt x="130" y="40"/>
                  </a:lnTo>
                  <a:lnTo>
                    <a:pt x="130" y="43"/>
                  </a:lnTo>
                  <a:lnTo>
                    <a:pt x="133" y="43"/>
                  </a:lnTo>
                  <a:lnTo>
                    <a:pt x="135" y="43"/>
                  </a:lnTo>
                  <a:lnTo>
                    <a:pt x="135" y="45"/>
                  </a:lnTo>
                  <a:lnTo>
                    <a:pt x="137" y="45"/>
                  </a:lnTo>
                  <a:lnTo>
                    <a:pt x="140" y="45"/>
                  </a:lnTo>
                  <a:lnTo>
                    <a:pt x="142" y="45"/>
                  </a:lnTo>
                  <a:lnTo>
                    <a:pt x="142" y="43"/>
                  </a:lnTo>
                  <a:lnTo>
                    <a:pt x="144" y="43"/>
                  </a:lnTo>
                  <a:lnTo>
                    <a:pt x="144" y="40"/>
                  </a:lnTo>
                  <a:lnTo>
                    <a:pt x="144" y="38"/>
                  </a:lnTo>
                  <a:lnTo>
                    <a:pt x="147" y="38"/>
                  </a:lnTo>
                  <a:lnTo>
                    <a:pt x="147" y="40"/>
                  </a:lnTo>
                  <a:lnTo>
                    <a:pt x="149" y="40"/>
                  </a:lnTo>
                  <a:lnTo>
                    <a:pt x="149" y="43"/>
                  </a:lnTo>
                  <a:lnTo>
                    <a:pt x="149" y="45"/>
                  </a:lnTo>
                  <a:lnTo>
                    <a:pt x="149" y="48"/>
                  </a:lnTo>
                  <a:lnTo>
                    <a:pt x="147" y="48"/>
                  </a:lnTo>
                  <a:lnTo>
                    <a:pt x="147" y="50"/>
                  </a:lnTo>
                  <a:lnTo>
                    <a:pt x="149" y="50"/>
                  </a:lnTo>
                  <a:lnTo>
                    <a:pt x="147" y="50"/>
                  </a:lnTo>
                  <a:lnTo>
                    <a:pt x="147" y="52"/>
                  </a:lnTo>
                  <a:lnTo>
                    <a:pt x="147" y="55"/>
                  </a:lnTo>
                  <a:lnTo>
                    <a:pt x="149" y="55"/>
                  </a:lnTo>
                  <a:lnTo>
                    <a:pt x="149" y="57"/>
                  </a:lnTo>
                  <a:lnTo>
                    <a:pt x="149" y="59"/>
                  </a:lnTo>
                  <a:lnTo>
                    <a:pt x="147" y="59"/>
                  </a:lnTo>
                  <a:lnTo>
                    <a:pt x="144" y="59"/>
                  </a:lnTo>
                  <a:lnTo>
                    <a:pt x="142" y="59"/>
                  </a:lnTo>
                  <a:lnTo>
                    <a:pt x="142" y="57"/>
                  </a:lnTo>
                  <a:lnTo>
                    <a:pt x="142" y="55"/>
                  </a:lnTo>
                  <a:lnTo>
                    <a:pt x="142" y="57"/>
                  </a:lnTo>
                  <a:lnTo>
                    <a:pt x="140" y="57"/>
                  </a:lnTo>
                  <a:lnTo>
                    <a:pt x="137" y="57"/>
                  </a:lnTo>
                  <a:lnTo>
                    <a:pt x="137" y="59"/>
                  </a:lnTo>
                  <a:lnTo>
                    <a:pt x="135" y="59"/>
                  </a:lnTo>
                  <a:lnTo>
                    <a:pt x="135" y="62"/>
                  </a:lnTo>
                  <a:lnTo>
                    <a:pt x="135" y="64"/>
                  </a:lnTo>
                  <a:lnTo>
                    <a:pt x="137" y="67"/>
                  </a:lnTo>
                  <a:lnTo>
                    <a:pt x="140" y="67"/>
                  </a:lnTo>
                  <a:lnTo>
                    <a:pt x="137" y="67"/>
                  </a:lnTo>
                  <a:lnTo>
                    <a:pt x="137" y="69"/>
                  </a:lnTo>
                  <a:lnTo>
                    <a:pt x="137" y="71"/>
                  </a:lnTo>
                  <a:lnTo>
                    <a:pt x="140" y="71"/>
                  </a:lnTo>
                  <a:lnTo>
                    <a:pt x="140" y="74"/>
                  </a:lnTo>
                  <a:lnTo>
                    <a:pt x="137" y="76"/>
                  </a:lnTo>
                  <a:lnTo>
                    <a:pt x="135" y="76"/>
                  </a:lnTo>
                  <a:lnTo>
                    <a:pt x="135" y="74"/>
                  </a:lnTo>
                  <a:lnTo>
                    <a:pt x="133" y="74"/>
                  </a:lnTo>
                  <a:lnTo>
                    <a:pt x="133" y="71"/>
                  </a:lnTo>
                  <a:lnTo>
                    <a:pt x="133" y="69"/>
                  </a:lnTo>
                  <a:lnTo>
                    <a:pt x="130" y="69"/>
                  </a:lnTo>
                  <a:lnTo>
                    <a:pt x="128" y="69"/>
                  </a:lnTo>
                  <a:lnTo>
                    <a:pt x="126" y="69"/>
                  </a:lnTo>
                  <a:lnTo>
                    <a:pt x="126" y="71"/>
                  </a:lnTo>
                  <a:lnTo>
                    <a:pt x="123" y="71"/>
                  </a:lnTo>
                  <a:lnTo>
                    <a:pt x="126" y="71"/>
                  </a:lnTo>
                  <a:lnTo>
                    <a:pt x="123" y="71"/>
                  </a:lnTo>
                  <a:lnTo>
                    <a:pt x="121" y="71"/>
                  </a:lnTo>
                  <a:lnTo>
                    <a:pt x="118" y="71"/>
                  </a:lnTo>
                  <a:lnTo>
                    <a:pt x="118" y="69"/>
                  </a:lnTo>
                  <a:lnTo>
                    <a:pt x="116" y="69"/>
                  </a:lnTo>
                  <a:lnTo>
                    <a:pt x="116" y="67"/>
                  </a:lnTo>
                  <a:lnTo>
                    <a:pt x="116" y="64"/>
                  </a:lnTo>
                  <a:lnTo>
                    <a:pt x="116" y="62"/>
                  </a:lnTo>
                  <a:lnTo>
                    <a:pt x="114" y="62"/>
                  </a:lnTo>
                  <a:lnTo>
                    <a:pt x="114" y="64"/>
                  </a:lnTo>
                  <a:lnTo>
                    <a:pt x="114" y="62"/>
                  </a:lnTo>
                  <a:lnTo>
                    <a:pt x="111" y="62"/>
                  </a:lnTo>
                  <a:lnTo>
                    <a:pt x="109" y="62"/>
                  </a:lnTo>
                  <a:lnTo>
                    <a:pt x="109" y="64"/>
                  </a:lnTo>
                  <a:lnTo>
                    <a:pt x="109" y="67"/>
                  </a:lnTo>
                  <a:lnTo>
                    <a:pt x="109" y="69"/>
                  </a:lnTo>
                  <a:lnTo>
                    <a:pt x="111" y="69"/>
                  </a:lnTo>
                  <a:lnTo>
                    <a:pt x="111" y="71"/>
                  </a:lnTo>
                  <a:lnTo>
                    <a:pt x="109" y="71"/>
                  </a:lnTo>
                  <a:lnTo>
                    <a:pt x="109" y="74"/>
                  </a:lnTo>
                  <a:lnTo>
                    <a:pt x="109" y="76"/>
                  </a:lnTo>
                  <a:lnTo>
                    <a:pt x="107" y="76"/>
                  </a:lnTo>
                  <a:lnTo>
                    <a:pt x="107" y="78"/>
                  </a:lnTo>
                  <a:lnTo>
                    <a:pt x="104" y="78"/>
                  </a:lnTo>
                  <a:lnTo>
                    <a:pt x="104" y="81"/>
                  </a:lnTo>
                  <a:lnTo>
                    <a:pt x="104" y="83"/>
                  </a:lnTo>
                  <a:lnTo>
                    <a:pt x="102" y="83"/>
                  </a:lnTo>
                  <a:lnTo>
                    <a:pt x="102" y="86"/>
                  </a:lnTo>
                  <a:lnTo>
                    <a:pt x="99" y="88"/>
                  </a:lnTo>
                  <a:lnTo>
                    <a:pt x="102" y="88"/>
                  </a:lnTo>
                  <a:lnTo>
                    <a:pt x="102" y="90"/>
                  </a:lnTo>
                  <a:lnTo>
                    <a:pt x="104" y="90"/>
                  </a:lnTo>
                  <a:lnTo>
                    <a:pt x="102" y="93"/>
                  </a:lnTo>
                  <a:lnTo>
                    <a:pt x="102" y="95"/>
                  </a:lnTo>
                  <a:lnTo>
                    <a:pt x="99" y="95"/>
                  </a:lnTo>
                  <a:lnTo>
                    <a:pt x="99" y="93"/>
                  </a:lnTo>
                  <a:lnTo>
                    <a:pt x="97" y="93"/>
                  </a:lnTo>
                  <a:lnTo>
                    <a:pt x="99" y="93"/>
                  </a:lnTo>
                  <a:lnTo>
                    <a:pt x="99" y="90"/>
                  </a:lnTo>
                  <a:lnTo>
                    <a:pt x="97" y="90"/>
                  </a:lnTo>
                  <a:lnTo>
                    <a:pt x="97" y="88"/>
                  </a:lnTo>
                  <a:lnTo>
                    <a:pt x="95" y="88"/>
                  </a:lnTo>
                  <a:lnTo>
                    <a:pt x="95" y="86"/>
                  </a:lnTo>
                  <a:lnTo>
                    <a:pt x="95" y="83"/>
                  </a:lnTo>
                  <a:lnTo>
                    <a:pt x="97" y="83"/>
                  </a:lnTo>
                  <a:lnTo>
                    <a:pt x="95" y="83"/>
                  </a:lnTo>
                  <a:lnTo>
                    <a:pt x="95" y="81"/>
                  </a:lnTo>
                  <a:lnTo>
                    <a:pt x="92" y="81"/>
                  </a:lnTo>
                  <a:lnTo>
                    <a:pt x="90" y="81"/>
                  </a:lnTo>
                  <a:lnTo>
                    <a:pt x="88" y="81"/>
                  </a:lnTo>
                  <a:lnTo>
                    <a:pt x="88" y="78"/>
                  </a:lnTo>
                  <a:lnTo>
                    <a:pt x="85" y="76"/>
                  </a:lnTo>
                  <a:lnTo>
                    <a:pt x="83" y="76"/>
                  </a:lnTo>
                  <a:lnTo>
                    <a:pt x="83" y="74"/>
                  </a:lnTo>
                  <a:lnTo>
                    <a:pt x="83" y="71"/>
                  </a:lnTo>
                  <a:lnTo>
                    <a:pt x="83" y="69"/>
                  </a:lnTo>
                  <a:lnTo>
                    <a:pt x="83" y="67"/>
                  </a:lnTo>
                  <a:lnTo>
                    <a:pt x="83" y="64"/>
                  </a:lnTo>
                  <a:lnTo>
                    <a:pt x="80" y="64"/>
                  </a:lnTo>
                  <a:lnTo>
                    <a:pt x="78" y="67"/>
                  </a:lnTo>
                  <a:lnTo>
                    <a:pt x="78" y="69"/>
                  </a:lnTo>
                  <a:lnTo>
                    <a:pt x="76" y="69"/>
                  </a:lnTo>
                  <a:lnTo>
                    <a:pt x="76" y="71"/>
                  </a:lnTo>
                  <a:lnTo>
                    <a:pt x="73" y="71"/>
                  </a:lnTo>
                  <a:lnTo>
                    <a:pt x="71" y="71"/>
                  </a:lnTo>
                  <a:lnTo>
                    <a:pt x="71" y="74"/>
                  </a:lnTo>
                  <a:lnTo>
                    <a:pt x="71" y="76"/>
                  </a:lnTo>
                  <a:lnTo>
                    <a:pt x="73" y="76"/>
                  </a:lnTo>
                  <a:lnTo>
                    <a:pt x="73" y="78"/>
                  </a:lnTo>
                  <a:lnTo>
                    <a:pt x="71" y="78"/>
                  </a:lnTo>
                  <a:lnTo>
                    <a:pt x="71" y="81"/>
                  </a:lnTo>
                  <a:lnTo>
                    <a:pt x="69" y="81"/>
                  </a:lnTo>
                  <a:lnTo>
                    <a:pt x="69" y="83"/>
                  </a:lnTo>
                  <a:lnTo>
                    <a:pt x="69" y="86"/>
                  </a:lnTo>
                  <a:lnTo>
                    <a:pt x="66" y="86"/>
                  </a:lnTo>
                  <a:lnTo>
                    <a:pt x="64" y="86"/>
                  </a:lnTo>
                  <a:lnTo>
                    <a:pt x="64" y="88"/>
                  </a:lnTo>
                  <a:lnTo>
                    <a:pt x="64" y="90"/>
                  </a:lnTo>
                  <a:lnTo>
                    <a:pt x="61" y="90"/>
                  </a:lnTo>
                  <a:lnTo>
                    <a:pt x="59" y="88"/>
                  </a:lnTo>
                  <a:lnTo>
                    <a:pt x="59" y="90"/>
                  </a:lnTo>
                  <a:lnTo>
                    <a:pt x="59" y="88"/>
                  </a:lnTo>
                  <a:lnTo>
                    <a:pt x="57" y="88"/>
                  </a:lnTo>
                  <a:lnTo>
                    <a:pt x="54" y="88"/>
                  </a:lnTo>
                  <a:lnTo>
                    <a:pt x="54" y="86"/>
                  </a:lnTo>
                  <a:lnTo>
                    <a:pt x="52" y="86"/>
                  </a:lnTo>
                  <a:lnTo>
                    <a:pt x="52" y="88"/>
                  </a:lnTo>
                  <a:lnTo>
                    <a:pt x="50" y="88"/>
                  </a:lnTo>
                  <a:lnTo>
                    <a:pt x="50" y="90"/>
                  </a:lnTo>
                  <a:lnTo>
                    <a:pt x="47" y="90"/>
                  </a:lnTo>
                  <a:lnTo>
                    <a:pt x="45" y="90"/>
                  </a:lnTo>
                  <a:lnTo>
                    <a:pt x="42" y="90"/>
                  </a:lnTo>
                  <a:lnTo>
                    <a:pt x="42" y="93"/>
                  </a:lnTo>
                  <a:lnTo>
                    <a:pt x="40" y="93"/>
                  </a:lnTo>
                  <a:lnTo>
                    <a:pt x="42" y="93"/>
                  </a:lnTo>
                  <a:lnTo>
                    <a:pt x="40" y="93"/>
                  </a:lnTo>
                  <a:lnTo>
                    <a:pt x="38" y="93"/>
                  </a:lnTo>
                  <a:lnTo>
                    <a:pt x="38" y="90"/>
                  </a:lnTo>
                  <a:lnTo>
                    <a:pt x="35" y="90"/>
                  </a:lnTo>
                  <a:lnTo>
                    <a:pt x="35" y="88"/>
                  </a:lnTo>
                  <a:lnTo>
                    <a:pt x="35" y="86"/>
                  </a:lnTo>
                  <a:lnTo>
                    <a:pt x="33" y="86"/>
                  </a:lnTo>
                  <a:lnTo>
                    <a:pt x="33" y="83"/>
                  </a:lnTo>
                  <a:lnTo>
                    <a:pt x="31" y="83"/>
                  </a:lnTo>
                  <a:lnTo>
                    <a:pt x="31" y="81"/>
                  </a:lnTo>
                  <a:lnTo>
                    <a:pt x="28" y="78"/>
                  </a:lnTo>
                  <a:lnTo>
                    <a:pt x="28" y="76"/>
                  </a:lnTo>
                  <a:lnTo>
                    <a:pt x="28" y="74"/>
                  </a:lnTo>
                  <a:lnTo>
                    <a:pt x="31" y="74"/>
                  </a:lnTo>
                  <a:lnTo>
                    <a:pt x="31" y="71"/>
                  </a:lnTo>
                  <a:lnTo>
                    <a:pt x="28" y="71"/>
                  </a:lnTo>
                  <a:lnTo>
                    <a:pt x="28" y="69"/>
                  </a:lnTo>
                  <a:lnTo>
                    <a:pt x="28" y="67"/>
                  </a:lnTo>
                  <a:lnTo>
                    <a:pt x="23" y="64"/>
                  </a:lnTo>
                  <a:lnTo>
                    <a:pt x="19" y="64"/>
                  </a:lnTo>
                  <a:lnTo>
                    <a:pt x="16" y="67"/>
                  </a:lnTo>
                  <a:lnTo>
                    <a:pt x="14" y="67"/>
                  </a:lnTo>
                  <a:lnTo>
                    <a:pt x="12" y="67"/>
                  </a:lnTo>
                  <a:lnTo>
                    <a:pt x="9" y="69"/>
                  </a:lnTo>
                  <a:lnTo>
                    <a:pt x="9" y="71"/>
                  </a:lnTo>
                  <a:lnTo>
                    <a:pt x="9" y="74"/>
                  </a:lnTo>
                  <a:lnTo>
                    <a:pt x="12" y="74"/>
                  </a:lnTo>
                  <a:lnTo>
                    <a:pt x="12" y="76"/>
                  </a:lnTo>
                  <a:lnTo>
                    <a:pt x="9" y="76"/>
                  </a:lnTo>
                  <a:lnTo>
                    <a:pt x="7" y="76"/>
                  </a:lnTo>
                  <a:lnTo>
                    <a:pt x="7" y="78"/>
                  </a:lnTo>
                  <a:lnTo>
                    <a:pt x="5" y="78"/>
                  </a:lnTo>
                  <a:lnTo>
                    <a:pt x="2" y="78"/>
                  </a:lnTo>
                  <a:lnTo>
                    <a:pt x="0" y="78"/>
                  </a:lnTo>
                  <a:lnTo>
                    <a:pt x="0" y="81"/>
                  </a:lnTo>
                  <a:lnTo>
                    <a:pt x="0" y="78"/>
                  </a:lnTo>
                  <a:lnTo>
                    <a:pt x="2" y="78"/>
                  </a:lnTo>
                  <a:lnTo>
                    <a:pt x="2" y="76"/>
                  </a:lnTo>
                  <a:lnTo>
                    <a:pt x="0" y="76"/>
                  </a:lnTo>
                  <a:lnTo>
                    <a:pt x="2" y="76"/>
                  </a:lnTo>
                  <a:lnTo>
                    <a:pt x="2" y="74"/>
                  </a:lnTo>
                  <a:lnTo>
                    <a:pt x="2" y="76"/>
                  </a:lnTo>
                  <a:lnTo>
                    <a:pt x="5" y="74"/>
                  </a:lnTo>
                  <a:lnTo>
                    <a:pt x="7" y="74"/>
                  </a:lnTo>
                  <a:lnTo>
                    <a:pt x="5" y="74"/>
                  </a:lnTo>
                  <a:lnTo>
                    <a:pt x="7" y="71"/>
                  </a:lnTo>
                  <a:lnTo>
                    <a:pt x="7" y="69"/>
                  </a:lnTo>
                  <a:lnTo>
                    <a:pt x="7" y="67"/>
                  </a:lnTo>
                  <a:lnTo>
                    <a:pt x="5" y="67"/>
                  </a:lnTo>
                  <a:lnTo>
                    <a:pt x="5" y="64"/>
                  </a:lnTo>
                  <a:lnTo>
                    <a:pt x="5" y="62"/>
                  </a:lnTo>
                  <a:lnTo>
                    <a:pt x="7" y="62"/>
                  </a:lnTo>
                  <a:lnTo>
                    <a:pt x="7" y="59"/>
                  </a:lnTo>
                  <a:lnTo>
                    <a:pt x="5" y="59"/>
                  </a:lnTo>
                  <a:lnTo>
                    <a:pt x="7" y="57"/>
                  </a:lnTo>
                  <a:lnTo>
                    <a:pt x="9" y="57"/>
                  </a:lnTo>
                  <a:lnTo>
                    <a:pt x="9" y="55"/>
                  </a:lnTo>
                  <a:lnTo>
                    <a:pt x="12" y="55"/>
                  </a:lnTo>
                  <a:lnTo>
                    <a:pt x="12" y="52"/>
                  </a:lnTo>
                  <a:lnTo>
                    <a:pt x="14" y="52"/>
                  </a:lnTo>
                  <a:lnTo>
                    <a:pt x="14" y="50"/>
                  </a:lnTo>
                  <a:lnTo>
                    <a:pt x="16" y="50"/>
                  </a:lnTo>
                  <a:lnTo>
                    <a:pt x="16" y="48"/>
                  </a:lnTo>
                  <a:lnTo>
                    <a:pt x="16" y="45"/>
                  </a:lnTo>
                  <a:lnTo>
                    <a:pt x="16" y="43"/>
                  </a:lnTo>
                  <a:lnTo>
                    <a:pt x="16" y="40"/>
                  </a:lnTo>
                  <a:lnTo>
                    <a:pt x="19" y="40"/>
                  </a:lnTo>
                  <a:lnTo>
                    <a:pt x="21" y="40"/>
                  </a:lnTo>
                  <a:lnTo>
                    <a:pt x="21" y="38"/>
                  </a:lnTo>
                  <a:lnTo>
                    <a:pt x="23" y="38"/>
                  </a:lnTo>
                  <a:lnTo>
                    <a:pt x="26" y="36"/>
                  </a:lnTo>
                  <a:lnTo>
                    <a:pt x="23" y="36"/>
                  </a:lnTo>
                  <a:lnTo>
                    <a:pt x="26" y="36"/>
                  </a:lnTo>
                  <a:lnTo>
                    <a:pt x="26" y="33"/>
                  </a:lnTo>
                  <a:lnTo>
                    <a:pt x="28" y="33"/>
                  </a:lnTo>
                  <a:lnTo>
                    <a:pt x="28" y="31"/>
                  </a:lnTo>
                  <a:lnTo>
                    <a:pt x="31" y="31"/>
                  </a:lnTo>
                  <a:lnTo>
                    <a:pt x="31" y="29"/>
                  </a:lnTo>
                  <a:lnTo>
                    <a:pt x="33" y="29"/>
                  </a:lnTo>
                  <a:lnTo>
                    <a:pt x="33" y="26"/>
                  </a:lnTo>
                  <a:lnTo>
                    <a:pt x="33" y="24"/>
                  </a:lnTo>
                  <a:lnTo>
                    <a:pt x="35" y="24"/>
                  </a:lnTo>
                  <a:lnTo>
                    <a:pt x="35" y="21"/>
                  </a:lnTo>
                  <a:lnTo>
                    <a:pt x="38" y="21"/>
                  </a:lnTo>
                  <a:lnTo>
                    <a:pt x="35" y="21"/>
                  </a:lnTo>
                  <a:lnTo>
                    <a:pt x="33" y="21"/>
                  </a:lnTo>
                  <a:lnTo>
                    <a:pt x="31" y="21"/>
                  </a:lnTo>
                  <a:lnTo>
                    <a:pt x="31" y="19"/>
                  </a:lnTo>
                  <a:lnTo>
                    <a:pt x="33" y="19"/>
                  </a:lnTo>
                  <a:lnTo>
                    <a:pt x="33" y="17"/>
                  </a:lnTo>
                  <a:lnTo>
                    <a:pt x="35" y="17"/>
                  </a:lnTo>
                  <a:lnTo>
                    <a:pt x="35" y="14"/>
                  </a:lnTo>
                  <a:lnTo>
                    <a:pt x="38" y="14"/>
                  </a:lnTo>
                  <a:lnTo>
                    <a:pt x="40" y="14"/>
                  </a:lnTo>
                  <a:lnTo>
                    <a:pt x="42" y="14"/>
                  </a:lnTo>
                  <a:lnTo>
                    <a:pt x="40" y="17"/>
                  </a:lnTo>
                  <a:lnTo>
                    <a:pt x="42" y="19"/>
                  </a:lnTo>
                  <a:lnTo>
                    <a:pt x="42" y="17"/>
                  </a:lnTo>
                  <a:lnTo>
                    <a:pt x="42" y="19"/>
                  </a:lnTo>
                  <a:lnTo>
                    <a:pt x="45" y="19"/>
                  </a:lnTo>
                  <a:lnTo>
                    <a:pt x="45" y="17"/>
                  </a:lnTo>
                  <a:lnTo>
                    <a:pt x="47" y="19"/>
                  </a:lnTo>
                  <a:lnTo>
                    <a:pt x="47" y="17"/>
                  </a:lnTo>
                  <a:lnTo>
                    <a:pt x="50" y="17"/>
                  </a:lnTo>
                  <a:lnTo>
                    <a:pt x="50" y="14"/>
                  </a:lnTo>
                  <a:lnTo>
                    <a:pt x="50" y="17"/>
                  </a:lnTo>
                  <a:lnTo>
                    <a:pt x="52" y="17"/>
                  </a:lnTo>
                  <a:lnTo>
                    <a:pt x="52" y="14"/>
                  </a:lnTo>
                  <a:lnTo>
                    <a:pt x="52" y="12"/>
                  </a:lnTo>
                  <a:lnTo>
                    <a:pt x="54" y="12"/>
                  </a:lnTo>
                  <a:lnTo>
                    <a:pt x="57" y="10"/>
                  </a:lnTo>
                  <a:lnTo>
                    <a:pt x="57" y="12"/>
                  </a:lnTo>
                  <a:lnTo>
                    <a:pt x="54" y="12"/>
                  </a:lnTo>
                  <a:lnTo>
                    <a:pt x="57" y="12"/>
                  </a:lnTo>
                  <a:lnTo>
                    <a:pt x="57" y="14"/>
                  </a:lnTo>
                  <a:lnTo>
                    <a:pt x="59" y="12"/>
                  </a:lnTo>
                  <a:lnTo>
                    <a:pt x="61" y="12"/>
                  </a:lnTo>
                  <a:lnTo>
                    <a:pt x="61" y="10"/>
                  </a:lnTo>
                  <a:lnTo>
                    <a:pt x="61" y="12"/>
                  </a:lnTo>
                  <a:lnTo>
                    <a:pt x="64" y="10"/>
                  </a:lnTo>
                  <a:lnTo>
                    <a:pt x="64" y="12"/>
                  </a:lnTo>
                  <a:lnTo>
                    <a:pt x="66" y="12"/>
                  </a:lnTo>
                  <a:lnTo>
                    <a:pt x="69" y="12"/>
                  </a:lnTo>
                  <a:lnTo>
                    <a:pt x="71" y="12"/>
                  </a:lnTo>
                  <a:lnTo>
                    <a:pt x="73" y="12"/>
                  </a:lnTo>
                  <a:lnTo>
                    <a:pt x="73" y="10"/>
                  </a:lnTo>
                  <a:lnTo>
                    <a:pt x="76" y="10"/>
                  </a:lnTo>
                  <a:lnTo>
                    <a:pt x="78" y="10"/>
                  </a:lnTo>
                  <a:lnTo>
                    <a:pt x="78" y="12"/>
                  </a:lnTo>
                  <a:lnTo>
                    <a:pt x="80" y="12"/>
                  </a:lnTo>
                  <a:lnTo>
                    <a:pt x="83" y="12"/>
                  </a:lnTo>
                  <a:lnTo>
                    <a:pt x="83" y="10"/>
                  </a:lnTo>
                  <a:lnTo>
                    <a:pt x="85" y="10"/>
                  </a:lnTo>
                  <a:lnTo>
                    <a:pt x="88" y="10"/>
                  </a:lnTo>
                  <a:lnTo>
                    <a:pt x="85" y="10"/>
                  </a:lnTo>
                  <a:lnTo>
                    <a:pt x="88" y="10"/>
                  </a:lnTo>
                  <a:lnTo>
                    <a:pt x="88" y="7"/>
                  </a:lnTo>
                  <a:lnTo>
                    <a:pt x="88" y="10"/>
                  </a:lnTo>
                  <a:lnTo>
                    <a:pt x="88" y="7"/>
                  </a:lnTo>
                  <a:lnTo>
                    <a:pt x="85" y="7"/>
                  </a:lnTo>
                  <a:lnTo>
                    <a:pt x="83" y="7"/>
                  </a:lnTo>
                  <a:lnTo>
                    <a:pt x="80" y="7"/>
                  </a:lnTo>
                  <a:lnTo>
                    <a:pt x="83" y="7"/>
                  </a:lnTo>
                  <a:lnTo>
                    <a:pt x="80" y="5"/>
                  </a:lnTo>
                  <a:lnTo>
                    <a:pt x="83" y="5"/>
                  </a:lnTo>
                  <a:lnTo>
                    <a:pt x="83" y="2"/>
                  </a:lnTo>
                  <a:lnTo>
                    <a:pt x="85" y="2"/>
                  </a:lnTo>
                  <a:lnTo>
                    <a:pt x="88" y="2"/>
                  </a:lnTo>
                  <a:lnTo>
                    <a:pt x="85" y="0"/>
                  </a:lnTo>
                  <a:lnTo>
                    <a:pt x="88" y="0"/>
                  </a:lnTo>
                  <a:close/>
                  <a:moveTo>
                    <a:pt x="90" y="5"/>
                  </a:moveTo>
                  <a:lnTo>
                    <a:pt x="90" y="7"/>
                  </a:lnTo>
                  <a:lnTo>
                    <a:pt x="90" y="5"/>
                  </a:lnTo>
                  <a:lnTo>
                    <a:pt x="92" y="5"/>
                  </a:lnTo>
                  <a:lnTo>
                    <a:pt x="90" y="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3" name="Freeform 57757"/>
            <p:cNvSpPr>
              <a:spLocks/>
            </p:cNvSpPr>
            <p:nvPr/>
          </p:nvSpPr>
          <p:spPr bwMode="auto">
            <a:xfrm>
              <a:off x="3098797" y="5270520"/>
              <a:ext cx="134938" cy="109538"/>
            </a:xfrm>
            <a:custGeom>
              <a:avLst/>
              <a:gdLst>
                <a:gd name="T0" fmla="*/ 50 w 85"/>
                <a:gd name="T1" fmla="*/ 3 h 69"/>
                <a:gd name="T2" fmla="*/ 55 w 85"/>
                <a:gd name="T3" fmla="*/ 3 h 69"/>
                <a:gd name="T4" fmla="*/ 59 w 85"/>
                <a:gd name="T5" fmla="*/ 0 h 69"/>
                <a:gd name="T6" fmla="*/ 64 w 85"/>
                <a:gd name="T7" fmla="*/ 3 h 69"/>
                <a:gd name="T8" fmla="*/ 66 w 85"/>
                <a:gd name="T9" fmla="*/ 7 h 69"/>
                <a:gd name="T10" fmla="*/ 71 w 85"/>
                <a:gd name="T11" fmla="*/ 12 h 69"/>
                <a:gd name="T12" fmla="*/ 76 w 85"/>
                <a:gd name="T13" fmla="*/ 14 h 69"/>
                <a:gd name="T14" fmla="*/ 78 w 85"/>
                <a:gd name="T15" fmla="*/ 22 h 69"/>
                <a:gd name="T16" fmla="*/ 81 w 85"/>
                <a:gd name="T17" fmla="*/ 26 h 69"/>
                <a:gd name="T18" fmla="*/ 85 w 85"/>
                <a:gd name="T19" fmla="*/ 29 h 69"/>
                <a:gd name="T20" fmla="*/ 83 w 85"/>
                <a:gd name="T21" fmla="*/ 33 h 69"/>
                <a:gd name="T22" fmla="*/ 83 w 85"/>
                <a:gd name="T23" fmla="*/ 36 h 69"/>
                <a:gd name="T24" fmla="*/ 83 w 85"/>
                <a:gd name="T25" fmla="*/ 43 h 69"/>
                <a:gd name="T26" fmla="*/ 81 w 85"/>
                <a:gd name="T27" fmla="*/ 48 h 69"/>
                <a:gd name="T28" fmla="*/ 76 w 85"/>
                <a:gd name="T29" fmla="*/ 50 h 69"/>
                <a:gd name="T30" fmla="*/ 74 w 85"/>
                <a:gd name="T31" fmla="*/ 55 h 69"/>
                <a:gd name="T32" fmla="*/ 69 w 85"/>
                <a:gd name="T33" fmla="*/ 57 h 69"/>
                <a:gd name="T34" fmla="*/ 62 w 85"/>
                <a:gd name="T35" fmla="*/ 57 h 69"/>
                <a:gd name="T36" fmla="*/ 57 w 85"/>
                <a:gd name="T37" fmla="*/ 55 h 69"/>
                <a:gd name="T38" fmla="*/ 52 w 85"/>
                <a:gd name="T39" fmla="*/ 57 h 69"/>
                <a:gd name="T40" fmla="*/ 50 w 85"/>
                <a:gd name="T41" fmla="*/ 57 h 69"/>
                <a:gd name="T42" fmla="*/ 48 w 85"/>
                <a:gd name="T43" fmla="*/ 62 h 69"/>
                <a:gd name="T44" fmla="*/ 43 w 85"/>
                <a:gd name="T45" fmla="*/ 64 h 69"/>
                <a:gd name="T46" fmla="*/ 43 w 85"/>
                <a:gd name="T47" fmla="*/ 67 h 69"/>
                <a:gd name="T48" fmla="*/ 40 w 85"/>
                <a:gd name="T49" fmla="*/ 67 h 69"/>
                <a:gd name="T50" fmla="*/ 36 w 85"/>
                <a:gd name="T51" fmla="*/ 69 h 69"/>
                <a:gd name="T52" fmla="*/ 31 w 85"/>
                <a:gd name="T53" fmla="*/ 67 h 69"/>
                <a:gd name="T54" fmla="*/ 24 w 85"/>
                <a:gd name="T55" fmla="*/ 69 h 69"/>
                <a:gd name="T56" fmla="*/ 17 w 85"/>
                <a:gd name="T57" fmla="*/ 67 h 69"/>
                <a:gd name="T58" fmla="*/ 10 w 85"/>
                <a:gd name="T59" fmla="*/ 67 h 69"/>
                <a:gd name="T60" fmla="*/ 5 w 85"/>
                <a:gd name="T61" fmla="*/ 60 h 69"/>
                <a:gd name="T62" fmla="*/ 2 w 85"/>
                <a:gd name="T63" fmla="*/ 55 h 69"/>
                <a:gd name="T64" fmla="*/ 0 w 85"/>
                <a:gd name="T65" fmla="*/ 48 h 69"/>
                <a:gd name="T66" fmla="*/ 2 w 85"/>
                <a:gd name="T67" fmla="*/ 43 h 69"/>
                <a:gd name="T68" fmla="*/ 2 w 85"/>
                <a:gd name="T69" fmla="*/ 41 h 69"/>
                <a:gd name="T70" fmla="*/ 2 w 85"/>
                <a:gd name="T71" fmla="*/ 38 h 69"/>
                <a:gd name="T72" fmla="*/ 2 w 85"/>
                <a:gd name="T73" fmla="*/ 31 h 69"/>
                <a:gd name="T74" fmla="*/ 2 w 85"/>
                <a:gd name="T75" fmla="*/ 24 h 69"/>
                <a:gd name="T76" fmla="*/ 7 w 85"/>
                <a:gd name="T77" fmla="*/ 22 h 69"/>
                <a:gd name="T78" fmla="*/ 10 w 85"/>
                <a:gd name="T79" fmla="*/ 17 h 69"/>
                <a:gd name="T80" fmla="*/ 12 w 85"/>
                <a:gd name="T81" fmla="*/ 12 h 69"/>
                <a:gd name="T82" fmla="*/ 17 w 85"/>
                <a:gd name="T83" fmla="*/ 10 h 69"/>
                <a:gd name="T84" fmla="*/ 21 w 85"/>
                <a:gd name="T85" fmla="*/ 7 h 69"/>
                <a:gd name="T86" fmla="*/ 29 w 85"/>
                <a:gd name="T87" fmla="*/ 12 h 69"/>
                <a:gd name="T88" fmla="*/ 31 w 85"/>
                <a:gd name="T89" fmla="*/ 5 h 69"/>
                <a:gd name="T90" fmla="*/ 38 w 85"/>
                <a:gd name="T91" fmla="*/ 5 h 69"/>
                <a:gd name="T92" fmla="*/ 40 w 85"/>
                <a:gd name="T93" fmla="*/ 5 h 69"/>
                <a:gd name="T94" fmla="*/ 43 w 85"/>
                <a:gd name="T95" fmla="*/ 0 h 69"/>
                <a:gd name="T96" fmla="*/ 48 w 85"/>
                <a:gd name="T97" fmla="*/ 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69">
                  <a:moveTo>
                    <a:pt x="48" y="5"/>
                  </a:moveTo>
                  <a:lnTo>
                    <a:pt x="50" y="5"/>
                  </a:lnTo>
                  <a:lnTo>
                    <a:pt x="50" y="3"/>
                  </a:lnTo>
                  <a:lnTo>
                    <a:pt x="52" y="5"/>
                  </a:lnTo>
                  <a:lnTo>
                    <a:pt x="52" y="3"/>
                  </a:lnTo>
                  <a:lnTo>
                    <a:pt x="55" y="3"/>
                  </a:lnTo>
                  <a:lnTo>
                    <a:pt x="57" y="3"/>
                  </a:lnTo>
                  <a:lnTo>
                    <a:pt x="59" y="3"/>
                  </a:lnTo>
                  <a:lnTo>
                    <a:pt x="59" y="0"/>
                  </a:lnTo>
                  <a:lnTo>
                    <a:pt x="62" y="0"/>
                  </a:lnTo>
                  <a:lnTo>
                    <a:pt x="62" y="3"/>
                  </a:lnTo>
                  <a:lnTo>
                    <a:pt x="64" y="3"/>
                  </a:lnTo>
                  <a:lnTo>
                    <a:pt x="64" y="5"/>
                  </a:lnTo>
                  <a:lnTo>
                    <a:pt x="64" y="7"/>
                  </a:lnTo>
                  <a:lnTo>
                    <a:pt x="66" y="7"/>
                  </a:lnTo>
                  <a:lnTo>
                    <a:pt x="66" y="10"/>
                  </a:lnTo>
                  <a:lnTo>
                    <a:pt x="69" y="12"/>
                  </a:lnTo>
                  <a:lnTo>
                    <a:pt x="71" y="12"/>
                  </a:lnTo>
                  <a:lnTo>
                    <a:pt x="71" y="14"/>
                  </a:lnTo>
                  <a:lnTo>
                    <a:pt x="74" y="14"/>
                  </a:lnTo>
                  <a:lnTo>
                    <a:pt x="76" y="14"/>
                  </a:lnTo>
                  <a:lnTo>
                    <a:pt x="78" y="17"/>
                  </a:lnTo>
                  <a:lnTo>
                    <a:pt x="78" y="19"/>
                  </a:lnTo>
                  <a:lnTo>
                    <a:pt x="78" y="22"/>
                  </a:lnTo>
                  <a:lnTo>
                    <a:pt x="81" y="22"/>
                  </a:lnTo>
                  <a:lnTo>
                    <a:pt x="81" y="24"/>
                  </a:lnTo>
                  <a:lnTo>
                    <a:pt x="81" y="26"/>
                  </a:lnTo>
                  <a:lnTo>
                    <a:pt x="83" y="26"/>
                  </a:lnTo>
                  <a:lnTo>
                    <a:pt x="83" y="29"/>
                  </a:lnTo>
                  <a:lnTo>
                    <a:pt x="85" y="29"/>
                  </a:lnTo>
                  <a:lnTo>
                    <a:pt x="85" y="31"/>
                  </a:lnTo>
                  <a:lnTo>
                    <a:pt x="83" y="31"/>
                  </a:lnTo>
                  <a:lnTo>
                    <a:pt x="83" y="33"/>
                  </a:lnTo>
                  <a:lnTo>
                    <a:pt x="81" y="33"/>
                  </a:lnTo>
                  <a:lnTo>
                    <a:pt x="81" y="36"/>
                  </a:lnTo>
                  <a:lnTo>
                    <a:pt x="83" y="36"/>
                  </a:lnTo>
                  <a:lnTo>
                    <a:pt x="83" y="38"/>
                  </a:lnTo>
                  <a:lnTo>
                    <a:pt x="83" y="41"/>
                  </a:lnTo>
                  <a:lnTo>
                    <a:pt x="83" y="43"/>
                  </a:lnTo>
                  <a:lnTo>
                    <a:pt x="83" y="45"/>
                  </a:lnTo>
                  <a:lnTo>
                    <a:pt x="83" y="48"/>
                  </a:lnTo>
                  <a:lnTo>
                    <a:pt x="81" y="48"/>
                  </a:lnTo>
                  <a:lnTo>
                    <a:pt x="78" y="48"/>
                  </a:lnTo>
                  <a:lnTo>
                    <a:pt x="76" y="48"/>
                  </a:lnTo>
                  <a:lnTo>
                    <a:pt x="76" y="50"/>
                  </a:lnTo>
                  <a:lnTo>
                    <a:pt x="76" y="55"/>
                  </a:lnTo>
                  <a:lnTo>
                    <a:pt x="74" y="57"/>
                  </a:lnTo>
                  <a:lnTo>
                    <a:pt x="74" y="55"/>
                  </a:lnTo>
                  <a:lnTo>
                    <a:pt x="71" y="55"/>
                  </a:lnTo>
                  <a:lnTo>
                    <a:pt x="71" y="57"/>
                  </a:lnTo>
                  <a:lnTo>
                    <a:pt x="69" y="57"/>
                  </a:lnTo>
                  <a:lnTo>
                    <a:pt x="66" y="57"/>
                  </a:lnTo>
                  <a:lnTo>
                    <a:pt x="64" y="57"/>
                  </a:lnTo>
                  <a:lnTo>
                    <a:pt x="62" y="57"/>
                  </a:lnTo>
                  <a:lnTo>
                    <a:pt x="59" y="57"/>
                  </a:lnTo>
                  <a:lnTo>
                    <a:pt x="59" y="55"/>
                  </a:lnTo>
                  <a:lnTo>
                    <a:pt x="57" y="55"/>
                  </a:lnTo>
                  <a:lnTo>
                    <a:pt x="57" y="57"/>
                  </a:lnTo>
                  <a:lnTo>
                    <a:pt x="55" y="57"/>
                  </a:lnTo>
                  <a:lnTo>
                    <a:pt x="52" y="57"/>
                  </a:lnTo>
                  <a:lnTo>
                    <a:pt x="52" y="55"/>
                  </a:lnTo>
                  <a:lnTo>
                    <a:pt x="52" y="57"/>
                  </a:lnTo>
                  <a:lnTo>
                    <a:pt x="50" y="57"/>
                  </a:lnTo>
                  <a:lnTo>
                    <a:pt x="48" y="57"/>
                  </a:lnTo>
                  <a:lnTo>
                    <a:pt x="48" y="60"/>
                  </a:lnTo>
                  <a:lnTo>
                    <a:pt x="48" y="62"/>
                  </a:lnTo>
                  <a:lnTo>
                    <a:pt x="45" y="62"/>
                  </a:lnTo>
                  <a:lnTo>
                    <a:pt x="45" y="64"/>
                  </a:lnTo>
                  <a:lnTo>
                    <a:pt x="43" y="64"/>
                  </a:lnTo>
                  <a:lnTo>
                    <a:pt x="45" y="64"/>
                  </a:lnTo>
                  <a:lnTo>
                    <a:pt x="43" y="64"/>
                  </a:lnTo>
                  <a:lnTo>
                    <a:pt x="43" y="67"/>
                  </a:lnTo>
                  <a:lnTo>
                    <a:pt x="40" y="67"/>
                  </a:lnTo>
                  <a:lnTo>
                    <a:pt x="40" y="64"/>
                  </a:lnTo>
                  <a:lnTo>
                    <a:pt x="40" y="67"/>
                  </a:lnTo>
                  <a:lnTo>
                    <a:pt x="38" y="67"/>
                  </a:lnTo>
                  <a:lnTo>
                    <a:pt x="38" y="69"/>
                  </a:lnTo>
                  <a:lnTo>
                    <a:pt x="36" y="69"/>
                  </a:lnTo>
                  <a:lnTo>
                    <a:pt x="36" y="67"/>
                  </a:lnTo>
                  <a:lnTo>
                    <a:pt x="33" y="67"/>
                  </a:lnTo>
                  <a:lnTo>
                    <a:pt x="31" y="67"/>
                  </a:lnTo>
                  <a:lnTo>
                    <a:pt x="29" y="69"/>
                  </a:lnTo>
                  <a:lnTo>
                    <a:pt x="26" y="69"/>
                  </a:lnTo>
                  <a:lnTo>
                    <a:pt x="24" y="69"/>
                  </a:lnTo>
                  <a:lnTo>
                    <a:pt x="21" y="69"/>
                  </a:lnTo>
                  <a:lnTo>
                    <a:pt x="17" y="69"/>
                  </a:lnTo>
                  <a:lnTo>
                    <a:pt x="17" y="67"/>
                  </a:lnTo>
                  <a:lnTo>
                    <a:pt x="14" y="67"/>
                  </a:lnTo>
                  <a:lnTo>
                    <a:pt x="12" y="67"/>
                  </a:lnTo>
                  <a:lnTo>
                    <a:pt x="10" y="67"/>
                  </a:lnTo>
                  <a:lnTo>
                    <a:pt x="7" y="64"/>
                  </a:lnTo>
                  <a:lnTo>
                    <a:pt x="7" y="60"/>
                  </a:lnTo>
                  <a:lnTo>
                    <a:pt x="5" y="60"/>
                  </a:lnTo>
                  <a:lnTo>
                    <a:pt x="5" y="57"/>
                  </a:lnTo>
                  <a:lnTo>
                    <a:pt x="5" y="55"/>
                  </a:lnTo>
                  <a:lnTo>
                    <a:pt x="2" y="55"/>
                  </a:lnTo>
                  <a:lnTo>
                    <a:pt x="2" y="52"/>
                  </a:lnTo>
                  <a:lnTo>
                    <a:pt x="2" y="50"/>
                  </a:lnTo>
                  <a:lnTo>
                    <a:pt x="0" y="48"/>
                  </a:lnTo>
                  <a:lnTo>
                    <a:pt x="2" y="48"/>
                  </a:lnTo>
                  <a:lnTo>
                    <a:pt x="2" y="45"/>
                  </a:lnTo>
                  <a:lnTo>
                    <a:pt x="2" y="43"/>
                  </a:lnTo>
                  <a:lnTo>
                    <a:pt x="0" y="43"/>
                  </a:lnTo>
                  <a:lnTo>
                    <a:pt x="2" y="43"/>
                  </a:lnTo>
                  <a:lnTo>
                    <a:pt x="2" y="41"/>
                  </a:lnTo>
                  <a:lnTo>
                    <a:pt x="0" y="41"/>
                  </a:lnTo>
                  <a:lnTo>
                    <a:pt x="0" y="38"/>
                  </a:lnTo>
                  <a:lnTo>
                    <a:pt x="2" y="38"/>
                  </a:lnTo>
                  <a:lnTo>
                    <a:pt x="2" y="36"/>
                  </a:lnTo>
                  <a:lnTo>
                    <a:pt x="2" y="33"/>
                  </a:lnTo>
                  <a:lnTo>
                    <a:pt x="2" y="31"/>
                  </a:lnTo>
                  <a:lnTo>
                    <a:pt x="2" y="29"/>
                  </a:lnTo>
                  <a:lnTo>
                    <a:pt x="2" y="26"/>
                  </a:lnTo>
                  <a:lnTo>
                    <a:pt x="2" y="24"/>
                  </a:lnTo>
                  <a:lnTo>
                    <a:pt x="5" y="24"/>
                  </a:lnTo>
                  <a:lnTo>
                    <a:pt x="5" y="22"/>
                  </a:lnTo>
                  <a:lnTo>
                    <a:pt x="7" y="22"/>
                  </a:lnTo>
                  <a:lnTo>
                    <a:pt x="10" y="22"/>
                  </a:lnTo>
                  <a:lnTo>
                    <a:pt x="10" y="19"/>
                  </a:lnTo>
                  <a:lnTo>
                    <a:pt x="10" y="17"/>
                  </a:lnTo>
                  <a:lnTo>
                    <a:pt x="10" y="14"/>
                  </a:lnTo>
                  <a:lnTo>
                    <a:pt x="12" y="14"/>
                  </a:lnTo>
                  <a:lnTo>
                    <a:pt x="12" y="12"/>
                  </a:lnTo>
                  <a:lnTo>
                    <a:pt x="14" y="12"/>
                  </a:lnTo>
                  <a:lnTo>
                    <a:pt x="17" y="12"/>
                  </a:lnTo>
                  <a:lnTo>
                    <a:pt x="17" y="10"/>
                  </a:lnTo>
                  <a:lnTo>
                    <a:pt x="19" y="10"/>
                  </a:lnTo>
                  <a:lnTo>
                    <a:pt x="21" y="10"/>
                  </a:lnTo>
                  <a:lnTo>
                    <a:pt x="21" y="7"/>
                  </a:lnTo>
                  <a:lnTo>
                    <a:pt x="24" y="10"/>
                  </a:lnTo>
                  <a:lnTo>
                    <a:pt x="26" y="12"/>
                  </a:lnTo>
                  <a:lnTo>
                    <a:pt x="29" y="12"/>
                  </a:lnTo>
                  <a:lnTo>
                    <a:pt x="29" y="10"/>
                  </a:lnTo>
                  <a:lnTo>
                    <a:pt x="29" y="7"/>
                  </a:lnTo>
                  <a:lnTo>
                    <a:pt x="31" y="5"/>
                  </a:lnTo>
                  <a:lnTo>
                    <a:pt x="33" y="5"/>
                  </a:lnTo>
                  <a:lnTo>
                    <a:pt x="36" y="5"/>
                  </a:lnTo>
                  <a:lnTo>
                    <a:pt x="38" y="5"/>
                  </a:lnTo>
                  <a:lnTo>
                    <a:pt x="40" y="5"/>
                  </a:lnTo>
                  <a:lnTo>
                    <a:pt x="40" y="7"/>
                  </a:lnTo>
                  <a:lnTo>
                    <a:pt x="40" y="5"/>
                  </a:lnTo>
                  <a:lnTo>
                    <a:pt x="43" y="5"/>
                  </a:lnTo>
                  <a:lnTo>
                    <a:pt x="43" y="3"/>
                  </a:lnTo>
                  <a:lnTo>
                    <a:pt x="43" y="0"/>
                  </a:lnTo>
                  <a:lnTo>
                    <a:pt x="45" y="0"/>
                  </a:lnTo>
                  <a:lnTo>
                    <a:pt x="48" y="3"/>
                  </a:lnTo>
                  <a:lnTo>
                    <a:pt x="48" y="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4" name="Freeform 57758"/>
            <p:cNvSpPr>
              <a:spLocks noEditPoints="1"/>
            </p:cNvSpPr>
            <p:nvPr/>
          </p:nvSpPr>
          <p:spPr bwMode="auto">
            <a:xfrm>
              <a:off x="3186109" y="4516455"/>
              <a:ext cx="944562" cy="608015"/>
            </a:xfrm>
            <a:custGeom>
              <a:avLst/>
              <a:gdLst>
                <a:gd name="T0" fmla="*/ 486 w 595"/>
                <a:gd name="T1" fmla="*/ 269 h 383"/>
                <a:gd name="T2" fmla="*/ 462 w 595"/>
                <a:gd name="T3" fmla="*/ 276 h 383"/>
                <a:gd name="T4" fmla="*/ 431 w 595"/>
                <a:gd name="T5" fmla="*/ 299 h 383"/>
                <a:gd name="T6" fmla="*/ 424 w 595"/>
                <a:gd name="T7" fmla="*/ 318 h 383"/>
                <a:gd name="T8" fmla="*/ 465 w 595"/>
                <a:gd name="T9" fmla="*/ 330 h 383"/>
                <a:gd name="T10" fmla="*/ 455 w 595"/>
                <a:gd name="T11" fmla="*/ 352 h 383"/>
                <a:gd name="T12" fmla="*/ 410 w 595"/>
                <a:gd name="T13" fmla="*/ 366 h 383"/>
                <a:gd name="T14" fmla="*/ 375 w 595"/>
                <a:gd name="T15" fmla="*/ 371 h 383"/>
                <a:gd name="T16" fmla="*/ 363 w 595"/>
                <a:gd name="T17" fmla="*/ 342 h 383"/>
                <a:gd name="T18" fmla="*/ 346 w 595"/>
                <a:gd name="T19" fmla="*/ 330 h 383"/>
                <a:gd name="T20" fmla="*/ 379 w 595"/>
                <a:gd name="T21" fmla="*/ 307 h 383"/>
                <a:gd name="T22" fmla="*/ 358 w 595"/>
                <a:gd name="T23" fmla="*/ 299 h 383"/>
                <a:gd name="T24" fmla="*/ 327 w 595"/>
                <a:gd name="T25" fmla="*/ 295 h 383"/>
                <a:gd name="T26" fmla="*/ 310 w 595"/>
                <a:gd name="T27" fmla="*/ 283 h 383"/>
                <a:gd name="T28" fmla="*/ 356 w 595"/>
                <a:gd name="T29" fmla="*/ 273 h 383"/>
                <a:gd name="T30" fmla="*/ 341 w 595"/>
                <a:gd name="T31" fmla="*/ 280 h 383"/>
                <a:gd name="T32" fmla="*/ 322 w 595"/>
                <a:gd name="T33" fmla="*/ 254 h 383"/>
                <a:gd name="T34" fmla="*/ 320 w 595"/>
                <a:gd name="T35" fmla="*/ 278 h 383"/>
                <a:gd name="T36" fmla="*/ 301 w 595"/>
                <a:gd name="T37" fmla="*/ 278 h 383"/>
                <a:gd name="T38" fmla="*/ 275 w 595"/>
                <a:gd name="T39" fmla="*/ 302 h 383"/>
                <a:gd name="T40" fmla="*/ 270 w 595"/>
                <a:gd name="T41" fmla="*/ 307 h 383"/>
                <a:gd name="T42" fmla="*/ 253 w 595"/>
                <a:gd name="T43" fmla="*/ 321 h 383"/>
                <a:gd name="T44" fmla="*/ 251 w 595"/>
                <a:gd name="T45" fmla="*/ 333 h 383"/>
                <a:gd name="T46" fmla="*/ 201 w 595"/>
                <a:gd name="T47" fmla="*/ 330 h 383"/>
                <a:gd name="T48" fmla="*/ 235 w 595"/>
                <a:gd name="T49" fmla="*/ 280 h 383"/>
                <a:gd name="T50" fmla="*/ 263 w 595"/>
                <a:gd name="T51" fmla="*/ 285 h 383"/>
                <a:gd name="T52" fmla="*/ 244 w 595"/>
                <a:gd name="T53" fmla="*/ 254 h 383"/>
                <a:gd name="T54" fmla="*/ 235 w 595"/>
                <a:gd name="T55" fmla="*/ 216 h 383"/>
                <a:gd name="T56" fmla="*/ 206 w 595"/>
                <a:gd name="T57" fmla="*/ 200 h 383"/>
                <a:gd name="T58" fmla="*/ 166 w 595"/>
                <a:gd name="T59" fmla="*/ 195 h 383"/>
                <a:gd name="T60" fmla="*/ 135 w 595"/>
                <a:gd name="T61" fmla="*/ 212 h 383"/>
                <a:gd name="T62" fmla="*/ 83 w 595"/>
                <a:gd name="T63" fmla="*/ 219 h 383"/>
                <a:gd name="T64" fmla="*/ 33 w 595"/>
                <a:gd name="T65" fmla="*/ 207 h 383"/>
                <a:gd name="T66" fmla="*/ 0 w 595"/>
                <a:gd name="T67" fmla="*/ 185 h 383"/>
                <a:gd name="T68" fmla="*/ 19 w 595"/>
                <a:gd name="T69" fmla="*/ 157 h 383"/>
                <a:gd name="T70" fmla="*/ 47 w 595"/>
                <a:gd name="T71" fmla="*/ 105 h 383"/>
                <a:gd name="T72" fmla="*/ 61 w 595"/>
                <a:gd name="T73" fmla="*/ 71 h 383"/>
                <a:gd name="T74" fmla="*/ 54 w 595"/>
                <a:gd name="T75" fmla="*/ 36 h 383"/>
                <a:gd name="T76" fmla="*/ 106 w 595"/>
                <a:gd name="T77" fmla="*/ 21 h 383"/>
                <a:gd name="T78" fmla="*/ 168 w 595"/>
                <a:gd name="T79" fmla="*/ 33 h 383"/>
                <a:gd name="T80" fmla="*/ 199 w 595"/>
                <a:gd name="T81" fmla="*/ 36 h 383"/>
                <a:gd name="T82" fmla="*/ 244 w 595"/>
                <a:gd name="T83" fmla="*/ 45 h 383"/>
                <a:gd name="T84" fmla="*/ 280 w 595"/>
                <a:gd name="T85" fmla="*/ 43 h 383"/>
                <a:gd name="T86" fmla="*/ 296 w 595"/>
                <a:gd name="T87" fmla="*/ 12 h 383"/>
                <a:gd name="T88" fmla="*/ 337 w 595"/>
                <a:gd name="T89" fmla="*/ 7 h 383"/>
                <a:gd name="T90" fmla="*/ 386 w 595"/>
                <a:gd name="T91" fmla="*/ 2 h 383"/>
                <a:gd name="T92" fmla="*/ 398 w 595"/>
                <a:gd name="T93" fmla="*/ 45 h 383"/>
                <a:gd name="T94" fmla="*/ 431 w 595"/>
                <a:gd name="T95" fmla="*/ 64 h 383"/>
                <a:gd name="T96" fmla="*/ 450 w 595"/>
                <a:gd name="T97" fmla="*/ 97 h 383"/>
                <a:gd name="T98" fmla="*/ 505 w 595"/>
                <a:gd name="T99" fmla="*/ 93 h 383"/>
                <a:gd name="T100" fmla="*/ 543 w 595"/>
                <a:gd name="T101" fmla="*/ 116 h 383"/>
                <a:gd name="T102" fmla="*/ 590 w 595"/>
                <a:gd name="T103" fmla="*/ 140 h 383"/>
                <a:gd name="T104" fmla="*/ 581 w 595"/>
                <a:gd name="T105" fmla="*/ 174 h 383"/>
                <a:gd name="T106" fmla="*/ 586 w 595"/>
                <a:gd name="T107" fmla="*/ 209 h 383"/>
                <a:gd name="T108" fmla="*/ 536 w 595"/>
                <a:gd name="T109" fmla="*/ 233 h 383"/>
                <a:gd name="T110" fmla="*/ 393 w 595"/>
                <a:gd name="T111" fmla="*/ 302 h 383"/>
                <a:gd name="T112" fmla="*/ 398 w 595"/>
                <a:gd name="T113" fmla="*/ 307 h 383"/>
                <a:gd name="T114" fmla="*/ 410 w 595"/>
                <a:gd name="T115" fmla="*/ 307 h 383"/>
                <a:gd name="T116" fmla="*/ 408 w 595"/>
                <a:gd name="T117" fmla="*/ 314 h 383"/>
                <a:gd name="T118" fmla="*/ 424 w 595"/>
                <a:gd name="T119" fmla="*/ 323 h 383"/>
                <a:gd name="T120" fmla="*/ 424 w 595"/>
                <a:gd name="T121" fmla="*/ 318 h 383"/>
                <a:gd name="T122" fmla="*/ 415 w 595"/>
                <a:gd name="T123" fmla="*/ 299 h 383"/>
                <a:gd name="T124" fmla="*/ 398 w 595"/>
                <a:gd name="T125" fmla="*/ 304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5" h="383">
                  <a:moveTo>
                    <a:pt x="251" y="342"/>
                  </a:moveTo>
                  <a:lnTo>
                    <a:pt x="251" y="345"/>
                  </a:lnTo>
                  <a:lnTo>
                    <a:pt x="249" y="345"/>
                  </a:lnTo>
                  <a:lnTo>
                    <a:pt x="249" y="342"/>
                  </a:lnTo>
                  <a:lnTo>
                    <a:pt x="251" y="342"/>
                  </a:lnTo>
                  <a:close/>
                  <a:moveTo>
                    <a:pt x="465" y="278"/>
                  </a:moveTo>
                  <a:lnTo>
                    <a:pt x="465" y="280"/>
                  </a:lnTo>
                  <a:lnTo>
                    <a:pt x="462" y="283"/>
                  </a:lnTo>
                  <a:lnTo>
                    <a:pt x="465" y="280"/>
                  </a:lnTo>
                  <a:lnTo>
                    <a:pt x="465" y="278"/>
                  </a:lnTo>
                  <a:close/>
                  <a:moveTo>
                    <a:pt x="510" y="254"/>
                  </a:moveTo>
                  <a:lnTo>
                    <a:pt x="510" y="257"/>
                  </a:lnTo>
                  <a:lnTo>
                    <a:pt x="510" y="254"/>
                  </a:lnTo>
                  <a:lnTo>
                    <a:pt x="510" y="257"/>
                  </a:lnTo>
                  <a:lnTo>
                    <a:pt x="510" y="254"/>
                  </a:lnTo>
                  <a:lnTo>
                    <a:pt x="510" y="257"/>
                  </a:lnTo>
                  <a:lnTo>
                    <a:pt x="510" y="254"/>
                  </a:lnTo>
                  <a:lnTo>
                    <a:pt x="510" y="257"/>
                  </a:lnTo>
                  <a:lnTo>
                    <a:pt x="507" y="257"/>
                  </a:lnTo>
                  <a:lnTo>
                    <a:pt x="505" y="259"/>
                  </a:lnTo>
                  <a:lnTo>
                    <a:pt x="505" y="261"/>
                  </a:lnTo>
                  <a:lnTo>
                    <a:pt x="503" y="261"/>
                  </a:lnTo>
                  <a:lnTo>
                    <a:pt x="503" y="264"/>
                  </a:lnTo>
                  <a:lnTo>
                    <a:pt x="500" y="264"/>
                  </a:lnTo>
                  <a:lnTo>
                    <a:pt x="500" y="266"/>
                  </a:lnTo>
                  <a:lnTo>
                    <a:pt x="500" y="264"/>
                  </a:lnTo>
                  <a:lnTo>
                    <a:pt x="498" y="261"/>
                  </a:lnTo>
                  <a:lnTo>
                    <a:pt x="498" y="264"/>
                  </a:lnTo>
                  <a:lnTo>
                    <a:pt x="496" y="264"/>
                  </a:lnTo>
                  <a:lnTo>
                    <a:pt x="493" y="264"/>
                  </a:lnTo>
                  <a:lnTo>
                    <a:pt x="493" y="266"/>
                  </a:lnTo>
                  <a:lnTo>
                    <a:pt x="491" y="266"/>
                  </a:lnTo>
                  <a:lnTo>
                    <a:pt x="488" y="266"/>
                  </a:lnTo>
                  <a:lnTo>
                    <a:pt x="488" y="269"/>
                  </a:lnTo>
                  <a:lnTo>
                    <a:pt x="486" y="269"/>
                  </a:lnTo>
                  <a:lnTo>
                    <a:pt x="486" y="271"/>
                  </a:lnTo>
                  <a:lnTo>
                    <a:pt x="486" y="273"/>
                  </a:lnTo>
                  <a:lnTo>
                    <a:pt x="484" y="273"/>
                  </a:lnTo>
                  <a:lnTo>
                    <a:pt x="484" y="276"/>
                  </a:lnTo>
                  <a:lnTo>
                    <a:pt x="484" y="278"/>
                  </a:lnTo>
                  <a:lnTo>
                    <a:pt x="481" y="278"/>
                  </a:lnTo>
                  <a:lnTo>
                    <a:pt x="481" y="276"/>
                  </a:lnTo>
                  <a:lnTo>
                    <a:pt x="484" y="276"/>
                  </a:lnTo>
                  <a:lnTo>
                    <a:pt x="484" y="273"/>
                  </a:lnTo>
                  <a:lnTo>
                    <a:pt x="484" y="276"/>
                  </a:lnTo>
                  <a:lnTo>
                    <a:pt x="484" y="273"/>
                  </a:lnTo>
                  <a:lnTo>
                    <a:pt x="484" y="271"/>
                  </a:lnTo>
                  <a:lnTo>
                    <a:pt x="481" y="271"/>
                  </a:lnTo>
                  <a:lnTo>
                    <a:pt x="479" y="271"/>
                  </a:lnTo>
                  <a:lnTo>
                    <a:pt x="477" y="271"/>
                  </a:lnTo>
                  <a:lnTo>
                    <a:pt x="474" y="271"/>
                  </a:lnTo>
                  <a:lnTo>
                    <a:pt x="472" y="271"/>
                  </a:lnTo>
                  <a:lnTo>
                    <a:pt x="472" y="273"/>
                  </a:lnTo>
                  <a:lnTo>
                    <a:pt x="469" y="273"/>
                  </a:lnTo>
                  <a:lnTo>
                    <a:pt x="469" y="276"/>
                  </a:lnTo>
                  <a:lnTo>
                    <a:pt x="467" y="276"/>
                  </a:lnTo>
                  <a:lnTo>
                    <a:pt x="467" y="278"/>
                  </a:lnTo>
                  <a:lnTo>
                    <a:pt x="465" y="278"/>
                  </a:lnTo>
                  <a:lnTo>
                    <a:pt x="467" y="278"/>
                  </a:lnTo>
                  <a:lnTo>
                    <a:pt x="467" y="276"/>
                  </a:lnTo>
                  <a:lnTo>
                    <a:pt x="467" y="278"/>
                  </a:lnTo>
                  <a:lnTo>
                    <a:pt x="467" y="276"/>
                  </a:lnTo>
                  <a:lnTo>
                    <a:pt x="467" y="278"/>
                  </a:lnTo>
                  <a:lnTo>
                    <a:pt x="467" y="276"/>
                  </a:lnTo>
                  <a:lnTo>
                    <a:pt x="467" y="278"/>
                  </a:lnTo>
                  <a:lnTo>
                    <a:pt x="465" y="278"/>
                  </a:lnTo>
                  <a:lnTo>
                    <a:pt x="467" y="278"/>
                  </a:lnTo>
                  <a:lnTo>
                    <a:pt x="465" y="278"/>
                  </a:lnTo>
                  <a:lnTo>
                    <a:pt x="465" y="276"/>
                  </a:lnTo>
                  <a:lnTo>
                    <a:pt x="462" y="276"/>
                  </a:lnTo>
                  <a:lnTo>
                    <a:pt x="460" y="276"/>
                  </a:lnTo>
                  <a:lnTo>
                    <a:pt x="458" y="276"/>
                  </a:lnTo>
                  <a:lnTo>
                    <a:pt x="455" y="276"/>
                  </a:lnTo>
                  <a:lnTo>
                    <a:pt x="453" y="276"/>
                  </a:lnTo>
                  <a:lnTo>
                    <a:pt x="453" y="278"/>
                  </a:lnTo>
                  <a:lnTo>
                    <a:pt x="450" y="278"/>
                  </a:lnTo>
                  <a:lnTo>
                    <a:pt x="448" y="278"/>
                  </a:lnTo>
                  <a:lnTo>
                    <a:pt x="448" y="280"/>
                  </a:lnTo>
                  <a:lnTo>
                    <a:pt x="448" y="278"/>
                  </a:lnTo>
                  <a:lnTo>
                    <a:pt x="448" y="280"/>
                  </a:lnTo>
                  <a:lnTo>
                    <a:pt x="446" y="283"/>
                  </a:lnTo>
                  <a:lnTo>
                    <a:pt x="443" y="283"/>
                  </a:lnTo>
                  <a:lnTo>
                    <a:pt x="443" y="285"/>
                  </a:lnTo>
                  <a:lnTo>
                    <a:pt x="441" y="285"/>
                  </a:lnTo>
                  <a:lnTo>
                    <a:pt x="439" y="285"/>
                  </a:lnTo>
                  <a:lnTo>
                    <a:pt x="439" y="288"/>
                  </a:lnTo>
                  <a:lnTo>
                    <a:pt x="436" y="290"/>
                  </a:lnTo>
                  <a:lnTo>
                    <a:pt x="436" y="292"/>
                  </a:lnTo>
                  <a:lnTo>
                    <a:pt x="434" y="292"/>
                  </a:lnTo>
                  <a:lnTo>
                    <a:pt x="434" y="295"/>
                  </a:lnTo>
                  <a:lnTo>
                    <a:pt x="431" y="295"/>
                  </a:lnTo>
                  <a:lnTo>
                    <a:pt x="431" y="297"/>
                  </a:lnTo>
                  <a:lnTo>
                    <a:pt x="431" y="299"/>
                  </a:lnTo>
                  <a:lnTo>
                    <a:pt x="429" y="299"/>
                  </a:lnTo>
                  <a:lnTo>
                    <a:pt x="429" y="302"/>
                  </a:lnTo>
                  <a:lnTo>
                    <a:pt x="427" y="302"/>
                  </a:lnTo>
                  <a:lnTo>
                    <a:pt x="424" y="302"/>
                  </a:lnTo>
                  <a:lnTo>
                    <a:pt x="424" y="304"/>
                  </a:lnTo>
                  <a:lnTo>
                    <a:pt x="424" y="302"/>
                  </a:lnTo>
                  <a:lnTo>
                    <a:pt x="424" y="304"/>
                  </a:lnTo>
                  <a:lnTo>
                    <a:pt x="424" y="302"/>
                  </a:lnTo>
                  <a:lnTo>
                    <a:pt x="424" y="299"/>
                  </a:lnTo>
                  <a:lnTo>
                    <a:pt x="427" y="299"/>
                  </a:lnTo>
                  <a:lnTo>
                    <a:pt x="429" y="299"/>
                  </a:lnTo>
                  <a:lnTo>
                    <a:pt x="431" y="299"/>
                  </a:lnTo>
                  <a:lnTo>
                    <a:pt x="431" y="297"/>
                  </a:lnTo>
                  <a:lnTo>
                    <a:pt x="431" y="295"/>
                  </a:lnTo>
                  <a:lnTo>
                    <a:pt x="434" y="295"/>
                  </a:lnTo>
                  <a:lnTo>
                    <a:pt x="434" y="292"/>
                  </a:lnTo>
                  <a:lnTo>
                    <a:pt x="436" y="292"/>
                  </a:lnTo>
                  <a:lnTo>
                    <a:pt x="436" y="290"/>
                  </a:lnTo>
                  <a:lnTo>
                    <a:pt x="434" y="290"/>
                  </a:lnTo>
                  <a:lnTo>
                    <a:pt x="434" y="292"/>
                  </a:lnTo>
                  <a:lnTo>
                    <a:pt x="434" y="290"/>
                  </a:lnTo>
                  <a:lnTo>
                    <a:pt x="431" y="288"/>
                  </a:lnTo>
                  <a:lnTo>
                    <a:pt x="434" y="288"/>
                  </a:lnTo>
                  <a:lnTo>
                    <a:pt x="434" y="285"/>
                  </a:lnTo>
                  <a:lnTo>
                    <a:pt x="431" y="285"/>
                  </a:lnTo>
                  <a:lnTo>
                    <a:pt x="429" y="285"/>
                  </a:lnTo>
                  <a:lnTo>
                    <a:pt x="431" y="285"/>
                  </a:lnTo>
                  <a:lnTo>
                    <a:pt x="431" y="288"/>
                  </a:lnTo>
                  <a:lnTo>
                    <a:pt x="431" y="290"/>
                  </a:lnTo>
                  <a:lnTo>
                    <a:pt x="429" y="290"/>
                  </a:lnTo>
                  <a:lnTo>
                    <a:pt x="429" y="292"/>
                  </a:lnTo>
                  <a:lnTo>
                    <a:pt x="427" y="292"/>
                  </a:lnTo>
                  <a:lnTo>
                    <a:pt x="427" y="295"/>
                  </a:lnTo>
                  <a:lnTo>
                    <a:pt x="424" y="295"/>
                  </a:lnTo>
                  <a:lnTo>
                    <a:pt x="422" y="295"/>
                  </a:lnTo>
                  <a:lnTo>
                    <a:pt x="420" y="295"/>
                  </a:lnTo>
                  <a:lnTo>
                    <a:pt x="420" y="297"/>
                  </a:lnTo>
                  <a:lnTo>
                    <a:pt x="417" y="297"/>
                  </a:lnTo>
                  <a:lnTo>
                    <a:pt x="417" y="299"/>
                  </a:lnTo>
                  <a:lnTo>
                    <a:pt x="420" y="302"/>
                  </a:lnTo>
                  <a:lnTo>
                    <a:pt x="420" y="304"/>
                  </a:lnTo>
                  <a:lnTo>
                    <a:pt x="420" y="307"/>
                  </a:lnTo>
                  <a:lnTo>
                    <a:pt x="420" y="309"/>
                  </a:lnTo>
                  <a:lnTo>
                    <a:pt x="420" y="311"/>
                  </a:lnTo>
                  <a:lnTo>
                    <a:pt x="422" y="314"/>
                  </a:lnTo>
                  <a:lnTo>
                    <a:pt x="422" y="316"/>
                  </a:lnTo>
                  <a:lnTo>
                    <a:pt x="424" y="318"/>
                  </a:lnTo>
                  <a:lnTo>
                    <a:pt x="424" y="321"/>
                  </a:lnTo>
                  <a:lnTo>
                    <a:pt x="427" y="323"/>
                  </a:lnTo>
                  <a:lnTo>
                    <a:pt x="427" y="326"/>
                  </a:lnTo>
                  <a:lnTo>
                    <a:pt x="429" y="326"/>
                  </a:lnTo>
                  <a:lnTo>
                    <a:pt x="429" y="328"/>
                  </a:lnTo>
                  <a:lnTo>
                    <a:pt x="431" y="328"/>
                  </a:lnTo>
                  <a:lnTo>
                    <a:pt x="431" y="330"/>
                  </a:lnTo>
                  <a:lnTo>
                    <a:pt x="431" y="333"/>
                  </a:lnTo>
                  <a:lnTo>
                    <a:pt x="434" y="333"/>
                  </a:lnTo>
                  <a:lnTo>
                    <a:pt x="434" y="335"/>
                  </a:lnTo>
                  <a:lnTo>
                    <a:pt x="436" y="337"/>
                  </a:lnTo>
                  <a:lnTo>
                    <a:pt x="439" y="337"/>
                  </a:lnTo>
                  <a:lnTo>
                    <a:pt x="439" y="340"/>
                  </a:lnTo>
                  <a:lnTo>
                    <a:pt x="441" y="340"/>
                  </a:lnTo>
                  <a:lnTo>
                    <a:pt x="443" y="340"/>
                  </a:lnTo>
                  <a:lnTo>
                    <a:pt x="446" y="340"/>
                  </a:lnTo>
                  <a:lnTo>
                    <a:pt x="446" y="337"/>
                  </a:lnTo>
                  <a:lnTo>
                    <a:pt x="448" y="337"/>
                  </a:lnTo>
                  <a:lnTo>
                    <a:pt x="450" y="335"/>
                  </a:lnTo>
                  <a:lnTo>
                    <a:pt x="448" y="335"/>
                  </a:lnTo>
                  <a:lnTo>
                    <a:pt x="450" y="335"/>
                  </a:lnTo>
                  <a:lnTo>
                    <a:pt x="450" y="333"/>
                  </a:lnTo>
                  <a:lnTo>
                    <a:pt x="453" y="333"/>
                  </a:lnTo>
                  <a:lnTo>
                    <a:pt x="453" y="335"/>
                  </a:lnTo>
                  <a:lnTo>
                    <a:pt x="455" y="335"/>
                  </a:lnTo>
                  <a:lnTo>
                    <a:pt x="455" y="337"/>
                  </a:lnTo>
                  <a:lnTo>
                    <a:pt x="458" y="337"/>
                  </a:lnTo>
                  <a:lnTo>
                    <a:pt x="458" y="335"/>
                  </a:lnTo>
                  <a:lnTo>
                    <a:pt x="460" y="335"/>
                  </a:lnTo>
                  <a:lnTo>
                    <a:pt x="460" y="333"/>
                  </a:lnTo>
                  <a:lnTo>
                    <a:pt x="462" y="333"/>
                  </a:lnTo>
                  <a:lnTo>
                    <a:pt x="465" y="333"/>
                  </a:lnTo>
                  <a:lnTo>
                    <a:pt x="465" y="330"/>
                  </a:lnTo>
                  <a:lnTo>
                    <a:pt x="465" y="333"/>
                  </a:lnTo>
                  <a:lnTo>
                    <a:pt x="465" y="330"/>
                  </a:lnTo>
                  <a:lnTo>
                    <a:pt x="467" y="330"/>
                  </a:lnTo>
                  <a:lnTo>
                    <a:pt x="467" y="333"/>
                  </a:lnTo>
                  <a:lnTo>
                    <a:pt x="469" y="333"/>
                  </a:lnTo>
                  <a:lnTo>
                    <a:pt x="469" y="330"/>
                  </a:lnTo>
                  <a:lnTo>
                    <a:pt x="469" y="333"/>
                  </a:lnTo>
                  <a:lnTo>
                    <a:pt x="472" y="333"/>
                  </a:lnTo>
                  <a:lnTo>
                    <a:pt x="474" y="333"/>
                  </a:lnTo>
                  <a:lnTo>
                    <a:pt x="477" y="335"/>
                  </a:lnTo>
                  <a:lnTo>
                    <a:pt x="477" y="333"/>
                  </a:lnTo>
                  <a:lnTo>
                    <a:pt x="477" y="335"/>
                  </a:lnTo>
                  <a:lnTo>
                    <a:pt x="479" y="335"/>
                  </a:lnTo>
                  <a:lnTo>
                    <a:pt x="479" y="337"/>
                  </a:lnTo>
                  <a:lnTo>
                    <a:pt x="477" y="337"/>
                  </a:lnTo>
                  <a:lnTo>
                    <a:pt x="474" y="337"/>
                  </a:lnTo>
                  <a:lnTo>
                    <a:pt x="472" y="337"/>
                  </a:lnTo>
                  <a:lnTo>
                    <a:pt x="474" y="337"/>
                  </a:lnTo>
                  <a:lnTo>
                    <a:pt x="472" y="337"/>
                  </a:lnTo>
                  <a:lnTo>
                    <a:pt x="472" y="340"/>
                  </a:lnTo>
                  <a:lnTo>
                    <a:pt x="474" y="340"/>
                  </a:lnTo>
                  <a:lnTo>
                    <a:pt x="472" y="340"/>
                  </a:lnTo>
                  <a:lnTo>
                    <a:pt x="472" y="342"/>
                  </a:lnTo>
                  <a:lnTo>
                    <a:pt x="472" y="340"/>
                  </a:lnTo>
                  <a:lnTo>
                    <a:pt x="472" y="342"/>
                  </a:lnTo>
                  <a:lnTo>
                    <a:pt x="469" y="345"/>
                  </a:lnTo>
                  <a:lnTo>
                    <a:pt x="472" y="347"/>
                  </a:lnTo>
                  <a:lnTo>
                    <a:pt x="472" y="349"/>
                  </a:lnTo>
                  <a:lnTo>
                    <a:pt x="469" y="349"/>
                  </a:lnTo>
                  <a:lnTo>
                    <a:pt x="469" y="352"/>
                  </a:lnTo>
                  <a:lnTo>
                    <a:pt x="467" y="352"/>
                  </a:lnTo>
                  <a:lnTo>
                    <a:pt x="465" y="352"/>
                  </a:lnTo>
                  <a:lnTo>
                    <a:pt x="462" y="352"/>
                  </a:lnTo>
                  <a:lnTo>
                    <a:pt x="460" y="352"/>
                  </a:lnTo>
                  <a:lnTo>
                    <a:pt x="458" y="352"/>
                  </a:lnTo>
                  <a:lnTo>
                    <a:pt x="455" y="354"/>
                  </a:lnTo>
                  <a:lnTo>
                    <a:pt x="455" y="352"/>
                  </a:lnTo>
                  <a:lnTo>
                    <a:pt x="453" y="354"/>
                  </a:lnTo>
                  <a:lnTo>
                    <a:pt x="450" y="354"/>
                  </a:lnTo>
                  <a:lnTo>
                    <a:pt x="453" y="354"/>
                  </a:lnTo>
                  <a:lnTo>
                    <a:pt x="450" y="352"/>
                  </a:lnTo>
                  <a:lnTo>
                    <a:pt x="448" y="349"/>
                  </a:lnTo>
                  <a:lnTo>
                    <a:pt x="446" y="349"/>
                  </a:lnTo>
                  <a:lnTo>
                    <a:pt x="446" y="347"/>
                  </a:lnTo>
                  <a:lnTo>
                    <a:pt x="443" y="347"/>
                  </a:lnTo>
                  <a:lnTo>
                    <a:pt x="441" y="347"/>
                  </a:lnTo>
                  <a:lnTo>
                    <a:pt x="441" y="349"/>
                  </a:lnTo>
                  <a:lnTo>
                    <a:pt x="439" y="349"/>
                  </a:lnTo>
                  <a:lnTo>
                    <a:pt x="439" y="352"/>
                  </a:lnTo>
                  <a:lnTo>
                    <a:pt x="436" y="352"/>
                  </a:lnTo>
                  <a:lnTo>
                    <a:pt x="439" y="352"/>
                  </a:lnTo>
                  <a:lnTo>
                    <a:pt x="439" y="354"/>
                  </a:lnTo>
                  <a:lnTo>
                    <a:pt x="436" y="354"/>
                  </a:lnTo>
                  <a:lnTo>
                    <a:pt x="436" y="356"/>
                  </a:lnTo>
                  <a:lnTo>
                    <a:pt x="434" y="356"/>
                  </a:lnTo>
                  <a:lnTo>
                    <a:pt x="434" y="354"/>
                  </a:lnTo>
                  <a:lnTo>
                    <a:pt x="434" y="356"/>
                  </a:lnTo>
                  <a:lnTo>
                    <a:pt x="434" y="354"/>
                  </a:lnTo>
                  <a:lnTo>
                    <a:pt x="431" y="356"/>
                  </a:lnTo>
                  <a:lnTo>
                    <a:pt x="431" y="359"/>
                  </a:lnTo>
                  <a:lnTo>
                    <a:pt x="429" y="359"/>
                  </a:lnTo>
                  <a:lnTo>
                    <a:pt x="429" y="361"/>
                  </a:lnTo>
                  <a:lnTo>
                    <a:pt x="427" y="364"/>
                  </a:lnTo>
                  <a:lnTo>
                    <a:pt x="427" y="361"/>
                  </a:lnTo>
                  <a:lnTo>
                    <a:pt x="424" y="361"/>
                  </a:lnTo>
                  <a:lnTo>
                    <a:pt x="422" y="361"/>
                  </a:lnTo>
                  <a:lnTo>
                    <a:pt x="420" y="361"/>
                  </a:lnTo>
                  <a:lnTo>
                    <a:pt x="417" y="361"/>
                  </a:lnTo>
                  <a:lnTo>
                    <a:pt x="415" y="364"/>
                  </a:lnTo>
                  <a:lnTo>
                    <a:pt x="412" y="364"/>
                  </a:lnTo>
                  <a:lnTo>
                    <a:pt x="410" y="364"/>
                  </a:lnTo>
                  <a:lnTo>
                    <a:pt x="410" y="366"/>
                  </a:lnTo>
                  <a:lnTo>
                    <a:pt x="408" y="366"/>
                  </a:lnTo>
                  <a:lnTo>
                    <a:pt x="405" y="366"/>
                  </a:lnTo>
                  <a:lnTo>
                    <a:pt x="405" y="368"/>
                  </a:lnTo>
                  <a:lnTo>
                    <a:pt x="405" y="371"/>
                  </a:lnTo>
                  <a:lnTo>
                    <a:pt x="403" y="371"/>
                  </a:lnTo>
                  <a:lnTo>
                    <a:pt x="403" y="373"/>
                  </a:lnTo>
                  <a:lnTo>
                    <a:pt x="403" y="375"/>
                  </a:lnTo>
                  <a:lnTo>
                    <a:pt x="401" y="375"/>
                  </a:lnTo>
                  <a:lnTo>
                    <a:pt x="401" y="378"/>
                  </a:lnTo>
                  <a:lnTo>
                    <a:pt x="398" y="378"/>
                  </a:lnTo>
                  <a:lnTo>
                    <a:pt x="396" y="378"/>
                  </a:lnTo>
                  <a:lnTo>
                    <a:pt x="396" y="380"/>
                  </a:lnTo>
                  <a:lnTo>
                    <a:pt x="393" y="380"/>
                  </a:lnTo>
                  <a:lnTo>
                    <a:pt x="393" y="383"/>
                  </a:lnTo>
                  <a:lnTo>
                    <a:pt x="391" y="383"/>
                  </a:lnTo>
                  <a:lnTo>
                    <a:pt x="391" y="380"/>
                  </a:lnTo>
                  <a:lnTo>
                    <a:pt x="391" y="383"/>
                  </a:lnTo>
                  <a:lnTo>
                    <a:pt x="389" y="383"/>
                  </a:lnTo>
                  <a:lnTo>
                    <a:pt x="386" y="383"/>
                  </a:lnTo>
                  <a:lnTo>
                    <a:pt x="386" y="380"/>
                  </a:lnTo>
                  <a:lnTo>
                    <a:pt x="386" y="383"/>
                  </a:lnTo>
                  <a:lnTo>
                    <a:pt x="384" y="383"/>
                  </a:lnTo>
                  <a:lnTo>
                    <a:pt x="382" y="383"/>
                  </a:lnTo>
                  <a:lnTo>
                    <a:pt x="382" y="380"/>
                  </a:lnTo>
                  <a:lnTo>
                    <a:pt x="379" y="380"/>
                  </a:lnTo>
                  <a:lnTo>
                    <a:pt x="379" y="378"/>
                  </a:lnTo>
                  <a:lnTo>
                    <a:pt x="377" y="378"/>
                  </a:lnTo>
                  <a:lnTo>
                    <a:pt x="375" y="378"/>
                  </a:lnTo>
                  <a:lnTo>
                    <a:pt x="375" y="375"/>
                  </a:lnTo>
                  <a:lnTo>
                    <a:pt x="372" y="375"/>
                  </a:lnTo>
                  <a:lnTo>
                    <a:pt x="372" y="373"/>
                  </a:lnTo>
                  <a:lnTo>
                    <a:pt x="370" y="373"/>
                  </a:lnTo>
                  <a:lnTo>
                    <a:pt x="372" y="373"/>
                  </a:lnTo>
                  <a:lnTo>
                    <a:pt x="375" y="373"/>
                  </a:lnTo>
                  <a:lnTo>
                    <a:pt x="375" y="371"/>
                  </a:lnTo>
                  <a:lnTo>
                    <a:pt x="375" y="373"/>
                  </a:lnTo>
                  <a:lnTo>
                    <a:pt x="375" y="371"/>
                  </a:lnTo>
                  <a:lnTo>
                    <a:pt x="375" y="373"/>
                  </a:lnTo>
                  <a:lnTo>
                    <a:pt x="375" y="371"/>
                  </a:lnTo>
                  <a:lnTo>
                    <a:pt x="375" y="373"/>
                  </a:lnTo>
                  <a:lnTo>
                    <a:pt x="375" y="371"/>
                  </a:lnTo>
                  <a:lnTo>
                    <a:pt x="377" y="371"/>
                  </a:lnTo>
                  <a:lnTo>
                    <a:pt x="375" y="373"/>
                  </a:lnTo>
                  <a:lnTo>
                    <a:pt x="377" y="373"/>
                  </a:lnTo>
                  <a:lnTo>
                    <a:pt x="375" y="373"/>
                  </a:lnTo>
                  <a:lnTo>
                    <a:pt x="377" y="373"/>
                  </a:lnTo>
                  <a:lnTo>
                    <a:pt x="377" y="371"/>
                  </a:lnTo>
                  <a:lnTo>
                    <a:pt x="375" y="371"/>
                  </a:lnTo>
                  <a:lnTo>
                    <a:pt x="377" y="371"/>
                  </a:lnTo>
                  <a:lnTo>
                    <a:pt x="377" y="368"/>
                  </a:lnTo>
                  <a:lnTo>
                    <a:pt x="377" y="366"/>
                  </a:lnTo>
                  <a:lnTo>
                    <a:pt x="377" y="364"/>
                  </a:lnTo>
                  <a:lnTo>
                    <a:pt x="377" y="361"/>
                  </a:lnTo>
                  <a:lnTo>
                    <a:pt x="379" y="361"/>
                  </a:lnTo>
                  <a:lnTo>
                    <a:pt x="379" y="359"/>
                  </a:lnTo>
                  <a:lnTo>
                    <a:pt x="379" y="356"/>
                  </a:lnTo>
                  <a:lnTo>
                    <a:pt x="377" y="354"/>
                  </a:lnTo>
                  <a:lnTo>
                    <a:pt x="379" y="354"/>
                  </a:lnTo>
                  <a:lnTo>
                    <a:pt x="377" y="354"/>
                  </a:lnTo>
                  <a:lnTo>
                    <a:pt x="377" y="352"/>
                  </a:lnTo>
                  <a:lnTo>
                    <a:pt x="377" y="349"/>
                  </a:lnTo>
                  <a:lnTo>
                    <a:pt x="375" y="347"/>
                  </a:lnTo>
                  <a:lnTo>
                    <a:pt x="375" y="345"/>
                  </a:lnTo>
                  <a:lnTo>
                    <a:pt x="372" y="345"/>
                  </a:lnTo>
                  <a:lnTo>
                    <a:pt x="370" y="345"/>
                  </a:lnTo>
                  <a:lnTo>
                    <a:pt x="367" y="345"/>
                  </a:lnTo>
                  <a:lnTo>
                    <a:pt x="367" y="347"/>
                  </a:lnTo>
                  <a:lnTo>
                    <a:pt x="365" y="345"/>
                  </a:lnTo>
                  <a:lnTo>
                    <a:pt x="363" y="345"/>
                  </a:lnTo>
                  <a:lnTo>
                    <a:pt x="363" y="342"/>
                  </a:lnTo>
                  <a:lnTo>
                    <a:pt x="360" y="342"/>
                  </a:lnTo>
                  <a:lnTo>
                    <a:pt x="360" y="340"/>
                  </a:lnTo>
                  <a:lnTo>
                    <a:pt x="358" y="340"/>
                  </a:lnTo>
                  <a:lnTo>
                    <a:pt x="358" y="337"/>
                  </a:lnTo>
                  <a:lnTo>
                    <a:pt x="358" y="340"/>
                  </a:lnTo>
                  <a:lnTo>
                    <a:pt x="360" y="340"/>
                  </a:lnTo>
                  <a:lnTo>
                    <a:pt x="360" y="337"/>
                  </a:lnTo>
                  <a:lnTo>
                    <a:pt x="360" y="335"/>
                  </a:lnTo>
                  <a:lnTo>
                    <a:pt x="360" y="337"/>
                  </a:lnTo>
                  <a:lnTo>
                    <a:pt x="360" y="335"/>
                  </a:lnTo>
                  <a:lnTo>
                    <a:pt x="360" y="337"/>
                  </a:lnTo>
                  <a:lnTo>
                    <a:pt x="363" y="337"/>
                  </a:lnTo>
                  <a:lnTo>
                    <a:pt x="363" y="335"/>
                  </a:lnTo>
                  <a:lnTo>
                    <a:pt x="363" y="333"/>
                  </a:lnTo>
                  <a:lnTo>
                    <a:pt x="365" y="333"/>
                  </a:lnTo>
                  <a:lnTo>
                    <a:pt x="363" y="333"/>
                  </a:lnTo>
                  <a:lnTo>
                    <a:pt x="363" y="335"/>
                  </a:lnTo>
                  <a:lnTo>
                    <a:pt x="360" y="335"/>
                  </a:lnTo>
                  <a:lnTo>
                    <a:pt x="360" y="337"/>
                  </a:lnTo>
                  <a:lnTo>
                    <a:pt x="358" y="337"/>
                  </a:lnTo>
                  <a:lnTo>
                    <a:pt x="356" y="337"/>
                  </a:lnTo>
                  <a:lnTo>
                    <a:pt x="358" y="337"/>
                  </a:lnTo>
                  <a:lnTo>
                    <a:pt x="356" y="337"/>
                  </a:lnTo>
                  <a:lnTo>
                    <a:pt x="353" y="337"/>
                  </a:lnTo>
                  <a:lnTo>
                    <a:pt x="351" y="337"/>
                  </a:lnTo>
                  <a:lnTo>
                    <a:pt x="348" y="337"/>
                  </a:lnTo>
                  <a:lnTo>
                    <a:pt x="348" y="340"/>
                  </a:lnTo>
                  <a:lnTo>
                    <a:pt x="346" y="340"/>
                  </a:lnTo>
                  <a:lnTo>
                    <a:pt x="346" y="337"/>
                  </a:lnTo>
                  <a:lnTo>
                    <a:pt x="344" y="337"/>
                  </a:lnTo>
                  <a:lnTo>
                    <a:pt x="341" y="337"/>
                  </a:lnTo>
                  <a:lnTo>
                    <a:pt x="341" y="335"/>
                  </a:lnTo>
                  <a:lnTo>
                    <a:pt x="344" y="333"/>
                  </a:lnTo>
                  <a:lnTo>
                    <a:pt x="344" y="330"/>
                  </a:lnTo>
                  <a:lnTo>
                    <a:pt x="346" y="330"/>
                  </a:lnTo>
                  <a:lnTo>
                    <a:pt x="348" y="330"/>
                  </a:lnTo>
                  <a:lnTo>
                    <a:pt x="348" y="328"/>
                  </a:lnTo>
                  <a:lnTo>
                    <a:pt x="351" y="328"/>
                  </a:lnTo>
                  <a:lnTo>
                    <a:pt x="353" y="328"/>
                  </a:lnTo>
                  <a:lnTo>
                    <a:pt x="351" y="328"/>
                  </a:lnTo>
                  <a:lnTo>
                    <a:pt x="353" y="328"/>
                  </a:lnTo>
                  <a:lnTo>
                    <a:pt x="353" y="326"/>
                  </a:lnTo>
                  <a:lnTo>
                    <a:pt x="356" y="326"/>
                  </a:lnTo>
                  <a:lnTo>
                    <a:pt x="356" y="323"/>
                  </a:lnTo>
                  <a:lnTo>
                    <a:pt x="358" y="323"/>
                  </a:lnTo>
                  <a:lnTo>
                    <a:pt x="358" y="321"/>
                  </a:lnTo>
                  <a:lnTo>
                    <a:pt x="360" y="321"/>
                  </a:lnTo>
                  <a:lnTo>
                    <a:pt x="363" y="321"/>
                  </a:lnTo>
                  <a:lnTo>
                    <a:pt x="363" y="318"/>
                  </a:lnTo>
                  <a:lnTo>
                    <a:pt x="363" y="316"/>
                  </a:lnTo>
                  <a:lnTo>
                    <a:pt x="365" y="318"/>
                  </a:lnTo>
                  <a:lnTo>
                    <a:pt x="367" y="318"/>
                  </a:lnTo>
                  <a:lnTo>
                    <a:pt x="370" y="318"/>
                  </a:lnTo>
                  <a:lnTo>
                    <a:pt x="370" y="316"/>
                  </a:lnTo>
                  <a:lnTo>
                    <a:pt x="372" y="316"/>
                  </a:lnTo>
                  <a:lnTo>
                    <a:pt x="372" y="314"/>
                  </a:lnTo>
                  <a:lnTo>
                    <a:pt x="375" y="314"/>
                  </a:lnTo>
                  <a:lnTo>
                    <a:pt x="377" y="314"/>
                  </a:lnTo>
                  <a:lnTo>
                    <a:pt x="377" y="311"/>
                  </a:lnTo>
                  <a:lnTo>
                    <a:pt x="379" y="311"/>
                  </a:lnTo>
                  <a:lnTo>
                    <a:pt x="379" y="314"/>
                  </a:lnTo>
                  <a:lnTo>
                    <a:pt x="382" y="314"/>
                  </a:lnTo>
                  <a:lnTo>
                    <a:pt x="382" y="311"/>
                  </a:lnTo>
                  <a:lnTo>
                    <a:pt x="384" y="311"/>
                  </a:lnTo>
                  <a:lnTo>
                    <a:pt x="384" y="309"/>
                  </a:lnTo>
                  <a:lnTo>
                    <a:pt x="384" y="311"/>
                  </a:lnTo>
                  <a:lnTo>
                    <a:pt x="384" y="309"/>
                  </a:lnTo>
                  <a:lnTo>
                    <a:pt x="382" y="309"/>
                  </a:lnTo>
                  <a:lnTo>
                    <a:pt x="379" y="309"/>
                  </a:lnTo>
                  <a:lnTo>
                    <a:pt x="379" y="307"/>
                  </a:lnTo>
                  <a:lnTo>
                    <a:pt x="379" y="304"/>
                  </a:lnTo>
                  <a:lnTo>
                    <a:pt x="379" y="302"/>
                  </a:lnTo>
                  <a:lnTo>
                    <a:pt x="379" y="299"/>
                  </a:lnTo>
                  <a:lnTo>
                    <a:pt x="377" y="299"/>
                  </a:lnTo>
                  <a:lnTo>
                    <a:pt x="377" y="302"/>
                  </a:lnTo>
                  <a:lnTo>
                    <a:pt x="375" y="302"/>
                  </a:lnTo>
                  <a:lnTo>
                    <a:pt x="377" y="302"/>
                  </a:lnTo>
                  <a:lnTo>
                    <a:pt x="377" y="304"/>
                  </a:lnTo>
                  <a:lnTo>
                    <a:pt x="375" y="304"/>
                  </a:lnTo>
                  <a:lnTo>
                    <a:pt x="375" y="307"/>
                  </a:lnTo>
                  <a:lnTo>
                    <a:pt x="375" y="304"/>
                  </a:lnTo>
                  <a:lnTo>
                    <a:pt x="375" y="307"/>
                  </a:lnTo>
                  <a:lnTo>
                    <a:pt x="375" y="304"/>
                  </a:lnTo>
                  <a:lnTo>
                    <a:pt x="372" y="304"/>
                  </a:lnTo>
                  <a:lnTo>
                    <a:pt x="372" y="307"/>
                  </a:lnTo>
                  <a:lnTo>
                    <a:pt x="372" y="304"/>
                  </a:lnTo>
                  <a:lnTo>
                    <a:pt x="370" y="304"/>
                  </a:lnTo>
                  <a:lnTo>
                    <a:pt x="370" y="302"/>
                  </a:lnTo>
                  <a:lnTo>
                    <a:pt x="367" y="302"/>
                  </a:lnTo>
                  <a:lnTo>
                    <a:pt x="367" y="304"/>
                  </a:lnTo>
                  <a:lnTo>
                    <a:pt x="370" y="304"/>
                  </a:lnTo>
                  <a:lnTo>
                    <a:pt x="367" y="304"/>
                  </a:lnTo>
                  <a:lnTo>
                    <a:pt x="367" y="302"/>
                  </a:lnTo>
                  <a:lnTo>
                    <a:pt x="367" y="299"/>
                  </a:lnTo>
                  <a:lnTo>
                    <a:pt x="365" y="299"/>
                  </a:lnTo>
                  <a:lnTo>
                    <a:pt x="365" y="302"/>
                  </a:lnTo>
                  <a:lnTo>
                    <a:pt x="365" y="299"/>
                  </a:lnTo>
                  <a:lnTo>
                    <a:pt x="365" y="297"/>
                  </a:lnTo>
                  <a:lnTo>
                    <a:pt x="365" y="299"/>
                  </a:lnTo>
                  <a:lnTo>
                    <a:pt x="363" y="299"/>
                  </a:lnTo>
                  <a:lnTo>
                    <a:pt x="363" y="302"/>
                  </a:lnTo>
                  <a:lnTo>
                    <a:pt x="363" y="299"/>
                  </a:lnTo>
                  <a:lnTo>
                    <a:pt x="360" y="302"/>
                  </a:lnTo>
                  <a:lnTo>
                    <a:pt x="360" y="299"/>
                  </a:lnTo>
                  <a:lnTo>
                    <a:pt x="358" y="299"/>
                  </a:lnTo>
                  <a:lnTo>
                    <a:pt x="360" y="299"/>
                  </a:lnTo>
                  <a:lnTo>
                    <a:pt x="358" y="302"/>
                  </a:lnTo>
                  <a:lnTo>
                    <a:pt x="360" y="302"/>
                  </a:lnTo>
                  <a:lnTo>
                    <a:pt x="358" y="302"/>
                  </a:lnTo>
                  <a:lnTo>
                    <a:pt x="356" y="302"/>
                  </a:lnTo>
                  <a:lnTo>
                    <a:pt x="353" y="302"/>
                  </a:lnTo>
                  <a:lnTo>
                    <a:pt x="351" y="302"/>
                  </a:lnTo>
                  <a:lnTo>
                    <a:pt x="348" y="302"/>
                  </a:lnTo>
                  <a:lnTo>
                    <a:pt x="346" y="302"/>
                  </a:lnTo>
                  <a:lnTo>
                    <a:pt x="344" y="302"/>
                  </a:lnTo>
                  <a:lnTo>
                    <a:pt x="344" y="304"/>
                  </a:lnTo>
                  <a:lnTo>
                    <a:pt x="341" y="304"/>
                  </a:lnTo>
                  <a:lnTo>
                    <a:pt x="341" y="302"/>
                  </a:lnTo>
                  <a:lnTo>
                    <a:pt x="339" y="302"/>
                  </a:lnTo>
                  <a:lnTo>
                    <a:pt x="337" y="302"/>
                  </a:lnTo>
                  <a:lnTo>
                    <a:pt x="334" y="302"/>
                  </a:lnTo>
                  <a:lnTo>
                    <a:pt x="332" y="299"/>
                  </a:lnTo>
                  <a:lnTo>
                    <a:pt x="329" y="299"/>
                  </a:lnTo>
                  <a:lnTo>
                    <a:pt x="327" y="299"/>
                  </a:lnTo>
                  <a:lnTo>
                    <a:pt x="329" y="299"/>
                  </a:lnTo>
                  <a:lnTo>
                    <a:pt x="332" y="299"/>
                  </a:lnTo>
                  <a:lnTo>
                    <a:pt x="334" y="299"/>
                  </a:lnTo>
                  <a:lnTo>
                    <a:pt x="332" y="299"/>
                  </a:lnTo>
                  <a:lnTo>
                    <a:pt x="334" y="299"/>
                  </a:lnTo>
                  <a:lnTo>
                    <a:pt x="334" y="297"/>
                  </a:lnTo>
                  <a:lnTo>
                    <a:pt x="332" y="297"/>
                  </a:lnTo>
                  <a:lnTo>
                    <a:pt x="332" y="299"/>
                  </a:lnTo>
                  <a:lnTo>
                    <a:pt x="332" y="297"/>
                  </a:lnTo>
                  <a:lnTo>
                    <a:pt x="332" y="299"/>
                  </a:lnTo>
                  <a:lnTo>
                    <a:pt x="332" y="297"/>
                  </a:lnTo>
                  <a:lnTo>
                    <a:pt x="329" y="297"/>
                  </a:lnTo>
                  <a:lnTo>
                    <a:pt x="327" y="297"/>
                  </a:lnTo>
                  <a:lnTo>
                    <a:pt x="327" y="295"/>
                  </a:lnTo>
                  <a:lnTo>
                    <a:pt x="325" y="295"/>
                  </a:lnTo>
                  <a:lnTo>
                    <a:pt x="327" y="295"/>
                  </a:lnTo>
                  <a:lnTo>
                    <a:pt x="325" y="295"/>
                  </a:lnTo>
                  <a:lnTo>
                    <a:pt x="327" y="295"/>
                  </a:lnTo>
                  <a:lnTo>
                    <a:pt x="325" y="295"/>
                  </a:lnTo>
                  <a:lnTo>
                    <a:pt x="322" y="292"/>
                  </a:lnTo>
                  <a:lnTo>
                    <a:pt x="322" y="295"/>
                  </a:lnTo>
                  <a:lnTo>
                    <a:pt x="320" y="295"/>
                  </a:lnTo>
                  <a:lnTo>
                    <a:pt x="318" y="295"/>
                  </a:lnTo>
                  <a:lnTo>
                    <a:pt x="318" y="292"/>
                  </a:lnTo>
                  <a:lnTo>
                    <a:pt x="320" y="292"/>
                  </a:lnTo>
                  <a:lnTo>
                    <a:pt x="320" y="290"/>
                  </a:lnTo>
                  <a:lnTo>
                    <a:pt x="320" y="292"/>
                  </a:lnTo>
                  <a:lnTo>
                    <a:pt x="322" y="292"/>
                  </a:lnTo>
                  <a:lnTo>
                    <a:pt x="322" y="290"/>
                  </a:lnTo>
                  <a:lnTo>
                    <a:pt x="322" y="292"/>
                  </a:lnTo>
                  <a:lnTo>
                    <a:pt x="322" y="290"/>
                  </a:lnTo>
                  <a:lnTo>
                    <a:pt x="322" y="292"/>
                  </a:lnTo>
                  <a:lnTo>
                    <a:pt x="322" y="290"/>
                  </a:lnTo>
                  <a:lnTo>
                    <a:pt x="325" y="290"/>
                  </a:lnTo>
                  <a:lnTo>
                    <a:pt x="327" y="290"/>
                  </a:lnTo>
                  <a:lnTo>
                    <a:pt x="327" y="288"/>
                  </a:lnTo>
                  <a:lnTo>
                    <a:pt x="327" y="285"/>
                  </a:lnTo>
                  <a:lnTo>
                    <a:pt x="325" y="285"/>
                  </a:lnTo>
                  <a:lnTo>
                    <a:pt x="322" y="285"/>
                  </a:lnTo>
                  <a:lnTo>
                    <a:pt x="325" y="285"/>
                  </a:lnTo>
                  <a:lnTo>
                    <a:pt x="322" y="285"/>
                  </a:lnTo>
                  <a:lnTo>
                    <a:pt x="325" y="285"/>
                  </a:lnTo>
                  <a:lnTo>
                    <a:pt x="322" y="285"/>
                  </a:lnTo>
                  <a:lnTo>
                    <a:pt x="318" y="285"/>
                  </a:lnTo>
                  <a:lnTo>
                    <a:pt x="318" y="283"/>
                  </a:lnTo>
                  <a:lnTo>
                    <a:pt x="315" y="285"/>
                  </a:lnTo>
                  <a:lnTo>
                    <a:pt x="315" y="288"/>
                  </a:lnTo>
                  <a:lnTo>
                    <a:pt x="315" y="285"/>
                  </a:lnTo>
                  <a:lnTo>
                    <a:pt x="313" y="285"/>
                  </a:lnTo>
                  <a:lnTo>
                    <a:pt x="313" y="283"/>
                  </a:lnTo>
                  <a:lnTo>
                    <a:pt x="310" y="283"/>
                  </a:lnTo>
                  <a:lnTo>
                    <a:pt x="310" y="280"/>
                  </a:lnTo>
                  <a:lnTo>
                    <a:pt x="308" y="280"/>
                  </a:lnTo>
                  <a:lnTo>
                    <a:pt x="310" y="280"/>
                  </a:lnTo>
                  <a:lnTo>
                    <a:pt x="313" y="280"/>
                  </a:lnTo>
                  <a:lnTo>
                    <a:pt x="315" y="280"/>
                  </a:lnTo>
                  <a:lnTo>
                    <a:pt x="318" y="280"/>
                  </a:lnTo>
                  <a:lnTo>
                    <a:pt x="318" y="283"/>
                  </a:lnTo>
                  <a:lnTo>
                    <a:pt x="320" y="283"/>
                  </a:lnTo>
                  <a:lnTo>
                    <a:pt x="322" y="283"/>
                  </a:lnTo>
                  <a:lnTo>
                    <a:pt x="325" y="283"/>
                  </a:lnTo>
                  <a:lnTo>
                    <a:pt x="327" y="283"/>
                  </a:lnTo>
                  <a:lnTo>
                    <a:pt x="329" y="283"/>
                  </a:lnTo>
                  <a:lnTo>
                    <a:pt x="332" y="283"/>
                  </a:lnTo>
                  <a:lnTo>
                    <a:pt x="332" y="285"/>
                  </a:lnTo>
                  <a:lnTo>
                    <a:pt x="334" y="285"/>
                  </a:lnTo>
                  <a:lnTo>
                    <a:pt x="337" y="285"/>
                  </a:lnTo>
                  <a:lnTo>
                    <a:pt x="339" y="285"/>
                  </a:lnTo>
                  <a:lnTo>
                    <a:pt x="339" y="283"/>
                  </a:lnTo>
                  <a:lnTo>
                    <a:pt x="337" y="283"/>
                  </a:lnTo>
                  <a:lnTo>
                    <a:pt x="337" y="285"/>
                  </a:lnTo>
                  <a:lnTo>
                    <a:pt x="334" y="285"/>
                  </a:lnTo>
                  <a:lnTo>
                    <a:pt x="334" y="283"/>
                  </a:lnTo>
                  <a:lnTo>
                    <a:pt x="337" y="283"/>
                  </a:lnTo>
                  <a:lnTo>
                    <a:pt x="339" y="283"/>
                  </a:lnTo>
                  <a:lnTo>
                    <a:pt x="341" y="283"/>
                  </a:lnTo>
                  <a:lnTo>
                    <a:pt x="341" y="280"/>
                  </a:lnTo>
                  <a:lnTo>
                    <a:pt x="344" y="280"/>
                  </a:lnTo>
                  <a:lnTo>
                    <a:pt x="344" y="278"/>
                  </a:lnTo>
                  <a:lnTo>
                    <a:pt x="346" y="278"/>
                  </a:lnTo>
                  <a:lnTo>
                    <a:pt x="346" y="276"/>
                  </a:lnTo>
                  <a:lnTo>
                    <a:pt x="348" y="276"/>
                  </a:lnTo>
                  <a:lnTo>
                    <a:pt x="351" y="276"/>
                  </a:lnTo>
                  <a:lnTo>
                    <a:pt x="353" y="276"/>
                  </a:lnTo>
                  <a:lnTo>
                    <a:pt x="353" y="273"/>
                  </a:lnTo>
                  <a:lnTo>
                    <a:pt x="356" y="273"/>
                  </a:lnTo>
                  <a:lnTo>
                    <a:pt x="358" y="271"/>
                  </a:lnTo>
                  <a:lnTo>
                    <a:pt x="358" y="273"/>
                  </a:lnTo>
                  <a:lnTo>
                    <a:pt x="360" y="271"/>
                  </a:lnTo>
                  <a:lnTo>
                    <a:pt x="363" y="271"/>
                  </a:lnTo>
                  <a:lnTo>
                    <a:pt x="365" y="271"/>
                  </a:lnTo>
                  <a:lnTo>
                    <a:pt x="367" y="271"/>
                  </a:lnTo>
                  <a:lnTo>
                    <a:pt x="370" y="271"/>
                  </a:lnTo>
                  <a:lnTo>
                    <a:pt x="367" y="271"/>
                  </a:lnTo>
                  <a:lnTo>
                    <a:pt x="370" y="271"/>
                  </a:lnTo>
                  <a:lnTo>
                    <a:pt x="367" y="271"/>
                  </a:lnTo>
                  <a:lnTo>
                    <a:pt x="365" y="271"/>
                  </a:lnTo>
                  <a:lnTo>
                    <a:pt x="363" y="271"/>
                  </a:lnTo>
                  <a:lnTo>
                    <a:pt x="363" y="269"/>
                  </a:lnTo>
                  <a:lnTo>
                    <a:pt x="365" y="269"/>
                  </a:lnTo>
                  <a:lnTo>
                    <a:pt x="365" y="271"/>
                  </a:lnTo>
                  <a:lnTo>
                    <a:pt x="365" y="269"/>
                  </a:lnTo>
                  <a:lnTo>
                    <a:pt x="363" y="269"/>
                  </a:lnTo>
                  <a:lnTo>
                    <a:pt x="363" y="271"/>
                  </a:lnTo>
                  <a:lnTo>
                    <a:pt x="360" y="271"/>
                  </a:lnTo>
                  <a:lnTo>
                    <a:pt x="358" y="271"/>
                  </a:lnTo>
                  <a:lnTo>
                    <a:pt x="356" y="271"/>
                  </a:lnTo>
                  <a:lnTo>
                    <a:pt x="356" y="273"/>
                  </a:lnTo>
                  <a:lnTo>
                    <a:pt x="353" y="273"/>
                  </a:lnTo>
                  <a:lnTo>
                    <a:pt x="353" y="276"/>
                  </a:lnTo>
                  <a:lnTo>
                    <a:pt x="351" y="276"/>
                  </a:lnTo>
                  <a:lnTo>
                    <a:pt x="348" y="276"/>
                  </a:lnTo>
                  <a:lnTo>
                    <a:pt x="346" y="276"/>
                  </a:lnTo>
                  <a:lnTo>
                    <a:pt x="346" y="278"/>
                  </a:lnTo>
                  <a:lnTo>
                    <a:pt x="344" y="278"/>
                  </a:lnTo>
                  <a:lnTo>
                    <a:pt x="341" y="278"/>
                  </a:lnTo>
                  <a:lnTo>
                    <a:pt x="344" y="278"/>
                  </a:lnTo>
                  <a:lnTo>
                    <a:pt x="341" y="278"/>
                  </a:lnTo>
                  <a:lnTo>
                    <a:pt x="341" y="280"/>
                  </a:lnTo>
                  <a:lnTo>
                    <a:pt x="341" y="278"/>
                  </a:lnTo>
                  <a:lnTo>
                    <a:pt x="341" y="280"/>
                  </a:lnTo>
                  <a:lnTo>
                    <a:pt x="339" y="280"/>
                  </a:lnTo>
                  <a:lnTo>
                    <a:pt x="337" y="280"/>
                  </a:lnTo>
                  <a:lnTo>
                    <a:pt x="334" y="280"/>
                  </a:lnTo>
                  <a:lnTo>
                    <a:pt x="334" y="278"/>
                  </a:lnTo>
                  <a:lnTo>
                    <a:pt x="332" y="280"/>
                  </a:lnTo>
                  <a:lnTo>
                    <a:pt x="329" y="280"/>
                  </a:lnTo>
                  <a:lnTo>
                    <a:pt x="329" y="278"/>
                  </a:lnTo>
                  <a:lnTo>
                    <a:pt x="327" y="278"/>
                  </a:lnTo>
                  <a:lnTo>
                    <a:pt x="325" y="278"/>
                  </a:lnTo>
                  <a:lnTo>
                    <a:pt x="325" y="276"/>
                  </a:lnTo>
                  <a:lnTo>
                    <a:pt x="325" y="273"/>
                  </a:lnTo>
                  <a:lnTo>
                    <a:pt x="325" y="271"/>
                  </a:lnTo>
                  <a:lnTo>
                    <a:pt x="322" y="271"/>
                  </a:lnTo>
                  <a:lnTo>
                    <a:pt x="322" y="269"/>
                  </a:lnTo>
                  <a:lnTo>
                    <a:pt x="325" y="269"/>
                  </a:lnTo>
                  <a:lnTo>
                    <a:pt x="322" y="269"/>
                  </a:lnTo>
                  <a:lnTo>
                    <a:pt x="325" y="269"/>
                  </a:lnTo>
                  <a:lnTo>
                    <a:pt x="325" y="266"/>
                  </a:lnTo>
                  <a:lnTo>
                    <a:pt x="325" y="264"/>
                  </a:lnTo>
                  <a:lnTo>
                    <a:pt x="327" y="264"/>
                  </a:lnTo>
                  <a:lnTo>
                    <a:pt x="325" y="261"/>
                  </a:lnTo>
                  <a:lnTo>
                    <a:pt x="325" y="264"/>
                  </a:lnTo>
                  <a:lnTo>
                    <a:pt x="325" y="261"/>
                  </a:lnTo>
                  <a:lnTo>
                    <a:pt x="325" y="264"/>
                  </a:lnTo>
                  <a:lnTo>
                    <a:pt x="322" y="264"/>
                  </a:lnTo>
                  <a:lnTo>
                    <a:pt x="322" y="261"/>
                  </a:lnTo>
                  <a:lnTo>
                    <a:pt x="325" y="261"/>
                  </a:lnTo>
                  <a:lnTo>
                    <a:pt x="325" y="259"/>
                  </a:lnTo>
                  <a:lnTo>
                    <a:pt x="322" y="259"/>
                  </a:lnTo>
                  <a:lnTo>
                    <a:pt x="320" y="259"/>
                  </a:lnTo>
                  <a:lnTo>
                    <a:pt x="320" y="257"/>
                  </a:lnTo>
                  <a:lnTo>
                    <a:pt x="320" y="259"/>
                  </a:lnTo>
                  <a:lnTo>
                    <a:pt x="320" y="257"/>
                  </a:lnTo>
                  <a:lnTo>
                    <a:pt x="322" y="257"/>
                  </a:lnTo>
                  <a:lnTo>
                    <a:pt x="322" y="254"/>
                  </a:lnTo>
                  <a:lnTo>
                    <a:pt x="320" y="254"/>
                  </a:lnTo>
                  <a:lnTo>
                    <a:pt x="320" y="252"/>
                  </a:lnTo>
                  <a:lnTo>
                    <a:pt x="320" y="250"/>
                  </a:lnTo>
                  <a:lnTo>
                    <a:pt x="320" y="252"/>
                  </a:lnTo>
                  <a:lnTo>
                    <a:pt x="320" y="250"/>
                  </a:lnTo>
                  <a:lnTo>
                    <a:pt x="318" y="250"/>
                  </a:lnTo>
                  <a:lnTo>
                    <a:pt x="318" y="247"/>
                  </a:lnTo>
                  <a:lnTo>
                    <a:pt x="318" y="245"/>
                  </a:lnTo>
                  <a:lnTo>
                    <a:pt x="315" y="245"/>
                  </a:lnTo>
                  <a:lnTo>
                    <a:pt x="318" y="245"/>
                  </a:lnTo>
                  <a:lnTo>
                    <a:pt x="318" y="247"/>
                  </a:lnTo>
                  <a:lnTo>
                    <a:pt x="318" y="250"/>
                  </a:lnTo>
                  <a:lnTo>
                    <a:pt x="320" y="250"/>
                  </a:lnTo>
                  <a:lnTo>
                    <a:pt x="320" y="252"/>
                  </a:lnTo>
                  <a:lnTo>
                    <a:pt x="320" y="254"/>
                  </a:lnTo>
                  <a:lnTo>
                    <a:pt x="322" y="254"/>
                  </a:lnTo>
                  <a:lnTo>
                    <a:pt x="322" y="257"/>
                  </a:lnTo>
                  <a:lnTo>
                    <a:pt x="320" y="257"/>
                  </a:lnTo>
                  <a:lnTo>
                    <a:pt x="320" y="259"/>
                  </a:lnTo>
                  <a:lnTo>
                    <a:pt x="322" y="259"/>
                  </a:lnTo>
                  <a:lnTo>
                    <a:pt x="325" y="259"/>
                  </a:lnTo>
                  <a:lnTo>
                    <a:pt x="325" y="261"/>
                  </a:lnTo>
                  <a:lnTo>
                    <a:pt x="322" y="261"/>
                  </a:lnTo>
                  <a:lnTo>
                    <a:pt x="322" y="264"/>
                  </a:lnTo>
                  <a:lnTo>
                    <a:pt x="325" y="264"/>
                  </a:lnTo>
                  <a:lnTo>
                    <a:pt x="325" y="266"/>
                  </a:lnTo>
                  <a:lnTo>
                    <a:pt x="322" y="266"/>
                  </a:lnTo>
                  <a:lnTo>
                    <a:pt x="322" y="269"/>
                  </a:lnTo>
                  <a:lnTo>
                    <a:pt x="320" y="269"/>
                  </a:lnTo>
                  <a:lnTo>
                    <a:pt x="320" y="271"/>
                  </a:lnTo>
                  <a:lnTo>
                    <a:pt x="322" y="271"/>
                  </a:lnTo>
                  <a:lnTo>
                    <a:pt x="322" y="273"/>
                  </a:lnTo>
                  <a:lnTo>
                    <a:pt x="322" y="276"/>
                  </a:lnTo>
                  <a:lnTo>
                    <a:pt x="322" y="278"/>
                  </a:lnTo>
                  <a:lnTo>
                    <a:pt x="320" y="278"/>
                  </a:lnTo>
                  <a:lnTo>
                    <a:pt x="318" y="278"/>
                  </a:lnTo>
                  <a:lnTo>
                    <a:pt x="315" y="278"/>
                  </a:lnTo>
                  <a:lnTo>
                    <a:pt x="315" y="276"/>
                  </a:lnTo>
                  <a:lnTo>
                    <a:pt x="313" y="276"/>
                  </a:lnTo>
                  <a:lnTo>
                    <a:pt x="310" y="278"/>
                  </a:lnTo>
                  <a:lnTo>
                    <a:pt x="308" y="278"/>
                  </a:lnTo>
                  <a:lnTo>
                    <a:pt x="306" y="278"/>
                  </a:lnTo>
                  <a:lnTo>
                    <a:pt x="308" y="278"/>
                  </a:lnTo>
                  <a:lnTo>
                    <a:pt x="308" y="276"/>
                  </a:lnTo>
                  <a:lnTo>
                    <a:pt x="308" y="273"/>
                  </a:lnTo>
                  <a:lnTo>
                    <a:pt x="310" y="273"/>
                  </a:lnTo>
                  <a:lnTo>
                    <a:pt x="310" y="271"/>
                  </a:lnTo>
                  <a:lnTo>
                    <a:pt x="310" y="269"/>
                  </a:lnTo>
                  <a:lnTo>
                    <a:pt x="313" y="269"/>
                  </a:lnTo>
                  <a:lnTo>
                    <a:pt x="310" y="269"/>
                  </a:lnTo>
                  <a:lnTo>
                    <a:pt x="313" y="269"/>
                  </a:lnTo>
                  <a:lnTo>
                    <a:pt x="310" y="269"/>
                  </a:lnTo>
                  <a:lnTo>
                    <a:pt x="313" y="269"/>
                  </a:lnTo>
                  <a:lnTo>
                    <a:pt x="310" y="269"/>
                  </a:lnTo>
                  <a:lnTo>
                    <a:pt x="310" y="271"/>
                  </a:lnTo>
                  <a:lnTo>
                    <a:pt x="308" y="271"/>
                  </a:lnTo>
                  <a:lnTo>
                    <a:pt x="310" y="271"/>
                  </a:lnTo>
                  <a:lnTo>
                    <a:pt x="310" y="273"/>
                  </a:lnTo>
                  <a:lnTo>
                    <a:pt x="308" y="273"/>
                  </a:lnTo>
                  <a:lnTo>
                    <a:pt x="308" y="271"/>
                  </a:lnTo>
                  <a:lnTo>
                    <a:pt x="306" y="271"/>
                  </a:lnTo>
                  <a:lnTo>
                    <a:pt x="306" y="269"/>
                  </a:lnTo>
                  <a:lnTo>
                    <a:pt x="306" y="271"/>
                  </a:lnTo>
                  <a:lnTo>
                    <a:pt x="308" y="271"/>
                  </a:lnTo>
                  <a:lnTo>
                    <a:pt x="308" y="273"/>
                  </a:lnTo>
                  <a:lnTo>
                    <a:pt x="308" y="276"/>
                  </a:lnTo>
                  <a:lnTo>
                    <a:pt x="306" y="276"/>
                  </a:lnTo>
                  <a:lnTo>
                    <a:pt x="306" y="278"/>
                  </a:lnTo>
                  <a:lnTo>
                    <a:pt x="303" y="278"/>
                  </a:lnTo>
                  <a:lnTo>
                    <a:pt x="301" y="278"/>
                  </a:lnTo>
                  <a:lnTo>
                    <a:pt x="299" y="278"/>
                  </a:lnTo>
                  <a:lnTo>
                    <a:pt x="296" y="278"/>
                  </a:lnTo>
                  <a:lnTo>
                    <a:pt x="294" y="278"/>
                  </a:lnTo>
                  <a:lnTo>
                    <a:pt x="294" y="276"/>
                  </a:lnTo>
                  <a:lnTo>
                    <a:pt x="291" y="276"/>
                  </a:lnTo>
                  <a:lnTo>
                    <a:pt x="291" y="278"/>
                  </a:lnTo>
                  <a:lnTo>
                    <a:pt x="294" y="278"/>
                  </a:lnTo>
                  <a:lnTo>
                    <a:pt x="291" y="278"/>
                  </a:lnTo>
                  <a:lnTo>
                    <a:pt x="294" y="278"/>
                  </a:lnTo>
                  <a:lnTo>
                    <a:pt x="291" y="278"/>
                  </a:lnTo>
                  <a:lnTo>
                    <a:pt x="291" y="280"/>
                  </a:lnTo>
                  <a:lnTo>
                    <a:pt x="289" y="280"/>
                  </a:lnTo>
                  <a:lnTo>
                    <a:pt x="287" y="280"/>
                  </a:lnTo>
                  <a:lnTo>
                    <a:pt x="284" y="280"/>
                  </a:lnTo>
                  <a:lnTo>
                    <a:pt x="284" y="283"/>
                  </a:lnTo>
                  <a:lnTo>
                    <a:pt x="284" y="285"/>
                  </a:lnTo>
                  <a:lnTo>
                    <a:pt x="284" y="283"/>
                  </a:lnTo>
                  <a:lnTo>
                    <a:pt x="284" y="285"/>
                  </a:lnTo>
                  <a:lnTo>
                    <a:pt x="284" y="288"/>
                  </a:lnTo>
                  <a:lnTo>
                    <a:pt x="284" y="290"/>
                  </a:lnTo>
                  <a:lnTo>
                    <a:pt x="282" y="290"/>
                  </a:lnTo>
                  <a:lnTo>
                    <a:pt x="282" y="292"/>
                  </a:lnTo>
                  <a:lnTo>
                    <a:pt x="282" y="290"/>
                  </a:lnTo>
                  <a:lnTo>
                    <a:pt x="280" y="290"/>
                  </a:lnTo>
                  <a:lnTo>
                    <a:pt x="280" y="288"/>
                  </a:lnTo>
                  <a:lnTo>
                    <a:pt x="280" y="290"/>
                  </a:lnTo>
                  <a:lnTo>
                    <a:pt x="282" y="292"/>
                  </a:lnTo>
                  <a:lnTo>
                    <a:pt x="280" y="295"/>
                  </a:lnTo>
                  <a:lnTo>
                    <a:pt x="280" y="297"/>
                  </a:lnTo>
                  <a:lnTo>
                    <a:pt x="277" y="297"/>
                  </a:lnTo>
                  <a:lnTo>
                    <a:pt x="277" y="299"/>
                  </a:lnTo>
                  <a:lnTo>
                    <a:pt x="277" y="302"/>
                  </a:lnTo>
                  <a:lnTo>
                    <a:pt x="275" y="302"/>
                  </a:lnTo>
                  <a:lnTo>
                    <a:pt x="275" y="304"/>
                  </a:lnTo>
                  <a:lnTo>
                    <a:pt x="275" y="302"/>
                  </a:lnTo>
                  <a:lnTo>
                    <a:pt x="277" y="299"/>
                  </a:lnTo>
                  <a:lnTo>
                    <a:pt x="275" y="299"/>
                  </a:lnTo>
                  <a:lnTo>
                    <a:pt x="272" y="299"/>
                  </a:lnTo>
                  <a:lnTo>
                    <a:pt x="272" y="297"/>
                  </a:lnTo>
                  <a:lnTo>
                    <a:pt x="275" y="295"/>
                  </a:lnTo>
                  <a:lnTo>
                    <a:pt x="272" y="295"/>
                  </a:lnTo>
                  <a:lnTo>
                    <a:pt x="270" y="295"/>
                  </a:lnTo>
                  <a:lnTo>
                    <a:pt x="270" y="292"/>
                  </a:lnTo>
                  <a:lnTo>
                    <a:pt x="270" y="290"/>
                  </a:lnTo>
                  <a:lnTo>
                    <a:pt x="270" y="292"/>
                  </a:lnTo>
                  <a:lnTo>
                    <a:pt x="268" y="292"/>
                  </a:lnTo>
                  <a:lnTo>
                    <a:pt x="268" y="290"/>
                  </a:lnTo>
                  <a:lnTo>
                    <a:pt x="268" y="288"/>
                  </a:lnTo>
                  <a:lnTo>
                    <a:pt x="265" y="288"/>
                  </a:lnTo>
                  <a:lnTo>
                    <a:pt x="263" y="290"/>
                  </a:lnTo>
                  <a:lnTo>
                    <a:pt x="263" y="292"/>
                  </a:lnTo>
                  <a:lnTo>
                    <a:pt x="263" y="295"/>
                  </a:lnTo>
                  <a:lnTo>
                    <a:pt x="265" y="295"/>
                  </a:lnTo>
                  <a:lnTo>
                    <a:pt x="268" y="295"/>
                  </a:lnTo>
                  <a:lnTo>
                    <a:pt x="268" y="297"/>
                  </a:lnTo>
                  <a:lnTo>
                    <a:pt x="268" y="295"/>
                  </a:lnTo>
                  <a:lnTo>
                    <a:pt x="268" y="297"/>
                  </a:lnTo>
                  <a:lnTo>
                    <a:pt x="270" y="297"/>
                  </a:lnTo>
                  <a:lnTo>
                    <a:pt x="272" y="297"/>
                  </a:lnTo>
                  <a:lnTo>
                    <a:pt x="272" y="299"/>
                  </a:lnTo>
                  <a:lnTo>
                    <a:pt x="272" y="297"/>
                  </a:lnTo>
                  <a:lnTo>
                    <a:pt x="272" y="299"/>
                  </a:lnTo>
                  <a:lnTo>
                    <a:pt x="272" y="302"/>
                  </a:lnTo>
                  <a:lnTo>
                    <a:pt x="272" y="304"/>
                  </a:lnTo>
                  <a:lnTo>
                    <a:pt x="275" y="304"/>
                  </a:lnTo>
                  <a:lnTo>
                    <a:pt x="272" y="304"/>
                  </a:lnTo>
                  <a:lnTo>
                    <a:pt x="272" y="307"/>
                  </a:lnTo>
                  <a:lnTo>
                    <a:pt x="270" y="307"/>
                  </a:lnTo>
                  <a:lnTo>
                    <a:pt x="270" y="309"/>
                  </a:lnTo>
                  <a:lnTo>
                    <a:pt x="270" y="307"/>
                  </a:lnTo>
                  <a:lnTo>
                    <a:pt x="272" y="307"/>
                  </a:lnTo>
                  <a:lnTo>
                    <a:pt x="272" y="304"/>
                  </a:lnTo>
                  <a:lnTo>
                    <a:pt x="272" y="307"/>
                  </a:lnTo>
                  <a:lnTo>
                    <a:pt x="270" y="307"/>
                  </a:lnTo>
                  <a:lnTo>
                    <a:pt x="270" y="309"/>
                  </a:lnTo>
                  <a:lnTo>
                    <a:pt x="268" y="309"/>
                  </a:lnTo>
                  <a:lnTo>
                    <a:pt x="270" y="309"/>
                  </a:lnTo>
                  <a:lnTo>
                    <a:pt x="268" y="311"/>
                  </a:lnTo>
                  <a:lnTo>
                    <a:pt x="268" y="314"/>
                  </a:lnTo>
                  <a:lnTo>
                    <a:pt x="265" y="314"/>
                  </a:lnTo>
                  <a:lnTo>
                    <a:pt x="263" y="316"/>
                  </a:lnTo>
                  <a:lnTo>
                    <a:pt x="263" y="314"/>
                  </a:lnTo>
                  <a:lnTo>
                    <a:pt x="263" y="311"/>
                  </a:lnTo>
                  <a:lnTo>
                    <a:pt x="263" y="314"/>
                  </a:lnTo>
                  <a:lnTo>
                    <a:pt x="263" y="316"/>
                  </a:lnTo>
                  <a:lnTo>
                    <a:pt x="261" y="316"/>
                  </a:lnTo>
                  <a:lnTo>
                    <a:pt x="261" y="314"/>
                  </a:lnTo>
                  <a:lnTo>
                    <a:pt x="258" y="314"/>
                  </a:lnTo>
                  <a:lnTo>
                    <a:pt x="258" y="311"/>
                  </a:lnTo>
                  <a:lnTo>
                    <a:pt x="258" y="314"/>
                  </a:lnTo>
                  <a:lnTo>
                    <a:pt x="258" y="316"/>
                  </a:lnTo>
                  <a:lnTo>
                    <a:pt x="258" y="318"/>
                  </a:lnTo>
                  <a:lnTo>
                    <a:pt x="258" y="316"/>
                  </a:lnTo>
                  <a:lnTo>
                    <a:pt x="256" y="316"/>
                  </a:lnTo>
                  <a:lnTo>
                    <a:pt x="258" y="316"/>
                  </a:lnTo>
                  <a:lnTo>
                    <a:pt x="256" y="314"/>
                  </a:lnTo>
                  <a:lnTo>
                    <a:pt x="256" y="316"/>
                  </a:lnTo>
                  <a:lnTo>
                    <a:pt x="256" y="318"/>
                  </a:lnTo>
                  <a:lnTo>
                    <a:pt x="258" y="318"/>
                  </a:lnTo>
                  <a:lnTo>
                    <a:pt x="256" y="318"/>
                  </a:lnTo>
                  <a:lnTo>
                    <a:pt x="256" y="316"/>
                  </a:lnTo>
                  <a:lnTo>
                    <a:pt x="256" y="318"/>
                  </a:lnTo>
                  <a:lnTo>
                    <a:pt x="253" y="318"/>
                  </a:lnTo>
                  <a:lnTo>
                    <a:pt x="251" y="318"/>
                  </a:lnTo>
                  <a:lnTo>
                    <a:pt x="253" y="321"/>
                  </a:lnTo>
                  <a:lnTo>
                    <a:pt x="256" y="323"/>
                  </a:lnTo>
                  <a:lnTo>
                    <a:pt x="256" y="321"/>
                  </a:lnTo>
                  <a:lnTo>
                    <a:pt x="258" y="321"/>
                  </a:lnTo>
                  <a:lnTo>
                    <a:pt x="258" y="318"/>
                  </a:lnTo>
                  <a:lnTo>
                    <a:pt x="261" y="318"/>
                  </a:lnTo>
                  <a:lnTo>
                    <a:pt x="261" y="316"/>
                  </a:lnTo>
                  <a:lnTo>
                    <a:pt x="263" y="316"/>
                  </a:lnTo>
                  <a:lnTo>
                    <a:pt x="261" y="316"/>
                  </a:lnTo>
                  <a:lnTo>
                    <a:pt x="261" y="318"/>
                  </a:lnTo>
                  <a:lnTo>
                    <a:pt x="258" y="318"/>
                  </a:lnTo>
                  <a:lnTo>
                    <a:pt x="258" y="321"/>
                  </a:lnTo>
                  <a:lnTo>
                    <a:pt x="256" y="321"/>
                  </a:lnTo>
                  <a:lnTo>
                    <a:pt x="256" y="323"/>
                  </a:lnTo>
                  <a:lnTo>
                    <a:pt x="253" y="323"/>
                  </a:lnTo>
                  <a:lnTo>
                    <a:pt x="251" y="326"/>
                  </a:lnTo>
                  <a:lnTo>
                    <a:pt x="253" y="323"/>
                  </a:lnTo>
                  <a:lnTo>
                    <a:pt x="251" y="323"/>
                  </a:lnTo>
                  <a:lnTo>
                    <a:pt x="253" y="323"/>
                  </a:lnTo>
                  <a:lnTo>
                    <a:pt x="251" y="323"/>
                  </a:lnTo>
                  <a:lnTo>
                    <a:pt x="251" y="326"/>
                  </a:lnTo>
                  <a:lnTo>
                    <a:pt x="249" y="326"/>
                  </a:lnTo>
                  <a:lnTo>
                    <a:pt x="249" y="328"/>
                  </a:lnTo>
                  <a:lnTo>
                    <a:pt x="249" y="330"/>
                  </a:lnTo>
                  <a:lnTo>
                    <a:pt x="246" y="330"/>
                  </a:lnTo>
                  <a:lnTo>
                    <a:pt x="246" y="333"/>
                  </a:lnTo>
                  <a:lnTo>
                    <a:pt x="246" y="330"/>
                  </a:lnTo>
                  <a:lnTo>
                    <a:pt x="246" y="333"/>
                  </a:lnTo>
                  <a:lnTo>
                    <a:pt x="246" y="330"/>
                  </a:lnTo>
                  <a:lnTo>
                    <a:pt x="246" y="333"/>
                  </a:lnTo>
                  <a:lnTo>
                    <a:pt x="249" y="333"/>
                  </a:lnTo>
                  <a:lnTo>
                    <a:pt x="249" y="330"/>
                  </a:lnTo>
                  <a:lnTo>
                    <a:pt x="249" y="333"/>
                  </a:lnTo>
                  <a:lnTo>
                    <a:pt x="251" y="333"/>
                  </a:lnTo>
                  <a:lnTo>
                    <a:pt x="249" y="333"/>
                  </a:lnTo>
                  <a:lnTo>
                    <a:pt x="251" y="333"/>
                  </a:lnTo>
                  <a:lnTo>
                    <a:pt x="249" y="333"/>
                  </a:lnTo>
                  <a:lnTo>
                    <a:pt x="246" y="335"/>
                  </a:lnTo>
                  <a:lnTo>
                    <a:pt x="244" y="335"/>
                  </a:lnTo>
                  <a:lnTo>
                    <a:pt x="244" y="333"/>
                  </a:lnTo>
                  <a:lnTo>
                    <a:pt x="242" y="333"/>
                  </a:lnTo>
                  <a:lnTo>
                    <a:pt x="239" y="333"/>
                  </a:lnTo>
                  <a:lnTo>
                    <a:pt x="237" y="333"/>
                  </a:lnTo>
                  <a:lnTo>
                    <a:pt x="235" y="333"/>
                  </a:lnTo>
                  <a:lnTo>
                    <a:pt x="232" y="333"/>
                  </a:lnTo>
                  <a:lnTo>
                    <a:pt x="232" y="335"/>
                  </a:lnTo>
                  <a:lnTo>
                    <a:pt x="230" y="335"/>
                  </a:lnTo>
                  <a:lnTo>
                    <a:pt x="227" y="337"/>
                  </a:lnTo>
                  <a:lnTo>
                    <a:pt x="225" y="337"/>
                  </a:lnTo>
                  <a:lnTo>
                    <a:pt x="225" y="340"/>
                  </a:lnTo>
                  <a:lnTo>
                    <a:pt x="223" y="340"/>
                  </a:lnTo>
                  <a:lnTo>
                    <a:pt x="220" y="340"/>
                  </a:lnTo>
                  <a:lnTo>
                    <a:pt x="220" y="337"/>
                  </a:lnTo>
                  <a:lnTo>
                    <a:pt x="218" y="337"/>
                  </a:lnTo>
                  <a:lnTo>
                    <a:pt x="218" y="340"/>
                  </a:lnTo>
                  <a:lnTo>
                    <a:pt x="220" y="340"/>
                  </a:lnTo>
                  <a:lnTo>
                    <a:pt x="218" y="340"/>
                  </a:lnTo>
                  <a:lnTo>
                    <a:pt x="218" y="342"/>
                  </a:lnTo>
                  <a:lnTo>
                    <a:pt x="220" y="342"/>
                  </a:lnTo>
                  <a:lnTo>
                    <a:pt x="218" y="342"/>
                  </a:lnTo>
                  <a:lnTo>
                    <a:pt x="216" y="342"/>
                  </a:lnTo>
                  <a:lnTo>
                    <a:pt x="213" y="342"/>
                  </a:lnTo>
                  <a:lnTo>
                    <a:pt x="211" y="342"/>
                  </a:lnTo>
                  <a:lnTo>
                    <a:pt x="211" y="340"/>
                  </a:lnTo>
                  <a:lnTo>
                    <a:pt x="208" y="340"/>
                  </a:lnTo>
                  <a:lnTo>
                    <a:pt x="206" y="340"/>
                  </a:lnTo>
                  <a:lnTo>
                    <a:pt x="204" y="337"/>
                  </a:lnTo>
                  <a:lnTo>
                    <a:pt x="204" y="335"/>
                  </a:lnTo>
                  <a:lnTo>
                    <a:pt x="204" y="333"/>
                  </a:lnTo>
                  <a:lnTo>
                    <a:pt x="201" y="333"/>
                  </a:lnTo>
                  <a:lnTo>
                    <a:pt x="201" y="330"/>
                  </a:lnTo>
                  <a:lnTo>
                    <a:pt x="204" y="328"/>
                  </a:lnTo>
                  <a:lnTo>
                    <a:pt x="206" y="330"/>
                  </a:lnTo>
                  <a:lnTo>
                    <a:pt x="208" y="330"/>
                  </a:lnTo>
                  <a:lnTo>
                    <a:pt x="211" y="330"/>
                  </a:lnTo>
                  <a:lnTo>
                    <a:pt x="208" y="328"/>
                  </a:lnTo>
                  <a:lnTo>
                    <a:pt x="211" y="326"/>
                  </a:lnTo>
                  <a:lnTo>
                    <a:pt x="211" y="323"/>
                  </a:lnTo>
                  <a:lnTo>
                    <a:pt x="208" y="323"/>
                  </a:lnTo>
                  <a:lnTo>
                    <a:pt x="208" y="321"/>
                  </a:lnTo>
                  <a:lnTo>
                    <a:pt x="211" y="321"/>
                  </a:lnTo>
                  <a:lnTo>
                    <a:pt x="211" y="318"/>
                  </a:lnTo>
                  <a:lnTo>
                    <a:pt x="211" y="321"/>
                  </a:lnTo>
                  <a:lnTo>
                    <a:pt x="213" y="318"/>
                  </a:lnTo>
                  <a:lnTo>
                    <a:pt x="216" y="316"/>
                  </a:lnTo>
                  <a:lnTo>
                    <a:pt x="220" y="314"/>
                  </a:lnTo>
                  <a:lnTo>
                    <a:pt x="218" y="311"/>
                  </a:lnTo>
                  <a:lnTo>
                    <a:pt x="218" y="309"/>
                  </a:lnTo>
                  <a:lnTo>
                    <a:pt x="220" y="307"/>
                  </a:lnTo>
                  <a:lnTo>
                    <a:pt x="225" y="307"/>
                  </a:lnTo>
                  <a:lnTo>
                    <a:pt x="227" y="304"/>
                  </a:lnTo>
                  <a:lnTo>
                    <a:pt x="225" y="302"/>
                  </a:lnTo>
                  <a:lnTo>
                    <a:pt x="227" y="297"/>
                  </a:lnTo>
                  <a:lnTo>
                    <a:pt x="225" y="295"/>
                  </a:lnTo>
                  <a:lnTo>
                    <a:pt x="225" y="292"/>
                  </a:lnTo>
                  <a:lnTo>
                    <a:pt x="225" y="290"/>
                  </a:lnTo>
                  <a:lnTo>
                    <a:pt x="225" y="288"/>
                  </a:lnTo>
                  <a:lnTo>
                    <a:pt x="225" y="285"/>
                  </a:lnTo>
                  <a:lnTo>
                    <a:pt x="227" y="285"/>
                  </a:lnTo>
                  <a:lnTo>
                    <a:pt x="225" y="285"/>
                  </a:lnTo>
                  <a:lnTo>
                    <a:pt x="225" y="283"/>
                  </a:lnTo>
                  <a:lnTo>
                    <a:pt x="227" y="283"/>
                  </a:lnTo>
                  <a:lnTo>
                    <a:pt x="230" y="283"/>
                  </a:lnTo>
                  <a:lnTo>
                    <a:pt x="232" y="283"/>
                  </a:lnTo>
                  <a:lnTo>
                    <a:pt x="232" y="280"/>
                  </a:lnTo>
                  <a:lnTo>
                    <a:pt x="235" y="280"/>
                  </a:lnTo>
                  <a:lnTo>
                    <a:pt x="235" y="283"/>
                  </a:lnTo>
                  <a:lnTo>
                    <a:pt x="235" y="285"/>
                  </a:lnTo>
                  <a:lnTo>
                    <a:pt x="235" y="288"/>
                  </a:lnTo>
                  <a:lnTo>
                    <a:pt x="232" y="288"/>
                  </a:lnTo>
                  <a:lnTo>
                    <a:pt x="235" y="290"/>
                  </a:lnTo>
                  <a:lnTo>
                    <a:pt x="235" y="288"/>
                  </a:lnTo>
                  <a:lnTo>
                    <a:pt x="237" y="288"/>
                  </a:lnTo>
                  <a:lnTo>
                    <a:pt x="237" y="285"/>
                  </a:lnTo>
                  <a:lnTo>
                    <a:pt x="237" y="283"/>
                  </a:lnTo>
                  <a:lnTo>
                    <a:pt x="239" y="285"/>
                  </a:lnTo>
                  <a:lnTo>
                    <a:pt x="239" y="288"/>
                  </a:lnTo>
                  <a:lnTo>
                    <a:pt x="239" y="285"/>
                  </a:lnTo>
                  <a:lnTo>
                    <a:pt x="242" y="283"/>
                  </a:lnTo>
                  <a:lnTo>
                    <a:pt x="244" y="285"/>
                  </a:lnTo>
                  <a:lnTo>
                    <a:pt x="242" y="285"/>
                  </a:lnTo>
                  <a:lnTo>
                    <a:pt x="244" y="288"/>
                  </a:lnTo>
                  <a:lnTo>
                    <a:pt x="246" y="290"/>
                  </a:lnTo>
                  <a:lnTo>
                    <a:pt x="249" y="290"/>
                  </a:lnTo>
                  <a:lnTo>
                    <a:pt x="249" y="285"/>
                  </a:lnTo>
                  <a:lnTo>
                    <a:pt x="249" y="288"/>
                  </a:lnTo>
                  <a:lnTo>
                    <a:pt x="251" y="285"/>
                  </a:lnTo>
                  <a:lnTo>
                    <a:pt x="253" y="288"/>
                  </a:lnTo>
                  <a:lnTo>
                    <a:pt x="251" y="288"/>
                  </a:lnTo>
                  <a:lnTo>
                    <a:pt x="253" y="288"/>
                  </a:lnTo>
                  <a:lnTo>
                    <a:pt x="256" y="290"/>
                  </a:lnTo>
                  <a:lnTo>
                    <a:pt x="258" y="288"/>
                  </a:lnTo>
                  <a:lnTo>
                    <a:pt x="258" y="290"/>
                  </a:lnTo>
                  <a:lnTo>
                    <a:pt x="258" y="288"/>
                  </a:lnTo>
                  <a:lnTo>
                    <a:pt x="261" y="290"/>
                  </a:lnTo>
                  <a:lnTo>
                    <a:pt x="261" y="288"/>
                  </a:lnTo>
                  <a:lnTo>
                    <a:pt x="263" y="288"/>
                  </a:lnTo>
                  <a:lnTo>
                    <a:pt x="263" y="290"/>
                  </a:lnTo>
                  <a:lnTo>
                    <a:pt x="265" y="288"/>
                  </a:lnTo>
                  <a:lnTo>
                    <a:pt x="263" y="288"/>
                  </a:lnTo>
                  <a:lnTo>
                    <a:pt x="263" y="285"/>
                  </a:lnTo>
                  <a:lnTo>
                    <a:pt x="263" y="288"/>
                  </a:lnTo>
                  <a:lnTo>
                    <a:pt x="263" y="285"/>
                  </a:lnTo>
                  <a:lnTo>
                    <a:pt x="263" y="288"/>
                  </a:lnTo>
                  <a:lnTo>
                    <a:pt x="261" y="288"/>
                  </a:lnTo>
                  <a:lnTo>
                    <a:pt x="261" y="285"/>
                  </a:lnTo>
                  <a:lnTo>
                    <a:pt x="258" y="285"/>
                  </a:lnTo>
                  <a:lnTo>
                    <a:pt x="261" y="285"/>
                  </a:lnTo>
                  <a:lnTo>
                    <a:pt x="258" y="285"/>
                  </a:lnTo>
                  <a:lnTo>
                    <a:pt x="258" y="283"/>
                  </a:lnTo>
                  <a:lnTo>
                    <a:pt x="256" y="283"/>
                  </a:lnTo>
                  <a:lnTo>
                    <a:pt x="256" y="280"/>
                  </a:lnTo>
                  <a:lnTo>
                    <a:pt x="258" y="280"/>
                  </a:lnTo>
                  <a:lnTo>
                    <a:pt x="258" y="278"/>
                  </a:lnTo>
                  <a:lnTo>
                    <a:pt x="258" y="276"/>
                  </a:lnTo>
                  <a:lnTo>
                    <a:pt x="258" y="273"/>
                  </a:lnTo>
                  <a:lnTo>
                    <a:pt x="258" y="271"/>
                  </a:lnTo>
                  <a:lnTo>
                    <a:pt x="258" y="269"/>
                  </a:lnTo>
                  <a:lnTo>
                    <a:pt x="258" y="266"/>
                  </a:lnTo>
                  <a:lnTo>
                    <a:pt x="256" y="269"/>
                  </a:lnTo>
                  <a:lnTo>
                    <a:pt x="256" y="266"/>
                  </a:lnTo>
                  <a:lnTo>
                    <a:pt x="253" y="266"/>
                  </a:lnTo>
                  <a:lnTo>
                    <a:pt x="251" y="266"/>
                  </a:lnTo>
                  <a:lnTo>
                    <a:pt x="251" y="264"/>
                  </a:lnTo>
                  <a:lnTo>
                    <a:pt x="249" y="264"/>
                  </a:lnTo>
                  <a:lnTo>
                    <a:pt x="246" y="261"/>
                  </a:lnTo>
                  <a:lnTo>
                    <a:pt x="244" y="261"/>
                  </a:lnTo>
                  <a:lnTo>
                    <a:pt x="246" y="261"/>
                  </a:lnTo>
                  <a:lnTo>
                    <a:pt x="246" y="259"/>
                  </a:lnTo>
                  <a:lnTo>
                    <a:pt x="246" y="257"/>
                  </a:lnTo>
                  <a:lnTo>
                    <a:pt x="246" y="254"/>
                  </a:lnTo>
                  <a:lnTo>
                    <a:pt x="244" y="254"/>
                  </a:lnTo>
                  <a:lnTo>
                    <a:pt x="244" y="257"/>
                  </a:lnTo>
                  <a:lnTo>
                    <a:pt x="244" y="254"/>
                  </a:lnTo>
                  <a:lnTo>
                    <a:pt x="242" y="254"/>
                  </a:lnTo>
                  <a:lnTo>
                    <a:pt x="244" y="254"/>
                  </a:lnTo>
                  <a:lnTo>
                    <a:pt x="246" y="254"/>
                  </a:lnTo>
                  <a:lnTo>
                    <a:pt x="244" y="247"/>
                  </a:lnTo>
                  <a:lnTo>
                    <a:pt x="246" y="247"/>
                  </a:lnTo>
                  <a:lnTo>
                    <a:pt x="246" y="242"/>
                  </a:lnTo>
                  <a:lnTo>
                    <a:pt x="244" y="242"/>
                  </a:lnTo>
                  <a:lnTo>
                    <a:pt x="242" y="242"/>
                  </a:lnTo>
                  <a:lnTo>
                    <a:pt x="242" y="245"/>
                  </a:lnTo>
                  <a:lnTo>
                    <a:pt x="239" y="245"/>
                  </a:lnTo>
                  <a:lnTo>
                    <a:pt x="239" y="242"/>
                  </a:lnTo>
                  <a:lnTo>
                    <a:pt x="237" y="242"/>
                  </a:lnTo>
                  <a:lnTo>
                    <a:pt x="237" y="238"/>
                  </a:lnTo>
                  <a:lnTo>
                    <a:pt x="237" y="240"/>
                  </a:lnTo>
                  <a:lnTo>
                    <a:pt x="235" y="240"/>
                  </a:lnTo>
                  <a:lnTo>
                    <a:pt x="235" y="238"/>
                  </a:lnTo>
                  <a:lnTo>
                    <a:pt x="232" y="240"/>
                  </a:lnTo>
                  <a:lnTo>
                    <a:pt x="232" y="238"/>
                  </a:lnTo>
                  <a:lnTo>
                    <a:pt x="232" y="235"/>
                  </a:lnTo>
                  <a:lnTo>
                    <a:pt x="230" y="233"/>
                  </a:lnTo>
                  <a:lnTo>
                    <a:pt x="232" y="233"/>
                  </a:lnTo>
                  <a:lnTo>
                    <a:pt x="232" y="231"/>
                  </a:lnTo>
                  <a:lnTo>
                    <a:pt x="235" y="231"/>
                  </a:lnTo>
                  <a:lnTo>
                    <a:pt x="232" y="231"/>
                  </a:lnTo>
                  <a:lnTo>
                    <a:pt x="235" y="231"/>
                  </a:lnTo>
                  <a:lnTo>
                    <a:pt x="235" y="228"/>
                  </a:lnTo>
                  <a:lnTo>
                    <a:pt x="232" y="228"/>
                  </a:lnTo>
                  <a:lnTo>
                    <a:pt x="235" y="228"/>
                  </a:lnTo>
                  <a:lnTo>
                    <a:pt x="235" y="226"/>
                  </a:lnTo>
                  <a:lnTo>
                    <a:pt x="232" y="226"/>
                  </a:lnTo>
                  <a:lnTo>
                    <a:pt x="235" y="226"/>
                  </a:lnTo>
                  <a:lnTo>
                    <a:pt x="235" y="223"/>
                  </a:lnTo>
                  <a:lnTo>
                    <a:pt x="235" y="221"/>
                  </a:lnTo>
                  <a:lnTo>
                    <a:pt x="232" y="221"/>
                  </a:lnTo>
                  <a:lnTo>
                    <a:pt x="232" y="219"/>
                  </a:lnTo>
                  <a:lnTo>
                    <a:pt x="235" y="219"/>
                  </a:lnTo>
                  <a:lnTo>
                    <a:pt x="235" y="216"/>
                  </a:lnTo>
                  <a:lnTo>
                    <a:pt x="232" y="219"/>
                  </a:lnTo>
                  <a:lnTo>
                    <a:pt x="232" y="214"/>
                  </a:lnTo>
                  <a:lnTo>
                    <a:pt x="232" y="212"/>
                  </a:lnTo>
                  <a:lnTo>
                    <a:pt x="230" y="212"/>
                  </a:lnTo>
                  <a:lnTo>
                    <a:pt x="230" y="214"/>
                  </a:lnTo>
                  <a:lnTo>
                    <a:pt x="227" y="214"/>
                  </a:lnTo>
                  <a:lnTo>
                    <a:pt x="225" y="214"/>
                  </a:lnTo>
                  <a:lnTo>
                    <a:pt x="223" y="212"/>
                  </a:lnTo>
                  <a:lnTo>
                    <a:pt x="220" y="212"/>
                  </a:lnTo>
                  <a:lnTo>
                    <a:pt x="220" y="209"/>
                  </a:lnTo>
                  <a:lnTo>
                    <a:pt x="223" y="207"/>
                  </a:lnTo>
                  <a:lnTo>
                    <a:pt x="220" y="207"/>
                  </a:lnTo>
                  <a:lnTo>
                    <a:pt x="218" y="207"/>
                  </a:lnTo>
                  <a:lnTo>
                    <a:pt x="218" y="204"/>
                  </a:lnTo>
                  <a:lnTo>
                    <a:pt x="218" y="207"/>
                  </a:lnTo>
                  <a:lnTo>
                    <a:pt x="216" y="207"/>
                  </a:lnTo>
                  <a:lnTo>
                    <a:pt x="216" y="204"/>
                  </a:lnTo>
                  <a:lnTo>
                    <a:pt x="213" y="204"/>
                  </a:lnTo>
                  <a:lnTo>
                    <a:pt x="211" y="204"/>
                  </a:lnTo>
                  <a:lnTo>
                    <a:pt x="211" y="207"/>
                  </a:lnTo>
                  <a:lnTo>
                    <a:pt x="208" y="207"/>
                  </a:lnTo>
                  <a:lnTo>
                    <a:pt x="211" y="207"/>
                  </a:lnTo>
                  <a:lnTo>
                    <a:pt x="208" y="209"/>
                  </a:lnTo>
                  <a:lnTo>
                    <a:pt x="211" y="209"/>
                  </a:lnTo>
                  <a:lnTo>
                    <a:pt x="208" y="209"/>
                  </a:lnTo>
                  <a:lnTo>
                    <a:pt x="208" y="207"/>
                  </a:lnTo>
                  <a:lnTo>
                    <a:pt x="206" y="207"/>
                  </a:lnTo>
                  <a:lnTo>
                    <a:pt x="208" y="207"/>
                  </a:lnTo>
                  <a:lnTo>
                    <a:pt x="208" y="204"/>
                  </a:lnTo>
                  <a:lnTo>
                    <a:pt x="206" y="204"/>
                  </a:lnTo>
                  <a:lnTo>
                    <a:pt x="204" y="204"/>
                  </a:lnTo>
                  <a:lnTo>
                    <a:pt x="204" y="207"/>
                  </a:lnTo>
                  <a:lnTo>
                    <a:pt x="204" y="204"/>
                  </a:lnTo>
                  <a:lnTo>
                    <a:pt x="206" y="202"/>
                  </a:lnTo>
                  <a:lnTo>
                    <a:pt x="206" y="200"/>
                  </a:lnTo>
                  <a:lnTo>
                    <a:pt x="204" y="200"/>
                  </a:lnTo>
                  <a:lnTo>
                    <a:pt x="204" y="202"/>
                  </a:lnTo>
                  <a:lnTo>
                    <a:pt x="204" y="200"/>
                  </a:lnTo>
                  <a:lnTo>
                    <a:pt x="204" y="202"/>
                  </a:lnTo>
                  <a:lnTo>
                    <a:pt x="201" y="202"/>
                  </a:lnTo>
                  <a:lnTo>
                    <a:pt x="199" y="202"/>
                  </a:lnTo>
                  <a:lnTo>
                    <a:pt x="199" y="200"/>
                  </a:lnTo>
                  <a:lnTo>
                    <a:pt x="197" y="200"/>
                  </a:lnTo>
                  <a:lnTo>
                    <a:pt x="197" y="202"/>
                  </a:lnTo>
                  <a:lnTo>
                    <a:pt x="197" y="200"/>
                  </a:lnTo>
                  <a:lnTo>
                    <a:pt x="197" y="197"/>
                  </a:lnTo>
                  <a:lnTo>
                    <a:pt x="194" y="197"/>
                  </a:lnTo>
                  <a:lnTo>
                    <a:pt x="192" y="197"/>
                  </a:lnTo>
                  <a:lnTo>
                    <a:pt x="192" y="195"/>
                  </a:lnTo>
                  <a:lnTo>
                    <a:pt x="189" y="195"/>
                  </a:lnTo>
                  <a:lnTo>
                    <a:pt x="189" y="193"/>
                  </a:lnTo>
                  <a:lnTo>
                    <a:pt x="187" y="193"/>
                  </a:lnTo>
                  <a:lnTo>
                    <a:pt x="187" y="190"/>
                  </a:lnTo>
                  <a:lnTo>
                    <a:pt x="185" y="190"/>
                  </a:lnTo>
                  <a:lnTo>
                    <a:pt x="182" y="190"/>
                  </a:lnTo>
                  <a:lnTo>
                    <a:pt x="180" y="190"/>
                  </a:lnTo>
                  <a:lnTo>
                    <a:pt x="180" y="188"/>
                  </a:lnTo>
                  <a:lnTo>
                    <a:pt x="180" y="190"/>
                  </a:lnTo>
                  <a:lnTo>
                    <a:pt x="178" y="190"/>
                  </a:lnTo>
                  <a:lnTo>
                    <a:pt x="175" y="190"/>
                  </a:lnTo>
                  <a:lnTo>
                    <a:pt x="175" y="193"/>
                  </a:lnTo>
                  <a:lnTo>
                    <a:pt x="173" y="193"/>
                  </a:lnTo>
                  <a:lnTo>
                    <a:pt x="173" y="190"/>
                  </a:lnTo>
                  <a:lnTo>
                    <a:pt x="170" y="190"/>
                  </a:lnTo>
                  <a:lnTo>
                    <a:pt x="170" y="193"/>
                  </a:lnTo>
                  <a:lnTo>
                    <a:pt x="170" y="195"/>
                  </a:lnTo>
                  <a:lnTo>
                    <a:pt x="168" y="195"/>
                  </a:lnTo>
                  <a:lnTo>
                    <a:pt x="168" y="193"/>
                  </a:lnTo>
                  <a:lnTo>
                    <a:pt x="166" y="193"/>
                  </a:lnTo>
                  <a:lnTo>
                    <a:pt x="166" y="195"/>
                  </a:lnTo>
                  <a:lnTo>
                    <a:pt x="166" y="193"/>
                  </a:lnTo>
                  <a:lnTo>
                    <a:pt x="166" y="195"/>
                  </a:lnTo>
                  <a:lnTo>
                    <a:pt x="163" y="195"/>
                  </a:lnTo>
                  <a:lnTo>
                    <a:pt x="163" y="193"/>
                  </a:lnTo>
                  <a:lnTo>
                    <a:pt x="163" y="190"/>
                  </a:lnTo>
                  <a:lnTo>
                    <a:pt x="163" y="193"/>
                  </a:lnTo>
                  <a:lnTo>
                    <a:pt x="161" y="193"/>
                  </a:lnTo>
                  <a:lnTo>
                    <a:pt x="161" y="195"/>
                  </a:lnTo>
                  <a:lnTo>
                    <a:pt x="159" y="195"/>
                  </a:lnTo>
                  <a:lnTo>
                    <a:pt x="156" y="193"/>
                  </a:lnTo>
                  <a:lnTo>
                    <a:pt x="154" y="193"/>
                  </a:lnTo>
                  <a:lnTo>
                    <a:pt x="151" y="193"/>
                  </a:lnTo>
                  <a:lnTo>
                    <a:pt x="151" y="195"/>
                  </a:lnTo>
                  <a:lnTo>
                    <a:pt x="154" y="195"/>
                  </a:lnTo>
                  <a:lnTo>
                    <a:pt x="154" y="197"/>
                  </a:lnTo>
                  <a:lnTo>
                    <a:pt x="151" y="197"/>
                  </a:lnTo>
                  <a:lnTo>
                    <a:pt x="151" y="195"/>
                  </a:lnTo>
                  <a:lnTo>
                    <a:pt x="149" y="195"/>
                  </a:lnTo>
                  <a:lnTo>
                    <a:pt x="149" y="197"/>
                  </a:lnTo>
                  <a:lnTo>
                    <a:pt x="147" y="200"/>
                  </a:lnTo>
                  <a:lnTo>
                    <a:pt x="149" y="200"/>
                  </a:lnTo>
                  <a:lnTo>
                    <a:pt x="147" y="200"/>
                  </a:lnTo>
                  <a:lnTo>
                    <a:pt x="147" y="202"/>
                  </a:lnTo>
                  <a:lnTo>
                    <a:pt x="144" y="202"/>
                  </a:lnTo>
                  <a:lnTo>
                    <a:pt x="142" y="202"/>
                  </a:lnTo>
                  <a:lnTo>
                    <a:pt x="140" y="202"/>
                  </a:lnTo>
                  <a:lnTo>
                    <a:pt x="140" y="204"/>
                  </a:lnTo>
                  <a:lnTo>
                    <a:pt x="140" y="202"/>
                  </a:lnTo>
                  <a:lnTo>
                    <a:pt x="140" y="204"/>
                  </a:lnTo>
                  <a:lnTo>
                    <a:pt x="137" y="202"/>
                  </a:lnTo>
                  <a:lnTo>
                    <a:pt x="137" y="204"/>
                  </a:lnTo>
                  <a:lnTo>
                    <a:pt x="137" y="207"/>
                  </a:lnTo>
                  <a:lnTo>
                    <a:pt x="137" y="209"/>
                  </a:lnTo>
                  <a:lnTo>
                    <a:pt x="135" y="209"/>
                  </a:lnTo>
                  <a:lnTo>
                    <a:pt x="135" y="212"/>
                  </a:lnTo>
                  <a:lnTo>
                    <a:pt x="132" y="212"/>
                  </a:lnTo>
                  <a:lnTo>
                    <a:pt x="132" y="214"/>
                  </a:lnTo>
                  <a:lnTo>
                    <a:pt x="132" y="212"/>
                  </a:lnTo>
                  <a:lnTo>
                    <a:pt x="130" y="214"/>
                  </a:lnTo>
                  <a:lnTo>
                    <a:pt x="130" y="212"/>
                  </a:lnTo>
                  <a:lnTo>
                    <a:pt x="128" y="212"/>
                  </a:lnTo>
                  <a:lnTo>
                    <a:pt x="128" y="214"/>
                  </a:lnTo>
                  <a:lnTo>
                    <a:pt x="125" y="214"/>
                  </a:lnTo>
                  <a:lnTo>
                    <a:pt x="123" y="214"/>
                  </a:lnTo>
                  <a:lnTo>
                    <a:pt x="121" y="214"/>
                  </a:lnTo>
                  <a:lnTo>
                    <a:pt x="118" y="214"/>
                  </a:lnTo>
                  <a:lnTo>
                    <a:pt x="116" y="214"/>
                  </a:lnTo>
                  <a:lnTo>
                    <a:pt x="114" y="214"/>
                  </a:lnTo>
                  <a:lnTo>
                    <a:pt x="111" y="216"/>
                  </a:lnTo>
                  <a:lnTo>
                    <a:pt x="106" y="216"/>
                  </a:lnTo>
                  <a:lnTo>
                    <a:pt x="104" y="216"/>
                  </a:lnTo>
                  <a:lnTo>
                    <a:pt x="102" y="216"/>
                  </a:lnTo>
                  <a:lnTo>
                    <a:pt x="102" y="219"/>
                  </a:lnTo>
                  <a:lnTo>
                    <a:pt x="102" y="221"/>
                  </a:lnTo>
                  <a:lnTo>
                    <a:pt x="99" y="221"/>
                  </a:lnTo>
                  <a:lnTo>
                    <a:pt x="99" y="223"/>
                  </a:lnTo>
                  <a:lnTo>
                    <a:pt x="97" y="223"/>
                  </a:lnTo>
                  <a:lnTo>
                    <a:pt x="97" y="226"/>
                  </a:lnTo>
                  <a:lnTo>
                    <a:pt x="95" y="226"/>
                  </a:lnTo>
                  <a:lnTo>
                    <a:pt x="92" y="226"/>
                  </a:lnTo>
                  <a:lnTo>
                    <a:pt x="90" y="226"/>
                  </a:lnTo>
                  <a:lnTo>
                    <a:pt x="90" y="223"/>
                  </a:lnTo>
                  <a:lnTo>
                    <a:pt x="90" y="221"/>
                  </a:lnTo>
                  <a:lnTo>
                    <a:pt x="87" y="221"/>
                  </a:lnTo>
                  <a:lnTo>
                    <a:pt x="90" y="221"/>
                  </a:lnTo>
                  <a:lnTo>
                    <a:pt x="87" y="221"/>
                  </a:lnTo>
                  <a:lnTo>
                    <a:pt x="87" y="219"/>
                  </a:lnTo>
                  <a:lnTo>
                    <a:pt x="85" y="221"/>
                  </a:lnTo>
                  <a:lnTo>
                    <a:pt x="85" y="219"/>
                  </a:lnTo>
                  <a:lnTo>
                    <a:pt x="83" y="219"/>
                  </a:lnTo>
                  <a:lnTo>
                    <a:pt x="83" y="216"/>
                  </a:lnTo>
                  <a:lnTo>
                    <a:pt x="83" y="214"/>
                  </a:lnTo>
                  <a:lnTo>
                    <a:pt x="80" y="214"/>
                  </a:lnTo>
                  <a:lnTo>
                    <a:pt x="78" y="214"/>
                  </a:lnTo>
                  <a:lnTo>
                    <a:pt x="76" y="214"/>
                  </a:lnTo>
                  <a:lnTo>
                    <a:pt x="73" y="214"/>
                  </a:lnTo>
                  <a:lnTo>
                    <a:pt x="73" y="216"/>
                  </a:lnTo>
                  <a:lnTo>
                    <a:pt x="71" y="216"/>
                  </a:lnTo>
                  <a:lnTo>
                    <a:pt x="68" y="216"/>
                  </a:lnTo>
                  <a:lnTo>
                    <a:pt x="66" y="216"/>
                  </a:lnTo>
                  <a:lnTo>
                    <a:pt x="64" y="216"/>
                  </a:lnTo>
                  <a:lnTo>
                    <a:pt x="64" y="214"/>
                  </a:lnTo>
                  <a:lnTo>
                    <a:pt x="61" y="214"/>
                  </a:lnTo>
                  <a:lnTo>
                    <a:pt x="59" y="214"/>
                  </a:lnTo>
                  <a:lnTo>
                    <a:pt x="57" y="214"/>
                  </a:lnTo>
                  <a:lnTo>
                    <a:pt x="57" y="216"/>
                  </a:lnTo>
                  <a:lnTo>
                    <a:pt x="57" y="214"/>
                  </a:lnTo>
                  <a:lnTo>
                    <a:pt x="54" y="214"/>
                  </a:lnTo>
                  <a:lnTo>
                    <a:pt x="57" y="214"/>
                  </a:lnTo>
                  <a:lnTo>
                    <a:pt x="54" y="214"/>
                  </a:lnTo>
                  <a:lnTo>
                    <a:pt x="54" y="212"/>
                  </a:lnTo>
                  <a:lnTo>
                    <a:pt x="52" y="212"/>
                  </a:lnTo>
                  <a:lnTo>
                    <a:pt x="49" y="212"/>
                  </a:lnTo>
                  <a:lnTo>
                    <a:pt x="49" y="214"/>
                  </a:lnTo>
                  <a:lnTo>
                    <a:pt x="49" y="212"/>
                  </a:lnTo>
                  <a:lnTo>
                    <a:pt x="47" y="212"/>
                  </a:lnTo>
                  <a:lnTo>
                    <a:pt x="45" y="214"/>
                  </a:lnTo>
                  <a:lnTo>
                    <a:pt x="42" y="214"/>
                  </a:lnTo>
                  <a:lnTo>
                    <a:pt x="42" y="212"/>
                  </a:lnTo>
                  <a:lnTo>
                    <a:pt x="40" y="212"/>
                  </a:lnTo>
                  <a:lnTo>
                    <a:pt x="40" y="209"/>
                  </a:lnTo>
                  <a:lnTo>
                    <a:pt x="38" y="209"/>
                  </a:lnTo>
                  <a:lnTo>
                    <a:pt x="38" y="207"/>
                  </a:lnTo>
                  <a:lnTo>
                    <a:pt x="35" y="207"/>
                  </a:lnTo>
                  <a:lnTo>
                    <a:pt x="33" y="207"/>
                  </a:lnTo>
                  <a:lnTo>
                    <a:pt x="33" y="209"/>
                  </a:lnTo>
                  <a:lnTo>
                    <a:pt x="33" y="212"/>
                  </a:lnTo>
                  <a:lnTo>
                    <a:pt x="30" y="212"/>
                  </a:lnTo>
                  <a:lnTo>
                    <a:pt x="28" y="212"/>
                  </a:lnTo>
                  <a:lnTo>
                    <a:pt x="28" y="214"/>
                  </a:lnTo>
                  <a:lnTo>
                    <a:pt x="28" y="212"/>
                  </a:lnTo>
                  <a:lnTo>
                    <a:pt x="26" y="212"/>
                  </a:lnTo>
                  <a:lnTo>
                    <a:pt x="26" y="214"/>
                  </a:lnTo>
                  <a:lnTo>
                    <a:pt x="23" y="214"/>
                  </a:lnTo>
                  <a:lnTo>
                    <a:pt x="23" y="212"/>
                  </a:lnTo>
                  <a:lnTo>
                    <a:pt x="23" y="209"/>
                  </a:lnTo>
                  <a:lnTo>
                    <a:pt x="23" y="207"/>
                  </a:lnTo>
                  <a:lnTo>
                    <a:pt x="21" y="207"/>
                  </a:lnTo>
                  <a:lnTo>
                    <a:pt x="19" y="207"/>
                  </a:lnTo>
                  <a:lnTo>
                    <a:pt x="16" y="207"/>
                  </a:lnTo>
                  <a:lnTo>
                    <a:pt x="14" y="207"/>
                  </a:lnTo>
                  <a:lnTo>
                    <a:pt x="16" y="207"/>
                  </a:lnTo>
                  <a:lnTo>
                    <a:pt x="14" y="207"/>
                  </a:lnTo>
                  <a:lnTo>
                    <a:pt x="14" y="204"/>
                  </a:lnTo>
                  <a:lnTo>
                    <a:pt x="16" y="204"/>
                  </a:lnTo>
                  <a:lnTo>
                    <a:pt x="14" y="204"/>
                  </a:lnTo>
                  <a:lnTo>
                    <a:pt x="14" y="202"/>
                  </a:lnTo>
                  <a:lnTo>
                    <a:pt x="11" y="202"/>
                  </a:lnTo>
                  <a:lnTo>
                    <a:pt x="11" y="200"/>
                  </a:lnTo>
                  <a:lnTo>
                    <a:pt x="9" y="200"/>
                  </a:lnTo>
                  <a:lnTo>
                    <a:pt x="7" y="200"/>
                  </a:lnTo>
                  <a:lnTo>
                    <a:pt x="7" y="197"/>
                  </a:lnTo>
                  <a:lnTo>
                    <a:pt x="7" y="195"/>
                  </a:lnTo>
                  <a:lnTo>
                    <a:pt x="4" y="195"/>
                  </a:lnTo>
                  <a:lnTo>
                    <a:pt x="4" y="193"/>
                  </a:lnTo>
                  <a:lnTo>
                    <a:pt x="2" y="193"/>
                  </a:lnTo>
                  <a:lnTo>
                    <a:pt x="0" y="193"/>
                  </a:lnTo>
                  <a:lnTo>
                    <a:pt x="0" y="190"/>
                  </a:lnTo>
                  <a:lnTo>
                    <a:pt x="0" y="188"/>
                  </a:lnTo>
                  <a:lnTo>
                    <a:pt x="0" y="185"/>
                  </a:lnTo>
                  <a:lnTo>
                    <a:pt x="2" y="183"/>
                  </a:lnTo>
                  <a:lnTo>
                    <a:pt x="4" y="183"/>
                  </a:lnTo>
                  <a:lnTo>
                    <a:pt x="4" y="181"/>
                  </a:lnTo>
                  <a:lnTo>
                    <a:pt x="7" y="178"/>
                  </a:lnTo>
                  <a:lnTo>
                    <a:pt x="7" y="176"/>
                  </a:lnTo>
                  <a:lnTo>
                    <a:pt x="7" y="174"/>
                  </a:lnTo>
                  <a:lnTo>
                    <a:pt x="9" y="174"/>
                  </a:lnTo>
                  <a:lnTo>
                    <a:pt x="7" y="171"/>
                  </a:lnTo>
                  <a:lnTo>
                    <a:pt x="9" y="171"/>
                  </a:lnTo>
                  <a:lnTo>
                    <a:pt x="9" y="169"/>
                  </a:lnTo>
                  <a:lnTo>
                    <a:pt x="9" y="166"/>
                  </a:lnTo>
                  <a:lnTo>
                    <a:pt x="11" y="166"/>
                  </a:lnTo>
                  <a:lnTo>
                    <a:pt x="11" y="164"/>
                  </a:lnTo>
                  <a:lnTo>
                    <a:pt x="14" y="164"/>
                  </a:lnTo>
                  <a:lnTo>
                    <a:pt x="14" y="162"/>
                  </a:lnTo>
                  <a:lnTo>
                    <a:pt x="14" y="159"/>
                  </a:lnTo>
                  <a:lnTo>
                    <a:pt x="16" y="159"/>
                  </a:lnTo>
                  <a:lnTo>
                    <a:pt x="16" y="162"/>
                  </a:lnTo>
                  <a:lnTo>
                    <a:pt x="19" y="162"/>
                  </a:lnTo>
                  <a:lnTo>
                    <a:pt x="21" y="162"/>
                  </a:lnTo>
                  <a:lnTo>
                    <a:pt x="23" y="162"/>
                  </a:lnTo>
                  <a:lnTo>
                    <a:pt x="23" y="164"/>
                  </a:lnTo>
                  <a:lnTo>
                    <a:pt x="26" y="164"/>
                  </a:lnTo>
                  <a:lnTo>
                    <a:pt x="23" y="164"/>
                  </a:lnTo>
                  <a:lnTo>
                    <a:pt x="23" y="162"/>
                  </a:lnTo>
                  <a:lnTo>
                    <a:pt x="23" y="159"/>
                  </a:lnTo>
                  <a:lnTo>
                    <a:pt x="26" y="159"/>
                  </a:lnTo>
                  <a:lnTo>
                    <a:pt x="23" y="159"/>
                  </a:lnTo>
                  <a:lnTo>
                    <a:pt x="26" y="159"/>
                  </a:lnTo>
                  <a:lnTo>
                    <a:pt x="23" y="159"/>
                  </a:lnTo>
                  <a:lnTo>
                    <a:pt x="23" y="157"/>
                  </a:lnTo>
                  <a:lnTo>
                    <a:pt x="23" y="159"/>
                  </a:lnTo>
                  <a:lnTo>
                    <a:pt x="23" y="157"/>
                  </a:lnTo>
                  <a:lnTo>
                    <a:pt x="21" y="157"/>
                  </a:lnTo>
                  <a:lnTo>
                    <a:pt x="19" y="157"/>
                  </a:lnTo>
                  <a:lnTo>
                    <a:pt x="21" y="157"/>
                  </a:lnTo>
                  <a:lnTo>
                    <a:pt x="21" y="155"/>
                  </a:lnTo>
                  <a:lnTo>
                    <a:pt x="19" y="155"/>
                  </a:lnTo>
                  <a:lnTo>
                    <a:pt x="19" y="157"/>
                  </a:lnTo>
                  <a:lnTo>
                    <a:pt x="19" y="155"/>
                  </a:lnTo>
                  <a:lnTo>
                    <a:pt x="21" y="155"/>
                  </a:lnTo>
                  <a:lnTo>
                    <a:pt x="19" y="155"/>
                  </a:lnTo>
                  <a:lnTo>
                    <a:pt x="19" y="152"/>
                  </a:lnTo>
                  <a:lnTo>
                    <a:pt x="21" y="150"/>
                  </a:lnTo>
                  <a:lnTo>
                    <a:pt x="21" y="147"/>
                  </a:lnTo>
                  <a:lnTo>
                    <a:pt x="21" y="145"/>
                  </a:lnTo>
                  <a:lnTo>
                    <a:pt x="19" y="143"/>
                  </a:lnTo>
                  <a:lnTo>
                    <a:pt x="19" y="140"/>
                  </a:lnTo>
                  <a:lnTo>
                    <a:pt x="16" y="140"/>
                  </a:lnTo>
                  <a:lnTo>
                    <a:pt x="16" y="138"/>
                  </a:lnTo>
                  <a:lnTo>
                    <a:pt x="19" y="138"/>
                  </a:lnTo>
                  <a:lnTo>
                    <a:pt x="19" y="135"/>
                  </a:lnTo>
                  <a:lnTo>
                    <a:pt x="21" y="133"/>
                  </a:lnTo>
                  <a:lnTo>
                    <a:pt x="21" y="131"/>
                  </a:lnTo>
                  <a:lnTo>
                    <a:pt x="23" y="131"/>
                  </a:lnTo>
                  <a:lnTo>
                    <a:pt x="23" y="128"/>
                  </a:lnTo>
                  <a:lnTo>
                    <a:pt x="26" y="128"/>
                  </a:lnTo>
                  <a:lnTo>
                    <a:pt x="26" y="126"/>
                  </a:lnTo>
                  <a:lnTo>
                    <a:pt x="28" y="126"/>
                  </a:lnTo>
                  <a:lnTo>
                    <a:pt x="28" y="124"/>
                  </a:lnTo>
                  <a:lnTo>
                    <a:pt x="30" y="121"/>
                  </a:lnTo>
                  <a:lnTo>
                    <a:pt x="30" y="119"/>
                  </a:lnTo>
                  <a:lnTo>
                    <a:pt x="33" y="119"/>
                  </a:lnTo>
                  <a:lnTo>
                    <a:pt x="33" y="116"/>
                  </a:lnTo>
                  <a:lnTo>
                    <a:pt x="35" y="114"/>
                  </a:lnTo>
                  <a:lnTo>
                    <a:pt x="38" y="112"/>
                  </a:lnTo>
                  <a:lnTo>
                    <a:pt x="40" y="109"/>
                  </a:lnTo>
                  <a:lnTo>
                    <a:pt x="42" y="107"/>
                  </a:lnTo>
                  <a:lnTo>
                    <a:pt x="45" y="105"/>
                  </a:lnTo>
                  <a:lnTo>
                    <a:pt x="47" y="105"/>
                  </a:lnTo>
                  <a:lnTo>
                    <a:pt x="47" y="102"/>
                  </a:lnTo>
                  <a:lnTo>
                    <a:pt x="49" y="102"/>
                  </a:lnTo>
                  <a:lnTo>
                    <a:pt x="49" y="100"/>
                  </a:lnTo>
                  <a:lnTo>
                    <a:pt x="52" y="100"/>
                  </a:lnTo>
                  <a:lnTo>
                    <a:pt x="52" y="97"/>
                  </a:lnTo>
                  <a:lnTo>
                    <a:pt x="54" y="97"/>
                  </a:lnTo>
                  <a:lnTo>
                    <a:pt x="54" y="95"/>
                  </a:lnTo>
                  <a:lnTo>
                    <a:pt x="59" y="95"/>
                  </a:lnTo>
                  <a:lnTo>
                    <a:pt x="61" y="95"/>
                  </a:lnTo>
                  <a:lnTo>
                    <a:pt x="64" y="95"/>
                  </a:lnTo>
                  <a:lnTo>
                    <a:pt x="64" y="93"/>
                  </a:lnTo>
                  <a:lnTo>
                    <a:pt x="64" y="90"/>
                  </a:lnTo>
                  <a:lnTo>
                    <a:pt x="64" y="88"/>
                  </a:lnTo>
                  <a:lnTo>
                    <a:pt x="64" y="86"/>
                  </a:lnTo>
                  <a:lnTo>
                    <a:pt x="64" y="83"/>
                  </a:lnTo>
                  <a:lnTo>
                    <a:pt x="64" y="81"/>
                  </a:lnTo>
                  <a:lnTo>
                    <a:pt x="61" y="81"/>
                  </a:lnTo>
                  <a:lnTo>
                    <a:pt x="61" y="78"/>
                  </a:lnTo>
                  <a:lnTo>
                    <a:pt x="59" y="76"/>
                  </a:lnTo>
                  <a:lnTo>
                    <a:pt x="61" y="76"/>
                  </a:lnTo>
                  <a:lnTo>
                    <a:pt x="61" y="74"/>
                  </a:lnTo>
                  <a:lnTo>
                    <a:pt x="61" y="76"/>
                  </a:lnTo>
                  <a:lnTo>
                    <a:pt x="61" y="74"/>
                  </a:lnTo>
                  <a:lnTo>
                    <a:pt x="61" y="76"/>
                  </a:lnTo>
                  <a:lnTo>
                    <a:pt x="61" y="74"/>
                  </a:lnTo>
                  <a:lnTo>
                    <a:pt x="61" y="76"/>
                  </a:lnTo>
                  <a:lnTo>
                    <a:pt x="61" y="74"/>
                  </a:lnTo>
                  <a:lnTo>
                    <a:pt x="61" y="76"/>
                  </a:lnTo>
                  <a:lnTo>
                    <a:pt x="64" y="74"/>
                  </a:lnTo>
                  <a:lnTo>
                    <a:pt x="64" y="76"/>
                  </a:lnTo>
                  <a:lnTo>
                    <a:pt x="66" y="76"/>
                  </a:lnTo>
                  <a:lnTo>
                    <a:pt x="66" y="74"/>
                  </a:lnTo>
                  <a:lnTo>
                    <a:pt x="64" y="74"/>
                  </a:lnTo>
                  <a:lnTo>
                    <a:pt x="64" y="71"/>
                  </a:lnTo>
                  <a:lnTo>
                    <a:pt x="61" y="71"/>
                  </a:lnTo>
                  <a:lnTo>
                    <a:pt x="61" y="69"/>
                  </a:lnTo>
                  <a:lnTo>
                    <a:pt x="59" y="67"/>
                  </a:lnTo>
                  <a:lnTo>
                    <a:pt x="59" y="64"/>
                  </a:lnTo>
                  <a:lnTo>
                    <a:pt x="57" y="64"/>
                  </a:lnTo>
                  <a:lnTo>
                    <a:pt x="57" y="62"/>
                  </a:lnTo>
                  <a:lnTo>
                    <a:pt x="57" y="64"/>
                  </a:lnTo>
                  <a:lnTo>
                    <a:pt x="57" y="62"/>
                  </a:lnTo>
                  <a:lnTo>
                    <a:pt x="57" y="59"/>
                  </a:lnTo>
                  <a:lnTo>
                    <a:pt x="57" y="62"/>
                  </a:lnTo>
                  <a:lnTo>
                    <a:pt x="57" y="59"/>
                  </a:lnTo>
                  <a:lnTo>
                    <a:pt x="57" y="62"/>
                  </a:lnTo>
                  <a:lnTo>
                    <a:pt x="57" y="59"/>
                  </a:lnTo>
                  <a:lnTo>
                    <a:pt x="54" y="59"/>
                  </a:lnTo>
                  <a:lnTo>
                    <a:pt x="54" y="57"/>
                  </a:lnTo>
                  <a:lnTo>
                    <a:pt x="52" y="57"/>
                  </a:lnTo>
                  <a:lnTo>
                    <a:pt x="52" y="55"/>
                  </a:lnTo>
                  <a:lnTo>
                    <a:pt x="52" y="52"/>
                  </a:lnTo>
                  <a:lnTo>
                    <a:pt x="52" y="55"/>
                  </a:lnTo>
                  <a:lnTo>
                    <a:pt x="52" y="52"/>
                  </a:lnTo>
                  <a:lnTo>
                    <a:pt x="49" y="52"/>
                  </a:lnTo>
                  <a:lnTo>
                    <a:pt x="49" y="50"/>
                  </a:lnTo>
                  <a:lnTo>
                    <a:pt x="52" y="50"/>
                  </a:lnTo>
                  <a:lnTo>
                    <a:pt x="52" y="48"/>
                  </a:lnTo>
                  <a:lnTo>
                    <a:pt x="52" y="45"/>
                  </a:lnTo>
                  <a:lnTo>
                    <a:pt x="52" y="48"/>
                  </a:lnTo>
                  <a:lnTo>
                    <a:pt x="52" y="45"/>
                  </a:lnTo>
                  <a:lnTo>
                    <a:pt x="49" y="45"/>
                  </a:lnTo>
                  <a:lnTo>
                    <a:pt x="49" y="43"/>
                  </a:lnTo>
                  <a:lnTo>
                    <a:pt x="52" y="43"/>
                  </a:lnTo>
                  <a:lnTo>
                    <a:pt x="49" y="43"/>
                  </a:lnTo>
                  <a:lnTo>
                    <a:pt x="49" y="40"/>
                  </a:lnTo>
                  <a:lnTo>
                    <a:pt x="49" y="38"/>
                  </a:lnTo>
                  <a:lnTo>
                    <a:pt x="49" y="36"/>
                  </a:lnTo>
                  <a:lnTo>
                    <a:pt x="52" y="36"/>
                  </a:lnTo>
                  <a:lnTo>
                    <a:pt x="54" y="36"/>
                  </a:lnTo>
                  <a:lnTo>
                    <a:pt x="54" y="33"/>
                  </a:lnTo>
                  <a:lnTo>
                    <a:pt x="54" y="36"/>
                  </a:lnTo>
                  <a:lnTo>
                    <a:pt x="57" y="36"/>
                  </a:lnTo>
                  <a:lnTo>
                    <a:pt x="59" y="36"/>
                  </a:lnTo>
                  <a:lnTo>
                    <a:pt x="57" y="38"/>
                  </a:lnTo>
                  <a:lnTo>
                    <a:pt x="59" y="38"/>
                  </a:lnTo>
                  <a:lnTo>
                    <a:pt x="61" y="38"/>
                  </a:lnTo>
                  <a:lnTo>
                    <a:pt x="64" y="36"/>
                  </a:lnTo>
                  <a:lnTo>
                    <a:pt x="66" y="33"/>
                  </a:lnTo>
                  <a:lnTo>
                    <a:pt x="71" y="31"/>
                  </a:lnTo>
                  <a:lnTo>
                    <a:pt x="71" y="29"/>
                  </a:lnTo>
                  <a:lnTo>
                    <a:pt x="71" y="26"/>
                  </a:lnTo>
                  <a:lnTo>
                    <a:pt x="73" y="26"/>
                  </a:lnTo>
                  <a:lnTo>
                    <a:pt x="73" y="24"/>
                  </a:lnTo>
                  <a:lnTo>
                    <a:pt x="78" y="24"/>
                  </a:lnTo>
                  <a:lnTo>
                    <a:pt x="80" y="24"/>
                  </a:lnTo>
                  <a:lnTo>
                    <a:pt x="83" y="24"/>
                  </a:lnTo>
                  <a:lnTo>
                    <a:pt x="85" y="24"/>
                  </a:lnTo>
                  <a:lnTo>
                    <a:pt x="87" y="24"/>
                  </a:lnTo>
                  <a:lnTo>
                    <a:pt x="87" y="21"/>
                  </a:lnTo>
                  <a:lnTo>
                    <a:pt x="90" y="21"/>
                  </a:lnTo>
                  <a:lnTo>
                    <a:pt x="90" y="24"/>
                  </a:lnTo>
                  <a:lnTo>
                    <a:pt x="92" y="21"/>
                  </a:lnTo>
                  <a:lnTo>
                    <a:pt x="92" y="24"/>
                  </a:lnTo>
                  <a:lnTo>
                    <a:pt x="95" y="21"/>
                  </a:lnTo>
                  <a:lnTo>
                    <a:pt x="92" y="21"/>
                  </a:lnTo>
                  <a:lnTo>
                    <a:pt x="95" y="21"/>
                  </a:lnTo>
                  <a:lnTo>
                    <a:pt x="97" y="21"/>
                  </a:lnTo>
                  <a:lnTo>
                    <a:pt x="97" y="19"/>
                  </a:lnTo>
                  <a:lnTo>
                    <a:pt x="99" y="21"/>
                  </a:lnTo>
                  <a:lnTo>
                    <a:pt x="99" y="19"/>
                  </a:lnTo>
                  <a:lnTo>
                    <a:pt x="102" y="19"/>
                  </a:lnTo>
                  <a:lnTo>
                    <a:pt x="104" y="19"/>
                  </a:lnTo>
                  <a:lnTo>
                    <a:pt x="104" y="21"/>
                  </a:lnTo>
                  <a:lnTo>
                    <a:pt x="106" y="21"/>
                  </a:lnTo>
                  <a:lnTo>
                    <a:pt x="109" y="21"/>
                  </a:lnTo>
                  <a:lnTo>
                    <a:pt x="111" y="21"/>
                  </a:lnTo>
                  <a:lnTo>
                    <a:pt x="114" y="21"/>
                  </a:lnTo>
                  <a:lnTo>
                    <a:pt x="116" y="21"/>
                  </a:lnTo>
                  <a:lnTo>
                    <a:pt x="118" y="21"/>
                  </a:lnTo>
                  <a:lnTo>
                    <a:pt x="121" y="21"/>
                  </a:lnTo>
                  <a:lnTo>
                    <a:pt x="123" y="21"/>
                  </a:lnTo>
                  <a:lnTo>
                    <a:pt x="125" y="21"/>
                  </a:lnTo>
                  <a:lnTo>
                    <a:pt x="128" y="21"/>
                  </a:lnTo>
                  <a:lnTo>
                    <a:pt x="130" y="21"/>
                  </a:lnTo>
                  <a:lnTo>
                    <a:pt x="130" y="24"/>
                  </a:lnTo>
                  <a:lnTo>
                    <a:pt x="132" y="24"/>
                  </a:lnTo>
                  <a:lnTo>
                    <a:pt x="135" y="24"/>
                  </a:lnTo>
                  <a:lnTo>
                    <a:pt x="137" y="24"/>
                  </a:lnTo>
                  <a:lnTo>
                    <a:pt x="140" y="24"/>
                  </a:lnTo>
                  <a:lnTo>
                    <a:pt x="140" y="26"/>
                  </a:lnTo>
                  <a:lnTo>
                    <a:pt x="142" y="26"/>
                  </a:lnTo>
                  <a:lnTo>
                    <a:pt x="142" y="29"/>
                  </a:lnTo>
                  <a:lnTo>
                    <a:pt x="144" y="29"/>
                  </a:lnTo>
                  <a:lnTo>
                    <a:pt x="147" y="29"/>
                  </a:lnTo>
                  <a:lnTo>
                    <a:pt x="147" y="26"/>
                  </a:lnTo>
                  <a:lnTo>
                    <a:pt x="149" y="26"/>
                  </a:lnTo>
                  <a:lnTo>
                    <a:pt x="151" y="26"/>
                  </a:lnTo>
                  <a:lnTo>
                    <a:pt x="151" y="29"/>
                  </a:lnTo>
                  <a:lnTo>
                    <a:pt x="154" y="29"/>
                  </a:lnTo>
                  <a:lnTo>
                    <a:pt x="154" y="31"/>
                  </a:lnTo>
                  <a:lnTo>
                    <a:pt x="154" y="29"/>
                  </a:lnTo>
                  <a:lnTo>
                    <a:pt x="156" y="29"/>
                  </a:lnTo>
                  <a:lnTo>
                    <a:pt x="156" y="31"/>
                  </a:lnTo>
                  <a:lnTo>
                    <a:pt x="159" y="31"/>
                  </a:lnTo>
                  <a:lnTo>
                    <a:pt x="161" y="29"/>
                  </a:lnTo>
                  <a:lnTo>
                    <a:pt x="163" y="29"/>
                  </a:lnTo>
                  <a:lnTo>
                    <a:pt x="168" y="29"/>
                  </a:lnTo>
                  <a:lnTo>
                    <a:pt x="168" y="31"/>
                  </a:lnTo>
                  <a:lnTo>
                    <a:pt x="168" y="33"/>
                  </a:lnTo>
                  <a:lnTo>
                    <a:pt x="168" y="36"/>
                  </a:lnTo>
                  <a:lnTo>
                    <a:pt x="170" y="36"/>
                  </a:lnTo>
                  <a:lnTo>
                    <a:pt x="168" y="36"/>
                  </a:lnTo>
                  <a:lnTo>
                    <a:pt x="168" y="38"/>
                  </a:lnTo>
                  <a:lnTo>
                    <a:pt x="170" y="38"/>
                  </a:lnTo>
                  <a:lnTo>
                    <a:pt x="173" y="36"/>
                  </a:lnTo>
                  <a:lnTo>
                    <a:pt x="173" y="38"/>
                  </a:lnTo>
                  <a:lnTo>
                    <a:pt x="175" y="38"/>
                  </a:lnTo>
                  <a:lnTo>
                    <a:pt x="175" y="36"/>
                  </a:lnTo>
                  <a:lnTo>
                    <a:pt x="175" y="38"/>
                  </a:lnTo>
                  <a:lnTo>
                    <a:pt x="178" y="38"/>
                  </a:lnTo>
                  <a:lnTo>
                    <a:pt x="175" y="38"/>
                  </a:lnTo>
                  <a:lnTo>
                    <a:pt x="178" y="38"/>
                  </a:lnTo>
                  <a:lnTo>
                    <a:pt x="178" y="36"/>
                  </a:lnTo>
                  <a:lnTo>
                    <a:pt x="180" y="36"/>
                  </a:lnTo>
                  <a:lnTo>
                    <a:pt x="180" y="38"/>
                  </a:lnTo>
                  <a:lnTo>
                    <a:pt x="182" y="38"/>
                  </a:lnTo>
                  <a:lnTo>
                    <a:pt x="185" y="38"/>
                  </a:lnTo>
                  <a:lnTo>
                    <a:pt x="185" y="40"/>
                  </a:lnTo>
                  <a:lnTo>
                    <a:pt x="182" y="40"/>
                  </a:lnTo>
                  <a:lnTo>
                    <a:pt x="182" y="43"/>
                  </a:lnTo>
                  <a:lnTo>
                    <a:pt x="185" y="43"/>
                  </a:lnTo>
                  <a:lnTo>
                    <a:pt x="187" y="43"/>
                  </a:lnTo>
                  <a:lnTo>
                    <a:pt x="187" y="40"/>
                  </a:lnTo>
                  <a:lnTo>
                    <a:pt x="189" y="40"/>
                  </a:lnTo>
                  <a:lnTo>
                    <a:pt x="187" y="40"/>
                  </a:lnTo>
                  <a:lnTo>
                    <a:pt x="187" y="38"/>
                  </a:lnTo>
                  <a:lnTo>
                    <a:pt x="187" y="36"/>
                  </a:lnTo>
                  <a:lnTo>
                    <a:pt x="189" y="36"/>
                  </a:lnTo>
                  <a:lnTo>
                    <a:pt x="192" y="38"/>
                  </a:lnTo>
                  <a:lnTo>
                    <a:pt x="192" y="40"/>
                  </a:lnTo>
                  <a:lnTo>
                    <a:pt x="194" y="38"/>
                  </a:lnTo>
                  <a:lnTo>
                    <a:pt x="197" y="38"/>
                  </a:lnTo>
                  <a:lnTo>
                    <a:pt x="199" y="38"/>
                  </a:lnTo>
                  <a:lnTo>
                    <a:pt x="199" y="36"/>
                  </a:lnTo>
                  <a:lnTo>
                    <a:pt x="201" y="36"/>
                  </a:lnTo>
                  <a:lnTo>
                    <a:pt x="201" y="33"/>
                  </a:lnTo>
                  <a:lnTo>
                    <a:pt x="201" y="36"/>
                  </a:lnTo>
                  <a:lnTo>
                    <a:pt x="204" y="36"/>
                  </a:lnTo>
                  <a:lnTo>
                    <a:pt x="204" y="38"/>
                  </a:lnTo>
                  <a:lnTo>
                    <a:pt x="206" y="40"/>
                  </a:lnTo>
                  <a:lnTo>
                    <a:pt x="208" y="38"/>
                  </a:lnTo>
                  <a:lnTo>
                    <a:pt x="211" y="38"/>
                  </a:lnTo>
                  <a:lnTo>
                    <a:pt x="216" y="38"/>
                  </a:lnTo>
                  <a:lnTo>
                    <a:pt x="213" y="40"/>
                  </a:lnTo>
                  <a:lnTo>
                    <a:pt x="216" y="40"/>
                  </a:lnTo>
                  <a:lnTo>
                    <a:pt x="216" y="43"/>
                  </a:lnTo>
                  <a:lnTo>
                    <a:pt x="216" y="45"/>
                  </a:lnTo>
                  <a:lnTo>
                    <a:pt x="218" y="45"/>
                  </a:lnTo>
                  <a:lnTo>
                    <a:pt x="218" y="48"/>
                  </a:lnTo>
                  <a:lnTo>
                    <a:pt x="218" y="45"/>
                  </a:lnTo>
                  <a:lnTo>
                    <a:pt x="218" y="43"/>
                  </a:lnTo>
                  <a:lnTo>
                    <a:pt x="220" y="40"/>
                  </a:lnTo>
                  <a:lnTo>
                    <a:pt x="223" y="38"/>
                  </a:lnTo>
                  <a:lnTo>
                    <a:pt x="225" y="38"/>
                  </a:lnTo>
                  <a:lnTo>
                    <a:pt x="227" y="38"/>
                  </a:lnTo>
                  <a:lnTo>
                    <a:pt x="227" y="36"/>
                  </a:lnTo>
                  <a:lnTo>
                    <a:pt x="230" y="36"/>
                  </a:lnTo>
                  <a:lnTo>
                    <a:pt x="232" y="36"/>
                  </a:lnTo>
                  <a:lnTo>
                    <a:pt x="232" y="38"/>
                  </a:lnTo>
                  <a:lnTo>
                    <a:pt x="235" y="38"/>
                  </a:lnTo>
                  <a:lnTo>
                    <a:pt x="235" y="40"/>
                  </a:lnTo>
                  <a:lnTo>
                    <a:pt x="235" y="43"/>
                  </a:lnTo>
                  <a:lnTo>
                    <a:pt x="235" y="45"/>
                  </a:lnTo>
                  <a:lnTo>
                    <a:pt x="237" y="45"/>
                  </a:lnTo>
                  <a:lnTo>
                    <a:pt x="237" y="48"/>
                  </a:lnTo>
                  <a:lnTo>
                    <a:pt x="239" y="48"/>
                  </a:lnTo>
                  <a:lnTo>
                    <a:pt x="242" y="48"/>
                  </a:lnTo>
                  <a:lnTo>
                    <a:pt x="244" y="48"/>
                  </a:lnTo>
                  <a:lnTo>
                    <a:pt x="244" y="45"/>
                  </a:lnTo>
                  <a:lnTo>
                    <a:pt x="244" y="43"/>
                  </a:lnTo>
                  <a:lnTo>
                    <a:pt x="244" y="45"/>
                  </a:lnTo>
                  <a:lnTo>
                    <a:pt x="246" y="45"/>
                  </a:lnTo>
                  <a:lnTo>
                    <a:pt x="246" y="43"/>
                  </a:lnTo>
                  <a:lnTo>
                    <a:pt x="249" y="43"/>
                  </a:lnTo>
                  <a:lnTo>
                    <a:pt x="249" y="40"/>
                  </a:lnTo>
                  <a:lnTo>
                    <a:pt x="251" y="40"/>
                  </a:lnTo>
                  <a:lnTo>
                    <a:pt x="251" y="43"/>
                  </a:lnTo>
                  <a:lnTo>
                    <a:pt x="251" y="45"/>
                  </a:lnTo>
                  <a:lnTo>
                    <a:pt x="253" y="45"/>
                  </a:lnTo>
                  <a:lnTo>
                    <a:pt x="256" y="45"/>
                  </a:lnTo>
                  <a:lnTo>
                    <a:pt x="256" y="43"/>
                  </a:lnTo>
                  <a:lnTo>
                    <a:pt x="258" y="43"/>
                  </a:lnTo>
                  <a:lnTo>
                    <a:pt x="261" y="43"/>
                  </a:lnTo>
                  <a:lnTo>
                    <a:pt x="263" y="43"/>
                  </a:lnTo>
                  <a:lnTo>
                    <a:pt x="265" y="43"/>
                  </a:lnTo>
                  <a:lnTo>
                    <a:pt x="268" y="43"/>
                  </a:lnTo>
                  <a:lnTo>
                    <a:pt x="268" y="45"/>
                  </a:lnTo>
                  <a:lnTo>
                    <a:pt x="270" y="45"/>
                  </a:lnTo>
                  <a:lnTo>
                    <a:pt x="270" y="48"/>
                  </a:lnTo>
                  <a:lnTo>
                    <a:pt x="270" y="50"/>
                  </a:lnTo>
                  <a:lnTo>
                    <a:pt x="272" y="50"/>
                  </a:lnTo>
                  <a:lnTo>
                    <a:pt x="272" y="52"/>
                  </a:lnTo>
                  <a:lnTo>
                    <a:pt x="275" y="52"/>
                  </a:lnTo>
                  <a:lnTo>
                    <a:pt x="275" y="55"/>
                  </a:lnTo>
                  <a:lnTo>
                    <a:pt x="275" y="52"/>
                  </a:lnTo>
                  <a:lnTo>
                    <a:pt x="277" y="55"/>
                  </a:lnTo>
                  <a:lnTo>
                    <a:pt x="280" y="52"/>
                  </a:lnTo>
                  <a:lnTo>
                    <a:pt x="280" y="50"/>
                  </a:lnTo>
                  <a:lnTo>
                    <a:pt x="282" y="48"/>
                  </a:lnTo>
                  <a:lnTo>
                    <a:pt x="280" y="48"/>
                  </a:lnTo>
                  <a:lnTo>
                    <a:pt x="280" y="45"/>
                  </a:lnTo>
                  <a:lnTo>
                    <a:pt x="277" y="45"/>
                  </a:lnTo>
                  <a:lnTo>
                    <a:pt x="280" y="45"/>
                  </a:lnTo>
                  <a:lnTo>
                    <a:pt x="280" y="43"/>
                  </a:lnTo>
                  <a:lnTo>
                    <a:pt x="277" y="43"/>
                  </a:lnTo>
                  <a:lnTo>
                    <a:pt x="277" y="40"/>
                  </a:lnTo>
                  <a:lnTo>
                    <a:pt x="280" y="40"/>
                  </a:lnTo>
                  <a:lnTo>
                    <a:pt x="277" y="40"/>
                  </a:lnTo>
                  <a:lnTo>
                    <a:pt x="277" y="38"/>
                  </a:lnTo>
                  <a:lnTo>
                    <a:pt x="275" y="38"/>
                  </a:lnTo>
                  <a:lnTo>
                    <a:pt x="277" y="38"/>
                  </a:lnTo>
                  <a:lnTo>
                    <a:pt x="277" y="36"/>
                  </a:lnTo>
                  <a:lnTo>
                    <a:pt x="277" y="33"/>
                  </a:lnTo>
                  <a:lnTo>
                    <a:pt x="277" y="36"/>
                  </a:lnTo>
                  <a:lnTo>
                    <a:pt x="277" y="33"/>
                  </a:lnTo>
                  <a:lnTo>
                    <a:pt x="277" y="31"/>
                  </a:lnTo>
                  <a:lnTo>
                    <a:pt x="280" y="31"/>
                  </a:lnTo>
                  <a:lnTo>
                    <a:pt x="280" y="33"/>
                  </a:lnTo>
                  <a:lnTo>
                    <a:pt x="280" y="31"/>
                  </a:lnTo>
                  <a:lnTo>
                    <a:pt x="280" y="29"/>
                  </a:lnTo>
                  <a:lnTo>
                    <a:pt x="282" y="29"/>
                  </a:lnTo>
                  <a:lnTo>
                    <a:pt x="282" y="26"/>
                  </a:lnTo>
                  <a:lnTo>
                    <a:pt x="282" y="24"/>
                  </a:lnTo>
                  <a:lnTo>
                    <a:pt x="284" y="24"/>
                  </a:lnTo>
                  <a:lnTo>
                    <a:pt x="284" y="21"/>
                  </a:lnTo>
                  <a:lnTo>
                    <a:pt x="284" y="24"/>
                  </a:lnTo>
                  <a:lnTo>
                    <a:pt x="287" y="21"/>
                  </a:lnTo>
                  <a:lnTo>
                    <a:pt x="287" y="19"/>
                  </a:lnTo>
                  <a:lnTo>
                    <a:pt x="289" y="19"/>
                  </a:lnTo>
                  <a:lnTo>
                    <a:pt x="289" y="17"/>
                  </a:lnTo>
                  <a:lnTo>
                    <a:pt x="291" y="17"/>
                  </a:lnTo>
                  <a:lnTo>
                    <a:pt x="289" y="17"/>
                  </a:lnTo>
                  <a:lnTo>
                    <a:pt x="291" y="17"/>
                  </a:lnTo>
                  <a:lnTo>
                    <a:pt x="291" y="14"/>
                  </a:lnTo>
                  <a:lnTo>
                    <a:pt x="289" y="14"/>
                  </a:lnTo>
                  <a:lnTo>
                    <a:pt x="291" y="14"/>
                  </a:lnTo>
                  <a:lnTo>
                    <a:pt x="294" y="14"/>
                  </a:lnTo>
                  <a:lnTo>
                    <a:pt x="296" y="14"/>
                  </a:lnTo>
                  <a:lnTo>
                    <a:pt x="296" y="12"/>
                  </a:lnTo>
                  <a:lnTo>
                    <a:pt x="296" y="14"/>
                  </a:lnTo>
                  <a:lnTo>
                    <a:pt x="299" y="14"/>
                  </a:lnTo>
                  <a:lnTo>
                    <a:pt x="301" y="17"/>
                  </a:lnTo>
                  <a:lnTo>
                    <a:pt x="301" y="14"/>
                  </a:lnTo>
                  <a:lnTo>
                    <a:pt x="303" y="14"/>
                  </a:lnTo>
                  <a:lnTo>
                    <a:pt x="303" y="12"/>
                  </a:lnTo>
                  <a:lnTo>
                    <a:pt x="306" y="12"/>
                  </a:lnTo>
                  <a:lnTo>
                    <a:pt x="308" y="12"/>
                  </a:lnTo>
                  <a:lnTo>
                    <a:pt x="310" y="12"/>
                  </a:lnTo>
                  <a:lnTo>
                    <a:pt x="313" y="12"/>
                  </a:lnTo>
                  <a:lnTo>
                    <a:pt x="315" y="12"/>
                  </a:lnTo>
                  <a:lnTo>
                    <a:pt x="318" y="12"/>
                  </a:lnTo>
                  <a:lnTo>
                    <a:pt x="320" y="12"/>
                  </a:lnTo>
                  <a:lnTo>
                    <a:pt x="322" y="12"/>
                  </a:lnTo>
                  <a:lnTo>
                    <a:pt x="322" y="14"/>
                  </a:lnTo>
                  <a:lnTo>
                    <a:pt x="325" y="14"/>
                  </a:lnTo>
                  <a:lnTo>
                    <a:pt x="322" y="14"/>
                  </a:lnTo>
                  <a:lnTo>
                    <a:pt x="322" y="17"/>
                  </a:lnTo>
                  <a:lnTo>
                    <a:pt x="322" y="14"/>
                  </a:lnTo>
                  <a:lnTo>
                    <a:pt x="322" y="17"/>
                  </a:lnTo>
                  <a:lnTo>
                    <a:pt x="325" y="14"/>
                  </a:lnTo>
                  <a:lnTo>
                    <a:pt x="327" y="14"/>
                  </a:lnTo>
                  <a:lnTo>
                    <a:pt x="327" y="17"/>
                  </a:lnTo>
                  <a:lnTo>
                    <a:pt x="329" y="17"/>
                  </a:lnTo>
                  <a:lnTo>
                    <a:pt x="329" y="14"/>
                  </a:lnTo>
                  <a:lnTo>
                    <a:pt x="332" y="14"/>
                  </a:lnTo>
                  <a:lnTo>
                    <a:pt x="334" y="14"/>
                  </a:lnTo>
                  <a:lnTo>
                    <a:pt x="334" y="12"/>
                  </a:lnTo>
                  <a:lnTo>
                    <a:pt x="337" y="12"/>
                  </a:lnTo>
                  <a:lnTo>
                    <a:pt x="337" y="10"/>
                  </a:lnTo>
                  <a:lnTo>
                    <a:pt x="337" y="7"/>
                  </a:lnTo>
                  <a:lnTo>
                    <a:pt x="337" y="5"/>
                  </a:lnTo>
                  <a:lnTo>
                    <a:pt x="337" y="7"/>
                  </a:lnTo>
                  <a:lnTo>
                    <a:pt x="337" y="5"/>
                  </a:lnTo>
                  <a:lnTo>
                    <a:pt x="337" y="7"/>
                  </a:lnTo>
                  <a:lnTo>
                    <a:pt x="339" y="5"/>
                  </a:lnTo>
                  <a:lnTo>
                    <a:pt x="337" y="5"/>
                  </a:lnTo>
                  <a:lnTo>
                    <a:pt x="337" y="2"/>
                  </a:lnTo>
                  <a:lnTo>
                    <a:pt x="337" y="0"/>
                  </a:lnTo>
                  <a:lnTo>
                    <a:pt x="339" y="0"/>
                  </a:lnTo>
                  <a:lnTo>
                    <a:pt x="339" y="2"/>
                  </a:lnTo>
                  <a:lnTo>
                    <a:pt x="341" y="2"/>
                  </a:lnTo>
                  <a:lnTo>
                    <a:pt x="344" y="2"/>
                  </a:lnTo>
                  <a:lnTo>
                    <a:pt x="346" y="2"/>
                  </a:lnTo>
                  <a:lnTo>
                    <a:pt x="348" y="5"/>
                  </a:lnTo>
                  <a:lnTo>
                    <a:pt x="351" y="5"/>
                  </a:lnTo>
                  <a:lnTo>
                    <a:pt x="353" y="5"/>
                  </a:lnTo>
                  <a:lnTo>
                    <a:pt x="356" y="5"/>
                  </a:lnTo>
                  <a:lnTo>
                    <a:pt x="353" y="5"/>
                  </a:lnTo>
                  <a:lnTo>
                    <a:pt x="356" y="5"/>
                  </a:lnTo>
                  <a:lnTo>
                    <a:pt x="358" y="5"/>
                  </a:lnTo>
                  <a:lnTo>
                    <a:pt x="358" y="2"/>
                  </a:lnTo>
                  <a:lnTo>
                    <a:pt x="360" y="2"/>
                  </a:lnTo>
                  <a:lnTo>
                    <a:pt x="363" y="2"/>
                  </a:lnTo>
                  <a:lnTo>
                    <a:pt x="363" y="0"/>
                  </a:lnTo>
                  <a:lnTo>
                    <a:pt x="365" y="0"/>
                  </a:lnTo>
                  <a:lnTo>
                    <a:pt x="363" y="0"/>
                  </a:lnTo>
                  <a:lnTo>
                    <a:pt x="365" y="0"/>
                  </a:lnTo>
                  <a:lnTo>
                    <a:pt x="367" y="0"/>
                  </a:lnTo>
                  <a:lnTo>
                    <a:pt x="370" y="0"/>
                  </a:lnTo>
                  <a:lnTo>
                    <a:pt x="372" y="0"/>
                  </a:lnTo>
                  <a:lnTo>
                    <a:pt x="375" y="0"/>
                  </a:lnTo>
                  <a:lnTo>
                    <a:pt x="375" y="2"/>
                  </a:lnTo>
                  <a:lnTo>
                    <a:pt x="377" y="2"/>
                  </a:lnTo>
                  <a:lnTo>
                    <a:pt x="379" y="2"/>
                  </a:lnTo>
                  <a:lnTo>
                    <a:pt x="379" y="0"/>
                  </a:lnTo>
                  <a:lnTo>
                    <a:pt x="382" y="0"/>
                  </a:lnTo>
                  <a:lnTo>
                    <a:pt x="384" y="0"/>
                  </a:lnTo>
                  <a:lnTo>
                    <a:pt x="386" y="0"/>
                  </a:lnTo>
                  <a:lnTo>
                    <a:pt x="386" y="2"/>
                  </a:lnTo>
                  <a:lnTo>
                    <a:pt x="389" y="2"/>
                  </a:lnTo>
                  <a:lnTo>
                    <a:pt x="389" y="5"/>
                  </a:lnTo>
                  <a:lnTo>
                    <a:pt x="389" y="7"/>
                  </a:lnTo>
                  <a:lnTo>
                    <a:pt x="391" y="7"/>
                  </a:lnTo>
                  <a:lnTo>
                    <a:pt x="393" y="7"/>
                  </a:lnTo>
                  <a:lnTo>
                    <a:pt x="393" y="10"/>
                  </a:lnTo>
                  <a:lnTo>
                    <a:pt x="396" y="12"/>
                  </a:lnTo>
                  <a:lnTo>
                    <a:pt x="393" y="12"/>
                  </a:lnTo>
                  <a:lnTo>
                    <a:pt x="393" y="14"/>
                  </a:lnTo>
                  <a:lnTo>
                    <a:pt x="393" y="17"/>
                  </a:lnTo>
                  <a:lnTo>
                    <a:pt x="396" y="17"/>
                  </a:lnTo>
                  <a:lnTo>
                    <a:pt x="396" y="19"/>
                  </a:lnTo>
                  <a:lnTo>
                    <a:pt x="398" y="19"/>
                  </a:lnTo>
                  <a:lnTo>
                    <a:pt x="398" y="21"/>
                  </a:lnTo>
                  <a:lnTo>
                    <a:pt x="401" y="21"/>
                  </a:lnTo>
                  <a:lnTo>
                    <a:pt x="401" y="24"/>
                  </a:lnTo>
                  <a:lnTo>
                    <a:pt x="403" y="24"/>
                  </a:lnTo>
                  <a:lnTo>
                    <a:pt x="403" y="26"/>
                  </a:lnTo>
                  <a:lnTo>
                    <a:pt x="405" y="26"/>
                  </a:lnTo>
                  <a:lnTo>
                    <a:pt x="405" y="29"/>
                  </a:lnTo>
                  <a:lnTo>
                    <a:pt x="405" y="31"/>
                  </a:lnTo>
                  <a:lnTo>
                    <a:pt x="403" y="31"/>
                  </a:lnTo>
                  <a:lnTo>
                    <a:pt x="401" y="31"/>
                  </a:lnTo>
                  <a:lnTo>
                    <a:pt x="401" y="33"/>
                  </a:lnTo>
                  <a:lnTo>
                    <a:pt x="398" y="33"/>
                  </a:lnTo>
                  <a:lnTo>
                    <a:pt x="396" y="33"/>
                  </a:lnTo>
                  <a:lnTo>
                    <a:pt x="393" y="33"/>
                  </a:lnTo>
                  <a:lnTo>
                    <a:pt x="393" y="36"/>
                  </a:lnTo>
                  <a:lnTo>
                    <a:pt x="396" y="36"/>
                  </a:lnTo>
                  <a:lnTo>
                    <a:pt x="398" y="36"/>
                  </a:lnTo>
                  <a:lnTo>
                    <a:pt x="398" y="38"/>
                  </a:lnTo>
                  <a:lnTo>
                    <a:pt x="401" y="40"/>
                  </a:lnTo>
                  <a:lnTo>
                    <a:pt x="401" y="43"/>
                  </a:lnTo>
                  <a:lnTo>
                    <a:pt x="401" y="45"/>
                  </a:lnTo>
                  <a:lnTo>
                    <a:pt x="398" y="45"/>
                  </a:lnTo>
                  <a:lnTo>
                    <a:pt x="398" y="48"/>
                  </a:lnTo>
                  <a:lnTo>
                    <a:pt x="401" y="48"/>
                  </a:lnTo>
                  <a:lnTo>
                    <a:pt x="401" y="50"/>
                  </a:lnTo>
                  <a:lnTo>
                    <a:pt x="403" y="50"/>
                  </a:lnTo>
                  <a:lnTo>
                    <a:pt x="401" y="50"/>
                  </a:lnTo>
                  <a:lnTo>
                    <a:pt x="401" y="52"/>
                  </a:lnTo>
                  <a:lnTo>
                    <a:pt x="398" y="52"/>
                  </a:lnTo>
                  <a:lnTo>
                    <a:pt x="398" y="55"/>
                  </a:lnTo>
                  <a:lnTo>
                    <a:pt x="401" y="55"/>
                  </a:lnTo>
                  <a:lnTo>
                    <a:pt x="403" y="55"/>
                  </a:lnTo>
                  <a:lnTo>
                    <a:pt x="405" y="55"/>
                  </a:lnTo>
                  <a:lnTo>
                    <a:pt x="408" y="55"/>
                  </a:lnTo>
                  <a:lnTo>
                    <a:pt x="410" y="55"/>
                  </a:lnTo>
                  <a:lnTo>
                    <a:pt x="412" y="55"/>
                  </a:lnTo>
                  <a:lnTo>
                    <a:pt x="412" y="57"/>
                  </a:lnTo>
                  <a:lnTo>
                    <a:pt x="415" y="57"/>
                  </a:lnTo>
                  <a:lnTo>
                    <a:pt x="415" y="59"/>
                  </a:lnTo>
                  <a:lnTo>
                    <a:pt x="415" y="57"/>
                  </a:lnTo>
                  <a:lnTo>
                    <a:pt x="417" y="57"/>
                  </a:lnTo>
                  <a:lnTo>
                    <a:pt x="417" y="59"/>
                  </a:lnTo>
                  <a:lnTo>
                    <a:pt x="417" y="57"/>
                  </a:lnTo>
                  <a:lnTo>
                    <a:pt x="417" y="59"/>
                  </a:lnTo>
                  <a:lnTo>
                    <a:pt x="420" y="59"/>
                  </a:lnTo>
                  <a:lnTo>
                    <a:pt x="420" y="57"/>
                  </a:lnTo>
                  <a:lnTo>
                    <a:pt x="422" y="57"/>
                  </a:lnTo>
                  <a:lnTo>
                    <a:pt x="424" y="55"/>
                  </a:lnTo>
                  <a:lnTo>
                    <a:pt x="424" y="57"/>
                  </a:lnTo>
                  <a:lnTo>
                    <a:pt x="427" y="57"/>
                  </a:lnTo>
                  <a:lnTo>
                    <a:pt x="427" y="55"/>
                  </a:lnTo>
                  <a:lnTo>
                    <a:pt x="429" y="55"/>
                  </a:lnTo>
                  <a:lnTo>
                    <a:pt x="429" y="57"/>
                  </a:lnTo>
                  <a:lnTo>
                    <a:pt x="429" y="59"/>
                  </a:lnTo>
                  <a:lnTo>
                    <a:pt x="429" y="62"/>
                  </a:lnTo>
                  <a:lnTo>
                    <a:pt x="429" y="64"/>
                  </a:lnTo>
                  <a:lnTo>
                    <a:pt x="431" y="64"/>
                  </a:lnTo>
                  <a:lnTo>
                    <a:pt x="434" y="64"/>
                  </a:lnTo>
                  <a:lnTo>
                    <a:pt x="436" y="64"/>
                  </a:lnTo>
                  <a:lnTo>
                    <a:pt x="439" y="64"/>
                  </a:lnTo>
                  <a:lnTo>
                    <a:pt x="439" y="67"/>
                  </a:lnTo>
                  <a:lnTo>
                    <a:pt x="436" y="67"/>
                  </a:lnTo>
                  <a:lnTo>
                    <a:pt x="436" y="69"/>
                  </a:lnTo>
                  <a:lnTo>
                    <a:pt x="436" y="71"/>
                  </a:lnTo>
                  <a:lnTo>
                    <a:pt x="439" y="71"/>
                  </a:lnTo>
                  <a:lnTo>
                    <a:pt x="436" y="71"/>
                  </a:lnTo>
                  <a:lnTo>
                    <a:pt x="436" y="74"/>
                  </a:lnTo>
                  <a:lnTo>
                    <a:pt x="439" y="74"/>
                  </a:lnTo>
                  <a:lnTo>
                    <a:pt x="439" y="76"/>
                  </a:lnTo>
                  <a:lnTo>
                    <a:pt x="439" y="78"/>
                  </a:lnTo>
                  <a:lnTo>
                    <a:pt x="441" y="78"/>
                  </a:lnTo>
                  <a:lnTo>
                    <a:pt x="439" y="78"/>
                  </a:lnTo>
                  <a:lnTo>
                    <a:pt x="439" y="81"/>
                  </a:lnTo>
                  <a:lnTo>
                    <a:pt x="439" y="83"/>
                  </a:lnTo>
                  <a:lnTo>
                    <a:pt x="441" y="83"/>
                  </a:lnTo>
                  <a:lnTo>
                    <a:pt x="439" y="83"/>
                  </a:lnTo>
                  <a:lnTo>
                    <a:pt x="436" y="83"/>
                  </a:lnTo>
                  <a:lnTo>
                    <a:pt x="436" y="86"/>
                  </a:lnTo>
                  <a:lnTo>
                    <a:pt x="439" y="86"/>
                  </a:lnTo>
                  <a:lnTo>
                    <a:pt x="439" y="88"/>
                  </a:lnTo>
                  <a:lnTo>
                    <a:pt x="436" y="88"/>
                  </a:lnTo>
                  <a:lnTo>
                    <a:pt x="439" y="88"/>
                  </a:lnTo>
                  <a:lnTo>
                    <a:pt x="439" y="90"/>
                  </a:lnTo>
                  <a:lnTo>
                    <a:pt x="441" y="93"/>
                  </a:lnTo>
                  <a:lnTo>
                    <a:pt x="443" y="93"/>
                  </a:lnTo>
                  <a:lnTo>
                    <a:pt x="443" y="95"/>
                  </a:lnTo>
                  <a:lnTo>
                    <a:pt x="443" y="97"/>
                  </a:lnTo>
                  <a:lnTo>
                    <a:pt x="446" y="97"/>
                  </a:lnTo>
                  <a:lnTo>
                    <a:pt x="446" y="100"/>
                  </a:lnTo>
                  <a:lnTo>
                    <a:pt x="446" y="97"/>
                  </a:lnTo>
                  <a:lnTo>
                    <a:pt x="448" y="97"/>
                  </a:lnTo>
                  <a:lnTo>
                    <a:pt x="450" y="97"/>
                  </a:lnTo>
                  <a:lnTo>
                    <a:pt x="450" y="95"/>
                  </a:lnTo>
                  <a:lnTo>
                    <a:pt x="453" y="95"/>
                  </a:lnTo>
                  <a:lnTo>
                    <a:pt x="455" y="95"/>
                  </a:lnTo>
                  <a:lnTo>
                    <a:pt x="458" y="95"/>
                  </a:lnTo>
                  <a:lnTo>
                    <a:pt x="460" y="95"/>
                  </a:lnTo>
                  <a:lnTo>
                    <a:pt x="460" y="93"/>
                  </a:lnTo>
                  <a:lnTo>
                    <a:pt x="460" y="95"/>
                  </a:lnTo>
                  <a:lnTo>
                    <a:pt x="462" y="95"/>
                  </a:lnTo>
                  <a:lnTo>
                    <a:pt x="465" y="97"/>
                  </a:lnTo>
                  <a:lnTo>
                    <a:pt x="467" y="100"/>
                  </a:lnTo>
                  <a:lnTo>
                    <a:pt x="467" y="102"/>
                  </a:lnTo>
                  <a:lnTo>
                    <a:pt x="469" y="102"/>
                  </a:lnTo>
                  <a:lnTo>
                    <a:pt x="469" y="100"/>
                  </a:lnTo>
                  <a:lnTo>
                    <a:pt x="472" y="100"/>
                  </a:lnTo>
                  <a:lnTo>
                    <a:pt x="474" y="100"/>
                  </a:lnTo>
                  <a:lnTo>
                    <a:pt x="474" y="102"/>
                  </a:lnTo>
                  <a:lnTo>
                    <a:pt x="477" y="102"/>
                  </a:lnTo>
                  <a:lnTo>
                    <a:pt x="477" y="105"/>
                  </a:lnTo>
                  <a:lnTo>
                    <a:pt x="479" y="105"/>
                  </a:lnTo>
                  <a:lnTo>
                    <a:pt x="479" y="102"/>
                  </a:lnTo>
                  <a:lnTo>
                    <a:pt x="481" y="102"/>
                  </a:lnTo>
                  <a:lnTo>
                    <a:pt x="484" y="102"/>
                  </a:lnTo>
                  <a:lnTo>
                    <a:pt x="484" y="100"/>
                  </a:lnTo>
                  <a:lnTo>
                    <a:pt x="486" y="100"/>
                  </a:lnTo>
                  <a:lnTo>
                    <a:pt x="488" y="100"/>
                  </a:lnTo>
                  <a:lnTo>
                    <a:pt x="491" y="100"/>
                  </a:lnTo>
                  <a:lnTo>
                    <a:pt x="493" y="100"/>
                  </a:lnTo>
                  <a:lnTo>
                    <a:pt x="493" y="97"/>
                  </a:lnTo>
                  <a:lnTo>
                    <a:pt x="496" y="97"/>
                  </a:lnTo>
                  <a:lnTo>
                    <a:pt x="498" y="97"/>
                  </a:lnTo>
                  <a:lnTo>
                    <a:pt x="500" y="97"/>
                  </a:lnTo>
                  <a:lnTo>
                    <a:pt x="500" y="95"/>
                  </a:lnTo>
                  <a:lnTo>
                    <a:pt x="503" y="95"/>
                  </a:lnTo>
                  <a:lnTo>
                    <a:pt x="505" y="95"/>
                  </a:lnTo>
                  <a:lnTo>
                    <a:pt x="505" y="93"/>
                  </a:lnTo>
                  <a:lnTo>
                    <a:pt x="507" y="93"/>
                  </a:lnTo>
                  <a:lnTo>
                    <a:pt x="505" y="95"/>
                  </a:lnTo>
                  <a:lnTo>
                    <a:pt x="505" y="97"/>
                  </a:lnTo>
                  <a:lnTo>
                    <a:pt x="507" y="97"/>
                  </a:lnTo>
                  <a:lnTo>
                    <a:pt x="507" y="100"/>
                  </a:lnTo>
                  <a:lnTo>
                    <a:pt x="510" y="100"/>
                  </a:lnTo>
                  <a:lnTo>
                    <a:pt x="512" y="100"/>
                  </a:lnTo>
                  <a:lnTo>
                    <a:pt x="510" y="102"/>
                  </a:lnTo>
                  <a:lnTo>
                    <a:pt x="510" y="105"/>
                  </a:lnTo>
                  <a:lnTo>
                    <a:pt x="510" y="107"/>
                  </a:lnTo>
                  <a:lnTo>
                    <a:pt x="512" y="107"/>
                  </a:lnTo>
                  <a:lnTo>
                    <a:pt x="512" y="109"/>
                  </a:lnTo>
                  <a:lnTo>
                    <a:pt x="514" y="112"/>
                  </a:lnTo>
                  <a:lnTo>
                    <a:pt x="517" y="112"/>
                  </a:lnTo>
                  <a:lnTo>
                    <a:pt x="519" y="114"/>
                  </a:lnTo>
                  <a:lnTo>
                    <a:pt x="522" y="114"/>
                  </a:lnTo>
                  <a:lnTo>
                    <a:pt x="522" y="116"/>
                  </a:lnTo>
                  <a:lnTo>
                    <a:pt x="524" y="116"/>
                  </a:lnTo>
                  <a:lnTo>
                    <a:pt x="524" y="119"/>
                  </a:lnTo>
                  <a:lnTo>
                    <a:pt x="524" y="121"/>
                  </a:lnTo>
                  <a:lnTo>
                    <a:pt x="524" y="119"/>
                  </a:lnTo>
                  <a:lnTo>
                    <a:pt x="526" y="119"/>
                  </a:lnTo>
                  <a:lnTo>
                    <a:pt x="529" y="119"/>
                  </a:lnTo>
                  <a:lnTo>
                    <a:pt x="529" y="116"/>
                  </a:lnTo>
                  <a:lnTo>
                    <a:pt x="531" y="116"/>
                  </a:lnTo>
                  <a:lnTo>
                    <a:pt x="529" y="114"/>
                  </a:lnTo>
                  <a:lnTo>
                    <a:pt x="529" y="112"/>
                  </a:lnTo>
                  <a:lnTo>
                    <a:pt x="531" y="112"/>
                  </a:lnTo>
                  <a:lnTo>
                    <a:pt x="533" y="112"/>
                  </a:lnTo>
                  <a:lnTo>
                    <a:pt x="533" y="114"/>
                  </a:lnTo>
                  <a:lnTo>
                    <a:pt x="536" y="116"/>
                  </a:lnTo>
                  <a:lnTo>
                    <a:pt x="538" y="116"/>
                  </a:lnTo>
                  <a:lnTo>
                    <a:pt x="541" y="116"/>
                  </a:lnTo>
                  <a:lnTo>
                    <a:pt x="541" y="119"/>
                  </a:lnTo>
                  <a:lnTo>
                    <a:pt x="543" y="116"/>
                  </a:lnTo>
                  <a:lnTo>
                    <a:pt x="545" y="119"/>
                  </a:lnTo>
                  <a:lnTo>
                    <a:pt x="545" y="116"/>
                  </a:lnTo>
                  <a:lnTo>
                    <a:pt x="548" y="116"/>
                  </a:lnTo>
                  <a:lnTo>
                    <a:pt x="545" y="116"/>
                  </a:lnTo>
                  <a:lnTo>
                    <a:pt x="545" y="119"/>
                  </a:lnTo>
                  <a:lnTo>
                    <a:pt x="548" y="119"/>
                  </a:lnTo>
                  <a:lnTo>
                    <a:pt x="548" y="121"/>
                  </a:lnTo>
                  <a:lnTo>
                    <a:pt x="550" y="121"/>
                  </a:lnTo>
                  <a:lnTo>
                    <a:pt x="552" y="121"/>
                  </a:lnTo>
                  <a:lnTo>
                    <a:pt x="552" y="124"/>
                  </a:lnTo>
                  <a:lnTo>
                    <a:pt x="552" y="126"/>
                  </a:lnTo>
                  <a:lnTo>
                    <a:pt x="555" y="126"/>
                  </a:lnTo>
                  <a:lnTo>
                    <a:pt x="557" y="124"/>
                  </a:lnTo>
                  <a:lnTo>
                    <a:pt x="560" y="124"/>
                  </a:lnTo>
                  <a:lnTo>
                    <a:pt x="562" y="121"/>
                  </a:lnTo>
                  <a:lnTo>
                    <a:pt x="564" y="124"/>
                  </a:lnTo>
                  <a:lnTo>
                    <a:pt x="564" y="126"/>
                  </a:lnTo>
                  <a:lnTo>
                    <a:pt x="567" y="128"/>
                  </a:lnTo>
                  <a:lnTo>
                    <a:pt x="569" y="128"/>
                  </a:lnTo>
                  <a:lnTo>
                    <a:pt x="571" y="128"/>
                  </a:lnTo>
                  <a:lnTo>
                    <a:pt x="574" y="128"/>
                  </a:lnTo>
                  <a:lnTo>
                    <a:pt x="576" y="128"/>
                  </a:lnTo>
                  <a:lnTo>
                    <a:pt x="576" y="131"/>
                  </a:lnTo>
                  <a:lnTo>
                    <a:pt x="576" y="133"/>
                  </a:lnTo>
                  <a:lnTo>
                    <a:pt x="579" y="135"/>
                  </a:lnTo>
                  <a:lnTo>
                    <a:pt x="581" y="135"/>
                  </a:lnTo>
                  <a:lnTo>
                    <a:pt x="583" y="138"/>
                  </a:lnTo>
                  <a:lnTo>
                    <a:pt x="586" y="138"/>
                  </a:lnTo>
                  <a:lnTo>
                    <a:pt x="588" y="135"/>
                  </a:lnTo>
                  <a:lnTo>
                    <a:pt x="590" y="135"/>
                  </a:lnTo>
                  <a:lnTo>
                    <a:pt x="593" y="135"/>
                  </a:lnTo>
                  <a:lnTo>
                    <a:pt x="595" y="135"/>
                  </a:lnTo>
                  <a:lnTo>
                    <a:pt x="593" y="138"/>
                  </a:lnTo>
                  <a:lnTo>
                    <a:pt x="590" y="138"/>
                  </a:lnTo>
                  <a:lnTo>
                    <a:pt x="590" y="140"/>
                  </a:lnTo>
                  <a:lnTo>
                    <a:pt x="590" y="143"/>
                  </a:lnTo>
                  <a:lnTo>
                    <a:pt x="593" y="145"/>
                  </a:lnTo>
                  <a:lnTo>
                    <a:pt x="595" y="145"/>
                  </a:lnTo>
                  <a:lnTo>
                    <a:pt x="595" y="147"/>
                  </a:lnTo>
                  <a:lnTo>
                    <a:pt x="595" y="150"/>
                  </a:lnTo>
                  <a:lnTo>
                    <a:pt x="595" y="152"/>
                  </a:lnTo>
                  <a:lnTo>
                    <a:pt x="593" y="152"/>
                  </a:lnTo>
                  <a:lnTo>
                    <a:pt x="593" y="155"/>
                  </a:lnTo>
                  <a:lnTo>
                    <a:pt x="590" y="155"/>
                  </a:lnTo>
                  <a:lnTo>
                    <a:pt x="588" y="157"/>
                  </a:lnTo>
                  <a:lnTo>
                    <a:pt x="588" y="159"/>
                  </a:lnTo>
                  <a:lnTo>
                    <a:pt x="588" y="162"/>
                  </a:lnTo>
                  <a:lnTo>
                    <a:pt x="586" y="162"/>
                  </a:lnTo>
                  <a:lnTo>
                    <a:pt x="583" y="162"/>
                  </a:lnTo>
                  <a:lnTo>
                    <a:pt x="581" y="162"/>
                  </a:lnTo>
                  <a:lnTo>
                    <a:pt x="579" y="162"/>
                  </a:lnTo>
                  <a:lnTo>
                    <a:pt x="579" y="164"/>
                  </a:lnTo>
                  <a:lnTo>
                    <a:pt x="581" y="164"/>
                  </a:lnTo>
                  <a:lnTo>
                    <a:pt x="581" y="166"/>
                  </a:lnTo>
                  <a:lnTo>
                    <a:pt x="583" y="166"/>
                  </a:lnTo>
                  <a:lnTo>
                    <a:pt x="581" y="166"/>
                  </a:lnTo>
                  <a:lnTo>
                    <a:pt x="581" y="169"/>
                  </a:lnTo>
                  <a:lnTo>
                    <a:pt x="583" y="169"/>
                  </a:lnTo>
                  <a:lnTo>
                    <a:pt x="586" y="169"/>
                  </a:lnTo>
                  <a:lnTo>
                    <a:pt x="588" y="169"/>
                  </a:lnTo>
                  <a:lnTo>
                    <a:pt x="588" y="171"/>
                  </a:lnTo>
                  <a:lnTo>
                    <a:pt x="588" y="169"/>
                  </a:lnTo>
                  <a:lnTo>
                    <a:pt x="590" y="169"/>
                  </a:lnTo>
                  <a:lnTo>
                    <a:pt x="593" y="171"/>
                  </a:lnTo>
                  <a:lnTo>
                    <a:pt x="590" y="171"/>
                  </a:lnTo>
                  <a:lnTo>
                    <a:pt x="588" y="174"/>
                  </a:lnTo>
                  <a:lnTo>
                    <a:pt x="586" y="174"/>
                  </a:lnTo>
                  <a:lnTo>
                    <a:pt x="583" y="171"/>
                  </a:lnTo>
                  <a:lnTo>
                    <a:pt x="583" y="174"/>
                  </a:lnTo>
                  <a:lnTo>
                    <a:pt x="581" y="174"/>
                  </a:lnTo>
                  <a:lnTo>
                    <a:pt x="581" y="176"/>
                  </a:lnTo>
                  <a:lnTo>
                    <a:pt x="581" y="178"/>
                  </a:lnTo>
                  <a:lnTo>
                    <a:pt x="579" y="178"/>
                  </a:lnTo>
                  <a:lnTo>
                    <a:pt x="581" y="178"/>
                  </a:lnTo>
                  <a:lnTo>
                    <a:pt x="579" y="178"/>
                  </a:lnTo>
                  <a:lnTo>
                    <a:pt x="581" y="178"/>
                  </a:lnTo>
                  <a:lnTo>
                    <a:pt x="579" y="178"/>
                  </a:lnTo>
                  <a:lnTo>
                    <a:pt x="581" y="178"/>
                  </a:lnTo>
                  <a:lnTo>
                    <a:pt x="579" y="181"/>
                  </a:lnTo>
                  <a:lnTo>
                    <a:pt x="579" y="183"/>
                  </a:lnTo>
                  <a:lnTo>
                    <a:pt x="581" y="183"/>
                  </a:lnTo>
                  <a:lnTo>
                    <a:pt x="583" y="183"/>
                  </a:lnTo>
                  <a:lnTo>
                    <a:pt x="583" y="185"/>
                  </a:lnTo>
                  <a:lnTo>
                    <a:pt x="586" y="188"/>
                  </a:lnTo>
                  <a:lnTo>
                    <a:pt x="583" y="188"/>
                  </a:lnTo>
                  <a:lnTo>
                    <a:pt x="583" y="190"/>
                  </a:lnTo>
                  <a:lnTo>
                    <a:pt x="586" y="190"/>
                  </a:lnTo>
                  <a:lnTo>
                    <a:pt x="586" y="193"/>
                  </a:lnTo>
                  <a:lnTo>
                    <a:pt x="586" y="195"/>
                  </a:lnTo>
                  <a:lnTo>
                    <a:pt x="588" y="193"/>
                  </a:lnTo>
                  <a:lnTo>
                    <a:pt x="588" y="195"/>
                  </a:lnTo>
                  <a:lnTo>
                    <a:pt x="586" y="195"/>
                  </a:lnTo>
                  <a:lnTo>
                    <a:pt x="583" y="195"/>
                  </a:lnTo>
                  <a:lnTo>
                    <a:pt x="583" y="197"/>
                  </a:lnTo>
                  <a:lnTo>
                    <a:pt x="586" y="197"/>
                  </a:lnTo>
                  <a:lnTo>
                    <a:pt x="588" y="197"/>
                  </a:lnTo>
                  <a:lnTo>
                    <a:pt x="590" y="200"/>
                  </a:lnTo>
                  <a:lnTo>
                    <a:pt x="590" y="202"/>
                  </a:lnTo>
                  <a:lnTo>
                    <a:pt x="588" y="202"/>
                  </a:lnTo>
                  <a:lnTo>
                    <a:pt x="588" y="204"/>
                  </a:lnTo>
                  <a:lnTo>
                    <a:pt x="586" y="204"/>
                  </a:lnTo>
                  <a:lnTo>
                    <a:pt x="586" y="207"/>
                  </a:lnTo>
                  <a:lnTo>
                    <a:pt x="586" y="209"/>
                  </a:lnTo>
                  <a:lnTo>
                    <a:pt x="583" y="209"/>
                  </a:lnTo>
                  <a:lnTo>
                    <a:pt x="586" y="209"/>
                  </a:lnTo>
                  <a:lnTo>
                    <a:pt x="581" y="209"/>
                  </a:lnTo>
                  <a:lnTo>
                    <a:pt x="581" y="212"/>
                  </a:lnTo>
                  <a:lnTo>
                    <a:pt x="583" y="212"/>
                  </a:lnTo>
                  <a:lnTo>
                    <a:pt x="583" y="214"/>
                  </a:lnTo>
                  <a:lnTo>
                    <a:pt x="583" y="216"/>
                  </a:lnTo>
                  <a:lnTo>
                    <a:pt x="583" y="219"/>
                  </a:lnTo>
                  <a:lnTo>
                    <a:pt x="581" y="219"/>
                  </a:lnTo>
                  <a:lnTo>
                    <a:pt x="581" y="221"/>
                  </a:lnTo>
                  <a:lnTo>
                    <a:pt x="579" y="221"/>
                  </a:lnTo>
                  <a:lnTo>
                    <a:pt x="576" y="219"/>
                  </a:lnTo>
                  <a:lnTo>
                    <a:pt x="574" y="221"/>
                  </a:lnTo>
                  <a:lnTo>
                    <a:pt x="571" y="219"/>
                  </a:lnTo>
                  <a:lnTo>
                    <a:pt x="569" y="219"/>
                  </a:lnTo>
                  <a:lnTo>
                    <a:pt x="569" y="221"/>
                  </a:lnTo>
                  <a:lnTo>
                    <a:pt x="569" y="219"/>
                  </a:lnTo>
                  <a:lnTo>
                    <a:pt x="567" y="219"/>
                  </a:lnTo>
                  <a:lnTo>
                    <a:pt x="564" y="219"/>
                  </a:lnTo>
                  <a:lnTo>
                    <a:pt x="562" y="219"/>
                  </a:lnTo>
                  <a:lnTo>
                    <a:pt x="560" y="219"/>
                  </a:lnTo>
                  <a:lnTo>
                    <a:pt x="557" y="219"/>
                  </a:lnTo>
                  <a:lnTo>
                    <a:pt x="555" y="219"/>
                  </a:lnTo>
                  <a:lnTo>
                    <a:pt x="552" y="219"/>
                  </a:lnTo>
                  <a:lnTo>
                    <a:pt x="550" y="219"/>
                  </a:lnTo>
                  <a:lnTo>
                    <a:pt x="550" y="221"/>
                  </a:lnTo>
                  <a:lnTo>
                    <a:pt x="550" y="223"/>
                  </a:lnTo>
                  <a:lnTo>
                    <a:pt x="548" y="226"/>
                  </a:lnTo>
                  <a:lnTo>
                    <a:pt x="548" y="228"/>
                  </a:lnTo>
                  <a:lnTo>
                    <a:pt x="548" y="226"/>
                  </a:lnTo>
                  <a:lnTo>
                    <a:pt x="545" y="226"/>
                  </a:lnTo>
                  <a:lnTo>
                    <a:pt x="545" y="228"/>
                  </a:lnTo>
                  <a:lnTo>
                    <a:pt x="543" y="228"/>
                  </a:lnTo>
                  <a:lnTo>
                    <a:pt x="538" y="228"/>
                  </a:lnTo>
                  <a:lnTo>
                    <a:pt x="538" y="231"/>
                  </a:lnTo>
                  <a:lnTo>
                    <a:pt x="536" y="231"/>
                  </a:lnTo>
                  <a:lnTo>
                    <a:pt x="536" y="233"/>
                  </a:lnTo>
                  <a:lnTo>
                    <a:pt x="533" y="233"/>
                  </a:lnTo>
                  <a:lnTo>
                    <a:pt x="533" y="235"/>
                  </a:lnTo>
                  <a:lnTo>
                    <a:pt x="533" y="238"/>
                  </a:lnTo>
                  <a:lnTo>
                    <a:pt x="533" y="240"/>
                  </a:lnTo>
                  <a:lnTo>
                    <a:pt x="533" y="242"/>
                  </a:lnTo>
                  <a:lnTo>
                    <a:pt x="531" y="242"/>
                  </a:lnTo>
                  <a:lnTo>
                    <a:pt x="531" y="245"/>
                  </a:lnTo>
                  <a:lnTo>
                    <a:pt x="533" y="245"/>
                  </a:lnTo>
                  <a:lnTo>
                    <a:pt x="533" y="247"/>
                  </a:lnTo>
                  <a:lnTo>
                    <a:pt x="531" y="250"/>
                  </a:lnTo>
                  <a:lnTo>
                    <a:pt x="531" y="252"/>
                  </a:lnTo>
                  <a:lnTo>
                    <a:pt x="531" y="254"/>
                  </a:lnTo>
                  <a:lnTo>
                    <a:pt x="529" y="254"/>
                  </a:lnTo>
                  <a:lnTo>
                    <a:pt x="529" y="257"/>
                  </a:lnTo>
                  <a:lnTo>
                    <a:pt x="526" y="257"/>
                  </a:lnTo>
                  <a:lnTo>
                    <a:pt x="526" y="259"/>
                  </a:lnTo>
                  <a:lnTo>
                    <a:pt x="526" y="257"/>
                  </a:lnTo>
                  <a:lnTo>
                    <a:pt x="529" y="257"/>
                  </a:lnTo>
                  <a:lnTo>
                    <a:pt x="526" y="257"/>
                  </a:lnTo>
                  <a:lnTo>
                    <a:pt x="526" y="254"/>
                  </a:lnTo>
                  <a:lnTo>
                    <a:pt x="524" y="254"/>
                  </a:lnTo>
                  <a:lnTo>
                    <a:pt x="522" y="254"/>
                  </a:lnTo>
                  <a:lnTo>
                    <a:pt x="519" y="254"/>
                  </a:lnTo>
                  <a:lnTo>
                    <a:pt x="517" y="254"/>
                  </a:lnTo>
                  <a:lnTo>
                    <a:pt x="517" y="257"/>
                  </a:lnTo>
                  <a:lnTo>
                    <a:pt x="517" y="254"/>
                  </a:lnTo>
                  <a:lnTo>
                    <a:pt x="514" y="254"/>
                  </a:lnTo>
                  <a:lnTo>
                    <a:pt x="514" y="257"/>
                  </a:lnTo>
                  <a:lnTo>
                    <a:pt x="512" y="257"/>
                  </a:lnTo>
                  <a:lnTo>
                    <a:pt x="512" y="254"/>
                  </a:lnTo>
                  <a:lnTo>
                    <a:pt x="510" y="254"/>
                  </a:lnTo>
                  <a:lnTo>
                    <a:pt x="510" y="257"/>
                  </a:lnTo>
                  <a:lnTo>
                    <a:pt x="510" y="254"/>
                  </a:lnTo>
                  <a:close/>
                  <a:moveTo>
                    <a:pt x="391" y="302"/>
                  </a:moveTo>
                  <a:lnTo>
                    <a:pt x="393" y="302"/>
                  </a:lnTo>
                  <a:lnTo>
                    <a:pt x="391" y="299"/>
                  </a:lnTo>
                  <a:lnTo>
                    <a:pt x="391" y="297"/>
                  </a:lnTo>
                  <a:lnTo>
                    <a:pt x="389" y="297"/>
                  </a:lnTo>
                  <a:lnTo>
                    <a:pt x="386" y="297"/>
                  </a:lnTo>
                  <a:lnTo>
                    <a:pt x="386" y="295"/>
                  </a:lnTo>
                  <a:lnTo>
                    <a:pt x="386" y="297"/>
                  </a:lnTo>
                  <a:lnTo>
                    <a:pt x="384" y="295"/>
                  </a:lnTo>
                  <a:lnTo>
                    <a:pt x="382" y="295"/>
                  </a:lnTo>
                  <a:lnTo>
                    <a:pt x="382" y="297"/>
                  </a:lnTo>
                  <a:lnTo>
                    <a:pt x="384" y="297"/>
                  </a:lnTo>
                  <a:lnTo>
                    <a:pt x="384" y="299"/>
                  </a:lnTo>
                  <a:lnTo>
                    <a:pt x="386" y="299"/>
                  </a:lnTo>
                  <a:lnTo>
                    <a:pt x="389" y="299"/>
                  </a:lnTo>
                  <a:lnTo>
                    <a:pt x="389" y="302"/>
                  </a:lnTo>
                  <a:lnTo>
                    <a:pt x="391" y="302"/>
                  </a:lnTo>
                  <a:lnTo>
                    <a:pt x="393" y="302"/>
                  </a:lnTo>
                  <a:lnTo>
                    <a:pt x="393" y="304"/>
                  </a:lnTo>
                  <a:lnTo>
                    <a:pt x="396" y="304"/>
                  </a:lnTo>
                  <a:lnTo>
                    <a:pt x="396" y="307"/>
                  </a:lnTo>
                  <a:lnTo>
                    <a:pt x="398" y="307"/>
                  </a:lnTo>
                  <a:lnTo>
                    <a:pt x="396" y="307"/>
                  </a:lnTo>
                  <a:lnTo>
                    <a:pt x="396" y="309"/>
                  </a:lnTo>
                  <a:lnTo>
                    <a:pt x="396" y="307"/>
                  </a:lnTo>
                  <a:lnTo>
                    <a:pt x="393" y="307"/>
                  </a:lnTo>
                  <a:lnTo>
                    <a:pt x="396" y="309"/>
                  </a:lnTo>
                  <a:lnTo>
                    <a:pt x="398" y="309"/>
                  </a:lnTo>
                  <a:lnTo>
                    <a:pt x="396" y="309"/>
                  </a:lnTo>
                  <a:lnTo>
                    <a:pt x="398" y="309"/>
                  </a:lnTo>
                  <a:lnTo>
                    <a:pt x="398" y="307"/>
                  </a:lnTo>
                  <a:lnTo>
                    <a:pt x="396" y="307"/>
                  </a:lnTo>
                  <a:lnTo>
                    <a:pt x="396" y="304"/>
                  </a:lnTo>
                  <a:lnTo>
                    <a:pt x="393" y="304"/>
                  </a:lnTo>
                  <a:lnTo>
                    <a:pt x="396" y="304"/>
                  </a:lnTo>
                  <a:lnTo>
                    <a:pt x="398" y="304"/>
                  </a:lnTo>
                  <a:lnTo>
                    <a:pt x="398" y="307"/>
                  </a:lnTo>
                  <a:lnTo>
                    <a:pt x="401" y="307"/>
                  </a:lnTo>
                  <a:lnTo>
                    <a:pt x="398" y="307"/>
                  </a:lnTo>
                  <a:lnTo>
                    <a:pt x="401" y="307"/>
                  </a:lnTo>
                  <a:lnTo>
                    <a:pt x="401" y="304"/>
                  </a:lnTo>
                  <a:lnTo>
                    <a:pt x="401" y="307"/>
                  </a:lnTo>
                  <a:lnTo>
                    <a:pt x="403" y="307"/>
                  </a:lnTo>
                  <a:lnTo>
                    <a:pt x="401" y="307"/>
                  </a:lnTo>
                  <a:lnTo>
                    <a:pt x="403" y="307"/>
                  </a:lnTo>
                  <a:lnTo>
                    <a:pt x="401" y="307"/>
                  </a:lnTo>
                  <a:lnTo>
                    <a:pt x="403" y="307"/>
                  </a:lnTo>
                  <a:lnTo>
                    <a:pt x="401" y="307"/>
                  </a:lnTo>
                  <a:lnTo>
                    <a:pt x="401" y="304"/>
                  </a:lnTo>
                  <a:lnTo>
                    <a:pt x="403" y="304"/>
                  </a:lnTo>
                  <a:lnTo>
                    <a:pt x="403" y="307"/>
                  </a:lnTo>
                  <a:lnTo>
                    <a:pt x="403" y="304"/>
                  </a:lnTo>
                  <a:lnTo>
                    <a:pt x="403" y="307"/>
                  </a:lnTo>
                  <a:lnTo>
                    <a:pt x="405" y="307"/>
                  </a:lnTo>
                  <a:lnTo>
                    <a:pt x="403" y="307"/>
                  </a:lnTo>
                  <a:lnTo>
                    <a:pt x="405" y="307"/>
                  </a:lnTo>
                  <a:lnTo>
                    <a:pt x="403" y="307"/>
                  </a:lnTo>
                  <a:lnTo>
                    <a:pt x="405" y="307"/>
                  </a:lnTo>
                  <a:lnTo>
                    <a:pt x="405" y="309"/>
                  </a:lnTo>
                  <a:lnTo>
                    <a:pt x="408" y="309"/>
                  </a:lnTo>
                  <a:lnTo>
                    <a:pt x="408" y="311"/>
                  </a:lnTo>
                  <a:lnTo>
                    <a:pt x="405" y="311"/>
                  </a:lnTo>
                  <a:lnTo>
                    <a:pt x="408" y="311"/>
                  </a:lnTo>
                  <a:lnTo>
                    <a:pt x="408" y="314"/>
                  </a:lnTo>
                  <a:lnTo>
                    <a:pt x="408" y="311"/>
                  </a:lnTo>
                  <a:lnTo>
                    <a:pt x="408" y="314"/>
                  </a:lnTo>
                  <a:lnTo>
                    <a:pt x="408" y="311"/>
                  </a:lnTo>
                  <a:lnTo>
                    <a:pt x="408" y="314"/>
                  </a:lnTo>
                  <a:lnTo>
                    <a:pt x="408" y="311"/>
                  </a:lnTo>
                  <a:lnTo>
                    <a:pt x="410" y="311"/>
                  </a:lnTo>
                  <a:lnTo>
                    <a:pt x="410" y="309"/>
                  </a:lnTo>
                  <a:lnTo>
                    <a:pt x="410" y="307"/>
                  </a:lnTo>
                  <a:lnTo>
                    <a:pt x="408" y="307"/>
                  </a:lnTo>
                  <a:lnTo>
                    <a:pt x="408" y="309"/>
                  </a:lnTo>
                  <a:lnTo>
                    <a:pt x="408" y="307"/>
                  </a:lnTo>
                  <a:lnTo>
                    <a:pt x="408" y="309"/>
                  </a:lnTo>
                  <a:lnTo>
                    <a:pt x="408" y="307"/>
                  </a:lnTo>
                  <a:lnTo>
                    <a:pt x="405" y="307"/>
                  </a:lnTo>
                  <a:lnTo>
                    <a:pt x="405" y="304"/>
                  </a:lnTo>
                  <a:lnTo>
                    <a:pt x="408" y="304"/>
                  </a:lnTo>
                  <a:lnTo>
                    <a:pt x="405" y="304"/>
                  </a:lnTo>
                  <a:lnTo>
                    <a:pt x="408" y="307"/>
                  </a:lnTo>
                  <a:lnTo>
                    <a:pt x="408" y="304"/>
                  </a:lnTo>
                  <a:lnTo>
                    <a:pt x="405" y="304"/>
                  </a:lnTo>
                  <a:lnTo>
                    <a:pt x="405" y="302"/>
                  </a:lnTo>
                  <a:lnTo>
                    <a:pt x="408" y="302"/>
                  </a:lnTo>
                  <a:lnTo>
                    <a:pt x="405" y="302"/>
                  </a:lnTo>
                  <a:lnTo>
                    <a:pt x="405" y="304"/>
                  </a:lnTo>
                  <a:lnTo>
                    <a:pt x="405" y="302"/>
                  </a:lnTo>
                  <a:lnTo>
                    <a:pt x="408" y="302"/>
                  </a:lnTo>
                  <a:lnTo>
                    <a:pt x="410" y="302"/>
                  </a:lnTo>
                  <a:lnTo>
                    <a:pt x="410" y="299"/>
                  </a:lnTo>
                  <a:lnTo>
                    <a:pt x="412" y="299"/>
                  </a:lnTo>
                  <a:lnTo>
                    <a:pt x="412" y="302"/>
                  </a:lnTo>
                  <a:lnTo>
                    <a:pt x="412" y="304"/>
                  </a:lnTo>
                  <a:lnTo>
                    <a:pt x="410" y="304"/>
                  </a:lnTo>
                  <a:lnTo>
                    <a:pt x="412" y="304"/>
                  </a:lnTo>
                  <a:lnTo>
                    <a:pt x="410" y="304"/>
                  </a:lnTo>
                  <a:lnTo>
                    <a:pt x="410" y="307"/>
                  </a:lnTo>
                  <a:lnTo>
                    <a:pt x="410" y="309"/>
                  </a:lnTo>
                  <a:lnTo>
                    <a:pt x="412" y="309"/>
                  </a:lnTo>
                  <a:lnTo>
                    <a:pt x="412" y="311"/>
                  </a:lnTo>
                  <a:lnTo>
                    <a:pt x="410" y="311"/>
                  </a:lnTo>
                  <a:lnTo>
                    <a:pt x="410" y="314"/>
                  </a:lnTo>
                  <a:lnTo>
                    <a:pt x="410" y="311"/>
                  </a:lnTo>
                  <a:lnTo>
                    <a:pt x="410" y="314"/>
                  </a:lnTo>
                  <a:lnTo>
                    <a:pt x="408" y="314"/>
                  </a:lnTo>
                  <a:lnTo>
                    <a:pt x="408" y="316"/>
                  </a:lnTo>
                  <a:lnTo>
                    <a:pt x="410" y="316"/>
                  </a:lnTo>
                  <a:lnTo>
                    <a:pt x="408" y="316"/>
                  </a:lnTo>
                  <a:lnTo>
                    <a:pt x="410" y="316"/>
                  </a:lnTo>
                  <a:lnTo>
                    <a:pt x="410" y="314"/>
                  </a:lnTo>
                  <a:lnTo>
                    <a:pt x="412" y="314"/>
                  </a:lnTo>
                  <a:lnTo>
                    <a:pt x="410" y="314"/>
                  </a:lnTo>
                  <a:lnTo>
                    <a:pt x="412" y="314"/>
                  </a:lnTo>
                  <a:lnTo>
                    <a:pt x="415" y="314"/>
                  </a:lnTo>
                  <a:lnTo>
                    <a:pt x="415" y="311"/>
                  </a:lnTo>
                  <a:lnTo>
                    <a:pt x="417" y="311"/>
                  </a:lnTo>
                  <a:lnTo>
                    <a:pt x="417" y="314"/>
                  </a:lnTo>
                  <a:lnTo>
                    <a:pt x="417" y="311"/>
                  </a:lnTo>
                  <a:lnTo>
                    <a:pt x="417" y="314"/>
                  </a:lnTo>
                  <a:lnTo>
                    <a:pt x="415" y="314"/>
                  </a:lnTo>
                  <a:lnTo>
                    <a:pt x="417" y="314"/>
                  </a:lnTo>
                  <a:lnTo>
                    <a:pt x="415" y="314"/>
                  </a:lnTo>
                  <a:lnTo>
                    <a:pt x="412" y="314"/>
                  </a:lnTo>
                  <a:lnTo>
                    <a:pt x="412" y="316"/>
                  </a:lnTo>
                  <a:lnTo>
                    <a:pt x="415" y="316"/>
                  </a:lnTo>
                  <a:lnTo>
                    <a:pt x="417" y="316"/>
                  </a:lnTo>
                  <a:lnTo>
                    <a:pt x="417" y="318"/>
                  </a:lnTo>
                  <a:lnTo>
                    <a:pt x="415" y="318"/>
                  </a:lnTo>
                  <a:lnTo>
                    <a:pt x="415" y="321"/>
                  </a:lnTo>
                  <a:lnTo>
                    <a:pt x="415" y="318"/>
                  </a:lnTo>
                  <a:lnTo>
                    <a:pt x="417" y="318"/>
                  </a:lnTo>
                  <a:lnTo>
                    <a:pt x="420" y="318"/>
                  </a:lnTo>
                  <a:lnTo>
                    <a:pt x="420" y="321"/>
                  </a:lnTo>
                  <a:lnTo>
                    <a:pt x="420" y="318"/>
                  </a:lnTo>
                  <a:lnTo>
                    <a:pt x="420" y="321"/>
                  </a:lnTo>
                  <a:lnTo>
                    <a:pt x="420" y="318"/>
                  </a:lnTo>
                  <a:lnTo>
                    <a:pt x="420" y="321"/>
                  </a:lnTo>
                  <a:lnTo>
                    <a:pt x="422" y="321"/>
                  </a:lnTo>
                  <a:lnTo>
                    <a:pt x="424" y="321"/>
                  </a:lnTo>
                  <a:lnTo>
                    <a:pt x="424" y="323"/>
                  </a:lnTo>
                  <a:lnTo>
                    <a:pt x="424" y="326"/>
                  </a:lnTo>
                  <a:lnTo>
                    <a:pt x="427" y="326"/>
                  </a:lnTo>
                  <a:lnTo>
                    <a:pt x="427" y="328"/>
                  </a:lnTo>
                  <a:lnTo>
                    <a:pt x="427" y="330"/>
                  </a:lnTo>
                  <a:lnTo>
                    <a:pt x="427" y="333"/>
                  </a:lnTo>
                  <a:lnTo>
                    <a:pt x="424" y="333"/>
                  </a:lnTo>
                  <a:lnTo>
                    <a:pt x="424" y="335"/>
                  </a:lnTo>
                  <a:lnTo>
                    <a:pt x="424" y="333"/>
                  </a:lnTo>
                  <a:lnTo>
                    <a:pt x="427" y="335"/>
                  </a:lnTo>
                  <a:lnTo>
                    <a:pt x="427" y="337"/>
                  </a:lnTo>
                  <a:lnTo>
                    <a:pt x="429" y="337"/>
                  </a:lnTo>
                  <a:lnTo>
                    <a:pt x="431" y="337"/>
                  </a:lnTo>
                  <a:lnTo>
                    <a:pt x="431" y="340"/>
                  </a:lnTo>
                  <a:lnTo>
                    <a:pt x="434" y="340"/>
                  </a:lnTo>
                  <a:lnTo>
                    <a:pt x="436" y="340"/>
                  </a:lnTo>
                  <a:lnTo>
                    <a:pt x="436" y="342"/>
                  </a:lnTo>
                  <a:lnTo>
                    <a:pt x="439" y="342"/>
                  </a:lnTo>
                  <a:lnTo>
                    <a:pt x="439" y="340"/>
                  </a:lnTo>
                  <a:lnTo>
                    <a:pt x="436" y="337"/>
                  </a:lnTo>
                  <a:lnTo>
                    <a:pt x="436" y="335"/>
                  </a:lnTo>
                  <a:lnTo>
                    <a:pt x="436" y="337"/>
                  </a:lnTo>
                  <a:lnTo>
                    <a:pt x="436" y="335"/>
                  </a:lnTo>
                  <a:lnTo>
                    <a:pt x="434" y="335"/>
                  </a:lnTo>
                  <a:lnTo>
                    <a:pt x="434" y="333"/>
                  </a:lnTo>
                  <a:lnTo>
                    <a:pt x="431" y="333"/>
                  </a:lnTo>
                  <a:lnTo>
                    <a:pt x="431" y="330"/>
                  </a:lnTo>
                  <a:lnTo>
                    <a:pt x="429" y="330"/>
                  </a:lnTo>
                  <a:lnTo>
                    <a:pt x="429" y="328"/>
                  </a:lnTo>
                  <a:lnTo>
                    <a:pt x="427" y="326"/>
                  </a:lnTo>
                  <a:lnTo>
                    <a:pt x="427" y="323"/>
                  </a:lnTo>
                  <a:lnTo>
                    <a:pt x="427" y="326"/>
                  </a:lnTo>
                  <a:lnTo>
                    <a:pt x="427" y="323"/>
                  </a:lnTo>
                  <a:lnTo>
                    <a:pt x="424" y="323"/>
                  </a:lnTo>
                  <a:lnTo>
                    <a:pt x="424" y="321"/>
                  </a:lnTo>
                  <a:lnTo>
                    <a:pt x="424" y="318"/>
                  </a:lnTo>
                  <a:lnTo>
                    <a:pt x="422" y="318"/>
                  </a:lnTo>
                  <a:lnTo>
                    <a:pt x="422" y="316"/>
                  </a:lnTo>
                  <a:lnTo>
                    <a:pt x="422" y="314"/>
                  </a:lnTo>
                  <a:lnTo>
                    <a:pt x="420" y="314"/>
                  </a:lnTo>
                  <a:lnTo>
                    <a:pt x="420" y="316"/>
                  </a:lnTo>
                  <a:lnTo>
                    <a:pt x="420" y="314"/>
                  </a:lnTo>
                  <a:lnTo>
                    <a:pt x="417" y="314"/>
                  </a:lnTo>
                  <a:lnTo>
                    <a:pt x="420" y="316"/>
                  </a:lnTo>
                  <a:lnTo>
                    <a:pt x="417" y="316"/>
                  </a:lnTo>
                  <a:lnTo>
                    <a:pt x="417" y="314"/>
                  </a:lnTo>
                  <a:lnTo>
                    <a:pt x="420" y="314"/>
                  </a:lnTo>
                  <a:lnTo>
                    <a:pt x="420" y="311"/>
                  </a:lnTo>
                  <a:lnTo>
                    <a:pt x="417" y="311"/>
                  </a:lnTo>
                  <a:lnTo>
                    <a:pt x="420" y="311"/>
                  </a:lnTo>
                  <a:lnTo>
                    <a:pt x="420" y="309"/>
                  </a:lnTo>
                  <a:lnTo>
                    <a:pt x="420" y="307"/>
                  </a:lnTo>
                  <a:lnTo>
                    <a:pt x="420" y="309"/>
                  </a:lnTo>
                  <a:lnTo>
                    <a:pt x="420" y="307"/>
                  </a:lnTo>
                  <a:lnTo>
                    <a:pt x="417" y="307"/>
                  </a:lnTo>
                  <a:lnTo>
                    <a:pt x="417" y="304"/>
                  </a:lnTo>
                  <a:lnTo>
                    <a:pt x="417" y="307"/>
                  </a:lnTo>
                  <a:lnTo>
                    <a:pt x="415" y="307"/>
                  </a:lnTo>
                  <a:lnTo>
                    <a:pt x="415" y="304"/>
                  </a:lnTo>
                  <a:lnTo>
                    <a:pt x="415" y="302"/>
                  </a:lnTo>
                  <a:lnTo>
                    <a:pt x="412" y="302"/>
                  </a:lnTo>
                  <a:lnTo>
                    <a:pt x="415" y="302"/>
                  </a:lnTo>
                  <a:lnTo>
                    <a:pt x="417" y="302"/>
                  </a:lnTo>
                  <a:lnTo>
                    <a:pt x="417" y="304"/>
                  </a:lnTo>
                  <a:lnTo>
                    <a:pt x="417" y="302"/>
                  </a:lnTo>
                  <a:lnTo>
                    <a:pt x="417" y="299"/>
                  </a:lnTo>
                  <a:lnTo>
                    <a:pt x="417" y="302"/>
                  </a:lnTo>
                  <a:lnTo>
                    <a:pt x="417" y="299"/>
                  </a:lnTo>
                  <a:lnTo>
                    <a:pt x="417" y="302"/>
                  </a:lnTo>
                  <a:lnTo>
                    <a:pt x="417" y="299"/>
                  </a:lnTo>
                  <a:lnTo>
                    <a:pt x="415" y="299"/>
                  </a:lnTo>
                  <a:lnTo>
                    <a:pt x="417" y="299"/>
                  </a:lnTo>
                  <a:lnTo>
                    <a:pt x="415" y="299"/>
                  </a:lnTo>
                  <a:lnTo>
                    <a:pt x="417" y="299"/>
                  </a:lnTo>
                  <a:lnTo>
                    <a:pt x="415" y="299"/>
                  </a:lnTo>
                  <a:lnTo>
                    <a:pt x="415" y="297"/>
                  </a:lnTo>
                  <a:lnTo>
                    <a:pt x="412" y="299"/>
                  </a:lnTo>
                  <a:lnTo>
                    <a:pt x="410" y="299"/>
                  </a:lnTo>
                  <a:lnTo>
                    <a:pt x="410" y="297"/>
                  </a:lnTo>
                  <a:lnTo>
                    <a:pt x="408" y="297"/>
                  </a:lnTo>
                  <a:lnTo>
                    <a:pt x="408" y="299"/>
                  </a:lnTo>
                  <a:lnTo>
                    <a:pt x="405" y="299"/>
                  </a:lnTo>
                  <a:lnTo>
                    <a:pt x="405" y="297"/>
                  </a:lnTo>
                  <a:lnTo>
                    <a:pt x="403" y="297"/>
                  </a:lnTo>
                  <a:lnTo>
                    <a:pt x="403" y="295"/>
                  </a:lnTo>
                  <a:lnTo>
                    <a:pt x="403" y="297"/>
                  </a:lnTo>
                  <a:lnTo>
                    <a:pt x="403" y="295"/>
                  </a:lnTo>
                  <a:lnTo>
                    <a:pt x="401" y="295"/>
                  </a:lnTo>
                  <a:lnTo>
                    <a:pt x="401" y="297"/>
                  </a:lnTo>
                  <a:lnTo>
                    <a:pt x="403" y="297"/>
                  </a:lnTo>
                  <a:lnTo>
                    <a:pt x="401" y="297"/>
                  </a:lnTo>
                  <a:lnTo>
                    <a:pt x="403" y="297"/>
                  </a:lnTo>
                  <a:lnTo>
                    <a:pt x="401" y="297"/>
                  </a:lnTo>
                  <a:lnTo>
                    <a:pt x="401" y="299"/>
                  </a:lnTo>
                  <a:lnTo>
                    <a:pt x="403" y="299"/>
                  </a:lnTo>
                  <a:lnTo>
                    <a:pt x="401" y="299"/>
                  </a:lnTo>
                  <a:lnTo>
                    <a:pt x="401" y="302"/>
                  </a:lnTo>
                  <a:lnTo>
                    <a:pt x="401" y="299"/>
                  </a:lnTo>
                  <a:lnTo>
                    <a:pt x="401" y="297"/>
                  </a:lnTo>
                  <a:lnTo>
                    <a:pt x="398" y="299"/>
                  </a:lnTo>
                  <a:lnTo>
                    <a:pt x="398" y="302"/>
                  </a:lnTo>
                  <a:lnTo>
                    <a:pt x="401" y="302"/>
                  </a:lnTo>
                  <a:lnTo>
                    <a:pt x="401" y="299"/>
                  </a:lnTo>
                  <a:lnTo>
                    <a:pt x="401" y="302"/>
                  </a:lnTo>
                  <a:lnTo>
                    <a:pt x="401" y="304"/>
                  </a:lnTo>
                  <a:lnTo>
                    <a:pt x="398" y="304"/>
                  </a:lnTo>
                  <a:lnTo>
                    <a:pt x="398" y="302"/>
                  </a:lnTo>
                  <a:lnTo>
                    <a:pt x="398" y="299"/>
                  </a:lnTo>
                  <a:lnTo>
                    <a:pt x="396" y="299"/>
                  </a:lnTo>
                  <a:lnTo>
                    <a:pt x="396" y="297"/>
                  </a:lnTo>
                  <a:lnTo>
                    <a:pt x="396" y="299"/>
                  </a:lnTo>
                  <a:lnTo>
                    <a:pt x="396" y="297"/>
                  </a:lnTo>
                  <a:lnTo>
                    <a:pt x="396" y="299"/>
                  </a:lnTo>
                  <a:lnTo>
                    <a:pt x="393" y="299"/>
                  </a:lnTo>
                  <a:lnTo>
                    <a:pt x="396" y="299"/>
                  </a:lnTo>
                  <a:lnTo>
                    <a:pt x="396" y="302"/>
                  </a:lnTo>
                  <a:lnTo>
                    <a:pt x="396" y="299"/>
                  </a:lnTo>
                  <a:lnTo>
                    <a:pt x="396" y="302"/>
                  </a:lnTo>
                  <a:lnTo>
                    <a:pt x="396" y="299"/>
                  </a:lnTo>
                  <a:lnTo>
                    <a:pt x="393" y="302"/>
                  </a:lnTo>
                  <a:lnTo>
                    <a:pt x="393" y="299"/>
                  </a:lnTo>
                  <a:lnTo>
                    <a:pt x="393" y="302"/>
                  </a:lnTo>
                  <a:lnTo>
                    <a:pt x="391" y="302"/>
                  </a:lnTo>
                  <a:close/>
                  <a:moveTo>
                    <a:pt x="386" y="299"/>
                  </a:moveTo>
                  <a:lnTo>
                    <a:pt x="384" y="299"/>
                  </a:lnTo>
                  <a:lnTo>
                    <a:pt x="386" y="299"/>
                  </a:lnTo>
                  <a:lnTo>
                    <a:pt x="384" y="299"/>
                  </a:lnTo>
                  <a:lnTo>
                    <a:pt x="384" y="297"/>
                  </a:lnTo>
                  <a:lnTo>
                    <a:pt x="382" y="297"/>
                  </a:lnTo>
                  <a:lnTo>
                    <a:pt x="382" y="299"/>
                  </a:lnTo>
                  <a:lnTo>
                    <a:pt x="384" y="299"/>
                  </a:lnTo>
                  <a:lnTo>
                    <a:pt x="384" y="302"/>
                  </a:lnTo>
                  <a:lnTo>
                    <a:pt x="384" y="299"/>
                  </a:lnTo>
                  <a:lnTo>
                    <a:pt x="386" y="299"/>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5" name="Freeform 57765"/>
            <p:cNvSpPr>
              <a:spLocks noEditPoints="1"/>
            </p:cNvSpPr>
            <p:nvPr/>
          </p:nvSpPr>
          <p:spPr bwMode="auto">
            <a:xfrm>
              <a:off x="3543296" y="4946671"/>
              <a:ext cx="400050" cy="112713"/>
            </a:xfrm>
            <a:custGeom>
              <a:avLst/>
              <a:gdLst>
                <a:gd name="T0" fmla="*/ 249 w 252"/>
                <a:gd name="T1" fmla="*/ 69 h 71"/>
                <a:gd name="T2" fmla="*/ 26 w 252"/>
                <a:gd name="T3" fmla="*/ 69 h 71"/>
                <a:gd name="T4" fmla="*/ 24 w 252"/>
                <a:gd name="T5" fmla="*/ 69 h 71"/>
                <a:gd name="T6" fmla="*/ 0 w 252"/>
                <a:gd name="T7" fmla="*/ 66 h 71"/>
                <a:gd name="T8" fmla="*/ 2 w 252"/>
                <a:gd name="T9" fmla="*/ 66 h 71"/>
                <a:gd name="T10" fmla="*/ 5 w 252"/>
                <a:gd name="T11" fmla="*/ 66 h 71"/>
                <a:gd name="T12" fmla="*/ 10 w 252"/>
                <a:gd name="T13" fmla="*/ 64 h 71"/>
                <a:gd name="T14" fmla="*/ 10 w 252"/>
                <a:gd name="T15" fmla="*/ 62 h 71"/>
                <a:gd name="T16" fmla="*/ 17 w 252"/>
                <a:gd name="T17" fmla="*/ 62 h 71"/>
                <a:gd name="T18" fmla="*/ 26 w 252"/>
                <a:gd name="T19" fmla="*/ 62 h 71"/>
                <a:gd name="T20" fmla="*/ 24 w 252"/>
                <a:gd name="T21" fmla="*/ 66 h 71"/>
                <a:gd name="T22" fmla="*/ 24 w 252"/>
                <a:gd name="T23" fmla="*/ 64 h 71"/>
                <a:gd name="T24" fmla="*/ 24 w 252"/>
                <a:gd name="T25" fmla="*/ 62 h 71"/>
                <a:gd name="T26" fmla="*/ 26 w 252"/>
                <a:gd name="T27" fmla="*/ 62 h 71"/>
                <a:gd name="T28" fmla="*/ 26 w 252"/>
                <a:gd name="T29" fmla="*/ 62 h 71"/>
                <a:gd name="T30" fmla="*/ 26 w 252"/>
                <a:gd name="T31" fmla="*/ 62 h 71"/>
                <a:gd name="T32" fmla="*/ 192 w 252"/>
                <a:gd name="T33" fmla="*/ 40 h 71"/>
                <a:gd name="T34" fmla="*/ 192 w 252"/>
                <a:gd name="T35" fmla="*/ 38 h 71"/>
                <a:gd name="T36" fmla="*/ 192 w 252"/>
                <a:gd name="T37" fmla="*/ 36 h 71"/>
                <a:gd name="T38" fmla="*/ 190 w 252"/>
                <a:gd name="T39" fmla="*/ 36 h 71"/>
                <a:gd name="T40" fmla="*/ 119 w 252"/>
                <a:gd name="T41" fmla="*/ 33 h 71"/>
                <a:gd name="T42" fmla="*/ 126 w 252"/>
                <a:gd name="T43" fmla="*/ 33 h 71"/>
                <a:gd name="T44" fmla="*/ 126 w 252"/>
                <a:gd name="T45" fmla="*/ 36 h 71"/>
                <a:gd name="T46" fmla="*/ 128 w 252"/>
                <a:gd name="T47" fmla="*/ 36 h 71"/>
                <a:gd name="T48" fmla="*/ 128 w 252"/>
                <a:gd name="T49" fmla="*/ 33 h 71"/>
                <a:gd name="T50" fmla="*/ 131 w 252"/>
                <a:gd name="T51" fmla="*/ 33 h 71"/>
                <a:gd name="T52" fmla="*/ 133 w 252"/>
                <a:gd name="T53" fmla="*/ 36 h 71"/>
                <a:gd name="T54" fmla="*/ 135 w 252"/>
                <a:gd name="T55" fmla="*/ 36 h 71"/>
                <a:gd name="T56" fmla="*/ 128 w 252"/>
                <a:gd name="T57" fmla="*/ 36 h 71"/>
                <a:gd name="T58" fmla="*/ 121 w 252"/>
                <a:gd name="T59" fmla="*/ 33 h 71"/>
                <a:gd name="T60" fmla="*/ 90 w 252"/>
                <a:gd name="T61" fmla="*/ 24 h 71"/>
                <a:gd name="T62" fmla="*/ 90 w 252"/>
                <a:gd name="T63" fmla="*/ 26 h 71"/>
                <a:gd name="T64" fmla="*/ 97 w 252"/>
                <a:gd name="T65" fmla="*/ 26 h 71"/>
                <a:gd name="T66" fmla="*/ 100 w 252"/>
                <a:gd name="T67" fmla="*/ 26 h 71"/>
                <a:gd name="T68" fmla="*/ 100 w 252"/>
                <a:gd name="T69" fmla="*/ 28 h 71"/>
                <a:gd name="T70" fmla="*/ 88 w 252"/>
                <a:gd name="T71" fmla="*/ 26 h 71"/>
                <a:gd name="T72" fmla="*/ 85 w 252"/>
                <a:gd name="T73" fmla="*/ 21 h 71"/>
                <a:gd name="T74" fmla="*/ 85 w 252"/>
                <a:gd name="T75" fmla="*/ 19 h 71"/>
                <a:gd name="T76" fmla="*/ 88 w 252"/>
                <a:gd name="T77" fmla="*/ 24 h 71"/>
                <a:gd name="T78" fmla="*/ 93 w 252"/>
                <a:gd name="T79" fmla="*/ 17 h 71"/>
                <a:gd name="T80" fmla="*/ 93 w 252"/>
                <a:gd name="T81" fmla="*/ 19 h 71"/>
                <a:gd name="T82" fmla="*/ 93 w 252"/>
                <a:gd name="T83" fmla="*/ 17 h 71"/>
                <a:gd name="T84" fmla="*/ 109 w 252"/>
                <a:gd name="T85" fmla="*/ 12 h 71"/>
                <a:gd name="T86" fmla="*/ 235 w 252"/>
                <a:gd name="T87" fmla="*/ 12 h 71"/>
                <a:gd name="T88" fmla="*/ 112 w 252"/>
                <a:gd name="T89" fmla="*/ 12 h 71"/>
                <a:gd name="T90" fmla="*/ 109 w 252"/>
                <a:gd name="T91" fmla="*/ 12 h 71"/>
                <a:gd name="T92" fmla="*/ 102 w 252"/>
                <a:gd name="T93" fmla="*/ 12 h 71"/>
                <a:gd name="T94" fmla="*/ 104 w 252"/>
                <a:gd name="T95" fmla="*/ 12 h 71"/>
                <a:gd name="T96" fmla="*/ 112 w 252"/>
                <a:gd name="T97" fmla="*/ 12 h 71"/>
                <a:gd name="T98" fmla="*/ 109 w 252"/>
                <a:gd name="T99" fmla="*/ 12 h 71"/>
                <a:gd name="T100" fmla="*/ 109 w 252"/>
                <a:gd name="T101" fmla="*/ 9 h 71"/>
                <a:gd name="T102" fmla="*/ 116 w 252"/>
                <a:gd name="T103" fmla="*/ 9 h 71"/>
                <a:gd name="T104" fmla="*/ 116 w 252"/>
                <a:gd name="T105" fmla="*/ 12 h 71"/>
                <a:gd name="T106" fmla="*/ 114 w 252"/>
                <a:gd name="T107" fmla="*/ 12 h 71"/>
                <a:gd name="T108" fmla="*/ 119 w 252"/>
                <a:gd name="T109" fmla="*/ 9 h 71"/>
                <a:gd name="T110" fmla="*/ 119 w 252"/>
                <a:gd name="T111" fmla="*/ 7 h 71"/>
                <a:gd name="T112" fmla="*/ 138 w 252"/>
                <a:gd name="T11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 h="71">
                  <a:moveTo>
                    <a:pt x="252" y="71"/>
                  </a:moveTo>
                  <a:lnTo>
                    <a:pt x="249" y="71"/>
                  </a:lnTo>
                  <a:lnTo>
                    <a:pt x="249" y="69"/>
                  </a:lnTo>
                  <a:lnTo>
                    <a:pt x="252" y="71"/>
                  </a:lnTo>
                  <a:close/>
                  <a:moveTo>
                    <a:pt x="26" y="66"/>
                  </a:moveTo>
                  <a:lnTo>
                    <a:pt x="26" y="69"/>
                  </a:lnTo>
                  <a:lnTo>
                    <a:pt x="26" y="71"/>
                  </a:lnTo>
                  <a:lnTo>
                    <a:pt x="24" y="71"/>
                  </a:lnTo>
                  <a:lnTo>
                    <a:pt x="24" y="69"/>
                  </a:lnTo>
                  <a:lnTo>
                    <a:pt x="24" y="66"/>
                  </a:lnTo>
                  <a:lnTo>
                    <a:pt x="26" y="66"/>
                  </a:lnTo>
                  <a:close/>
                  <a:moveTo>
                    <a:pt x="0" y="66"/>
                  </a:moveTo>
                  <a:lnTo>
                    <a:pt x="2" y="66"/>
                  </a:lnTo>
                  <a:lnTo>
                    <a:pt x="0" y="66"/>
                  </a:lnTo>
                  <a:close/>
                  <a:moveTo>
                    <a:pt x="2" y="66"/>
                  </a:moveTo>
                  <a:lnTo>
                    <a:pt x="2" y="64"/>
                  </a:lnTo>
                  <a:lnTo>
                    <a:pt x="5" y="64"/>
                  </a:lnTo>
                  <a:lnTo>
                    <a:pt x="5" y="66"/>
                  </a:lnTo>
                  <a:lnTo>
                    <a:pt x="2" y="66"/>
                  </a:lnTo>
                  <a:close/>
                  <a:moveTo>
                    <a:pt x="10" y="62"/>
                  </a:moveTo>
                  <a:lnTo>
                    <a:pt x="10" y="64"/>
                  </a:lnTo>
                  <a:lnTo>
                    <a:pt x="7" y="64"/>
                  </a:lnTo>
                  <a:lnTo>
                    <a:pt x="7" y="62"/>
                  </a:lnTo>
                  <a:lnTo>
                    <a:pt x="10" y="62"/>
                  </a:lnTo>
                  <a:close/>
                  <a:moveTo>
                    <a:pt x="19" y="64"/>
                  </a:moveTo>
                  <a:lnTo>
                    <a:pt x="17" y="64"/>
                  </a:lnTo>
                  <a:lnTo>
                    <a:pt x="17" y="62"/>
                  </a:lnTo>
                  <a:lnTo>
                    <a:pt x="19" y="62"/>
                  </a:lnTo>
                  <a:lnTo>
                    <a:pt x="19" y="64"/>
                  </a:lnTo>
                  <a:close/>
                  <a:moveTo>
                    <a:pt x="26" y="62"/>
                  </a:moveTo>
                  <a:lnTo>
                    <a:pt x="26" y="64"/>
                  </a:lnTo>
                  <a:lnTo>
                    <a:pt x="26" y="66"/>
                  </a:lnTo>
                  <a:lnTo>
                    <a:pt x="24" y="66"/>
                  </a:lnTo>
                  <a:lnTo>
                    <a:pt x="21" y="66"/>
                  </a:lnTo>
                  <a:lnTo>
                    <a:pt x="21" y="64"/>
                  </a:lnTo>
                  <a:lnTo>
                    <a:pt x="24" y="64"/>
                  </a:lnTo>
                  <a:lnTo>
                    <a:pt x="24" y="62"/>
                  </a:lnTo>
                  <a:lnTo>
                    <a:pt x="26" y="62"/>
                  </a:lnTo>
                  <a:close/>
                  <a:moveTo>
                    <a:pt x="24" y="62"/>
                  </a:moveTo>
                  <a:lnTo>
                    <a:pt x="21" y="59"/>
                  </a:lnTo>
                  <a:lnTo>
                    <a:pt x="24" y="62"/>
                  </a:lnTo>
                  <a:close/>
                  <a:moveTo>
                    <a:pt x="26" y="62"/>
                  </a:moveTo>
                  <a:lnTo>
                    <a:pt x="26" y="59"/>
                  </a:lnTo>
                  <a:lnTo>
                    <a:pt x="26" y="62"/>
                  </a:lnTo>
                  <a:close/>
                  <a:moveTo>
                    <a:pt x="26" y="62"/>
                  </a:moveTo>
                  <a:lnTo>
                    <a:pt x="24" y="62"/>
                  </a:lnTo>
                  <a:lnTo>
                    <a:pt x="26" y="59"/>
                  </a:lnTo>
                  <a:lnTo>
                    <a:pt x="26" y="62"/>
                  </a:lnTo>
                  <a:close/>
                  <a:moveTo>
                    <a:pt x="190" y="38"/>
                  </a:moveTo>
                  <a:lnTo>
                    <a:pt x="192" y="38"/>
                  </a:lnTo>
                  <a:lnTo>
                    <a:pt x="192" y="40"/>
                  </a:lnTo>
                  <a:lnTo>
                    <a:pt x="192" y="38"/>
                  </a:lnTo>
                  <a:lnTo>
                    <a:pt x="192" y="40"/>
                  </a:lnTo>
                  <a:lnTo>
                    <a:pt x="192" y="38"/>
                  </a:lnTo>
                  <a:lnTo>
                    <a:pt x="190" y="38"/>
                  </a:lnTo>
                  <a:close/>
                  <a:moveTo>
                    <a:pt x="190" y="36"/>
                  </a:moveTo>
                  <a:lnTo>
                    <a:pt x="192" y="36"/>
                  </a:lnTo>
                  <a:lnTo>
                    <a:pt x="192" y="38"/>
                  </a:lnTo>
                  <a:lnTo>
                    <a:pt x="190" y="38"/>
                  </a:lnTo>
                  <a:lnTo>
                    <a:pt x="190" y="36"/>
                  </a:lnTo>
                  <a:lnTo>
                    <a:pt x="190" y="38"/>
                  </a:lnTo>
                  <a:lnTo>
                    <a:pt x="190" y="36"/>
                  </a:lnTo>
                  <a:close/>
                  <a:moveTo>
                    <a:pt x="119" y="33"/>
                  </a:moveTo>
                  <a:lnTo>
                    <a:pt x="121" y="33"/>
                  </a:lnTo>
                  <a:lnTo>
                    <a:pt x="123" y="33"/>
                  </a:lnTo>
                  <a:lnTo>
                    <a:pt x="126" y="33"/>
                  </a:lnTo>
                  <a:lnTo>
                    <a:pt x="126" y="36"/>
                  </a:lnTo>
                  <a:lnTo>
                    <a:pt x="126" y="33"/>
                  </a:lnTo>
                  <a:lnTo>
                    <a:pt x="126" y="36"/>
                  </a:lnTo>
                  <a:lnTo>
                    <a:pt x="128" y="36"/>
                  </a:lnTo>
                  <a:lnTo>
                    <a:pt x="128" y="33"/>
                  </a:lnTo>
                  <a:lnTo>
                    <a:pt x="128" y="36"/>
                  </a:lnTo>
                  <a:lnTo>
                    <a:pt x="128" y="33"/>
                  </a:lnTo>
                  <a:lnTo>
                    <a:pt x="126" y="33"/>
                  </a:lnTo>
                  <a:lnTo>
                    <a:pt x="128" y="33"/>
                  </a:lnTo>
                  <a:lnTo>
                    <a:pt x="131" y="33"/>
                  </a:lnTo>
                  <a:lnTo>
                    <a:pt x="128" y="33"/>
                  </a:lnTo>
                  <a:lnTo>
                    <a:pt x="131" y="33"/>
                  </a:lnTo>
                  <a:lnTo>
                    <a:pt x="128" y="33"/>
                  </a:lnTo>
                  <a:lnTo>
                    <a:pt x="131" y="33"/>
                  </a:lnTo>
                  <a:lnTo>
                    <a:pt x="133" y="36"/>
                  </a:lnTo>
                  <a:lnTo>
                    <a:pt x="135" y="36"/>
                  </a:lnTo>
                  <a:lnTo>
                    <a:pt x="133" y="36"/>
                  </a:lnTo>
                  <a:lnTo>
                    <a:pt x="135" y="36"/>
                  </a:lnTo>
                  <a:lnTo>
                    <a:pt x="133" y="36"/>
                  </a:lnTo>
                  <a:lnTo>
                    <a:pt x="131" y="36"/>
                  </a:lnTo>
                  <a:lnTo>
                    <a:pt x="128" y="36"/>
                  </a:lnTo>
                  <a:lnTo>
                    <a:pt x="126" y="36"/>
                  </a:lnTo>
                  <a:lnTo>
                    <a:pt x="123" y="33"/>
                  </a:lnTo>
                  <a:lnTo>
                    <a:pt x="121" y="33"/>
                  </a:lnTo>
                  <a:lnTo>
                    <a:pt x="119" y="33"/>
                  </a:lnTo>
                  <a:close/>
                  <a:moveTo>
                    <a:pt x="88" y="24"/>
                  </a:moveTo>
                  <a:lnTo>
                    <a:pt x="90" y="24"/>
                  </a:lnTo>
                  <a:lnTo>
                    <a:pt x="88" y="24"/>
                  </a:lnTo>
                  <a:lnTo>
                    <a:pt x="88" y="26"/>
                  </a:lnTo>
                  <a:lnTo>
                    <a:pt x="90" y="26"/>
                  </a:lnTo>
                  <a:lnTo>
                    <a:pt x="93" y="26"/>
                  </a:lnTo>
                  <a:lnTo>
                    <a:pt x="95" y="26"/>
                  </a:lnTo>
                  <a:lnTo>
                    <a:pt x="97" y="26"/>
                  </a:lnTo>
                  <a:lnTo>
                    <a:pt x="100" y="26"/>
                  </a:lnTo>
                  <a:lnTo>
                    <a:pt x="100" y="28"/>
                  </a:lnTo>
                  <a:lnTo>
                    <a:pt x="100" y="26"/>
                  </a:lnTo>
                  <a:lnTo>
                    <a:pt x="100" y="28"/>
                  </a:lnTo>
                  <a:lnTo>
                    <a:pt x="102" y="28"/>
                  </a:lnTo>
                  <a:lnTo>
                    <a:pt x="100" y="28"/>
                  </a:lnTo>
                  <a:lnTo>
                    <a:pt x="95" y="26"/>
                  </a:lnTo>
                  <a:lnTo>
                    <a:pt x="90" y="26"/>
                  </a:lnTo>
                  <a:lnTo>
                    <a:pt x="88" y="26"/>
                  </a:lnTo>
                  <a:lnTo>
                    <a:pt x="88" y="24"/>
                  </a:lnTo>
                  <a:lnTo>
                    <a:pt x="85" y="24"/>
                  </a:lnTo>
                  <a:lnTo>
                    <a:pt x="85" y="21"/>
                  </a:lnTo>
                  <a:lnTo>
                    <a:pt x="83" y="21"/>
                  </a:lnTo>
                  <a:lnTo>
                    <a:pt x="83" y="19"/>
                  </a:lnTo>
                  <a:lnTo>
                    <a:pt x="85" y="19"/>
                  </a:lnTo>
                  <a:lnTo>
                    <a:pt x="85" y="21"/>
                  </a:lnTo>
                  <a:lnTo>
                    <a:pt x="85" y="24"/>
                  </a:lnTo>
                  <a:lnTo>
                    <a:pt x="88" y="24"/>
                  </a:lnTo>
                  <a:close/>
                  <a:moveTo>
                    <a:pt x="93" y="17"/>
                  </a:moveTo>
                  <a:lnTo>
                    <a:pt x="93" y="19"/>
                  </a:lnTo>
                  <a:lnTo>
                    <a:pt x="93" y="17"/>
                  </a:lnTo>
                  <a:lnTo>
                    <a:pt x="93" y="19"/>
                  </a:lnTo>
                  <a:lnTo>
                    <a:pt x="93" y="17"/>
                  </a:lnTo>
                  <a:lnTo>
                    <a:pt x="93" y="19"/>
                  </a:lnTo>
                  <a:lnTo>
                    <a:pt x="93" y="17"/>
                  </a:lnTo>
                  <a:lnTo>
                    <a:pt x="90" y="17"/>
                  </a:lnTo>
                  <a:lnTo>
                    <a:pt x="93" y="17"/>
                  </a:lnTo>
                  <a:close/>
                  <a:moveTo>
                    <a:pt x="109" y="12"/>
                  </a:moveTo>
                  <a:lnTo>
                    <a:pt x="109" y="14"/>
                  </a:lnTo>
                  <a:lnTo>
                    <a:pt x="109" y="12"/>
                  </a:lnTo>
                  <a:lnTo>
                    <a:pt x="109" y="14"/>
                  </a:lnTo>
                  <a:lnTo>
                    <a:pt x="109" y="12"/>
                  </a:lnTo>
                  <a:close/>
                  <a:moveTo>
                    <a:pt x="235" y="12"/>
                  </a:moveTo>
                  <a:lnTo>
                    <a:pt x="237" y="12"/>
                  </a:lnTo>
                  <a:lnTo>
                    <a:pt x="235" y="12"/>
                  </a:lnTo>
                  <a:close/>
                  <a:moveTo>
                    <a:pt x="112" y="12"/>
                  </a:moveTo>
                  <a:lnTo>
                    <a:pt x="109" y="12"/>
                  </a:lnTo>
                  <a:lnTo>
                    <a:pt x="112" y="12"/>
                  </a:lnTo>
                  <a:lnTo>
                    <a:pt x="109" y="12"/>
                  </a:lnTo>
                  <a:lnTo>
                    <a:pt x="112" y="12"/>
                  </a:lnTo>
                  <a:close/>
                  <a:moveTo>
                    <a:pt x="104" y="12"/>
                  </a:moveTo>
                  <a:lnTo>
                    <a:pt x="102" y="12"/>
                  </a:lnTo>
                  <a:lnTo>
                    <a:pt x="104" y="12"/>
                  </a:lnTo>
                  <a:lnTo>
                    <a:pt x="102" y="12"/>
                  </a:lnTo>
                  <a:lnTo>
                    <a:pt x="104" y="12"/>
                  </a:lnTo>
                  <a:close/>
                  <a:moveTo>
                    <a:pt x="114" y="9"/>
                  </a:moveTo>
                  <a:lnTo>
                    <a:pt x="114" y="12"/>
                  </a:lnTo>
                  <a:lnTo>
                    <a:pt x="112" y="12"/>
                  </a:lnTo>
                  <a:lnTo>
                    <a:pt x="109" y="12"/>
                  </a:lnTo>
                  <a:lnTo>
                    <a:pt x="109" y="9"/>
                  </a:lnTo>
                  <a:lnTo>
                    <a:pt x="109" y="12"/>
                  </a:lnTo>
                  <a:lnTo>
                    <a:pt x="112" y="12"/>
                  </a:lnTo>
                  <a:lnTo>
                    <a:pt x="112" y="9"/>
                  </a:lnTo>
                  <a:lnTo>
                    <a:pt x="109" y="9"/>
                  </a:lnTo>
                  <a:lnTo>
                    <a:pt x="112" y="9"/>
                  </a:lnTo>
                  <a:lnTo>
                    <a:pt x="114" y="9"/>
                  </a:lnTo>
                  <a:close/>
                  <a:moveTo>
                    <a:pt x="116" y="9"/>
                  </a:moveTo>
                  <a:lnTo>
                    <a:pt x="119" y="9"/>
                  </a:lnTo>
                  <a:lnTo>
                    <a:pt x="116" y="9"/>
                  </a:lnTo>
                  <a:lnTo>
                    <a:pt x="116" y="12"/>
                  </a:lnTo>
                  <a:lnTo>
                    <a:pt x="114" y="12"/>
                  </a:lnTo>
                  <a:lnTo>
                    <a:pt x="112" y="12"/>
                  </a:lnTo>
                  <a:lnTo>
                    <a:pt x="114" y="12"/>
                  </a:lnTo>
                  <a:lnTo>
                    <a:pt x="114" y="9"/>
                  </a:lnTo>
                  <a:lnTo>
                    <a:pt x="116" y="9"/>
                  </a:lnTo>
                  <a:close/>
                  <a:moveTo>
                    <a:pt x="119" y="9"/>
                  </a:moveTo>
                  <a:lnTo>
                    <a:pt x="116" y="9"/>
                  </a:lnTo>
                  <a:lnTo>
                    <a:pt x="116" y="7"/>
                  </a:lnTo>
                  <a:lnTo>
                    <a:pt x="119" y="7"/>
                  </a:lnTo>
                  <a:lnTo>
                    <a:pt x="119" y="9"/>
                  </a:lnTo>
                  <a:close/>
                  <a:moveTo>
                    <a:pt x="140" y="0"/>
                  </a:moveTo>
                  <a:lnTo>
                    <a:pt x="138" y="0"/>
                  </a:lnTo>
                  <a:lnTo>
                    <a:pt x="14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6" name="Freeform 57766"/>
            <p:cNvSpPr>
              <a:spLocks noEditPoints="1"/>
            </p:cNvSpPr>
            <p:nvPr/>
          </p:nvSpPr>
          <p:spPr bwMode="auto">
            <a:xfrm>
              <a:off x="3686170" y="4930796"/>
              <a:ext cx="233363" cy="84138"/>
            </a:xfrm>
            <a:custGeom>
              <a:avLst/>
              <a:gdLst>
                <a:gd name="T0" fmla="*/ 60 w 147"/>
                <a:gd name="T1" fmla="*/ 53 h 53"/>
                <a:gd name="T2" fmla="*/ 62 w 147"/>
                <a:gd name="T3" fmla="*/ 53 h 53"/>
                <a:gd name="T4" fmla="*/ 60 w 147"/>
                <a:gd name="T5" fmla="*/ 53 h 53"/>
                <a:gd name="T6" fmla="*/ 62 w 147"/>
                <a:gd name="T7" fmla="*/ 53 h 53"/>
                <a:gd name="T8" fmla="*/ 62 w 147"/>
                <a:gd name="T9" fmla="*/ 50 h 53"/>
                <a:gd name="T10" fmla="*/ 62 w 147"/>
                <a:gd name="T11" fmla="*/ 53 h 53"/>
                <a:gd name="T12" fmla="*/ 102 w 147"/>
                <a:gd name="T13" fmla="*/ 48 h 53"/>
                <a:gd name="T14" fmla="*/ 105 w 147"/>
                <a:gd name="T15" fmla="*/ 48 h 53"/>
                <a:gd name="T16" fmla="*/ 102 w 147"/>
                <a:gd name="T17" fmla="*/ 48 h 53"/>
                <a:gd name="T18" fmla="*/ 102 w 147"/>
                <a:gd name="T19" fmla="*/ 48 h 53"/>
                <a:gd name="T20" fmla="*/ 102 w 147"/>
                <a:gd name="T21" fmla="*/ 46 h 53"/>
                <a:gd name="T22" fmla="*/ 102 w 147"/>
                <a:gd name="T23" fmla="*/ 48 h 53"/>
                <a:gd name="T24" fmla="*/ 86 w 147"/>
                <a:gd name="T25" fmla="*/ 43 h 53"/>
                <a:gd name="T26" fmla="*/ 86 w 147"/>
                <a:gd name="T27" fmla="*/ 46 h 53"/>
                <a:gd name="T28" fmla="*/ 86 w 147"/>
                <a:gd name="T29" fmla="*/ 43 h 53"/>
                <a:gd name="T30" fmla="*/ 50 w 147"/>
                <a:gd name="T31" fmla="*/ 43 h 53"/>
                <a:gd name="T32" fmla="*/ 50 w 147"/>
                <a:gd name="T33" fmla="*/ 41 h 53"/>
                <a:gd name="T34" fmla="*/ 50 w 147"/>
                <a:gd name="T35" fmla="*/ 43 h 53"/>
                <a:gd name="T36" fmla="*/ 102 w 147"/>
                <a:gd name="T37" fmla="*/ 41 h 53"/>
                <a:gd name="T38" fmla="*/ 102 w 147"/>
                <a:gd name="T39" fmla="*/ 38 h 53"/>
                <a:gd name="T40" fmla="*/ 102 w 147"/>
                <a:gd name="T41" fmla="*/ 41 h 53"/>
                <a:gd name="T42" fmla="*/ 102 w 147"/>
                <a:gd name="T43" fmla="*/ 41 h 53"/>
                <a:gd name="T44" fmla="*/ 102 w 147"/>
                <a:gd name="T45" fmla="*/ 38 h 53"/>
                <a:gd name="T46" fmla="*/ 102 w 147"/>
                <a:gd name="T47" fmla="*/ 41 h 53"/>
                <a:gd name="T48" fmla="*/ 102 w 147"/>
                <a:gd name="T49" fmla="*/ 38 h 53"/>
                <a:gd name="T50" fmla="*/ 102 w 147"/>
                <a:gd name="T51" fmla="*/ 41 h 53"/>
                <a:gd name="T52" fmla="*/ 102 w 147"/>
                <a:gd name="T53" fmla="*/ 38 h 53"/>
                <a:gd name="T54" fmla="*/ 112 w 147"/>
                <a:gd name="T55" fmla="*/ 38 h 53"/>
                <a:gd name="T56" fmla="*/ 109 w 147"/>
                <a:gd name="T57" fmla="*/ 38 h 53"/>
                <a:gd name="T58" fmla="*/ 112 w 147"/>
                <a:gd name="T59" fmla="*/ 38 h 53"/>
                <a:gd name="T60" fmla="*/ 3 w 147"/>
                <a:gd name="T61" fmla="*/ 34 h 53"/>
                <a:gd name="T62" fmla="*/ 0 w 147"/>
                <a:gd name="T63" fmla="*/ 34 h 53"/>
                <a:gd name="T64" fmla="*/ 3 w 147"/>
                <a:gd name="T65" fmla="*/ 34 h 53"/>
                <a:gd name="T66" fmla="*/ 7 w 147"/>
                <a:gd name="T67" fmla="*/ 31 h 53"/>
                <a:gd name="T68" fmla="*/ 7 w 147"/>
                <a:gd name="T69" fmla="*/ 34 h 53"/>
                <a:gd name="T70" fmla="*/ 7 w 147"/>
                <a:gd name="T71" fmla="*/ 31 h 53"/>
                <a:gd name="T72" fmla="*/ 147 w 147"/>
                <a:gd name="T73" fmla="*/ 19 h 53"/>
                <a:gd name="T74" fmla="*/ 147 w 147"/>
                <a:gd name="T75" fmla="*/ 22 h 53"/>
                <a:gd name="T76" fmla="*/ 147 w 147"/>
                <a:gd name="T77" fmla="*/ 19 h 53"/>
                <a:gd name="T78" fmla="*/ 26 w 147"/>
                <a:gd name="T79" fmla="*/ 19 h 53"/>
                <a:gd name="T80" fmla="*/ 26 w 147"/>
                <a:gd name="T81" fmla="*/ 17 h 53"/>
                <a:gd name="T82" fmla="*/ 26 w 147"/>
                <a:gd name="T83" fmla="*/ 19 h 53"/>
                <a:gd name="T84" fmla="*/ 7 w 147"/>
                <a:gd name="T85" fmla="*/ 0 h 53"/>
                <a:gd name="T86" fmla="*/ 7 w 147"/>
                <a:gd name="T87" fmla="*/ 3 h 53"/>
                <a:gd name="T88" fmla="*/ 7 w 147"/>
                <a:gd name="T8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7" h="53">
                  <a:moveTo>
                    <a:pt x="60" y="53"/>
                  </a:moveTo>
                  <a:lnTo>
                    <a:pt x="62" y="53"/>
                  </a:lnTo>
                  <a:lnTo>
                    <a:pt x="60" y="53"/>
                  </a:lnTo>
                  <a:close/>
                  <a:moveTo>
                    <a:pt x="62" y="53"/>
                  </a:moveTo>
                  <a:lnTo>
                    <a:pt x="62" y="50"/>
                  </a:lnTo>
                  <a:lnTo>
                    <a:pt x="62" y="53"/>
                  </a:lnTo>
                  <a:close/>
                  <a:moveTo>
                    <a:pt x="102" y="48"/>
                  </a:moveTo>
                  <a:lnTo>
                    <a:pt x="105" y="48"/>
                  </a:lnTo>
                  <a:lnTo>
                    <a:pt x="102" y="48"/>
                  </a:lnTo>
                  <a:close/>
                  <a:moveTo>
                    <a:pt x="102" y="48"/>
                  </a:moveTo>
                  <a:lnTo>
                    <a:pt x="102" y="46"/>
                  </a:lnTo>
                  <a:lnTo>
                    <a:pt x="102" y="48"/>
                  </a:lnTo>
                  <a:close/>
                  <a:moveTo>
                    <a:pt x="86" y="43"/>
                  </a:moveTo>
                  <a:lnTo>
                    <a:pt x="86" y="46"/>
                  </a:lnTo>
                  <a:lnTo>
                    <a:pt x="86" y="43"/>
                  </a:lnTo>
                  <a:close/>
                  <a:moveTo>
                    <a:pt x="50" y="43"/>
                  </a:moveTo>
                  <a:lnTo>
                    <a:pt x="50" y="41"/>
                  </a:lnTo>
                  <a:lnTo>
                    <a:pt x="50" y="43"/>
                  </a:lnTo>
                  <a:close/>
                  <a:moveTo>
                    <a:pt x="102" y="41"/>
                  </a:moveTo>
                  <a:lnTo>
                    <a:pt x="102" y="38"/>
                  </a:lnTo>
                  <a:lnTo>
                    <a:pt x="102" y="41"/>
                  </a:lnTo>
                  <a:close/>
                  <a:moveTo>
                    <a:pt x="102" y="41"/>
                  </a:moveTo>
                  <a:lnTo>
                    <a:pt x="102" y="38"/>
                  </a:lnTo>
                  <a:lnTo>
                    <a:pt x="102" y="41"/>
                  </a:lnTo>
                  <a:close/>
                  <a:moveTo>
                    <a:pt x="102" y="38"/>
                  </a:moveTo>
                  <a:lnTo>
                    <a:pt x="102" y="41"/>
                  </a:lnTo>
                  <a:lnTo>
                    <a:pt x="102" y="38"/>
                  </a:lnTo>
                  <a:close/>
                  <a:moveTo>
                    <a:pt x="112" y="38"/>
                  </a:moveTo>
                  <a:lnTo>
                    <a:pt x="109" y="38"/>
                  </a:lnTo>
                  <a:lnTo>
                    <a:pt x="112" y="38"/>
                  </a:lnTo>
                  <a:close/>
                  <a:moveTo>
                    <a:pt x="3" y="34"/>
                  </a:moveTo>
                  <a:lnTo>
                    <a:pt x="0" y="34"/>
                  </a:lnTo>
                  <a:lnTo>
                    <a:pt x="3" y="34"/>
                  </a:lnTo>
                  <a:close/>
                  <a:moveTo>
                    <a:pt x="7" y="31"/>
                  </a:moveTo>
                  <a:lnTo>
                    <a:pt x="7" y="34"/>
                  </a:lnTo>
                  <a:lnTo>
                    <a:pt x="7" y="31"/>
                  </a:lnTo>
                  <a:close/>
                  <a:moveTo>
                    <a:pt x="147" y="19"/>
                  </a:moveTo>
                  <a:lnTo>
                    <a:pt x="147" y="22"/>
                  </a:lnTo>
                  <a:lnTo>
                    <a:pt x="147" y="19"/>
                  </a:lnTo>
                  <a:close/>
                  <a:moveTo>
                    <a:pt x="26" y="19"/>
                  </a:moveTo>
                  <a:lnTo>
                    <a:pt x="26" y="17"/>
                  </a:lnTo>
                  <a:lnTo>
                    <a:pt x="26" y="19"/>
                  </a:lnTo>
                  <a:close/>
                  <a:moveTo>
                    <a:pt x="7" y="0"/>
                  </a:moveTo>
                  <a:lnTo>
                    <a:pt x="7" y="3"/>
                  </a:lnTo>
                  <a:lnTo>
                    <a:pt x="7"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7" name="Freeform 57767"/>
            <p:cNvSpPr>
              <a:spLocks noEditPoints="1"/>
            </p:cNvSpPr>
            <p:nvPr/>
          </p:nvSpPr>
          <p:spPr bwMode="auto">
            <a:xfrm>
              <a:off x="1652585" y="3841765"/>
              <a:ext cx="320675" cy="614366"/>
            </a:xfrm>
            <a:custGeom>
              <a:avLst/>
              <a:gdLst>
                <a:gd name="T0" fmla="*/ 95 w 202"/>
                <a:gd name="T1" fmla="*/ 387 h 387"/>
                <a:gd name="T2" fmla="*/ 88 w 202"/>
                <a:gd name="T3" fmla="*/ 373 h 387"/>
                <a:gd name="T4" fmla="*/ 64 w 202"/>
                <a:gd name="T5" fmla="*/ 271 h 387"/>
                <a:gd name="T6" fmla="*/ 36 w 202"/>
                <a:gd name="T7" fmla="*/ 249 h 387"/>
                <a:gd name="T8" fmla="*/ 36 w 202"/>
                <a:gd name="T9" fmla="*/ 261 h 387"/>
                <a:gd name="T10" fmla="*/ 26 w 202"/>
                <a:gd name="T11" fmla="*/ 254 h 387"/>
                <a:gd name="T12" fmla="*/ 24 w 202"/>
                <a:gd name="T13" fmla="*/ 249 h 387"/>
                <a:gd name="T14" fmla="*/ 33 w 202"/>
                <a:gd name="T15" fmla="*/ 245 h 387"/>
                <a:gd name="T16" fmla="*/ 38 w 202"/>
                <a:gd name="T17" fmla="*/ 252 h 387"/>
                <a:gd name="T18" fmla="*/ 38 w 202"/>
                <a:gd name="T19" fmla="*/ 245 h 387"/>
                <a:gd name="T20" fmla="*/ 38 w 202"/>
                <a:gd name="T21" fmla="*/ 214 h 387"/>
                <a:gd name="T22" fmla="*/ 47 w 202"/>
                <a:gd name="T23" fmla="*/ 221 h 387"/>
                <a:gd name="T24" fmla="*/ 38 w 202"/>
                <a:gd name="T25" fmla="*/ 228 h 387"/>
                <a:gd name="T26" fmla="*/ 31 w 202"/>
                <a:gd name="T27" fmla="*/ 226 h 387"/>
                <a:gd name="T28" fmla="*/ 33 w 202"/>
                <a:gd name="T29" fmla="*/ 223 h 387"/>
                <a:gd name="T30" fmla="*/ 28 w 202"/>
                <a:gd name="T31" fmla="*/ 216 h 387"/>
                <a:gd name="T32" fmla="*/ 31 w 202"/>
                <a:gd name="T33" fmla="*/ 209 h 387"/>
                <a:gd name="T34" fmla="*/ 47 w 202"/>
                <a:gd name="T35" fmla="*/ 176 h 387"/>
                <a:gd name="T36" fmla="*/ 38 w 202"/>
                <a:gd name="T37" fmla="*/ 190 h 387"/>
                <a:gd name="T38" fmla="*/ 38 w 202"/>
                <a:gd name="T39" fmla="*/ 180 h 387"/>
                <a:gd name="T40" fmla="*/ 33 w 202"/>
                <a:gd name="T41" fmla="*/ 183 h 387"/>
                <a:gd name="T42" fmla="*/ 26 w 202"/>
                <a:gd name="T43" fmla="*/ 176 h 387"/>
                <a:gd name="T44" fmla="*/ 14 w 202"/>
                <a:gd name="T45" fmla="*/ 171 h 387"/>
                <a:gd name="T46" fmla="*/ 19 w 202"/>
                <a:gd name="T47" fmla="*/ 164 h 387"/>
                <a:gd name="T48" fmla="*/ 28 w 202"/>
                <a:gd name="T49" fmla="*/ 166 h 387"/>
                <a:gd name="T50" fmla="*/ 24 w 202"/>
                <a:gd name="T51" fmla="*/ 159 h 387"/>
                <a:gd name="T52" fmla="*/ 31 w 202"/>
                <a:gd name="T53" fmla="*/ 169 h 387"/>
                <a:gd name="T54" fmla="*/ 31 w 202"/>
                <a:gd name="T55" fmla="*/ 121 h 387"/>
                <a:gd name="T56" fmla="*/ 31 w 202"/>
                <a:gd name="T57" fmla="*/ 128 h 387"/>
                <a:gd name="T58" fmla="*/ 21 w 202"/>
                <a:gd name="T59" fmla="*/ 130 h 387"/>
                <a:gd name="T60" fmla="*/ 24 w 202"/>
                <a:gd name="T61" fmla="*/ 135 h 387"/>
                <a:gd name="T62" fmla="*/ 21 w 202"/>
                <a:gd name="T63" fmla="*/ 142 h 387"/>
                <a:gd name="T64" fmla="*/ 14 w 202"/>
                <a:gd name="T65" fmla="*/ 138 h 387"/>
                <a:gd name="T66" fmla="*/ 14 w 202"/>
                <a:gd name="T67" fmla="*/ 142 h 387"/>
                <a:gd name="T68" fmla="*/ 9 w 202"/>
                <a:gd name="T69" fmla="*/ 150 h 387"/>
                <a:gd name="T70" fmla="*/ 2 w 202"/>
                <a:gd name="T71" fmla="*/ 150 h 387"/>
                <a:gd name="T72" fmla="*/ 5 w 202"/>
                <a:gd name="T73" fmla="*/ 142 h 387"/>
                <a:gd name="T74" fmla="*/ 2 w 202"/>
                <a:gd name="T75" fmla="*/ 133 h 387"/>
                <a:gd name="T76" fmla="*/ 5 w 202"/>
                <a:gd name="T77" fmla="*/ 128 h 387"/>
                <a:gd name="T78" fmla="*/ 12 w 202"/>
                <a:gd name="T79" fmla="*/ 128 h 387"/>
                <a:gd name="T80" fmla="*/ 28 w 202"/>
                <a:gd name="T81" fmla="*/ 114 h 387"/>
                <a:gd name="T82" fmla="*/ 135 w 202"/>
                <a:gd name="T83" fmla="*/ 88 h 387"/>
                <a:gd name="T84" fmla="*/ 145 w 202"/>
                <a:gd name="T85" fmla="*/ 90 h 387"/>
                <a:gd name="T86" fmla="*/ 140 w 202"/>
                <a:gd name="T87" fmla="*/ 100 h 387"/>
                <a:gd name="T88" fmla="*/ 140 w 202"/>
                <a:gd name="T89" fmla="*/ 92 h 387"/>
                <a:gd name="T90" fmla="*/ 130 w 202"/>
                <a:gd name="T91" fmla="*/ 85 h 387"/>
                <a:gd name="T92" fmla="*/ 126 w 202"/>
                <a:gd name="T93" fmla="*/ 78 h 387"/>
                <a:gd name="T94" fmla="*/ 192 w 202"/>
                <a:gd name="T95" fmla="*/ 9 h 387"/>
                <a:gd name="T96" fmla="*/ 199 w 202"/>
                <a:gd name="T97" fmla="*/ 9 h 387"/>
                <a:gd name="T98" fmla="*/ 199 w 202"/>
                <a:gd name="T99" fmla="*/ 19 h 387"/>
                <a:gd name="T100" fmla="*/ 199 w 202"/>
                <a:gd name="T101" fmla="*/ 24 h 387"/>
                <a:gd name="T102" fmla="*/ 194 w 202"/>
                <a:gd name="T103" fmla="*/ 35 h 387"/>
                <a:gd name="T104" fmla="*/ 190 w 202"/>
                <a:gd name="T105" fmla="*/ 38 h 387"/>
                <a:gd name="T106" fmla="*/ 192 w 202"/>
                <a:gd name="T107" fmla="*/ 21 h 387"/>
                <a:gd name="T108" fmla="*/ 192 w 202"/>
                <a:gd name="T109" fmla="*/ 24 h 387"/>
                <a:gd name="T110" fmla="*/ 185 w 202"/>
                <a:gd name="T111" fmla="*/ 24 h 387"/>
                <a:gd name="T112" fmla="*/ 180 w 202"/>
                <a:gd name="T113" fmla="*/ 21 h 387"/>
                <a:gd name="T114" fmla="*/ 187 w 202"/>
                <a:gd name="T115" fmla="*/ 19 h 387"/>
                <a:gd name="T116" fmla="*/ 192 w 202"/>
                <a:gd name="T117" fmla="*/ 14 h 387"/>
                <a:gd name="T118" fmla="*/ 187 w 202"/>
                <a:gd name="T119" fmla="*/ 7 h 387"/>
                <a:gd name="T120" fmla="*/ 187 w 202"/>
                <a:gd name="T121" fmla="*/ 5 h 387"/>
                <a:gd name="T122" fmla="*/ 187 w 202"/>
                <a:gd name="T123"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387">
                  <a:moveTo>
                    <a:pt x="90" y="373"/>
                  </a:moveTo>
                  <a:lnTo>
                    <a:pt x="92" y="373"/>
                  </a:lnTo>
                  <a:lnTo>
                    <a:pt x="95" y="373"/>
                  </a:lnTo>
                  <a:lnTo>
                    <a:pt x="95" y="375"/>
                  </a:lnTo>
                  <a:lnTo>
                    <a:pt x="97" y="375"/>
                  </a:lnTo>
                  <a:lnTo>
                    <a:pt x="97" y="378"/>
                  </a:lnTo>
                  <a:lnTo>
                    <a:pt x="100" y="378"/>
                  </a:lnTo>
                  <a:lnTo>
                    <a:pt x="102" y="378"/>
                  </a:lnTo>
                  <a:lnTo>
                    <a:pt x="102" y="380"/>
                  </a:lnTo>
                  <a:lnTo>
                    <a:pt x="100" y="380"/>
                  </a:lnTo>
                  <a:lnTo>
                    <a:pt x="100" y="382"/>
                  </a:lnTo>
                  <a:lnTo>
                    <a:pt x="97" y="382"/>
                  </a:lnTo>
                  <a:lnTo>
                    <a:pt x="97" y="385"/>
                  </a:lnTo>
                  <a:lnTo>
                    <a:pt x="95" y="385"/>
                  </a:lnTo>
                  <a:lnTo>
                    <a:pt x="95" y="387"/>
                  </a:lnTo>
                  <a:lnTo>
                    <a:pt x="92" y="387"/>
                  </a:lnTo>
                  <a:lnTo>
                    <a:pt x="90" y="387"/>
                  </a:lnTo>
                  <a:lnTo>
                    <a:pt x="90" y="385"/>
                  </a:lnTo>
                  <a:lnTo>
                    <a:pt x="92" y="385"/>
                  </a:lnTo>
                  <a:lnTo>
                    <a:pt x="90" y="385"/>
                  </a:lnTo>
                  <a:lnTo>
                    <a:pt x="88" y="385"/>
                  </a:lnTo>
                  <a:lnTo>
                    <a:pt x="90" y="385"/>
                  </a:lnTo>
                  <a:lnTo>
                    <a:pt x="88" y="385"/>
                  </a:lnTo>
                  <a:lnTo>
                    <a:pt x="88" y="382"/>
                  </a:lnTo>
                  <a:lnTo>
                    <a:pt x="85" y="382"/>
                  </a:lnTo>
                  <a:lnTo>
                    <a:pt x="85" y="380"/>
                  </a:lnTo>
                  <a:lnTo>
                    <a:pt x="85" y="378"/>
                  </a:lnTo>
                  <a:lnTo>
                    <a:pt x="85" y="375"/>
                  </a:lnTo>
                  <a:lnTo>
                    <a:pt x="85" y="373"/>
                  </a:lnTo>
                  <a:lnTo>
                    <a:pt x="88" y="373"/>
                  </a:lnTo>
                  <a:lnTo>
                    <a:pt x="90" y="373"/>
                  </a:lnTo>
                  <a:close/>
                  <a:moveTo>
                    <a:pt x="62" y="256"/>
                  </a:moveTo>
                  <a:lnTo>
                    <a:pt x="64" y="256"/>
                  </a:lnTo>
                  <a:lnTo>
                    <a:pt x="64" y="259"/>
                  </a:lnTo>
                  <a:lnTo>
                    <a:pt x="66" y="259"/>
                  </a:lnTo>
                  <a:lnTo>
                    <a:pt x="66" y="261"/>
                  </a:lnTo>
                  <a:lnTo>
                    <a:pt x="66" y="264"/>
                  </a:lnTo>
                  <a:lnTo>
                    <a:pt x="69" y="264"/>
                  </a:lnTo>
                  <a:lnTo>
                    <a:pt x="69" y="266"/>
                  </a:lnTo>
                  <a:lnTo>
                    <a:pt x="66" y="266"/>
                  </a:lnTo>
                  <a:lnTo>
                    <a:pt x="69" y="266"/>
                  </a:lnTo>
                  <a:lnTo>
                    <a:pt x="69" y="268"/>
                  </a:lnTo>
                  <a:lnTo>
                    <a:pt x="69" y="271"/>
                  </a:lnTo>
                  <a:lnTo>
                    <a:pt x="66" y="271"/>
                  </a:lnTo>
                  <a:lnTo>
                    <a:pt x="64" y="271"/>
                  </a:lnTo>
                  <a:lnTo>
                    <a:pt x="62" y="271"/>
                  </a:lnTo>
                  <a:lnTo>
                    <a:pt x="62" y="268"/>
                  </a:lnTo>
                  <a:lnTo>
                    <a:pt x="59" y="268"/>
                  </a:lnTo>
                  <a:lnTo>
                    <a:pt x="59" y="266"/>
                  </a:lnTo>
                  <a:lnTo>
                    <a:pt x="59" y="264"/>
                  </a:lnTo>
                  <a:lnTo>
                    <a:pt x="59" y="261"/>
                  </a:lnTo>
                  <a:lnTo>
                    <a:pt x="57" y="261"/>
                  </a:lnTo>
                  <a:lnTo>
                    <a:pt x="59" y="261"/>
                  </a:lnTo>
                  <a:lnTo>
                    <a:pt x="59" y="259"/>
                  </a:lnTo>
                  <a:lnTo>
                    <a:pt x="59" y="256"/>
                  </a:lnTo>
                  <a:lnTo>
                    <a:pt x="62" y="256"/>
                  </a:lnTo>
                  <a:close/>
                  <a:moveTo>
                    <a:pt x="33" y="245"/>
                  </a:moveTo>
                  <a:lnTo>
                    <a:pt x="33" y="247"/>
                  </a:lnTo>
                  <a:lnTo>
                    <a:pt x="33" y="249"/>
                  </a:lnTo>
                  <a:lnTo>
                    <a:pt x="36" y="249"/>
                  </a:lnTo>
                  <a:lnTo>
                    <a:pt x="36" y="252"/>
                  </a:lnTo>
                  <a:lnTo>
                    <a:pt x="36" y="254"/>
                  </a:lnTo>
                  <a:lnTo>
                    <a:pt x="36" y="256"/>
                  </a:lnTo>
                  <a:lnTo>
                    <a:pt x="38" y="256"/>
                  </a:lnTo>
                  <a:lnTo>
                    <a:pt x="36" y="256"/>
                  </a:lnTo>
                  <a:lnTo>
                    <a:pt x="38" y="256"/>
                  </a:lnTo>
                  <a:lnTo>
                    <a:pt x="36" y="256"/>
                  </a:lnTo>
                  <a:lnTo>
                    <a:pt x="38" y="256"/>
                  </a:lnTo>
                  <a:lnTo>
                    <a:pt x="38" y="259"/>
                  </a:lnTo>
                  <a:lnTo>
                    <a:pt x="38" y="256"/>
                  </a:lnTo>
                  <a:lnTo>
                    <a:pt x="38" y="259"/>
                  </a:lnTo>
                  <a:lnTo>
                    <a:pt x="36" y="259"/>
                  </a:lnTo>
                  <a:lnTo>
                    <a:pt x="36" y="261"/>
                  </a:lnTo>
                  <a:lnTo>
                    <a:pt x="36" y="259"/>
                  </a:lnTo>
                  <a:lnTo>
                    <a:pt x="36" y="261"/>
                  </a:lnTo>
                  <a:lnTo>
                    <a:pt x="33" y="261"/>
                  </a:lnTo>
                  <a:lnTo>
                    <a:pt x="31" y="261"/>
                  </a:lnTo>
                  <a:lnTo>
                    <a:pt x="31" y="264"/>
                  </a:lnTo>
                  <a:lnTo>
                    <a:pt x="28" y="264"/>
                  </a:lnTo>
                  <a:lnTo>
                    <a:pt x="26" y="264"/>
                  </a:lnTo>
                  <a:lnTo>
                    <a:pt x="26" y="261"/>
                  </a:lnTo>
                  <a:lnTo>
                    <a:pt x="28" y="261"/>
                  </a:lnTo>
                  <a:lnTo>
                    <a:pt x="28" y="259"/>
                  </a:lnTo>
                  <a:lnTo>
                    <a:pt x="28" y="256"/>
                  </a:lnTo>
                  <a:lnTo>
                    <a:pt x="26" y="256"/>
                  </a:lnTo>
                  <a:lnTo>
                    <a:pt x="26" y="254"/>
                  </a:lnTo>
                  <a:lnTo>
                    <a:pt x="28" y="254"/>
                  </a:lnTo>
                  <a:lnTo>
                    <a:pt x="31" y="254"/>
                  </a:lnTo>
                  <a:lnTo>
                    <a:pt x="28" y="254"/>
                  </a:lnTo>
                  <a:lnTo>
                    <a:pt x="26" y="254"/>
                  </a:lnTo>
                  <a:lnTo>
                    <a:pt x="26" y="256"/>
                  </a:lnTo>
                  <a:lnTo>
                    <a:pt x="24" y="256"/>
                  </a:lnTo>
                  <a:lnTo>
                    <a:pt x="24" y="259"/>
                  </a:lnTo>
                  <a:lnTo>
                    <a:pt x="21" y="259"/>
                  </a:lnTo>
                  <a:lnTo>
                    <a:pt x="21" y="256"/>
                  </a:lnTo>
                  <a:lnTo>
                    <a:pt x="21" y="254"/>
                  </a:lnTo>
                  <a:lnTo>
                    <a:pt x="24" y="254"/>
                  </a:lnTo>
                  <a:lnTo>
                    <a:pt x="21" y="254"/>
                  </a:lnTo>
                  <a:lnTo>
                    <a:pt x="24" y="254"/>
                  </a:lnTo>
                  <a:lnTo>
                    <a:pt x="21" y="254"/>
                  </a:lnTo>
                  <a:lnTo>
                    <a:pt x="21" y="252"/>
                  </a:lnTo>
                  <a:lnTo>
                    <a:pt x="21" y="254"/>
                  </a:lnTo>
                  <a:lnTo>
                    <a:pt x="21" y="252"/>
                  </a:lnTo>
                  <a:lnTo>
                    <a:pt x="24" y="252"/>
                  </a:lnTo>
                  <a:lnTo>
                    <a:pt x="24" y="249"/>
                  </a:lnTo>
                  <a:lnTo>
                    <a:pt x="26" y="249"/>
                  </a:lnTo>
                  <a:lnTo>
                    <a:pt x="26" y="247"/>
                  </a:lnTo>
                  <a:lnTo>
                    <a:pt x="26" y="249"/>
                  </a:lnTo>
                  <a:lnTo>
                    <a:pt x="26" y="247"/>
                  </a:lnTo>
                  <a:lnTo>
                    <a:pt x="28" y="247"/>
                  </a:lnTo>
                  <a:lnTo>
                    <a:pt x="26" y="249"/>
                  </a:lnTo>
                  <a:lnTo>
                    <a:pt x="26" y="252"/>
                  </a:lnTo>
                  <a:lnTo>
                    <a:pt x="28" y="252"/>
                  </a:lnTo>
                  <a:lnTo>
                    <a:pt x="26" y="252"/>
                  </a:lnTo>
                  <a:lnTo>
                    <a:pt x="26" y="249"/>
                  </a:lnTo>
                  <a:lnTo>
                    <a:pt x="28" y="249"/>
                  </a:lnTo>
                  <a:lnTo>
                    <a:pt x="28" y="247"/>
                  </a:lnTo>
                  <a:lnTo>
                    <a:pt x="31" y="247"/>
                  </a:lnTo>
                  <a:lnTo>
                    <a:pt x="33" y="247"/>
                  </a:lnTo>
                  <a:lnTo>
                    <a:pt x="33" y="245"/>
                  </a:lnTo>
                  <a:close/>
                  <a:moveTo>
                    <a:pt x="47" y="235"/>
                  </a:moveTo>
                  <a:lnTo>
                    <a:pt x="47" y="237"/>
                  </a:lnTo>
                  <a:lnTo>
                    <a:pt x="47" y="240"/>
                  </a:lnTo>
                  <a:lnTo>
                    <a:pt x="45" y="240"/>
                  </a:lnTo>
                  <a:lnTo>
                    <a:pt x="45" y="242"/>
                  </a:lnTo>
                  <a:lnTo>
                    <a:pt x="43" y="245"/>
                  </a:lnTo>
                  <a:lnTo>
                    <a:pt x="43" y="247"/>
                  </a:lnTo>
                  <a:lnTo>
                    <a:pt x="43" y="249"/>
                  </a:lnTo>
                  <a:lnTo>
                    <a:pt x="43" y="247"/>
                  </a:lnTo>
                  <a:lnTo>
                    <a:pt x="40" y="247"/>
                  </a:lnTo>
                  <a:lnTo>
                    <a:pt x="40" y="249"/>
                  </a:lnTo>
                  <a:lnTo>
                    <a:pt x="43" y="249"/>
                  </a:lnTo>
                  <a:lnTo>
                    <a:pt x="40" y="249"/>
                  </a:lnTo>
                  <a:lnTo>
                    <a:pt x="40" y="252"/>
                  </a:lnTo>
                  <a:lnTo>
                    <a:pt x="38" y="252"/>
                  </a:lnTo>
                  <a:lnTo>
                    <a:pt x="36" y="252"/>
                  </a:lnTo>
                  <a:lnTo>
                    <a:pt x="36" y="249"/>
                  </a:lnTo>
                  <a:lnTo>
                    <a:pt x="36" y="247"/>
                  </a:lnTo>
                  <a:lnTo>
                    <a:pt x="36" y="245"/>
                  </a:lnTo>
                  <a:lnTo>
                    <a:pt x="38" y="245"/>
                  </a:lnTo>
                  <a:lnTo>
                    <a:pt x="40" y="245"/>
                  </a:lnTo>
                  <a:lnTo>
                    <a:pt x="43" y="245"/>
                  </a:lnTo>
                  <a:lnTo>
                    <a:pt x="43" y="242"/>
                  </a:lnTo>
                  <a:lnTo>
                    <a:pt x="40" y="242"/>
                  </a:lnTo>
                  <a:lnTo>
                    <a:pt x="40" y="245"/>
                  </a:lnTo>
                  <a:lnTo>
                    <a:pt x="40" y="242"/>
                  </a:lnTo>
                  <a:lnTo>
                    <a:pt x="40" y="245"/>
                  </a:lnTo>
                  <a:lnTo>
                    <a:pt x="38" y="245"/>
                  </a:lnTo>
                  <a:lnTo>
                    <a:pt x="38" y="242"/>
                  </a:lnTo>
                  <a:lnTo>
                    <a:pt x="38" y="245"/>
                  </a:lnTo>
                  <a:lnTo>
                    <a:pt x="38" y="242"/>
                  </a:lnTo>
                  <a:lnTo>
                    <a:pt x="38" y="245"/>
                  </a:lnTo>
                  <a:lnTo>
                    <a:pt x="38" y="242"/>
                  </a:lnTo>
                  <a:lnTo>
                    <a:pt x="40" y="242"/>
                  </a:lnTo>
                  <a:lnTo>
                    <a:pt x="38" y="242"/>
                  </a:lnTo>
                  <a:lnTo>
                    <a:pt x="40" y="240"/>
                  </a:lnTo>
                  <a:lnTo>
                    <a:pt x="43" y="237"/>
                  </a:lnTo>
                  <a:lnTo>
                    <a:pt x="45" y="237"/>
                  </a:lnTo>
                  <a:lnTo>
                    <a:pt x="45" y="235"/>
                  </a:lnTo>
                  <a:lnTo>
                    <a:pt x="47" y="235"/>
                  </a:lnTo>
                  <a:close/>
                  <a:moveTo>
                    <a:pt x="33" y="209"/>
                  </a:moveTo>
                  <a:lnTo>
                    <a:pt x="36" y="209"/>
                  </a:lnTo>
                  <a:lnTo>
                    <a:pt x="36" y="211"/>
                  </a:lnTo>
                  <a:lnTo>
                    <a:pt x="38" y="211"/>
                  </a:lnTo>
                  <a:lnTo>
                    <a:pt x="38" y="214"/>
                  </a:lnTo>
                  <a:lnTo>
                    <a:pt x="40" y="214"/>
                  </a:lnTo>
                  <a:lnTo>
                    <a:pt x="38" y="214"/>
                  </a:lnTo>
                  <a:lnTo>
                    <a:pt x="40" y="214"/>
                  </a:lnTo>
                  <a:lnTo>
                    <a:pt x="40" y="216"/>
                  </a:lnTo>
                  <a:lnTo>
                    <a:pt x="43" y="216"/>
                  </a:lnTo>
                  <a:lnTo>
                    <a:pt x="45" y="216"/>
                  </a:lnTo>
                  <a:lnTo>
                    <a:pt x="47" y="218"/>
                  </a:lnTo>
                  <a:lnTo>
                    <a:pt x="47" y="216"/>
                  </a:lnTo>
                  <a:lnTo>
                    <a:pt x="47" y="218"/>
                  </a:lnTo>
                  <a:lnTo>
                    <a:pt x="50" y="218"/>
                  </a:lnTo>
                  <a:lnTo>
                    <a:pt x="50" y="221"/>
                  </a:lnTo>
                  <a:lnTo>
                    <a:pt x="47" y="218"/>
                  </a:lnTo>
                  <a:lnTo>
                    <a:pt x="47" y="221"/>
                  </a:lnTo>
                  <a:lnTo>
                    <a:pt x="47" y="218"/>
                  </a:lnTo>
                  <a:lnTo>
                    <a:pt x="47" y="221"/>
                  </a:lnTo>
                  <a:lnTo>
                    <a:pt x="50" y="221"/>
                  </a:lnTo>
                  <a:lnTo>
                    <a:pt x="50" y="223"/>
                  </a:lnTo>
                  <a:lnTo>
                    <a:pt x="47" y="223"/>
                  </a:lnTo>
                  <a:lnTo>
                    <a:pt x="47" y="221"/>
                  </a:lnTo>
                  <a:lnTo>
                    <a:pt x="45" y="221"/>
                  </a:lnTo>
                  <a:lnTo>
                    <a:pt x="45" y="223"/>
                  </a:lnTo>
                  <a:lnTo>
                    <a:pt x="47" y="223"/>
                  </a:lnTo>
                  <a:lnTo>
                    <a:pt x="47" y="226"/>
                  </a:lnTo>
                  <a:lnTo>
                    <a:pt x="45" y="226"/>
                  </a:lnTo>
                  <a:lnTo>
                    <a:pt x="43" y="226"/>
                  </a:lnTo>
                  <a:lnTo>
                    <a:pt x="43" y="223"/>
                  </a:lnTo>
                  <a:lnTo>
                    <a:pt x="40" y="223"/>
                  </a:lnTo>
                  <a:lnTo>
                    <a:pt x="40" y="226"/>
                  </a:lnTo>
                  <a:lnTo>
                    <a:pt x="38" y="226"/>
                  </a:lnTo>
                  <a:lnTo>
                    <a:pt x="38" y="228"/>
                  </a:lnTo>
                  <a:lnTo>
                    <a:pt x="36" y="228"/>
                  </a:lnTo>
                  <a:lnTo>
                    <a:pt x="36" y="226"/>
                  </a:lnTo>
                  <a:lnTo>
                    <a:pt x="36" y="228"/>
                  </a:lnTo>
                  <a:lnTo>
                    <a:pt x="33" y="228"/>
                  </a:lnTo>
                  <a:lnTo>
                    <a:pt x="31" y="228"/>
                  </a:lnTo>
                  <a:lnTo>
                    <a:pt x="28" y="228"/>
                  </a:lnTo>
                  <a:lnTo>
                    <a:pt x="26" y="228"/>
                  </a:lnTo>
                  <a:lnTo>
                    <a:pt x="26" y="226"/>
                  </a:lnTo>
                  <a:lnTo>
                    <a:pt x="26" y="228"/>
                  </a:lnTo>
                  <a:lnTo>
                    <a:pt x="26" y="226"/>
                  </a:lnTo>
                  <a:lnTo>
                    <a:pt x="26" y="223"/>
                  </a:lnTo>
                  <a:lnTo>
                    <a:pt x="28" y="226"/>
                  </a:lnTo>
                  <a:lnTo>
                    <a:pt x="28" y="223"/>
                  </a:lnTo>
                  <a:lnTo>
                    <a:pt x="28" y="226"/>
                  </a:lnTo>
                  <a:lnTo>
                    <a:pt x="31" y="226"/>
                  </a:lnTo>
                  <a:lnTo>
                    <a:pt x="28" y="226"/>
                  </a:lnTo>
                  <a:lnTo>
                    <a:pt x="31" y="226"/>
                  </a:lnTo>
                  <a:lnTo>
                    <a:pt x="33" y="226"/>
                  </a:lnTo>
                  <a:lnTo>
                    <a:pt x="31" y="226"/>
                  </a:lnTo>
                  <a:lnTo>
                    <a:pt x="33" y="226"/>
                  </a:lnTo>
                  <a:lnTo>
                    <a:pt x="33" y="223"/>
                  </a:lnTo>
                  <a:lnTo>
                    <a:pt x="33" y="226"/>
                  </a:lnTo>
                  <a:lnTo>
                    <a:pt x="36" y="226"/>
                  </a:lnTo>
                  <a:lnTo>
                    <a:pt x="36" y="223"/>
                  </a:lnTo>
                  <a:lnTo>
                    <a:pt x="38" y="223"/>
                  </a:lnTo>
                  <a:lnTo>
                    <a:pt x="38" y="221"/>
                  </a:lnTo>
                  <a:lnTo>
                    <a:pt x="38" y="223"/>
                  </a:lnTo>
                  <a:lnTo>
                    <a:pt x="38" y="221"/>
                  </a:lnTo>
                  <a:lnTo>
                    <a:pt x="36" y="223"/>
                  </a:lnTo>
                  <a:lnTo>
                    <a:pt x="33" y="223"/>
                  </a:lnTo>
                  <a:lnTo>
                    <a:pt x="31" y="223"/>
                  </a:lnTo>
                  <a:lnTo>
                    <a:pt x="31" y="221"/>
                  </a:lnTo>
                  <a:lnTo>
                    <a:pt x="33" y="221"/>
                  </a:lnTo>
                  <a:lnTo>
                    <a:pt x="33" y="218"/>
                  </a:lnTo>
                  <a:lnTo>
                    <a:pt x="36" y="218"/>
                  </a:lnTo>
                  <a:lnTo>
                    <a:pt x="38" y="218"/>
                  </a:lnTo>
                  <a:lnTo>
                    <a:pt x="38" y="216"/>
                  </a:lnTo>
                  <a:lnTo>
                    <a:pt x="36" y="216"/>
                  </a:lnTo>
                  <a:lnTo>
                    <a:pt x="36" y="218"/>
                  </a:lnTo>
                  <a:lnTo>
                    <a:pt x="33" y="218"/>
                  </a:lnTo>
                  <a:lnTo>
                    <a:pt x="31" y="218"/>
                  </a:lnTo>
                  <a:lnTo>
                    <a:pt x="28" y="218"/>
                  </a:lnTo>
                  <a:lnTo>
                    <a:pt x="28" y="216"/>
                  </a:lnTo>
                  <a:lnTo>
                    <a:pt x="28" y="218"/>
                  </a:lnTo>
                  <a:lnTo>
                    <a:pt x="28" y="216"/>
                  </a:lnTo>
                  <a:lnTo>
                    <a:pt x="31" y="216"/>
                  </a:lnTo>
                  <a:lnTo>
                    <a:pt x="33" y="218"/>
                  </a:lnTo>
                  <a:lnTo>
                    <a:pt x="33" y="216"/>
                  </a:lnTo>
                  <a:lnTo>
                    <a:pt x="33" y="218"/>
                  </a:lnTo>
                  <a:lnTo>
                    <a:pt x="33" y="216"/>
                  </a:lnTo>
                  <a:lnTo>
                    <a:pt x="31" y="216"/>
                  </a:lnTo>
                  <a:lnTo>
                    <a:pt x="28" y="216"/>
                  </a:lnTo>
                  <a:lnTo>
                    <a:pt x="28" y="214"/>
                  </a:lnTo>
                  <a:lnTo>
                    <a:pt x="26" y="214"/>
                  </a:lnTo>
                  <a:lnTo>
                    <a:pt x="28" y="214"/>
                  </a:lnTo>
                  <a:lnTo>
                    <a:pt x="28" y="211"/>
                  </a:lnTo>
                  <a:lnTo>
                    <a:pt x="28" y="214"/>
                  </a:lnTo>
                  <a:lnTo>
                    <a:pt x="28" y="211"/>
                  </a:lnTo>
                  <a:lnTo>
                    <a:pt x="31" y="211"/>
                  </a:lnTo>
                  <a:lnTo>
                    <a:pt x="31" y="209"/>
                  </a:lnTo>
                  <a:lnTo>
                    <a:pt x="33" y="209"/>
                  </a:lnTo>
                  <a:close/>
                  <a:moveTo>
                    <a:pt x="33" y="176"/>
                  </a:moveTo>
                  <a:lnTo>
                    <a:pt x="33" y="173"/>
                  </a:lnTo>
                  <a:lnTo>
                    <a:pt x="36" y="173"/>
                  </a:lnTo>
                  <a:lnTo>
                    <a:pt x="36" y="176"/>
                  </a:lnTo>
                  <a:lnTo>
                    <a:pt x="36" y="173"/>
                  </a:lnTo>
                  <a:lnTo>
                    <a:pt x="36" y="176"/>
                  </a:lnTo>
                  <a:lnTo>
                    <a:pt x="36" y="178"/>
                  </a:lnTo>
                  <a:lnTo>
                    <a:pt x="36" y="176"/>
                  </a:lnTo>
                  <a:lnTo>
                    <a:pt x="38" y="176"/>
                  </a:lnTo>
                  <a:lnTo>
                    <a:pt x="40" y="178"/>
                  </a:lnTo>
                  <a:lnTo>
                    <a:pt x="43" y="178"/>
                  </a:lnTo>
                  <a:lnTo>
                    <a:pt x="45" y="178"/>
                  </a:lnTo>
                  <a:lnTo>
                    <a:pt x="45" y="176"/>
                  </a:lnTo>
                  <a:lnTo>
                    <a:pt x="47" y="176"/>
                  </a:lnTo>
                  <a:lnTo>
                    <a:pt x="47" y="178"/>
                  </a:lnTo>
                  <a:lnTo>
                    <a:pt x="50" y="178"/>
                  </a:lnTo>
                  <a:lnTo>
                    <a:pt x="50" y="180"/>
                  </a:lnTo>
                  <a:lnTo>
                    <a:pt x="47" y="180"/>
                  </a:lnTo>
                  <a:lnTo>
                    <a:pt x="45" y="183"/>
                  </a:lnTo>
                  <a:lnTo>
                    <a:pt x="45" y="180"/>
                  </a:lnTo>
                  <a:lnTo>
                    <a:pt x="45" y="183"/>
                  </a:lnTo>
                  <a:lnTo>
                    <a:pt x="45" y="185"/>
                  </a:lnTo>
                  <a:lnTo>
                    <a:pt x="43" y="185"/>
                  </a:lnTo>
                  <a:lnTo>
                    <a:pt x="43" y="188"/>
                  </a:lnTo>
                  <a:lnTo>
                    <a:pt x="40" y="188"/>
                  </a:lnTo>
                  <a:lnTo>
                    <a:pt x="43" y="188"/>
                  </a:lnTo>
                  <a:lnTo>
                    <a:pt x="40" y="188"/>
                  </a:lnTo>
                  <a:lnTo>
                    <a:pt x="40" y="190"/>
                  </a:lnTo>
                  <a:lnTo>
                    <a:pt x="38" y="190"/>
                  </a:lnTo>
                  <a:lnTo>
                    <a:pt x="38" y="188"/>
                  </a:lnTo>
                  <a:lnTo>
                    <a:pt x="36" y="188"/>
                  </a:lnTo>
                  <a:lnTo>
                    <a:pt x="38" y="188"/>
                  </a:lnTo>
                  <a:lnTo>
                    <a:pt x="36" y="188"/>
                  </a:lnTo>
                  <a:lnTo>
                    <a:pt x="38" y="188"/>
                  </a:lnTo>
                  <a:lnTo>
                    <a:pt x="38" y="185"/>
                  </a:lnTo>
                  <a:lnTo>
                    <a:pt x="38" y="183"/>
                  </a:lnTo>
                  <a:lnTo>
                    <a:pt x="40" y="183"/>
                  </a:lnTo>
                  <a:lnTo>
                    <a:pt x="43" y="183"/>
                  </a:lnTo>
                  <a:lnTo>
                    <a:pt x="43" y="180"/>
                  </a:lnTo>
                  <a:lnTo>
                    <a:pt x="40" y="180"/>
                  </a:lnTo>
                  <a:lnTo>
                    <a:pt x="43" y="183"/>
                  </a:lnTo>
                  <a:lnTo>
                    <a:pt x="40" y="183"/>
                  </a:lnTo>
                  <a:lnTo>
                    <a:pt x="38" y="183"/>
                  </a:lnTo>
                  <a:lnTo>
                    <a:pt x="38" y="180"/>
                  </a:lnTo>
                  <a:lnTo>
                    <a:pt x="38" y="178"/>
                  </a:lnTo>
                  <a:lnTo>
                    <a:pt x="36" y="178"/>
                  </a:lnTo>
                  <a:lnTo>
                    <a:pt x="38" y="180"/>
                  </a:lnTo>
                  <a:lnTo>
                    <a:pt x="36" y="180"/>
                  </a:lnTo>
                  <a:lnTo>
                    <a:pt x="38" y="180"/>
                  </a:lnTo>
                  <a:lnTo>
                    <a:pt x="36" y="180"/>
                  </a:lnTo>
                  <a:lnTo>
                    <a:pt x="36" y="183"/>
                  </a:lnTo>
                  <a:lnTo>
                    <a:pt x="36" y="185"/>
                  </a:lnTo>
                  <a:lnTo>
                    <a:pt x="36" y="183"/>
                  </a:lnTo>
                  <a:lnTo>
                    <a:pt x="33" y="183"/>
                  </a:lnTo>
                  <a:lnTo>
                    <a:pt x="36" y="183"/>
                  </a:lnTo>
                  <a:lnTo>
                    <a:pt x="33" y="183"/>
                  </a:lnTo>
                  <a:lnTo>
                    <a:pt x="36" y="183"/>
                  </a:lnTo>
                  <a:lnTo>
                    <a:pt x="33" y="180"/>
                  </a:lnTo>
                  <a:lnTo>
                    <a:pt x="33" y="183"/>
                  </a:lnTo>
                  <a:lnTo>
                    <a:pt x="31" y="183"/>
                  </a:lnTo>
                  <a:lnTo>
                    <a:pt x="31" y="180"/>
                  </a:lnTo>
                  <a:lnTo>
                    <a:pt x="31" y="183"/>
                  </a:lnTo>
                  <a:lnTo>
                    <a:pt x="28" y="183"/>
                  </a:lnTo>
                  <a:lnTo>
                    <a:pt x="28" y="180"/>
                  </a:lnTo>
                  <a:lnTo>
                    <a:pt x="26" y="180"/>
                  </a:lnTo>
                  <a:lnTo>
                    <a:pt x="26" y="178"/>
                  </a:lnTo>
                  <a:lnTo>
                    <a:pt x="24" y="178"/>
                  </a:lnTo>
                  <a:lnTo>
                    <a:pt x="24" y="176"/>
                  </a:lnTo>
                  <a:lnTo>
                    <a:pt x="21" y="176"/>
                  </a:lnTo>
                  <a:lnTo>
                    <a:pt x="24" y="173"/>
                  </a:lnTo>
                  <a:lnTo>
                    <a:pt x="26" y="173"/>
                  </a:lnTo>
                  <a:lnTo>
                    <a:pt x="26" y="176"/>
                  </a:lnTo>
                  <a:lnTo>
                    <a:pt x="28" y="176"/>
                  </a:lnTo>
                  <a:lnTo>
                    <a:pt x="26" y="176"/>
                  </a:lnTo>
                  <a:lnTo>
                    <a:pt x="26" y="173"/>
                  </a:lnTo>
                  <a:lnTo>
                    <a:pt x="24" y="173"/>
                  </a:lnTo>
                  <a:lnTo>
                    <a:pt x="26" y="173"/>
                  </a:lnTo>
                  <a:lnTo>
                    <a:pt x="24" y="173"/>
                  </a:lnTo>
                  <a:lnTo>
                    <a:pt x="26" y="171"/>
                  </a:lnTo>
                  <a:lnTo>
                    <a:pt x="24" y="171"/>
                  </a:lnTo>
                  <a:lnTo>
                    <a:pt x="24" y="173"/>
                  </a:lnTo>
                  <a:lnTo>
                    <a:pt x="24" y="171"/>
                  </a:lnTo>
                  <a:lnTo>
                    <a:pt x="21" y="171"/>
                  </a:lnTo>
                  <a:lnTo>
                    <a:pt x="19" y="171"/>
                  </a:lnTo>
                  <a:lnTo>
                    <a:pt x="21" y="171"/>
                  </a:lnTo>
                  <a:lnTo>
                    <a:pt x="19" y="171"/>
                  </a:lnTo>
                  <a:lnTo>
                    <a:pt x="19" y="173"/>
                  </a:lnTo>
                  <a:lnTo>
                    <a:pt x="17" y="173"/>
                  </a:lnTo>
                  <a:lnTo>
                    <a:pt x="14" y="171"/>
                  </a:lnTo>
                  <a:lnTo>
                    <a:pt x="14" y="169"/>
                  </a:lnTo>
                  <a:lnTo>
                    <a:pt x="12" y="169"/>
                  </a:lnTo>
                  <a:lnTo>
                    <a:pt x="12" y="166"/>
                  </a:lnTo>
                  <a:lnTo>
                    <a:pt x="14" y="166"/>
                  </a:lnTo>
                  <a:lnTo>
                    <a:pt x="14" y="169"/>
                  </a:lnTo>
                  <a:lnTo>
                    <a:pt x="14" y="166"/>
                  </a:lnTo>
                  <a:lnTo>
                    <a:pt x="14" y="164"/>
                  </a:lnTo>
                  <a:lnTo>
                    <a:pt x="14" y="166"/>
                  </a:lnTo>
                  <a:lnTo>
                    <a:pt x="17" y="166"/>
                  </a:lnTo>
                  <a:lnTo>
                    <a:pt x="17" y="169"/>
                  </a:lnTo>
                  <a:lnTo>
                    <a:pt x="19" y="169"/>
                  </a:lnTo>
                  <a:lnTo>
                    <a:pt x="19" y="166"/>
                  </a:lnTo>
                  <a:lnTo>
                    <a:pt x="17" y="166"/>
                  </a:lnTo>
                  <a:lnTo>
                    <a:pt x="17" y="164"/>
                  </a:lnTo>
                  <a:lnTo>
                    <a:pt x="19" y="164"/>
                  </a:lnTo>
                  <a:lnTo>
                    <a:pt x="19" y="166"/>
                  </a:lnTo>
                  <a:lnTo>
                    <a:pt x="19" y="164"/>
                  </a:lnTo>
                  <a:lnTo>
                    <a:pt x="17" y="164"/>
                  </a:lnTo>
                  <a:lnTo>
                    <a:pt x="17" y="161"/>
                  </a:lnTo>
                  <a:lnTo>
                    <a:pt x="17" y="159"/>
                  </a:lnTo>
                  <a:lnTo>
                    <a:pt x="19" y="159"/>
                  </a:lnTo>
                  <a:lnTo>
                    <a:pt x="19" y="161"/>
                  </a:lnTo>
                  <a:lnTo>
                    <a:pt x="21" y="161"/>
                  </a:lnTo>
                  <a:lnTo>
                    <a:pt x="21" y="164"/>
                  </a:lnTo>
                  <a:lnTo>
                    <a:pt x="24" y="164"/>
                  </a:lnTo>
                  <a:lnTo>
                    <a:pt x="24" y="166"/>
                  </a:lnTo>
                  <a:lnTo>
                    <a:pt x="24" y="164"/>
                  </a:lnTo>
                  <a:lnTo>
                    <a:pt x="26" y="164"/>
                  </a:lnTo>
                  <a:lnTo>
                    <a:pt x="26" y="166"/>
                  </a:lnTo>
                  <a:lnTo>
                    <a:pt x="28" y="166"/>
                  </a:lnTo>
                  <a:lnTo>
                    <a:pt x="26" y="166"/>
                  </a:lnTo>
                  <a:lnTo>
                    <a:pt x="28" y="166"/>
                  </a:lnTo>
                  <a:lnTo>
                    <a:pt x="26" y="166"/>
                  </a:lnTo>
                  <a:lnTo>
                    <a:pt x="26" y="164"/>
                  </a:lnTo>
                  <a:lnTo>
                    <a:pt x="26" y="161"/>
                  </a:lnTo>
                  <a:lnTo>
                    <a:pt x="24" y="161"/>
                  </a:lnTo>
                  <a:lnTo>
                    <a:pt x="26" y="161"/>
                  </a:lnTo>
                  <a:lnTo>
                    <a:pt x="24" y="161"/>
                  </a:lnTo>
                  <a:lnTo>
                    <a:pt x="26" y="161"/>
                  </a:lnTo>
                  <a:lnTo>
                    <a:pt x="26" y="159"/>
                  </a:lnTo>
                  <a:lnTo>
                    <a:pt x="26" y="161"/>
                  </a:lnTo>
                  <a:lnTo>
                    <a:pt x="26" y="159"/>
                  </a:lnTo>
                  <a:lnTo>
                    <a:pt x="24" y="159"/>
                  </a:lnTo>
                  <a:lnTo>
                    <a:pt x="26" y="159"/>
                  </a:lnTo>
                  <a:lnTo>
                    <a:pt x="24" y="159"/>
                  </a:lnTo>
                  <a:lnTo>
                    <a:pt x="26" y="159"/>
                  </a:lnTo>
                  <a:lnTo>
                    <a:pt x="24" y="159"/>
                  </a:lnTo>
                  <a:lnTo>
                    <a:pt x="24" y="157"/>
                  </a:lnTo>
                  <a:lnTo>
                    <a:pt x="26" y="157"/>
                  </a:lnTo>
                  <a:lnTo>
                    <a:pt x="26" y="154"/>
                  </a:lnTo>
                  <a:lnTo>
                    <a:pt x="28" y="154"/>
                  </a:lnTo>
                  <a:lnTo>
                    <a:pt x="28" y="157"/>
                  </a:lnTo>
                  <a:lnTo>
                    <a:pt x="31" y="157"/>
                  </a:lnTo>
                  <a:lnTo>
                    <a:pt x="31" y="159"/>
                  </a:lnTo>
                  <a:lnTo>
                    <a:pt x="33" y="159"/>
                  </a:lnTo>
                  <a:lnTo>
                    <a:pt x="33" y="161"/>
                  </a:lnTo>
                  <a:lnTo>
                    <a:pt x="33" y="164"/>
                  </a:lnTo>
                  <a:lnTo>
                    <a:pt x="33" y="166"/>
                  </a:lnTo>
                  <a:lnTo>
                    <a:pt x="33" y="169"/>
                  </a:lnTo>
                  <a:lnTo>
                    <a:pt x="31" y="169"/>
                  </a:lnTo>
                  <a:lnTo>
                    <a:pt x="31" y="171"/>
                  </a:lnTo>
                  <a:lnTo>
                    <a:pt x="31" y="169"/>
                  </a:lnTo>
                  <a:lnTo>
                    <a:pt x="33" y="171"/>
                  </a:lnTo>
                  <a:lnTo>
                    <a:pt x="33" y="169"/>
                  </a:lnTo>
                  <a:lnTo>
                    <a:pt x="33" y="171"/>
                  </a:lnTo>
                  <a:lnTo>
                    <a:pt x="33" y="173"/>
                  </a:lnTo>
                  <a:lnTo>
                    <a:pt x="36" y="173"/>
                  </a:lnTo>
                  <a:lnTo>
                    <a:pt x="33" y="173"/>
                  </a:lnTo>
                  <a:lnTo>
                    <a:pt x="33" y="176"/>
                  </a:lnTo>
                  <a:close/>
                  <a:moveTo>
                    <a:pt x="31" y="114"/>
                  </a:moveTo>
                  <a:lnTo>
                    <a:pt x="31" y="116"/>
                  </a:lnTo>
                  <a:lnTo>
                    <a:pt x="33" y="116"/>
                  </a:lnTo>
                  <a:lnTo>
                    <a:pt x="31" y="116"/>
                  </a:lnTo>
                  <a:lnTo>
                    <a:pt x="31" y="119"/>
                  </a:lnTo>
                  <a:lnTo>
                    <a:pt x="31" y="121"/>
                  </a:lnTo>
                  <a:lnTo>
                    <a:pt x="33" y="121"/>
                  </a:lnTo>
                  <a:lnTo>
                    <a:pt x="31" y="121"/>
                  </a:lnTo>
                  <a:lnTo>
                    <a:pt x="31" y="123"/>
                  </a:lnTo>
                  <a:lnTo>
                    <a:pt x="28" y="123"/>
                  </a:lnTo>
                  <a:lnTo>
                    <a:pt x="28" y="126"/>
                  </a:lnTo>
                  <a:lnTo>
                    <a:pt x="26" y="126"/>
                  </a:lnTo>
                  <a:lnTo>
                    <a:pt x="28" y="126"/>
                  </a:lnTo>
                  <a:lnTo>
                    <a:pt x="26" y="126"/>
                  </a:lnTo>
                  <a:lnTo>
                    <a:pt x="26" y="128"/>
                  </a:lnTo>
                  <a:lnTo>
                    <a:pt x="28" y="128"/>
                  </a:lnTo>
                  <a:lnTo>
                    <a:pt x="31" y="128"/>
                  </a:lnTo>
                  <a:lnTo>
                    <a:pt x="31" y="126"/>
                  </a:lnTo>
                  <a:lnTo>
                    <a:pt x="33" y="126"/>
                  </a:lnTo>
                  <a:lnTo>
                    <a:pt x="33" y="128"/>
                  </a:lnTo>
                  <a:lnTo>
                    <a:pt x="31" y="128"/>
                  </a:lnTo>
                  <a:lnTo>
                    <a:pt x="31" y="130"/>
                  </a:lnTo>
                  <a:lnTo>
                    <a:pt x="28" y="130"/>
                  </a:lnTo>
                  <a:lnTo>
                    <a:pt x="28" y="128"/>
                  </a:lnTo>
                  <a:lnTo>
                    <a:pt x="26" y="128"/>
                  </a:lnTo>
                  <a:lnTo>
                    <a:pt x="28" y="128"/>
                  </a:lnTo>
                  <a:lnTo>
                    <a:pt x="26" y="128"/>
                  </a:lnTo>
                  <a:lnTo>
                    <a:pt x="28" y="128"/>
                  </a:lnTo>
                  <a:lnTo>
                    <a:pt x="26" y="128"/>
                  </a:lnTo>
                  <a:lnTo>
                    <a:pt x="26" y="130"/>
                  </a:lnTo>
                  <a:lnTo>
                    <a:pt x="24" y="130"/>
                  </a:lnTo>
                  <a:lnTo>
                    <a:pt x="26" y="130"/>
                  </a:lnTo>
                  <a:lnTo>
                    <a:pt x="26" y="133"/>
                  </a:lnTo>
                  <a:lnTo>
                    <a:pt x="24" y="133"/>
                  </a:lnTo>
                  <a:lnTo>
                    <a:pt x="24" y="130"/>
                  </a:lnTo>
                  <a:lnTo>
                    <a:pt x="21" y="130"/>
                  </a:lnTo>
                  <a:lnTo>
                    <a:pt x="21" y="133"/>
                  </a:lnTo>
                  <a:lnTo>
                    <a:pt x="24" y="133"/>
                  </a:lnTo>
                  <a:lnTo>
                    <a:pt x="21" y="133"/>
                  </a:lnTo>
                  <a:lnTo>
                    <a:pt x="19" y="133"/>
                  </a:lnTo>
                  <a:lnTo>
                    <a:pt x="19" y="135"/>
                  </a:lnTo>
                  <a:lnTo>
                    <a:pt x="17" y="135"/>
                  </a:lnTo>
                  <a:lnTo>
                    <a:pt x="19" y="135"/>
                  </a:lnTo>
                  <a:lnTo>
                    <a:pt x="21" y="135"/>
                  </a:lnTo>
                  <a:lnTo>
                    <a:pt x="21" y="133"/>
                  </a:lnTo>
                  <a:lnTo>
                    <a:pt x="24" y="133"/>
                  </a:lnTo>
                  <a:lnTo>
                    <a:pt x="26" y="133"/>
                  </a:lnTo>
                  <a:lnTo>
                    <a:pt x="24" y="133"/>
                  </a:lnTo>
                  <a:lnTo>
                    <a:pt x="26" y="133"/>
                  </a:lnTo>
                  <a:lnTo>
                    <a:pt x="24" y="133"/>
                  </a:lnTo>
                  <a:lnTo>
                    <a:pt x="24" y="135"/>
                  </a:lnTo>
                  <a:lnTo>
                    <a:pt x="26" y="135"/>
                  </a:lnTo>
                  <a:lnTo>
                    <a:pt x="26" y="133"/>
                  </a:lnTo>
                  <a:lnTo>
                    <a:pt x="26" y="135"/>
                  </a:lnTo>
                  <a:lnTo>
                    <a:pt x="24" y="135"/>
                  </a:lnTo>
                  <a:lnTo>
                    <a:pt x="24" y="138"/>
                  </a:lnTo>
                  <a:lnTo>
                    <a:pt x="26" y="138"/>
                  </a:lnTo>
                  <a:lnTo>
                    <a:pt x="24" y="138"/>
                  </a:lnTo>
                  <a:lnTo>
                    <a:pt x="21" y="138"/>
                  </a:lnTo>
                  <a:lnTo>
                    <a:pt x="19" y="138"/>
                  </a:lnTo>
                  <a:lnTo>
                    <a:pt x="21" y="138"/>
                  </a:lnTo>
                  <a:lnTo>
                    <a:pt x="21" y="140"/>
                  </a:lnTo>
                  <a:lnTo>
                    <a:pt x="21" y="138"/>
                  </a:lnTo>
                  <a:lnTo>
                    <a:pt x="24" y="140"/>
                  </a:lnTo>
                  <a:lnTo>
                    <a:pt x="24" y="142"/>
                  </a:lnTo>
                  <a:lnTo>
                    <a:pt x="21" y="142"/>
                  </a:lnTo>
                  <a:lnTo>
                    <a:pt x="19" y="142"/>
                  </a:lnTo>
                  <a:lnTo>
                    <a:pt x="19" y="140"/>
                  </a:lnTo>
                  <a:lnTo>
                    <a:pt x="19" y="142"/>
                  </a:lnTo>
                  <a:lnTo>
                    <a:pt x="21" y="142"/>
                  </a:lnTo>
                  <a:lnTo>
                    <a:pt x="19" y="142"/>
                  </a:lnTo>
                  <a:lnTo>
                    <a:pt x="17" y="142"/>
                  </a:lnTo>
                  <a:lnTo>
                    <a:pt x="19" y="142"/>
                  </a:lnTo>
                  <a:lnTo>
                    <a:pt x="17" y="142"/>
                  </a:lnTo>
                  <a:lnTo>
                    <a:pt x="17" y="140"/>
                  </a:lnTo>
                  <a:lnTo>
                    <a:pt x="17" y="142"/>
                  </a:lnTo>
                  <a:lnTo>
                    <a:pt x="19" y="142"/>
                  </a:lnTo>
                  <a:lnTo>
                    <a:pt x="17" y="142"/>
                  </a:lnTo>
                  <a:lnTo>
                    <a:pt x="14" y="142"/>
                  </a:lnTo>
                  <a:lnTo>
                    <a:pt x="14" y="140"/>
                  </a:lnTo>
                  <a:lnTo>
                    <a:pt x="14" y="138"/>
                  </a:lnTo>
                  <a:lnTo>
                    <a:pt x="17" y="138"/>
                  </a:lnTo>
                  <a:lnTo>
                    <a:pt x="17" y="135"/>
                  </a:lnTo>
                  <a:lnTo>
                    <a:pt x="19" y="135"/>
                  </a:lnTo>
                  <a:lnTo>
                    <a:pt x="17" y="135"/>
                  </a:lnTo>
                  <a:lnTo>
                    <a:pt x="14" y="135"/>
                  </a:lnTo>
                  <a:lnTo>
                    <a:pt x="17" y="135"/>
                  </a:lnTo>
                  <a:lnTo>
                    <a:pt x="17" y="138"/>
                  </a:lnTo>
                  <a:lnTo>
                    <a:pt x="14" y="138"/>
                  </a:lnTo>
                  <a:lnTo>
                    <a:pt x="12" y="138"/>
                  </a:lnTo>
                  <a:lnTo>
                    <a:pt x="14" y="140"/>
                  </a:lnTo>
                  <a:lnTo>
                    <a:pt x="12" y="140"/>
                  </a:lnTo>
                  <a:lnTo>
                    <a:pt x="14" y="140"/>
                  </a:lnTo>
                  <a:lnTo>
                    <a:pt x="14" y="142"/>
                  </a:lnTo>
                  <a:lnTo>
                    <a:pt x="14" y="140"/>
                  </a:lnTo>
                  <a:lnTo>
                    <a:pt x="14" y="142"/>
                  </a:lnTo>
                  <a:lnTo>
                    <a:pt x="14" y="140"/>
                  </a:lnTo>
                  <a:lnTo>
                    <a:pt x="14" y="142"/>
                  </a:lnTo>
                  <a:lnTo>
                    <a:pt x="17" y="142"/>
                  </a:lnTo>
                  <a:lnTo>
                    <a:pt x="14" y="142"/>
                  </a:lnTo>
                  <a:lnTo>
                    <a:pt x="14" y="145"/>
                  </a:lnTo>
                  <a:lnTo>
                    <a:pt x="17" y="145"/>
                  </a:lnTo>
                  <a:lnTo>
                    <a:pt x="14" y="145"/>
                  </a:lnTo>
                  <a:lnTo>
                    <a:pt x="12" y="145"/>
                  </a:lnTo>
                  <a:lnTo>
                    <a:pt x="12" y="147"/>
                  </a:lnTo>
                  <a:lnTo>
                    <a:pt x="14" y="147"/>
                  </a:lnTo>
                  <a:lnTo>
                    <a:pt x="12" y="147"/>
                  </a:lnTo>
                  <a:lnTo>
                    <a:pt x="12" y="150"/>
                  </a:lnTo>
                  <a:lnTo>
                    <a:pt x="9" y="150"/>
                  </a:lnTo>
                  <a:lnTo>
                    <a:pt x="12" y="150"/>
                  </a:lnTo>
                  <a:lnTo>
                    <a:pt x="9" y="150"/>
                  </a:lnTo>
                  <a:lnTo>
                    <a:pt x="12" y="150"/>
                  </a:lnTo>
                  <a:lnTo>
                    <a:pt x="9" y="147"/>
                  </a:lnTo>
                  <a:lnTo>
                    <a:pt x="9" y="150"/>
                  </a:lnTo>
                  <a:lnTo>
                    <a:pt x="7" y="150"/>
                  </a:lnTo>
                  <a:lnTo>
                    <a:pt x="7" y="152"/>
                  </a:lnTo>
                  <a:lnTo>
                    <a:pt x="9" y="152"/>
                  </a:lnTo>
                  <a:lnTo>
                    <a:pt x="7" y="152"/>
                  </a:lnTo>
                  <a:lnTo>
                    <a:pt x="5" y="152"/>
                  </a:lnTo>
                  <a:lnTo>
                    <a:pt x="7" y="152"/>
                  </a:lnTo>
                  <a:lnTo>
                    <a:pt x="5" y="152"/>
                  </a:lnTo>
                  <a:lnTo>
                    <a:pt x="2" y="150"/>
                  </a:lnTo>
                  <a:lnTo>
                    <a:pt x="0" y="150"/>
                  </a:lnTo>
                  <a:lnTo>
                    <a:pt x="0" y="147"/>
                  </a:lnTo>
                  <a:lnTo>
                    <a:pt x="2" y="147"/>
                  </a:lnTo>
                  <a:lnTo>
                    <a:pt x="2" y="150"/>
                  </a:lnTo>
                  <a:lnTo>
                    <a:pt x="2" y="147"/>
                  </a:lnTo>
                  <a:lnTo>
                    <a:pt x="5" y="147"/>
                  </a:lnTo>
                  <a:lnTo>
                    <a:pt x="5" y="145"/>
                  </a:lnTo>
                  <a:lnTo>
                    <a:pt x="7" y="145"/>
                  </a:lnTo>
                  <a:lnTo>
                    <a:pt x="7" y="142"/>
                  </a:lnTo>
                  <a:lnTo>
                    <a:pt x="9" y="145"/>
                  </a:lnTo>
                  <a:lnTo>
                    <a:pt x="12" y="145"/>
                  </a:lnTo>
                  <a:lnTo>
                    <a:pt x="9" y="142"/>
                  </a:lnTo>
                  <a:lnTo>
                    <a:pt x="7" y="142"/>
                  </a:lnTo>
                  <a:lnTo>
                    <a:pt x="5" y="140"/>
                  </a:lnTo>
                  <a:lnTo>
                    <a:pt x="5" y="142"/>
                  </a:lnTo>
                  <a:lnTo>
                    <a:pt x="5" y="140"/>
                  </a:lnTo>
                  <a:lnTo>
                    <a:pt x="5" y="142"/>
                  </a:lnTo>
                  <a:lnTo>
                    <a:pt x="5" y="140"/>
                  </a:lnTo>
                  <a:lnTo>
                    <a:pt x="5" y="142"/>
                  </a:lnTo>
                  <a:lnTo>
                    <a:pt x="5" y="140"/>
                  </a:lnTo>
                  <a:lnTo>
                    <a:pt x="2" y="140"/>
                  </a:lnTo>
                  <a:lnTo>
                    <a:pt x="2" y="138"/>
                  </a:lnTo>
                  <a:lnTo>
                    <a:pt x="5" y="138"/>
                  </a:lnTo>
                  <a:lnTo>
                    <a:pt x="7" y="138"/>
                  </a:lnTo>
                  <a:lnTo>
                    <a:pt x="7" y="135"/>
                  </a:lnTo>
                  <a:lnTo>
                    <a:pt x="5" y="135"/>
                  </a:lnTo>
                  <a:lnTo>
                    <a:pt x="5" y="138"/>
                  </a:lnTo>
                  <a:lnTo>
                    <a:pt x="2" y="138"/>
                  </a:lnTo>
                  <a:lnTo>
                    <a:pt x="2" y="135"/>
                  </a:lnTo>
                  <a:lnTo>
                    <a:pt x="5" y="135"/>
                  </a:lnTo>
                  <a:lnTo>
                    <a:pt x="2" y="135"/>
                  </a:lnTo>
                  <a:lnTo>
                    <a:pt x="5" y="135"/>
                  </a:lnTo>
                  <a:lnTo>
                    <a:pt x="2" y="135"/>
                  </a:lnTo>
                  <a:lnTo>
                    <a:pt x="2" y="133"/>
                  </a:lnTo>
                  <a:lnTo>
                    <a:pt x="0" y="133"/>
                  </a:lnTo>
                  <a:lnTo>
                    <a:pt x="0" y="130"/>
                  </a:lnTo>
                  <a:lnTo>
                    <a:pt x="2" y="130"/>
                  </a:lnTo>
                  <a:lnTo>
                    <a:pt x="0" y="130"/>
                  </a:lnTo>
                  <a:lnTo>
                    <a:pt x="2" y="130"/>
                  </a:lnTo>
                  <a:lnTo>
                    <a:pt x="2" y="128"/>
                  </a:lnTo>
                  <a:lnTo>
                    <a:pt x="2" y="130"/>
                  </a:lnTo>
                  <a:lnTo>
                    <a:pt x="2" y="128"/>
                  </a:lnTo>
                  <a:lnTo>
                    <a:pt x="2" y="130"/>
                  </a:lnTo>
                  <a:lnTo>
                    <a:pt x="5" y="130"/>
                  </a:lnTo>
                  <a:lnTo>
                    <a:pt x="5" y="128"/>
                  </a:lnTo>
                  <a:lnTo>
                    <a:pt x="2" y="128"/>
                  </a:lnTo>
                  <a:lnTo>
                    <a:pt x="2" y="126"/>
                  </a:lnTo>
                  <a:lnTo>
                    <a:pt x="5" y="126"/>
                  </a:lnTo>
                  <a:lnTo>
                    <a:pt x="5" y="128"/>
                  </a:lnTo>
                  <a:lnTo>
                    <a:pt x="7" y="128"/>
                  </a:lnTo>
                  <a:lnTo>
                    <a:pt x="7" y="126"/>
                  </a:lnTo>
                  <a:lnTo>
                    <a:pt x="7" y="128"/>
                  </a:lnTo>
                  <a:lnTo>
                    <a:pt x="9" y="128"/>
                  </a:lnTo>
                  <a:lnTo>
                    <a:pt x="9" y="130"/>
                  </a:lnTo>
                  <a:lnTo>
                    <a:pt x="9" y="133"/>
                  </a:lnTo>
                  <a:lnTo>
                    <a:pt x="9" y="130"/>
                  </a:lnTo>
                  <a:lnTo>
                    <a:pt x="9" y="128"/>
                  </a:lnTo>
                  <a:lnTo>
                    <a:pt x="12" y="128"/>
                  </a:lnTo>
                  <a:lnTo>
                    <a:pt x="14" y="128"/>
                  </a:lnTo>
                  <a:lnTo>
                    <a:pt x="14" y="130"/>
                  </a:lnTo>
                  <a:lnTo>
                    <a:pt x="14" y="128"/>
                  </a:lnTo>
                  <a:lnTo>
                    <a:pt x="12" y="128"/>
                  </a:lnTo>
                  <a:lnTo>
                    <a:pt x="14" y="128"/>
                  </a:lnTo>
                  <a:lnTo>
                    <a:pt x="12" y="128"/>
                  </a:lnTo>
                  <a:lnTo>
                    <a:pt x="12" y="126"/>
                  </a:lnTo>
                  <a:lnTo>
                    <a:pt x="12" y="123"/>
                  </a:lnTo>
                  <a:lnTo>
                    <a:pt x="9" y="123"/>
                  </a:lnTo>
                  <a:lnTo>
                    <a:pt x="12" y="123"/>
                  </a:lnTo>
                  <a:lnTo>
                    <a:pt x="14" y="123"/>
                  </a:lnTo>
                  <a:lnTo>
                    <a:pt x="14" y="121"/>
                  </a:lnTo>
                  <a:lnTo>
                    <a:pt x="17" y="121"/>
                  </a:lnTo>
                  <a:lnTo>
                    <a:pt x="19" y="121"/>
                  </a:lnTo>
                  <a:lnTo>
                    <a:pt x="19" y="119"/>
                  </a:lnTo>
                  <a:lnTo>
                    <a:pt x="21" y="119"/>
                  </a:lnTo>
                  <a:lnTo>
                    <a:pt x="21" y="116"/>
                  </a:lnTo>
                  <a:lnTo>
                    <a:pt x="24" y="116"/>
                  </a:lnTo>
                  <a:lnTo>
                    <a:pt x="26" y="116"/>
                  </a:lnTo>
                  <a:lnTo>
                    <a:pt x="26" y="114"/>
                  </a:lnTo>
                  <a:lnTo>
                    <a:pt x="28" y="114"/>
                  </a:lnTo>
                  <a:lnTo>
                    <a:pt x="28" y="111"/>
                  </a:lnTo>
                  <a:lnTo>
                    <a:pt x="31" y="111"/>
                  </a:lnTo>
                  <a:lnTo>
                    <a:pt x="31" y="114"/>
                  </a:lnTo>
                  <a:close/>
                  <a:moveTo>
                    <a:pt x="130" y="78"/>
                  </a:moveTo>
                  <a:lnTo>
                    <a:pt x="133" y="78"/>
                  </a:lnTo>
                  <a:lnTo>
                    <a:pt x="133" y="81"/>
                  </a:lnTo>
                  <a:lnTo>
                    <a:pt x="135" y="81"/>
                  </a:lnTo>
                  <a:lnTo>
                    <a:pt x="135" y="83"/>
                  </a:lnTo>
                  <a:lnTo>
                    <a:pt x="138" y="83"/>
                  </a:lnTo>
                  <a:lnTo>
                    <a:pt x="138" y="85"/>
                  </a:lnTo>
                  <a:lnTo>
                    <a:pt x="135" y="85"/>
                  </a:lnTo>
                  <a:lnTo>
                    <a:pt x="135" y="83"/>
                  </a:lnTo>
                  <a:lnTo>
                    <a:pt x="135" y="85"/>
                  </a:lnTo>
                  <a:lnTo>
                    <a:pt x="133" y="85"/>
                  </a:lnTo>
                  <a:lnTo>
                    <a:pt x="135" y="88"/>
                  </a:lnTo>
                  <a:lnTo>
                    <a:pt x="135" y="85"/>
                  </a:lnTo>
                  <a:lnTo>
                    <a:pt x="135" y="88"/>
                  </a:lnTo>
                  <a:lnTo>
                    <a:pt x="135" y="85"/>
                  </a:lnTo>
                  <a:lnTo>
                    <a:pt x="138" y="85"/>
                  </a:lnTo>
                  <a:lnTo>
                    <a:pt x="138" y="88"/>
                  </a:lnTo>
                  <a:lnTo>
                    <a:pt x="138" y="85"/>
                  </a:lnTo>
                  <a:lnTo>
                    <a:pt x="140" y="85"/>
                  </a:lnTo>
                  <a:lnTo>
                    <a:pt x="140" y="88"/>
                  </a:lnTo>
                  <a:lnTo>
                    <a:pt x="142" y="88"/>
                  </a:lnTo>
                  <a:lnTo>
                    <a:pt x="145" y="88"/>
                  </a:lnTo>
                  <a:lnTo>
                    <a:pt x="142" y="88"/>
                  </a:lnTo>
                  <a:lnTo>
                    <a:pt x="142" y="90"/>
                  </a:lnTo>
                  <a:lnTo>
                    <a:pt x="142" y="88"/>
                  </a:lnTo>
                  <a:lnTo>
                    <a:pt x="142" y="90"/>
                  </a:lnTo>
                  <a:lnTo>
                    <a:pt x="145" y="90"/>
                  </a:lnTo>
                  <a:lnTo>
                    <a:pt x="142" y="90"/>
                  </a:lnTo>
                  <a:lnTo>
                    <a:pt x="145" y="90"/>
                  </a:lnTo>
                  <a:lnTo>
                    <a:pt x="145" y="88"/>
                  </a:lnTo>
                  <a:lnTo>
                    <a:pt x="147" y="88"/>
                  </a:lnTo>
                  <a:lnTo>
                    <a:pt x="147" y="90"/>
                  </a:lnTo>
                  <a:lnTo>
                    <a:pt x="145" y="90"/>
                  </a:lnTo>
                  <a:lnTo>
                    <a:pt x="142" y="92"/>
                  </a:lnTo>
                  <a:lnTo>
                    <a:pt x="140" y="92"/>
                  </a:lnTo>
                  <a:lnTo>
                    <a:pt x="140" y="95"/>
                  </a:lnTo>
                  <a:lnTo>
                    <a:pt x="142" y="95"/>
                  </a:lnTo>
                  <a:lnTo>
                    <a:pt x="140" y="95"/>
                  </a:lnTo>
                  <a:lnTo>
                    <a:pt x="140" y="97"/>
                  </a:lnTo>
                  <a:lnTo>
                    <a:pt x="140" y="95"/>
                  </a:lnTo>
                  <a:lnTo>
                    <a:pt x="140" y="97"/>
                  </a:lnTo>
                  <a:lnTo>
                    <a:pt x="140" y="100"/>
                  </a:lnTo>
                  <a:lnTo>
                    <a:pt x="138" y="100"/>
                  </a:lnTo>
                  <a:lnTo>
                    <a:pt x="138" y="97"/>
                  </a:lnTo>
                  <a:lnTo>
                    <a:pt x="135" y="97"/>
                  </a:lnTo>
                  <a:lnTo>
                    <a:pt x="138" y="97"/>
                  </a:lnTo>
                  <a:lnTo>
                    <a:pt x="138" y="95"/>
                  </a:lnTo>
                  <a:lnTo>
                    <a:pt x="138" y="97"/>
                  </a:lnTo>
                  <a:lnTo>
                    <a:pt x="138" y="95"/>
                  </a:lnTo>
                  <a:lnTo>
                    <a:pt x="135" y="95"/>
                  </a:lnTo>
                  <a:lnTo>
                    <a:pt x="135" y="97"/>
                  </a:lnTo>
                  <a:lnTo>
                    <a:pt x="135" y="95"/>
                  </a:lnTo>
                  <a:lnTo>
                    <a:pt x="138" y="95"/>
                  </a:lnTo>
                  <a:lnTo>
                    <a:pt x="140" y="95"/>
                  </a:lnTo>
                  <a:lnTo>
                    <a:pt x="138" y="95"/>
                  </a:lnTo>
                  <a:lnTo>
                    <a:pt x="140" y="95"/>
                  </a:lnTo>
                  <a:lnTo>
                    <a:pt x="140" y="92"/>
                  </a:lnTo>
                  <a:lnTo>
                    <a:pt x="140" y="90"/>
                  </a:lnTo>
                  <a:lnTo>
                    <a:pt x="138" y="90"/>
                  </a:lnTo>
                  <a:lnTo>
                    <a:pt x="138" y="88"/>
                  </a:lnTo>
                  <a:lnTo>
                    <a:pt x="138" y="90"/>
                  </a:lnTo>
                  <a:lnTo>
                    <a:pt x="135" y="90"/>
                  </a:lnTo>
                  <a:lnTo>
                    <a:pt x="133" y="90"/>
                  </a:lnTo>
                  <a:lnTo>
                    <a:pt x="130" y="90"/>
                  </a:lnTo>
                  <a:lnTo>
                    <a:pt x="128" y="90"/>
                  </a:lnTo>
                  <a:lnTo>
                    <a:pt x="128" y="88"/>
                  </a:lnTo>
                  <a:lnTo>
                    <a:pt x="130" y="88"/>
                  </a:lnTo>
                  <a:lnTo>
                    <a:pt x="128" y="88"/>
                  </a:lnTo>
                  <a:lnTo>
                    <a:pt x="130" y="88"/>
                  </a:lnTo>
                  <a:lnTo>
                    <a:pt x="130" y="85"/>
                  </a:lnTo>
                  <a:lnTo>
                    <a:pt x="128" y="85"/>
                  </a:lnTo>
                  <a:lnTo>
                    <a:pt x="130" y="85"/>
                  </a:lnTo>
                  <a:lnTo>
                    <a:pt x="130" y="83"/>
                  </a:lnTo>
                  <a:lnTo>
                    <a:pt x="128" y="83"/>
                  </a:lnTo>
                  <a:lnTo>
                    <a:pt x="128" y="85"/>
                  </a:lnTo>
                  <a:lnTo>
                    <a:pt x="130" y="85"/>
                  </a:lnTo>
                  <a:lnTo>
                    <a:pt x="130" y="88"/>
                  </a:lnTo>
                  <a:lnTo>
                    <a:pt x="130" y="85"/>
                  </a:lnTo>
                  <a:lnTo>
                    <a:pt x="128" y="85"/>
                  </a:lnTo>
                  <a:lnTo>
                    <a:pt x="128" y="88"/>
                  </a:lnTo>
                  <a:lnTo>
                    <a:pt x="128" y="90"/>
                  </a:lnTo>
                  <a:lnTo>
                    <a:pt x="126" y="90"/>
                  </a:lnTo>
                  <a:lnTo>
                    <a:pt x="126" y="88"/>
                  </a:lnTo>
                  <a:lnTo>
                    <a:pt x="126" y="85"/>
                  </a:lnTo>
                  <a:lnTo>
                    <a:pt x="126" y="83"/>
                  </a:lnTo>
                  <a:lnTo>
                    <a:pt x="126" y="81"/>
                  </a:lnTo>
                  <a:lnTo>
                    <a:pt x="126" y="78"/>
                  </a:lnTo>
                  <a:lnTo>
                    <a:pt x="128" y="78"/>
                  </a:lnTo>
                  <a:lnTo>
                    <a:pt x="130" y="78"/>
                  </a:lnTo>
                  <a:close/>
                  <a:moveTo>
                    <a:pt x="192" y="0"/>
                  </a:moveTo>
                  <a:lnTo>
                    <a:pt x="192" y="2"/>
                  </a:lnTo>
                  <a:lnTo>
                    <a:pt x="192" y="5"/>
                  </a:lnTo>
                  <a:lnTo>
                    <a:pt x="192" y="7"/>
                  </a:lnTo>
                  <a:lnTo>
                    <a:pt x="192" y="9"/>
                  </a:lnTo>
                  <a:lnTo>
                    <a:pt x="192" y="12"/>
                  </a:lnTo>
                  <a:lnTo>
                    <a:pt x="190" y="12"/>
                  </a:lnTo>
                  <a:lnTo>
                    <a:pt x="192" y="12"/>
                  </a:lnTo>
                  <a:lnTo>
                    <a:pt x="190" y="12"/>
                  </a:lnTo>
                  <a:lnTo>
                    <a:pt x="192" y="12"/>
                  </a:lnTo>
                  <a:lnTo>
                    <a:pt x="190" y="12"/>
                  </a:lnTo>
                  <a:lnTo>
                    <a:pt x="192" y="12"/>
                  </a:lnTo>
                  <a:lnTo>
                    <a:pt x="192" y="9"/>
                  </a:lnTo>
                  <a:lnTo>
                    <a:pt x="194" y="9"/>
                  </a:lnTo>
                  <a:lnTo>
                    <a:pt x="192" y="9"/>
                  </a:lnTo>
                  <a:lnTo>
                    <a:pt x="194" y="9"/>
                  </a:lnTo>
                  <a:lnTo>
                    <a:pt x="194" y="7"/>
                  </a:lnTo>
                  <a:lnTo>
                    <a:pt x="197" y="7"/>
                  </a:lnTo>
                  <a:lnTo>
                    <a:pt x="197" y="9"/>
                  </a:lnTo>
                  <a:lnTo>
                    <a:pt x="197" y="12"/>
                  </a:lnTo>
                  <a:lnTo>
                    <a:pt x="194" y="12"/>
                  </a:lnTo>
                  <a:lnTo>
                    <a:pt x="197" y="12"/>
                  </a:lnTo>
                  <a:lnTo>
                    <a:pt x="194" y="12"/>
                  </a:lnTo>
                  <a:lnTo>
                    <a:pt x="197" y="12"/>
                  </a:lnTo>
                  <a:lnTo>
                    <a:pt x="197" y="14"/>
                  </a:lnTo>
                  <a:lnTo>
                    <a:pt x="197" y="12"/>
                  </a:lnTo>
                  <a:lnTo>
                    <a:pt x="199" y="12"/>
                  </a:lnTo>
                  <a:lnTo>
                    <a:pt x="199" y="9"/>
                  </a:lnTo>
                  <a:lnTo>
                    <a:pt x="202" y="9"/>
                  </a:lnTo>
                  <a:lnTo>
                    <a:pt x="202" y="12"/>
                  </a:lnTo>
                  <a:lnTo>
                    <a:pt x="199" y="12"/>
                  </a:lnTo>
                  <a:lnTo>
                    <a:pt x="199" y="14"/>
                  </a:lnTo>
                  <a:lnTo>
                    <a:pt x="199" y="12"/>
                  </a:lnTo>
                  <a:lnTo>
                    <a:pt x="199" y="14"/>
                  </a:lnTo>
                  <a:lnTo>
                    <a:pt x="199" y="12"/>
                  </a:lnTo>
                  <a:lnTo>
                    <a:pt x="202" y="14"/>
                  </a:lnTo>
                  <a:lnTo>
                    <a:pt x="199" y="14"/>
                  </a:lnTo>
                  <a:lnTo>
                    <a:pt x="202" y="14"/>
                  </a:lnTo>
                  <a:lnTo>
                    <a:pt x="199" y="14"/>
                  </a:lnTo>
                  <a:lnTo>
                    <a:pt x="197" y="14"/>
                  </a:lnTo>
                  <a:lnTo>
                    <a:pt x="197" y="16"/>
                  </a:lnTo>
                  <a:lnTo>
                    <a:pt x="199" y="16"/>
                  </a:lnTo>
                  <a:lnTo>
                    <a:pt x="199" y="19"/>
                  </a:lnTo>
                  <a:lnTo>
                    <a:pt x="197" y="19"/>
                  </a:lnTo>
                  <a:lnTo>
                    <a:pt x="199" y="19"/>
                  </a:lnTo>
                  <a:lnTo>
                    <a:pt x="197" y="19"/>
                  </a:lnTo>
                  <a:lnTo>
                    <a:pt x="199" y="19"/>
                  </a:lnTo>
                  <a:lnTo>
                    <a:pt x="197" y="21"/>
                  </a:lnTo>
                  <a:lnTo>
                    <a:pt x="199" y="21"/>
                  </a:lnTo>
                  <a:lnTo>
                    <a:pt x="197" y="21"/>
                  </a:lnTo>
                  <a:lnTo>
                    <a:pt x="197" y="19"/>
                  </a:lnTo>
                  <a:lnTo>
                    <a:pt x="197" y="21"/>
                  </a:lnTo>
                  <a:lnTo>
                    <a:pt x="194" y="21"/>
                  </a:lnTo>
                  <a:lnTo>
                    <a:pt x="197" y="21"/>
                  </a:lnTo>
                  <a:lnTo>
                    <a:pt x="197" y="24"/>
                  </a:lnTo>
                  <a:lnTo>
                    <a:pt x="197" y="21"/>
                  </a:lnTo>
                  <a:lnTo>
                    <a:pt x="197" y="24"/>
                  </a:lnTo>
                  <a:lnTo>
                    <a:pt x="199" y="24"/>
                  </a:lnTo>
                  <a:lnTo>
                    <a:pt x="197" y="24"/>
                  </a:lnTo>
                  <a:lnTo>
                    <a:pt x="197" y="26"/>
                  </a:lnTo>
                  <a:lnTo>
                    <a:pt x="199" y="26"/>
                  </a:lnTo>
                  <a:lnTo>
                    <a:pt x="197" y="26"/>
                  </a:lnTo>
                  <a:lnTo>
                    <a:pt x="197" y="28"/>
                  </a:lnTo>
                  <a:lnTo>
                    <a:pt x="197" y="26"/>
                  </a:lnTo>
                  <a:lnTo>
                    <a:pt x="197" y="28"/>
                  </a:lnTo>
                  <a:lnTo>
                    <a:pt x="194" y="28"/>
                  </a:lnTo>
                  <a:lnTo>
                    <a:pt x="197" y="28"/>
                  </a:lnTo>
                  <a:lnTo>
                    <a:pt x="197" y="31"/>
                  </a:lnTo>
                  <a:lnTo>
                    <a:pt x="194" y="31"/>
                  </a:lnTo>
                  <a:lnTo>
                    <a:pt x="194" y="33"/>
                  </a:lnTo>
                  <a:lnTo>
                    <a:pt x="197" y="33"/>
                  </a:lnTo>
                  <a:lnTo>
                    <a:pt x="197" y="35"/>
                  </a:lnTo>
                  <a:lnTo>
                    <a:pt x="194" y="35"/>
                  </a:lnTo>
                  <a:lnTo>
                    <a:pt x="194" y="33"/>
                  </a:lnTo>
                  <a:lnTo>
                    <a:pt x="194" y="35"/>
                  </a:lnTo>
                  <a:lnTo>
                    <a:pt x="194" y="33"/>
                  </a:lnTo>
                  <a:lnTo>
                    <a:pt x="194" y="35"/>
                  </a:lnTo>
                  <a:lnTo>
                    <a:pt x="194" y="38"/>
                  </a:lnTo>
                  <a:lnTo>
                    <a:pt x="194" y="40"/>
                  </a:lnTo>
                  <a:lnTo>
                    <a:pt x="192" y="40"/>
                  </a:lnTo>
                  <a:lnTo>
                    <a:pt x="194" y="40"/>
                  </a:lnTo>
                  <a:lnTo>
                    <a:pt x="194" y="43"/>
                  </a:lnTo>
                  <a:lnTo>
                    <a:pt x="194" y="40"/>
                  </a:lnTo>
                  <a:lnTo>
                    <a:pt x="192" y="40"/>
                  </a:lnTo>
                  <a:lnTo>
                    <a:pt x="192" y="38"/>
                  </a:lnTo>
                  <a:lnTo>
                    <a:pt x="192" y="40"/>
                  </a:lnTo>
                  <a:lnTo>
                    <a:pt x="190" y="40"/>
                  </a:lnTo>
                  <a:lnTo>
                    <a:pt x="190" y="38"/>
                  </a:lnTo>
                  <a:lnTo>
                    <a:pt x="190" y="35"/>
                  </a:lnTo>
                  <a:lnTo>
                    <a:pt x="192" y="35"/>
                  </a:lnTo>
                  <a:lnTo>
                    <a:pt x="190" y="35"/>
                  </a:lnTo>
                  <a:lnTo>
                    <a:pt x="192" y="35"/>
                  </a:lnTo>
                  <a:lnTo>
                    <a:pt x="192" y="33"/>
                  </a:lnTo>
                  <a:lnTo>
                    <a:pt x="192" y="31"/>
                  </a:lnTo>
                  <a:lnTo>
                    <a:pt x="194" y="28"/>
                  </a:lnTo>
                  <a:lnTo>
                    <a:pt x="194" y="26"/>
                  </a:lnTo>
                  <a:lnTo>
                    <a:pt x="192" y="26"/>
                  </a:lnTo>
                  <a:lnTo>
                    <a:pt x="192" y="24"/>
                  </a:lnTo>
                  <a:lnTo>
                    <a:pt x="194" y="24"/>
                  </a:lnTo>
                  <a:lnTo>
                    <a:pt x="192" y="24"/>
                  </a:lnTo>
                  <a:lnTo>
                    <a:pt x="192" y="26"/>
                  </a:lnTo>
                  <a:lnTo>
                    <a:pt x="192" y="24"/>
                  </a:lnTo>
                  <a:lnTo>
                    <a:pt x="192" y="21"/>
                  </a:lnTo>
                  <a:lnTo>
                    <a:pt x="192" y="24"/>
                  </a:lnTo>
                  <a:lnTo>
                    <a:pt x="192" y="26"/>
                  </a:lnTo>
                  <a:lnTo>
                    <a:pt x="192" y="24"/>
                  </a:lnTo>
                  <a:lnTo>
                    <a:pt x="192" y="21"/>
                  </a:lnTo>
                  <a:lnTo>
                    <a:pt x="192" y="24"/>
                  </a:lnTo>
                  <a:lnTo>
                    <a:pt x="192" y="21"/>
                  </a:lnTo>
                  <a:lnTo>
                    <a:pt x="190" y="21"/>
                  </a:lnTo>
                  <a:lnTo>
                    <a:pt x="192" y="21"/>
                  </a:lnTo>
                  <a:lnTo>
                    <a:pt x="190" y="21"/>
                  </a:lnTo>
                  <a:lnTo>
                    <a:pt x="192" y="21"/>
                  </a:lnTo>
                  <a:lnTo>
                    <a:pt x="190" y="21"/>
                  </a:lnTo>
                  <a:lnTo>
                    <a:pt x="190" y="19"/>
                  </a:lnTo>
                  <a:lnTo>
                    <a:pt x="190" y="21"/>
                  </a:lnTo>
                  <a:lnTo>
                    <a:pt x="192" y="21"/>
                  </a:lnTo>
                  <a:lnTo>
                    <a:pt x="192" y="24"/>
                  </a:lnTo>
                  <a:lnTo>
                    <a:pt x="190" y="24"/>
                  </a:lnTo>
                  <a:lnTo>
                    <a:pt x="192" y="24"/>
                  </a:lnTo>
                  <a:lnTo>
                    <a:pt x="190" y="24"/>
                  </a:lnTo>
                  <a:lnTo>
                    <a:pt x="190" y="21"/>
                  </a:lnTo>
                  <a:lnTo>
                    <a:pt x="190" y="24"/>
                  </a:lnTo>
                  <a:lnTo>
                    <a:pt x="190" y="21"/>
                  </a:lnTo>
                  <a:lnTo>
                    <a:pt x="190" y="24"/>
                  </a:lnTo>
                  <a:lnTo>
                    <a:pt x="187" y="24"/>
                  </a:lnTo>
                  <a:lnTo>
                    <a:pt x="190" y="24"/>
                  </a:lnTo>
                  <a:lnTo>
                    <a:pt x="187" y="24"/>
                  </a:lnTo>
                  <a:lnTo>
                    <a:pt x="187" y="26"/>
                  </a:lnTo>
                  <a:lnTo>
                    <a:pt x="187" y="24"/>
                  </a:lnTo>
                  <a:lnTo>
                    <a:pt x="187" y="26"/>
                  </a:lnTo>
                  <a:lnTo>
                    <a:pt x="185" y="26"/>
                  </a:lnTo>
                  <a:lnTo>
                    <a:pt x="185" y="24"/>
                  </a:lnTo>
                  <a:lnTo>
                    <a:pt x="187" y="24"/>
                  </a:lnTo>
                  <a:lnTo>
                    <a:pt x="187" y="21"/>
                  </a:lnTo>
                  <a:lnTo>
                    <a:pt x="185" y="21"/>
                  </a:lnTo>
                  <a:lnTo>
                    <a:pt x="187" y="21"/>
                  </a:lnTo>
                  <a:lnTo>
                    <a:pt x="185" y="21"/>
                  </a:lnTo>
                  <a:lnTo>
                    <a:pt x="187" y="21"/>
                  </a:lnTo>
                  <a:lnTo>
                    <a:pt x="185" y="21"/>
                  </a:lnTo>
                  <a:lnTo>
                    <a:pt x="185" y="24"/>
                  </a:lnTo>
                  <a:lnTo>
                    <a:pt x="185" y="21"/>
                  </a:lnTo>
                  <a:lnTo>
                    <a:pt x="183" y="21"/>
                  </a:lnTo>
                  <a:lnTo>
                    <a:pt x="183" y="24"/>
                  </a:lnTo>
                  <a:lnTo>
                    <a:pt x="183" y="21"/>
                  </a:lnTo>
                  <a:lnTo>
                    <a:pt x="180" y="21"/>
                  </a:lnTo>
                  <a:lnTo>
                    <a:pt x="183" y="21"/>
                  </a:lnTo>
                  <a:lnTo>
                    <a:pt x="180" y="21"/>
                  </a:lnTo>
                  <a:lnTo>
                    <a:pt x="180" y="19"/>
                  </a:lnTo>
                  <a:lnTo>
                    <a:pt x="180" y="21"/>
                  </a:lnTo>
                  <a:lnTo>
                    <a:pt x="180" y="19"/>
                  </a:lnTo>
                  <a:lnTo>
                    <a:pt x="180" y="16"/>
                  </a:lnTo>
                  <a:lnTo>
                    <a:pt x="183" y="16"/>
                  </a:lnTo>
                  <a:lnTo>
                    <a:pt x="183" y="19"/>
                  </a:lnTo>
                  <a:lnTo>
                    <a:pt x="185" y="19"/>
                  </a:lnTo>
                  <a:lnTo>
                    <a:pt x="183" y="19"/>
                  </a:lnTo>
                  <a:lnTo>
                    <a:pt x="185" y="19"/>
                  </a:lnTo>
                  <a:lnTo>
                    <a:pt x="183" y="16"/>
                  </a:lnTo>
                  <a:lnTo>
                    <a:pt x="185" y="16"/>
                  </a:lnTo>
                  <a:lnTo>
                    <a:pt x="185" y="19"/>
                  </a:lnTo>
                  <a:lnTo>
                    <a:pt x="185" y="16"/>
                  </a:lnTo>
                  <a:lnTo>
                    <a:pt x="187" y="16"/>
                  </a:lnTo>
                  <a:lnTo>
                    <a:pt x="187" y="19"/>
                  </a:lnTo>
                  <a:lnTo>
                    <a:pt x="187" y="16"/>
                  </a:lnTo>
                  <a:lnTo>
                    <a:pt x="187" y="19"/>
                  </a:lnTo>
                  <a:lnTo>
                    <a:pt x="187" y="16"/>
                  </a:lnTo>
                  <a:lnTo>
                    <a:pt x="187" y="19"/>
                  </a:lnTo>
                  <a:lnTo>
                    <a:pt x="187" y="16"/>
                  </a:lnTo>
                  <a:lnTo>
                    <a:pt x="190" y="16"/>
                  </a:lnTo>
                  <a:lnTo>
                    <a:pt x="187" y="16"/>
                  </a:lnTo>
                  <a:lnTo>
                    <a:pt x="190" y="16"/>
                  </a:lnTo>
                  <a:lnTo>
                    <a:pt x="190" y="19"/>
                  </a:lnTo>
                  <a:lnTo>
                    <a:pt x="190" y="16"/>
                  </a:lnTo>
                  <a:lnTo>
                    <a:pt x="192" y="16"/>
                  </a:lnTo>
                  <a:lnTo>
                    <a:pt x="190" y="16"/>
                  </a:lnTo>
                  <a:lnTo>
                    <a:pt x="190" y="14"/>
                  </a:lnTo>
                  <a:lnTo>
                    <a:pt x="192" y="16"/>
                  </a:lnTo>
                  <a:lnTo>
                    <a:pt x="192" y="14"/>
                  </a:lnTo>
                  <a:lnTo>
                    <a:pt x="192" y="16"/>
                  </a:lnTo>
                  <a:lnTo>
                    <a:pt x="192" y="14"/>
                  </a:lnTo>
                  <a:lnTo>
                    <a:pt x="194" y="14"/>
                  </a:lnTo>
                  <a:lnTo>
                    <a:pt x="192" y="14"/>
                  </a:lnTo>
                  <a:lnTo>
                    <a:pt x="190" y="14"/>
                  </a:lnTo>
                  <a:lnTo>
                    <a:pt x="192" y="14"/>
                  </a:lnTo>
                  <a:lnTo>
                    <a:pt x="192" y="12"/>
                  </a:lnTo>
                  <a:lnTo>
                    <a:pt x="190" y="12"/>
                  </a:lnTo>
                  <a:lnTo>
                    <a:pt x="190" y="14"/>
                  </a:lnTo>
                  <a:lnTo>
                    <a:pt x="190" y="12"/>
                  </a:lnTo>
                  <a:lnTo>
                    <a:pt x="187" y="12"/>
                  </a:lnTo>
                  <a:lnTo>
                    <a:pt x="187" y="9"/>
                  </a:lnTo>
                  <a:lnTo>
                    <a:pt x="190" y="9"/>
                  </a:lnTo>
                  <a:lnTo>
                    <a:pt x="187" y="9"/>
                  </a:lnTo>
                  <a:lnTo>
                    <a:pt x="187" y="7"/>
                  </a:lnTo>
                  <a:lnTo>
                    <a:pt x="187" y="9"/>
                  </a:lnTo>
                  <a:lnTo>
                    <a:pt x="185" y="9"/>
                  </a:lnTo>
                  <a:lnTo>
                    <a:pt x="187" y="9"/>
                  </a:lnTo>
                  <a:lnTo>
                    <a:pt x="187" y="7"/>
                  </a:lnTo>
                  <a:lnTo>
                    <a:pt x="185" y="7"/>
                  </a:lnTo>
                  <a:lnTo>
                    <a:pt x="185" y="9"/>
                  </a:lnTo>
                  <a:lnTo>
                    <a:pt x="185" y="7"/>
                  </a:lnTo>
                  <a:lnTo>
                    <a:pt x="183" y="7"/>
                  </a:lnTo>
                  <a:lnTo>
                    <a:pt x="183" y="9"/>
                  </a:lnTo>
                  <a:lnTo>
                    <a:pt x="183" y="7"/>
                  </a:lnTo>
                  <a:lnTo>
                    <a:pt x="185" y="7"/>
                  </a:lnTo>
                  <a:lnTo>
                    <a:pt x="183" y="7"/>
                  </a:lnTo>
                  <a:lnTo>
                    <a:pt x="185" y="7"/>
                  </a:lnTo>
                  <a:lnTo>
                    <a:pt x="185" y="5"/>
                  </a:lnTo>
                  <a:lnTo>
                    <a:pt x="187" y="5"/>
                  </a:lnTo>
                  <a:lnTo>
                    <a:pt x="187" y="7"/>
                  </a:lnTo>
                  <a:lnTo>
                    <a:pt x="190" y="7"/>
                  </a:lnTo>
                  <a:lnTo>
                    <a:pt x="187" y="7"/>
                  </a:lnTo>
                  <a:lnTo>
                    <a:pt x="187" y="5"/>
                  </a:lnTo>
                  <a:lnTo>
                    <a:pt x="187" y="2"/>
                  </a:lnTo>
                  <a:lnTo>
                    <a:pt x="190" y="2"/>
                  </a:lnTo>
                  <a:lnTo>
                    <a:pt x="187" y="2"/>
                  </a:lnTo>
                  <a:lnTo>
                    <a:pt x="190" y="2"/>
                  </a:lnTo>
                  <a:lnTo>
                    <a:pt x="187" y="2"/>
                  </a:lnTo>
                  <a:lnTo>
                    <a:pt x="190" y="2"/>
                  </a:lnTo>
                  <a:lnTo>
                    <a:pt x="187" y="2"/>
                  </a:lnTo>
                  <a:lnTo>
                    <a:pt x="190" y="2"/>
                  </a:lnTo>
                  <a:lnTo>
                    <a:pt x="187" y="2"/>
                  </a:lnTo>
                  <a:lnTo>
                    <a:pt x="190" y="0"/>
                  </a:lnTo>
                  <a:lnTo>
                    <a:pt x="187" y="0"/>
                  </a:lnTo>
                  <a:lnTo>
                    <a:pt x="190" y="0"/>
                  </a:lnTo>
                  <a:lnTo>
                    <a:pt x="190" y="2"/>
                  </a:lnTo>
                  <a:lnTo>
                    <a:pt x="192" y="0"/>
                  </a:lnTo>
                  <a:lnTo>
                    <a:pt x="192" y="2"/>
                  </a:lnTo>
                  <a:lnTo>
                    <a:pt x="19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8" name="Freeform 57768"/>
            <p:cNvSpPr>
              <a:spLocks noEditPoints="1"/>
            </p:cNvSpPr>
            <p:nvPr/>
          </p:nvSpPr>
          <p:spPr bwMode="auto">
            <a:xfrm>
              <a:off x="1600198" y="4006867"/>
              <a:ext cx="519113" cy="698502"/>
            </a:xfrm>
            <a:custGeom>
              <a:avLst/>
              <a:gdLst>
                <a:gd name="T0" fmla="*/ 80 w 327"/>
                <a:gd name="T1" fmla="*/ 200 h 440"/>
                <a:gd name="T2" fmla="*/ 88 w 327"/>
                <a:gd name="T3" fmla="*/ 221 h 440"/>
                <a:gd name="T4" fmla="*/ 83 w 327"/>
                <a:gd name="T5" fmla="*/ 226 h 440"/>
                <a:gd name="T6" fmla="*/ 50 w 327"/>
                <a:gd name="T7" fmla="*/ 231 h 440"/>
                <a:gd name="T8" fmla="*/ 2 w 327"/>
                <a:gd name="T9" fmla="*/ 221 h 440"/>
                <a:gd name="T10" fmla="*/ 28 w 327"/>
                <a:gd name="T11" fmla="*/ 190 h 440"/>
                <a:gd name="T12" fmla="*/ 249 w 327"/>
                <a:gd name="T13" fmla="*/ 214 h 440"/>
                <a:gd name="T14" fmla="*/ 258 w 327"/>
                <a:gd name="T15" fmla="*/ 252 h 440"/>
                <a:gd name="T16" fmla="*/ 268 w 327"/>
                <a:gd name="T17" fmla="*/ 259 h 440"/>
                <a:gd name="T18" fmla="*/ 284 w 327"/>
                <a:gd name="T19" fmla="*/ 295 h 440"/>
                <a:gd name="T20" fmla="*/ 322 w 327"/>
                <a:gd name="T21" fmla="*/ 328 h 440"/>
                <a:gd name="T22" fmla="*/ 306 w 327"/>
                <a:gd name="T23" fmla="*/ 340 h 440"/>
                <a:gd name="T24" fmla="*/ 299 w 327"/>
                <a:gd name="T25" fmla="*/ 354 h 440"/>
                <a:gd name="T26" fmla="*/ 273 w 327"/>
                <a:gd name="T27" fmla="*/ 364 h 440"/>
                <a:gd name="T28" fmla="*/ 303 w 327"/>
                <a:gd name="T29" fmla="*/ 371 h 440"/>
                <a:gd name="T30" fmla="*/ 275 w 327"/>
                <a:gd name="T31" fmla="*/ 402 h 440"/>
                <a:gd name="T32" fmla="*/ 232 w 327"/>
                <a:gd name="T33" fmla="*/ 395 h 440"/>
                <a:gd name="T34" fmla="*/ 201 w 327"/>
                <a:gd name="T35" fmla="*/ 404 h 440"/>
                <a:gd name="T36" fmla="*/ 154 w 327"/>
                <a:gd name="T37" fmla="*/ 407 h 440"/>
                <a:gd name="T38" fmla="*/ 144 w 327"/>
                <a:gd name="T39" fmla="*/ 426 h 440"/>
                <a:gd name="T40" fmla="*/ 118 w 327"/>
                <a:gd name="T41" fmla="*/ 421 h 440"/>
                <a:gd name="T42" fmla="*/ 102 w 327"/>
                <a:gd name="T43" fmla="*/ 437 h 440"/>
                <a:gd name="T44" fmla="*/ 102 w 327"/>
                <a:gd name="T45" fmla="*/ 411 h 440"/>
                <a:gd name="T46" fmla="*/ 133 w 327"/>
                <a:gd name="T47" fmla="*/ 383 h 440"/>
                <a:gd name="T48" fmla="*/ 171 w 327"/>
                <a:gd name="T49" fmla="*/ 369 h 440"/>
                <a:gd name="T50" fmla="*/ 168 w 327"/>
                <a:gd name="T51" fmla="*/ 361 h 440"/>
                <a:gd name="T52" fmla="*/ 128 w 327"/>
                <a:gd name="T53" fmla="*/ 357 h 440"/>
                <a:gd name="T54" fmla="*/ 109 w 327"/>
                <a:gd name="T55" fmla="*/ 352 h 440"/>
                <a:gd name="T56" fmla="*/ 104 w 327"/>
                <a:gd name="T57" fmla="*/ 338 h 440"/>
                <a:gd name="T58" fmla="*/ 135 w 327"/>
                <a:gd name="T59" fmla="*/ 302 h 440"/>
                <a:gd name="T60" fmla="*/ 125 w 327"/>
                <a:gd name="T61" fmla="*/ 283 h 440"/>
                <a:gd name="T62" fmla="*/ 166 w 327"/>
                <a:gd name="T63" fmla="*/ 276 h 440"/>
                <a:gd name="T64" fmla="*/ 171 w 327"/>
                <a:gd name="T65" fmla="*/ 257 h 440"/>
                <a:gd name="T66" fmla="*/ 173 w 327"/>
                <a:gd name="T67" fmla="*/ 231 h 440"/>
                <a:gd name="T68" fmla="*/ 154 w 327"/>
                <a:gd name="T69" fmla="*/ 202 h 440"/>
                <a:gd name="T70" fmla="*/ 142 w 327"/>
                <a:gd name="T71" fmla="*/ 195 h 440"/>
                <a:gd name="T72" fmla="*/ 111 w 327"/>
                <a:gd name="T73" fmla="*/ 195 h 440"/>
                <a:gd name="T74" fmla="*/ 111 w 327"/>
                <a:gd name="T75" fmla="*/ 167 h 440"/>
                <a:gd name="T76" fmla="*/ 111 w 327"/>
                <a:gd name="T77" fmla="*/ 138 h 440"/>
                <a:gd name="T78" fmla="*/ 95 w 327"/>
                <a:gd name="T79" fmla="*/ 145 h 440"/>
                <a:gd name="T80" fmla="*/ 90 w 327"/>
                <a:gd name="T81" fmla="*/ 152 h 440"/>
                <a:gd name="T82" fmla="*/ 83 w 327"/>
                <a:gd name="T83" fmla="*/ 150 h 440"/>
                <a:gd name="T84" fmla="*/ 88 w 327"/>
                <a:gd name="T85" fmla="*/ 131 h 440"/>
                <a:gd name="T86" fmla="*/ 102 w 327"/>
                <a:gd name="T87" fmla="*/ 110 h 440"/>
                <a:gd name="T88" fmla="*/ 97 w 327"/>
                <a:gd name="T89" fmla="*/ 95 h 440"/>
                <a:gd name="T90" fmla="*/ 73 w 327"/>
                <a:gd name="T91" fmla="*/ 105 h 440"/>
                <a:gd name="T92" fmla="*/ 80 w 327"/>
                <a:gd name="T93" fmla="*/ 93 h 440"/>
                <a:gd name="T94" fmla="*/ 88 w 327"/>
                <a:gd name="T95" fmla="*/ 81 h 440"/>
                <a:gd name="T96" fmla="*/ 83 w 327"/>
                <a:gd name="T97" fmla="*/ 69 h 440"/>
                <a:gd name="T98" fmla="*/ 80 w 327"/>
                <a:gd name="T99" fmla="*/ 50 h 440"/>
                <a:gd name="T100" fmla="*/ 99 w 327"/>
                <a:gd name="T101" fmla="*/ 41 h 440"/>
                <a:gd name="T102" fmla="*/ 99 w 327"/>
                <a:gd name="T103" fmla="*/ 17 h 440"/>
                <a:gd name="T104" fmla="*/ 114 w 327"/>
                <a:gd name="T105" fmla="*/ 7 h 440"/>
                <a:gd name="T106" fmla="*/ 152 w 327"/>
                <a:gd name="T107" fmla="*/ 3 h 440"/>
                <a:gd name="T108" fmla="*/ 135 w 327"/>
                <a:gd name="T109" fmla="*/ 38 h 440"/>
                <a:gd name="T110" fmla="*/ 135 w 327"/>
                <a:gd name="T111" fmla="*/ 50 h 440"/>
                <a:gd name="T112" fmla="*/ 125 w 327"/>
                <a:gd name="T113" fmla="*/ 62 h 440"/>
                <a:gd name="T114" fmla="*/ 178 w 327"/>
                <a:gd name="T115" fmla="*/ 50 h 440"/>
                <a:gd name="T116" fmla="*/ 201 w 327"/>
                <a:gd name="T117" fmla="*/ 76 h 440"/>
                <a:gd name="T118" fmla="*/ 161 w 327"/>
                <a:gd name="T119" fmla="*/ 119 h 440"/>
                <a:gd name="T120" fmla="*/ 156 w 327"/>
                <a:gd name="T121" fmla="*/ 138 h 440"/>
                <a:gd name="T122" fmla="*/ 182 w 327"/>
                <a:gd name="T123" fmla="*/ 138 h 440"/>
                <a:gd name="T124" fmla="*/ 220 w 327"/>
                <a:gd name="T125"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 h="440">
                  <a:moveTo>
                    <a:pt x="237" y="397"/>
                  </a:moveTo>
                  <a:lnTo>
                    <a:pt x="237" y="399"/>
                  </a:lnTo>
                  <a:lnTo>
                    <a:pt x="235" y="399"/>
                  </a:lnTo>
                  <a:lnTo>
                    <a:pt x="235" y="397"/>
                  </a:lnTo>
                  <a:lnTo>
                    <a:pt x="237" y="397"/>
                  </a:lnTo>
                  <a:close/>
                  <a:moveTo>
                    <a:pt x="45" y="181"/>
                  </a:moveTo>
                  <a:lnTo>
                    <a:pt x="47" y="181"/>
                  </a:lnTo>
                  <a:lnTo>
                    <a:pt x="47" y="179"/>
                  </a:lnTo>
                  <a:lnTo>
                    <a:pt x="50" y="179"/>
                  </a:lnTo>
                  <a:lnTo>
                    <a:pt x="52" y="179"/>
                  </a:lnTo>
                  <a:lnTo>
                    <a:pt x="54" y="179"/>
                  </a:lnTo>
                  <a:lnTo>
                    <a:pt x="54" y="176"/>
                  </a:lnTo>
                  <a:lnTo>
                    <a:pt x="57" y="176"/>
                  </a:lnTo>
                  <a:lnTo>
                    <a:pt x="59" y="176"/>
                  </a:lnTo>
                  <a:lnTo>
                    <a:pt x="61" y="176"/>
                  </a:lnTo>
                  <a:lnTo>
                    <a:pt x="61" y="179"/>
                  </a:lnTo>
                  <a:lnTo>
                    <a:pt x="64" y="179"/>
                  </a:lnTo>
                  <a:lnTo>
                    <a:pt x="66" y="179"/>
                  </a:lnTo>
                  <a:lnTo>
                    <a:pt x="66" y="176"/>
                  </a:lnTo>
                  <a:lnTo>
                    <a:pt x="66" y="179"/>
                  </a:lnTo>
                  <a:lnTo>
                    <a:pt x="69" y="179"/>
                  </a:lnTo>
                  <a:lnTo>
                    <a:pt x="69" y="181"/>
                  </a:lnTo>
                  <a:lnTo>
                    <a:pt x="71" y="181"/>
                  </a:lnTo>
                  <a:lnTo>
                    <a:pt x="69" y="183"/>
                  </a:lnTo>
                  <a:lnTo>
                    <a:pt x="71" y="183"/>
                  </a:lnTo>
                  <a:lnTo>
                    <a:pt x="69" y="183"/>
                  </a:lnTo>
                  <a:lnTo>
                    <a:pt x="69" y="186"/>
                  </a:lnTo>
                  <a:lnTo>
                    <a:pt x="71" y="186"/>
                  </a:lnTo>
                  <a:lnTo>
                    <a:pt x="73" y="186"/>
                  </a:lnTo>
                  <a:lnTo>
                    <a:pt x="71" y="188"/>
                  </a:lnTo>
                  <a:lnTo>
                    <a:pt x="71" y="190"/>
                  </a:lnTo>
                  <a:lnTo>
                    <a:pt x="73" y="190"/>
                  </a:lnTo>
                  <a:lnTo>
                    <a:pt x="73" y="193"/>
                  </a:lnTo>
                  <a:lnTo>
                    <a:pt x="76" y="193"/>
                  </a:lnTo>
                  <a:lnTo>
                    <a:pt x="76" y="195"/>
                  </a:lnTo>
                  <a:lnTo>
                    <a:pt x="76" y="193"/>
                  </a:lnTo>
                  <a:lnTo>
                    <a:pt x="76" y="195"/>
                  </a:lnTo>
                  <a:lnTo>
                    <a:pt x="78" y="195"/>
                  </a:lnTo>
                  <a:lnTo>
                    <a:pt x="78" y="198"/>
                  </a:lnTo>
                  <a:lnTo>
                    <a:pt x="80" y="198"/>
                  </a:lnTo>
                  <a:lnTo>
                    <a:pt x="78" y="198"/>
                  </a:lnTo>
                  <a:lnTo>
                    <a:pt x="80" y="198"/>
                  </a:lnTo>
                  <a:lnTo>
                    <a:pt x="80" y="200"/>
                  </a:lnTo>
                  <a:lnTo>
                    <a:pt x="80" y="198"/>
                  </a:lnTo>
                  <a:lnTo>
                    <a:pt x="78" y="198"/>
                  </a:lnTo>
                  <a:lnTo>
                    <a:pt x="78" y="195"/>
                  </a:lnTo>
                  <a:lnTo>
                    <a:pt x="78" y="198"/>
                  </a:lnTo>
                  <a:lnTo>
                    <a:pt x="78" y="195"/>
                  </a:lnTo>
                  <a:lnTo>
                    <a:pt x="80" y="195"/>
                  </a:lnTo>
                  <a:lnTo>
                    <a:pt x="80" y="198"/>
                  </a:lnTo>
                  <a:lnTo>
                    <a:pt x="80" y="200"/>
                  </a:lnTo>
                  <a:lnTo>
                    <a:pt x="80" y="202"/>
                  </a:lnTo>
                  <a:lnTo>
                    <a:pt x="78" y="202"/>
                  </a:lnTo>
                  <a:lnTo>
                    <a:pt x="78" y="205"/>
                  </a:lnTo>
                  <a:lnTo>
                    <a:pt x="76" y="205"/>
                  </a:lnTo>
                  <a:lnTo>
                    <a:pt x="73" y="205"/>
                  </a:lnTo>
                  <a:lnTo>
                    <a:pt x="73" y="207"/>
                  </a:lnTo>
                  <a:lnTo>
                    <a:pt x="76" y="207"/>
                  </a:lnTo>
                  <a:lnTo>
                    <a:pt x="73" y="207"/>
                  </a:lnTo>
                  <a:lnTo>
                    <a:pt x="73" y="209"/>
                  </a:lnTo>
                  <a:lnTo>
                    <a:pt x="76" y="207"/>
                  </a:lnTo>
                  <a:lnTo>
                    <a:pt x="76" y="209"/>
                  </a:lnTo>
                  <a:lnTo>
                    <a:pt x="73" y="209"/>
                  </a:lnTo>
                  <a:lnTo>
                    <a:pt x="76" y="209"/>
                  </a:lnTo>
                  <a:lnTo>
                    <a:pt x="76" y="207"/>
                  </a:lnTo>
                  <a:lnTo>
                    <a:pt x="78" y="207"/>
                  </a:lnTo>
                  <a:lnTo>
                    <a:pt x="78" y="205"/>
                  </a:lnTo>
                  <a:lnTo>
                    <a:pt x="80" y="205"/>
                  </a:lnTo>
                  <a:lnTo>
                    <a:pt x="83" y="205"/>
                  </a:lnTo>
                  <a:lnTo>
                    <a:pt x="85" y="205"/>
                  </a:lnTo>
                  <a:lnTo>
                    <a:pt x="85" y="207"/>
                  </a:lnTo>
                  <a:lnTo>
                    <a:pt x="88" y="207"/>
                  </a:lnTo>
                  <a:lnTo>
                    <a:pt x="85" y="207"/>
                  </a:lnTo>
                  <a:lnTo>
                    <a:pt x="88" y="207"/>
                  </a:lnTo>
                  <a:lnTo>
                    <a:pt x="85" y="207"/>
                  </a:lnTo>
                  <a:lnTo>
                    <a:pt x="88" y="207"/>
                  </a:lnTo>
                  <a:lnTo>
                    <a:pt x="88" y="209"/>
                  </a:lnTo>
                  <a:lnTo>
                    <a:pt x="88" y="212"/>
                  </a:lnTo>
                  <a:lnTo>
                    <a:pt x="88" y="214"/>
                  </a:lnTo>
                  <a:lnTo>
                    <a:pt x="90" y="214"/>
                  </a:lnTo>
                  <a:lnTo>
                    <a:pt x="90" y="217"/>
                  </a:lnTo>
                  <a:lnTo>
                    <a:pt x="88" y="217"/>
                  </a:lnTo>
                  <a:lnTo>
                    <a:pt x="88" y="219"/>
                  </a:lnTo>
                  <a:lnTo>
                    <a:pt x="90" y="219"/>
                  </a:lnTo>
                  <a:lnTo>
                    <a:pt x="88" y="219"/>
                  </a:lnTo>
                  <a:lnTo>
                    <a:pt x="88" y="221"/>
                  </a:lnTo>
                  <a:lnTo>
                    <a:pt x="88" y="219"/>
                  </a:lnTo>
                  <a:lnTo>
                    <a:pt x="88" y="221"/>
                  </a:lnTo>
                  <a:lnTo>
                    <a:pt x="88" y="224"/>
                  </a:lnTo>
                  <a:lnTo>
                    <a:pt x="88" y="221"/>
                  </a:lnTo>
                  <a:lnTo>
                    <a:pt x="85" y="221"/>
                  </a:lnTo>
                  <a:lnTo>
                    <a:pt x="85" y="219"/>
                  </a:lnTo>
                  <a:lnTo>
                    <a:pt x="85" y="217"/>
                  </a:lnTo>
                  <a:lnTo>
                    <a:pt x="85" y="219"/>
                  </a:lnTo>
                  <a:lnTo>
                    <a:pt x="85" y="217"/>
                  </a:lnTo>
                  <a:lnTo>
                    <a:pt x="88" y="217"/>
                  </a:lnTo>
                  <a:lnTo>
                    <a:pt x="85" y="217"/>
                  </a:lnTo>
                  <a:lnTo>
                    <a:pt x="88" y="217"/>
                  </a:lnTo>
                  <a:lnTo>
                    <a:pt x="85" y="217"/>
                  </a:lnTo>
                  <a:lnTo>
                    <a:pt x="85" y="214"/>
                  </a:lnTo>
                  <a:lnTo>
                    <a:pt x="88" y="214"/>
                  </a:lnTo>
                  <a:lnTo>
                    <a:pt x="85" y="214"/>
                  </a:lnTo>
                  <a:lnTo>
                    <a:pt x="85" y="212"/>
                  </a:lnTo>
                  <a:lnTo>
                    <a:pt x="83" y="212"/>
                  </a:lnTo>
                  <a:lnTo>
                    <a:pt x="83" y="209"/>
                  </a:lnTo>
                  <a:lnTo>
                    <a:pt x="80" y="209"/>
                  </a:lnTo>
                  <a:lnTo>
                    <a:pt x="80" y="212"/>
                  </a:lnTo>
                  <a:lnTo>
                    <a:pt x="80" y="214"/>
                  </a:lnTo>
                  <a:lnTo>
                    <a:pt x="83" y="212"/>
                  </a:lnTo>
                  <a:lnTo>
                    <a:pt x="83" y="214"/>
                  </a:lnTo>
                  <a:lnTo>
                    <a:pt x="80" y="214"/>
                  </a:lnTo>
                  <a:lnTo>
                    <a:pt x="83" y="214"/>
                  </a:lnTo>
                  <a:lnTo>
                    <a:pt x="83" y="217"/>
                  </a:lnTo>
                  <a:lnTo>
                    <a:pt x="83" y="219"/>
                  </a:lnTo>
                  <a:lnTo>
                    <a:pt x="83" y="217"/>
                  </a:lnTo>
                  <a:lnTo>
                    <a:pt x="83" y="219"/>
                  </a:lnTo>
                  <a:lnTo>
                    <a:pt x="83" y="217"/>
                  </a:lnTo>
                  <a:lnTo>
                    <a:pt x="83" y="219"/>
                  </a:lnTo>
                  <a:lnTo>
                    <a:pt x="83" y="221"/>
                  </a:lnTo>
                  <a:lnTo>
                    <a:pt x="80" y="221"/>
                  </a:lnTo>
                  <a:lnTo>
                    <a:pt x="83" y="221"/>
                  </a:lnTo>
                  <a:lnTo>
                    <a:pt x="85" y="221"/>
                  </a:lnTo>
                  <a:lnTo>
                    <a:pt x="85" y="219"/>
                  </a:lnTo>
                  <a:lnTo>
                    <a:pt x="85" y="221"/>
                  </a:lnTo>
                  <a:lnTo>
                    <a:pt x="85" y="224"/>
                  </a:lnTo>
                  <a:lnTo>
                    <a:pt x="88" y="224"/>
                  </a:lnTo>
                  <a:lnTo>
                    <a:pt x="85" y="224"/>
                  </a:lnTo>
                  <a:lnTo>
                    <a:pt x="85" y="226"/>
                  </a:lnTo>
                  <a:lnTo>
                    <a:pt x="83" y="226"/>
                  </a:lnTo>
                  <a:lnTo>
                    <a:pt x="85" y="226"/>
                  </a:lnTo>
                  <a:lnTo>
                    <a:pt x="83" y="226"/>
                  </a:lnTo>
                  <a:lnTo>
                    <a:pt x="83" y="228"/>
                  </a:lnTo>
                  <a:lnTo>
                    <a:pt x="83" y="226"/>
                  </a:lnTo>
                  <a:lnTo>
                    <a:pt x="80" y="226"/>
                  </a:lnTo>
                  <a:lnTo>
                    <a:pt x="78" y="226"/>
                  </a:lnTo>
                  <a:lnTo>
                    <a:pt x="76" y="226"/>
                  </a:lnTo>
                  <a:lnTo>
                    <a:pt x="78" y="226"/>
                  </a:lnTo>
                  <a:lnTo>
                    <a:pt x="76" y="226"/>
                  </a:lnTo>
                  <a:lnTo>
                    <a:pt x="78" y="226"/>
                  </a:lnTo>
                  <a:lnTo>
                    <a:pt x="76" y="226"/>
                  </a:lnTo>
                  <a:lnTo>
                    <a:pt x="76" y="228"/>
                  </a:lnTo>
                  <a:lnTo>
                    <a:pt x="76" y="226"/>
                  </a:lnTo>
                  <a:lnTo>
                    <a:pt x="76" y="228"/>
                  </a:lnTo>
                  <a:lnTo>
                    <a:pt x="76" y="231"/>
                  </a:lnTo>
                  <a:lnTo>
                    <a:pt x="76" y="233"/>
                  </a:lnTo>
                  <a:lnTo>
                    <a:pt x="73" y="233"/>
                  </a:lnTo>
                  <a:lnTo>
                    <a:pt x="73" y="236"/>
                  </a:lnTo>
                  <a:lnTo>
                    <a:pt x="71" y="236"/>
                  </a:lnTo>
                  <a:lnTo>
                    <a:pt x="71" y="238"/>
                  </a:lnTo>
                  <a:lnTo>
                    <a:pt x="69" y="238"/>
                  </a:lnTo>
                  <a:lnTo>
                    <a:pt x="69" y="236"/>
                  </a:lnTo>
                  <a:lnTo>
                    <a:pt x="66" y="236"/>
                  </a:lnTo>
                  <a:lnTo>
                    <a:pt x="64" y="236"/>
                  </a:lnTo>
                  <a:lnTo>
                    <a:pt x="64" y="233"/>
                  </a:lnTo>
                  <a:lnTo>
                    <a:pt x="64" y="236"/>
                  </a:lnTo>
                  <a:lnTo>
                    <a:pt x="61" y="233"/>
                  </a:lnTo>
                  <a:lnTo>
                    <a:pt x="61" y="231"/>
                  </a:lnTo>
                  <a:lnTo>
                    <a:pt x="61" y="233"/>
                  </a:lnTo>
                  <a:lnTo>
                    <a:pt x="61" y="236"/>
                  </a:lnTo>
                  <a:lnTo>
                    <a:pt x="59" y="236"/>
                  </a:lnTo>
                  <a:lnTo>
                    <a:pt x="59" y="233"/>
                  </a:lnTo>
                  <a:lnTo>
                    <a:pt x="59" y="236"/>
                  </a:lnTo>
                  <a:lnTo>
                    <a:pt x="57" y="236"/>
                  </a:lnTo>
                  <a:lnTo>
                    <a:pt x="54" y="236"/>
                  </a:lnTo>
                  <a:lnTo>
                    <a:pt x="52" y="236"/>
                  </a:lnTo>
                  <a:lnTo>
                    <a:pt x="52" y="238"/>
                  </a:lnTo>
                  <a:lnTo>
                    <a:pt x="52" y="236"/>
                  </a:lnTo>
                  <a:lnTo>
                    <a:pt x="52" y="238"/>
                  </a:lnTo>
                  <a:lnTo>
                    <a:pt x="50" y="238"/>
                  </a:lnTo>
                  <a:lnTo>
                    <a:pt x="50" y="236"/>
                  </a:lnTo>
                  <a:lnTo>
                    <a:pt x="50" y="233"/>
                  </a:lnTo>
                  <a:lnTo>
                    <a:pt x="50" y="231"/>
                  </a:lnTo>
                  <a:lnTo>
                    <a:pt x="50" y="228"/>
                  </a:lnTo>
                  <a:lnTo>
                    <a:pt x="47" y="228"/>
                  </a:lnTo>
                  <a:lnTo>
                    <a:pt x="47" y="231"/>
                  </a:lnTo>
                  <a:lnTo>
                    <a:pt x="47" y="228"/>
                  </a:lnTo>
                  <a:lnTo>
                    <a:pt x="45" y="228"/>
                  </a:lnTo>
                  <a:lnTo>
                    <a:pt x="42" y="226"/>
                  </a:lnTo>
                  <a:lnTo>
                    <a:pt x="42" y="224"/>
                  </a:lnTo>
                  <a:lnTo>
                    <a:pt x="42" y="221"/>
                  </a:lnTo>
                  <a:lnTo>
                    <a:pt x="40" y="221"/>
                  </a:lnTo>
                  <a:lnTo>
                    <a:pt x="40" y="219"/>
                  </a:lnTo>
                  <a:lnTo>
                    <a:pt x="38" y="219"/>
                  </a:lnTo>
                  <a:lnTo>
                    <a:pt x="35" y="219"/>
                  </a:lnTo>
                  <a:lnTo>
                    <a:pt x="35" y="221"/>
                  </a:lnTo>
                  <a:lnTo>
                    <a:pt x="33" y="221"/>
                  </a:lnTo>
                  <a:lnTo>
                    <a:pt x="33" y="224"/>
                  </a:lnTo>
                  <a:lnTo>
                    <a:pt x="31" y="224"/>
                  </a:lnTo>
                  <a:lnTo>
                    <a:pt x="33" y="224"/>
                  </a:lnTo>
                  <a:lnTo>
                    <a:pt x="33" y="226"/>
                  </a:lnTo>
                  <a:lnTo>
                    <a:pt x="33" y="228"/>
                  </a:lnTo>
                  <a:lnTo>
                    <a:pt x="31" y="228"/>
                  </a:lnTo>
                  <a:lnTo>
                    <a:pt x="31" y="231"/>
                  </a:lnTo>
                  <a:lnTo>
                    <a:pt x="28" y="231"/>
                  </a:lnTo>
                  <a:lnTo>
                    <a:pt x="28" y="233"/>
                  </a:lnTo>
                  <a:lnTo>
                    <a:pt x="28" y="231"/>
                  </a:lnTo>
                  <a:lnTo>
                    <a:pt x="26" y="231"/>
                  </a:lnTo>
                  <a:lnTo>
                    <a:pt x="28" y="233"/>
                  </a:lnTo>
                  <a:lnTo>
                    <a:pt x="26" y="233"/>
                  </a:lnTo>
                  <a:lnTo>
                    <a:pt x="23" y="233"/>
                  </a:lnTo>
                  <a:lnTo>
                    <a:pt x="23" y="231"/>
                  </a:lnTo>
                  <a:lnTo>
                    <a:pt x="23" y="233"/>
                  </a:lnTo>
                  <a:lnTo>
                    <a:pt x="21" y="233"/>
                  </a:lnTo>
                  <a:lnTo>
                    <a:pt x="19" y="233"/>
                  </a:lnTo>
                  <a:lnTo>
                    <a:pt x="19" y="231"/>
                  </a:lnTo>
                  <a:lnTo>
                    <a:pt x="16" y="231"/>
                  </a:lnTo>
                  <a:lnTo>
                    <a:pt x="16" y="228"/>
                  </a:lnTo>
                  <a:lnTo>
                    <a:pt x="14" y="228"/>
                  </a:lnTo>
                  <a:lnTo>
                    <a:pt x="12" y="228"/>
                  </a:lnTo>
                  <a:lnTo>
                    <a:pt x="9" y="228"/>
                  </a:lnTo>
                  <a:lnTo>
                    <a:pt x="9" y="226"/>
                  </a:lnTo>
                  <a:lnTo>
                    <a:pt x="9" y="224"/>
                  </a:lnTo>
                  <a:lnTo>
                    <a:pt x="7" y="224"/>
                  </a:lnTo>
                  <a:lnTo>
                    <a:pt x="4" y="221"/>
                  </a:lnTo>
                  <a:lnTo>
                    <a:pt x="2" y="221"/>
                  </a:lnTo>
                  <a:lnTo>
                    <a:pt x="2" y="219"/>
                  </a:lnTo>
                  <a:lnTo>
                    <a:pt x="0" y="217"/>
                  </a:lnTo>
                  <a:lnTo>
                    <a:pt x="2" y="217"/>
                  </a:lnTo>
                  <a:lnTo>
                    <a:pt x="2" y="214"/>
                  </a:lnTo>
                  <a:lnTo>
                    <a:pt x="4" y="214"/>
                  </a:lnTo>
                  <a:lnTo>
                    <a:pt x="4" y="212"/>
                  </a:lnTo>
                  <a:lnTo>
                    <a:pt x="7" y="212"/>
                  </a:lnTo>
                  <a:lnTo>
                    <a:pt x="9" y="212"/>
                  </a:lnTo>
                  <a:lnTo>
                    <a:pt x="12" y="212"/>
                  </a:lnTo>
                  <a:lnTo>
                    <a:pt x="12" y="209"/>
                  </a:lnTo>
                  <a:lnTo>
                    <a:pt x="14" y="209"/>
                  </a:lnTo>
                  <a:lnTo>
                    <a:pt x="14" y="207"/>
                  </a:lnTo>
                  <a:lnTo>
                    <a:pt x="12" y="207"/>
                  </a:lnTo>
                  <a:lnTo>
                    <a:pt x="9" y="207"/>
                  </a:lnTo>
                  <a:lnTo>
                    <a:pt x="7" y="205"/>
                  </a:lnTo>
                  <a:lnTo>
                    <a:pt x="9" y="205"/>
                  </a:lnTo>
                  <a:lnTo>
                    <a:pt x="7" y="205"/>
                  </a:lnTo>
                  <a:lnTo>
                    <a:pt x="9" y="205"/>
                  </a:lnTo>
                  <a:lnTo>
                    <a:pt x="9" y="202"/>
                  </a:lnTo>
                  <a:lnTo>
                    <a:pt x="12" y="202"/>
                  </a:lnTo>
                  <a:lnTo>
                    <a:pt x="12" y="205"/>
                  </a:lnTo>
                  <a:lnTo>
                    <a:pt x="14" y="205"/>
                  </a:lnTo>
                  <a:lnTo>
                    <a:pt x="14" y="202"/>
                  </a:lnTo>
                  <a:lnTo>
                    <a:pt x="16" y="202"/>
                  </a:lnTo>
                  <a:lnTo>
                    <a:pt x="19" y="202"/>
                  </a:lnTo>
                  <a:lnTo>
                    <a:pt x="21" y="202"/>
                  </a:lnTo>
                  <a:lnTo>
                    <a:pt x="19" y="200"/>
                  </a:lnTo>
                  <a:lnTo>
                    <a:pt x="21" y="200"/>
                  </a:lnTo>
                  <a:lnTo>
                    <a:pt x="21" y="198"/>
                  </a:lnTo>
                  <a:lnTo>
                    <a:pt x="23" y="198"/>
                  </a:lnTo>
                  <a:lnTo>
                    <a:pt x="23" y="195"/>
                  </a:lnTo>
                  <a:lnTo>
                    <a:pt x="23" y="193"/>
                  </a:lnTo>
                  <a:lnTo>
                    <a:pt x="26" y="193"/>
                  </a:lnTo>
                  <a:lnTo>
                    <a:pt x="23" y="190"/>
                  </a:lnTo>
                  <a:lnTo>
                    <a:pt x="26" y="190"/>
                  </a:lnTo>
                  <a:lnTo>
                    <a:pt x="23" y="190"/>
                  </a:lnTo>
                  <a:lnTo>
                    <a:pt x="26" y="188"/>
                  </a:lnTo>
                  <a:lnTo>
                    <a:pt x="26" y="186"/>
                  </a:lnTo>
                  <a:lnTo>
                    <a:pt x="28" y="186"/>
                  </a:lnTo>
                  <a:lnTo>
                    <a:pt x="31" y="186"/>
                  </a:lnTo>
                  <a:lnTo>
                    <a:pt x="28" y="186"/>
                  </a:lnTo>
                  <a:lnTo>
                    <a:pt x="28" y="188"/>
                  </a:lnTo>
                  <a:lnTo>
                    <a:pt x="28" y="190"/>
                  </a:lnTo>
                  <a:lnTo>
                    <a:pt x="26" y="190"/>
                  </a:lnTo>
                  <a:lnTo>
                    <a:pt x="28" y="190"/>
                  </a:lnTo>
                  <a:lnTo>
                    <a:pt x="28" y="188"/>
                  </a:lnTo>
                  <a:lnTo>
                    <a:pt x="28" y="186"/>
                  </a:lnTo>
                  <a:lnTo>
                    <a:pt x="31" y="186"/>
                  </a:lnTo>
                  <a:lnTo>
                    <a:pt x="33" y="186"/>
                  </a:lnTo>
                  <a:lnTo>
                    <a:pt x="35" y="186"/>
                  </a:lnTo>
                  <a:lnTo>
                    <a:pt x="38" y="186"/>
                  </a:lnTo>
                  <a:lnTo>
                    <a:pt x="38" y="183"/>
                  </a:lnTo>
                  <a:lnTo>
                    <a:pt x="38" y="181"/>
                  </a:lnTo>
                  <a:lnTo>
                    <a:pt x="40" y="181"/>
                  </a:lnTo>
                  <a:lnTo>
                    <a:pt x="40" y="179"/>
                  </a:lnTo>
                  <a:lnTo>
                    <a:pt x="40" y="181"/>
                  </a:lnTo>
                  <a:lnTo>
                    <a:pt x="42" y="181"/>
                  </a:lnTo>
                  <a:lnTo>
                    <a:pt x="45" y="181"/>
                  </a:lnTo>
                  <a:lnTo>
                    <a:pt x="47" y="181"/>
                  </a:lnTo>
                  <a:lnTo>
                    <a:pt x="45" y="181"/>
                  </a:lnTo>
                  <a:close/>
                  <a:moveTo>
                    <a:pt x="223" y="193"/>
                  </a:moveTo>
                  <a:lnTo>
                    <a:pt x="220" y="193"/>
                  </a:lnTo>
                  <a:lnTo>
                    <a:pt x="223" y="193"/>
                  </a:lnTo>
                  <a:lnTo>
                    <a:pt x="225" y="193"/>
                  </a:lnTo>
                  <a:lnTo>
                    <a:pt x="225" y="195"/>
                  </a:lnTo>
                  <a:lnTo>
                    <a:pt x="225" y="198"/>
                  </a:lnTo>
                  <a:lnTo>
                    <a:pt x="225" y="200"/>
                  </a:lnTo>
                  <a:lnTo>
                    <a:pt x="227" y="202"/>
                  </a:lnTo>
                  <a:lnTo>
                    <a:pt x="230" y="205"/>
                  </a:lnTo>
                  <a:lnTo>
                    <a:pt x="230" y="207"/>
                  </a:lnTo>
                  <a:lnTo>
                    <a:pt x="230" y="209"/>
                  </a:lnTo>
                  <a:lnTo>
                    <a:pt x="230" y="207"/>
                  </a:lnTo>
                  <a:lnTo>
                    <a:pt x="232" y="209"/>
                  </a:lnTo>
                  <a:lnTo>
                    <a:pt x="230" y="207"/>
                  </a:lnTo>
                  <a:lnTo>
                    <a:pt x="232" y="207"/>
                  </a:lnTo>
                  <a:lnTo>
                    <a:pt x="235" y="209"/>
                  </a:lnTo>
                  <a:lnTo>
                    <a:pt x="237" y="209"/>
                  </a:lnTo>
                  <a:lnTo>
                    <a:pt x="239" y="209"/>
                  </a:lnTo>
                  <a:lnTo>
                    <a:pt x="239" y="212"/>
                  </a:lnTo>
                  <a:lnTo>
                    <a:pt x="239" y="209"/>
                  </a:lnTo>
                  <a:lnTo>
                    <a:pt x="242" y="209"/>
                  </a:lnTo>
                  <a:lnTo>
                    <a:pt x="242" y="212"/>
                  </a:lnTo>
                  <a:lnTo>
                    <a:pt x="244" y="212"/>
                  </a:lnTo>
                  <a:lnTo>
                    <a:pt x="246" y="212"/>
                  </a:lnTo>
                  <a:lnTo>
                    <a:pt x="246" y="214"/>
                  </a:lnTo>
                  <a:lnTo>
                    <a:pt x="249" y="214"/>
                  </a:lnTo>
                  <a:lnTo>
                    <a:pt x="251" y="217"/>
                  </a:lnTo>
                  <a:lnTo>
                    <a:pt x="251" y="219"/>
                  </a:lnTo>
                  <a:lnTo>
                    <a:pt x="254" y="219"/>
                  </a:lnTo>
                  <a:lnTo>
                    <a:pt x="254" y="221"/>
                  </a:lnTo>
                  <a:lnTo>
                    <a:pt x="256" y="221"/>
                  </a:lnTo>
                  <a:lnTo>
                    <a:pt x="256" y="224"/>
                  </a:lnTo>
                  <a:lnTo>
                    <a:pt x="256" y="226"/>
                  </a:lnTo>
                  <a:lnTo>
                    <a:pt x="258" y="228"/>
                  </a:lnTo>
                  <a:lnTo>
                    <a:pt x="258" y="226"/>
                  </a:lnTo>
                  <a:lnTo>
                    <a:pt x="258" y="228"/>
                  </a:lnTo>
                  <a:lnTo>
                    <a:pt x="261" y="228"/>
                  </a:lnTo>
                  <a:lnTo>
                    <a:pt x="258" y="228"/>
                  </a:lnTo>
                  <a:lnTo>
                    <a:pt x="258" y="231"/>
                  </a:lnTo>
                  <a:lnTo>
                    <a:pt x="261" y="231"/>
                  </a:lnTo>
                  <a:lnTo>
                    <a:pt x="263" y="231"/>
                  </a:lnTo>
                  <a:lnTo>
                    <a:pt x="263" y="233"/>
                  </a:lnTo>
                  <a:lnTo>
                    <a:pt x="265" y="233"/>
                  </a:lnTo>
                  <a:lnTo>
                    <a:pt x="263" y="233"/>
                  </a:lnTo>
                  <a:lnTo>
                    <a:pt x="263" y="236"/>
                  </a:lnTo>
                  <a:lnTo>
                    <a:pt x="261" y="238"/>
                  </a:lnTo>
                  <a:lnTo>
                    <a:pt x="263" y="240"/>
                  </a:lnTo>
                  <a:lnTo>
                    <a:pt x="263" y="243"/>
                  </a:lnTo>
                  <a:lnTo>
                    <a:pt x="263" y="245"/>
                  </a:lnTo>
                  <a:lnTo>
                    <a:pt x="265" y="245"/>
                  </a:lnTo>
                  <a:lnTo>
                    <a:pt x="265" y="247"/>
                  </a:lnTo>
                  <a:lnTo>
                    <a:pt x="268" y="250"/>
                  </a:lnTo>
                  <a:lnTo>
                    <a:pt x="268" y="252"/>
                  </a:lnTo>
                  <a:lnTo>
                    <a:pt x="270" y="252"/>
                  </a:lnTo>
                  <a:lnTo>
                    <a:pt x="270" y="255"/>
                  </a:lnTo>
                  <a:lnTo>
                    <a:pt x="273" y="255"/>
                  </a:lnTo>
                  <a:lnTo>
                    <a:pt x="273" y="257"/>
                  </a:lnTo>
                  <a:lnTo>
                    <a:pt x="273" y="259"/>
                  </a:lnTo>
                  <a:lnTo>
                    <a:pt x="273" y="262"/>
                  </a:lnTo>
                  <a:lnTo>
                    <a:pt x="273" y="259"/>
                  </a:lnTo>
                  <a:lnTo>
                    <a:pt x="273" y="257"/>
                  </a:lnTo>
                  <a:lnTo>
                    <a:pt x="270" y="257"/>
                  </a:lnTo>
                  <a:lnTo>
                    <a:pt x="268" y="257"/>
                  </a:lnTo>
                  <a:lnTo>
                    <a:pt x="265" y="257"/>
                  </a:lnTo>
                  <a:lnTo>
                    <a:pt x="263" y="257"/>
                  </a:lnTo>
                  <a:lnTo>
                    <a:pt x="263" y="255"/>
                  </a:lnTo>
                  <a:lnTo>
                    <a:pt x="261" y="255"/>
                  </a:lnTo>
                  <a:lnTo>
                    <a:pt x="261" y="252"/>
                  </a:lnTo>
                  <a:lnTo>
                    <a:pt x="258" y="252"/>
                  </a:lnTo>
                  <a:lnTo>
                    <a:pt x="256" y="252"/>
                  </a:lnTo>
                  <a:lnTo>
                    <a:pt x="256" y="255"/>
                  </a:lnTo>
                  <a:lnTo>
                    <a:pt x="254" y="255"/>
                  </a:lnTo>
                  <a:lnTo>
                    <a:pt x="251" y="255"/>
                  </a:lnTo>
                  <a:lnTo>
                    <a:pt x="249" y="252"/>
                  </a:lnTo>
                  <a:lnTo>
                    <a:pt x="246" y="252"/>
                  </a:lnTo>
                  <a:lnTo>
                    <a:pt x="246" y="255"/>
                  </a:lnTo>
                  <a:lnTo>
                    <a:pt x="244" y="255"/>
                  </a:lnTo>
                  <a:lnTo>
                    <a:pt x="242" y="255"/>
                  </a:lnTo>
                  <a:lnTo>
                    <a:pt x="239" y="255"/>
                  </a:lnTo>
                  <a:lnTo>
                    <a:pt x="242" y="255"/>
                  </a:lnTo>
                  <a:lnTo>
                    <a:pt x="242" y="252"/>
                  </a:lnTo>
                  <a:lnTo>
                    <a:pt x="239" y="252"/>
                  </a:lnTo>
                  <a:lnTo>
                    <a:pt x="242" y="252"/>
                  </a:lnTo>
                  <a:lnTo>
                    <a:pt x="242" y="255"/>
                  </a:lnTo>
                  <a:lnTo>
                    <a:pt x="239" y="255"/>
                  </a:lnTo>
                  <a:lnTo>
                    <a:pt x="242" y="255"/>
                  </a:lnTo>
                  <a:lnTo>
                    <a:pt x="244" y="255"/>
                  </a:lnTo>
                  <a:lnTo>
                    <a:pt x="246" y="255"/>
                  </a:lnTo>
                  <a:lnTo>
                    <a:pt x="246" y="257"/>
                  </a:lnTo>
                  <a:lnTo>
                    <a:pt x="244" y="257"/>
                  </a:lnTo>
                  <a:lnTo>
                    <a:pt x="246" y="259"/>
                  </a:lnTo>
                  <a:lnTo>
                    <a:pt x="246" y="257"/>
                  </a:lnTo>
                  <a:lnTo>
                    <a:pt x="246" y="255"/>
                  </a:lnTo>
                  <a:lnTo>
                    <a:pt x="249" y="255"/>
                  </a:lnTo>
                  <a:lnTo>
                    <a:pt x="251" y="255"/>
                  </a:lnTo>
                  <a:lnTo>
                    <a:pt x="254" y="255"/>
                  </a:lnTo>
                  <a:lnTo>
                    <a:pt x="256" y="255"/>
                  </a:lnTo>
                  <a:lnTo>
                    <a:pt x="258" y="255"/>
                  </a:lnTo>
                  <a:lnTo>
                    <a:pt x="261" y="255"/>
                  </a:lnTo>
                  <a:lnTo>
                    <a:pt x="261" y="257"/>
                  </a:lnTo>
                  <a:lnTo>
                    <a:pt x="263" y="257"/>
                  </a:lnTo>
                  <a:lnTo>
                    <a:pt x="261" y="257"/>
                  </a:lnTo>
                  <a:lnTo>
                    <a:pt x="263" y="257"/>
                  </a:lnTo>
                  <a:lnTo>
                    <a:pt x="261" y="257"/>
                  </a:lnTo>
                  <a:lnTo>
                    <a:pt x="263" y="257"/>
                  </a:lnTo>
                  <a:lnTo>
                    <a:pt x="263" y="259"/>
                  </a:lnTo>
                  <a:lnTo>
                    <a:pt x="263" y="257"/>
                  </a:lnTo>
                  <a:lnTo>
                    <a:pt x="263" y="259"/>
                  </a:lnTo>
                  <a:lnTo>
                    <a:pt x="265" y="259"/>
                  </a:lnTo>
                  <a:lnTo>
                    <a:pt x="265" y="262"/>
                  </a:lnTo>
                  <a:lnTo>
                    <a:pt x="265" y="259"/>
                  </a:lnTo>
                  <a:lnTo>
                    <a:pt x="268" y="259"/>
                  </a:lnTo>
                  <a:lnTo>
                    <a:pt x="265" y="259"/>
                  </a:lnTo>
                  <a:lnTo>
                    <a:pt x="268" y="259"/>
                  </a:lnTo>
                  <a:lnTo>
                    <a:pt x="268" y="262"/>
                  </a:lnTo>
                  <a:lnTo>
                    <a:pt x="270" y="264"/>
                  </a:lnTo>
                  <a:lnTo>
                    <a:pt x="273" y="264"/>
                  </a:lnTo>
                  <a:lnTo>
                    <a:pt x="273" y="266"/>
                  </a:lnTo>
                  <a:lnTo>
                    <a:pt x="275" y="266"/>
                  </a:lnTo>
                  <a:lnTo>
                    <a:pt x="275" y="269"/>
                  </a:lnTo>
                  <a:lnTo>
                    <a:pt x="277" y="271"/>
                  </a:lnTo>
                  <a:lnTo>
                    <a:pt x="277" y="274"/>
                  </a:lnTo>
                  <a:lnTo>
                    <a:pt x="280" y="276"/>
                  </a:lnTo>
                  <a:lnTo>
                    <a:pt x="280" y="278"/>
                  </a:lnTo>
                  <a:lnTo>
                    <a:pt x="280" y="281"/>
                  </a:lnTo>
                  <a:lnTo>
                    <a:pt x="280" y="283"/>
                  </a:lnTo>
                  <a:lnTo>
                    <a:pt x="280" y="285"/>
                  </a:lnTo>
                  <a:lnTo>
                    <a:pt x="277" y="285"/>
                  </a:lnTo>
                  <a:lnTo>
                    <a:pt x="277" y="288"/>
                  </a:lnTo>
                  <a:lnTo>
                    <a:pt x="275" y="288"/>
                  </a:lnTo>
                  <a:lnTo>
                    <a:pt x="275" y="290"/>
                  </a:lnTo>
                  <a:lnTo>
                    <a:pt x="273" y="290"/>
                  </a:lnTo>
                  <a:lnTo>
                    <a:pt x="273" y="293"/>
                  </a:lnTo>
                  <a:lnTo>
                    <a:pt x="270" y="293"/>
                  </a:lnTo>
                  <a:lnTo>
                    <a:pt x="270" y="295"/>
                  </a:lnTo>
                  <a:lnTo>
                    <a:pt x="270" y="293"/>
                  </a:lnTo>
                  <a:lnTo>
                    <a:pt x="270" y="295"/>
                  </a:lnTo>
                  <a:lnTo>
                    <a:pt x="273" y="295"/>
                  </a:lnTo>
                  <a:lnTo>
                    <a:pt x="270" y="295"/>
                  </a:lnTo>
                  <a:lnTo>
                    <a:pt x="273" y="295"/>
                  </a:lnTo>
                  <a:lnTo>
                    <a:pt x="275" y="295"/>
                  </a:lnTo>
                  <a:lnTo>
                    <a:pt x="273" y="295"/>
                  </a:lnTo>
                  <a:lnTo>
                    <a:pt x="275" y="295"/>
                  </a:lnTo>
                  <a:lnTo>
                    <a:pt x="275" y="297"/>
                  </a:lnTo>
                  <a:lnTo>
                    <a:pt x="277" y="297"/>
                  </a:lnTo>
                  <a:lnTo>
                    <a:pt x="280" y="297"/>
                  </a:lnTo>
                  <a:lnTo>
                    <a:pt x="280" y="300"/>
                  </a:lnTo>
                  <a:lnTo>
                    <a:pt x="282" y="300"/>
                  </a:lnTo>
                  <a:lnTo>
                    <a:pt x="282" y="302"/>
                  </a:lnTo>
                  <a:lnTo>
                    <a:pt x="282" y="300"/>
                  </a:lnTo>
                  <a:lnTo>
                    <a:pt x="280" y="300"/>
                  </a:lnTo>
                  <a:lnTo>
                    <a:pt x="282" y="300"/>
                  </a:lnTo>
                  <a:lnTo>
                    <a:pt x="282" y="297"/>
                  </a:lnTo>
                  <a:lnTo>
                    <a:pt x="284" y="297"/>
                  </a:lnTo>
                  <a:lnTo>
                    <a:pt x="284" y="295"/>
                  </a:lnTo>
                  <a:lnTo>
                    <a:pt x="284" y="293"/>
                  </a:lnTo>
                  <a:lnTo>
                    <a:pt x="287" y="290"/>
                  </a:lnTo>
                  <a:lnTo>
                    <a:pt x="289" y="290"/>
                  </a:lnTo>
                  <a:lnTo>
                    <a:pt x="292" y="290"/>
                  </a:lnTo>
                  <a:lnTo>
                    <a:pt x="294" y="290"/>
                  </a:lnTo>
                  <a:lnTo>
                    <a:pt x="296" y="290"/>
                  </a:lnTo>
                  <a:lnTo>
                    <a:pt x="296" y="293"/>
                  </a:lnTo>
                  <a:lnTo>
                    <a:pt x="296" y="290"/>
                  </a:lnTo>
                  <a:lnTo>
                    <a:pt x="299" y="290"/>
                  </a:lnTo>
                  <a:lnTo>
                    <a:pt x="301" y="290"/>
                  </a:lnTo>
                  <a:lnTo>
                    <a:pt x="303" y="290"/>
                  </a:lnTo>
                  <a:lnTo>
                    <a:pt x="301" y="290"/>
                  </a:lnTo>
                  <a:lnTo>
                    <a:pt x="306" y="293"/>
                  </a:lnTo>
                  <a:lnTo>
                    <a:pt x="308" y="293"/>
                  </a:lnTo>
                  <a:lnTo>
                    <a:pt x="311" y="293"/>
                  </a:lnTo>
                  <a:lnTo>
                    <a:pt x="313" y="293"/>
                  </a:lnTo>
                  <a:lnTo>
                    <a:pt x="313" y="295"/>
                  </a:lnTo>
                  <a:lnTo>
                    <a:pt x="315" y="295"/>
                  </a:lnTo>
                  <a:lnTo>
                    <a:pt x="318" y="297"/>
                  </a:lnTo>
                  <a:lnTo>
                    <a:pt x="320" y="297"/>
                  </a:lnTo>
                  <a:lnTo>
                    <a:pt x="320" y="300"/>
                  </a:lnTo>
                  <a:lnTo>
                    <a:pt x="322" y="300"/>
                  </a:lnTo>
                  <a:lnTo>
                    <a:pt x="322" y="302"/>
                  </a:lnTo>
                  <a:lnTo>
                    <a:pt x="325" y="302"/>
                  </a:lnTo>
                  <a:lnTo>
                    <a:pt x="325" y="304"/>
                  </a:lnTo>
                  <a:lnTo>
                    <a:pt x="325" y="307"/>
                  </a:lnTo>
                  <a:lnTo>
                    <a:pt x="327" y="307"/>
                  </a:lnTo>
                  <a:lnTo>
                    <a:pt x="327" y="309"/>
                  </a:lnTo>
                  <a:lnTo>
                    <a:pt x="327" y="312"/>
                  </a:lnTo>
                  <a:lnTo>
                    <a:pt x="325" y="312"/>
                  </a:lnTo>
                  <a:lnTo>
                    <a:pt x="327" y="312"/>
                  </a:lnTo>
                  <a:lnTo>
                    <a:pt x="327" y="314"/>
                  </a:lnTo>
                  <a:lnTo>
                    <a:pt x="327" y="316"/>
                  </a:lnTo>
                  <a:lnTo>
                    <a:pt x="325" y="319"/>
                  </a:lnTo>
                  <a:lnTo>
                    <a:pt x="327" y="319"/>
                  </a:lnTo>
                  <a:lnTo>
                    <a:pt x="325" y="319"/>
                  </a:lnTo>
                  <a:lnTo>
                    <a:pt x="327" y="319"/>
                  </a:lnTo>
                  <a:lnTo>
                    <a:pt x="325" y="319"/>
                  </a:lnTo>
                  <a:lnTo>
                    <a:pt x="325" y="321"/>
                  </a:lnTo>
                  <a:lnTo>
                    <a:pt x="325" y="323"/>
                  </a:lnTo>
                  <a:lnTo>
                    <a:pt x="322" y="323"/>
                  </a:lnTo>
                  <a:lnTo>
                    <a:pt x="322" y="326"/>
                  </a:lnTo>
                  <a:lnTo>
                    <a:pt x="322" y="328"/>
                  </a:lnTo>
                  <a:lnTo>
                    <a:pt x="322" y="331"/>
                  </a:lnTo>
                  <a:lnTo>
                    <a:pt x="322" y="333"/>
                  </a:lnTo>
                  <a:lnTo>
                    <a:pt x="320" y="333"/>
                  </a:lnTo>
                  <a:lnTo>
                    <a:pt x="320" y="335"/>
                  </a:lnTo>
                  <a:lnTo>
                    <a:pt x="318" y="335"/>
                  </a:lnTo>
                  <a:lnTo>
                    <a:pt x="318" y="338"/>
                  </a:lnTo>
                  <a:lnTo>
                    <a:pt x="318" y="335"/>
                  </a:lnTo>
                  <a:lnTo>
                    <a:pt x="320" y="335"/>
                  </a:lnTo>
                  <a:lnTo>
                    <a:pt x="320" y="333"/>
                  </a:lnTo>
                  <a:lnTo>
                    <a:pt x="322" y="333"/>
                  </a:lnTo>
                  <a:lnTo>
                    <a:pt x="322" y="331"/>
                  </a:lnTo>
                  <a:lnTo>
                    <a:pt x="320" y="333"/>
                  </a:lnTo>
                  <a:lnTo>
                    <a:pt x="320" y="331"/>
                  </a:lnTo>
                  <a:lnTo>
                    <a:pt x="318" y="331"/>
                  </a:lnTo>
                  <a:lnTo>
                    <a:pt x="320" y="331"/>
                  </a:lnTo>
                  <a:lnTo>
                    <a:pt x="320" y="333"/>
                  </a:lnTo>
                  <a:lnTo>
                    <a:pt x="322" y="333"/>
                  </a:lnTo>
                  <a:lnTo>
                    <a:pt x="320" y="333"/>
                  </a:lnTo>
                  <a:lnTo>
                    <a:pt x="320" y="335"/>
                  </a:lnTo>
                  <a:lnTo>
                    <a:pt x="318" y="335"/>
                  </a:lnTo>
                  <a:lnTo>
                    <a:pt x="318" y="338"/>
                  </a:lnTo>
                  <a:lnTo>
                    <a:pt x="315" y="338"/>
                  </a:lnTo>
                  <a:lnTo>
                    <a:pt x="315" y="340"/>
                  </a:lnTo>
                  <a:lnTo>
                    <a:pt x="315" y="338"/>
                  </a:lnTo>
                  <a:lnTo>
                    <a:pt x="313" y="338"/>
                  </a:lnTo>
                  <a:lnTo>
                    <a:pt x="313" y="335"/>
                  </a:lnTo>
                  <a:lnTo>
                    <a:pt x="313" y="333"/>
                  </a:lnTo>
                  <a:lnTo>
                    <a:pt x="313" y="335"/>
                  </a:lnTo>
                  <a:lnTo>
                    <a:pt x="313" y="338"/>
                  </a:lnTo>
                  <a:lnTo>
                    <a:pt x="315" y="338"/>
                  </a:lnTo>
                  <a:lnTo>
                    <a:pt x="315" y="340"/>
                  </a:lnTo>
                  <a:lnTo>
                    <a:pt x="313" y="340"/>
                  </a:lnTo>
                  <a:lnTo>
                    <a:pt x="313" y="342"/>
                  </a:lnTo>
                  <a:lnTo>
                    <a:pt x="313" y="340"/>
                  </a:lnTo>
                  <a:lnTo>
                    <a:pt x="311" y="340"/>
                  </a:lnTo>
                  <a:lnTo>
                    <a:pt x="311" y="338"/>
                  </a:lnTo>
                  <a:lnTo>
                    <a:pt x="308" y="338"/>
                  </a:lnTo>
                  <a:lnTo>
                    <a:pt x="306" y="338"/>
                  </a:lnTo>
                  <a:lnTo>
                    <a:pt x="308" y="338"/>
                  </a:lnTo>
                  <a:lnTo>
                    <a:pt x="308" y="340"/>
                  </a:lnTo>
                  <a:lnTo>
                    <a:pt x="311" y="340"/>
                  </a:lnTo>
                  <a:lnTo>
                    <a:pt x="308" y="340"/>
                  </a:lnTo>
                  <a:lnTo>
                    <a:pt x="306" y="340"/>
                  </a:lnTo>
                  <a:lnTo>
                    <a:pt x="303" y="340"/>
                  </a:lnTo>
                  <a:lnTo>
                    <a:pt x="303" y="342"/>
                  </a:lnTo>
                  <a:lnTo>
                    <a:pt x="303" y="340"/>
                  </a:lnTo>
                  <a:lnTo>
                    <a:pt x="303" y="342"/>
                  </a:lnTo>
                  <a:lnTo>
                    <a:pt x="306" y="342"/>
                  </a:lnTo>
                  <a:lnTo>
                    <a:pt x="308" y="342"/>
                  </a:lnTo>
                  <a:lnTo>
                    <a:pt x="311" y="342"/>
                  </a:lnTo>
                  <a:lnTo>
                    <a:pt x="311" y="345"/>
                  </a:lnTo>
                  <a:lnTo>
                    <a:pt x="308" y="345"/>
                  </a:lnTo>
                  <a:lnTo>
                    <a:pt x="311" y="345"/>
                  </a:lnTo>
                  <a:lnTo>
                    <a:pt x="308" y="345"/>
                  </a:lnTo>
                  <a:lnTo>
                    <a:pt x="311" y="345"/>
                  </a:lnTo>
                  <a:lnTo>
                    <a:pt x="311" y="347"/>
                  </a:lnTo>
                  <a:lnTo>
                    <a:pt x="308" y="350"/>
                  </a:lnTo>
                  <a:lnTo>
                    <a:pt x="306" y="350"/>
                  </a:lnTo>
                  <a:lnTo>
                    <a:pt x="308" y="350"/>
                  </a:lnTo>
                  <a:lnTo>
                    <a:pt x="306" y="350"/>
                  </a:lnTo>
                  <a:lnTo>
                    <a:pt x="303" y="350"/>
                  </a:lnTo>
                  <a:lnTo>
                    <a:pt x="303" y="347"/>
                  </a:lnTo>
                  <a:lnTo>
                    <a:pt x="303" y="350"/>
                  </a:lnTo>
                  <a:lnTo>
                    <a:pt x="301" y="350"/>
                  </a:lnTo>
                  <a:lnTo>
                    <a:pt x="301" y="347"/>
                  </a:lnTo>
                  <a:lnTo>
                    <a:pt x="301" y="350"/>
                  </a:lnTo>
                  <a:lnTo>
                    <a:pt x="301" y="347"/>
                  </a:lnTo>
                  <a:lnTo>
                    <a:pt x="299" y="347"/>
                  </a:lnTo>
                  <a:lnTo>
                    <a:pt x="299" y="350"/>
                  </a:lnTo>
                  <a:lnTo>
                    <a:pt x="296" y="350"/>
                  </a:lnTo>
                  <a:lnTo>
                    <a:pt x="299" y="350"/>
                  </a:lnTo>
                  <a:lnTo>
                    <a:pt x="296" y="350"/>
                  </a:lnTo>
                  <a:lnTo>
                    <a:pt x="299" y="352"/>
                  </a:lnTo>
                  <a:lnTo>
                    <a:pt x="296" y="352"/>
                  </a:lnTo>
                  <a:lnTo>
                    <a:pt x="294" y="352"/>
                  </a:lnTo>
                  <a:lnTo>
                    <a:pt x="296" y="352"/>
                  </a:lnTo>
                  <a:lnTo>
                    <a:pt x="294" y="352"/>
                  </a:lnTo>
                  <a:lnTo>
                    <a:pt x="292" y="352"/>
                  </a:lnTo>
                  <a:lnTo>
                    <a:pt x="294" y="352"/>
                  </a:lnTo>
                  <a:lnTo>
                    <a:pt x="294" y="354"/>
                  </a:lnTo>
                  <a:lnTo>
                    <a:pt x="294" y="352"/>
                  </a:lnTo>
                  <a:lnTo>
                    <a:pt x="296" y="352"/>
                  </a:lnTo>
                  <a:lnTo>
                    <a:pt x="299" y="352"/>
                  </a:lnTo>
                  <a:lnTo>
                    <a:pt x="301" y="352"/>
                  </a:lnTo>
                  <a:lnTo>
                    <a:pt x="301" y="354"/>
                  </a:lnTo>
                  <a:lnTo>
                    <a:pt x="299" y="354"/>
                  </a:lnTo>
                  <a:lnTo>
                    <a:pt x="301" y="354"/>
                  </a:lnTo>
                  <a:lnTo>
                    <a:pt x="301" y="357"/>
                  </a:lnTo>
                  <a:lnTo>
                    <a:pt x="299" y="357"/>
                  </a:lnTo>
                  <a:lnTo>
                    <a:pt x="296" y="357"/>
                  </a:lnTo>
                  <a:lnTo>
                    <a:pt x="294" y="357"/>
                  </a:lnTo>
                  <a:lnTo>
                    <a:pt x="292" y="357"/>
                  </a:lnTo>
                  <a:lnTo>
                    <a:pt x="289" y="357"/>
                  </a:lnTo>
                  <a:lnTo>
                    <a:pt x="292" y="357"/>
                  </a:lnTo>
                  <a:lnTo>
                    <a:pt x="294" y="357"/>
                  </a:lnTo>
                  <a:lnTo>
                    <a:pt x="296" y="357"/>
                  </a:lnTo>
                  <a:lnTo>
                    <a:pt x="296" y="359"/>
                  </a:lnTo>
                  <a:lnTo>
                    <a:pt x="294" y="359"/>
                  </a:lnTo>
                  <a:lnTo>
                    <a:pt x="296" y="359"/>
                  </a:lnTo>
                  <a:lnTo>
                    <a:pt x="299" y="359"/>
                  </a:lnTo>
                  <a:lnTo>
                    <a:pt x="299" y="357"/>
                  </a:lnTo>
                  <a:lnTo>
                    <a:pt x="299" y="359"/>
                  </a:lnTo>
                  <a:lnTo>
                    <a:pt x="299" y="357"/>
                  </a:lnTo>
                  <a:lnTo>
                    <a:pt x="301" y="357"/>
                  </a:lnTo>
                  <a:lnTo>
                    <a:pt x="301" y="359"/>
                  </a:lnTo>
                  <a:lnTo>
                    <a:pt x="299" y="359"/>
                  </a:lnTo>
                  <a:lnTo>
                    <a:pt x="296" y="361"/>
                  </a:lnTo>
                  <a:lnTo>
                    <a:pt x="294" y="361"/>
                  </a:lnTo>
                  <a:lnTo>
                    <a:pt x="292" y="361"/>
                  </a:lnTo>
                  <a:lnTo>
                    <a:pt x="289" y="361"/>
                  </a:lnTo>
                  <a:lnTo>
                    <a:pt x="287" y="361"/>
                  </a:lnTo>
                  <a:lnTo>
                    <a:pt x="289" y="361"/>
                  </a:lnTo>
                  <a:lnTo>
                    <a:pt x="289" y="364"/>
                  </a:lnTo>
                  <a:lnTo>
                    <a:pt x="287" y="364"/>
                  </a:lnTo>
                  <a:lnTo>
                    <a:pt x="287" y="361"/>
                  </a:lnTo>
                  <a:lnTo>
                    <a:pt x="284" y="361"/>
                  </a:lnTo>
                  <a:lnTo>
                    <a:pt x="287" y="361"/>
                  </a:lnTo>
                  <a:lnTo>
                    <a:pt x="287" y="364"/>
                  </a:lnTo>
                  <a:lnTo>
                    <a:pt x="284" y="364"/>
                  </a:lnTo>
                  <a:lnTo>
                    <a:pt x="282" y="366"/>
                  </a:lnTo>
                  <a:lnTo>
                    <a:pt x="280" y="366"/>
                  </a:lnTo>
                  <a:lnTo>
                    <a:pt x="280" y="364"/>
                  </a:lnTo>
                  <a:lnTo>
                    <a:pt x="277" y="364"/>
                  </a:lnTo>
                  <a:lnTo>
                    <a:pt x="277" y="366"/>
                  </a:lnTo>
                  <a:lnTo>
                    <a:pt x="277" y="364"/>
                  </a:lnTo>
                  <a:lnTo>
                    <a:pt x="275" y="364"/>
                  </a:lnTo>
                  <a:lnTo>
                    <a:pt x="273" y="364"/>
                  </a:lnTo>
                  <a:lnTo>
                    <a:pt x="273" y="361"/>
                  </a:lnTo>
                  <a:lnTo>
                    <a:pt x="273" y="364"/>
                  </a:lnTo>
                  <a:lnTo>
                    <a:pt x="270" y="364"/>
                  </a:lnTo>
                  <a:lnTo>
                    <a:pt x="268" y="364"/>
                  </a:lnTo>
                  <a:lnTo>
                    <a:pt x="265" y="364"/>
                  </a:lnTo>
                  <a:lnTo>
                    <a:pt x="263" y="364"/>
                  </a:lnTo>
                  <a:lnTo>
                    <a:pt x="263" y="366"/>
                  </a:lnTo>
                  <a:lnTo>
                    <a:pt x="261" y="366"/>
                  </a:lnTo>
                  <a:lnTo>
                    <a:pt x="263" y="366"/>
                  </a:lnTo>
                  <a:lnTo>
                    <a:pt x="263" y="364"/>
                  </a:lnTo>
                  <a:lnTo>
                    <a:pt x="265" y="364"/>
                  </a:lnTo>
                  <a:lnTo>
                    <a:pt x="268" y="364"/>
                  </a:lnTo>
                  <a:lnTo>
                    <a:pt x="270" y="364"/>
                  </a:lnTo>
                  <a:lnTo>
                    <a:pt x="273" y="364"/>
                  </a:lnTo>
                  <a:lnTo>
                    <a:pt x="275" y="364"/>
                  </a:lnTo>
                  <a:lnTo>
                    <a:pt x="277" y="364"/>
                  </a:lnTo>
                  <a:lnTo>
                    <a:pt x="277" y="366"/>
                  </a:lnTo>
                  <a:lnTo>
                    <a:pt x="280" y="366"/>
                  </a:lnTo>
                  <a:lnTo>
                    <a:pt x="282" y="366"/>
                  </a:lnTo>
                  <a:lnTo>
                    <a:pt x="284" y="366"/>
                  </a:lnTo>
                  <a:lnTo>
                    <a:pt x="284" y="364"/>
                  </a:lnTo>
                  <a:lnTo>
                    <a:pt x="287" y="364"/>
                  </a:lnTo>
                  <a:lnTo>
                    <a:pt x="289" y="364"/>
                  </a:lnTo>
                  <a:lnTo>
                    <a:pt x="292" y="364"/>
                  </a:lnTo>
                  <a:lnTo>
                    <a:pt x="292" y="366"/>
                  </a:lnTo>
                  <a:lnTo>
                    <a:pt x="289" y="366"/>
                  </a:lnTo>
                  <a:lnTo>
                    <a:pt x="292" y="366"/>
                  </a:lnTo>
                  <a:lnTo>
                    <a:pt x="289" y="366"/>
                  </a:lnTo>
                  <a:lnTo>
                    <a:pt x="289" y="369"/>
                  </a:lnTo>
                  <a:lnTo>
                    <a:pt x="287" y="369"/>
                  </a:lnTo>
                  <a:lnTo>
                    <a:pt x="284" y="369"/>
                  </a:lnTo>
                  <a:lnTo>
                    <a:pt x="287" y="369"/>
                  </a:lnTo>
                  <a:lnTo>
                    <a:pt x="289" y="369"/>
                  </a:lnTo>
                  <a:lnTo>
                    <a:pt x="292" y="369"/>
                  </a:lnTo>
                  <a:lnTo>
                    <a:pt x="292" y="366"/>
                  </a:lnTo>
                  <a:lnTo>
                    <a:pt x="292" y="369"/>
                  </a:lnTo>
                  <a:lnTo>
                    <a:pt x="294" y="366"/>
                  </a:lnTo>
                  <a:lnTo>
                    <a:pt x="294" y="369"/>
                  </a:lnTo>
                  <a:lnTo>
                    <a:pt x="292" y="369"/>
                  </a:lnTo>
                  <a:lnTo>
                    <a:pt x="294" y="369"/>
                  </a:lnTo>
                  <a:lnTo>
                    <a:pt x="294" y="371"/>
                  </a:lnTo>
                  <a:lnTo>
                    <a:pt x="296" y="371"/>
                  </a:lnTo>
                  <a:lnTo>
                    <a:pt x="299" y="371"/>
                  </a:lnTo>
                  <a:lnTo>
                    <a:pt x="301" y="371"/>
                  </a:lnTo>
                  <a:lnTo>
                    <a:pt x="303" y="371"/>
                  </a:lnTo>
                  <a:lnTo>
                    <a:pt x="306" y="371"/>
                  </a:lnTo>
                  <a:lnTo>
                    <a:pt x="306" y="369"/>
                  </a:lnTo>
                  <a:lnTo>
                    <a:pt x="308" y="369"/>
                  </a:lnTo>
                  <a:lnTo>
                    <a:pt x="311" y="369"/>
                  </a:lnTo>
                  <a:lnTo>
                    <a:pt x="313" y="369"/>
                  </a:lnTo>
                  <a:lnTo>
                    <a:pt x="315" y="369"/>
                  </a:lnTo>
                  <a:lnTo>
                    <a:pt x="318" y="369"/>
                  </a:lnTo>
                  <a:lnTo>
                    <a:pt x="318" y="371"/>
                  </a:lnTo>
                  <a:lnTo>
                    <a:pt x="315" y="371"/>
                  </a:lnTo>
                  <a:lnTo>
                    <a:pt x="315" y="373"/>
                  </a:lnTo>
                  <a:lnTo>
                    <a:pt x="315" y="371"/>
                  </a:lnTo>
                  <a:lnTo>
                    <a:pt x="313" y="371"/>
                  </a:lnTo>
                  <a:lnTo>
                    <a:pt x="313" y="373"/>
                  </a:lnTo>
                  <a:lnTo>
                    <a:pt x="315" y="373"/>
                  </a:lnTo>
                  <a:lnTo>
                    <a:pt x="315" y="376"/>
                  </a:lnTo>
                  <a:lnTo>
                    <a:pt x="315" y="378"/>
                  </a:lnTo>
                  <a:lnTo>
                    <a:pt x="315" y="380"/>
                  </a:lnTo>
                  <a:lnTo>
                    <a:pt x="313" y="380"/>
                  </a:lnTo>
                  <a:lnTo>
                    <a:pt x="313" y="383"/>
                  </a:lnTo>
                  <a:lnTo>
                    <a:pt x="311" y="383"/>
                  </a:lnTo>
                  <a:lnTo>
                    <a:pt x="308" y="383"/>
                  </a:lnTo>
                  <a:lnTo>
                    <a:pt x="308" y="385"/>
                  </a:lnTo>
                  <a:lnTo>
                    <a:pt x="306" y="385"/>
                  </a:lnTo>
                  <a:lnTo>
                    <a:pt x="303" y="385"/>
                  </a:lnTo>
                  <a:lnTo>
                    <a:pt x="301" y="388"/>
                  </a:lnTo>
                  <a:lnTo>
                    <a:pt x="301" y="390"/>
                  </a:lnTo>
                  <a:lnTo>
                    <a:pt x="301" y="392"/>
                  </a:lnTo>
                  <a:lnTo>
                    <a:pt x="299" y="392"/>
                  </a:lnTo>
                  <a:lnTo>
                    <a:pt x="296" y="392"/>
                  </a:lnTo>
                  <a:lnTo>
                    <a:pt x="294" y="392"/>
                  </a:lnTo>
                  <a:lnTo>
                    <a:pt x="292" y="392"/>
                  </a:lnTo>
                  <a:lnTo>
                    <a:pt x="292" y="395"/>
                  </a:lnTo>
                  <a:lnTo>
                    <a:pt x="289" y="395"/>
                  </a:lnTo>
                  <a:lnTo>
                    <a:pt x="287" y="395"/>
                  </a:lnTo>
                  <a:lnTo>
                    <a:pt x="284" y="397"/>
                  </a:lnTo>
                  <a:lnTo>
                    <a:pt x="282" y="397"/>
                  </a:lnTo>
                  <a:lnTo>
                    <a:pt x="280" y="397"/>
                  </a:lnTo>
                  <a:lnTo>
                    <a:pt x="280" y="399"/>
                  </a:lnTo>
                  <a:lnTo>
                    <a:pt x="280" y="397"/>
                  </a:lnTo>
                  <a:lnTo>
                    <a:pt x="280" y="399"/>
                  </a:lnTo>
                  <a:lnTo>
                    <a:pt x="277" y="399"/>
                  </a:lnTo>
                  <a:lnTo>
                    <a:pt x="277" y="402"/>
                  </a:lnTo>
                  <a:lnTo>
                    <a:pt x="275" y="402"/>
                  </a:lnTo>
                  <a:lnTo>
                    <a:pt x="275" y="399"/>
                  </a:lnTo>
                  <a:lnTo>
                    <a:pt x="273" y="399"/>
                  </a:lnTo>
                  <a:lnTo>
                    <a:pt x="270" y="399"/>
                  </a:lnTo>
                  <a:lnTo>
                    <a:pt x="268" y="399"/>
                  </a:lnTo>
                  <a:lnTo>
                    <a:pt x="268" y="397"/>
                  </a:lnTo>
                  <a:lnTo>
                    <a:pt x="265" y="397"/>
                  </a:lnTo>
                  <a:lnTo>
                    <a:pt x="263" y="397"/>
                  </a:lnTo>
                  <a:lnTo>
                    <a:pt x="261" y="397"/>
                  </a:lnTo>
                  <a:lnTo>
                    <a:pt x="258" y="397"/>
                  </a:lnTo>
                  <a:lnTo>
                    <a:pt x="256" y="397"/>
                  </a:lnTo>
                  <a:lnTo>
                    <a:pt x="254" y="397"/>
                  </a:lnTo>
                  <a:lnTo>
                    <a:pt x="251" y="397"/>
                  </a:lnTo>
                  <a:lnTo>
                    <a:pt x="249" y="397"/>
                  </a:lnTo>
                  <a:lnTo>
                    <a:pt x="249" y="399"/>
                  </a:lnTo>
                  <a:lnTo>
                    <a:pt x="246" y="399"/>
                  </a:lnTo>
                  <a:lnTo>
                    <a:pt x="244" y="399"/>
                  </a:lnTo>
                  <a:lnTo>
                    <a:pt x="244" y="402"/>
                  </a:lnTo>
                  <a:lnTo>
                    <a:pt x="242" y="402"/>
                  </a:lnTo>
                  <a:lnTo>
                    <a:pt x="242" y="399"/>
                  </a:lnTo>
                  <a:lnTo>
                    <a:pt x="239" y="399"/>
                  </a:lnTo>
                  <a:lnTo>
                    <a:pt x="239" y="397"/>
                  </a:lnTo>
                  <a:lnTo>
                    <a:pt x="242" y="397"/>
                  </a:lnTo>
                  <a:lnTo>
                    <a:pt x="239" y="397"/>
                  </a:lnTo>
                  <a:lnTo>
                    <a:pt x="242" y="397"/>
                  </a:lnTo>
                  <a:lnTo>
                    <a:pt x="239" y="397"/>
                  </a:lnTo>
                  <a:lnTo>
                    <a:pt x="239" y="395"/>
                  </a:lnTo>
                  <a:lnTo>
                    <a:pt x="239" y="397"/>
                  </a:lnTo>
                  <a:lnTo>
                    <a:pt x="239" y="395"/>
                  </a:lnTo>
                  <a:lnTo>
                    <a:pt x="239" y="397"/>
                  </a:lnTo>
                  <a:lnTo>
                    <a:pt x="237" y="397"/>
                  </a:lnTo>
                  <a:lnTo>
                    <a:pt x="237" y="395"/>
                  </a:lnTo>
                  <a:lnTo>
                    <a:pt x="237" y="397"/>
                  </a:lnTo>
                  <a:lnTo>
                    <a:pt x="237" y="395"/>
                  </a:lnTo>
                  <a:lnTo>
                    <a:pt x="237" y="397"/>
                  </a:lnTo>
                  <a:lnTo>
                    <a:pt x="237" y="395"/>
                  </a:lnTo>
                  <a:lnTo>
                    <a:pt x="235" y="395"/>
                  </a:lnTo>
                  <a:lnTo>
                    <a:pt x="235" y="397"/>
                  </a:lnTo>
                  <a:lnTo>
                    <a:pt x="235" y="399"/>
                  </a:lnTo>
                  <a:lnTo>
                    <a:pt x="235" y="397"/>
                  </a:lnTo>
                  <a:lnTo>
                    <a:pt x="235" y="399"/>
                  </a:lnTo>
                  <a:lnTo>
                    <a:pt x="232" y="399"/>
                  </a:lnTo>
                  <a:lnTo>
                    <a:pt x="232" y="397"/>
                  </a:lnTo>
                  <a:lnTo>
                    <a:pt x="232" y="395"/>
                  </a:lnTo>
                  <a:lnTo>
                    <a:pt x="232" y="397"/>
                  </a:lnTo>
                  <a:lnTo>
                    <a:pt x="232" y="395"/>
                  </a:lnTo>
                  <a:lnTo>
                    <a:pt x="230" y="395"/>
                  </a:lnTo>
                  <a:lnTo>
                    <a:pt x="230" y="397"/>
                  </a:lnTo>
                  <a:lnTo>
                    <a:pt x="230" y="395"/>
                  </a:lnTo>
                  <a:lnTo>
                    <a:pt x="230" y="397"/>
                  </a:lnTo>
                  <a:lnTo>
                    <a:pt x="232" y="397"/>
                  </a:lnTo>
                  <a:lnTo>
                    <a:pt x="232" y="399"/>
                  </a:lnTo>
                  <a:lnTo>
                    <a:pt x="230" y="399"/>
                  </a:lnTo>
                  <a:lnTo>
                    <a:pt x="230" y="397"/>
                  </a:lnTo>
                  <a:lnTo>
                    <a:pt x="227" y="397"/>
                  </a:lnTo>
                  <a:lnTo>
                    <a:pt x="225" y="397"/>
                  </a:lnTo>
                  <a:lnTo>
                    <a:pt x="225" y="395"/>
                  </a:lnTo>
                  <a:lnTo>
                    <a:pt x="225" y="392"/>
                  </a:lnTo>
                  <a:lnTo>
                    <a:pt x="227" y="392"/>
                  </a:lnTo>
                  <a:lnTo>
                    <a:pt x="225" y="392"/>
                  </a:lnTo>
                  <a:lnTo>
                    <a:pt x="225" y="395"/>
                  </a:lnTo>
                  <a:lnTo>
                    <a:pt x="223" y="395"/>
                  </a:lnTo>
                  <a:lnTo>
                    <a:pt x="223" y="392"/>
                  </a:lnTo>
                  <a:lnTo>
                    <a:pt x="223" y="395"/>
                  </a:lnTo>
                  <a:lnTo>
                    <a:pt x="223" y="392"/>
                  </a:lnTo>
                  <a:lnTo>
                    <a:pt x="220" y="392"/>
                  </a:lnTo>
                  <a:lnTo>
                    <a:pt x="223" y="392"/>
                  </a:lnTo>
                  <a:lnTo>
                    <a:pt x="223" y="395"/>
                  </a:lnTo>
                  <a:lnTo>
                    <a:pt x="225" y="395"/>
                  </a:lnTo>
                  <a:lnTo>
                    <a:pt x="225" y="397"/>
                  </a:lnTo>
                  <a:lnTo>
                    <a:pt x="225" y="399"/>
                  </a:lnTo>
                  <a:lnTo>
                    <a:pt x="223" y="399"/>
                  </a:lnTo>
                  <a:lnTo>
                    <a:pt x="220" y="399"/>
                  </a:lnTo>
                  <a:lnTo>
                    <a:pt x="218" y="399"/>
                  </a:lnTo>
                  <a:lnTo>
                    <a:pt x="218" y="402"/>
                  </a:lnTo>
                  <a:lnTo>
                    <a:pt x="216" y="402"/>
                  </a:lnTo>
                  <a:lnTo>
                    <a:pt x="213" y="402"/>
                  </a:lnTo>
                  <a:lnTo>
                    <a:pt x="211" y="402"/>
                  </a:lnTo>
                  <a:lnTo>
                    <a:pt x="209" y="402"/>
                  </a:lnTo>
                  <a:lnTo>
                    <a:pt x="206" y="402"/>
                  </a:lnTo>
                  <a:lnTo>
                    <a:pt x="204" y="404"/>
                  </a:lnTo>
                  <a:lnTo>
                    <a:pt x="206" y="402"/>
                  </a:lnTo>
                  <a:lnTo>
                    <a:pt x="204" y="402"/>
                  </a:lnTo>
                  <a:lnTo>
                    <a:pt x="201" y="402"/>
                  </a:lnTo>
                  <a:lnTo>
                    <a:pt x="199" y="402"/>
                  </a:lnTo>
                  <a:lnTo>
                    <a:pt x="201" y="402"/>
                  </a:lnTo>
                  <a:lnTo>
                    <a:pt x="201" y="404"/>
                  </a:lnTo>
                  <a:lnTo>
                    <a:pt x="201" y="402"/>
                  </a:lnTo>
                  <a:lnTo>
                    <a:pt x="201" y="404"/>
                  </a:lnTo>
                  <a:lnTo>
                    <a:pt x="204" y="404"/>
                  </a:lnTo>
                  <a:lnTo>
                    <a:pt x="201" y="404"/>
                  </a:lnTo>
                  <a:lnTo>
                    <a:pt x="204" y="404"/>
                  </a:lnTo>
                  <a:lnTo>
                    <a:pt x="204" y="407"/>
                  </a:lnTo>
                  <a:lnTo>
                    <a:pt x="206" y="407"/>
                  </a:lnTo>
                  <a:lnTo>
                    <a:pt x="204" y="407"/>
                  </a:lnTo>
                  <a:lnTo>
                    <a:pt x="204" y="409"/>
                  </a:lnTo>
                  <a:lnTo>
                    <a:pt x="201" y="409"/>
                  </a:lnTo>
                  <a:lnTo>
                    <a:pt x="201" y="407"/>
                  </a:lnTo>
                  <a:lnTo>
                    <a:pt x="199" y="409"/>
                  </a:lnTo>
                  <a:lnTo>
                    <a:pt x="199" y="407"/>
                  </a:lnTo>
                  <a:lnTo>
                    <a:pt x="197" y="407"/>
                  </a:lnTo>
                  <a:lnTo>
                    <a:pt x="194" y="407"/>
                  </a:lnTo>
                  <a:lnTo>
                    <a:pt x="192" y="407"/>
                  </a:lnTo>
                  <a:lnTo>
                    <a:pt x="190" y="407"/>
                  </a:lnTo>
                  <a:lnTo>
                    <a:pt x="187" y="407"/>
                  </a:lnTo>
                  <a:lnTo>
                    <a:pt x="190" y="407"/>
                  </a:lnTo>
                  <a:lnTo>
                    <a:pt x="187" y="407"/>
                  </a:lnTo>
                  <a:lnTo>
                    <a:pt x="187" y="409"/>
                  </a:lnTo>
                  <a:lnTo>
                    <a:pt x="190" y="409"/>
                  </a:lnTo>
                  <a:lnTo>
                    <a:pt x="190" y="411"/>
                  </a:lnTo>
                  <a:lnTo>
                    <a:pt x="187" y="411"/>
                  </a:lnTo>
                  <a:lnTo>
                    <a:pt x="187" y="409"/>
                  </a:lnTo>
                  <a:lnTo>
                    <a:pt x="185" y="407"/>
                  </a:lnTo>
                  <a:lnTo>
                    <a:pt x="182" y="404"/>
                  </a:lnTo>
                  <a:lnTo>
                    <a:pt x="180" y="404"/>
                  </a:lnTo>
                  <a:lnTo>
                    <a:pt x="178" y="402"/>
                  </a:lnTo>
                  <a:lnTo>
                    <a:pt x="175" y="402"/>
                  </a:lnTo>
                  <a:lnTo>
                    <a:pt x="173" y="402"/>
                  </a:lnTo>
                  <a:lnTo>
                    <a:pt x="171" y="402"/>
                  </a:lnTo>
                  <a:lnTo>
                    <a:pt x="168" y="402"/>
                  </a:lnTo>
                  <a:lnTo>
                    <a:pt x="166" y="402"/>
                  </a:lnTo>
                  <a:lnTo>
                    <a:pt x="166" y="404"/>
                  </a:lnTo>
                  <a:lnTo>
                    <a:pt x="163" y="404"/>
                  </a:lnTo>
                  <a:lnTo>
                    <a:pt x="161" y="404"/>
                  </a:lnTo>
                  <a:lnTo>
                    <a:pt x="161" y="407"/>
                  </a:lnTo>
                  <a:lnTo>
                    <a:pt x="159" y="407"/>
                  </a:lnTo>
                  <a:lnTo>
                    <a:pt x="156" y="407"/>
                  </a:lnTo>
                  <a:lnTo>
                    <a:pt x="156" y="404"/>
                  </a:lnTo>
                  <a:lnTo>
                    <a:pt x="154" y="404"/>
                  </a:lnTo>
                  <a:lnTo>
                    <a:pt x="154" y="407"/>
                  </a:lnTo>
                  <a:lnTo>
                    <a:pt x="156" y="407"/>
                  </a:lnTo>
                  <a:lnTo>
                    <a:pt x="156" y="409"/>
                  </a:lnTo>
                  <a:lnTo>
                    <a:pt x="154" y="409"/>
                  </a:lnTo>
                  <a:lnTo>
                    <a:pt x="154" y="411"/>
                  </a:lnTo>
                  <a:lnTo>
                    <a:pt x="152" y="409"/>
                  </a:lnTo>
                  <a:lnTo>
                    <a:pt x="152" y="411"/>
                  </a:lnTo>
                  <a:lnTo>
                    <a:pt x="154" y="411"/>
                  </a:lnTo>
                  <a:lnTo>
                    <a:pt x="154" y="414"/>
                  </a:lnTo>
                  <a:lnTo>
                    <a:pt x="152" y="414"/>
                  </a:lnTo>
                  <a:lnTo>
                    <a:pt x="152" y="416"/>
                  </a:lnTo>
                  <a:lnTo>
                    <a:pt x="154" y="416"/>
                  </a:lnTo>
                  <a:lnTo>
                    <a:pt x="154" y="418"/>
                  </a:lnTo>
                  <a:lnTo>
                    <a:pt x="154" y="416"/>
                  </a:lnTo>
                  <a:lnTo>
                    <a:pt x="154" y="418"/>
                  </a:lnTo>
                  <a:lnTo>
                    <a:pt x="154" y="416"/>
                  </a:lnTo>
                  <a:lnTo>
                    <a:pt x="154" y="418"/>
                  </a:lnTo>
                  <a:lnTo>
                    <a:pt x="152" y="418"/>
                  </a:lnTo>
                  <a:lnTo>
                    <a:pt x="154" y="418"/>
                  </a:lnTo>
                  <a:lnTo>
                    <a:pt x="154" y="421"/>
                  </a:lnTo>
                  <a:lnTo>
                    <a:pt x="152" y="421"/>
                  </a:lnTo>
                  <a:lnTo>
                    <a:pt x="152" y="418"/>
                  </a:lnTo>
                  <a:lnTo>
                    <a:pt x="149" y="418"/>
                  </a:lnTo>
                  <a:lnTo>
                    <a:pt x="152" y="418"/>
                  </a:lnTo>
                  <a:lnTo>
                    <a:pt x="149" y="418"/>
                  </a:lnTo>
                  <a:lnTo>
                    <a:pt x="149" y="416"/>
                  </a:lnTo>
                  <a:lnTo>
                    <a:pt x="149" y="418"/>
                  </a:lnTo>
                  <a:lnTo>
                    <a:pt x="152" y="418"/>
                  </a:lnTo>
                  <a:lnTo>
                    <a:pt x="149" y="418"/>
                  </a:lnTo>
                  <a:lnTo>
                    <a:pt x="152" y="418"/>
                  </a:lnTo>
                  <a:lnTo>
                    <a:pt x="152" y="421"/>
                  </a:lnTo>
                  <a:lnTo>
                    <a:pt x="149" y="421"/>
                  </a:lnTo>
                  <a:lnTo>
                    <a:pt x="149" y="423"/>
                  </a:lnTo>
                  <a:lnTo>
                    <a:pt x="149" y="426"/>
                  </a:lnTo>
                  <a:lnTo>
                    <a:pt x="147" y="426"/>
                  </a:lnTo>
                  <a:lnTo>
                    <a:pt x="147" y="428"/>
                  </a:lnTo>
                  <a:lnTo>
                    <a:pt x="147" y="426"/>
                  </a:lnTo>
                  <a:lnTo>
                    <a:pt x="144" y="426"/>
                  </a:lnTo>
                  <a:lnTo>
                    <a:pt x="147" y="426"/>
                  </a:lnTo>
                  <a:lnTo>
                    <a:pt x="144" y="426"/>
                  </a:lnTo>
                  <a:lnTo>
                    <a:pt x="144" y="423"/>
                  </a:lnTo>
                  <a:lnTo>
                    <a:pt x="147" y="423"/>
                  </a:lnTo>
                  <a:lnTo>
                    <a:pt x="144" y="423"/>
                  </a:lnTo>
                  <a:lnTo>
                    <a:pt x="144" y="426"/>
                  </a:lnTo>
                  <a:lnTo>
                    <a:pt x="142" y="426"/>
                  </a:lnTo>
                  <a:lnTo>
                    <a:pt x="142" y="423"/>
                  </a:lnTo>
                  <a:lnTo>
                    <a:pt x="140" y="423"/>
                  </a:lnTo>
                  <a:lnTo>
                    <a:pt x="142" y="423"/>
                  </a:lnTo>
                  <a:lnTo>
                    <a:pt x="142" y="421"/>
                  </a:lnTo>
                  <a:lnTo>
                    <a:pt x="142" y="423"/>
                  </a:lnTo>
                  <a:lnTo>
                    <a:pt x="140" y="423"/>
                  </a:lnTo>
                  <a:lnTo>
                    <a:pt x="140" y="421"/>
                  </a:lnTo>
                  <a:lnTo>
                    <a:pt x="137" y="421"/>
                  </a:lnTo>
                  <a:lnTo>
                    <a:pt x="137" y="423"/>
                  </a:lnTo>
                  <a:lnTo>
                    <a:pt x="135" y="423"/>
                  </a:lnTo>
                  <a:lnTo>
                    <a:pt x="135" y="421"/>
                  </a:lnTo>
                  <a:lnTo>
                    <a:pt x="137" y="421"/>
                  </a:lnTo>
                  <a:lnTo>
                    <a:pt x="135" y="421"/>
                  </a:lnTo>
                  <a:lnTo>
                    <a:pt x="133" y="421"/>
                  </a:lnTo>
                  <a:lnTo>
                    <a:pt x="133" y="418"/>
                  </a:lnTo>
                  <a:lnTo>
                    <a:pt x="135" y="418"/>
                  </a:lnTo>
                  <a:lnTo>
                    <a:pt x="133" y="418"/>
                  </a:lnTo>
                  <a:lnTo>
                    <a:pt x="130" y="418"/>
                  </a:lnTo>
                  <a:lnTo>
                    <a:pt x="133" y="418"/>
                  </a:lnTo>
                  <a:lnTo>
                    <a:pt x="130" y="418"/>
                  </a:lnTo>
                  <a:lnTo>
                    <a:pt x="130" y="416"/>
                  </a:lnTo>
                  <a:lnTo>
                    <a:pt x="133" y="416"/>
                  </a:lnTo>
                  <a:lnTo>
                    <a:pt x="133" y="414"/>
                  </a:lnTo>
                  <a:lnTo>
                    <a:pt x="130" y="414"/>
                  </a:lnTo>
                  <a:lnTo>
                    <a:pt x="130" y="416"/>
                  </a:lnTo>
                  <a:lnTo>
                    <a:pt x="130" y="414"/>
                  </a:lnTo>
                  <a:lnTo>
                    <a:pt x="128" y="414"/>
                  </a:lnTo>
                  <a:lnTo>
                    <a:pt x="130" y="414"/>
                  </a:lnTo>
                  <a:lnTo>
                    <a:pt x="130" y="416"/>
                  </a:lnTo>
                  <a:lnTo>
                    <a:pt x="130" y="418"/>
                  </a:lnTo>
                  <a:lnTo>
                    <a:pt x="128" y="418"/>
                  </a:lnTo>
                  <a:lnTo>
                    <a:pt x="130" y="418"/>
                  </a:lnTo>
                  <a:lnTo>
                    <a:pt x="130" y="421"/>
                  </a:lnTo>
                  <a:lnTo>
                    <a:pt x="130" y="418"/>
                  </a:lnTo>
                  <a:lnTo>
                    <a:pt x="130" y="421"/>
                  </a:lnTo>
                  <a:lnTo>
                    <a:pt x="128" y="421"/>
                  </a:lnTo>
                  <a:lnTo>
                    <a:pt x="128" y="418"/>
                  </a:lnTo>
                  <a:lnTo>
                    <a:pt x="125" y="418"/>
                  </a:lnTo>
                  <a:lnTo>
                    <a:pt x="123" y="418"/>
                  </a:lnTo>
                  <a:lnTo>
                    <a:pt x="123" y="421"/>
                  </a:lnTo>
                  <a:lnTo>
                    <a:pt x="121" y="421"/>
                  </a:lnTo>
                  <a:lnTo>
                    <a:pt x="118" y="421"/>
                  </a:lnTo>
                  <a:lnTo>
                    <a:pt x="116" y="421"/>
                  </a:lnTo>
                  <a:lnTo>
                    <a:pt x="116" y="418"/>
                  </a:lnTo>
                  <a:lnTo>
                    <a:pt x="116" y="421"/>
                  </a:lnTo>
                  <a:lnTo>
                    <a:pt x="114" y="421"/>
                  </a:lnTo>
                  <a:lnTo>
                    <a:pt x="111" y="421"/>
                  </a:lnTo>
                  <a:lnTo>
                    <a:pt x="111" y="423"/>
                  </a:lnTo>
                  <a:lnTo>
                    <a:pt x="111" y="426"/>
                  </a:lnTo>
                  <a:lnTo>
                    <a:pt x="109" y="426"/>
                  </a:lnTo>
                  <a:lnTo>
                    <a:pt x="106" y="426"/>
                  </a:lnTo>
                  <a:lnTo>
                    <a:pt x="106" y="428"/>
                  </a:lnTo>
                  <a:lnTo>
                    <a:pt x="106" y="426"/>
                  </a:lnTo>
                  <a:lnTo>
                    <a:pt x="106" y="428"/>
                  </a:lnTo>
                  <a:lnTo>
                    <a:pt x="106" y="426"/>
                  </a:lnTo>
                  <a:lnTo>
                    <a:pt x="106" y="428"/>
                  </a:lnTo>
                  <a:lnTo>
                    <a:pt x="104" y="428"/>
                  </a:lnTo>
                  <a:lnTo>
                    <a:pt x="104" y="430"/>
                  </a:lnTo>
                  <a:lnTo>
                    <a:pt x="104" y="428"/>
                  </a:lnTo>
                  <a:lnTo>
                    <a:pt x="104" y="430"/>
                  </a:lnTo>
                  <a:lnTo>
                    <a:pt x="104" y="428"/>
                  </a:lnTo>
                  <a:lnTo>
                    <a:pt x="102" y="428"/>
                  </a:lnTo>
                  <a:lnTo>
                    <a:pt x="104" y="426"/>
                  </a:lnTo>
                  <a:lnTo>
                    <a:pt x="104" y="423"/>
                  </a:lnTo>
                  <a:lnTo>
                    <a:pt x="104" y="426"/>
                  </a:lnTo>
                  <a:lnTo>
                    <a:pt x="102" y="426"/>
                  </a:lnTo>
                  <a:lnTo>
                    <a:pt x="104" y="426"/>
                  </a:lnTo>
                  <a:lnTo>
                    <a:pt x="102" y="426"/>
                  </a:lnTo>
                  <a:lnTo>
                    <a:pt x="102" y="428"/>
                  </a:lnTo>
                  <a:lnTo>
                    <a:pt x="102" y="426"/>
                  </a:lnTo>
                  <a:lnTo>
                    <a:pt x="102" y="428"/>
                  </a:lnTo>
                  <a:lnTo>
                    <a:pt x="102" y="430"/>
                  </a:lnTo>
                  <a:lnTo>
                    <a:pt x="102" y="428"/>
                  </a:lnTo>
                  <a:lnTo>
                    <a:pt x="102" y="430"/>
                  </a:lnTo>
                  <a:lnTo>
                    <a:pt x="102" y="433"/>
                  </a:lnTo>
                  <a:lnTo>
                    <a:pt x="99" y="433"/>
                  </a:lnTo>
                  <a:lnTo>
                    <a:pt x="99" y="430"/>
                  </a:lnTo>
                  <a:lnTo>
                    <a:pt x="99" y="433"/>
                  </a:lnTo>
                  <a:lnTo>
                    <a:pt x="97" y="433"/>
                  </a:lnTo>
                  <a:lnTo>
                    <a:pt x="99" y="433"/>
                  </a:lnTo>
                  <a:lnTo>
                    <a:pt x="102" y="433"/>
                  </a:lnTo>
                  <a:lnTo>
                    <a:pt x="99" y="433"/>
                  </a:lnTo>
                  <a:lnTo>
                    <a:pt x="102" y="433"/>
                  </a:lnTo>
                  <a:lnTo>
                    <a:pt x="102" y="435"/>
                  </a:lnTo>
                  <a:lnTo>
                    <a:pt x="102" y="437"/>
                  </a:lnTo>
                  <a:lnTo>
                    <a:pt x="99" y="437"/>
                  </a:lnTo>
                  <a:lnTo>
                    <a:pt x="97" y="437"/>
                  </a:lnTo>
                  <a:lnTo>
                    <a:pt x="97" y="440"/>
                  </a:lnTo>
                  <a:lnTo>
                    <a:pt x="97" y="437"/>
                  </a:lnTo>
                  <a:lnTo>
                    <a:pt x="95" y="437"/>
                  </a:lnTo>
                  <a:lnTo>
                    <a:pt x="95" y="435"/>
                  </a:lnTo>
                  <a:lnTo>
                    <a:pt x="95" y="433"/>
                  </a:lnTo>
                  <a:lnTo>
                    <a:pt x="92" y="433"/>
                  </a:lnTo>
                  <a:lnTo>
                    <a:pt x="90" y="433"/>
                  </a:lnTo>
                  <a:lnTo>
                    <a:pt x="90" y="430"/>
                  </a:lnTo>
                  <a:lnTo>
                    <a:pt x="88" y="430"/>
                  </a:lnTo>
                  <a:lnTo>
                    <a:pt x="85" y="430"/>
                  </a:lnTo>
                  <a:lnTo>
                    <a:pt x="85" y="433"/>
                  </a:lnTo>
                  <a:lnTo>
                    <a:pt x="88" y="433"/>
                  </a:lnTo>
                  <a:lnTo>
                    <a:pt x="85" y="433"/>
                  </a:lnTo>
                  <a:lnTo>
                    <a:pt x="85" y="435"/>
                  </a:lnTo>
                  <a:lnTo>
                    <a:pt x="83" y="435"/>
                  </a:lnTo>
                  <a:lnTo>
                    <a:pt x="80" y="435"/>
                  </a:lnTo>
                  <a:lnTo>
                    <a:pt x="80" y="433"/>
                  </a:lnTo>
                  <a:lnTo>
                    <a:pt x="80" y="430"/>
                  </a:lnTo>
                  <a:lnTo>
                    <a:pt x="80" y="428"/>
                  </a:lnTo>
                  <a:lnTo>
                    <a:pt x="83" y="428"/>
                  </a:lnTo>
                  <a:lnTo>
                    <a:pt x="85" y="428"/>
                  </a:lnTo>
                  <a:lnTo>
                    <a:pt x="85" y="426"/>
                  </a:lnTo>
                  <a:lnTo>
                    <a:pt x="88" y="426"/>
                  </a:lnTo>
                  <a:lnTo>
                    <a:pt x="88" y="428"/>
                  </a:lnTo>
                  <a:lnTo>
                    <a:pt x="90" y="428"/>
                  </a:lnTo>
                  <a:lnTo>
                    <a:pt x="90" y="426"/>
                  </a:lnTo>
                  <a:lnTo>
                    <a:pt x="92" y="426"/>
                  </a:lnTo>
                  <a:lnTo>
                    <a:pt x="95" y="426"/>
                  </a:lnTo>
                  <a:lnTo>
                    <a:pt x="95" y="423"/>
                  </a:lnTo>
                  <a:lnTo>
                    <a:pt x="97" y="423"/>
                  </a:lnTo>
                  <a:lnTo>
                    <a:pt x="97" y="421"/>
                  </a:lnTo>
                  <a:lnTo>
                    <a:pt x="99" y="421"/>
                  </a:lnTo>
                  <a:lnTo>
                    <a:pt x="99" y="418"/>
                  </a:lnTo>
                  <a:lnTo>
                    <a:pt x="99" y="416"/>
                  </a:lnTo>
                  <a:lnTo>
                    <a:pt x="102" y="416"/>
                  </a:lnTo>
                  <a:lnTo>
                    <a:pt x="102" y="414"/>
                  </a:lnTo>
                  <a:lnTo>
                    <a:pt x="102" y="411"/>
                  </a:lnTo>
                  <a:lnTo>
                    <a:pt x="104" y="411"/>
                  </a:lnTo>
                  <a:lnTo>
                    <a:pt x="102" y="411"/>
                  </a:lnTo>
                  <a:lnTo>
                    <a:pt x="104" y="411"/>
                  </a:lnTo>
                  <a:lnTo>
                    <a:pt x="102" y="411"/>
                  </a:lnTo>
                  <a:lnTo>
                    <a:pt x="104" y="411"/>
                  </a:lnTo>
                  <a:lnTo>
                    <a:pt x="102" y="411"/>
                  </a:lnTo>
                  <a:lnTo>
                    <a:pt x="102" y="409"/>
                  </a:lnTo>
                  <a:lnTo>
                    <a:pt x="104" y="409"/>
                  </a:lnTo>
                  <a:lnTo>
                    <a:pt x="104" y="411"/>
                  </a:lnTo>
                  <a:lnTo>
                    <a:pt x="104" y="409"/>
                  </a:lnTo>
                  <a:lnTo>
                    <a:pt x="106" y="409"/>
                  </a:lnTo>
                  <a:lnTo>
                    <a:pt x="106" y="411"/>
                  </a:lnTo>
                  <a:lnTo>
                    <a:pt x="109" y="411"/>
                  </a:lnTo>
                  <a:lnTo>
                    <a:pt x="106" y="411"/>
                  </a:lnTo>
                  <a:lnTo>
                    <a:pt x="106" y="409"/>
                  </a:lnTo>
                  <a:lnTo>
                    <a:pt x="109" y="409"/>
                  </a:lnTo>
                  <a:lnTo>
                    <a:pt x="109" y="407"/>
                  </a:lnTo>
                  <a:lnTo>
                    <a:pt x="109" y="409"/>
                  </a:lnTo>
                  <a:lnTo>
                    <a:pt x="109" y="407"/>
                  </a:lnTo>
                  <a:lnTo>
                    <a:pt x="109" y="409"/>
                  </a:lnTo>
                  <a:lnTo>
                    <a:pt x="109" y="407"/>
                  </a:lnTo>
                  <a:lnTo>
                    <a:pt x="109" y="409"/>
                  </a:lnTo>
                  <a:lnTo>
                    <a:pt x="109" y="407"/>
                  </a:lnTo>
                  <a:lnTo>
                    <a:pt x="111" y="407"/>
                  </a:lnTo>
                  <a:lnTo>
                    <a:pt x="111" y="404"/>
                  </a:lnTo>
                  <a:lnTo>
                    <a:pt x="114" y="404"/>
                  </a:lnTo>
                  <a:lnTo>
                    <a:pt x="114" y="402"/>
                  </a:lnTo>
                  <a:lnTo>
                    <a:pt x="116" y="402"/>
                  </a:lnTo>
                  <a:lnTo>
                    <a:pt x="116" y="399"/>
                  </a:lnTo>
                  <a:lnTo>
                    <a:pt x="118" y="399"/>
                  </a:lnTo>
                  <a:lnTo>
                    <a:pt x="118" y="397"/>
                  </a:lnTo>
                  <a:lnTo>
                    <a:pt x="118" y="395"/>
                  </a:lnTo>
                  <a:lnTo>
                    <a:pt x="118" y="392"/>
                  </a:lnTo>
                  <a:lnTo>
                    <a:pt x="118" y="390"/>
                  </a:lnTo>
                  <a:lnTo>
                    <a:pt x="118" y="388"/>
                  </a:lnTo>
                  <a:lnTo>
                    <a:pt x="121" y="388"/>
                  </a:lnTo>
                  <a:lnTo>
                    <a:pt x="118" y="388"/>
                  </a:lnTo>
                  <a:lnTo>
                    <a:pt x="121" y="388"/>
                  </a:lnTo>
                  <a:lnTo>
                    <a:pt x="123" y="388"/>
                  </a:lnTo>
                  <a:lnTo>
                    <a:pt x="125" y="388"/>
                  </a:lnTo>
                  <a:lnTo>
                    <a:pt x="128" y="388"/>
                  </a:lnTo>
                  <a:lnTo>
                    <a:pt x="128" y="385"/>
                  </a:lnTo>
                  <a:lnTo>
                    <a:pt x="130" y="385"/>
                  </a:lnTo>
                  <a:lnTo>
                    <a:pt x="130" y="388"/>
                  </a:lnTo>
                  <a:lnTo>
                    <a:pt x="130" y="385"/>
                  </a:lnTo>
                  <a:lnTo>
                    <a:pt x="133" y="385"/>
                  </a:lnTo>
                  <a:lnTo>
                    <a:pt x="133" y="383"/>
                  </a:lnTo>
                  <a:lnTo>
                    <a:pt x="135" y="385"/>
                  </a:lnTo>
                  <a:lnTo>
                    <a:pt x="135" y="383"/>
                  </a:lnTo>
                  <a:lnTo>
                    <a:pt x="133" y="383"/>
                  </a:lnTo>
                  <a:lnTo>
                    <a:pt x="130" y="385"/>
                  </a:lnTo>
                  <a:lnTo>
                    <a:pt x="130" y="383"/>
                  </a:lnTo>
                  <a:lnTo>
                    <a:pt x="128" y="383"/>
                  </a:lnTo>
                  <a:lnTo>
                    <a:pt x="130" y="380"/>
                  </a:lnTo>
                  <a:lnTo>
                    <a:pt x="128" y="380"/>
                  </a:lnTo>
                  <a:lnTo>
                    <a:pt x="130" y="380"/>
                  </a:lnTo>
                  <a:lnTo>
                    <a:pt x="130" y="378"/>
                  </a:lnTo>
                  <a:lnTo>
                    <a:pt x="133" y="378"/>
                  </a:lnTo>
                  <a:lnTo>
                    <a:pt x="135" y="378"/>
                  </a:lnTo>
                  <a:lnTo>
                    <a:pt x="137" y="378"/>
                  </a:lnTo>
                  <a:lnTo>
                    <a:pt x="140" y="378"/>
                  </a:lnTo>
                  <a:lnTo>
                    <a:pt x="140" y="376"/>
                  </a:lnTo>
                  <a:lnTo>
                    <a:pt x="140" y="378"/>
                  </a:lnTo>
                  <a:lnTo>
                    <a:pt x="140" y="376"/>
                  </a:lnTo>
                  <a:lnTo>
                    <a:pt x="142" y="376"/>
                  </a:lnTo>
                  <a:lnTo>
                    <a:pt x="144" y="376"/>
                  </a:lnTo>
                  <a:lnTo>
                    <a:pt x="147" y="376"/>
                  </a:lnTo>
                  <a:lnTo>
                    <a:pt x="149" y="378"/>
                  </a:lnTo>
                  <a:lnTo>
                    <a:pt x="152" y="378"/>
                  </a:lnTo>
                  <a:lnTo>
                    <a:pt x="152" y="376"/>
                  </a:lnTo>
                  <a:lnTo>
                    <a:pt x="154" y="378"/>
                  </a:lnTo>
                  <a:lnTo>
                    <a:pt x="156" y="378"/>
                  </a:lnTo>
                  <a:lnTo>
                    <a:pt x="159" y="378"/>
                  </a:lnTo>
                  <a:lnTo>
                    <a:pt x="161" y="378"/>
                  </a:lnTo>
                  <a:lnTo>
                    <a:pt x="163" y="378"/>
                  </a:lnTo>
                  <a:lnTo>
                    <a:pt x="166" y="378"/>
                  </a:lnTo>
                  <a:lnTo>
                    <a:pt x="168" y="378"/>
                  </a:lnTo>
                  <a:lnTo>
                    <a:pt x="168" y="380"/>
                  </a:lnTo>
                  <a:lnTo>
                    <a:pt x="168" y="378"/>
                  </a:lnTo>
                  <a:lnTo>
                    <a:pt x="171" y="378"/>
                  </a:lnTo>
                  <a:lnTo>
                    <a:pt x="171" y="376"/>
                  </a:lnTo>
                  <a:lnTo>
                    <a:pt x="168" y="376"/>
                  </a:lnTo>
                  <a:lnTo>
                    <a:pt x="168" y="373"/>
                  </a:lnTo>
                  <a:lnTo>
                    <a:pt x="171" y="373"/>
                  </a:lnTo>
                  <a:lnTo>
                    <a:pt x="168" y="373"/>
                  </a:lnTo>
                  <a:lnTo>
                    <a:pt x="168" y="371"/>
                  </a:lnTo>
                  <a:lnTo>
                    <a:pt x="171" y="371"/>
                  </a:lnTo>
                  <a:lnTo>
                    <a:pt x="171" y="373"/>
                  </a:lnTo>
                  <a:lnTo>
                    <a:pt x="171" y="371"/>
                  </a:lnTo>
                  <a:lnTo>
                    <a:pt x="171" y="369"/>
                  </a:lnTo>
                  <a:lnTo>
                    <a:pt x="173" y="369"/>
                  </a:lnTo>
                  <a:lnTo>
                    <a:pt x="173" y="366"/>
                  </a:lnTo>
                  <a:lnTo>
                    <a:pt x="175" y="366"/>
                  </a:lnTo>
                  <a:lnTo>
                    <a:pt x="175" y="364"/>
                  </a:lnTo>
                  <a:lnTo>
                    <a:pt x="178" y="364"/>
                  </a:lnTo>
                  <a:lnTo>
                    <a:pt x="180" y="364"/>
                  </a:lnTo>
                  <a:lnTo>
                    <a:pt x="180" y="361"/>
                  </a:lnTo>
                  <a:lnTo>
                    <a:pt x="180" y="359"/>
                  </a:lnTo>
                  <a:lnTo>
                    <a:pt x="182" y="359"/>
                  </a:lnTo>
                  <a:lnTo>
                    <a:pt x="182" y="357"/>
                  </a:lnTo>
                  <a:lnTo>
                    <a:pt x="185" y="357"/>
                  </a:lnTo>
                  <a:lnTo>
                    <a:pt x="185" y="354"/>
                  </a:lnTo>
                  <a:lnTo>
                    <a:pt x="187" y="354"/>
                  </a:lnTo>
                  <a:lnTo>
                    <a:pt x="187" y="352"/>
                  </a:lnTo>
                  <a:lnTo>
                    <a:pt x="190" y="352"/>
                  </a:lnTo>
                  <a:lnTo>
                    <a:pt x="190" y="350"/>
                  </a:lnTo>
                  <a:lnTo>
                    <a:pt x="187" y="350"/>
                  </a:lnTo>
                  <a:lnTo>
                    <a:pt x="190" y="350"/>
                  </a:lnTo>
                  <a:lnTo>
                    <a:pt x="190" y="347"/>
                  </a:lnTo>
                  <a:lnTo>
                    <a:pt x="190" y="350"/>
                  </a:lnTo>
                  <a:lnTo>
                    <a:pt x="192" y="350"/>
                  </a:lnTo>
                  <a:lnTo>
                    <a:pt x="192" y="347"/>
                  </a:lnTo>
                  <a:lnTo>
                    <a:pt x="192" y="350"/>
                  </a:lnTo>
                  <a:lnTo>
                    <a:pt x="190" y="350"/>
                  </a:lnTo>
                  <a:lnTo>
                    <a:pt x="190" y="347"/>
                  </a:lnTo>
                  <a:lnTo>
                    <a:pt x="187" y="347"/>
                  </a:lnTo>
                  <a:lnTo>
                    <a:pt x="187" y="350"/>
                  </a:lnTo>
                  <a:lnTo>
                    <a:pt x="190" y="350"/>
                  </a:lnTo>
                  <a:lnTo>
                    <a:pt x="187" y="352"/>
                  </a:lnTo>
                  <a:lnTo>
                    <a:pt x="187" y="354"/>
                  </a:lnTo>
                  <a:lnTo>
                    <a:pt x="185" y="354"/>
                  </a:lnTo>
                  <a:lnTo>
                    <a:pt x="182" y="354"/>
                  </a:lnTo>
                  <a:lnTo>
                    <a:pt x="182" y="357"/>
                  </a:lnTo>
                  <a:lnTo>
                    <a:pt x="182" y="359"/>
                  </a:lnTo>
                  <a:lnTo>
                    <a:pt x="180" y="359"/>
                  </a:lnTo>
                  <a:lnTo>
                    <a:pt x="180" y="357"/>
                  </a:lnTo>
                  <a:lnTo>
                    <a:pt x="180" y="359"/>
                  </a:lnTo>
                  <a:lnTo>
                    <a:pt x="178" y="359"/>
                  </a:lnTo>
                  <a:lnTo>
                    <a:pt x="178" y="361"/>
                  </a:lnTo>
                  <a:lnTo>
                    <a:pt x="175" y="361"/>
                  </a:lnTo>
                  <a:lnTo>
                    <a:pt x="173" y="361"/>
                  </a:lnTo>
                  <a:lnTo>
                    <a:pt x="171" y="361"/>
                  </a:lnTo>
                  <a:lnTo>
                    <a:pt x="168" y="361"/>
                  </a:lnTo>
                  <a:lnTo>
                    <a:pt x="168" y="364"/>
                  </a:lnTo>
                  <a:lnTo>
                    <a:pt x="166" y="364"/>
                  </a:lnTo>
                  <a:lnTo>
                    <a:pt x="166" y="366"/>
                  </a:lnTo>
                  <a:lnTo>
                    <a:pt x="163" y="366"/>
                  </a:lnTo>
                  <a:lnTo>
                    <a:pt x="163" y="369"/>
                  </a:lnTo>
                  <a:lnTo>
                    <a:pt x="161" y="369"/>
                  </a:lnTo>
                  <a:lnTo>
                    <a:pt x="159" y="369"/>
                  </a:lnTo>
                  <a:lnTo>
                    <a:pt x="156" y="369"/>
                  </a:lnTo>
                  <a:lnTo>
                    <a:pt x="154" y="369"/>
                  </a:lnTo>
                  <a:lnTo>
                    <a:pt x="152" y="369"/>
                  </a:lnTo>
                  <a:lnTo>
                    <a:pt x="152" y="366"/>
                  </a:lnTo>
                  <a:lnTo>
                    <a:pt x="149" y="366"/>
                  </a:lnTo>
                  <a:lnTo>
                    <a:pt x="149" y="364"/>
                  </a:lnTo>
                  <a:lnTo>
                    <a:pt x="147" y="364"/>
                  </a:lnTo>
                  <a:lnTo>
                    <a:pt x="144" y="364"/>
                  </a:lnTo>
                  <a:lnTo>
                    <a:pt x="144" y="361"/>
                  </a:lnTo>
                  <a:lnTo>
                    <a:pt x="144" y="359"/>
                  </a:lnTo>
                  <a:lnTo>
                    <a:pt x="142" y="359"/>
                  </a:lnTo>
                  <a:lnTo>
                    <a:pt x="144" y="359"/>
                  </a:lnTo>
                  <a:lnTo>
                    <a:pt x="142" y="359"/>
                  </a:lnTo>
                  <a:lnTo>
                    <a:pt x="144" y="359"/>
                  </a:lnTo>
                  <a:lnTo>
                    <a:pt x="142" y="359"/>
                  </a:lnTo>
                  <a:lnTo>
                    <a:pt x="142" y="357"/>
                  </a:lnTo>
                  <a:lnTo>
                    <a:pt x="140" y="357"/>
                  </a:lnTo>
                  <a:lnTo>
                    <a:pt x="140" y="359"/>
                  </a:lnTo>
                  <a:lnTo>
                    <a:pt x="137" y="359"/>
                  </a:lnTo>
                  <a:lnTo>
                    <a:pt x="137" y="361"/>
                  </a:lnTo>
                  <a:lnTo>
                    <a:pt x="137" y="359"/>
                  </a:lnTo>
                  <a:lnTo>
                    <a:pt x="137" y="361"/>
                  </a:lnTo>
                  <a:lnTo>
                    <a:pt x="135" y="361"/>
                  </a:lnTo>
                  <a:lnTo>
                    <a:pt x="135" y="359"/>
                  </a:lnTo>
                  <a:lnTo>
                    <a:pt x="135" y="361"/>
                  </a:lnTo>
                  <a:lnTo>
                    <a:pt x="135" y="359"/>
                  </a:lnTo>
                  <a:lnTo>
                    <a:pt x="135" y="361"/>
                  </a:lnTo>
                  <a:lnTo>
                    <a:pt x="133" y="361"/>
                  </a:lnTo>
                  <a:lnTo>
                    <a:pt x="133" y="359"/>
                  </a:lnTo>
                  <a:lnTo>
                    <a:pt x="133" y="361"/>
                  </a:lnTo>
                  <a:lnTo>
                    <a:pt x="130" y="361"/>
                  </a:lnTo>
                  <a:lnTo>
                    <a:pt x="128" y="361"/>
                  </a:lnTo>
                  <a:lnTo>
                    <a:pt x="128" y="359"/>
                  </a:lnTo>
                  <a:lnTo>
                    <a:pt x="125" y="359"/>
                  </a:lnTo>
                  <a:lnTo>
                    <a:pt x="128" y="359"/>
                  </a:lnTo>
                  <a:lnTo>
                    <a:pt x="128" y="357"/>
                  </a:lnTo>
                  <a:lnTo>
                    <a:pt x="128" y="359"/>
                  </a:lnTo>
                  <a:lnTo>
                    <a:pt x="128" y="357"/>
                  </a:lnTo>
                  <a:lnTo>
                    <a:pt x="130" y="357"/>
                  </a:lnTo>
                  <a:lnTo>
                    <a:pt x="133" y="357"/>
                  </a:lnTo>
                  <a:lnTo>
                    <a:pt x="135" y="357"/>
                  </a:lnTo>
                  <a:lnTo>
                    <a:pt x="135" y="354"/>
                  </a:lnTo>
                  <a:lnTo>
                    <a:pt x="133" y="357"/>
                  </a:lnTo>
                  <a:lnTo>
                    <a:pt x="130" y="354"/>
                  </a:lnTo>
                  <a:lnTo>
                    <a:pt x="128" y="354"/>
                  </a:lnTo>
                  <a:lnTo>
                    <a:pt x="125" y="354"/>
                  </a:lnTo>
                  <a:lnTo>
                    <a:pt x="125" y="352"/>
                  </a:lnTo>
                  <a:lnTo>
                    <a:pt x="125" y="350"/>
                  </a:lnTo>
                  <a:lnTo>
                    <a:pt x="125" y="347"/>
                  </a:lnTo>
                  <a:lnTo>
                    <a:pt x="125" y="350"/>
                  </a:lnTo>
                  <a:lnTo>
                    <a:pt x="123" y="350"/>
                  </a:lnTo>
                  <a:lnTo>
                    <a:pt x="123" y="352"/>
                  </a:lnTo>
                  <a:lnTo>
                    <a:pt x="123" y="350"/>
                  </a:lnTo>
                  <a:lnTo>
                    <a:pt x="121" y="350"/>
                  </a:lnTo>
                  <a:lnTo>
                    <a:pt x="123" y="350"/>
                  </a:lnTo>
                  <a:lnTo>
                    <a:pt x="121" y="350"/>
                  </a:lnTo>
                  <a:lnTo>
                    <a:pt x="123" y="352"/>
                  </a:lnTo>
                  <a:lnTo>
                    <a:pt x="121" y="352"/>
                  </a:lnTo>
                  <a:lnTo>
                    <a:pt x="118" y="352"/>
                  </a:lnTo>
                  <a:lnTo>
                    <a:pt x="116" y="352"/>
                  </a:lnTo>
                  <a:lnTo>
                    <a:pt x="114" y="352"/>
                  </a:lnTo>
                  <a:lnTo>
                    <a:pt x="114" y="354"/>
                  </a:lnTo>
                  <a:lnTo>
                    <a:pt x="114" y="357"/>
                  </a:lnTo>
                  <a:lnTo>
                    <a:pt x="111" y="357"/>
                  </a:lnTo>
                  <a:lnTo>
                    <a:pt x="109" y="357"/>
                  </a:lnTo>
                  <a:lnTo>
                    <a:pt x="106" y="357"/>
                  </a:lnTo>
                  <a:lnTo>
                    <a:pt x="106" y="359"/>
                  </a:lnTo>
                  <a:lnTo>
                    <a:pt x="104" y="359"/>
                  </a:lnTo>
                  <a:lnTo>
                    <a:pt x="104" y="357"/>
                  </a:lnTo>
                  <a:lnTo>
                    <a:pt x="102" y="357"/>
                  </a:lnTo>
                  <a:lnTo>
                    <a:pt x="102" y="354"/>
                  </a:lnTo>
                  <a:lnTo>
                    <a:pt x="99" y="354"/>
                  </a:lnTo>
                  <a:lnTo>
                    <a:pt x="102" y="354"/>
                  </a:lnTo>
                  <a:lnTo>
                    <a:pt x="104" y="354"/>
                  </a:lnTo>
                  <a:lnTo>
                    <a:pt x="106" y="354"/>
                  </a:lnTo>
                  <a:lnTo>
                    <a:pt x="104" y="354"/>
                  </a:lnTo>
                  <a:lnTo>
                    <a:pt x="106" y="354"/>
                  </a:lnTo>
                  <a:lnTo>
                    <a:pt x="106" y="352"/>
                  </a:lnTo>
                  <a:lnTo>
                    <a:pt x="109" y="352"/>
                  </a:lnTo>
                  <a:lnTo>
                    <a:pt x="109" y="354"/>
                  </a:lnTo>
                  <a:lnTo>
                    <a:pt x="109" y="352"/>
                  </a:lnTo>
                  <a:lnTo>
                    <a:pt x="106" y="352"/>
                  </a:lnTo>
                  <a:lnTo>
                    <a:pt x="106" y="350"/>
                  </a:lnTo>
                  <a:lnTo>
                    <a:pt x="109" y="350"/>
                  </a:lnTo>
                  <a:lnTo>
                    <a:pt x="106" y="350"/>
                  </a:lnTo>
                  <a:lnTo>
                    <a:pt x="106" y="352"/>
                  </a:lnTo>
                  <a:lnTo>
                    <a:pt x="106" y="354"/>
                  </a:lnTo>
                  <a:lnTo>
                    <a:pt x="106" y="352"/>
                  </a:lnTo>
                  <a:lnTo>
                    <a:pt x="106" y="354"/>
                  </a:lnTo>
                  <a:lnTo>
                    <a:pt x="104" y="354"/>
                  </a:lnTo>
                  <a:lnTo>
                    <a:pt x="104" y="352"/>
                  </a:lnTo>
                  <a:lnTo>
                    <a:pt x="104" y="354"/>
                  </a:lnTo>
                  <a:lnTo>
                    <a:pt x="102" y="352"/>
                  </a:lnTo>
                  <a:lnTo>
                    <a:pt x="102" y="354"/>
                  </a:lnTo>
                  <a:lnTo>
                    <a:pt x="102" y="352"/>
                  </a:lnTo>
                  <a:lnTo>
                    <a:pt x="99" y="352"/>
                  </a:lnTo>
                  <a:lnTo>
                    <a:pt x="99" y="354"/>
                  </a:lnTo>
                  <a:lnTo>
                    <a:pt x="99" y="352"/>
                  </a:lnTo>
                  <a:lnTo>
                    <a:pt x="99" y="354"/>
                  </a:lnTo>
                  <a:lnTo>
                    <a:pt x="97" y="354"/>
                  </a:lnTo>
                  <a:lnTo>
                    <a:pt x="97" y="352"/>
                  </a:lnTo>
                  <a:lnTo>
                    <a:pt x="95" y="352"/>
                  </a:lnTo>
                  <a:lnTo>
                    <a:pt x="97" y="352"/>
                  </a:lnTo>
                  <a:lnTo>
                    <a:pt x="97" y="350"/>
                  </a:lnTo>
                  <a:lnTo>
                    <a:pt x="99" y="350"/>
                  </a:lnTo>
                  <a:lnTo>
                    <a:pt x="99" y="347"/>
                  </a:lnTo>
                  <a:lnTo>
                    <a:pt x="99" y="345"/>
                  </a:lnTo>
                  <a:lnTo>
                    <a:pt x="97" y="345"/>
                  </a:lnTo>
                  <a:lnTo>
                    <a:pt x="95" y="345"/>
                  </a:lnTo>
                  <a:lnTo>
                    <a:pt x="92" y="345"/>
                  </a:lnTo>
                  <a:lnTo>
                    <a:pt x="95" y="345"/>
                  </a:lnTo>
                  <a:lnTo>
                    <a:pt x="95" y="342"/>
                  </a:lnTo>
                  <a:lnTo>
                    <a:pt x="97" y="342"/>
                  </a:lnTo>
                  <a:lnTo>
                    <a:pt x="99" y="342"/>
                  </a:lnTo>
                  <a:lnTo>
                    <a:pt x="99" y="340"/>
                  </a:lnTo>
                  <a:lnTo>
                    <a:pt x="102" y="340"/>
                  </a:lnTo>
                  <a:lnTo>
                    <a:pt x="102" y="338"/>
                  </a:lnTo>
                  <a:lnTo>
                    <a:pt x="104" y="338"/>
                  </a:lnTo>
                  <a:lnTo>
                    <a:pt x="104" y="340"/>
                  </a:lnTo>
                  <a:lnTo>
                    <a:pt x="104" y="338"/>
                  </a:lnTo>
                  <a:lnTo>
                    <a:pt x="104" y="340"/>
                  </a:lnTo>
                  <a:lnTo>
                    <a:pt x="104" y="338"/>
                  </a:lnTo>
                  <a:lnTo>
                    <a:pt x="106" y="338"/>
                  </a:lnTo>
                  <a:lnTo>
                    <a:pt x="109" y="338"/>
                  </a:lnTo>
                  <a:lnTo>
                    <a:pt x="109" y="335"/>
                  </a:lnTo>
                  <a:lnTo>
                    <a:pt x="111" y="335"/>
                  </a:lnTo>
                  <a:lnTo>
                    <a:pt x="111" y="333"/>
                  </a:lnTo>
                  <a:lnTo>
                    <a:pt x="114" y="333"/>
                  </a:lnTo>
                  <a:lnTo>
                    <a:pt x="114" y="335"/>
                  </a:lnTo>
                  <a:lnTo>
                    <a:pt x="114" y="333"/>
                  </a:lnTo>
                  <a:lnTo>
                    <a:pt x="116" y="333"/>
                  </a:lnTo>
                  <a:lnTo>
                    <a:pt x="118" y="333"/>
                  </a:lnTo>
                  <a:lnTo>
                    <a:pt x="118" y="331"/>
                  </a:lnTo>
                  <a:lnTo>
                    <a:pt x="118" y="333"/>
                  </a:lnTo>
                  <a:lnTo>
                    <a:pt x="121" y="333"/>
                  </a:lnTo>
                  <a:lnTo>
                    <a:pt x="121" y="331"/>
                  </a:lnTo>
                  <a:lnTo>
                    <a:pt x="123" y="331"/>
                  </a:lnTo>
                  <a:lnTo>
                    <a:pt x="123" y="328"/>
                  </a:lnTo>
                  <a:lnTo>
                    <a:pt x="125" y="328"/>
                  </a:lnTo>
                  <a:lnTo>
                    <a:pt x="128" y="328"/>
                  </a:lnTo>
                  <a:lnTo>
                    <a:pt x="128" y="326"/>
                  </a:lnTo>
                  <a:lnTo>
                    <a:pt x="130" y="326"/>
                  </a:lnTo>
                  <a:lnTo>
                    <a:pt x="130" y="323"/>
                  </a:lnTo>
                  <a:lnTo>
                    <a:pt x="133" y="323"/>
                  </a:lnTo>
                  <a:lnTo>
                    <a:pt x="133" y="321"/>
                  </a:lnTo>
                  <a:lnTo>
                    <a:pt x="133" y="319"/>
                  </a:lnTo>
                  <a:lnTo>
                    <a:pt x="135" y="319"/>
                  </a:lnTo>
                  <a:lnTo>
                    <a:pt x="135" y="316"/>
                  </a:lnTo>
                  <a:lnTo>
                    <a:pt x="135" y="314"/>
                  </a:lnTo>
                  <a:lnTo>
                    <a:pt x="135" y="312"/>
                  </a:lnTo>
                  <a:lnTo>
                    <a:pt x="135" y="314"/>
                  </a:lnTo>
                  <a:lnTo>
                    <a:pt x="137" y="314"/>
                  </a:lnTo>
                  <a:lnTo>
                    <a:pt x="137" y="312"/>
                  </a:lnTo>
                  <a:lnTo>
                    <a:pt x="140" y="312"/>
                  </a:lnTo>
                  <a:lnTo>
                    <a:pt x="137" y="312"/>
                  </a:lnTo>
                  <a:lnTo>
                    <a:pt x="135" y="312"/>
                  </a:lnTo>
                  <a:lnTo>
                    <a:pt x="133" y="309"/>
                  </a:lnTo>
                  <a:lnTo>
                    <a:pt x="133" y="307"/>
                  </a:lnTo>
                  <a:lnTo>
                    <a:pt x="135" y="304"/>
                  </a:lnTo>
                  <a:lnTo>
                    <a:pt x="137" y="302"/>
                  </a:lnTo>
                  <a:lnTo>
                    <a:pt x="137" y="304"/>
                  </a:lnTo>
                  <a:lnTo>
                    <a:pt x="137" y="302"/>
                  </a:lnTo>
                  <a:lnTo>
                    <a:pt x="140" y="302"/>
                  </a:lnTo>
                  <a:lnTo>
                    <a:pt x="137" y="302"/>
                  </a:lnTo>
                  <a:lnTo>
                    <a:pt x="135" y="302"/>
                  </a:lnTo>
                  <a:lnTo>
                    <a:pt x="135" y="304"/>
                  </a:lnTo>
                  <a:lnTo>
                    <a:pt x="135" y="302"/>
                  </a:lnTo>
                  <a:lnTo>
                    <a:pt x="133" y="302"/>
                  </a:lnTo>
                  <a:lnTo>
                    <a:pt x="133" y="300"/>
                  </a:lnTo>
                  <a:lnTo>
                    <a:pt x="133" y="297"/>
                  </a:lnTo>
                  <a:lnTo>
                    <a:pt x="133" y="295"/>
                  </a:lnTo>
                  <a:lnTo>
                    <a:pt x="135" y="295"/>
                  </a:lnTo>
                  <a:lnTo>
                    <a:pt x="135" y="293"/>
                  </a:lnTo>
                  <a:lnTo>
                    <a:pt x="137" y="293"/>
                  </a:lnTo>
                  <a:lnTo>
                    <a:pt x="135" y="293"/>
                  </a:lnTo>
                  <a:lnTo>
                    <a:pt x="133" y="295"/>
                  </a:lnTo>
                  <a:lnTo>
                    <a:pt x="133" y="293"/>
                  </a:lnTo>
                  <a:lnTo>
                    <a:pt x="133" y="295"/>
                  </a:lnTo>
                  <a:lnTo>
                    <a:pt x="130" y="295"/>
                  </a:lnTo>
                  <a:lnTo>
                    <a:pt x="130" y="293"/>
                  </a:lnTo>
                  <a:lnTo>
                    <a:pt x="128" y="293"/>
                  </a:lnTo>
                  <a:lnTo>
                    <a:pt x="128" y="295"/>
                  </a:lnTo>
                  <a:lnTo>
                    <a:pt x="128" y="293"/>
                  </a:lnTo>
                  <a:lnTo>
                    <a:pt x="128" y="295"/>
                  </a:lnTo>
                  <a:lnTo>
                    <a:pt x="125" y="295"/>
                  </a:lnTo>
                  <a:lnTo>
                    <a:pt x="123" y="295"/>
                  </a:lnTo>
                  <a:lnTo>
                    <a:pt x="121" y="295"/>
                  </a:lnTo>
                  <a:lnTo>
                    <a:pt x="121" y="297"/>
                  </a:lnTo>
                  <a:lnTo>
                    <a:pt x="121" y="300"/>
                  </a:lnTo>
                  <a:lnTo>
                    <a:pt x="118" y="300"/>
                  </a:lnTo>
                  <a:lnTo>
                    <a:pt x="118" y="297"/>
                  </a:lnTo>
                  <a:lnTo>
                    <a:pt x="116" y="297"/>
                  </a:lnTo>
                  <a:lnTo>
                    <a:pt x="116" y="300"/>
                  </a:lnTo>
                  <a:lnTo>
                    <a:pt x="114" y="300"/>
                  </a:lnTo>
                  <a:lnTo>
                    <a:pt x="111" y="300"/>
                  </a:lnTo>
                  <a:lnTo>
                    <a:pt x="111" y="297"/>
                  </a:lnTo>
                  <a:lnTo>
                    <a:pt x="114" y="297"/>
                  </a:lnTo>
                  <a:lnTo>
                    <a:pt x="114" y="295"/>
                  </a:lnTo>
                  <a:lnTo>
                    <a:pt x="116" y="295"/>
                  </a:lnTo>
                  <a:lnTo>
                    <a:pt x="116" y="293"/>
                  </a:lnTo>
                  <a:lnTo>
                    <a:pt x="118" y="293"/>
                  </a:lnTo>
                  <a:lnTo>
                    <a:pt x="121" y="293"/>
                  </a:lnTo>
                  <a:lnTo>
                    <a:pt x="121" y="290"/>
                  </a:lnTo>
                  <a:lnTo>
                    <a:pt x="123" y="290"/>
                  </a:lnTo>
                  <a:lnTo>
                    <a:pt x="123" y="288"/>
                  </a:lnTo>
                  <a:lnTo>
                    <a:pt x="125" y="288"/>
                  </a:lnTo>
                  <a:lnTo>
                    <a:pt x="125" y="285"/>
                  </a:lnTo>
                  <a:lnTo>
                    <a:pt x="125" y="283"/>
                  </a:lnTo>
                  <a:lnTo>
                    <a:pt x="125" y="285"/>
                  </a:lnTo>
                  <a:lnTo>
                    <a:pt x="125" y="283"/>
                  </a:lnTo>
                  <a:lnTo>
                    <a:pt x="128" y="283"/>
                  </a:lnTo>
                  <a:lnTo>
                    <a:pt x="125" y="283"/>
                  </a:lnTo>
                  <a:lnTo>
                    <a:pt x="128" y="283"/>
                  </a:lnTo>
                  <a:lnTo>
                    <a:pt x="128" y="281"/>
                  </a:lnTo>
                  <a:lnTo>
                    <a:pt x="130" y="281"/>
                  </a:lnTo>
                  <a:lnTo>
                    <a:pt x="130" y="278"/>
                  </a:lnTo>
                  <a:lnTo>
                    <a:pt x="133" y="278"/>
                  </a:lnTo>
                  <a:lnTo>
                    <a:pt x="135" y="278"/>
                  </a:lnTo>
                  <a:lnTo>
                    <a:pt x="137" y="278"/>
                  </a:lnTo>
                  <a:lnTo>
                    <a:pt x="137" y="276"/>
                  </a:lnTo>
                  <a:lnTo>
                    <a:pt x="140" y="276"/>
                  </a:lnTo>
                  <a:lnTo>
                    <a:pt x="142" y="276"/>
                  </a:lnTo>
                  <a:lnTo>
                    <a:pt x="142" y="274"/>
                  </a:lnTo>
                  <a:lnTo>
                    <a:pt x="142" y="276"/>
                  </a:lnTo>
                  <a:lnTo>
                    <a:pt x="144" y="276"/>
                  </a:lnTo>
                  <a:lnTo>
                    <a:pt x="142" y="276"/>
                  </a:lnTo>
                  <a:lnTo>
                    <a:pt x="142" y="274"/>
                  </a:lnTo>
                  <a:lnTo>
                    <a:pt x="140" y="274"/>
                  </a:lnTo>
                  <a:lnTo>
                    <a:pt x="142" y="271"/>
                  </a:lnTo>
                  <a:lnTo>
                    <a:pt x="142" y="274"/>
                  </a:lnTo>
                  <a:lnTo>
                    <a:pt x="144" y="274"/>
                  </a:lnTo>
                  <a:lnTo>
                    <a:pt x="147" y="274"/>
                  </a:lnTo>
                  <a:lnTo>
                    <a:pt x="149" y="276"/>
                  </a:lnTo>
                  <a:lnTo>
                    <a:pt x="149" y="274"/>
                  </a:lnTo>
                  <a:lnTo>
                    <a:pt x="149" y="276"/>
                  </a:lnTo>
                  <a:lnTo>
                    <a:pt x="149" y="274"/>
                  </a:lnTo>
                  <a:lnTo>
                    <a:pt x="152" y="274"/>
                  </a:lnTo>
                  <a:lnTo>
                    <a:pt x="154" y="274"/>
                  </a:lnTo>
                  <a:lnTo>
                    <a:pt x="156" y="274"/>
                  </a:lnTo>
                  <a:lnTo>
                    <a:pt x="156" y="271"/>
                  </a:lnTo>
                  <a:lnTo>
                    <a:pt x="159" y="271"/>
                  </a:lnTo>
                  <a:lnTo>
                    <a:pt x="159" y="274"/>
                  </a:lnTo>
                  <a:lnTo>
                    <a:pt x="161" y="274"/>
                  </a:lnTo>
                  <a:lnTo>
                    <a:pt x="163" y="274"/>
                  </a:lnTo>
                  <a:lnTo>
                    <a:pt x="163" y="276"/>
                  </a:lnTo>
                  <a:lnTo>
                    <a:pt x="166" y="276"/>
                  </a:lnTo>
                  <a:lnTo>
                    <a:pt x="166" y="278"/>
                  </a:lnTo>
                  <a:lnTo>
                    <a:pt x="168" y="278"/>
                  </a:lnTo>
                  <a:lnTo>
                    <a:pt x="166" y="276"/>
                  </a:lnTo>
                  <a:lnTo>
                    <a:pt x="168" y="276"/>
                  </a:lnTo>
                  <a:lnTo>
                    <a:pt x="166" y="276"/>
                  </a:lnTo>
                  <a:lnTo>
                    <a:pt x="168" y="276"/>
                  </a:lnTo>
                  <a:lnTo>
                    <a:pt x="166" y="276"/>
                  </a:lnTo>
                  <a:lnTo>
                    <a:pt x="166" y="274"/>
                  </a:lnTo>
                  <a:lnTo>
                    <a:pt x="166" y="271"/>
                  </a:lnTo>
                  <a:lnTo>
                    <a:pt x="163" y="271"/>
                  </a:lnTo>
                  <a:lnTo>
                    <a:pt x="163" y="269"/>
                  </a:lnTo>
                  <a:lnTo>
                    <a:pt x="166" y="269"/>
                  </a:lnTo>
                  <a:lnTo>
                    <a:pt x="168" y="269"/>
                  </a:lnTo>
                  <a:lnTo>
                    <a:pt x="168" y="266"/>
                  </a:lnTo>
                  <a:lnTo>
                    <a:pt x="168" y="269"/>
                  </a:lnTo>
                  <a:lnTo>
                    <a:pt x="171" y="269"/>
                  </a:lnTo>
                  <a:lnTo>
                    <a:pt x="168" y="269"/>
                  </a:lnTo>
                  <a:lnTo>
                    <a:pt x="171" y="269"/>
                  </a:lnTo>
                  <a:lnTo>
                    <a:pt x="171" y="271"/>
                  </a:lnTo>
                  <a:lnTo>
                    <a:pt x="171" y="274"/>
                  </a:lnTo>
                  <a:lnTo>
                    <a:pt x="173" y="274"/>
                  </a:lnTo>
                  <a:lnTo>
                    <a:pt x="173" y="276"/>
                  </a:lnTo>
                  <a:lnTo>
                    <a:pt x="175" y="276"/>
                  </a:lnTo>
                  <a:lnTo>
                    <a:pt x="175" y="274"/>
                  </a:lnTo>
                  <a:lnTo>
                    <a:pt x="178" y="274"/>
                  </a:lnTo>
                  <a:lnTo>
                    <a:pt x="178" y="271"/>
                  </a:lnTo>
                  <a:lnTo>
                    <a:pt x="180" y="271"/>
                  </a:lnTo>
                  <a:lnTo>
                    <a:pt x="182" y="271"/>
                  </a:lnTo>
                  <a:lnTo>
                    <a:pt x="180" y="271"/>
                  </a:lnTo>
                  <a:lnTo>
                    <a:pt x="178" y="271"/>
                  </a:lnTo>
                  <a:lnTo>
                    <a:pt x="178" y="274"/>
                  </a:lnTo>
                  <a:lnTo>
                    <a:pt x="175" y="274"/>
                  </a:lnTo>
                  <a:lnTo>
                    <a:pt x="173" y="274"/>
                  </a:lnTo>
                  <a:lnTo>
                    <a:pt x="173" y="271"/>
                  </a:lnTo>
                  <a:lnTo>
                    <a:pt x="171" y="271"/>
                  </a:lnTo>
                  <a:lnTo>
                    <a:pt x="171" y="269"/>
                  </a:lnTo>
                  <a:lnTo>
                    <a:pt x="171" y="266"/>
                  </a:lnTo>
                  <a:lnTo>
                    <a:pt x="168" y="266"/>
                  </a:lnTo>
                  <a:lnTo>
                    <a:pt x="171" y="266"/>
                  </a:lnTo>
                  <a:lnTo>
                    <a:pt x="168" y="266"/>
                  </a:lnTo>
                  <a:lnTo>
                    <a:pt x="171" y="266"/>
                  </a:lnTo>
                  <a:lnTo>
                    <a:pt x="168" y="266"/>
                  </a:lnTo>
                  <a:lnTo>
                    <a:pt x="168" y="264"/>
                  </a:lnTo>
                  <a:lnTo>
                    <a:pt x="168" y="262"/>
                  </a:lnTo>
                  <a:lnTo>
                    <a:pt x="166" y="262"/>
                  </a:lnTo>
                  <a:lnTo>
                    <a:pt x="168" y="259"/>
                  </a:lnTo>
                  <a:lnTo>
                    <a:pt x="168" y="257"/>
                  </a:lnTo>
                  <a:lnTo>
                    <a:pt x="171" y="257"/>
                  </a:lnTo>
                  <a:lnTo>
                    <a:pt x="171" y="255"/>
                  </a:lnTo>
                  <a:lnTo>
                    <a:pt x="173" y="255"/>
                  </a:lnTo>
                  <a:lnTo>
                    <a:pt x="173" y="252"/>
                  </a:lnTo>
                  <a:lnTo>
                    <a:pt x="175" y="252"/>
                  </a:lnTo>
                  <a:lnTo>
                    <a:pt x="178" y="252"/>
                  </a:lnTo>
                  <a:lnTo>
                    <a:pt x="175" y="252"/>
                  </a:lnTo>
                  <a:lnTo>
                    <a:pt x="173" y="252"/>
                  </a:lnTo>
                  <a:lnTo>
                    <a:pt x="171" y="252"/>
                  </a:lnTo>
                  <a:lnTo>
                    <a:pt x="168" y="252"/>
                  </a:lnTo>
                  <a:lnTo>
                    <a:pt x="168" y="250"/>
                  </a:lnTo>
                  <a:lnTo>
                    <a:pt x="168" y="247"/>
                  </a:lnTo>
                  <a:lnTo>
                    <a:pt x="168" y="245"/>
                  </a:lnTo>
                  <a:lnTo>
                    <a:pt x="168" y="243"/>
                  </a:lnTo>
                  <a:lnTo>
                    <a:pt x="171" y="243"/>
                  </a:lnTo>
                  <a:lnTo>
                    <a:pt x="171" y="245"/>
                  </a:lnTo>
                  <a:lnTo>
                    <a:pt x="171" y="247"/>
                  </a:lnTo>
                  <a:lnTo>
                    <a:pt x="173" y="247"/>
                  </a:lnTo>
                  <a:lnTo>
                    <a:pt x="171" y="247"/>
                  </a:lnTo>
                  <a:lnTo>
                    <a:pt x="171" y="245"/>
                  </a:lnTo>
                  <a:lnTo>
                    <a:pt x="171" y="243"/>
                  </a:lnTo>
                  <a:lnTo>
                    <a:pt x="173" y="243"/>
                  </a:lnTo>
                  <a:lnTo>
                    <a:pt x="175" y="243"/>
                  </a:lnTo>
                  <a:lnTo>
                    <a:pt x="175" y="240"/>
                  </a:lnTo>
                  <a:lnTo>
                    <a:pt x="173" y="240"/>
                  </a:lnTo>
                  <a:lnTo>
                    <a:pt x="175" y="240"/>
                  </a:lnTo>
                  <a:lnTo>
                    <a:pt x="175" y="238"/>
                  </a:lnTo>
                  <a:lnTo>
                    <a:pt x="175" y="240"/>
                  </a:lnTo>
                  <a:lnTo>
                    <a:pt x="175" y="238"/>
                  </a:lnTo>
                  <a:lnTo>
                    <a:pt x="175" y="240"/>
                  </a:lnTo>
                  <a:lnTo>
                    <a:pt x="173" y="240"/>
                  </a:lnTo>
                  <a:lnTo>
                    <a:pt x="173" y="238"/>
                  </a:lnTo>
                  <a:lnTo>
                    <a:pt x="173" y="236"/>
                  </a:lnTo>
                  <a:lnTo>
                    <a:pt x="175" y="236"/>
                  </a:lnTo>
                  <a:lnTo>
                    <a:pt x="175" y="233"/>
                  </a:lnTo>
                  <a:lnTo>
                    <a:pt x="178" y="233"/>
                  </a:lnTo>
                  <a:lnTo>
                    <a:pt x="175" y="233"/>
                  </a:lnTo>
                  <a:lnTo>
                    <a:pt x="175" y="231"/>
                  </a:lnTo>
                  <a:lnTo>
                    <a:pt x="175" y="228"/>
                  </a:lnTo>
                  <a:lnTo>
                    <a:pt x="178" y="228"/>
                  </a:lnTo>
                  <a:lnTo>
                    <a:pt x="175" y="226"/>
                  </a:lnTo>
                  <a:lnTo>
                    <a:pt x="175" y="228"/>
                  </a:lnTo>
                  <a:lnTo>
                    <a:pt x="173" y="228"/>
                  </a:lnTo>
                  <a:lnTo>
                    <a:pt x="173" y="231"/>
                  </a:lnTo>
                  <a:lnTo>
                    <a:pt x="171" y="231"/>
                  </a:lnTo>
                  <a:lnTo>
                    <a:pt x="168" y="228"/>
                  </a:lnTo>
                  <a:lnTo>
                    <a:pt x="171" y="228"/>
                  </a:lnTo>
                  <a:lnTo>
                    <a:pt x="168" y="228"/>
                  </a:lnTo>
                  <a:lnTo>
                    <a:pt x="168" y="226"/>
                  </a:lnTo>
                  <a:lnTo>
                    <a:pt x="168" y="228"/>
                  </a:lnTo>
                  <a:lnTo>
                    <a:pt x="168" y="231"/>
                  </a:lnTo>
                  <a:lnTo>
                    <a:pt x="168" y="233"/>
                  </a:lnTo>
                  <a:lnTo>
                    <a:pt x="166" y="233"/>
                  </a:lnTo>
                  <a:lnTo>
                    <a:pt x="166" y="236"/>
                  </a:lnTo>
                  <a:lnTo>
                    <a:pt x="163" y="236"/>
                  </a:lnTo>
                  <a:lnTo>
                    <a:pt x="166" y="236"/>
                  </a:lnTo>
                  <a:lnTo>
                    <a:pt x="163" y="236"/>
                  </a:lnTo>
                  <a:lnTo>
                    <a:pt x="163" y="233"/>
                  </a:lnTo>
                  <a:lnTo>
                    <a:pt x="163" y="236"/>
                  </a:lnTo>
                  <a:lnTo>
                    <a:pt x="161" y="233"/>
                  </a:lnTo>
                  <a:lnTo>
                    <a:pt x="161" y="231"/>
                  </a:lnTo>
                  <a:lnTo>
                    <a:pt x="163" y="231"/>
                  </a:lnTo>
                  <a:lnTo>
                    <a:pt x="163" y="228"/>
                  </a:lnTo>
                  <a:lnTo>
                    <a:pt x="163" y="226"/>
                  </a:lnTo>
                  <a:lnTo>
                    <a:pt x="161" y="226"/>
                  </a:lnTo>
                  <a:lnTo>
                    <a:pt x="163" y="226"/>
                  </a:lnTo>
                  <a:lnTo>
                    <a:pt x="161" y="228"/>
                  </a:lnTo>
                  <a:lnTo>
                    <a:pt x="161" y="231"/>
                  </a:lnTo>
                  <a:lnTo>
                    <a:pt x="161" y="228"/>
                  </a:lnTo>
                  <a:lnTo>
                    <a:pt x="161" y="231"/>
                  </a:lnTo>
                  <a:lnTo>
                    <a:pt x="159" y="231"/>
                  </a:lnTo>
                  <a:lnTo>
                    <a:pt x="159" y="228"/>
                  </a:lnTo>
                  <a:lnTo>
                    <a:pt x="156" y="226"/>
                  </a:lnTo>
                  <a:lnTo>
                    <a:pt x="156" y="224"/>
                  </a:lnTo>
                  <a:lnTo>
                    <a:pt x="156" y="221"/>
                  </a:lnTo>
                  <a:lnTo>
                    <a:pt x="154" y="221"/>
                  </a:lnTo>
                  <a:lnTo>
                    <a:pt x="154" y="219"/>
                  </a:lnTo>
                  <a:lnTo>
                    <a:pt x="152" y="219"/>
                  </a:lnTo>
                  <a:lnTo>
                    <a:pt x="152" y="217"/>
                  </a:lnTo>
                  <a:lnTo>
                    <a:pt x="149" y="214"/>
                  </a:lnTo>
                  <a:lnTo>
                    <a:pt x="149" y="212"/>
                  </a:lnTo>
                  <a:lnTo>
                    <a:pt x="152" y="212"/>
                  </a:lnTo>
                  <a:lnTo>
                    <a:pt x="152" y="209"/>
                  </a:lnTo>
                  <a:lnTo>
                    <a:pt x="152" y="207"/>
                  </a:lnTo>
                  <a:lnTo>
                    <a:pt x="152" y="205"/>
                  </a:lnTo>
                  <a:lnTo>
                    <a:pt x="154" y="205"/>
                  </a:lnTo>
                  <a:lnTo>
                    <a:pt x="154" y="202"/>
                  </a:lnTo>
                  <a:lnTo>
                    <a:pt x="156" y="202"/>
                  </a:lnTo>
                  <a:lnTo>
                    <a:pt x="156" y="200"/>
                  </a:lnTo>
                  <a:lnTo>
                    <a:pt x="156" y="198"/>
                  </a:lnTo>
                  <a:lnTo>
                    <a:pt x="156" y="195"/>
                  </a:lnTo>
                  <a:lnTo>
                    <a:pt x="159" y="195"/>
                  </a:lnTo>
                  <a:lnTo>
                    <a:pt x="159" y="193"/>
                  </a:lnTo>
                  <a:lnTo>
                    <a:pt x="159" y="195"/>
                  </a:lnTo>
                  <a:lnTo>
                    <a:pt x="161" y="195"/>
                  </a:lnTo>
                  <a:lnTo>
                    <a:pt x="161" y="193"/>
                  </a:lnTo>
                  <a:lnTo>
                    <a:pt x="163" y="193"/>
                  </a:lnTo>
                  <a:lnTo>
                    <a:pt x="161" y="193"/>
                  </a:lnTo>
                  <a:lnTo>
                    <a:pt x="161" y="190"/>
                  </a:lnTo>
                  <a:lnTo>
                    <a:pt x="163" y="190"/>
                  </a:lnTo>
                  <a:lnTo>
                    <a:pt x="163" y="193"/>
                  </a:lnTo>
                  <a:lnTo>
                    <a:pt x="166" y="193"/>
                  </a:lnTo>
                  <a:lnTo>
                    <a:pt x="168" y="193"/>
                  </a:lnTo>
                  <a:lnTo>
                    <a:pt x="168" y="190"/>
                  </a:lnTo>
                  <a:lnTo>
                    <a:pt x="168" y="193"/>
                  </a:lnTo>
                  <a:lnTo>
                    <a:pt x="168" y="190"/>
                  </a:lnTo>
                  <a:lnTo>
                    <a:pt x="168" y="193"/>
                  </a:lnTo>
                  <a:lnTo>
                    <a:pt x="168" y="190"/>
                  </a:lnTo>
                  <a:lnTo>
                    <a:pt x="166" y="190"/>
                  </a:lnTo>
                  <a:lnTo>
                    <a:pt x="168" y="190"/>
                  </a:lnTo>
                  <a:lnTo>
                    <a:pt x="166" y="190"/>
                  </a:lnTo>
                  <a:lnTo>
                    <a:pt x="163" y="190"/>
                  </a:lnTo>
                  <a:lnTo>
                    <a:pt x="161" y="190"/>
                  </a:lnTo>
                  <a:lnTo>
                    <a:pt x="159" y="190"/>
                  </a:lnTo>
                  <a:lnTo>
                    <a:pt x="156" y="190"/>
                  </a:lnTo>
                  <a:lnTo>
                    <a:pt x="154" y="190"/>
                  </a:lnTo>
                  <a:lnTo>
                    <a:pt x="156" y="190"/>
                  </a:lnTo>
                  <a:lnTo>
                    <a:pt x="154" y="190"/>
                  </a:lnTo>
                  <a:lnTo>
                    <a:pt x="152" y="190"/>
                  </a:lnTo>
                  <a:lnTo>
                    <a:pt x="152" y="188"/>
                  </a:lnTo>
                  <a:lnTo>
                    <a:pt x="152" y="190"/>
                  </a:lnTo>
                  <a:lnTo>
                    <a:pt x="152" y="193"/>
                  </a:lnTo>
                  <a:lnTo>
                    <a:pt x="152" y="195"/>
                  </a:lnTo>
                  <a:lnTo>
                    <a:pt x="149" y="195"/>
                  </a:lnTo>
                  <a:lnTo>
                    <a:pt x="147" y="195"/>
                  </a:lnTo>
                  <a:lnTo>
                    <a:pt x="144" y="195"/>
                  </a:lnTo>
                  <a:lnTo>
                    <a:pt x="142" y="195"/>
                  </a:lnTo>
                  <a:lnTo>
                    <a:pt x="144" y="198"/>
                  </a:lnTo>
                  <a:lnTo>
                    <a:pt x="142" y="198"/>
                  </a:lnTo>
                  <a:lnTo>
                    <a:pt x="142" y="195"/>
                  </a:lnTo>
                  <a:lnTo>
                    <a:pt x="142" y="198"/>
                  </a:lnTo>
                  <a:lnTo>
                    <a:pt x="142" y="200"/>
                  </a:lnTo>
                  <a:lnTo>
                    <a:pt x="140" y="200"/>
                  </a:lnTo>
                  <a:lnTo>
                    <a:pt x="137" y="200"/>
                  </a:lnTo>
                  <a:lnTo>
                    <a:pt x="135" y="200"/>
                  </a:lnTo>
                  <a:lnTo>
                    <a:pt x="135" y="198"/>
                  </a:lnTo>
                  <a:lnTo>
                    <a:pt x="135" y="200"/>
                  </a:lnTo>
                  <a:lnTo>
                    <a:pt x="133" y="200"/>
                  </a:lnTo>
                  <a:lnTo>
                    <a:pt x="135" y="200"/>
                  </a:lnTo>
                  <a:lnTo>
                    <a:pt x="133" y="200"/>
                  </a:lnTo>
                  <a:lnTo>
                    <a:pt x="130" y="200"/>
                  </a:lnTo>
                  <a:lnTo>
                    <a:pt x="130" y="198"/>
                  </a:lnTo>
                  <a:lnTo>
                    <a:pt x="130" y="200"/>
                  </a:lnTo>
                  <a:lnTo>
                    <a:pt x="130" y="198"/>
                  </a:lnTo>
                  <a:lnTo>
                    <a:pt x="130" y="200"/>
                  </a:lnTo>
                  <a:lnTo>
                    <a:pt x="130" y="198"/>
                  </a:lnTo>
                  <a:lnTo>
                    <a:pt x="130" y="195"/>
                  </a:lnTo>
                  <a:lnTo>
                    <a:pt x="130" y="198"/>
                  </a:lnTo>
                  <a:lnTo>
                    <a:pt x="128" y="198"/>
                  </a:lnTo>
                  <a:lnTo>
                    <a:pt x="125" y="198"/>
                  </a:lnTo>
                  <a:lnTo>
                    <a:pt x="125" y="195"/>
                  </a:lnTo>
                  <a:lnTo>
                    <a:pt x="123" y="195"/>
                  </a:lnTo>
                  <a:lnTo>
                    <a:pt x="125" y="195"/>
                  </a:lnTo>
                  <a:lnTo>
                    <a:pt x="123" y="195"/>
                  </a:lnTo>
                  <a:lnTo>
                    <a:pt x="123" y="193"/>
                  </a:lnTo>
                  <a:lnTo>
                    <a:pt x="121" y="193"/>
                  </a:lnTo>
                  <a:lnTo>
                    <a:pt x="123" y="193"/>
                  </a:lnTo>
                  <a:lnTo>
                    <a:pt x="123" y="195"/>
                  </a:lnTo>
                  <a:lnTo>
                    <a:pt x="123" y="198"/>
                  </a:lnTo>
                  <a:lnTo>
                    <a:pt x="125" y="198"/>
                  </a:lnTo>
                  <a:lnTo>
                    <a:pt x="125" y="200"/>
                  </a:lnTo>
                  <a:lnTo>
                    <a:pt x="125" y="202"/>
                  </a:lnTo>
                  <a:lnTo>
                    <a:pt x="125" y="205"/>
                  </a:lnTo>
                  <a:lnTo>
                    <a:pt x="123" y="205"/>
                  </a:lnTo>
                  <a:lnTo>
                    <a:pt x="121" y="205"/>
                  </a:lnTo>
                  <a:lnTo>
                    <a:pt x="121" y="202"/>
                  </a:lnTo>
                  <a:lnTo>
                    <a:pt x="118" y="202"/>
                  </a:lnTo>
                  <a:lnTo>
                    <a:pt x="118" y="200"/>
                  </a:lnTo>
                  <a:lnTo>
                    <a:pt x="116" y="200"/>
                  </a:lnTo>
                  <a:lnTo>
                    <a:pt x="114" y="200"/>
                  </a:lnTo>
                  <a:lnTo>
                    <a:pt x="114" y="198"/>
                  </a:lnTo>
                  <a:lnTo>
                    <a:pt x="111" y="198"/>
                  </a:lnTo>
                  <a:lnTo>
                    <a:pt x="111" y="195"/>
                  </a:lnTo>
                  <a:lnTo>
                    <a:pt x="109" y="195"/>
                  </a:lnTo>
                  <a:lnTo>
                    <a:pt x="106" y="198"/>
                  </a:lnTo>
                  <a:lnTo>
                    <a:pt x="104" y="200"/>
                  </a:lnTo>
                  <a:lnTo>
                    <a:pt x="106" y="200"/>
                  </a:lnTo>
                  <a:lnTo>
                    <a:pt x="106" y="202"/>
                  </a:lnTo>
                  <a:lnTo>
                    <a:pt x="106" y="205"/>
                  </a:lnTo>
                  <a:lnTo>
                    <a:pt x="109" y="205"/>
                  </a:lnTo>
                  <a:lnTo>
                    <a:pt x="109" y="207"/>
                  </a:lnTo>
                  <a:lnTo>
                    <a:pt x="106" y="207"/>
                  </a:lnTo>
                  <a:lnTo>
                    <a:pt x="104" y="207"/>
                  </a:lnTo>
                  <a:lnTo>
                    <a:pt x="104" y="205"/>
                  </a:lnTo>
                  <a:lnTo>
                    <a:pt x="106" y="205"/>
                  </a:lnTo>
                  <a:lnTo>
                    <a:pt x="104" y="202"/>
                  </a:lnTo>
                  <a:lnTo>
                    <a:pt x="106" y="202"/>
                  </a:lnTo>
                  <a:lnTo>
                    <a:pt x="104" y="202"/>
                  </a:lnTo>
                  <a:lnTo>
                    <a:pt x="104" y="200"/>
                  </a:lnTo>
                  <a:lnTo>
                    <a:pt x="102" y="200"/>
                  </a:lnTo>
                  <a:lnTo>
                    <a:pt x="102" y="198"/>
                  </a:lnTo>
                  <a:lnTo>
                    <a:pt x="99" y="198"/>
                  </a:lnTo>
                  <a:lnTo>
                    <a:pt x="99" y="195"/>
                  </a:lnTo>
                  <a:lnTo>
                    <a:pt x="97" y="193"/>
                  </a:lnTo>
                  <a:lnTo>
                    <a:pt x="97" y="190"/>
                  </a:lnTo>
                  <a:lnTo>
                    <a:pt x="97" y="188"/>
                  </a:lnTo>
                  <a:lnTo>
                    <a:pt x="99" y="188"/>
                  </a:lnTo>
                  <a:lnTo>
                    <a:pt x="102" y="188"/>
                  </a:lnTo>
                  <a:lnTo>
                    <a:pt x="102" y="190"/>
                  </a:lnTo>
                  <a:lnTo>
                    <a:pt x="102" y="193"/>
                  </a:lnTo>
                  <a:lnTo>
                    <a:pt x="104" y="193"/>
                  </a:lnTo>
                  <a:lnTo>
                    <a:pt x="104" y="190"/>
                  </a:lnTo>
                  <a:lnTo>
                    <a:pt x="102" y="190"/>
                  </a:lnTo>
                  <a:lnTo>
                    <a:pt x="102" y="188"/>
                  </a:lnTo>
                  <a:lnTo>
                    <a:pt x="102" y="186"/>
                  </a:lnTo>
                  <a:lnTo>
                    <a:pt x="104" y="183"/>
                  </a:lnTo>
                  <a:lnTo>
                    <a:pt x="104" y="181"/>
                  </a:lnTo>
                  <a:lnTo>
                    <a:pt x="106" y="181"/>
                  </a:lnTo>
                  <a:lnTo>
                    <a:pt x="106" y="179"/>
                  </a:lnTo>
                  <a:lnTo>
                    <a:pt x="109" y="179"/>
                  </a:lnTo>
                  <a:lnTo>
                    <a:pt x="109" y="176"/>
                  </a:lnTo>
                  <a:lnTo>
                    <a:pt x="109" y="174"/>
                  </a:lnTo>
                  <a:lnTo>
                    <a:pt x="109" y="171"/>
                  </a:lnTo>
                  <a:lnTo>
                    <a:pt x="111" y="171"/>
                  </a:lnTo>
                  <a:lnTo>
                    <a:pt x="111" y="169"/>
                  </a:lnTo>
                  <a:lnTo>
                    <a:pt x="111" y="167"/>
                  </a:lnTo>
                  <a:lnTo>
                    <a:pt x="114" y="167"/>
                  </a:lnTo>
                  <a:lnTo>
                    <a:pt x="116" y="167"/>
                  </a:lnTo>
                  <a:lnTo>
                    <a:pt x="116" y="164"/>
                  </a:lnTo>
                  <a:lnTo>
                    <a:pt x="116" y="162"/>
                  </a:lnTo>
                  <a:lnTo>
                    <a:pt x="114" y="162"/>
                  </a:lnTo>
                  <a:lnTo>
                    <a:pt x="116" y="162"/>
                  </a:lnTo>
                  <a:lnTo>
                    <a:pt x="116" y="160"/>
                  </a:lnTo>
                  <a:lnTo>
                    <a:pt x="114" y="160"/>
                  </a:lnTo>
                  <a:lnTo>
                    <a:pt x="114" y="157"/>
                  </a:lnTo>
                  <a:lnTo>
                    <a:pt x="111" y="157"/>
                  </a:lnTo>
                  <a:lnTo>
                    <a:pt x="109" y="157"/>
                  </a:lnTo>
                  <a:lnTo>
                    <a:pt x="111" y="157"/>
                  </a:lnTo>
                  <a:lnTo>
                    <a:pt x="109" y="157"/>
                  </a:lnTo>
                  <a:lnTo>
                    <a:pt x="109" y="155"/>
                  </a:lnTo>
                  <a:lnTo>
                    <a:pt x="106" y="155"/>
                  </a:lnTo>
                  <a:lnTo>
                    <a:pt x="106" y="152"/>
                  </a:lnTo>
                  <a:lnTo>
                    <a:pt x="109" y="152"/>
                  </a:lnTo>
                  <a:lnTo>
                    <a:pt x="109" y="150"/>
                  </a:lnTo>
                  <a:lnTo>
                    <a:pt x="109" y="148"/>
                  </a:lnTo>
                  <a:lnTo>
                    <a:pt x="106" y="148"/>
                  </a:lnTo>
                  <a:lnTo>
                    <a:pt x="106" y="145"/>
                  </a:lnTo>
                  <a:lnTo>
                    <a:pt x="106" y="143"/>
                  </a:lnTo>
                  <a:lnTo>
                    <a:pt x="109" y="143"/>
                  </a:lnTo>
                  <a:lnTo>
                    <a:pt x="109" y="141"/>
                  </a:lnTo>
                  <a:lnTo>
                    <a:pt x="111" y="141"/>
                  </a:lnTo>
                  <a:lnTo>
                    <a:pt x="114" y="141"/>
                  </a:lnTo>
                  <a:lnTo>
                    <a:pt x="116" y="141"/>
                  </a:lnTo>
                  <a:lnTo>
                    <a:pt x="118" y="143"/>
                  </a:lnTo>
                  <a:lnTo>
                    <a:pt x="121" y="143"/>
                  </a:lnTo>
                  <a:lnTo>
                    <a:pt x="121" y="141"/>
                  </a:lnTo>
                  <a:lnTo>
                    <a:pt x="118" y="141"/>
                  </a:lnTo>
                  <a:lnTo>
                    <a:pt x="116" y="141"/>
                  </a:lnTo>
                  <a:lnTo>
                    <a:pt x="114" y="141"/>
                  </a:lnTo>
                  <a:lnTo>
                    <a:pt x="114" y="138"/>
                  </a:lnTo>
                  <a:lnTo>
                    <a:pt x="114" y="141"/>
                  </a:lnTo>
                  <a:lnTo>
                    <a:pt x="114" y="138"/>
                  </a:lnTo>
                  <a:lnTo>
                    <a:pt x="111" y="138"/>
                  </a:lnTo>
                  <a:lnTo>
                    <a:pt x="111" y="136"/>
                  </a:lnTo>
                  <a:lnTo>
                    <a:pt x="109" y="136"/>
                  </a:lnTo>
                  <a:lnTo>
                    <a:pt x="109" y="133"/>
                  </a:lnTo>
                  <a:lnTo>
                    <a:pt x="109" y="136"/>
                  </a:lnTo>
                  <a:lnTo>
                    <a:pt x="111" y="136"/>
                  </a:lnTo>
                  <a:lnTo>
                    <a:pt x="111" y="138"/>
                  </a:lnTo>
                  <a:lnTo>
                    <a:pt x="109" y="138"/>
                  </a:lnTo>
                  <a:lnTo>
                    <a:pt x="109" y="136"/>
                  </a:lnTo>
                  <a:lnTo>
                    <a:pt x="109" y="133"/>
                  </a:lnTo>
                  <a:lnTo>
                    <a:pt x="109" y="131"/>
                  </a:lnTo>
                  <a:lnTo>
                    <a:pt x="111" y="131"/>
                  </a:lnTo>
                  <a:lnTo>
                    <a:pt x="111" y="129"/>
                  </a:lnTo>
                  <a:lnTo>
                    <a:pt x="109" y="131"/>
                  </a:lnTo>
                  <a:lnTo>
                    <a:pt x="109" y="133"/>
                  </a:lnTo>
                  <a:lnTo>
                    <a:pt x="106" y="131"/>
                  </a:lnTo>
                  <a:lnTo>
                    <a:pt x="109" y="131"/>
                  </a:lnTo>
                  <a:lnTo>
                    <a:pt x="106" y="131"/>
                  </a:lnTo>
                  <a:lnTo>
                    <a:pt x="106" y="129"/>
                  </a:lnTo>
                  <a:lnTo>
                    <a:pt x="106" y="131"/>
                  </a:lnTo>
                  <a:lnTo>
                    <a:pt x="106" y="133"/>
                  </a:lnTo>
                  <a:lnTo>
                    <a:pt x="109" y="133"/>
                  </a:lnTo>
                  <a:lnTo>
                    <a:pt x="106" y="136"/>
                  </a:lnTo>
                  <a:lnTo>
                    <a:pt x="106" y="138"/>
                  </a:lnTo>
                  <a:lnTo>
                    <a:pt x="104" y="138"/>
                  </a:lnTo>
                  <a:lnTo>
                    <a:pt x="106" y="138"/>
                  </a:lnTo>
                  <a:lnTo>
                    <a:pt x="106" y="141"/>
                  </a:lnTo>
                  <a:lnTo>
                    <a:pt x="106" y="143"/>
                  </a:lnTo>
                  <a:lnTo>
                    <a:pt x="104" y="143"/>
                  </a:lnTo>
                  <a:lnTo>
                    <a:pt x="104" y="145"/>
                  </a:lnTo>
                  <a:lnTo>
                    <a:pt x="102" y="145"/>
                  </a:lnTo>
                  <a:lnTo>
                    <a:pt x="102" y="143"/>
                  </a:lnTo>
                  <a:lnTo>
                    <a:pt x="102" y="141"/>
                  </a:lnTo>
                  <a:lnTo>
                    <a:pt x="99" y="141"/>
                  </a:lnTo>
                  <a:lnTo>
                    <a:pt x="99" y="138"/>
                  </a:lnTo>
                  <a:lnTo>
                    <a:pt x="99" y="141"/>
                  </a:lnTo>
                  <a:lnTo>
                    <a:pt x="102" y="141"/>
                  </a:lnTo>
                  <a:lnTo>
                    <a:pt x="102" y="143"/>
                  </a:lnTo>
                  <a:lnTo>
                    <a:pt x="99" y="143"/>
                  </a:lnTo>
                  <a:lnTo>
                    <a:pt x="99" y="141"/>
                  </a:lnTo>
                  <a:lnTo>
                    <a:pt x="97" y="141"/>
                  </a:lnTo>
                  <a:lnTo>
                    <a:pt x="97" y="138"/>
                  </a:lnTo>
                  <a:lnTo>
                    <a:pt x="97" y="141"/>
                  </a:lnTo>
                  <a:lnTo>
                    <a:pt x="97" y="143"/>
                  </a:lnTo>
                  <a:lnTo>
                    <a:pt x="97" y="145"/>
                  </a:lnTo>
                  <a:lnTo>
                    <a:pt x="97" y="148"/>
                  </a:lnTo>
                  <a:lnTo>
                    <a:pt x="97" y="145"/>
                  </a:lnTo>
                  <a:lnTo>
                    <a:pt x="95" y="145"/>
                  </a:lnTo>
                  <a:lnTo>
                    <a:pt x="92" y="145"/>
                  </a:lnTo>
                  <a:lnTo>
                    <a:pt x="95" y="145"/>
                  </a:lnTo>
                  <a:lnTo>
                    <a:pt x="92" y="145"/>
                  </a:lnTo>
                  <a:lnTo>
                    <a:pt x="95" y="145"/>
                  </a:lnTo>
                  <a:lnTo>
                    <a:pt x="92" y="145"/>
                  </a:lnTo>
                  <a:lnTo>
                    <a:pt x="92" y="143"/>
                  </a:lnTo>
                  <a:lnTo>
                    <a:pt x="92" y="141"/>
                  </a:lnTo>
                  <a:lnTo>
                    <a:pt x="92" y="138"/>
                  </a:lnTo>
                  <a:lnTo>
                    <a:pt x="95" y="138"/>
                  </a:lnTo>
                  <a:lnTo>
                    <a:pt x="95" y="136"/>
                  </a:lnTo>
                  <a:lnTo>
                    <a:pt x="95" y="133"/>
                  </a:lnTo>
                  <a:lnTo>
                    <a:pt x="97" y="133"/>
                  </a:lnTo>
                  <a:lnTo>
                    <a:pt x="97" y="131"/>
                  </a:lnTo>
                  <a:lnTo>
                    <a:pt x="99" y="131"/>
                  </a:lnTo>
                  <a:lnTo>
                    <a:pt x="102" y="131"/>
                  </a:lnTo>
                  <a:lnTo>
                    <a:pt x="102" y="129"/>
                  </a:lnTo>
                  <a:lnTo>
                    <a:pt x="102" y="126"/>
                  </a:lnTo>
                  <a:lnTo>
                    <a:pt x="104" y="126"/>
                  </a:lnTo>
                  <a:lnTo>
                    <a:pt x="106" y="126"/>
                  </a:lnTo>
                  <a:lnTo>
                    <a:pt x="106" y="124"/>
                  </a:lnTo>
                  <a:lnTo>
                    <a:pt x="104" y="124"/>
                  </a:lnTo>
                  <a:lnTo>
                    <a:pt x="104" y="126"/>
                  </a:lnTo>
                  <a:lnTo>
                    <a:pt x="102" y="126"/>
                  </a:lnTo>
                  <a:lnTo>
                    <a:pt x="102" y="129"/>
                  </a:lnTo>
                  <a:lnTo>
                    <a:pt x="99" y="129"/>
                  </a:lnTo>
                  <a:lnTo>
                    <a:pt x="99" y="131"/>
                  </a:lnTo>
                  <a:lnTo>
                    <a:pt x="97" y="131"/>
                  </a:lnTo>
                  <a:lnTo>
                    <a:pt x="95" y="133"/>
                  </a:lnTo>
                  <a:lnTo>
                    <a:pt x="95" y="136"/>
                  </a:lnTo>
                  <a:lnTo>
                    <a:pt x="92" y="136"/>
                  </a:lnTo>
                  <a:lnTo>
                    <a:pt x="92" y="133"/>
                  </a:lnTo>
                  <a:lnTo>
                    <a:pt x="92" y="136"/>
                  </a:lnTo>
                  <a:lnTo>
                    <a:pt x="92" y="138"/>
                  </a:lnTo>
                  <a:lnTo>
                    <a:pt x="90" y="138"/>
                  </a:lnTo>
                  <a:lnTo>
                    <a:pt x="90" y="136"/>
                  </a:lnTo>
                  <a:lnTo>
                    <a:pt x="90" y="138"/>
                  </a:lnTo>
                  <a:lnTo>
                    <a:pt x="90" y="141"/>
                  </a:lnTo>
                  <a:lnTo>
                    <a:pt x="90" y="143"/>
                  </a:lnTo>
                  <a:lnTo>
                    <a:pt x="90" y="145"/>
                  </a:lnTo>
                  <a:lnTo>
                    <a:pt x="92" y="145"/>
                  </a:lnTo>
                  <a:lnTo>
                    <a:pt x="92" y="148"/>
                  </a:lnTo>
                  <a:lnTo>
                    <a:pt x="95" y="150"/>
                  </a:lnTo>
                  <a:lnTo>
                    <a:pt x="92" y="150"/>
                  </a:lnTo>
                  <a:lnTo>
                    <a:pt x="90" y="150"/>
                  </a:lnTo>
                  <a:lnTo>
                    <a:pt x="90" y="152"/>
                  </a:lnTo>
                  <a:lnTo>
                    <a:pt x="90" y="155"/>
                  </a:lnTo>
                  <a:lnTo>
                    <a:pt x="88" y="155"/>
                  </a:lnTo>
                  <a:lnTo>
                    <a:pt x="88" y="157"/>
                  </a:lnTo>
                  <a:lnTo>
                    <a:pt x="88" y="160"/>
                  </a:lnTo>
                  <a:lnTo>
                    <a:pt x="90" y="160"/>
                  </a:lnTo>
                  <a:lnTo>
                    <a:pt x="88" y="160"/>
                  </a:lnTo>
                  <a:lnTo>
                    <a:pt x="90" y="160"/>
                  </a:lnTo>
                  <a:lnTo>
                    <a:pt x="88" y="160"/>
                  </a:lnTo>
                  <a:lnTo>
                    <a:pt x="88" y="162"/>
                  </a:lnTo>
                  <a:lnTo>
                    <a:pt x="88" y="164"/>
                  </a:lnTo>
                  <a:lnTo>
                    <a:pt x="85" y="164"/>
                  </a:lnTo>
                  <a:lnTo>
                    <a:pt x="85" y="167"/>
                  </a:lnTo>
                  <a:lnTo>
                    <a:pt x="85" y="169"/>
                  </a:lnTo>
                  <a:lnTo>
                    <a:pt x="85" y="167"/>
                  </a:lnTo>
                  <a:lnTo>
                    <a:pt x="85" y="169"/>
                  </a:lnTo>
                  <a:lnTo>
                    <a:pt x="88" y="169"/>
                  </a:lnTo>
                  <a:lnTo>
                    <a:pt x="88" y="171"/>
                  </a:lnTo>
                  <a:lnTo>
                    <a:pt x="85" y="171"/>
                  </a:lnTo>
                  <a:lnTo>
                    <a:pt x="85" y="174"/>
                  </a:lnTo>
                  <a:lnTo>
                    <a:pt x="83" y="174"/>
                  </a:lnTo>
                  <a:lnTo>
                    <a:pt x="80" y="174"/>
                  </a:lnTo>
                  <a:lnTo>
                    <a:pt x="78" y="174"/>
                  </a:lnTo>
                  <a:lnTo>
                    <a:pt x="78" y="171"/>
                  </a:lnTo>
                  <a:lnTo>
                    <a:pt x="78" y="169"/>
                  </a:lnTo>
                  <a:lnTo>
                    <a:pt x="78" y="167"/>
                  </a:lnTo>
                  <a:lnTo>
                    <a:pt x="80" y="167"/>
                  </a:lnTo>
                  <a:lnTo>
                    <a:pt x="80" y="164"/>
                  </a:lnTo>
                  <a:lnTo>
                    <a:pt x="80" y="162"/>
                  </a:lnTo>
                  <a:lnTo>
                    <a:pt x="80" y="160"/>
                  </a:lnTo>
                  <a:lnTo>
                    <a:pt x="80" y="157"/>
                  </a:lnTo>
                  <a:lnTo>
                    <a:pt x="83" y="157"/>
                  </a:lnTo>
                  <a:lnTo>
                    <a:pt x="83" y="155"/>
                  </a:lnTo>
                  <a:lnTo>
                    <a:pt x="83" y="152"/>
                  </a:lnTo>
                  <a:lnTo>
                    <a:pt x="85" y="152"/>
                  </a:lnTo>
                  <a:lnTo>
                    <a:pt x="85" y="150"/>
                  </a:lnTo>
                  <a:lnTo>
                    <a:pt x="88" y="150"/>
                  </a:lnTo>
                  <a:lnTo>
                    <a:pt x="88" y="148"/>
                  </a:lnTo>
                  <a:lnTo>
                    <a:pt x="90" y="148"/>
                  </a:lnTo>
                  <a:lnTo>
                    <a:pt x="90" y="145"/>
                  </a:lnTo>
                  <a:lnTo>
                    <a:pt x="88" y="145"/>
                  </a:lnTo>
                  <a:lnTo>
                    <a:pt x="88" y="148"/>
                  </a:lnTo>
                  <a:lnTo>
                    <a:pt x="85" y="150"/>
                  </a:lnTo>
                  <a:lnTo>
                    <a:pt x="83" y="150"/>
                  </a:lnTo>
                  <a:lnTo>
                    <a:pt x="85" y="150"/>
                  </a:lnTo>
                  <a:lnTo>
                    <a:pt x="83" y="150"/>
                  </a:lnTo>
                  <a:lnTo>
                    <a:pt x="83" y="148"/>
                  </a:lnTo>
                  <a:lnTo>
                    <a:pt x="83" y="150"/>
                  </a:lnTo>
                  <a:lnTo>
                    <a:pt x="83" y="148"/>
                  </a:lnTo>
                  <a:lnTo>
                    <a:pt x="83" y="145"/>
                  </a:lnTo>
                  <a:lnTo>
                    <a:pt x="83" y="143"/>
                  </a:lnTo>
                  <a:lnTo>
                    <a:pt x="85" y="143"/>
                  </a:lnTo>
                  <a:lnTo>
                    <a:pt x="85" y="141"/>
                  </a:lnTo>
                  <a:lnTo>
                    <a:pt x="83" y="141"/>
                  </a:lnTo>
                  <a:lnTo>
                    <a:pt x="83" y="143"/>
                  </a:lnTo>
                  <a:lnTo>
                    <a:pt x="80" y="143"/>
                  </a:lnTo>
                  <a:lnTo>
                    <a:pt x="83" y="141"/>
                  </a:lnTo>
                  <a:lnTo>
                    <a:pt x="83" y="138"/>
                  </a:lnTo>
                  <a:lnTo>
                    <a:pt x="85" y="138"/>
                  </a:lnTo>
                  <a:lnTo>
                    <a:pt x="85" y="136"/>
                  </a:lnTo>
                  <a:lnTo>
                    <a:pt x="85" y="138"/>
                  </a:lnTo>
                  <a:lnTo>
                    <a:pt x="85" y="136"/>
                  </a:lnTo>
                  <a:lnTo>
                    <a:pt x="83" y="136"/>
                  </a:lnTo>
                  <a:lnTo>
                    <a:pt x="85" y="136"/>
                  </a:lnTo>
                  <a:lnTo>
                    <a:pt x="83" y="136"/>
                  </a:lnTo>
                  <a:lnTo>
                    <a:pt x="83" y="138"/>
                  </a:lnTo>
                  <a:lnTo>
                    <a:pt x="83" y="141"/>
                  </a:lnTo>
                  <a:lnTo>
                    <a:pt x="83" y="138"/>
                  </a:lnTo>
                  <a:lnTo>
                    <a:pt x="83" y="141"/>
                  </a:lnTo>
                  <a:lnTo>
                    <a:pt x="80" y="141"/>
                  </a:lnTo>
                  <a:lnTo>
                    <a:pt x="83" y="141"/>
                  </a:lnTo>
                  <a:lnTo>
                    <a:pt x="80" y="141"/>
                  </a:lnTo>
                  <a:lnTo>
                    <a:pt x="80" y="138"/>
                  </a:lnTo>
                  <a:lnTo>
                    <a:pt x="83" y="138"/>
                  </a:lnTo>
                  <a:lnTo>
                    <a:pt x="83" y="136"/>
                  </a:lnTo>
                  <a:lnTo>
                    <a:pt x="83" y="138"/>
                  </a:lnTo>
                  <a:lnTo>
                    <a:pt x="83" y="136"/>
                  </a:lnTo>
                  <a:lnTo>
                    <a:pt x="83" y="133"/>
                  </a:lnTo>
                  <a:lnTo>
                    <a:pt x="85" y="133"/>
                  </a:lnTo>
                  <a:lnTo>
                    <a:pt x="88" y="133"/>
                  </a:lnTo>
                  <a:lnTo>
                    <a:pt x="85" y="133"/>
                  </a:lnTo>
                  <a:lnTo>
                    <a:pt x="88" y="133"/>
                  </a:lnTo>
                  <a:lnTo>
                    <a:pt x="85" y="133"/>
                  </a:lnTo>
                  <a:lnTo>
                    <a:pt x="88" y="133"/>
                  </a:lnTo>
                  <a:lnTo>
                    <a:pt x="85" y="133"/>
                  </a:lnTo>
                  <a:lnTo>
                    <a:pt x="85" y="131"/>
                  </a:lnTo>
                  <a:lnTo>
                    <a:pt x="88" y="131"/>
                  </a:lnTo>
                  <a:lnTo>
                    <a:pt x="88" y="129"/>
                  </a:lnTo>
                  <a:lnTo>
                    <a:pt x="85" y="129"/>
                  </a:lnTo>
                  <a:lnTo>
                    <a:pt x="85" y="131"/>
                  </a:lnTo>
                  <a:lnTo>
                    <a:pt x="83" y="131"/>
                  </a:lnTo>
                  <a:lnTo>
                    <a:pt x="85" y="131"/>
                  </a:lnTo>
                  <a:lnTo>
                    <a:pt x="85" y="129"/>
                  </a:lnTo>
                  <a:lnTo>
                    <a:pt x="85" y="126"/>
                  </a:lnTo>
                  <a:lnTo>
                    <a:pt x="88" y="126"/>
                  </a:lnTo>
                  <a:lnTo>
                    <a:pt x="88" y="124"/>
                  </a:lnTo>
                  <a:lnTo>
                    <a:pt x="85" y="124"/>
                  </a:lnTo>
                  <a:lnTo>
                    <a:pt x="85" y="126"/>
                  </a:lnTo>
                  <a:lnTo>
                    <a:pt x="85" y="124"/>
                  </a:lnTo>
                  <a:lnTo>
                    <a:pt x="85" y="122"/>
                  </a:lnTo>
                  <a:lnTo>
                    <a:pt x="83" y="124"/>
                  </a:lnTo>
                  <a:lnTo>
                    <a:pt x="85" y="124"/>
                  </a:lnTo>
                  <a:lnTo>
                    <a:pt x="83" y="124"/>
                  </a:lnTo>
                  <a:lnTo>
                    <a:pt x="83" y="122"/>
                  </a:lnTo>
                  <a:lnTo>
                    <a:pt x="85" y="122"/>
                  </a:lnTo>
                  <a:lnTo>
                    <a:pt x="83" y="122"/>
                  </a:lnTo>
                  <a:lnTo>
                    <a:pt x="85" y="122"/>
                  </a:lnTo>
                  <a:lnTo>
                    <a:pt x="85" y="119"/>
                  </a:lnTo>
                  <a:lnTo>
                    <a:pt x="85" y="122"/>
                  </a:lnTo>
                  <a:lnTo>
                    <a:pt x="85" y="119"/>
                  </a:lnTo>
                  <a:lnTo>
                    <a:pt x="88" y="119"/>
                  </a:lnTo>
                  <a:lnTo>
                    <a:pt x="88" y="122"/>
                  </a:lnTo>
                  <a:lnTo>
                    <a:pt x="88" y="119"/>
                  </a:lnTo>
                  <a:lnTo>
                    <a:pt x="90" y="119"/>
                  </a:lnTo>
                  <a:lnTo>
                    <a:pt x="88" y="119"/>
                  </a:lnTo>
                  <a:lnTo>
                    <a:pt x="85" y="119"/>
                  </a:lnTo>
                  <a:lnTo>
                    <a:pt x="88" y="119"/>
                  </a:lnTo>
                  <a:lnTo>
                    <a:pt x="85" y="119"/>
                  </a:lnTo>
                  <a:lnTo>
                    <a:pt x="88" y="119"/>
                  </a:lnTo>
                  <a:lnTo>
                    <a:pt x="88" y="117"/>
                  </a:lnTo>
                  <a:lnTo>
                    <a:pt x="88" y="114"/>
                  </a:lnTo>
                  <a:lnTo>
                    <a:pt x="90" y="114"/>
                  </a:lnTo>
                  <a:lnTo>
                    <a:pt x="92" y="114"/>
                  </a:lnTo>
                  <a:lnTo>
                    <a:pt x="95" y="114"/>
                  </a:lnTo>
                  <a:lnTo>
                    <a:pt x="97" y="117"/>
                  </a:lnTo>
                  <a:lnTo>
                    <a:pt x="97" y="114"/>
                  </a:lnTo>
                  <a:lnTo>
                    <a:pt x="99" y="114"/>
                  </a:lnTo>
                  <a:lnTo>
                    <a:pt x="99" y="112"/>
                  </a:lnTo>
                  <a:lnTo>
                    <a:pt x="102" y="112"/>
                  </a:lnTo>
                  <a:lnTo>
                    <a:pt x="102" y="110"/>
                  </a:lnTo>
                  <a:lnTo>
                    <a:pt x="99" y="112"/>
                  </a:lnTo>
                  <a:lnTo>
                    <a:pt x="99" y="114"/>
                  </a:lnTo>
                  <a:lnTo>
                    <a:pt x="97" y="114"/>
                  </a:lnTo>
                  <a:lnTo>
                    <a:pt x="95" y="114"/>
                  </a:lnTo>
                  <a:lnTo>
                    <a:pt x="92" y="114"/>
                  </a:lnTo>
                  <a:lnTo>
                    <a:pt x="90" y="114"/>
                  </a:lnTo>
                  <a:lnTo>
                    <a:pt x="90" y="112"/>
                  </a:lnTo>
                  <a:lnTo>
                    <a:pt x="90" y="114"/>
                  </a:lnTo>
                  <a:lnTo>
                    <a:pt x="90" y="112"/>
                  </a:lnTo>
                  <a:lnTo>
                    <a:pt x="88" y="114"/>
                  </a:lnTo>
                  <a:lnTo>
                    <a:pt x="88" y="112"/>
                  </a:lnTo>
                  <a:lnTo>
                    <a:pt x="90" y="112"/>
                  </a:lnTo>
                  <a:lnTo>
                    <a:pt x="92" y="112"/>
                  </a:lnTo>
                  <a:lnTo>
                    <a:pt x="95" y="112"/>
                  </a:lnTo>
                  <a:lnTo>
                    <a:pt x="95" y="110"/>
                  </a:lnTo>
                  <a:lnTo>
                    <a:pt x="92" y="110"/>
                  </a:lnTo>
                  <a:lnTo>
                    <a:pt x="92" y="112"/>
                  </a:lnTo>
                  <a:lnTo>
                    <a:pt x="92" y="110"/>
                  </a:lnTo>
                  <a:lnTo>
                    <a:pt x="90" y="110"/>
                  </a:lnTo>
                  <a:lnTo>
                    <a:pt x="92" y="110"/>
                  </a:lnTo>
                  <a:lnTo>
                    <a:pt x="90" y="110"/>
                  </a:lnTo>
                  <a:lnTo>
                    <a:pt x="92" y="110"/>
                  </a:lnTo>
                  <a:lnTo>
                    <a:pt x="92" y="107"/>
                  </a:lnTo>
                  <a:lnTo>
                    <a:pt x="92" y="105"/>
                  </a:lnTo>
                  <a:lnTo>
                    <a:pt x="95" y="105"/>
                  </a:lnTo>
                  <a:lnTo>
                    <a:pt x="92" y="105"/>
                  </a:lnTo>
                  <a:lnTo>
                    <a:pt x="95" y="105"/>
                  </a:lnTo>
                  <a:lnTo>
                    <a:pt x="95" y="103"/>
                  </a:lnTo>
                  <a:lnTo>
                    <a:pt x="95" y="105"/>
                  </a:lnTo>
                  <a:lnTo>
                    <a:pt x="95" y="103"/>
                  </a:lnTo>
                  <a:lnTo>
                    <a:pt x="97" y="103"/>
                  </a:lnTo>
                  <a:lnTo>
                    <a:pt x="99" y="103"/>
                  </a:lnTo>
                  <a:lnTo>
                    <a:pt x="102" y="103"/>
                  </a:lnTo>
                  <a:lnTo>
                    <a:pt x="99" y="103"/>
                  </a:lnTo>
                  <a:lnTo>
                    <a:pt x="97" y="103"/>
                  </a:lnTo>
                  <a:lnTo>
                    <a:pt x="95" y="103"/>
                  </a:lnTo>
                  <a:lnTo>
                    <a:pt x="97" y="103"/>
                  </a:lnTo>
                  <a:lnTo>
                    <a:pt x="97" y="100"/>
                  </a:lnTo>
                  <a:lnTo>
                    <a:pt x="99" y="98"/>
                  </a:lnTo>
                  <a:lnTo>
                    <a:pt x="99" y="95"/>
                  </a:lnTo>
                  <a:lnTo>
                    <a:pt x="102" y="95"/>
                  </a:lnTo>
                  <a:lnTo>
                    <a:pt x="99" y="95"/>
                  </a:lnTo>
                  <a:lnTo>
                    <a:pt x="97" y="95"/>
                  </a:lnTo>
                  <a:lnTo>
                    <a:pt x="97" y="93"/>
                  </a:lnTo>
                  <a:lnTo>
                    <a:pt x="95" y="95"/>
                  </a:lnTo>
                  <a:lnTo>
                    <a:pt x="95" y="93"/>
                  </a:lnTo>
                  <a:lnTo>
                    <a:pt x="95" y="95"/>
                  </a:lnTo>
                  <a:lnTo>
                    <a:pt x="95" y="93"/>
                  </a:lnTo>
                  <a:lnTo>
                    <a:pt x="92" y="93"/>
                  </a:lnTo>
                  <a:lnTo>
                    <a:pt x="92" y="95"/>
                  </a:lnTo>
                  <a:lnTo>
                    <a:pt x="95" y="95"/>
                  </a:lnTo>
                  <a:lnTo>
                    <a:pt x="97" y="95"/>
                  </a:lnTo>
                  <a:lnTo>
                    <a:pt x="99" y="95"/>
                  </a:lnTo>
                  <a:lnTo>
                    <a:pt x="99" y="98"/>
                  </a:lnTo>
                  <a:lnTo>
                    <a:pt x="97" y="98"/>
                  </a:lnTo>
                  <a:lnTo>
                    <a:pt x="97" y="100"/>
                  </a:lnTo>
                  <a:lnTo>
                    <a:pt x="95" y="100"/>
                  </a:lnTo>
                  <a:lnTo>
                    <a:pt x="97" y="100"/>
                  </a:lnTo>
                  <a:lnTo>
                    <a:pt x="95" y="100"/>
                  </a:lnTo>
                  <a:lnTo>
                    <a:pt x="95" y="103"/>
                  </a:lnTo>
                  <a:lnTo>
                    <a:pt x="92" y="103"/>
                  </a:lnTo>
                  <a:lnTo>
                    <a:pt x="92" y="105"/>
                  </a:lnTo>
                  <a:lnTo>
                    <a:pt x="90" y="105"/>
                  </a:lnTo>
                  <a:lnTo>
                    <a:pt x="88" y="107"/>
                  </a:lnTo>
                  <a:lnTo>
                    <a:pt x="88" y="110"/>
                  </a:lnTo>
                  <a:lnTo>
                    <a:pt x="85" y="110"/>
                  </a:lnTo>
                  <a:lnTo>
                    <a:pt x="85" y="112"/>
                  </a:lnTo>
                  <a:lnTo>
                    <a:pt x="83" y="112"/>
                  </a:lnTo>
                  <a:lnTo>
                    <a:pt x="80" y="112"/>
                  </a:lnTo>
                  <a:lnTo>
                    <a:pt x="78" y="112"/>
                  </a:lnTo>
                  <a:lnTo>
                    <a:pt x="78" y="110"/>
                  </a:lnTo>
                  <a:lnTo>
                    <a:pt x="80" y="110"/>
                  </a:lnTo>
                  <a:lnTo>
                    <a:pt x="78" y="110"/>
                  </a:lnTo>
                  <a:lnTo>
                    <a:pt x="76" y="110"/>
                  </a:lnTo>
                  <a:lnTo>
                    <a:pt x="73" y="110"/>
                  </a:lnTo>
                  <a:lnTo>
                    <a:pt x="73" y="107"/>
                  </a:lnTo>
                  <a:lnTo>
                    <a:pt x="71" y="107"/>
                  </a:lnTo>
                  <a:lnTo>
                    <a:pt x="71" y="105"/>
                  </a:lnTo>
                  <a:lnTo>
                    <a:pt x="73" y="105"/>
                  </a:lnTo>
                  <a:lnTo>
                    <a:pt x="73" y="103"/>
                  </a:lnTo>
                  <a:lnTo>
                    <a:pt x="73" y="105"/>
                  </a:lnTo>
                  <a:lnTo>
                    <a:pt x="73" y="103"/>
                  </a:lnTo>
                  <a:lnTo>
                    <a:pt x="73" y="105"/>
                  </a:lnTo>
                  <a:lnTo>
                    <a:pt x="76" y="103"/>
                  </a:lnTo>
                  <a:lnTo>
                    <a:pt x="76" y="105"/>
                  </a:lnTo>
                  <a:lnTo>
                    <a:pt x="73" y="105"/>
                  </a:lnTo>
                  <a:lnTo>
                    <a:pt x="76" y="105"/>
                  </a:lnTo>
                  <a:lnTo>
                    <a:pt x="78" y="103"/>
                  </a:lnTo>
                  <a:lnTo>
                    <a:pt x="80" y="103"/>
                  </a:lnTo>
                  <a:lnTo>
                    <a:pt x="83" y="103"/>
                  </a:lnTo>
                  <a:lnTo>
                    <a:pt x="85" y="103"/>
                  </a:lnTo>
                  <a:lnTo>
                    <a:pt x="83" y="103"/>
                  </a:lnTo>
                  <a:lnTo>
                    <a:pt x="80" y="103"/>
                  </a:lnTo>
                  <a:lnTo>
                    <a:pt x="78" y="103"/>
                  </a:lnTo>
                  <a:lnTo>
                    <a:pt x="78" y="100"/>
                  </a:lnTo>
                  <a:lnTo>
                    <a:pt x="78" y="103"/>
                  </a:lnTo>
                  <a:lnTo>
                    <a:pt x="76" y="103"/>
                  </a:lnTo>
                  <a:lnTo>
                    <a:pt x="73" y="103"/>
                  </a:lnTo>
                  <a:lnTo>
                    <a:pt x="71" y="103"/>
                  </a:lnTo>
                  <a:lnTo>
                    <a:pt x="69" y="103"/>
                  </a:lnTo>
                  <a:lnTo>
                    <a:pt x="66" y="103"/>
                  </a:lnTo>
                  <a:lnTo>
                    <a:pt x="64" y="103"/>
                  </a:lnTo>
                  <a:lnTo>
                    <a:pt x="64" y="100"/>
                  </a:lnTo>
                  <a:lnTo>
                    <a:pt x="66" y="100"/>
                  </a:lnTo>
                  <a:lnTo>
                    <a:pt x="66" y="98"/>
                  </a:lnTo>
                  <a:lnTo>
                    <a:pt x="69" y="98"/>
                  </a:lnTo>
                  <a:lnTo>
                    <a:pt x="69" y="100"/>
                  </a:lnTo>
                  <a:lnTo>
                    <a:pt x="69" y="98"/>
                  </a:lnTo>
                  <a:lnTo>
                    <a:pt x="69" y="100"/>
                  </a:lnTo>
                  <a:lnTo>
                    <a:pt x="69" y="98"/>
                  </a:lnTo>
                  <a:lnTo>
                    <a:pt x="71" y="98"/>
                  </a:lnTo>
                  <a:lnTo>
                    <a:pt x="73" y="98"/>
                  </a:lnTo>
                  <a:lnTo>
                    <a:pt x="73" y="100"/>
                  </a:lnTo>
                  <a:lnTo>
                    <a:pt x="76" y="100"/>
                  </a:lnTo>
                  <a:lnTo>
                    <a:pt x="76" y="98"/>
                  </a:lnTo>
                  <a:lnTo>
                    <a:pt x="76" y="100"/>
                  </a:lnTo>
                  <a:lnTo>
                    <a:pt x="76" y="98"/>
                  </a:lnTo>
                  <a:lnTo>
                    <a:pt x="76" y="100"/>
                  </a:lnTo>
                  <a:lnTo>
                    <a:pt x="76" y="98"/>
                  </a:lnTo>
                  <a:lnTo>
                    <a:pt x="73" y="98"/>
                  </a:lnTo>
                  <a:lnTo>
                    <a:pt x="76" y="98"/>
                  </a:lnTo>
                  <a:lnTo>
                    <a:pt x="78" y="98"/>
                  </a:lnTo>
                  <a:lnTo>
                    <a:pt x="76" y="98"/>
                  </a:lnTo>
                  <a:lnTo>
                    <a:pt x="76" y="95"/>
                  </a:lnTo>
                  <a:lnTo>
                    <a:pt x="76" y="98"/>
                  </a:lnTo>
                  <a:lnTo>
                    <a:pt x="76" y="95"/>
                  </a:lnTo>
                  <a:lnTo>
                    <a:pt x="78" y="95"/>
                  </a:lnTo>
                  <a:lnTo>
                    <a:pt x="80" y="95"/>
                  </a:lnTo>
                  <a:lnTo>
                    <a:pt x="80" y="93"/>
                  </a:lnTo>
                  <a:lnTo>
                    <a:pt x="83" y="93"/>
                  </a:lnTo>
                  <a:lnTo>
                    <a:pt x="80" y="93"/>
                  </a:lnTo>
                  <a:lnTo>
                    <a:pt x="80" y="95"/>
                  </a:lnTo>
                  <a:lnTo>
                    <a:pt x="80" y="93"/>
                  </a:lnTo>
                  <a:lnTo>
                    <a:pt x="80" y="95"/>
                  </a:lnTo>
                  <a:lnTo>
                    <a:pt x="80" y="93"/>
                  </a:lnTo>
                  <a:lnTo>
                    <a:pt x="78" y="93"/>
                  </a:lnTo>
                  <a:lnTo>
                    <a:pt x="80" y="93"/>
                  </a:lnTo>
                  <a:lnTo>
                    <a:pt x="78" y="93"/>
                  </a:lnTo>
                  <a:lnTo>
                    <a:pt x="76" y="93"/>
                  </a:lnTo>
                  <a:lnTo>
                    <a:pt x="73" y="93"/>
                  </a:lnTo>
                  <a:lnTo>
                    <a:pt x="73" y="91"/>
                  </a:lnTo>
                  <a:lnTo>
                    <a:pt x="76" y="91"/>
                  </a:lnTo>
                  <a:lnTo>
                    <a:pt x="76" y="93"/>
                  </a:lnTo>
                  <a:lnTo>
                    <a:pt x="76" y="91"/>
                  </a:lnTo>
                  <a:lnTo>
                    <a:pt x="76" y="93"/>
                  </a:lnTo>
                  <a:lnTo>
                    <a:pt x="76" y="91"/>
                  </a:lnTo>
                  <a:lnTo>
                    <a:pt x="76" y="88"/>
                  </a:lnTo>
                  <a:lnTo>
                    <a:pt x="78" y="88"/>
                  </a:lnTo>
                  <a:lnTo>
                    <a:pt x="76" y="88"/>
                  </a:lnTo>
                  <a:lnTo>
                    <a:pt x="76" y="86"/>
                  </a:lnTo>
                  <a:lnTo>
                    <a:pt x="78" y="86"/>
                  </a:lnTo>
                  <a:lnTo>
                    <a:pt x="80" y="86"/>
                  </a:lnTo>
                  <a:lnTo>
                    <a:pt x="80" y="88"/>
                  </a:lnTo>
                  <a:lnTo>
                    <a:pt x="83" y="88"/>
                  </a:lnTo>
                  <a:lnTo>
                    <a:pt x="85" y="88"/>
                  </a:lnTo>
                  <a:lnTo>
                    <a:pt x="88" y="86"/>
                  </a:lnTo>
                  <a:lnTo>
                    <a:pt x="85" y="86"/>
                  </a:lnTo>
                  <a:lnTo>
                    <a:pt x="85" y="88"/>
                  </a:lnTo>
                  <a:lnTo>
                    <a:pt x="83" y="88"/>
                  </a:lnTo>
                  <a:lnTo>
                    <a:pt x="83" y="86"/>
                  </a:lnTo>
                  <a:lnTo>
                    <a:pt x="80" y="86"/>
                  </a:lnTo>
                  <a:lnTo>
                    <a:pt x="83" y="86"/>
                  </a:lnTo>
                  <a:lnTo>
                    <a:pt x="80" y="86"/>
                  </a:lnTo>
                  <a:lnTo>
                    <a:pt x="80" y="84"/>
                  </a:lnTo>
                  <a:lnTo>
                    <a:pt x="80" y="86"/>
                  </a:lnTo>
                  <a:lnTo>
                    <a:pt x="78" y="86"/>
                  </a:lnTo>
                  <a:lnTo>
                    <a:pt x="78" y="84"/>
                  </a:lnTo>
                  <a:lnTo>
                    <a:pt x="78" y="81"/>
                  </a:lnTo>
                  <a:lnTo>
                    <a:pt x="80" y="81"/>
                  </a:lnTo>
                  <a:lnTo>
                    <a:pt x="83" y="81"/>
                  </a:lnTo>
                  <a:lnTo>
                    <a:pt x="85" y="81"/>
                  </a:lnTo>
                  <a:lnTo>
                    <a:pt x="88" y="81"/>
                  </a:lnTo>
                  <a:lnTo>
                    <a:pt x="90" y="81"/>
                  </a:lnTo>
                  <a:lnTo>
                    <a:pt x="92" y="81"/>
                  </a:lnTo>
                  <a:lnTo>
                    <a:pt x="90" y="81"/>
                  </a:lnTo>
                  <a:lnTo>
                    <a:pt x="88" y="81"/>
                  </a:lnTo>
                  <a:lnTo>
                    <a:pt x="85" y="81"/>
                  </a:lnTo>
                  <a:lnTo>
                    <a:pt x="85" y="79"/>
                  </a:lnTo>
                  <a:lnTo>
                    <a:pt x="83" y="79"/>
                  </a:lnTo>
                  <a:lnTo>
                    <a:pt x="80" y="79"/>
                  </a:lnTo>
                  <a:lnTo>
                    <a:pt x="80" y="76"/>
                  </a:lnTo>
                  <a:lnTo>
                    <a:pt x="83" y="76"/>
                  </a:lnTo>
                  <a:lnTo>
                    <a:pt x="83" y="74"/>
                  </a:lnTo>
                  <a:lnTo>
                    <a:pt x="85" y="74"/>
                  </a:lnTo>
                  <a:lnTo>
                    <a:pt x="85" y="72"/>
                  </a:lnTo>
                  <a:lnTo>
                    <a:pt x="88" y="72"/>
                  </a:lnTo>
                  <a:lnTo>
                    <a:pt x="88" y="74"/>
                  </a:lnTo>
                  <a:lnTo>
                    <a:pt x="90" y="74"/>
                  </a:lnTo>
                  <a:lnTo>
                    <a:pt x="90" y="76"/>
                  </a:lnTo>
                  <a:lnTo>
                    <a:pt x="90" y="74"/>
                  </a:lnTo>
                  <a:lnTo>
                    <a:pt x="88" y="74"/>
                  </a:lnTo>
                  <a:lnTo>
                    <a:pt x="88" y="72"/>
                  </a:lnTo>
                  <a:lnTo>
                    <a:pt x="90" y="72"/>
                  </a:lnTo>
                  <a:lnTo>
                    <a:pt x="90" y="69"/>
                  </a:lnTo>
                  <a:lnTo>
                    <a:pt x="88" y="69"/>
                  </a:lnTo>
                  <a:lnTo>
                    <a:pt x="88" y="72"/>
                  </a:lnTo>
                  <a:lnTo>
                    <a:pt x="85" y="72"/>
                  </a:lnTo>
                  <a:lnTo>
                    <a:pt x="83" y="72"/>
                  </a:lnTo>
                  <a:lnTo>
                    <a:pt x="80" y="72"/>
                  </a:lnTo>
                  <a:lnTo>
                    <a:pt x="80" y="69"/>
                  </a:lnTo>
                  <a:lnTo>
                    <a:pt x="83" y="69"/>
                  </a:lnTo>
                  <a:lnTo>
                    <a:pt x="85" y="69"/>
                  </a:lnTo>
                  <a:lnTo>
                    <a:pt x="88" y="69"/>
                  </a:lnTo>
                  <a:lnTo>
                    <a:pt x="88" y="67"/>
                  </a:lnTo>
                  <a:lnTo>
                    <a:pt x="90" y="67"/>
                  </a:lnTo>
                  <a:lnTo>
                    <a:pt x="90" y="65"/>
                  </a:lnTo>
                  <a:lnTo>
                    <a:pt x="88" y="65"/>
                  </a:lnTo>
                  <a:lnTo>
                    <a:pt x="88" y="67"/>
                  </a:lnTo>
                  <a:lnTo>
                    <a:pt x="85" y="67"/>
                  </a:lnTo>
                  <a:lnTo>
                    <a:pt x="85" y="69"/>
                  </a:lnTo>
                  <a:lnTo>
                    <a:pt x="85" y="67"/>
                  </a:lnTo>
                  <a:lnTo>
                    <a:pt x="85" y="69"/>
                  </a:lnTo>
                  <a:lnTo>
                    <a:pt x="85" y="67"/>
                  </a:lnTo>
                  <a:lnTo>
                    <a:pt x="85" y="69"/>
                  </a:lnTo>
                  <a:lnTo>
                    <a:pt x="83" y="69"/>
                  </a:lnTo>
                  <a:lnTo>
                    <a:pt x="83" y="67"/>
                  </a:lnTo>
                  <a:lnTo>
                    <a:pt x="85" y="67"/>
                  </a:lnTo>
                  <a:lnTo>
                    <a:pt x="83" y="67"/>
                  </a:lnTo>
                  <a:lnTo>
                    <a:pt x="85" y="67"/>
                  </a:lnTo>
                  <a:lnTo>
                    <a:pt x="83" y="67"/>
                  </a:lnTo>
                  <a:lnTo>
                    <a:pt x="83" y="65"/>
                  </a:lnTo>
                  <a:lnTo>
                    <a:pt x="83" y="67"/>
                  </a:lnTo>
                  <a:lnTo>
                    <a:pt x="80" y="67"/>
                  </a:lnTo>
                  <a:lnTo>
                    <a:pt x="80" y="69"/>
                  </a:lnTo>
                  <a:lnTo>
                    <a:pt x="78" y="69"/>
                  </a:lnTo>
                  <a:lnTo>
                    <a:pt x="78" y="67"/>
                  </a:lnTo>
                  <a:lnTo>
                    <a:pt x="76" y="67"/>
                  </a:lnTo>
                  <a:lnTo>
                    <a:pt x="78" y="67"/>
                  </a:lnTo>
                  <a:lnTo>
                    <a:pt x="76" y="67"/>
                  </a:lnTo>
                  <a:lnTo>
                    <a:pt x="78" y="67"/>
                  </a:lnTo>
                  <a:lnTo>
                    <a:pt x="78" y="65"/>
                  </a:lnTo>
                  <a:lnTo>
                    <a:pt x="76" y="65"/>
                  </a:lnTo>
                  <a:lnTo>
                    <a:pt x="78" y="65"/>
                  </a:lnTo>
                  <a:lnTo>
                    <a:pt x="76" y="65"/>
                  </a:lnTo>
                  <a:lnTo>
                    <a:pt x="76" y="62"/>
                  </a:lnTo>
                  <a:lnTo>
                    <a:pt x="76" y="60"/>
                  </a:lnTo>
                  <a:lnTo>
                    <a:pt x="76" y="57"/>
                  </a:lnTo>
                  <a:lnTo>
                    <a:pt x="78" y="57"/>
                  </a:lnTo>
                  <a:lnTo>
                    <a:pt x="76" y="57"/>
                  </a:lnTo>
                  <a:lnTo>
                    <a:pt x="78" y="57"/>
                  </a:lnTo>
                  <a:lnTo>
                    <a:pt x="80" y="57"/>
                  </a:lnTo>
                  <a:lnTo>
                    <a:pt x="80" y="60"/>
                  </a:lnTo>
                  <a:lnTo>
                    <a:pt x="83" y="60"/>
                  </a:lnTo>
                  <a:lnTo>
                    <a:pt x="83" y="57"/>
                  </a:lnTo>
                  <a:lnTo>
                    <a:pt x="83" y="60"/>
                  </a:lnTo>
                  <a:lnTo>
                    <a:pt x="83" y="57"/>
                  </a:lnTo>
                  <a:lnTo>
                    <a:pt x="83" y="60"/>
                  </a:lnTo>
                  <a:lnTo>
                    <a:pt x="85" y="60"/>
                  </a:lnTo>
                  <a:lnTo>
                    <a:pt x="88" y="60"/>
                  </a:lnTo>
                  <a:lnTo>
                    <a:pt x="88" y="57"/>
                  </a:lnTo>
                  <a:lnTo>
                    <a:pt x="85" y="57"/>
                  </a:lnTo>
                  <a:lnTo>
                    <a:pt x="83" y="57"/>
                  </a:lnTo>
                  <a:lnTo>
                    <a:pt x="80" y="57"/>
                  </a:lnTo>
                  <a:lnTo>
                    <a:pt x="80" y="55"/>
                  </a:lnTo>
                  <a:lnTo>
                    <a:pt x="78" y="55"/>
                  </a:lnTo>
                  <a:lnTo>
                    <a:pt x="78" y="53"/>
                  </a:lnTo>
                  <a:lnTo>
                    <a:pt x="78" y="50"/>
                  </a:lnTo>
                  <a:lnTo>
                    <a:pt x="80" y="50"/>
                  </a:lnTo>
                  <a:lnTo>
                    <a:pt x="83" y="50"/>
                  </a:lnTo>
                  <a:lnTo>
                    <a:pt x="80" y="50"/>
                  </a:lnTo>
                  <a:lnTo>
                    <a:pt x="80" y="48"/>
                  </a:lnTo>
                  <a:lnTo>
                    <a:pt x="78" y="48"/>
                  </a:lnTo>
                  <a:lnTo>
                    <a:pt x="78" y="46"/>
                  </a:lnTo>
                  <a:lnTo>
                    <a:pt x="78" y="43"/>
                  </a:lnTo>
                  <a:lnTo>
                    <a:pt x="78" y="41"/>
                  </a:lnTo>
                  <a:lnTo>
                    <a:pt x="80" y="41"/>
                  </a:lnTo>
                  <a:lnTo>
                    <a:pt x="80" y="43"/>
                  </a:lnTo>
                  <a:lnTo>
                    <a:pt x="83" y="43"/>
                  </a:lnTo>
                  <a:lnTo>
                    <a:pt x="83" y="46"/>
                  </a:lnTo>
                  <a:lnTo>
                    <a:pt x="83" y="48"/>
                  </a:lnTo>
                  <a:lnTo>
                    <a:pt x="85" y="48"/>
                  </a:lnTo>
                  <a:lnTo>
                    <a:pt x="85" y="46"/>
                  </a:lnTo>
                  <a:lnTo>
                    <a:pt x="83" y="46"/>
                  </a:lnTo>
                  <a:lnTo>
                    <a:pt x="85" y="46"/>
                  </a:lnTo>
                  <a:lnTo>
                    <a:pt x="85" y="43"/>
                  </a:lnTo>
                  <a:lnTo>
                    <a:pt x="83" y="43"/>
                  </a:lnTo>
                  <a:lnTo>
                    <a:pt x="83" y="41"/>
                  </a:lnTo>
                  <a:lnTo>
                    <a:pt x="83" y="38"/>
                  </a:lnTo>
                  <a:lnTo>
                    <a:pt x="85" y="38"/>
                  </a:lnTo>
                  <a:lnTo>
                    <a:pt x="85" y="41"/>
                  </a:lnTo>
                  <a:lnTo>
                    <a:pt x="88" y="41"/>
                  </a:lnTo>
                  <a:lnTo>
                    <a:pt x="88" y="43"/>
                  </a:lnTo>
                  <a:lnTo>
                    <a:pt x="90" y="43"/>
                  </a:lnTo>
                  <a:lnTo>
                    <a:pt x="88" y="41"/>
                  </a:lnTo>
                  <a:lnTo>
                    <a:pt x="90" y="41"/>
                  </a:lnTo>
                  <a:lnTo>
                    <a:pt x="90" y="38"/>
                  </a:lnTo>
                  <a:lnTo>
                    <a:pt x="90" y="41"/>
                  </a:lnTo>
                  <a:lnTo>
                    <a:pt x="92" y="41"/>
                  </a:lnTo>
                  <a:lnTo>
                    <a:pt x="95" y="41"/>
                  </a:lnTo>
                  <a:lnTo>
                    <a:pt x="95" y="43"/>
                  </a:lnTo>
                  <a:lnTo>
                    <a:pt x="97" y="43"/>
                  </a:lnTo>
                  <a:lnTo>
                    <a:pt x="97" y="41"/>
                  </a:lnTo>
                  <a:lnTo>
                    <a:pt x="95" y="41"/>
                  </a:lnTo>
                  <a:lnTo>
                    <a:pt x="92" y="41"/>
                  </a:lnTo>
                  <a:lnTo>
                    <a:pt x="92" y="38"/>
                  </a:lnTo>
                  <a:lnTo>
                    <a:pt x="90" y="38"/>
                  </a:lnTo>
                  <a:lnTo>
                    <a:pt x="92" y="38"/>
                  </a:lnTo>
                  <a:lnTo>
                    <a:pt x="95" y="38"/>
                  </a:lnTo>
                  <a:lnTo>
                    <a:pt x="97" y="38"/>
                  </a:lnTo>
                  <a:lnTo>
                    <a:pt x="97" y="41"/>
                  </a:lnTo>
                  <a:lnTo>
                    <a:pt x="99" y="41"/>
                  </a:lnTo>
                  <a:lnTo>
                    <a:pt x="102" y="43"/>
                  </a:lnTo>
                  <a:lnTo>
                    <a:pt x="102" y="41"/>
                  </a:lnTo>
                  <a:lnTo>
                    <a:pt x="99" y="41"/>
                  </a:lnTo>
                  <a:lnTo>
                    <a:pt x="97" y="41"/>
                  </a:lnTo>
                  <a:lnTo>
                    <a:pt x="97" y="38"/>
                  </a:lnTo>
                  <a:lnTo>
                    <a:pt x="97" y="36"/>
                  </a:lnTo>
                  <a:lnTo>
                    <a:pt x="95" y="36"/>
                  </a:lnTo>
                  <a:lnTo>
                    <a:pt x="97" y="36"/>
                  </a:lnTo>
                  <a:lnTo>
                    <a:pt x="95" y="36"/>
                  </a:lnTo>
                  <a:lnTo>
                    <a:pt x="92" y="36"/>
                  </a:lnTo>
                  <a:lnTo>
                    <a:pt x="92" y="34"/>
                  </a:lnTo>
                  <a:lnTo>
                    <a:pt x="90" y="34"/>
                  </a:lnTo>
                  <a:lnTo>
                    <a:pt x="90" y="31"/>
                  </a:lnTo>
                  <a:lnTo>
                    <a:pt x="90" y="29"/>
                  </a:lnTo>
                  <a:lnTo>
                    <a:pt x="92" y="31"/>
                  </a:lnTo>
                  <a:lnTo>
                    <a:pt x="95" y="31"/>
                  </a:lnTo>
                  <a:lnTo>
                    <a:pt x="95" y="29"/>
                  </a:lnTo>
                  <a:lnTo>
                    <a:pt x="95" y="26"/>
                  </a:lnTo>
                  <a:lnTo>
                    <a:pt x="97" y="26"/>
                  </a:lnTo>
                  <a:lnTo>
                    <a:pt x="95" y="26"/>
                  </a:lnTo>
                  <a:lnTo>
                    <a:pt x="92" y="26"/>
                  </a:lnTo>
                  <a:lnTo>
                    <a:pt x="95" y="26"/>
                  </a:lnTo>
                  <a:lnTo>
                    <a:pt x="92" y="26"/>
                  </a:lnTo>
                  <a:lnTo>
                    <a:pt x="92" y="24"/>
                  </a:lnTo>
                  <a:lnTo>
                    <a:pt x="92" y="22"/>
                  </a:lnTo>
                  <a:lnTo>
                    <a:pt x="90" y="22"/>
                  </a:lnTo>
                  <a:lnTo>
                    <a:pt x="92" y="22"/>
                  </a:lnTo>
                  <a:lnTo>
                    <a:pt x="95" y="22"/>
                  </a:lnTo>
                  <a:lnTo>
                    <a:pt x="95" y="24"/>
                  </a:lnTo>
                  <a:lnTo>
                    <a:pt x="95" y="22"/>
                  </a:lnTo>
                  <a:lnTo>
                    <a:pt x="97" y="22"/>
                  </a:lnTo>
                  <a:lnTo>
                    <a:pt x="99" y="22"/>
                  </a:lnTo>
                  <a:lnTo>
                    <a:pt x="102" y="22"/>
                  </a:lnTo>
                  <a:lnTo>
                    <a:pt x="99" y="22"/>
                  </a:lnTo>
                  <a:lnTo>
                    <a:pt x="102" y="22"/>
                  </a:lnTo>
                  <a:lnTo>
                    <a:pt x="104" y="22"/>
                  </a:lnTo>
                  <a:lnTo>
                    <a:pt x="102" y="22"/>
                  </a:lnTo>
                  <a:lnTo>
                    <a:pt x="102" y="19"/>
                  </a:lnTo>
                  <a:lnTo>
                    <a:pt x="99" y="19"/>
                  </a:lnTo>
                  <a:lnTo>
                    <a:pt x="99" y="17"/>
                  </a:lnTo>
                  <a:lnTo>
                    <a:pt x="99" y="19"/>
                  </a:lnTo>
                  <a:lnTo>
                    <a:pt x="97" y="19"/>
                  </a:lnTo>
                  <a:lnTo>
                    <a:pt x="99" y="17"/>
                  </a:lnTo>
                  <a:lnTo>
                    <a:pt x="97" y="17"/>
                  </a:lnTo>
                  <a:lnTo>
                    <a:pt x="99" y="17"/>
                  </a:lnTo>
                  <a:lnTo>
                    <a:pt x="97" y="17"/>
                  </a:lnTo>
                  <a:lnTo>
                    <a:pt x="99" y="17"/>
                  </a:lnTo>
                  <a:lnTo>
                    <a:pt x="97" y="17"/>
                  </a:lnTo>
                  <a:lnTo>
                    <a:pt x="99" y="15"/>
                  </a:lnTo>
                  <a:lnTo>
                    <a:pt x="99" y="12"/>
                  </a:lnTo>
                  <a:lnTo>
                    <a:pt x="99" y="15"/>
                  </a:lnTo>
                  <a:lnTo>
                    <a:pt x="102" y="15"/>
                  </a:lnTo>
                  <a:lnTo>
                    <a:pt x="102" y="12"/>
                  </a:lnTo>
                  <a:lnTo>
                    <a:pt x="102" y="15"/>
                  </a:lnTo>
                  <a:lnTo>
                    <a:pt x="102" y="12"/>
                  </a:lnTo>
                  <a:lnTo>
                    <a:pt x="99" y="12"/>
                  </a:lnTo>
                  <a:lnTo>
                    <a:pt x="102" y="12"/>
                  </a:lnTo>
                  <a:lnTo>
                    <a:pt x="99" y="12"/>
                  </a:lnTo>
                  <a:lnTo>
                    <a:pt x="102" y="12"/>
                  </a:lnTo>
                  <a:lnTo>
                    <a:pt x="99" y="12"/>
                  </a:lnTo>
                  <a:lnTo>
                    <a:pt x="102" y="12"/>
                  </a:lnTo>
                  <a:lnTo>
                    <a:pt x="104" y="12"/>
                  </a:lnTo>
                  <a:lnTo>
                    <a:pt x="102" y="12"/>
                  </a:lnTo>
                  <a:lnTo>
                    <a:pt x="102" y="10"/>
                  </a:lnTo>
                  <a:lnTo>
                    <a:pt x="99" y="10"/>
                  </a:lnTo>
                  <a:lnTo>
                    <a:pt x="102" y="10"/>
                  </a:lnTo>
                  <a:lnTo>
                    <a:pt x="99" y="10"/>
                  </a:lnTo>
                  <a:lnTo>
                    <a:pt x="99" y="7"/>
                  </a:lnTo>
                  <a:lnTo>
                    <a:pt x="102" y="7"/>
                  </a:lnTo>
                  <a:lnTo>
                    <a:pt x="102" y="5"/>
                  </a:lnTo>
                  <a:lnTo>
                    <a:pt x="104" y="5"/>
                  </a:lnTo>
                  <a:lnTo>
                    <a:pt x="104" y="3"/>
                  </a:lnTo>
                  <a:lnTo>
                    <a:pt x="106" y="3"/>
                  </a:lnTo>
                  <a:lnTo>
                    <a:pt x="109" y="3"/>
                  </a:lnTo>
                  <a:lnTo>
                    <a:pt x="109" y="5"/>
                  </a:lnTo>
                  <a:lnTo>
                    <a:pt x="111" y="5"/>
                  </a:lnTo>
                  <a:lnTo>
                    <a:pt x="111" y="7"/>
                  </a:lnTo>
                  <a:lnTo>
                    <a:pt x="109" y="7"/>
                  </a:lnTo>
                  <a:lnTo>
                    <a:pt x="111" y="7"/>
                  </a:lnTo>
                  <a:lnTo>
                    <a:pt x="111" y="5"/>
                  </a:lnTo>
                  <a:lnTo>
                    <a:pt x="111" y="3"/>
                  </a:lnTo>
                  <a:lnTo>
                    <a:pt x="111" y="5"/>
                  </a:lnTo>
                  <a:lnTo>
                    <a:pt x="114" y="5"/>
                  </a:lnTo>
                  <a:lnTo>
                    <a:pt x="116" y="5"/>
                  </a:lnTo>
                  <a:lnTo>
                    <a:pt x="116" y="7"/>
                  </a:lnTo>
                  <a:lnTo>
                    <a:pt x="114" y="7"/>
                  </a:lnTo>
                  <a:lnTo>
                    <a:pt x="114" y="10"/>
                  </a:lnTo>
                  <a:lnTo>
                    <a:pt x="111" y="10"/>
                  </a:lnTo>
                  <a:lnTo>
                    <a:pt x="111" y="12"/>
                  </a:lnTo>
                  <a:lnTo>
                    <a:pt x="114" y="12"/>
                  </a:lnTo>
                  <a:lnTo>
                    <a:pt x="114" y="10"/>
                  </a:lnTo>
                  <a:lnTo>
                    <a:pt x="116" y="10"/>
                  </a:lnTo>
                  <a:lnTo>
                    <a:pt x="116" y="7"/>
                  </a:lnTo>
                  <a:lnTo>
                    <a:pt x="116" y="10"/>
                  </a:lnTo>
                  <a:lnTo>
                    <a:pt x="116" y="7"/>
                  </a:lnTo>
                  <a:lnTo>
                    <a:pt x="118" y="7"/>
                  </a:lnTo>
                  <a:lnTo>
                    <a:pt x="118" y="5"/>
                  </a:lnTo>
                  <a:lnTo>
                    <a:pt x="116" y="5"/>
                  </a:lnTo>
                  <a:lnTo>
                    <a:pt x="118" y="5"/>
                  </a:lnTo>
                  <a:lnTo>
                    <a:pt x="121" y="5"/>
                  </a:lnTo>
                  <a:lnTo>
                    <a:pt x="123" y="5"/>
                  </a:lnTo>
                  <a:lnTo>
                    <a:pt x="123" y="7"/>
                  </a:lnTo>
                  <a:lnTo>
                    <a:pt x="123" y="10"/>
                  </a:lnTo>
                  <a:lnTo>
                    <a:pt x="121" y="10"/>
                  </a:lnTo>
                  <a:lnTo>
                    <a:pt x="123" y="10"/>
                  </a:lnTo>
                  <a:lnTo>
                    <a:pt x="121" y="10"/>
                  </a:lnTo>
                  <a:lnTo>
                    <a:pt x="121" y="12"/>
                  </a:lnTo>
                  <a:lnTo>
                    <a:pt x="121" y="10"/>
                  </a:lnTo>
                  <a:lnTo>
                    <a:pt x="123" y="10"/>
                  </a:lnTo>
                  <a:lnTo>
                    <a:pt x="123" y="7"/>
                  </a:lnTo>
                  <a:lnTo>
                    <a:pt x="125" y="7"/>
                  </a:lnTo>
                  <a:lnTo>
                    <a:pt x="128" y="7"/>
                  </a:lnTo>
                  <a:lnTo>
                    <a:pt x="130" y="7"/>
                  </a:lnTo>
                  <a:lnTo>
                    <a:pt x="128" y="7"/>
                  </a:lnTo>
                  <a:lnTo>
                    <a:pt x="130" y="7"/>
                  </a:lnTo>
                  <a:lnTo>
                    <a:pt x="130" y="5"/>
                  </a:lnTo>
                  <a:lnTo>
                    <a:pt x="130" y="7"/>
                  </a:lnTo>
                  <a:lnTo>
                    <a:pt x="130" y="5"/>
                  </a:lnTo>
                  <a:lnTo>
                    <a:pt x="133" y="5"/>
                  </a:lnTo>
                  <a:lnTo>
                    <a:pt x="135" y="5"/>
                  </a:lnTo>
                  <a:lnTo>
                    <a:pt x="135" y="3"/>
                  </a:lnTo>
                  <a:lnTo>
                    <a:pt x="137" y="3"/>
                  </a:lnTo>
                  <a:lnTo>
                    <a:pt x="137" y="5"/>
                  </a:lnTo>
                  <a:lnTo>
                    <a:pt x="140" y="5"/>
                  </a:lnTo>
                  <a:lnTo>
                    <a:pt x="142" y="5"/>
                  </a:lnTo>
                  <a:lnTo>
                    <a:pt x="144" y="5"/>
                  </a:lnTo>
                  <a:lnTo>
                    <a:pt x="147" y="3"/>
                  </a:lnTo>
                  <a:lnTo>
                    <a:pt x="149" y="3"/>
                  </a:lnTo>
                  <a:lnTo>
                    <a:pt x="152" y="3"/>
                  </a:lnTo>
                  <a:lnTo>
                    <a:pt x="154" y="3"/>
                  </a:lnTo>
                  <a:lnTo>
                    <a:pt x="156" y="3"/>
                  </a:lnTo>
                  <a:lnTo>
                    <a:pt x="159" y="3"/>
                  </a:lnTo>
                  <a:lnTo>
                    <a:pt x="156" y="3"/>
                  </a:lnTo>
                  <a:lnTo>
                    <a:pt x="156" y="0"/>
                  </a:lnTo>
                  <a:lnTo>
                    <a:pt x="159" y="0"/>
                  </a:lnTo>
                  <a:lnTo>
                    <a:pt x="161" y="0"/>
                  </a:lnTo>
                  <a:lnTo>
                    <a:pt x="163" y="0"/>
                  </a:lnTo>
                  <a:lnTo>
                    <a:pt x="166" y="0"/>
                  </a:lnTo>
                  <a:lnTo>
                    <a:pt x="168" y="0"/>
                  </a:lnTo>
                  <a:lnTo>
                    <a:pt x="168" y="3"/>
                  </a:lnTo>
                  <a:lnTo>
                    <a:pt x="168" y="5"/>
                  </a:lnTo>
                  <a:lnTo>
                    <a:pt x="166" y="7"/>
                  </a:lnTo>
                  <a:lnTo>
                    <a:pt x="166" y="10"/>
                  </a:lnTo>
                  <a:lnTo>
                    <a:pt x="168" y="10"/>
                  </a:lnTo>
                  <a:lnTo>
                    <a:pt x="168" y="12"/>
                  </a:lnTo>
                  <a:lnTo>
                    <a:pt x="166" y="15"/>
                  </a:lnTo>
                  <a:lnTo>
                    <a:pt x="166" y="17"/>
                  </a:lnTo>
                  <a:lnTo>
                    <a:pt x="163" y="17"/>
                  </a:lnTo>
                  <a:lnTo>
                    <a:pt x="163" y="19"/>
                  </a:lnTo>
                  <a:lnTo>
                    <a:pt x="161" y="19"/>
                  </a:lnTo>
                  <a:lnTo>
                    <a:pt x="159" y="19"/>
                  </a:lnTo>
                  <a:lnTo>
                    <a:pt x="156" y="22"/>
                  </a:lnTo>
                  <a:lnTo>
                    <a:pt x="156" y="24"/>
                  </a:lnTo>
                  <a:lnTo>
                    <a:pt x="154" y="24"/>
                  </a:lnTo>
                  <a:lnTo>
                    <a:pt x="154" y="26"/>
                  </a:lnTo>
                  <a:lnTo>
                    <a:pt x="152" y="26"/>
                  </a:lnTo>
                  <a:lnTo>
                    <a:pt x="149" y="29"/>
                  </a:lnTo>
                  <a:lnTo>
                    <a:pt x="147" y="29"/>
                  </a:lnTo>
                  <a:lnTo>
                    <a:pt x="147" y="31"/>
                  </a:lnTo>
                  <a:lnTo>
                    <a:pt x="144" y="31"/>
                  </a:lnTo>
                  <a:lnTo>
                    <a:pt x="142" y="34"/>
                  </a:lnTo>
                  <a:lnTo>
                    <a:pt x="142" y="36"/>
                  </a:lnTo>
                  <a:lnTo>
                    <a:pt x="140" y="36"/>
                  </a:lnTo>
                  <a:lnTo>
                    <a:pt x="137" y="36"/>
                  </a:lnTo>
                  <a:lnTo>
                    <a:pt x="137" y="38"/>
                  </a:lnTo>
                  <a:lnTo>
                    <a:pt x="135" y="38"/>
                  </a:lnTo>
                  <a:lnTo>
                    <a:pt x="137" y="38"/>
                  </a:lnTo>
                  <a:lnTo>
                    <a:pt x="135" y="38"/>
                  </a:lnTo>
                  <a:lnTo>
                    <a:pt x="135" y="36"/>
                  </a:lnTo>
                  <a:lnTo>
                    <a:pt x="135" y="38"/>
                  </a:lnTo>
                  <a:lnTo>
                    <a:pt x="135" y="36"/>
                  </a:lnTo>
                  <a:lnTo>
                    <a:pt x="135" y="38"/>
                  </a:lnTo>
                  <a:lnTo>
                    <a:pt x="137" y="38"/>
                  </a:lnTo>
                  <a:lnTo>
                    <a:pt x="137" y="41"/>
                  </a:lnTo>
                  <a:lnTo>
                    <a:pt x="137" y="43"/>
                  </a:lnTo>
                  <a:lnTo>
                    <a:pt x="137" y="41"/>
                  </a:lnTo>
                  <a:lnTo>
                    <a:pt x="135" y="41"/>
                  </a:lnTo>
                  <a:lnTo>
                    <a:pt x="135" y="43"/>
                  </a:lnTo>
                  <a:lnTo>
                    <a:pt x="133" y="43"/>
                  </a:lnTo>
                  <a:lnTo>
                    <a:pt x="130" y="43"/>
                  </a:lnTo>
                  <a:lnTo>
                    <a:pt x="130" y="41"/>
                  </a:lnTo>
                  <a:lnTo>
                    <a:pt x="128" y="41"/>
                  </a:lnTo>
                  <a:lnTo>
                    <a:pt x="128" y="43"/>
                  </a:lnTo>
                  <a:lnTo>
                    <a:pt x="128" y="41"/>
                  </a:lnTo>
                  <a:lnTo>
                    <a:pt x="125" y="41"/>
                  </a:lnTo>
                  <a:lnTo>
                    <a:pt x="125" y="38"/>
                  </a:lnTo>
                  <a:lnTo>
                    <a:pt x="123" y="38"/>
                  </a:lnTo>
                  <a:lnTo>
                    <a:pt x="125" y="41"/>
                  </a:lnTo>
                  <a:lnTo>
                    <a:pt x="125" y="43"/>
                  </a:lnTo>
                  <a:lnTo>
                    <a:pt x="125" y="41"/>
                  </a:lnTo>
                  <a:lnTo>
                    <a:pt x="128" y="41"/>
                  </a:lnTo>
                  <a:lnTo>
                    <a:pt x="128" y="43"/>
                  </a:lnTo>
                  <a:lnTo>
                    <a:pt x="130" y="43"/>
                  </a:lnTo>
                  <a:lnTo>
                    <a:pt x="130" y="41"/>
                  </a:lnTo>
                  <a:lnTo>
                    <a:pt x="130" y="43"/>
                  </a:lnTo>
                  <a:lnTo>
                    <a:pt x="133" y="43"/>
                  </a:lnTo>
                  <a:lnTo>
                    <a:pt x="135" y="43"/>
                  </a:lnTo>
                  <a:lnTo>
                    <a:pt x="135" y="46"/>
                  </a:lnTo>
                  <a:lnTo>
                    <a:pt x="135" y="43"/>
                  </a:lnTo>
                  <a:lnTo>
                    <a:pt x="137" y="43"/>
                  </a:lnTo>
                  <a:lnTo>
                    <a:pt x="140" y="43"/>
                  </a:lnTo>
                  <a:lnTo>
                    <a:pt x="140" y="46"/>
                  </a:lnTo>
                  <a:lnTo>
                    <a:pt x="137" y="46"/>
                  </a:lnTo>
                  <a:lnTo>
                    <a:pt x="140" y="46"/>
                  </a:lnTo>
                  <a:lnTo>
                    <a:pt x="140" y="43"/>
                  </a:lnTo>
                  <a:lnTo>
                    <a:pt x="140" y="46"/>
                  </a:lnTo>
                  <a:lnTo>
                    <a:pt x="140" y="43"/>
                  </a:lnTo>
                  <a:lnTo>
                    <a:pt x="142" y="43"/>
                  </a:lnTo>
                  <a:lnTo>
                    <a:pt x="144" y="41"/>
                  </a:lnTo>
                  <a:lnTo>
                    <a:pt x="144" y="43"/>
                  </a:lnTo>
                  <a:lnTo>
                    <a:pt x="142" y="43"/>
                  </a:lnTo>
                  <a:lnTo>
                    <a:pt x="142" y="46"/>
                  </a:lnTo>
                  <a:lnTo>
                    <a:pt x="140" y="48"/>
                  </a:lnTo>
                  <a:lnTo>
                    <a:pt x="137" y="50"/>
                  </a:lnTo>
                  <a:lnTo>
                    <a:pt x="135" y="50"/>
                  </a:lnTo>
                  <a:lnTo>
                    <a:pt x="137" y="48"/>
                  </a:lnTo>
                  <a:lnTo>
                    <a:pt x="135" y="48"/>
                  </a:lnTo>
                  <a:lnTo>
                    <a:pt x="133" y="50"/>
                  </a:lnTo>
                  <a:lnTo>
                    <a:pt x="130" y="50"/>
                  </a:lnTo>
                  <a:lnTo>
                    <a:pt x="128" y="50"/>
                  </a:lnTo>
                  <a:lnTo>
                    <a:pt x="128" y="53"/>
                  </a:lnTo>
                  <a:lnTo>
                    <a:pt x="128" y="50"/>
                  </a:lnTo>
                  <a:lnTo>
                    <a:pt x="128" y="53"/>
                  </a:lnTo>
                  <a:lnTo>
                    <a:pt x="125" y="53"/>
                  </a:lnTo>
                  <a:lnTo>
                    <a:pt x="125" y="55"/>
                  </a:lnTo>
                  <a:lnTo>
                    <a:pt x="123" y="55"/>
                  </a:lnTo>
                  <a:lnTo>
                    <a:pt x="123" y="57"/>
                  </a:lnTo>
                  <a:lnTo>
                    <a:pt x="123" y="55"/>
                  </a:lnTo>
                  <a:lnTo>
                    <a:pt x="125" y="55"/>
                  </a:lnTo>
                  <a:lnTo>
                    <a:pt x="128" y="53"/>
                  </a:lnTo>
                  <a:lnTo>
                    <a:pt x="130" y="53"/>
                  </a:lnTo>
                  <a:lnTo>
                    <a:pt x="133" y="53"/>
                  </a:lnTo>
                  <a:lnTo>
                    <a:pt x="130" y="53"/>
                  </a:lnTo>
                  <a:lnTo>
                    <a:pt x="133" y="53"/>
                  </a:lnTo>
                  <a:lnTo>
                    <a:pt x="135" y="53"/>
                  </a:lnTo>
                  <a:lnTo>
                    <a:pt x="135" y="50"/>
                  </a:lnTo>
                  <a:lnTo>
                    <a:pt x="137" y="53"/>
                  </a:lnTo>
                  <a:lnTo>
                    <a:pt x="137" y="50"/>
                  </a:lnTo>
                  <a:lnTo>
                    <a:pt x="137" y="53"/>
                  </a:lnTo>
                  <a:lnTo>
                    <a:pt x="135" y="53"/>
                  </a:lnTo>
                  <a:lnTo>
                    <a:pt x="135" y="55"/>
                  </a:lnTo>
                  <a:lnTo>
                    <a:pt x="133" y="55"/>
                  </a:lnTo>
                  <a:lnTo>
                    <a:pt x="133" y="57"/>
                  </a:lnTo>
                  <a:lnTo>
                    <a:pt x="135" y="57"/>
                  </a:lnTo>
                  <a:lnTo>
                    <a:pt x="133" y="57"/>
                  </a:lnTo>
                  <a:lnTo>
                    <a:pt x="130" y="57"/>
                  </a:lnTo>
                  <a:lnTo>
                    <a:pt x="128" y="57"/>
                  </a:lnTo>
                  <a:lnTo>
                    <a:pt x="130" y="57"/>
                  </a:lnTo>
                  <a:lnTo>
                    <a:pt x="130" y="60"/>
                  </a:lnTo>
                  <a:lnTo>
                    <a:pt x="130" y="57"/>
                  </a:lnTo>
                  <a:lnTo>
                    <a:pt x="130" y="60"/>
                  </a:lnTo>
                  <a:lnTo>
                    <a:pt x="128" y="60"/>
                  </a:lnTo>
                  <a:lnTo>
                    <a:pt x="125" y="60"/>
                  </a:lnTo>
                  <a:lnTo>
                    <a:pt x="123" y="60"/>
                  </a:lnTo>
                  <a:lnTo>
                    <a:pt x="123" y="62"/>
                  </a:lnTo>
                  <a:lnTo>
                    <a:pt x="123" y="60"/>
                  </a:lnTo>
                  <a:lnTo>
                    <a:pt x="123" y="62"/>
                  </a:lnTo>
                  <a:lnTo>
                    <a:pt x="125" y="62"/>
                  </a:lnTo>
                  <a:lnTo>
                    <a:pt x="128" y="62"/>
                  </a:lnTo>
                  <a:lnTo>
                    <a:pt x="130" y="62"/>
                  </a:lnTo>
                  <a:lnTo>
                    <a:pt x="130" y="60"/>
                  </a:lnTo>
                  <a:lnTo>
                    <a:pt x="130" y="62"/>
                  </a:lnTo>
                  <a:lnTo>
                    <a:pt x="133" y="62"/>
                  </a:lnTo>
                  <a:lnTo>
                    <a:pt x="133" y="60"/>
                  </a:lnTo>
                  <a:lnTo>
                    <a:pt x="135" y="57"/>
                  </a:lnTo>
                  <a:lnTo>
                    <a:pt x="135" y="55"/>
                  </a:lnTo>
                  <a:lnTo>
                    <a:pt x="137" y="55"/>
                  </a:lnTo>
                  <a:lnTo>
                    <a:pt x="140" y="57"/>
                  </a:lnTo>
                  <a:lnTo>
                    <a:pt x="140" y="55"/>
                  </a:lnTo>
                  <a:lnTo>
                    <a:pt x="142" y="55"/>
                  </a:lnTo>
                  <a:lnTo>
                    <a:pt x="144" y="55"/>
                  </a:lnTo>
                  <a:lnTo>
                    <a:pt x="142" y="55"/>
                  </a:lnTo>
                  <a:lnTo>
                    <a:pt x="144" y="55"/>
                  </a:lnTo>
                  <a:lnTo>
                    <a:pt x="144" y="53"/>
                  </a:lnTo>
                  <a:lnTo>
                    <a:pt x="147" y="53"/>
                  </a:lnTo>
                  <a:lnTo>
                    <a:pt x="144" y="53"/>
                  </a:lnTo>
                  <a:lnTo>
                    <a:pt x="144" y="55"/>
                  </a:lnTo>
                  <a:lnTo>
                    <a:pt x="147" y="53"/>
                  </a:lnTo>
                  <a:lnTo>
                    <a:pt x="149" y="53"/>
                  </a:lnTo>
                  <a:lnTo>
                    <a:pt x="149" y="55"/>
                  </a:lnTo>
                  <a:lnTo>
                    <a:pt x="152" y="55"/>
                  </a:lnTo>
                  <a:lnTo>
                    <a:pt x="152" y="53"/>
                  </a:lnTo>
                  <a:lnTo>
                    <a:pt x="149" y="53"/>
                  </a:lnTo>
                  <a:lnTo>
                    <a:pt x="152" y="53"/>
                  </a:lnTo>
                  <a:lnTo>
                    <a:pt x="154" y="53"/>
                  </a:lnTo>
                  <a:lnTo>
                    <a:pt x="154" y="50"/>
                  </a:lnTo>
                  <a:lnTo>
                    <a:pt x="156" y="50"/>
                  </a:lnTo>
                  <a:lnTo>
                    <a:pt x="159" y="50"/>
                  </a:lnTo>
                  <a:lnTo>
                    <a:pt x="161" y="50"/>
                  </a:lnTo>
                  <a:lnTo>
                    <a:pt x="161" y="48"/>
                  </a:lnTo>
                  <a:lnTo>
                    <a:pt x="161" y="50"/>
                  </a:lnTo>
                  <a:lnTo>
                    <a:pt x="163" y="50"/>
                  </a:lnTo>
                  <a:lnTo>
                    <a:pt x="166" y="53"/>
                  </a:lnTo>
                  <a:lnTo>
                    <a:pt x="168" y="53"/>
                  </a:lnTo>
                  <a:lnTo>
                    <a:pt x="171" y="53"/>
                  </a:lnTo>
                  <a:lnTo>
                    <a:pt x="171" y="50"/>
                  </a:lnTo>
                  <a:lnTo>
                    <a:pt x="171" y="53"/>
                  </a:lnTo>
                  <a:lnTo>
                    <a:pt x="171" y="50"/>
                  </a:lnTo>
                  <a:lnTo>
                    <a:pt x="173" y="50"/>
                  </a:lnTo>
                  <a:lnTo>
                    <a:pt x="175" y="50"/>
                  </a:lnTo>
                  <a:lnTo>
                    <a:pt x="178" y="50"/>
                  </a:lnTo>
                  <a:lnTo>
                    <a:pt x="180" y="50"/>
                  </a:lnTo>
                  <a:lnTo>
                    <a:pt x="182" y="50"/>
                  </a:lnTo>
                  <a:lnTo>
                    <a:pt x="182" y="53"/>
                  </a:lnTo>
                  <a:lnTo>
                    <a:pt x="185" y="50"/>
                  </a:lnTo>
                  <a:lnTo>
                    <a:pt x="185" y="53"/>
                  </a:lnTo>
                  <a:lnTo>
                    <a:pt x="187" y="53"/>
                  </a:lnTo>
                  <a:lnTo>
                    <a:pt x="190" y="53"/>
                  </a:lnTo>
                  <a:lnTo>
                    <a:pt x="192" y="53"/>
                  </a:lnTo>
                  <a:lnTo>
                    <a:pt x="192" y="50"/>
                  </a:lnTo>
                  <a:lnTo>
                    <a:pt x="194" y="50"/>
                  </a:lnTo>
                  <a:lnTo>
                    <a:pt x="194" y="53"/>
                  </a:lnTo>
                  <a:lnTo>
                    <a:pt x="194" y="50"/>
                  </a:lnTo>
                  <a:lnTo>
                    <a:pt x="197" y="53"/>
                  </a:lnTo>
                  <a:lnTo>
                    <a:pt x="197" y="50"/>
                  </a:lnTo>
                  <a:lnTo>
                    <a:pt x="199" y="50"/>
                  </a:lnTo>
                  <a:lnTo>
                    <a:pt x="201" y="50"/>
                  </a:lnTo>
                  <a:lnTo>
                    <a:pt x="204" y="50"/>
                  </a:lnTo>
                  <a:lnTo>
                    <a:pt x="204" y="53"/>
                  </a:lnTo>
                  <a:lnTo>
                    <a:pt x="204" y="50"/>
                  </a:lnTo>
                  <a:lnTo>
                    <a:pt x="206" y="53"/>
                  </a:lnTo>
                  <a:lnTo>
                    <a:pt x="206" y="55"/>
                  </a:lnTo>
                  <a:lnTo>
                    <a:pt x="209" y="55"/>
                  </a:lnTo>
                  <a:lnTo>
                    <a:pt x="209" y="57"/>
                  </a:lnTo>
                  <a:lnTo>
                    <a:pt x="209" y="60"/>
                  </a:lnTo>
                  <a:lnTo>
                    <a:pt x="211" y="60"/>
                  </a:lnTo>
                  <a:lnTo>
                    <a:pt x="211" y="62"/>
                  </a:lnTo>
                  <a:lnTo>
                    <a:pt x="209" y="62"/>
                  </a:lnTo>
                  <a:lnTo>
                    <a:pt x="211" y="62"/>
                  </a:lnTo>
                  <a:lnTo>
                    <a:pt x="209" y="62"/>
                  </a:lnTo>
                  <a:lnTo>
                    <a:pt x="209" y="65"/>
                  </a:lnTo>
                  <a:lnTo>
                    <a:pt x="209" y="67"/>
                  </a:lnTo>
                  <a:lnTo>
                    <a:pt x="206" y="67"/>
                  </a:lnTo>
                  <a:lnTo>
                    <a:pt x="206" y="69"/>
                  </a:lnTo>
                  <a:lnTo>
                    <a:pt x="204" y="69"/>
                  </a:lnTo>
                  <a:lnTo>
                    <a:pt x="204" y="72"/>
                  </a:lnTo>
                  <a:lnTo>
                    <a:pt x="204" y="69"/>
                  </a:lnTo>
                  <a:lnTo>
                    <a:pt x="201" y="69"/>
                  </a:lnTo>
                  <a:lnTo>
                    <a:pt x="204" y="69"/>
                  </a:lnTo>
                  <a:lnTo>
                    <a:pt x="201" y="69"/>
                  </a:lnTo>
                  <a:lnTo>
                    <a:pt x="204" y="69"/>
                  </a:lnTo>
                  <a:lnTo>
                    <a:pt x="204" y="72"/>
                  </a:lnTo>
                  <a:lnTo>
                    <a:pt x="201" y="74"/>
                  </a:lnTo>
                  <a:lnTo>
                    <a:pt x="201" y="76"/>
                  </a:lnTo>
                  <a:lnTo>
                    <a:pt x="201" y="79"/>
                  </a:lnTo>
                  <a:lnTo>
                    <a:pt x="201" y="81"/>
                  </a:lnTo>
                  <a:lnTo>
                    <a:pt x="199" y="81"/>
                  </a:lnTo>
                  <a:lnTo>
                    <a:pt x="199" y="84"/>
                  </a:lnTo>
                  <a:lnTo>
                    <a:pt x="199" y="86"/>
                  </a:lnTo>
                  <a:lnTo>
                    <a:pt x="197" y="86"/>
                  </a:lnTo>
                  <a:lnTo>
                    <a:pt x="197" y="88"/>
                  </a:lnTo>
                  <a:lnTo>
                    <a:pt x="197" y="91"/>
                  </a:lnTo>
                  <a:lnTo>
                    <a:pt x="197" y="93"/>
                  </a:lnTo>
                  <a:lnTo>
                    <a:pt x="194" y="93"/>
                  </a:lnTo>
                  <a:lnTo>
                    <a:pt x="194" y="95"/>
                  </a:lnTo>
                  <a:lnTo>
                    <a:pt x="192" y="95"/>
                  </a:lnTo>
                  <a:lnTo>
                    <a:pt x="192" y="98"/>
                  </a:lnTo>
                  <a:lnTo>
                    <a:pt x="190" y="98"/>
                  </a:lnTo>
                  <a:lnTo>
                    <a:pt x="190" y="100"/>
                  </a:lnTo>
                  <a:lnTo>
                    <a:pt x="187" y="100"/>
                  </a:lnTo>
                  <a:lnTo>
                    <a:pt x="187" y="103"/>
                  </a:lnTo>
                  <a:lnTo>
                    <a:pt x="187" y="100"/>
                  </a:lnTo>
                  <a:lnTo>
                    <a:pt x="185" y="100"/>
                  </a:lnTo>
                  <a:lnTo>
                    <a:pt x="185" y="103"/>
                  </a:lnTo>
                  <a:lnTo>
                    <a:pt x="187" y="103"/>
                  </a:lnTo>
                  <a:lnTo>
                    <a:pt x="190" y="103"/>
                  </a:lnTo>
                  <a:lnTo>
                    <a:pt x="187" y="103"/>
                  </a:lnTo>
                  <a:lnTo>
                    <a:pt x="190" y="103"/>
                  </a:lnTo>
                  <a:lnTo>
                    <a:pt x="187" y="103"/>
                  </a:lnTo>
                  <a:lnTo>
                    <a:pt x="187" y="105"/>
                  </a:lnTo>
                  <a:lnTo>
                    <a:pt x="187" y="107"/>
                  </a:lnTo>
                  <a:lnTo>
                    <a:pt x="185" y="107"/>
                  </a:lnTo>
                  <a:lnTo>
                    <a:pt x="185" y="110"/>
                  </a:lnTo>
                  <a:lnTo>
                    <a:pt x="182" y="110"/>
                  </a:lnTo>
                  <a:lnTo>
                    <a:pt x="182" y="112"/>
                  </a:lnTo>
                  <a:lnTo>
                    <a:pt x="180" y="112"/>
                  </a:lnTo>
                  <a:lnTo>
                    <a:pt x="180" y="114"/>
                  </a:lnTo>
                  <a:lnTo>
                    <a:pt x="178" y="114"/>
                  </a:lnTo>
                  <a:lnTo>
                    <a:pt x="175" y="114"/>
                  </a:lnTo>
                  <a:lnTo>
                    <a:pt x="173" y="114"/>
                  </a:lnTo>
                  <a:lnTo>
                    <a:pt x="171" y="114"/>
                  </a:lnTo>
                  <a:lnTo>
                    <a:pt x="168" y="114"/>
                  </a:lnTo>
                  <a:lnTo>
                    <a:pt x="166" y="114"/>
                  </a:lnTo>
                  <a:lnTo>
                    <a:pt x="166" y="117"/>
                  </a:lnTo>
                  <a:lnTo>
                    <a:pt x="163" y="117"/>
                  </a:lnTo>
                  <a:lnTo>
                    <a:pt x="163" y="119"/>
                  </a:lnTo>
                  <a:lnTo>
                    <a:pt x="161" y="119"/>
                  </a:lnTo>
                  <a:lnTo>
                    <a:pt x="159" y="119"/>
                  </a:lnTo>
                  <a:lnTo>
                    <a:pt x="161" y="119"/>
                  </a:lnTo>
                  <a:lnTo>
                    <a:pt x="163" y="119"/>
                  </a:lnTo>
                  <a:lnTo>
                    <a:pt x="166" y="119"/>
                  </a:lnTo>
                  <a:lnTo>
                    <a:pt x="166" y="117"/>
                  </a:lnTo>
                  <a:lnTo>
                    <a:pt x="168" y="117"/>
                  </a:lnTo>
                  <a:lnTo>
                    <a:pt x="171" y="117"/>
                  </a:lnTo>
                  <a:lnTo>
                    <a:pt x="173" y="114"/>
                  </a:lnTo>
                  <a:lnTo>
                    <a:pt x="175" y="114"/>
                  </a:lnTo>
                  <a:lnTo>
                    <a:pt x="175" y="117"/>
                  </a:lnTo>
                  <a:lnTo>
                    <a:pt x="175" y="119"/>
                  </a:lnTo>
                  <a:lnTo>
                    <a:pt x="173" y="119"/>
                  </a:lnTo>
                  <a:lnTo>
                    <a:pt x="175" y="119"/>
                  </a:lnTo>
                  <a:lnTo>
                    <a:pt x="175" y="122"/>
                  </a:lnTo>
                  <a:lnTo>
                    <a:pt x="178" y="122"/>
                  </a:lnTo>
                  <a:lnTo>
                    <a:pt x="180" y="122"/>
                  </a:lnTo>
                  <a:lnTo>
                    <a:pt x="182" y="122"/>
                  </a:lnTo>
                  <a:lnTo>
                    <a:pt x="180" y="122"/>
                  </a:lnTo>
                  <a:lnTo>
                    <a:pt x="182" y="122"/>
                  </a:lnTo>
                  <a:lnTo>
                    <a:pt x="182" y="124"/>
                  </a:lnTo>
                  <a:lnTo>
                    <a:pt x="185" y="124"/>
                  </a:lnTo>
                  <a:lnTo>
                    <a:pt x="182" y="124"/>
                  </a:lnTo>
                  <a:lnTo>
                    <a:pt x="182" y="126"/>
                  </a:lnTo>
                  <a:lnTo>
                    <a:pt x="180" y="126"/>
                  </a:lnTo>
                  <a:lnTo>
                    <a:pt x="178" y="126"/>
                  </a:lnTo>
                  <a:lnTo>
                    <a:pt x="178" y="129"/>
                  </a:lnTo>
                  <a:lnTo>
                    <a:pt x="175" y="129"/>
                  </a:lnTo>
                  <a:lnTo>
                    <a:pt x="173" y="129"/>
                  </a:lnTo>
                  <a:lnTo>
                    <a:pt x="173" y="126"/>
                  </a:lnTo>
                  <a:lnTo>
                    <a:pt x="171" y="126"/>
                  </a:lnTo>
                  <a:lnTo>
                    <a:pt x="171" y="129"/>
                  </a:lnTo>
                  <a:lnTo>
                    <a:pt x="168" y="129"/>
                  </a:lnTo>
                  <a:lnTo>
                    <a:pt x="168" y="131"/>
                  </a:lnTo>
                  <a:lnTo>
                    <a:pt x="166" y="131"/>
                  </a:lnTo>
                  <a:lnTo>
                    <a:pt x="166" y="133"/>
                  </a:lnTo>
                  <a:lnTo>
                    <a:pt x="163" y="133"/>
                  </a:lnTo>
                  <a:lnTo>
                    <a:pt x="166" y="133"/>
                  </a:lnTo>
                  <a:lnTo>
                    <a:pt x="163" y="133"/>
                  </a:lnTo>
                  <a:lnTo>
                    <a:pt x="163" y="136"/>
                  </a:lnTo>
                  <a:lnTo>
                    <a:pt x="161" y="136"/>
                  </a:lnTo>
                  <a:lnTo>
                    <a:pt x="159" y="136"/>
                  </a:lnTo>
                  <a:lnTo>
                    <a:pt x="156" y="136"/>
                  </a:lnTo>
                  <a:lnTo>
                    <a:pt x="156" y="138"/>
                  </a:lnTo>
                  <a:lnTo>
                    <a:pt x="156" y="136"/>
                  </a:lnTo>
                  <a:lnTo>
                    <a:pt x="156" y="138"/>
                  </a:lnTo>
                  <a:lnTo>
                    <a:pt x="154" y="138"/>
                  </a:lnTo>
                  <a:lnTo>
                    <a:pt x="154" y="136"/>
                  </a:lnTo>
                  <a:lnTo>
                    <a:pt x="152" y="136"/>
                  </a:lnTo>
                  <a:lnTo>
                    <a:pt x="149" y="136"/>
                  </a:lnTo>
                  <a:lnTo>
                    <a:pt x="147" y="136"/>
                  </a:lnTo>
                  <a:lnTo>
                    <a:pt x="147" y="133"/>
                  </a:lnTo>
                  <a:lnTo>
                    <a:pt x="144" y="133"/>
                  </a:lnTo>
                  <a:lnTo>
                    <a:pt x="142" y="133"/>
                  </a:lnTo>
                  <a:lnTo>
                    <a:pt x="142" y="131"/>
                  </a:lnTo>
                  <a:lnTo>
                    <a:pt x="142" y="133"/>
                  </a:lnTo>
                  <a:lnTo>
                    <a:pt x="144" y="133"/>
                  </a:lnTo>
                  <a:lnTo>
                    <a:pt x="144" y="136"/>
                  </a:lnTo>
                  <a:lnTo>
                    <a:pt x="147" y="136"/>
                  </a:lnTo>
                  <a:lnTo>
                    <a:pt x="147" y="138"/>
                  </a:lnTo>
                  <a:lnTo>
                    <a:pt x="149" y="138"/>
                  </a:lnTo>
                  <a:lnTo>
                    <a:pt x="149" y="136"/>
                  </a:lnTo>
                  <a:lnTo>
                    <a:pt x="152" y="138"/>
                  </a:lnTo>
                  <a:lnTo>
                    <a:pt x="154" y="138"/>
                  </a:lnTo>
                  <a:lnTo>
                    <a:pt x="156" y="138"/>
                  </a:lnTo>
                  <a:lnTo>
                    <a:pt x="159" y="138"/>
                  </a:lnTo>
                  <a:lnTo>
                    <a:pt x="161" y="138"/>
                  </a:lnTo>
                  <a:lnTo>
                    <a:pt x="163" y="138"/>
                  </a:lnTo>
                  <a:lnTo>
                    <a:pt x="166" y="138"/>
                  </a:lnTo>
                  <a:lnTo>
                    <a:pt x="166" y="141"/>
                  </a:lnTo>
                  <a:lnTo>
                    <a:pt x="168" y="141"/>
                  </a:lnTo>
                  <a:lnTo>
                    <a:pt x="171" y="141"/>
                  </a:lnTo>
                  <a:lnTo>
                    <a:pt x="173" y="141"/>
                  </a:lnTo>
                  <a:lnTo>
                    <a:pt x="173" y="138"/>
                  </a:lnTo>
                  <a:lnTo>
                    <a:pt x="175" y="138"/>
                  </a:lnTo>
                  <a:lnTo>
                    <a:pt x="173" y="136"/>
                  </a:lnTo>
                  <a:lnTo>
                    <a:pt x="175" y="136"/>
                  </a:lnTo>
                  <a:lnTo>
                    <a:pt x="178" y="136"/>
                  </a:lnTo>
                  <a:lnTo>
                    <a:pt x="178" y="133"/>
                  </a:lnTo>
                  <a:lnTo>
                    <a:pt x="178" y="136"/>
                  </a:lnTo>
                  <a:lnTo>
                    <a:pt x="178" y="133"/>
                  </a:lnTo>
                  <a:lnTo>
                    <a:pt x="178" y="136"/>
                  </a:lnTo>
                  <a:lnTo>
                    <a:pt x="180" y="136"/>
                  </a:lnTo>
                  <a:lnTo>
                    <a:pt x="182" y="136"/>
                  </a:lnTo>
                  <a:lnTo>
                    <a:pt x="185" y="136"/>
                  </a:lnTo>
                  <a:lnTo>
                    <a:pt x="182" y="136"/>
                  </a:lnTo>
                  <a:lnTo>
                    <a:pt x="182" y="138"/>
                  </a:lnTo>
                  <a:lnTo>
                    <a:pt x="185" y="138"/>
                  </a:lnTo>
                  <a:lnTo>
                    <a:pt x="187" y="138"/>
                  </a:lnTo>
                  <a:lnTo>
                    <a:pt x="190" y="138"/>
                  </a:lnTo>
                  <a:lnTo>
                    <a:pt x="190" y="141"/>
                  </a:lnTo>
                  <a:lnTo>
                    <a:pt x="192" y="141"/>
                  </a:lnTo>
                  <a:lnTo>
                    <a:pt x="194" y="141"/>
                  </a:lnTo>
                  <a:lnTo>
                    <a:pt x="194" y="143"/>
                  </a:lnTo>
                  <a:lnTo>
                    <a:pt x="194" y="141"/>
                  </a:lnTo>
                  <a:lnTo>
                    <a:pt x="197" y="141"/>
                  </a:lnTo>
                  <a:lnTo>
                    <a:pt x="197" y="143"/>
                  </a:lnTo>
                  <a:lnTo>
                    <a:pt x="199" y="143"/>
                  </a:lnTo>
                  <a:lnTo>
                    <a:pt x="199" y="145"/>
                  </a:lnTo>
                  <a:lnTo>
                    <a:pt x="201" y="145"/>
                  </a:lnTo>
                  <a:lnTo>
                    <a:pt x="201" y="148"/>
                  </a:lnTo>
                  <a:lnTo>
                    <a:pt x="204" y="148"/>
                  </a:lnTo>
                  <a:lnTo>
                    <a:pt x="204" y="150"/>
                  </a:lnTo>
                  <a:lnTo>
                    <a:pt x="204" y="152"/>
                  </a:lnTo>
                  <a:lnTo>
                    <a:pt x="206" y="152"/>
                  </a:lnTo>
                  <a:lnTo>
                    <a:pt x="206" y="155"/>
                  </a:lnTo>
                  <a:lnTo>
                    <a:pt x="209" y="155"/>
                  </a:lnTo>
                  <a:lnTo>
                    <a:pt x="209" y="157"/>
                  </a:lnTo>
                  <a:lnTo>
                    <a:pt x="211" y="155"/>
                  </a:lnTo>
                  <a:lnTo>
                    <a:pt x="209" y="155"/>
                  </a:lnTo>
                  <a:lnTo>
                    <a:pt x="211" y="155"/>
                  </a:lnTo>
                  <a:lnTo>
                    <a:pt x="211" y="157"/>
                  </a:lnTo>
                  <a:lnTo>
                    <a:pt x="213" y="157"/>
                  </a:lnTo>
                  <a:lnTo>
                    <a:pt x="213" y="160"/>
                  </a:lnTo>
                  <a:lnTo>
                    <a:pt x="216" y="160"/>
                  </a:lnTo>
                  <a:lnTo>
                    <a:pt x="216" y="162"/>
                  </a:lnTo>
                  <a:lnTo>
                    <a:pt x="216" y="164"/>
                  </a:lnTo>
                  <a:lnTo>
                    <a:pt x="216" y="167"/>
                  </a:lnTo>
                  <a:lnTo>
                    <a:pt x="216" y="169"/>
                  </a:lnTo>
                  <a:lnTo>
                    <a:pt x="216" y="171"/>
                  </a:lnTo>
                  <a:lnTo>
                    <a:pt x="218" y="171"/>
                  </a:lnTo>
                  <a:lnTo>
                    <a:pt x="218" y="174"/>
                  </a:lnTo>
                  <a:lnTo>
                    <a:pt x="218" y="176"/>
                  </a:lnTo>
                  <a:lnTo>
                    <a:pt x="218" y="179"/>
                  </a:lnTo>
                  <a:lnTo>
                    <a:pt x="220" y="179"/>
                  </a:lnTo>
                  <a:lnTo>
                    <a:pt x="218" y="179"/>
                  </a:lnTo>
                  <a:lnTo>
                    <a:pt x="218" y="181"/>
                  </a:lnTo>
                  <a:lnTo>
                    <a:pt x="218" y="183"/>
                  </a:lnTo>
                  <a:lnTo>
                    <a:pt x="220" y="183"/>
                  </a:lnTo>
                  <a:lnTo>
                    <a:pt x="220" y="186"/>
                  </a:lnTo>
                  <a:lnTo>
                    <a:pt x="223" y="186"/>
                  </a:lnTo>
                  <a:lnTo>
                    <a:pt x="223" y="188"/>
                  </a:lnTo>
                  <a:lnTo>
                    <a:pt x="220" y="188"/>
                  </a:lnTo>
                  <a:lnTo>
                    <a:pt x="220" y="190"/>
                  </a:lnTo>
                  <a:lnTo>
                    <a:pt x="218" y="190"/>
                  </a:lnTo>
                  <a:lnTo>
                    <a:pt x="216" y="190"/>
                  </a:lnTo>
                  <a:lnTo>
                    <a:pt x="213" y="190"/>
                  </a:lnTo>
                  <a:lnTo>
                    <a:pt x="216" y="190"/>
                  </a:lnTo>
                  <a:lnTo>
                    <a:pt x="218" y="190"/>
                  </a:lnTo>
                  <a:lnTo>
                    <a:pt x="220" y="190"/>
                  </a:lnTo>
                  <a:lnTo>
                    <a:pt x="220" y="188"/>
                  </a:lnTo>
                  <a:lnTo>
                    <a:pt x="223" y="188"/>
                  </a:lnTo>
                  <a:lnTo>
                    <a:pt x="223" y="190"/>
                  </a:lnTo>
                  <a:lnTo>
                    <a:pt x="225" y="190"/>
                  </a:lnTo>
                  <a:lnTo>
                    <a:pt x="223" y="193"/>
                  </a:lnTo>
                  <a:lnTo>
                    <a:pt x="225" y="193"/>
                  </a:lnTo>
                  <a:lnTo>
                    <a:pt x="223" y="19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9" name="Freeform 57774"/>
            <p:cNvSpPr>
              <a:spLocks noEditPoints="1"/>
            </p:cNvSpPr>
            <p:nvPr/>
          </p:nvSpPr>
          <p:spPr bwMode="auto">
            <a:xfrm>
              <a:off x="1573210" y="3822715"/>
              <a:ext cx="534988" cy="885828"/>
            </a:xfrm>
            <a:custGeom>
              <a:avLst/>
              <a:gdLst>
                <a:gd name="T0" fmla="*/ 221 w 337"/>
                <a:gd name="T1" fmla="*/ 518 h 558"/>
                <a:gd name="T2" fmla="*/ 244 w 337"/>
                <a:gd name="T3" fmla="*/ 525 h 558"/>
                <a:gd name="T4" fmla="*/ 254 w 337"/>
                <a:gd name="T5" fmla="*/ 513 h 558"/>
                <a:gd name="T6" fmla="*/ 313 w 337"/>
                <a:gd name="T7" fmla="*/ 487 h 558"/>
                <a:gd name="T8" fmla="*/ 109 w 337"/>
                <a:gd name="T9" fmla="*/ 463 h 558"/>
                <a:gd name="T10" fmla="*/ 131 w 337"/>
                <a:gd name="T11" fmla="*/ 390 h 558"/>
                <a:gd name="T12" fmla="*/ 102 w 337"/>
                <a:gd name="T13" fmla="*/ 333 h 558"/>
                <a:gd name="T14" fmla="*/ 95 w 337"/>
                <a:gd name="T15" fmla="*/ 273 h 558"/>
                <a:gd name="T16" fmla="*/ 123 w 337"/>
                <a:gd name="T17" fmla="*/ 264 h 558"/>
                <a:gd name="T18" fmla="*/ 114 w 337"/>
                <a:gd name="T19" fmla="*/ 261 h 558"/>
                <a:gd name="T20" fmla="*/ 78 w 337"/>
                <a:gd name="T21" fmla="*/ 252 h 558"/>
                <a:gd name="T22" fmla="*/ 102 w 337"/>
                <a:gd name="T23" fmla="*/ 245 h 558"/>
                <a:gd name="T24" fmla="*/ 97 w 337"/>
                <a:gd name="T25" fmla="*/ 242 h 558"/>
                <a:gd name="T26" fmla="*/ 105 w 337"/>
                <a:gd name="T27" fmla="*/ 235 h 558"/>
                <a:gd name="T28" fmla="*/ 62 w 337"/>
                <a:gd name="T29" fmla="*/ 228 h 558"/>
                <a:gd name="T30" fmla="*/ 62 w 337"/>
                <a:gd name="T31" fmla="*/ 226 h 558"/>
                <a:gd name="T32" fmla="*/ 74 w 337"/>
                <a:gd name="T33" fmla="*/ 221 h 558"/>
                <a:gd name="T34" fmla="*/ 74 w 337"/>
                <a:gd name="T35" fmla="*/ 219 h 558"/>
                <a:gd name="T36" fmla="*/ 78 w 337"/>
                <a:gd name="T37" fmla="*/ 211 h 558"/>
                <a:gd name="T38" fmla="*/ 83 w 337"/>
                <a:gd name="T39" fmla="*/ 209 h 558"/>
                <a:gd name="T40" fmla="*/ 43 w 337"/>
                <a:gd name="T41" fmla="*/ 204 h 558"/>
                <a:gd name="T42" fmla="*/ 38 w 337"/>
                <a:gd name="T43" fmla="*/ 204 h 558"/>
                <a:gd name="T44" fmla="*/ 76 w 337"/>
                <a:gd name="T45" fmla="*/ 200 h 558"/>
                <a:gd name="T46" fmla="*/ 90 w 337"/>
                <a:gd name="T47" fmla="*/ 185 h 558"/>
                <a:gd name="T48" fmla="*/ 48 w 337"/>
                <a:gd name="T49" fmla="*/ 181 h 558"/>
                <a:gd name="T50" fmla="*/ 45 w 337"/>
                <a:gd name="T51" fmla="*/ 190 h 558"/>
                <a:gd name="T52" fmla="*/ 43 w 337"/>
                <a:gd name="T53" fmla="*/ 188 h 558"/>
                <a:gd name="T54" fmla="*/ 48 w 337"/>
                <a:gd name="T55" fmla="*/ 178 h 558"/>
                <a:gd name="T56" fmla="*/ 40 w 337"/>
                <a:gd name="T57" fmla="*/ 181 h 558"/>
                <a:gd name="T58" fmla="*/ 45 w 337"/>
                <a:gd name="T59" fmla="*/ 178 h 558"/>
                <a:gd name="T60" fmla="*/ 36 w 337"/>
                <a:gd name="T61" fmla="*/ 176 h 558"/>
                <a:gd name="T62" fmla="*/ 90 w 337"/>
                <a:gd name="T63" fmla="*/ 173 h 558"/>
                <a:gd name="T64" fmla="*/ 50 w 337"/>
                <a:gd name="T65" fmla="*/ 173 h 558"/>
                <a:gd name="T66" fmla="*/ 43 w 337"/>
                <a:gd name="T67" fmla="*/ 169 h 558"/>
                <a:gd name="T68" fmla="*/ 95 w 337"/>
                <a:gd name="T69" fmla="*/ 164 h 558"/>
                <a:gd name="T70" fmla="*/ 2 w 337"/>
                <a:gd name="T71" fmla="*/ 162 h 558"/>
                <a:gd name="T72" fmla="*/ 64 w 337"/>
                <a:gd name="T73" fmla="*/ 159 h 558"/>
                <a:gd name="T74" fmla="*/ 74 w 337"/>
                <a:gd name="T75" fmla="*/ 150 h 558"/>
                <a:gd name="T76" fmla="*/ 107 w 337"/>
                <a:gd name="T77" fmla="*/ 150 h 558"/>
                <a:gd name="T78" fmla="*/ 116 w 337"/>
                <a:gd name="T79" fmla="*/ 135 h 558"/>
                <a:gd name="T80" fmla="*/ 183 w 337"/>
                <a:gd name="T81" fmla="*/ 109 h 558"/>
                <a:gd name="T82" fmla="*/ 178 w 337"/>
                <a:gd name="T83" fmla="*/ 109 h 558"/>
                <a:gd name="T84" fmla="*/ 192 w 337"/>
                <a:gd name="T85" fmla="*/ 95 h 558"/>
                <a:gd name="T86" fmla="*/ 93 w 337"/>
                <a:gd name="T87" fmla="*/ 93 h 558"/>
                <a:gd name="T88" fmla="*/ 199 w 337"/>
                <a:gd name="T89" fmla="*/ 95 h 558"/>
                <a:gd name="T90" fmla="*/ 183 w 337"/>
                <a:gd name="T91" fmla="*/ 88 h 558"/>
                <a:gd name="T92" fmla="*/ 204 w 337"/>
                <a:gd name="T93" fmla="*/ 85 h 558"/>
                <a:gd name="T94" fmla="*/ 202 w 337"/>
                <a:gd name="T95" fmla="*/ 85 h 558"/>
                <a:gd name="T96" fmla="*/ 188 w 337"/>
                <a:gd name="T97" fmla="*/ 83 h 558"/>
                <a:gd name="T98" fmla="*/ 207 w 337"/>
                <a:gd name="T99" fmla="*/ 78 h 558"/>
                <a:gd name="T100" fmla="*/ 240 w 337"/>
                <a:gd name="T101" fmla="*/ 38 h 558"/>
                <a:gd name="T102" fmla="*/ 242 w 337"/>
                <a:gd name="T103" fmla="*/ 38 h 558"/>
                <a:gd name="T104" fmla="*/ 252 w 337"/>
                <a:gd name="T105" fmla="*/ 40 h 558"/>
                <a:gd name="T106" fmla="*/ 230 w 337"/>
                <a:gd name="T107" fmla="*/ 26 h 558"/>
                <a:gd name="T108" fmla="*/ 240 w 337"/>
                <a:gd name="T109" fmla="*/ 24 h 558"/>
                <a:gd name="T110" fmla="*/ 254 w 337"/>
                <a:gd name="T111" fmla="*/ 14 h 558"/>
                <a:gd name="T112" fmla="*/ 259 w 337"/>
                <a:gd name="T113" fmla="*/ 12 h 558"/>
                <a:gd name="T114" fmla="*/ 252 w 337"/>
                <a:gd name="T115" fmla="*/ 14 h 558"/>
                <a:gd name="T116" fmla="*/ 247 w 337"/>
                <a:gd name="T117" fmla="*/ 12 h 558"/>
                <a:gd name="T118" fmla="*/ 259 w 337"/>
                <a:gd name="T119" fmla="*/ 2 h 558"/>
                <a:gd name="T120" fmla="*/ 254 w 337"/>
                <a:gd name="T121" fmla="*/ 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7" h="558">
                  <a:moveTo>
                    <a:pt x="78" y="556"/>
                  </a:moveTo>
                  <a:lnTo>
                    <a:pt x="78" y="558"/>
                  </a:lnTo>
                  <a:lnTo>
                    <a:pt x="78" y="556"/>
                  </a:lnTo>
                  <a:lnTo>
                    <a:pt x="78" y="558"/>
                  </a:lnTo>
                  <a:lnTo>
                    <a:pt x="76" y="556"/>
                  </a:lnTo>
                  <a:lnTo>
                    <a:pt x="78" y="556"/>
                  </a:lnTo>
                  <a:close/>
                  <a:moveTo>
                    <a:pt x="76" y="556"/>
                  </a:moveTo>
                  <a:lnTo>
                    <a:pt x="76" y="553"/>
                  </a:lnTo>
                  <a:lnTo>
                    <a:pt x="76" y="556"/>
                  </a:lnTo>
                  <a:close/>
                  <a:moveTo>
                    <a:pt x="76" y="553"/>
                  </a:moveTo>
                  <a:lnTo>
                    <a:pt x="76" y="556"/>
                  </a:lnTo>
                  <a:lnTo>
                    <a:pt x="78" y="556"/>
                  </a:lnTo>
                  <a:lnTo>
                    <a:pt x="76" y="556"/>
                  </a:lnTo>
                  <a:lnTo>
                    <a:pt x="76" y="553"/>
                  </a:lnTo>
                  <a:close/>
                  <a:moveTo>
                    <a:pt x="78" y="553"/>
                  </a:moveTo>
                  <a:lnTo>
                    <a:pt x="78" y="556"/>
                  </a:lnTo>
                  <a:lnTo>
                    <a:pt x="78" y="553"/>
                  </a:lnTo>
                  <a:close/>
                  <a:moveTo>
                    <a:pt x="221" y="520"/>
                  </a:moveTo>
                  <a:lnTo>
                    <a:pt x="221" y="518"/>
                  </a:lnTo>
                  <a:lnTo>
                    <a:pt x="221" y="520"/>
                  </a:lnTo>
                  <a:close/>
                  <a:moveTo>
                    <a:pt x="244" y="518"/>
                  </a:moveTo>
                  <a:lnTo>
                    <a:pt x="242" y="518"/>
                  </a:lnTo>
                  <a:lnTo>
                    <a:pt x="244" y="518"/>
                  </a:lnTo>
                  <a:lnTo>
                    <a:pt x="244" y="515"/>
                  </a:lnTo>
                  <a:lnTo>
                    <a:pt x="242" y="515"/>
                  </a:lnTo>
                  <a:lnTo>
                    <a:pt x="244" y="515"/>
                  </a:lnTo>
                  <a:lnTo>
                    <a:pt x="244" y="518"/>
                  </a:lnTo>
                  <a:lnTo>
                    <a:pt x="247" y="518"/>
                  </a:lnTo>
                  <a:lnTo>
                    <a:pt x="249" y="518"/>
                  </a:lnTo>
                  <a:lnTo>
                    <a:pt x="249" y="520"/>
                  </a:lnTo>
                  <a:lnTo>
                    <a:pt x="249" y="518"/>
                  </a:lnTo>
                  <a:lnTo>
                    <a:pt x="249" y="520"/>
                  </a:lnTo>
                  <a:lnTo>
                    <a:pt x="252" y="520"/>
                  </a:lnTo>
                  <a:lnTo>
                    <a:pt x="249" y="520"/>
                  </a:lnTo>
                  <a:lnTo>
                    <a:pt x="247" y="520"/>
                  </a:lnTo>
                  <a:lnTo>
                    <a:pt x="247" y="523"/>
                  </a:lnTo>
                  <a:lnTo>
                    <a:pt x="247" y="525"/>
                  </a:lnTo>
                  <a:lnTo>
                    <a:pt x="244" y="525"/>
                  </a:lnTo>
                  <a:lnTo>
                    <a:pt x="242" y="525"/>
                  </a:lnTo>
                  <a:lnTo>
                    <a:pt x="242" y="523"/>
                  </a:lnTo>
                  <a:lnTo>
                    <a:pt x="240" y="523"/>
                  </a:lnTo>
                  <a:lnTo>
                    <a:pt x="237" y="523"/>
                  </a:lnTo>
                  <a:lnTo>
                    <a:pt x="237" y="520"/>
                  </a:lnTo>
                  <a:lnTo>
                    <a:pt x="235" y="520"/>
                  </a:lnTo>
                  <a:lnTo>
                    <a:pt x="233" y="520"/>
                  </a:lnTo>
                  <a:lnTo>
                    <a:pt x="235" y="520"/>
                  </a:lnTo>
                  <a:lnTo>
                    <a:pt x="235" y="518"/>
                  </a:lnTo>
                  <a:lnTo>
                    <a:pt x="237" y="518"/>
                  </a:lnTo>
                  <a:lnTo>
                    <a:pt x="240" y="518"/>
                  </a:lnTo>
                  <a:lnTo>
                    <a:pt x="242" y="518"/>
                  </a:lnTo>
                  <a:lnTo>
                    <a:pt x="242" y="515"/>
                  </a:lnTo>
                  <a:lnTo>
                    <a:pt x="244" y="515"/>
                  </a:lnTo>
                  <a:lnTo>
                    <a:pt x="242" y="518"/>
                  </a:lnTo>
                  <a:lnTo>
                    <a:pt x="244" y="518"/>
                  </a:lnTo>
                  <a:close/>
                  <a:moveTo>
                    <a:pt x="254" y="513"/>
                  </a:moveTo>
                  <a:lnTo>
                    <a:pt x="254" y="511"/>
                  </a:lnTo>
                  <a:lnTo>
                    <a:pt x="254" y="513"/>
                  </a:lnTo>
                  <a:close/>
                  <a:moveTo>
                    <a:pt x="133" y="496"/>
                  </a:moveTo>
                  <a:lnTo>
                    <a:pt x="131" y="496"/>
                  </a:lnTo>
                  <a:lnTo>
                    <a:pt x="131" y="494"/>
                  </a:lnTo>
                  <a:lnTo>
                    <a:pt x="133" y="494"/>
                  </a:lnTo>
                  <a:lnTo>
                    <a:pt x="133" y="496"/>
                  </a:lnTo>
                  <a:close/>
                  <a:moveTo>
                    <a:pt x="304" y="485"/>
                  </a:moveTo>
                  <a:lnTo>
                    <a:pt x="306" y="485"/>
                  </a:lnTo>
                  <a:lnTo>
                    <a:pt x="304" y="485"/>
                  </a:lnTo>
                  <a:close/>
                  <a:moveTo>
                    <a:pt x="309" y="482"/>
                  </a:moveTo>
                  <a:lnTo>
                    <a:pt x="309" y="485"/>
                  </a:lnTo>
                  <a:lnTo>
                    <a:pt x="309" y="482"/>
                  </a:lnTo>
                  <a:close/>
                  <a:moveTo>
                    <a:pt x="311" y="482"/>
                  </a:moveTo>
                  <a:lnTo>
                    <a:pt x="313" y="482"/>
                  </a:lnTo>
                  <a:lnTo>
                    <a:pt x="316" y="482"/>
                  </a:lnTo>
                  <a:lnTo>
                    <a:pt x="316" y="485"/>
                  </a:lnTo>
                  <a:lnTo>
                    <a:pt x="318" y="485"/>
                  </a:lnTo>
                  <a:lnTo>
                    <a:pt x="318" y="487"/>
                  </a:lnTo>
                  <a:lnTo>
                    <a:pt x="316" y="487"/>
                  </a:lnTo>
                  <a:lnTo>
                    <a:pt x="313" y="487"/>
                  </a:lnTo>
                  <a:lnTo>
                    <a:pt x="311" y="485"/>
                  </a:lnTo>
                  <a:lnTo>
                    <a:pt x="311" y="487"/>
                  </a:lnTo>
                  <a:lnTo>
                    <a:pt x="311" y="485"/>
                  </a:lnTo>
                  <a:lnTo>
                    <a:pt x="309" y="485"/>
                  </a:lnTo>
                  <a:lnTo>
                    <a:pt x="311" y="485"/>
                  </a:lnTo>
                  <a:lnTo>
                    <a:pt x="311" y="482"/>
                  </a:lnTo>
                  <a:close/>
                  <a:moveTo>
                    <a:pt x="311" y="473"/>
                  </a:moveTo>
                  <a:lnTo>
                    <a:pt x="309" y="473"/>
                  </a:lnTo>
                  <a:lnTo>
                    <a:pt x="311" y="473"/>
                  </a:lnTo>
                  <a:close/>
                  <a:moveTo>
                    <a:pt x="311" y="468"/>
                  </a:moveTo>
                  <a:lnTo>
                    <a:pt x="309" y="468"/>
                  </a:lnTo>
                  <a:lnTo>
                    <a:pt x="311" y="468"/>
                  </a:lnTo>
                  <a:close/>
                  <a:moveTo>
                    <a:pt x="318" y="466"/>
                  </a:moveTo>
                  <a:lnTo>
                    <a:pt x="316" y="466"/>
                  </a:lnTo>
                  <a:lnTo>
                    <a:pt x="318" y="466"/>
                  </a:lnTo>
                  <a:lnTo>
                    <a:pt x="318" y="463"/>
                  </a:lnTo>
                  <a:lnTo>
                    <a:pt x="318" y="466"/>
                  </a:lnTo>
                  <a:close/>
                  <a:moveTo>
                    <a:pt x="109" y="461"/>
                  </a:moveTo>
                  <a:lnTo>
                    <a:pt x="109" y="463"/>
                  </a:lnTo>
                  <a:lnTo>
                    <a:pt x="109" y="461"/>
                  </a:lnTo>
                  <a:close/>
                  <a:moveTo>
                    <a:pt x="337" y="451"/>
                  </a:moveTo>
                  <a:lnTo>
                    <a:pt x="335" y="451"/>
                  </a:lnTo>
                  <a:lnTo>
                    <a:pt x="337" y="451"/>
                  </a:lnTo>
                  <a:close/>
                  <a:moveTo>
                    <a:pt x="128" y="418"/>
                  </a:moveTo>
                  <a:lnTo>
                    <a:pt x="128" y="416"/>
                  </a:lnTo>
                  <a:lnTo>
                    <a:pt x="128" y="418"/>
                  </a:lnTo>
                  <a:close/>
                  <a:moveTo>
                    <a:pt x="133" y="390"/>
                  </a:moveTo>
                  <a:lnTo>
                    <a:pt x="135" y="390"/>
                  </a:lnTo>
                  <a:lnTo>
                    <a:pt x="135" y="392"/>
                  </a:lnTo>
                  <a:lnTo>
                    <a:pt x="133" y="392"/>
                  </a:lnTo>
                  <a:lnTo>
                    <a:pt x="135" y="392"/>
                  </a:lnTo>
                  <a:lnTo>
                    <a:pt x="135" y="394"/>
                  </a:lnTo>
                  <a:lnTo>
                    <a:pt x="135" y="392"/>
                  </a:lnTo>
                  <a:lnTo>
                    <a:pt x="135" y="394"/>
                  </a:lnTo>
                  <a:lnTo>
                    <a:pt x="133" y="394"/>
                  </a:lnTo>
                  <a:lnTo>
                    <a:pt x="133" y="392"/>
                  </a:lnTo>
                  <a:lnTo>
                    <a:pt x="131" y="392"/>
                  </a:lnTo>
                  <a:lnTo>
                    <a:pt x="131" y="390"/>
                  </a:lnTo>
                  <a:lnTo>
                    <a:pt x="133" y="390"/>
                  </a:lnTo>
                  <a:close/>
                  <a:moveTo>
                    <a:pt x="263" y="371"/>
                  </a:moveTo>
                  <a:lnTo>
                    <a:pt x="263" y="368"/>
                  </a:lnTo>
                  <a:lnTo>
                    <a:pt x="263" y="371"/>
                  </a:lnTo>
                  <a:close/>
                  <a:moveTo>
                    <a:pt x="178" y="352"/>
                  </a:moveTo>
                  <a:lnTo>
                    <a:pt x="180" y="352"/>
                  </a:lnTo>
                  <a:lnTo>
                    <a:pt x="180" y="354"/>
                  </a:lnTo>
                  <a:lnTo>
                    <a:pt x="180" y="352"/>
                  </a:lnTo>
                  <a:lnTo>
                    <a:pt x="180" y="354"/>
                  </a:lnTo>
                  <a:lnTo>
                    <a:pt x="180" y="352"/>
                  </a:lnTo>
                  <a:lnTo>
                    <a:pt x="180" y="354"/>
                  </a:lnTo>
                  <a:lnTo>
                    <a:pt x="180" y="352"/>
                  </a:lnTo>
                  <a:lnTo>
                    <a:pt x="178" y="352"/>
                  </a:lnTo>
                  <a:lnTo>
                    <a:pt x="178" y="349"/>
                  </a:lnTo>
                  <a:lnTo>
                    <a:pt x="178" y="347"/>
                  </a:lnTo>
                  <a:lnTo>
                    <a:pt x="178" y="349"/>
                  </a:lnTo>
                  <a:lnTo>
                    <a:pt x="178" y="352"/>
                  </a:lnTo>
                  <a:close/>
                  <a:moveTo>
                    <a:pt x="100" y="333"/>
                  </a:moveTo>
                  <a:lnTo>
                    <a:pt x="102" y="333"/>
                  </a:lnTo>
                  <a:lnTo>
                    <a:pt x="100" y="333"/>
                  </a:lnTo>
                  <a:close/>
                  <a:moveTo>
                    <a:pt x="100" y="333"/>
                  </a:moveTo>
                  <a:lnTo>
                    <a:pt x="100" y="330"/>
                  </a:lnTo>
                  <a:lnTo>
                    <a:pt x="100" y="333"/>
                  </a:lnTo>
                  <a:close/>
                  <a:moveTo>
                    <a:pt x="105" y="321"/>
                  </a:moveTo>
                  <a:lnTo>
                    <a:pt x="102" y="321"/>
                  </a:lnTo>
                  <a:lnTo>
                    <a:pt x="105" y="321"/>
                  </a:lnTo>
                  <a:close/>
                  <a:moveTo>
                    <a:pt x="102" y="290"/>
                  </a:moveTo>
                  <a:lnTo>
                    <a:pt x="102" y="292"/>
                  </a:lnTo>
                  <a:lnTo>
                    <a:pt x="102" y="290"/>
                  </a:lnTo>
                  <a:close/>
                  <a:moveTo>
                    <a:pt x="81" y="290"/>
                  </a:moveTo>
                  <a:lnTo>
                    <a:pt x="83" y="290"/>
                  </a:lnTo>
                  <a:lnTo>
                    <a:pt x="81" y="290"/>
                  </a:lnTo>
                  <a:lnTo>
                    <a:pt x="83" y="292"/>
                  </a:lnTo>
                  <a:lnTo>
                    <a:pt x="81" y="292"/>
                  </a:lnTo>
                  <a:lnTo>
                    <a:pt x="81" y="290"/>
                  </a:lnTo>
                  <a:lnTo>
                    <a:pt x="78" y="290"/>
                  </a:lnTo>
                  <a:lnTo>
                    <a:pt x="81" y="290"/>
                  </a:lnTo>
                  <a:close/>
                  <a:moveTo>
                    <a:pt x="95" y="273"/>
                  </a:moveTo>
                  <a:lnTo>
                    <a:pt x="97" y="273"/>
                  </a:lnTo>
                  <a:lnTo>
                    <a:pt x="95" y="273"/>
                  </a:lnTo>
                  <a:close/>
                  <a:moveTo>
                    <a:pt x="226" y="271"/>
                  </a:moveTo>
                  <a:lnTo>
                    <a:pt x="228" y="271"/>
                  </a:lnTo>
                  <a:lnTo>
                    <a:pt x="226" y="271"/>
                  </a:lnTo>
                  <a:close/>
                  <a:moveTo>
                    <a:pt x="97" y="268"/>
                  </a:moveTo>
                  <a:lnTo>
                    <a:pt x="97" y="271"/>
                  </a:lnTo>
                  <a:lnTo>
                    <a:pt x="95" y="271"/>
                  </a:lnTo>
                  <a:lnTo>
                    <a:pt x="95" y="273"/>
                  </a:lnTo>
                  <a:lnTo>
                    <a:pt x="95" y="271"/>
                  </a:lnTo>
                  <a:lnTo>
                    <a:pt x="97" y="268"/>
                  </a:lnTo>
                  <a:lnTo>
                    <a:pt x="95" y="268"/>
                  </a:lnTo>
                  <a:lnTo>
                    <a:pt x="97" y="268"/>
                  </a:lnTo>
                  <a:close/>
                  <a:moveTo>
                    <a:pt x="123" y="268"/>
                  </a:moveTo>
                  <a:lnTo>
                    <a:pt x="121" y="268"/>
                  </a:lnTo>
                  <a:lnTo>
                    <a:pt x="123" y="268"/>
                  </a:lnTo>
                  <a:close/>
                  <a:moveTo>
                    <a:pt x="123" y="264"/>
                  </a:moveTo>
                  <a:lnTo>
                    <a:pt x="123" y="266"/>
                  </a:lnTo>
                  <a:lnTo>
                    <a:pt x="123" y="264"/>
                  </a:lnTo>
                  <a:close/>
                  <a:moveTo>
                    <a:pt x="116" y="266"/>
                  </a:moveTo>
                  <a:lnTo>
                    <a:pt x="116" y="264"/>
                  </a:lnTo>
                  <a:lnTo>
                    <a:pt x="116" y="266"/>
                  </a:lnTo>
                  <a:close/>
                  <a:moveTo>
                    <a:pt x="114" y="259"/>
                  </a:moveTo>
                  <a:lnTo>
                    <a:pt x="116" y="259"/>
                  </a:lnTo>
                  <a:lnTo>
                    <a:pt x="119" y="259"/>
                  </a:lnTo>
                  <a:lnTo>
                    <a:pt x="119" y="261"/>
                  </a:lnTo>
                  <a:lnTo>
                    <a:pt x="121" y="261"/>
                  </a:lnTo>
                  <a:lnTo>
                    <a:pt x="121" y="264"/>
                  </a:lnTo>
                  <a:lnTo>
                    <a:pt x="121" y="266"/>
                  </a:lnTo>
                  <a:lnTo>
                    <a:pt x="119" y="266"/>
                  </a:lnTo>
                  <a:lnTo>
                    <a:pt x="121" y="266"/>
                  </a:lnTo>
                  <a:lnTo>
                    <a:pt x="121" y="268"/>
                  </a:lnTo>
                  <a:lnTo>
                    <a:pt x="119" y="268"/>
                  </a:lnTo>
                  <a:lnTo>
                    <a:pt x="119" y="266"/>
                  </a:lnTo>
                  <a:lnTo>
                    <a:pt x="116" y="266"/>
                  </a:lnTo>
                  <a:lnTo>
                    <a:pt x="116" y="264"/>
                  </a:lnTo>
                  <a:lnTo>
                    <a:pt x="116" y="261"/>
                  </a:lnTo>
                  <a:lnTo>
                    <a:pt x="114" y="261"/>
                  </a:lnTo>
                  <a:lnTo>
                    <a:pt x="114" y="259"/>
                  </a:lnTo>
                  <a:close/>
                  <a:moveTo>
                    <a:pt x="81" y="252"/>
                  </a:moveTo>
                  <a:lnTo>
                    <a:pt x="81" y="254"/>
                  </a:lnTo>
                  <a:lnTo>
                    <a:pt x="81" y="252"/>
                  </a:lnTo>
                  <a:lnTo>
                    <a:pt x="81" y="254"/>
                  </a:lnTo>
                  <a:lnTo>
                    <a:pt x="78" y="254"/>
                  </a:lnTo>
                  <a:lnTo>
                    <a:pt x="81" y="254"/>
                  </a:lnTo>
                  <a:lnTo>
                    <a:pt x="78" y="254"/>
                  </a:lnTo>
                  <a:lnTo>
                    <a:pt x="78" y="252"/>
                  </a:lnTo>
                  <a:lnTo>
                    <a:pt x="81" y="252"/>
                  </a:lnTo>
                  <a:close/>
                  <a:moveTo>
                    <a:pt x="83" y="247"/>
                  </a:moveTo>
                  <a:lnTo>
                    <a:pt x="83" y="249"/>
                  </a:lnTo>
                  <a:lnTo>
                    <a:pt x="81" y="249"/>
                  </a:lnTo>
                  <a:lnTo>
                    <a:pt x="81" y="252"/>
                  </a:lnTo>
                  <a:lnTo>
                    <a:pt x="83" y="252"/>
                  </a:lnTo>
                  <a:lnTo>
                    <a:pt x="81" y="252"/>
                  </a:lnTo>
                  <a:lnTo>
                    <a:pt x="78" y="252"/>
                  </a:lnTo>
                  <a:lnTo>
                    <a:pt x="81" y="252"/>
                  </a:lnTo>
                  <a:lnTo>
                    <a:pt x="78" y="252"/>
                  </a:lnTo>
                  <a:lnTo>
                    <a:pt x="81" y="252"/>
                  </a:lnTo>
                  <a:lnTo>
                    <a:pt x="78" y="252"/>
                  </a:lnTo>
                  <a:lnTo>
                    <a:pt x="81" y="252"/>
                  </a:lnTo>
                  <a:lnTo>
                    <a:pt x="78" y="252"/>
                  </a:lnTo>
                  <a:lnTo>
                    <a:pt x="81" y="249"/>
                  </a:lnTo>
                  <a:lnTo>
                    <a:pt x="78" y="249"/>
                  </a:lnTo>
                  <a:lnTo>
                    <a:pt x="81" y="249"/>
                  </a:lnTo>
                  <a:lnTo>
                    <a:pt x="83" y="249"/>
                  </a:lnTo>
                  <a:lnTo>
                    <a:pt x="81" y="249"/>
                  </a:lnTo>
                  <a:lnTo>
                    <a:pt x="83" y="247"/>
                  </a:lnTo>
                  <a:lnTo>
                    <a:pt x="81" y="247"/>
                  </a:lnTo>
                  <a:lnTo>
                    <a:pt x="83" y="247"/>
                  </a:lnTo>
                  <a:close/>
                  <a:moveTo>
                    <a:pt x="102" y="247"/>
                  </a:moveTo>
                  <a:lnTo>
                    <a:pt x="102" y="245"/>
                  </a:lnTo>
                  <a:lnTo>
                    <a:pt x="105" y="245"/>
                  </a:lnTo>
                  <a:lnTo>
                    <a:pt x="102" y="247"/>
                  </a:lnTo>
                  <a:close/>
                  <a:moveTo>
                    <a:pt x="102" y="245"/>
                  </a:moveTo>
                  <a:lnTo>
                    <a:pt x="105" y="245"/>
                  </a:lnTo>
                  <a:lnTo>
                    <a:pt x="102" y="245"/>
                  </a:lnTo>
                  <a:close/>
                  <a:moveTo>
                    <a:pt x="97" y="245"/>
                  </a:moveTo>
                  <a:lnTo>
                    <a:pt x="100" y="245"/>
                  </a:lnTo>
                  <a:lnTo>
                    <a:pt x="97" y="245"/>
                  </a:lnTo>
                  <a:lnTo>
                    <a:pt x="100" y="245"/>
                  </a:lnTo>
                  <a:lnTo>
                    <a:pt x="97" y="245"/>
                  </a:lnTo>
                  <a:lnTo>
                    <a:pt x="97" y="247"/>
                  </a:lnTo>
                  <a:lnTo>
                    <a:pt x="97" y="245"/>
                  </a:lnTo>
                  <a:lnTo>
                    <a:pt x="97" y="247"/>
                  </a:lnTo>
                  <a:lnTo>
                    <a:pt x="97" y="245"/>
                  </a:lnTo>
                  <a:lnTo>
                    <a:pt x="97" y="247"/>
                  </a:lnTo>
                  <a:lnTo>
                    <a:pt x="97" y="245"/>
                  </a:lnTo>
                  <a:lnTo>
                    <a:pt x="95" y="245"/>
                  </a:lnTo>
                  <a:lnTo>
                    <a:pt x="97" y="245"/>
                  </a:lnTo>
                  <a:close/>
                  <a:moveTo>
                    <a:pt x="100" y="242"/>
                  </a:moveTo>
                  <a:lnTo>
                    <a:pt x="102" y="242"/>
                  </a:lnTo>
                  <a:lnTo>
                    <a:pt x="102" y="245"/>
                  </a:lnTo>
                  <a:lnTo>
                    <a:pt x="100" y="245"/>
                  </a:lnTo>
                  <a:lnTo>
                    <a:pt x="100" y="242"/>
                  </a:lnTo>
                  <a:close/>
                  <a:moveTo>
                    <a:pt x="97" y="242"/>
                  </a:moveTo>
                  <a:lnTo>
                    <a:pt x="97" y="245"/>
                  </a:lnTo>
                  <a:lnTo>
                    <a:pt x="97" y="242"/>
                  </a:lnTo>
                  <a:close/>
                  <a:moveTo>
                    <a:pt x="97" y="242"/>
                  </a:moveTo>
                  <a:lnTo>
                    <a:pt x="95" y="242"/>
                  </a:lnTo>
                  <a:lnTo>
                    <a:pt x="97" y="242"/>
                  </a:lnTo>
                  <a:close/>
                  <a:moveTo>
                    <a:pt x="100" y="240"/>
                  </a:moveTo>
                  <a:lnTo>
                    <a:pt x="100" y="242"/>
                  </a:lnTo>
                  <a:lnTo>
                    <a:pt x="100" y="240"/>
                  </a:lnTo>
                  <a:lnTo>
                    <a:pt x="100" y="242"/>
                  </a:lnTo>
                  <a:lnTo>
                    <a:pt x="100" y="245"/>
                  </a:lnTo>
                  <a:lnTo>
                    <a:pt x="100" y="242"/>
                  </a:lnTo>
                  <a:lnTo>
                    <a:pt x="100" y="240"/>
                  </a:lnTo>
                  <a:close/>
                  <a:moveTo>
                    <a:pt x="76" y="235"/>
                  </a:moveTo>
                  <a:lnTo>
                    <a:pt x="76" y="238"/>
                  </a:lnTo>
                  <a:lnTo>
                    <a:pt x="74" y="238"/>
                  </a:lnTo>
                  <a:lnTo>
                    <a:pt x="74" y="235"/>
                  </a:lnTo>
                  <a:lnTo>
                    <a:pt x="76" y="235"/>
                  </a:lnTo>
                  <a:close/>
                  <a:moveTo>
                    <a:pt x="105" y="233"/>
                  </a:moveTo>
                  <a:lnTo>
                    <a:pt x="105" y="235"/>
                  </a:lnTo>
                  <a:lnTo>
                    <a:pt x="102" y="235"/>
                  </a:lnTo>
                  <a:lnTo>
                    <a:pt x="102" y="233"/>
                  </a:lnTo>
                  <a:lnTo>
                    <a:pt x="105" y="233"/>
                  </a:lnTo>
                  <a:close/>
                  <a:moveTo>
                    <a:pt x="76" y="233"/>
                  </a:moveTo>
                  <a:lnTo>
                    <a:pt x="76" y="230"/>
                  </a:lnTo>
                  <a:lnTo>
                    <a:pt x="76" y="233"/>
                  </a:lnTo>
                  <a:close/>
                  <a:moveTo>
                    <a:pt x="83" y="230"/>
                  </a:moveTo>
                  <a:lnTo>
                    <a:pt x="83" y="233"/>
                  </a:lnTo>
                  <a:lnTo>
                    <a:pt x="83" y="230"/>
                  </a:lnTo>
                  <a:close/>
                  <a:moveTo>
                    <a:pt x="81" y="230"/>
                  </a:moveTo>
                  <a:lnTo>
                    <a:pt x="78" y="230"/>
                  </a:lnTo>
                  <a:lnTo>
                    <a:pt x="81" y="230"/>
                  </a:lnTo>
                  <a:close/>
                  <a:moveTo>
                    <a:pt x="74" y="228"/>
                  </a:moveTo>
                  <a:lnTo>
                    <a:pt x="74" y="230"/>
                  </a:lnTo>
                  <a:lnTo>
                    <a:pt x="74" y="228"/>
                  </a:lnTo>
                  <a:close/>
                  <a:moveTo>
                    <a:pt x="76" y="228"/>
                  </a:moveTo>
                  <a:lnTo>
                    <a:pt x="74" y="228"/>
                  </a:lnTo>
                  <a:lnTo>
                    <a:pt x="76" y="228"/>
                  </a:lnTo>
                  <a:close/>
                  <a:moveTo>
                    <a:pt x="62" y="228"/>
                  </a:moveTo>
                  <a:lnTo>
                    <a:pt x="64" y="228"/>
                  </a:lnTo>
                  <a:lnTo>
                    <a:pt x="62" y="228"/>
                  </a:lnTo>
                  <a:close/>
                  <a:moveTo>
                    <a:pt x="107" y="226"/>
                  </a:moveTo>
                  <a:lnTo>
                    <a:pt x="107" y="228"/>
                  </a:lnTo>
                  <a:lnTo>
                    <a:pt x="107" y="226"/>
                  </a:lnTo>
                  <a:close/>
                  <a:moveTo>
                    <a:pt x="64" y="226"/>
                  </a:moveTo>
                  <a:lnTo>
                    <a:pt x="64" y="228"/>
                  </a:lnTo>
                  <a:lnTo>
                    <a:pt x="62" y="228"/>
                  </a:lnTo>
                  <a:lnTo>
                    <a:pt x="59" y="228"/>
                  </a:lnTo>
                  <a:lnTo>
                    <a:pt x="59" y="230"/>
                  </a:lnTo>
                  <a:lnTo>
                    <a:pt x="57" y="230"/>
                  </a:lnTo>
                  <a:lnTo>
                    <a:pt x="55" y="230"/>
                  </a:lnTo>
                  <a:lnTo>
                    <a:pt x="57" y="230"/>
                  </a:lnTo>
                  <a:lnTo>
                    <a:pt x="55" y="230"/>
                  </a:lnTo>
                  <a:lnTo>
                    <a:pt x="55" y="228"/>
                  </a:lnTo>
                  <a:lnTo>
                    <a:pt x="57" y="228"/>
                  </a:lnTo>
                  <a:lnTo>
                    <a:pt x="59" y="228"/>
                  </a:lnTo>
                  <a:lnTo>
                    <a:pt x="59" y="226"/>
                  </a:lnTo>
                  <a:lnTo>
                    <a:pt x="62" y="226"/>
                  </a:lnTo>
                  <a:lnTo>
                    <a:pt x="64" y="226"/>
                  </a:lnTo>
                  <a:close/>
                  <a:moveTo>
                    <a:pt x="107" y="226"/>
                  </a:moveTo>
                  <a:lnTo>
                    <a:pt x="105" y="226"/>
                  </a:lnTo>
                  <a:lnTo>
                    <a:pt x="105" y="228"/>
                  </a:lnTo>
                  <a:lnTo>
                    <a:pt x="102" y="230"/>
                  </a:lnTo>
                  <a:lnTo>
                    <a:pt x="102" y="228"/>
                  </a:lnTo>
                  <a:lnTo>
                    <a:pt x="105" y="228"/>
                  </a:lnTo>
                  <a:lnTo>
                    <a:pt x="105" y="226"/>
                  </a:lnTo>
                  <a:lnTo>
                    <a:pt x="107" y="226"/>
                  </a:lnTo>
                  <a:close/>
                  <a:moveTo>
                    <a:pt x="107" y="223"/>
                  </a:moveTo>
                  <a:lnTo>
                    <a:pt x="109" y="223"/>
                  </a:lnTo>
                  <a:lnTo>
                    <a:pt x="107" y="223"/>
                  </a:lnTo>
                  <a:close/>
                  <a:moveTo>
                    <a:pt x="86" y="223"/>
                  </a:moveTo>
                  <a:lnTo>
                    <a:pt x="88" y="223"/>
                  </a:lnTo>
                  <a:lnTo>
                    <a:pt x="86" y="223"/>
                  </a:lnTo>
                  <a:lnTo>
                    <a:pt x="86" y="221"/>
                  </a:lnTo>
                  <a:lnTo>
                    <a:pt x="86" y="223"/>
                  </a:lnTo>
                  <a:close/>
                  <a:moveTo>
                    <a:pt x="74" y="219"/>
                  </a:moveTo>
                  <a:lnTo>
                    <a:pt x="74" y="221"/>
                  </a:lnTo>
                  <a:lnTo>
                    <a:pt x="71" y="221"/>
                  </a:lnTo>
                  <a:lnTo>
                    <a:pt x="71" y="223"/>
                  </a:lnTo>
                  <a:lnTo>
                    <a:pt x="71" y="221"/>
                  </a:lnTo>
                  <a:lnTo>
                    <a:pt x="71" y="223"/>
                  </a:lnTo>
                  <a:lnTo>
                    <a:pt x="69" y="223"/>
                  </a:lnTo>
                  <a:lnTo>
                    <a:pt x="69" y="226"/>
                  </a:lnTo>
                  <a:lnTo>
                    <a:pt x="67" y="226"/>
                  </a:lnTo>
                  <a:lnTo>
                    <a:pt x="67" y="223"/>
                  </a:lnTo>
                  <a:lnTo>
                    <a:pt x="67" y="226"/>
                  </a:lnTo>
                  <a:lnTo>
                    <a:pt x="67" y="223"/>
                  </a:lnTo>
                  <a:lnTo>
                    <a:pt x="67" y="226"/>
                  </a:lnTo>
                  <a:lnTo>
                    <a:pt x="64" y="226"/>
                  </a:lnTo>
                  <a:lnTo>
                    <a:pt x="64" y="223"/>
                  </a:lnTo>
                  <a:lnTo>
                    <a:pt x="67" y="223"/>
                  </a:lnTo>
                  <a:lnTo>
                    <a:pt x="67" y="221"/>
                  </a:lnTo>
                  <a:lnTo>
                    <a:pt x="69" y="221"/>
                  </a:lnTo>
                  <a:lnTo>
                    <a:pt x="69" y="219"/>
                  </a:lnTo>
                  <a:lnTo>
                    <a:pt x="71" y="219"/>
                  </a:lnTo>
                  <a:lnTo>
                    <a:pt x="74" y="219"/>
                  </a:lnTo>
                  <a:close/>
                  <a:moveTo>
                    <a:pt x="33" y="214"/>
                  </a:moveTo>
                  <a:lnTo>
                    <a:pt x="36" y="214"/>
                  </a:lnTo>
                  <a:lnTo>
                    <a:pt x="33" y="214"/>
                  </a:lnTo>
                  <a:close/>
                  <a:moveTo>
                    <a:pt x="93" y="214"/>
                  </a:moveTo>
                  <a:lnTo>
                    <a:pt x="93" y="211"/>
                  </a:lnTo>
                  <a:lnTo>
                    <a:pt x="93" y="214"/>
                  </a:lnTo>
                  <a:lnTo>
                    <a:pt x="95" y="214"/>
                  </a:lnTo>
                  <a:lnTo>
                    <a:pt x="93" y="214"/>
                  </a:lnTo>
                  <a:lnTo>
                    <a:pt x="93" y="211"/>
                  </a:lnTo>
                  <a:lnTo>
                    <a:pt x="93" y="214"/>
                  </a:lnTo>
                  <a:close/>
                  <a:moveTo>
                    <a:pt x="36" y="211"/>
                  </a:moveTo>
                  <a:lnTo>
                    <a:pt x="33" y="211"/>
                  </a:lnTo>
                  <a:lnTo>
                    <a:pt x="36" y="211"/>
                  </a:lnTo>
                  <a:lnTo>
                    <a:pt x="33" y="211"/>
                  </a:lnTo>
                  <a:lnTo>
                    <a:pt x="36" y="214"/>
                  </a:lnTo>
                  <a:lnTo>
                    <a:pt x="33" y="214"/>
                  </a:lnTo>
                  <a:lnTo>
                    <a:pt x="33" y="211"/>
                  </a:lnTo>
                  <a:lnTo>
                    <a:pt x="36" y="211"/>
                  </a:lnTo>
                  <a:close/>
                  <a:moveTo>
                    <a:pt x="78" y="211"/>
                  </a:moveTo>
                  <a:lnTo>
                    <a:pt x="81" y="211"/>
                  </a:lnTo>
                  <a:lnTo>
                    <a:pt x="78" y="211"/>
                  </a:lnTo>
                  <a:close/>
                  <a:moveTo>
                    <a:pt x="36" y="209"/>
                  </a:moveTo>
                  <a:lnTo>
                    <a:pt x="38" y="211"/>
                  </a:lnTo>
                  <a:lnTo>
                    <a:pt x="36" y="211"/>
                  </a:lnTo>
                  <a:lnTo>
                    <a:pt x="36" y="209"/>
                  </a:lnTo>
                  <a:close/>
                  <a:moveTo>
                    <a:pt x="36" y="209"/>
                  </a:moveTo>
                  <a:lnTo>
                    <a:pt x="36" y="207"/>
                  </a:lnTo>
                  <a:lnTo>
                    <a:pt x="36" y="209"/>
                  </a:lnTo>
                  <a:close/>
                  <a:moveTo>
                    <a:pt x="38" y="209"/>
                  </a:moveTo>
                  <a:lnTo>
                    <a:pt x="38" y="207"/>
                  </a:lnTo>
                  <a:lnTo>
                    <a:pt x="38" y="209"/>
                  </a:lnTo>
                  <a:lnTo>
                    <a:pt x="38" y="207"/>
                  </a:lnTo>
                  <a:lnTo>
                    <a:pt x="38" y="209"/>
                  </a:lnTo>
                  <a:close/>
                  <a:moveTo>
                    <a:pt x="93" y="207"/>
                  </a:moveTo>
                  <a:lnTo>
                    <a:pt x="90" y="207"/>
                  </a:lnTo>
                  <a:lnTo>
                    <a:pt x="93" y="207"/>
                  </a:lnTo>
                  <a:close/>
                  <a:moveTo>
                    <a:pt x="83" y="207"/>
                  </a:moveTo>
                  <a:lnTo>
                    <a:pt x="83" y="209"/>
                  </a:lnTo>
                  <a:lnTo>
                    <a:pt x="81" y="209"/>
                  </a:lnTo>
                  <a:lnTo>
                    <a:pt x="81" y="207"/>
                  </a:lnTo>
                  <a:lnTo>
                    <a:pt x="83" y="207"/>
                  </a:lnTo>
                  <a:close/>
                  <a:moveTo>
                    <a:pt x="36" y="204"/>
                  </a:moveTo>
                  <a:lnTo>
                    <a:pt x="38" y="207"/>
                  </a:lnTo>
                  <a:lnTo>
                    <a:pt x="38" y="204"/>
                  </a:lnTo>
                  <a:lnTo>
                    <a:pt x="38" y="207"/>
                  </a:lnTo>
                  <a:lnTo>
                    <a:pt x="40" y="207"/>
                  </a:lnTo>
                  <a:lnTo>
                    <a:pt x="38" y="207"/>
                  </a:lnTo>
                  <a:lnTo>
                    <a:pt x="36" y="207"/>
                  </a:lnTo>
                  <a:lnTo>
                    <a:pt x="38" y="207"/>
                  </a:lnTo>
                  <a:lnTo>
                    <a:pt x="36" y="207"/>
                  </a:lnTo>
                  <a:lnTo>
                    <a:pt x="36" y="204"/>
                  </a:lnTo>
                  <a:close/>
                  <a:moveTo>
                    <a:pt x="67" y="204"/>
                  </a:moveTo>
                  <a:lnTo>
                    <a:pt x="64" y="204"/>
                  </a:lnTo>
                  <a:lnTo>
                    <a:pt x="67" y="204"/>
                  </a:lnTo>
                  <a:close/>
                  <a:moveTo>
                    <a:pt x="43" y="204"/>
                  </a:moveTo>
                  <a:lnTo>
                    <a:pt x="43" y="202"/>
                  </a:lnTo>
                  <a:lnTo>
                    <a:pt x="43" y="204"/>
                  </a:lnTo>
                  <a:close/>
                  <a:moveTo>
                    <a:pt x="45" y="202"/>
                  </a:moveTo>
                  <a:lnTo>
                    <a:pt x="43" y="202"/>
                  </a:lnTo>
                  <a:lnTo>
                    <a:pt x="45" y="202"/>
                  </a:lnTo>
                  <a:lnTo>
                    <a:pt x="43" y="202"/>
                  </a:lnTo>
                  <a:lnTo>
                    <a:pt x="45" y="202"/>
                  </a:lnTo>
                  <a:close/>
                  <a:moveTo>
                    <a:pt x="40" y="200"/>
                  </a:moveTo>
                  <a:lnTo>
                    <a:pt x="40" y="202"/>
                  </a:lnTo>
                  <a:lnTo>
                    <a:pt x="43" y="202"/>
                  </a:lnTo>
                  <a:lnTo>
                    <a:pt x="40" y="202"/>
                  </a:lnTo>
                  <a:lnTo>
                    <a:pt x="43" y="202"/>
                  </a:lnTo>
                  <a:lnTo>
                    <a:pt x="43" y="204"/>
                  </a:lnTo>
                  <a:lnTo>
                    <a:pt x="40" y="204"/>
                  </a:lnTo>
                  <a:lnTo>
                    <a:pt x="43" y="204"/>
                  </a:lnTo>
                  <a:lnTo>
                    <a:pt x="40" y="204"/>
                  </a:lnTo>
                  <a:lnTo>
                    <a:pt x="40" y="207"/>
                  </a:lnTo>
                  <a:lnTo>
                    <a:pt x="38" y="207"/>
                  </a:lnTo>
                  <a:lnTo>
                    <a:pt x="38" y="204"/>
                  </a:lnTo>
                  <a:lnTo>
                    <a:pt x="38" y="207"/>
                  </a:lnTo>
                  <a:lnTo>
                    <a:pt x="38" y="204"/>
                  </a:lnTo>
                  <a:lnTo>
                    <a:pt x="36" y="204"/>
                  </a:lnTo>
                  <a:lnTo>
                    <a:pt x="38" y="204"/>
                  </a:lnTo>
                  <a:lnTo>
                    <a:pt x="38" y="202"/>
                  </a:lnTo>
                  <a:lnTo>
                    <a:pt x="40" y="202"/>
                  </a:lnTo>
                  <a:lnTo>
                    <a:pt x="40" y="200"/>
                  </a:lnTo>
                  <a:close/>
                  <a:moveTo>
                    <a:pt x="78" y="200"/>
                  </a:moveTo>
                  <a:lnTo>
                    <a:pt x="78" y="202"/>
                  </a:lnTo>
                  <a:lnTo>
                    <a:pt x="81" y="202"/>
                  </a:lnTo>
                  <a:lnTo>
                    <a:pt x="78" y="202"/>
                  </a:lnTo>
                  <a:lnTo>
                    <a:pt x="81" y="202"/>
                  </a:lnTo>
                  <a:lnTo>
                    <a:pt x="81" y="204"/>
                  </a:lnTo>
                  <a:lnTo>
                    <a:pt x="78" y="204"/>
                  </a:lnTo>
                  <a:lnTo>
                    <a:pt x="78" y="207"/>
                  </a:lnTo>
                  <a:lnTo>
                    <a:pt x="76" y="207"/>
                  </a:lnTo>
                  <a:lnTo>
                    <a:pt x="76" y="204"/>
                  </a:lnTo>
                  <a:lnTo>
                    <a:pt x="74" y="204"/>
                  </a:lnTo>
                  <a:lnTo>
                    <a:pt x="74" y="202"/>
                  </a:lnTo>
                  <a:lnTo>
                    <a:pt x="74" y="200"/>
                  </a:lnTo>
                  <a:lnTo>
                    <a:pt x="76" y="200"/>
                  </a:lnTo>
                  <a:lnTo>
                    <a:pt x="78" y="200"/>
                  </a:lnTo>
                  <a:close/>
                  <a:moveTo>
                    <a:pt x="71" y="200"/>
                  </a:moveTo>
                  <a:lnTo>
                    <a:pt x="74" y="200"/>
                  </a:lnTo>
                  <a:lnTo>
                    <a:pt x="71" y="200"/>
                  </a:lnTo>
                  <a:lnTo>
                    <a:pt x="69" y="200"/>
                  </a:lnTo>
                  <a:lnTo>
                    <a:pt x="71" y="200"/>
                  </a:lnTo>
                  <a:close/>
                  <a:moveTo>
                    <a:pt x="45" y="197"/>
                  </a:moveTo>
                  <a:lnTo>
                    <a:pt x="45" y="200"/>
                  </a:lnTo>
                  <a:lnTo>
                    <a:pt x="45" y="197"/>
                  </a:lnTo>
                  <a:close/>
                  <a:moveTo>
                    <a:pt x="81" y="195"/>
                  </a:moveTo>
                  <a:lnTo>
                    <a:pt x="83" y="195"/>
                  </a:lnTo>
                  <a:lnTo>
                    <a:pt x="81" y="195"/>
                  </a:lnTo>
                  <a:lnTo>
                    <a:pt x="81" y="197"/>
                  </a:lnTo>
                  <a:lnTo>
                    <a:pt x="81" y="195"/>
                  </a:lnTo>
                  <a:lnTo>
                    <a:pt x="78" y="195"/>
                  </a:lnTo>
                  <a:lnTo>
                    <a:pt x="81" y="195"/>
                  </a:lnTo>
                  <a:close/>
                  <a:moveTo>
                    <a:pt x="93" y="188"/>
                  </a:moveTo>
                  <a:lnTo>
                    <a:pt x="90" y="188"/>
                  </a:lnTo>
                  <a:lnTo>
                    <a:pt x="90" y="185"/>
                  </a:lnTo>
                  <a:lnTo>
                    <a:pt x="93" y="185"/>
                  </a:lnTo>
                  <a:lnTo>
                    <a:pt x="93" y="188"/>
                  </a:lnTo>
                  <a:close/>
                  <a:moveTo>
                    <a:pt x="88" y="185"/>
                  </a:moveTo>
                  <a:lnTo>
                    <a:pt x="90" y="185"/>
                  </a:lnTo>
                  <a:lnTo>
                    <a:pt x="90" y="188"/>
                  </a:lnTo>
                  <a:lnTo>
                    <a:pt x="88" y="188"/>
                  </a:lnTo>
                  <a:lnTo>
                    <a:pt x="88" y="185"/>
                  </a:lnTo>
                  <a:close/>
                  <a:moveTo>
                    <a:pt x="74" y="185"/>
                  </a:moveTo>
                  <a:lnTo>
                    <a:pt x="71" y="185"/>
                  </a:lnTo>
                  <a:lnTo>
                    <a:pt x="74" y="185"/>
                  </a:lnTo>
                  <a:close/>
                  <a:moveTo>
                    <a:pt x="93" y="185"/>
                  </a:moveTo>
                  <a:lnTo>
                    <a:pt x="95" y="185"/>
                  </a:lnTo>
                  <a:lnTo>
                    <a:pt x="93" y="185"/>
                  </a:lnTo>
                  <a:close/>
                  <a:moveTo>
                    <a:pt x="71" y="183"/>
                  </a:moveTo>
                  <a:lnTo>
                    <a:pt x="71" y="185"/>
                  </a:lnTo>
                  <a:lnTo>
                    <a:pt x="71" y="183"/>
                  </a:lnTo>
                  <a:close/>
                  <a:moveTo>
                    <a:pt x="48" y="181"/>
                  </a:moveTo>
                  <a:lnTo>
                    <a:pt x="48" y="183"/>
                  </a:lnTo>
                  <a:lnTo>
                    <a:pt x="48" y="181"/>
                  </a:lnTo>
                  <a:lnTo>
                    <a:pt x="50" y="183"/>
                  </a:lnTo>
                  <a:lnTo>
                    <a:pt x="48" y="183"/>
                  </a:lnTo>
                  <a:lnTo>
                    <a:pt x="48" y="181"/>
                  </a:lnTo>
                  <a:close/>
                  <a:moveTo>
                    <a:pt x="43" y="183"/>
                  </a:moveTo>
                  <a:lnTo>
                    <a:pt x="45" y="183"/>
                  </a:lnTo>
                  <a:lnTo>
                    <a:pt x="45" y="185"/>
                  </a:lnTo>
                  <a:lnTo>
                    <a:pt x="48" y="183"/>
                  </a:lnTo>
                  <a:lnTo>
                    <a:pt x="48" y="185"/>
                  </a:lnTo>
                  <a:lnTo>
                    <a:pt x="45" y="185"/>
                  </a:lnTo>
                  <a:lnTo>
                    <a:pt x="48" y="185"/>
                  </a:lnTo>
                  <a:lnTo>
                    <a:pt x="45" y="185"/>
                  </a:lnTo>
                  <a:lnTo>
                    <a:pt x="48" y="185"/>
                  </a:lnTo>
                  <a:lnTo>
                    <a:pt x="48" y="188"/>
                  </a:lnTo>
                  <a:lnTo>
                    <a:pt x="48" y="190"/>
                  </a:lnTo>
                  <a:lnTo>
                    <a:pt x="45" y="190"/>
                  </a:lnTo>
                  <a:lnTo>
                    <a:pt x="48" y="190"/>
                  </a:lnTo>
                  <a:lnTo>
                    <a:pt x="45" y="190"/>
                  </a:lnTo>
                  <a:lnTo>
                    <a:pt x="43" y="190"/>
                  </a:lnTo>
                  <a:lnTo>
                    <a:pt x="45" y="190"/>
                  </a:lnTo>
                  <a:lnTo>
                    <a:pt x="45" y="192"/>
                  </a:lnTo>
                  <a:lnTo>
                    <a:pt x="48" y="192"/>
                  </a:lnTo>
                  <a:lnTo>
                    <a:pt x="48" y="195"/>
                  </a:lnTo>
                  <a:lnTo>
                    <a:pt x="45" y="195"/>
                  </a:lnTo>
                  <a:lnTo>
                    <a:pt x="43" y="195"/>
                  </a:lnTo>
                  <a:lnTo>
                    <a:pt x="45" y="195"/>
                  </a:lnTo>
                  <a:lnTo>
                    <a:pt x="48" y="195"/>
                  </a:lnTo>
                  <a:lnTo>
                    <a:pt x="48" y="197"/>
                  </a:lnTo>
                  <a:lnTo>
                    <a:pt x="45" y="197"/>
                  </a:lnTo>
                  <a:lnTo>
                    <a:pt x="43" y="197"/>
                  </a:lnTo>
                  <a:lnTo>
                    <a:pt x="40" y="195"/>
                  </a:lnTo>
                  <a:lnTo>
                    <a:pt x="40" y="197"/>
                  </a:lnTo>
                  <a:lnTo>
                    <a:pt x="40" y="195"/>
                  </a:lnTo>
                  <a:lnTo>
                    <a:pt x="43" y="195"/>
                  </a:lnTo>
                  <a:lnTo>
                    <a:pt x="40" y="195"/>
                  </a:lnTo>
                  <a:lnTo>
                    <a:pt x="40" y="192"/>
                  </a:lnTo>
                  <a:lnTo>
                    <a:pt x="40" y="190"/>
                  </a:lnTo>
                  <a:lnTo>
                    <a:pt x="40" y="188"/>
                  </a:lnTo>
                  <a:lnTo>
                    <a:pt x="43" y="188"/>
                  </a:lnTo>
                  <a:lnTo>
                    <a:pt x="43" y="185"/>
                  </a:lnTo>
                  <a:lnTo>
                    <a:pt x="40" y="183"/>
                  </a:lnTo>
                  <a:lnTo>
                    <a:pt x="43" y="183"/>
                  </a:lnTo>
                  <a:lnTo>
                    <a:pt x="43" y="181"/>
                  </a:lnTo>
                  <a:lnTo>
                    <a:pt x="43" y="183"/>
                  </a:lnTo>
                  <a:close/>
                  <a:moveTo>
                    <a:pt x="50" y="178"/>
                  </a:moveTo>
                  <a:lnTo>
                    <a:pt x="48" y="178"/>
                  </a:lnTo>
                  <a:lnTo>
                    <a:pt x="50" y="178"/>
                  </a:lnTo>
                  <a:close/>
                  <a:moveTo>
                    <a:pt x="45" y="178"/>
                  </a:moveTo>
                  <a:lnTo>
                    <a:pt x="48" y="178"/>
                  </a:lnTo>
                  <a:lnTo>
                    <a:pt x="45" y="178"/>
                  </a:lnTo>
                  <a:lnTo>
                    <a:pt x="48" y="178"/>
                  </a:lnTo>
                  <a:lnTo>
                    <a:pt x="45" y="178"/>
                  </a:lnTo>
                  <a:close/>
                  <a:moveTo>
                    <a:pt x="45" y="178"/>
                  </a:moveTo>
                  <a:lnTo>
                    <a:pt x="43" y="178"/>
                  </a:lnTo>
                  <a:lnTo>
                    <a:pt x="45" y="178"/>
                  </a:lnTo>
                  <a:lnTo>
                    <a:pt x="48" y="178"/>
                  </a:lnTo>
                  <a:lnTo>
                    <a:pt x="48" y="181"/>
                  </a:lnTo>
                  <a:lnTo>
                    <a:pt x="48" y="178"/>
                  </a:lnTo>
                  <a:lnTo>
                    <a:pt x="48" y="181"/>
                  </a:lnTo>
                  <a:lnTo>
                    <a:pt x="48" y="178"/>
                  </a:lnTo>
                  <a:lnTo>
                    <a:pt x="48" y="181"/>
                  </a:lnTo>
                  <a:lnTo>
                    <a:pt x="45" y="181"/>
                  </a:lnTo>
                  <a:lnTo>
                    <a:pt x="48" y="181"/>
                  </a:lnTo>
                  <a:lnTo>
                    <a:pt x="45" y="181"/>
                  </a:lnTo>
                  <a:lnTo>
                    <a:pt x="48" y="181"/>
                  </a:lnTo>
                  <a:lnTo>
                    <a:pt x="48" y="183"/>
                  </a:lnTo>
                  <a:lnTo>
                    <a:pt x="45" y="181"/>
                  </a:lnTo>
                  <a:lnTo>
                    <a:pt x="45" y="183"/>
                  </a:lnTo>
                  <a:lnTo>
                    <a:pt x="48" y="183"/>
                  </a:lnTo>
                  <a:lnTo>
                    <a:pt x="45" y="183"/>
                  </a:lnTo>
                  <a:lnTo>
                    <a:pt x="48" y="183"/>
                  </a:lnTo>
                  <a:lnTo>
                    <a:pt x="45" y="183"/>
                  </a:lnTo>
                  <a:lnTo>
                    <a:pt x="45" y="181"/>
                  </a:lnTo>
                  <a:lnTo>
                    <a:pt x="45" y="183"/>
                  </a:lnTo>
                  <a:lnTo>
                    <a:pt x="45" y="181"/>
                  </a:lnTo>
                  <a:lnTo>
                    <a:pt x="43" y="181"/>
                  </a:lnTo>
                  <a:lnTo>
                    <a:pt x="40" y="181"/>
                  </a:lnTo>
                  <a:lnTo>
                    <a:pt x="40" y="178"/>
                  </a:lnTo>
                  <a:lnTo>
                    <a:pt x="43" y="178"/>
                  </a:lnTo>
                  <a:lnTo>
                    <a:pt x="40" y="178"/>
                  </a:lnTo>
                  <a:lnTo>
                    <a:pt x="43" y="178"/>
                  </a:lnTo>
                  <a:lnTo>
                    <a:pt x="45" y="178"/>
                  </a:lnTo>
                  <a:close/>
                  <a:moveTo>
                    <a:pt x="48" y="176"/>
                  </a:moveTo>
                  <a:lnTo>
                    <a:pt x="50" y="176"/>
                  </a:lnTo>
                  <a:lnTo>
                    <a:pt x="50" y="178"/>
                  </a:lnTo>
                  <a:lnTo>
                    <a:pt x="48" y="178"/>
                  </a:lnTo>
                  <a:lnTo>
                    <a:pt x="48" y="176"/>
                  </a:lnTo>
                  <a:lnTo>
                    <a:pt x="50" y="178"/>
                  </a:lnTo>
                  <a:lnTo>
                    <a:pt x="48" y="176"/>
                  </a:lnTo>
                  <a:close/>
                  <a:moveTo>
                    <a:pt x="50" y="176"/>
                  </a:moveTo>
                  <a:lnTo>
                    <a:pt x="50" y="178"/>
                  </a:lnTo>
                  <a:lnTo>
                    <a:pt x="50" y="176"/>
                  </a:lnTo>
                  <a:close/>
                  <a:moveTo>
                    <a:pt x="45" y="176"/>
                  </a:moveTo>
                  <a:lnTo>
                    <a:pt x="48" y="176"/>
                  </a:lnTo>
                  <a:lnTo>
                    <a:pt x="48" y="178"/>
                  </a:lnTo>
                  <a:lnTo>
                    <a:pt x="45" y="178"/>
                  </a:lnTo>
                  <a:lnTo>
                    <a:pt x="45" y="176"/>
                  </a:lnTo>
                  <a:lnTo>
                    <a:pt x="45" y="178"/>
                  </a:lnTo>
                  <a:lnTo>
                    <a:pt x="45" y="176"/>
                  </a:lnTo>
                  <a:lnTo>
                    <a:pt x="48" y="176"/>
                  </a:lnTo>
                  <a:lnTo>
                    <a:pt x="45" y="176"/>
                  </a:lnTo>
                  <a:close/>
                  <a:moveTo>
                    <a:pt x="88" y="178"/>
                  </a:moveTo>
                  <a:lnTo>
                    <a:pt x="88" y="181"/>
                  </a:lnTo>
                  <a:lnTo>
                    <a:pt x="88" y="183"/>
                  </a:lnTo>
                  <a:lnTo>
                    <a:pt x="88" y="185"/>
                  </a:lnTo>
                  <a:lnTo>
                    <a:pt x="86" y="185"/>
                  </a:lnTo>
                  <a:lnTo>
                    <a:pt x="86" y="183"/>
                  </a:lnTo>
                  <a:lnTo>
                    <a:pt x="86" y="181"/>
                  </a:lnTo>
                  <a:lnTo>
                    <a:pt x="86" y="178"/>
                  </a:lnTo>
                  <a:lnTo>
                    <a:pt x="88" y="178"/>
                  </a:lnTo>
                  <a:lnTo>
                    <a:pt x="88" y="176"/>
                  </a:lnTo>
                  <a:lnTo>
                    <a:pt x="88" y="178"/>
                  </a:lnTo>
                  <a:close/>
                  <a:moveTo>
                    <a:pt x="36" y="176"/>
                  </a:moveTo>
                  <a:lnTo>
                    <a:pt x="33" y="176"/>
                  </a:lnTo>
                  <a:lnTo>
                    <a:pt x="36" y="176"/>
                  </a:lnTo>
                  <a:close/>
                  <a:moveTo>
                    <a:pt x="43" y="176"/>
                  </a:moveTo>
                  <a:lnTo>
                    <a:pt x="43" y="173"/>
                  </a:lnTo>
                  <a:lnTo>
                    <a:pt x="43" y="176"/>
                  </a:lnTo>
                  <a:lnTo>
                    <a:pt x="43" y="173"/>
                  </a:lnTo>
                  <a:lnTo>
                    <a:pt x="43" y="176"/>
                  </a:lnTo>
                  <a:lnTo>
                    <a:pt x="40" y="173"/>
                  </a:lnTo>
                  <a:lnTo>
                    <a:pt x="43" y="173"/>
                  </a:lnTo>
                  <a:lnTo>
                    <a:pt x="43" y="176"/>
                  </a:lnTo>
                  <a:close/>
                  <a:moveTo>
                    <a:pt x="40" y="173"/>
                  </a:moveTo>
                  <a:lnTo>
                    <a:pt x="43" y="173"/>
                  </a:lnTo>
                  <a:lnTo>
                    <a:pt x="40" y="173"/>
                  </a:lnTo>
                  <a:lnTo>
                    <a:pt x="43" y="173"/>
                  </a:lnTo>
                  <a:lnTo>
                    <a:pt x="40" y="173"/>
                  </a:lnTo>
                  <a:close/>
                  <a:moveTo>
                    <a:pt x="90" y="173"/>
                  </a:moveTo>
                  <a:lnTo>
                    <a:pt x="88" y="173"/>
                  </a:lnTo>
                  <a:lnTo>
                    <a:pt x="90" y="173"/>
                  </a:lnTo>
                  <a:lnTo>
                    <a:pt x="88" y="176"/>
                  </a:lnTo>
                  <a:lnTo>
                    <a:pt x="88" y="173"/>
                  </a:lnTo>
                  <a:lnTo>
                    <a:pt x="90" y="173"/>
                  </a:lnTo>
                  <a:close/>
                  <a:moveTo>
                    <a:pt x="43" y="169"/>
                  </a:moveTo>
                  <a:lnTo>
                    <a:pt x="40" y="169"/>
                  </a:lnTo>
                  <a:lnTo>
                    <a:pt x="43" y="169"/>
                  </a:lnTo>
                  <a:close/>
                  <a:moveTo>
                    <a:pt x="48" y="166"/>
                  </a:moveTo>
                  <a:lnTo>
                    <a:pt x="45" y="166"/>
                  </a:lnTo>
                  <a:lnTo>
                    <a:pt x="48" y="166"/>
                  </a:lnTo>
                  <a:close/>
                  <a:moveTo>
                    <a:pt x="48" y="166"/>
                  </a:moveTo>
                  <a:lnTo>
                    <a:pt x="50" y="166"/>
                  </a:lnTo>
                  <a:lnTo>
                    <a:pt x="50" y="169"/>
                  </a:lnTo>
                  <a:lnTo>
                    <a:pt x="52" y="169"/>
                  </a:lnTo>
                  <a:lnTo>
                    <a:pt x="50" y="169"/>
                  </a:lnTo>
                  <a:lnTo>
                    <a:pt x="52" y="169"/>
                  </a:lnTo>
                  <a:lnTo>
                    <a:pt x="52" y="171"/>
                  </a:lnTo>
                  <a:lnTo>
                    <a:pt x="50" y="171"/>
                  </a:lnTo>
                  <a:lnTo>
                    <a:pt x="52" y="171"/>
                  </a:lnTo>
                  <a:lnTo>
                    <a:pt x="50" y="171"/>
                  </a:lnTo>
                  <a:lnTo>
                    <a:pt x="52" y="171"/>
                  </a:lnTo>
                  <a:lnTo>
                    <a:pt x="52" y="173"/>
                  </a:lnTo>
                  <a:lnTo>
                    <a:pt x="50" y="173"/>
                  </a:lnTo>
                  <a:lnTo>
                    <a:pt x="48" y="173"/>
                  </a:lnTo>
                  <a:lnTo>
                    <a:pt x="50" y="173"/>
                  </a:lnTo>
                  <a:lnTo>
                    <a:pt x="50" y="176"/>
                  </a:lnTo>
                  <a:lnTo>
                    <a:pt x="48" y="176"/>
                  </a:lnTo>
                  <a:lnTo>
                    <a:pt x="45" y="176"/>
                  </a:lnTo>
                  <a:lnTo>
                    <a:pt x="43" y="176"/>
                  </a:lnTo>
                  <a:lnTo>
                    <a:pt x="45" y="176"/>
                  </a:lnTo>
                  <a:lnTo>
                    <a:pt x="43" y="176"/>
                  </a:lnTo>
                  <a:lnTo>
                    <a:pt x="43" y="173"/>
                  </a:lnTo>
                  <a:lnTo>
                    <a:pt x="40" y="173"/>
                  </a:lnTo>
                  <a:lnTo>
                    <a:pt x="38" y="173"/>
                  </a:lnTo>
                  <a:lnTo>
                    <a:pt x="38" y="171"/>
                  </a:lnTo>
                  <a:lnTo>
                    <a:pt x="38" y="173"/>
                  </a:lnTo>
                  <a:lnTo>
                    <a:pt x="38" y="171"/>
                  </a:lnTo>
                  <a:lnTo>
                    <a:pt x="36" y="171"/>
                  </a:lnTo>
                  <a:lnTo>
                    <a:pt x="38" y="171"/>
                  </a:lnTo>
                  <a:lnTo>
                    <a:pt x="38" y="169"/>
                  </a:lnTo>
                  <a:lnTo>
                    <a:pt x="40" y="169"/>
                  </a:lnTo>
                  <a:lnTo>
                    <a:pt x="43" y="169"/>
                  </a:lnTo>
                  <a:lnTo>
                    <a:pt x="40" y="169"/>
                  </a:lnTo>
                  <a:lnTo>
                    <a:pt x="43" y="169"/>
                  </a:lnTo>
                  <a:lnTo>
                    <a:pt x="43" y="166"/>
                  </a:lnTo>
                  <a:lnTo>
                    <a:pt x="45" y="166"/>
                  </a:lnTo>
                  <a:lnTo>
                    <a:pt x="45" y="169"/>
                  </a:lnTo>
                  <a:lnTo>
                    <a:pt x="43" y="169"/>
                  </a:lnTo>
                  <a:lnTo>
                    <a:pt x="45" y="169"/>
                  </a:lnTo>
                  <a:lnTo>
                    <a:pt x="48" y="169"/>
                  </a:lnTo>
                  <a:lnTo>
                    <a:pt x="45" y="169"/>
                  </a:lnTo>
                  <a:lnTo>
                    <a:pt x="48" y="169"/>
                  </a:lnTo>
                  <a:lnTo>
                    <a:pt x="48" y="166"/>
                  </a:lnTo>
                  <a:lnTo>
                    <a:pt x="50" y="166"/>
                  </a:lnTo>
                  <a:lnTo>
                    <a:pt x="48" y="166"/>
                  </a:lnTo>
                  <a:close/>
                  <a:moveTo>
                    <a:pt x="78" y="166"/>
                  </a:moveTo>
                  <a:lnTo>
                    <a:pt x="78" y="164"/>
                  </a:lnTo>
                  <a:lnTo>
                    <a:pt x="78" y="166"/>
                  </a:lnTo>
                  <a:close/>
                  <a:moveTo>
                    <a:pt x="95" y="164"/>
                  </a:moveTo>
                  <a:lnTo>
                    <a:pt x="93" y="164"/>
                  </a:lnTo>
                  <a:lnTo>
                    <a:pt x="95" y="164"/>
                  </a:lnTo>
                  <a:close/>
                  <a:moveTo>
                    <a:pt x="50" y="164"/>
                  </a:moveTo>
                  <a:lnTo>
                    <a:pt x="50" y="166"/>
                  </a:lnTo>
                  <a:lnTo>
                    <a:pt x="48" y="166"/>
                  </a:lnTo>
                  <a:lnTo>
                    <a:pt x="48" y="164"/>
                  </a:lnTo>
                  <a:lnTo>
                    <a:pt x="50" y="164"/>
                  </a:lnTo>
                  <a:close/>
                  <a:moveTo>
                    <a:pt x="52" y="164"/>
                  </a:moveTo>
                  <a:lnTo>
                    <a:pt x="52" y="162"/>
                  </a:lnTo>
                  <a:lnTo>
                    <a:pt x="52" y="164"/>
                  </a:lnTo>
                  <a:close/>
                  <a:moveTo>
                    <a:pt x="48" y="162"/>
                  </a:moveTo>
                  <a:lnTo>
                    <a:pt x="48" y="164"/>
                  </a:lnTo>
                  <a:lnTo>
                    <a:pt x="45" y="164"/>
                  </a:lnTo>
                  <a:lnTo>
                    <a:pt x="45" y="162"/>
                  </a:lnTo>
                  <a:lnTo>
                    <a:pt x="48" y="162"/>
                  </a:lnTo>
                  <a:close/>
                  <a:moveTo>
                    <a:pt x="48" y="162"/>
                  </a:moveTo>
                  <a:lnTo>
                    <a:pt x="45" y="162"/>
                  </a:lnTo>
                  <a:lnTo>
                    <a:pt x="48" y="162"/>
                  </a:lnTo>
                  <a:close/>
                  <a:moveTo>
                    <a:pt x="2" y="159"/>
                  </a:moveTo>
                  <a:lnTo>
                    <a:pt x="5" y="162"/>
                  </a:lnTo>
                  <a:lnTo>
                    <a:pt x="2" y="162"/>
                  </a:lnTo>
                  <a:lnTo>
                    <a:pt x="5" y="162"/>
                  </a:lnTo>
                  <a:lnTo>
                    <a:pt x="2" y="162"/>
                  </a:lnTo>
                  <a:lnTo>
                    <a:pt x="2" y="159"/>
                  </a:lnTo>
                  <a:close/>
                  <a:moveTo>
                    <a:pt x="0" y="159"/>
                  </a:moveTo>
                  <a:lnTo>
                    <a:pt x="2" y="159"/>
                  </a:lnTo>
                  <a:lnTo>
                    <a:pt x="0" y="159"/>
                  </a:lnTo>
                  <a:close/>
                  <a:moveTo>
                    <a:pt x="100" y="159"/>
                  </a:moveTo>
                  <a:lnTo>
                    <a:pt x="102" y="159"/>
                  </a:lnTo>
                  <a:lnTo>
                    <a:pt x="100" y="159"/>
                  </a:lnTo>
                  <a:close/>
                  <a:moveTo>
                    <a:pt x="5" y="159"/>
                  </a:moveTo>
                  <a:lnTo>
                    <a:pt x="5" y="157"/>
                  </a:lnTo>
                  <a:lnTo>
                    <a:pt x="7" y="157"/>
                  </a:lnTo>
                  <a:lnTo>
                    <a:pt x="5" y="159"/>
                  </a:lnTo>
                  <a:close/>
                  <a:moveTo>
                    <a:pt x="64" y="157"/>
                  </a:moveTo>
                  <a:lnTo>
                    <a:pt x="67" y="157"/>
                  </a:lnTo>
                  <a:lnTo>
                    <a:pt x="67" y="159"/>
                  </a:lnTo>
                  <a:lnTo>
                    <a:pt x="64" y="159"/>
                  </a:lnTo>
                  <a:lnTo>
                    <a:pt x="64" y="157"/>
                  </a:lnTo>
                  <a:lnTo>
                    <a:pt x="64" y="159"/>
                  </a:lnTo>
                  <a:lnTo>
                    <a:pt x="64" y="157"/>
                  </a:lnTo>
                  <a:close/>
                  <a:moveTo>
                    <a:pt x="105" y="157"/>
                  </a:moveTo>
                  <a:lnTo>
                    <a:pt x="107" y="157"/>
                  </a:lnTo>
                  <a:lnTo>
                    <a:pt x="105" y="157"/>
                  </a:lnTo>
                  <a:lnTo>
                    <a:pt x="107" y="157"/>
                  </a:lnTo>
                  <a:lnTo>
                    <a:pt x="105" y="157"/>
                  </a:lnTo>
                  <a:lnTo>
                    <a:pt x="107" y="157"/>
                  </a:lnTo>
                  <a:lnTo>
                    <a:pt x="105" y="157"/>
                  </a:lnTo>
                  <a:close/>
                  <a:moveTo>
                    <a:pt x="78" y="157"/>
                  </a:moveTo>
                  <a:lnTo>
                    <a:pt x="76" y="157"/>
                  </a:lnTo>
                  <a:lnTo>
                    <a:pt x="78" y="157"/>
                  </a:lnTo>
                  <a:close/>
                  <a:moveTo>
                    <a:pt x="55" y="154"/>
                  </a:moveTo>
                  <a:lnTo>
                    <a:pt x="55" y="157"/>
                  </a:lnTo>
                  <a:lnTo>
                    <a:pt x="52" y="157"/>
                  </a:lnTo>
                  <a:lnTo>
                    <a:pt x="55" y="154"/>
                  </a:lnTo>
                  <a:close/>
                  <a:moveTo>
                    <a:pt x="57" y="154"/>
                  </a:moveTo>
                  <a:lnTo>
                    <a:pt x="55" y="154"/>
                  </a:lnTo>
                  <a:lnTo>
                    <a:pt x="57" y="154"/>
                  </a:lnTo>
                  <a:close/>
                  <a:moveTo>
                    <a:pt x="74" y="150"/>
                  </a:moveTo>
                  <a:lnTo>
                    <a:pt x="74" y="152"/>
                  </a:lnTo>
                  <a:lnTo>
                    <a:pt x="74" y="150"/>
                  </a:lnTo>
                  <a:close/>
                  <a:moveTo>
                    <a:pt x="64" y="152"/>
                  </a:moveTo>
                  <a:lnTo>
                    <a:pt x="64" y="150"/>
                  </a:lnTo>
                  <a:lnTo>
                    <a:pt x="64" y="152"/>
                  </a:lnTo>
                  <a:close/>
                  <a:moveTo>
                    <a:pt x="107" y="150"/>
                  </a:moveTo>
                  <a:lnTo>
                    <a:pt x="109" y="150"/>
                  </a:lnTo>
                  <a:lnTo>
                    <a:pt x="107" y="150"/>
                  </a:lnTo>
                  <a:close/>
                  <a:moveTo>
                    <a:pt x="50" y="150"/>
                  </a:moveTo>
                  <a:lnTo>
                    <a:pt x="52" y="150"/>
                  </a:lnTo>
                  <a:lnTo>
                    <a:pt x="50" y="150"/>
                  </a:lnTo>
                  <a:close/>
                  <a:moveTo>
                    <a:pt x="107" y="147"/>
                  </a:moveTo>
                  <a:lnTo>
                    <a:pt x="107" y="150"/>
                  </a:lnTo>
                  <a:lnTo>
                    <a:pt x="107" y="147"/>
                  </a:lnTo>
                  <a:close/>
                  <a:moveTo>
                    <a:pt x="107" y="150"/>
                  </a:moveTo>
                  <a:lnTo>
                    <a:pt x="105" y="150"/>
                  </a:lnTo>
                  <a:lnTo>
                    <a:pt x="105" y="147"/>
                  </a:lnTo>
                  <a:lnTo>
                    <a:pt x="107" y="147"/>
                  </a:lnTo>
                  <a:lnTo>
                    <a:pt x="107" y="150"/>
                  </a:lnTo>
                  <a:close/>
                  <a:moveTo>
                    <a:pt x="109" y="142"/>
                  </a:moveTo>
                  <a:lnTo>
                    <a:pt x="112" y="142"/>
                  </a:lnTo>
                  <a:lnTo>
                    <a:pt x="109" y="142"/>
                  </a:lnTo>
                  <a:close/>
                  <a:moveTo>
                    <a:pt x="59" y="140"/>
                  </a:moveTo>
                  <a:lnTo>
                    <a:pt x="57" y="140"/>
                  </a:lnTo>
                  <a:lnTo>
                    <a:pt x="59" y="140"/>
                  </a:lnTo>
                  <a:close/>
                  <a:moveTo>
                    <a:pt x="57" y="138"/>
                  </a:moveTo>
                  <a:lnTo>
                    <a:pt x="57" y="140"/>
                  </a:lnTo>
                  <a:lnTo>
                    <a:pt x="57" y="138"/>
                  </a:lnTo>
                  <a:close/>
                  <a:moveTo>
                    <a:pt x="59" y="138"/>
                  </a:moveTo>
                  <a:lnTo>
                    <a:pt x="62" y="138"/>
                  </a:lnTo>
                  <a:lnTo>
                    <a:pt x="62" y="140"/>
                  </a:lnTo>
                  <a:lnTo>
                    <a:pt x="62" y="138"/>
                  </a:lnTo>
                  <a:lnTo>
                    <a:pt x="62" y="140"/>
                  </a:lnTo>
                  <a:lnTo>
                    <a:pt x="59" y="140"/>
                  </a:lnTo>
                  <a:lnTo>
                    <a:pt x="59" y="138"/>
                  </a:lnTo>
                  <a:close/>
                  <a:moveTo>
                    <a:pt x="116" y="135"/>
                  </a:moveTo>
                  <a:lnTo>
                    <a:pt x="114" y="135"/>
                  </a:lnTo>
                  <a:lnTo>
                    <a:pt x="116" y="135"/>
                  </a:lnTo>
                  <a:close/>
                  <a:moveTo>
                    <a:pt x="116" y="131"/>
                  </a:moveTo>
                  <a:lnTo>
                    <a:pt x="114" y="131"/>
                  </a:lnTo>
                  <a:lnTo>
                    <a:pt x="116" y="131"/>
                  </a:lnTo>
                  <a:close/>
                  <a:moveTo>
                    <a:pt x="145" y="121"/>
                  </a:moveTo>
                  <a:lnTo>
                    <a:pt x="145" y="123"/>
                  </a:lnTo>
                  <a:lnTo>
                    <a:pt x="145" y="121"/>
                  </a:lnTo>
                  <a:close/>
                  <a:moveTo>
                    <a:pt x="131" y="121"/>
                  </a:moveTo>
                  <a:lnTo>
                    <a:pt x="133" y="121"/>
                  </a:lnTo>
                  <a:lnTo>
                    <a:pt x="131" y="121"/>
                  </a:lnTo>
                  <a:close/>
                  <a:moveTo>
                    <a:pt x="183" y="116"/>
                  </a:moveTo>
                  <a:lnTo>
                    <a:pt x="183" y="114"/>
                  </a:lnTo>
                  <a:lnTo>
                    <a:pt x="183" y="116"/>
                  </a:lnTo>
                  <a:close/>
                  <a:moveTo>
                    <a:pt x="185" y="107"/>
                  </a:moveTo>
                  <a:lnTo>
                    <a:pt x="183" y="107"/>
                  </a:lnTo>
                  <a:lnTo>
                    <a:pt x="185" y="107"/>
                  </a:lnTo>
                  <a:lnTo>
                    <a:pt x="185" y="109"/>
                  </a:lnTo>
                  <a:lnTo>
                    <a:pt x="183" y="109"/>
                  </a:lnTo>
                  <a:lnTo>
                    <a:pt x="183" y="107"/>
                  </a:lnTo>
                  <a:lnTo>
                    <a:pt x="183" y="109"/>
                  </a:lnTo>
                  <a:lnTo>
                    <a:pt x="183" y="107"/>
                  </a:lnTo>
                  <a:lnTo>
                    <a:pt x="185" y="107"/>
                  </a:lnTo>
                  <a:close/>
                  <a:moveTo>
                    <a:pt x="180" y="107"/>
                  </a:moveTo>
                  <a:lnTo>
                    <a:pt x="183" y="107"/>
                  </a:lnTo>
                  <a:lnTo>
                    <a:pt x="180" y="107"/>
                  </a:lnTo>
                  <a:lnTo>
                    <a:pt x="183" y="107"/>
                  </a:lnTo>
                  <a:lnTo>
                    <a:pt x="180" y="107"/>
                  </a:lnTo>
                  <a:close/>
                  <a:moveTo>
                    <a:pt x="180" y="107"/>
                  </a:moveTo>
                  <a:lnTo>
                    <a:pt x="180" y="104"/>
                  </a:lnTo>
                  <a:lnTo>
                    <a:pt x="180" y="107"/>
                  </a:lnTo>
                  <a:close/>
                  <a:moveTo>
                    <a:pt x="180" y="104"/>
                  </a:moveTo>
                  <a:lnTo>
                    <a:pt x="183" y="104"/>
                  </a:lnTo>
                  <a:lnTo>
                    <a:pt x="180" y="104"/>
                  </a:lnTo>
                  <a:close/>
                  <a:moveTo>
                    <a:pt x="176" y="102"/>
                  </a:moveTo>
                  <a:lnTo>
                    <a:pt x="178" y="104"/>
                  </a:lnTo>
                  <a:lnTo>
                    <a:pt x="180" y="104"/>
                  </a:lnTo>
                  <a:lnTo>
                    <a:pt x="180" y="107"/>
                  </a:lnTo>
                  <a:lnTo>
                    <a:pt x="180" y="109"/>
                  </a:lnTo>
                  <a:lnTo>
                    <a:pt x="178" y="109"/>
                  </a:lnTo>
                  <a:lnTo>
                    <a:pt x="180" y="109"/>
                  </a:lnTo>
                  <a:lnTo>
                    <a:pt x="183" y="109"/>
                  </a:lnTo>
                  <a:lnTo>
                    <a:pt x="180" y="109"/>
                  </a:lnTo>
                  <a:lnTo>
                    <a:pt x="178" y="109"/>
                  </a:lnTo>
                  <a:lnTo>
                    <a:pt x="180" y="109"/>
                  </a:lnTo>
                  <a:lnTo>
                    <a:pt x="178" y="112"/>
                  </a:lnTo>
                  <a:lnTo>
                    <a:pt x="178" y="109"/>
                  </a:lnTo>
                  <a:lnTo>
                    <a:pt x="176" y="109"/>
                  </a:lnTo>
                  <a:lnTo>
                    <a:pt x="176" y="107"/>
                  </a:lnTo>
                  <a:lnTo>
                    <a:pt x="173" y="107"/>
                  </a:lnTo>
                  <a:lnTo>
                    <a:pt x="176" y="107"/>
                  </a:lnTo>
                  <a:lnTo>
                    <a:pt x="173" y="107"/>
                  </a:lnTo>
                  <a:lnTo>
                    <a:pt x="173" y="104"/>
                  </a:lnTo>
                  <a:lnTo>
                    <a:pt x="173" y="102"/>
                  </a:lnTo>
                  <a:lnTo>
                    <a:pt x="176" y="102"/>
                  </a:lnTo>
                  <a:close/>
                  <a:moveTo>
                    <a:pt x="178" y="102"/>
                  </a:moveTo>
                  <a:lnTo>
                    <a:pt x="176" y="102"/>
                  </a:lnTo>
                  <a:lnTo>
                    <a:pt x="178" y="102"/>
                  </a:lnTo>
                  <a:close/>
                  <a:moveTo>
                    <a:pt x="192" y="95"/>
                  </a:moveTo>
                  <a:lnTo>
                    <a:pt x="195" y="95"/>
                  </a:lnTo>
                  <a:lnTo>
                    <a:pt x="192" y="95"/>
                  </a:lnTo>
                  <a:lnTo>
                    <a:pt x="192" y="97"/>
                  </a:lnTo>
                  <a:lnTo>
                    <a:pt x="190" y="97"/>
                  </a:lnTo>
                  <a:lnTo>
                    <a:pt x="190" y="95"/>
                  </a:lnTo>
                  <a:lnTo>
                    <a:pt x="192" y="95"/>
                  </a:lnTo>
                  <a:lnTo>
                    <a:pt x="195" y="95"/>
                  </a:lnTo>
                  <a:lnTo>
                    <a:pt x="192" y="95"/>
                  </a:lnTo>
                  <a:close/>
                  <a:moveTo>
                    <a:pt x="140" y="95"/>
                  </a:moveTo>
                  <a:lnTo>
                    <a:pt x="140" y="93"/>
                  </a:lnTo>
                  <a:lnTo>
                    <a:pt x="140" y="95"/>
                  </a:lnTo>
                  <a:close/>
                  <a:moveTo>
                    <a:pt x="188" y="95"/>
                  </a:moveTo>
                  <a:lnTo>
                    <a:pt x="188" y="93"/>
                  </a:lnTo>
                  <a:lnTo>
                    <a:pt x="188" y="95"/>
                  </a:lnTo>
                  <a:close/>
                  <a:moveTo>
                    <a:pt x="192" y="93"/>
                  </a:moveTo>
                  <a:lnTo>
                    <a:pt x="192" y="90"/>
                  </a:lnTo>
                  <a:lnTo>
                    <a:pt x="192" y="93"/>
                  </a:lnTo>
                  <a:close/>
                  <a:moveTo>
                    <a:pt x="95" y="93"/>
                  </a:moveTo>
                  <a:lnTo>
                    <a:pt x="93" y="93"/>
                  </a:lnTo>
                  <a:lnTo>
                    <a:pt x="93" y="90"/>
                  </a:lnTo>
                  <a:lnTo>
                    <a:pt x="95" y="93"/>
                  </a:lnTo>
                  <a:close/>
                  <a:moveTo>
                    <a:pt x="197" y="90"/>
                  </a:moveTo>
                  <a:lnTo>
                    <a:pt x="197" y="93"/>
                  </a:lnTo>
                  <a:lnTo>
                    <a:pt x="197" y="90"/>
                  </a:lnTo>
                  <a:close/>
                  <a:moveTo>
                    <a:pt x="202" y="90"/>
                  </a:moveTo>
                  <a:lnTo>
                    <a:pt x="199" y="90"/>
                  </a:lnTo>
                  <a:lnTo>
                    <a:pt x="202" y="90"/>
                  </a:lnTo>
                  <a:close/>
                  <a:moveTo>
                    <a:pt x="199" y="90"/>
                  </a:moveTo>
                  <a:lnTo>
                    <a:pt x="202" y="90"/>
                  </a:lnTo>
                  <a:lnTo>
                    <a:pt x="199" y="90"/>
                  </a:lnTo>
                  <a:lnTo>
                    <a:pt x="199" y="93"/>
                  </a:lnTo>
                  <a:lnTo>
                    <a:pt x="202" y="93"/>
                  </a:lnTo>
                  <a:lnTo>
                    <a:pt x="202" y="95"/>
                  </a:lnTo>
                  <a:lnTo>
                    <a:pt x="199" y="95"/>
                  </a:lnTo>
                  <a:lnTo>
                    <a:pt x="199" y="93"/>
                  </a:lnTo>
                  <a:lnTo>
                    <a:pt x="197" y="93"/>
                  </a:lnTo>
                  <a:lnTo>
                    <a:pt x="199" y="93"/>
                  </a:lnTo>
                  <a:lnTo>
                    <a:pt x="199" y="95"/>
                  </a:lnTo>
                  <a:lnTo>
                    <a:pt x="197" y="95"/>
                  </a:lnTo>
                  <a:lnTo>
                    <a:pt x="197" y="93"/>
                  </a:lnTo>
                  <a:lnTo>
                    <a:pt x="199" y="93"/>
                  </a:lnTo>
                  <a:lnTo>
                    <a:pt x="199" y="90"/>
                  </a:lnTo>
                  <a:lnTo>
                    <a:pt x="197" y="90"/>
                  </a:lnTo>
                  <a:lnTo>
                    <a:pt x="199" y="90"/>
                  </a:lnTo>
                  <a:close/>
                  <a:moveTo>
                    <a:pt x="190" y="93"/>
                  </a:moveTo>
                  <a:lnTo>
                    <a:pt x="190" y="90"/>
                  </a:lnTo>
                  <a:lnTo>
                    <a:pt x="190" y="93"/>
                  </a:lnTo>
                  <a:close/>
                  <a:moveTo>
                    <a:pt x="185" y="88"/>
                  </a:moveTo>
                  <a:lnTo>
                    <a:pt x="185" y="90"/>
                  </a:lnTo>
                  <a:lnTo>
                    <a:pt x="188" y="90"/>
                  </a:lnTo>
                  <a:lnTo>
                    <a:pt x="188" y="88"/>
                  </a:lnTo>
                  <a:lnTo>
                    <a:pt x="188" y="90"/>
                  </a:lnTo>
                  <a:lnTo>
                    <a:pt x="188" y="93"/>
                  </a:lnTo>
                  <a:lnTo>
                    <a:pt x="185" y="93"/>
                  </a:lnTo>
                  <a:lnTo>
                    <a:pt x="185" y="90"/>
                  </a:lnTo>
                  <a:lnTo>
                    <a:pt x="183" y="90"/>
                  </a:lnTo>
                  <a:lnTo>
                    <a:pt x="183" y="88"/>
                  </a:lnTo>
                  <a:lnTo>
                    <a:pt x="185" y="88"/>
                  </a:lnTo>
                  <a:close/>
                  <a:moveTo>
                    <a:pt x="192" y="88"/>
                  </a:moveTo>
                  <a:lnTo>
                    <a:pt x="192" y="85"/>
                  </a:lnTo>
                  <a:lnTo>
                    <a:pt x="192" y="88"/>
                  </a:lnTo>
                  <a:close/>
                  <a:moveTo>
                    <a:pt x="197" y="85"/>
                  </a:moveTo>
                  <a:lnTo>
                    <a:pt x="195" y="85"/>
                  </a:lnTo>
                  <a:lnTo>
                    <a:pt x="197" y="85"/>
                  </a:lnTo>
                  <a:close/>
                  <a:moveTo>
                    <a:pt x="195" y="85"/>
                  </a:moveTo>
                  <a:lnTo>
                    <a:pt x="195" y="88"/>
                  </a:lnTo>
                  <a:lnTo>
                    <a:pt x="195" y="90"/>
                  </a:lnTo>
                  <a:lnTo>
                    <a:pt x="192" y="90"/>
                  </a:lnTo>
                  <a:lnTo>
                    <a:pt x="192" y="88"/>
                  </a:lnTo>
                  <a:lnTo>
                    <a:pt x="195" y="88"/>
                  </a:lnTo>
                  <a:lnTo>
                    <a:pt x="195" y="85"/>
                  </a:lnTo>
                  <a:close/>
                  <a:moveTo>
                    <a:pt x="207" y="83"/>
                  </a:moveTo>
                  <a:lnTo>
                    <a:pt x="204" y="83"/>
                  </a:lnTo>
                  <a:lnTo>
                    <a:pt x="204" y="85"/>
                  </a:lnTo>
                  <a:lnTo>
                    <a:pt x="202" y="85"/>
                  </a:lnTo>
                  <a:lnTo>
                    <a:pt x="204" y="85"/>
                  </a:lnTo>
                  <a:lnTo>
                    <a:pt x="202" y="85"/>
                  </a:lnTo>
                  <a:lnTo>
                    <a:pt x="204" y="85"/>
                  </a:lnTo>
                  <a:lnTo>
                    <a:pt x="204" y="88"/>
                  </a:lnTo>
                  <a:lnTo>
                    <a:pt x="204" y="85"/>
                  </a:lnTo>
                  <a:lnTo>
                    <a:pt x="202" y="85"/>
                  </a:lnTo>
                  <a:lnTo>
                    <a:pt x="202" y="88"/>
                  </a:lnTo>
                  <a:lnTo>
                    <a:pt x="202" y="85"/>
                  </a:lnTo>
                  <a:lnTo>
                    <a:pt x="199" y="85"/>
                  </a:lnTo>
                  <a:lnTo>
                    <a:pt x="199" y="88"/>
                  </a:lnTo>
                  <a:lnTo>
                    <a:pt x="197" y="88"/>
                  </a:lnTo>
                  <a:lnTo>
                    <a:pt x="197" y="85"/>
                  </a:lnTo>
                  <a:lnTo>
                    <a:pt x="199" y="85"/>
                  </a:lnTo>
                  <a:lnTo>
                    <a:pt x="199" y="83"/>
                  </a:lnTo>
                  <a:lnTo>
                    <a:pt x="199" y="85"/>
                  </a:lnTo>
                  <a:lnTo>
                    <a:pt x="199" y="83"/>
                  </a:lnTo>
                  <a:lnTo>
                    <a:pt x="202" y="83"/>
                  </a:lnTo>
                  <a:lnTo>
                    <a:pt x="202" y="85"/>
                  </a:lnTo>
                  <a:lnTo>
                    <a:pt x="202" y="83"/>
                  </a:lnTo>
                  <a:lnTo>
                    <a:pt x="202" y="85"/>
                  </a:lnTo>
                  <a:lnTo>
                    <a:pt x="202" y="83"/>
                  </a:lnTo>
                  <a:lnTo>
                    <a:pt x="204" y="83"/>
                  </a:lnTo>
                  <a:lnTo>
                    <a:pt x="207" y="81"/>
                  </a:lnTo>
                  <a:lnTo>
                    <a:pt x="207" y="83"/>
                  </a:lnTo>
                  <a:close/>
                  <a:moveTo>
                    <a:pt x="192" y="81"/>
                  </a:moveTo>
                  <a:lnTo>
                    <a:pt x="190" y="81"/>
                  </a:lnTo>
                  <a:lnTo>
                    <a:pt x="192" y="81"/>
                  </a:lnTo>
                  <a:close/>
                  <a:moveTo>
                    <a:pt x="188" y="81"/>
                  </a:moveTo>
                  <a:lnTo>
                    <a:pt x="188" y="83"/>
                  </a:lnTo>
                  <a:lnTo>
                    <a:pt x="190" y="83"/>
                  </a:lnTo>
                  <a:lnTo>
                    <a:pt x="190" y="85"/>
                  </a:lnTo>
                  <a:lnTo>
                    <a:pt x="190" y="83"/>
                  </a:lnTo>
                  <a:lnTo>
                    <a:pt x="192" y="83"/>
                  </a:lnTo>
                  <a:lnTo>
                    <a:pt x="192" y="85"/>
                  </a:lnTo>
                  <a:lnTo>
                    <a:pt x="190" y="85"/>
                  </a:lnTo>
                  <a:lnTo>
                    <a:pt x="190" y="83"/>
                  </a:lnTo>
                  <a:lnTo>
                    <a:pt x="188" y="83"/>
                  </a:lnTo>
                  <a:lnTo>
                    <a:pt x="188" y="85"/>
                  </a:lnTo>
                  <a:lnTo>
                    <a:pt x="188" y="83"/>
                  </a:lnTo>
                  <a:lnTo>
                    <a:pt x="185" y="83"/>
                  </a:lnTo>
                  <a:lnTo>
                    <a:pt x="185" y="81"/>
                  </a:lnTo>
                  <a:lnTo>
                    <a:pt x="188" y="81"/>
                  </a:lnTo>
                  <a:lnTo>
                    <a:pt x="188" y="78"/>
                  </a:lnTo>
                  <a:lnTo>
                    <a:pt x="188" y="81"/>
                  </a:lnTo>
                  <a:lnTo>
                    <a:pt x="190" y="81"/>
                  </a:lnTo>
                  <a:lnTo>
                    <a:pt x="188" y="81"/>
                  </a:lnTo>
                  <a:close/>
                  <a:moveTo>
                    <a:pt x="192" y="78"/>
                  </a:moveTo>
                  <a:lnTo>
                    <a:pt x="190" y="78"/>
                  </a:lnTo>
                  <a:lnTo>
                    <a:pt x="190" y="81"/>
                  </a:lnTo>
                  <a:lnTo>
                    <a:pt x="190" y="78"/>
                  </a:lnTo>
                  <a:lnTo>
                    <a:pt x="192" y="78"/>
                  </a:lnTo>
                  <a:lnTo>
                    <a:pt x="190" y="78"/>
                  </a:lnTo>
                  <a:lnTo>
                    <a:pt x="192" y="78"/>
                  </a:lnTo>
                  <a:close/>
                  <a:moveTo>
                    <a:pt x="207" y="78"/>
                  </a:moveTo>
                  <a:lnTo>
                    <a:pt x="207" y="81"/>
                  </a:lnTo>
                  <a:lnTo>
                    <a:pt x="204" y="81"/>
                  </a:lnTo>
                  <a:lnTo>
                    <a:pt x="204" y="78"/>
                  </a:lnTo>
                  <a:lnTo>
                    <a:pt x="207" y="78"/>
                  </a:lnTo>
                  <a:close/>
                  <a:moveTo>
                    <a:pt x="233" y="69"/>
                  </a:moveTo>
                  <a:lnTo>
                    <a:pt x="233" y="71"/>
                  </a:lnTo>
                  <a:lnTo>
                    <a:pt x="230" y="71"/>
                  </a:lnTo>
                  <a:lnTo>
                    <a:pt x="233" y="71"/>
                  </a:lnTo>
                  <a:lnTo>
                    <a:pt x="230" y="71"/>
                  </a:lnTo>
                  <a:lnTo>
                    <a:pt x="233" y="71"/>
                  </a:lnTo>
                  <a:lnTo>
                    <a:pt x="233" y="69"/>
                  </a:lnTo>
                  <a:close/>
                  <a:moveTo>
                    <a:pt x="242" y="47"/>
                  </a:moveTo>
                  <a:lnTo>
                    <a:pt x="240" y="47"/>
                  </a:lnTo>
                  <a:lnTo>
                    <a:pt x="242" y="47"/>
                  </a:lnTo>
                  <a:close/>
                  <a:moveTo>
                    <a:pt x="240" y="43"/>
                  </a:moveTo>
                  <a:lnTo>
                    <a:pt x="242" y="45"/>
                  </a:lnTo>
                  <a:lnTo>
                    <a:pt x="240" y="45"/>
                  </a:lnTo>
                  <a:lnTo>
                    <a:pt x="240" y="43"/>
                  </a:lnTo>
                  <a:close/>
                  <a:moveTo>
                    <a:pt x="240" y="38"/>
                  </a:moveTo>
                  <a:lnTo>
                    <a:pt x="242" y="38"/>
                  </a:lnTo>
                  <a:lnTo>
                    <a:pt x="242" y="40"/>
                  </a:lnTo>
                  <a:lnTo>
                    <a:pt x="240" y="40"/>
                  </a:lnTo>
                  <a:lnTo>
                    <a:pt x="240" y="38"/>
                  </a:lnTo>
                  <a:close/>
                  <a:moveTo>
                    <a:pt x="242" y="38"/>
                  </a:moveTo>
                  <a:lnTo>
                    <a:pt x="242" y="40"/>
                  </a:lnTo>
                  <a:lnTo>
                    <a:pt x="242" y="38"/>
                  </a:lnTo>
                  <a:lnTo>
                    <a:pt x="242" y="40"/>
                  </a:lnTo>
                  <a:lnTo>
                    <a:pt x="242" y="38"/>
                  </a:lnTo>
                  <a:close/>
                  <a:moveTo>
                    <a:pt x="244" y="38"/>
                  </a:moveTo>
                  <a:lnTo>
                    <a:pt x="244" y="40"/>
                  </a:lnTo>
                  <a:lnTo>
                    <a:pt x="242" y="40"/>
                  </a:lnTo>
                  <a:lnTo>
                    <a:pt x="242" y="43"/>
                  </a:lnTo>
                  <a:lnTo>
                    <a:pt x="242" y="40"/>
                  </a:lnTo>
                  <a:lnTo>
                    <a:pt x="242" y="43"/>
                  </a:lnTo>
                  <a:lnTo>
                    <a:pt x="240" y="43"/>
                  </a:lnTo>
                  <a:lnTo>
                    <a:pt x="242" y="43"/>
                  </a:lnTo>
                  <a:lnTo>
                    <a:pt x="242" y="40"/>
                  </a:lnTo>
                  <a:lnTo>
                    <a:pt x="242" y="38"/>
                  </a:lnTo>
                  <a:lnTo>
                    <a:pt x="244" y="38"/>
                  </a:lnTo>
                  <a:close/>
                  <a:moveTo>
                    <a:pt x="242" y="38"/>
                  </a:moveTo>
                  <a:lnTo>
                    <a:pt x="240" y="38"/>
                  </a:lnTo>
                  <a:lnTo>
                    <a:pt x="242" y="38"/>
                  </a:lnTo>
                  <a:close/>
                  <a:moveTo>
                    <a:pt x="252" y="38"/>
                  </a:moveTo>
                  <a:lnTo>
                    <a:pt x="254" y="38"/>
                  </a:lnTo>
                  <a:lnTo>
                    <a:pt x="252" y="38"/>
                  </a:lnTo>
                  <a:close/>
                  <a:moveTo>
                    <a:pt x="218" y="38"/>
                  </a:moveTo>
                  <a:lnTo>
                    <a:pt x="218" y="40"/>
                  </a:lnTo>
                  <a:lnTo>
                    <a:pt x="216" y="40"/>
                  </a:lnTo>
                  <a:lnTo>
                    <a:pt x="216" y="38"/>
                  </a:lnTo>
                  <a:lnTo>
                    <a:pt x="218" y="38"/>
                  </a:lnTo>
                  <a:close/>
                  <a:moveTo>
                    <a:pt x="252" y="36"/>
                  </a:moveTo>
                  <a:lnTo>
                    <a:pt x="249" y="36"/>
                  </a:lnTo>
                  <a:lnTo>
                    <a:pt x="252" y="36"/>
                  </a:lnTo>
                  <a:lnTo>
                    <a:pt x="249" y="36"/>
                  </a:lnTo>
                  <a:lnTo>
                    <a:pt x="252" y="36"/>
                  </a:lnTo>
                  <a:lnTo>
                    <a:pt x="249" y="36"/>
                  </a:lnTo>
                  <a:lnTo>
                    <a:pt x="249" y="38"/>
                  </a:lnTo>
                  <a:lnTo>
                    <a:pt x="252" y="38"/>
                  </a:lnTo>
                  <a:lnTo>
                    <a:pt x="252" y="36"/>
                  </a:lnTo>
                  <a:lnTo>
                    <a:pt x="252" y="38"/>
                  </a:lnTo>
                  <a:lnTo>
                    <a:pt x="252" y="40"/>
                  </a:lnTo>
                  <a:lnTo>
                    <a:pt x="249" y="40"/>
                  </a:lnTo>
                  <a:lnTo>
                    <a:pt x="249" y="38"/>
                  </a:lnTo>
                  <a:lnTo>
                    <a:pt x="249" y="36"/>
                  </a:lnTo>
                  <a:lnTo>
                    <a:pt x="247" y="36"/>
                  </a:lnTo>
                  <a:lnTo>
                    <a:pt x="249" y="36"/>
                  </a:lnTo>
                  <a:lnTo>
                    <a:pt x="252" y="36"/>
                  </a:lnTo>
                  <a:close/>
                  <a:moveTo>
                    <a:pt x="235" y="33"/>
                  </a:moveTo>
                  <a:lnTo>
                    <a:pt x="235" y="36"/>
                  </a:lnTo>
                  <a:lnTo>
                    <a:pt x="233" y="36"/>
                  </a:lnTo>
                  <a:lnTo>
                    <a:pt x="233" y="33"/>
                  </a:lnTo>
                  <a:lnTo>
                    <a:pt x="235" y="33"/>
                  </a:lnTo>
                  <a:close/>
                  <a:moveTo>
                    <a:pt x="240" y="28"/>
                  </a:moveTo>
                  <a:lnTo>
                    <a:pt x="240" y="26"/>
                  </a:lnTo>
                  <a:lnTo>
                    <a:pt x="240" y="28"/>
                  </a:lnTo>
                  <a:close/>
                  <a:moveTo>
                    <a:pt x="230" y="26"/>
                  </a:moveTo>
                  <a:lnTo>
                    <a:pt x="230" y="28"/>
                  </a:lnTo>
                  <a:lnTo>
                    <a:pt x="230" y="26"/>
                  </a:lnTo>
                  <a:lnTo>
                    <a:pt x="230" y="28"/>
                  </a:lnTo>
                  <a:lnTo>
                    <a:pt x="230" y="26"/>
                  </a:lnTo>
                  <a:lnTo>
                    <a:pt x="230" y="28"/>
                  </a:lnTo>
                  <a:lnTo>
                    <a:pt x="228" y="28"/>
                  </a:lnTo>
                  <a:lnTo>
                    <a:pt x="228" y="26"/>
                  </a:lnTo>
                  <a:lnTo>
                    <a:pt x="230" y="26"/>
                  </a:lnTo>
                  <a:close/>
                  <a:moveTo>
                    <a:pt x="242" y="26"/>
                  </a:moveTo>
                  <a:lnTo>
                    <a:pt x="240" y="26"/>
                  </a:lnTo>
                  <a:lnTo>
                    <a:pt x="242" y="26"/>
                  </a:lnTo>
                  <a:close/>
                  <a:moveTo>
                    <a:pt x="256" y="26"/>
                  </a:moveTo>
                  <a:lnTo>
                    <a:pt x="254" y="26"/>
                  </a:lnTo>
                  <a:lnTo>
                    <a:pt x="254" y="28"/>
                  </a:lnTo>
                  <a:lnTo>
                    <a:pt x="252" y="28"/>
                  </a:lnTo>
                  <a:lnTo>
                    <a:pt x="252" y="26"/>
                  </a:lnTo>
                  <a:lnTo>
                    <a:pt x="252" y="28"/>
                  </a:lnTo>
                  <a:lnTo>
                    <a:pt x="252" y="26"/>
                  </a:lnTo>
                  <a:lnTo>
                    <a:pt x="254" y="26"/>
                  </a:lnTo>
                  <a:lnTo>
                    <a:pt x="252" y="26"/>
                  </a:lnTo>
                  <a:lnTo>
                    <a:pt x="254" y="26"/>
                  </a:lnTo>
                  <a:lnTo>
                    <a:pt x="256" y="26"/>
                  </a:lnTo>
                  <a:close/>
                  <a:moveTo>
                    <a:pt x="240" y="24"/>
                  </a:moveTo>
                  <a:lnTo>
                    <a:pt x="240" y="26"/>
                  </a:lnTo>
                  <a:lnTo>
                    <a:pt x="237" y="26"/>
                  </a:lnTo>
                  <a:lnTo>
                    <a:pt x="237" y="24"/>
                  </a:lnTo>
                  <a:lnTo>
                    <a:pt x="240" y="24"/>
                  </a:lnTo>
                  <a:close/>
                  <a:moveTo>
                    <a:pt x="261" y="21"/>
                  </a:moveTo>
                  <a:lnTo>
                    <a:pt x="261" y="24"/>
                  </a:lnTo>
                  <a:lnTo>
                    <a:pt x="259" y="24"/>
                  </a:lnTo>
                  <a:lnTo>
                    <a:pt x="261" y="24"/>
                  </a:lnTo>
                  <a:lnTo>
                    <a:pt x="261" y="21"/>
                  </a:lnTo>
                  <a:close/>
                  <a:moveTo>
                    <a:pt x="249" y="21"/>
                  </a:moveTo>
                  <a:lnTo>
                    <a:pt x="247" y="21"/>
                  </a:lnTo>
                  <a:lnTo>
                    <a:pt x="249" y="21"/>
                  </a:lnTo>
                  <a:close/>
                  <a:moveTo>
                    <a:pt x="244" y="19"/>
                  </a:moveTo>
                  <a:lnTo>
                    <a:pt x="242" y="19"/>
                  </a:lnTo>
                  <a:lnTo>
                    <a:pt x="244" y="19"/>
                  </a:lnTo>
                  <a:lnTo>
                    <a:pt x="244" y="17"/>
                  </a:lnTo>
                  <a:lnTo>
                    <a:pt x="244" y="19"/>
                  </a:lnTo>
                  <a:close/>
                  <a:moveTo>
                    <a:pt x="254" y="12"/>
                  </a:moveTo>
                  <a:lnTo>
                    <a:pt x="254" y="14"/>
                  </a:lnTo>
                  <a:lnTo>
                    <a:pt x="252" y="14"/>
                  </a:lnTo>
                  <a:lnTo>
                    <a:pt x="254" y="14"/>
                  </a:lnTo>
                  <a:lnTo>
                    <a:pt x="252" y="14"/>
                  </a:lnTo>
                  <a:lnTo>
                    <a:pt x="254" y="12"/>
                  </a:lnTo>
                  <a:close/>
                  <a:moveTo>
                    <a:pt x="259" y="12"/>
                  </a:moveTo>
                  <a:lnTo>
                    <a:pt x="259" y="14"/>
                  </a:lnTo>
                  <a:lnTo>
                    <a:pt x="259" y="12"/>
                  </a:lnTo>
                  <a:lnTo>
                    <a:pt x="261" y="12"/>
                  </a:lnTo>
                  <a:lnTo>
                    <a:pt x="261" y="14"/>
                  </a:lnTo>
                  <a:lnTo>
                    <a:pt x="259" y="14"/>
                  </a:lnTo>
                  <a:lnTo>
                    <a:pt x="256" y="14"/>
                  </a:lnTo>
                  <a:lnTo>
                    <a:pt x="256" y="17"/>
                  </a:lnTo>
                  <a:lnTo>
                    <a:pt x="256" y="14"/>
                  </a:lnTo>
                  <a:lnTo>
                    <a:pt x="256" y="17"/>
                  </a:lnTo>
                  <a:lnTo>
                    <a:pt x="256" y="14"/>
                  </a:lnTo>
                  <a:lnTo>
                    <a:pt x="254" y="14"/>
                  </a:lnTo>
                  <a:lnTo>
                    <a:pt x="254" y="12"/>
                  </a:lnTo>
                  <a:lnTo>
                    <a:pt x="256" y="12"/>
                  </a:lnTo>
                  <a:lnTo>
                    <a:pt x="259" y="12"/>
                  </a:lnTo>
                  <a:close/>
                  <a:moveTo>
                    <a:pt x="252" y="7"/>
                  </a:moveTo>
                  <a:lnTo>
                    <a:pt x="254" y="7"/>
                  </a:lnTo>
                  <a:lnTo>
                    <a:pt x="252" y="7"/>
                  </a:lnTo>
                  <a:lnTo>
                    <a:pt x="254" y="7"/>
                  </a:lnTo>
                  <a:lnTo>
                    <a:pt x="252" y="7"/>
                  </a:lnTo>
                  <a:lnTo>
                    <a:pt x="254" y="7"/>
                  </a:lnTo>
                  <a:lnTo>
                    <a:pt x="254" y="9"/>
                  </a:lnTo>
                  <a:lnTo>
                    <a:pt x="254" y="7"/>
                  </a:lnTo>
                  <a:lnTo>
                    <a:pt x="252" y="7"/>
                  </a:lnTo>
                  <a:lnTo>
                    <a:pt x="254" y="7"/>
                  </a:lnTo>
                  <a:lnTo>
                    <a:pt x="254" y="9"/>
                  </a:lnTo>
                  <a:lnTo>
                    <a:pt x="254" y="12"/>
                  </a:lnTo>
                  <a:lnTo>
                    <a:pt x="252" y="12"/>
                  </a:lnTo>
                  <a:lnTo>
                    <a:pt x="252" y="9"/>
                  </a:lnTo>
                  <a:lnTo>
                    <a:pt x="252" y="12"/>
                  </a:lnTo>
                  <a:lnTo>
                    <a:pt x="252" y="14"/>
                  </a:lnTo>
                  <a:lnTo>
                    <a:pt x="252" y="12"/>
                  </a:lnTo>
                  <a:lnTo>
                    <a:pt x="249" y="14"/>
                  </a:lnTo>
                  <a:lnTo>
                    <a:pt x="252" y="14"/>
                  </a:lnTo>
                  <a:lnTo>
                    <a:pt x="254" y="14"/>
                  </a:lnTo>
                  <a:lnTo>
                    <a:pt x="252" y="14"/>
                  </a:lnTo>
                  <a:lnTo>
                    <a:pt x="252" y="17"/>
                  </a:lnTo>
                  <a:lnTo>
                    <a:pt x="252" y="19"/>
                  </a:lnTo>
                  <a:lnTo>
                    <a:pt x="249" y="19"/>
                  </a:lnTo>
                  <a:lnTo>
                    <a:pt x="247" y="19"/>
                  </a:lnTo>
                  <a:lnTo>
                    <a:pt x="247" y="17"/>
                  </a:lnTo>
                  <a:lnTo>
                    <a:pt x="247" y="19"/>
                  </a:lnTo>
                  <a:lnTo>
                    <a:pt x="247" y="17"/>
                  </a:lnTo>
                  <a:lnTo>
                    <a:pt x="247" y="14"/>
                  </a:lnTo>
                  <a:lnTo>
                    <a:pt x="247" y="17"/>
                  </a:lnTo>
                  <a:lnTo>
                    <a:pt x="247" y="14"/>
                  </a:lnTo>
                  <a:lnTo>
                    <a:pt x="247" y="12"/>
                  </a:lnTo>
                  <a:lnTo>
                    <a:pt x="247" y="9"/>
                  </a:lnTo>
                  <a:lnTo>
                    <a:pt x="247" y="12"/>
                  </a:lnTo>
                  <a:lnTo>
                    <a:pt x="249" y="12"/>
                  </a:lnTo>
                  <a:lnTo>
                    <a:pt x="249" y="14"/>
                  </a:lnTo>
                  <a:lnTo>
                    <a:pt x="249" y="12"/>
                  </a:lnTo>
                  <a:lnTo>
                    <a:pt x="247" y="12"/>
                  </a:lnTo>
                  <a:lnTo>
                    <a:pt x="249" y="12"/>
                  </a:lnTo>
                  <a:lnTo>
                    <a:pt x="247" y="12"/>
                  </a:lnTo>
                  <a:lnTo>
                    <a:pt x="249" y="12"/>
                  </a:lnTo>
                  <a:lnTo>
                    <a:pt x="249" y="9"/>
                  </a:lnTo>
                  <a:lnTo>
                    <a:pt x="249" y="7"/>
                  </a:lnTo>
                  <a:lnTo>
                    <a:pt x="252" y="7"/>
                  </a:lnTo>
                  <a:lnTo>
                    <a:pt x="249" y="7"/>
                  </a:lnTo>
                  <a:lnTo>
                    <a:pt x="252" y="7"/>
                  </a:lnTo>
                  <a:close/>
                  <a:moveTo>
                    <a:pt x="259" y="5"/>
                  </a:moveTo>
                  <a:lnTo>
                    <a:pt x="261" y="5"/>
                  </a:lnTo>
                  <a:lnTo>
                    <a:pt x="259" y="5"/>
                  </a:lnTo>
                  <a:lnTo>
                    <a:pt x="261" y="5"/>
                  </a:lnTo>
                  <a:lnTo>
                    <a:pt x="259" y="7"/>
                  </a:lnTo>
                  <a:lnTo>
                    <a:pt x="259" y="5"/>
                  </a:lnTo>
                  <a:close/>
                  <a:moveTo>
                    <a:pt x="256" y="0"/>
                  </a:moveTo>
                  <a:lnTo>
                    <a:pt x="256" y="2"/>
                  </a:lnTo>
                  <a:lnTo>
                    <a:pt x="259" y="2"/>
                  </a:lnTo>
                  <a:lnTo>
                    <a:pt x="259" y="0"/>
                  </a:lnTo>
                  <a:lnTo>
                    <a:pt x="259" y="2"/>
                  </a:lnTo>
                  <a:lnTo>
                    <a:pt x="259" y="0"/>
                  </a:lnTo>
                  <a:lnTo>
                    <a:pt x="259" y="2"/>
                  </a:lnTo>
                  <a:lnTo>
                    <a:pt x="259" y="0"/>
                  </a:lnTo>
                  <a:lnTo>
                    <a:pt x="259" y="2"/>
                  </a:lnTo>
                  <a:lnTo>
                    <a:pt x="261" y="2"/>
                  </a:lnTo>
                  <a:lnTo>
                    <a:pt x="259" y="2"/>
                  </a:lnTo>
                  <a:lnTo>
                    <a:pt x="261" y="2"/>
                  </a:lnTo>
                  <a:lnTo>
                    <a:pt x="259" y="2"/>
                  </a:lnTo>
                  <a:lnTo>
                    <a:pt x="261" y="2"/>
                  </a:lnTo>
                  <a:lnTo>
                    <a:pt x="261" y="5"/>
                  </a:lnTo>
                  <a:lnTo>
                    <a:pt x="259" y="5"/>
                  </a:lnTo>
                  <a:lnTo>
                    <a:pt x="259" y="2"/>
                  </a:lnTo>
                  <a:lnTo>
                    <a:pt x="259" y="5"/>
                  </a:lnTo>
                  <a:lnTo>
                    <a:pt x="259" y="7"/>
                  </a:lnTo>
                  <a:lnTo>
                    <a:pt x="256" y="7"/>
                  </a:lnTo>
                  <a:lnTo>
                    <a:pt x="256" y="9"/>
                  </a:lnTo>
                  <a:lnTo>
                    <a:pt x="259" y="9"/>
                  </a:lnTo>
                  <a:lnTo>
                    <a:pt x="256" y="9"/>
                  </a:lnTo>
                  <a:lnTo>
                    <a:pt x="254" y="9"/>
                  </a:lnTo>
                  <a:lnTo>
                    <a:pt x="254" y="7"/>
                  </a:lnTo>
                  <a:lnTo>
                    <a:pt x="254" y="9"/>
                  </a:lnTo>
                  <a:lnTo>
                    <a:pt x="254" y="7"/>
                  </a:lnTo>
                  <a:lnTo>
                    <a:pt x="254" y="5"/>
                  </a:lnTo>
                  <a:lnTo>
                    <a:pt x="254" y="2"/>
                  </a:lnTo>
                  <a:lnTo>
                    <a:pt x="256" y="2"/>
                  </a:lnTo>
                  <a:lnTo>
                    <a:pt x="254" y="2"/>
                  </a:lnTo>
                  <a:lnTo>
                    <a:pt x="256" y="2"/>
                  </a:lnTo>
                  <a:lnTo>
                    <a:pt x="25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0" name="Freeform 57948"/>
            <p:cNvSpPr>
              <a:spLocks noEditPoints="1"/>
            </p:cNvSpPr>
            <p:nvPr/>
          </p:nvSpPr>
          <p:spPr bwMode="auto">
            <a:xfrm>
              <a:off x="1622423" y="3822713"/>
              <a:ext cx="458787" cy="882653"/>
            </a:xfrm>
            <a:custGeom>
              <a:avLst/>
              <a:gdLst>
                <a:gd name="T0" fmla="*/ 47 w 289"/>
                <a:gd name="T1" fmla="*/ 553 h 556"/>
                <a:gd name="T2" fmla="*/ 187 w 289"/>
                <a:gd name="T3" fmla="*/ 520 h 556"/>
                <a:gd name="T4" fmla="*/ 204 w 289"/>
                <a:gd name="T5" fmla="*/ 518 h 556"/>
                <a:gd name="T6" fmla="*/ 275 w 289"/>
                <a:gd name="T7" fmla="*/ 482 h 556"/>
                <a:gd name="T8" fmla="*/ 273 w 289"/>
                <a:gd name="T9" fmla="*/ 480 h 556"/>
                <a:gd name="T10" fmla="*/ 83 w 289"/>
                <a:gd name="T11" fmla="*/ 466 h 556"/>
                <a:gd name="T12" fmla="*/ 178 w 289"/>
                <a:gd name="T13" fmla="*/ 463 h 556"/>
                <a:gd name="T14" fmla="*/ 76 w 289"/>
                <a:gd name="T15" fmla="*/ 461 h 556"/>
                <a:gd name="T16" fmla="*/ 123 w 289"/>
                <a:gd name="T17" fmla="*/ 390 h 556"/>
                <a:gd name="T18" fmla="*/ 66 w 289"/>
                <a:gd name="T19" fmla="*/ 337 h 556"/>
                <a:gd name="T20" fmla="*/ 69 w 289"/>
                <a:gd name="T21" fmla="*/ 335 h 556"/>
                <a:gd name="T22" fmla="*/ 71 w 289"/>
                <a:gd name="T23" fmla="*/ 328 h 556"/>
                <a:gd name="T24" fmla="*/ 100 w 289"/>
                <a:gd name="T25" fmla="*/ 323 h 556"/>
                <a:gd name="T26" fmla="*/ 116 w 289"/>
                <a:gd name="T27" fmla="*/ 314 h 556"/>
                <a:gd name="T28" fmla="*/ 199 w 289"/>
                <a:gd name="T29" fmla="*/ 273 h 556"/>
                <a:gd name="T30" fmla="*/ 66 w 289"/>
                <a:gd name="T31" fmla="*/ 271 h 556"/>
                <a:gd name="T32" fmla="*/ 57 w 289"/>
                <a:gd name="T33" fmla="*/ 266 h 556"/>
                <a:gd name="T34" fmla="*/ 74 w 289"/>
                <a:gd name="T35" fmla="*/ 261 h 556"/>
                <a:gd name="T36" fmla="*/ 78 w 289"/>
                <a:gd name="T37" fmla="*/ 259 h 556"/>
                <a:gd name="T38" fmla="*/ 85 w 289"/>
                <a:gd name="T39" fmla="*/ 259 h 556"/>
                <a:gd name="T40" fmla="*/ 102 w 289"/>
                <a:gd name="T41" fmla="*/ 257 h 556"/>
                <a:gd name="T42" fmla="*/ 147 w 289"/>
                <a:gd name="T43" fmla="*/ 252 h 556"/>
                <a:gd name="T44" fmla="*/ 71 w 289"/>
                <a:gd name="T45" fmla="*/ 247 h 556"/>
                <a:gd name="T46" fmla="*/ 71 w 289"/>
                <a:gd name="T47" fmla="*/ 247 h 556"/>
                <a:gd name="T48" fmla="*/ 71 w 289"/>
                <a:gd name="T49" fmla="*/ 245 h 556"/>
                <a:gd name="T50" fmla="*/ 45 w 289"/>
                <a:gd name="T51" fmla="*/ 240 h 556"/>
                <a:gd name="T52" fmla="*/ 50 w 289"/>
                <a:gd name="T53" fmla="*/ 238 h 556"/>
                <a:gd name="T54" fmla="*/ 71 w 289"/>
                <a:gd name="T55" fmla="*/ 230 h 556"/>
                <a:gd name="T56" fmla="*/ 74 w 289"/>
                <a:gd name="T57" fmla="*/ 228 h 556"/>
                <a:gd name="T58" fmla="*/ 40 w 289"/>
                <a:gd name="T59" fmla="*/ 219 h 556"/>
                <a:gd name="T60" fmla="*/ 47 w 289"/>
                <a:gd name="T61" fmla="*/ 211 h 556"/>
                <a:gd name="T62" fmla="*/ 59 w 289"/>
                <a:gd name="T63" fmla="*/ 209 h 556"/>
                <a:gd name="T64" fmla="*/ 17 w 289"/>
                <a:gd name="T65" fmla="*/ 195 h 556"/>
                <a:gd name="T66" fmla="*/ 71 w 289"/>
                <a:gd name="T67" fmla="*/ 185 h 556"/>
                <a:gd name="T68" fmla="*/ 17 w 289"/>
                <a:gd name="T69" fmla="*/ 183 h 556"/>
                <a:gd name="T70" fmla="*/ 36 w 289"/>
                <a:gd name="T71" fmla="*/ 178 h 556"/>
                <a:gd name="T72" fmla="*/ 2 w 289"/>
                <a:gd name="T73" fmla="*/ 176 h 556"/>
                <a:gd name="T74" fmla="*/ 40 w 289"/>
                <a:gd name="T75" fmla="*/ 171 h 556"/>
                <a:gd name="T76" fmla="*/ 21 w 289"/>
                <a:gd name="T77" fmla="*/ 169 h 556"/>
                <a:gd name="T78" fmla="*/ 2 w 289"/>
                <a:gd name="T79" fmla="*/ 166 h 556"/>
                <a:gd name="T80" fmla="*/ 21 w 289"/>
                <a:gd name="T81" fmla="*/ 162 h 556"/>
                <a:gd name="T82" fmla="*/ 17 w 289"/>
                <a:gd name="T83" fmla="*/ 162 h 556"/>
                <a:gd name="T84" fmla="*/ 31 w 289"/>
                <a:gd name="T85" fmla="*/ 159 h 556"/>
                <a:gd name="T86" fmla="*/ 33 w 289"/>
                <a:gd name="T87" fmla="*/ 159 h 556"/>
                <a:gd name="T88" fmla="*/ 76 w 289"/>
                <a:gd name="T89" fmla="*/ 152 h 556"/>
                <a:gd name="T90" fmla="*/ 21 w 289"/>
                <a:gd name="T91" fmla="*/ 142 h 556"/>
                <a:gd name="T92" fmla="*/ 5 w 289"/>
                <a:gd name="T93" fmla="*/ 138 h 556"/>
                <a:gd name="T94" fmla="*/ 85 w 289"/>
                <a:gd name="T95" fmla="*/ 135 h 556"/>
                <a:gd name="T96" fmla="*/ 154 w 289"/>
                <a:gd name="T97" fmla="*/ 97 h 556"/>
                <a:gd name="T98" fmla="*/ 159 w 289"/>
                <a:gd name="T99" fmla="*/ 90 h 556"/>
                <a:gd name="T100" fmla="*/ 199 w 289"/>
                <a:gd name="T101" fmla="*/ 71 h 556"/>
                <a:gd name="T102" fmla="*/ 211 w 289"/>
                <a:gd name="T103" fmla="*/ 55 h 556"/>
                <a:gd name="T104" fmla="*/ 211 w 289"/>
                <a:gd name="T105" fmla="*/ 36 h 556"/>
                <a:gd name="T106" fmla="*/ 228 w 289"/>
                <a:gd name="T107" fmla="*/ 28 h 556"/>
                <a:gd name="T108" fmla="*/ 225 w 289"/>
                <a:gd name="T109" fmla="*/ 26 h 556"/>
                <a:gd name="T110" fmla="*/ 218 w 289"/>
                <a:gd name="T111" fmla="*/ 19 h 556"/>
                <a:gd name="T112" fmla="*/ 230 w 289"/>
                <a:gd name="T113"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9" h="556">
                  <a:moveTo>
                    <a:pt x="47" y="556"/>
                  </a:moveTo>
                  <a:lnTo>
                    <a:pt x="45" y="556"/>
                  </a:lnTo>
                  <a:lnTo>
                    <a:pt x="47" y="556"/>
                  </a:lnTo>
                  <a:close/>
                  <a:moveTo>
                    <a:pt x="47" y="553"/>
                  </a:moveTo>
                  <a:lnTo>
                    <a:pt x="45" y="553"/>
                  </a:lnTo>
                  <a:lnTo>
                    <a:pt x="47" y="553"/>
                  </a:lnTo>
                  <a:close/>
                  <a:moveTo>
                    <a:pt x="47" y="553"/>
                  </a:moveTo>
                  <a:lnTo>
                    <a:pt x="45" y="553"/>
                  </a:lnTo>
                  <a:lnTo>
                    <a:pt x="47" y="553"/>
                  </a:lnTo>
                  <a:close/>
                  <a:moveTo>
                    <a:pt x="187" y="520"/>
                  </a:moveTo>
                  <a:lnTo>
                    <a:pt x="187" y="518"/>
                  </a:lnTo>
                  <a:lnTo>
                    <a:pt x="187" y="520"/>
                  </a:lnTo>
                  <a:close/>
                  <a:moveTo>
                    <a:pt x="204" y="518"/>
                  </a:moveTo>
                  <a:lnTo>
                    <a:pt x="204" y="515"/>
                  </a:lnTo>
                  <a:lnTo>
                    <a:pt x="204" y="518"/>
                  </a:lnTo>
                  <a:close/>
                  <a:moveTo>
                    <a:pt x="204" y="518"/>
                  </a:moveTo>
                  <a:lnTo>
                    <a:pt x="204" y="515"/>
                  </a:lnTo>
                  <a:lnTo>
                    <a:pt x="204" y="518"/>
                  </a:lnTo>
                  <a:close/>
                  <a:moveTo>
                    <a:pt x="157" y="494"/>
                  </a:moveTo>
                  <a:lnTo>
                    <a:pt x="154" y="494"/>
                  </a:lnTo>
                  <a:lnTo>
                    <a:pt x="154" y="492"/>
                  </a:lnTo>
                  <a:lnTo>
                    <a:pt x="157" y="494"/>
                  </a:lnTo>
                  <a:close/>
                  <a:moveTo>
                    <a:pt x="275" y="485"/>
                  </a:moveTo>
                  <a:lnTo>
                    <a:pt x="275" y="482"/>
                  </a:lnTo>
                  <a:lnTo>
                    <a:pt x="275" y="485"/>
                  </a:lnTo>
                  <a:close/>
                  <a:moveTo>
                    <a:pt x="273" y="480"/>
                  </a:moveTo>
                  <a:lnTo>
                    <a:pt x="273" y="477"/>
                  </a:lnTo>
                  <a:lnTo>
                    <a:pt x="273" y="480"/>
                  </a:lnTo>
                  <a:close/>
                  <a:moveTo>
                    <a:pt x="273" y="477"/>
                  </a:moveTo>
                  <a:lnTo>
                    <a:pt x="273" y="480"/>
                  </a:lnTo>
                  <a:lnTo>
                    <a:pt x="273" y="477"/>
                  </a:lnTo>
                  <a:close/>
                  <a:moveTo>
                    <a:pt x="111" y="475"/>
                  </a:moveTo>
                  <a:lnTo>
                    <a:pt x="111" y="477"/>
                  </a:lnTo>
                  <a:lnTo>
                    <a:pt x="111" y="475"/>
                  </a:lnTo>
                  <a:close/>
                  <a:moveTo>
                    <a:pt x="85" y="466"/>
                  </a:moveTo>
                  <a:lnTo>
                    <a:pt x="83" y="466"/>
                  </a:lnTo>
                  <a:lnTo>
                    <a:pt x="85" y="466"/>
                  </a:lnTo>
                  <a:close/>
                  <a:moveTo>
                    <a:pt x="289" y="466"/>
                  </a:moveTo>
                  <a:lnTo>
                    <a:pt x="289" y="463"/>
                  </a:lnTo>
                  <a:lnTo>
                    <a:pt x="289" y="466"/>
                  </a:lnTo>
                  <a:close/>
                  <a:moveTo>
                    <a:pt x="178" y="466"/>
                  </a:moveTo>
                  <a:lnTo>
                    <a:pt x="178" y="463"/>
                  </a:lnTo>
                  <a:lnTo>
                    <a:pt x="178" y="466"/>
                  </a:lnTo>
                  <a:close/>
                  <a:moveTo>
                    <a:pt x="78" y="461"/>
                  </a:moveTo>
                  <a:lnTo>
                    <a:pt x="76" y="461"/>
                  </a:lnTo>
                  <a:lnTo>
                    <a:pt x="78" y="461"/>
                  </a:lnTo>
                  <a:close/>
                  <a:moveTo>
                    <a:pt x="78" y="461"/>
                  </a:moveTo>
                  <a:lnTo>
                    <a:pt x="76" y="461"/>
                  </a:lnTo>
                  <a:lnTo>
                    <a:pt x="78" y="461"/>
                  </a:lnTo>
                  <a:close/>
                  <a:moveTo>
                    <a:pt x="121" y="409"/>
                  </a:moveTo>
                  <a:lnTo>
                    <a:pt x="121" y="411"/>
                  </a:lnTo>
                  <a:lnTo>
                    <a:pt x="121" y="409"/>
                  </a:lnTo>
                  <a:close/>
                  <a:moveTo>
                    <a:pt x="121" y="390"/>
                  </a:moveTo>
                  <a:lnTo>
                    <a:pt x="123" y="390"/>
                  </a:lnTo>
                  <a:lnTo>
                    <a:pt x="121" y="390"/>
                  </a:lnTo>
                  <a:close/>
                  <a:moveTo>
                    <a:pt x="55" y="352"/>
                  </a:moveTo>
                  <a:lnTo>
                    <a:pt x="55" y="354"/>
                  </a:lnTo>
                  <a:lnTo>
                    <a:pt x="55" y="352"/>
                  </a:lnTo>
                  <a:close/>
                  <a:moveTo>
                    <a:pt x="69" y="337"/>
                  </a:moveTo>
                  <a:lnTo>
                    <a:pt x="66" y="337"/>
                  </a:lnTo>
                  <a:lnTo>
                    <a:pt x="69" y="337"/>
                  </a:lnTo>
                  <a:close/>
                  <a:moveTo>
                    <a:pt x="71" y="335"/>
                  </a:moveTo>
                  <a:lnTo>
                    <a:pt x="69" y="335"/>
                  </a:lnTo>
                  <a:lnTo>
                    <a:pt x="71" y="335"/>
                  </a:lnTo>
                  <a:close/>
                  <a:moveTo>
                    <a:pt x="69" y="337"/>
                  </a:moveTo>
                  <a:lnTo>
                    <a:pt x="69" y="335"/>
                  </a:lnTo>
                  <a:lnTo>
                    <a:pt x="69" y="337"/>
                  </a:lnTo>
                  <a:close/>
                  <a:moveTo>
                    <a:pt x="69" y="330"/>
                  </a:moveTo>
                  <a:lnTo>
                    <a:pt x="69" y="333"/>
                  </a:lnTo>
                  <a:lnTo>
                    <a:pt x="69" y="330"/>
                  </a:lnTo>
                  <a:close/>
                  <a:moveTo>
                    <a:pt x="71" y="330"/>
                  </a:moveTo>
                  <a:lnTo>
                    <a:pt x="71" y="328"/>
                  </a:lnTo>
                  <a:lnTo>
                    <a:pt x="71" y="330"/>
                  </a:lnTo>
                  <a:close/>
                  <a:moveTo>
                    <a:pt x="71" y="328"/>
                  </a:moveTo>
                  <a:lnTo>
                    <a:pt x="71" y="330"/>
                  </a:lnTo>
                  <a:lnTo>
                    <a:pt x="71" y="328"/>
                  </a:lnTo>
                  <a:close/>
                  <a:moveTo>
                    <a:pt x="100" y="321"/>
                  </a:moveTo>
                  <a:lnTo>
                    <a:pt x="100" y="323"/>
                  </a:lnTo>
                  <a:lnTo>
                    <a:pt x="100" y="321"/>
                  </a:lnTo>
                  <a:close/>
                  <a:moveTo>
                    <a:pt x="116" y="314"/>
                  </a:moveTo>
                  <a:lnTo>
                    <a:pt x="116" y="316"/>
                  </a:lnTo>
                  <a:lnTo>
                    <a:pt x="116" y="314"/>
                  </a:lnTo>
                  <a:close/>
                  <a:moveTo>
                    <a:pt x="114" y="314"/>
                  </a:moveTo>
                  <a:lnTo>
                    <a:pt x="116" y="314"/>
                  </a:lnTo>
                  <a:lnTo>
                    <a:pt x="114" y="314"/>
                  </a:lnTo>
                  <a:close/>
                  <a:moveTo>
                    <a:pt x="202" y="273"/>
                  </a:moveTo>
                  <a:lnTo>
                    <a:pt x="199" y="273"/>
                  </a:lnTo>
                  <a:lnTo>
                    <a:pt x="202" y="273"/>
                  </a:lnTo>
                  <a:close/>
                  <a:moveTo>
                    <a:pt x="202" y="273"/>
                  </a:moveTo>
                  <a:lnTo>
                    <a:pt x="199" y="273"/>
                  </a:lnTo>
                  <a:lnTo>
                    <a:pt x="202" y="273"/>
                  </a:lnTo>
                  <a:close/>
                  <a:moveTo>
                    <a:pt x="95" y="273"/>
                  </a:moveTo>
                  <a:lnTo>
                    <a:pt x="95" y="271"/>
                  </a:lnTo>
                  <a:lnTo>
                    <a:pt x="95" y="273"/>
                  </a:lnTo>
                  <a:close/>
                  <a:moveTo>
                    <a:pt x="66" y="273"/>
                  </a:moveTo>
                  <a:lnTo>
                    <a:pt x="66" y="271"/>
                  </a:lnTo>
                  <a:lnTo>
                    <a:pt x="66" y="273"/>
                  </a:lnTo>
                  <a:close/>
                  <a:moveTo>
                    <a:pt x="40" y="268"/>
                  </a:moveTo>
                  <a:lnTo>
                    <a:pt x="40" y="271"/>
                  </a:lnTo>
                  <a:lnTo>
                    <a:pt x="40" y="268"/>
                  </a:lnTo>
                  <a:close/>
                  <a:moveTo>
                    <a:pt x="57" y="264"/>
                  </a:moveTo>
                  <a:lnTo>
                    <a:pt x="57" y="266"/>
                  </a:lnTo>
                  <a:lnTo>
                    <a:pt x="57" y="264"/>
                  </a:lnTo>
                  <a:close/>
                  <a:moveTo>
                    <a:pt x="57" y="264"/>
                  </a:moveTo>
                  <a:lnTo>
                    <a:pt x="55" y="264"/>
                  </a:lnTo>
                  <a:lnTo>
                    <a:pt x="57" y="264"/>
                  </a:lnTo>
                  <a:close/>
                  <a:moveTo>
                    <a:pt x="76" y="261"/>
                  </a:moveTo>
                  <a:lnTo>
                    <a:pt x="74" y="261"/>
                  </a:lnTo>
                  <a:lnTo>
                    <a:pt x="76" y="261"/>
                  </a:lnTo>
                  <a:close/>
                  <a:moveTo>
                    <a:pt x="59" y="264"/>
                  </a:moveTo>
                  <a:lnTo>
                    <a:pt x="59" y="261"/>
                  </a:lnTo>
                  <a:lnTo>
                    <a:pt x="59" y="264"/>
                  </a:lnTo>
                  <a:close/>
                  <a:moveTo>
                    <a:pt x="78" y="261"/>
                  </a:moveTo>
                  <a:lnTo>
                    <a:pt x="78" y="259"/>
                  </a:lnTo>
                  <a:lnTo>
                    <a:pt x="78" y="261"/>
                  </a:lnTo>
                  <a:close/>
                  <a:moveTo>
                    <a:pt x="85" y="259"/>
                  </a:moveTo>
                  <a:lnTo>
                    <a:pt x="83" y="259"/>
                  </a:lnTo>
                  <a:lnTo>
                    <a:pt x="83" y="257"/>
                  </a:lnTo>
                  <a:lnTo>
                    <a:pt x="85" y="257"/>
                  </a:lnTo>
                  <a:lnTo>
                    <a:pt x="85" y="259"/>
                  </a:lnTo>
                  <a:close/>
                  <a:moveTo>
                    <a:pt x="83" y="257"/>
                  </a:moveTo>
                  <a:lnTo>
                    <a:pt x="83" y="259"/>
                  </a:lnTo>
                  <a:lnTo>
                    <a:pt x="83" y="257"/>
                  </a:lnTo>
                  <a:close/>
                  <a:moveTo>
                    <a:pt x="102" y="257"/>
                  </a:moveTo>
                  <a:lnTo>
                    <a:pt x="100" y="257"/>
                  </a:lnTo>
                  <a:lnTo>
                    <a:pt x="102" y="257"/>
                  </a:lnTo>
                  <a:close/>
                  <a:moveTo>
                    <a:pt x="71" y="254"/>
                  </a:moveTo>
                  <a:lnTo>
                    <a:pt x="69" y="254"/>
                  </a:lnTo>
                  <a:lnTo>
                    <a:pt x="71" y="254"/>
                  </a:lnTo>
                  <a:lnTo>
                    <a:pt x="69" y="254"/>
                  </a:lnTo>
                  <a:lnTo>
                    <a:pt x="71" y="254"/>
                  </a:lnTo>
                  <a:close/>
                  <a:moveTo>
                    <a:pt x="147" y="252"/>
                  </a:moveTo>
                  <a:lnTo>
                    <a:pt x="145" y="252"/>
                  </a:lnTo>
                  <a:lnTo>
                    <a:pt x="147" y="252"/>
                  </a:lnTo>
                  <a:close/>
                  <a:moveTo>
                    <a:pt x="69" y="249"/>
                  </a:moveTo>
                  <a:lnTo>
                    <a:pt x="69" y="247"/>
                  </a:lnTo>
                  <a:lnTo>
                    <a:pt x="69" y="249"/>
                  </a:lnTo>
                  <a:close/>
                  <a:moveTo>
                    <a:pt x="71" y="247"/>
                  </a:moveTo>
                  <a:lnTo>
                    <a:pt x="69" y="247"/>
                  </a:lnTo>
                  <a:lnTo>
                    <a:pt x="71" y="245"/>
                  </a:lnTo>
                  <a:lnTo>
                    <a:pt x="71" y="247"/>
                  </a:lnTo>
                  <a:close/>
                  <a:moveTo>
                    <a:pt x="71" y="247"/>
                  </a:moveTo>
                  <a:lnTo>
                    <a:pt x="71" y="245"/>
                  </a:lnTo>
                  <a:lnTo>
                    <a:pt x="71" y="247"/>
                  </a:lnTo>
                  <a:close/>
                  <a:moveTo>
                    <a:pt x="66" y="242"/>
                  </a:moveTo>
                  <a:lnTo>
                    <a:pt x="66" y="245"/>
                  </a:lnTo>
                  <a:lnTo>
                    <a:pt x="66" y="242"/>
                  </a:lnTo>
                  <a:close/>
                  <a:moveTo>
                    <a:pt x="71" y="245"/>
                  </a:moveTo>
                  <a:lnTo>
                    <a:pt x="71" y="242"/>
                  </a:lnTo>
                  <a:lnTo>
                    <a:pt x="71" y="245"/>
                  </a:lnTo>
                  <a:close/>
                  <a:moveTo>
                    <a:pt x="66" y="242"/>
                  </a:moveTo>
                  <a:lnTo>
                    <a:pt x="66" y="240"/>
                  </a:lnTo>
                  <a:lnTo>
                    <a:pt x="66" y="242"/>
                  </a:lnTo>
                  <a:close/>
                  <a:moveTo>
                    <a:pt x="45" y="240"/>
                  </a:moveTo>
                  <a:lnTo>
                    <a:pt x="45" y="238"/>
                  </a:lnTo>
                  <a:lnTo>
                    <a:pt x="45" y="240"/>
                  </a:lnTo>
                  <a:close/>
                  <a:moveTo>
                    <a:pt x="59" y="238"/>
                  </a:moveTo>
                  <a:lnTo>
                    <a:pt x="57" y="238"/>
                  </a:lnTo>
                  <a:lnTo>
                    <a:pt x="59" y="238"/>
                  </a:lnTo>
                  <a:close/>
                  <a:moveTo>
                    <a:pt x="50" y="238"/>
                  </a:moveTo>
                  <a:lnTo>
                    <a:pt x="47" y="238"/>
                  </a:lnTo>
                  <a:lnTo>
                    <a:pt x="50" y="238"/>
                  </a:lnTo>
                  <a:close/>
                  <a:moveTo>
                    <a:pt x="43" y="235"/>
                  </a:moveTo>
                  <a:lnTo>
                    <a:pt x="40" y="235"/>
                  </a:lnTo>
                  <a:lnTo>
                    <a:pt x="43" y="235"/>
                  </a:lnTo>
                  <a:close/>
                  <a:moveTo>
                    <a:pt x="71" y="230"/>
                  </a:moveTo>
                  <a:lnTo>
                    <a:pt x="69" y="230"/>
                  </a:lnTo>
                  <a:lnTo>
                    <a:pt x="71" y="230"/>
                  </a:lnTo>
                  <a:close/>
                  <a:moveTo>
                    <a:pt x="74" y="228"/>
                  </a:moveTo>
                  <a:lnTo>
                    <a:pt x="74" y="230"/>
                  </a:lnTo>
                  <a:lnTo>
                    <a:pt x="74" y="228"/>
                  </a:lnTo>
                  <a:close/>
                  <a:moveTo>
                    <a:pt x="74" y="228"/>
                  </a:moveTo>
                  <a:lnTo>
                    <a:pt x="74" y="230"/>
                  </a:lnTo>
                  <a:lnTo>
                    <a:pt x="74" y="228"/>
                  </a:lnTo>
                  <a:close/>
                  <a:moveTo>
                    <a:pt x="76" y="228"/>
                  </a:moveTo>
                  <a:lnTo>
                    <a:pt x="74" y="228"/>
                  </a:lnTo>
                  <a:lnTo>
                    <a:pt x="76" y="228"/>
                  </a:lnTo>
                  <a:close/>
                  <a:moveTo>
                    <a:pt x="40" y="219"/>
                  </a:moveTo>
                  <a:lnTo>
                    <a:pt x="38" y="219"/>
                  </a:lnTo>
                  <a:lnTo>
                    <a:pt x="40" y="219"/>
                  </a:lnTo>
                  <a:close/>
                  <a:moveTo>
                    <a:pt x="5" y="211"/>
                  </a:moveTo>
                  <a:lnTo>
                    <a:pt x="2" y="211"/>
                  </a:lnTo>
                  <a:lnTo>
                    <a:pt x="5" y="211"/>
                  </a:lnTo>
                  <a:close/>
                  <a:moveTo>
                    <a:pt x="47" y="211"/>
                  </a:moveTo>
                  <a:lnTo>
                    <a:pt x="47" y="209"/>
                  </a:lnTo>
                  <a:lnTo>
                    <a:pt x="47" y="211"/>
                  </a:lnTo>
                  <a:close/>
                  <a:moveTo>
                    <a:pt x="7" y="209"/>
                  </a:moveTo>
                  <a:lnTo>
                    <a:pt x="5" y="209"/>
                  </a:lnTo>
                  <a:lnTo>
                    <a:pt x="7" y="209"/>
                  </a:lnTo>
                  <a:close/>
                  <a:moveTo>
                    <a:pt x="59" y="209"/>
                  </a:moveTo>
                  <a:lnTo>
                    <a:pt x="59" y="207"/>
                  </a:lnTo>
                  <a:lnTo>
                    <a:pt x="59" y="209"/>
                  </a:lnTo>
                  <a:close/>
                  <a:moveTo>
                    <a:pt x="17" y="200"/>
                  </a:moveTo>
                  <a:lnTo>
                    <a:pt x="17" y="197"/>
                  </a:lnTo>
                  <a:lnTo>
                    <a:pt x="17" y="200"/>
                  </a:lnTo>
                  <a:close/>
                  <a:moveTo>
                    <a:pt x="17" y="195"/>
                  </a:moveTo>
                  <a:lnTo>
                    <a:pt x="14" y="195"/>
                  </a:lnTo>
                  <a:lnTo>
                    <a:pt x="17" y="195"/>
                  </a:lnTo>
                  <a:close/>
                  <a:moveTo>
                    <a:pt x="71" y="190"/>
                  </a:moveTo>
                  <a:lnTo>
                    <a:pt x="71" y="188"/>
                  </a:lnTo>
                  <a:lnTo>
                    <a:pt x="71" y="190"/>
                  </a:lnTo>
                  <a:close/>
                  <a:moveTo>
                    <a:pt x="71" y="185"/>
                  </a:moveTo>
                  <a:lnTo>
                    <a:pt x="69" y="185"/>
                  </a:lnTo>
                  <a:lnTo>
                    <a:pt x="71" y="185"/>
                  </a:lnTo>
                  <a:close/>
                  <a:moveTo>
                    <a:pt x="40" y="185"/>
                  </a:moveTo>
                  <a:lnTo>
                    <a:pt x="40" y="183"/>
                  </a:lnTo>
                  <a:lnTo>
                    <a:pt x="40" y="185"/>
                  </a:lnTo>
                  <a:close/>
                  <a:moveTo>
                    <a:pt x="17" y="183"/>
                  </a:moveTo>
                  <a:lnTo>
                    <a:pt x="14" y="183"/>
                  </a:lnTo>
                  <a:lnTo>
                    <a:pt x="17" y="183"/>
                  </a:lnTo>
                  <a:close/>
                  <a:moveTo>
                    <a:pt x="19" y="178"/>
                  </a:moveTo>
                  <a:lnTo>
                    <a:pt x="19" y="181"/>
                  </a:lnTo>
                  <a:lnTo>
                    <a:pt x="19" y="178"/>
                  </a:lnTo>
                  <a:close/>
                  <a:moveTo>
                    <a:pt x="36" y="178"/>
                  </a:moveTo>
                  <a:lnTo>
                    <a:pt x="36" y="181"/>
                  </a:lnTo>
                  <a:lnTo>
                    <a:pt x="36" y="178"/>
                  </a:lnTo>
                  <a:close/>
                  <a:moveTo>
                    <a:pt x="38" y="181"/>
                  </a:moveTo>
                  <a:lnTo>
                    <a:pt x="38" y="178"/>
                  </a:lnTo>
                  <a:lnTo>
                    <a:pt x="38" y="181"/>
                  </a:lnTo>
                  <a:close/>
                  <a:moveTo>
                    <a:pt x="2" y="176"/>
                  </a:moveTo>
                  <a:lnTo>
                    <a:pt x="0" y="176"/>
                  </a:lnTo>
                  <a:lnTo>
                    <a:pt x="2" y="176"/>
                  </a:lnTo>
                  <a:close/>
                  <a:moveTo>
                    <a:pt x="40" y="173"/>
                  </a:moveTo>
                  <a:lnTo>
                    <a:pt x="40" y="171"/>
                  </a:lnTo>
                  <a:lnTo>
                    <a:pt x="40" y="173"/>
                  </a:lnTo>
                  <a:close/>
                  <a:moveTo>
                    <a:pt x="40" y="171"/>
                  </a:moveTo>
                  <a:lnTo>
                    <a:pt x="38" y="171"/>
                  </a:lnTo>
                  <a:lnTo>
                    <a:pt x="40" y="171"/>
                  </a:lnTo>
                  <a:close/>
                  <a:moveTo>
                    <a:pt x="12" y="169"/>
                  </a:moveTo>
                  <a:lnTo>
                    <a:pt x="9" y="169"/>
                  </a:lnTo>
                  <a:lnTo>
                    <a:pt x="12" y="169"/>
                  </a:lnTo>
                  <a:close/>
                  <a:moveTo>
                    <a:pt x="21" y="169"/>
                  </a:moveTo>
                  <a:lnTo>
                    <a:pt x="19" y="169"/>
                  </a:lnTo>
                  <a:lnTo>
                    <a:pt x="21" y="169"/>
                  </a:lnTo>
                  <a:close/>
                  <a:moveTo>
                    <a:pt x="21" y="166"/>
                  </a:moveTo>
                  <a:lnTo>
                    <a:pt x="21" y="169"/>
                  </a:lnTo>
                  <a:lnTo>
                    <a:pt x="21" y="166"/>
                  </a:lnTo>
                  <a:close/>
                  <a:moveTo>
                    <a:pt x="2" y="166"/>
                  </a:moveTo>
                  <a:lnTo>
                    <a:pt x="0" y="166"/>
                  </a:lnTo>
                  <a:lnTo>
                    <a:pt x="2" y="166"/>
                  </a:lnTo>
                  <a:close/>
                  <a:moveTo>
                    <a:pt x="21" y="164"/>
                  </a:moveTo>
                  <a:lnTo>
                    <a:pt x="21" y="166"/>
                  </a:lnTo>
                  <a:lnTo>
                    <a:pt x="21" y="164"/>
                  </a:lnTo>
                  <a:close/>
                  <a:moveTo>
                    <a:pt x="21" y="162"/>
                  </a:moveTo>
                  <a:lnTo>
                    <a:pt x="21" y="164"/>
                  </a:lnTo>
                  <a:lnTo>
                    <a:pt x="21" y="162"/>
                  </a:lnTo>
                  <a:close/>
                  <a:moveTo>
                    <a:pt x="21" y="164"/>
                  </a:moveTo>
                  <a:lnTo>
                    <a:pt x="21" y="162"/>
                  </a:lnTo>
                  <a:lnTo>
                    <a:pt x="21" y="164"/>
                  </a:lnTo>
                  <a:close/>
                  <a:moveTo>
                    <a:pt x="17" y="162"/>
                  </a:moveTo>
                  <a:lnTo>
                    <a:pt x="14" y="162"/>
                  </a:lnTo>
                  <a:lnTo>
                    <a:pt x="17" y="162"/>
                  </a:lnTo>
                  <a:close/>
                  <a:moveTo>
                    <a:pt x="71" y="162"/>
                  </a:moveTo>
                  <a:lnTo>
                    <a:pt x="71" y="159"/>
                  </a:lnTo>
                  <a:lnTo>
                    <a:pt x="71" y="162"/>
                  </a:lnTo>
                  <a:close/>
                  <a:moveTo>
                    <a:pt x="31" y="159"/>
                  </a:moveTo>
                  <a:lnTo>
                    <a:pt x="31" y="162"/>
                  </a:lnTo>
                  <a:lnTo>
                    <a:pt x="31" y="159"/>
                  </a:lnTo>
                  <a:close/>
                  <a:moveTo>
                    <a:pt x="126" y="159"/>
                  </a:moveTo>
                  <a:lnTo>
                    <a:pt x="123" y="159"/>
                  </a:lnTo>
                  <a:lnTo>
                    <a:pt x="126" y="159"/>
                  </a:lnTo>
                  <a:close/>
                  <a:moveTo>
                    <a:pt x="33" y="159"/>
                  </a:moveTo>
                  <a:lnTo>
                    <a:pt x="33" y="157"/>
                  </a:lnTo>
                  <a:lnTo>
                    <a:pt x="33" y="159"/>
                  </a:lnTo>
                  <a:close/>
                  <a:moveTo>
                    <a:pt x="36" y="157"/>
                  </a:moveTo>
                  <a:lnTo>
                    <a:pt x="36" y="154"/>
                  </a:lnTo>
                  <a:lnTo>
                    <a:pt x="36" y="157"/>
                  </a:lnTo>
                  <a:close/>
                  <a:moveTo>
                    <a:pt x="76" y="152"/>
                  </a:moveTo>
                  <a:lnTo>
                    <a:pt x="74" y="152"/>
                  </a:lnTo>
                  <a:lnTo>
                    <a:pt x="76" y="152"/>
                  </a:lnTo>
                  <a:close/>
                  <a:moveTo>
                    <a:pt x="45" y="145"/>
                  </a:moveTo>
                  <a:lnTo>
                    <a:pt x="45" y="147"/>
                  </a:lnTo>
                  <a:lnTo>
                    <a:pt x="45" y="145"/>
                  </a:lnTo>
                  <a:close/>
                  <a:moveTo>
                    <a:pt x="21" y="142"/>
                  </a:moveTo>
                  <a:lnTo>
                    <a:pt x="19" y="142"/>
                  </a:lnTo>
                  <a:lnTo>
                    <a:pt x="21" y="142"/>
                  </a:lnTo>
                  <a:close/>
                  <a:moveTo>
                    <a:pt x="28" y="138"/>
                  </a:moveTo>
                  <a:lnTo>
                    <a:pt x="28" y="135"/>
                  </a:lnTo>
                  <a:lnTo>
                    <a:pt x="28" y="138"/>
                  </a:lnTo>
                  <a:close/>
                  <a:moveTo>
                    <a:pt x="5" y="138"/>
                  </a:moveTo>
                  <a:lnTo>
                    <a:pt x="5" y="135"/>
                  </a:lnTo>
                  <a:lnTo>
                    <a:pt x="5" y="138"/>
                  </a:lnTo>
                  <a:close/>
                  <a:moveTo>
                    <a:pt x="28" y="138"/>
                  </a:moveTo>
                  <a:lnTo>
                    <a:pt x="28" y="135"/>
                  </a:lnTo>
                  <a:lnTo>
                    <a:pt x="28" y="138"/>
                  </a:lnTo>
                  <a:close/>
                  <a:moveTo>
                    <a:pt x="85" y="135"/>
                  </a:moveTo>
                  <a:lnTo>
                    <a:pt x="83" y="135"/>
                  </a:lnTo>
                  <a:lnTo>
                    <a:pt x="85" y="135"/>
                  </a:lnTo>
                  <a:close/>
                  <a:moveTo>
                    <a:pt x="85" y="131"/>
                  </a:moveTo>
                  <a:lnTo>
                    <a:pt x="85" y="128"/>
                  </a:lnTo>
                  <a:lnTo>
                    <a:pt x="85" y="131"/>
                  </a:lnTo>
                  <a:close/>
                  <a:moveTo>
                    <a:pt x="154" y="97"/>
                  </a:moveTo>
                  <a:lnTo>
                    <a:pt x="152" y="97"/>
                  </a:lnTo>
                  <a:lnTo>
                    <a:pt x="154" y="97"/>
                  </a:lnTo>
                  <a:close/>
                  <a:moveTo>
                    <a:pt x="157" y="95"/>
                  </a:moveTo>
                  <a:lnTo>
                    <a:pt x="157" y="93"/>
                  </a:lnTo>
                  <a:lnTo>
                    <a:pt x="157" y="95"/>
                  </a:lnTo>
                  <a:close/>
                  <a:moveTo>
                    <a:pt x="159" y="90"/>
                  </a:moveTo>
                  <a:lnTo>
                    <a:pt x="159" y="88"/>
                  </a:lnTo>
                  <a:lnTo>
                    <a:pt x="159" y="90"/>
                  </a:lnTo>
                  <a:close/>
                  <a:moveTo>
                    <a:pt x="166" y="90"/>
                  </a:moveTo>
                  <a:lnTo>
                    <a:pt x="166" y="88"/>
                  </a:lnTo>
                  <a:lnTo>
                    <a:pt x="166" y="90"/>
                  </a:lnTo>
                  <a:close/>
                  <a:moveTo>
                    <a:pt x="199" y="71"/>
                  </a:moveTo>
                  <a:lnTo>
                    <a:pt x="202" y="71"/>
                  </a:lnTo>
                  <a:lnTo>
                    <a:pt x="199" y="71"/>
                  </a:lnTo>
                  <a:close/>
                  <a:moveTo>
                    <a:pt x="202" y="71"/>
                  </a:moveTo>
                  <a:lnTo>
                    <a:pt x="199" y="71"/>
                  </a:lnTo>
                  <a:lnTo>
                    <a:pt x="202" y="71"/>
                  </a:lnTo>
                  <a:close/>
                  <a:moveTo>
                    <a:pt x="211" y="55"/>
                  </a:moveTo>
                  <a:lnTo>
                    <a:pt x="211" y="52"/>
                  </a:lnTo>
                  <a:lnTo>
                    <a:pt x="211" y="55"/>
                  </a:lnTo>
                  <a:close/>
                  <a:moveTo>
                    <a:pt x="209" y="47"/>
                  </a:moveTo>
                  <a:lnTo>
                    <a:pt x="211" y="47"/>
                  </a:lnTo>
                  <a:lnTo>
                    <a:pt x="209" y="47"/>
                  </a:lnTo>
                  <a:close/>
                  <a:moveTo>
                    <a:pt x="211" y="36"/>
                  </a:moveTo>
                  <a:lnTo>
                    <a:pt x="211" y="38"/>
                  </a:lnTo>
                  <a:lnTo>
                    <a:pt x="211" y="36"/>
                  </a:lnTo>
                  <a:close/>
                  <a:moveTo>
                    <a:pt x="216" y="33"/>
                  </a:moveTo>
                  <a:lnTo>
                    <a:pt x="218" y="33"/>
                  </a:lnTo>
                  <a:lnTo>
                    <a:pt x="216" y="33"/>
                  </a:lnTo>
                  <a:close/>
                  <a:moveTo>
                    <a:pt x="228" y="28"/>
                  </a:moveTo>
                  <a:lnTo>
                    <a:pt x="225" y="28"/>
                  </a:lnTo>
                  <a:lnTo>
                    <a:pt x="228" y="28"/>
                  </a:lnTo>
                  <a:close/>
                  <a:moveTo>
                    <a:pt x="225" y="28"/>
                  </a:moveTo>
                  <a:lnTo>
                    <a:pt x="225" y="26"/>
                  </a:lnTo>
                  <a:lnTo>
                    <a:pt x="225" y="28"/>
                  </a:lnTo>
                  <a:close/>
                  <a:moveTo>
                    <a:pt x="225" y="26"/>
                  </a:moveTo>
                  <a:lnTo>
                    <a:pt x="225" y="24"/>
                  </a:lnTo>
                  <a:lnTo>
                    <a:pt x="225" y="26"/>
                  </a:lnTo>
                  <a:close/>
                  <a:moveTo>
                    <a:pt x="216" y="24"/>
                  </a:moveTo>
                  <a:lnTo>
                    <a:pt x="218" y="24"/>
                  </a:lnTo>
                  <a:lnTo>
                    <a:pt x="216" y="24"/>
                  </a:lnTo>
                  <a:close/>
                  <a:moveTo>
                    <a:pt x="218" y="19"/>
                  </a:moveTo>
                  <a:lnTo>
                    <a:pt x="216" y="19"/>
                  </a:lnTo>
                  <a:lnTo>
                    <a:pt x="218" y="19"/>
                  </a:lnTo>
                  <a:close/>
                  <a:moveTo>
                    <a:pt x="211" y="12"/>
                  </a:moveTo>
                  <a:lnTo>
                    <a:pt x="211" y="9"/>
                  </a:lnTo>
                  <a:lnTo>
                    <a:pt x="211" y="12"/>
                  </a:lnTo>
                  <a:close/>
                  <a:moveTo>
                    <a:pt x="230" y="0"/>
                  </a:moveTo>
                  <a:lnTo>
                    <a:pt x="230" y="2"/>
                  </a:lnTo>
                  <a:lnTo>
                    <a:pt x="23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1" name="Freeform 57949"/>
            <p:cNvSpPr>
              <a:spLocks noEditPoints="1"/>
            </p:cNvSpPr>
            <p:nvPr/>
          </p:nvSpPr>
          <p:spPr bwMode="auto">
            <a:xfrm>
              <a:off x="1084261" y="6191272"/>
              <a:ext cx="241300" cy="101600"/>
            </a:xfrm>
            <a:custGeom>
              <a:avLst/>
              <a:gdLst>
                <a:gd name="T0" fmla="*/ 85 w 152"/>
                <a:gd name="T1" fmla="*/ 47 h 64"/>
                <a:gd name="T2" fmla="*/ 87 w 152"/>
                <a:gd name="T3" fmla="*/ 55 h 64"/>
                <a:gd name="T4" fmla="*/ 85 w 152"/>
                <a:gd name="T5" fmla="*/ 57 h 64"/>
                <a:gd name="T6" fmla="*/ 80 w 152"/>
                <a:gd name="T7" fmla="*/ 62 h 64"/>
                <a:gd name="T8" fmla="*/ 76 w 152"/>
                <a:gd name="T9" fmla="*/ 62 h 64"/>
                <a:gd name="T10" fmla="*/ 71 w 152"/>
                <a:gd name="T11" fmla="*/ 57 h 64"/>
                <a:gd name="T12" fmla="*/ 71 w 152"/>
                <a:gd name="T13" fmla="*/ 52 h 64"/>
                <a:gd name="T14" fmla="*/ 76 w 152"/>
                <a:gd name="T15" fmla="*/ 47 h 64"/>
                <a:gd name="T16" fmla="*/ 83 w 152"/>
                <a:gd name="T17" fmla="*/ 45 h 64"/>
                <a:gd name="T18" fmla="*/ 61 w 152"/>
                <a:gd name="T19" fmla="*/ 26 h 64"/>
                <a:gd name="T20" fmla="*/ 59 w 152"/>
                <a:gd name="T21" fmla="*/ 33 h 64"/>
                <a:gd name="T22" fmla="*/ 57 w 152"/>
                <a:gd name="T23" fmla="*/ 36 h 64"/>
                <a:gd name="T24" fmla="*/ 52 w 152"/>
                <a:gd name="T25" fmla="*/ 40 h 64"/>
                <a:gd name="T26" fmla="*/ 49 w 152"/>
                <a:gd name="T27" fmla="*/ 47 h 64"/>
                <a:gd name="T28" fmla="*/ 42 w 152"/>
                <a:gd name="T29" fmla="*/ 52 h 64"/>
                <a:gd name="T30" fmla="*/ 40 w 152"/>
                <a:gd name="T31" fmla="*/ 45 h 64"/>
                <a:gd name="T32" fmla="*/ 38 w 152"/>
                <a:gd name="T33" fmla="*/ 38 h 64"/>
                <a:gd name="T34" fmla="*/ 40 w 152"/>
                <a:gd name="T35" fmla="*/ 36 h 64"/>
                <a:gd name="T36" fmla="*/ 47 w 152"/>
                <a:gd name="T37" fmla="*/ 33 h 64"/>
                <a:gd name="T38" fmla="*/ 52 w 152"/>
                <a:gd name="T39" fmla="*/ 28 h 64"/>
                <a:gd name="T40" fmla="*/ 61 w 152"/>
                <a:gd name="T41" fmla="*/ 28 h 64"/>
                <a:gd name="T42" fmla="*/ 137 w 152"/>
                <a:gd name="T43" fmla="*/ 21 h 64"/>
                <a:gd name="T44" fmla="*/ 137 w 152"/>
                <a:gd name="T45" fmla="*/ 31 h 64"/>
                <a:gd name="T46" fmla="*/ 135 w 152"/>
                <a:gd name="T47" fmla="*/ 38 h 64"/>
                <a:gd name="T48" fmla="*/ 135 w 152"/>
                <a:gd name="T49" fmla="*/ 43 h 64"/>
                <a:gd name="T50" fmla="*/ 128 w 152"/>
                <a:gd name="T51" fmla="*/ 45 h 64"/>
                <a:gd name="T52" fmla="*/ 123 w 152"/>
                <a:gd name="T53" fmla="*/ 47 h 64"/>
                <a:gd name="T54" fmla="*/ 116 w 152"/>
                <a:gd name="T55" fmla="*/ 50 h 64"/>
                <a:gd name="T56" fmla="*/ 121 w 152"/>
                <a:gd name="T57" fmla="*/ 45 h 64"/>
                <a:gd name="T58" fmla="*/ 125 w 152"/>
                <a:gd name="T59" fmla="*/ 40 h 64"/>
                <a:gd name="T60" fmla="*/ 128 w 152"/>
                <a:gd name="T61" fmla="*/ 33 h 64"/>
                <a:gd name="T62" fmla="*/ 130 w 152"/>
                <a:gd name="T63" fmla="*/ 26 h 64"/>
                <a:gd name="T64" fmla="*/ 135 w 152"/>
                <a:gd name="T65" fmla="*/ 21 h 64"/>
                <a:gd name="T66" fmla="*/ 4 w 152"/>
                <a:gd name="T67" fmla="*/ 17 h 64"/>
                <a:gd name="T68" fmla="*/ 9 w 152"/>
                <a:gd name="T69" fmla="*/ 21 h 64"/>
                <a:gd name="T70" fmla="*/ 9 w 152"/>
                <a:gd name="T71" fmla="*/ 26 h 64"/>
                <a:gd name="T72" fmla="*/ 7 w 152"/>
                <a:gd name="T73" fmla="*/ 33 h 64"/>
                <a:gd name="T74" fmla="*/ 2 w 152"/>
                <a:gd name="T75" fmla="*/ 28 h 64"/>
                <a:gd name="T76" fmla="*/ 0 w 152"/>
                <a:gd name="T77" fmla="*/ 21 h 64"/>
                <a:gd name="T78" fmla="*/ 2 w 152"/>
                <a:gd name="T79" fmla="*/ 19 h 64"/>
                <a:gd name="T80" fmla="*/ 4 w 152"/>
                <a:gd name="T81" fmla="*/ 17 h 64"/>
                <a:gd name="T82" fmla="*/ 149 w 152"/>
                <a:gd name="T83" fmla="*/ 2 h 64"/>
                <a:gd name="T84" fmla="*/ 147 w 152"/>
                <a:gd name="T85" fmla="*/ 9 h 64"/>
                <a:gd name="T86" fmla="*/ 144 w 152"/>
                <a:gd name="T87" fmla="*/ 12 h 64"/>
                <a:gd name="T88" fmla="*/ 142 w 152"/>
                <a:gd name="T89" fmla="*/ 14 h 64"/>
                <a:gd name="T90" fmla="*/ 137 w 152"/>
                <a:gd name="T91" fmla="*/ 14 h 64"/>
                <a:gd name="T92" fmla="*/ 137 w 152"/>
                <a:gd name="T93" fmla="*/ 9 h 64"/>
                <a:gd name="T94" fmla="*/ 142 w 152"/>
                <a:gd name="T95" fmla="*/ 5 h 64"/>
                <a:gd name="T96" fmla="*/ 142 w 152"/>
                <a:gd name="T97" fmla="*/ 5 h 64"/>
                <a:gd name="T98" fmla="*/ 149 w 152"/>
                <a:gd name="T99"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64">
                  <a:moveTo>
                    <a:pt x="85" y="45"/>
                  </a:moveTo>
                  <a:lnTo>
                    <a:pt x="85" y="47"/>
                  </a:lnTo>
                  <a:lnTo>
                    <a:pt x="85" y="45"/>
                  </a:lnTo>
                  <a:lnTo>
                    <a:pt x="85" y="47"/>
                  </a:lnTo>
                  <a:lnTo>
                    <a:pt x="85" y="50"/>
                  </a:lnTo>
                  <a:lnTo>
                    <a:pt x="87" y="50"/>
                  </a:lnTo>
                  <a:lnTo>
                    <a:pt x="87" y="52"/>
                  </a:lnTo>
                  <a:lnTo>
                    <a:pt x="87" y="55"/>
                  </a:lnTo>
                  <a:lnTo>
                    <a:pt x="87" y="57"/>
                  </a:lnTo>
                  <a:lnTo>
                    <a:pt x="85" y="57"/>
                  </a:lnTo>
                  <a:lnTo>
                    <a:pt x="87" y="57"/>
                  </a:lnTo>
                  <a:lnTo>
                    <a:pt x="85" y="57"/>
                  </a:lnTo>
                  <a:lnTo>
                    <a:pt x="85" y="59"/>
                  </a:lnTo>
                  <a:lnTo>
                    <a:pt x="85" y="62"/>
                  </a:lnTo>
                  <a:lnTo>
                    <a:pt x="83" y="62"/>
                  </a:lnTo>
                  <a:lnTo>
                    <a:pt x="80" y="62"/>
                  </a:lnTo>
                  <a:lnTo>
                    <a:pt x="80" y="64"/>
                  </a:lnTo>
                  <a:lnTo>
                    <a:pt x="78" y="64"/>
                  </a:lnTo>
                  <a:lnTo>
                    <a:pt x="78" y="62"/>
                  </a:lnTo>
                  <a:lnTo>
                    <a:pt x="76" y="62"/>
                  </a:lnTo>
                  <a:lnTo>
                    <a:pt x="76" y="59"/>
                  </a:lnTo>
                  <a:lnTo>
                    <a:pt x="73" y="59"/>
                  </a:lnTo>
                  <a:lnTo>
                    <a:pt x="73" y="57"/>
                  </a:lnTo>
                  <a:lnTo>
                    <a:pt x="71" y="57"/>
                  </a:lnTo>
                  <a:lnTo>
                    <a:pt x="71" y="55"/>
                  </a:lnTo>
                  <a:lnTo>
                    <a:pt x="71" y="52"/>
                  </a:lnTo>
                  <a:lnTo>
                    <a:pt x="73" y="52"/>
                  </a:lnTo>
                  <a:lnTo>
                    <a:pt x="71" y="52"/>
                  </a:lnTo>
                  <a:lnTo>
                    <a:pt x="73" y="52"/>
                  </a:lnTo>
                  <a:lnTo>
                    <a:pt x="73" y="50"/>
                  </a:lnTo>
                  <a:lnTo>
                    <a:pt x="76" y="50"/>
                  </a:lnTo>
                  <a:lnTo>
                    <a:pt x="76" y="47"/>
                  </a:lnTo>
                  <a:lnTo>
                    <a:pt x="76" y="45"/>
                  </a:lnTo>
                  <a:lnTo>
                    <a:pt x="78" y="45"/>
                  </a:lnTo>
                  <a:lnTo>
                    <a:pt x="80" y="45"/>
                  </a:lnTo>
                  <a:lnTo>
                    <a:pt x="83" y="45"/>
                  </a:lnTo>
                  <a:lnTo>
                    <a:pt x="83" y="47"/>
                  </a:lnTo>
                  <a:lnTo>
                    <a:pt x="85" y="47"/>
                  </a:lnTo>
                  <a:lnTo>
                    <a:pt x="85" y="45"/>
                  </a:lnTo>
                  <a:close/>
                  <a:moveTo>
                    <a:pt x="61" y="26"/>
                  </a:moveTo>
                  <a:lnTo>
                    <a:pt x="61" y="28"/>
                  </a:lnTo>
                  <a:lnTo>
                    <a:pt x="61" y="31"/>
                  </a:lnTo>
                  <a:lnTo>
                    <a:pt x="59" y="31"/>
                  </a:lnTo>
                  <a:lnTo>
                    <a:pt x="59" y="33"/>
                  </a:lnTo>
                  <a:lnTo>
                    <a:pt x="59" y="31"/>
                  </a:lnTo>
                  <a:lnTo>
                    <a:pt x="59" y="33"/>
                  </a:lnTo>
                  <a:lnTo>
                    <a:pt x="57" y="33"/>
                  </a:lnTo>
                  <a:lnTo>
                    <a:pt x="57" y="36"/>
                  </a:lnTo>
                  <a:lnTo>
                    <a:pt x="54" y="36"/>
                  </a:lnTo>
                  <a:lnTo>
                    <a:pt x="54" y="38"/>
                  </a:lnTo>
                  <a:lnTo>
                    <a:pt x="54" y="40"/>
                  </a:lnTo>
                  <a:lnTo>
                    <a:pt x="52" y="40"/>
                  </a:lnTo>
                  <a:lnTo>
                    <a:pt x="52" y="43"/>
                  </a:lnTo>
                  <a:lnTo>
                    <a:pt x="52" y="45"/>
                  </a:lnTo>
                  <a:lnTo>
                    <a:pt x="52" y="47"/>
                  </a:lnTo>
                  <a:lnTo>
                    <a:pt x="49" y="47"/>
                  </a:lnTo>
                  <a:lnTo>
                    <a:pt x="49" y="50"/>
                  </a:lnTo>
                  <a:lnTo>
                    <a:pt x="47" y="50"/>
                  </a:lnTo>
                  <a:lnTo>
                    <a:pt x="45" y="52"/>
                  </a:lnTo>
                  <a:lnTo>
                    <a:pt x="42" y="52"/>
                  </a:lnTo>
                  <a:lnTo>
                    <a:pt x="42" y="50"/>
                  </a:lnTo>
                  <a:lnTo>
                    <a:pt x="42" y="47"/>
                  </a:lnTo>
                  <a:lnTo>
                    <a:pt x="40" y="47"/>
                  </a:lnTo>
                  <a:lnTo>
                    <a:pt x="40" y="45"/>
                  </a:lnTo>
                  <a:lnTo>
                    <a:pt x="40" y="43"/>
                  </a:lnTo>
                  <a:lnTo>
                    <a:pt x="38" y="43"/>
                  </a:lnTo>
                  <a:lnTo>
                    <a:pt x="38" y="40"/>
                  </a:lnTo>
                  <a:lnTo>
                    <a:pt x="38" y="38"/>
                  </a:lnTo>
                  <a:lnTo>
                    <a:pt x="35" y="38"/>
                  </a:lnTo>
                  <a:lnTo>
                    <a:pt x="35" y="36"/>
                  </a:lnTo>
                  <a:lnTo>
                    <a:pt x="38" y="36"/>
                  </a:lnTo>
                  <a:lnTo>
                    <a:pt x="40" y="36"/>
                  </a:lnTo>
                  <a:lnTo>
                    <a:pt x="42" y="36"/>
                  </a:lnTo>
                  <a:lnTo>
                    <a:pt x="45" y="36"/>
                  </a:lnTo>
                  <a:lnTo>
                    <a:pt x="47" y="36"/>
                  </a:lnTo>
                  <a:lnTo>
                    <a:pt x="47" y="33"/>
                  </a:lnTo>
                  <a:lnTo>
                    <a:pt x="49" y="33"/>
                  </a:lnTo>
                  <a:lnTo>
                    <a:pt x="52" y="33"/>
                  </a:lnTo>
                  <a:lnTo>
                    <a:pt x="52" y="31"/>
                  </a:lnTo>
                  <a:lnTo>
                    <a:pt x="52" y="28"/>
                  </a:lnTo>
                  <a:lnTo>
                    <a:pt x="54" y="28"/>
                  </a:lnTo>
                  <a:lnTo>
                    <a:pt x="57" y="28"/>
                  </a:lnTo>
                  <a:lnTo>
                    <a:pt x="59" y="28"/>
                  </a:lnTo>
                  <a:lnTo>
                    <a:pt x="61" y="28"/>
                  </a:lnTo>
                  <a:lnTo>
                    <a:pt x="61" y="26"/>
                  </a:lnTo>
                  <a:close/>
                  <a:moveTo>
                    <a:pt x="135" y="19"/>
                  </a:moveTo>
                  <a:lnTo>
                    <a:pt x="137" y="19"/>
                  </a:lnTo>
                  <a:lnTo>
                    <a:pt x="137" y="21"/>
                  </a:lnTo>
                  <a:lnTo>
                    <a:pt x="137" y="24"/>
                  </a:lnTo>
                  <a:lnTo>
                    <a:pt x="137" y="26"/>
                  </a:lnTo>
                  <a:lnTo>
                    <a:pt x="137" y="28"/>
                  </a:lnTo>
                  <a:lnTo>
                    <a:pt x="137" y="31"/>
                  </a:lnTo>
                  <a:lnTo>
                    <a:pt x="137" y="33"/>
                  </a:lnTo>
                  <a:lnTo>
                    <a:pt x="137" y="36"/>
                  </a:lnTo>
                  <a:lnTo>
                    <a:pt x="137" y="38"/>
                  </a:lnTo>
                  <a:lnTo>
                    <a:pt x="135" y="38"/>
                  </a:lnTo>
                  <a:lnTo>
                    <a:pt x="137" y="38"/>
                  </a:lnTo>
                  <a:lnTo>
                    <a:pt x="135" y="38"/>
                  </a:lnTo>
                  <a:lnTo>
                    <a:pt x="135" y="40"/>
                  </a:lnTo>
                  <a:lnTo>
                    <a:pt x="135" y="43"/>
                  </a:lnTo>
                  <a:lnTo>
                    <a:pt x="133" y="43"/>
                  </a:lnTo>
                  <a:lnTo>
                    <a:pt x="130" y="43"/>
                  </a:lnTo>
                  <a:lnTo>
                    <a:pt x="128" y="43"/>
                  </a:lnTo>
                  <a:lnTo>
                    <a:pt x="128" y="45"/>
                  </a:lnTo>
                  <a:lnTo>
                    <a:pt x="128" y="43"/>
                  </a:lnTo>
                  <a:lnTo>
                    <a:pt x="128" y="45"/>
                  </a:lnTo>
                  <a:lnTo>
                    <a:pt x="125" y="45"/>
                  </a:lnTo>
                  <a:lnTo>
                    <a:pt x="123" y="47"/>
                  </a:lnTo>
                  <a:lnTo>
                    <a:pt x="123" y="50"/>
                  </a:lnTo>
                  <a:lnTo>
                    <a:pt x="121" y="50"/>
                  </a:lnTo>
                  <a:lnTo>
                    <a:pt x="118" y="50"/>
                  </a:lnTo>
                  <a:lnTo>
                    <a:pt x="116" y="50"/>
                  </a:lnTo>
                  <a:lnTo>
                    <a:pt x="116" y="47"/>
                  </a:lnTo>
                  <a:lnTo>
                    <a:pt x="118" y="47"/>
                  </a:lnTo>
                  <a:lnTo>
                    <a:pt x="121" y="47"/>
                  </a:lnTo>
                  <a:lnTo>
                    <a:pt x="121" y="45"/>
                  </a:lnTo>
                  <a:lnTo>
                    <a:pt x="123" y="45"/>
                  </a:lnTo>
                  <a:lnTo>
                    <a:pt x="123" y="43"/>
                  </a:lnTo>
                  <a:lnTo>
                    <a:pt x="125" y="43"/>
                  </a:lnTo>
                  <a:lnTo>
                    <a:pt x="125" y="40"/>
                  </a:lnTo>
                  <a:lnTo>
                    <a:pt x="125" y="38"/>
                  </a:lnTo>
                  <a:lnTo>
                    <a:pt x="125" y="36"/>
                  </a:lnTo>
                  <a:lnTo>
                    <a:pt x="128" y="36"/>
                  </a:lnTo>
                  <a:lnTo>
                    <a:pt x="128" y="33"/>
                  </a:lnTo>
                  <a:lnTo>
                    <a:pt x="128" y="31"/>
                  </a:lnTo>
                  <a:lnTo>
                    <a:pt x="130" y="31"/>
                  </a:lnTo>
                  <a:lnTo>
                    <a:pt x="130" y="28"/>
                  </a:lnTo>
                  <a:lnTo>
                    <a:pt x="130" y="26"/>
                  </a:lnTo>
                  <a:lnTo>
                    <a:pt x="130" y="24"/>
                  </a:lnTo>
                  <a:lnTo>
                    <a:pt x="133" y="24"/>
                  </a:lnTo>
                  <a:lnTo>
                    <a:pt x="133" y="21"/>
                  </a:lnTo>
                  <a:lnTo>
                    <a:pt x="135" y="21"/>
                  </a:lnTo>
                  <a:lnTo>
                    <a:pt x="135" y="19"/>
                  </a:lnTo>
                  <a:lnTo>
                    <a:pt x="135" y="21"/>
                  </a:lnTo>
                  <a:lnTo>
                    <a:pt x="135" y="19"/>
                  </a:lnTo>
                  <a:close/>
                  <a:moveTo>
                    <a:pt x="4" y="17"/>
                  </a:moveTo>
                  <a:lnTo>
                    <a:pt x="7" y="17"/>
                  </a:lnTo>
                  <a:lnTo>
                    <a:pt x="9" y="17"/>
                  </a:lnTo>
                  <a:lnTo>
                    <a:pt x="9" y="19"/>
                  </a:lnTo>
                  <a:lnTo>
                    <a:pt x="9" y="21"/>
                  </a:lnTo>
                  <a:lnTo>
                    <a:pt x="9" y="24"/>
                  </a:lnTo>
                  <a:lnTo>
                    <a:pt x="7" y="24"/>
                  </a:lnTo>
                  <a:lnTo>
                    <a:pt x="9" y="24"/>
                  </a:lnTo>
                  <a:lnTo>
                    <a:pt x="9" y="26"/>
                  </a:lnTo>
                  <a:lnTo>
                    <a:pt x="9" y="28"/>
                  </a:lnTo>
                  <a:lnTo>
                    <a:pt x="7" y="28"/>
                  </a:lnTo>
                  <a:lnTo>
                    <a:pt x="7" y="31"/>
                  </a:lnTo>
                  <a:lnTo>
                    <a:pt x="7" y="33"/>
                  </a:lnTo>
                  <a:lnTo>
                    <a:pt x="4" y="33"/>
                  </a:lnTo>
                  <a:lnTo>
                    <a:pt x="4" y="31"/>
                  </a:lnTo>
                  <a:lnTo>
                    <a:pt x="4" y="28"/>
                  </a:lnTo>
                  <a:lnTo>
                    <a:pt x="2" y="28"/>
                  </a:lnTo>
                  <a:lnTo>
                    <a:pt x="2" y="26"/>
                  </a:lnTo>
                  <a:lnTo>
                    <a:pt x="2" y="24"/>
                  </a:lnTo>
                  <a:lnTo>
                    <a:pt x="2" y="21"/>
                  </a:lnTo>
                  <a:lnTo>
                    <a:pt x="0" y="21"/>
                  </a:lnTo>
                  <a:lnTo>
                    <a:pt x="2" y="21"/>
                  </a:lnTo>
                  <a:lnTo>
                    <a:pt x="0" y="21"/>
                  </a:lnTo>
                  <a:lnTo>
                    <a:pt x="0" y="19"/>
                  </a:lnTo>
                  <a:lnTo>
                    <a:pt x="2" y="19"/>
                  </a:lnTo>
                  <a:lnTo>
                    <a:pt x="2" y="17"/>
                  </a:lnTo>
                  <a:lnTo>
                    <a:pt x="0" y="17"/>
                  </a:lnTo>
                  <a:lnTo>
                    <a:pt x="2" y="17"/>
                  </a:lnTo>
                  <a:lnTo>
                    <a:pt x="4" y="17"/>
                  </a:lnTo>
                  <a:close/>
                  <a:moveTo>
                    <a:pt x="149" y="0"/>
                  </a:moveTo>
                  <a:lnTo>
                    <a:pt x="152" y="0"/>
                  </a:lnTo>
                  <a:lnTo>
                    <a:pt x="152" y="2"/>
                  </a:lnTo>
                  <a:lnTo>
                    <a:pt x="149" y="2"/>
                  </a:lnTo>
                  <a:lnTo>
                    <a:pt x="149" y="5"/>
                  </a:lnTo>
                  <a:lnTo>
                    <a:pt x="149" y="7"/>
                  </a:lnTo>
                  <a:lnTo>
                    <a:pt x="149" y="9"/>
                  </a:lnTo>
                  <a:lnTo>
                    <a:pt x="147" y="9"/>
                  </a:lnTo>
                  <a:lnTo>
                    <a:pt x="147" y="12"/>
                  </a:lnTo>
                  <a:lnTo>
                    <a:pt x="144" y="12"/>
                  </a:lnTo>
                  <a:lnTo>
                    <a:pt x="144" y="14"/>
                  </a:lnTo>
                  <a:lnTo>
                    <a:pt x="144" y="12"/>
                  </a:lnTo>
                  <a:lnTo>
                    <a:pt x="142" y="12"/>
                  </a:lnTo>
                  <a:lnTo>
                    <a:pt x="142" y="14"/>
                  </a:lnTo>
                  <a:lnTo>
                    <a:pt x="142" y="12"/>
                  </a:lnTo>
                  <a:lnTo>
                    <a:pt x="142" y="14"/>
                  </a:lnTo>
                  <a:lnTo>
                    <a:pt x="140" y="14"/>
                  </a:lnTo>
                  <a:lnTo>
                    <a:pt x="140" y="17"/>
                  </a:lnTo>
                  <a:lnTo>
                    <a:pt x="137" y="17"/>
                  </a:lnTo>
                  <a:lnTo>
                    <a:pt x="137" y="14"/>
                  </a:lnTo>
                  <a:lnTo>
                    <a:pt x="135" y="14"/>
                  </a:lnTo>
                  <a:lnTo>
                    <a:pt x="137" y="14"/>
                  </a:lnTo>
                  <a:lnTo>
                    <a:pt x="137" y="12"/>
                  </a:lnTo>
                  <a:lnTo>
                    <a:pt x="137" y="9"/>
                  </a:lnTo>
                  <a:lnTo>
                    <a:pt x="137" y="7"/>
                  </a:lnTo>
                  <a:lnTo>
                    <a:pt x="140" y="7"/>
                  </a:lnTo>
                  <a:lnTo>
                    <a:pt x="142" y="7"/>
                  </a:lnTo>
                  <a:lnTo>
                    <a:pt x="142" y="5"/>
                  </a:lnTo>
                  <a:lnTo>
                    <a:pt x="142" y="7"/>
                  </a:lnTo>
                  <a:lnTo>
                    <a:pt x="142" y="5"/>
                  </a:lnTo>
                  <a:lnTo>
                    <a:pt x="144" y="5"/>
                  </a:lnTo>
                  <a:lnTo>
                    <a:pt x="142" y="5"/>
                  </a:lnTo>
                  <a:lnTo>
                    <a:pt x="144" y="5"/>
                  </a:lnTo>
                  <a:lnTo>
                    <a:pt x="147" y="5"/>
                  </a:lnTo>
                  <a:lnTo>
                    <a:pt x="147" y="2"/>
                  </a:lnTo>
                  <a:lnTo>
                    <a:pt x="149" y="2"/>
                  </a:lnTo>
                  <a:lnTo>
                    <a:pt x="14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2" name="Freeform 57950"/>
            <p:cNvSpPr>
              <a:spLocks noEditPoints="1"/>
            </p:cNvSpPr>
            <p:nvPr/>
          </p:nvSpPr>
          <p:spPr bwMode="auto">
            <a:xfrm>
              <a:off x="1076324" y="6180155"/>
              <a:ext cx="244475" cy="115888"/>
            </a:xfrm>
            <a:custGeom>
              <a:avLst/>
              <a:gdLst>
                <a:gd name="T0" fmla="*/ 9 w 154"/>
                <a:gd name="T1" fmla="*/ 66 h 73"/>
                <a:gd name="T2" fmla="*/ 9 w 154"/>
                <a:gd name="T3" fmla="*/ 66 h 73"/>
                <a:gd name="T4" fmla="*/ 9 w 154"/>
                <a:gd name="T5" fmla="*/ 69 h 73"/>
                <a:gd name="T6" fmla="*/ 7 w 154"/>
                <a:gd name="T7" fmla="*/ 69 h 73"/>
                <a:gd name="T8" fmla="*/ 7 w 154"/>
                <a:gd name="T9" fmla="*/ 71 h 73"/>
                <a:gd name="T10" fmla="*/ 7 w 154"/>
                <a:gd name="T11" fmla="*/ 71 h 73"/>
                <a:gd name="T12" fmla="*/ 7 w 154"/>
                <a:gd name="T13" fmla="*/ 73 h 73"/>
                <a:gd name="T14" fmla="*/ 5 w 154"/>
                <a:gd name="T15" fmla="*/ 73 h 73"/>
                <a:gd name="T16" fmla="*/ 5 w 154"/>
                <a:gd name="T17" fmla="*/ 73 h 73"/>
                <a:gd name="T18" fmla="*/ 5 w 154"/>
                <a:gd name="T19" fmla="*/ 71 h 73"/>
                <a:gd name="T20" fmla="*/ 2 w 154"/>
                <a:gd name="T21" fmla="*/ 71 h 73"/>
                <a:gd name="T22" fmla="*/ 0 w 154"/>
                <a:gd name="T23" fmla="*/ 71 h 73"/>
                <a:gd name="T24" fmla="*/ 0 w 154"/>
                <a:gd name="T25" fmla="*/ 71 h 73"/>
                <a:gd name="T26" fmla="*/ 0 w 154"/>
                <a:gd name="T27" fmla="*/ 69 h 73"/>
                <a:gd name="T28" fmla="*/ 2 w 154"/>
                <a:gd name="T29" fmla="*/ 69 h 73"/>
                <a:gd name="T30" fmla="*/ 5 w 154"/>
                <a:gd name="T31" fmla="*/ 69 h 73"/>
                <a:gd name="T32" fmla="*/ 5 w 154"/>
                <a:gd name="T33" fmla="*/ 69 h 73"/>
                <a:gd name="T34" fmla="*/ 5 w 154"/>
                <a:gd name="T35" fmla="*/ 66 h 73"/>
                <a:gd name="T36" fmla="*/ 5 w 154"/>
                <a:gd name="T37" fmla="*/ 66 h 73"/>
                <a:gd name="T38" fmla="*/ 7 w 154"/>
                <a:gd name="T39" fmla="*/ 66 h 73"/>
                <a:gd name="T40" fmla="*/ 7 w 154"/>
                <a:gd name="T41" fmla="*/ 66 h 73"/>
                <a:gd name="T42" fmla="*/ 31 w 154"/>
                <a:gd name="T43" fmla="*/ 50 h 73"/>
                <a:gd name="T44" fmla="*/ 31 w 154"/>
                <a:gd name="T45" fmla="*/ 50 h 73"/>
                <a:gd name="T46" fmla="*/ 31 w 154"/>
                <a:gd name="T47" fmla="*/ 50 h 73"/>
                <a:gd name="T48" fmla="*/ 33 w 154"/>
                <a:gd name="T49" fmla="*/ 52 h 73"/>
                <a:gd name="T50" fmla="*/ 33 w 154"/>
                <a:gd name="T51" fmla="*/ 52 h 73"/>
                <a:gd name="T52" fmla="*/ 33 w 154"/>
                <a:gd name="T53" fmla="*/ 52 h 73"/>
                <a:gd name="T54" fmla="*/ 36 w 154"/>
                <a:gd name="T55" fmla="*/ 54 h 73"/>
                <a:gd name="T56" fmla="*/ 36 w 154"/>
                <a:gd name="T57" fmla="*/ 54 h 73"/>
                <a:gd name="T58" fmla="*/ 36 w 154"/>
                <a:gd name="T59" fmla="*/ 54 h 73"/>
                <a:gd name="T60" fmla="*/ 33 w 154"/>
                <a:gd name="T61" fmla="*/ 57 h 73"/>
                <a:gd name="T62" fmla="*/ 33 w 154"/>
                <a:gd name="T63" fmla="*/ 57 h 73"/>
                <a:gd name="T64" fmla="*/ 33 w 154"/>
                <a:gd name="T65" fmla="*/ 57 h 73"/>
                <a:gd name="T66" fmla="*/ 31 w 154"/>
                <a:gd name="T67" fmla="*/ 57 h 73"/>
                <a:gd name="T68" fmla="*/ 31 w 154"/>
                <a:gd name="T69" fmla="*/ 57 h 73"/>
                <a:gd name="T70" fmla="*/ 31 w 154"/>
                <a:gd name="T71" fmla="*/ 57 h 73"/>
                <a:gd name="T72" fmla="*/ 28 w 154"/>
                <a:gd name="T73" fmla="*/ 57 h 73"/>
                <a:gd name="T74" fmla="*/ 28 w 154"/>
                <a:gd name="T75" fmla="*/ 57 h 73"/>
                <a:gd name="T76" fmla="*/ 28 w 154"/>
                <a:gd name="T77" fmla="*/ 57 h 73"/>
                <a:gd name="T78" fmla="*/ 26 w 154"/>
                <a:gd name="T79" fmla="*/ 54 h 73"/>
                <a:gd name="T80" fmla="*/ 26 w 154"/>
                <a:gd name="T81" fmla="*/ 52 h 73"/>
                <a:gd name="T82" fmla="*/ 28 w 154"/>
                <a:gd name="T83" fmla="*/ 52 h 73"/>
                <a:gd name="T84" fmla="*/ 28 w 154"/>
                <a:gd name="T85" fmla="*/ 50 h 73"/>
                <a:gd name="T86" fmla="*/ 28 w 154"/>
                <a:gd name="T87" fmla="*/ 50 h 73"/>
                <a:gd name="T88" fmla="*/ 142 w 154"/>
                <a:gd name="T89" fmla="*/ 26 h 73"/>
                <a:gd name="T90" fmla="*/ 142 w 154"/>
                <a:gd name="T91" fmla="*/ 28 h 73"/>
                <a:gd name="T92" fmla="*/ 142 w 154"/>
                <a:gd name="T93" fmla="*/ 26 h 73"/>
                <a:gd name="T94" fmla="*/ 154 w 154"/>
                <a:gd name="T95" fmla="*/ 5 h 73"/>
                <a:gd name="T96" fmla="*/ 154 w 154"/>
                <a:gd name="T97" fmla="*/ 5 h 73"/>
                <a:gd name="T98" fmla="*/ 154 w 154"/>
                <a:gd name="T99" fmla="*/ 7 h 73"/>
                <a:gd name="T100" fmla="*/ 152 w 154"/>
                <a:gd name="T101" fmla="*/ 7 h 73"/>
                <a:gd name="T102" fmla="*/ 152 w 154"/>
                <a:gd name="T103" fmla="*/ 7 h 73"/>
                <a:gd name="T104" fmla="*/ 152 w 154"/>
                <a:gd name="T105" fmla="*/ 7 h 73"/>
                <a:gd name="T106" fmla="*/ 154 w 154"/>
                <a:gd name="T107" fmla="*/ 5 h 73"/>
                <a:gd name="T108" fmla="*/ 154 w 154"/>
                <a:gd name="T109" fmla="*/ 5 h 73"/>
                <a:gd name="T110" fmla="*/ 152 w 154"/>
                <a:gd name="T111" fmla="*/ 5 h 73"/>
                <a:gd name="T112" fmla="*/ 152 w 154"/>
                <a:gd name="T113" fmla="*/ 5 h 73"/>
                <a:gd name="T114" fmla="*/ 154 w 154"/>
                <a:gd name="T115" fmla="*/ 0 h 73"/>
                <a:gd name="T116" fmla="*/ 152 w 154"/>
                <a:gd name="T117" fmla="*/ 0 h 73"/>
                <a:gd name="T118" fmla="*/ 152 w 154"/>
                <a:gd name="T119" fmla="*/ 0 h 73"/>
                <a:gd name="T120" fmla="*/ 154 w 154"/>
                <a:gd name="T1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 h="73">
                  <a:moveTo>
                    <a:pt x="7" y="66"/>
                  </a:moveTo>
                  <a:lnTo>
                    <a:pt x="7" y="66"/>
                  </a:lnTo>
                  <a:lnTo>
                    <a:pt x="7"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9"/>
                  </a:lnTo>
                  <a:lnTo>
                    <a:pt x="9" y="69"/>
                  </a:lnTo>
                  <a:lnTo>
                    <a:pt x="9" y="69"/>
                  </a:lnTo>
                  <a:lnTo>
                    <a:pt x="9" y="69"/>
                  </a:lnTo>
                  <a:lnTo>
                    <a:pt x="9" y="69"/>
                  </a:lnTo>
                  <a:lnTo>
                    <a:pt x="9" y="69"/>
                  </a:lnTo>
                  <a:lnTo>
                    <a:pt x="9" y="69"/>
                  </a:lnTo>
                  <a:lnTo>
                    <a:pt x="9" y="69"/>
                  </a:lnTo>
                  <a:lnTo>
                    <a:pt x="9" y="69"/>
                  </a:lnTo>
                  <a:lnTo>
                    <a:pt x="7" y="69"/>
                  </a:lnTo>
                  <a:lnTo>
                    <a:pt x="7" y="69"/>
                  </a:lnTo>
                  <a:lnTo>
                    <a:pt x="7" y="69"/>
                  </a:lnTo>
                  <a:lnTo>
                    <a:pt x="7" y="69"/>
                  </a:lnTo>
                  <a:lnTo>
                    <a:pt x="7" y="69"/>
                  </a:lnTo>
                  <a:lnTo>
                    <a:pt x="7" y="69"/>
                  </a:lnTo>
                  <a:lnTo>
                    <a:pt x="7" y="69"/>
                  </a:lnTo>
                  <a:lnTo>
                    <a:pt x="7" y="69"/>
                  </a:lnTo>
                  <a:lnTo>
                    <a:pt x="7" y="69"/>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3"/>
                  </a:lnTo>
                  <a:lnTo>
                    <a:pt x="7" y="73"/>
                  </a:lnTo>
                  <a:lnTo>
                    <a:pt x="7" y="73"/>
                  </a:lnTo>
                  <a:lnTo>
                    <a:pt x="7" y="73"/>
                  </a:lnTo>
                  <a:lnTo>
                    <a:pt x="7" y="73"/>
                  </a:lnTo>
                  <a:lnTo>
                    <a:pt x="7" y="73"/>
                  </a:lnTo>
                  <a:lnTo>
                    <a:pt x="7" y="73"/>
                  </a:lnTo>
                  <a:lnTo>
                    <a:pt x="7" y="73"/>
                  </a:lnTo>
                  <a:lnTo>
                    <a:pt x="7" y="73"/>
                  </a:lnTo>
                  <a:lnTo>
                    <a:pt x="7"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1"/>
                  </a:lnTo>
                  <a:lnTo>
                    <a:pt x="5" y="71"/>
                  </a:lnTo>
                  <a:lnTo>
                    <a:pt x="2" y="71"/>
                  </a:lnTo>
                  <a:lnTo>
                    <a:pt x="2" y="71"/>
                  </a:lnTo>
                  <a:lnTo>
                    <a:pt x="2" y="71"/>
                  </a:lnTo>
                  <a:lnTo>
                    <a:pt x="2" y="71"/>
                  </a:lnTo>
                  <a:lnTo>
                    <a:pt x="2" y="71"/>
                  </a:lnTo>
                  <a:lnTo>
                    <a:pt x="2" y="71"/>
                  </a:lnTo>
                  <a:lnTo>
                    <a:pt x="2" y="71"/>
                  </a:lnTo>
                  <a:lnTo>
                    <a:pt x="2" y="71"/>
                  </a:lnTo>
                  <a:lnTo>
                    <a:pt x="2" y="71"/>
                  </a:lnTo>
                  <a:lnTo>
                    <a:pt x="2" y="71"/>
                  </a:lnTo>
                  <a:lnTo>
                    <a:pt x="0" y="71"/>
                  </a:lnTo>
                  <a:lnTo>
                    <a:pt x="0" y="71"/>
                  </a:lnTo>
                  <a:lnTo>
                    <a:pt x="0" y="71"/>
                  </a:lnTo>
                  <a:lnTo>
                    <a:pt x="0" y="71"/>
                  </a:lnTo>
                  <a:lnTo>
                    <a:pt x="0" y="71"/>
                  </a:lnTo>
                  <a:lnTo>
                    <a:pt x="0" y="71"/>
                  </a:lnTo>
                  <a:lnTo>
                    <a:pt x="0" y="71"/>
                  </a:lnTo>
                  <a:lnTo>
                    <a:pt x="0" y="71"/>
                  </a:lnTo>
                  <a:lnTo>
                    <a:pt x="0" y="71"/>
                  </a:lnTo>
                  <a:lnTo>
                    <a:pt x="0" y="71"/>
                  </a:lnTo>
                  <a:lnTo>
                    <a:pt x="0" y="71"/>
                  </a:lnTo>
                  <a:lnTo>
                    <a:pt x="0" y="71"/>
                  </a:lnTo>
                  <a:lnTo>
                    <a:pt x="0" y="71"/>
                  </a:lnTo>
                  <a:lnTo>
                    <a:pt x="0" y="71"/>
                  </a:lnTo>
                  <a:lnTo>
                    <a:pt x="0" y="69"/>
                  </a:lnTo>
                  <a:lnTo>
                    <a:pt x="0" y="69"/>
                  </a:lnTo>
                  <a:lnTo>
                    <a:pt x="0" y="69"/>
                  </a:lnTo>
                  <a:lnTo>
                    <a:pt x="0" y="69"/>
                  </a:lnTo>
                  <a:lnTo>
                    <a:pt x="0" y="69"/>
                  </a:lnTo>
                  <a:lnTo>
                    <a:pt x="0" y="69"/>
                  </a:lnTo>
                  <a:lnTo>
                    <a:pt x="0" y="69"/>
                  </a:lnTo>
                  <a:lnTo>
                    <a:pt x="0" y="69"/>
                  </a:lnTo>
                  <a:lnTo>
                    <a:pt x="0" y="69"/>
                  </a:lnTo>
                  <a:lnTo>
                    <a:pt x="0" y="69"/>
                  </a:lnTo>
                  <a:lnTo>
                    <a:pt x="0" y="69"/>
                  </a:lnTo>
                  <a:lnTo>
                    <a:pt x="0" y="69"/>
                  </a:lnTo>
                  <a:lnTo>
                    <a:pt x="0" y="69"/>
                  </a:lnTo>
                  <a:lnTo>
                    <a:pt x="2" y="69"/>
                  </a:lnTo>
                  <a:lnTo>
                    <a:pt x="2" y="69"/>
                  </a:lnTo>
                  <a:lnTo>
                    <a:pt x="2" y="69"/>
                  </a:lnTo>
                  <a:lnTo>
                    <a:pt x="2" y="69"/>
                  </a:lnTo>
                  <a:lnTo>
                    <a:pt x="2" y="69"/>
                  </a:lnTo>
                  <a:lnTo>
                    <a:pt x="2" y="69"/>
                  </a:lnTo>
                  <a:lnTo>
                    <a:pt x="2" y="69"/>
                  </a:lnTo>
                  <a:lnTo>
                    <a:pt x="2" y="69"/>
                  </a:lnTo>
                  <a:lnTo>
                    <a:pt x="2" y="69"/>
                  </a:lnTo>
                  <a:lnTo>
                    <a:pt x="2" y="69"/>
                  </a:lnTo>
                  <a:lnTo>
                    <a:pt x="5" y="69"/>
                  </a:lnTo>
                  <a:lnTo>
                    <a:pt x="5" y="69"/>
                  </a:lnTo>
                  <a:lnTo>
                    <a:pt x="5" y="69"/>
                  </a:lnTo>
                  <a:lnTo>
                    <a:pt x="5" y="69"/>
                  </a:lnTo>
                  <a:lnTo>
                    <a:pt x="5" y="69"/>
                  </a:lnTo>
                  <a:lnTo>
                    <a:pt x="5" y="69"/>
                  </a:lnTo>
                  <a:lnTo>
                    <a:pt x="5" y="69"/>
                  </a:lnTo>
                  <a:lnTo>
                    <a:pt x="5" y="69"/>
                  </a:lnTo>
                  <a:lnTo>
                    <a:pt x="5" y="69"/>
                  </a:lnTo>
                  <a:lnTo>
                    <a:pt x="5" y="69"/>
                  </a:lnTo>
                  <a:lnTo>
                    <a:pt x="5" y="69"/>
                  </a:lnTo>
                  <a:lnTo>
                    <a:pt x="5" y="69"/>
                  </a:lnTo>
                  <a:lnTo>
                    <a:pt x="5" y="66"/>
                  </a:lnTo>
                  <a:lnTo>
                    <a:pt x="5" y="66"/>
                  </a:lnTo>
                  <a:lnTo>
                    <a:pt x="5" y="66"/>
                  </a:lnTo>
                  <a:lnTo>
                    <a:pt x="5" y="66"/>
                  </a:lnTo>
                  <a:lnTo>
                    <a:pt x="5" y="66"/>
                  </a:lnTo>
                  <a:lnTo>
                    <a:pt x="5" y="66"/>
                  </a:lnTo>
                  <a:lnTo>
                    <a:pt x="5" y="66"/>
                  </a:lnTo>
                  <a:lnTo>
                    <a:pt x="5" y="66"/>
                  </a:lnTo>
                  <a:lnTo>
                    <a:pt x="5" y="66"/>
                  </a:lnTo>
                  <a:lnTo>
                    <a:pt x="5" y="66"/>
                  </a:lnTo>
                  <a:lnTo>
                    <a:pt x="5" y="66"/>
                  </a:lnTo>
                  <a:lnTo>
                    <a:pt x="5" y="66"/>
                  </a:lnTo>
                  <a:lnTo>
                    <a:pt x="5"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close/>
                  <a:moveTo>
                    <a:pt x="28" y="50"/>
                  </a:moveTo>
                  <a:lnTo>
                    <a:pt x="28"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6" y="52"/>
                  </a:lnTo>
                  <a:lnTo>
                    <a:pt x="36" y="52"/>
                  </a:lnTo>
                  <a:lnTo>
                    <a:pt x="36" y="52"/>
                  </a:lnTo>
                  <a:lnTo>
                    <a:pt x="36" y="52"/>
                  </a:lnTo>
                  <a:lnTo>
                    <a:pt x="36" y="52"/>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1" y="57"/>
                  </a:lnTo>
                  <a:lnTo>
                    <a:pt x="31" y="57"/>
                  </a:lnTo>
                  <a:lnTo>
                    <a:pt x="31" y="57"/>
                  </a:lnTo>
                  <a:lnTo>
                    <a:pt x="31" y="57"/>
                  </a:lnTo>
                  <a:lnTo>
                    <a:pt x="31" y="57"/>
                  </a:lnTo>
                  <a:lnTo>
                    <a:pt x="31" y="57"/>
                  </a:lnTo>
                  <a:lnTo>
                    <a:pt x="31" y="57"/>
                  </a:lnTo>
                  <a:lnTo>
                    <a:pt x="31" y="57"/>
                  </a:lnTo>
                  <a:lnTo>
                    <a:pt x="31" y="57"/>
                  </a:lnTo>
                  <a:lnTo>
                    <a:pt x="31" y="57"/>
                  </a:lnTo>
                  <a:lnTo>
                    <a:pt x="31" y="57"/>
                  </a:lnTo>
                  <a:lnTo>
                    <a:pt x="31" y="57"/>
                  </a:lnTo>
                  <a:lnTo>
                    <a:pt x="31" y="59"/>
                  </a:lnTo>
                  <a:lnTo>
                    <a:pt x="31" y="59"/>
                  </a:lnTo>
                  <a:lnTo>
                    <a:pt x="31" y="59"/>
                  </a:lnTo>
                  <a:lnTo>
                    <a:pt x="31" y="57"/>
                  </a:lnTo>
                  <a:lnTo>
                    <a:pt x="31" y="57"/>
                  </a:lnTo>
                  <a:lnTo>
                    <a:pt x="31" y="57"/>
                  </a:lnTo>
                  <a:lnTo>
                    <a:pt x="31"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4"/>
                  </a:lnTo>
                  <a:lnTo>
                    <a:pt x="26" y="54"/>
                  </a:lnTo>
                  <a:lnTo>
                    <a:pt x="26" y="54"/>
                  </a:lnTo>
                  <a:lnTo>
                    <a:pt x="26" y="54"/>
                  </a:lnTo>
                  <a:lnTo>
                    <a:pt x="26" y="54"/>
                  </a:lnTo>
                  <a:lnTo>
                    <a:pt x="26" y="54"/>
                  </a:lnTo>
                  <a:lnTo>
                    <a:pt x="26" y="54"/>
                  </a:lnTo>
                  <a:lnTo>
                    <a:pt x="26" y="54"/>
                  </a:lnTo>
                  <a:lnTo>
                    <a:pt x="26" y="54"/>
                  </a:lnTo>
                  <a:lnTo>
                    <a:pt x="26" y="54"/>
                  </a:lnTo>
                  <a:lnTo>
                    <a:pt x="26" y="54"/>
                  </a:lnTo>
                  <a:lnTo>
                    <a:pt x="26" y="54"/>
                  </a:lnTo>
                  <a:lnTo>
                    <a:pt x="26" y="54"/>
                  </a:lnTo>
                  <a:lnTo>
                    <a:pt x="26" y="52"/>
                  </a:lnTo>
                  <a:lnTo>
                    <a:pt x="26" y="52"/>
                  </a:lnTo>
                  <a:lnTo>
                    <a:pt x="26" y="52"/>
                  </a:lnTo>
                  <a:lnTo>
                    <a:pt x="26" y="52"/>
                  </a:lnTo>
                  <a:lnTo>
                    <a:pt x="26" y="52"/>
                  </a:lnTo>
                  <a:lnTo>
                    <a:pt x="26" y="52"/>
                  </a:lnTo>
                  <a:lnTo>
                    <a:pt x="26" y="52"/>
                  </a:lnTo>
                  <a:lnTo>
                    <a:pt x="26" y="52"/>
                  </a:lnTo>
                  <a:lnTo>
                    <a:pt x="26" y="52"/>
                  </a:lnTo>
                  <a:lnTo>
                    <a:pt x="26" y="52"/>
                  </a:lnTo>
                  <a:lnTo>
                    <a:pt x="28" y="52"/>
                  </a:lnTo>
                  <a:lnTo>
                    <a:pt x="28" y="52"/>
                  </a:lnTo>
                  <a:lnTo>
                    <a:pt x="28" y="52"/>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close/>
                  <a:moveTo>
                    <a:pt x="142" y="26"/>
                  </a:moveTo>
                  <a:lnTo>
                    <a:pt x="142" y="26"/>
                  </a:lnTo>
                  <a:lnTo>
                    <a:pt x="142" y="26"/>
                  </a:lnTo>
                  <a:lnTo>
                    <a:pt x="142" y="28"/>
                  </a:lnTo>
                  <a:lnTo>
                    <a:pt x="142" y="28"/>
                  </a:lnTo>
                  <a:lnTo>
                    <a:pt x="142" y="28"/>
                  </a:lnTo>
                  <a:lnTo>
                    <a:pt x="142" y="28"/>
                  </a:lnTo>
                  <a:lnTo>
                    <a:pt x="142" y="28"/>
                  </a:lnTo>
                  <a:lnTo>
                    <a:pt x="142" y="28"/>
                  </a:lnTo>
                  <a:lnTo>
                    <a:pt x="142" y="28"/>
                  </a:lnTo>
                  <a:lnTo>
                    <a:pt x="142" y="28"/>
                  </a:lnTo>
                  <a:lnTo>
                    <a:pt x="142" y="28"/>
                  </a:lnTo>
                  <a:lnTo>
                    <a:pt x="142" y="28"/>
                  </a:lnTo>
                  <a:lnTo>
                    <a:pt x="142" y="28"/>
                  </a:lnTo>
                  <a:lnTo>
                    <a:pt x="142" y="28"/>
                  </a:lnTo>
                  <a:lnTo>
                    <a:pt x="142" y="26"/>
                  </a:lnTo>
                  <a:lnTo>
                    <a:pt x="142" y="26"/>
                  </a:lnTo>
                  <a:lnTo>
                    <a:pt x="142" y="26"/>
                  </a:lnTo>
                  <a:lnTo>
                    <a:pt x="142" y="26"/>
                  </a:lnTo>
                  <a:lnTo>
                    <a:pt x="142" y="26"/>
                  </a:lnTo>
                  <a:lnTo>
                    <a:pt x="142" y="26"/>
                  </a:lnTo>
                  <a:lnTo>
                    <a:pt x="142" y="26"/>
                  </a:lnTo>
                  <a:lnTo>
                    <a:pt x="142" y="26"/>
                  </a:lnTo>
                  <a:lnTo>
                    <a:pt x="142" y="26"/>
                  </a:lnTo>
                  <a:close/>
                  <a:moveTo>
                    <a:pt x="154" y="5"/>
                  </a:moveTo>
                  <a:lnTo>
                    <a:pt x="154" y="5"/>
                  </a:lnTo>
                  <a:lnTo>
                    <a:pt x="154" y="5"/>
                  </a:lnTo>
                  <a:lnTo>
                    <a:pt x="154" y="5"/>
                  </a:lnTo>
                  <a:lnTo>
                    <a:pt x="154" y="5"/>
                  </a:lnTo>
                  <a:lnTo>
                    <a:pt x="154" y="5"/>
                  </a:lnTo>
                  <a:lnTo>
                    <a:pt x="154" y="5"/>
                  </a:lnTo>
                  <a:lnTo>
                    <a:pt x="154" y="5"/>
                  </a:lnTo>
                  <a:lnTo>
                    <a:pt x="154" y="5"/>
                  </a:lnTo>
                  <a:lnTo>
                    <a:pt x="154" y="5"/>
                  </a:lnTo>
                  <a:lnTo>
                    <a:pt x="154" y="5"/>
                  </a:lnTo>
                  <a:lnTo>
                    <a:pt x="154" y="5"/>
                  </a:lnTo>
                  <a:lnTo>
                    <a:pt x="154" y="5"/>
                  </a:lnTo>
                  <a:lnTo>
                    <a:pt x="154" y="7"/>
                  </a:lnTo>
                  <a:lnTo>
                    <a:pt x="154" y="7"/>
                  </a:lnTo>
                  <a:lnTo>
                    <a:pt x="154" y="7"/>
                  </a:lnTo>
                  <a:lnTo>
                    <a:pt x="154" y="7"/>
                  </a:lnTo>
                  <a:lnTo>
                    <a:pt x="154" y="7"/>
                  </a:lnTo>
                  <a:lnTo>
                    <a:pt x="154" y="7"/>
                  </a:lnTo>
                  <a:lnTo>
                    <a:pt x="154" y="7"/>
                  </a:lnTo>
                  <a:lnTo>
                    <a:pt x="154" y="7"/>
                  </a:lnTo>
                  <a:lnTo>
                    <a:pt x="154" y="7"/>
                  </a:lnTo>
                  <a:lnTo>
                    <a:pt x="154" y="7"/>
                  </a:lnTo>
                  <a:lnTo>
                    <a:pt x="154"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5"/>
                  </a:lnTo>
                  <a:lnTo>
                    <a:pt x="152" y="5"/>
                  </a:lnTo>
                  <a:lnTo>
                    <a:pt x="152" y="5"/>
                  </a:lnTo>
                  <a:lnTo>
                    <a:pt x="152" y="5"/>
                  </a:lnTo>
                  <a:lnTo>
                    <a:pt x="154" y="5"/>
                  </a:lnTo>
                  <a:lnTo>
                    <a:pt x="154" y="5"/>
                  </a:lnTo>
                  <a:lnTo>
                    <a:pt x="154" y="5"/>
                  </a:lnTo>
                  <a:lnTo>
                    <a:pt x="154" y="5"/>
                  </a:lnTo>
                  <a:lnTo>
                    <a:pt x="154" y="5"/>
                  </a:lnTo>
                  <a:lnTo>
                    <a:pt x="154" y="5"/>
                  </a:lnTo>
                  <a:lnTo>
                    <a:pt x="154" y="5"/>
                  </a:lnTo>
                  <a:lnTo>
                    <a:pt x="154" y="5"/>
                  </a:lnTo>
                  <a:lnTo>
                    <a:pt x="154" y="5"/>
                  </a:lnTo>
                  <a:lnTo>
                    <a:pt x="154" y="5"/>
                  </a:lnTo>
                  <a:lnTo>
                    <a:pt x="154" y="5"/>
                  </a:lnTo>
                  <a:lnTo>
                    <a:pt x="154" y="5"/>
                  </a:lnTo>
                  <a:close/>
                  <a:moveTo>
                    <a:pt x="152" y="5"/>
                  </a:move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close/>
                  <a:moveTo>
                    <a:pt x="154" y="0"/>
                  </a:moveTo>
                  <a:lnTo>
                    <a:pt x="154" y="0"/>
                  </a:lnTo>
                  <a:lnTo>
                    <a:pt x="154" y="0"/>
                  </a:lnTo>
                  <a:lnTo>
                    <a:pt x="154" y="0"/>
                  </a:lnTo>
                  <a:lnTo>
                    <a:pt x="154" y="0"/>
                  </a:lnTo>
                  <a:lnTo>
                    <a:pt x="154" y="0"/>
                  </a:lnTo>
                  <a:lnTo>
                    <a:pt x="154" y="0"/>
                  </a:lnTo>
                  <a:lnTo>
                    <a:pt x="154" y="0"/>
                  </a:lnTo>
                  <a:lnTo>
                    <a:pt x="154" y="0"/>
                  </a:lnTo>
                  <a:lnTo>
                    <a:pt x="154" y="0"/>
                  </a:lnTo>
                  <a:lnTo>
                    <a:pt x="154" y="0"/>
                  </a:lnTo>
                  <a:lnTo>
                    <a:pt x="154" y="0"/>
                  </a:lnTo>
                  <a:lnTo>
                    <a:pt x="154" y="0"/>
                  </a:lnTo>
                  <a:lnTo>
                    <a:pt x="154" y="0"/>
                  </a:lnTo>
                  <a:lnTo>
                    <a:pt x="152" y="0"/>
                  </a:lnTo>
                  <a:lnTo>
                    <a:pt x="152" y="0"/>
                  </a:lnTo>
                  <a:lnTo>
                    <a:pt x="152" y="0"/>
                  </a:lnTo>
                  <a:lnTo>
                    <a:pt x="152" y="0"/>
                  </a:lnTo>
                  <a:lnTo>
                    <a:pt x="152" y="0"/>
                  </a:lnTo>
                  <a:lnTo>
                    <a:pt x="152" y="0"/>
                  </a:lnTo>
                  <a:lnTo>
                    <a:pt x="152" y="0"/>
                  </a:lnTo>
                  <a:lnTo>
                    <a:pt x="152" y="0"/>
                  </a:lnTo>
                  <a:lnTo>
                    <a:pt x="152" y="0"/>
                  </a:lnTo>
                  <a:lnTo>
                    <a:pt x="152" y="0"/>
                  </a:lnTo>
                  <a:lnTo>
                    <a:pt x="152" y="0"/>
                  </a:lnTo>
                  <a:lnTo>
                    <a:pt x="154" y="0"/>
                  </a:lnTo>
                  <a:lnTo>
                    <a:pt x="154" y="0"/>
                  </a:lnTo>
                  <a:lnTo>
                    <a:pt x="154" y="0"/>
                  </a:lnTo>
                  <a:lnTo>
                    <a:pt x="154" y="0"/>
                  </a:lnTo>
                  <a:lnTo>
                    <a:pt x="154" y="0"/>
                  </a:lnTo>
                  <a:lnTo>
                    <a:pt x="154" y="0"/>
                  </a:lnTo>
                  <a:lnTo>
                    <a:pt x="154" y="0"/>
                  </a:lnTo>
                  <a:lnTo>
                    <a:pt x="15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3" name="Freeform 57951"/>
            <p:cNvSpPr>
              <a:spLocks noEditPoints="1"/>
            </p:cNvSpPr>
            <p:nvPr/>
          </p:nvSpPr>
          <p:spPr bwMode="auto">
            <a:xfrm>
              <a:off x="1177924" y="6183331"/>
              <a:ext cx="139700" cy="90488"/>
            </a:xfrm>
            <a:custGeom>
              <a:avLst/>
              <a:gdLst>
                <a:gd name="T0" fmla="*/ 28 w 88"/>
                <a:gd name="T1" fmla="*/ 57 h 57"/>
                <a:gd name="T2" fmla="*/ 28 w 88"/>
                <a:gd name="T3" fmla="*/ 57 h 57"/>
                <a:gd name="T4" fmla="*/ 28 w 88"/>
                <a:gd name="T5" fmla="*/ 57 h 57"/>
                <a:gd name="T6" fmla="*/ 28 w 88"/>
                <a:gd name="T7" fmla="*/ 57 h 57"/>
                <a:gd name="T8" fmla="*/ 28 w 88"/>
                <a:gd name="T9" fmla="*/ 57 h 57"/>
                <a:gd name="T10" fmla="*/ 57 w 88"/>
                <a:gd name="T11" fmla="*/ 55 h 57"/>
                <a:gd name="T12" fmla="*/ 57 w 88"/>
                <a:gd name="T13" fmla="*/ 55 h 57"/>
                <a:gd name="T14" fmla="*/ 57 w 88"/>
                <a:gd name="T15" fmla="*/ 55 h 57"/>
                <a:gd name="T16" fmla="*/ 57 w 88"/>
                <a:gd name="T17" fmla="*/ 55 h 57"/>
                <a:gd name="T18" fmla="*/ 57 w 88"/>
                <a:gd name="T19" fmla="*/ 55 h 57"/>
                <a:gd name="T20" fmla="*/ 26 w 88"/>
                <a:gd name="T21" fmla="*/ 52 h 57"/>
                <a:gd name="T22" fmla="*/ 26 w 88"/>
                <a:gd name="T23" fmla="*/ 52 h 57"/>
                <a:gd name="T24" fmla="*/ 26 w 88"/>
                <a:gd name="T25" fmla="*/ 52 h 57"/>
                <a:gd name="T26" fmla="*/ 26 w 88"/>
                <a:gd name="T27" fmla="*/ 52 h 57"/>
                <a:gd name="T28" fmla="*/ 26 w 88"/>
                <a:gd name="T29" fmla="*/ 52 h 57"/>
                <a:gd name="T30" fmla="*/ 26 w 88"/>
                <a:gd name="T31" fmla="*/ 52 h 57"/>
                <a:gd name="T32" fmla="*/ 26 w 88"/>
                <a:gd name="T33" fmla="*/ 50 h 57"/>
                <a:gd name="T34" fmla="*/ 26 w 88"/>
                <a:gd name="T35" fmla="*/ 50 h 57"/>
                <a:gd name="T36" fmla="*/ 26 w 88"/>
                <a:gd name="T37" fmla="*/ 50 h 57"/>
                <a:gd name="T38" fmla="*/ 26 w 88"/>
                <a:gd name="T39" fmla="*/ 50 h 57"/>
                <a:gd name="T40" fmla="*/ 26 w 88"/>
                <a:gd name="T41" fmla="*/ 50 h 57"/>
                <a:gd name="T42" fmla="*/ 0 w 88"/>
                <a:gd name="T43" fmla="*/ 38 h 57"/>
                <a:gd name="T44" fmla="*/ 0 w 88"/>
                <a:gd name="T45" fmla="*/ 38 h 57"/>
                <a:gd name="T46" fmla="*/ 0 w 88"/>
                <a:gd name="T47" fmla="*/ 38 h 57"/>
                <a:gd name="T48" fmla="*/ 0 w 88"/>
                <a:gd name="T49" fmla="*/ 38 h 57"/>
                <a:gd name="T50" fmla="*/ 0 w 88"/>
                <a:gd name="T51" fmla="*/ 38 h 57"/>
                <a:gd name="T52" fmla="*/ 0 w 88"/>
                <a:gd name="T53" fmla="*/ 36 h 57"/>
                <a:gd name="T54" fmla="*/ 0 w 88"/>
                <a:gd name="T55" fmla="*/ 36 h 57"/>
                <a:gd name="T56" fmla="*/ 0 w 88"/>
                <a:gd name="T57" fmla="*/ 36 h 57"/>
                <a:gd name="T58" fmla="*/ 0 w 88"/>
                <a:gd name="T59" fmla="*/ 36 h 57"/>
                <a:gd name="T60" fmla="*/ 0 w 88"/>
                <a:gd name="T61" fmla="*/ 36 h 57"/>
                <a:gd name="T62" fmla="*/ 0 w 88"/>
                <a:gd name="T63" fmla="*/ 36 h 57"/>
                <a:gd name="T64" fmla="*/ 2 w 88"/>
                <a:gd name="T65" fmla="*/ 31 h 57"/>
                <a:gd name="T66" fmla="*/ 2 w 88"/>
                <a:gd name="T67" fmla="*/ 31 h 57"/>
                <a:gd name="T68" fmla="*/ 2 w 88"/>
                <a:gd name="T69" fmla="*/ 31 h 57"/>
                <a:gd name="T70" fmla="*/ 2 w 88"/>
                <a:gd name="T71" fmla="*/ 31 h 57"/>
                <a:gd name="T72" fmla="*/ 2 w 88"/>
                <a:gd name="T73" fmla="*/ 31 h 57"/>
                <a:gd name="T74" fmla="*/ 88 w 88"/>
                <a:gd name="T75" fmla="*/ 0 h 57"/>
                <a:gd name="T76" fmla="*/ 88 w 88"/>
                <a:gd name="T77" fmla="*/ 0 h 57"/>
                <a:gd name="T78" fmla="*/ 88 w 88"/>
                <a:gd name="T79" fmla="*/ 0 h 57"/>
                <a:gd name="T80" fmla="*/ 88 w 88"/>
                <a:gd name="T81" fmla="*/ 0 h 57"/>
                <a:gd name="T82" fmla="*/ 88 w 88"/>
                <a:gd name="T8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57">
                  <a:moveTo>
                    <a:pt x="28" y="57"/>
                  </a:moveTo>
                  <a:lnTo>
                    <a:pt x="28" y="57"/>
                  </a:lnTo>
                  <a:lnTo>
                    <a:pt x="28" y="57"/>
                  </a:lnTo>
                  <a:lnTo>
                    <a:pt x="28" y="57"/>
                  </a:lnTo>
                  <a:lnTo>
                    <a:pt x="28" y="57"/>
                  </a:lnTo>
                  <a:close/>
                  <a:moveTo>
                    <a:pt x="57" y="55"/>
                  </a:moveTo>
                  <a:lnTo>
                    <a:pt x="57" y="55"/>
                  </a:lnTo>
                  <a:lnTo>
                    <a:pt x="57" y="55"/>
                  </a:lnTo>
                  <a:lnTo>
                    <a:pt x="57" y="55"/>
                  </a:lnTo>
                  <a:lnTo>
                    <a:pt x="57" y="55"/>
                  </a:lnTo>
                  <a:close/>
                  <a:moveTo>
                    <a:pt x="26" y="52"/>
                  </a:moveTo>
                  <a:lnTo>
                    <a:pt x="26" y="52"/>
                  </a:lnTo>
                  <a:lnTo>
                    <a:pt x="26" y="52"/>
                  </a:lnTo>
                  <a:lnTo>
                    <a:pt x="26" y="52"/>
                  </a:lnTo>
                  <a:lnTo>
                    <a:pt x="26" y="52"/>
                  </a:lnTo>
                  <a:lnTo>
                    <a:pt x="26" y="52"/>
                  </a:lnTo>
                  <a:close/>
                  <a:moveTo>
                    <a:pt x="26" y="50"/>
                  </a:moveTo>
                  <a:lnTo>
                    <a:pt x="26" y="50"/>
                  </a:lnTo>
                  <a:lnTo>
                    <a:pt x="26" y="50"/>
                  </a:lnTo>
                  <a:lnTo>
                    <a:pt x="26" y="50"/>
                  </a:lnTo>
                  <a:lnTo>
                    <a:pt x="26" y="50"/>
                  </a:lnTo>
                  <a:close/>
                  <a:moveTo>
                    <a:pt x="0" y="38"/>
                  </a:moveTo>
                  <a:lnTo>
                    <a:pt x="0" y="38"/>
                  </a:lnTo>
                  <a:lnTo>
                    <a:pt x="0" y="38"/>
                  </a:lnTo>
                  <a:lnTo>
                    <a:pt x="0" y="38"/>
                  </a:lnTo>
                  <a:lnTo>
                    <a:pt x="0" y="38"/>
                  </a:lnTo>
                  <a:close/>
                  <a:moveTo>
                    <a:pt x="0" y="36"/>
                  </a:moveTo>
                  <a:lnTo>
                    <a:pt x="0" y="36"/>
                  </a:lnTo>
                  <a:lnTo>
                    <a:pt x="0" y="36"/>
                  </a:lnTo>
                  <a:lnTo>
                    <a:pt x="0" y="36"/>
                  </a:lnTo>
                  <a:lnTo>
                    <a:pt x="0" y="36"/>
                  </a:lnTo>
                  <a:lnTo>
                    <a:pt x="0" y="36"/>
                  </a:lnTo>
                  <a:close/>
                  <a:moveTo>
                    <a:pt x="2" y="31"/>
                  </a:moveTo>
                  <a:lnTo>
                    <a:pt x="2" y="31"/>
                  </a:lnTo>
                  <a:lnTo>
                    <a:pt x="2" y="31"/>
                  </a:lnTo>
                  <a:lnTo>
                    <a:pt x="2" y="31"/>
                  </a:lnTo>
                  <a:lnTo>
                    <a:pt x="2" y="31"/>
                  </a:lnTo>
                  <a:close/>
                  <a:moveTo>
                    <a:pt x="88" y="0"/>
                  </a:moveTo>
                  <a:lnTo>
                    <a:pt x="88" y="0"/>
                  </a:lnTo>
                  <a:lnTo>
                    <a:pt x="88" y="0"/>
                  </a:lnTo>
                  <a:lnTo>
                    <a:pt x="88" y="0"/>
                  </a:lnTo>
                  <a:lnTo>
                    <a:pt x="8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4" name="Freeform 57952"/>
            <p:cNvSpPr>
              <a:spLocks noEditPoints="1"/>
            </p:cNvSpPr>
            <p:nvPr/>
          </p:nvSpPr>
          <p:spPr bwMode="auto">
            <a:xfrm>
              <a:off x="1897060" y="5783280"/>
              <a:ext cx="4763" cy="0"/>
            </a:xfrm>
            <a:custGeom>
              <a:avLst/>
              <a:gdLst>
                <a:gd name="T0" fmla="*/ 3 w 3"/>
                <a:gd name="T1" fmla="*/ 3 w 3"/>
                <a:gd name="T2" fmla="*/ 3 w 3"/>
                <a:gd name="T3" fmla="*/ 0 w 3"/>
                <a:gd name="T4" fmla="*/ 0 w 3"/>
                <a:gd name="T5" fmla="*/ 0 w 3"/>
                <a:gd name="T6" fmla="*/ 0 w 3"/>
                <a:gd name="T7" fmla="*/ 0 w 3"/>
                <a:gd name="T8" fmla="*/ 3 w 3"/>
                <a:gd name="T9" fmla="*/ 3 w 3"/>
                <a:gd name="T10" fmla="*/ 3 w 3"/>
                <a:gd name="T11" fmla="*/ 3 w 3"/>
                <a:gd name="T12" fmla="*/ 3 w 3"/>
                <a:gd name="T13" fmla="*/ 3 w 3"/>
                <a:gd name="T14" fmla="*/ 3 w 3"/>
                <a:gd name="T15" fmla="*/ 3 w 3"/>
                <a:gd name="T16" fmla="*/ 3 w 3"/>
                <a:gd name="T17" fmla="*/ 3 w 3"/>
                <a:gd name="T18" fmla="*/ 3 w 3"/>
                <a:gd name="T19" fmla="*/ 3 w 3"/>
                <a:gd name="T20" fmla="*/ 3 w 3"/>
                <a:gd name="T21" fmla="*/ 3 w 3"/>
                <a:gd name="T22" fmla="*/ 3 w 3"/>
                <a:gd name="T23"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Lst>
              <a:rect l="0" t="0" r="r" b="b"/>
              <a:pathLst>
                <a:path w="3">
                  <a:moveTo>
                    <a:pt x="3" y="0"/>
                  </a:moveTo>
                  <a:lnTo>
                    <a:pt x="3" y="0"/>
                  </a:lnTo>
                  <a:lnTo>
                    <a:pt x="3" y="0"/>
                  </a:lnTo>
                  <a:lnTo>
                    <a:pt x="0" y="0"/>
                  </a:lnTo>
                  <a:lnTo>
                    <a:pt x="0" y="0"/>
                  </a:lnTo>
                  <a:lnTo>
                    <a:pt x="0" y="0"/>
                  </a:lnTo>
                  <a:lnTo>
                    <a:pt x="0" y="0"/>
                  </a:lnTo>
                  <a:lnTo>
                    <a:pt x="0" y="0"/>
                  </a:lnTo>
                  <a:lnTo>
                    <a:pt x="3" y="0"/>
                  </a:lnTo>
                  <a:lnTo>
                    <a:pt x="3" y="0"/>
                  </a:lnTo>
                  <a:close/>
                  <a:moveTo>
                    <a:pt x="3" y="0"/>
                  </a:moveTo>
                  <a:lnTo>
                    <a:pt x="3" y="0"/>
                  </a:lnTo>
                  <a:lnTo>
                    <a:pt x="3" y="0"/>
                  </a:lnTo>
                  <a:lnTo>
                    <a:pt x="3" y="0"/>
                  </a:lnTo>
                  <a:lnTo>
                    <a:pt x="3" y="0"/>
                  </a:lnTo>
                  <a:lnTo>
                    <a:pt x="3" y="0"/>
                  </a:lnTo>
                  <a:lnTo>
                    <a:pt x="3" y="0"/>
                  </a:lnTo>
                  <a:close/>
                  <a:moveTo>
                    <a:pt x="3" y="0"/>
                  </a:move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5" name="Freeform 57953"/>
            <p:cNvSpPr>
              <a:spLocks noEditPoints="1"/>
            </p:cNvSpPr>
            <p:nvPr/>
          </p:nvSpPr>
          <p:spPr bwMode="auto">
            <a:xfrm>
              <a:off x="1746248" y="5730892"/>
              <a:ext cx="128588" cy="46038"/>
            </a:xfrm>
            <a:custGeom>
              <a:avLst/>
              <a:gdLst>
                <a:gd name="T0" fmla="*/ 81 w 81"/>
                <a:gd name="T1" fmla="*/ 29 h 29"/>
                <a:gd name="T2" fmla="*/ 81 w 81"/>
                <a:gd name="T3" fmla="*/ 29 h 29"/>
                <a:gd name="T4" fmla="*/ 81 w 81"/>
                <a:gd name="T5" fmla="*/ 29 h 29"/>
                <a:gd name="T6" fmla="*/ 81 w 81"/>
                <a:gd name="T7" fmla="*/ 29 h 29"/>
                <a:gd name="T8" fmla="*/ 81 w 81"/>
                <a:gd name="T9" fmla="*/ 29 h 29"/>
                <a:gd name="T10" fmla="*/ 79 w 81"/>
                <a:gd name="T11" fmla="*/ 29 h 29"/>
                <a:gd name="T12" fmla="*/ 79 w 81"/>
                <a:gd name="T13" fmla="*/ 26 h 29"/>
                <a:gd name="T14" fmla="*/ 79 w 81"/>
                <a:gd name="T15" fmla="*/ 26 h 29"/>
                <a:gd name="T16" fmla="*/ 79 w 81"/>
                <a:gd name="T17" fmla="*/ 26 h 29"/>
                <a:gd name="T18" fmla="*/ 79 w 81"/>
                <a:gd name="T19" fmla="*/ 26 h 29"/>
                <a:gd name="T20" fmla="*/ 79 w 81"/>
                <a:gd name="T21" fmla="*/ 26 h 29"/>
                <a:gd name="T22" fmla="*/ 79 w 81"/>
                <a:gd name="T23" fmla="*/ 26 h 29"/>
                <a:gd name="T24" fmla="*/ 79 w 81"/>
                <a:gd name="T25" fmla="*/ 26 h 29"/>
                <a:gd name="T26" fmla="*/ 79 w 81"/>
                <a:gd name="T27" fmla="*/ 26 h 29"/>
                <a:gd name="T28" fmla="*/ 81 w 81"/>
                <a:gd name="T29" fmla="*/ 26 h 29"/>
                <a:gd name="T30" fmla="*/ 81 w 81"/>
                <a:gd name="T31" fmla="*/ 29 h 29"/>
                <a:gd name="T32" fmla="*/ 0 w 81"/>
                <a:gd name="T33" fmla="*/ 0 h 29"/>
                <a:gd name="T34" fmla="*/ 0 w 81"/>
                <a:gd name="T35" fmla="*/ 0 h 29"/>
                <a:gd name="T36" fmla="*/ 0 w 81"/>
                <a:gd name="T37" fmla="*/ 0 h 29"/>
                <a:gd name="T38" fmla="*/ 0 w 81"/>
                <a:gd name="T39" fmla="*/ 2 h 29"/>
                <a:gd name="T40" fmla="*/ 0 w 81"/>
                <a:gd name="T41" fmla="*/ 0 h 29"/>
                <a:gd name="T42" fmla="*/ 0 w 81"/>
                <a:gd name="T43" fmla="*/ 0 h 29"/>
                <a:gd name="T44" fmla="*/ 3 w 81"/>
                <a:gd name="T45" fmla="*/ 0 h 29"/>
                <a:gd name="T46" fmla="*/ 0 w 81"/>
                <a:gd name="T47" fmla="*/ 0 h 29"/>
                <a:gd name="T48" fmla="*/ 0 w 81"/>
                <a:gd name="T49" fmla="*/ 2 h 29"/>
                <a:gd name="T50" fmla="*/ 3 w 81"/>
                <a:gd name="T51" fmla="*/ 2 h 29"/>
                <a:gd name="T52" fmla="*/ 3 w 81"/>
                <a:gd name="T53" fmla="*/ 2 h 29"/>
                <a:gd name="T54" fmla="*/ 3 w 81"/>
                <a:gd name="T55" fmla="*/ 2 h 29"/>
                <a:gd name="T56" fmla="*/ 3 w 81"/>
                <a:gd name="T57" fmla="*/ 2 h 29"/>
                <a:gd name="T58" fmla="*/ 3 w 81"/>
                <a:gd name="T59" fmla="*/ 0 h 29"/>
                <a:gd name="T60" fmla="*/ 3 w 81"/>
                <a:gd name="T61" fmla="*/ 0 h 29"/>
                <a:gd name="T62" fmla="*/ 3 w 81"/>
                <a:gd name="T63" fmla="*/ 0 h 29"/>
                <a:gd name="T64" fmla="*/ 3 w 81"/>
                <a:gd name="T65" fmla="*/ 0 h 29"/>
                <a:gd name="T66" fmla="*/ 3 w 81"/>
                <a:gd name="T67" fmla="*/ 0 h 29"/>
                <a:gd name="T68" fmla="*/ 3 w 81"/>
                <a:gd name="T69" fmla="*/ 2 h 29"/>
                <a:gd name="T70" fmla="*/ 3 w 81"/>
                <a:gd name="T71" fmla="*/ 2 h 29"/>
                <a:gd name="T72" fmla="*/ 3 w 81"/>
                <a:gd name="T73" fmla="*/ 2 h 29"/>
                <a:gd name="T74" fmla="*/ 3 w 81"/>
                <a:gd name="T75" fmla="*/ 2 h 29"/>
                <a:gd name="T76" fmla="*/ 0 w 81"/>
                <a:gd name="T77" fmla="*/ 2 h 29"/>
                <a:gd name="T78" fmla="*/ 0 w 81"/>
                <a:gd name="T79" fmla="*/ 2 h 29"/>
                <a:gd name="T80" fmla="*/ 0 w 81"/>
                <a:gd name="T81" fmla="*/ 2 h 29"/>
                <a:gd name="T82" fmla="*/ 0 w 81"/>
                <a:gd name="T83" fmla="*/ 2 h 29"/>
                <a:gd name="T84" fmla="*/ 0 w 81"/>
                <a:gd name="T85" fmla="*/ 2 h 29"/>
                <a:gd name="T86" fmla="*/ 0 w 81"/>
                <a:gd name="T87" fmla="*/ 2 h 29"/>
                <a:gd name="T88" fmla="*/ 0 w 81"/>
                <a:gd name="T89" fmla="*/ 2 h 29"/>
                <a:gd name="T90" fmla="*/ 0 w 81"/>
                <a:gd name="T91" fmla="*/ 2 h 29"/>
                <a:gd name="T92" fmla="*/ 0 w 81"/>
                <a:gd name="T93" fmla="*/ 2 h 29"/>
                <a:gd name="T94" fmla="*/ 0 w 81"/>
                <a:gd name="T95" fmla="*/ 2 h 29"/>
                <a:gd name="T96" fmla="*/ 0 w 81"/>
                <a:gd name="T97" fmla="*/ 2 h 29"/>
                <a:gd name="T98" fmla="*/ 0 w 81"/>
                <a:gd name="T99" fmla="*/ 0 h 29"/>
                <a:gd name="T100" fmla="*/ 0 w 81"/>
                <a:gd name="T101" fmla="*/ 0 h 29"/>
                <a:gd name="T102" fmla="*/ 0 w 81"/>
                <a:gd name="T103" fmla="*/ 0 h 29"/>
                <a:gd name="T104" fmla="*/ 0 w 81"/>
                <a:gd name="T10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 h="29">
                  <a:moveTo>
                    <a:pt x="81" y="29"/>
                  </a:moveTo>
                  <a:lnTo>
                    <a:pt x="81" y="29"/>
                  </a:lnTo>
                  <a:lnTo>
                    <a:pt x="81" y="29"/>
                  </a:lnTo>
                  <a:lnTo>
                    <a:pt x="81" y="29"/>
                  </a:lnTo>
                  <a:lnTo>
                    <a:pt x="81" y="29"/>
                  </a:lnTo>
                  <a:lnTo>
                    <a:pt x="81" y="29"/>
                  </a:lnTo>
                  <a:lnTo>
                    <a:pt x="81" y="29"/>
                  </a:lnTo>
                  <a:lnTo>
                    <a:pt x="81" y="29"/>
                  </a:lnTo>
                  <a:lnTo>
                    <a:pt x="81" y="29"/>
                  </a:lnTo>
                  <a:lnTo>
                    <a:pt x="81" y="29"/>
                  </a:lnTo>
                  <a:lnTo>
                    <a:pt x="81" y="29"/>
                  </a:lnTo>
                  <a:lnTo>
                    <a:pt x="79" y="29"/>
                  </a:lnTo>
                  <a:lnTo>
                    <a:pt x="79" y="29"/>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81" y="26"/>
                  </a:lnTo>
                  <a:lnTo>
                    <a:pt x="81" y="26"/>
                  </a:lnTo>
                  <a:lnTo>
                    <a:pt x="81" y="29"/>
                  </a:lnTo>
                  <a:lnTo>
                    <a:pt x="81" y="29"/>
                  </a:lnTo>
                  <a:lnTo>
                    <a:pt x="81" y="29"/>
                  </a:lnTo>
                  <a:close/>
                  <a:moveTo>
                    <a:pt x="0" y="0"/>
                  </a:moveTo>
                  <a:lnTo>
                    <a:pt x="0" y="0"/>
                  </a:lnTo>
                  <a:lnTo>
                    <a:pt x="0" y="0"/>
                  </a:lnTo>
                  <a:lnTo>
                    <a:pt x="0" y="0"/>
                  </a:lnTo>
                  <a:lnTo>
                    <a:pt x="0" y="0"/>
                  </a:lnTo>
                  <a:lnTo>
                    <a:pt x="0" y="0"/>
                  </a:lnTo>
                  <a:lnTo>
                    <a:pt x="0" y="2"/>
                  </a:lnTo>
                  <a:lnTo>
                    <a:pt x="0" y="2"/>
                  </a:lnTo>
                  <a:lnTo>
                    <a:pt x="0" y="0"/>
                  </a:lnTo>
                  <a:lnTo>
                    <a:pt x="0" y="0"/>
                  </a:lnTo>
                  <a:lnTo>
                    <a:pt x="0" y="0"/>
                  </a:lnTo>
                  <a:lnTo>
                    <a:pt x="3" y="0"/>
                  </a:lnTo>
                  <a:lnTo>
                    <a:pt x="3" y="0"/>
                  </a:lnTo>
                  <a:lnTo>
                    <a:pt x="0" y="0"/>
                  </a:lnTo>
                  <a:lnTo>
                    <a:pt x="0" y="0"/>
                  </a:lnTo>
                  <a:lnTo>
                    <a:pt x="0" y="0"/>
                  </a:lnTo>
                  <a:lnTo>
                    <a:pt x="0" y="2"/>
                  </a:lnTo>
                  <a:lnTo>
                    <a:pt x="3" y="2"/>
                  </a:lnTo>
                  <a:lnTo>
                    <a:pt x="3" y="2"/>
                  </a:lnTo>
                  <a:lnTo>
                    <a:pt x="3" y="2"/>
                  </a:lnTo>
                  <a:lnTo>
                    <a:pt x="3" y="2"/>
                  </a:lnTo>
                  <a:lnTo>
                    <a:pt x="3" y="2"/>
                  </a:lnTo>
                  <a:lnTo>
                    <a:pt x="3" y="2"/>
                  </a:lnTo>
                  <a:lnTo>
                    <a:pt x="3" y="2"/>
                  </a:lnTo>
                  <a:lnTo>
                    <a:pt x="3" y="2"/>
                  </a:lnTo>
                  <a:lnTo>
                    <a:pt x="3" y="2"/>
                  </a:lnTo>
                  <a:lnTo>
                    <a:pt x="3" y="0"/>
                  </a:lnTo>
                  <a:lnTo>
                    <a:pt x="3" y="0"/>
                  </a:lnTo>
                  <a:lnTo>
                    <a:pt x="3" y="0"/>
                  </a:lnTo>
                  <a:lnTo>
                    <a:pt x="3" y="0"/>
                  </a:lnTo>
                  <a:lnTo>
                    <a:pt x="3" y="0"/>
                  </a:lnTo>
                  <a:lnTo>
                    <a:pt x="3" y="0"/>
                  </a:lnTo>
                  <a:lnTo>
                    <a:pt x="3" y="0"/>
                  </a:lnTo>
                  <a:lnTo>
                    <a:pt x="3" y="0"/>
                  </a:lnTo>
                  <a:lnTo>
                    <a:pt x="3" y="0"/>
                  </a:lnTo>
                  <a:lnTo>
                    <a:pt x="3" y="2"/>
                  </a:lnTo>
                  <a:lnTo>
                    <a:pt x="3" y="2"/>
                  </a:lnTo>
                  <a:lnTo>
                    <a:pt x="3" y="2"/>
                  </a:lnTo>
                  <a:lnTo>
                    <a:pt x="3" y="2"/>
                  </a:lnTo>
                  <a:lnTo>
                    <a:pt x="3" y="2"/>
                  </a:lnTo>
                  <a:lnTo>
                    <a:pt x="3" y="2"/>
                  </a:lnTo>
                  <a:lnTo>
                    <a:pt x="3" y="2"/>
                  </a:lnTo>
                  <a:lnTo>
                    <a:pt x="3"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6" name="Freeform 57954"/>
            <p:cNvSpPr>
              <a:spLocks noEditPoints="1"/>
            </p:cNvSpPr>
            <p:nvPr/>
          </p:nvSpPr>
          <p:spPr bwMode="auto">
            <a:xfrm>
              <a:off x="2089147" y="5437205"/>
              <a:ext cx="166688" cy="90488"/>
            </a:xfrm>
            <a:custGeom>
              <a:avLst/>
              <a:gdLst>
                <a:gd name="T0" fmla="*/ 12 w 105"/>
                <a:gd name="T1" fmla="*/ 45 h 57"/>
                <a:gd name="T2" fmla="*/ 12 w 105"/>
                <a:gd name="T3" fmla="*/ 50 h 57"/>
                <a:gd name="T4" fmla="*/ 7 w 105"/>
                <a:gd name="T5" fmla="*/ 54 h 57"/>
                <a:gd name="T6" fmla="*/ 5 w 105"/>
                <a:gd name="T7" fmla="*/ 57 h 57"/>
                <a:gd name="T8" fmla="*/ 3 w 105"/>
                <a:gd name="T9" fmla="*/ 54 h 57"/>
                <a:gd name="T10" fmla="*/ 3 w 105"/>
                <a:gd name="T11" fmla="*/ 50 h 57"/>
                <a:gd name="T12" fmla="*/ 3 w 105"/>
                <a:gd name="T13" fmla="*/ 50 h 57"/>
                <a:gd name="T14" fmla="*/ 7 w 105"/>
                <a:gd name="T15" fmla="*/ 45 h 57"/>
                <a:gd name="T16" fmla="*/ 10 w 105"/>
                <a:gd name="T17" fmla="*/ 43 h 57"/>
                <a:gd name="T18" fmla="*/ 67 w 105"/>
                <a:gd name="T19" fmla="*/ 5 h 57"/>
                <a:gd name="T20" fmla="*/ 62 w 105"/>
                <a:gd name="T21" fmla="*/ 9 h 57"/>
                <a:gd name="T22" fmla="*/ 67 w 105"/>
                <a:gd name="T23" fmla="*/ 9 h 57"/>
                <a:gd name="T24" fmla="*/ 64 w 105"/>
                <a:gd name="T25" fmla="*/ 12 h 57"/>
                <a:gd name="T26" fmla="*/ 69 w 105"/>
                <a:gd name="T27" fmla="*/ 16 h 57"/>
                <a:gd name="T28" fmla="*/ 71 w 105"/>
                <a:gd name="T29" fmla="*/ 14 h 57"/>
                <a:gd name="T30" fmla="*/ 76 w 105"/>
                <a:gd name="T31" fmla="*/ 14 h 57"/>
                <a:gd name="T32" fmla="*/ 74 w 105"/>
                <a:gd name="T33" fmla="*/ 19 h 57"/>
                <a:gd name="T34" fmla="*/ 74 w 105"/>
                <a:gd name="T35" fmla="*/ 24 h 57"/>
                <a:gd name="T36" fmla="*/ 69 w 105"/>
                <a:gd name="T37" fmla="*/ 28 h 57"/>
                <a:gd name="T38" fmla="*/ 67 w 105"/>
                <a:gd name="T39" fmla="*/ 31 h 57"/>
                <a:gd name="T40" fmla="*/ 62 w 105"/>
                <a:gd name="T41" fmla="*/ 35 h 57"/>
                <a:gd name="T42" fmla="*/ 59 w 105"/>
                <a:gd name="T43" fmla="*/ 33 h 57"/>
                <a:gd name="T44" fmla="*/ 52 w 105"/>
                <a:gd name="T45" fmla="*/ 33 h 57"/>
                <a:gd name="T46" fmla="*/ 50 w 105"/>
                <a:gd name="T47" fmla="*/ 31 h 57"/>
                <a:gd name="T48" fmla="*/ 52 w 105"/>
                <a:gd name="T49" fmla="*/ 26 h 57"/>
                <a:gd name="T50" fmla="*/ 45 w 105"/>
                <a:gd name="T51" fmla="*/ 26 h 57"/>
                <a:gd name="T52" fmla="*/ 43 w 105"/>
                <a:gd name="T53" fmla="*/ 28 h 57"/>
                <a:gd name="T54" fmla="*/ 43 w 105"/>
                <a:gd name="T55" fmla="*/ 28 h 57"/>
                <a:gd name="T56" fmla="*/ 41 w 105"/>
                <a:gd name="T57" fmla="*/ 26 h 57"/>
                <a:gd name="T58" fmla="*/ 41 w 105"/>
                <a:gd name="T59" fmla="*/ 26 h 57"/>
                <a:gd name="T60" fmla="*/ 38 w 105"/>
                <a:gd name="T61" fmla="*/ 24 h 57"/>
                <a:gd name="T62" fmla="*/ 43 w 105"/>
                <a:gd name="T63" fmla="*/ 19 h 57"/>
                <a:gd name="T64" fmla="*/ 48 w 105"/>
                <a:gd name="T65" fmla="*/ 14 h 57"/>
                <a:gd name="T66" fmla="*/ 52 w 105"/>
                <a:gd name="T67" fmla="*/ 12 h 57"/>
                <a:gd name="T68" fmla="*/ 57 w 105"/>
                <a:gd name="T69" fmla="*/ 7 h 57"/>
                <a:gd name="T70" fmla="*/ 62 w 105"/>
                <a:gd name="T71" fmla="*/ 7 h 57"/>
                <a:gd name="T72" fmla="*/ 64 w 105"/>
                <a:gd name="T73" fmla="*/ 5 h 57"/>
                <a:gd name="T74" fmla="*/ 97 w 105"/>
                <a:gd name="T75" fmla="*/ 2 h 57"/>
                <a:gd name="T76" fmla="*/ 97 w 105"/>
                <a:gd name="T77" fmla="*/ 2 h 57"/>
                <a:gd name="T78" fmla="*/ 100 w 105"/>
                <a:gd name="T79" fmla="*/ 5 h 57"/>
                <a:gd name="T80" fmla="*/ 102 w 105"/>
                <a:gd name="T81" fmla="*/ 2 h 57"/>
                <a:gd name="T82" fmla="*/ 102 w 105"/>
                <a:gd name="T83" fmla="*/ 7 h 57"/>
                <a:gd name="T84" fmla="*/ 102 w 105"/>
                <a:gd name="T85" fmla="*/ 7 h 57"/>
                <a:gd name="T86" fmla="*/ 102 w 105"/>
                <a:gd name="T87" fmla="*/ 12 h 57"/>
                <a:gd name="T88" fmla="*/ 95 w 105"/>
                <a:gd name="T89" fmla="*/ 7 h 57"/>
                <a:gd name="T90" fmla="*/ 88 w 105"/>
                <a:gd name="T91" fmla="*/ 5 h 57"/>
                <a:gd name="T92" fmla="*/ 86 w 105"/>
                <a:gd name="T93" fmla="*/ 2 h 57"/>
                <a:gd name="T94" fmla="*/ 88 w 105"/>
                <a:gd name="T95" fmla="*/ 0 h 57"/>
                <a:gd name="T96" fmla="*/ 90 w 105"/>
                <a:gd name="T9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57">
                  <a:moveTo>
                    <a:pt x="12" y="43"/>
                  </a:moveTo>
                  <a:lnTo>
                    <a:pt x="12" y="45"/>
                  </a:lnTo>
                  <a:lnTo>
                    <a:pt x="14" y="45"/>
                  </a:lnTo>
                  <a:lnTo>
                    <a:pt x="12" y="45"/>
                  </a:lnTo>
                  <a:lnTo>
                    <a:pt x="14" y="45"/>
                  </a:lnTo>
                  <a:lnTo>
                    <a:pt x="14" y="47"/>
                  </a:lnTo>
                  <a:lnTo>
                    <a:pt x="12" y="47"/>
                  </a:lnTo>
                  <a:lnTo>
                    <a:pt x="12" y="50"/>
                  </a:lnTo>
                  <a:lnTo>
                    <a:pt x="10" y="50"/>
                  </a:lnTo>
                  <a:lnTo>
                    <a:pt x="10" y="52"/>
                  </a:lnTo>
                  <a:lnTo>
                    <a:pt x="7" y="52"/>
                  </a:lnTo>
                  <a:lnTo>
                    <a:pt x="7" y="54"/>
                  </a:lnTo>
                  <a:lnTo>
                    <a:pt x="7" y="57"/>
                  </a:lnTo>
                  <a:lnTo>
                    <a:pt x="7" y="54"/>
                  </a:lnTo>
                  <a:lnTo>
                    <a:pt x="7" y="57"/>
                  </a:lnTo>
                  <a:lnTo>
                    <a:pt x="5" y="57"/>
                  </a:lnTo>
                  <a:lnTo>
                    <a:pt x="5" y="54"/>
                  </a:lnTo>
                  <a:lnTo>
                    <a:pt x="3" y="54"/>
                  </a:lnTo>
                  <a:lnTo>
                    <a:pt x="5" y="54"/>
                  </a:lnTo>
                  <a:lnTo>
                    <a:pt x="3" y="54"/>
                  </a:lnTo>
                  <a:lnTo>
                    <a:pt x="0" y="54"/>
                  </a:lnTo>
                  <a:lnTo>
                    <a:pt x="0" y="52"/>
                  </a:lnTo>
                  <a:lnTo>
                    <a:pt x="3" y="52"/>
                  </a:lnTo>
                  <a:lnTo>
                    <a:pt x="3" y="50"/>
                  </a:lnTo>
                  <a:lnTo>
                    <a:pt x="0" y="50"/>
                  </a:lnTo>
                  <a:lnTo>
                    <a:pt x="3" y="50"/>
                  </a:lnTo>
                  <a:lnTo>
                    <a:pt x="5" y="50"/>
                  </a:lnTo>
                  <a:lnTo>
                    <a:pt x="3" y="50"/>
                  </a:lnTo>
                  <a:lnTo>
                    <a:pt x="3" y="47"/>
                  </a:lnTo>
                  <a:lnTo>
                    <a:pt x="5" y="47"/>
                  </a:lnTo>
                  <a:lnTo>
                    <a:pt x="5" y="45"/>
                  </a:lnTo>
                  <a:lnTo>
                    <a:pt x="7" y="45"/>
                  </a:lnTo>
                  <a:lnTo>
                    <a:pt x="10" y="45"/>
                  </a:lnTo>
                  <a:lnTo>
                    <a:pt x="10" y="43"/>
                  </a:lnTo>
                  <a:lnTo>
                    <a:pt x="10" y="45"/>
                  </a:lnTo>
                  <a:lnTo>
                    <a:pt x="10" y="43"/>
                  </a:lnTo>
                  <a:lnTo>
                    <a:pt x="10" y="45"/>
                  </a:lnTo>
                  <a:lnTo>
                    <a:pt x="10" y="43"/>
                  </a:lnTo>
                  <a:lnTo>
                    <a:pt x="12" y="43"/>
                  </a:lnTo>
                  <a:close/>
                  <a:moveTo>
                    <a:pt x="67" y="5"/>
                  </a:moveTo>
                  <a:lnTo>
                    <a:pt x="67" y="7"/>
                  </a:lnTo>
                  <a:lnTo>
                    <a:pt x="64" y="7"/>
                  </a:lnTo>
                  <a:lnTo>
                    <a:pt x="62" y="7"/>
                  </a:lnTo>
                  <a:lnTo>
                    <a:pt x="62" y="9"/>
                  </a:lnTo>
                  <a:lnTo>
                    <a:pt x="64" y="9"/>
                  </a:lnTo>
                  <a:lnTo>
                    <a:pt x="67" y="9"/>
                  </a:lnTo>
                  <a:lnTo>
                    <a:pt x="67" y="7"/>
                  </a:lnTo>
                  <a:lnTo>
                    <a:pt x="67" y="9"/>
                  </a:lnTo>
                  <a:lnTo>
                    <a:pt x="67" y="12"/>
                  </a:lnTo>
                  <a:lnTo>
                    <a:pt x="64" y="12"/>
                  </a:lnTo>
                  <a:lnTo>
                    <a:pt x="64" y="9"/>
                  </a:lnTo>
                  <a:lnTo>
                    <a:pt x="64" y="12"/>
                  </a:lnTo>
                  <a:lnTo>
                    <a:pt x="64" y="14"/>
                  </a:lnTo>
                  <a:lnTo>
                    <a:pt x="67" y="14"/>
                  </a:lnTo>
                  <a:lnTo>
                    <a:pt x="67" y="16"/>
                  </a:lnTo>
                  <a:lnTo>
                    <a:pt x="69" y="16"/>
                  </a:lnTo>
                  <a:lnTo>
                    <a:pt x="69" y="14"/>
                  </a:lnTo>
                  <a:lnTo>
                    <a:pt x="71" y="14"/>
                  </a:lnTo>
                  <a:lnTo>
                    <a:pt x="71" y="12"/>
                  </a:lnTo>
                  <a:lnTo>
                    <a:pt x="71" y="14"/>
                  </a:lnTo>
                  <a:lnTo>
                    <a:pt x="74" y="14"/>
                  </a:lnTo>
                  <a:lnTo>
                    <a:pt x="76" y="14"/>
                  </a:lnTo>
                  <a:lnTo>
                    <a:pt x="74" y="14"/>
                  </a:lnTo>
                  <a:lnTo>
                    <a:pt x="76" y="14"/>
                  </a:lnTo>
                  <a:lnTo>
                    <a:pt x="74" y="16"/>
                  </a:lnTo>
                  <a:lnTo>
                    <a:pt x="76" y="16"/>
                  </a:lnTo>
                  <a:lnTo>
                    <a:pt x="74" y="16"/>
                  </a:lnTo>
                  <a:lnTo>
                    <a:pt x="74" y="19"/>
                  </a:lnTo>
                  <a:lnTo>
                    <a:pt x="74" y="21"/>
                  </a:lnTo>
                  <a:lnTo>
                    <a:pt x="71" y="21"/>
                  </a:lnTo>
                  <a:lnTo>
                    <a:pt x="74" y="21"/>
                  </a:lnTo>
                  <a:lnTo>
                    <a:pt x="74" y="24"/>
                  </a:lnTo>
                  <a:lnTo>
                    <a:pt x="71" y="24"/>
                  </a:lnTo>
                  <a:lnTo>
                    <a:pt x="71" y="26"/>
                  </a:lnTo>
                  <a:lnTo>
                    <a:pt x="69" y="26"/>
                  </a:lnTo>
                  <a:lnTo>
                    <a:pt x="69" y="28"/>
                  </a:lnTo>
                  <a:lnTo>
                    <a:pt x="69" y="31"/>
                  </a:lnTo>
                  <a:lnTo>
                    <a:pt x="69" y="28"/>
                  </a:lnTo>
                  <a:lnTo>
                    <a:pt x="69" y="31"/>
                  </a:lnTo>
                  <a:lnTo>
                    <a:pt x="67" y="31"/>
                  </a:lnTo>
                  <a:lnTo>
                    <a:pt x="67" y="33"/>
                  </a:lnTo>
                  <a:lnTo>
                    <a:pt x="64" y="33"/>
                  </a:lnTo>
                  <a:lnTo>
                    <a:pt x="64" y="35"/>
                  </a:lnTo>
                  <a:lnTo>
                    <a:pt x="62" y="35"/>
                  </a:lnTo>
                  <a:lnTo>
                    <a:pt x="59" y="35"/>
                  </a:lnTo>
                  <a:lnTo>
                    <a:pt x="59" y="33"/>
                  </a:lnTo>
                  <a:lnTo>
                    <a:pt x="59" y="35"/>
                  </a:lnTo>
                  <a:lnTo>
                    <a:pt x="59" y="33"/>
                  </a:lnTo>
                  <a:lnTo>
                    <a:pt x="57" y="33"/>
                  </a:lnTo>
                  <a:lnTo>
                    <a:pt x="55" y="31"/>
                  </a:lnTo>
                  <a:lnTo>
                    <a:pt x="55" y="33"/>
                  </a:lnTo>
                  <a:lnTo>
                    <a:pt x="52" y="33"/>
                  </a:lnTo>
                  <a:lnTo>
                    <a:pt x="52" y="31"/>
                  </a:lnTo>
                  <a:lnTo>
                    <a:pt x="52" y="33"/>
                  </a:lnTo>
                  <a:lnTo>
                    <a:pt x="52" y="31"/>
                  </a:lnTo>
                  <a:lnTo>
                    <a:pt x="50" y="31"/>
                  </a:lnTo>
                  <a:lnTo>
                    <a:pt x="52" y="28"/>
                  </a:lnTo>
                  <a:lnTo>
                    <a:pt x="50" y="28"/>
                  </a:lnTo>
                  <a:lnTo>
                    <a:pt x="50" y="26"/>
                  </a:lnTo>
                  <a:lnTo>
                    <a:pt x="52" y="26"/>
                  </a:lnTo>
                  <a:lnTo>
                    <a:pt x="50" y="24"/>
                  </a:lnTo>
                  <a:lnTo>
                    <a:pt x="48" y="24"/>
                  </a:lnTo>
                  <a:lnTo>
                    <a:pt x="45" y="24"/>
                  </a:lnTo>
                  <a:lnTo>
                    <a:pt x="45" y="26"/>
                  </a:lnTo>
                  <a:lnTo>
                    <a:pt x="45" y="24"/>
                  </a:lnTo>
                  <a:lnTo>
                    <a:pt x="45" y="26"/>
                  </a:lnTo>
                  <a:lnTo>
                    <a:pt x="43" y="26"/>
                  </a:lnTo>
                  <a:lnTo>
                    <a:pt x="43" y="28"/>
                  </a:lnTo>
                  <a:lnTo>
                    <a:pt x="45" y="28"/>
                  </a:lnTo>
                  <a:lnTo>
                    <a:pt x="43" y="28"/>
                  </a:lnTo>
                  <a:lnTo>
                    <a:pt x="43" y="26"/>
                  </a:lnTo>
                  <a:lnTo>
                    <a:pt x="43" y="28"/>
                  </a:lnTo>
                  <a:lnTo>
                    <a:pt x="43" y="26"/>
                  </a:lnTo>
                  <a:lnTo>
                    <a:pt x="43" y="24"/>
                  </a:lnTo>
                  <a:lnTo>
                    <a:pt x="41" y="24"/>
                  </a:lnTo>
                  <a:lnTo>
                    <a:pt x="41" y="26"/>
                  </a:lnTo>
                  <a:lnTo>
                    <a:pt x="41" y="24"/>
                  </a:lnTo>
                  <a:lnTo>
                    <a:pt x="41" y="26"/>
                  </a:lnTo>
                  <a:lnTo>
                    <a:pt x="41" y="24"/>
                  </a:lnTo>
                  <a:lnTo>
                    <a:pt x="41" y="26"/>
                  </a:lnTo>
                  <a:lnTo>
                    <a:pt x="41" y="24"/>
                  </a:lnTo>
                  <a:lnTo>
                    <a:pt x="38" y="24"/>
                  </a:lnTo>
                  <a:lnTo>
                    <a:pt x="41" y="24"/>
                  </a:lnTo>
                  <a:lnTo>
                    <a:pt x="38" y="24"/>
                  </a:lnTo>
                  <a:lnTo>
                    <a:pt x="38" y="21"/>
                  </a:lnTo>
                  <a:lnTo>
                    <a:pt x="41" y="21"/>
                  </a:lnTo>
                  <a:lnTo>
                    <a:pt x="41" y="19"/>
                  </a:lnTo>
                  <a:lnTo>
                    <a:pt x="43" y="19"/>
                  </a:lnTo>
                  <a:lnTo>
                    <a:pt x="43" y="16"/>
                  </a:lnTo>
                  <a:lnTo>
                    <a:pt x="45" y="16"/>
                  </a:lnTo>
                  <a:lnTo>
                    <a:pt x="48" y="16"/>
                  </a:lnTo>
                  <a:lnTo>
                    <a:pt x="48" y="14"/>
                  </a:lnTo>
                  <a:lnTo>
                    <a:pt x="50" y="12"/>
                  </a:lnTo>
                  <a:lnTo>
                    <a:pt x="52" y="12"/>
                  </a:lnTo>
                  <a:lnTo>
                    <a:pt x="52" y="9"/>
                  </a:lnTo>
                  <a:lnTo>
                    <a:pt x="52" y="12"/>
                  </a:lnTo>
                  <a:lnTo>
                    <a:pt x="52" y="9"/>
                  </a:lnTo>
                  <a:lnTo>
                    <a:pt x="55" y="9"/>
                  </a:lnTo>
                  <a:lnTo>
                    <a:pt x="57" y="9"/>
                  </a:lnTo>
                  <a:lnTo>
                    <a:pt x="57" y="7"/>
                  </a:lnTo>
                  <a:lnTo>
                    <a:pt x="59" y="7"/>
                  </a:lnTo>
                  <a:lnTo>
                    <a:pt x="62" y="7"/>
                  </a:lnTo>
                  <a:lnTo>
                    <a:pt x="64" y="7"/>
                  </a:lnTo>
                  <a:lnTo>
                    <a:pt x="62" y="7"/>
                  </a:lnTo>
                  <a:lnTo>
                    <a:pt x="64" y="7"/>
                  </a:lnTo>
                  <a:lnTo>
                    <a:pt x="64" y="5"/>
                  </a:lnTo>
                  <a:lnTo>
                    <a:pt x="64" y="7"/>
                  </a:lnTo>
                  <a:lnTo>
                    <a:pt x="64" y="5"/>
                  </a:lnTo>
                  <a:lnTo>
                    <a:pt x="67" y="5"/>
                  </a:lnTo>
                  <a:close/>
                  <a:moveTo>
                    <a:pt x="95" y="0"/>
                  </a:moveTo>
                  <a:lnTo>
                    <a:pt x="95" y="2"/>
                  </a:lnTo>
                  <a:lnTo>
                    <a:pt x="97" y="2"/>
                  </a:lnTo>
                  <a:lnTo>
                    <a:pt x="97" y="0"/>
                  </a:lnTo>
                  <a:lnTo>
                    <a:pt x="97" y="2"/>
                  </a:lnTo>
                  <a:lnTo>
                    <a:pt x="97" y="0"/>
                  </a:lnTo>
                  <a:lnTo>
                    <a:pt x="97" y="2"/>
                  </a:lnTo>
                  <a:lnTo>
                    <a:pt x="100" y="2"/>
                  </a:lnTo>
                  <a:lnTo>
                    <a:pt x="100" y="5"/>
                  </a:lnTo>
                  <a:lnTo>
                    <a:pt x="100" y="2"/>
                  </a:lnTo>
                  <a:lnTo>
                    <a:pt x="100" y="5"/>
                  </a:lnTo>
                  <a:lnTo>
                    <a:pt x="100" y="2"/>
                  </a:lnTo>
                  <a:lnTo>
                    <a:pt x="100" y="5"/>
                  </a:lnTo>
                  <a:lnTo>
                    <a:pt x="100" y="2"/>
                  </a:lnTo>
                  <a:lnTo>
                    <a:pt x="102" y="2"/>
                  </a:lnTo>
                  <a:lnTo>
                    <a:pt x="102" y="5"/>
                  </a:lnTo>
                  <a:lnTo>
                    <a:pt x="102" y="2"/>
                  </a:lnTo>
                  <a:lnTo>
                    <a:pt x="102" y="5"/>
                  </a:lnTo>
                  <a:lnTo>
                    <a:pt x="102" y="7"/>
                  </a:lnTo>
                  <a:lnTo>
                    <a:pt x="102" y="9"/>
                  </a:lnTo>
                  <a:lnTo>
                    <a:pt x="105" y="9"/>
                  </a:lnTo>
                  <a:lnTo>
                    <a:pt x="102" y="9"/>
                  </a:lnTo>
                  <a:lnTo>
                    <a:pt x="102" y="7"/>
                  </a:lnTo>
                  <a:lnTo>
                    <a:pt x="102" y="9"/>
                  </a:lnTo>
                  <a:lnTo>
                    <a:pt x="102" y="7"/>
                  </a:lnTo>
                  <a:lnTo>
                    <a:pt x="102" y="9"/>
                  </a:lnTo>
                  <a:lnTo>
                    <a:pt x="102" y="12"/>
                  </a:lnTo>
                  <a:lnTo>
                    <a:pt x="100" y="12"/>
                  </a:lnTo>
                  <a:lnTo>
                    <a:pt x="97" y="9"/>
                  </a:lnTo>
                  <a:lnTo>
                    <a:pt x="95" y="9"/>
                  </a:lnTo>
                  <a:lnTo>
                    <a:pt x="95" y="7"/>
                  </a:lnTo>
                  <a:lnTo>
                    <a:pt x="93" y="7"/>
                  </a:lnTo>
                  <a:lnTo>
                    <a:pt x="90" y="7"/>
                  </a:lnTo>
                  <a:lnTo>
                    <a:pt x="88" y="7"/>
                  </a:lnTo>
                  <a:lnTo>
                    <a:pt x="88" y="5"/>
                  </a:lnTo>
                  <a:lnTo>
                    <a:pt x="86" y="5"/>
                  </a:lnTo>
                  <a:lnTo>
                    <a:pt x="86" y="2"/>
                  </a:lnTo>
                  <a:lnTo>
                    <a:pt x="86" y="5"/>
                  </a:lnTo>
                  <a:lnTo>
                    <a:pt x="86" y="2"/>
                  </a:lnTo>
                  <a:lnTo>
                    <a:pt x="88" y="2"/>
                  </a:lnTo>
                  <a:lnTo>
                    <a:pt x="88" y="0"/>
                  </a:lnTo>
                  <a:lnTo>
                    <a:pt x="88" y="2"/>
                  </a:lnTo>
                  <a:lnTo>
                    <a:pt x="88" y="0"/>
                  </a:lnTo>
                  <a:lnTo>
                    <a:pt x="90" y="0"/>
                  </a:lnTo>
                  <a:lnTo>
                    <a:pt x="90" y="2"/>
                  </a:lnTo>
                  <a:lnTo>
                    <a:pt x="90" y="0"/>
                  </a:lnTo>
                  <a:lnTo>
                    <a:pt x="90" y="2"/>
                  </a:lnTo>
                  <a:lnTo>
                    <a:pt x="90" y="0"/>
                  </a:lnTo>
                  <a:lnTo>
                    <a:pt x="93" y="0"/>
                  </a:lnTo>
                  <a:lnTo>
                    <a:pt x="9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7" name="Freeform 57955"/>
            <p:cNvSpPr>
              <a:spLocks noEditPoints="1"/>
            </p:cNvSpPr>
            <p:nvPr/>
          </p:nvSpPr>
          <p:spPr bwMode="auto">
            <a:xfrm>
              <a:off x="1539873" y="5168916"/>
              <a:ext cx="661988" cy="558801"/>
            </a:xfrm>
            <a:custGeom>
              <a:avLst/>
              <a:gdLst>
                <a:gd name="T0" fmla="*/ 192 w 417"/>
                <a:gd name="T1" fmla="*/ 17 h 352"/>
                <a:gd name="T2" fmla="*/ 206 w 417"/>
                <a:gd name="T3" fmla="*/ 19 h 352"/>
                <a:gd name="T4" fmla="*/ 216 w 417"/>
                <a:gd name="T5" fmla="*/ 17 h 352"/>
                <a:gd name="T6" fmla="*/ 247 w 417"/>
                <a:gd name="T7" fmla="*/ 19 h 352"/>
                <a:gd name="T8" fmla="*/ 261 w 417"/>
                <a:gd name="T9" fmla="*/ 29 h 352"/>
                <a:gd name="T10" fmla="*/ 282 w 417"/>
                <a:gd name="T11" fmla="*/ 38 h 352"/>
                <a:gd name="T12" fmla="*/ 315 w 417"/>
                <a:gd name="T13" fmla="*/ 48 h 352"/>
                <a:gd name="T14" fmla="*/ 344 w 417"/>
                <a:gd name="T15" fmla="*/ 45 h 352"/>
                <a:gd name="T16" fmla="*/ 363 w 417"/>
                <a:gd name="T17" fmla="*/ 57 h 352"/>
                <a:gd name="T18" fmla="*/ 396 w 417"/>
                <a:gd name="T19" fmla="*/ 67 h 352"/>
                <a:gd name="T20" fmla="*/ 415 w 417"/>
                <a:gd name="T21" fmla="*/ 67 h 352"/>
                <a:gd name="T22" fmla="*/ 408 w 417"/>
                <a:gd name="T23" fmla="*/ 90 h 352"/>
                <a:gd name="T24" fmla="*/ 379 w 417"/>
                <a:gd name="T25" fmla="*/ 109 h 352"/>
                <a:gd name="T26" fmla="*/ 349 w 417"/>
                <a:gd name="T27" fmla="*/ 121 h 352"/>
                <a:gd name="T28" fmla="*/ 332 w 417"/>
                <a:gd name="T29" fmla="*/ 138 h 352"/>
                <a:gd name="T30" fmla="*/ 322 w 417"/>
                <a:gd name="T31" fmla="*/ 135 h 352"/>
                <a:gd name="T32" fmla="*/ 330 w 417"/>
                <a:gd name="T33" fmla="*/ 147 h 352"/>
                <a:gd name="T34" fmla="*/ 313 w 417"/>
                <a:gd name="T35" fmla="*/ 166 h 352"/>
                <a:gd name="T36" fmla="*/ 294 w 417"/>
                <a:gd name="T37" fmla="*/ 197 h 352"/>
                <a:gd name="T38" fmla="*/ 313 w 417"/>
                <a:gd name="T39" fmla="*/ 226 h 352"/>
                <a:gd name="T40" fmla="*/ 294 w 417"/>
                <a:gd name="T41" fmla="*/ 245 h 352"/>
                <a:gd name="T42" fmla="*/ 282 w 417"/>
                <a:gd name="T43" fmla="*/ 271 h 352"/>
                <a:gd name="T44" fmla="*/ 275 w 417"/>
                <a:gd name="T45" fmla="*/ 283 h 352"/>
                <a:gd name="T46" fmla="*/ 256 w 417"/>
                <a:gd name="T47" fmla="*/ 288 h 352"/>
                <a:gd name="T48" fmla="*/ 237 w 417"/>
                <a:gd name="T49" fmla="*/ 316 h 352"/>
                <a:gd name="T50" fmla="*/ 197 w 417"/>
                <a:gd name="T51" fmla="*/ 318 h 352"/>
                <a:gd name="T52" fmla="*/ 161 w 417"/>
                <a:gd name="T53" fmla="*/ 321 h 352"/>
                <a:gd name="T54" fmla="*/ 135 w 417"/>
                <a:gd name="T55" fmla="*/ 335 h 352"/>
                <a:gd name="T56" fmla="*/ 111 w 417"/>
                <a:gd name="T57" fmla="*/ 342 h 352"/>
                <a:gd name="T58" fmla="*/ 99 w 417"/>
                <a:gd name="T59" fmla="*/ 328 h 352"/>
                <a:gd name="T60" fmla="*/ 95 w 417"/>
                <a:gd name="T61" fmla="*/ 309 h 352"/>
                <a:gd name="T62" fmla="*/ 78 w 417"/>
                <a:gd name="T63" fmla="*/ 295 h 352"/>
                <a:gd name="T64" fmla="*/ 73 w 417"/>
                <a:gd name="T65" fmla="*/ 297 h 352"/>
                <a:gd name="T66" fmla="*/ 59 w 417"/>
                <a:gd name="T67" fmla="*/ 283 h 352"/>
                <a:gd name="T68" fmla="*/ 76 w 417"/>
                <a:gd name="T69" fmla="*/ 257 h 352"/>
                <a:gd name="T70" fmla="*/ 71 w 417"/>
                <a:gd name="T71" fmla="*/ 226 h 352"/>
                <a:gd name="T72" fmla="*/ 66 w 417"/>
                <a:gd name="T73" fmla="*/ 195 h 352"/>
                <a:gd name="T74" fmla="*/ 80 w 417"/>
                <a:gd name="T75" fmla="*/ 176 h 352"/>
                <a:gd name="T76" fmla="*/ 80 w 417"/>
                <a:gd name="T77" fmla="*/ 145 h 352"/>
                <a:gd name="T78" fmla="*/ 85 w 417"/>
                <a:gd name="T79" fmla="*/ 121 h 352"/>
                <a:gd name="T80" fmla="*/ 97 w 417"/>
                <a:gd name="T81" fmla="*/ 95 h 352"/>
                <a:gd name="T82" fmla="*/ 73 w 417"/>
                <a:gd name="T83" fmla="*/ 83 h 352"/>
                <a:gd name="T84" fmla="*/ 42 w 417"/>
                <a:gd name="T85" fmla="*/ 90 h 352"/>
                <a:gd name="T86" fmla="*/ 23 w 417"/>
                <a:gd name="T87" fmla="*/ 78 h 352"/>
                <a:gd name="T88" fmla="*/ 23 w 417"/>
                <a:gd name="T89" fmla="*/ 69 h 352"/>
                <a:gd name="T90" fmla="*/ 19 w 417"/>
                <a:gd name="T91" fmla="*/ 64 h 352"/>
                <a:gd name="T92" fmla="*/ 16 w 417"/>
                <a:gd name="T93" fmla="*/ 57 h 352"/>
                <a:gd name="T94" fmla="*/ 14 w 417"/>
                <a:gd name="T95" fmla="*/ 52 h 352"/>
                <a:gd name="T96" fmla="*/ 14 w 417"/>
                <a:gd name="T97" fmla="*/ 43 h 352"/>
                <a:gd name="T98" fmla="*/ 2 w 417"/>
                <a:gd name="T99" fmla="*/ 38 h 352"/>
                <a:gd name="T100" fmla="*/ 9 w 417"/>
                <a:gd name="T101" fmla="*/ 26 h 352"/>
                <a:gd name="T102" fmla="*/ 28 w 417"/>
                <a:gd name="T103" fmla="*/ 17 h 352"/>
                <a:gd name="T104" fmla="*/ 33 w 417"/>
                <a:gd name="T105" fmla="*/ 14 h 352"/>
                <a:gd name="T106" fmla="*/ 40 w 417"/>
                <a:gd name="T107" fmla="*/ 5 h 352"/>
                <a:gd name="T108" fmla="*/ 47 w 417"/>
                <a:gd name="T109" fmla="*/ 2 h 352"/>
                <a:gd name="T110" fmla="*/ 64 w 417"/>
                <a:gd name="T111" fmla="*/ 7 h 352"/>
                <a:gd name="T112" fmla="*/ 85 w 417"/>
                <a:gd name="T113" fmla="*/ 10 h 352"/>
                <a:gd name="T114" fmla="*/ 111 w 417"/>
                <a:gd name="T115" fmla="*/ 7 h 352"/>
                <a:gd name="T116" fmla="*/ 137 w 417"/>
                <a:gd name="T117" fmla="*/ 14 h 352"/>
                <a:gd name="T118" fmla="*/ 173 w 417"/>
                <a:gd name="T119" fmla="*/ 14 h 352"/>
                <a:gd name="T120" fmla="*/ 185 w 417"/>
                <a:gd name="T121" fmla="*/ 1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7" h="352">
                  <a:moveTo>
                    <a:pt x="372" y="62"/>
                  </a:moveTo>
                  <a:lnTo>
                    <a:pt x="372" y="59"/>
                  </a:lnTo>
                  <a:lnTo>
                    <a:pt x="372" y="62"/>
                  </a:lnTo>
                  <a:close/>
                  <a:moveTo>
                    <a:pt x="190" y="12"/>
                  </a:moveTo>
                  <a:lnTo>
                    <a:pt x="187" y="12"/>
                  </a:lnTo>
                  <a:lnTo>
                    <a:pt x="187" y="14"/>
                  </a:lnTo>
                  <a:lnTo>
                    <a:pt x="190" y="14"/>
                  </a:lnTo>
                  <a:lnTo>
                    <a:pt x="187" y="12"/>
                  </a:lnTo>
                  <a:lnTo>
                    <a:pt x="190" y="12"/>
                  </a:lnTo>
                  <a:lnTo>
                    <a:pt x="190" y="14"/>
                  </a:lnTo>
                  <a:lnTo>
                    <a:pt x="190" y="12"/>
                  </a:lnTo>
                  <a:lnTo>
                    <a:pt x="192" y="12"/>
                  </a:lnTo>
                  <a:lnTo>
                    <a:pt x="192" y="14"/>
                  </a:lnTo>
                  <a:lnTo>
                    <a:pt x="194" y="14"/>
                  </a:lnTo>
                  <a:lnTo>
                    <a:pt x="192" y="14"/>
                  </a:lnTo>
                  <a:lnTo>
                    <a:pt x="192" y="17"/>
                  </a:lnTo>
                  <a:lnTo>
                    <a:pt x="192" y="14"/>
                  </a:lnTo>
                  <a:lnTo>
                    <a:pt x="192" y="17"/>
                  </a:lnTo>
                  <a:lnTo>
                    <a:pt x="190" y="17"/>
                  </a:lnTo>
                  <a:lnTo>
                    <a:pt x="192" y="17"/>
                  </a:lnTo>
                  <a:lnTo>
                    <a:pt x="192" y="19"/>
                  </a:lnTo>
                  <a:lnTo>
                    <a:pt x="192" y="17"/>
                  </a:lnTo>
                  <a:lnTo>
                    <a:pt x="194" y="19"/>
                  </a:lnTo>
                  <a:lnTo>
                    <a:pt x="194" y="17"/>
                  </a:lnTo>
                  <a:lnTo>
                    <a:pt x="192" y="17"/>
                  </a:lnTo>
                  <a:lnTo>
                    <a:pt x="192" y="14"/>
                  </a:lnTo>
                  <a:lnTo>
                    <a:pt x="194" y="17"/>
                  </a:lnTo>
                  <a:lnTo>
                    <a:pt x="197" y="17"/>
                  </a:lnTo>
                  <a:lnTo>
                    <a:pt x="199" y="17"/>
                  </a:lnTo>
                  <a:lnTo>
                    <a:pt x="201" y="17"/>
                  </a:lnTo>
                  <a:lnTo>
                    <a:pt x="201" y="19"/>
                  </a:lnTo>
                  <a:lnTo>
                    <a:pt x="201" y="17"/>
                  </a:lnTo>
                  <a:lnTo>
                    <a:pt x="201" y="19"/>
                  </a:lnTo>
                  <a:lnTo>
                    <a:pt x="204" y="19"/>
                  </a:lnTo>
                  <a:lnTo>
                    <a:pt x="206" y="19"/>
                  </a:lnTo>
                  <a:lnTo>
                    <a:pt x="204" y="19"/>
                  </a:lnTo>
                  <a:lnTo>
                    <a:pt x="206" y="19"/>
                  </a:lnTo>
                  <a:lnTo>
                    <a:pt x="206" y="21"/>
                  </a:lnTo>
                  <a:lnTo>
                    <a:pt x="209" y="21"/>
                  </a:lnTo>
                  <a:lnTo>
                    <a:pt x="206" y="21"/>
                  </a:lnTo>
                  <a:lnTo>
                    <a:pt x="206" y="19"/>
                  </a:lnTo>
                  <a:lnTo>
                    <a:pt x="209" y="21"/>
                  </a:lnTo>
                  <a:lnTo>
                    <a:pt x="209" y="19"/>
                  </a:lnTo>
                  <a:lnTo>
                    <a:pt x="206" y="19"/>
                  </a:lnTo>
                  <a:lnTo>
                    <a:pt x="209" y="19"/>
                  </a:lnTo>
                  <a:lnTo>
                    <a:pt x="206" y="19"/>
                  </a:lnTo>
                  <a:lnTo>
                    <a:pt x="209" y="19"/>
                  </a:lnTo>
                  <a:lnTo>
                    <a:pt x="209" y="17"/>
                  </a:lnTo>
                  <a:lnTo>
                    <a:pt x="209" y="14"/>
                  </a:lnTo>
                  <a:lnTo>
                    <a:pt x="211" y="14"/>
                  </a:lnTo>
                  <a:lnTo>
                    <a:pt x="211" y="17"/>
                  </a:lnTo>
                  <a:lnTo>
                    <a:pt x="211" y="14"/>
                  </a:lnTo>
                  <a:lnTo>
                    <a:pt x="213" y="14"/>
                  </a:lnTo>
                  <a:lnTo>
                    <a:pt x="213" y="17"/>
                  </a:lnTo>
                  <a:lnTo>
                    <a:pt x="213" y="14"/>
                  </a:lnTo>
                  <a:lnTo>
                    <a:pt x="213" y="17"/>
                  </a:lnTo>
                  <a:lnTo>
                    <a:pt x="213" y="14"/>
                  </a:lnTo>
                  <a:lnTo>
                    <a:pt x="213" y="17"/>
                  </a:lnTo>
                  <a:lnTo>
                    <a:pt x="213" y="14"/>
                  </a:lnTo>
                  <a:lnTo>
                    <a:pt x="213" y="17"/>
                  </a:lnTo>
                  <a:lnTo>
                    <a:pt x="213" y="14"/>
                  </a:lnTo>
                  <a:lnTo>
                    <a:pt x="213" y="17"/>
                  </a:lnTo>
                  <a:lnTo>
                    <a:pt x="213" y="14"/>
                  </a:lnTo>
                  <a:lnTo>
                    <a:pt x="213" y="17"/>
                  </a:lnTo>
                  <a:lnTo>
                    <a:pt x="216" y="14"/>
                  </a:lnTo>
                  <a:lnTo>
                    <a:pt x="216" y="17"/>
                  </a:lnTo>
                  <a:lnTo>
                    <a:pt x="218" y="17"/>
                  </a:lnTo>
                  <a:lnTo>
                    <a:pt x="218" y="19"/>
                  </a:lnTo>
                  <a:lnTo>
                    <a:pt x="218" y="17"/>
                  </a:lnTo>
                  <a:lnTo>
                    <a:pt x="220" y="17"/>
                  </a:lnTo>
                  <a:lnTo>
                    <a:pt x="223" y="17"/>
                  </a:lnTo>
                  <a:lnTo>
                    <a:pt x="223" y="19"/>
                  </a:lnTo>
                  <a:lnTo>
                    <a:pt x="225" y="19"/>
                  </a:lnTo>
                  <a:lnTo>
                    <a:pt x="228" y="19"/>
                  </a:lnTo>
                  <a:lnTo>
                    <a:pt x="228" y="21"/>
                  </a:lnTo>
                  <a:lnTo>
                    <a:pt x="230" y="21"/>
                  </a:lnTo>
                  <a:lnTo>
                    <a:pt x="232" y="21"/>
                  </a:lnTo>
                  <a:lnTo>
                    <a:pt x="235" y="21"/>
                  </a:lnTo>
                  <a:lnTo>
                    <a:pt x="237" y="21"/>
                  </a:lnTo>
                  <a:lnTo>
                    <a:pt x="237" y="24"/>
                  </a:lnTo>
                  <a:lnTo>
                    <a:pt x="237" y="21"/>
                  </a:lnTo>
                  <a:lnTo>
                    <a:pt x="239" y="21"/>
                  </a:lnTo>
                  <a:lnTo>
                    <a:pt x="242" y="21"/>
                  </a:lnTo>
                  <a:lnTo>
                    <a:pt x="242" y="19"/>
                  </a:lnTo>
                  <a:lnTo>
                    <a:pt x="244" y="19"/>
                  </a:lnTo>
                  <a:lnTo>
                    <a:pt x="244" y="21"/>
                  </a:lnTo>
                  <a:lnTo>
                    <a:pt x="244" y="19"/>
                  </a:lnTo>
                  <a:lnTo>
                    <a:pt x="247" y="19"/>
                  </a:lnTo>
                  <a:lnTo>
                    <a:pt x="247" y="17"/>
                  </a:lnTo>
                  <a:lnTo>
                    <a:pt x="249" y="17"/>
                  </a:lnTo>
                  <a:lnTo>
                    <a:pt x="247" y="17"/>
                  </a:lnTo>
                  <a:lnTo>
                    <a:pt x="247" y="19"/>
                  </a:lnTo>
                  <a:lnTo>
                    <a:pt x="249" y="19"/>
                  </a:lnTo>
                  <a:lnTo>
                    <a:pt x="247" y="19"/>
                  </a:lnTo>
                  <a:lnTo>
                    <a:pt x="249" y="19"/>
                  </a:lnTo>
                  <a:lnTo>
                    <a:pt x="247" y="19"/>
                  </a:lnTo>
                  <a:lnTo>
                    <a:pt x="249" y="19"/>
                  </a:lnTo>
                  <a:lnTo>
                    <a:pt x="247" y="19"/>
                  </a:lnTo>
                  <a:lnTo>
                    <a:pt x="249" y="19"/>
                  </a:lnTo>
                  <a:lnTo>
                    <a:pt x="249" y="21"/>
                  </a:lnTo>
                  <a:lnTo>
                    <a:pt x="251" y="21"/>
                  </a:lnTo>
                  <a:lnTo>
                    <a:pt x="254" y="21"/>
                  </a:lnTo>
                  <a:lnTo>
                    <a:pt x="254" y="24"/>
                  </a:lnTo>
                  <a:lnTo>
                    <a:pt x="256" y="24"/>
                  </a:lnTo>
                  <a:lnTo>
                    <a:pt x="256" y="21"/>
                  </a:lnTo>
                  <a:lnTo>
                    <a:pt x="258" y="21"/>
                  </a:lnTo>
                  <a:lnTo>
                    <a:pt x="258" y="24"/>
                  </a:lnTo>
                  <a:lnTo>
                    <a:pt x="261" y="24"/>
                  </a:lnTo>
                  <a:lnTo>
                    <a:pt x="261" y="26"/>
                  </a:lnTo>
                  <a:lnTo>
                    <a:pt x="261" y="29"/>
                  </a:lnTo>
                  <a:lnTo>
                    <a:pt x="261" y="31"/>
                  </a:lnTo>
                  <a:lnTo>
                    <a:pt x="258" y="31"/>
                  </a:lnTo>
                  <a:lnTo>
                    <a:pt x="258" y="33"/>
                  </a:lnTo>
                  <a:lnTo>
                    <a:pt x="263" y="33"/>
                  </a:lnTo>
                  <a:lnTo>
                    <a:pt x="263" y="31"/>
                  </a:lnTo>
                  <a:lnTo>
                    <a:pt x="265" y="31"/>
                  </a:lnTo>
                  <a:lnTo>
                    <a:pt x="263" y="31"/>
                  </a:lnTo>
                  <a:lnTo>
                    <a:pt x="263" y="33"/>
                  </a:lnTo>
                  <a:lnTo>
                    <a:pt x="265" y="33"/>
                  </a:lnTo>
                  <a:lnTo>
                    <a:pt x="268" y="33"/>
                  </a:lnTo>
                  <a:lnTo>
                    <a:pt x="270" y="33"/>
                  </a:lnTo>
                  <a:lnTo>
                    <a:pt x="268" y="36"/>
                  </a:lnTo>
                  <a:lnTo>
                    <a:pt x="270" y="36"/>
                  </a:lnTo>
                  <a:lnTo>
                    <a:pt x="270" y="33"/>
                  </a:lnTo>
                  <a:lnTo>
                    <a:pt x="270" y="36"/>
                  </a:lnTo>
                  <a:lnTo>
                    <a:pt x="273" y="36"/>
                  </a:lnTo>
                  <a:lnTo>
                    <a:pt x="275" y="36"/>
                  </a:lnTo>
                  <a:lnTo>
                    <a:pt x="275" y="38"/>
                  </a:lnTo>
                  <a:lnTo>
                    <a:pt x="277" y="38"/>
                  </a:lnTo>
                  <a:lnTo>
                    <a:pt x="280" y="38"/>
                  </a:lnTo>
                  <a:lnTo>
                    <a:pt x="282" y="36"/>
                  </a:lnTo>
                  <a:lnTo>
                    <a:pt x="282" y="38"/>
                  </a:lnTo>
                  <a:lnTo>
                    <a:pt x="282" y="40"/>
                  </a:lnTo>
                  <a:lnTo>
                    <a:pt x="284" y="40"/>
                  </a:lnTo>
                  <a:lnTo>
                    <a:pt x="284" y="43"/>
                  </a:lnTo>
                  <a:lnTo>
                    <a:pt x="287" y="43"/>
                  </a:lnTo>
                  <a:lnTo>
                    <a:pt x="287" y="45"/>
                  </a:lnTo>
                  <a:lnTo>
                    <a:pt x="289" y="45"/>
                  </a:lnTo>
                  <a:lnTo>
                    <a:pt x="289" y="43"/>
                  </a:lnTo>
                  <a:lnTo>
                    <a:pt x="292" y="43"/>
                  </a:lnTo>
                  <a:lnTo>
                    <a:pt x="292" y="45"/>
                  </a:lnTo>
                  <a:lnTo>
                    <a:pt x="294" y="45"/>
                  </a:lnTo>
                  <a:lnTo>
                    <a:pt x="294" y="43"/>
                  </a:lnTo>
                  <a:lnTo>
                    <a:pt x="296" y="43"/>
                  </a:lnTo>
                  <a:lnTo>
                    <a:pt x="299" y="43"/>
                  </a:lnTo>
                  <a:lnTo>
                    <a:pt x="299" y="45"/>
                  </a:lnTo>
                  <a:lnTo>
                    <a:pt x="301" y="45"/>
                  </a:lnTo>
                  <a:lnTo>
                    <a:pt x="303" y="48"/>
                  </a:lnTo>
                  <a:lnTo>
                    <a:pt x="306" y="50"/>
                  </a:lnTo>
                  <a:lnTo>
                    <a:pt x="308" y="50"/>
                  </a:lnTo>
                  <a:lnTo>
                    <a:pt x="308" y="48"/>
                  </a:lnTo>
                  <a:lnTo>
                    <a:pt x="311" y="48"/>
                  </a:lnTo>
                  <a:lnTo>
                    <a:pt x="313" y="48"/>
                  </a:lnTo>
                  <a:lnTo>
                    <a:pt x="315" y="48"/>
                  </a:lnTo>
                  <a:lnTo>
                    <a:pt x="315" y="50"/>
                  </a:lnTo>
                  <a:lnTo>
                    <a:pt x="318" y="50"/>
                  </a:lnTo>
                  <a:lnTo>
                    <a:pt x="318" y="48"/>
                  </a:lnTo>
                  <a:lnTo>
                    <a:pt x="320" y="48"/>
                  </a:lnTo>
                  <a:lnTo>
                    <a:pt x="320" y="50"/>
                  </a:lnTo>
                  <a:lnTo>
                    <a:pt x="322" y="50"/>
                  </a:lnTo>
                  <a:lnTo>
                    <a:pt x="325" y="50"/>
                  </a:lnTo>
                  <a:lnTo>
                    <a:pt x="327" y="50"/>
                  </a:lnTo>
                  <a:lnTo>
                    <a:pt x="330" y="50"/>
                  </a:lnTo>
                  <a:lnTo>
                    <a:pt x="330" y="48"/>
                  </a:lnTo>
                  <a:lnTo>
                    <a:pt x="327" y="48"/>
                  </a:lnTo>
                  <a:lnTo>
                    <a:pt x="330" y="45"/>
                  </a:lnTo>
                  <a:lnTo>
                    <a:pt x="327" y="45"/>
                  </a:lnTo>
                  <a:lnTo>
                    <a:pt x="330" y="45"/>
                  </a:lnTo>
                  <a:lnTo>
                    <a:pt x="330" y="43"/>
                  </a:lnTo>
                  <a:lnTo>
                    <a:pt x="332" y="43"/>
                  </a:lnTo>
                  <a:lnTo>
                    <a:pt x="334" y="43"/>
                  </a:lnTo>
                  <a:lnTo>
                    <a:pt x="337" y="43"/>
                  </a:lnTo>
                  <a:lnTo>
                    <a:pt x="337" y="45"/>
                  </a:lnTo>
                  <a:lnTo>
                    <a:pt x="339" y="45"/>
                  </a:lnTo>
                  <a:lnTo>
                    <a:pt x="341" y="45"/>
                  </a:lnTo>
                  <a:lnTo>
                    <a:pt x="344" y="45"/>
                  </a:lnTo>
                  <a:lnTo>
                    <a:pt x="344" y="48"/>
                  </a:lnTo>
                  <a:lnTo>
                    <a:pt x="346" y="50"/>
                  </a:lnTo>
                  <a:lnTo>
                    <a:pt x="346" y="48"/>
                  </a:lnTo>
                  <a:lnTo>
                    <a:pt x="349" y="48"/>
                  </a:lnTo>
                  <a:lnTo>
                    <a:pt x="351" y="48"/>
                  </a:lnTo>
                  <a:lnTo>
                    <a:pt x="351" y="50"/>
                  </a:lnTo>
                  <a:lnTo>
                    <a:pt x="353" y="50"/>
                  </a:lnTo>
                  <a:lnTo>
                    <a:pt x="353" y="52"/>
                  </a:lnTo>
                  <a:lnTo>
                    <a:pt x="353" y="55"/>
                  </a:lnTo>
                  <a:lnTo>
                    <a:pt x="356" y="55"/>
                  </a:lnTo>
                  <a:lnTo>
                    <a:pt x="353" y="55"/>
                  </a:lnTo>
                  <a:lnTo>
                    <a:pt x="353" y="57"/>
                  </a:lnTo>
                  <a:lnTo>
                    <a:pt x="356" y="57"/>
                  </a:lnTo>
                  <a:lnTo>
                    <a:pt x="353" y="59"/>
                  </a:lnTo>
                  <a:lnTo>
                    <a:pt x="356" y="62"/>
                  </a:lnTo>
                  <a:lnTo>
                    <a:pt x="358" y="62"/>
                  </a:lnTo>
                  <a:lnTo>
                    <a:pt x="358" y="59"/>
                  </a:lnTo>
                  <a:lnTo>
                    <a:pt x="358" y="62"/>
                  </a:lnTo>
                  <a:lnTo>
                    <a:pt x="358" y="59"/>
                  </a:lnTo>
                  <a:lnTo>
                    <a:pt x="360" y="59"/>
                  </a:lnTo>
                  <a:lnTo>
                    <a:pt x="363" y="59"/>
                  </a:lnTo>
                  <a:lnTo>
                    <a:pt x="363" y="57"/>
                  </a:lnTo>
                  <a:lnTo>
                    <a:pt x="363" y="59"/>
                  </a:lnTo>
                  <a:lnTo>
                    <a:pt x="365" y="59"/>
                  </a:lnTo>
                  <a:lnTo>
                    <a:pt x="368" y="59"/>
                  </a:lnTo>
                  <a:lnTo>
                    <a:pt x="370" y="59"/>
                  </a:lnTo>
                  <a:lnTo>
                    <a:pt x="370" y="62"/>
                  </a:lnTo>
                  <a:lnTo>
                    <a:pt x="372" y="62"/>
                  </a:lnTo>
                  <a:lnTo>
                    <a:pt x="372" y="64"/>
                  </a:lnTo>
                  <a:lnTo>
                    <a:pt x="375" y="64"/>
                  </a:lnTo>
                  <a:lnTo>
                    <a:pt x="377" y="64"/>
                  </a:lnTo>
                  <a:lnTo>
                    <a:pt x="377" y="62"/>
                  </a:lnTo>
                  <a:lnTo>
                    <a:pt x="379" y="62"/>
                  </a:lnTo>
                  <a:lnTo>
                    <a:pt x="382" y="62"/>
                  </a:lnTo>
                  <a:lnTo>
                    <a:pt x="384" y="62"/>
                  </a:lnTo>
                  <a:lnTo>
                    <a:pt x="387" y="62"/>
                  </a:lnTo>
                  <a:lnTo>
                    <a:pt x="387" y="64"/>
                  </a:lnTo>
                  <a:lnTo>
                    <a:pt x="389" y="64"/>
                  </a:lnTo>
                  <a:lnTo>
                    <a:pt x="389" y="67"/>
                  </a:lnTo>
                  <a:lnTo>
                    <a:pt x="391" y="67"/>
                  </a:lnTo>
                  <a:lnTo>
                    <a:pt x="391" y="64"/>
                  </a:lnTo>
                  <a:lnTo>
                    <a:pt x="394" y="64"/>
                  </a:lnTo>
                  <a:lnTo>
                    <a:pt x="394" y="67"/>
                  </a:lnTo>
                  <a:lnTo>
                    <a:pt x="396" y="67"/>
                  </a:lnTo>
                  <a:lnTo>
                    <a:pt x="396" y="64"/>
                  </a:lnTo>
                  <a:lnTo>
                    <a:pt x="394" y="64"/>
                  </a:lnTo>
                  <a:lnTo>
                    <a:pt x="396" y="64"/>
                  </a:lnTo>
                  <a:lnTo>
                    <a:pt x="396" y="62"/>
                  </a:lnTo>
                  <a:lnTo>
                    <a:pt x="398" y="62"/>
                  </a:lnTo>
                  <a:lnTo>
                    <a:pt x="401" y="62"/>
                  </a:lnTo>
                  <a:lnTo>
                    <a:pt x="401" y="59"/>
                  </a:lnTo>
                  <a:lnTo>
                    <a:pt x="403" y="59"/>
                  </a:lnTo>
                  <a:lnTo>
                    <a:pt x="405" y="59"/>
                  </a:lnTo>
                  <a:lnTo>
                    <a:pt x="408" y="59"/>
                  </a:lnTo>
                  <a:lnTo>
                    <a:pt x="408" y="62"/>
                  </a:lnTo>
                  <a:lnTo>
                    <a:pt x="410" y="62"/>
                  </a:lnTo>
                  <a:lnTo>
                    <a:pt x="413" y="62"/>
                  </a:lnTo>
                  <a:lnTo>
                    <a:pt x="410" y="62"/>
                  </a:lnTo>
                  <a:lnTo>
                    <a:pt x="410" y="64"/>
                  </a:lnTo>
                  <a:lnTo>
                    <a:pt x="413" y="64"/>
                  </a:lnTo>
                  <a:lnTo>
                    <a:pt x="413" y="67"/>
                  </a:lnTo>
                  <a:lnTo>
                    <a:pt x="413" y="64"/>
                  </a:lnTo>
                  <a:lnTo>
                    <a:pt x="413" y="67"/>
                  </a:lnTo>
                  <a:lnTo>
                    <a:pt x="415" y="67"/>
                  </a:lnTo>
                  <a:lnTo>
                    <a:pt x="417" y="67"/>
                  </a:lnTo>
                  <a:lnTo>
                    <a:pt x="415" y="67"/>
                  </a:lnTo>
                  <a:lnTo>
                    <a:pt x="415" y="69"/>
                  </a:lnTo>
                  <a:lnTo>
                    <a:pt x="415" y="71"/>
                  </a:lnTo>
                  <a:lnTo>
                    <a:pt x="413" y="69"/>
                  </a:lnTo>
                  <a:lnTo>
                    <a:pt x="413" y="71"/>
                  </a:lnTo>
                  <a:lnTo>
                    <a:pt x="413" y="69"/>
                  </a:lnTo>
                  <a:lnTo>
                    <a:pt x="410" y="69"/>
                  </a:lnTo>
                  <a:lnTo>
                    <a:pt x="410" y="71"/>
                  </a:lnTo>
                  <a:lnTo>
                    <a:pt x="410" y="74"/>
                  </a:lnTo>
                  <a:lnTo>
                    <a:pt x="410" y="76"/>
                  </a:lnTo>
                  <a:lnTo>
                    <a:pt x="413" y="76"/>
                  </a:lnTo>
                  <a:lnTo>
                    <a:pt x="410" y="76"/>
                  </a:lnTo>
                  <a:lnTo>
                    <a:pt x="413" y="76"/>
                  </a:lnTo>
                  <a:lnTo>
                    <a:pt x="413" y="78"/>
                  </a:lnTo>
                  <a:lnTo>
                    <a:pt x="413" y="81"/>
                  </a:lnTo>
                  <a:lnTo>
                    <a:pt x="410" y="81"/>
                  </a:lnTo>
                  <a:lnTo>
                    <a:pt x="413" y="81"/>
                  </a:lnTo>
                  <a:lnTo>
                    <a:pt x="413" y="83"/>
                  </a:lnTo>
                  <a:lnTo>
                    <a:pt x="413" y="86"/>
                  </a:lnTo>
                  <a:lnTo>
                    <a:pt x="413" y="88"/>
                  </a:lnTo>
                  <a:lnTo>
                    <a:pt x="410" y="88"/>
                  </a:lnTo>
                  <a:lnTo>
                    <a:pt x="408" y="88"/>
                  </a:lnTo>
                  <a:lnTo>
                    <a:pt x="408" y="90"/>
                  </a:lnTo>
                  <a:lnTo>
                    <a:pt x="408" y="93"/>
                  </a:lnTo>
                  <a:lnTo>
                    <a:pt x="405" y="93"/>
                  </a:lnTo>
                  <a:lnTo>
                    <a:pt x="403" y="93"/>
                  </a:lnTo>
                  <a:lnTo>
                    <a:pt x="403" y="95"/>
                  </a:lnTo>
                  <a:lnTo>
                    <a:pt x="401" y="95"/>
                  </a:lnTo>
                  <a:lnTo>
                    <a:pt x="398" y="95"/>
                  </a:lnTo>
                  <a:lnTo>
                    <a:pt x="398" y="97"/>
                  </a:lnTo>
                  <a:lnTo>
                    <a:pt x="398" y="95"/>
                  </a:lnTo>
                  <a:lnTo>
                    <a:pt x="398" y="97"/>
                  </a:lnTo>
                  <a:lnTo>
                    <a:pt x="396" y="97"/>
                  </a:lnTo>
                  <a:lnTo>
                    <a:pt x="394" y="100"/>
                  </a:lnTo>
                  <a:lnTo>
                    <a:pt x="391" y="100"/>
                  </a:lnTo>
                  <a:lnTo>
                    <a:pt x="389" y="102"/>
                  </a:lnTo>
                  <a:lnTo>
                    <a:pt x="387" y="102"/>
                  </a:lnTo>
                  <a:lnTo>
                    <a:pt x="387" y="105"/>
                  </a:lnTo>
                  <a:lnTo>
                    <a:pt x="384" y="105"/>
                  </a:lnTo>
                  <a:lnTo>
                    <a:pt x="382" y="105"/>
                  </a:lnTo>
                  <a:lnTo>
                    <a:pt x="382" y="107"/>
                  </a:lnTo>
                  <a:lnTo>
                    <a:pt x="379" y="107"/>
                  </a:lnTo>
                  <a:lnTo>
                    <a:pt x="379" y="109"/>
                  </a:lnTo>
                  <a:lnTo>
                    <a:pt x="379" y="112"/>
                  </a:lnTo>
                  <a:lnTo>
                    <a:pt x="379" y="109"/>
                  </a:lnTo>
                  <a:lnTo>
                    <a:pt x="379" y="112"/>
                  </a:lnTo>
                  <a:lnTo>
                    <a:pt x="377" y="112"/>
                  </a:lnTo>
                  <a:lnTo>
                    <a:pt x="379" y="112"/>
                  </a:lnTo>
                  <a:lnTo>
                    <a:pt x="377" y="112"/>
                  </a:lnTo>
                  <a:lnTo>
                    <a:pt x="377" y="114"/>
                  </a:lnTo>
                  <a:lnTo>
                    <a:pt x="375" y="114"/>
                  </a:lnTo>
                  <a:lnTo>
                    <a:pt x="372" y="114"/>
                  </a:lnTo>
                  <a:lnTo>
                    <a:pt x="370" y="114"/>
                  </a:lnTo>
                  <a:lnTo>
                    <a:pt x="370" y="116"/>
                  </a:lnTo>
                  <a:lnTo>
                    <a:pt x="368" y="116"/>
                  </a:lnTo>
                  <a:lnTo>
                    <a:pt x="365" y="116"/>
                  </a:lnTo>
                  <a:lnTo>
                    <a:pt x="363" y="116"/>
                  </a:lnTo>
                  <a:lnTo>
                    <a:pt x="365" y="116"/>
                  </a:lnTo>
                  <a:lnTo>
                    <a:pt x="363" y="116"/>
                  </a:lnTo>
                  <a:lnTo>
                    <a:pt x="363" y="119"/>
                  </a:lnTo>
                  <a:lnTo>
                    <a:pt x="360" y="119"/>
                  </a:lnTo>
                  <a:lnTo>
                    <a:pt x="358" y="119"/>
                  </a:lnTo>
                  <a:lnTo>
                    <a:pt x="356" y="119"/>
                  </a:lnTo>
                  <a:lnTo>
                    <a:pt x="353" y="119"/>
                  </a:lnTo>
                  <a:lnTo>
                    <a:pt x="353" y="121"/>
                  </a:lnTo>
                  <a:lnTo>
                    <a:pt x="351" y="121"/>
                  </a:lnTo>
                  <a:lnTo>
                    <a:pt x="349" y="121"/>
                  </a:lnTo>
                  <a:lnTo>
                    <a:pt x="349" y="124"/>
                  </a:lnTo>
                  <a:lnTo>
                    <a:pt x="346" y="124"/>
                  </a:lnTo>
                  <a:lnTo>
                    <a:pt x="349" y="124"/>
                  </a:lnTo>
                  <a:lnTo>
                    <a:pt x="349" y="121"/>
                  </a:lnTo>
                  <a:lnTo>
                    <a:pt x="346" y="124"/>
                  </a:lnTo>
                  <a:lnTo>
                    <a:pt x="346" y="121"/>
                  </a:lnTo>
                  <a:lnTo>
                    <a:pt x="346" y="124"/>
                  </a:lnTo>
                  <a:lnTo>
                    <a:pt x="344" y="124"/>
                  </a:lnTo>
                  <a:lnTo>
                    <a:pt x="341" y="124"/>
                  </a:lnTo>
                  <a:lnTo>
                    <a:pt x="339" y="126"/>
                  </a:lnTo>
                  <a:lnTo>
                    <a:pt x="337" y="126"/>
                  </a:lnTo>
                  <a:lnTo>
                    <a:pt x="337" y="128"/>
                  </a:lnTo>
                  <a:lnTo>
                    <a:pt x="334" y="128"/>
                  </a:lnTo>
                  <a:lnTo>
                    <a:pt x="334" y="131"/>
                  </a:lnTo>
                  <a:lnTo>
                    <a:pt x="334" y="133"/>
                  </a:lnTo>
                  <a:lnTo>
                    <a:pt x="332" y="133"/>
                  </a:lnTo>
                  <a:lnTo>
                    <a:pt x="332" y="135"/>
                  </a:lnTo>
                  <a:lnTo>
                    <a:pt x="330" y="135"/>
                  </a:lnTo>
                  <a:lnTo>
                    <a:pt x="330" y="138"/>
                  </a:lnTo>
                  <a:lnTo>
                    <a:pt x="332" y="138"/>
                  </a:lnTo>
                  <a:lnTo>
                    <a:pt x="332" y="135"/>
                  </a:lnTo>
                  <a:lnTo>
                    <a:pt x="332" y="138"/>
                  </a:lnTo>
                  <a:lnTo>
                    <a:pt x="334" y="138"/>
                  </a:lnTo>
                  <a:lnTo>
                    <a:pt x="334" y="140"/>
                  </a:lnTo>
                  <a:lnTo>
                    <a:pt x="334" y="138"/>
                  </a:lnTo>
                  <a:lnTo>
                    <a:pt x="334" y="140"/>
                  </a:lnTo>
                  <a:lnTo>
                    <a:pt x="332" y="140"/>
                  </a:lnTo>
                  <a:lnTo>
                    <a:pt x="330" y="140"/>
                  </a:lnTo>
                  <a:lnTo>
                    <a:pt x="327" y="140"/>
                  </a:lnTo>
                  <a:lnTo>
                    <a:pt x="325" y="140"/>
                  </a:lnTo>
                  <a:lnTo>
                    <a:pt x="325" y="138"/>
                  </a:lnTo>
                  <a:lnTo>
                    <a:pt x="322" y="135"/>
                  </a:lnTo>
                  <a:lnTo>
                    <a:pt x="325" y="135"/>
                  </a:lnTo>
                  <a:lnTo>
                    <a:pt x="325" y="133"/>
                  </a:lnTo>
                  <a:lnTo>
                    <a:pt x="322" y="133"/>
                  </a:lnTo>
                  <a:lnTo>
                    <a:pt x="322" y="131"/>
                  </a:lnTo>
                  <a:lnTo>
                    <a:pt x="325" y="131"/>
                  </a:lnTo>
                  <a:lnTo>
                    <a:pt x="322" y="131"/>
                  </a:lnTo>
                  <a:lnTo>
                    <a:pt x="322" y="128"/>
                  </a:lnTo>
                  <a:lnTo>
                    <a:pt x="322" y="131"/>
                  </a:lnTo>
                  <a:lnTo>
                    <a:pt x="322" y="133"/>
                  </a:lnTo>
                  <a:lnTo>
                    <a:pt x="325" y="133"/>
                  </a:lnTo>
                  <a:lnTo>
                    <a:pt x="325" y="135"/>
                  </a:lnTo>
                  <a:lnTo>
                    <a:pt x="322" y="135"/>
                  </a:lnTo>
                  <a:lnTo>
                    <a:pt x="322" y="138"/>
                  </a:lnTo>
                  <a:lnTo>
                    <a:pt x="325" y="138"/>
                  </a:lnTo>
                  <a:lnTo>
                    <a:pt x="325" y="140"/>
                  </a:lnTo>
                  <a:lnTo>
                    <a:pt x="327" y="140"/>
                  </a:lnTo>
                  <a:lnTo>
                    <a:pt x="330" y="140"/>
                  </a:lnTo>
                  <a:lnTo>
                    <a:pt x="332" y="140"/>
                  </a:lnTo>
                  <a:lnTo>
                    <a:pt x="334" y="140"/>
                  </a:lnTo>
                  <a:lnTo>
                    <a:pt x="337" y="140"/>
                  </a:lnTo>
                  <a:lnTo>
                    <a:pt x="334" y="140"/>
                  </a:lnTo>
                  <a:lnTo>
                    <a:pt x="334" y="143"/>
                  </a:lnTo>
                  <a:lnTo>
                    <a:pt x="332" y="143"/>
                  </a:lnTo>
                  <a:lnTo>
                    <a:pt x="332" y="145"/>
                  </a:lnTo>
                  <a:lnTo>
                    <a:pt x="330" y="145"/>
                  </a:lnTo>
                  <a:lnTo>
                    <a:pt x="330" y="147"/>
                  </a:lnTo>
                  <a:lnTo>
                    <a:pt x="327" y="147"/>
                  </a:lnTo>
                  <a:lnTo>
                    <a:pt x="327" y="145"/>
                  </a:lnTo>
                  <a:lnTo>
                    <a:pt x="327" y="147"/>
                  </a:lnTo>
                  <a:lnTo>
                    <a:pt x="327" y="145"/>
                  </a:lnTo>
                  <a:lnTo>
                    <a:pt x="330" y="145"/>
                  </a:lnTo>
                  <a:lnTo>
                    <a:pt x="327" y="145"/>
                  </a:lnTo>
                  <a:lnTo>
                    <a:pt x="330" y="145"/>
                  </a:lnTo>
                  <a:lnTo>
                    <a:pt x="330" y="147"/>
                  </a:lnTo>
                  <a:lnTo>
                    <a:pt x="330" y="145"/>
                  </a:lnTo>
                  <a:lnTo>
                    <a:pt x="330" y="147"/>
                  </a:lnTo>
                  <a:lnTo>
                    <a:pt x="330" y="145"/>
                  </a:lnTo>
                  <a:lnTo>
                    <a:pt x="332" y="145"/>
                  </a:lnTo>
                  <a:lnTo>
                    <a:pt x="332" y="143"/>
                  </a:lnTo>
                  <a:lnTo>
                    <a:pt x="330" y="143"/>
                  </a:lnTo>
                  <a:lnTo>
                    <a:pt x="330" y="145"/>
                  </a:lnTo>
                  <a:lnTo>
                    <a:pt x="327" y="145"/>
                  </a:lnTo>
                  <a:lnTo>
                    <a:pt x="325" y="145"/>
                  </a:lnTo>
                  <a:lnTo>
                    <a:pt x="325" y="147"/>
                  </a:lnTo>
                  <a:lnTo>
                    <a:pt x="325" y="150"/>
                  </a:lnTo>
                  <a:lnTo>
                    <a:pt x="322" y="150"/>
                  </a:lnTo>
                  <a:lnTo>
                    <a:pt x="322" y="152"/>
                  </a:lnTo>
                  <a:lnTo>
                    <a:pt x="320" y="154"/>
                  </a:lnTo>
                  <a:lnTo>
                    <a:pt x="320" y="157"/>
                  </a:lnTo>
                  <a:lnTo>
                    <a:pt x="318" y="157"/>
                  </a:lnTo>
                  <a:lnTo>
                    <a:pt x="318" y="159"/>
                  </a:lnTo>
                  <a:lnTo>
                    <a:pt x="318" y="162"/>
                  </a:lnTo>
                  <a:lnTo>
                    <a:pt x="315" y="162"/>
                  </a:lnTo>
                  <a:lnTo>
                    <a:pt x="315" y="164"/>
                  </a:lnTo>
                  <a:lnTo>
                    <a:pt x="313" y="164"/>
                  </a:lnTo>
                  <a:lnTo>
                    <a:pt x="313" y="166"/>
                  </a:lnTo>
                  <a:lnTo>
                    <a:pt x="311" y="169"/>
                  </a:lnTo>
                  <a:lnTo>
                    <a:pt x="308" y="171"/>
                  </a:lnTo>
                  <a:lnTo>
                    <a:pt x="308" y="174"/>
                  </a:lnTo>
                  <a:lnTo>
                    <a:pt x="306" y="174"/>
                  </a:lnTo>
                  <a:lnTo>
                    <a:pt x="306" y="176"/>
                  </a:lnTo>
                  <a:lnTo>
                    <a:pt x="306" y="178"/>
                  </a:lnTo>
                  <a:lnTo>
                    <a:pt x="303" y="178"/>
                  </a:lnTo>
                  <a:lnTo>
                    <a:pt x="303" y="181"/>
                  </a:lnTo>
                  <a:lnTo>
                    <a:pt x="301" y="183"/>
                  </a:lnTo>
                  <a:lnTo>
                    <a:pt x="301" y="185"/>
                  </a:lnTo>
                  <a:lnTo>
                    <a:pt x="301" y="188"/>
                  </a:lnTo>
                  <a:lnTo>
                    <a:pt x="299" y="188"/>
                  </a:lnTo>
                  <a:lnTo>
                    <a:pt x="301" y="188"/>
                  </a:lnTo>
                  <a:lnTo>
                    <a:pt x="299" y="188"/>
                  </a:lnTo>
                  <a:lnTo>
                    <a:pt x="301" y="188"/>
                  </a:lnTo>
                  <a:lnTo>
                    <a:pt x="299" y="188"/>
                  </a:lnTo>
                  <a:lnTo>
                    <a:pt x="299" y="190"/>
                  </a:lnTo>
                  <a:lnTo>
                    <a:pt x="299" y="193"/>
                  </a:lnTo>
                  <a:lnTo>
                    <a:pt x="296" y="193"/>
                  </a:lnTo>
                  <a:lnTo>
                    <a:pt x="296" y="195"/>
                  </a:lnTo>
                  <a:lnTo>
                    <a:pt x="296" y="197"/>
                  </a:lnTo>
                  <a:lnTo>
                    <a:pt x="294" y="197"/>
                  </a:lnTo>
                  <a:lnTo>
                    <a:pt x="296" y="197"/>
                  </a:lnTo>
                  <a:lnTo>
                    <a:pt x="296" y="200"/>
                  </a:lnTo>
                  <a:lnTo>
                    <a:pt x="296" y="202"/>
                  </a:lnTo>
                  <a:lnTo>
                    <a:pt x="296" y="204"/>
                  </a:lnTo>
                  <a:lnTo>
                    <a:pt x="299" y="204"/>
                  </a:lnTo>
                  <a:lnTo>
                    <a:pt x="299" y="207"/>
                  </a:lnTo>
                  <a:lnTo>
                    <a:pt x="299" y="209"/>
                  </a:lnTo>
                  <a:lnTo>
                    <a:pt x="299" y="212"/>
                  </a:lnTo>
                  <a:lnTo>
                    <a:pt x="299" y="214"/>
                  </a:lnTo>
                  <a:lnTo>
                    <a:pt x="301" y="214"/>
                  </a:lnTo>
                  <a:lnTo>
                    <a:pt x="301" y="216"/>
                  </a:lnTo>
                  <a:lnTo>
                    <a:pt x="301" y="219"/>
                  </a:lnTo>
                  <a:lnTo>
                    <a:pt x="301" y="216"/>
                  </a:lnTo>
                  <a:lnTo>
                    <a:pt x="301" y="219"/>
                  </a:lnTo>
                  <a:lnTo>
                    <a:pt x="303" y="219"/>
                  </a:lnTo>
                  <a:lnTo>
                    <a:pt x="303" y="221"/>
                  </a:lnTo>
                  <a:lnTo>
                    <a:pt x="306" y="221"/>
                  </a:lnTo>
                  <a:lnTo>
                    <a:pt x="306" y="223"/>
                  </a:lnTo>
                  <a:lnTo>
                    <a:pt x="308" y="223"/>
                  </a:lnTo>
                  <a:lnTo>
                    <a:pt x="311" y="223"/>
                  </a:lnTo>
                  <a:lnTo>
                    <a:pt x="311" y="226"/>
                  </a:lnTo>
                  <a:lnTo>
                    <a:pt x="313" y="226"/>
                  </a:lnTo>
                  <a:lnTo>
                    <a:pt x="313" y="228"/>
                  </a:lnTo>
                  <a:lnTo>
                    <a:pt x="315" y="228"/>
                  </a:lnTo>
                  <a:lnTo>
                    <a:pt x="313" y="228"/>
                  </a:lnTo>
                  <a:lnTo>
                    <a:pt x="313" y="231"/>
                  </a:lnTo>
                  <a:lnTo>
                    <a:pt x="313" y="228"/>
                  </a:lnTo>
                  <a:lnTo>
                    <a:pt x="313" y="231"/>
                  </a:lnTo>
                  <a:lnTo>
                    <a:pt x="311" y="231"/>
                  </a:lnTo>
                  <a:lnTo>
                    <a:pt x="311" y="233"/>
                  </a:lnTo>
                  <a:lnTo>
                    <a:pt x="308" y="233"/>
                  </a:lnTo>
                  <a:lnTo>
                    <a:pt x="311" y="233"/>
                  </a:lnTo>
                  <a:lnTo>
                    <a:pt x="308" y="233"/>
                  </a:lnTo>
                  <a:lnTo>
                    <a:pt x="306" y="233"/>
                  </a:lnTo>
                  <a:lnTo>
                    <a:pt x="306" y="235"/>
                  </a:lnTo>
                  <a:lnTo>
                    <a:pt x="306" y="238"/>
                  </a:lnTo>
                  <a:lnTo>
                    <a:pt x="303" y="238"/>
                  </a:lnTo>
                  <a:lnTo>
                    <a:pt x="301" y="238"/>
                  </a:lnTo>
                  <a:lnTo>
                    <a:pt x="301" y="240"/>
                  </a:lnTo>
                  <a:lnTo>
                    <a:pt x="299" y="240"/>
                  </a:lnTo>
                  <a:lnTo>
                    <a:pt x="296" y="240"/>
                  </a:lnTo>
                  <a:lnTo>
                    <a:pt x="296" y="242"/>
                  </a:lnTo>
                  <a:lnTo>
                    <a:pt x="294" y="242"/>
                  </a:lnTo>
                  <a:lnTo>
                    <a:pt x="294" y="245"/>
                  </a:lnTo>
                  <a:lnTo>
                    <a:pt x="294" y="247"/>
                  </a:lnTo>
                  <a:lnTo>
                    <a:pt x="292" y="247"/>
                  </a:lnTo>
                  <a:lnTo>
                    <a:pt x="292" y="245"/>
                  </a:lnTo>
                  <a:lnTo>
                    <a:pt x="292" y="247"/>
                  </a:lnTo>
                  <a:lnTo>
                    <a:pt x="289" y="247"/>
                  </a:lnTo>
                  <a:lnTo>
                    <a:pt x="289" y="250"/>
                  </a:lnTo>
                  <a:lnTo>
                    <a:pt x="289" y="252"/>
                  </a:lnTo>
                  <a:lnTo>
                    <a:pt x="289" y="254"/>
                  </a:lnTo>
                  <a:lnTo>
                    <a:pt x="287" y="254"/>
                  </a:lnTo>
                  <a:lnTo>
                    <a:pt x="287" y="257"/>
                  </a:lnTo>
                  <a:lnTo>
                    <a:pt x="284" y="257"/>
                  </a:lnTo>
                  <a:lnTo>
                    <a:pt x="284" y="259"/>
                  </a:lnTo>
                  <a:lnTo>
                    <a:pt x="284" y="261"/>
                  </a:lnTo>
                  <a:lnTo>
                    <a:pt x="284" y="264"/>
                  </a:lnTo>
                  <a:lnTo>
                    <a:pt x="282" y="264"/>
                  </a:lnTo>
                  <a:lnTo>
                    <a:pt x="282" y="266"/>
                  </a:lnTo>
                  <a:lnTo>
                    <a:pt x="282" y="269"/>
                  </a:lnTo>
                  <a:lnTo>
                    <a:pt x="282" y="271"/>
                  </a:lnTo>
                  <a:lnTo>
                    <a:pt x="282" y="269"/>
                  </a:lnTo>
                  <a:lnTo>
                    <a:pt x="282" y="271"/>
                  </a:lnTo>
                  <a:lnTo>
                    <a:pt x="282" y="269"/>
                  </a:lnTo>
                  <a:lnTo>
                    <a:pt x="282" y="271"/>
                  </a:lnTo>
                  <a:lnTo>
                    <a:pt x="280" y="271"/>
                  </a:lnTo>
                  <a:lnTo>
                    <a:pt x="280" y="273"/>
                  </a:lnTo>
                  <a:lnTo>
                    <a:pt x="277" y="273"/>
                  </a:lnTo>
                  <a:lnTo>
                    <a:pt x="277" y="276"/>
                  </a:lnTo>
                  <a:lnTo>
                    <a:pt x="280" y="276"/>
                  </a:lnTo>
                  <a:lnTo>
                    <a:pt x="280" y="278"/>
                  </a:lnTo>
                  <a:lnTo>
                    <a:pt x="282" y="278"/>
                  </a:lnTo>
                  <a:lnTo>
                    <a:pt x="282" y="276"/>
                  </a:lnTo>
                  <a:lnTo>
                    <a:pt x="282" y="273"/>
                  </a:lnTo>
                  <a:lnTo>
                    <a:pt x="282" y="271"/>
                  </a:lnTo>
                  <a:lnTo>
                    <a:pt x="282" y="273"/>
                  </a:lnTo>
                  <a:lnTo>
                    <a:pt x="282" y="276"/>
                  </a:lnTo>
                  <a:lnTo>
                    <a:pt x="282" y="278"/>
                  </a:lnTo>
                  <a:lnTo>
                    <a:pt x="284" y="278"/>
                  </a:lnTo>
                  <a:lnTo>
                    <a:pt x="282" y="278"/>
                  </a:lnTo>
                  <a:lnTo>
                    <a:pt x="282" y="280"/>
                  </a:lnTo>
                  <a:lnTo>
                    <a:pt x="280" y="280"/>
                  </a:lnTo>
                  <a:lnTo>
                    <a:pt x="277" y="280"/>
                  </a:lnTo>
                  <a:lnTo>
                    <a:pt x="277" y="283"/>
                  </a:lnTo>
                  <a:lnTo>
                    <a:pt x="275" y="283"/>
                  </a:lnTo>
                  <a:lnTo>
                    <a:pt x="275" y="280"/>
                  </a:lnTo>
                  <a:lnTo>
                    <a:pt x="275" y="283"/>
                  </a:lnTo>
                  <a:lnTo>
                    <a:pt x="275" y="280"/>
                  </a:lnTo>
                  <a:lnTo>
                    <a:pt x="273" y="280"/>
                  </a:lnTo>
                  <a:lnTo>
                    <a:pt x="270" y="280"/>
                  </a:lnTo>
                  <a:lnTo>
                    <a:pt x="270" y="283"/>
                  </a:lnTo>
                  <a:lnTo>
                    <a:pt x="268" y="283"/>
                  </a:lnTo>
                  <a:lnTo>
                    <a:pt x="268" y="280"/>
                  </a:lnTo>
                  <a:lnTo>
                    <a:pt x="265" y="280"/>
                  </a:lnTo>
                  <a:lnTo>
                    <a:pt x="265" y="283"/>
                  </a:lnTo>
                  <a:lnTo>
                    <a:pt x="265" y="280"/>
                  </a:lnTo>
                  <a:lnTo>
                    <a:pt x="265" y="283"/>
                  </a:lnTo>
                  <a:lnTo>
                    <a:pt x="265" y="280"/>
                  </a:lnTo>
                  <a:lnTo>
                    <a:pt x="265" y="283"/>
                  </a:lnTo>
                  <a:lnTo>
                    <a:pt x="265" y="280"/>
                  </a:lnTo>
                  <a:lnTo>
                    <a:pt x="263" y="280"/>
                  </a:lnTo>
                  <a:lnTo>
                    <a:pt x="263" y="283"/>
                  </a:lnTo>
                  <a:lnTo>
                    <a:pt x="261" y="283"/>
                  </a:lnTo>
                  <a:lnTo>
                    <a:pt x="261" y="285"/>
                  </a:lnTo>
                  <a:lnTo>
                    <a:pt x="258" y="285"/>
                  </a:lnTo>
                  <a:lnTo>
                    <a:pt x="258" y="288"/>
                  </a:lnTo>
                  <a:lnTo>
                    <a:pt x="256" y="288"/>
                  </a:lnTo>
                  <a:lnTo>
                    <a:pt x="254" y="288"/>
                  </a:lnTo>
                  <a:lnTo>
                    <a:pt x="256" y="288"/>
                  </a:lnTo>
                  <a:lnTo>
                    <a:pt x="254" y="288"/>
                  </a:lnTo>
                  <a:lnTo>
                    <a:pt x="254" y="290"/>
                  </a:lnTo>
                  <a:lnTo>
                    <a:pt x="251" y="290"/>
                  </a:lnTo>
                  <a:lnTo>
                    <a:pt x="251" y="292"/>
                  </a:lnTo>
                  <a:lnTo>
                    <a:pt x="249" y="292"/>
                  </a:lnTo>
                  <a:lnTo>
                    <a:pt x="249" y="295"/>
                  </a:lnTo>
                  <a:lnTo>
                    <a:pt x="249" y="297"/>
                  </a:lnTo>
                  <a:lnTo>
                    <a:pt x="247" y="297"/>
                  </a:lnTo>
                  <a:lnTo>
                    <a:pt x="247" y="299"/>
                  </a:lnTo>
                  <a:lnTo>
                    <a:pt x="247" y="302"/>
                  </a:lnTo>
                  <a:lnTo>
                    <a:pt x="247" y="304"/>
                  </a:lnTo>
                  <a:lnTo>
                    <a:pt x="244" y="304"/>
                  </a:lnTo>
                  <a:lnTo>
                    <a:pt x="244" y="307"/>
                  </a:lnTo>
                  <a:lnTo>
                    <a:pt x="244" y="309"/>
                  </a:lnTo>
                  <a:lnTo>
                    <a:pt x="242" y="309"/>
                  </a:lnTo>
                  <a:lnTo>
                    <a:pt x="242" y="311"/>
                  </a:lnTo>
                  <a:lnTo>
                    <a:pt x="242" y="314"/>
                  </a:lnTo>
                  <a:lnTo>
                    <a:pt x="239" y="314"/>
                  </a:lnTo>
                  <a:lnTo>
                    <a:pt x="239" y="316"/>
                  </a:lnTo>
                  <a:lnTo>
                    <a:pt x="237" y="316"/>
                  </a:lnTo>
                  <a:lnTo>
                    <a:pt x="239" y="316"/>
                  </a:lnTo>
                  <a:lnTo>
                    <a:pt x="237" y="316"/>
                  </a:lnTo>
                  <a:lnTo>
                    <a:pt x="237" y="318"/>
                  </a:lnTo>
                  <a:lnTo>
                    <a:pt x="235" y="318"/>
                  </a:lnTo>
                  <a:lnTo>
                    <a:pt x="232" y="316"/>
                  </a:lnTo>
                  <a:lnTo>
                    <a:pt x="232" y="314"/>
                  </a:lnTo>
                  <a:lnTo>
                    <a:pt x="230" y="314"/>
                  </a:lnTo>
                  <a:lnTo>
                    <a:pt x="228" y="314"/>
                  </a:lnTo>
                  <a:lnTo>
                    <a:pt x="225" y="314"/>
                  </a:lnTo>
                  <a:lnTo>
                    <a:pt x="223" y="314"/>
                  </a:lnTo>
                  <a:lnTo>
                    <a:pt x="223" y="316"/>
                  </a:lnTo>
                  <a:lnTo>
                    <a:pt x="220" y="316"/>
                  </a:lnTo>
                  <a:lnTo>
                    <a:pt x="220" y="318"/>
                  </a:lnTo>
                  <a:lnTo>
                    <a:pt x="218" y="321"/>
                  </a:lnTo>
                  <a:lnTo>
                    <a:pt x="216" y="321"/>
                  </a:lnTo>
                  <a:lnTo>
                    <a:pt x="213" y="318"/>
                  </a:lnTo>
                  <a:lnTo>
                    <a:pt x="213" y="321"/>
                  </a:lnTo>
                  <a:lnTo>
                    <a:pt x="211" y="318"/>
                  </a:lnTo>
                  <a:lnTo>
                    <a:pt x="209" y="318"/>
                  </a:lnTo>
                  <a:lnTo>
                    <a:pt x="206" y="318"/>
                  </a:lnTo>
                  <a:lnTo>
                    <a:pt x="204" y="318"/>
                  </a:lnTo>
                  <a:lnTo>
                    <a:pt x="201" y="318"/>
                  </a:lnTo>
                  <a:lnTo>
                    <a:pt x="199" y="318"/>
                  </a:lnTo>
                  <a:lnTo>
                    <a:pt x="197" y="318"/>
                  </a:lnTo>
                  <a:lnTo>
                    <a:pt x="194" y="318"/>
                  </a:lnTo>
                  <a:lnTo>
                    <a:pt x="194" y="321"/>
                  </a:lnTo>
                  <a:lnTo>
                    <a:pt x="194" y="318"/>
                  </a:lnTo>
                  <a:lnTo>
                    <a:pt x="194" y="321"/>
                  </a:lnTo>
                  <a:lnTo>
                    <a:pt x="192" y="321"/>
                  </a:lnTo>
                  <a:lnTo>
                    <a:pt x="192" y="318"/>
                  </a:lnTo>
                  <a:lnTo>
                    <a:pt x="190" y="318"/>
                  </a:lnTo>
                  <a:lnTo>
                    <a:pt x="187" y="318"/>
                  </a:lnTo>
                  <a:lnTo>
                    <a:pt x="185" y="318"/>
                  </a:lnTo>
                  <a:lnTo>
                    <a:pt x="182" y="318"/>
                  </a:lnTo>
                  <a:lnTo>
                    <a:pt x="180" y="318"/>
                  </a:lnTo>
                  <a:lnTo>
                    <a:pt x="178" y="318"/>
                  </a:lnTo>
                  <a:lnTo>
                    <a:pt x="175" y="318"/>
                  </a:lnTo>
                  <a:lnTo>
                    <a:pt x="173" y="318"/>
                  </a:lnTo>
                  <a:lnTo>
                    <a:pt x="171" y="318"/>
                  </a:lnTo>
                  <a:lnTo>
                    <a:pt x="168" y="318"/>
                  </a:lnTo>
                  <a:lnTo>
                    <a:pt x="166" y="318"/>
                  </a:lnTo>
                  <a:lnTo>
                    <a:pt x="163" y="318"/>
                  </a:lnTo>
                  <a:lnTo>
                    <a:pt x="161" y="318"/>
                  </a:lnTo>
                  <a:lnTo>
                    <a:pt x="161" y="321"/>
                  </a:lnTo>
                  <a:lnTo>
                    <a:pt x="161" y="318"/>
                  </a:lnTo>
                  <a:lnTo>
                    <a:pt x="161" y="321"/>
                  </a:lnTo>
                  <a:lnTo>
                    <a:pt x="161" y="318"/>
                  </a:lnTo>
                  <a:lnTo>
                    <a:pt x="161" y="321"/>
                  </a:lnTo>
                  <a:lnTo>
                    <a:pt x="159" y="321"/>
                  </a:lnTo>
                  <a:lnTo>
                    <a:pt x="159" y="323"/>
                  </a:lnTo>
                  <a:lnTo>
                    <a:pt x="159" y="326"/>
                  </a:lnTo>
                  <a:lnTo>
                    <a:pt x="159" y="323"/>
                  </a:lnTo>
                  <a:lnTo>
                    <a:pt x="159" y="326"/>
                  </a:lnTo>
                  <a:lnTo>
                    <a:pt x="156" y="326"/>
                  </a:lnTo>
                  <a:lnTo>
                    <a:pt x="154" y="326"/>
                  </a:lnTo>
                  <a:lnTo>
                    <a:pt x="154" y="328"/>
                  </a:lnTo>
                  <a:lnTo>
                    <a:pt x="152" y="328"/>
                  </a:lnTo>
                  <a:lnTo>
                    <a:pt x="152" y="330"/>
                  </a:lnTo>
                  <a:lnTo>
                    <a:pt x="149" y="330"/>
                  </a:lnTo>
                  <a:lnTo>
                    <a:pt x="147" y="328"/>
                  </a:lnTo>
                  <a:lnTo>
                    <a:pt x="144" y="328"/>
                  </a:lnTo>
                  <a:lnTo>
                    <a:pt x="144" y="330"/>
                  </a:lnTo>
                  <a:lnTo>
                    <a:pt x="142" y="330"/>
                  </a:lnTo>
                  <a:lnTo>
                    <a:pt x="140" y="330"/>
                  </a:lnTo>
                  <a:lnTo>
                    <a:pt x="137" y="330"/>
                  </a:lnTo>
                  <a:lnTo>
                    <a:pt x="137" y="333"/>
                  </a:lnTo>
                  <a:lnTo>
                    <a:pt x="135" y="333"/>
                  </a:lnTo>
                  <a:lnTo>
                    <a:pt x="135" y="335"/>
                  </a:lnTo>
                  <a:lnTo>
                    <a:pt x="133" y="337"/>
                  </a:lnTo>
                  <a:lnTo>
                    <a:pt x="133" y="340"/>
                  </a:lnTo>
                  <a:lnTo>
                    <a:pt x="130" y="340"/>
                  </a:lnTo>
                  <a:lnTo>
                    <a:pt x="130" y="342"/>
                  </a:lnTo>
                  <a:lnTo>
                    <a:pt x="130" y="345"/>
                  </a:lnTo>
                  <a:lnTo>
                    <a:pt x="130" y="342"/>
                  </a:lnTo>
                  <a:lnTo>
                    <a:pt x="128" y="342"/>
                  </a:lnTo>
                  <a:lnTo>
                    <a:pt x="128" y="345"/>
                  </a:lnTo>
                  <a:lnTo>
                    <a:pt x="128" y="347"/>
                  </a:lnTo>
                  <a:lnTo>
                    <a:pt x="128" y="349"/>
                  </a:lnTo>
                  <a:lnTo>
                    <a:pt x="126" y="349"/>
                  </a:lnTo>
                  <a:lnTo>
                    <a:pt x="123" y="349"/>
                  </a:lnTo>
                  <a:lnTo>
                    <a:pt x="121" y="349"/>
                  </a:lnTo>
                  <a:lnTo>
                    <a:pt x="121" y="352"/>
                  </a:lnTo>
                  <a:lnTo>
                    <a:pt x="121" y="349"/>
                  </a:lnTo>
                  <a:lnTo>
                    <a:pt x="121" y="347"/>
                  </a:lnTo>
                  <a:lnTo>
                    <a:pt x="118" y="347"/>
                  </a:lnTo>
                  <a:lnTo>
                    <a:pt x="116" y="347"/>
                  </a:lnTo>
                  <a:lnTo>
                    <a:pt x="114" y="347"/>
                  </a:lnTo>
                  <a:lnTo>
                    <a:pt x="114" y="345"/>
                  </a:lnTo>
                  <a:lnTo>
                    <a:pt x="114" y="342"/>
                  </a:lnTo>
                  <a:lnTo>
                    <a:pt x="111" y="342"/>
                  </a:lnTo>
                  <a:lnTo>
                    <a:pt x="109" y="342"/>
                  </a:lnTo>
                  <a:lnTo>
                    <a:pt x="107" y="342"/>
                  </a:lnTo>
                  <a:lnTo>
                    <a:pt x="107" y="340"/>
                  </a:lnTo>
                  <a:lnTo>
                    <a:pt x="104" y="337"/>
                  </a:lnTo>
                  <a:lnTo>
                    <a:pt x="104" y="335"/>
                  </a:lnTo>
                  <a:lnTo>
                    <a:pt x="102" y="335"/>
                  </a:lnTo>
                  <a:lnTo>
                    <a:pt x="102" y="333"/>
                  </a:lnTo>
                  <a:lnTo>
                    <a:pt x="102" y="330"/>
                  </a:lnTo>
                  <a:lnTo>
                    <a:pt x="102" y="333"/>
                  </a:lnTo>
                  <a:lnTo>
                    <a:pt x="102" y="330"/>
                  </a:lnTo>
                  <a:lnTo>
                    <a:pt x="99" y="330"/>
                  </a:lnTo>
                  <a:lnTo>
                    <a:pt x="99" y="328"/>
                  </a:lnTo>
                  <a:lnTo>
                    <a:pt x="99" y="326"/>
                  </a:lnTo>
                  <a:lnTo>
                    <a:pt x="99" y="328"/>
                  </a:lnTo>
                  <a:lnTo>
                    <a:pt x="99" y="330"/>
                  </a:lnTo>
                  <a:lnTo>
                    <a:pt x="102" y="330"/>
                  </a:lnTo>
                  <a:lnTo>
                    <a:pt x="102" y="328"/>
                  </a:lnTo>
                  <a:lnTo>
                    <a:pt x="104" y="328"/>
                  </a:lnTo>
                  <a:lnTo>
                    <a:pt x="102" y="328"/>
                  </a:lnTo>
                  <a:lnTo>
                    <a:pt x="104" y="328"/>
                  </a:lnTo>
                  <a:lnTo>
                    <a:pt x="102" y="328"/>
                  </a:lnTo>
                  <a:lnTo>
                    <a:pt x="99" y="328"/>
                  </a:lnTo>
                  <a:lnTo>
                    <a:pt x="102" y="328"/>
                  </a:lnTo>
                  <a:lnTo>
                    <a:pt x="102" y="326"/>
                  </a:lnTo>
                  <a:lnTo>
                    <a:pt x="102" y="328"/>
                  </a:lnTo>
                  <a:lnTo>
                    <a:pt x="102" y="326"/>
                  </a:lnTo>
                  <a:lnTo>
                    <a:pt x="99" y="326"/>
                  </a:lnTo>
                  <a:lnTo>
                    <a:pt x="99" y="323"/>
                  </a:lnTo>
                  <a:lnTo>
                    <a:pt x="97" y="323"/>
                  </a:lnTo>
                  <a:lnTo>
                    <a:pt x="95" y="321"/>
                  </a:lnTo>
                  <a:lnTo>
                    <a:pt x="95" y="318"/>
                  </a:lnTo>
                  <a:lnTo>
                    <a:pt x="95" y="316"/>
                  </a:lnTo>
                  <a:lnTo>
                    <a:pt x="97" y="316"/>
                  </a:lnTo>
                  <a:lnTo>
                    <a:pt x="97" y="314"/>
                  </a:lnTo>
                  <a:lnTo>
                    <a:pt x="97" y="311"/>
                  </a:lnTo>
                  <a:lnTo>
                    <a:pt x="99" y="311"/>
                  </a:lnTo>
                  <a:lnTo>
                    <a:pt x="102" y="311"/>
                  </a:lnTo>
                  <a:lnTo>
                    <a:pt x="99" y="311"/>
                  </a:lnTo>
                  <a:lnTo>
                    <a:pt x="97" y="311"/>
                  </a:lnTo>
                  <a:lnTo>
                    <a:pt x="97" y="314"/>
                  </a:lnTo>
                  <a:lnTo>
                    <a:pt x="97" y="316"/>
                  </a:lnTo>
                  <a:lnTo>
                    <a:pt x="95" y="314"/>
                  </a:lnTo>
                  <a:lnTo>
                    <a:pt x="95" y="311"/>
                  </a:lnTo>
                  <a:lnTo>
                    <a:pt x="95" y="309"/>
                  </a:lnTo>
                  <a:lnTo>
                    <a:pt x="92" y="309"/>
                  </a:lnTo>
                  <a:lnTo>
                    <a:pt x="92" y="307"/>
                  </a:lnTo>
                  <a:lnTo>
                    <a:pt x="90" y="307"/>
                  </a:lnTo>
                  <a:lnTo>
                    <a:pt x="88" y="304"/>
                  </a:lnTo>
                  <a:lnTo>
                    <a:pt x="85" y="302"/>
                  </a:lnTo>
                  <a:lnTo>
                    <a:pt x="83" y="302"/>
                  </a:lnTo>
                  <a:lnTo>
                    <a:pt x="83" y="299"/>
                  </a:lnTo>
                  <a:lnTo>
                    <a:pt x="80" y="302"/>
                  </a:lnTo>
                  <a:lnTo>
                    <a:pt x="80" y="299"/>
                  </a:lnTo>
                  <a:lnTo>
                    <a:pt x="80" y="302"/>
                  </a:lnTo>
                  <a:lnTo>
                    <a:pt x="80" y="299"/>
                  </a:lnTo>
                  <a:lnTo>
                    <a:pt x="78" y="299"/>
                  </a:lnTo>
                  <a:lnTo>
                    <a:pt x="78" y="297"/>
                  </a:lnTo>
                  <a:lnTo>
                    <a:pt x="78" y="295"/>
                  </a:lnTo>
                  <a:lnTo>
                    <a:pt x="80" y="295"/>
                  </a:lnTo>
                  <a:lnTo>
                    <a:pt x="80" y="292"/>
                  </a:lnTo>
                  <a:lnTo>
                    <a:pt x="80" y="295"/>
                  </a:lnTo>
                  <a:lnTo>
                    <a:pt x="78" y="295"/>
                  </a:lnTo>
                  <a:lnTo>
                    <a:pt x="78" y="297"/>
                  </a:lnTo>
                  <a:lnTo>
                    <a:pt x="78" y="295"/>
                  </a:lnTo>
                  <a:lnTo>
                    <a:pt x="78" y="292"/>
                  </a:lnTo>
                  <a:lnTo>
                    <a:pt x="78" y="295"/>
                  </a:lnTo>
                  <a:lnTo>
                    <a:pt x="78" y="292"/>
                  </a:lnTo>
                  <a:lnTo>
                    <a:pt x="78" y="295"/>
                  </a:lnTo>
                  <a:lnTo>
                    <a:pt x="76" y="292"/>
                  </a:lnTo>
                  <a:lnTo>
                    <a:pt x="76" y="295"/>
                  </a:lnTo>
                  <a:lnTo>
                    <a:pt x="78" y="295"/>
                  </a:lnTo>
                  <a:lnTo>
                    <a:pt x="76" y="295"/>
                  </a:lnTo>
                  <a:lnTo>
                    <a:pt x="78" y="295"/>
                  </a:lnTo>
                  <a:lnTo>
                    <a:pt x="78" y="297"/>
                  </a:lnTo>
                  <a:lnTo>
                    <a:pt x="76" y="297"/>
                  </a:lnTo>
                  <a:lnTo>
                    <a:pt x="78" y="295"/>
                  </a:lnTo>
                  <a:lnTo>
                    <a:pt x="76" y="295"/>
                  </a:lnTo>
                  <a:lnTo>
                    <a:pt x="76" y="297"/>
                  </a:lnTo>
                  <a:lnTo>
                    <a:pt x="78" y="297"/>
                  </a:lnTo>
                  <a:lnTo>
                    <a:pt x="78" y="299"/>
                  </a:lnTo>
                  <a:lnTo>
                    <a:pt x="76" y="297"/>
                  </a:lnTo>
                  <a:lnTo>
                    <a:pt x="73" y="297"/>
                  </a:lnTo>
                  <a:lnTo>
                    <a:pt x="71" y="297"/>
                  </a:lnTo>
                  <a:lnTo>
                    <a:pt x="71" y="295"/>
                  </a:lnTo>
                  <a:lnTo>
                    <a:pt x="71" y="297"/>
                  </a:lnTo>
                  <a:lnTo>
                    <a:pt x="71" y="295"/>
                  </a:lnTo>
                  <a:lnTo>
                    <a:pt x="71" y="297"/>
                  </a:lnTo>
                  <a:lnTo>
                    <a:pt x="73" y="297"/>
                  </a:lnTo>
                  <a:lnTo>
                    <a:pt x="71" y="297"/>
                  </a:lnTo>
                  <a:lnTo>
                    <a:pt x="69" y="297"/>
                  </a:lnTo>
                  <a:lnTo>
                    <a:pt x="66" y="297"/>
                  </a:lnTo>
                  <a:lnTo>
                    <a:pt x="64" y="297"/>
                  </a:lnTo>
                  <a:lnTo>
                    <a:pt x="66" y="297"/>
                  </a:lnTo>
                  <a:lnTo>
                    <a:pt x="64" y="297"/>
                  </a:lnTo>
                  <a:lnTo>
                    <a:pt x="66" y="297"/>
                  </a:lnTo>
                  <a:lnTo>
                    <a:pt x="64" y="297"/>
                  </a:lnTo>
                  <a:lnTo>
                    <a:pt x="66" y="297"/>
                  </a:lnTo>
                  <a:lnTo>
                    <a:pt x="64" y="297"/>
                  </a:lnTo>
                  <a:lnTo>
                    <a:pt x="66" y="297"/>
                  </a:lnTo>
                  <a:lnTo>
                    <a:pt x="64" y="297"/>
                  </a:lnTo>
                  <a:lnTo>
                    <a:pt x="64" y="299"/>
                  </a:lnTo>
                  <a:lnTo>
                    <a:pt x="64" y="297"/>
                  </a:lnTo>
                  <a:lnTo>
                    <a:pt x="61" y="297"/>
                  </a:lnTo>
                  <a:lnTo>
                    <a:pt x="61" y="295"/>
                  </a:lnTo>
                  <a:lnTo>
                    <a:pt x="61" y="292"/>
                  </a:lnTo>
                  <a:lnTo>
                    <a:pt x="61" y="290"/>
                  </a:lnTo>
                  <a:lnTo>
                    <a:pt x="61" y="288"/>
                  </a:lnTo>
                  <a:lnTo>
                    <a:pt x="61" y="285"/>
                  </a:lnTo>
                  <a:lnTo>
                    <a:pt x="59" y="285"/>
                  </a:lnTo>
                  <a:lnTo>
                    <a:pt x="59" y="283"/>
                  </a:lnTo>
                  <a:lnTo>
                    <a:pt x="59" y="280"/>
                  </a:lnTo>
                  <a:lnTo>
                    <a:pt x="59" y="283"/>
                  </a:lnTo>
                  <a:lnTo>
                    <a:pt x="59" y="280"/>
                  </a:lnTo>
                  <a:lnTo>
                    <a:pt x="59" y="278"/>
                  </a:lnTo>
                  <a:lnTo>
                    <a:pt x="61" y="278"/>
                  </a:lnTo>
                  <a:lnTo>
                    <a:pt x="61" y="276"/>
                  </a:lnTo>
                  <a:lnTo>
                    <a:pt x="61" y="273"/>
                  </a:lnTo>
                  <a:lnTo>
                    <a:pt x="64" y="273"/>
                  </a:lnTo>
                  <a:lnTo>
                    <a:pt x="64" y="271"/>
                  </a:lnTo>
                  <a:lnTo>
                    <a:pt x="66" y="271"/>
                  </a:lnTo>
                  <a:lnTo>
                    <a:pt x="66" y="269"/>
                  </a:lnTo>
                  <a:lnTo>
                    <a:pt x="66" y="266"/>
                  </a:lnTo>
                  <a:lnTo>
                    <a:pt x="69" y="266"/>
                  </a:lnTo>
                  <a:lnTo>
                    <a:pt x="69" y="264"/>
                  </a:lnTo>
                  <a:lnTo>
                    <a:pt x="66" y="264"/>
                  </a:lnTo>
                  <a:lnTo>
                    <a:pt x="69" y="261"/>
                  </a:lnTo>
                  <a:lnTo>
                    <a:pt x="71" y="261"/>
                  </a:lnTo>
                  <a:lnTo>
                    <a:pt x="73" y="259"/>
                  </a:lnTo>
                  <a:lnTo>
                    <a:pt x="73" y="261"/>
                  </a:lnTo>
                  <a:lnTo>
                    <a:pt x="76" y="261"/>
                  </a:lnTo>
                  <a:lnTo>
                    <a:pt x="76" y="259"/>
                  </a:lnTo>
                  <a:lnTo>
                    <a:pt x="76" y="257"/>
                  </a:lnTo>
                  <a:lnTo>
                    <a:pt x="78" y="254"/>
                  </a:lnTo>
                  <a:lnTo>
                    <a:pt x="78" y="252"/>
                  </a:lnTo>
                  <a:lnTo>
                    <a:pt x="76" y="252"/>
                  </a:lnTo>
                  <a:lnTo>
                    <a:pt x="76" y="254"/>
                  </a:lnTo>
                  <a:lnTo>
                    <a:pt x="73" y="254"/>
                  </a:lnTo>
                  <a:lnTo>
                    <a:pt x="71" y="252"/>
                  </a:lnTo>
                  <a:lnTo>
                    <a:pt x="71" y="250"/>
                  </a:lnTo>
                  <a:lnTo>
                    <a:pt x="69" y="247"/>
                  </a:lnTo>
                  <a:lnTo>
                    <a:pt x="69" y="245"/>
                  </a:lnTo>
                  <a:lnTo>
                    <a:pt x="66" y="245"/>
                  </a:lnTo>
                  <a:lnTo>
                    <a:pt x="66" y="242"/>
                  </a:lnTo>
                  <a:lnTo>
                    <a:pt x="66" y="240"/>
                  </a:lnTo>
                  <a:lnTo>
                    <a:pt x="66" y="238"/>
                  </a:lnTo>
                  <a:lnTo>
                    <a:pt x="66" y="235"/>
                  </a:lnTo>
                  <a:lnTo>
                    <a:pt x="69" y="235"/>
                  </a:lnTo>
                  <a:lnTo>
                    <a:pt x="69" y="233"/>
                  </a:lnTo>
                  <a:lnTo>
                    <a:pt x="66" y="233"/>
                  </a:lnTo>
                  <a:lnTo>
                    <a:pt x="66" y="231"/>
                  </a:lnTo>
                  <a:lnTo>
                    <a:pt x="69" y="231"/>
                  </a:lnTo>
                  <a:lnTo>
                    <a:pt x="69" y="228"/>
                  </a:lnTo>
                  <a:lnTo>
                    <a:pt x="71" y="228"/>
                  </a:lnTo>
                  <a:lnTo>
                    <a:pt x="71" y="226"/>
                  </a:lnTo>
                  <a:lnTo>
                    <a:pt x="73" y="226"/>
                  </a:lnTo>
                  <a:lnTo>
                    <a:pt x="73" y="223"/>
                  </a:lnTo>
                  <a:lnTo>
                    <a:pt x="76" y="223"/>
                  </a:lnTo>
                  <a:lnTo>
                    <a:pt x="76" y="221"/>
                  </a:lnTo>
                  <a:lnTo>
                    <a:pt x="73" y="221"/>
                  </a:lnTo>
                  <a:lnTo>
                    <a:pt x="76" y="221"/>
                  </a:lnTo>
                  <a:lnTo>
                    <a:pt x="76" y="219"/>
                  </a:lnTo>
                  <a:lnTo>
                    <a:pt x="78" y="216"/>
                  </a:lnTo>
                  <a:lnTo>
                    <a:pt x="78" y="214"/>
                  </a:lnTo>
                  <a:lnTo>
                    <a:pt x="76" y="214"/>
                  </a:lnTo>
                  <a:lnTo>
                    <a:pt x="76" y="212"/>
                  </a:lnTo>
                  <a:lnTo>
                    <a:pt x="73" y="212"/>
                  </a:lnTo>
                  <a:lnTo>
                    <a:pt x="71" y="212"/>
                  </a:lnTo>
                  <a:lnTo>
                    <a:pt x="71" y="209"/>
                  </a:lnTo>
                  <a:lnTo>
                    <a:pt x="69" y="209"/>
                  </a:lnTo>
                  <a:lnTo>
                    <a:pt x="69" y="207"/>
                  </a:lnTo>
                  <a:lnTo>
                    <a:pt x="69" y="204"/>
                  </a:lnTo>
                  <a:lnTo>
                    <a:pt x="66" y="204"/>
                  </a:lnTo>
                  <a:lnTo>
                    <a:pt x="66" y="202"/>
                  </a:lnTo>
                  <a:lnTo>
                    <a:pt x="66" y="200"/>
                  </a:lnTo>
                  <a:lnTo>
                    <a:pt x="66" y="197"/>
                  </a:lnTo>
                  <a:lnTo>
                    <a:pt x="66" y="195"/>
                  </a:lnTo>
                  <a:lnTo>
                    <a:pt x="64" y="195"/>
                  </a:lnTo>
                  <a:lnTo>
                    <a:pt x="64" y="193"/>
                  </a:lnTo>
                  <a:lnTo>
                    <a:pt x="61" y="193"/>
                  </a:lnTo>
                  <a:lnTo>
                    <a:pt x="61" y="190"/>
                  </a:lnTo>
                  <a:lnTo>
                    <a:pt x="59" y="190"/>
                  </a:lnTo>
                  <a:lnTo>
                    <a:pt x="59" y="188"/>
                  </a:lnTo>
                  <a:lnTo>
                    <a:pt x="61" y="188"/>
                  </a:lnTo>
                  <a:lnTo>
                    <a:pt x="64" y="188"/>
                  </a:lnTo>
                  <a:lnTo>
                    <a:pt x="66" y="188"/>
                  </a:lnTo>
                  <a:lnTo>
                    <a:pt x="69" y="188"/>
                  </a:lnTo>
                  <a:lnTo>
                    <a:pt x="71" y="188"/>
                  </a:lnTo>
                  <a:lnTo>
                    <a:pt x="73" y="188"/>
                  </a:lnTo>
                  <a:lnTo>
                    <a:pt x="76" y="188"/>
                  </a:lnTo>
                  <a:lnTo>
                    <a:pt x="76" y="185"/>
                  </a:lnTo>
                  <a:lnTo>
                    <a:pt x="76" y="183"/>
                  </a:lnTo>
                  <a:lnTo>
                    <a:pt x="76" y="181"/>
                  </a:lnTo>
                  <a:lnTo>
                    <a:pt x="78" y="181"/>
                  </a:lnTo>
                  <a:lnTo>
                    <a:pt x="78" y="178"/>
                  </a:lnTo>
                  <a:lnTo>
                    <a:pt x="78" y="176"/>
                  </a:lnTo>
                  <a:lnTo>
                    <a:pt x="80" y="176"/>
                  </a:lnTo>
                  <a:lnTo>
                    <a:pt x="78" y="176"/>
                  </a:lnTo>
                  <a:lnTo>
                    <a:pt x="80" y="176"/>
                  </a:lnTo>
                  <a:lnTo>
                    <a:pt x="78" y="176"/>
                  </a:lnTo>
                  <a:lnTo>
                    <a:pt x="80" y="176"/>
                  </a:lnTo>
                  <a:lnTo>
                    <a:pt x="80" y="174"/>
                  </a:lnTo>
                  <a:lnTo>
                    <a:pt x="80" y="171"/>
                  </a:lnTo>
                  <a:lnTo>
                    <a:pt x="80" y="169"/>
                  </a:lnTo>
                  <a:lnTo>
                    <a:pt x="78" y="169"/>
                  </a:lnTo>
                  <a:lnTo>
                    <a:pt x="78" y="166"/>
                  </a:lnTo>
                  <a:lnTo>
                    <a:pt x="76" y="166"/>
                  </a:lnTo>
                  <a:lnTo>
                    <a:pt x="76" y="164"/>
                  </a:lnTo>
                  <a:lnTo>
                    <a:pt x="76" y="162"/>
                  </a:lnTo>
                  <a:lnTo>
                    <a:pt x="78" y="162"/>
                  </a:lnTo>
                  <a:lnTo>
                    <a:pt x="80" y="162"/>
                  </a:lnTo>
                  <a:lnTo>
                    <a:pt x="80" y="159"/>
                  </a:lnTo>
                  <a:lnTo>
                    <a:pt x="83" y="157"/>
                  </a:lnTo>
                  <a:lnTo>
                    <a:pt x="83" y="154"/>
                  </a:lnTo>
                  <a:lnTo>
                    <a:pt x="80" y="154"/>
                  </a:lnTo>
                  <a:lnTo>
                    <a:pt x="80" y="152"/>
                  </a:lnTo>
                  <a:lnTo>
                    <a:pt x="80" y="150"/>
                  </a:lnTo>
                  <a:lnTo>
                    <a:pt x="83" y="150"/>
                  </a:lnTo>
                  <a:lnTo>
                    <a:pt x="83" y="147"/>
                  </a:lnTo>
                  <a:lnTo>
                    <a:pt x="80" y="147"/>
                  </a:lnTo>
                  <a:lnTo>
                    <a:pt x="80" y="145"/>
                  </a:lnTo>
                  <a:lnTo>
                    <a:pt x="83" y="145"/>
                  </a:lnTo>
                  <a:lnTo>
                    <a:pt x="83" y="143"/>
                  </a:lnTo>
                  <a:lnTo>
                    <a:pt x="83" y="140"/>
                  </a:lnTo>
                  <a:lnTo>
                    <a:pt x="80" y="140"/>
                  </a:lnTo>
                  <a:lnTo>
                    <a:pt x="80" y="138"/>
                  </a:lnTo>
                  <a:lnTo>
                    <a:pt x="83" y="138"/>
                  </a:lnTo>
                  <a:lnTo>
                    <a:pt x="80" y="138"/>
                  </a:lnTo>
                  <a:lnTo>
                    <a:pt x="80" y="135"/>
                  </a:lnTo>
                  <a:lnTo>
                    <a:pt x="83" y="135"/>
                  </a:lnTo>
                  <a:lnTo>
                    <a:pt x="83" y="133"/>
                  </a:lnTo>
                  <a:lnTo>
                    <a:pt x="80" y="133"/>
                  </a:lnTo>
                  <a:lnTo>
                    <a:pt x="80" y="131"/>
                  </a:lnTo>
                  <a:lnTo>
                    <a:pt x="80" y="128"/>
                  </a:lnTo>
                  <a:lnTo>
                    <a:pt x="78" y="128"/>
                  </a:lnTo>
                  <a:lnTo>
                    <a:pt x="78" y="126"/>
                  </a:lnTo>
                  <a:lnTo>
                    <a:pt x="80" y="126"/>
                  </a:lnTo>
                  <a:lnTo>
                    <a:pt x="83" y="126"/>
                  </a:lnTo>
                  <a:lnTo>
                    <a:pt x="83" y="124"/>
                  </a:lnTo>
                  <a:lnTo>
                    <a:pt x="83" y="121"/>
                  </a:lnTo>
                  <a:lnTo>
                    <a:pt x="85" y="121"/>
                  </a:lnTo>
                  <a:lnTo>
                    <a:pt x="83" y="121"/>
                  </a:lnTo>
                  <a:lnTo>
                    <a:pt x="85" y="121"/>
                  </a:lnTo>
                  <a:lnTo>
                    <a:pt x="85" y="119"/>
                  </a:lnTo>
                  <a:lnTo>
                    <a:pt x="85" y="116"/>
                  </a:lnTo>
                  <a:lnTo>
                    <a:pt x="88" y="116"/>
                  </a:lnTo>
                  <a:lnTo>
                    <a:pt x="90" y="116"/>
                  </a:lnTo>
                  <a:lnTo>
                    <a:pt x="90" y="114"/>
                  </a:lnTo>
                  <a:lnTo>
                    <a:pt x="92" y="114"/>
                  </a:lnTo>
                  <a:lnTo>
                    <a:pt x="95" y="114"/>
                  </a:lnTo>
                  <a:lnTo>
                    <a:pt x="95" y="112"/>
                  </a:lnTo>
                  <a:lnTo>
                    <a:pt x="97" y="112"/>
                  </a:lnTo>
                  <a:lnTo>
                    <a:pt x="97" y="109"/>
                  </a:lnTo>
                  <a:lnTo>
                    <a:pt x="99" y="109"/>
                  </a:lnTo>
                  <a:lnTo>
                    <a:pt x="97" y="109"/>
                  </a:lnTo>
                  <a:lnTo>
                    <a:pt x="97" y="107"/>
                  </a:lnTo>
                  <a:lnTo>
                    <a:pt x="99" y="107"/>
                  </a:lnTo>
                  <a:lnTo>
                    <a:pt x="99" y="105"/>
                  </a:lnTo>
                  <a:lnTo>
                    <a:pt x="102" y="105"/>
                  </a:lnTo>
                  <a:lnTo>
                    <a:pt x="99" y="105"/>
                  </a:lnTo>
                  <a:lnTo>
                    <a:pt x="102" y="105"/>
                  </a:lnTo>
                  <a:lnTo>
                    <a:pt x="102" y="102"/>
                  </a:lnTo>
                  <a:lnTo>
                    <a:pt x="102" y="100"/>
                  </a:lnTo>
                  <a:lnTo>
                    <a:pt x="99" y="97"/>
                  </a:lnTo>
                  <a:lnTo>
                    <a:pt x="97" y="95"/>
                  </a:lnTo>
                  <a:lnTo>
                    <a:pt x="95" y="95"/>
                  </a:lnTo>
                  <a:lnTo>
                    <a:pt x="92" y="97"/>
                  </a:lnTo>
                  <a:lnTo>
                    <a:pt x="90" y="95"/>
                  </a:lnTo>
                  <a:lnTo>
                    <a:pt x="90" y="93"/>
                  </a:lnTo>
                  <a:lnTo>
                    <a:pt x="90" y="90"/>
                  </a:lnTo>
                  <a:lnTo>
                    <a:pt x="92" y="90"/>
                  </a:lnTo>
                  <a:lnTo>
                    <a:pt x="90" y="90"/>
                  </a:lnTo>
                  <a:lnTo>
                    <a:pt x="92" y="90"/>
                  </a:lnTo>
                  <a:lnTo>
                    <a:pt x="92" y="88"/>
                  </a:lnTo>
                  <a:lnTo>
                    <a:pt x="90" y="88"/>
                  </a:lnTo>
                  <a:lnTo>
                    <a:pt x="90" y="86"/>
                  </a:lnTo>
                  <a:lnTo>
                    <a:pt x="90" y="83"/>
                  </a:lnTo>
                  <a:lnTo>
                    <a:pt x="88" y="83"/>
                  </a:lnTo>
                  <a:lnTo>
                    <a:pt x="85" y="86"/>
                  </a:lnTo>
                  <a:lnTo>
                    <a:pt x="85" y="83"/>
                  </a:lnTo>
                  <a:lnTo>
                    <a:pt x="83" y="83"/>
                  </a:lnTo>
                  <a:lnTo>
                    <a:pt x="83" y="81"/>
                  </a:lnTo>
                  <a:lnTo>
                    <a:pt x="83" y="83"/>
                  </a:lnTo>
                  <a:lnTo>
                    <a:pt x="80" y="83"/>
                  </a:lnTo>
                  <a:lnTo>
                    <a:pt x="78" y="83"/>
                  </a:lnTo>
                  <a:lnTo>
                    <a:pt x="76" y="83"/>
                  </a:lnTo>
                  <a:lnTo>
                    <a:pt x="73" y="83"/>
                  </a:lnTo>
                  <a:lnTo>
                    <a:pt x="71" y="81"/>
                  </a:lnTo>
                  <a:lnTo>
                    <a:pt x="71" y="83"/>
                  </a:lnTo>
                  <a:lnTo>
                    <a:pt x="71" y="86"/>
                  </a:lnTo>
                  <a:lnTo>
                    <a:pt x="69" y="86"/>
                  </a:lnTo>
                  <a:lnTo>
                    <a:pt x="69" y="88"/>
                  </a:lnTo>
                  <a:lnTo>
                    <a:pt x="66" y="88"/>
                  </a:lnTo>
                  <a:lnTo>
                    <a:pt x="64" y="88"/>
                  </a:lnTo>
                  <a:lnTo>
                    <a:pt x="61" y="90"/>
                  </a:lnTo>
                  <a:lnTo>
                    <a:pt x="61" y="88"/>
                  </a:lnTo>
                  <a:lnTo>
                    <a:pt x="59" y="88"/>
                  </a:lnTo>
                  <a:lnTo>
                    <a:pt x="57" y="88"/>
                  </a:lnTo>
                  <a:lnTo>
                    <a:pt x="57" y="86"/>
                  </a:lnTo>
                  <a:lnTo>
                    <a:pt x="54" y="88"/>
                  </a:lnTo>
                  <a:lnTo>
                    <a:pt x="54" y="86"/>
                  </a:lnTo>
                  <a:lnTo>
                    <a:pt x="52" y="86"/>
                  </a:lnTo>
                  <a:lnTo>
                    <a:pt x="50" y="86"/>
                  </a:lnTo>
                  <a:lnTo>
                    <a:pt x="47" y="88"/>
                  </a:lnTo>
                  <a:lnTo>
                    <a:pt x="47" y="86"/>
                  </a:lnTo>
                  <a:lnTo>
                    <a:pt x="45" y="86"/>
                  </a:lnTo>
                  <a:lnTo>
                    <a:pt x="45" y="88"/>
                  </a:lnTo>
                  <a:lnTo>
                    <a:pt x="42" y="88"/>
                  </a:lnTo>
                  <a:lnTo>
                    <a:pt x="42" y="90"/>
                  </a:lnTo>
                  <a:lnTo>
                    <a:pt x="40" y="90"/>
                  </a:lnTo>
                  <a:lnTo>
                    <a:pt x="38" y="90"/>
                  </a:lnTo>
                  <a:lnTo>
                    <a:pt x="38" y="88"/>
                  </a:lnTo>
                  <a:lnTo>
                    <a:pt x="35" y="88"/>
                  </a:lnTo>
                  <a:lnTo>
                    <a:pt x="35" y="86"/>
                  </a:lnTo>
                  <a:lnTo>
                    <a:pt x="35" y="83"/>
                  </a:lnTo>
                  <a:lnTo>
                    <a:pt x="38" y="83"/>
                  </a:lnTo>
                  <a:lnTo>
                    <a:pt x="38" y="81"/>
                  </a:lnTo>
                  <a:lnTo>
                    <a:pt x="40" y="81"/>
                  </a:lnTo>
                  <a:lnTo>
                    <a:pt x="40" y="78"/>
                  </a:lnTo>
                  <a:lnTo>
                    <a:pt x="38" y="78"/>
                  </a:lnTo>
                  <a:lnTo>
                    <a:pt x="38" y="76"/>
                  </a:lnTo>
                  <a:lnTo>
                    <a:pt x="35" y="74"/>
                  </a:lnTo>
                  <a:lnTo>
                    <a:pt x="35" y="76"/>
                  </a:lnTo>
                  <a:lnTo>
                    <a:pt x="33" y="76"/>
                  </a:lnTo>
                  <a:lnTo>
                    <a:pt x="33" y="78"/>
                  </a:lnTo>
                  <a:lnTo>
                    <a:pt x="31" y="78"/>
                  </a:lnTo>
                  <a:lnTo>
                    <a:pt x="31" y="76"/>
                  </a:lnTo>
                  <a:lnTo>
                    <a:pt x="31" y="78"/>
                  </a:lnTo>
                  <a:lnTo>
                    <a:pt x="28" y="78"/>
                  </a:lnTo>
                  <a:lnTo>
                    <a:pt x="26" y="78"/>
                  </a:lnTo>
                  <a:lnTo>
                    <a:pt x="23" y="78"/>
                  </a:lnTo>
                  <a:lnTo>
                    <a:pt x="21" y="78"/>
                  </a:lnTo>
                  <a:lnTo>
                    <a:pt x="21" y="81"/>
                  </a:lnTo>
                  <a:lnTo>
                    <a:pt x="19" y="83"/>
                  </a:lnTo>
                  <a:lnTo>
                    <a:pt x="16" y="86"/>
                  </a:lnTo>
                  <a:lnTo>
                    <a:pt x="14" y="86"/>
                  </a:lnTo>
                  <a:lnTo>
                    <a:pt x="16" y="86"/>
                  </a:lnTo>
                  <a:lnTo>
                    <a:pt x="14" y="86"/>
                  </a:lnTo>
                  <a:lnTo>
                    <a:pt x="14" y="88"/>
                  </a:lnTo>
                  <a:lnTo>
                    <a:pt x="14" y="86"/>
                  </a:lnTo>
                  <a:lnTo>
                    <a:pt x="14" y="83"/>
                  </a:lnTo>
                  <a:lnTo>
                    <a:pt x="14" y="81"/>
                  </a:lnTo>
                  <a:lnTo>
                    <a:pt x="14" y="78"/>
                  </a:lnTo>
                  <a:lnTo>
                    <a:pt x="14" y="76"/>
                  </a:lnTo>
                  <a:lnTo>
                    <a:pt x="16" y="76"/>
                  </a:lnTo>
                  <a:lnTo>
                    <a:pt x="16" y="74"/>
                  </a:lnTo>
                  <a:lnTo>
                    <a:pt x="14" y="74"/>
                  </a:lnTo>
                  <a:lnTo>
                    <a:pt x="16" y="74"/>
                  </a:lnTo>
                  <a:lnTo>
                    <a:pt x="16" y="71"/>
                  </a:lnTo>
                  <a:lnTo>
                    <a:pt x="19" y="71"/>
                  </a:lnTo>
                  <a:lnTo>
                    <a:pt x="19" y="69"/>
                  </a:lnTo>
                  <a:lnTo>
                    <a:pt x="21" y="69"/>
                  </a:lnTo>
                  <a:lnTo>
                    <a:pt x="23" y="69"/>
                  </a:lnTo>
                  <a:lnTo>
                    <a:pt x="23" y="67"/>
                  </a:lnTo>
                  <a:lnTo>
                    <a:pt x="23" y="64"/>
                  </a:lnTo>
                  <a:lnTo>
                    <a:pt x="23" y="67"/>
                  </a:lnTo>
                  <a:lnTo>
                    <a:pt x="21" y="64"/>
                  </a:lnTo>
                  <a:lnTo>
                    <a:pt x="21" y="67"/>
                  </a:lnTo>
                  <a:lnTo>
                    <a:pt x="21" y="69"/>
                  </a:lnTo>
                  <a:lnTo>
                    <a:pt x="19" y="69"/>
                  </a:lnTo>
                  <a:lnTo>
                    <a:pt x="16" y="69"/>
                  </a:lnTo>
                  <a:lnTo>
                    <a:pt x="14" y="69"/>
                  </a:lnTo>
                  <a:lnTo>
                    <a:pt x="14" y="67"/>
                  </a:lnTo>
                  <a:lnTo>
                    <a:pt x="14" y="69"/>
                  </a:lnTo>
                  <a:lnTo>
                    <a:pt x="16" y="69"/>
                  </a:lnTo>
                  <a:lnTo>
                    <a:pt x="16" y="67"/>
                  </a:lnTo>
                  <a:lnTo>
                    <a:pt x="19" y="67"/>
                  </a:lnTo>
                  <a:lnTo>
                    <a:pt x="19" y="64"/>
                  </a:lnTo>
                  <a:lnTo>
                    <a:pt x="21" y="64"/>
                  </a:lnTo>
                  <a:lnTo>
                    <a:pt x="21" y="62"/>
                  </a:lnTo>
                  <a:lnTo>
                    <a:pt x="21" y="64"/>
                  </a:lnTo>
                  <a:lnTo>
                    <a:pt x="19" y="62"/>
                  </a:lnTo>
                  <a:lnTo>
                    <a:pt x="21" y="62"/>
                  </a:lnTo>
                  <a:lnTo>
                    <a:pt x="19" y="62"/>
                  </a:lnTo>
                  <a:lnTo>
                    <a:pt x="19" y="64"/>
                  </a:lnTo>
                  <a:lnTo>
                    <a:pt x="16" y="64"/>
                  </a:lnTo>
                  <a:lnTo>
                    <a:pt x="16" y="62"/>
                  </a:lnTo>
                  <a:lnTo>
                    <a:pt x="16" y="64"/>
                  </a:lnTo>
                  <a:lnTo>
                    <a:pt x="16" y="62"/>
                  </a:lnTo>
                  <a:lnTo>
                    <a:pt x="16" y="64"/>
                  </a:lnTo>
                  <a:lnTo>
                    <a:pt x="14" y="64"/>
                  </a:lnTo>
                  <a:lnTo>
                    <a:pt x="16" y="64"/>
                  </a:lnTo>
                  <a:lnTo>
                    <a:pt x="14" y="64"/>
                  </a:lnTo>
                  <a:lnTo>
                    <a:pt x="14" y="62"/>
                  </a:lnTo>
                  <a:lnTo>
                    <a:pt x="14" y="59"/>
                  </a:lnTo>
                  <a:lnTo>
                    <a:pt x="12" y="59"/>
                  </a:lnTo>
                  <a:lnTo>
                    <a:pt x="12" y="62"/>
                  </a:lnTo>
                  <a:lnTo>
                    <a:pt x="12" y="59"/>
                  </a:lnTo>
                  <a:lnTo>
                    <a:pt x="14" y="59"/>
                  </a:lnTo>
                  <a:lnTo>
                    <a:pt x="14" y="62"/>
                  </a:lnTo>
                  <a:lnTo>
                    <a:pt x="14" y="59"/>
                  </a:lnTo>
                  <a:lnTo>
                    <a:pt x="16" y="59"/>
                  </a:lnTo>
                  <a:lnTo>
                    <a:pt x="16" y="57"/>
                  </a:lnTo>
                  <a:lnTo>
                    <a:pt x="16" y="55"/>
                  </a:lnTo>
                  <a:lnTo>
                    <a:pt x="16" y="57"/>
                  </a:lnTo>
                  <a:lnTo>
                    <a:pt x="16" y="55"/>
                  </a:lnTo>
                  <a:lnTo>
                    <a:pt x="16" y="57"/>
                  </a:lnTo>
                  <a:lnTo>
                    <a:pt x="16" y="55"/>
                  </a:lnTo>
                  <a:lnTo>
                    <a:pt x="19" y="55"/>
                  </a:lnTo>
                  <a:lnTo>
                    <a:pt x="16" y="55"/>
                  </a:lnTo>
                  <a:lnTo>
                    <a:pt x="19" y="55"/>
                  </a:lnTo>
                  <a:lnTo>
                    <a:pt x="16" y="52"/>
                  </a:lnTo>
                  <a:lnTo>
                    <a:pt x="19" y="52"/>
                  </a:lnTo>
                  <a:lnTo>
                    <a:pt x="19" y="50"/>
                  </a:lnTo>
                  <a:lnTo>
                    <a:pt x="21" y="50"/>
                  </a:lnTo>
                  <a:lnTo>
                    <a:pt x="21" y="48"/>
                  </a:lnTo>
                  <a:lnTo>
                    <a:pt x="21" y="50"/>
                  </a:lnTo>
                  <a:lnTo>
                    <a:pt x="19" y="50"/>
                  </a:lnTo>
                  <a:lnTo>
                    <a:pt x="19" y="52"/>
                  </a:lnTo>
                  <a:lnTo>
                    <a:pt x="16" y="52"/>
                  </a:lnTo>
                  <a:lnTo>
                    <a:pt x="16" y="50"/>
                  </a:lnTo>
                  <a:lnTo>
                    <a:pt x="14" y="50"/>
                  </a:lnTo>
                  <a:lnTo>
                    <a:pt x="16" y="50"/>
                  </a:lnTo>
                  <a:lnTo>
                    <a:pt x="14" y="50"/>
                  </a:lnTo>
                  <a:lnTo>
                    <a:pt x="14" y="52"/>
                  </a:lnTo>
                  <a:lnTo>
                    <a:pt x="16" y="52"/>
                  </a:lnTo>
                  <a:lnTo>
                    <a:pt x="14" y="52"/>
                  </a:lnTo>
                  <a:lnTo>
                    <a:pt x="14" y="55"/>
                  </a:lnTo>
                  <a:lnTo>
                    <a:pt x="14" y="52"/>
                  </a:lnTo>
                  <a:lnTo>
                    <a:pt x="12" y="52"/>
                  </a:lnTo>
                  <a:lnTo>
                    <a:pt x="12" y="55"/>
                  </a:lnTo>
                  <a:lnTo>
                    <a:pt x="12" y="52"/>
                  </a:lnTo>
                  <a:lnTo>
                    <a:pt x="12" y="55"/>
                  </a:lnTo>
                  <a:lnTo>
                    <a:pt x="9" y="55"/>
                  </a:lnTo>
                  <a:lnTo>
                    <a:pt x="9" y="57"/>
                  </a:lnTo>
                  <a:lnTo>
                    <a:pt x="12" y="57"/>
                  </a:lnTo>
                  <a:lnTo>
                    <a:pt x="9" y="57"/>
                  </a:lnTo>
                  <a:lnTo>
                    <a:pt x="9" y="55"/>
                  </a:lnTo>
                  <a:lnTo>
                    <a:pt x="7" y="55"/>
                  </a:lnTo>
                  <a:lnTo>
                    <a:pt x="7" y="52"/>
                  </a:lnTo>
                  <a:lnTo>
                    <a:pt x="9" y="52"/>
                  </a:lnTo>
                  <a:lnTo>
                    <a:pt x="9" y="50"/>
                  </a:lnTo>
                  <a:lnTo>
                    <a:pt x="9" y="48"/>
                  </a:lnTo>
                  <a:lnTo>
                    <a:pt x="9" y="50"/>
                  </a:lnTo>
                  <a:lnTo>
                    <a:pt x="9" y="48"/>
                  </a:lnTo>
                  <a:lnTo>
                    <a:pt x="12" y="48"/>
                  </a:lnTo>
                  <a:lnTo>
                    <a:pt x="12" y="45"/>
                  </a:lnTo>
                  <a:lnTo>
                    <a:pt x="14" y="45"/>
                  </a:lnTo>
                  <a:lnTo>
                    <a:pt x="14" y="43"/>
                  </a:lnTo>
                  <a:lnTo>
                    <a:pt x="14" y="45"/>
                  </a:lnTo>
                  <a:lnTo>
                    <a:pt x="14" y="43"/>
                  </a:lnTo>
                  <a:lnTo>
                    <a:pt x="14" y="45"/>
                  </a:lnTo>
                  <a:lnTo>
                    <a:pt x="12" y="45"/>
                  </a:lnTo>
                  <a:lnTo>
                    <a:pt x="9" y="45"/>
                  </a:lnTo>
                  <a:lnTo>
                    <a:pt x="7" y="45"/>
                  </a:lnTo>
                  <a:lnTo>
                    <a:pt x="9" y="45"/>
                  </a:lnTo>
                  <a:lnTo>
                    <a:pt x="7" y="48"/>
                  </a:lnTo>
                  <a:lnTo>
                    <a:pt x="7" y="45"/>
                  </a:lnTo>
                  <a:lnTo>
                    <a:pt x="4" y="45"/>
                  </a:lnTo>
                  <a:lnTo>
                    <a:pt x="7" y="45"/>
                  </a:lnTo>
                  <a:lnTo>
                    <a:pt x="4" y="45"/>
                  </a:lnTo>
                  <a:lnTo>
                    <a:pt x="7" y="45"/>
                  </a:lnTo>
                  <a:lnTo>
                    <a:pt x="7" y="43"/>
                  </a:lnTo>
                  <a:lnTo>
                    <a:pt x="4" y="43"/>
                  </a:lnTo>
                  <a:lnTo>
                    <a:pt x="4" y="40"/>
                  </a:lnTo>
                  <a:lnTo>
                    <a:pt x="7" y="40"/>
                  </a:lnTo>
                  <a:lnTo>
                    <a:pt x="4" y="40"/>
                  </a:lnTo>
                  <a:lnTo>
                    <a:pt x="4" y="38"/>
                  </a:lnTo>
                  <a:lnTo>
                    <a:pt x="4" y="40"/>
                  </a:lnTo>
                  <a:lnTo>
                    <a:pt x="4" y="38"/>
                  </a:lnTo>
                  <a:lnTo>
                    <a:pt x="2" y="38"/>
                  </a:lnTo>
                  <a:lnTo>
                    <a:pt x="2" y="40"/>
                  </a:lnTo>
                  <a:lnTo>
                    <a:pt x="2" y="38"/>
                  </a:lnTo>
                  <a:lnTo>
                    <a:pt x="2" y="40"/>
                  </a:lnTo>
                  <a:lnTo>
                    <a:pt x="0" y="40"/>
                  </a:lnTo>
                  <a:lnTo>
                    <a:pt x="0" y="38"/>
                  </a:lnTo>
                  <a:lnTo>
                    <a:pt x="2" y="38"/>
                  </a:lnTo>
                  <a:lnTo>
                    <a:pt x="2" y="36"/>
                  </a:lnTo>
                  <a:lnTo>
                    <a:pt x="0" y="36"/>
                  </a:lnTo>
                  <a:lnTo>
                    <a:pt x="0" y="33"/>
                  </a:lnTo>
                  <a:lnTo>
                    <a:pt x="2" y="33"/>
                  </a:lnTo>
                  <a:lnTo>
                    <a:pt x="2" y="31"/>
                  </a:lnTo>
                  <a:lnTo>
                    <a:pt x="4" y="31"/>
                  </a:lnTo>
                  <a:lnTo>
                    <a:pt x="4" y="29"/>
                  </a:lnTo>
                  <a:lnTo>
                    <a:pt x="4" y="31"/>
                  </a:lnTo>
                  <a:lnTo>
                    <a:pt x="4" y="29"/>
                  </a:lnTo>
                  <a:lnTo>
                    <a:pt x="4" y="31"/>
                  </a:lnTo>
                  <a:lnTo>
                    <a:pt x="4" y="29"/>
                  </a:lnTo>
                  <a:lnTo>
                    <a:pt x="2" y="29"/>
                  </a:lnTo>
                  <a:lnTo>
                    <a:pt x="4" y="29"/>
                  </a:lnTo>
                  <a:lnTo>
                    <a:pt x="4" y="26"/>
                  </a:lnTo>
                  <a:lnTo>
                    <a:pt x="7" y="26"/>
                  </a:lnTo>
                  <a:lnTo>
                    <a:pt x="9" y="26"/>
                  </a:lnTo>
                  <a:lnTo>
                    <a:pt x="9" y="24"/>
                  </a:lnTo>
                  <a:lnTo>
                    <a:pt x="9" y="26"/>
                  </a:lnTo>
                  <a:lnTo>
                    <a:pt x="12" y="24"/>
                  </a:lnTo>
                  <a:lnTo>
                    <a:pt x="12" y="26"/>
                  </a:lnTo>
                  <a:lnTo>
                    <a:pt x="12" y="24"/>
                  </a:lnTo>
                  <a:lnTo>
                    <a:pt x="12" y="26"/>
                  </a:lnTo>
                  <a:lnTo>
                    <a:pt x="12" y="24"/>
                  </a:lnTo>
                  <a:lnTo>
                    <a:pt x="14" y="24"/>
                  </a:lnTo>
                  <a:lnTo>
                    <a:pt x="12" y="24"/>
                  </a:lnTo>
                  <a:lnTo>
                    <a:pt x="12" y="26"/>
                  </a:lnTo>
                  <a:lnTo>
                    <a:pt x="12" y="24"/>
                  </a:lnTo>
                  <a:lnTo>
                    <a:pt x="9" y="24"/>
                  </a:lnTo>
                  <a:lnTo>
                    <a:pt x="12" y="21"/>
                  </a:lnTo>
                  <a:lnTo>
                    <a:pt x="14" y="21"/>
                  </a:lnTo>
                  <a:lnTo>
                    <a:pt x="14" y="19"/>
                  </a:lnTo>
                  <a:lnTo>
                    <a:pt x="16" y="19"/>
                  </a:lnTo>
                  <a:lnTo>
                    <a:pt x="16" y="21"/>
                  </a:lnTo>
                  <a:lnTo>
                    <a:pt x="19" y="21"/>
                  </a:lnTo>
                  <a:lnTo>
                    <a:pt x="21" y="21"/>
                  </a:lnTo>
                  <a:lnTo>
                    <a:pt x="23" y="21"/>
                  </a:lnTo>
                  <a:lnTo>
                    <a:pt x="26" y="21"/>
                  </a:lnTo>
                  <a:lnTo>
                    <a:pt x="26" y="19"/>
                  </a:lnTo>
                  <a:lnTo>
                    <a:pt x="28" y="19"/>
                  </a:lnTo>
                  <a:lnTo>
                    <a:pt x="28" y="17"/>
                  </a:lnTo>
                  <a:lnTo>
                    <a:pt x="28" y="19"/>
                  </a:lnTo>
                  <a:lnTo>
                    <a:pt x="31" y="19"/>
                  </a:lnTo>
                  <a:lnTo>
                    <a:pt x="28" y="19"/>
                  </a:lnTo>
                  <a:lnTo>
                    <a:pt x="28" y="17"/>
                  </a:lnTo>
                  <a:lnTo>
                    <a:pt x="31" y="17"/>
                  </a:lnTo>
                  <a:lnTo>
                    <a:pt x="31" y="19"/>
                  </a:lnTo>
                  <a:lnTo>
                    <a:pt x="31" y="21"/>
                  </a:lnTo>
                  <a:lnTo>
                    <a:pt x="31" y="19"/>
                  </a:lnTo>
                  <a:lnTo>
                    <a:pt x="33" y="19"/>
                  </a:lnTo>
                  <a:lnTo>
                    <a:pt x="31" y="17"/>
                  </a:lnTo>
                  <a:lnTo>
                    <a:pt x="31" y="19"/>
                  </a:lnTo>
                  <a:lnTo>
                    <a:pt x="31" y="17"/>
                  </a:lnTo>
                  <a:lnTo>
                    <a:pt x="33" y="17"/>
                  </a:lnTo>
                  <a:lnTo>
                    <a:pt x="35" y="17"/>
                  </a:lnTo>
                  <a:lnTo>
                    <a:pt x="35" y="19"/>
                  </a:lnTo>
                  <a:lnTo>
                    <a:pt x="35" y="21"/>
                  </a:lnTo>
                  <a:lnTo>
                    <a:pt x="35" y="19"/>
                  </a:lnTo>
                  <a:lnTo>
                    <a:pt x="35" y="17"/>
                  </a:lnTo>
                  <a:lnTo>
                    <a:pt x="38" y="17"/>
                  </a:lnTo>
                  <a:lnTo>
                    <a:pt x="35" y="17"/>
                  </a:lnTo>
                  <a:lnTo>
                    <a:pt x="33" y="17"/>
                  </a:lnTo>
                  <a:lnTo>
                    <a:pt x="33" y="14"/>
                  </a:lnTo>
                  <a:lnTo>
                    <a:pt x="35" y="14"/>
                  </a:lnTo>
                  <a:lnTo>
                    <a:pt x="38" y="14"/>
                  </a:lnTo>
                  <a:lnTo>
                    <a:pt x="38" y="12"/>
                  </a:lnTo>
                  <a:lnTo>
                    <a:pt x="35" y="12"/>
                  </a:lnTo>
                  <a:lnTo>
                    <a:pt x="38" y="12"/>
                  </a:lnTo>
                  <a:lnTo>
                    <a:pt x="38" y="14"/>
                  </a:lnTo>
                  <a:lnTo>
                    <a:pt x="35" y="14"/>
                  </a:lnTo>
                  <a:lnTo>
                    <a:pt x="35" y="12"/>
                  </a:lnTo>
                  <a:lnTo>
                    <a:pt x="35" y="14"/>
                  </a:lnTo>
                  <a:lnTo>
                    <a:pt x="35" y="12"/>
                  </a:lnTo>
                  <a:lnTo>
                    <a:pt x="35" y="14"/>
                  </a:lnTo>
                  <a:lnTo>
                    <a:pt x="33" y="14"/>
                  </a:lnTo>
                  <a:lnTo>
                    <a:pt x="31" y="14"/>
                  </a:lnTo>
                  <a:lnTo>
                    <a:pt x="33" y="14"/>
                  </a:lnTo>
                  <a:lnTo>
                    <a:pt x="33" y="12"/>
                  </a:lnTo>
                  <a:lnTo>
                    <a:pt x="33" y="10"/>
                  </a:lnTo>
                  <a:lnTo>
                    <a:pt x="35" y="10"/>
                  </a:lnTo>
                  <a:lnTo>
                    <a:pt x="35" y="7"/>
                  </a:lnTo>
                  <a:lnTo>
                    <a:pt x="38" y="7"/>
                  </a:lnTo>
                  <a:lnTo>
                    <a:pt x="35" y="7"/>
                  </a:lnTo>
                  <a:lnTo>
                    <a:pt x="38" y="7"/>
                  </a:lnTo>
                  <a:lnTo>
                    <a:pt x="40" y="5"/>
                  </a:lnTo>
                  <a:lnTo>
                    <a:pt x="40" y="7"/>
                  </a:lnTo>
                  <a:lnTo>
                    <a:pt x="40" y="5"/>
                  </a:lnTo>
                  <a:lnTo>
                    <a:pt x="40" y="7"/>
                  </a:lnTo>
                  <a:lnTo>
                    <a:pt x="42" y="7"/>
                  </a:lnTo>
                  <a:lnTo>
                    <a:pt x="40" y="7"/>
                  </a:lnTo>
                  <a:lnTo>
                    <a:pt x="40" y="5"/>
                  </a:lnTo>
                  <a:lnTo>
                    <a:pt x="42" y="5"/>
                  </a:lnTo>
                  <a:lnTo>
                    <a:pt x="40" y="5"/>
                  </a:lnTo>
                  <a:lnTo>
                    <a:pt x="40" y="2"/>
                  </a:lnTo>
                  <a:lnTo>
                    <a:pt x="42" y="2"/>
                  </a:lnTo>
                  <a:lnTo>
                    <a:pt x="45" y="2"/>
                  </a:lnTo>
                  <a:lnTo>
                    <a:pt x="45" y="0"/>
                  </a:lnTo>
                  <a:lnTo>
                    <a:pt x="45" y="2"/>
                  </a:lnTo>
                  <a:lnTo>
                    <a:pt x="45" y="0"/>
                  </a:lnTo>
                  <a:lnTo>
                    <a:pt x="47" y="0"/>
                  </a:lnTo>
                  <a:lnTo>
                    <a:pt x="47" y="2"/>
                  </a:lnTo>
                  <a:lnTo>
                    <a:pt x="47" y="5"/>
                  </a:lnTo>
                  <a:lnTo>
                    <a:pt x="47" y="2"/>
                  </a:lnTo>
                  <a:lnTo>
                    <a:pt x="47" y="5"/>
                  </a:lnTo>
                  <a:lnTo>
                    <a:pt x="47" y="2"/>
                  </a:lnTo>
                  <a:lnTo>
                    <a:pt x="50" y="2"/>
                  </a:lnTo>
                  <a:lnTo>
                    <a:pt x="47" y="2"/>
                  </a:lnTo>
                  <a:lnTo>
                    <a:pt x="50" y="2"/>
                  </a:lnTo>
                  <a:lnTo>
                    <a:pt x="52" y="2"/>
                  </a:lnTo>
                  <a:lnTo>
                    <a:pt x="52" y="0"/>
                  </a:lnTo>
                  <a:lnTo>
                    <a:pt x="54" y="0"/>
                  </a:lnTo>
                  <a:lnTo>
                    <a:pt x="52" y="2"/>
                  </a:lnTo>
                  <a:lnTo>
                    <a:pt x="54" y="2"/>
                  </a:lnTo>
                  <a:lnTo>
                    <a:pt x="52" y="2"/>
                  </a:lnTo>
                  <a:lnTo>
                    <a:pt x="54" y="2"/>
                  </a:lnTo>
                  <a:lnTo>
                    <a:pt x="54" y="0"/>
                  </a:lnTo>
                  <a:lnTo>
                    <a:pt x="54" y="2"/>
                  </a:lnTo>
                  <a:lnTo>
                    <a:pt x="57" y="2"/>
                  </a:lnTo>
                  <a:lnTo>
                    <a:pt x="57" y="5"/>
                  </a:lnTo>
                  <a:lnTo>
                    <a:pt x="57" y="2"/>
                  </a:lnTo>
                  <a:lnTo>
                    <a:pt x="59" y="2"/>
                  </a:lnTo>
                  <a:lnTo>
                    <a:pt x="61" y="2"/>
                  </a:lnTo>
                  <a:lnTo>
                    <a:pt x="59" y="2"/>
                  </a:lnTo>
                  <a:lnTo>
                    <a:pt x="61" y="2"/>
                  </a:lnTo>
                  <a:lnTo>
                    <a:pt x="61" y="5"/>
                  </a:lnTo>
                  <a:lnTo>
                    <a:pt x="64" y="5"/>
                  </a:lnTo>
                  <a:lnTo>
                    <a:pt x="61" y="5"/>
                  </a:lnTo>
                  <a:lnTo>
                    <a:pt x="64" y="5"/>
                  </a:lnTo>
                  <a:lnTo>
                    <a:pt x="64" y="7"/>
                  </a:lnTo>
                  <a:lnTo>
                    <a:pt x="66" y="7"/>
                  </a:lnTo>
                  <a:lnTo>
                    <a:pt x="64" y="7"/>
                  </a:lnTo>
                  <a:lnTo>
                    <a:pt x="66" y="7"/>
                  </a:lnTo>
                  <a:lnTo>
                    <a:pt x="66" y="10"/>
                  </a:lnTo>
                  <a:lnTo>
                    <a:pt x="69" y="10"/>
                  </a:lnTo>
                  <a:lnTo>
                    <a:pt x="66" y="10"/>
                  </a:lnTo>
                  <a:lnTo>
                    <a:pt x="69" y="10"/>
                  </a:lnTo>
                  <a:lnTo>
                    <a:pt x="66" y="10"/>
                  </a:lnTo>
                  <a:lnTo>
                    <a:pt x="69" y="10"/>
                  </a:lnTo>
                  <a:lnTo>
                    <a:pt x="71" y="10"/>
                  </a:lnTo>
                  <a:lnTo>
                    <a:pt x="73" y="10"/>
                  </a:lnTo>
                  <a:lnTo>
                    <a:pt x="76" y="10"/>
                  </a:lnTo>
                  <a:lnTo>
                    <a:pt x="76" y="12"/>
                  </a:lnTo>
                  <a:lnTo>
                    <a:pt x="73" y="12"/>
                  </a:lnTo>
                  <a:lnTo>
                    <a:pt x="73" y="14"/>
                  </a:lnTo>
                  <a:lnTo>
                    <a:pt x="73" y="12"/>
                  </a:lnTo>
                  <a:lnTo>
                    <a:pt x="76" y="12"/>
                  </a:lnTo>
                  <a:lnTo>
                    <a:pt x="76" y="10"/>
                  </a:lnTo>
                  <a:lnTo>
                    <a:pt x="78" y="10"/>
                  </a:lnTo>
                  <a:lnTo>
                    <a:pt x="80" y="10"/>
                  </a:lnTo>
                  <a:lnTo>
                    <a:pt x="83" y="10"/>
                  </a:lnTo>
                  <a:lnTo>
                    <a:pt x="85" y="10"/>
                  </a:lnTo>
                  <a:lnTo>
                    <a:pt x="85" y="12"/>
                  </a:lnTo>
                  <a:lnTo>
                    <a:pt x="85" y="10"/>
                  </a:lnTo>
                  <a:lnTo>
                    <a:pt x="88" y="10"/>
                  </a:lnTo>
                  <a:lnTo>
                    <a:pt x="90" y="10"/>
                  </a:lnTo>
                  <a:lnTo>
                    <a:pt x="92" y="10"/>
                  </a:lnTo>
                  <a:lnTo>
                    <a:pt x="90" y="10"/>
                  </a:lnTo>
                  <a:lnTo>
                    <a:pt x="92" y="10"/>
                  </a:lnTo>
                  <a:lnTo>
                    <a:pt x="95" y="10"/>
                  </a:lnTo>
                  <a:lnTo>
                    <a:pt x="97" y="10"/>
                  </a:lnTo>
                  <a:lnTo>
                    <a:pt x="99" y="10"/>
                  </a:lnTo>
                  <a:lnTo>
                    <a:pt x="102" y="10"/>
                  </a:lnTo>
                  <a:lnTo>
                    <a:pt x="102" y="7"/>
                  </a:lnTo>
                  <a:lnTo>
                    <a:pt x="102" y="10"/>
                  </a:lnTo>
                  <a:lnTo>
                    <a:pt x="104" y="10"/>
                  </a:lnTo>
                  <a:lnTo>
                    <a:pt x="107" y="10"/>
                  </a:lnTo>
                  <a:lnTo>
                    <a:pt x="109" y="10"/>
                  </a:lnTo>
                  <a:lnTo>
                    <a:pt x="107" y="10"/>
                  </a:lnTo>
                  <a:lnTo>
                    <a:pt x="109" y="10"/>
                  </a:lnTo>
                  <a:lnTo>
                    <a:pt x="109" y="7"/>
                  </a:lnTo>
                  <a:lnTo>
                    <a:pt x="109" y="10"/>
                  </a:lnTo>
                  <a:lnTo>
                    <a:pt x="111" y="10"/>
                  </a:lnTo>
                  <a:lnTo>
                    <a:pt x="111" y="7"/>
                  </a:lnTo>
                  <a:lnTo>
                    <a:pt x="111" y="10"/>
                  </a:lnTo>
                  <a:lnTo>
                    <a:pt x="111" y="7"/>
                  </a:lnTo>
                  <a:lnTo>
                    <a:pt x="114" y="7"/>
                  </a:lnTo>
                  <a:lnTo>
                    <a:pt x="114" y="5"/>
                  </a:lnTo>
                  <a:lnTo>
                    <a:pt x="116" y="5"/>
                  </a:lnTo>
                  <a:lnTo>
                    <a:pt x="116" y="7"/>
                  </a:lnTo>
                  <a:lnTo>
                    <a:pt x="116" y="10"/>
                  </a:lnTo>
                  <a:lnTo>
                    <a:pt x="118" y="10"/>
                  </a:lnTo>
                  <a:lnTo>
                    <a:pt x="121" y="10"/>
                  </a:lnTo>
                  <a:lnTo>
                    <a:pt x="123" y="10"/>
                  </a:lnTo>
                  <a:lnTo>
                    <a:pt x="126" y="10"/>
                  </a:lnTo>
                  <a:lnTo>
                    <a:pt x="128" y="10"/>
                  </a:lnTo>
                  <a:lnTo>
                    <a:pt x="130" y="10"/>
                  </a:lnTo>
                  <a:lnTo>
                    <a:pt x="130" y="12"/>
                  </a:lnTo>
                  <a:lnTo>
                    <a:pt x="128" y="12"/>
                  </a:lnTo>
                  <a:lnTo>
                    <a:pt x="130" y="12"/>
                  </a:lnTo>
                  <a:lnTo>
                    <a:pt x="130" y="10"/>
                  </a:lnTo>
                  <a:lnTo>
                    <a:pt x="130" y="12"/>
                  </a:lnTo>
                  <a:lnTo>
                    <a:pt x="133" y="12"/>
                  </a:lnTo>
                  <a:lnTo>
                    <a:pt x="135" y="12"/>
                  </a:lnTo>
                  <a:lnTo>
                    <a:pt x="135" y="14"/>
                  </a:lnTo>
                  <a:lnTo>
                    <a:pt x="137" y="14"/>
                  </a:lnTo>
                  <a:lnTo>
                    <a:pt x="137" y="12"/>
                  </a:lnTo>
                  <a:lnTo>
                    <a:pt x="137" y="14"/>
                  </a:lnTo>
                  <a:lnTo>
                    <a:pt x="140" y="14"/>
                  </a:lnTo>
                  <a:lnTo>
                    <a:pt x="142" y="14"/>
                  </a:lnTo>
                  <a:lnTo>
                    <a:pt x="144" y="14"/>
                  </a:lnTo>
                  <a:lnTo>
                    <a:pt x="147" y="14"/>
                  </a:lnTo>
                  <a:lnTo>
                    <a:pt x="149" y="14"/>
                  </a:lnTo>
                  <a:lnTo>
                    <a:pt x="149" y="17"/>
                  </a:lnTo>
                  <a:lnTo>
                    <a:pt x="152" y="17"/>
                  </a:lnTo>
                  <a:lnTo>
                    <a:pt x="154" y="17"/>
                  </a:lnTo>
                  <a:lnTo>
                    <a:pt x="156" y="17"/>
                  </a:lnTo>
                  <a:lnTo>
                    <a:pt x="159" y="17"/>
                  </a:lnTo>
                  <a:lnTo>
                    <a:pt x="161" y="17"/>
                  </a:lnTo>
                  <a:lnTo>
                    <a:pt x="163" y="17"/>
                  </a:lnTo>
                  <a:lnTo>
                    <a:pt x="166" y="17"/>
                  </a:lnTo>
                  <a:lnTo>
                    <a:pt x="168" y="17"/>
                  </a:lnTo>
                  <a:lnTo>
                    <a:pt x="171" y="17"/>
                  </a:lnTo>
                  <a:lnTo>
                    <a:pt x="173" y="17"/>
                  </a:lnTo>
                  <a:lnTo>
                    <a:pt x="171" y="17"/>
                  </a:lnTo>
                  <a:lnTo>
                    <a:pt x="173" y="14"/>
                  </a:lnTo>
                  <a:lnTo>
                    <a:pt x="173" y="17"/>
                  </a:lnTo>
                  <a:lnTo>
                    <a:pt x="173" y="14"/>
                  </a:lnTo>
                  <a:lnTo>
                    <a:pt x="175" y="14"/>
                  </a:lnTo>
                  <a:lnTo>
                    <a:pt x="175" y="17"/>
                  </a:lnTo>
                  <a:lnTo>
                    <a:pt x="175" y="14"/>
                  </a:lnTo>
                  <a:lnTo>
                    <a:pt x="178" y="14"/>
                  </a:lnTo>
                  <a:lnTo>
                    <a:pt x="180" y="14"/>
                  </a:lnTo>
                  <a:lnTo>
                    <a:pt x="180" y="12"/>
                  </a:lnTo>
                  <a:lnTo>
                    <a:pt x="180" y="14"/>
                  </a:lnTo>
                  <a:lnTo>
                    <a:pt x="180" y="12"/>
                  </a:lnTo>
                  <a:lnTo>
                    <a:pt x="182" y="12"/>
                  </a:lnTo>
                  <a:lnTo>
                    <a:pt x="182" y="14"/>
                  </a:lnTo>
                  <a:lnTo>
                    <a:pt x="180" y="14"/>
                  </a:lnTo>
                  <a:lnTo>
                    <a:pt x="180" y="17"/>
                  </a:lnTo>
                  <a:lnTo>
                    <a:pt x="182" y="17"/>
                  </a:lnTo>
                  <a:lnTo>
                    <a:pt x="180" y="17"/>
                  </a:lnTo>
                  <a:lnTo>
                    <a:pt x="182" y="17"/>
                  </a:lnTo>
                  <a:lnTo>
                    <a:pt x="180" y="17"/>
                  </a:lnTo>
                  <a:lnTo>
                    <a:pt x="182" y="17"/>
                  </a:lnTo>
                  <a:lnTo>
                    <a:pt x="180" y="17"/>
                  </a:lnTo>
                  <a:lnTo>
                    <a:pt x="182" y="17"/>
                  </a:lnTo>
                  <a:lnTo>
                    <a:pt x="182" y="14"/>
                  </a:lnTo>
                  <a:lnTo>
                    <a:pt x="182" y="17"/>
                  </a:lnTo>
                  <a:lnTo>
                    <a:pt x="185" y="14"/>
                  </a:lnTo>
                  <a:lnTo>
                    <a:pt x="182" y="14"/>
                  </a:lnTo>
                  <a:lnTo>
                    <a:pt x="185" y="14"/>
                  </a:lnTo>
                  <a:lnTo>
                    <a:pt x="185" y="12"/>
                  </a:lnTo>
                  <a:lnTo>
                    <a:pt x="187" y="12"/>
                  </a:lnTo>
                  <a:lnTo>
                    <a:pt x="190" y="1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8" name="Freeform 57959"/>
            <p:cNvSpPr>
              <a:spLocks noEditPoints="1"/>
            </p:cNvSpPr>
            <p:nvPr/>
          </p:nvSpPr>
          <p:spPr bwMode="auto">
            <a:xfrm>
              <a:off x="1558923" y="5199079"/>
              <a:ext cx="623888" cy="449265"/>
            </a:xfrm>
            <a:custGeom>
              <a:avLst/>
              <a:gdLst>
                <a:gd name="T0" fmla="*/ 68 w 393"/>
                <a:gd name="T1" fmla="*/ 280 h 283"/>
                <a:gd name="T2" fmla="*/ 68 w 393"/>
                <a:gd name="T3" fmla="*/ 280 h 283"/>
                <a:gd name="T4" fmla="*/ 66 w 393"/>
                <a:gd name="T5" fmla="*/ 280 h 283"/>
                <a:gd name="T6" fmla="*/ 64 w 393"/>
                <a:gd name="T7" fmla="*/ 278 h 283"/>
                <a:gd name="T8" fmla="*/ 66 w 393"/>
                <a:gd name="T9" fmla="*/ 280 h 283"/>
                <a:gd name="T10" fmla="*/ 66 w 393"/>
                <a:gd name="T11" fmla="*/ 278 h 283"/>
                <a:gd name="T12" fmla="*/ 64 w 393"/>
                <a:gd name="T13" fmla="*/ 276 h 283"/>
                <a:gd name="T14" fmla="*/ 341 w 393"/>
                <a:gd name="T15" fmla="*/ 207 h 283"/>
                <a:gd name="T16" fmla="*/ 344 w 393"/>
                <a:gd name="T17" fmla="*/ 209 h 283"/>
                <a:gd name="T18" fmla="*/ 346 w 393"/>
                <a:gd name="T19" fmla="*/ 214 h 283"/>
                <a:gd name="T20" fmla="*/ 346 w 393"/>
                <a:gd name="T21" fmla="*/ 214 h 283"/>
                <a:gd name="T22" fmla="*/ 344 w 393"/>
                <a:gd name="T23" fmla="*/ 212 h 283"/>
                <a:gd name="T24" fmla="*/ 341 w 393"/>
                <a:gd name="T25" fmla="*/ 214 h 283"/>
                <a:gd name="T26" fmla="*/ 341 w 393"/>
                <a:gd name="T27" fmla="*/ 209 h 283"/>
                <a:gd name="T28" fmla="*/ 341 w 393"/>
                <a:gd name="T29" fmla="*/ 209 h 283"/>
                <a:gd name="T30" fmla="*/ 334 w 393"/>
                <a:gd name="T31" fmla="*/ 200 h 283"/>
                <a:gd name="T32" fmla="*/ 334 w 393"/>
                <a:gd name="T33" fmla="*/ 200 h 283"/>
                <a:gd name="T34" fmla="*/ 393 w 393"/>
                <a:gd name="T35" fmla="*/ 190 h 283"/>
                <a:gd name="T36" fmla="*/ 391 w 393"/>
                <a:gd name="T37" fmla="*/ 193 h 283"/>
                <a:gd name="T38" fmla="*/ 391 w 393"/>
                <a:gd name="T39" fmla="*/ 193 h 283"/>
                <a:gd name="T40" fmla="*/ 391 w 393"/>
                <a:gd name="T41" fmla="*/ 193 h 283"/>
                <a:gd name="T42" fmla="*/ 391 w 393"/>
                <a:gd name="T43" fmla="*/ 193 h 283"/>
                <a:gd name="T44" fmla="*/ 393 w 393"/>
                <a:gd name="T45" fmla="*/ 190 h 283"/>
                <a:gd name="T46" fmla="*/ 393 w 393"/>
                <a:gd name="T47" fmla="*/ 190 h 283"/>
                <a:gd name="T48" fmla="*/ 372 w 393"/>
                <a:gd name="T49" fmla="*/ 174 h 283"/>
                <a:gd name="T50" fmla="*/ 370 w 393"/>
                <a:gd name="T51" fmla="*/ 171 h 283"/>
                <a:gd name="T52" fmla="*/ 2 w 393"/>
                <a:gd name="T53" fmla="*/ 52 h 283"/>
                <a:gd name="T54" fmla="*/ 2 w 393"/>
                <a:gd name="T55" fmla="*/ 52 h 283"/>
                <a:gd name="T56" fmla="*/ 2 w 393"/>
                <a:gd name="T57" fmla="*/ 52 h 283"/>
                <a:gd name="T58" fmla="*/ 0 w 393"/>
                <a:gd name="T59" fmla="*/ 52 h 283"/>
                <a:gd name="T60" fmla="*/ 0 w 393"/>
                <a:gd name="T61" fmla="*/ 50 h 283"/>
                <a:gd name="T62" fmla="*/ 2 w 393"/>
                <a:gd name="T63" fmla="*/ 52 h 283"/>
                <a:gd name="T64" fmla="*/ 0 w 393"/>
                <a:gd name="T65" fmla="*/ 43 h 283"/>
                <a:gd name="T66" fmla="*/ 4 w 393"/>
                <a:gd name="T67" fmla="*/ 40 h 283"/>
                <a:gd name="T68" fmla="*/ 4 w 393"/>
                <a:gd name="T69" fmla="*/ 40 h 283"/>
                <a:gd name="T70" fmla="*/ 4 w 393"/>
                <a:gd name="T71" fmla="*/ 40 h 283"/>
                <a:gd name="T72" fmla="*/ 2 w 393"/>
                <a:gd name="T73" fmla="*/ 38 h 283"/>
                <a:gd name="T74" fmla="*/ 4 w 393"/>
                <a:gd name="T75" fmla="*/ 0 h 283"/>
                <a:gd name="T76" fmla="*/ 4 w 393"/>
                <a:gd name="T7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3" h="283">
                  <a:moveTo>
                    <a:pt x="66" y="280"/>
                  </a:moveTo>
                  <a:lnTo>
                    <a:pt x="68" y="280"/>
                  </a:lnTo>
                  <a:lnTo>
                    <a:pt x="68" y="283"/>
                  </a:lnTo>
                  <a:lnTo>
                    <a:pt x="68" y="280"/>
                  </a:lnTo>
                  <a:lnTo>
                    <a:pt x="66" y="280"/>
                  </a:lnTo>
                  <a:close/>
                  <a:moveTo>
                    <a:pt x="66" y="280"/>
                  </a:moveTo>
                  <a:lnTo>
                    <a:pt x="66" y="278"/>
                  </a:lnTo>
                  <a:lnTo>
                    <a:pt x="64" y="278"/>
                  </a:lnTo>
                  <a:lnTo>
                    <a:pt x="66" y="278"/>
                  </a:lnTo>
                  <a:lnTo>
                    <a:pt x="66" y="280"/>
                  </a:lnTo>
                  <a:close/>
                  <a:moveTo>
                    <a:pt x="64" y="278"/>
                  </a:moveTo>
                  <a:lnTo>
                    <a:pt x="66" y="278"/>
                  </a:lnTo>
                  <a:lnTo>
                    <a:pt x="64" y="278"/>
                  </a:lnTo>
                  <a:lnTo>
                    <a:pt x="64" y="276"/>
                  </a:lnTo>
                  <a:lnTo>
                    <a:pt x="64" y="278"/>
                  </a:lnTo>
                  <a:close/>
                  <a:moveTo>
                    <a:pt x="341" y="207"/>
                  </a:moveTo>
                  <a:lnTo>
                    <a:pt x="341" y="209"/>
                  </a:lnTo>
                  <a:lnTo>
                    <a:pt x="344" y="209"/>
                  </a:lnTo>
                  <a:lnTo>
                    <a:pt x="344" y="212"/>
                  </a:lnTo>
                  <a:lnTo>
                    <a:pt x="346" y="214"/>
                  </a:lnTo>
                  <a:lnTo>
                    <a:pt x="346" y="212"/>
                  </a:lnTo>
                  <a:lnTo>
                    <a:pt x="346" y="214"/>
                  </a:lnTo>
                  <a:lnTo>
                    <a:pt x="344" y="214"/>
                  </a:lnTo>
                  <a:lnTo>
                    <a:pt x="344" y="212"/>
                  </a:lnTo>
                  <a:lnTo>
                    <a:pt x="341" y="212"/>
                  </a:lnTo>
                  <a:lnTo>
                    <a:pt x="341" y="214"/>
                  </a:lnTo>
                  <a:lnTo>
                    <a:pt x="341" y="212"/>
                  </a:lnTo>
                  <a:lnTo>
                    <a:pt x="341" y="209"/>
                  </a:lnTo>
                  <a:lnTo>
                    <a:pt x="341" y="212"/>
                  </a:lnTo>
                  <a:lnTo>
                    <a:pt x="341" y="209"/>
                  </a:lnTo>
                  <a:lnTo>
                    <a:pt x="341" y="207"/>
                  </a:lnTo>
                  <a:close/>
                  <a:moveTo>
                    <a:pt x="334" y="200"/>
                  </a:moveTo>
                  <a:lnTo>
                    <a:pt x="334" y="197"/>
                  </a:lnTo>
                  <a:lnTo>
                    <a:pt x="334" y="200"/>
                  </a:lnTo>
                  <a:close/>
                  <a:moveTo>
                    <a:pt x="391" y="190"/>
                  </a:moveTo>
                  <a:lnTo>
                    <a:pt x="393" y="190"/>
                  </a:lnTo>
                  <a:lnTo>
                    <a:pt x="393" y="193"/>
                  </a:lnTo>
                  <a:lnTo>
                    <a:pt x="391" y="193"/>
                  </a:lnTo>
                  <a:lnTo>
                    <a:pt x="393" y="193"/>
                  </a:lnTo>
                  <a:lnTo>
                    <a:pt x="391" y="193"/>
                  </a:lnTo>
                  <a:lnTo>
                    <a:pt x="391" y="190"/>
                  </a:lnTo>
                  <a:lnTo>
                    <a:pt x="391" y="193"/>
                  </a:lnTo>
                  <a:lnTo>
                    <a:pt x="391" y="190"/>
                  </a:lnTo>
                  <a:lnTo>
                    <a:pt x="391" y="193"/>
                  </a:lnTo>
                  <a:lnTo>
                    <a:pt x="391" y="190"/>
                  </a:lnTo>
                  <a:close/>
                  <a:moveTo>
                    <a:pt x="393" y="190"/>
                  </a:moveTo>
                  <a:lnTo>
                    <a:pt x="391" y="190"/>
                  </a:lnTo>
                  <a:lnTo>
                    <a:pt x="393" y="190"/>
                  </a:lnTo>
                  <a:close/>
                  <a:moveTo>
                    <a:pt x="372" y="171"/>
                  </a:moveTo>
                  <a:lnTo>
                    <a:pt x="372" y="174"/>
                  </a:lnTo>
                  <a:lnTo>
                    <a:pt x="370" y="174"/>
                  </a:lnTo>
                  <a:lnTo>
                    <a:pt x="370" y="171"/>
                  </a:lnTo>
                  <a:lnTo>
                    <a:pt x="372" y="171"/>
                  </a:lnTo>
                  <a:close/>
                  <a:moveTo>
                    <a:pt x="2" y="52"/>
                  </a:moveTo>
                  <a:lnTo>
                    <a:pt x="2" y="55"/>
                  </a:lnTo>
                  <a:lnTo>
                    <a:pt x="2" y="52"/>
                  </a:lnTo>
                  <a:lnTo>
                    <a:pt x="2" y="55"/>
                  </a:lnTo>
                  <a:lnTo>
                    <a:pt x="2" y="52"/>
                  </a:lnTo>
                  <a:close/>
                  <a:moveTo>
                    <a:pt x="2" y="52"/>
                  </a:moveTo>
                  <a:lnTo>
                    <a:pt x="0" y="52"/>
                  </a:lnTo>
                  <a:lnTo>
                    <a:pt x="2" y="52"/>
                  </a:lnTo>
                  <a:lnTo>
                    <a:pt x="0" y="50"/>
                  </a:lnTo>
                  <a:lnTo>
                    <a:pt x="2" y="50"/>
                  </a:lnTo>
                  <a:lnTo>
                    <a:pt x="2" y="52"/>
                  </a:lnTo>
                  <a:close/>
                  <a:moveTo>
                    <a:pt x="0" y="45"/>
                  </a:moveTo>
                  <a:lnTo>
                    <a:pt x="0" y="43"/>
                  </a:lnTo>
                  <a:lnTo>
                    <a:pt x="0" y="45"/>
                  </a:lnTo>
                  <a:close/>
                  <a:moveTo>
                    <a:pt x="4" y="40"/>
                  </a:moveTo>
                  <a:lnTo>
                    <a:pt x="2" y="40"/>
                  </a:lnTo>
                  <a:lnTo>
                    <a:pt x="4" y="40"/>
                  </a:lnTo>
                  <a:lnTo>
                    <a:pt x="2" y="40"/>
                  </a:lnTo>
                  <a:lnTo>
                    <a:pt x="4" y="40"/>
                  </a:lnTo>
                  <a:close/>
                  <a:moveTo>
                    <a:pt x="2" y="36"/>
                  </a:moveTo>
                  <a:lnTo>
                    <a:pt x="2" y="38"/>
                  </a:lnTo>
                  <a:lnTo>
                    <a:pt x="2" y="36"/>
                  </a:lnTo>
                  <a:close/>
                  <a:moveTo>
                    <a:pt x="4" y="0"/>
                  </a:moveTo>
                  <a:lnTo>
                    <a:pt x="2" y="0"/>
                  </a:lnTo>
                  <a:lnTo>
                    <a:pt x="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9" name="Freeform 57960"/>
            <p:cNvSpPr>
              <a:spLocks noEditPoints="1"/>
            </p:cNvSpPr>
            <p:nvPr/>
          </p:nvSpPr>
          <p:spPr bwMode="auto">
            <a:xfrm>
              <a:off x="1546223" y="5172090"/>
              <a:ext cx="636587" cy="528639"/>
            </a:xfrm>
            <a:custGeom>
              <a:avLst/>
              <a:gdLst>
                <a:gd name="T0" fmla="*/ 98 w 401"/>
                <a:gd name="T1" fmla="*/ 331 h 333"/>
                <a:gd name="T2" fmla="*/ 98 w 401"/>
                <a:gd name="T3" fmla="*/ 333 h 333"/>
                <a:gd name="T4" fmla="*/ 98 w 401"/>
                <a:gd name="T5" fmla="*/ 331 h 333"/>
                <a:gd name="T6" fmla="*/ 72 w 401"/>
                <a:gd name="T7" fmla="*/ 295 h 333"/>
                <a:gd name="T8" fmla="*/ 72 w 401"/>
                <a:gd name="T9" fmla="*/ 293 h 333"/>
                <a:gd name="T10" fmla="*/ 72 w 401"/>
                <a:gd name="T11" fmla="*/ 295 h 333"/>
                <a:gd name="T12" fmla="*/ 74 w 401"/>
                <a:gd name="T13" fmla="*/ 293 h 333"/>
                <a:gd name="T14" fmla="*/ 72 w 401"/>
                <a:gd name="T15" fmla="*/ 293 h 333"/>
                <a:gd name="T16" fmla="*/ 74 w 401"/>
                <a:gd name="T17" fmla="*/ 293 h 333"/>
                <a:gd name="T18" fmla="*/ 271 w 401"/>
                <a:gd name="T19" fmla="*/ 278 h 333"/>
                <a:gd name="T20" fmla="*/ 271 w 401"/>
                <a:gd name="T21" fmla="*/ 281 h 333"/>
                <a:gd name="T22" fmla="*/ 271 w 401"/>
                <a:gd name="T23" fmla="*/ 278 h 333"/>
                <a:gd name="T24" fmla="*/ 278 w 401"/>
                <a:gd name="T25" fmla="*/ 274 h 333"/>
                <a:gd name="T26" fmla="*/ 278 w 401"/>
                <a:gd name="T27" fmla="*/ 276 h 333"/>
                <a:gd name="T28" fmla="*/ 278 w 401"/>
                <a:gd name="T29" fmla="*/ 274 h 333"/>
                <a:gd name="T30" fmla="*/ 349 w 401"/>
                <a:gd name="T31" fmla="*/ 221 h 333"/>
                <a:gd name="T32" fmla="*/ 349 w 401"/>
                <a:gd name="T33" fmla="*/ 219 h 333"/>
                <a:gd name="T34" fmla="*/ 349 w 401"/>
                <a:gd name="T35" fmla="*/ 221 h 333"/>
                <a:gd name="T36" fmla="*/ 342 w 401"/>
                <a:gd name="T37" fmla="*/ 217 h 333"/>
                <a:gd name="T38" fmla="*/ 340 w 401"/>
                <a:gd name="T39" fmla="*/ 217 h 333"/>
                <a:gd name="T40" fmla="*/ 342 w 401"/>
                <a:gd name="T41" fmla="*/ 217 h 333"/>
                <a:gd name="T42" fmla="*/ 401 w 401"/>
                <a:gd name="T43" fmla="*/ 207 h 333"/>
                <a:gd name="T44" fmla="*/ 401 w 401"/>
                <a:gd name="T45" fmla="*/ 205 h 333"/>
                <a:gd name="T46" fmla="*/ 401 w 401"/>
                <a:gd name="T47" fmla="*/ 207 h 333"/>
                <a:gd name="T48" fmla="*/ 383 w 401"/>
                <a:gd name="T49" fmla="*/ 193 h 333"/>
                <a:gd name="T50" fmla="*/ 385 w 401"/>
                <a:gd name="T51" fmla="*/ 193 h 333"/>
                <a:gd name="T52" fmla="*/ 383 w 401"/>
                <a:gd name="T53" fmla="*/ 193 h 333"/>
                <a:gd name="T54" fmla="*/ 380 w 401"/>
                <a:gd name="T55" fmla="*/ 191 h 333"/>
                <a:gd name="T56" fmla="*/ 380 w 401"/>
                <a:gd name="T57" fmla="*/ 188 h 333"/>
                <a:gd name="T58" fmla="*/ 380 w 401"/>
                <a:gd name="T59" fmla="*/ 191 h 333"/>
                <a:gd name="T60" fmla="*/ 8 w 401"/>
                <a:gd name="T61" fmla="*/ 65 h 333"/>
                <a:gd name="T62" fmla="*/ 8 w 401"/>
                <a:gd name="T63" fmla="*/ 62 h 333"/>
                <a:gd name="T64" fmla="*/ 8 w 401"/>
                <a:gd name="T65" fmla="*/ 65 h 333"/>
                <a:gd name="T66" fmla="*/ 10 w 401"/>
                <a:gd name="T67" fmla="*/ 55 h 333"/>
                <a:gd name="T68" fmla="*/ 8 w 401"/>
                <a:gd name="T69" fmla="*/ 55 h 333"/>
                <a:gd name="T70" fmla="*/ 10 w 401"/>
                <a:gd name="T71" fmla="*/ 55 h 333"/>
                <a:gd name="T72" fmla="*/ 0 w 401"/>
                <a:gd name="T73" fmla="*/ 43 h 333"/>
                <a:gd name="T74" fmla="*/ 0 w 401"/>
                <a:gd name="T75" fmla="*/ 41 h 333"/>
                <a:gd name="T76" fmla="*/ 0 w 401"/>
                <a:gd name="T77" fmla="*/ 43 h 333"/>
                <a:gd name="T78" fmla="*/ 0 w 401"/>
                <a:gd name="T79" fmla="*/ 41 h 333"/>
                <a:gd name="T80" fmla="*/ 0 w 401"/>
                <a:gd name="T81" fmla="*/ 38 h 333"/>
                <a:gd name="T82" fmla="*/ 0 w 401"/>
                <a:gd name="T83" fmla="*/ 41 h 333"/>
                <a:gd name="T84" fmla="*/ 24 w 401"/>
                <a:gd name="T85" fmla="*/ 17 h 333"/>
                <a:gd name="T86" fmla="*/ 24 w 401"/>
                <a:gd name="T87" fmla="*/ 15 h 333"/>
                <a:gd name="T88" fmla="*/ 24 w 401"/>
                <a:gd name="T89" fmla="*/ 17 h 333"/>
                <a:gd name="T90" fmla="*/ 171 w 401"/>
                <a:gd name="T91" fmla="*/ 12 h 333"/>
                <a:gd name="T92" fmla="*/ 169 w 401"/>
                <a:gd name="T93" fmla="*/ 12 h 333"/>
                <a:gd name="T94" fmla="*/ 171 w 401"/>
                <a:gd name="T95" fmla="*/ 12 h 333"/>
                <a:gd name="T96" fmla="*/ 29 w 401"/>
                <a:gd name="T97" fmla="*/ 10 h 333"/>
                <a:gd name="T98" fmla="*/ 27 w 401"/>
                <a:gd name="T99" fmla="*/ 10 h 333"/>
                <a:gd name="T100" fmla="*/ 29 w 401"/>
                <a:gd name="T101" fmla="*/ 10 h 333"/>
                <a:gd name="T102" fmla="*/ 46 w 401"/>
                <a:gd name="T103" fmla="*/ 0 h 333"/>
                <a:gd name="T104" fmla="*/ 43 w 401"/>
                <a:gd name="T105" fmla="*/ 0 h 333"/>
                <a:gd name="T106" fmla="*/ 46 w 401"/>
                <a:gd name="T107"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1" h="333">
                  <a:moveTo>
                    <a:pt x="98" y="331"/>
                  </a:moveTo>
                  <a:lnTo>
                    <a:pt x="98" y="333"/>
                  </a:lnTo>
                  <a:lnTo>
                    <a:pt x="98" y="331"/>
                  </a:lnTo>
                  <a:close/>
                  <a:moveTo>
                    <a:pt x="72" y="295"/>
                  </a:moveTo>
                  <a:lnTo>
                    <a:pt x="72" y="293"/>
                  </a:lnTo>
                  <a:lnTo>
                    <a:pt x="72" y="295"/>
                  </a:lnTo>
                  <a:close/>
                  <a:moveTo>
                    <a:pt x="74" y="293"/>
                  </a:moveTo>
                  <a:lnTo>
                    <a:pt x="72" y="293"/>
                  </a:lnTo>
                  <a:lnTo>
                    <a:pt x="74" y="293"/>
                  </a:lnTo>
                  <a:close/>
                  <a:moveTo>
                    <a:pt x="271" y="278"/>
                  </a:moveTo>
                  <a:lnTo>
                    <a:pt x="271" y="281"/>
                  </a:lnTo>
                  <a:lnTo>
                    <a:pt x="271" y="278"/>
                  </a:lnTo>
                  <a:close/>
                  <a:moveTo>
                    <a:pt x="278" y="274"/>
                  </a:moveTo>
                  <a:lnTo>
                    <a:pt x="278" y="276"/>
                  </a:lnTo>
                  <a:lnTo>
                    <a:pt x="278" y="274"/>
                  </a:lnTo>
                  <a:close/>
                  <a:moveTo>
                    <a:pt x="349" y="221"/>
                  </a:moveTo>
                  <a:lnTo>
                    <a:pt x="349" y="219"/>
                  </a:lnTo>
                  <a:lnTo>
                    <a:pt x="349" y="221"/>
                  </a:lnTo>
                  <a:close/>
                  <a:moveTo>
                    <a:pt x="342" y="217"/>
                  </a:moveTo>
                  <a:lnTo>
                    <a:pt x="340" y="217"/>
                  </a:lnTo>
                  <a:lnTo>
                    <a:pt x="342" y="217"/>
                  </a:lnTo>
                  <a:close/>
                  <a:moveTo>
                    <a:pt x="401" y="207"/>
                  </a:moveTo>
                  <a:lnTo>
                    <a:pt x="401" y="205"/>
                  </a:lnTo>
                  <a:lnTo>
                    <a:pt x="401" y="207"/>
                  </a:lnTo>
                  <a:close/>
                  <a:moveTo>
                    <a:pt x="383" y="193"/>
                  </a:moveTo>
                  <a:lnTo>
                    <a:pt x="385" y="193"/>
                  </a:lnTo>
                  <a:lnTo>
                    <a:pt x="383" y="193"/>
                  </a:lnTo>
                  <a:close/>
                  <a:moveTo>
                    <a:pt x="380" y="191"/>
                  </a:moveTo>
                  <a:lnTo>
                    <a:pt x="380" y="188"/>
                  </a:lnTo>
                  <a:lnTo>
                    <a:pt x="380" y="191"/>
                  </a:lnTo>
                  <a:close/>
                  <a:moveTo>
                    <a:pt x="8" y="65"/>
                  </a:moveTo>
                  <a:lnTo>
                    <a:pt x="8" y="62"/>
                  </a:lnTo>
                  <a:lnTo>
                    <a:pt x="8" y="65"/>
                  </a:lnTo>
                  <a:close/>
                  <a:moveTo>
                    <a:pt x="10" y="55"/>
                  </a:moveTo>
                  <a:lnTo>
                    <a:pt x="8" y="55"/>
                  </a:lnTo>
                  <a:lnTo>
                    <a:pt x="10" y="55"/>
                  </a:lnTo>
                  <a:close/>
                  <a:moveTo>
                    <a:pt x="0" y="43"/>
                  </a:moveTo>
                  <a:lnTo>
                    <a:pt x="0" y="41"/>
                  </a:lnTo>
                  <a:lnTo>
                    <a:pt x="0" y="43"/>
                  </a:lnTo>
                  <a:close/>
                  <a:moveTo>
                    <a:pt x="0" y="41"/>
                  </a:moveTo>
                  <a:lnTo>
                    <a:pt x="0" y="38"/>
                  </a:lnTo>
                  <a:lnTo>
                    <a:pt x="0" y="41"/>
                  </a:lnTo>
                  <a:close/>
                  <a:moveTo>
                    <a:pt x="24" y="17"/>
                  </a:moveTo>
                  <a:lnTo>
                    <a:pt x="24" y="15"/>
                  </a:lnTo>
                  <a:lnTo>
                    <a:pt x="24" y="17"/>
                  </a:lnTo>
                  <a:close/>
                  <a:moveTo>
                    <a:pt x="171" y="12"/>
                  </a:moveTo>
                  <a:lnTo>
                    <a:pt x="169" y="12"/>
                  </a:lnTo>
                  <a:lnTo>
                    <a:pt x="171" y="12"/>
                  </a:lnTo>
                  <a:close/>
                  <a:moveTo>
                    <a:pt x="29" y="10"/>
                  </a:moveTo>
                  <a:lnTo>
                    <a:pt x="27" y="10"/>
                  </a:lnTo>
                  <a:lnTo>
                    <a:pt x="29" y="10"/>
                  </a:lnTo>
                  <a:close/>
                  <a:moveTo>
                    <a:pt x="46" y="0"/>
                  </a:moveTo>
                  <a:lnTo>
                    <a:pt x="43" y="0"/>
                  </a:lnTo>
                  <a:lnTo>
                    <a:pt x="4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0" name="Freeform 57962"/>
            <p:cNvSpPr>
              <a:spLocks noEditPoints="1"/>
            </p:cNvSpPr>
            <p:nvPr/>
          </p:nvSpPr>
          <p:spPr bwMode="auto">
            <a:xfrm>
              <a:off x="586147" y="5488408"/>
              <a:ext cx="328613" cy="196850"/>
            </a:xfrm>
            <a:custGeom>
              <a:avLst/>
              <a:gdLst>
                <a:gd name="T0" fmla="*/ 207 w 207"/>
                <a:gd name="T1" fmla="*/ 122 h 124"/>
                <a:gd name="T2" fmla="*/ 207 w 207"/>
                <a:gd name="T3" fmla="*/ 124 h 124"/>
                <a:gd name="T4" fmla="*/ 202 w 207"/>
                <a:gd name="T5" fmla="*/ 124 h 124"/>
                <a:gd name="T6" fmla="*/ 199 w 207"/>
                <a:gd name="T7" fmla="*/ 122 h 124"/>
                <a:gd name="T8" fmla="*/ 204 w 207"/>
                <a:gd name="T9" fmla="*/ 122 h 124"/>
                <a:gd name="T10" fmla="*/ 97 w 207"/>
                <a:gd name="T11" fmla="*/ 53 h 124"/>
                <a:gd name="T12" fmla="*/ 100 w 207"/>
                <a:gd name="T13" fmla="*/ 55 h 124"/>
                <a:gd name="T14" fmla="*/ 104 w 207"/>
                <a:gd name="T15" fmla="*/ 57 h 124"/>
                <a:gd name="T16" fmla="*/ 107 w 207"/>
                <a:gd name="T17" fmla="*/ 60 h 124"/>
                <a:gd name="T18" fmla="*/ 102 w 207"/>
                <a:gd name="T19" fmla="*/ 60 h 124"/>
                <a:gd name="T20" fmla="*/ 97 w 207"/>
                <a:gd name="T21" fmla="*/ 57 h 124"/>
                <a:gd name="T22" fmla="*/ 97 w 207"/>
                <a:gd name="T23" fmla="*/ 57 h 124"/>
                <a:gd name="T24" fmla="*/ 97 w 207"/>
                <a:gd name="T25" fmla="*/ 57 h 124"/>
                <a:gd name="T26" fmla="*/ 93 w 207"/>
                <a:gd name="T27" fmla="*/ 57 h 124"/>
                <a:gd name="T28" fmla="*/ 90 w 207"/>
                <a:gd name="T29" fmla="*/ 55 h 124"/>
                <a:gd name="T30" fmla="*/ 93 w 207"/>
                <a:gd name="T31" fmla="*/ 53 h 124"/>
                <a:gd name="T32" fmla="*/ 83 w 207"/>
                <a:gd name="T33" fmla="*/ 48 h 124"/>
                <a:gd name="T34" fmla="*/ 85 w 207"/>
                <a:gd name="T35" fmla="*/ 50 h 124"/>
                <a:gd name="T36" fmla="*/ 88 w 207"/>
                <a:gd name="T37" fmla="*/ 53 h 124"/>
                <a:gd name="T38" fmla="*/ 85 w 207"/>
                <a:gd name="T39" fmla="*/ 53 h 124"/>
                <a:gd name="T40" fmla="*/ 85 w 207"/>
                <a:gd name="T41" fmla="*/ 53 h 124"/>
                <a:gd name="T42" fmla="*/ 83 w 207"/>
                <a:gd name="T43" fmla="*/ 53 h 124"/>
                <a:gd name="T44" fmla="*/ 81 w 207"/>
                <a:gd name="T45" fmla="*/ 50 h 124"/>
                <a:gd name="T46" fmla="*/ 83 w 207"/>
                <a:gd name="T47" fmla="*/ 48 h 124"/>
                <a:gd name="T48" fmla="*/ 100 w 207"/>
                <a:gd name="T49" fmla="*/ 43 h 124"/>
                <a:gd name="T50" fmla="*/ 102 w 207"/>
                <a:gd name="T51" fmla="*/ 46 h 124"/>
                <a:gd name="T52" fmla="*/ 107 w 207"/>
                <a:gd name="T53" fmla="*/ 46 h 124"/>
                <a:gd name="T54" fmla="*/ 109 w 207"/>
                <a:gd name="T55" fmla="*/ 48 h 124"/>
                <a:gd name="T56" fmla="*/ 112 w 207"/>
                <a:gd name="T57" fmla="*/ 50 h 124"/>
                <a:gd name="T58" fmla="*/ 114 w 207"/>
                <a:gd name="T59" fmla="*/ 53 h 124"/>
                <a:gd name="T60" fmla="*/ 114 w 207"/>
                <a:gd name="T61" fmla="*/ 53 h 124"/>
                <a:gd name="T62" fmla="*/ 109 w 207"/>
                <a:gd name="T63" fmla="*/ 50 h 124"/>
                <a:gd name="T64" fmla="*/ 104 w 207"/>
                <a:gd name="T65" fmla="*/ 50 h 124"/>
                <a:gd name="T66" fmla="*/ 102 w 207"/>
                <a:gd name="T67" fmla="*/ 48 h 124"/>
                <a:gd name="T68" fmla="*/ 100 w 207"/>
                <a:gd name="T69" fmla="*/ 46 h 124"/>
                <a:gd name="T70" fmla="*/ 100 w 207"/>
                <a:gd name="T71" fmla="*/ 46 h 124"/>
                <a:gd name="T72" fmla="*/ 97 w 207"/>
                <a:gd name="T73" fmla="*/ 43 h 124"/>
                <a:gd name="T74" fmla="*/ 135 w 207"/>
                <a:gd name="T75" fmla="*/ 41 h 124"/>
                <a:gd name="T76" fmla="*/ 135 w 207"/>
                <a:gd name="T77" fmla="*/ 41 h 124"/>
                <a:gd name="T78" fmla="*/ 138 w 207"/>
                <a:gd name="T79" fmla="*/ 41 h 124"/>
                <a:gd name="T80" fmla="*/ 140 w 207"/>
                <a:gd name="T81" fmla="*/ 43 h 124"/>
                <a:gd name="T82" fmla="*/ 138 w 207"/>
                <a:gd name="T83" fmla="*/ 46 h 124"/>
                <a:gd name="T84" fmla="*/ 138 w 207"/>
                <a:gd name="T85" fmla="*/ 46 h 124"/>
                <a:gd name="T86" fmla="*/ 138 w 207"/>
                <a:gd name="T87" fmla="*/ 46 h 124"/>
                <a:gd name="T88" fmla="*/ 138 w 207"/>
                <a:gd name="T89" fmla="*/ 46 h 124"/>
                <a:gd name="T90" fmla="*/ 135 w 207"/>
                <a:gd name="T91" fmla="*/ 48 h 124"/>
                <a:gd name="T92" fmla="*/ 131 w 207"/>
                <a:gd name="T93" fmla="*/ 48 h 124"/>
                <a:gd name="T94" fmla="*/ 128 w 207"/>
                <a:gd name="T95" fmla="*/ 43 h 124"/>
                <a:gd name="T96" fmla="*/ 131 w 207"/>
                <a:gd name="T97" fmla="*/ 41 h 124"/>
                <a:gd name="T98" fmla="*/ 107 w 207"/>
                <a:gd name="T99" fmla="*/ 29 h 124"/>
                <a:gd name="T100" fmla="*/ 109 w 207"/>
                <a:gd name="T101" fmla="*/ 31 h 124"/>
                <a:gd name="T102" fmla="*/ 104 w 207"/>
                <a:gd name="T103" fmla="*/ 31 h 124"/>
                <a:gd name="T104" fmla="*/ 107 w 207"/>
                <a:gd name="T105" fmla="*/ 29 h 124"/>
                <a:gd name="T106" fmla="*/ 2 w 207"/>
                <a:gd name="T107" fmla="*/ 10 h 124"/>
                <a:gd name="T108" fmla="*/ 5 w 207"/>
                <a:gd name="T109" fmla="*/ 12 h 124"/>
                <a:gd name="T110" fmla="*/ 5 w 207"/>
                <a:gd name="T111" fmla="*/ 12 h 124"/>
                <a:gd name="T112" fmla="*/ 2 w 207"/>
                <a:gd name="T113" fmla="*/ 15 h 124"/>
                <a:gd name="T114" fmla="*/ 0 w 207"/>
                <a:gd name="T115" fmla="*/ 12 h 124"/>
                <a:gd name="T116" fmla="*/ 2 w 207"/>
                <a:gd name="T117" fmla="*/ 10 h 124"/>
                <a:gd name="T118" fmla="*/ 5 w 207"/>
                <a:gd name="T119" fmla="*/ 0 h 124"/>
                <a:gd name="T120" fmla="*/ 5 w 207"/>
                <a:gd name="T1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7" h="124">
                  <a:moveTo>
                    <a:pt x="204" y="122"/>
                  </a:moveTo>
                  <a:lnTo>
                    <a:pt x="207" y="122"/>
                  </a:lnTo>
                  <a:lnTo>
                    <a:pt x="204" y="122"/>
                  </a:lnTo>
                  <a:lnTo>
                    <a:pt x="207" y="124"/>
                  </a:lnTo>
                  <a:lnTo>
                    <a:pt x="204" y="124"/>
                  </a:lnTo>
                  <a:lnTo>
                    <a:pt x="202" y="124"/>
                  </a:lnTo>
                  <a:lnTo>
                    <a:pt x="199" y="124"/>
                  </a:lnTo>
                  <a:lnTo>
                    <a:pt x="199" y="122"/>
                  </a:lnTo>
                  <a:lnTo>
                    <a:pt x="202" y="122"/>
                  </a:lnTo>
                  <a:lnTo>
                    <a:pt x="204" y="122"/>
                  </a:lnTo>
                  <a:close/>
                  <a:moveTo>
                    <a:pt x="95" y="53"/>
                  </a:moveTo>
                  <a:lnTo>
                    <a:pt x="97" y="53"/>
                  </a:lnTo>
                  <a:lnTo>
                    <a:pt x="97" y="55"/>
                  </a:lnTo>
                  <a:lnTo>
                    <a:pt x="100" y="55"/>
                  </a:lnTo>
                  <a:lnTo>
                    <a:pt x="102" y="57"/>
                  </a:lnTo>
                  <a:lnTo>
                    <a:pt x="104" y="57"/>
                  </a:lnTo>
                  <a:lnTo>
                    <a:pt x="107" y="57"/>
                  </a:lnTo>
                  <a:lnTo>
                    <a:pt x="107" y="60"/>
                  </a:lnTo>
                  <a:lnTo>
                    <a:pt x="104" y="60"/>
                  </a:lnTo>
                  <a:lnTo>
                    <a:pt x="102" y="60"/>
                  </a:lnTo>
                  <a:lnTo>
                    <a:pt x="100" y="60"/>
                  </a:lnTo>
                  <a:lnTo>
                    <a:pt x="97" y="57"/>
                  </a:lnTo>
                  <a:lnTo>
                    <a:pt x="97" y="60"/>
                  </a:lnTo>
                  <a:lnTo>
                    <a:pt x="97" y="57"/>
                  </a:lnTo>
                  <a:lnTo>
                    <a:pt x="97" y="60"/>
                  </a:lnTo>
                  <a:lnTo>
                    <a:pt x="97" y="57"/>
                  </a:lnTo>
                  <a:lnTo>
                    <a:pt x="95" y="57"/>
                  </a:lnTo>
                  <a:lnTo>
                    <a:pt x="93" y="57"/>
                  </a:lnTo>
                  <a:lnTo>
                    <a:pt x="90" y="57"/>
                  </a:lnTo>
                  <a:lnTo>
                    <a:pt x="90" y="55"/>
                  </a:lnTo>
                  <a:lnTo>
                    <a:pt x="90" y="53"/>
                  </a:lnTo>
                  <a:lnTo>
                    <a:pt x="93" y="53"/>
                  </a:lnTo>
                  <a:lnTo>
                    <a:pt x="95" y="53"/>
                  </a:lnTo>
                  <a:close/>
                  <a:moveTo>
                    <a:pt x="83" y="48"/>
                  </a:moveTo>
                  <a:lnTo>
                    <a:pt x="85" y="48"/>
                  </a:lnTo>
                  <a:lnTo>
                    <a:pt x="85" y="50"/>
                  </a:lnTo>
                  <a:lnTo>
                    <a:pt x="88" y="50"/>
                  </a:lnTo>
                  <a:lnTo>
                    <a:pt x="88" y="53"/>
                  </a:lnTo>
                  <a:lnTo>
                    <a:pt x="88" y="55"/>
                  </a:lnTo>
                  <a:lnTo>
                    <a:pt x="85" y="53"/>
                  </a:lnTo>
                  <a:lnTo>
                    <a:pt x="85" y="55"/>
                  </a:lnTo>
                  <a:lnTo>
                    <a:pt x="85" y="53"/>
                  </a:lnTo>
                  <a:lnTo>
                    <a:pt x="83" y="55"/>
                  </a:lnTo>
                  <a:lnTo>
                    <a:pt x="83" y="53"/>
                  </a:lnTo>
                  <a:lnTo>
                    <a:pt x="81" y="53"/>
                  </a:lnTo>
                  <a:lnTo>
                    <a:pt x="81" y="50"/>
                  </a:lnTo>
                  <a:lnTo>
                    <a:pt x="83" y="50"/>
                  </a:lnTo>
                  <a:lnTo>
                    <a:pt x="83" y="48"/>
                  </a:lnTo>
                  <a:close/>
                  <a:moveTo>
                    <a:pt x="97" y="43"/>
                  </a:moveTo>
                  <a:lnTo>
                    <a:pt x="100" y="43"/>
                  </a:lnTo>
                  <a:lnTo>
                    <a:pt x="100" y="46"/>
                  </a:lnTo>
                  <a:lnTo>
                    <a:pt x="102" y="46"/>
                  </a:lnTo>
                  <a:lnTo>
                    <a:pt x="104" y="46"/>
                  </a:lnTo>
                  <a:lnTo>
                    <a:pt x="107" y="46"/>
                  </a:lnTo>
                  <a:lnTo>
                    <a:pt x="107" y="48"/>
                  </a:lnTo>
                  <a:lnTo>
                    <a:pt x="109" y="48"/>
                  </a:lnTo>
                  <a:lnTo>
                    <a:pt x="109" y="50"/>
                  </a:lnTo>
                  <a:lnTo>
                    <a:pt x="112" y="50"/>
                  </a:lnTo>
                  <a:lnTo>
                    <a:pt x="114" y="50"/>
                  </a:lnTo>
                  <a:lnTo>
                    <a:pt x="114" y="53"/>
                  </a:lnTo>
                  <a:lnTo>
                    <a:pt x="116" y="53"/>
                  </a:lnTo>
                  <a:lnTo>
                    <a:pt x="114" y="53"/>
                  </a:lnTo>
                  <a:lnTo>
                    <a:pt x="112" y="53"/>
                  </a:lnTo>
                  <a:lnTo>
                    <a:pt x="109" y="50"/>
                  </a:lnTo>
                  <a:lnTo>
                    <a:pt x="107" y="50"/>
                  </a:lnTo>
                  <a:lnTo>
                    <a:pt x="104" y="50"/>
                  </a:lnTo>
                  <a:lnTo>
                    <a:pt x="104" y="48"/>
                  </a:lnTo>
                  <a:lnTo>
                    <a:pt x="102" y="48"/>
                  </a:lnTo>
                  <a:lnTo>
                    <a:pt x="100" y="48"/>
                  </a:lnTo>
                  <a:lnTo>
                    <a:pt x="100" y="46"/>
                  </a:lnTo>
                  <a:lnTo>
                    <a:pt x="100" y="48"/>
                  </a:lnTo>
                  <a:lnTo>
                    <a:pt x="100" y="46"/>
                  </a:lnTo>
                  <a:lnTo>
                    <a:pt x="97" y="46"/>
                  </a:lnTo>
                  <a:lnTo>
                    <a:pt x="97" y="43"/>
                  </a:lnTo>
                  <a:close/>
                  <a:moveTo>
                    <a:pt x="133" y="41"/>
                  </a:moveTo>
                  <a:lnTo>
                    <a:pt x="135" y="41"/>
                  </a:lnTo>
                  <a:lnTo>
                    <a:pt x="135" y="43"/>
                  </a:lnTo>
                  <a:lnTo>
                    <a:pt x="135" y="41"/>
                  </a:lnTo>
                  <a:lnTo>
                    <a:pt x="135" y="43"/>
                  </a:lnTo>
                  <a:lnTo>
                    <a:pt x="138" y="41"/>
                  </a:lnTo>
                  <a:lnTo>
                    <a:pt x="138" y="43"/>
                  </a:lnTo>
                  <a:lnTo>
                    <a:pt x="140" y="43"/>
                  </a:lnTo>
                  <a:lnTo>
                    <a:pt x="138" y="43"/>
                  </a:lnTo>
                  <a:lnTo>
                    <a:pt x="138" y="46"/>
                  </a:lnTo>
                  <a:lnTo>
                    <a:pt x="138" y="43"/>
                  </a:lnTo>
                  <a:lnTo>
                    <a:pt x="138" y="46"/>
                  </a:lnTo>
                  <a:lnTo>
                    <a:pt x="138" y="43"/>
                  </a:lnTo>
                  <a:lnTo>
                    <a:pt x="138" y="46"/>
                  </a:lnTo>
                  <a:lnTo>
                    <a:pt x="140" y="46"/>
                  </a:lnTo>
                  <a:lnTo>
                    <a:pt x="138" y="46"/>
                  </a:lnTo>
                  <a:lnTo>
                    <a:pt x="138" y="48"/>
                  </a:lnTo>
                  <a:lnTo>
                    <a:pt x="135" y="48"/>
                  </a:lnTo>
                  <a:lnTo>
                    <a:pt x="133" y="48"/>
                  </a:lnTo>
                  <a:lnTo>
                    <a:pt x="131" y="48"/>
                  </a:lnTo>
                  <a:lnTo>
                    <a:pt x="128" y="46"/>
                  </a:lnTo>
                  <a:lnTo>
                    <a:pt x="128" y="43"/>
                  </a:lnTo>
                  <a:lnTo>
                    <a:pt x="128" y="41"/>
                  </a:lnTo>
                  <a:lnTo>
                    <a:pt x="131" y="41"/>
                  </a:lnTo>
                  <a:lnTo>
                    <a:pt x="133" y="41"/>
                  </a:lnTo>
                  <a:close/>
                  <a:moveTo>
                    <a:pt x="107" y="29"/>
                  </a:moveTo>
                  <a:lnTo>
                    <a:pt x="109" y="29"/>
                  </a:lnTo>
                  <a:lnTo>
                    <a:pt x="109" y="31"/>
                  </a:lnTo>
                  <a:lnTo>
                    <a:pt x="107" y="31"/>
                  </a:lnTo>
                  <a:lnTo>
                    <a:pt x="104" y="31"/>
                  </a:lnTo>
                  <a:lnTo>
                    <a:pt x="104" y="29"/>
                  </a:lnTo>
                  <a:lnTo>
                    <a:pt x="107" y="29"/>
                  </a:lnTo>
                  <a:close/>
                  <a:moveTo>
                    <a:pt x="2" y="8"/>
                  </a:moveTo>
                  <a:lnTo>
                    <a:pt x="2" y="10"/>
                  </a:lnTo>
                  <a:lnTo>
                    <a:pt x="5" y="10"/>
                  </a:lnTo>
                  <a:lnTo>
                    <a:pt x="5" y="12"/>
                  </a:lnTo>
                  <a:lnTo>
                    <a:pt x="2" y="12"/>
                  </a:lnTo>
                  <a:lnTo>
                    <a:pt x="5" y="12"/>
                  </a:lnTo>
                  <a:lnTo>
                    <a:pt x="2" y="12"/>
                  </a:lnTo>
                  <a:lnTo>
                    <a:pt x="2" y="15"/>
                  </a:lnTo>
                  <a:lnTo>
                    <a:pt x="0" y="15"/>
                  </a:lnTo>
                  <a:lnTo>
                    <a:pt x="0" y="12"/>
                  </a:lnTo>
                  <a:lnTo>
                    <a:pt x="0" y="10"/>
                  </a:lnTo>
                  <a:lnTo>
                    <a:pt x="2" y="10"/>
                  </a:lnTo>
                  <a:lnTo>
                    <a:pt x="2" y="8"/>
                  </a:lnTo>
                  <a:close/>
                  <a:moveTo>
                    <a:pt x="5" y="0"/>
                  </a:moveTo>
                  <a:lnTo>
                    <a:pt x="5" y="3"/>
                  </a:lnTo>
                  <a:lnTo>
                    <a:pt x="5" y="0"/>
                  </a:lnTo>
                  <a:close/>
                </a:path>
              </a:pathLst>
            </a:custGeom>
            <a:grpFill/>
            <a:ln w="6350">
              <a:solidFill>
                <a:schemeClr val="bg1">
                  <a:lumMod val="85000"/>
                </a:schemeClr>
              </a:solidFill>
              <a:prstDash val="solid"/>
              <a:round/>
              <a:headEnd/>
              <a:tailEnd/>
            </a:ln>
          </p:spPr>
          <p:txBody>
            <a:bodyPr/>
            <a:lstStyle/>
            <a:p>
              <a:endParaRPr lang="en-US">
                <a:solidFill>
                  <a:srgbClr val="000000"/>
                </a:solidFill>
              </a:endParaRPr>
            </a:p>
          </p:txBody>
        </p:sp>
        <p:sp>
          <p:nvSpPr>
            <p:cNvPr id="131" name="Freeform 57963"/>
            <p:cNvSpPr>
              <a:spLocks noEditPoints="1"/>
            </p:cNvSpPr>
            <p:nvPr/>
          </p:nvSpPr>
          <p:spPr bwMode="auto">
            <a:xfrm>
              <a:off x="1155699" y="5922977"/>
              <a:ext cx="30163" cy="215901"/>
            </a:xfrm>
            <a:custGeom>
              <a:avLst/>
              <a:gdLst>
                <a:gd name="T0" fmla="*/ 19 w 19"/>
                <a:gd name="T1" fmla="*/ 136 h 136"/>
                <a:gd name="T2" fmla="*/ 19 w 19"/>
                <a:gd name="T3" fmla="*/ 133 h 136"/>
                <a:gd name="T4" fmla="*/ 19 w 19"/>
                <a:gd name="T5" fmla="*/ 133 h 136"/>
                <a:gd name="T6" fmla="*/ 19 w 19"/>
                <a:gd name="T7" fmla="*/ 133 h 136"/>
                <a:gd name="T8" fmla="*/ 19 w 19"/>
                <a:gd name="T9" fmla="*/ 136 h 136"/>
                <a:gd name="T10" fmla="*/ 19 w 19"/>
                <a:gd name="T11" fmla="*/ 133 h 136"/>
                <a:gd name="T12" fmla="*/ 19 w 19"/>
                <a:gd name="T13" fmla="*/ 133 h 136"/>
                <a:gd name="T14" fmla="*/ 19 w 19"/>
                <a:gd name="T15" fmla="*/ 133 h 136"/>
                <a:gd name="T16" fmla="*/ 19 w 19"/>
                <a:gd name="T17" fmla="*/ 133 h 136"/>
                <a:gd name="T18" fmla="*/ 19 w 19"/>
                <a:gd name="T19" fmla="*/ 133 h 136"/>
                <a:gd name="T20" fmla="*/ 19 w 19"/>
                <a:gd name="T21" fmla="*/ 133 h 136"/>
                <a:gd name="T22" fmla="*/ 19 w 19"/>
                <a:gd name="T23" fmla="*/ 133 h 136"/>
                <a:gd name="T24" fmla="*/ 19 w 19"/>
                <a:gd name="T25" fmla="*/ 133 h 136"/>
                <a:gd name="T26" fmla="*/ 19 w 19"/>
                <a:gd name="T27" fmla="*/ 133 h 136"/>
                <a:gd name="T28" fmla="*/ 19 w 19"/>
                <a:gd name="T29" fmla="*/ 133 h 136"/>
                <a:gd name="T30" fmla="*/ 19 w 19"/>
                <a:gd name="T31" fmla="*/ 133 h 136"/>
                <a:gd name="T32" fmla="*/ 19 w 19"/>
                <a:gd name="T33" fmla="*/ 133 h 136"/>
                <a:gd name="T34" fmla="*/ 0 w 19"/>
                <a:gd name="T35" fmla="*/ 19 h 136"/>
                <a:gd name="T36" fmla="*/ 0 w 19"/>
                <a:gd name="T37" fmla="*/ 19 h 136"/>
                <a:gd name="T38" fmla="*/ 0 w 19"/>
                <a:gd name="T39" fmla="*/ 19 h 136"/>
                <a:gd name="T40" fmla="*/ 0 w 19"/>
                <a:gd name="T41" fmla="*/ 19 h 136"/>
                <a:gd name="T42" fmla="*/ 7 w 19"/>
                <a:gd name="T43" fmla="*/ 14 h 136"/>
                <a:gd name="T44" fmla="*/ 7 w 19"/>
                <a:gd name="T45" fmla="*/ 14 h 136"/>
                <a:gd name="T46" fmla="*/ 7 w 19"/>
                <a:gd name="T47" fmla="*/ 14 h 136"/>
                <a:gd name="T48" fmla="*/ 12 w 19"/>
                <a:gd name="T49" fmla="*/ 3 h 136"/>
                <a:gd name="T50" fmla="*/ 12 w 19"/>
                <a:gd name="T51" fmla="*/ 3 h 136"/>
                <a:gd name="T52" fmla="*/ 12 w 19"/>
                <a:gd name="T53" fmla="*/ 3 h 136"/>
                <a:gd name="T54" fmla="*/ 9 w 19"/>
                <a:gd name="T55" fmla="*/ 3 h 136"/>
                <a:gd name="T56" fmla="*/ 9 w 19"/>
                <a:gd name="T57" fmla="*/ 3 h 136"/>
                <a:gd name="T58" fmla="*/ 9 w 19"/>
                <a:gd name="T59" fmla="*/ 3 h 136"/>
                <a:gd name="T60" fmla="*/ 12 w 19"/>
                <a:gd name="T61" fmla="*/ 3 h 136"/>
                <a:gd name="T62" fmla="*/ 12 w 19"/>
                <a:gd name="T63" fmla="*/ 3 h 136"/>
                <a:gd name="T64" fmla="*/ 12 w 19"/>
                <a:gd name="T65" fmla="*/ 0 h 136"/>
                <a:gd name="T66" fmla="*/ 12 w 19"/>
                <a:gd name="T67" fmla="*/ 0 h 136"/>
                <a:gd name="T68" fmla="*/ 12 w 19"/>
                <a:gd name="T69" fmla="*/ 0 h 136"/>
                <a:gd name="T70" fmla="*/ 12 w 19"/>
                <a:gd name="T7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136">
                  <a:moveTo>
                    <a:pt x="19" y="136"/>
                  </a:moveTo>
                  <a:lnTo>
                    <a:pt x="19" y="136"/>
                  </a:lnTo>
                  <a:lnTo>
                    <a:pt x="19" y="133"/>
                  </a:lnTo>
                  <a:lnTo>
                    <a:pt x="19" y="133"/>
                  </a:lnTo>
                  <a:lnTo>
                    <a:pt x="19" y="133"/>
                  </a:lnTo>
                  <a:lnTo>
                    <a:pt x="19" y="133"/>
                  </a:lnTo>
                  <a:lnTo>
                    <a:pt x="19" y="133"/>
                  </a:lnTo>
                  <a:lnTo>
                    <a:pt x="19" y="133"/>
                  </a:lnTo>
                  <a:lnTo>
                    <a:pt x="19" y="136"/>
                  </a:lnTo>
                  <a:lnTo>
                    <a:pt x="19" y="136"/>
                  </a:lnTo>
                  <a:close/>
                  <a:moveTo>
                    <a:pt x="19" y="133"/>
                  </a:moveTo>
                  <a:lnTo>
                    <a:pt x="19" y="133"/>
                  </a:lnTo>
                  <a:lnTo>
                    <a:pt x="19" y="133"/>
                  </a:lnTo>
                  <a:lnTo>
                    <a:pt x="19" y="133"/>
                  </a:lnTo>
                  <a:lnTo>
                    <a:pt x="19" y="133"/>
                  </a:lnTo>
                  <a:lnTo>
                    <a:pt x="19" y="133"/>
                  </a:lnTo>
                  <a:close/>
                  <a:moveTo>
                    <a:pt x="19" y="133"/>
                  </a:moveTo>
                  <a:lnTo>
                    <a:pt x="19" y="133"/>
                  </a:lnTo>
                  <a:lnTo>
                    <a:pt x="19" y="133"/>
                  </a:lnTo>
                  <a:lnTo>
                    <a:pt x="19" y="133"/>
                  </a:lnTo>
                  <a:lnTo>
                    <a:pt x="19" y="133"/>
                  </a:lnTo>
                  <a:lnTo>
                    <a:pt x="19" y="133"/>
                  </a:lnTo>
                  <a:close/>
                  <a:moveTo>
                    <a:pt x="19" y="133"/>
                  </a:moveTo>
                  <a:lnTo>
                    <a:pt x="19" y="133"/>
                  </a:lnTo>
                  <a:lnTo>
                    <a:pt x="19" y="133"/>
                  </a:lnTo>
                  <a:lnTo>
                    <a:pt x="19" y="133"/>
                  </a:lnTo>
                  <a:lnTo>
                    <a:pt x="19" y="133"/>
                  </a:lnTo>
                  <a:lnTo>
                    <a:pt x="19" y="133"/>
                  </a:lnTo>
                  <a:lnTo>
                    <a:pt x="19" y="133"/>
                  </a:lnTo>
                  <a:lnTo>
                    <a:pt x="19" y="133"/>
                  </a:lnTo>
                  <a:lnTo>
                    <a:pt x="19" y="133"/>
                  </a:lnTo>
                  <a:lnTo>
                    <a:pt x="19" y="133"/>
                  </a:lnTo>
                  <a:lnTo>
                    <a:pt x="19" y="133"/>
                  </a:lnTo>
                  <a:lnTo>
                    <a:pt x="19" y="133"/>
                  </a:lnTo>
                  <a:lnTo>
                    <a:pt x="19" y="133"/>
                  </a:lnTo>
                  <a:close/>
                  <a:moveTo>
                    <a:pt x="0" y="19"/>
                  </a:moveTo>
                  <a:lnTo>
                    <a:pt x="0" y="19"/>
                  </a:lnTo>
                  <a:lnTo>
                    <a:pt x="0" y="19"/>
                  </a:lnTo>
                  <a:lnTo>
                    <a:pt x="0" y="19"/>
                  </a:lnTo>
                  <a:lnTo>
                    <a:pt x="0" y="19"/>
                  </a:lnTo>
                  <a:lnTo>
                    <a:pt x="0" y="19"/>
                  </a:lnTo>
                  <a:lnTo>
                    <a:pt x="0" y="19"/>
                  </a:lnTo>
                  <a:close/>
                  <a:moveTo>
                    <a:pt x="7" y="14"/>
                  </a:moveTo>
                  <a:lnTo>
                    <a:pt x="7" y="14"/>
                  </a:lnTo>
                  <a:lnTo>
                    <a:pt x="7" y="14"/>
                  </a:lnTo>
                  <a:lnTo>
                    <a:pt x="7" y="14"/>
                  </a:lnTo>
                  <a:lnTo>
                    <a:pt x="7" y="14"/>
                  </a:lnTo>
                  <a:lnTo>
                    <a:pt x="7" y="14"/>
                  </a:lnTo>
                  <a:close/>
                  <a:moveTo>
                    <a:pt x="12" y="3"/>
                  </a:moveTo>
                  <a:lnTo>
                    <a:pt x="12" y="3"/>
                  </a:lnTo>
                  <a:lnTo>
                    <a:pt x="12" y="3"/>
                  </a:lnTo>
                  <a:lnTo>
                    <a:pt x="12" y="3"/>
                  </a:lnTo>
                  <a:lnTo>
                    <a:pt x="12" y="3"/>
                  </a:lnTo>
                  <a:lnTo>
                    <a:pt x="12" y="3"/>
                  </a:lnTo>
                  <a:lnTo>
                    <a:pt x="12" y="3"/>
                  </a:lnTo>
                  <a:close/>
                  <a:moveTo>
                    <a:pt x="9" y="3"/>
                  </a:moveTo>
                  <a:lnTo>
                    <a:pt x="9" y="3"/>
                  </a:lnTo>
                  <a:lnTo>
                    <a:pt x="9" y="3"/>
                  </a:lnTo>
                  <a:lnTo>
                    <a:pt x="9" y="3"/>
                  </a:lnTo>
                  <a:lnTo>
                    <a:pt x="9" y="3"/>
                  </a:lnTo>
                  <a:close/>
                  <a:moveTo>
                    <a:pt x="12" y="3"/>
                  </a:moveTo>
                  <a:lnTo>
                    <a:pt x="12" y="3"/>
                  </a:lnTo>
                  <a:lnTo>
                    <a:pt x="12" y="3"/>
                  </a:lnTo>
                  <a:lnTo>
                    <a:pt x="12" y="3"/>
                  </a:lnTo>
                  <a:lnTo>
                    <a:pt x="12" y="3"/>
                  </a:lnTo>
                  <a:close/>
                  <a:moveTo>
                    <a:pt x="12" y="0"/>
                  </a:moveTo>
                  <a:lnTo>
                    <a:pt x="12" y="0"/>
                  </a:lnTo>
                  <a:lnTo>
                    <a:pt x="12" y="0"/>
                  </a:lnTo>
                  <a:lnTo>
                    <a:pt x="12" y="0"/>
                  </a:lnTo>
                  <a:lnTo>
                    <a:pt x="12" y="0"/>
                  </a:lnTo>
                  <a:lnTo>
                    <a:pt x="12"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2" name="Freeform 57964"/>
            <p:cNvSpPr>
              <a:spLocks noEditPoints="1"/>
            </p:cNvSpPr>
            <p:nvPr/>
          </p:nvSpPr>
          <p:spPr bwMode="auto">
            <a:xfrm>
              <a:off x="1155700" y="5927739"/>
              <a:ext cx="41275" cy="211138"/>
            </a:xfrm>
            <a:custGeom>
              <a:avLst/>
              <a:gdLst>
                <a:gd name="T0" fmla="*/ 21 w 26"/>
                <a:gd name="T1" fmla="*/ 130 h 133"/>
                <a:gd name="T2" fmla="*/ 21 w 26"/>
                <a:gd name="T3" fmla="*/ 133 h 133"/>
                <a:gd name="T4" fmla="*/ 21 w 26"/>
                <a:gd name="T5" fmla="*/ 130 h 133"/>
                <a:gd name="T6" fmla="*/ 26 w 26"/>
                <a:gd name="T7" fmla="*/ 128 h 133"/>
                <a:gd name="T8" fmla="*/ 26 w 26"/>
                <a:gd name="T9" fmla="*/ 128 h 133"/>
                <a:gd name="T10" fmla="*/ 26 w 26"/>
                <a:gd name="T11" fmla="*/ 128 h 133"/>
                <a:gd name="T12" fmla="*/ 26 w 26"/>
                <a:gd name="T13" fmla="*/ 126 h 133"/>
                <a:gd name="T14" fmla="*/ 26 w 26"/>
                <a:gd name="T15" fmla="*/ 126 h 133"/>
                <a:gd name="T16" fmla="*/ 7 w 26"/>
                <a:gd name="T17" fmla="*/ 30 h 133"/>
                <a:gd name="T18" fmla="*/ 4 w 26"/>
                <a:gd name="T19" fmla="*/ 28 h 133"/>
                <a:gd name="T20" fmla="*/ 4 w 26"/>
                <a:gd name="T21" fmla="*/ 28 h 133"/>
                <a:gd name="T22" fmla="*/ 4 w 26"/>
                <a:gd name="T23" fmla="*/ 28 h 133"/>
                <a:gd name="T24" fmla="*/ 4 w 26"/>
                <a:gd name="T25" fmla="*/ 28 h 133"/>
                <a:gd name="T26" fmla="*/ 7 w 26"/>
                <a:gd name="T27" fmla="*/ 30 h 133"/>
                <a:gd name="T28" fmla="*/ 4 w 26"/>
                <a:gd name="T29" fmla="*/ 23 h 133"/>
                <a:gd name="T30" fmla="*/ 4 w 26"/>
                <a:gd name="T31" fmla="*/ 23 h 133"/>
                <a:gd name="T32" fmla="*/ 4 w 26"/>
                <a:gd name="T33" fmla="*/ 23 h 133"/>
                <a:gd name="T34" fmla="*/ 4 w 26"/>
                <a:gd name="T35" fmla="*/ 26 h 133"/>
                <a:gd name="T36" fmla="*/ 4 w 26"/>
                <a:gd name="T37" fmla="*/ 26 h 133"/>
                <a:gd name="T38" fmla="*/ 4 w 26"/>
                <a:gd name="T39" fmla="*/ 26 h 133"/>
                <a:gd name="T40" fmla="*/ 4 w 26"/>
                <a:gd name="T41" fmla="*/ 26 h 133"/>
                <a:gd name="T42" fmla="*/ 4 w 26"/>
                <a:gd name="T43" fmla="*/ 23 h 133"/>
                <a:gd name="T44" fmla="*/ 4 w 26"/>
                <a:gd name="T45" fmla="*/ 23 h 133"/>
                <a:gd name="T46" fmla="*/ 4 w 26"/>
                <a:gd name="T47" fmla="*/ 23 h 133"/>
                <a:gd name="T48" fmla="*/ 2 w 26"/>
                <a:gd name="T49" fmla="*/ 23 h 133"/>
                <a:gd name="T50" fmla="*/ 4 w 26"/>
                <a:gd name="T51" fmla="*/ 23 h 133"/>
                <a:gd name="T52" fmla="*/ 2 w 26"/>
                <a:gd name="T53" fmla="*/ 23 h 133"/>
                <a:gd name="T54" fmla="*/ 4 w 26"/>
                <a:gd name="T55" fmla="*/ 23 h 133"/>
                <a:gd name="T56" fmla="*/ 2 w 26"/>
                <a:gd name="T57" fmla="*/ 21 h 133"/>
                <a:gd name="T58" fmla="*/ 2 w 26"/>
                <a:gd name="T59" fmla="*/ 21 h 133"/>
                <a:gd name="T60" fmla="*/ 0 w 26"/>
                <a:gd name="T61" fmla="*/ 16 h 133"/>
                <a:gd name="T62" fmla="*/ 0 w 26"/>
                <a:gd name="T63" fmla="*/ 14 h 133"/>
                <a:gd name="T64" fmla="*/ 0 w 26"/>
                <a:gd name="T65" fmla="*/ 16 h 133"/>
                <a:gd name="T66" fmla="*/ 9 w 26"/>
                <a:gd name="T67" fmla="*/ 4 h 133"/>
                <a:gd name="T68" fmla="*/ 9 w 26"/>
                <a:gd name="T69" fmla="*/ 4 h 133"/>
                <a:gd name="T70" fmla="*/ 9 w 26"/>
                <a:gd name="T71" fmla="*/ 2 h 133"/>
                <a:gd name="T72" fmla="*/ 9 w 26"/>
                <a:gd name="T73" fmla="*/ 2 h 133"/>
                <a:gd name="T74" fmla="*/ 7 w 26"/>
                <a:gd name="T75" fmla="*/ 2 h 133"/>
                <a:gd name="T76" fmla="*/ 7 w 26"/>
                <a:gd name="T77" fmla="*/ 2 h 133"/>
                <a:gd name="T78" fmla="*/ 12 w 26"/>
                <a:gd name="T79" fmla="*/ 2 h 133"/>
                <a:gd name="T80" fmla="*/ 12 w 26"/>
                <a:gd name="T81" fmla="*/ 0 h 133"/>
                <a:gd name="T82" fmla="*/ 12 w 26"/>
                <a:gd name="T83" fmla="*/ 0 h 133"/>
                <a:gd name="T84" fmla="*/ 12 w 26"/>
                <a:gd name="T85" fmla="*/ 0 h 133"/>
                <a:gd name="T86" fmla="*/ 12 w 26"/>
                <a:gd name="T87" fmla="*/ 0 h 133"/>
                <a:gd name="T88" fmla="*/ 12 w 26"/>
                <a:gd name="T89" fmla="*/ 2 h 133"/>
                <a:gd name="T90" fmla="*/ 12 w 26"/>
                <a:gd name="T91" fmla="*/ 2 h 133"/>
                <a:gd name="T92" fmla="*/ 12 w 26"/>
                <a:gd name="T93" fmla="*/ 2 h 133"/>
                <a:gd name="T94" fmla="*/ 9 w 26"/>
                <a:gd name="T95" fmla="*/ 2 h 133"/>
                <a:gd name="T96" fmla="*/ 9 w 26"/>
                <a:gd name="T97" fmla="*/ 2 h 133"/>
                <a:gd name="T98" fmla="*/ 9 w 26"/>
                <a:gd name="T99" fmla="*/ 2 h 133"/>
                <a:gd name="T100" fmla="*/ 7 w 26"/>
                <a:gd name="T101" fmla="*/ 2 h 133"/>
                <a:gd name="T102" fmla="*/ 9 w 26"/>
                <a:gd name="T103" fmla="*/ 2 h 133"/>
                <a:gd name="T104" fmla="*/ 9 w 26"/>
                <a:gd name="T105" fmla="*/ 0 h 133"/>
                <a:gd name="T106" fmla="*/ 9 w 26"/>
                <a:gd name="T107" fmla="*/ 0 h 133"/>
                <a:gd name="T108" fmla="*/ 9 w 26"/>
                <a:gd name="T10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 h="133">
                  <a:moveTo>
                    <a:pt x="21" y="130"/>
                  </a:moveTo>
                  <a:lnTo>
                    <a:pt x="21" y="130"/>
                  </a:lnTo>
                  <a:lnTo>
                    <a:pt x="21" y="130"/>
                  </a:lnTo>
                  <a:lnTo>
                    <a:pt x="21" y="130"/>
                  </a:lnTo>
                  <a:lnTo>
                    <a:pt x="21" y="130"/>
                  </a:lnTo>
                  <a:lnTo>
                    <a:pt x="21" y="130"/>
                  </a:lnTo>
                  <a:lnTo>
                    <a:pt x="21" y="130"/>
                  </a:lnTo>
                  <a:lnTo>
                    <a:pt x="21" y="133"/>
                  </a:lnTo>
                  <a:lnTo>
                    <a:pt x="21" y="130"/>
                  </a:lnTo>
                  <a:lnTo>
                    <a:pt x="21" y="133"/>
                  </a:lnTo>
                  <a:lnTo>
                    <a:pt x="21" y="133"/>
                  </a:lnTo>
                  <a:lnTo>
                    <a:pt x="21" y="133"/>
                  </a:lnTo>
                  <a:lnTo>
                    <a:pt x="21" y="133"/>
                  </a:lnTo>
                  <a:lnTo>
                    <a:pt x="21" y="130"/>
                  </a:lnTo>
                  <a:lnTo>
                    <a:pt x="21" y="130"/>
                  </a:lnTo>
                  <a:lnTo>
                    <a:pt x="21" y="130"/>
                  </a:lnTo>
                  <a:lnTo>
                    <a:pt x="21" y="130"/>
                  </a:lnTo>
                  <a:lnTo>
                    <a:pt x="21" y="130"/>
                  </a:lnTo>
                  <a:close/>
                  <a:moveTo>
                    <a:pt x="26" y="126"/>
                  </a:moveTo>
                  <a:lnTo>
                    <a:pt x="26" y="128"/>
                  </a:lnTo>
                  <a:lnTo>
                    <a:pt x="26" y="128"/>
                  </a:lnTo>
                  <a:lnTo>
                    <a:pt x="26" y="128"/>
                  </a:lnTo>
                  <a:lnTo>
                    <a:pt x="26" y="128"/>
                  </a:lnTo>
                  <a:lnTo>
                    <a:pt x="26" y="128"/>
                  </a:lnTo>
                  <a:lnTo>
                    <a:pt x="26" y="128"/>
                  </a:lnTo>
                  <a:lnTo>
                    <a:pt x="26" y="128"/>
                  </a:lnTo>
                  <a:lnTo>
                    <a:pt x="26" y="128"/>
                  </a:lnTo>
                  <a:lnTo>
                    <a:pt x="26" y="128"/>
                  </a:lnTo>
                  <a:lnTo>
                    <a:pt x="26" y="128"/>
                  </a:lnTo>
                  <a:lnTo>
                    <a:pt x="26" y="128"/>
                  </a:lnTo>
                  <a:lnTo>
                    <a:pt x="26" y="128"/>
                  </a:lnTo>
                  <a:lnTo>
                    <a:pt x="26" y="128"/>
                  </a:lnTo>
                  <a:lnTo>
                    <a:pt x="26" y="126"/>
                  </a:lnTo>
                  <a:lnTo>
                    <a:pt x="26" y="126"/>
                  </a:lnTo>
                  <a:lnTo>
                    <a:pt x="26" y="126"/>
                  </a:lnTo>
                  <a:lnTo>
                    <a:pt x="26" y="126"/>
                  </a:lnTo>
                  <a:lnTo>
                    <a:pt x="26" y="126"/>
                  </a:lnTo>
                  <a:lnTo>
                    <a:pt x="26" y="126"/>
                  </a:lnTo>
                  <a:lnTo>
                    <a:pt x="26" y="126"/>
                  </a:lnTo>
                  <a:lnTo>
                    <a:pt x="26" y="126"/>
                  </a:lnTo>
                  <a:lnTo>
                    <a:pt x="26" y="126"/>
                  </a:lnTo>
                  <a:lnTo>
                    <a:pt x="26" y="126"/>
                  </a:lnTo>
                  <a:close/>
                  <a:moveTo>
                    <a:pt x="7" y="30"/>
                  </a:moveTo>
                  <a:lnTo>
                    <a:pt x="7" y="30"/>
                  </a:lnTo>
                  <a:lnTo>
                    <a:pt x="7" y="30"/>
                  </a:lnTo>
                  <a:lnTo>
                    <a:pt x="7" y="30"/>
                  </a:lnTo>
                  <a:lnTo>
                    <a:pt x="4" y="30"/>
                  </a:lnTo>
                  <a:lnTo>
                    <a:pt x="4" y="30"/>
                  </a:lnTo>
                  <a:lnTo>
                    <a:pt x="4" y="30"/>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7" y="30"/>
                  </a:lnTo>
                  <a:close/>
                  <a:moveTo>
                    <a:pt x="4" y="23"/>
                  </a:move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2" y="23"/>
                  </a:lnTo>
                  <a:lnTo>
                    <a:pt x="2" y="23"/>
                  </a:lnTo>
                  <a:lnTo>
                    <a:pt x="4" y="23"/>
                  </a:lnTo>
                  <a:lnTo>
                    <a:pt x="4" y="23"/>
                  </a:lnTo>
                  <a:lnTo>
                    <a:pt x="4" y="23"/>
                  </a:lnTo>
                  <a:lnTo>
                    <a:pt x="4" y="23"/>
                  </a:lnTo>
                  <a:lnTo>
                    <a:pt x="4" y="23"/>
                  </a:lnTo>
                  <a:lnTo>
                    <a:pt x="4" y="23"/>
                  </a:lnTo>
                  <a:lnTo>
                    <a:pt x="4" y="23"/>
                  </a:lnTo>
                  <a:lnTo>
                    <a:pt x="4" y="23"/>
                  </a:lnTo>
                  <a:lnTo>
                    <a:pt x="4" y="23"/>
                  </a:lnTo>
                  <a:lnTo>
                    <a:pt x="2" y="23"/>
                  </a:lnTo>
                  <a:lnTo>
                    <a:pt x="2" y="23"/>
                  </a:lnTo>
                  <a:lnTo>
                    <a:pt x="4" y="23"/>
                  </a:lnTo>
                  <a:lnTo>
                    <a:pt x="4" y="23"/>
                  </a:lnTo>
                  <a:lnTo>
                    <a:pt x="4" y="23"/>
                  </a:lnTo>
                  <a:lnTo>
                    <a:pt x="4" y="23"/>
                  </a:lnTo>
                  <a:lnTo>
                    <a:pt x="4" y="23"/>
                  </a:lnTo>
                  <a:lnTo>
                    <a:pt x="4" y="23"/>
                  </a:lnTo>
                  <a:lnTo>
                    <a:pt x="4" y="23"/>
                  </a:lnTo>
                  <a:close/>
                  <a:moveTo>
                    <a:pt x="4" y="21"/>
                  </a:moveTo>
                  <a:lnTo>
                    <a:pt x="2" y="21"/>
                  </a:lnTo>
                  <a:lnTo>
                    <a:pt x="2" y="21"/>
                  </a:lnTo>
                  <a:lnTo>
                    <a:pt x="2" y="21"/>
                  </a:lnTo>
                  <a:lnTo>
                    <a:pt x="2" y="21"/>
                  </a:lnTo>
                  <a:lnTo>
                    <a:pt x="2" y="21"/>
                  </a:lnTo>
                  <a:lnTo>
                    <a:pt x="2" y="21"/>
                  </a:lnTo>
                  <a:lnTo>
                    <a:pt x="2" y="21"/>
                  </a:lnTo>
                  <a:lnTo>
                    <a:pt x="2" y="21"/>
                  </a:lnTo>
                  <a:lnTo>
                    <a:pt x="4" y="21"/>
                  </a:lnTo>
                  <a:lnTo>
                    <a:pt x="4" y="21"/>
                  </a:lnTo>
                  <a:close/>
                  <a:moveTo>
                    <a:pt x="0" y="16"/>
                  </a:moveTo>
                  <a:lnTo>
                    <a:pt x="0" y="16"/>
                  </a:lnTo>
                  <a:lnTo>
                    <a:pt x="0" y="16"/>
                  </a:lnTo>
                  <a:lnTo>
                    <a:pt x="0" y="16"/>
                  </a:lnTo>
                  <a:lnTo>
                    <a:pt x="0" y="16"/>
                  </a:lnTo>
                  <a:lnTo>
                    <a:pt x="0" y="14"/>
                  </a:lnTo>
                  <a:lnTo>
                    <a:pt x="0" y="16"/>
                  </a:lnTo>
                  <a:lnTo>
                    <a:pt x="0" y="16"/>
                  </a:lnTo>
                  <a:lnTo>
                    <a:pt x="0" y="16"/>
                  </a:lnTo>
                  <a:lnTo>
                    <a:pt x="0" y="16"/>
                  </a:lnTo>
                  <a:lnTo>
                    <a:pt x="0" y="16"/>
                  </a:lnTo>
                  <a:lnTo>
                    <a:pt x="0" y="16"/>
                  </a:lnTo>
                  <a:close/>
                  <a:moveTo>
                    <a:pt x="9" y="4"/>
                  </a:moveTo>
                  <a:lnTo>
                    <a:pt x="9" y="4"/>
                  </a:lnTo>
                  <a:lnTo>
                    <a:pt x="9" y="4"/>
                  </a:lnTo>
                  <a:lnTo>
                    <a:pt x="9" y="4"/>
                  </a:lnTo>
                  <a:lnTo>
                    <a:pt x="9" y="4"/>
                  </a:lnTo>
                  <a:lnTo>
                    <a:pt x="9" y="4"/>
                  </a:lnTo>
                  <a:lnTo>
                    <a:pt x="9" y="4"/>
                  </a:lnTo>
                  <a:lnTo>
                    <a:pt x="9" y="4"/>
                  </a:lnTo>
                  <a:lnTo>
                    <a:pt x="9" y="4"/>
                  </a:lnTo>
                  <a:lnTo>
                    <a:pt x="9" y="4"/>
                  </a:lnTo>
                  <a:lnTo>
                    <a:pt x="9" y="4"/>
                  </a:lnTo>
                  <a:lnTo>
                    <a:pt x="9" y="4"/>
                  </a:lnTo>
                  <a:lnTo>
                    <a:pt x="9" y="2"/>
                  </a:lnTo>
                  <a:lnTo>
                    <a:pt x="9" y="2"/>
                  </a:lnTo>
                  <a:lnTo>
                    <a:pt x="9" y="2"/>
                  </a:lnTo>
                  <a:lnTo>
                    <a:pt x="9" y="2"/>
                  </a:lnTo>
                  <a:lnTo>
                    <a:pt x="9" y="2"/>
                  </a:lnTo>
                  <a:lnTo>
                    <a:pt x="9" y="2"/>
                  </a:lnTo>
                  <a:lnTo>
                    <a:pt x="9" y="2"/>
                  </a:lnTo>
                  <a:lnTo>
                    <a:pt x="9" y="4"/>
                  </a:lnTo>
                  <a:close/>
                  <a:moveTo>
                    <a:pt x="7" y="2"/>
                  </a:moveTo>
                  <a:lnTo>
                    <a:pt x="7" y="2"/>
                  </a:lnTo>
                  <a:lnTo>
                    <a:pt x="7" y="2"/>
                  </a:lnTo>
                  <a:lnTo>
                    <a:pt x="7" y="2"/>
                  </a:lnTo>
                  <a:lnTo>
                    <a:pt x="7" y="2"/>
                  </a:lnTo>
                  <a:lnTo>
                    <a:pt x="7" y="2"/>
                  </a:lnTo>
                  <a:lnTo>
                    <a:pt x="7" y="2"/>
                  </a:lnTo>
                  <a:lnTo>
                    <a:pt x="7" y="2"/>
                  </a:lnTo>
                  <a:lnTo>
                    <a:pt x="7" y="2"/>
                  </a:lnTo>
                  <a:close/>
                  <a:moveTo>
                    <a:pt x="12" y="2"/>
                  </a:moveTo>
                  <a:lnTo>
                    <a:pt x="12" y="2"/>
                  </a:lnTo>
                  <a:lnTo>
                    <a:pt x="12" y="2"/>
                  </a:lnTo>
                  <a:lnTo>
                    <a:pt x="12" y="2"/>
                  </a:lnTo>
                  <a:lnTo>
                    <a:pt x="12" y="2"/>
                  </a:lnTo>
                  <a:lnTo>
                    <a:pt x="12" y="2"/>
                  </a:lnTo>
                  <a:lnTo>
                    <a:pt x="12" y="2"/>
                  </a:lnTo>
                  <a:lnTo>
                    <a:pt x="12" y="2"/>
                  </a:lnTo>
                  <a:close/>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7" y="2"/>
                  </a:lnTo>
                  <a:lnTo>
                    <a:pt x="7" y="2"/>
                  </a:lnTo>
                  <a:lnTo>
                    <a:pt x="9" y="2"/>
                  </a:lnTo>
                  <a:lnTo>
                    <a:pt x="9" y="2"/>
                  </a:lnTo>
                  <a:lnTo>
                    <a:pt x="9" y="2"/>
                  </a:lnTo>
                  <a:lnTo>
                    <a:pt x="9" y="2"/>
                  </a:lnTo>
                  <a:lnTo>
                    <a:pt x="9" y="2"/>
                  </a:lnTo>
                  <a:lnTo>
                    <a:pt x="9" y="2"/>
                  </a:lnTo>
                  <a:lnTo>
                    <a:pt x="9" y="2"/>
                  </a:lnTo>
                  <a:lnTo>
                    <a:pt x="9" y="2"/>
                  </a:lnTo>
                  <a:lnTo>
                    <a:pt x="9" y="0"/>
                  </a:lnTo>
                  <a:lnTo>
                    <a:pt x="9" y="0"/>
                  </a:lnTo>
                  <a:lnTo>
                    <a:pt x="9" y="0"/>
                  </a:lnTo>
                  <a:lnTo>
                    <a:pt x="9" y="0"/>
                  </a:lnTo>
                  <a:lnTo>
                    <a:pt x="9" y="0"/>
                  </a:lnTo>
                  <a:lnTo>
                    <a:pt x="9" y="0"/>
                  </a:lnTo>
                  <a:lnTo>
                    <a:pt x="9" y="0"/>
                  </a:lnTo>
                  <a:lnTo>
                    <a:pt x="9" y="0"/>
                  </a:lnTo>
                  <a:lnTo>
                    <a:pt x="9" y="0"/>
                  </a:lnTo>
                  <a:lnTo>
                    <a:pt x="9" y="0"/>
                  </a:lnTo>
                  <a:lnTo>
                    <a:pt x="9" y="0"/>
                  </a:lnTo>
                  <a:lnTo>
                    <a:pt x="12" y="0"/>
                  </a:lnTo>
                  <a:lnTo>
                    <a:pt x="12" y="0"/>
                  </a:lnTo>
                  <a:lnTo>
                    <a:pt x="12"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3" name="Freeform 57965"/>
            <p:cNvSpPr>
              <a:spLocks noEditPoints="1"/>
            </p:cNvSpPr>
            <p:nvPr/>
          </p:nvSpPr>
          <p:spPr bwMode="auto">
            <a:xfrm>
              <a:off x="1528760" y="5319720"/>
              <a:ext cx="101600" cy="339725"/>
            </a:xfrm>
            <a:custGeom>
              <a:avLst/>
              <a:gdLst>
                <a:gd name="T0" fmla="*/ 54 w 64"/>
                <a:gd name="T1" fmla="*/ 212 h 214"/>
                <a:gd name="T2" fmla="*/ 52 w 64"/>
                <a:gd name="T3" fmla="*/ 212 h 214"/>
                <a:gd name="T4" fmla="*/ 52 w 64"/>
                <a:gd name="T5" fmla="*/ 212 h 214"/>
                <a:gd name="T6" fmla="*/ 54 w 64"/>
                <a:gd name="T7" fmla="*/ 212 h 214"/>
                <a:gd name="T8" fmla="*/ 57 w 64"/>
                <a:gd name="T9" fmla="*/ 212 h 214"/>
                <a:gd name="T10" fmla="*/ 54 w 64"/>
                <a:gd name="T11" fmla="*/ 212 h 214"/>
                <a:gd name="T12" fmla="*/ 19 w 64"/>
                <a:gd name="T13" fmla="*/ 212 h 214"/>
                <a:gd name="T14" fmla="*/ 64 w 64"/>
                <a:gd name="T15" fmla="*/ 207 h 214"/>
                <a:gd name="T16" fmla="*/ 64 w 64"/>
                <a:gd name="T17" fmla="*/ 207 h 214"/>
                <a:gd name="T18" fmla="*/ 64 w 64"/>
                <a:gd name="T19" fmla="*/ 207 h 214"/>
                <a:gd name="T20" fmla="*/ 64 w 64"/>
                <a:gd name="T21" fmla="*/ 207 h 214"/>
                <a:gd name="T22" fmla="*/ 64 w 64"/>
                <a:gd name="T23" fmla="*/ 204 h 214"/>
                <a:gd name="T24" fmla="*/ 64 w 64"/>
                <a:gd name="T25" fmla="*/ 204 h 214"/>
                <a:gd name="T26" fmla="*/ 64 w 64"/>
                <a:gd name="T27" fmla="*/ 204 h 214"/>
                <a:gd name="T28" fmla="*/ 23 w 64"/>
                <a:gd name="T29" fmla="*/ 174 h 214"/>
                <a:gd name="T30" fmla="*/ 23 w 64"/>
                <a:gd name="T31" fmla="*/ 174 h 214"/>
                <a:gd name="T32" fmla="*/ 26 w 64"/>
                <a:gd name="T33" fmla="*/ 147 h 214"/>
                <a:gd name="T34" fmla="*/ 26 w 64"/>
                <a:gd name="T35" fmla="*/ 147 h 214"/>
                <a:gd name="T36" fmla="*/ 26 w 64"/>
                <a:gd name="T37" fmla="*/ 147 h 214"/>
                <a:gd name="T38" fmla="*/ 26 w 64"/>
                <a:gd name="T39" fmla="*/ 145 h 214"/>
                <a:gd name="T40" fmla="*/ 26 w 64"/>
                <a:gd name="T41" fmla="*/ 145 h 214"/>
                <a:gd name="T42" fmla="*/ 26 w 64"/>
                <a:gd name="T43" fmla="*/ 145 h 214"/>
                <a:gd name="T44" fmla="*/ 26 w 64"/>
                <a:gd name="T45" fmla="*/ 145 h 214"/>
                <a:gd name="T46" fmla="*/ 26 w 64"/>
                <a:gd name="T47" fmla="*/ 145 h 214"/>
                <a:gd name="T48" fmla="*/ 23 w 64"/>
                <a:gd name="T49" fmla="*/ 143 h 214"/>
                <a:gd name="T50" fmla="*/ 23 w 64"/>
                <a:gd name="T51" fmla="*/ 143 h 214"/>
                <a:gd name="T52" fmla="*/ 16 w 64"/>
                <a:gd name="T53" fmla="*/ 138 h 214"/>
                <a:gd name="T54" fmla="*/ 14 w 64"/>
                <a:gd name="T55" fmla="*/ 138 h 214"/>
                <a:gd name="T56" fmla="*/ 7 w 64"/>
                <a:gd name="T57" fmla="*/ 138 h 214"/>
                <a:gd name="T58" fmla="*/ 7 w 64"/>
                <a:gd name="T59" fmla="*/ 138 h 214"/>
                <a:gd name="T60" fmla="*/ 16 w 64"/>
                <a:gd name="T61" fmla="*/ 136 h 214"/>
                <a:gd name="T62" fmla="*/ 16 w 64"/>
                <a:gd name="T63" fmla="*/ 136 h 214"/>
                <a:gd name="T64" fmla="*/ 19 w 64"/>
                <a:gd name="T65" fmla="*/ 131 h 214"/>
                <a:gd name="T66" fmla="*/ 19 w 64"/>
                <a:gd name="T67" fmla="*/ 131 h 214"/>
                <a:gd name="T68" fmla="*/ 19 w 64"/>
                <a:gd name="T69" fmla="*/ 131 h 214"/>
                <a:gd name="T70" fmla="*/ 0 w 64"/>
                <a:gd name="T71" fmla="*/ 100 h 214"/>
                <a:gd name="T72" fmla="*/ 0 w 64"/>
                <a:gd name="T73" fmla="*/ 100 h 214"/>
                <a:gd name="T74" fmla="*/ 0 w 64"/>
                <a:gd name="T75" fmla="*/ 100 h 214"/>
                <a:gd name="T76" fmla="*/ 0 w 64"/>
                <a:gd name="T77" fmla="*/ 100 h 214"/>
                <a:gd name="T78" fmla="*/ 28 w 64"/>
                <a:gd name="T79" fmla="*/ 45 h 214"/>
                <a:gd name="T80" fmla="*/ 28 w 64"/>
                <a:gd name="T81" fmla="*/ 45 h 214"/>
                <a:gd name="T82" fmla="*/ 28 w 64"/>
                <a:gd name="T83" fmla="*/ 45 h 214"/>
                <a:gd name="T84" fmla="*/ 28 w 64"/>
                <a:gd name="T85" fmla="*/ 45 h 214"/>
                <a:gd name="T86" fmla="*/ 26 w 64"/>
                <a:gd name="T87" fmla="*/ 45 h 214"/>
                <a:gd name="T88" fmla="*/ 26 w 64"/>
                <a:gd name="T89" fmla="*/ 45 h 214"/>
                <a:gd name="T90" fmla="*/ 26 w 64"/>
                <a:gd name="T91" fmla="*/ 45 h 214"/>
                <a:gd name="T92" fmla="*/ 26 w 64"/>
                <a:gd name="T93" fmla="*/ 45 h 214"/>
                <a:gd name="T94" fmla="*/ 28 w 64"/>
                <a:gd name="T95" fmla="*/ 45 h 214"/>
                <a:gd name="T96" fmla="*/ 28 w 64"/>
                <a:gd name="T97" fmla="*/ 45 h 214"/>
                <a:gd name="T98" fmla="*/ 28 w 64"/>
                <a:gd name="T99" fmla="*/ 45 h 214"/>
                <a:gd name="T100" fmla="*/ 23 w 64"/>
                <a:gd name="T101" fmla="*/ 0 h 214"/>
                <a:gd name="T102" fmla="*/ 26 w 64"/>
                <a:gd name="T103"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214">
                  <a:moveTo>
                    <a:pt x="54" y="214"/>
                  </a:moveTo>
                  <a:lnTo>
                    <a:pt x="54" y="214"/>
                  </a:lnTo>
                  <a:lnTo>
                    <a:pt x="54" y="214"/>
                  </a:lnTo>
                  <a:lnTo>
                    <a:pt x="54" y="212"/>
                  </a:lnTo>
                  <a:lnTo>
                    <a:pt x="54" y="212"/>
                  </a:lnTo>
                  <a:lnTo>
                    <a:pt x="54" y="212"/>
                  </a:lnTo>
                  <a:lnTo>
                    <a:pt x="54" y="214"/>
                  </a:lnTo>
                  <a:close/>
                  <a:moveTo>
                    <a:pt x="52" y="212"/>
                  </a:moveTo>
                  <a:lnTo>
                    <a:pt x="52" y="212"/>
                  </a:lnTo>
                  <a:lnTo>
                    <a:pt x="52" y="212"/>
                  </a:lnTo>
                  <a:lnTo>
                    <a:pt x="52" y="212"/>
                  </a:lnTo>
                  <a:lnTo>
                    <a:pt x="52" y="212"/>
                  </a:lnTo>
                  <a:close/>
                  <a:moveTo>
                    <a:pt x="54" y="212"/>
                  </a:moveTo>
                  <a:lnTo>
                    <a:pt x="54" y="212"/>
                  </a:lnTo>
                  <a:lnTo>
                    <a:pt x="54" y="212"/>
                  </a:lnTo>
                  <a:lnTo>
                    <a:pt x="54" y="212"/>
                  </a:lnTo>
                  <a:lnTo>
                    <a:pt x="54" y="212"/>
                  </a:lnTo>
                  <a:close/>
                  <a:moveTo>
                    <a:pt x="57" y="212"/>
                  </a:moveTo>
                  <a:lnTo>
                    <a:pt x="57" y="212"/>
                  </a:lnTo>
                  <a:lnTo>
                    <a:pt x="57" y="212"/>
                  </a:lnTo>
                  <a:lnTo>
                    <a:pt x="57" y="212"/>
                  </a:lnTo>
                  <a:close/>
                  <a:moveTo>
                    <a:pt x="54" y="212"/>
                  </a:moveTo>
                  <a:lnTo>
                    <a:pt x="54" y="212"/>
                  </a:lnTo>
                  <a:lnTo>
                    <a:pt x="54" y="212"/>
                  </a:lnTo>
                  <a:lnTo>
                    <a:pt x="54" y="212"/>
                  </a:lnTo>
                  <a:lnTo>
                    <a:pt x="54" y="212"/>
                  </a:lnTo>
                  <a:close/>
                  <a:moveTo>
                    <a:pt x="19" y="212"/>
                  </a:moveTo>
                  <a:lnTo>
                    <a:pt x="19" y="212"/>
                  </a:lnTo>
                  <a:lnTo>
                    <a:pt x="19" y="212"/>
                  </a:lnTo>
                  <a:lnTo>
                    <a:pt x="19" y="212"/>
                  </a:lnTo>
                  <a:close/>
                  <a:moveTo>
                    <a:pt x="64" y="207"/>
                  </a:moveTo>
                  <a:lnTo>
                    <a:pt x="64" y="207"/>
                  </a:lnTo>
                  <a:lnTo>
                    <a:pt x="64" y="207"/>
                  </a:lnTo>
                  <a:lnTo>
                    <a:pt x="64" y="207"/>
                  </a:lnTo>
                  <a:close/>
                  <a:moveTo>
                    <a:pt x="64" y="207"/>
                  </a:moveTo>
                  <a:lnTo>
                    <a:pt x="64" y="207"/>
                  </a:lnTo>
                  <a:lnTo>
                    <a:pt x="64" y="207"/>
                  </a:lnTo>
                  <a:lnTo>
                    <a:pt x="64" y="207"/>
                  </a:lnTo>
                  <a:lnTo>
                    <a:pt x="64" y="207"/>
                  </a:lnTo>
                  <a:lnTo>
                    <a:pt x="64" y="207"/>
                  </a:lnTo>
                  <a:lnTo>
                    <a:pt x="64" y="207"/>
                  </a:lnTo>
                  <a:close/>
                  <a:moveTo>
                    <a:pt x="64" y="207"/>
                  </a:moveTo>
                  <a:lnTo>
                    <a:pt x="64" y="207"/>
                  </a:lnTo>
                  <a:lnTo>
                    <a:pt x="64" y="207"/>
                  </a:lnTo>
                  <a:lnTo>
                    <a:pt x="64" y="204"/>
                  </a:lnTo>
                  <a:lnTo>
                    <a:pt x="64" y="204"/>
                  </a:lnTo>
                  <a:lnTo>
                    <a:pt x="64" y="207"/>
                  </a:lnTo>
                  <a:close/>
                  <a:moveTo>
                    <a:pt x="64" y="204"/>
                  </a:moveTo>
                  <a:lnTo>
                    <a:pt x="64" y="204"/>
                  </a:lnTo>
                  <a:lnTo>
                    <a:pt x="64" y="204"/>
                  </a:lnTo>
                  <a:lnTo>
                    <a:pt x="64" y="204"/>
                  </a:lnTo>
                  <a:lnTo>
                    <a:pt x="64" y="204"/>
                  </a:lnTo>
                  <a:lnTo>
                    <a:pt x="64" y="204"/>
                  </a:lnTo>
                  <a:lnTo>
                    <a:pt x="64" y="204"/>
                  </a:lnTo>
                  <a:close/>
                  <a:moveTo>
                    <a:pt x="64" y="204"/>
                  </a:moveTo>
                  <a:lnTo>
                    <a:pt x="64" y="204"/>
                  </a:lnTo>
                  <a:lnTo>
                    <a:pt x="64" y="204"/>
                  </a:lnTo>
                  <a:lnTo>
                    <a:pt x="64" y="204"/>
                  </a:lnTo>
                  <a:lnTo>
                    <a:pt x="64" y="204"/>
                  </a:lnTo>
                  <a:close/>
                  <a:moveTo>
                    <a:pt x="23" y="174"/>
                  </a:moveTo>
                  <a:lnTo>
                    <a:pt x="23" y="174"/>
                  </a:lnTo>
                  <a:lnTo>
                    <a:pt x="23" y="174"/>
                  </a:lnTo>
                  <a:lnTo>
                    <a:pt x="23" y="174"/>
                  </a:lnTo>
                  <a:lnTo>
                    <a:pt x="23" y="174"/>
                  </a:lnTo>
                  <a:lnTo>
                    <a:pt x="23" y="174"/>
                  </a:lnTo>
                  <a:close/>
                  <a:moveTo>
                    <a:pt x="26" y="147"/>
                  </a:moveTo>
                  <a:lnTo>
                    <a:pt x="26" y="147"/>
                  </a:lnTo>
                  <a:lnTo>
                    <a:pt x="26" y="147"/>
                  </a:lnTo>
                  <a:lnTo>
                    <a:pt x="26" y="147"/>
                  </a:lnTo>
                  <a:lnTo>
                    <a:pt x="26" y="147"/>
                  </a:lnTo>
                  <a:lnTo>
                    <a:pt x="26" y="147"/>
                  </a:lnTo>
                  <a:lnTo>
                    <a:pt x="26" y="147"/>
                  </a:lnTo>
                  <a:lnTo>
                    <a:pt x="26" y="147"/>
                  </a:lnTo>
                  <a:lnTo>
                    <a:pt x="26" y="147"/>
                  </a:lnTo>
                  <a:lnTo>
                    <a:pt x="26" y="147"/>
                  </a:lnTo>
                  <a:close/>
                  <a:moveTo>
                    <a:pt x="26" y="147"/>
                  </a:moveTo>
                  <a:lnTo>
                    <a:pt x="26" y="147"/>
                  </a:lnTo>
                  <a:lnTo>
                    <a:pt x="26" y="147"/>
                  </a:lnTo>
                  <a:lnTo>
                    <a:pt x="26" y="147"/>
                  </a:lnTo>
                  <a:close/>
                  <a:moveTo>
                    <a:pt x="26" y="145"/>
                  </a:moveTo>
                  <a:lnTo>
                    <a:pt x="26" y="145"/>
                  </a:lnTo>
                  <a:lnTo>
                    <a:pt x="26" y="145"/>
                  </a:lnTo>
                  <a:lnTo>
                    <a:pt x="26" y="145"/>
                  </a:lnTo>
                  <a:lnTo>
                    <a:pt x="26" y="145"/>
                  </a:lnTo>
                  <a:lnTo>
                    <a:pt x="26" y="145"/>
                  </a:lnTo>
                  <a:close/>
                  <a:moveTo>
                    <a:pt x="26" y="145"/>
                  </a:moveTo>
                  <a:lnTo>
                    <a:pt x="26" y="145"/>
                  </a:lnTo>
                  <a:lnTo>
                    <a:pt x="26" y="145"/>
                  </a:lnTo>
                  <a:lnTo>
                    <a:pt x="26" y="145"/>
                  </a:lnTo>
                  <a:lnTo>
                    <a:pt x="26" y="145"/>
                  </a:lnTo>
                  <a:lnTo>
                    <a:pt x="26" y="145"/>
                  </a:lnTo>
                  <a:close/>
                  <a:moveTo>
                    <a:pt x="26" y="145"/>
                  </a:moveTo>
                  <a:lnTo>
                    <a:pt x="26" y="145"/>
                  </a:lnTo>
                  <a:lnTo>
                    <a:pt x="26" y="145"/>
                  </a:lnTo>
                  <a:lnTo>
                    <a:pt x="26" y="145"/>
                  </a:lnTo>
                  <a:lnTo>
                    <a:pt x="26" y="145"/>
                  </a:lnTo>
                  <a:lnTo>
                    <a:pt x="26" y="145"/>
                  </a:lnTo>
                  <a:lnTo>
                    <a:pt x="26" y="145"/>
                  </a:lnTo>
                  <a:lnTo>
                    <a:pt x="26" y="145"/>
                  </a:lnTo>
                  <a:close/>
                  <a:moveTo>
                    <a:pt x="23" y="143"/>
                  </a:moveTo>
                  <a:lnTo>
                    <a:pt x="23" y="143"/>
                  </a:lnTo>
                  <a:lnTo>
                    <a:pt x="23" y="143"/>
                  </a:lnTo>
                  <a:lnTo>
                    <a:pt x="23" y="143"/>
                  </a:lnTo>
                  <a:lnTo>
                    <a:pt x="23" y="143"/>
                  </a:lnTo>
                  <a:close/>
                  <a:moveTo>
                    <a:pt x="16" y="138"/>
                  </a:moveTo>
                  <a:lnTo>
                    <a:pt x="16" y="140"/>
                  </a:lnTo>
                  <a:lnTo>
                    <a:pt x="16" y="138"/>
                  </a:lnTo>
                  <a:lnTo>
                    <a:pt x="16" y="138"/>
                  </a:lnTo>
                  <a:lnTo>
                    <a:pt x="16" y="138"/>
                  </a:lnTo>
                  <a:lnTo>
                    <a:pt x="16" y="138"/>
                  </a:lnTo>
                  <a:close/>
                  <a:moveTo>
                    <a:pt x="14" y="138"/>
                  </a:moveTo>
                  <a:lnTo>
                    <a:pt x="14" y="138"/>
                  </a:lnTo>
                  <a:lnTo>
                    <a:pt x="14" y="138"/>
                  </a:lnTo>
                  <a:lnTo>
                    <a:pt x="14" y="138"/>
                  </a:lnTo>
                  <a:lnTo>
                    <a:pt x="14" y="138"/>
                  </a:lnTo>
                  <a:close/>
                  <a:moveTo>
                    <a:pt x="7" y="138"/>
                  </a:moveTo>
                  <a:lnTo>
                    <a:pt x="7" y="138"/>
                  </a:lnTo>
                  <a:lnTo>
                    <a:pt x="7" y="138"/>
                  </a:lnTo>
                  <a:lnTo>
                    <a:pt x="7" y="138"/>
                  </a:lnTo>
                  <a:lnTo>
                    <a:pt x="7" y="138"/>
                  </a:lnTo>
                  <a:lnTo>
                    <a:pt x="7" y="138"/>
                  </a:lnTo>
                  <a:close/>
                  <a:moveTo>
                    <a:pt x="16" y="136"/>
                  </a:moveTo>
                  <a:lnTo>
                    <a:pt x="16" y="136"/>
                  </a:lnTo>
                  <a:lnTo>
                    <a:pt x="16" y="136"/>
                  </a:lnTo>
                  <a:lnTo>
                    <a:pt x="16" y="136"/>
                  </a:lnTo>
                  <a:lnTo>
                    <a:pt x="16" y="136"/>
                  </a:lnTo>
                  <a:lnTo>
                    <a:pt x="16" y="136"/>
                  </a:lnTo>
                  <a:lnTo>
                    <a:pt x="16" y="136"/>
                  </a:lnTo>
                  <a:close/>
                  <a:moveTo>
                    <a:pt x="19" y="131"/>
                  </a:moveTo>
                  <a:lnTo>
                    <a:pt x="19" y="133"/>
                  </a:lnTo>
                  <a:lnTo>
                    <a:pt x="19" y="131"/>
                  </a:lnTo>
                  <a:lnTo>
                    <a:pt x="19" y="131"/>
                  </a:lnTo>
                  <a:lnTo>
                    <a:pt x="19" y="131"/>
                  </a:lnTo>
                  <a:close/>
                  <a:moveTo>
                    <a:pt x="19" y="131"/>
                  </a:moveTo>
                  <a:lnTo>
                    <a:pt x="19" y="131"/>
                  </a:lnTo>
                  <a:lnTo>
                    <a:pt x="19" y="131"/>
                  </a:lnTo>
                  <a:lnTo>
                    <a:pt x="19" y="131"/>
                  </a:lnTo>
                  <a:lnTo>
                    <a:pt x="19" y="131"/>
                  </a:lnTo>
                  <a:close/>
                  <a:moveTo>
                    <a:pt x="19" y="131"/>
                  </a:moveTo>
                  <a:lnTo>
                    <a:pt x="19" y="131"/>
                  </a:lnTo>
                  <a:lnTo>
                    <a:pt x="19" y="131"/>
                  </a:lnTo>
                  <a:lnTo>
                    <a:pt x="19" y="131"/>
                  </a:lnTo>
                  <a:lnTo>
                    <a:pt x="19" y="131"/>
                  </a:lnTo>
                  <a:close/>
                  <a:moveTo>
                    <a:pt x="0" y="100"/>
                  </a:moveTo>
                  <a:lnTo>
                    <a:pt x="0" y="100"/>
                  </a:lnTo>
                  <a:lnTo>
                    <a:pt x="0" y="100"/>
                  </a:lnTo>
                  <a:lnTo>
                    <a:pt x="0" y="100"/>
                  </a:lnTo>
                  <a:lnTo>
                    <a:pt x="0" y="100"/>
                  </a:lnTo>
                  <a:lnTo>
                    <a:pt x="0" y="100"/>
                  </a:lnTo>
                  <a:close/>
                  <a:moveTo>
                    <a:pt x="0" y="100"/>
                  </a:moveTo>
                  <a:lnTo>
                    <a:pt x="0" y="100"/>
                  </a:lnTo>
                  <a:lnTo>
                    <a:pt x="0" y="100"/>
                  </a:lnTo>
                  <a:lnTo>
                    <a:pt x="0" y="100"/>
                  </a:lnTo>
                  <a:lnTo>
                    <a:pt x="0" y="100"/>
                  </a:lnTo>
                  <a:lnTo>
                    <a:pt x="0" y="100"/>
                  </a:lnTo>
                  <a:lnTo>
                    <a:pt x="0" y="100"/>
                  </a:lnTo>
                  <a:lnTo>
                    <a:pt x="0" y="100"/>
                  </a:lnTo>
                  <a:close/>
                  <a:moveTo>
                    <a:pt x="28" y="45"/>
                  </a:moveTo>
                  <a:lnTo>
                    <a:pt x="28" y="45"/>
                  </a:lnTo>
                  <a:lnTo>
                    <a:pt x="28" y="45"/>
                  </a:lnTo>
                  <a:lnTo>
                    <a:pt x="28" y="45"/>
                  </a:lnTo>
                  <a:lnTo>
                    <a:pt x="28" y="45"/>
                  </a:lnTo>
                  <a:lnTo>
                    <a:pt x="28" y="45"/>
                  </a:lnTo>
                  <a:close/>
                  <a:moveTo>
                    <a:pt x="28" y="45"/>
                  </a:moveTo>
                  <a:lnTo>
                    <a:pt x="28" y="45"/>
                  </a:lnTo>
                  <a:lnTo>
                    <a:pt x="28" y="45"/>
                  </a:lnTo>
                  <a:lnTo>
                    <a:pt x="28" y="45"/>
                  </a:lnTo>
                  <a:lnTo>
                    <a:pt x="28" y="45"/>
                  </a:lnTo>
                  <a:lnTo>
                    <a:pt x="28" y="45"/>
                  </a:lnTo>
                  <a:lnTo>
                    <a:pt x="28" y="45"/>
                  </a:lnTo>
                  <a:lnTo>
                    <a:pt x="28" y="45"/>
                  </a:lnTo>
                  <a:lnTo>
                    <a:pt x="28" y="45"/>
                  </a:lnTo>
                  <a:lnTo>
                    <a:pt x="28" y="45"/>
                  </a:lnTo>
                  <a:close/>
                  <a:moveTo>
                    <a:pt x="26" y="45"/>
                  </a:moveTo>
                  <a:lnTo>
                    <a:pt x="26" y="45"/>
                  </a:lnTo>
                  <a:lnTo>
                    <a:pt x="26" y="45"/>
                  </a:lnTo>
                  <a:lnTo>
                    <a:pt x="26" y="45"/>
                  </a:lnTo>
                  <a:lnTo>
                    <a:pt x="26" y="45"/>
                  </a:lnTo>
                  <a:lnTo>
                    <a:pt x="26" y="45"/>
                  </a:lnTo>
                  <a:lnTo>
                    <a:pt x="26" y="45"/>
                  </a:lnTo>
                  <a:lnTo>
                    <a:pt x="26" y="45"/>
                  </a:lnTo>
                  <a:lnTo>
                    <a:pt x="26" y="45"/>
                  </a:lnTo>
                  <a:lnTo>
                    <a:pt x="26" y="45"/>
                  </a:lnTo>
                  <a:lnTo>
                    <a:pt x="26" y="45"/>
                  </a:lnTo>
                  <a:lnTo>
                    <a:pt x="26" y="45"/>
                  </a:lnTo>
                  <a:close/>
                  <a:moveTo>
                    <a:pt x="26" y="45"/>
                  </a:moveTo>
                  <a:lnTo>
                    <a:pt x="26" y="45"/>
                  </a:lnTo>
                  <a:lnTo>
                    <a:pt x="26" y="45"/>
                  </a:lnTo>
                  <a:lnTo>
                    <a:pt x="26" y="45"/>
                  </a:lnTo>
                  <a:lnTo>
                    <a:pt x="28" y="45"/>
                  </a:lnTo>
                  <a:lnTo>
                    <a:pt x="26" y="45"/>
                  </a:lnTo>
                  <a:close/>
                  <a:moveTo>
                    <a:pt x="28" y="45"/>
                  </a:moveTo>
                  <a:lnTo>
                    <a:pt x="28" y="45"/>
                  </a:lnTo>
                  <a:lnTo>
                    <a:pt x="28" y="45"/>
                  </a:lnTo>
                  <a:lnTo>
                    <a:pt x="28" y="45"/>
                  </a:lnTo>
                  <a:lnTo>
                    <a:pt x="28" y="45"/>
                  </a:lnTo>
                  <a:lnTo>
                    <a:pt x="28" y="45"/>
                  </a:lnTo>
                  <a:lnTo>
                    <a:pt x="28" y="45"/>
                  </a:lnTo>
                  <a:lnTo>
                    <a:pt x="28" y="45"/>
                  </a:lnTo>
                  <a:lnTo>
                    <a:pt x="28" y="45"/>
                  </a:lnTo>
                  <a:close/>
                  <a:moveTo>
                    <a:pt x="23" y="0"/>
                  </a:moveTo>
                  <a:lnTo>
                    <a:pt x="23" y="0"/>
                  </a:lnTo>
                  <a:lnTo>
                    <a:pt x="23" y="0"/>
                  </a:lnTo>
                  <a:lnTo>
                    <a:pt x="23" y="0"/>
                  </a:lnTo>
                  <a:lnTo>
                    <a:pt x="23" y="0"/>
                  </a:lnTo>
                  <a:lnTo>
                    <a:pt x="23" y="0"/>
                  </a:lnTo>
                  <a:lnTo>
                    <a:pt x="23" y="0"/>
                  </a:lnTo>
                  <a:close/>
                  <a:moveTo>
                    <a:pt x="26" y="0"/>
                  </a:moveTo>
                  <a:lnTo>
                    <a:pt x="26" y="0"/>
                  </a:lnTo>
                  <a:lnTo>
                    <a:pt x="26" y="0"/>
                  </a:lnTo>
                  <a:lnTo>
                    <a:pt x="2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4" name="Freeform 57966"/>
            <p:cNvSpPr>
              <a:spLocks noEditPoints="1"/>
            </p:cNvSpPr>
            <p:nvPr/>
          </p:nvSpPr>
          <p:spPr bwMode="auto">
            <a:xfrm>
              <a:off x="1528762" y="5305430"/>
              <a:ext cx="90488" cy="354013"/>
            </a:xfrm>
            <a:custGeom>
              <a:avLst/>
              <a:gdLst>
                <a:gd name="T0" fmla="*/ 57 w 57"/>
                <a:gd name="T1" fmla="*/ 221 h 223"/>
                <a:gd name="T2" fmla="*/ 54 w 57"/>
                <a:gd name="T3" fmla="*/ 221 h 223"/>
                <a:gd name="T4" fmla="*/ 54 w 57"/>
                <a:gd name="T5" fmla="*/ 221 h 223"/>
                <a:gd name="T6" fmla="*/ 57 w 57"/>
                <a:gd name="T7" fmla="*/ 221 h 223"/>
                <a:gd name="T8" fmla="*/ 57 w 57"/>
                <a:gd name="T9" fmla="*/ 221 h 223"/>
                <a:gd name="T10" fmla="*/ 54 w 57"/>
                <a:gd name="T11" fmla="*/ 221 h 223"/>
                <a:gd name="T12" fmla="*/ 54 w 57"/>
                <a:gd name="T13" fmla="*/ 221 h 223"/>
                <a:gd name="T14" fmla="*/ 54 w 57"/>
                <a:gd name="T15" fmla="*/ 221 h 223"/>
                <a:gd name="T16" fmla="*/ 52 w 57"/>
                <a:gd name="T17" fmla="*/ 221 h 223"/>
                <a:gd name="T18" fmla="*/ 52 w 57"/>
                <a:gd name="T19" fmla="*/ 221 h 223"/>
                <a:gd name="T20" fmla="*/ 52 w 57"/>
                <a:gd name="T21" fmla="*/ 221 h 223"/>
                <a:gd name="T22" fmla="*/ 54 w 57"/>
                <a:gd name="T23" fmla="*/ 221 h 223"/>
                <a:gd name="T24" fmla="*/ 54 w 57"/>
                <a:gd name="T25" fmla="*/ 221 h 223"/>
                <a:gd name="T26" fmla="*/ 54 w 57"/>
                <a:gd name="T27" fmla="*/ 223 h 223"/>
                <a:gd name="T28" fmla="*/ 54 w 57"/>
                <a:gd name="T29" fmla="*/ 221 h 223"/>
                <a:gd name="T30" fmla="*/ 54 w 57"/>
                <a:gd name="T31" fmla="*/ 223 h 223"/>
                <a:gd name="T32" fmla="*/ 52 w 57"/>
                <a:gd name="T33" fmla="*/ 221 h 223"/>
                <a:gd name="T34" fmla="*/ 52 w 57"/>
                <a:gd name="T35" fmla="*/ 221 h 223"/>
                <a:gd name="T36" fmla="*/ 52 w 57"/>
                <a:gd name="T37" fmla="*/ 221 h 223"/>
                <a:gd name="T38" fmla="*/ 52 w 57"/>
                <a:gd name="T39" fmla="*/ 221 h 223"/>
                <a:gd name="T40" fmla="*/ 52 w 57"/>
                <a:gd name="T41" fmla="*/ 221 h 223"/>
                <a:gd name="T42" fmla="*/ 52 w 57"/>
                <a:gd name="T43" fmla="*/ 221 h 223"/>
                <a:gd name="T44" fmla="*/ 54 w 57"/>
                <a:gd name="T45" fmla="*/ 221 h 223"/>
                <a:gd name="T46" fmla="*/ 54 w 57"/>
                <a:gd name="T47" fmla="*/ 221 h 223"/>
                <a:gd name="T48" fmla="*/ 57 w 57"/>
                <a:gd name="T49" fmla="*/ 218 h 223"/>
                <a:gd name="T50" fmla="*/ 26 w 57"/>
                <a:gd name="T51" fmla="*/ 156 h 223"/>
                <a:gd name="T52" fmla="*/ 26 w 57"/>
                <a:gd name="T53" fmla="*/ 156 h 223"/>
                <a:gd name="T54" fmla="*/ 26 w 57"/>
                <a:gd name="T55" fmla="*/ 156 h 223"/>
                <a:gd name="T56" fmla="*/ 26 w 57"/>
                <a:gd name="T57" fmla="*/ 156 h 223"/>
                <a:gd name="T58" fmla="*/ 26 w 57"/>
                <a:gd name="T59" fmla="*/ 156 h 223"/>
                <a:gd name="T60" fmla="*/ 26 w 57"/>
                <a:gd name="T61" fmla="*/ 156 h 223"/>
                <a:gd name="T62" fmla="*/ 26 w 57"/>
                <a:gd name="T63" fmla="*/ 156 h 223"/>
                <a:gd name="T64" fmla="*/ 23 w 57"/>
                <a:gd name="T65" fmla="*/ 154 h 223"/>
                <a:gd name="T66" fmla="*/ 26 w 57"/>
                <a:gd name="T67" fmla="*/ 154 h 223"/>
                <a:gd name="T68" fmla="*/ 14 w 57"/>
                <a:gd name="T69" fmla="*/ 140 h 223"/>
                <a:gd name="T70" fmla="*/ 14 w 57"/>
                <a:gd name="T71" fmla="*/ 137 h 223"/>
                <a:gd name="T72" fmla="*/ 16 w 57"/>
                <a:gd name="T73" fmla="*/ 137 h 223"/>
                <a:gd name="T74" fmla="*/ 16 w 57"/>
                <a:gd name="T75" fmla="*/ 137 h 223"/>
                <a:gd name="T76" fmla="*/ 16 w 57"/>
                <a:gd name="T77" fmla="*/ 137 h 223"/>
                <a:gd name="T78" fmla="*/ 16 w 57"/>
                <a:gd name="T79" fmla="*/ 137 h 223"/>
                <a:gd name="T80" fmla="*/ 19 w 57"/>
                <a:gd name="T81" fmla="*/ 137 h 223"/>
                <a:gd name="T82" fmla="*/ 19 w 57"/>
                <a:gd name="T83" fmla="*/ 137 h 223"/>
                <a:gd name="T84" fmla="*/ 16 w 57"/>
                <a:gd name="T85" fmla="*/ 137 h 223"/>
                <a:gd name="T86" fmla="*/ 16 w 57"/>
                <a:gd name="T87" fmla="*/ 135 h 223"/>
                <a:gd name="T88" fmla="*/ 16 w 57"/>
                <a:gd name="T89" fmla="*/ 137 h 223"/>
                <a:gd name="T90" fmla="*/ 0 w 57"/>
                <a:gd name="T91" fmla="*/ 114 h 223"/>
                <a:gd name="T92" fmla="*/ 0 w 57"/>
                <a:gd name="T93" fmla="*/ 111 h 223"/>
                <a:gd name="T94" fmla="*/ 0 w 57"/>
                <a:gd name="T95" fmla="*/ 114 h 223"/>
                <a:gd name="T96" fmla="*/ 28 w 57"/>
                <a:gd name="T97" fmla="*/ 54 h 223"/>
                <a:gd name="T98" fmla="*/ 28 w 57"/>
                <a:gd name="T99" fmla="*/ 54 h 223"/>
                <a:gd name="T100" fmla="*/ 26 w 57"/>
                <a:gd name="T101" fmla="*/ 57 h 223"/>
                <a:gd name="T102" fmla="*/ 26 w 57"/>
                <a:gd name="T103" fmla="*/ 54 h 223"/>
                <a:gd name="T104" fmla="*/ 26 w 57"/>
                <a:gd name="T105" fmla="*/ 54 h 223"/>
                <a:gd name="T106" fmla="*/ 28 w 57"/>
                <a:gd name="T107" fmla="*/ 54 h 223"/>
                <a:gd name="T108" fmla="*/ 26 w 57"/>
                <a:gd name="T109" fmla="*/ 0 h 223"/>
                <a:gd name="T110" fmla="*/ 26 w 57"/>
                <a:gd name="T11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 h="223">
                  <a:moveTo>
                    <a:pt x="57" y="221"/>
                  </a:moveTo>
                  <a:lnTo>
                    <a:pt x="57" y="221"/>
                  </a:lnTo>
                  <a:lnTo>
                    <a:pt x="57" y="221"/>
                  </a:lnTo>
                  <a:lnTo>
                    <a:pt x="57" y="221"/>
                  </a:lnTo>
                  <a:lnTo>
                    <a:pt x="57" y="221"/>
                  </a:lnTo>
                  <a:lnTo>
                    <a:pt x="57" y="221"/>
                  </a:lnTo>
                  <a:lnTo>
                    <a:pt x="57" y="221"/>
                  </a:lnTo>
                  <a:lnTo>
                    <a:pt x="57" y="221"/>
                  </a:lnTo>
                  <a:lnTo>
                    <a:pt x="54" y="221"/>
                  </a:lnTo>
                  <a:lnTo>
                    <a:pt x="54" y="221"/>
                  </a:lnTo>
                  <a:lnTo>
                    <a:pt x="54" y="223"/>
                  </a:lnTo>
                  <a:lnTo>
                    <a:pt x="54" y="223"/>
                  </a:lnTo>
                  <a:lnTo>
                    <a:pt x="54" y="223"/>
                  </a:lnTo>
                  <a:lnTo>
                    <a:pt x="54" y="221"/>
                  </a:lnTo>
                  <a:lnTo>
                    <a:pt x="54" y="221"/>
                  </a:lnTo>
                  <a:lnTo>
                    <a:pt x="54" y="221"/>
                  </a:lnTo>
                  <a:lnTo>
                    <a:pt x="54" y="221"/>
                  </a:lnTo>
                  <a:lnTo>
                    <a:pt x="54" y="221"/>
                  </a:lnTo>
                  <a:lnTo>
                    <a:pt x="54" y="221"/>
                  </a:lnTo>
                  <a:lnTo>
                    <a:pt x="57" y="221"/>
                  </a:lnTo>
                  <a:lnTo>
                    <a:pt x="57" y="221"/>
                  </a:lnTo>
                  <a:lnTo>
                    <a:pt x="57" y="221"/>
                  </a:lnTo>
                  <a:lnTo>
                    <a:pt x="57" y="221"/>
                  </a:lnTo>
                  <a:lnTo>
                    <a:pt x="57" y="221"/>
                  </a:lnTo>
                  <a:lnTo>
                    <a:pt x="57" y="221"/>
                  </a:lnTo>
                  <a:close/>
                  <a:moveTo>
                    <a:pt x="54" y="221"/>
                  </a:move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close/>
                  <a:moveTo>
                    <a:pt x="52" y="221"/>
                  </a:move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4" y="221"/>
                  </a:lnTo>
                  <a:lnTo>
                    <a:pt x="54" y="221"/>
                  </a:lnTo>
                  <a:lnTo>
                    <a:pt x="54" y="221"/>
                  </a:lnTo>
                  <a:lnTo>
                    <a:pt x="54" y="221"/>
                  </a:lnTo>
                  <a:lnTo>
                    <a:pt x="54" y="221"/>
                  </a:lnTo>
                  <a:lnTo>
                    <a:pt x="54" y="221"/>
                  </a:lnTo>
                  <a:lnTo>
                    <a:pt x="54" y="223"/>
                  </a:lnTo>
                  <a:lnTo>
                    <a:pt x="54" y="223"/>
                  </a:lnTo>
                  <a:lnTo>
                    <a:pt x="54" y="223"/>
                  </a:lnTo>
                  <a:lnTo>
                    <a:pt x="54" y="221"/>
                  </a:lnTo>
                  <a:lnTo>
                    <a:pt x="52" y="221"/>
                  </a:lnTo>
                  <a:lnTo>
                    <a:pt x="52" y="223"/>
                  </a:lnTo>
                  <a:lnTo>
                    <a:pt x="54" y="223"/>
                  </a:lnTo>
                  <a:lnTo>
                    <a:pt x="54" y="223"/>
                  </a:lnTo>
                  <a:lnTo>
                    <a:pt x="54" y="223"/>
                  </a:lnTo>
                  <a:lnTo>
                    <a:pt x="54" y="223"/>
                  </a:lnTo>
                  <a:lnTo>
                    <a:pt x="54" y="223"/>
                  </a:lnTo>
                  <a:lnTo>
                    <a:pt x="54" y="223"/>
                  </a:lnTo>
                  <a:lnTo>
                    <a:pt x="54" y="223"/>
                  </a:lnTo>
                  <a:lnTo>
                    <a:pt x="54" y="221"/>
                  </a:lnTo>
                  <a:lnTo>
                    <a:pt x="54" y="223"/>
                  </a:lnTo>
                  <a:lnTo>
                    <a:pt x="54" y="223"/>
                  </a:lnTo>
                  <a:lnTo>
                    <a:pt x="54" y="223"/>
                  </a:lnTo>
                  <a:lnTo>
                    <a:pt x="54" y="223"/>
                  </a:lnTo>
                  <a:lnTo>
                    <a:pt x="54" y="223"/>
                  </a:lnTo>
                  <a:lnTo>
                    <a:pt x="52" y="223"/>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close/>
                  <a:moveTo>
                    <a:pt x="57" y="221"/>
                  </a:moveTo>
                  <a:lnTo>
                    <a:pt x="57" y="221"/>
                  </a:lnTo>
                  <a:lnTo>
                    <a:pt x="57" y="221"/>
                  </a:lnTo>
                  <a:lnTo>
                    <a:pt x="57" y="221"/>
                  </a:lnTo>
                  <a:lnTo>
                    <a:pt x="54" y="221"/>
                  </a:lnTo>
                  <a:lnTo>
                    <a:pt x="54" y="221"/>
                  </a:lnTo>
                  <a:lnTo>
                    <a:pt x="54" y="221"/>
                  </a:lnTo>
                  <a:lnTo>
                    <a:pt x="54" y="221"/>
                  </a:lnTo>
                  <a:lnTo>
                    <a:pt x="54" y="221"/>
                  </a:lnTo>
                  <a:lnTo>
                    <a:pt x="54" y="221"/>
                  </a:lnTo>
                  <a:lnTo>
                    <a:pt x="54" y="221"/>
                  </a:lnTo>
                  <a:lnTo>
                    <a:pt x="54" y="221"/>
                  </a:lnTo>
                  <a:lnTo>
                    <a:pt x="54" y="221"/>
                  </a:lnTo>
                  <a:lnTo>
                    <a:pt x="57" y="218"/>
                  </a:lnTo>
                  <a:lnTo>
                    <a:pt x="57" y="218"/>
                  </a:lnTo>
                  <a:lnTo>
                    <a:pt x="57" y="218"/>
                  </a:lnTo>
                  <a:lnTo>
                    <a:pt x="57" y="221"/>
                  </a:lnTo>
                  <a:lnTo>
                    <a:pt x="57" y="221"/>
                  </a:lnTo>
                  <a:lnTo>
                    <a:pt x="57" y="221"/>
                  </a:lnTo>
                  <a:close/>
                  <a:moveTo>
                    <a:pt x="26" y="156"/>
                  </a:move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close/>
                  <a:moveTo>
                    <a:pt x="26" y="154"/>
                  </a:moveTo>
                  <a:lnTo>
                    <a:pt x="23" y="154"/>
                  </a:lnTo>
                  <a:lnTo>
                    <a:pt x="23" y="154"/>
                  </a:lnTo>
                  <a:lnTo>
                    <a:pt x="23" y="154"/>
                  </a:lnTo>
                  <a:lnTo>
                    <a:pt x="23" y="154"/>
                  </a:lnTo>
                  <a:lnTo>
                    <a:pt x="23" y="152"/>
                  </a:lnTo>
                  <a:lnTo>
                    <a:pt x="23" y="152"/>
                  </a:lnTo>
                  <a:lnTo>
                    <a:pt x="26" y="152"/>
                  </a:lnTo>
                  <a:lnTo>
                    <a:pt x="26" y="154"/>
                  </a:lnTo>
                  <a:lnTo>
                    <a:pt x="26" y="154"/>
                  </a:lnTo>
                  <a:lnTo>
                    <a:pt x="26" y="154"/>
                  </a:lnTo>
                  <a:close/>
                  <a:moveTo>
                    <a:pt x="14" y="140"/>
                  </a:moveTo>
                  <a:lnTo>
                    <a:pt x="14" y="140"/>
                  </a:lnTo>
                  <a:lnTo>
                    <a:pt x="14" y="140"/>
                  </a:lnTo>
                  <a:lnTo>
                    <a:pt x="14" y="140"/>
                  </a:lnTo>
                  <a:lnTo>
                    <a:pt x="14" y="140"/>
                  </a:lnTo>
                  <a:lnTo>
                    <a:pt x="14" y="137"/>
                  </a:lnTo>
                  <a:lnTo>
                    <a:pt x="14" y="137"/>
                  </a:lnTo>
                  <a:lnTo>
                    <a:pt x="14" y="137"/>
                  </a:lnTo>
                  <a:lnTo>
                    <a:pt x="14" y="137"/>
                  </a:lnTo>
                  <a:lnTo>
                    <a:pt x="16" y="137"/>
                  </a:lnTo>
                  <a:lnTo>
                    <a:pt x="16" y="137"/>
                  </a:lnTo>
                  <a:lnTo>
                    <a:pt x="16" y="137"/>
                  </a:lnTo>
                  <a:lnTo>
                    <a:pt x="16" y="137"/>
                  </a:lnTo>
                  <a:lnTo>
                    <a:pt x="16" y="137"/>
                  </a:lnTo>
                  <a:lnTo>
                    <a:pt x="16" y="137"/>
                  </a:lnTo>
                  <a:lnTo>
                    <a:pt x="16" y="137"/>
                  </a:lnTo>
                  <a:lnTo>
                    <a:pt x="16" y="137"/>
                  </a:lnTo>
                  <a:lnTo>
                    <a:pt x="16" y="137"/>
                  </a:lnTo>
                  <a:lnTo>
                    <a:pt x="16" y="137"/>
                  </a:lnTo>
                  <a:lnTo>
                    <a:pt x="14" y="140"/>
                  </a:lnTo>
                  <a:close/>
                  <a:moveTo>
                    <a:pt x="16" y="137"/>
                  </a:moveTo>
                  <a:lnTo>
                    <a:pt x="16" y="137"/>
                  </a:lnTo>
                  <a:lnTo>
                    <a:pt x="16" y="137"/>
                  </a:lnTo>
                  <a:lnTo>
                    <a:pt x="16" y="137"/>
                  </a:lnTo>
                  <a:lnTo>
                    <a:pt x="16" y="137"/>
                  </a:lnTo>
                  <a:lnTo>
                    <a:pt x="16" y="137"/>
                  </a:lnTo>
                  <a:lnTo>
                    <a:pt x="16" y="137"/>
                  </a:lnTo>
                  <a:lnTo>
                    <a:pt x="16" y="137"/>
                  </a:lnTo>
                  <a:lnTo>
                    <a:pt x="16" y="137"/>
                  </a:lnTo>
                  <a:lnTo>
                    <a:pt x="16" y="137"/>
                  </a:lnTo>
                  <a:lnTo>
                    <a:pt x="16" y="137"/>
                  </a:lnTo>
                  <a:lnTo>
                    <a:pt x="16" y="137"/>
                  </a:lnTo>
                  <a:lnTo>
                    <a:pt x="19" y="137"/>
                  </a:lnTo>
                  <a:lnTo>
                    <a:pt x="19" y="137"/>
                  </a:lnTo>
                  <a:lnTo>
                    <a:pt x="19" y="137"/>
                  </a:lnTo>
                  <a:lnTo>
                    <a:pt x="19" y="137"/>
                  </a:lnTo>
                  <a:lnTo>
                    <a:pt x="19" y="137"/>
                  </a:lnTo>
                  <a:lnTo>
                    <a:pt x="19" y="137"/>
                  </a:lnTo>
                  <a:lnTo>
                    <a:pt x="16" y="137"/>
                  </a:lnTo>
                  <a:close/>
                  <a:moveTo>
                    <a:pt x="16" y="137"/>
                  </a:moveTo>
                  <a:lnTo>
                    <a:pt x="16" y="137"/>
                  </a:lnTo>
                  <a:lnTo>
                    <a:pt x="16" y="137"/>
                  </a:lnTo>
                  <a:lnTo>
                    <a:pt x="16" y="137"/>
                  </a:lnTo>
                  <a:lnTo>
                    <a:pt x="16" y="135"/>
                  </a:lnTo>
                  <a:lnTo>
                    <a:pt x="16" y="135"/>
                  </a:lnTo>
                  <a:lnTo>
                    <a:pt x="16" y="135"/>
                  </a:lnTo>
                  <a:lnTo>
                    <a:pt x="16" y="135"/>
                  </a:lnTo>
                  <a:lnTo>
                    <a:pt x="16" y="135"/>
                  </a:lnTo>
                  <a:lnTo>
                    <a:pt x="16" y="135"/>
                  </a:lnTo>
                  <a:lnTo>
                    <a:pt x="16" y="135"/>
                  </a:lnTo>
                  <a:lnTo>
                    <a:pt x="16" y="137"/>
                  </a:lnTo>
                  <a:lnTo>
                    <a:pt x="16" y="137"/>
                  </a:lnTo>
                  <a:lnTo>
                    <a:pt x="16" y="137"/>
                  </a:lnTo>
                  <a:close/>
                  <a:moveTo>
                    <a:pt x="0" y="114"/>
                  </a:moveTo>
                  <a:lnTo>
                    <a:pt x="0" y="114"/>
                  </a:lnTo>
                  <a:lnTo>
                    <a:pt x="0" y="114"/>
                  </a:lnTo>
                  <a:lnTo>
                    <a:pt x="0" y="114"/>
                  </a:lnTo>
                  <a:lnTo>
                    <a:pt x="0" y="114"/>
                  </a:lnTo>
                  <a:lnTo>
                    <a:pt x="0" y="114"/>
                  </a:lnTo>
                  <a:lnTo>
                    <a:pt x="0" y="114"/>
                  </a:lnTo>
                  <a:lnTo>
                    <a:pt x="0" y="111"/>
                  </a:lnTo>
                  <a:lnTo>
                    <a:pt x="0" y="111"/>
                  </a:lnTo>
                  <a:lnTo>
                    <a:pt x="0" y="111"/>
                  </a:lnTo>
                  <a:lnTo>
                    <a:pt x="0" y="111"/>
                  </a:lnTo>
                  <a:lnTo>
                    <a:pt x="0" y="111"/>
                  </a:lnTo>
                  <a:lnTo>
                    <a:pt x="0" y="114"/>
                  </a:lnTo>
                  <a:lnTo>
                    <a:pt x="0" y="114"/>
                  </a:lnTo>
                  <a:lnTo>
                    <a:pt x="0" y="114"/>
                  </a:lnTo>
                  <a:lnTo>
                    <a:pt x="0" y="114"/>
                  </a:lnTo>
                  <a:close/>
                  <a:moveTo>
                    <a:pt x="28" y="54"/>
                  </a:moveTo>
                  <a:lnTo>
                    <a:pt x="28" y="54"/>
                  </a:lnTo>
                  <a:lnTo>
                    <a:pt x="28" y="54"/>
                  </a:lnTo>
                  <a:lnTo>
                    <a:pt x="28" y="54"/>
                  </a:lnTo>
                  <a:lnTo>
                    <a:pt x="28" y="54"/>
                  </a:lnTo>
                  <a:lnTo>
                    <a:pt x="28" y="54"/>
                  </a:lnTo>
                  <a:lnTo>
                    <a:pt x="28" y="54"/>
                  </a:lnTo>
                  <a:lnTo>
                    <a:pt x="28" y="54"/>
                  </a:lnTo>
                  <a:lnTo>
                    <a:pt x="28" y="54"/>
                  </a:lnTo>
                  <a:lnTo>
                    <a:pt x="28" y="54"/>
                  </a:lnTo>
                  <a:lnTo>
                    <a:pt x="28" y="54"/>
                  </a:lnTo>
                  <a:lnTo>
                    <a:pt x="28" y="54"/>
                  </a:lnTo>
                  <a:lnTo>
                    <a:pt x="26" y="57"/>
                  </a:lnTo>
                  <a:lnTo>
                    <a:pt x="26" y="57"/>
                  </a:lnTo>
                  <a:lnTo>
                    <a:pt x="26" y="54"/>
                  </a:lnTo>
                  <a:lnTo>
                    <a:pt x="26" y="54"/>
                  </a:lnTo>
                  <a:lnTo>
                    <a:pt x="26" y="54"/>
                  </a:lnTo>
                  <a:lnTo>
                    <a:pt x="28" y="54"/>
                  </a:lnTo>
                  <a:lnTo>
                    <a:pt x="26" y="54"/>
                  </a:lnTo>
                  <a:lnTo>
                    <a:pt x="26" y="54"/>
                  </a:lnTo>
                  <a:lnTo>
                    <a:pt x="26" y="54"/>
                  </a:lnTo>
                  <a:lnTo>
                    <a:pt x="26" y="54"/>
                  </a:lnTo>
                  <a:lnTo>
                    <a:pt x="26" y="54"/>
                  </a:lnTo>
                  <a:lnTo>
                    <a:pt x="26" y="54"/>
                  </a:lnTo>
                  <a:lnTo>
                    <a:pt x="28" y="54"/>
                  </a:lnTo>
                  <a:lnTo>
                    <a:pt x="28" y="54"/>
                  </a:lnTo>
                  <a:lnTo>
                    <a:pt x="28" y="54"/>
                  </a:lnTo>
                  <a:lnTo>
                    <a:pt x="28" y="54"/>
                  </a:lnTo>
                  <a:lnTo>
                    <a:pt x="28" y="54"/>
                  </a:lnTo>
                  <a:lnTo>
                    <a:pt x="28" y="54"/>
                  </a:lnTo>
                  <a:lnTo>
                    <a:pt x="28" y="54"/>
                  </a:lnTo>
                  <a:lnTo>
                    <a:pt x="28" y="54"/>
                  </a:lnTo>
                  <a:close/>
                  <a:moveTo>
                    <a:pt x="26" y="0"/>
                  </a:moveTo>
                  <a:lnTo>
                    <a:pt x="26" y="0"/>
                  </a:lnTo>
                  <a:lnTo>
                    <a:pt x="23" y="0"/>
                  </a:lnTo>
                  <a:lnTo>
                    <a:pt x="23" y="0"/>
                  </a:lnTo>
                  <a:lnTo>
                    <a:pt x="26" y="0"/>
                  </a:lnTo>
                  <a:lnTo>
                    <a:pt x="26" y="0"/>
                  </a:lnTo>
                  <a:lnTo>
                    <a:pt x="26" y="0"/>
                  </a:lnTo>
                  <a:lnTo>
                    <a:pt x="2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5" name="Freeform 57967"/>
            <p:cNvSpPr>
              <a:spLocks/>
            </p:cNvSpPr>
            <p:nvPr/>
          </p:nvSpPr>
          <p:spPr bwMode="auto">
            <a:xfrm>
              <a:off x="2473326" y="5226054"/>
              <a:ext cx="52388" cy="115888"/>
            </a:xfrm>
            <a:custGeom>
              <a:avLst/>
              <a:gdLst>
                <a:gd name="T0" fmla="*/ 31 w 33"/>
                <a:gd name="T1" fmla="*/ 2 h 73"/>
                <a:gd name="T2" fmla="*/ 31 w 33"/>
                <a:gd name="T3" fmla="*/ 9 h 73"/>
                <a:gd name="T4" fmla="*/ 31 w 33"/>
                <a:gd name="T5" fmla="*/ 16 h 73"/>
                <a:gd name="T6" fmla="*/ 33 w 33"/>
                <a:gd name="T7" fmla="*/ 21 h 73"/>
                <a:gd name="T8" fmla="*/ 33 w 33"/>
                <a:gd name="T9" fmla="*/ 28 h 73"/>
                <a:gd name="T10" fmla="*/ 33 w 33"/>
                <a:gd name="T11" fmla="*/ 35 h 73"/>
                <a:gd name="T12" fmla="*/ 33 w 33"/>
                <a:gd name="T13" fmla="*/ 42 h 73"/>
                <a:gd name="T14" fmla="*/ 29 w 33"/>
                <a:gd name="T15" fmla="*/ 47 h 73"/>
                <a:gd name="T16" fmla="*/ 29 w 33"/>
                <a:gd name="T17" fmla="*/ 54 h 73"/>
                <a:gd name="T18" fmla="*/ 29 w 33"/>
                <a:gd name="T19" fmla="*/ 61 h 73"/>
                <a:gd name="T20" fmla="*/ 26 w 33"/>
                <a:gd name="T21" fmla="*/ 61 h 73"/>
                <a:gd name="T22" fmla="*/ 26 w 33"/>
                <a:gd name="T23" fmla="*/ 64 h 73"/>
                <a:gd name="T24" fmla="*/ 26 w 33"/>
                <a:gd name="T25" fmla="*/ 61 h 73"/>
                <a:gd name="T26" fmla="*/ 26 w 33"/>
                <a:gd name="T27" fmla="*/ 64 h 73"/>
                <a:gd name="T28" fmla="*/ 24 w 33"/>
                <a:gd name="T29" fmla="*/ 64 h 73"/>
                <a:gd name="T30" fmla="*/ 26 w 33"/>
                <a:gd name="T31" fmla="*/ 64 h 73"/>
                <a:gd name="T32" fmla="*/ 24 w 33"/>
                <a:gd name="T33" fmla="*/ 69 h 73"/>
                <a:gd name="T34" fmla="*/ 26 w 33"/>
                <a:gd name="T35" fmla="*/ 69 h 73"/>
                <a:gd name="T36" fmla="*/ 24 w 33"/>
                <a:gd name="T37" fmla="*/ 69 h 73"/>
                <a:gd name="T38" fmla="*/ 24 w 33"/>
                <a:gd name="T39" fmla="*/ 71 h 73"/>
                <a:gd name="T40" fmla="*/ 24 w 33"/>
                <a:gd name="T41" fmla="*/ 73 h 73"/>
                <a:gd name="T42" fmla="*/ 19 w 33"/>
                <a:gd name="T43" fmla="*/ 71 h 73"/>
                <a:gd name="T44" fmla="*/ 17 w 33"/>
                <a:gd name="T45" fmla="*/ 71 h 73"/>
                <a:gd name="T46" fmla="*/ 17 w 33"/>
                <a:gd name="T47" fmla="*/ 71 h 73"/>
                <a:gd name="T48" fmla="*/ 17 w 33"/>
                <a:gd name="T49" fmla="*/ 69 h 73"/>
                <a:gd name="T50" fmla="*/ 12 w 33"/>
                <a:gd name="T51" fmla="*/ 66 h 73"/>
                <a:gd name="T52" fmla="*/ 10 w 33"/>
                <a:gd name="T53" fmla="*/ 66 h 73"/>
                <a:gd name="T54" fmla="*/ 10 w 33"/>
                <a:gd name="T55" fmla="*/ 64 h 73"/>
                <a:gd name="T56" fmla="*/ 12 w 33"/>
                <a:gd name="T57" fmla="*/ 59 h 73"/>
                <a:gd name="T58" fmla="*/ 10 w 33"/>
                <a:gd name="T59" fmla="*/ 59 h 73"/>
                <a:gd name="T60" fmla="*/ 10 w 33"/>
                <a:gd name="T61" fmla="*/ 57 h 73"/>
                <a:gd name="T62" fmla="*/ 5 w 33"/>
                <a:gd name="T63" fmla="*/ 59 h 73"/>
                <a:gd name="T64" fmla="*/ 7 w 33"/>
                <a:gd name="T65" fmla="*/ 54 h 73"/>
                <a:gd name="T66" fmla="*/ 10 w 33"/>
                <a:gd name="T67" fmla="*/ 52 h 73"/>
                <a:gd name="T68" fmla="*/ 7 w 33"/>
                <a:gd name="T69" fmla="*/ 52 h 73"/>
                <a:gd name="T70" fmla="*/ 7 w 33"/>
                <a:gd name="T71" fmla="*/ 50 h 73"/>
                <a:gd name="T72" fmla="*/ 7 w 33"/>
                <a:gd name="T73" fmla="*/ 47 h 73"/>
                <a:gd name="T74" fmla="*/ 3 w 33"/>
                <a:gd name="T75" fmla="*/ 50 h 73"/>
                <a:gd name="T76" fmla="*/ 5 w 33"/>
                <a:gd name="T77" fmla="*/ 45 h 73"/>
                <a:gd name="T78" fmla="*/ 5 w 33"/>
                <a:gd name="T79" fmla="*/ 42 h 73"/>
                <a:gd name="T80" fmla="*/ 3 w 33"/>
                <a:gd name="T81" fmla="*/ 38 h 73"/>
                <a:gd name="T82" fmla="*/ 0 w 33"/>
                <a:gd name="T83" fmla="*/ 38 h 73"/>
                <a:gd name="T84" fmla="*/ 0 w 33"/>
                <a:gd name="T85" fmla="*/ 35 h 73"/>
                <a:gd name="T86" fmla="*/ 3 w 33"/>
                <a:gd name="T87" fmla="*/ 35 h 73"/>
                <a:gd name="T88" fmla="*/ 3 w 33"/>
                <a:gd name="T89" fmla="*/ 33 h 73"/>
                <a:gd name="T90" fmla="*/ 3 w 33"/>
                <a:gd name="T91" fmla="*/ 31 h 73"/>
                <a:gd name="T92" fmla="*/ 3 w 33"/>
                <a:gd name="T93" fmla="*/ 28 h 73"/>
                <a:gd name="T94" fmla="*/ 0 w 33"/>
                <a:gd name="T95" fmla="*/ 28 h 73"/>
                <a:gd name="T96" fmla="*/ 5 w 33"/>
                <a:gd name="T97" fmla="*/ 26 h 73"/>
                <a:gd name="T98" fmla="*/ 7 w 33"/>
                <a:gd name="T99" fmla="*/ 21 h 73"/>
                <a:gd name="T100" fmla="*/ 7 w 33"/>
                <a:gd name="T101" fmla="*/ 19 h 73"/>
                <a:gd name="T102" fmla="*/ 5 w 33"/>
                <a:gd name="T103" fmla="*/ 19 h 73"/>
                <a:gd name="T104" fmla="*/ 10 w 33"/>
                <a:gd name="T105" fmla="*/ 16 h 73"/>
                <a:gd name="T106" fmla="*/ 12 w 33"/>
                <a:gd name="T107" fmla="*/ 16 h 73"/>
                <a:gd name="T108" fmla="*/ 17 w 33"/>
                <a:gd name="T109" fmla="*/ 14 h 73"/>
                <a:gd name="T110" fmla="*/ 22 w 33"/>
                <a:gd name="T111" fmla="*/ 12 h 73"/>
                <a:gd name="T112" fmla="*/ 26 w 33"/>
                <a:gd name="T113" fmla="*/ 14 h 73"/>
                <a:gd name="T114" fmla="*/ 26 w 33"/>
                <a:gd name="T115" fmla="*/ 7 h 73"/>
                <a:gd name="T116" fmla="*/ 29 w 33"/>
                <a:gd name="T117" fmla="*/ 2 h 73"/>
                <a:gd name="T118" fmla="*/ 26 w 33"/>
                <a:gd name="T119"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 h="73">
                  <a:moveTo>
                    <a:pt x="29" y="0"/>
                  </a:moveTo>
                  <a:lnTo>
                    <a:pt x="31" y="0"/>
                  </a:lnTo>
                  <a:lnTo>
                    <a:pt x="31" y="2"/>
                  </a:lnTo>
                  <a:lnTo>
                    <a:pt x="31" y="4"/>
                  </a:lnTo>
                  <a:lnTo>
                    <a:pt x="31" y="7"/>
                  </a:lnTo>
                  <a:lnTo>
                    <a:pt x="31" y="9"/>
                  </a:lnTo>
                  <a:lnTo>
                    <a:pt x="31" y="12"/>
                  </a:lnTo>
                  <a:lnTo>
                    <a:pt x="31" y="14"/>
                  </a:lnTo>
                  <a:lnTo>
                    <a:pt x="31" y="16"/>
                  </a:lnTo>
                  <a:lnTo>
                    <a:pt x="31" y="19"/>
                  </a:lnTo>
                  <a:lnTo>
                    <a:pt x="33" y="19"/>
                  </a:lnTo>
                  <a:lnTo>
                    <a:pt x="33" y="21"/>
                  </a:lnTo>
                  <a:lnTo>
                    <a:pt x="33" y="23"/>
                  </a:lnTo>
                  <a:lnTo>
                    <a:pt x="33" y="26"/>
                  </a:lnTo>
                  <a:lnTo>
                    <a:pt x="33" y="28"/>
                  </a:lnTo>
                  <a:lnTo>
                    <a:pt x="33" y="31"/>
                  </a:lnTo>
                  <a:lnTo>
                    <a:pt x="33" y="33"/>
                  </a:lnTo>
                  <a:lnTo>
                    <a:pt x="33" y="35"/>
                  </a:lnTo>
                  <a:lnTo>
                    <a:pt x="33" y="38"/>
                  </a:lnTo>
                  <a:lnTo>
                    <a:pt x="33" y="40"/>
                  </a:lnTo>
                  <a:lnTo>
                    <a:pt x="33" y="42"/>
                  </a:lnTo>
                  <a:lnTo>
                    <a:pt x="31" y="45"/>
                  </a:lnTo>
                  <a:lnTo>
                    <a:pt x="31" y="47"/>
                  </a:lnTo>
                  <a:lnTo>
                    <a:pt x="29" y="47"/>
                  </a:lnTo>
                  <a:lnTo>
                    <a:pt x="29" y="50"/>
                  </a:lnTo>
                  <a:lnTo>
                    <a:pt x="29" y="52"/>
                  </a:lnTo>
                  <a:lnTo>
                    <a:pt x="29" y="54"/>
                  </a:lnTo>
                  <a:lnTo>
                    <a:pt x="29" y="57"/>
                  </a:lnTo>
                  <a:lnTo>
                    <a:pt x="29" y="59"/>
                  </a:lnTo>
                  <a:lnTo>
                    <a:pt x="29" y="61"/>
                  </a:lnTo>
                  <a:lnTo>
                    <a:pt x="29" y="59"/>
                  </a:lnTo>
                  <a:lnTo>
                    <a:pt x="29" y="61"/>
                  </a:lnTo>
                  <a:lnTo>
                    <a:pt x="26" y="61"/>
                  </a:lnTo>
                  <a:lnTo>
                    <a:pt x="29" y="61"/>
                  </a:lnTo>
                  <a:lnTo>
                    <a:pt x="26" y="61"/>
                  </a:lnTo>
                  <a:lnTo>
                    <a:pt x="26" y="64"/>
                  </a:lnTo>
                  <a:lnTo>
                    <a:pt x="26" y="61"/>
                  </a:lnTo>
                  <a:lnTo>
                    <a:pt x="26" y="64"/>
                  </a:lnTo>
                  <a:lnTo>
                    <a:pt x="26" y="61"/>
                  </a:lnTo>
                  <a:lnTo>
                    <a:pt x="26" y="64"/>
                  </a:lnTo>
                  <a:lnTo>
                    <a:pt x="24" y="64"/>
                  </a:lnTo>
                  <a:lnTo>
                    <a:pt x="26" y="64"/>
                  </a:lnTo>
                  <a:lnTo>
                    <a:pt x="24" y="64"/>
                  </a:lnTo>
                  <a:lnTo>
                    <a:pt x="26" y="64"/>
                  </a:lnTo>
                  <a:lnTo>
                    <a:pt x="24" y="64"/>
                  </a:lnTo>
                  <a:lnTo>
                    <a:pt x="26" y="64"/>
                  </a:lnTo>
                  <a:lnTo>
                    <a:pt x="29" y="64"/>
                  </a:lnTo>
                  <a:lnTo>
                    <a:pt x="26" y="64"/>
                  </a:lnTo>
                  <a:lnTo>
                    <a:pt x="26" y="66"/>
                  </a:lnTo>
                  <a:lnTo>
                    <a:pt x="24" y="66"/>
                  </a:lnTo>
                  <a:lnTo>
                    <a:pt x="24" y="69"/>
                  </a:lnTo>
                  <a:lnTo>
                    <a:pt x="26" y="69"/>
                  </a:lnTo>
                  <a:lnTo>
                    <a:pt x="24" y="69"/>
                  </a:lnTo>
                  <a:lnTo>
                    <a:pt x="26" y="69"/>
                  </a:lnTo>
                  <a:lnTo>
                    <a:pt x="24" y="69"/>
                  </a:lnTo>
                  <a:lnTo>
                    <a:pt x="24" y="71"/>
                  </a:lnTo>
                  <a:lnTo>
                    <a:pt x="24" y="69"/>
                  </a:lnTo>
                  <a:lnTo>
                    <a:pt x="24" y="71"/>
                  </a:lnTo>
                  <a:lnTo>
                    <a:pt x="22" y="71"/>
                  </a:lnTo>
                  <a:lnTo>
                    <a:pt x="24" y="71"/>
                  </a:lnTo>
                  <a:lnTo>
                    <a:pt x="24" y="73"/>
                  </a:lnTo>
                  <a:lnTo>
                    <a:pt x="24" y="71"/>
                  </a:lnTo>
                  <a:lnTo>
                    <a:pt x="24" y="73"/>
                  </a:lnTo>
                  <a:lnTo>
                    <a:pt x="22" y="73"/>
                  </a:lnTo>
                  <a:lnTo>
                    <a:pt x="19" y="73"/>
                  </a:lnTo>
                  <a:lnTo>
                    <a:pt x="19" y="71"/>
                  </a:lnTo>
                  <a:lnTo>
                    <a:pt x="17" y="71"/>
                  </a:lnTo>
                  <a:lnTo>
                    <a:pt x="19" y="71"/>
                  </a:lnTo>
                  <a:lnTo>
                    <a:pt x="17" y="71"/>
                  </a:lnTo>
                  <a:lnTo>
                    <a:pt x="19" y="69"/>
                  </a:lnTo>
                  <a:lnTo>
                    <a:pt x="17" y="69"/>
                  </a:lnTo>
                  <a:lnTo>
                    <a:pt x="17" y="71"/>
                  </a:lnTo>
                  <a:lnTo>
                    <a:pt x="17" y="69"/>
                  </a:lnTo>
                  <a:lnTo>
                    <a:pt x="17" y="71"/>
                  </a:lnTo>
                  <a:lnTo>
                    <a:pt x="17" y="69"/>
                  </a:lnTo>
                  <a:lnTo>
                    <a:pt x="14" y="69"/>
                  </a:lnTo>
                  <a:lnTo>
                    <a:pt x="12" y="69"/>
                  </a:lnTo>
                  <a:lnTo>
                    <a:pt x="12" y="66"/>
                  </a:lnTo>
                  <a:lnTo>
                    <a:pt x="10" y="66"/>
                  </a:lnTo>
                  <a:lnTo>
                    <a:pt x="12" y="66"/>
                  </a:lnTo>
                  <a:lnTo>
                    <a:pt x="10" y="66"/>
                  </a:lnTo>
                  <a:lnTo>
                    <a:pt x="10" y="64"/>
                  </a:lnTo>
                  <a:lnTo>
                    <a:pt x="7" y="64"/>
                  </a:lnTo>
                  <a:lnTo>
                    <a:pt x="10" y="64"/>
                  </a:lnTo>
                  <a:lnTo>
                    <a:pt x="10" y="61"/>
                  </a:lnTo>
                  <a:lnTo>
                    <a:pt x="12" y="61"/>
                  </a:lnTo>
                  <a:lnTo>
                    <a:pt x="12" y="59"/>
                  </a:lnTo>
                  <a:lnTo>
                    <a:pt x="10" y="59"/>
                  </a:lnTo>
                  <a:lnTo>
                    <a:pt x="7" y="59"/>
                  </a:lnTo>
                  <a:lnTo>
                    <a:pt x="10" y="59"/>
                  </a:lnTo>
                  <a:lnTo>
                    <a:pt x="7" y="59"/>
                  </a:lnTo>
                  <a:lnTo>
                    <a:pt x="7" y="57"/>
                  </a:lnTo>
                  <a:lnTo>
                    <a:pt x="10" y="57"/>
                  </a:lnTo>
                  <a:lnTo>
                    <a:pt x="7" y="57"/>
                  </a:lnTo>
                  <a:lnTo>
                    <a:pt x="7" y="59"/>
                  </a:lnTo>
                  <a:lnTo>
                    <a:pt x="5" y="59"/>
                  </a:lnTo>
                  <a:lnTo>
                    <a:pt x="5" y="57"/>
                  </a:lnTo>
                  <a:lnTo>
                    <a:pt x="7" y="57"/>
                  </a:lnTo>
                  <a:lnTo>
                    <a:pt x="7" y="54"/>
                  </a:lnTo>
                  <a:lnTo>
                    <a:pt x="5" y="54"/>
                  </a:lnTo>
                  <a:lnTo>
                    <a:pt x="7" y="54"/>
                  </a:lnTo>
                  <a:lnTo>
                    <a:pt x="10" y="52"/>
                  </a:lnTo>
                  <a:lnTo>
                    <a:pt x="7" y="52"/>
                  </a:lnTo>
                  <a:lnTo>
                    <a:pt x="10" y="52"/>
                  </a:lnTo>
                  <a:lnTo>
                    <a:pt x="7" y="52"/>
                  </a:lnTo>
                  <a:lnTo>
                    <a:pt x="10" y="52"/>
                  </a:lnTo>
                  <a:lnTo>
                    <a:pt x="7" y="52"/>
                  </a:lnTo>
                  <a:lnTo>
                    <a:pt x="7" y="50"/>
                  </a:lnTo>
                  <a:lnTo>
                    <a:pt x="10" y="50"/>
                  </a:lnTo>
                  <a:lnTo>
                    <a:pt x="7" y="50"/>
                  </a:lnTo>
                  <a:lnTo>
                    <a:pt x="7" y="47"/>
                  </a:lnTo>
                  <a:lnTo>
                    <a:pt x="7" y="50"/>
                  </a:lnTo>
                  <a:lnTo>
                    <a:pt x="5" y="50"/>
                  </a:lnTo>
                  <a:lnTo>
                    <a:pt x="3" y="50"/>
                  </a:lnTo>
                  <a:lnTo>
                    <a:pt x="3" y="47"/>
                  </a:lnTo>
                  <a:lnTo>
                    <a:pt x="5" y="47"/>
                  </a:lnTo>
                  <a:lnTo>
                    <a:pt x="5" y="45"/>
                  </a:lnTo>
                  <a:lnTo>
                    <a:pt x="7" y="45"/>
                  </a:lnTo>
                  <a:lnTo>
                    <a:pt x="7" y="42"/>
                  </a:lnTo>
                  <a:lnTo>
                    <a:pt x="5" y="42"/>
                  </a:lnTo>
                  <a:lnTo>
                    <a:pt x="5" y="40"/>
                  </a:lnTo>
                  <a:lnTo>
                    <a:pt x="3" y="40"/>
                  </a:lnTo>
                  <a:lnTo>
                    <a:pt x="3" y="38"/>
                  </a:lnTo>
                  <a:lnTo>
                    <a:pt x="0" y="38"/>
                  </a:lnTo>
                  <a:lnTo>
                    <a:pt x="3" y="38"/>
                  </a:lnTo>
                  <a:lnTo>
                    <a:pt x="0" y="38"/>
                  </a:lnTo>
                  <a:lnTo>
                    <a:pt x="3" y="38"/>
                  </a:lnTo>
                  <a:lnTo>
                    <a:pt x="3" y="35"/>
                  </a:lnTo>
                  <a:lnTo>
                    <a:pt x="0" y="35"/>
                  </a:lnTo>
                  <a:lnTo>
                    <a:pt x="3" y="35"/>
                  </a:lnTo>
                  <a:lnTo>
                    <a:pt x="0" y="35"/>
                  </a:lnTo>
                  <a:lnTo>
                    <a:pt x="3" y="35"/>
                  </a:lnTo>
                  <a:lnTo>
                    <a:pt x="3" y="33"/>
                  </a:lnTo>
                  <a:lnTo>
                    <a:pt x="3" y="35"/>
                  </a:lnTo>
                  <a:lnTo>
                    <a:pt x="3" y="33"/>
                  </a:lnTo>
                  <a:lnTo>
                    <a:pt x="5" y="33"/>
                  </a:lnTo>
                  <a:lnTo>
                    <a:pt x="5" y="31"/>
                  </a:lnTo>
                  <a:lnTo>
                    <a:pt x="3" y="31"/>
                  </a:lnTo>
                  <a:lnTo>
                    <a:pt x="3" y="28"/>
                  </a:lnTo>
                  <a:lnTo>
                    <a:pt x="3" y="31"/>
                  </a:lnTo>
                  <a:lnTo>
                    <a:pt x="3" y="28"/>
                  </a:lnTo>
                  <a:lnTo>
                    <a:pt x="3" y="31"/>
                  </a:lnTo>
                  <a:lnTo>
                    <a:pt x="0" y="31"/>
                  </a:lnTo>
                  <a:lnTo>
                    <a:pt x="0" y="28"/>
                  </a:lnTo>
                  <a:lnTo>
                    <a:pt x="3" y="28"/>
                  </a:lnTo>
                  <a:lnTo>
                    <a:pt x="3" y="26"/>
                  </a:lnTo>
                  <a:lnTo>
                    <a:pt x="5" y="26"/>
                  </a:lnTo>
                  <a:lnTo>
                    <a:pt x="5" y="23"/>
                  </a:lnTo>
                  <a:lnTo>
                    <a:pt x="5" y="21"/>
                  </a:lnTo>
                  <a:lnTo>
                    <a:pt x="7" y="21"/>
                  </a:lnTo>
                  <a:lnTo>
                    <a:pt x="5" y="21"/>
                  </a:lnTo>
                  <a:lnTo>
                    <a:pt x="7" y="21"/>
                  </a:lnTo>
                  <a:lnTo>
                    <a:pt x="7" y="19"/>
                  </a:lnTo>
                  <a:lnTo>
                    <a:pt x="5" y="19"/>
                  </a:lnTo>
                  <a:lnTo>
                    <a:pt x="7" y="19"/>
                  </a:lnTo>
                  <a:lnTo>
                    <a:pt x="5" y="19"/>
                  </a:lnTo>
                  <a:lnTo>
                    <a:pt x="7" y="19"/>
                  </a:lnTo>
                  <a:lnTo>
                    <a:pt x="10" y="19"/>
                  </a:lnTo>
                  <a:lnTo>
                    <a:pt x="10" y="16"/>
                  </a:lnTo>
                  <a:lnTo>
                    <a:pt x="12" y="16"/>
                  </a:lnTo>
                  <a:lnTo>
                    <a:pt x="10" y="16"/>
                  </a:lnTo>
                  <a:lnTo>
                    <a:pt x="12" y="16"/>
                  </a:lnTo>
                  <a:lnTo>
                    <a:pt x="14" y="16"/>
                  </a:lnTo>
                  <a:lnTo>
                    <a:pt x="17" y="16"/>
                  </a:lnTo>
                  <a:lnTo>
                    <a:pt x="17" y="14"/>
                  </a:lnTo>
                  <a:lnTo>
                    <a:pt x="19" y="14"/>
                  </a:lnTo>
                  <a:lnTo>
                    <a:pt x="19" y="12"/>
                  </a:lnTo>
                  <a:lnTo>
                    <a:pt x="22" y="12"/>
                  </a:lnTo>
                  <a:lnTo>
                    <a:pt x="24" y="12"/>
                  </a:lnTo>
                  <a:lnTo>
                    <a:pt x="24" y="14"/>
                  </a:lnTo>
                  <a:lnTo>
                    <a:pt x="26" y="14"/>
                  </a:lnTo>
                  <a:lnTo>
                    <a:pt x="26" y="12"/>
                  </a:lnTo>
                  <a:lnTo>
                    <a:pt x="26" y="9"/>
                  </a:lnTo>
                  <a:lnTo>
                    <a:pt x="26" y="7"/>
                  </a:lnTo>
                  <a:lnTo>
                    <a:pt x="26" y="4"/>
                  </a:lnTo>
                  <a:lnTo>
                    <a:pt x="26" y="2"/>
                  </a:lnTo>
                  <a:lnTo>
                    <a:pt x="29" y="2"/>
                  </a:lnTo>
                  <a:lnTo>
                    <a:pt x="26" y="2"/>
                  </a:lnTo>
                  <a:lnTo>
                    <a:pt x="29" y="2"/>
                  </a:lnTo>
                  <a:lnTo>
                    <a:pt x="26" y="2"/>
                  </a:lnTo>
                  <a:lnTo>
                    <a:pt x="26" y="0"/>
                  </a:lnTo>
                  <a:lnTo>
                    <a:pt x="2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6" name="Freeform 57968"/>
            <p:cNvSpPr>
              <a:spLocks noEditPoints="1"/>
            </p:cNvSpPr>
            <p:nvPr/>
          </p:nvSpPr>
          <p:spPr bwMode="auto">
            <a:xfrm>
              <a:off x="1776414" y="4614868"/>
              <a:ext cx="682625" cy="660400"/>
            </a:xfrm>
            <a:custGeom>
              <a:avLst/>
              <a:gdLst>
                <a:gd name="T0" fmla="*/ 332 w 430"/>
                <a:gd name="T1" fmla="*/ 373 h 416"/>
                <a:gd name="T2" fmla="*/ 261 w 430"/>
                <a:gd name="T3" fmla="*/ 380 h 416"/>
                <a:gd name="T4" fmla="*/ 256 w 430"/>
                <a:gd name="T5" fmla="*/ 392 h 416"/>
                <a:gd name="T6" fmla="*/ 245 w 430"/>
                <a:gd name="T7" fmla="*/ 413 h 416"/>
                <a:gd name="T8" fmla="*/ 207 w 430"/>
                <a:gd name="T9" fmla="*/ 404 h 416"/>
                <a:gd name="T10" fmla="*/ 169 w 430"/>
                <a:gd name="T11" fmla="*/ 399 h 416"/>
                <a:gd name="T12" fmla="*/ 124 w 430"/>
                <a:gd name="T13" fmla="*/ 385 h 416"/>
                <a:gd name="T14" fmla="*/ 100 w 430"/>
                <a:gd name="T15" fmla="*/ 366 h 416"/>
                <a:gd name="T16" fmla="*/ 114 w 430"/>
                <a:gd name="T17" fmla="*/ 330 h 416"/>
                <a:gd name="T18" fmla="*/ 119 w 430"/>
                <a:gd name="T19" fmla="*/ 271 h 416"/>
                <a:gd name="T20" fmla="*/ 145 w 430"/>
                <a:gd name="T21" fmla="*/ 306 h 416"/>
                <a:gd name="T22" fmla="*/ 150 w 430"/>
                <a:gd name="T23" fmla="*/ 299 h 416"/>
                <a:gd name="T24" fmla="*/ 119 w 430"/>
                <a:gd name="T25" fmla="*/ 261 h 416"/>
                <a:gd name="T26" fmla="*/ 124 w 430"/>
                <a:gd name="T27" fmla="*/ 247 h 416"/>
                <a:gd name="T28" fmla="*/ 100 w 430"/>
                <a:gd name="T29" fmla="*/ 221 h 416"/>
                <a:gd name="T30" fmla="*/ 90 w 430"/>
                <a:gd name="T31" fmla="*/ 185 h 416"/>
                <a:gd name="T32" fmla="*/ 98 w 430"/>
                <a:gd name="T33" fmla="*/ 188 h 416"/>
                <a:gd name="T34" fmla="*/ 79 w 430"/>
                <a:gd name="T35" fmla="*/ 183 h 416"/>
                <a:gd name="T36" fmla="*/ 69 w 430"/>
                <a:gd name="T37" fmla="*/ 173 h 416"/>
                <a:gd name="T38" fmla="*/ 67 w 430"/>
                <a:gd name="T39" fmla="*/ 166 h 416"/>
                <a:gd name="T40" fmla="*/ 55 w 430"/>
                <a:gd name="T41" fmla="*/ 176 h 416"/>
                <a:gd name="T42" fmla="*/ 50 w 430"/>
                <a:gd name="T43" fmla="*/ 164 h 416"/>
                <a:gd name="T44" fmla="*/ 33 w 430"/>
                <a:gd name="T45" fmla="*/ 161 h 416"/>
                <a:gd name="T46" fmla="*/ 14 w 430"/>
                <a:gd name="T47" fmla="*/ 159 h 416"/>
                <a:gd name="T48" fmla="*/ 10 w 430"/>
                <a:gd name="T49" fmla="*/ 138 h 416"/>
                <a:gd name="T50" fmla="*/ 19 w 430"/>
                <a:gd name="T51" fmla="*/ 138 h 416"/>
                <a:gd name="T52" fmla="*/ 12 w 430"/>
                <a:gd name="T53" fmla="*/ 131 h 416"/>
                <a:gd name="T54" fmla="*/ 7 w 430"/>
                <a:gd name="T55" fmla="*/ 121 h 416"/>
                <a:gd name="T56" fmla="*/ 26 w 430"/>
                <a:gd name="T57" fmla="*/ 119 h 416"/>
                <a:gd name="T58" fmla="*/ 41 w 430"/>
                <a:gd name="T59" fmla="*/ 109 h 416"/>
                <a:gd name="T60" fmla="*/ 57 w 430"/>
                <a:gd name="T61" fmla="*/ 112 h 416"/>
                <a:gd name="T62" fmla="*/ 76 w 430"/>
                <a:gd name="T63" fmla="*/ 121 h 416"/>
                <a:gd name="T64" fmla="*/ 90 w 430"/>
                <a:gd name="T65" fmla="*/ 121 h 416"/>
                <a:gd name="T66" fmla="*/ 107 w 430"/>
                <a:gd name="T67" fmla="*/ 112 h 416"/>
                <a:gd name="T68" fmla="*/ 98 w 430"/>
                <a:gd name="T69" fmla="*/ 76 h 416"/>
                <a:gd name="T70" fmla="*/ 116 w 430"/>
                <a:gd name="T71" fmla="*/ 78 h 416"/>
                <a:gd name="T72" fmla="*/ 166 w 430"/>
                <a:gd name="T73" fmla="*/ 81 h 416"/>
                <a:gd name="T74" fmla="*/ 166 w 430"/>
                <a:gd name="T75" fmla="*/ 81 h 416"/>
                <a:gd name="T76" fmla="*/ 183 w 430"/>
                <a:gd name="T77" fmla="*/ 59 h 416"/>
                <a:gd name="T78" fmla="*/ 209 w 430"/>
                <a:gd name="T79" fmla="*/ 35 h 416"/>
                <a:gd name="T80" fmla="*/ 228 w 430"/>
                <a:gd name="T81" fmla="*/ 5 h 416"/>
                <a:gd name="T82" fmla="*/ 254 w 430"/>
                <a:gd name="T83" fmla="*/ 19 h 416"/>
                <a:gd name="T84" fmla="*/ 283 w 430"/>
                <a:gd name="T85" fmla="*/ 35 h 416"/>
                <a:gd name="T86" fmla="*/ 309 w 430"/>
                <a:gd name="T87" fmla="*/ 54 h 416"/>
                <a:gd name="T88" fmla="*/ 332 w 430"/>
                <a:gd name="T89" fmla="*/ 69 h 416"/>
                <a:gd name="T90" fmla="*/ 370 w 430"/>
                <a:gd name="T91" fmla="*/ 81 h 416"/>
                <a:gd name="T92" fmla="*/ 399 w 430"/>
                <a:gd name="T93" fmla="*/ 95 h 416"/>
                <a:gd name="T94" fmla="*/ 415 w 430"/>
                <a:gd name="T95" fmla="*/ 119 h 416"/>
                <a:gd name="T96" fmla="*/ 406 w 430"/>
                <a:gd name="T97" fmla="*/ 176 h 416"/>
                <a:gd name="T98" fmla="*/ 385 w 430"/>
                <a:gd name="T99" fmla="*/ 190 h 416"/>
                <a:gd name="T100" fmla="*/ 361 w 430"/>
                <a:gd name="T101" fmla="*/ 228 h 416"/>
                <a:gd name="T102" fmla="*/ 382 w 430"/>
                <a:gd name="T103" fmla="*/ 228 h 416"/>
                <a:gd name="T104" fmla="*/ 389 w 430"/>
                <a:gd name="T105" fmla="*/ 268 h 416"/>
                <a:gd name="T106" fmla="*/ 389 w 430"/>
                <a:gd name="T107" fmla="*/ 302 h 416"/>
                <a:gd name="T108" fmla="*/ 408 w 430"/>
                <a:gd name="T109" fmla="*/ 332 h 416"/>
                <a:gd name="T110" fmla="*/ 394 w 430"/>
                <a:gd name="T111" fmla="*/ 354 h 416"/>
                <a:gd name="T112" fmla="*/ 377 w 430"/>
                <a:gd name="T113" fmla="*/ 368 h 416"/>
                <a:gd name="T114" fmla="*/ 351 w 430"/>
                <a:gd name="T115" fmla="*/ 380 h 416"/>
                <a:gd name="T116" fmla="*/ 330 w 430"/>
                <a:gd name="T117" fmla="*/ 370 h 416"/>
                <a:gd name="T118" fmla="*/ 323 w 430"/>
                <a:gd name="T119" fmla="*/ 363 h 416"/>
                <a:gd name="T120" fmla="*/ 311 w 430"/>
                <a:gd name="T121" fmla="*/ 349 h 416"/>
                <a:gd name="T122" fmla="*/ 309 w 430"/>
                <a:gd name="T123" fmla="*/ 36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0" h="416">
                  <a:moveTo>
                    <a:pt x="370" y="385"/>
                  </a:moveTo>
                  <a:lnTo>
                    <a:pt x="368" y="385"/>
                  </a:lnTo>
                  <a:lnTo>
                    <a:pt x="370" y="385"/>
                  </a:lnTo>
                  <a:close/>
                  <a:moveTo>
                    <a:pt x="363" y="385"/>
                  </a:moveTo>
                  <a:lnTo>
                    <a:pt x="361" y="385"/>
                  </a:lnTo>
                  <a:lnTo>
                    <a:pt x="363" y="385"/>
                  </a:lnTo>
                  <a:lnTo>
                    <a:pt x="363" y="382"/>
                  </a:lnTo>
                  <a:lnTo>
                    <a:pt x="363" y="385"/>
                  </a:lnTo>
                  <a:close/>
                  <a:moveTo>
                    <a:pt x="373" y="382"/>
                  </a:moveTo>
                  <a:lnTo>
                    <a:pt x="370" y="382"/>
                  </a:lnTo>
                  <a:lnTo>
                    <a:pt x="370" y="385"/>
                  </a:lnTo>
                  <a:lnTo>
                    <a:pt x="370" y="382"/>
                  </a:lnTo>
                  <a:lnTo>
                    <a:pt x="373" y="382"/>
                  </a:lnTo>
                  <a:close/>
                  <a:moveTo>
                    <a:pt x="349" y="382"/>
                  </a:moveTo>
                  <a:lnTo>
                    <a:pt x="349" y="380"/>
                  </a:lnTo>
                  <a:lnTo>
                    <a:pt x="349" y="382"/>
                  </a:lnTo>
                  <a:close/>
                  <a:moveTo>
                    <a:pt x="349" y="380"/>
                  </a:moveTo>
                  <a:lnTo>
                    <a:pt x="349" y="382"/>
                  </a:lnTo>
                  <a:lnTo>
                    <a:pt x="349" y="380"/>
                  </a:lnTo>
                  <a:close/>
                  <a:moveTo>
                    <a:pt x="344" y="378"/>
                  </a:moveTo>
                  <a:lnTo>
                    <a:pt x="342" y="378"/>
                  </a:lnTo>
                  <a:lnTo>
                    <a:pt x="344" y="378"/>
                  </a:lnTo>
                  <a:close/>
                  <a:moveTo>
                    <a:pt x="335" y="378"/>
                  </a:moveTo>
                  <a:lnTo>
                    <a:pt x="335" y="375"/>
                  </a:lnTo>
                  <a:lnTo>
                    <a:pt x="335" y="378"/>
                  </a:lnTo>
                  <a:close/>
                  <a:moveTo>
                    <a:pt x="335" y="375"/>
                  </a:moveTo>
                  <a:lnTo>
                    <a:pt x="332" y="375"/>
                  </a:lnTo>
                  <a:lnTo>
                    <a:pt x="335" y="375"/>
                  </a:lnTo>
                  <a:close/>
                  <a:moveTo>
                    <a:pt x="332" y="370"/>
                  </a:moveTo>
                  <a:lnTo>
                    <a:pt x="332" y="373"/>
                  </a:lnTo>
                  <a:lnTo>
                    <a:pt x="332" y="370"/>
                  </a:lnTo>
                  <a:lnTo>
                    <a:pt x="332" y="373"/>
                  </a:lnTo>
                  <a:lnTo>
                    <a:pt x="332" y="370"/>
                  </a:lnTo>
                  <a:close/>
                  <a:moveTo>
                    <a:pt x="335" y="370"/>
                  </a:moveTo>
                  <a:lnTo>
                    <a:pt x="335" y="368"/>
                  </a:lnTo>
                  <a:lnTo>
                    <a:pt x="332" y="368"/>
                  </a:lnTo>
                  <a:lnTo>
                    <a:pt x="335" y="368"/>
                  </a:lnTo>
                  <a:lnTo>
                    <a:pt x="335" y="370"/>
                  </a:lnTo>
                  <a:close/>
                  <a:moveTo>
                    <a:pt x="392" y="361"/>
                  </a:moveTo>
                  <a:lnTo>
                    <a:pt x="389" y="361"/>
                  </a:lnTo>
                  <a:lnTo>
                    <a:pt x="392" y="361"/>
                  </a:lnTo>
                  <a:close/>
                  <a:moveTo>
                    <a:pt x="280" y="366"/>
                  </a:moveTo>
                  <a:lnTo>
                    <a:pt x="278" y="366"/>
                  </a:lnTo>
                  <a:lnTo>
                    <a:pt x="278" y="368"/>
                  </a:lnTo>
                  <a:lnTo>
                    <a:pt x="275" y="370"/>
                  </a:lnTo>
                  <a:lnTo>
                    <a:pt x="273" y="370"/>
                  </a:lnTo>
                  <a:lnTo>
                    <a:pt x="273" y="373"/>
                  </a:lnTo>
                  <a:lnTo>
                    <a:pt x="273" y="370"/>
                  </a:lnTo>
                  <a:lnTo>
                    <a:pt x="273" y="373"/>
                  </a:lnTo>
                  <a:lnTo>
                    <a:pt x="271" y="370"/>
                  </a:lnTo>
                  <a:lnTo>
                    <a:pt x="268" y="370"/>
                  </a:lnTo>
                  <a:lnTo>
                    <a:pt x="268" y="373"/>
                  </a:lnTo>
                  <a:lnTo>
                    <a:pt x="268" y="370"/>
                  </a:lnTo>
                  <a:lnTo>
                    <a:pt x="268" y="373"/>
                  </a:lnTo>
                  <a:lnTo>
                    <a:pt x="266" y="373"/>
                  </a:lnTo>
                  <a:lnTo>
                    <a:pt x="266" y="375"/>
                  </a:lnTo>
                  <a:lnTo>
                    <a:pt x="264" y="375"/>
                  </a:lnTo>
                  <a:lnTo>
                    <a:pt x="264" y="378"/>
                  </a:lnTo>
                  <a:lnTo>
                    <a:pt x="261" y="378"/>
                  </a:lnTo>
                  <a:lnTo>
                    <a:pt x="261" y="380"/>
                  </a:lnTo>
                  <a:lnTo>
                    <a:pt x="259" y="382"/>
                  </a:lnTo>
                  <a:lnTo>
                    <a:pt x="259" y="380"/>
                  </a:lnTo>
                  <a:lnTo>
                    <a:pt x="256" y="380"/>
                  </a:lnTo>
                  <a:lnTo>
                    <a:pt x="256" y="382"/>
                  </a:lnTo>
                  <a:lnTo>
                    <a:pt x="256" y="380"/>
                  </a:lnTo>
                  <a:lnTo>
                    <a:pt x="256" y="382"/>
                  </a:lnTo>
                  <a:lnTo>
                    <a:pt x="256" y="380"/>
                  </a:lnTo>
                  <a:lnTo>
                    <a:pt x="256" y="378"/>
                  </a:lnTo>
                  <a:lnTo>
                    <a:pt x="256" y="380"/>
                  </a:lnTo>
                  <a:lnTo>
                    <a:pt x="254" y="380"/>
                  </a:lnTo>
                  <a:lnTo>
                    <a:pt x="256" y="380"/>
                  </a:lnTo>
                  <a:lnTo>
                    <a:pt x="256" y="382"/>
                  </a:lnTo>
                  <a:lnTo>
                    <a:pt x="256" y="380"/>
                  </a:lnTo>
                  <a:lnTo>
                    <a:pt x="256" y="382"/>
                  </a:lnTo>
                  <a:lnTo>
                    <a:pt x="259" y="382"/>
                  </a:lnTo>
                  <a:lnTo>
                    <a:pt x="256" y="382"/>
                  </a:lnTo>
                  <a:lnTo>
                    <a:pt x="259" y="382"/>
                  </a:lnTo>
                  <a:lnTo>
                    <a:pt x="259" y="385"/>
                  </a:lnTo>
                  <a:lnTo>
                    <a:pt x="259" y="387"/>
                  </a:lnTo>
                  <a:lnTo>
                    <a:pt x="259" y="389"/>
                  </a:lnTo>
                  <a:lnTo>
                    <a:pt x="259" y="392"/>
                  </a:lnTo>
                  <a:lnTo>
                    <a:pt x="259" y="389"/>
                  </a:lnTo>
                  <a:lnTo>
                    <a:pt x="256" y="389"/>
                  </a:lnTo>
                  <a:lnTo>
                    <a:pt x="256" y="387"/>
                  </a:lnTo>
                  <a:lnTo>
                    <a:pt x="256" y="389"/>
                  </a:lnTo>
                  <a:lnTo>
                    <a:pt x="256" y="392"/>
                  </a:lnTo>
                  <a:lnTo>
                    <a:pt x="254" y="392"/>
                  </a:lnTo>
                  <a:lnTo>
                    <a:pt x="256" y="392"/>
                  </a:lnTo>
                  <a:lnTo>
                    <a:pt x="256" y="394"/>
                  </a:lnTo>
                  <a:lnTo>
                    <a:pt x="256" y="392"/>
                  </a:lnTo>
                  <a:lnTo>
                    <a:pt x="259" y="392"/>
                  </a:lnTo>
                  <a:lnTo>
                    <a:pt x="259" y="389"/>
                  </a:lnTo>
                  <a:lnTo>
                    <a:pt x="259" y="392"/>
                  </a:lnTo>
                  <a:lnTo>
                    <a:pt x="259" y="394"/>
                  </a:lnTo>
                  <a:lnTo>
                    <a:pt x="259" y="397"/>
                  </a:lnTo>
                  <a:lnTo>
                    <a:pt x="259" y="399"/>
                  </a:lnTo>
                  <a:lnTo>
                    <a:pt x="259" y="401"/>
                  </a:lnTo>
                  <a:lnTo>
                    <a:pt x="259" y="404"/>
                  </a:lnTo>
                  <a:lnTo>
                    <a:pt x="259" y="401"/>
                  </a:lnTo>
                  <a:lnTo>
                    <a:pt x="259" y="404"/>
                  </a:lnTo>
                  <a:lnTo>
                    <a:pt x="259" y="406"/>
                  </a:lnTo>
                  <a:lnTo>
                    <a:pt x="261" y="406"/>
                  </a:lnTo>
                  <a:lnTo>
                    <a:pt x="261" y="408"/>
                  </a:lnTo>
                  <a:lnTo>
                    <a:pt x="261" y="411"/>
                  </a:lnTo>
                  <a:lnTo>
                    <a:pt x="264" y="411"/>
                  </a:lnTo>
                  <a:lnTo>
                    <a:pt x="261" y="411"/>
                  </a:lnTo>
                  <a:lnTo>
                    <a:pt x="259" y="411"/>
                  </a:lnTo>
                  <a:lnTo>
                    <a:pt x="259" y="408"/>
                  </a:lnTo>
                  <a:lnTo>
                    <a:pt x="256" y="408"/>
                  </a:lnTo>
                  <a:lnTo>
                    <a:pt x="254" y="408"/>
                  </a:lnTo>
                  <a:lnTo>
                    <a:pt x="252" y="408"/>
                  </a:lnTo>
                  <a:lnTo>
                    <a:pt x="252" y="411"/>
                  </a:lnTo>
                  <a:lnTo>
                    <a:pt x="249" y="411"/>
                  </a:lnTo>
                  <a:lnTo>
                    <a:pt x="247" y="411"/>
                  </a:lnTo>
                  <a:lnTo>
                    <a:pt x="247" y="413"/>
                  </a:lnTo>
                  <a:lnTo>
                    <a:pt x="245" y="413"/>
                  </a:lnTo>
                  <a:lnTo>
                    <a:pt x="247" y="413"/>
                  </a:lnTo>
                  <a:lnTo>
                    <a:pt x="247" y="416"/>
                  </a:lnTo>
                  <a:lnTo>
                    <a:pt x="245" y="416"/>
                  </a:lnTo>
                  <a:lnTo>
                    <a:pt x="245" y="413"/>
                  </a:lnTo>
                  <a:lnTo>
                    <a:pt x="242" y="413"/>
                  </a:lnTo>
                  <a:lnTo>
                    <a:pt x="242" y="416"/>
                  </a:lnTo>
                  <a:lnTo>
                    <a:pt x="240" y="416"/>
                  </a:lnTo>
                  <a:lnTo>
                    <a:pt x="240" y="413"/>
                  </a:lnTo>
                  <a:lnTo>
                    <a:pt x="238" y="413"/>
                  </a:lnTo>
                  <a:lnTo>
                    <a:pt x="238" y="411"/>
                  </a:lnTo>
                  <a:lnTo>
                    <a:pt x="235" y="411"/>
                  </a:lnTo>
                  <a:lnTo>
                    <a:pt x="233" y="411"/>
                  </a:lnTo>
                  <a:lnTo>
                    <a:pt x="230" y="411"/>
                  </a:lnTo>
                  <a:lnTo>
                    <a:pt x="228" y="411"/>
                  </a:lnTo>
                  <a:lnTo>
                    <a:pt x="228" y="413"/>
                  </a:lnTo>
                  <a:lnTo>
                    <a:pt x="226" y="413"/>
                  </a:lnTo>
                  <a:lnTo>
                    <a:pt x="223" y="413"/>
                  </a:lnTo>
                  <a:lnTo>
                    <a:pt x="223" y="411"/>
                  </a:lnTo>
                  <a:lnTo>
                    <a:pt x="221" y="411"/>
                  </a:lnTo>
                  <a:lnTo>
                    <a:pt x="221" y="408"/>
                  </a:lnTo>
                  <a:lnTo>
                    <a:pt x="219" y="408"/>
                  </a:lnTo>
                  <a:lnTo>
                    <a:pt x="216" y="408"/>
                  </a:lnTo>
                  <a:lnTo>
                    <a:pt x="214" y="408"/>
                  </a:lnTo>
                  <a:lnTo>
                    <a:pt x="214" y="406"/>
                  </a:lnTo>
                  <a:lnTo>
                    <a:pt x="216" y="406"/>
                  </a:lnTo>
                  <a:lnTo>
                    <a:pt x="216" y="404"/>
                  </a:lnTo>
                  <a:lnTo>
                    <a:pt x="214" y="404"/>
                  </a:lnTo>
                  <a:lnTo>
                    <a:pt x="216" y="404"/>
                  </a:lnTo>
                  <a:lnTo>
                    <a:pt x="216" y="401"/>
                  </a:lnTo>
                  <a:lnTo>
                    <a:pt x="214" y="401"/>
                  </a:lnTo>
                  <a:lnTo>
                    <a:pt x="211" y="401"/>
                  </a:lnTo>
                  <a:lnTo>
                    <a:pt x="209" y="401"/>
                  </a:lnTo>
                  <a:lnTo>
                    <a:pt x="207" y="401"/>
                  </a:lnTo>
                  <a:lnTo>
                    <a:pt x="207" y="404"/>
                  </a:lnTo>
                  <a:lnTo>
                    <a:pt x="204" y="404"/>
                  </a:lnTo>
                  <a:lnTo>
                    <a:pt x="204" y="401"/>
                  </a:lnTo>
                  <a:lnTo>
                    <a:pt x="204" y="399"/>
                  </a:lnTo>
                  <a:lnTo>
                    <a:pt x="202" y="399"/>
                  </a:lnTo>
                  <a:lnTo>
                    <a:pt x="202" y="397"/>
                  </a:lnTo>
                  <a:lnTo>
                    <a:pt x="200" y="397"/>
                  </a:lnTo>
                  <a:lnTo>
                    <a:pt x="197" y="397"/>
                  </a:lnTo>
                  <a:lnTo>
                    <a:pt x="197" y="399"/>
                  </a:lnTo>
                  <a:lnTo>
                    <a:pt x="195" y="397"/>
                  </a:lnTo>
                  <a:lnTo>
                    <a:pt x="195" y="394"/>
                  </a:lnTo>
                  <a:lnTo>
                    <a:pt x="192" y="394"/>
                  </a:lnTo>
                  <a:lnTo>
                    <a:pt x="190" y="394"/>
                  </a:lnTo>
                  <a:lnTo>
                    <a:pt x="188" y="394"/>
                  </a:lnTo>
                  <a:lnTo>
                    <a:pt x="188" y="392"/>
                  </a:lnTo>
                  <a:lnTo>
                    <a:pt x="185" y="392"/>
                  </a:lnTo>
                  <a:lnTo>
                    <a:pt x="183" y="392"/>
                  </a:lnTo>
                  <a:lnTo>
                    <a:pt x="181" y="392"/>
                  </a:lnTo>
                  <a:lnTo>
                    <a:pt x="181" y="394"/>
                  </a:lnTo>
                  <a:lnTo>
                    <a:pt x="178" y="394"/>
                  </a:lnTo>
                  <a:lnTo>
                    <a:pt x="181" y="394"/>
                  </a:lnTo>
                  <a:lnTo>
                    <a:pt x="178" y="397"/>
                  </a:lnTo>
                  <a:lnTo>
                    <a:pt x="181" y="397"/>
                  </a:lnTo>
                  <a:lnTo>
                    <a:pt x="181" y="399"/>
                  </a:lnTo>
                  <a:lnTo>
                    <a:pt x="178" y="399"/>
                  </a:lnTo>
                  <a:lnTo>
                    <a:pt x="176" y="399"/>
                  </a:lnTo>
                  <a:lnTo>
                    <a:pt x="173" y="399"/>
                  </a:lnTo>
                  <a:lnTo>
                    <a:pt x="171" y="399"/>
                  </a:lnTo>
                  <a:lnTo>
                    <a:pt x="171" y="397"/>
                  </a:lnTo>
                  <a:lnTo>
                    <a:pt x="169" y="397"/>
                  </a:lnTo>
                  <a:lnTo>
                    <a:pt x="169" y="399"/>
                  </a:lnTo>
                  <a:lnTo>
                    <a:pt x="166" y="399"/>
                  </a:lnTo>
                  <a:lnTo>
                    <a:pt x="166" y="397"/>
                  </a:lnTo>
                  <a:lnTo>
                    <a:pt x="164" y="397"/>
                  </a:lnTo>
                  <a:lnTo>
                    <a:pt x="162" y="397"/>
                  </a:lnTo>
                  <a:lnTo>
                    <a:pt x="159" y="397"/>
                  </a:lnTo>
                  <a:lnTo>
                    <a:pt x="159" y="399"/>
                  </a:lnTo>
                  <a:lnTo>
                    <a:pt x="157" y="399"/>
                  </a:lnTo>
                  <a:lnTo>
                    <a:pt x="154" y="397"/>
                  </a:lnTo>
                  <a:lnTo>
                    <a:pt x="152" y="394"/>
                  </a:lnTo>
                  <a:lnTo>
                    <a:pt x="150" y="394"/>
                  </a:lnTo>
                  <a:lnTo>
                    <a:pt x="150" y="392"/>
                  </a:lnTo>
                  <a:lnTo>
                    <a:pt x="147" y="392"/>
                  </a:lnTo>
                  <a:lnTo>
                    <a:pt x="145" y="392"/>
                  </a:lnTo>
                  <a:lnTo>
                    <a:pt x="145" y="394"/>
                  </a:lnTo>
                  <a:lnTo>
                    <a:pt x="143" y="394"/>
                  </a:lnTo>
                  <a:lnTo>
                    <a:pt x="143" y="392"/>
                  </a:lnTo>
                  <a:lnTo>
                    <a:pt x="140" y="392"/>
                  </a:lnTo>
                  <a:lnTo>
                    <a:pt x="140" y="394"/>
                  </a:lnTo>
                  <a:lnTo>
                    <a:pt x="138" y="394"/>
                  </a:lnTo>
                  <a:lnTo>
                    <a:pt x="138" y="392"/>
                  </a:lnTo>
                  <a:lnTo>
                    <a:pt x="135" y="392"/>
                  </a:lnTo>
                  <a:lnTo>
                    <a:pt x="135" y="389"/>
                  </a:lnTo>
                  <a:lnTo>
                    <a:pt x="133" y="389"/>
                  </a:lnTo>
                  <a:lnTo>
                    <a:pt x="133" y="387"/>
                  </a:lnTo>
                  <a:lnTo>
                    <a:pt x="133" y="385"/>
                  </a:lnTo>
                  <a:lnTo>
                    <a:pt x="131" y="387"/>
                  </a:lnTo>
                  <a:lnTo>
                    <a:pt x="128" y="387"/>
                  </a:lnTo>
                  <a:lnTo>
                    <a:pt x="126" y="387"/>
                  </a:lnTo>
                  <a:lnTo>
                    <a:pt x="126" y="385"/>
                  </a:lnTo>
                  <a:lnTo>
                    <a:pt x="124" y="385"/>
                  </a:lnTo>
                  <a:lnTo>
                    <a:pt x="121" y="385"/>
                  </a:lnTo>
                  <a:lnTo>
                    <a:pt x="121" y="382"/>
                  </a:lnTo>
                  <a:lnTo>
                    <a:pt x="121" y="385"/>
                  </a:lnTo>
                  <a:lnTo>
                    <a:pt x="119" y="385"/>
                  </a:lnTo>
                  <a:lnTo>
                    <a:pt x="121" y="382"/>
                  </a:lnTo>
                  <a:lnTo>
                    <a:pt x="119" y="382"/>
                  </a:lnTo>
                  <a:lnTo>
                    <a:pt x="116" y="382"/>
                  </a:lnTo>
                  <a:lnTo>
                    <a:pt x="114" y="382"/>
                  </a:lnTo>
                  <a:lnTo>
                    <a:pt x="114" y="380"/>
                  </a:lnTo>
                  <a:lnTo>
                    <a:pt x="116" y="380"/>
                  </a:lnTo>
                  <a:lnTo>
                    <a:pt x="114" y="380"/>
                  </a:lnTo>
                  <a:lnTo>
                    <a:pt x="114" y="382"/>
                  </a:lnTo>
                  <a:lnTo>
                    <a:pt x="109" y="382"/>
                  </a:lnTo>
                  <a:lnTo>
                    <a:pt x="109" y="380"/>
                  </a:lnTo>
                  <a:lnTo>
                    <a:pt x="112" y="380"/>
                  </a:lnTo>
                  <a:lnTo>
                    <a:pt x="112" y="378"/>
                  </a:lnTo>
                  <a:lnTo>
                    <a:pt x="112" y="375"/>
                  </a:lnTo>
                  <a:lnTo>
                    <a:pt x="112" y="373"/>
                  </a:lnTo>
                  <a:lnTo>
                    <a:pt x="109" y="373"/>
                  </a:lnTo>
                  <a:lnTo>
                    <a:pt x="109" y="370"/>
                  </a:lnTo>
                  <a:lnTo>
                    <a:pt x="107" y="370"/>
                  </a:lnTo>
                  <a:lnTo>
                    <a:pt x="107" y="373"/>
                  </a:lnTo>
                  <a:lnTo>
                    <a:pt x="105" y="373"/>
                  </a:lnTo>
                  <a:lnTo>
                    <a:pt x="105" y="370"/>
                  </a:lnTo>
                  <a:lnTo>
                    <a:pt x="102" y="370"/>
                  </a:lnTo>
                  <a:lnTo>
                    <a:pt x="100" y="370"/>
                  </a:lnTo>
                  <a:lnTo>
                    <a:pt x="100" y="368"/>
                  </a:lnTo>
                  <a:lnTo>
                    <a:pt x="100" y="366"/>
                  </a:lnTo>
                  <a:lnTo>
                    <a:pt x="100" y="368"/>
                  </a:lnTo>
                  <a:lnTo>
                    <a:pt x="100" y="366"/>
                  </a:lnTo>
                  <a:lnTo>
                    <a:pt x="102" y="366"/>
                  </a:lnTo>
                  <a:lnTo>
                    <a:pt x="105" y="366"/>
                  </a:lnTo>
                  <a:lnTo>
                    <a:pt x="105" y="363"/>
                  </a:lnTo>
                  <a:lnTo>
                    <a:pt x="107" y="363"/>
                  </a:lnTo>
                  <a:lnTo>
                    <a:pt x="107" y="361"/>
                  </a:lnTo>
                  <a:lnTo>
                    <a:pt x="109" y="361"/>
                  </a:lnTo>
                  <a:lnTo>
                    <a:pt x="109" y="363"/>
                  </a:lnTo>
                  <a:lnTo>
                    <a:pt x="109" y="361"/>
                  </a:lnTo>
                  <a:lnTo>
                    <a:pt x="112" y="361"/>
                  </a:lnTo>
                  <a:lnTo>
                    <a:pt x="114" y="361"/>
                  </a:lnTo>
                  <a:lnTo>
                    <a:pt x="116" y="361"/>
                  </a:lnTo>
                  <a:lnTo>
                    <a:pt x="119" y="361"/>
                  </a:lnTo>
                  <a:lnTo>
                    <a:pt x="119" y="359"/>
                  </a:lnTo>
                  <a:lnTo>
                    <a:pt x="116" y="361"/>
                  </a:lnTo>
                  <a:lnTo>
                    <a:pt x="114" y="361"/>
                  </a:lnTo>
                  <a:lnTo>
                    <a:pt x="112" y="361"/>
                  </a:lnTo>
                  <a:lnTo>
                    <a:pt x="109" y="361"/>
                  </a:lnTo>
                  <a:lnTo>
                    <a:pt x="107" y="361"/>
                  </a:lnTo>
                  <a:lnTo>
                    <a:pt x="107" y="359"/>
                  </a:lnTo>
                  <a:lnTo>
                    <a:pt x="109" y="359"/>
                  </a:lnTo>
                  <a:lnTo>
                    <a:pt x="109" y="356"/>
                  </a:lnTo>
                  <a:lnTo>
                    <a:pt x="109" y="354"/>
                  </a:lnTo>
                  <a:lnTo>
                    <a:pt x="109" y="351"/>
                  </a:lnTo>
                  <a:lnTo>
                    <a:pt x="112" y="349"/>
                  </a:lnTo>
                  <a:lnTo>
                    <a:pt x="112" y="344"/>
                  </a:lnTo>
                  <a:lnTo>
                    <a:pt x="112" y="342"/>
                  </a:lnTo>
                  <a:lnTo>
                    <a:pt x="112" y="340"/>
                  </a:lnTo>
                  <a:lnTo>
                    <a:pt x="114" y="337"/>
                  </a:lnTo>
                  <a:lnTo>
                    <a:pt x="114" y="332"/>
                  </a:lnTo>
                  <a:lnTo>
                    <a:pt x="114" y="330"/>
                  </a:lnTo>
                  <a:lnTo>
                    <a:pt x="116" y="321"/>
                  </a:lnTo>
                  <a:lnTo>
                    <a:pt x="116" y="316"/>
                  </a:lnTo>
                  <a:lnTo>
                    <a:pt x="116" y="313"/>
                  </a:lnTo>
                  <a:lnTo>
                    <a:pt x="116" y="311"/>
                  </a:lnTo>
                  <a:lnTo>
                    <a:pt x="119" y="311"/>
                  </a:lnTo>
                  <a:lnTo>
                    <a:pt x="119" y="309"/>
                  </a:lnTo>
                  <a:lnTo>
                    <a:pt x="119" y="306"/>
                  </a:lnTo>
                  <a:lnTo>
                    <a:pt x="119" y="309"/>
                  </a:lnTo>
                  <a:lnTo>
                    <a:pt x="119" y="306"/>
                  </a:lnTo>
                  <a:lnTo>
                    <a:pt x="121" y="309"/>
                  </a:lnTo>
                  <a:lnTo>
                    <a:pt x="119" y="309"/>
                  </a:lnTo>
                  <a:lnTo>
                    <a:pt x="124" y="309"/>
                  </a:lnTo>
                  <a:lnTo>
                    <a:pt x="124" y="306"/>
                  </a:lnTo>
                  <a:lnTo>
                    <a:pt x="124" y="304"/>
                  </a:lnTo>
                  <a:lnTo>
                    <a:pt x="121" y="304"/>
                  </a:lnTo>
                  <a:lnTo>
                    <a:pt x="119" y="304"/>
                  </a:lnTo>
                  <a:lnTo>
                    <a:pt x="119" y="302"/>
                  </a:lnTo>
                  <a:lnTo>
                    <a:pt x="119" y="304"/>
                  </a:lnTo>
                  <a:lnTo>
                    <a:pt x="119" y="302"/>
                  </a:lnTo>
                  <a:lnTo>
                    <a:pt x="119" y="304"/>
                  </a:lnTo>
                  <a:lnTo>
                    <a:pt x="116" y="306"/>
                  </a:lnTo>
                  <a:lnTo>
                    <a:pt x="116" y="309"/>
                  </a:lnTo>
                  <a:lnTo>
                    <a:pt x="116" y="306"/>
                  </a:lnTo>
                  <a:lnTo>
                    <a:pt x="116" y="299"/>
                  </a:lnTo>
                  <a:lnTo>
                    <a:pt x="119" y="292"/>
                  </a:lnTo>
                  <a:lnTo>
                    <a:pt x="119" y="287"/>
                  </a:lnTo>
                  <a:lnTo>
                    <a:pt x="119" y="278"/>
                  </a:lnTo>
                  <a:lnTo>
                    <a:pt x="119" y="275"/>
                  </a:lnTo>
                  <a:lnTo>
                    <a:pt x="119" y="273"/>
                  </a:lnTo>
                  <a:lnTo>
                    <a:pt x="119" y="271"/>
                  </a:lnTo>
                  <a:lnTo>
                    <a:pt x="119" y="268"/>
                  </a:lnTo>
                  <a:lnTo>
                    <a:pt x="121" y="268"/>
                  </a:lnTo>
                  <a:lnTo>
                    <a:pt x="121" y="266"/>
                  </a:lnTo>
                  <a:lnTo>
                    <a:pt x="124" y="266"/>
                  </a:lnTo>
                  <a:lnTo>
                    <a:pt x="124" y="268"/>
                  </a:lnTo>
                  <a:lnTo>
                    <a:pt x="126" y="271"/>
                  </a:lnTo>
                  <a:lnTo>
                    <a:pt x="124" y="271"/>
                  </a:lnTo>
                  <a:lnTo>
                    <a:pt x="126" y="271"/>
                  </a:lnTo>
                  <a:lnTo>
                    <a:pt x="128" y="271"/>
                  </a:lnTo>
                  <a:lnTo>
                    <a:pt x="128" y="273"/>
                  </a:lnTo>
                  <a:lnTo>
                    <a:pt x="131" y="273"/>
                  </a:lnTo>
                  <a:lnTo>
                    <a:pt x="131" y="275"/>
                  </a:lnTo>
                  <a:lnTo>
                    <a:pt x="133" y="278"/>
                  </a:lnTo>
                  <a:lnTo>
                    <a:pt x="133" y="280"/>
                  </a:lnTo>
                  <a:lnTo>
                    <a:pt x="133" y="283"/>
                  </a:lnTo>
                  <a:lnTo>
                    <a:pt x="133" y="285"/>
                  </a:lnTo>
                  <a:lnTo>
                    <a:pt x="135" y="285"/>
                  </a:lnTo>
                  <a:lnTo>
                    <a:pt x="135" y="287"/>
                  </a:lnTo>
                  <a:lnTo>
                    <a:pt x="135" y="290"/>
                  </a:lnTo>
                  <a:lnTo>
                    <a:pt x="138" y="290"/>
                  </a:lnTo>
                  <a:lnTo>
                    <a:pt x="138" y="292"/>
                  </a:lnTo>
                  <a:lnTo>
                    <a:pt x="140" y="292"/>
                  </a:lnTo>
                  <a:lnTo>
                    <a:pt x="140" y="294"/>
                  </a:lnTo>
                  <a:lnTo>
                    <a:pt x="140" y="297"/>
                  </a:lnTo>
                  <a:lnTo>
                    <a:pt x="140" y="299"/>
                  </a:lnTo>
                  <a:lnTo>
                    <a:pt x="140" y="302"/>
                  </a:lnTo>
                  <a:lnTo>
                    <a:pt x="140" y="304"/>
                  </a:lnTo>
                  <a:lnTo>
                    <a:pt x="143" y="304"/>
                  </a:lnTo>
                  <a:lnTo>
                    <a:pt x="143" y="306"/>
                  </a:lnTo>
                  <a:lnTo>
                    <a:pt x="145" y="306"/>
                  </a:lnTo>
                  <a:lnTo>
                    <a:pt x="145" y="309"/>
                  </a:lnTo>
                  <a:lnTo>
                    <a:pt x="147" y="309"/>
                  </a:lnTo>
                  <a:lnTo>
                    <a:pt x="145" y="309"/>
                  </a:lnTo>
                  <a:lnTo>
                    <a:pt x="145" y="306"/>
                  </a:lnTo>
                  <a:lnTo>
                    <a:pt x="143" y="306"/>
                  </a:lnTo>
                  <a:lnTo>
                    <a:pt x="143" y="304"/>
                  </a:lnTo>
                  <a:lnTo>
                    <a:pt x="140" y="304"/>
                  </a:lnTo>
                  <a:lnTo>
                    <a:pt x="140" y="302"/>
                  </a:lnTo>
                  <a:lnTo>
                    <a:pt x="140" y="299"/>
                  </a:lnTo>
                  <a:lnTo>
                    <a:pt x="140" y="297"/>
                  </a:lnTo>
                  <a:lnTo>
                    <a:pt x="140" y="294"/>
                  </a:lnTo>
                  <a:lnTo>
                    <a:pt x="140" y="292"/>
                  </a:lnTo>
                  <a:lnTo>
                    <a:pt x="138" y="290"/>
                  </a:lnTo>
                  <a:lnTo>
                    <a:pt x="140" y="290"/>
                  </a:lnTo>
                  <a:lnTo>
                    <a:pt x="140" y="292"/>
                  </a:lnTo>
                  <a:lnTo>
                    <a:pt x="143" y="292"/>
                  </a:lnTo>
                  <a:lnTo>
                    <a:pt x="143" y="294"/>
                  </a:lnTo>
                  <a:lnTo>
                    <a:pt x="145" y="294"/>
                  </a:lnTo>
                  <a:lnTo>
                    <a:pt x="147" y="294"/>
                  </a:lnTo>
                  <a:lnTo>
                    <a:pt x="147" y="297"/>
                  </a:lnTo>
                  <a:lnTo>
                    <a:pt x="150" y="297"/>
                  </a:lnTo>
                  <a:lnTo>
                    <a:pt x="147" y="297"/>
                  </a:lnTo>
                  <a:lnTo>
                    <a:pt x="147" y="294"/>
                  </a:lnTo>
                  <a:lnTo>
                    <a:pt x="150" y="294"/>
                  </a:lnTo>
                  <a:lnTo>
                    <a:pt x="150" y="297"/>
                  </a:lnTo>
                  <a:lnTo>
                    <a:pt x="152" y="297"/>
                  </a:lnTo>
                  <a:lnTo>
                    <a:pt x="150" y="297"/>
                  </a:lnTo>
                  <a:lnTo>
                    <a:pt x="150" y="299"/>
                  </a:lnTo>
                  <a:lnTo>
                    <a:pt x="152" y="299"/>
                  </a:lnTo>
                  <a:lnTo>
                    <a:pt x="150" y="299"/>
                  </a:lnTo>
                  <a:lnTo>
                    <a:pt x="152" y="297"/>
                  </a:lnTo>
                  <a:lnTo>
                    <a:pt x="150" y="297"/>
                  </a:lnTo>
                  <a:lnTo>
                    <a:pt x="150" y="294"/>
                  </a:lnTo>
                  <a:lnTo>
                    <a:pt x="147" y="294"/>
                  </a:lnTo>
                  <a:lnTo>
                    <a:pt x="147" y="297"/>
                  </a:lnTo>
                  <a:lnTo>
                    <a:pt x="147" y="294"/>
                  </a:lnTo>
                  <a:lnTo>
                    <a:pt x="145" y="294"/>
                  </a:lnTo>
                  <a:lnTo>
                    <a:pt x="143" y="294"/>
                  </a:lnTo>
                  <a:lnTo>
                    <a:pt x="143" y="292"/>
                  </a:lnTo>
                  <a:lnTo>
                    <a:pt x="140" y="292"/>
                  </a:lnTo>
                  <a:lnTo>
                    <a:pt x="140" y="290"/>
                  </a:lnTo>
                  <a:lnTo>
                    <a:pt x="138" y="290"/>
                  </a:lnTo>
                  <a:lnTo>
                    <a:pt x="138" y="287"/>
                  </a:lnTo>
                  <a:lnTo>
                    <a:pt x="135" y="287"/>
                  </a:lnTo>
                  <a:lnTo>
                    <a:pt x="135" y="285"/>
                  </a:lnTo>
                  <a:lnTo>
                    <a:pt x="135" y="280"/>
                  </a:lnTo>
                  <a:lnTo>
                    <a:pt x="135" y="278"/>
                  </a:lnTo>
                  <a:lnTo>
                    <a:pt x="133" y="278"/>
                  </a:lnTo>
                  <a:lnTo>
                    <a:pt x="133" y="275"/>
                  </a:lnTo>
                  <a:lnTo>
                    <a:pt x="133" y="273"/>
                  </a:lnTo>
                  <a:lnTo>
                    <a:pt x="131" y="271"/>
                  </a:lnTo>
                  <a:lnTo>
                    <a:pt x="131" y="268"/>
                  </a:lnTo>
                  <a:lnTo>
                    <a:pt x="128" y="268"/>
                  </a:lnTo>
                  <a:lnTo>
                    <a:pt x="128" y="266"/>
                  </a:lnTo>
                  <a:lnTo>
                    <a:pt x="126" y="266"/>
                  </a:lnTo>
                  <a:lnTo>
                    <a:pt x="126" y="264"/>
                  </a:lnTo>
                  <a:lnTo>
                    <a:pt x="124" y="264"/>
                  </a:lnTo>
                  <a:lnTo>
                    <a:pt x="124" y="261"/>
                  </a:lnTo>
                  <a:lnTo>
                    <a:pt x="121" y="261"/>
                  </a:lnTo>
                  <a:lnTo>
                    <a:pt x="119" y="261"/>
                  </a:lnTo>
                  <a:lnTo>
                    <a:pt x="119" y="259"/>
                  </a:lnTo>
                  <a:lnTo>
                    <a:pt x="116" y="259"/>
                  </a:lnTo>
                  <a:lnTo>
                    <a:pt x="119" y="259"/>
                  </a:lnTo>
                  <a:lnTo>
                    <a:pt x="119" y="261"/>
                  </a:lnTo>
                  <a:lnTo>
                    <a:pt x="119" y="259"/>
                  </a:lnTo>
                  <a:lnTo>
                    <a:pt x="119" y="261"/>
                  </a:lnTo>
                  <a:lnTo>
                    <a:pt x="116" y="261"/>
                  </a:lnTo>
                  <a:lnTo>
                    <a:pt x="116" y="259"/>
                  </a:lnTo>
                  <a:lnTo>
                    <a:pt x="116" y="256"/>
                  </a:lnTo>
                  <a:lnTo>
                    <a:pt x="116" y="254"/>
                  </a:lnTo>
                  <a:lnTo>
                    <a:pt x="119" y="254"/>
                  </a:lnTo>
                  <a:lnTo>
                    <a:pt x="121" y="254"/>
                  </a:lnTo>
                  <a:lnTo>
                    <a:pt x="121" y="256"/>
                  </a:lnTo>
                  <a:lnTo>
                    <a:pt x="124" y="256"/>
                  </a:lnTo>
                  <a:lnTo>
                    <a:pt x="124" y="259"/>
                  </a:lnTo>
                  <a:lnTo>
                    <a:pt x="124" y="256"/>
                  </a:lnTo>
                  <a:lnTo>
                    <a:pt x="121" y="256"/>
                  </a:lnTo>
                  <a:lnTo>
                    <a:pt x="121" y="254"/>
                  </a:lnTo>
                  <a:lnTo>
                    <a:pt x="119" y="254"/>
                  </a:lnTo>
                  <a:lnTo>
                    <a:pt x="119" y="252"/>
                  </a:lnTo>
                  <a:lnTo>
                    <a:pt x="121" y="252"/>
                  </a:lnTo>
                  <a:lnTo>
                    <a:pt x="121" y="249"/>
                  </a:lnTo>
                  <a:lnTo>
                    <a:pt x="124" y="249"/>
                  </a:lnTo>
                  <a:lnTo>
                    <a:pt x="121" y="249"/>
                  </a:lnTo>
                  <a:lnTo>
                    <a:pt x="121" y="247"/>
                  </a:lnTo>
                  <a:lnTo>
                    <a:pt x="124" y="247"/>
                  </a:lnTo>
                  <a:lnTo>
                    <a:pt x="126" y="247"/>
                  </a:lnTo>
                  <a:lnTo>
                    <a:pt x="124" y="247"/>
                  </a:lnTo>
                  <a:lnTo>
                    <a:pt x="126" y="247"/>
                  </a:lnTo>
                  <a:lnTo>
                    <a:pt x="124" y="247"/>
                  </a:lnTo>
                  <a:lnTo>
                    <a:pt x="121" y="247"/>
                  </a:lnTo>
                  <a:lnTo>
                    <a:pt x="121" y="245"/>
                  </a:lnTo>
                  <a:lnTo>
                    <a:pt x="124" y="245"/>
                  </a:lnTo>
                  <a:lnTo>
                    <a:pt x="124" y="242"/>
                  </a:lnTo>
                  <a:lnTo>
                    <a:pt x="121" y="242"/>
                  </a:lnTo>
                  <a:lnTo>
                    <a:pt x="121" y="240"/>
                  </a:lnTo>
                  <a:lnTo>
                    <a:pt x="119" y="240"/>
                  </a:lnTo>
                  <a:lnTo>
                    <a:pt x="119" y="237"/>
                  </a:lnTo>
                  <a:lnTo>
                    <a:pt x="116" y="237"/>
                  </a:lnTo>
                  <a:lnTo>
                    <a:pt x="119" y="235"/>
                  </a:lnTo>
                  <a:lnTo>
                    <a:pt x="119" y="233"/>
                  </a:lnTo>
                  <a:lnTo>
                    <a:pt x="121" y="233"/>
                  </a:lnTo>
                  <a:lnTo>
                    <a:pt x="121" y="230"/>
                  </a:lnTo>
                  <a:lnTo>
                    <a:pt x="119" y="230"/>
                  </a:lnTo>
                  <a:lnTo>
                    <a:pt x="119" y="233"/>
                  </a:lnTo>
                  <a:lnTo>
                    <a:pt x="116" y="233"/>
                  </a:lnTo>
                  <a:lnTo>
                    <a:pt x="116" y="230"/>
                  </a:lnTo>
                  <a:lnTo>
                    <a:pt x="114" y="230"/>
                  </a:lnTo>
                  <a:lnTo>
                    <a:pt x="116" y="230"/>
                  </a:lnTo>
                  <a:lnTo>
                    <a:pt x="114" y="230"/>
                  </a:lnTo>
                  <a:lnTo>
                    <a:pt x="114" y="228"/>
                  </a:lnTo>
                  <a:lnTo>
                    <a:pt x="112" y="228"/>
                  </a:lnTo>
                  <a:lnTo>
                    <a:pt x="109" y="228"/>
                  </a:lnTo>
                  <a:lnTo>
                    <a:pt x="109" y="226"/>
                  </a:lnTo>
                  <a:lnTo>
                    <a:pt x="107" y="226"/>
                  </a:lnTo>
                  <a:lnTo>
                    <a:pt x="105" y="226"/>
                  </a:lnTo>
                  <a:lnTo>
                    <a:pt x="102" y="226"/>
                  </a:lnTo>
                  <a:lnTo>
                    <a:pt x="102" y="223"/>
                  </a:lnTo>
                  <a:lnTo>
                    <a:pt x="100" y="223"/>
                  </a:lnTo>
                  <a:lnTo>
                    <a:pt x="100" y="221"/>
                  </a:lnTo>
                  <a:lnTo>
                    <a:pt x="98" y="221"/>
                  </a:lnTo>
                  <a:lnTo>
                    <a:pt x="100" y="221"/>
                  </a:lnTo>
                  <a:lnTo>
                    <a:pt x="98" y="221"/>
                  </a:lnTo>
                  <a:lnTo>
                    <a:pt x="98" y="218"/>
                  </a:lnTo>
                  <a:lnTo>
                    <a:pt x="98" y="216"/>
                  </a:lnTo>
                  <a:lnTo>
                    <a:pt x="95" y="216"/>
                  </a:lnTo>
                  <a:lnTo>
                    <a:pt x="95" y="214"/>
                  </a:lnTo>
                  <a:lnTo>
                    <a:pt x="93" y="211"/>
                  </a:lnTo>
                  <a:lnTo>
                    <a:pt x="90" y="209"/>
                  </a:lnTo>
                  <a:lnTo>
                    <a:pt x="88" y="207"/>
                  </a:lnTo>
                  <a:lnTo>
                    <a:pt x="88" y="204"/>
                  </a:lnTo>
                  <a:lnTo>
                    <a:pt x="86" y="204"/>
                  </a:lnTo>
                  <a:lnTo>
                    <a:pt x="86" y="202"/>
                  </a:lnTo>
                  <a:lnTo>
                    <a:pt x="88" y="202"/>
                  </a:lnTo>
                  <a:lnTo>
                    <a:pt x="88" y="199"/>
                  </a:lnTo>
                  <a:lnTo>
                    <a:pt x="90" y="199"/>
                  </a:lnTo>
                  <a:lnTo>
                    <a:pt x="90" y="197"/>
                  </a:lnTo>
                  <a:lnTo>
                    <a:pt x="93" y="197"/>
                  </a:lnTo>
                  <a:lnTo>
                    <a:pt x="93" y="195"/>
                  </a:lnTo>
                  <a:lnTo>
                    <a:pt x="90" y="195"/>
                  </a:lnTo>
                  <a:lnTo>
                    <a:pt x="90" y="192"/>
                  </a:lnTo>
                  <a:lnTo>
                    <a:pt x="88" y="192"/>
                  </a:lnTo>
                  <a:lnTo>
                    <a:pt x="86" y="192"/>
                  </a:lnTo>
                  <a:lnTo>
                    <a:pt x="83" y="192"/>
                  </a:lnTo>
                  <a:lnTo>
                    <a:pt x="83" y="190"/>
                  </a:lnTo>
                  <a:lnTo>
                    <a:pt x="86" y="190"/>
                  </a:lnTo>
                  <a:lnTo>
                    <a:pt x="86" y="188"/>
                  </a:lnTo>
                  <a:lnTo>
                    <a:pt x="86" y="185"/>
                  </a:lnTo>
                  <a:lnTo>
                    <a:pt x="88" y="185"/>
                  </a:lnTo>
                  <a:lnTo>
                    <a:pt x="90" y="185"/>
                  </a:lnTo>
                  <a:lnTo>
                    <a:pt x="90" y="183"/>
                  </a:lnTo>
                  <a:lnTo>
                    <a:pt x="90" y="185"/>
                  </a:lnTo>
                  <a:lnTo>
                    <a:pt x="93" y="185"/>
                  </a:lnTo>
                  <a:lnTo>
                    <a:pt x="95" y="185"/>
                  </a:lnTo>
                  <a:lnTo>
                    <a:pt x="98" y="185"/>
                  </a:lnTo>
                  <a:lnTo>
                    <a:pt x="98" y="188"/>
                  </a:lnTo>
                  <a:lnTo>
                    <a:pt x="100" y="188"/>
                  </a:lnTo>
                  <a:lnTo>
                    <a:pt x="102" y="188"/>
                  </a:lnTo>
                  <a:lnTo>
                    <a:pt x="105" y="188"/>
                  </a:lnTo>
                  <a:lnTo>
                    <a:pt x="107" y="188"/>
                  </a:lnTo>
                  <a:lnTo>
                    <a:pt x="109" y="188"/>
                  </a:lnTo>
                  <a:lnTo>
                    <a:pt x="109" y="185"/>
                  </a:lnTo>
                  <a:lnTo>
                    <a:pt x="112" y="185"/>
                  </a:lnTo>
                  <a:lnTo>
                    <a:pt x="112" y="183"/>
                  </a:lnTo>
                  <a:lnTo>
                    <a:pt x="114" y="183"/>
                  </a:lnTo>
                  <a:lnTo>
                    <a:pt x="114" y="180"/>
                  </a:lnTo>
                  <a:lnTo>
                    <a:pt x="116" y="180"/>
                  </a:lnTo>
                  <a:lnTo>
                    <a:pt x="119" y="180"/>
                  </a:lnTo>
                  <a:lnTo>
                    <a:pt x="116" y="180"/>
                  </a:lnTo>
                  <a:lnTo>
                    <a:pt x="114" y="180"/>
                  </a:lnTo>
                  <a:lnTo>
                    <a:pt x="114" y="183"/>
                  </a:lnTo>
                  <a:lnTo>
                    <a:pt x="112" y="183"/>
                  </a:lnTo>
                  <a:lnTo>
                    <a:pt x="112" y="185"/>
                  </a:lnTo>
                  <a:lnTo>
                    <a:pt x="109" y="185"/>
                  </a:lnTo>
                  <a:lnTo>
                    <a:pt x="109" y="188"/>
                  </a:lnTo>
                  <a:lnTo>
                    <a:pt x="107" y="188"/>
                  </a:lnTo>
                  <a:lnTo>
                    <a:pt x="105" y="188"/>
                  </a:lnTo>
                  <a:lnTo>
                    <a:pt x="102" y="188"/>
                  </a:lnTo>
                  <a:lnTo>
                    <a:pt x="100" y="188"/>
                  </a:lnTo>
                  <a:lnTo>
                    <a:pt x="98" y="188"/>
                  </a:lnTo>
                  <a:lnTo>
                    <a:pt x="98" y="185"/>
                  </a:lnTo>
                  <a:lnTo>
                    <a:pt x="95" y="185"/>
                  </a:lnTo>
                  <a:lnTo>
                    <a:pt x="93" y="185"/>
                  </a:lnTo>
                  <a:lnTo>
                    <a:pt x="93" y="183"/>
                  </a:lnTo>
                  <a:lnTo>
                    <a:pt x="90" y="183"/>
                  </a:lnTo>
                  <a:lnTo>
                    <a:pt x="88" y="183"/>
                  </a:lnTo>
                  <a:lnTo>
                    <a:pt x="86" y="183"/>
                  </a:lnTo>
                  <a:lnTo>
                    <a:pt x="86" y="185"/>
                  </a:lnTo>
                  <a:lnTo>
                    <a:pt x="83" y="185"/>
                  </a:lnTo>
                  <a:lnTo>
                    <a:pt x="86" y="185"/>
                  </a:lnTo>
                  <a:lnTo>
                    <a:pt x="83" y="185"/>
                  </a:lnTo>
                  <a:lnTo>
                    <a:pt x="83" y="188"/>
                  </a:lnTo>
                  <a:lnTo>
                    <a:pt x="83" y="185"/>
                  </a:lnTo>
                  <a:lnTo>
                    <a:pt x="83" y="188"/>
                  </a:lnTo>
                  <a:lnTo>
                    <a:pt x="81" y="188"/>
                  </a:lnTo>
                  <a:lnTo>
                    <a:pt x="81" y="185"/>
                  </a:lnTo>
                  <a:lnTo>
                    <a:pt x="79" y="185"/>
                  </a:lnTo>
                  <a:lnTo>
                    <a:pt x="76" y="185"/>
                  </a:lnTo>
                  <a:lnTo>
                    <a:pt x="74" y="185"/>
                  </a:lnTo>
                  <a:lnTo>
                    <a:pt x="74" y="183"/>
                  </a:lnTo>
                  <a:lnTo>
                    <a:pt x="76" y="183"/>
                  </a:lnTo>
                  <a:lnTo>
                    <a:pt x="76" y="185"/>
                  </a:lnTo>
                  <a:lnTo>
                    <a:pt x="79" y="185"/>
                  </a:lnTo>
                  <a:lnTo>
                    <a:pt x="79" y="183"/>
                  </a:lnTo>
                  <a:lnTo>
                    <a:pt x="79" y="185"/>
                  </a:lnTo>
                  <a:lnTo>
                    <a:pt x="79" y="183"/>
                  </a:lnTo>
                  <a:lnTo>
                    <a:pt x="76" y="183"/>
                  </a:lnTo>
                  <a:lnTo>
                    <a:pt x="79" y="183"/>
                  </a:lnTo>
                  <a:lnTo>
                    <a:pt x="76" y="183"/>
                  </a:lnTo>
                  <a:lnTo>
                    <a:pt x="79" y="183"/>
                  </a:lnTo>
                  <a:lnTo>
                    <a:pt x="76" y="183"/>
                  </a:lnTo>
                  <a:lnTo>
                    <a:pt x="76" y="180"/>
                  </a:lnTo>
                  <a:lnTo>
                    <a:pt x="76" y="183"/>
                  </a:lnTo>
                  <a:lnTo>
                    <a:pt x="74" y="183"/>
                  </a:lnTo>
                  <a:lnTo>
                    <a:pt x="76" y="183"/>
                  </a:lnTo>
                  <a:lnTo>
                    <a:pt x="76" y="180"/>
                  </a:lnTo>
                  <a:lnTo>
                    <a:pt x="74" y="180"/>
                  </a:lnTo>
                  <a:lnTo>
                    <a:pt x="74" y="178"/>
                  </a:lnTo>
                  <a:lnTo>
                    <a:pt x="76" y="178"/>
                  </a:lnTo>
                  <a:lnTo>
                    <a:pt x="79" y="178"/>
                  </a:lnTo>
                  <a:lnTo>
                    <a:pt x="76" y="178"/>
                  </a:lnTo>
                  <a:lnTo>
                    <a:pt x="76" y="176"/>
                  </a:lnTo>
                  <a:lnTo>
                    <a:pt x="76" y="173"/>
                  </a:lnTo>
                  <a:lnTo>
                    <a:pt x="76" y="176"/>
                  </a:lnTo>
                  <a:lnTo>
                    <a:pt x="76" y="173"/>
                  </a:lnTo>
                  <a:lnTo>
                    <a:pt x="79" y="173"/>
                  </a:lnTo>
                  <a:lnTo>
                    <a:pt x="81" y="173"/>
                  </a:lnTo>
                  <a:lnTo>
                    <a:pt x="81" y="171"/>
                  </a:lnTo>
                  <a:lnTo>
                    <a:pt x="83" y="171"/>
                  </a:lnTo>
                  <a:lnTo>
                    <a:pt x="81" y="171"/>
                  </a:lnTo>
                  <a:lnTo>
                    <a:pt x="81" y="173"/>
                  </a:lnTo>
                  <a:lnTo>
                    <a:pt x="79" y="173"/>
                  </a:lnTo>
                  <a:lnTo>
                    <a:pt x="76" y="173"/>
                  </a:lnTo>
                  <a:lnTo>
                    <a:pt x="74" y="173"/>
                  </a:lnTo>
                  <a:lnTo>
                    <a:pt x="71" y="173"/>
                  </a:lnTo>
                  <a:lnTo>
                    <a:pt x="74" y="171"/>
                  </a:lnTo>
                  <a:lnTo>
                    <a:pt x="71" y="173"/>
                  </a:lnTo>
                  <a:lnTo>
                    <a:pt x="71" y="171"/>
                  </a:lnTo>
                  <a:lnTo>
                    <a:pt x="71" y="173"/>
                  </a:lnTo>
                  <a:lnTo>
                    <a:pt x="69" y="173"/>
                  </a:lnTo>
                  <a:lnTo>
                    <a:pt x="67" y="173"/>
                  </a:lnTo>
                  <a:lnTo>
                    <a:pt x="67" y="176"/>
                  </a:lnTo>
                  <a:lnTo>
                    <a:pt x="64" y="173"/>
                  </a:lnTo>
                  <a:lnTo>
                    <a:pt x="64" y="176"/>
                  </a:lnTo>
                  <a:lnTo>
                    <a:pt x="64" y="173"/>
                  </a:lnTo>
                  <a:lnTo>
                    <a:pt x="62" y="173"/>
                  </a:lnTo>
                  <a:lnTo>
                    <a:pt x="62" y="171"/>
                  </a:lnTo>
                  <a:lnTo>
                    <a:pt x="62" y="173"/>
                  </a:lnTo>
                  <a:lnTo>
                    <a:pt x="62" y="171"/>
                  </a:lnTo>
                  <a:lnTo>
                    <a:pt x="64" y="171"/>
                  </a:lnTo>
                  <a:lnTo>
                    <a:pt x="62" y="171"/>
                  </a:lnTo>
                  <a:lnTo>
                    <a:pt x="64" y="171"/>
                  </a:lnTo>
                  <a:lnTo>
                    <a:pt x="64" y="173"/>
                  </a:lnTo>
                  <a:lnTo>
                    <a:pt x="64" y="171"/>
                  </a:lnTo>
                  <a:lnTo>
                    <a:pt x="67" y="173"/>
                  </a:lnTo>
                  <a:lnTo>
                    <a:pt x="67" y="171"/>
                  </a:lnTo>
                  <a:lnTo>
                    <a:pt x="67" y="173"/>
                  </a:lnTo>
                  <a:lnTo>
                    <a:pt x="67" y="171"/>
                  </a:lnTo>
                  <a:lnTo>
                    <a:pt x="69" y="171"/>
                  </a:lnTo>
                  <a:lnTo>
                    <a:pt x="67" y="171"/>
                  </a:lnTo>
                  <a:lnTo>
                    <a:pt x="69" y="171"/>
                  </a:lnTo>
                  <a:lnTo>
                    <a:pt x="69" y="169"/>
                  </a:lnTo>
                  <a:lnTo>
                    <a:pt x="69" y="171"/>
                  </a:lnTo>
                  <a:lnTo>
                    <a:pt x="69" y="169"/>
                  </a:lnTo>
                  <a:lnTo>
                    <a:pt x="67" y="169"/>
                  </a:lnTo>
                  <a:lnTo>
                    <a:pt x="69" y="169"/>
                  </a:lnTo>
                  <a:lnTo>
                    <a:pt x="67" y="169"/>
                  </a:lnTo>
                  <a:lnTo>
                    <a:pt x="67" y="166"/>
                  </a:lnTo>
                  <a:lnTo>
                    <a:pt x="67" y="169"/>
                  </a:lnTo>
                  <a:lnTo>
                    <a:pt x="67" y="166"/>
                  </a:lnTo>
                  <a:lnTo>
                    <a:pt x="67" y="169"/>
                  </a:lnTo>
                  <a:lnTo>
                    <a:pt x="64" y="169"/>
                  </a:lnTo>
                  <a:lnTo>
                    <a:pt x="62" y="169"/>
                  </a:lnTo>
                  <a:lnTo>
                    <a:pt x="62" y="171"/>
                  </a:lnTo>
                  <a:lnTo>
                    <a:pt x="62" y="169"/>
                  </a:lnTo>
                  <a:lnTo>
                    <a:pt x="62" y="171"/>
                  </a:lnTo>
                  <a:lnTo>
                    <a:pt x="62" y="169"/>
                  </a:lnTo>
                  <a:lnTo>
                    <a:pt x="62" y="171"/>
                  </a:lnTo>
                  <a:lnTo>
                    <a:pt x="62" y="169"/>
                  </a:lnTo>
                  <a:lnTo>
                    <a:pt x="60" y="169"/>
                  </a:lnTo>
                  <a:lnTo>
                    <a:pt x="62" y="169"/>
                  </a:lnTo>
                  <a:lnTo>
                    <a:pt x="60" y="169"/>
                  </a:lnTo>
                  <a:lnTo>
                    <a:pt x="60" y="166"/>
                  </a:lnTo>
                  <a:lnTo>
                    <a:pt x="62" y="166"/>
                  </a:lnTo>
                  <a:lnTo>
                    <a:pt x="60" y="166"/>
                  </a:lnTo>
                  <a:lnTo>
                    <a:pt x="60" y="169"/>
                  </a:lnTo>
                  <a:lnTo>
                    <a:pt x="60" y="171"/>
                  </a:lnTo>
                  <a:lnTo>
                    <a:pt x="60" y="169"/>
                  </a:lnTo>
                  <a:lnTo>
                    <a:pt x="60" y="171"/>
                  </a:lnTo>
                  <a:lnTo>
                    <a:pt x="62" y="171"/>
                  </a:lnTo>
                  <a:lnTo>
                    <a:pt x="60" y="171"/>
                  </a:lnTo>
                  <a:lnTo>
                    <a:pt x="60" y="169"/>
                  </a:lnTo>
                  <a:lnTo>
                    <a:pt x="60" y="171"/>
                  </a:lnTo>
                  <a:lnTo>
                    <a:pt x="57" y="169"/>
                  </a:lnTo>
                  <a:lnTo>
                    <a:pt x="57" y="171"/>
                  </a:lnTo>
                  <a:lnTo>
                    <a:pt x="55" y="171"/>
                  </a:lnTo>
                  <a:lnTo>
                    <a:pt x="55" y="169"/>
                  </a:lnTo>
                  <a:lnTo>
                    <a:pt x="55" y="171"/>
                  </a:lnTo>
                  <a:lnTo>
                    <a:pt x="55" y="173"/>
                  </a:lnTo>
                  <a:lnTo>
                    <a:pt x="55" y="176"/>
                  </a:lnTo>
                  <a:lnTo>
                    <a:pt x="57" y="176"/>
                  </a:lnTo>
                  <a:lnTo>
                    <a:pt x="55" y="176"/>
                  </a:lnTo>
                  <a:lnTo>
                    <a:pt x="55" y="173"/>
                  </a:lnTo>
                  <a:lnTo>
                    <a:pt x="52" y="173"/>
                  </a:lnTo>
                  <a:lnTo>
                    <a:pt x="55" y="173"/>
                  </a:lnTo>
                  <a:lnTo>
                    <a:pt x="55" y="171"/>
                  </a:lnTo>
                  <a:lnTo>
                    <a:pt x="55" y="169"/>
                  </a:lnTo>
                  <a:lnTo>
                    <a:pt x="52" y="169"/>
                  </a:lnTo>
                  <a:lnTo>
                    <a:pt x="52" y="166"/>
                  </a:lnTo>
                  <a:lnTo>
                    <a:pt x="55" y="164"/>
                  </a:lnTo>
                  <a:lnTo>
                    <a:pt x="55" y="166"/>
                  </a:lnTo>
                  <a:lnTo>
                    <a:pt x="55" y="164"/>
                  </a:lnTo>
                  <a:lnTo>
                    <a:pt x="52" y="164"/>
                  </a:lnTo>
                  <a:lnTo>
                    <a:pt x="55" y="164"/>
                  </a:lnTo>
                  <a:lnTo>
                    <a:pt x="52" y="164"/>
                  </a:lnTo>
                  <a:lnTo>
                    <a:pt x="55" y="164"/>
                  </a:lnTo>
                  <a:lnTo>
                    <a:pt x="55" y="161"/>
                  </a:lnTo>
                  <a:lnTo>
                    <a:pt x="55" y="164"/>
                  </a:lnTo>
                  <a:lnTo>
                    <a:pt x="52" y="164"/>
                  </a:lnTo>
                  <a:lnTo>
                    <a:pt x="52" y="161"/>
                  </a:lnTo>
                  <a:lnTo>
                    <a:pt x="52" y="164"/>
                  </a:lnTo>
                  <a:lnTo>
                    <a:pt x="52" y="166"/>
                  </a:lnTo>
                  <a:lnTo>
                    <a:pt x="52" y="164"/>
                  </a:lnTo>
                  <a:lnTo>
                    <a:pt x="52" y="166"/>
                  </a:lnTo>
                  <a:lnTo>
                    <a:pt x="50" y="166"/>
                  </a:lnTo>
                  <a:lnTo>
                    <a:pt x="50" y="164"/>
                  </a:lnTo>
                  <a:lnTo>
                    <a:pt x="48" y="164"/>
                  </a:lnTo>
                  <a:lnTo>
                    <a:pt x="48" y="166"/>
                  </a:lnTo>
                  <a:lnTo>
                    <a:pt x="48" y="164"/>
                  </a:lnTo>
                  <a:lnTo>
                    <a:pt x="50" y="164"/>
                  </a:lnTo>
                  <a:lnTo>
                    <a:pt x="50" y="166"/>
                  </a:lnTo>
                  <a:lnTo>
                    <a:pt x="50" y="164"/>
                  </a:lnTo>
                  <a:lnTo>
                    <a:pt x="48" y="164"/>
                  </a:lnTo>
                  <a:lnTo>
                    <a:pt x="48" y="161"/>
                  </a:lnTo>
                  <a:lnTo>
                    <a:pt x="50" y="161"/>
                  </a:lnTo>
                  <a:lnTo>
                    <a:pt x="50" y="159"/>
                  </a:lnTo>
                  <a:lnTo>
                    <a:pt x="50" y="161"/>
                  </a:lnTo>
                  <a:lnTo>
                    <a:pt x="48" y="161"/>
                  </a:lnTo>
                  <a:lnTo>
                    <a:pt x="45" y="161"/>
                  </a:lnTo>
                  <a:lnTo>
                    <a:pt x="45" y="159"/>
                  </a:lnTo>
                  <a:lnTo>
                    <a:pt x="45" y="161"/>
                  </a:lnTo>
                  <a:lnTo>
                    <a:pt x="48" y="161"/>
                  </a:lnTo>
                  <a:lnTo>
                    <a:pt x="48" y="164"/>
                  </a:lnTo>
                  <a:lnTo>
                    <a:pt x="45" y="164"/>
                  </a:lnTo>
                  <a:lnTo>
                    <a:pt x="48" y="164"/>
                  </a:lnTo>
                  <a:lnTo>
                    <a:pt x="45" y="164"/>
                  </a:lnTo>
                  <a:lnTo>
                    <a:pt x="43" y="164"/>
                  </a:lnTo>
                  <a:lnTo>
                    <a:pt x="43" y="161"/>
                  </a:lnTo>
                  <a:lnTo>
                    <a:pt x="41" y="161"/>
                  </a:lnTo>
                  <a:lnTo>
                    <a:pt x="41" y="159"/>
                  </a:lnTo>
                  <a:lnTo>
                    <a:pt x="41" y="161"/>
                  </a:lnTo>
                  <a:lnTo>
                    <a:pt x="38" y="161"/>
                  </a:lnTo>
                  <a:lnTo>
                    <a:pt x="36" y="161"/>
                  </a:lnTo>
                  <a:lnTo>
                    <a:pt x="36" y="159"/>
                  </a:lnTo>
                  <a:lnTo>
                    <a:pt x="36" y="161"/>
                  </a:lnTo>
                  <a:lnTo>
                    <a:pt x="36" y="159"/>
                  </a:lnTo>
                  <a:lnTo>
                    <a:pt x="33" y="159"/>
                  </a:lnTo>
                  <a:lnTo>
                    <a:pt x="33" y="157"/>
                  </a:lnTo>
                  <a:lnTo>
                    <a:pt x="33" y="159"/>
                  </a:lnTo>
                  <a:lnTo>
                    <a:pt x="33" y="161"/>
                  </a:lnTo>
                  <a:lnTo>
                    <a:pt x="31" y="159"/>
                  </a:lnTo>
                  <a:lnTo>
                    <a:pt x="29" y="159"/>
                  </a:lnTo>
                  <a:lnTo>
                    <a:pt x="29" y="157"/>
                  </a:lnTo>
                  <a:lnTo>
                    <a:pt x="29" y="154"/>
                  </a:lnTo>
                  <a:lnTo>
                    <a:pt x="26" y="154"/>
                  </a:lnTo>
                  <a:lnTo>
                    <a:pt x="26" y="157"/>
                  </a:lnTo>
                  <a:lnTo>
                    <a:pt x="24" y="157"/>
                  </a:lnTo>
                  <a:lnTo>
                    <a:pt x="22" y="157"/>
                  </a:lnTo>
                  <a:lnTo>
                    <a:pt x="22" y="154"/>
                  </a:lnTo>
                  <a:lnTo>
                    <a:pt x="22" y="152"/>
                  </a:lnTo>
                  <a:lnTo>
                    <a:pt x="22" y="150"/>
                  </a:lnTo>
                  <a:lnTo>
                    <a:pt x="22" y="152"/>
                  </a:lnTo>
                  <a:lnTo>
                    <a:pt x="22" y="154"/>
                  </a:lnTo>
                  <a:lnTo>
                    <a:pt x="19" y="154"/>
                  </a:lnTo>
                  <a:lnTo>
                    <a:pt x="22" y="154"/>
                  </a:lnTo>
                  <a:lnTo>
                    <a:pt x="22" y="157"/>
                  </a:lnTo>
                  <a:lnTo>
                    <a:pt x="19" y="157"/>
                  </a:lnTo>
                  <a:lnTo>
                    <a:pt x="22" y="157"/>
                  </a:lnTo>
                  <a:lnTo>
                    <a:pt x="19" y="157"/>
                  </a:lnTo>
                  <a:lnTo>
                    <a:pt x="19" y="159"/>
                  </a:lnTo>
                  <a:lnTo>
                    <a:pt x="19" y="157"/>
                  </a:lnTo>
                  <a:lnTo>
                    <a:pt x="19" y="159"/>
                  </a:lnTo>
                  <a:lnTo>
                    <a:pt x="22" y="159"/>
                  </a:lnTo>
                  <a:lnTo>
                    <a:pt x="19" y="159"/>
                  </a:lnTo>
                  <a:lnTo>
                    <a:pt x="17" y="159"/>
                  </a:lnTo>
                  <a:lnTo>
                    <a:pt x="14" y="159"/>
                  </a:lnTo>
                  <a:lnTo>
                    <a:pt x="12" y="159"/>
                  </a:lnTo>
                  <a:lnTo>
                    <a:pt x="14" y="159"/>
                  </a:lnTo>
                  <a:lnTo>
                    <a:pt x="12" y="159"/>
                  </a:lnTo>
                  <a:lnTo>
                    <a:pt x="14" y="159"/>
                  </a:lnTo>
                  <a:lnTo>
                    <a:pt x="14" y="157"/>
                  </a:lnTo>
                  <a:lnTo>
                    <a:pt x="14" y="154"/>
                  </a:lnTo>
                  <a:lnTo>
                    <a:pt x="12" y="154"/>
                  </a:lnTo>
                  <a:lnTo>
                    <a:pt x="12" y="152"/>
                  </a:lnTo>
                  <a:lnTo>
                    <a:pt x="10" y="152"/>
                  </a:lnTo>
                  <a:lnTo>
                    <a:pt x="10" y="150"/>
                  </a:lnTo>
                  <a:lnTo>
                    <a:pt x="7" y="150"/>
                  </a:lnTo>
                  <a:lnTo>
                    <a:pt x="10" y="147"/>
                  </a:lnTo>
                  <a:lnTo>
                    <a:pt x="10" y="150"/>
                  </a:lnTo>
                  <a:lnTo>
                    <a:pt x="10" y="147"/>
                  </a:lnTo>
                  <a:lnTo>
                    <a:pt x="7" y="147"/>
                  </a:lnTo>
                  <a:lnTo>
                    <a:pt x="7" y="150"/>
                  </a:lnTo>
                  <a:lnTo>
                    <a:pt x="5" y="150"/>
                  </a:lnTo>
                  <a:lnTo>
                    <a:pt x="3" y="150"/>
                  </a:lnTo>
                  <a:lnTo>
                    <a:pt x="3" y="147"/>
                  </a:lnTo>
                  <a:lnTo>
                    <a:pt x="5" y="147"/>
                  </a:lnTo>
                  <a:lnTo>
                    <a:pt x="7" y="147"/>
                  </a:lnTo>
                  <a:lnTo>
                    <a:pt x="7" y="145"/>
                  </a:lnTo>
                  <a:lnTo>
                    <a:pt x="10" y="145"/>
                  </a:lnTo>
                  <a:lnTo>
                    <a:pt x="12" y="145"/>
                  </a:lnTo>
                  <a:lnTo>
                    <a:pt x="14" y="145"/>
                  </a:lnTo>
                  <a:lnTo>
                    <a:pt x="17" y="145"/>
                  </a:lnTo>
                  <a:lnTo>
                    <a:pt x="17" y="142"/>
                  </a:lnTo>
                  <a:lnTo>
                    <a:pt x="17" y="140"/>
                  </a:lnTo>
                  <a:lnTo>
                    <a:pt x="14" y="140"/>
                  </a:lnTo>
                  <a:lnTo>
                    <a:pt x="12" y="140"/>
                  </a:lnTo>
                  <a:lnTo>
                    <a:pt x="12" y="138"/>
                  </a:lnTo>
                  <a:lnTo>
                    <a:pt x="12" y="140"/>
                  </a:lnTo>
                  <a:lnTo>
                    <a:pt x="12" y="138"/>
                  </a:lnTo>
                  <a:lnTo>
                    <a:pt x="10" y="138"/>
                  </a:lnTo>
                  <a:lnTo>
                    <a:pt x="10" y="140"/>
                  </a:lnTo>
                  <a:lnTo>
                    <a:pt x="10" y="138"/>
                  </a:lnTo>
                  <a:lnTo>
                    <a:pt x="10" y="140"/>
                  </a:lnTo>
                  <a:lnTo>
                    <a:pt x="7" y="140"/>
                  </a:lnTo>
                  <a:lnTo>
                    <a:pt x="7" y="142"/>
                  </a:lnTo>
                  <a:lnTo>
                    <a:pt x="7" y="140"/>
                  </a:lnTo>
                  <a:lnTo>
                    <a:pt x="7" y="138"/>
                  </a:lnTo>
                  <a:lnTo>
                    <a:pt x="5" y="138"/>
                  </a:lnTo>
                  <a:lnTo>
                    <a:pt x="5" y="135"/>
                  </a:lnTo>
                  <a:lnTo>
                    <a:pt x="5" y="138"/>
                  </a:lnTo>
                  <a:lnTo>
                    <a:pt x="7" y="138"/>
                  </a:lnTo>
                  <a:lnTo>
                    <a:pt x="7" y="135"/>
                  </a:lnTo>
                  <a:lnTo>
                    <a:pt x="7" y="133"/>
                  </a:lnTo>
                  <a:lnTo>
                    <a:pt x="7" y="135"/>
                  </a:lnTo>
                  <a:lnTo>
                    <a:pt x="10" y="135"/>
                  </a:lnTo>
                  <a:lnTo>
                    <a:pt x="7" y="135"/>
                  </a:lnTo>
                  <a:lnTo>
                    <a:pt x="10" y="135"/>
                  </a:lnTo>
                  <a:lnTo>
                    <a:pt x="10" y="138"/>
                  </a:lnTo>
                  <a:lnTo>
                    <a:pt x="10" y="135"/>
                  </a:lnTo>
                  <a:lnTo>
                    <a:pt x="12" y="135"/>
                  </a:lnTo>
                  <a:lnTo>
                    <a:pt x="12" y="138"/>
                  </a:lnTo>
                  <a:lnTo>
                    <a:pt x="14" y="138"/>
                  </a:lnTo>
                  <a:lnTo>
                    <a:pt x="14" y="135"/>
                  </a:lnTo>
                  <a:lnTo>
                    <a:pt x="17" y="135"/>
                  </a:lnTo>
                  <a:lnTo>
                    <a:pt x="17" y="138"/>
                  </a:lnTo>
                  <a:lnTo>
                    <a:pt x="17" y="135"/>
                  </a:lnTo>
                  <a:lnTo>
                    <a:pt x="17" y="138"/>
                  </a:lnTo>
                  <a:lnTo>
                    <a:pt x="19" y="138"/>
                  </a:lnTo>
                  <a:lnTo>
                    <a:pt x="22" y="138"/>
                  </a:lnTo>
                  <a:lnTo>
                    <a:pt x="19" y="138"/>
                  </a:lnTo>
                  <a:lnTo>
                    <a:pt x="17" y="138"/>
                  </a:lnTo>
                  <a:lnTo>
                    <a:pt x="17" y="135"/>
                  </a:lnTo>
                  <a:lnTo>
                    <a:pt x="17" y="138"/>
                  </a:lnTo>
                  <a:lnTo>
                    <a:pt x="17" y="135"/>
                  </a:lnTo>
                  <a:lnTo>
                    <a:pt x="19" y="135"/>
                  </a:lnTo>
                  <a:lnTo>
                    <a:pt x="17" y="135"/>
                  </a:lnTo>
                  <a:lnTo>
                    <a:pt x="19" y="135"/>
                  </a:lnTo>
                  <a:lnTo>
                    <a:pt x="17" y="135"/>
                  </a:lnTo>
                  <a:lnTo>
                    <a:pt x="19" y="135"/>
                  </a:lnTo>
                  <a:lnTo>
                    <a:pt x="17" y="135"/>
                  </a:lnTo>
                  <a:lnTo>
                    <a:pt x="14" y="135"/>
                  </a:lnTo>
                  <a:lnTo>
                    <a:pt x="17" y="135"/>
                  </a:lnTo>
                  <a:lnTo>
                    <a:pt x="14" y="135"/>
                  </a:lnTo>
                  <a:lnTo>
                    <a:pt x="14" y="133"/>
                  </a:lnTo>
                  <a:lnTo>
                    <a:pt x="17" y="133"/>
                  </a:lnTo>
                  <a:lnTo>
                    <a:pt x="14" y="133"/>
                  </a:lnTo>
                  <a:lnTo>
                    <a:pt x="14" y="135"/>
                  </a:lnTo>
                  <a:lnTo>
                    <a:pt x="12" y="135"/>
                  </a:lnTo>
                  <a:lnTo>
                    <a:pt x="12" y="133"/>
                  </a:lnTo>
                  <a:lnTo>
                    <a:pt x="12" y="135"/>
                  </a:lnTo>
                  <a:lnTo>
                    <a:pt x="10" y="135"/>
                  </a:lnTo>
                  <a:lnTo>
                    <a:pt x="12" y="135"/>
                  </a:lnTo>
                  <a:lnTo>
                    <a:pt x="12" y="133"/>
                  </a:lnTo>
                  <a:lnTo>
                    <a:pt x="12" y="131"/>
                  </a:lnTo>
                  <a:lnTo>
                    <a:pt x="14" y="131"/>
                  </a:lnTo>
                  <a:lnTo>
                    <a:pt x="17" y="131"/>
                  </a:lnTo>
                  <a:lnTo>
                    <a:pt x="17" y="128"/>
                  </a:lnTo>
                  <a:lnTo>
                    <a:pt x="17" y="131"/>
                  </a:lnTo>
                  <a:lnTo>
                    <a:pt x="14" y="131"/>
                  </a:lnTo>
                  <a:lnTo>
                    <a:pt x="12" y="131"/>
                  </a:lnTo>
                  <a:lnTo>
                    <a:pt x="12" y="133"/>
                  </a:lnTo>
                  <a:lnTo>
                    <a:pt x="12" y="131"/>
                  </a:lnTo>
                  <a:lnTo>
                    <a:pt x="12" y="133"/>
                  </a:lnTo>
                  <a:lnTo>
                    <a:pt x="10" y="133"/>
                  </a:lnTo>
                  <a:lnTo>
                    <a:pt x="10" y="131"/>
                  </a:lnTo>
                  <a:lnTo>
                    <a:pt x="10" y="133"/>
                  </a:lnTo>
                  <a:lnTo>
                    <a:pt x="7" y="133"/>
                  </a:lnTo>
                  <a:lnTo>
                    <a:pt x="5" y="133"/>
                  </a:lnTo>
                  <a:lnTo>
                    <a:pt x="3" y="133"/>
                  </a:lnTo>
                  <a:lnTo>
                    <a:pt x="3" y="135"/>
                  </a:lnTo>
                  <a:lnTo>
                    <a:pt x="0" y="135"/>
                  </a:lnTo>
                  <a:lnTo>
                    <a:pt x="0" y="133"/>
                  </a:lnTo>
                  <a:lnTo>
                    <a:pt x="0" y="131"/>
                  </a:lnTo>
                  <a:lnTo>
                    <a:pt x="0" y="128"/>
                  </a:lnTo>
                  <a:lnTo>
                    <a:pt x="0" y="126"/>
                  </a:lnTo>
                  <a:lnTo>
                    <a:pt x="0" y="123"/>
                  </a:lnTo>
                  <a:lnTo>
                    <a:pt x="0" y="126"/>
                  </a:lnTo>
                  <a:lnTo>
                    <a:pt x="0" y="123"/>
                  </a:lnTo>
                  <a:lnTo>
                    <a:pt x="3" y="123"/>
                  </a:lnTo>
                  <a:lnTo>
                    <a:pt x="5" y="123"/>
                  </a:lnTo>
                  <a:lnTo>
                    <a:pt x="7" y="123"/>
                  </a:lnTo>
                  <a:lnTo>
                    <a:pt x="10" y="123"/>
                  </a:lnTo>
                  <a:lnTo>
                    <a:pt x="7" y="123"/>
                  </a:lnTo>
                  <a:lnTo>
                    <a:pt x="5" y="123"/>
                  </a:lnTo>
                  <a:lnTo>
                    <a:pt x="5" y="121"/>
                  </a:lnTo>
                  <a:lnTo>
                    <a:pt x="7" y="121"/>
                  </a:lnTo>
                  <a:lnTo>
                    <a:pt x="10" y="121"/>
                  </a:lnTo>
                  <a:lnTo>
                    <a:pt x="10" y="123"/>
                  </a:lnTo>
                  <a:lnTo>
                    <a:pt x="10" y="121"/>
                  </a:lnTo>
                  <a:lnTo>
                    <a:pt x="7" y="121"/>
                  </a:lnTo>
                  <a:lnTo>
                    <a:pt x="7" y="119"/>
                  </a:lnTo>
                  <a:lnTo>
                    <a:pt x="7" y="121"/>
                  </a:lnTo>
                  <a:lnTo>
                    <a:pt x="7" y="119"/>
                  </a:lnTo>
                  <a:lnTo>
                    <a:pt x="7" y="121"/>
                  </a:lnTo>
                  <a:lnTo>
                    <a:pt x="7" y="119"/>
                  </a:lnTo>
                  <a:lnTo>
                    <a:pt x="7" y="121"/>
                  </a:lnTo>
                  <a:lnTo>
                    <a:pt x="7" y="119"/>
                  </a:lnTo>
                  <a:lnTo>
                    <a:pt x="7" y="121"/>
                  </a:lnTo>
                  <a:lnTo>
                    <a:pt x="10" y="119"/>
                  </a:lnTo>
                  <a:lnTo>
                    <a:pt x="10" y="121"/>
                  </a:lnTo>
                  <a:lnTo>
                    <a:pt x="10" y="119"/>
                  </a:lnTo>
                  <a:lnTo>
                    <a:pt x="10" y="121"/>
                  </a:lnTo>
                  <a:lnTo>
                    <a:pt x="10" y="119"/>
                  </a:lnTo>
                  <a:lnTo>
                    <a:pt x="12" y="119"/>
                  </a:lnTo>
                  <a:lnTo>
                    <a:pt x="10" y="119"/>
                  </a:lnTo>
                  <a:lnTo>
                    <a:pt x="12" y="119"/>
                  </a:lnTo>
                  <a:lnTo>
                    <a:pt x="14" y="119"/>
                  </a:lnTo>
                  <a:lnTo>
                    <a:pt x="12" y="119"/>
                  </a:lnTo>
                  <a:lnTo>
                    <a:pt x="14" y="119"/>
                  </a:lnTo>
                  <a:lnTo>
                    <a:pt x="17" y="119"/>
                  </a:lnTo>
                  <a:lnTo>
                    <a:pt x="14" y="119"/>
                  </a:lnTo>
                  <a:lnTo>
                    <a:pt x="17" y="119"/>
                  </a:lnTo>
                  <a:lnTo>
                    <a:pt x="14" y="119"/>
                  </a:lnTo>
                  <a:lnTo>
                    <a:pt x="17" y="119"/>
                  </a:lnTo>
                  <a:lnTo>
                    <a:pt x="19" y="119"/>
                  </a:lnTo>
                  <a:lnTo>
                    <a:pt x="19" y="116"/>
                  </a:lnTo>
                  <a:lnTo>
                    <a:pt x="22" y="116"/>
                  </a:lnTo>
                  <a:lnTo>
                    <a:pt x="24" y="116"/>
                  </a:lnTo>
                  <a:lnTo>
                    <a:pt x="26" y="116"/>
                  </a:lnTo>
                  <a:lnTo>
                    <a:pt x="26" y="119"/>
                  </a:lnTo>
                  <a:lnTo>
                    <a:pt x="29" y="119"/>
                  </a:lnTo>
                  <a:lnTo>
                    <a:pt x="26" y="119"/>
                  </a:lnTo>
                  <a:lnTo>
                    <a:pt x="29" y="119"/>
                  </a:lnTo>
                  <a:lnTo>
                    <a:pt x="26" y="119"/>
                  </a:lnTo>
                  <a:lnTo>
                    <a:pt x="29" y="119"/>
                  </a:lnTo>
                  <a:lnTo>
                    <a:pt x="26" y="119"/>
                  </a:lnTo>
                  <a:lnTo>
                    <a:pt x="29" y="119"/>
                  </a:lnTo>
                  <a:lnTo>
                    <a:pt x="29" y="116"/>
                  </a:lnTo>
                  <a:lnTo>
                    <a:pt x="29" y="119"/>
                  </a:lnTo>
                  <a:lnTo>
                    <a:pt x="31" y="119"/>
                  </a:lnTo>
                  <a:lnTo>
                    <a:pt x="31" y="121"/>
                  </a:lnTo>
                  <a:lnTo>
                    <a:pt x="31" y="119"/>
                  </a:lnTo>
                  <a:lnTo>
                    <a:pt x="31" y="116"/>
                  </a:lnTo>
                  <a:lnTo>
                    <a:pt x="33" y="116"/>
                  </a:lnTo>
                  <a:lnTo>
                    <a:pt x="36" y="116"/>
                  </a:lnTo>
                  <a:lnTo>
                    <a:pt x="38" y="116"/>
                  </a:lnTo>
                  <a:lnTo>
                    <a:pt x="38" y="119"/>
                  </a:lnTo>
                  <a:lnTo>
                    <a:pt x="38" y="116"/>
                  </a:lnTo>
                  <a:lnTo>
                    <a:pt x="38" y="119"/>
                  </a:lnTo>
                  <a:lnTo>
                    <a:pt x="41" y="119"/>
                  </a:lnTo>
                  <a:lnTo>
                    <a:pt x="41" y="116"/>
                  </a:lnTo>
                  <a:lnTo>
                    <a:pt x="41" y="114"/>
                  </a:lnTo>
                  <a:lnTo>
                    <a:pt x="41" y="116"/>
                  </a:lnTo>
                  <a:lnTo>
                    <a:pt x="41" y="114"/>
                  </a:lnTo>
                  <a:lnTo>
                    <a:pt x="41" y="112"/>
                  </a:lnTo>
                  <a:lnTo>
                    <a:pt x="41" y="114"/>
                  </a:lnTo>
                  <a:lnTo>
                    <a:pt x="41" y="112"/>
                  </a:lnTo>
                  <a:lnTo>
                    <a:pt x="38" y="112"/>
                  </a:lnTo>
                  <a:lnTo>
                    <a:pt x="41" y="112"/>
                  </a:lnTo>
                  <a:lnTo>
                    <a:pt x="41" y="109"/>
                  </a:lnTo>
                  <a:lnTo>
                    <a:pt x="43" y="109"/>
                  </a:lnTo>
                  <a:lnTo>
                    <a:pt x="41" y="109"/>
                  </a:lnTo>
                  <a:lnTo>
                    <a:pt x="43" y="109"/>
                  </a:lnTo>
                  <a:lnTo>
                    <a:pt x="43" y="112"/>
                  </a:lnTo>
                  <a:lnTo>
                    <a:pt x="43" y="109"/>
                  </a:lnTo>
                  <a:lnTo>
                    <a:pt x="43" y="112"/>
                  </a:lnTo>
                  <a:lnTo>
                    <a:pt x="43" y="109"/>
                  </a:lnTo>
                  <a:lnTo>
                    <a:pt x="43" y="112"/>
                  </a:lnTo>
                  <a:lnTo>
                    <a:pt x="43" y="109"/>
                  </a:lnTo>
                  <a:lnTo>
                    <a:pt x="43" y="112"/>
                  </a:lnTo>
                  <a:lnTo>
                    <a:pt x="45" y="112"/>
                  </a:lnTo>
                  <a:lnTo>
                    <a:pt x="48" y="112"/>
                  </a:lnTo>
                  <a:lnTo>
                    <a:pt x="48" y="109"/>
                  </a:lnTo>
                  <a:lnTo>
                    <a:pt x="50" y="109"/>
                  </a:lnTo>
                  <a:lnTo>
                    <a:pt x="52" y="109"/>
                  </a:lnTo>
                  <a:lnTo>
                    <a:pt x="52" y="112"/>
                  </a:lnTo>
                  <a:lnTo>
                    <a:pt x="52" y="114"/>
                  </a:lnTo>
                  <a:lnTo>
                    <a:pt x="50" y="114"/>
                  </a:lnTo>
                  <a:lnTo>
                    <a:pt x="52" y="114"/>
                  </a:lnTo>
                  <a:lnTo>
                    <a:pt x="52" y="112"/>
                  </a:lnTo>
                  <a:lnTo>
                    <a:pt x="52" y="109"/>
                  </a:lnTo>
                  <a:lnTo>
                    <a:pt x="55" y="109"/>
                  </a:lnTo>
                  <a:lnTo>
                    <a:pt x="57" y="109"/>
                  </a:lnTo>
                  <a:lnTo>
                    <a:pt x="57" y="107"/>
                  </a:lnTo>
                  <a:lnTo>
                    <a:pt x="57" y="109"/>
                  </a:lnTo>
                  <a:lnTo>
                    <a:pt x="55" y="109"/>
                  </a:lnTo>
                  <a:lnTo>
                    <a:pt x="57" y="109"/>
                  </a:lnTo>
                  <a:lnTo>
                    <a:pt x="55" y="109"/>
                  </a:lnTo>
                  <a:lnTo>
                    <a:pt x="57" y="109"/>
                  </a:lnTo>
                  <a:lnTo>
                    <a:pt x="57" y="112"/>
                  </a:lnTo>
                  <a:lnTo>
                    <a:pt x="55" y="112"/>
                  </a:lnTo>
                  <a:lnTo>
                    <a:pt x="55" y="114"/>
                  </a:lnTo>
                  <a:lnTo>
                    <a:pt x="55" y="112"/>
                  </a:lnTo>
                  <a:lnTo>
                    <a:pt x="57" y="112"/>
                  </a:lnTo>
                  <a:lnTo>
                    <a:pt x="60" y="112"/>
                  </a:lnTo>
                  <a:lnTo>
                    <a:pt x="57" y="112"/>
                  </a:lnTo>
                  <a:lnTo>
                    <a:pt x="60" y="112"/>
                  </a:lnTo>
                  <a:lnTo>
                    <a:pt x="57" y="112"/>
                  </a:lnTo>
                  <a:lnTo>
                    <a:pt x="60" y="112"/>
                  </a:lnTo>
                  <a:lnTo>
                    <a:pt x="57" y="114"/>
                  </a:lnTo>
                  <a:lnTo>
                    <a:pt x="60" y="114"/>
                  </a:lnTo>
                  <a:lnTo>
                    <a:pt x="62" y="114"/>
                  </a:lnTo>
                  <a:lnTo>
                    <a:pt x="60" y="116"/>
                  </a:lnTo>
                  <a:lnTo>
                    <a:pt x="62" y="116"/>
                  </a:lnTo>
                  <a:lnTo>
                    <a:pt x="62" y="119"/>
                  </a:lnTo>
                  <a:lnTo>
                    <a:pt x="64" y="119"/>
                  </a:lnTo>
                  <a:lnTo>
                    <a:pt x="64" y="121"/>
                  </a:lnTo>
                  <a:lnTo>
                    <a:pt x="67" y="121"/>
                  </a:lnTo>
                  <a:lnTo>
                    <a:pt x="67" y="123"/>
                  </a:lnTo>
                  <a:lnTo>
                    <a:pt x="69" y="123"/>
                  </a:lnTo>
                  <a:lnTo>
                    <a:pt x="69" y="126"/>
                  </a:lnTo>
                  <a:lnTo>
                    <a:pt x="69" y="123"/>
                  </a:lnTo>
                  <a:lnTo>
                    <a:pt x="69" y="126"/>
                  </a:lnTo>
                  <a:lnTo>
                    <a:pt x="69" y="123"/>
                  </a:lnTo>
                  <a:lnTo>
                    <a:pt x="69" y="126"/>
                  </a:lnTo>
                  <a:lnTo>
                    <a:pt x="71" y="126"/>
                  </a:lnTo>
                  <a:lnTo>
                    <a:pt x="71" y="123"/>
                  </a:lnTo>
                  <a:lnTo>
                    <a:pt x="74" y="123"/>
                  </a:lnTo>
                  <a:lnTo>
                    <a:pt x="74" y="121"/>
                  </a:lnTo>
                  <a:lnTo>
                    <a:pt x="76" y="121"/>
                  </a:lnTo>
                  <a:lnTo>
                    <a:pt x="76" y="119"/>
                  </a:lnTo>
                  <a:lnTo>
                    <a:pt x="79" y="119"/>
                  </a:lnTo>
                  <a:lnTo>
                    <a:pt x="81" y="119"/>
                  </a:lnTo>
                  <a:lnTo>
                    <a:pt x="81" y="116"/>
                  </a:lnTo>
                  <a:lnTo>
                    <a:pt x="81" y="119"/>
                  </a:lnTo>
                  <a:lnTo>
                    <a:pt x="83" y="119"/>
                  </a:lnTo>
                  <a:lnTo>
                    <a:pt x="81" y="119"/>
                  </a:lnTo>
                  <a:lnTo>
                    <a:pt x="81" y="121"/>
                  </a:lnTo>
                  <a:lnTo>
                    <a:pt x="83" y="121"/>
                  </a:lnTo>
                  <a:lnTo>
                    <a:pt x="83" y="119"/>
                  </a:lnTo>
                  <a:lnTo>
                    <a:pt x="83" y="121"/>
                  </a:lnTo>
                  <a:lnTo>
                    <a:pt x="86" y="121"/>
                  </a:lnTo>
                  <a:lnTo>
                    <a:pt x="86" y="123"/>
                  </a:lnTo>
                  <a:lnTo>
                    <a:pt x="86" y="121"/>
                  </a:lnTo>
                  <a:lnTo>
                    <a:pt x="86" y="123"/>
                  </a:lnTo>
                  <a:lnTo>
                    <a:pt x="86" y="121"/>
                  </a:lnTo>
                  <a:lnTo>
                    <a:pt x="88" y="121"/>
                  </a:lnTo>
                  <a:lnTo>
                    <a:pt x="88" y="119"/>
                  </a:lnTo>
                  <a:lnTo>
                    <a:pt x="90" y="119"/>
                  </a:lnTo>
                  <a:lnTo>
                    <a:pt x="90" y="121"/>
                  </a:lnTo>
                  <a:lnTo>
                    <a:pt x="93" y="121"/>
                  </a:lnTo>
                  <a:lnTo>
                    <a:pt x="93" y="123"/>
                  </a:lnTo>
                  <a:lnTo>
                    <a:pt x="90" y="123"/>
                  </a:lnTo>
                  <a:lnTo>
                    <a:pt x="93" y="123"/>
                  </a:lnTo>
                  <a:lnTo>
                    <a:pt x="93" y="121"/>
                  </a:lnTo>
                  <a:lnTo>
                    <a:pt x="93" y="123"/>
                  </a:lnTo>
                  <a:lnTo>
                    <a:pt x="93" y="121"/>
                  </a:lnTo>
                  <a:lnTo>
                    <a:pt x="90" y="121"/>
                  </a:lnTo>
                  <a:lnTo>
                    <a:pt x="93" y="121"/>
                  </a:lnTo>
                  <a:lnTo>
                    <a:pt x="90" y="121"/>
                  </a:lnTo>
                  <a:lnTo>
                    <a:pt x="90" y="119"/>
                  </a:lnTo>
                  <a:lnTo>
                    <a:pt x="93" y="119"/>
                  </a:lnTo>
                  <a:lnTo>
                    <a:pt x="93" y="116"/>
                  </a:lnTo>
                  <a:lnTo>
                    <a:pt x="93" y="119"/>
                  </a:lnTo>
                  <a:lnTo>
                    <a:pt x="93" y="116"/>
                  </a:lnTo>
                  <a:lnTo>
                    <a:pt x="95" y="116"/>
                  </a:lnTo>
                  <a:lnTo>
                    <a:pt x="98" y="116"/>
                  </a:lnTo>
                  <a:lnTo>
                    <a:pt x="98" y="119"/>
                  </a:lnTo>
                  <a:lnTo>
                    <a:pt x="95" y="119"/>
                  </a:lnTo>
                  <a:lnTo>
                    <a:pt x="98" y="121"/>
                  </a:lnTo>
                  <a:lnTo>
                    <a:pt x="100" y="121"/>
                  </a:lnTo>
                  <a:lnTo>
                    <a:pt x="102" y="121"/>
                  </a:lnTo>
                  <a:lnTo>
                    <a:pt x="105" y="121"/>
                  </a:lnTo>
                  <a:lnTo>
                    <a:pt x="105" y="119"/>
                  </a:lnTo>
                  <a:lnTo>
                    <a:pt x="107" y="119"/>
                  </a:lnTo>
                  <a:lnTo>
                    <a:pt x="107" y="121"/>
                  </a:lnTo>
                  <a:lnTo>
                    <a:pt x="107" y="119"/>
                  </a:lnTo>
                  <a:lnTo>
                    <a:pt x="107" y="121"/>
                  </a:lnTo>
                  <a:lnTo>
                    <a:pt x="109" y="121"/>
                  </a:lnTo>
                  <a:lnTo>
                    <a:pt x="109" y="119"/>
                  </a:lnTo>
                  <a:lnTo>
                    <a:pt x="107" y="119"/>
                  </a:lnTo>
                  <a:lnTo>
                    <a:pt x="109" y="119"/>
                  </a:lnTo>
                  <a:lnTo>
                    <a:pt x="112" y="119"/>
                  </a:lnTo>
                  <a:lnTo>
                    <a:pt x="114" y="119"/>
                  </a:lnTo>
                  <a:lnTo>
                    <a:pt x="112" y="119"/>
                  </a:lnTo>
                  <a:lnTo>
                    <a:pt x="109" y="119"/>
                  </a:lnTo>
                  <a:lnTo>
                    <a:pt x="109" y="116"/>
                  </a:lnTo>
                  <a:lnTo>
                    <a:pt x="107" y="116"/>
                  </a:lnTo>
                  <a:lnTo>
                    <a:pt x="107" y="114"/>
                  </a:lnTo>
                  <a:lnTo>
                    <a:pt x="107" y="112"/>
                  </a:lnTo>
                  <a:lnTo>
                    <a:pt x="105" y="112"/>
                  </a:lnTo>
                  <a:lnTo>
                    <a:pt x="105" y="109"/>
                  </a:lnTo>
                  <a:lnTo>
                    <a:pt x="107" y="107"/>
                  </a:lnTo>
                  <a:lnTo>
                    <a:pt x="107" y="104"/>
                  </a:lnTo>
                  <a:lnTo>
                    <a:pt x="107" y="107"/>
                  </a:lnTo>
                  <a:lnTo>
                    <a:pt x="107" y="104"/>
                  </a:lnTo>
                  <a:lnTo>
                    <a:pt x="107" y="102"/>
                  </a:lnTo>
                  <a:lnTo>
                    <a:pt x="107" y="100"/>
                  </a:lnTo>
                  <a:lnTo>
                    <a:pt x="107" y="102"/>
                  </a:lnTo>
                  <a:lnTo>
                    <a:pt x="107" y="100"/>
                  </a:lnTo>
                  <a:lnTo>
                    <a:pt x="107" y="102"/>
                  </a:lnTo>
                  <a:lnTo>
                    <a:pt x="105" y="102"/>
                  </a:lnTo>
                  <a:lnTo>
                    <a:pt x="105" y="100"/>
                  </a:lnTo>
                  <a:lnTo>
                    <a:pt x="105" y="97"/>
                  </a:lnTo>
                  <a:lnTo>
                    <a:pt x="105" y="95"/>
                  </a:lnTo>
                  <a:lnTo>
                    <a:pt x="105" y="93"/>
                  </a:lnTo>
                  <a:lnTo>
                    <a:pt x="105" y="90"/>
                  </a:lnTo>
                  <a:lnTo>
                    <a:pt x="105" y="93"/>
                  </a:lnTo>
                  <a:lnTo>
                    <a:pt x="102" y="90"/>
                  </a:lnTo>
                  <a:lnTo>
                    <a:pt x="102" y="88"/>
                  </a:lnTo>
                  <a:lnTo>
                    <a:pt x="102" y="85"/>
                  </a:lnTo>
                  <a:lnTo>
                    <a:pt x="100" y="85"/>
                  </a:lnTo>
                  <a:lnTo>
                    <a:pt x="100" y="83"/>
                  </a:lnTo>
                  <a:lnTo>
                    <a:pt x="100" y="85"/>
                  </a:lnTo>
                  <a:lnTo>
                    <a:pt x="98" y="83"/>
                  </a:lnTo>
                  <a:lnTo>
                    <a:pt x="98" y="81"/>
                  </a:lnTo>
                  <a:lnTo>
                    <a:pt x="98" y="78"/>
                  </a:lnTo>
                  <a:lnTo>
                    <a:pt x="95" y="78"/>
                  </a:lnTo>
                  <a:lnTo>
                    <a:pt x="95" y="76"/>
                  </a:lnTo>
                  <a:lnTo>
                    <a:pt x="98" y="76"/>
                  </a:lnTo>
                  <a:lnTo>
                    <a:pt x="98" y="73"/>
                  </a:lnTo>
                  <a:lnTo>
                    <a:pt x="98" y="71"/>
                  </a:lnTo>
                  <a:lnTo>
                    <a:pt x="95" y="71"/>
                  </a:lnTo>
                  <a:lnTo>
                    <a:pt x="95" y="69"/>
                  </a:lnTo>
                  <a:lnTo>
                    <a:pt x="95" y="71"/>
                  </a:lnTo>
                  <a:lnTo>
                    <a:pt x="95" y="69"/>
                  </a:lnTo>
                  <a:lnTo>
                    <a:pt x="93" y="69"/>
                  </a:lnTo>
                  <a:lnTo>
                    <a:pt x="95" y="69"/>
                  </a:lnTo>
                  <a:lnTo>
                    <a:pt x="93" y="69"/>
                  </a:lnTo>
                  <a:lnTo>
                    <a:pt x="93" y="66"/>
                  </a:lnTo>
                  <a:lnTo>
                    <a:pt x="95" y="66"/>
                  </a:lnTo>
                  <a:lnTo>
                    <a:pt x="95" y="69"/>
                  </a:lnTo>
                  <a:lnTo>
                    <a:pt x="98" y="66"/>
                  </a:lnTo>
                  <a:lnTo>
                    <a:pt x="98" y="69"/>
                  </a:lnTo>
                  <a:lnTo>
                    <a:pt x="98" y="66"/>
                  </a:lnTo>
                  <a:lnTo>
                    <a:pt x="98" y="69"/>
                  </a:lnTo>
                  <a:lnTo>
                    <a:pt x="100" y="69"/>
                  </a:lnTo>
                  <a:lnTo>
                    <a:pt x="102" y="69"/>
                  </a:lnTo>
                  <a:lnTo>
                    <a:pt x="102" y="71"/>
                  </a:lnTo>
                  <a:lnTo>
                    <a:pt x="105" y="71"/>
                  </a:lnTo>
                  <a:lnTo>
                    <a:pt x="107" y="71"/>
                  </a:lnTo>
                  <a:lnTo>
                    <a:pt x="109" y="69"/>
                  </a:lnTo>
                  <a:lnTo>
                    <a:pt x="112" y="69"/>
                  </a:lnTo>
                  <a:lnTo>
                    <a:pt x="114" y="69"/>
                  </a:lnTo>
                  <a:lnTo>
                    <a:pt x="116" y="69"/>
                  </a:lnTo>
                  <a:lnTo>
                    <a:pt x="116" y="71"/>
                  </a:lnTo>
                  <a:lnTo>
                    <a:pt x="116" y="73"/>
                  </a:lnTo>
                  <a:lnTo>
                    <a:pt x="114" y="73"/>
                  </a:lnTo>
                  <a:lnTo>
                    <a:pt x="114" y="76"/>
                  </a:lnTo>
                  <a:lnTo>
                    <a:pt x="116" y="78"/>
                  </a:lnTo>
                  <a:lnTo>
                    <a:pt x="116" y="81"/>
                  </a:lnTo>
                  <a:lnTo>
                    <a:pt x="119" y="81"/>
                  </a:lnTo>
                  <a:lnTo>
                    <a:pt x="119" y="83"/>
                  </a:lnTo>
                  <a:lnTo>
                    <a:pt x="119" y="85"/>
                  </a:lnTo>
                  <a:lnTo>
                    <a:pt x="121" y="85"/>
                  </a:lnTo>
                  <a:lnTo>
                    <a:pt x="121" y="83"/>
                  </a:lnTo>
                  <a:lnTo>
                    <a:pt x="124" y="83"/>
                  </a:lnTo>
                  <a:lnTo>
                    <a:pt x="126" y="83"/>
                  </a:lnTo>
                  <a:lnTo>
                    <a:pt x="128" y="83"/>
                  </a:lnTo>
                  <a:lnTo>
                    <a:pt x="128" y="85"/>
                  </a:lnTo>
                  <a:lnTo>
                    <a:pt x="131" y="85"/>
                  </a:lnTo>
                  <a:lnTo>
                    <a:pt x="133" y="85"/>
                  </a:lnTo>
                  <a:lnTo>
                    <a:pt x="135" y="85"/>
                  </a:lnTo>
                  <a:lnTo>
                    <a:pt x="138" y="85"/>
                  </a:lnTo>
                  <a:lnTo>
                    <a:pt x="140" y="85"/>
                  </a:lnTo>
                  <a:lnTo>
                    <a:pt x="143" y="85"/>
                  </a:lnTo>
                  <a:lnTo>
                    <a:pt x="145" y="85"/>
                  </a:lnTo>
                  <a:lnTo>
                    <a:pt x="147" y="88"/>
                  </a:lnTo>
                  <a:lnTo>
                    <a:pt x="150" y="88"/>
                  </a:lnTo>
                  <a:lnTo>
                    <a:pt x="150" y="90"/>
                  </a:lnTo>
                  <a:lnTo>
                    <a:pt x="150" y="88"/>
                  </a:lnTo>
                  <a:lnTo>
                    <a:pt x="152" y="88"/>
                  </a:lnTo>
                  <a:lnTo>
                    <a:pt x="154" y="88"/>
                  </a:lnTo>
                  <a:lnTo>
                    <a:pt x="157" y="88"/>
                  </a:lnTo>
                  <a:lnTo>
                    <a:pt x="157" y="85"/>
                  </a:lnTo>
                  <a:lnTo>
                    <a:pt x="159" y="85"/>
                  </a:lnTo>
                  <a:lnTo>
                    <a:pt x="162" y="83"/>
                  </a:lnTo>
                  <a:lnTo>
                    <a:pt x="164" y="83"/>
                  </a:lnTo>
                  <a:lnTo>
                    <a:pt x="164" y="81"/>
                  </a:lnTo>
                  <a:lnTo>
                    <a:pt x="166" y="81"/>
                  </a:lnTo>
                  <a:lnTo>
                    <a:pt x="169" y="81"/>
                  </a:lnTo>
                  <a:lnTo>
                    <a:pt x="171" y="81"/>
                  </a:lnTo>
                  <a:lnTo>
                    <a:pt x="173" y="81"/>
                  </a:lnTo>
                  <a:lnTo>
                    <a:pt x="173" y="78"/>
                  </a:lnTo>
                  <a:lnTo>
                    <a:pt x="176" y="78"/>
                  </a:lnTo>
                  <a:lnTo>
                    <a:pt x="176" y="81"/>
                  </a:lnTo>
                  <a:lnTo>
                    <a:pt x="178" y="81"/>
                  </a:lnTo>
                  <a:lnTo>
                    <a:pt x="181" y="81"/>
                  </a:lnTo>
                  <a:lnTo>
                    <a:pt x="181" y="78"/>
                  </a:lnTo>
                  <a:lnTo>
                    <a:pt x="181" y="76"/>
                  </a:lnTo>
                  <a:lnTo>
                    <a:pt x="183" y="76"/>
                  </a:lnTo>
                  <a:lnTo>
                    <a:pt x="183" y="78"/>
                  </a:lnTo>
                  <a:lnTo>
                    <a:pt x="185" y="78"/>
                  </a:lnTo>
                  <a:lnTo>
                    <a:pt x="185" y="81"/>
                  </a:lnTo>
                  <a:lnTo>
                    <a:pt x="185" y="83"/>
                  </a:lnTo>
                  <a:lnTo>
                    <a:pt x="185" y="81"/>
                  </a:lnTo>
                  <a:lnTo>
                    <a:pt x="185" y="78"/>
                  </a:lnTo>
                  <a:lnTo>
                    <a:pt x="183" y="78"/>
                  </a:lnTo>
                  <a:lnTo>
                    <a:pt x="183" y="76"/>
                  </a:lnTo>
                  <a:lnTo>
                    <a:pt x="181" y="76"/>
                  </a:lnTo>
                  <a:lnTo>
                    <a:pt x="181" y="78"/>
                  </a:lnTo>
                  <a:lnTo>
                    <a:pt x="181" y="81"/>
                  </a:lnTo>
                  <a:lnTo>
                    <a:pt x="178" y="81"/>
                  </a:lnTo>
                  <a:lnTo>
                    <a:pt x="176" y="81"/>
                  </a:lnTo>
                  <a:lnTo>
                    <a:pt x="176" y="78"/>
                  </a:lnTo>
                  <a:lnTo>
                    <a:pt x="173" y="78"/>
                  </a:lnTo>
                  <a:lnTo>
                    <a:pt x="173" y="81"/>
                  </a:lnTo>
                  <a:lnTo>
                    <a:pt x="171" y="81"/>
                  </a:lnTo>
                  <a:lnTo>
                    <a:pt x="169" y="81"/>
                  </a:lnTo>
                  <a:lnTo>
                    <a:pt x="166" y="81"/>
                  </a:lnTo>
                  <a:lnTo>
                    <a:pt x="164" y="81"/>
                  </a:lnTo>
                  <a:lnTo>
                    <a:pt x="162" y="81"/>
                  </a:lnTo>
                  <a:lnTo>
                    <a:pt x="162" y="78"/>
                  </a:lnTo>
                  <a:lnTo>
                    <a:pt x="162" y="81"/>
                  </a:lnTo>
                  <a:lnTo>
                    <a:pt x="164" y="81"/>
                  </a:lnTo>
                  <a:lnTo>
                    <a:pt x="164" y="78"/>
                  </a:lnTo>
                  <a:lnTo>
                    <a:pt x="162" y="78"/>
                  </a:lnTo>
                  <a:lnTo>
                    <a:pt x="159" y="78"/>
                  </a:lnTo>
                  <a:lnTo>
                    <a:pt x="159" y="76"/>
                  </a:lnTo>
                  <a:lnTo>
                    <a:pt x="162" y="73"/>
                  </a:lnTo>
                  <a:lnTo>
                    <a:pt x="162" y="71"/>
                  </a:lnTo>
                  <a:lnTo>
                    <a:pt x="164" y="71"/>
                  </a:lnTo>
                  <a:lnTo>
                    <a:pt x="162" y="71"/>
                  </a:lnTo>
                  <a:lnTo>
                    <a:pt x="164" y="71"/>
                  </a:lnTo>
                  <a:lnTo>
                    <a:pt x="162" y="69"/>
                  </a:lnTo>
                  <a:lnTo>
                    <a:pt x="162" y="71"/>
                  </a:lnTo>
                  <a:lnTo>
                    <a:pt x="162" y="69"/>
                  </a:lnTo>
                  <a:lnTo>
                    <a:pt x="164" y="71"/>
                  </a:lnTo>
                  <a:lnTo>
                    <a:pt x="164" y="69"/>
                  </a:lnTo>
                  <a:lnTo>
                    <a:pt x="164" y="66"/>
                  </a:lnTo>
                  <a:lnTo>
                    <a:pt x="166" y="66"/>
                  </a:lnTo>
                  <a:lnTo>
                    <a:pt x="169" y="66"/>
                  </a:lnTo>
                  <a:lnTo>
                    <a:pt x="171" y="64"/>
                  </a:lnTo>
                  <a:lnTo>
                    <a:pt x="173" y="64"/>
                  </a:lnTo>
                  <a:lnTo>
                    <a:pt x="173" y="62"/>
                  </a:lnTo>
                  <a:lnTo>
                    <a:pt x="176" y="62"/>
                  </a:lnTo>
                  <a:lnTo>
                    <a:pt x="178" y="62"/>
                  </a:lnTo>
                  <a:lnTo>
                    <a:pt x="178" y="59"/>
                  </a:lnTo>
                  <a:lnTo>
                    <a:pt x="181" y="59"/>
                  </a:lnTo>
                  <a:lnTo>
                    <a:pt x="183" y="59"/>
                  </a:lnTo>
                  <a:lnTo>
                    <a:pt x="185" y="59"/>
                  </a:lnTo>
                  <a:lnTo>
                    <a:pt x="188" y="59"/>
                  </a:lnTo>
                  <a:lnTo>
                    <a:pt x="190" y="57"/>
                  </a:lnTo>
                  <a:lnTo>
                    <a:pt x="192" y="57"/>
                  </a:lnTo>
                  <a:lnTo>
                    <a:pt x="195" y="57"/>
                  </a:lnTo>
                  <a:lnTo>
                    <a:pt x="192" y="57"/>
                  </a:lnTo>
                  <a:lnTo>
                    <a:pt x="195" y="57"/>
                  </a:lnTo>
                  <a:lnTo>
                    <a:pt x="197" y="57"/>
                  </a:lnTo>
                  <a:lnTo>
                    <a:pt x="197" y="54"/>
                  </a:lnTo>
                  <a:lnTo>
                    <a:pt x="200" y="54"/>
                  </a:lnTo>
                  <a:lnTo>
                    <a:pt x="200" y="52"/>
                  </a:lnTo>
                  <a:lnTo>
                    <a:pt x="202" y="52"/>
                  </a:lnTo>
                  <a:lnTo>
                    <a:pt x="202" y="50"/>
                  </a:lnTo>
                  <a:lnTo>
                    <a:pt x="204" y="50"/>
                  </a:lnTo>
                  <a:lnTo>
                    <a:pt x="207" y="47"/>
                  </a:lnTo>
                  <a:lnTo>
                    <a:pt x="207" y="45"/>
                  </a:lnTo>
                  <a:lnTo>
                    <a:pt x="209" y="43"/>
                  </a:lnTo>
                  <a:lnTo>
                    <a:pt x="209" y="45"/>
                  </a:lnTo>
                  <a:lnTo>
                    <a:pt x="211" y="45"/>
                  </a:lnTo>
                  <a:lnTo>
                    <a:pt x="214" y="45"/>
                  </a:lnTo>
                  <a:lnTo>
                    <a:pt x="211" y="45"/>
                  </a:lnTo>
                  <a:lnTo>
                    <a:pt x="211" y="43"/>
                  </a:lnTo>
                  <a:lnTo>
                    <a:pt x="211" y="45"/>
                  </a:lnTo>
                  <a:lnTo>
                    <a:pt x="211" y="43"/>
                  </a:lnTo>
                  <a:lnTo>
                    <a:pt x="209" y="43"/>
                  </a:lnTo>
                  <a:lnTo>
                    <a:pt x="209" y="40"/>
                  </a:lnTo>
                  <a:lnTo>
                    <a:pt x="211" y="40"/>
                  </a:lnTo>
                  <a:lnTo>
                    <a:pt x="209" y="40"/>
                  </a:lnTo>
                  <a:lnTo>
                    <a:pt x="209" y="38"/>
                  </a:lnTo>
                  <a:lnTo>
                    <a:pt x="209" y="35"/>
                  </a:lnTo>
                  <a:lnTo>
                    <a:pt x="211" y="35"/>
                  </a:lnTo>
                  <a:lnTo>
                    <a:pt x="209" y="35"/>
                  </a:lnTo>
                  <a:lnTo>
                    <a:pt x="209" y="33"/>
                  </a:lnTo>
                  <a:lnTo>
                    <a:pt x="209" y="31"/>
                  </a:lnTo>
                  <a:lnTo>
                    <a:pt x="209" y="28"/>
                  </a:lnTo>
                  <a:lnTo>
                    <a:pt x="211" y="28"/>
                  </a:lnTo>
                  <a:lnTo>
                    <a:pt x="211" y="26"/>
                  </a:lnTo>
                  <a:lnTo>
                    <a:pt x="209" y="26"/>
                  </a:lnTo>
                  <a:lnTo>
                    <a:pt x="209" y="24"/>
                  </a:lnTo>
                  <a:lnTo>
                    <a:pt x="209" y="21"/>
                  </a:lnTo>
                  <a:lnTo>
                    <a:pt x="209" y="19"/>
                  </a:lnTo>
                  <a:lnTo>
                    <a:pt x="211" y="19"/>
                  </a:lnTo>
                  <a:lnTo>
                    <a:pt x="211" y="16"/>
                  </a:lnTo>
                  <a:lnTo>
                    <a:pt x="211" y="14"/>
                  </a:lnTo>
                  <a:lnTo>
                    <a:pt x="209" y="14"/>
                  </a:lnTo>
                  <a:lnTo>
                    <a:pt x="211" y="14"/>
                  </a:lnTo>
                  <a:lnTo>
                    <a:pt x="209" y="14"/>
                  </a:lnTo>
                  <a:lnTo>
                    <a:pt x="209" y="12"/>
                  </a:lnTo>
                  <a:lnTo>
                    <a:pt x="211" y="12"/>
                  </a:lnTo>
                  <a:lnTo>
                    <a:pt x="214" y="9"/>
                  </a:lnTo>
                  <a:lnTo>
                    <a:pt x="214" y="7"/>
                  </a:lnTo>
                  <a:lnTo>
                    <a:pt x="216" y="7"/>
                  </a:lnTo>
                  <a:lnTo>
                    <a:pt x="219" y="7"/>
                  </a:lnTo>
                  <a:lnTo>
                    <a:pt x="221" y="7"/>
                  </a:lnTo>
                  <a:lnTo>
                    <a:pt x="221" y="5"/>
                  </a:lnTo>
                  <a:lnTo>
                    <a:pt x="223" y="5"/>
                  </a:lnTo>
                  <a:lnTo>
                    <a:pt x="226" y="5"/>
                  </a:lnTo>
                  <a:lnTo>
                    <a:pt x="228" y="5"/>
                  </a:lnTo>
                  <a:lnTo>
                    <a:pt x="226" y="5"/>
                  </a:lnTo>
                  <a:lnTo>
                    <a:pt x="228" y="5"/>
                  </a:lnTo>
                  <a:lnTo>
                    <a:pt x="228" y="2"/>
                  </a:lnTo>
                  <a:lnTo>
                    <a:pt x="228" y="5"/>
                  </a:lnTo>
                  <a:lnTo>
                    <a:pt x="230" y="5"/>
                  </a:lnTo>
                  <a:lnTo>
                    <a:pt x="228" y="5"/>
                  </a:lnTo>
                  <a:lnTo>
                    <a:pt x="230" y="5"/>
                  </a:lnTo>
                  <a:lnTo>
                    <a:pt x="230" y="2"/>
                  </a:lnTo>
                  <a:lnTo>
                    <a:pt x="228" y="2"/>
                  </a:lnTo>
                  <a:lnTo>
                    <a:pt x="230" y="2"/>
                  </a:lnTo>
                  <a:lnTo>
                    <a:pt x="230" y="5"/>
                  </a:lnTo>
                  <a:lnTo>
                    <a:pt x="233" y="2"/>
                  </a:lnTo>
                  <a:lnTo>
                    <a:pt x="233" y="5"/>
                  </a:lnTo>
                  <a:lnTo>
                    <a:pt x="233" y="2"/>
                  </a:lnTo>
                  <a:lnTo>
                    <a:pt x="235" y="2"/>
                  </a:lnTo>
                  <a:lnTo>
                    <a:pt x="238" y="2"/>
                  </a:lnTo>
                  <a:lnTo>
                    <a:pt x="240" y="2"/>
                  </a:lnTo>
                  <a:lnTo>
                    <a:pt x="242" y="0"/>
                  </a:lnTo>
                  <a:lnTo>
                    <a:pt x="242" y="2"/>
                  </a:lnTo>
                  <a:lnTo>
                    <a:pt x="242" y="5"/>
                  </a:lnTo>
                  <a:lnTo>
                    <a:pt x="245" y="5"/>
                  </a:lnTo>
                  <a:lnTo>
                    <a:pt x="245" y="7"/>
                  </a:lnTo>
                  <a:lnTo>
                    <a:pt x="242" y="9"/>
                  </a:lnTo>
                  <a:lnTo>
                    <a:pt x="245" y="9"/>
                  </a:lnTo>
                  <a:lnTo>
                    <a:pt x="245" y="12"/>
                  </a:lnTo>
                  <a:lnTo>
                    <a:pt x="245" y="14"/>
                  </a:lnTo>
                  <a:lnTo>
                    <a:pt x="247" y="14"/>
                  </a:lnTo>
                  <a:lnTo>
                    <a:pt x="247" y="16"/>
                  </a:lnTo>
                  <a:lnTo>
                    <a:pt x="249" y="16"/>
                  </a:lnTo>
                  <a:lnTo>
                    <a:pt x="249" y="19"/>
                  </a:lnTo>
                  <a:lnTo>
                    <a:pt x="252" y="19"/>
                  </a:lnTo>
                  <a:lnTo>
                    <a:pt x="254" y="19"/>
                  </a:lnTo>
                  <a:lnTo>
                    <a:pt x="254" y="16"/>
                  </a:lnTo>
                  <a:lnTo>
                    <a:pt x="256" y="16"/>
                  </a:lnTo>
                  <a:lnTo>
                    <a:pt x="259" y="16"/>
                  </a:lnTo>
                  <a:lnTo>
                    <a:pt x="261" y="16"/>
                  </a:lnTo>
                  <a:lnTo>
                    <a:pt x="261" y="14"/>
                  </a:lnTo>
                  <a:lnTo>
                    <a:pt x="261" y="16"/>
                  </a:lnTo>
                  <a:lnTo>
                    <a:pt x="264" y="16"/>
                  </a:lnTo>
                  <a:lnTo>
                    <a:pt x="264" y="19"/>
                  </a:lnTo>
                  <a:lnTo>
                    <a:pt x="266" y="19"/>
                  </a:lnTo>
                  <a:lnTo>
                    <a:pt x="266" y="21"/>
                  </a:lnTo>
                  <a:lnTo>
                    <a:pt x="264" y="21"/>
                  </a:lnTo>
                  <a:lnTo>
                    <a:pt x="266" y="21"/>
                  </a:lnTo>
                  <a:lnTo>
                    <a:pt x="266" y="24"/>
                  </a:lnTo>
                  <a:lnTo>
                    <a:pt x="266" y="26"/>
                  </a:lnTo>
                  <a:lnTo>
                    <a:pt x="266" y="28"/>
                  </a:lnTo>
                  <a:lnTo>
                    <a:pt x="268" y="28"/>
                  </a:lnTo>
                  <a:lnTo>
                    <a:pt x="271" y="31"/>
                  </a:lnTo>
                  <a:lnTo>
                    <a:pt x="271" y="28"/>
                  </a:lnTo>
                  <a:lnTo>
                    <a:pt x="273" y="28"/>
                  </a:lnTo>
                  <a:lnTo>
                    <a:pt x="273" y="31"/>
                  </a:lnTo>
                  <a:lnTo>
                    <a:pt x="275" y="31"/>
                  </a:lnTo>
                  <a:lnTo>
                    <a:pt x="275" y="28"/>
                  </a:lnTo>
                  <a:lnTo>
                    <a:pt x="275" y="31"/>
                  </a:lnTo>
                  <a:lnTo>
                    <a:pt x="278" y="31"/>
                  </a:lnTo>
                  <a:lnTo>
                    <a:pt x="278" y="33"/>
                  </a:lnTo>
                  <a:lnTo>
                    <a:pt x="278" y="35"/>
                  </a:lnTo>
                  <a:lnTo>
                    <a:pt x="278" y="38"/>
                  </a:lnTo>
                  <a:lnTo>
                    <a:pt x="280" y="38"/>
                  </a:lnTo>
                  <a:lnTo>
                    <a:pt x="283" y="38"/>
                  </a:lnTo>
                  <a:lnTo>
                    <a:pt x="283" y="35"/>
                  </a:lnTo>
                  <a:lnTo>
                    <a:pt x="283" y="38"/>
                  </a:lnTo>
                  <a:lnTo>
                    <a:pt x="285" y="38"/>
                  </a:lnTo>
                  <a:lnTo>
                    <a:pt x="285" y="35"/>
                  </a:lnTo>
                  <a:lnTo>
                    <a:pt x="285" y="38"/>
                  </a:lnTo>
                  <a:lnTo>
                    <a:pt x="287" y="38"/>
                  </a:lnTo>
                  <a:lnTo>
                    <a:pt x="290" y="38"/>
                  </a:lnTo>
                  <a:lnTo>
                    <a:pt x="290" y="35"/>
                  </a:lnTo>
                  <a:lnTo>
                    <a:pt x="290" y="38"/>
                  </a:lnTo>
                  <a:lnTo>
                    <a:pt x="292" y="38"/>
                  </a:lnTo>
                  <a:lnTo>
                    <a:pt x="294" y="38"/>
                  </a:lnTo>
                  <a:lnTo>
                    <a:pt x="294" y="40"/>
                  </a:lnTo>
                  <a:lnTo>
                    <a:pt x="297" y="40"/>
                  </a:lnTo>
                  <a:lnTo>
                    <a:pt x="297" y="43"/>
                  </a:lnTo>
                  <a:lnTo>
                    <a:pt x="294" y="43"/>
                  </a:lnTo>
                  <a:lnTo>
                    <a:pt x="294" y="45"/>
                  </a:lnTo>
                  <a:lnTo>
                    <a:pt x="294" y="47"/>
                  </a:lnTo>
                  <a:lnTo>
                    <a:pt x="297" y="47"/>
                  </a:lnTo>
                  <a:lnTo>
                    <a:pt x="297" y="50"/>
                  </a:lnTo>
                  <a:lnTo>
                    <a:pt x="297" y="52"/>
                  </a:lnTo>
                  <a:lnTo>
                    <a:pt x="294" y="52"/>
                  </a:lnTo>
                  <a:lnTo>
                    <a:pt x="294" y="54"/>
                  </a:lnTo>
                  <a:lnTo>
                    <a:pt x="297" y="54"/>
                  </a:lnTo>
                  <a:lnTo>
                    <a:pt x="297" y="57"/>
                  </a:lnTo>
                  <a:lnTo>
                    <a:pt x="299" y="57"/>
                  </a:lnTo>
                  <a:lnTo>
                    <a:pt x="299" y="54"/>
                  </a:lnTo>
                  <a:lnTo>
                    <a:pt x="302" y="54"/>
                  </a:lnTo>
                  <a:lnTo>
                    <a:pt x="302" y="57"/>
                  </a:lnTo>
                  <a:lnTo>
                    <a:pt x="304" y="57"/>
                  </a:lnTo>
                  <a:lnTo>
                    <a:pt x="306" y="57"/>
                  </a:lnTo>
                  <a:lnTo>
                    <a:pt x="309" y="54"/>
                  </a:lnTo>
                  <a:lnTo>
                    <a:pt x="311" y="54"/>
                  </a:lnTo>
                  <a:lnTo>
                    <a:pt x="313" y="54"/>
                  </a:lnTo>
                  <a:lnTo>
                    <a:pt x="313" y="52"/>
                  </a:lnTo>
                  <a:lnTo>
                    <a:pt x="313" y="50"/>
                  </a:lnTo>
                  <a:lnTo>
                    <a:pt x="313" y="47"/>
                  </a:lnTo>
                  <a:lnTo>
                    <a:pt x="316" y="47"/>
                  </a:lnTo>
                  <a:lnTo>
                    <a:pt x="316" y="45"/>
                  </a:lnTo>
                  <a:lnTo>
                    <a:pt x="318" y="45"/>
                  </a:lnTo>
                  <a:lnTo>
                    <a:pt x="318" y="47"/>
                  </a:lnTo>
                  <a:lnTo>
                    <a:pt x="318" y="50"/>
                  </a:lnTo>
                  <a:lnTo>
                    <a:pt x="316" y="50"/>
                  </a:lnTo>
                  <a:lnTo>
                    <a:pt x="318" y="52"/>
                  </a:lnTo>
                  <a:lnTo>
                    <a:pt x="316" y="54"/>
                  </a:lnTo>
                  <a:lnTo>
                    <a:pt x="316" y="57"/>
                  </a:lnTo>
                  <a:lnTo>
                    <a:pt x="318" y="57"/>
                  </a:lnTo>
                  <a:lnTo>
                    <a:pt x="318" y="59"/>
                  </a:lnTo>
                  <a:lnTo>
                    <a:pt x="318" y="62"/>
                  </a:lnTo>
                  <a:lnTo>
                    <a:pt x="318" y="64"/>
                  </a:lnTo>
                  <a:lnTo>
                    <a:pt x="321" y="64"/>
                  </a:lnTo>
                  <a:lnTo>
                    <a:pt x="323" y="64"/>
                  </a:lnTo>
                  <a:lnTo>
                    <a:pt x="325" y="64"/>
                  </a:lnTo>
                  <a:lnTo>
                    <a:pt x="325" y="66"/>
                  </a:lnTo>
                  <a:lnTo>
                    <a:pt x="325" y="64"/>
                  </a:lnTo>
                  <a:lnTo>
                    <a:pt x="325" y="66"/>
                  </a:lnTo>
                  <a:lnTo>
                    <a:pt x="328" y="66"/>
                  </a:lnTo>
                  <a:lnTo>
                    <a:pt x="328" y="69"/>
                  </a:lnTo>
                  <a:lnTo>
                    <a:pt x="328" y="66"/>
                  </a:lnTo>
                  <a:lnTo>
                    <a:pt x="328" y="69"/>
                  </a:lnTo>
                  <a:lnTo>
                    <a:pt x="330" y="69"/>
                  </a:lnTo>
                  <a:lnTo>
                    <a:pt x="332" y="69"/>
                  </a:lnTo>
                  <a:lnTo>
                    <a:pt x="335" y="71"/>
                  </a:lnTo>
                  <a:lnTo>
                    <a:pt x="332" y="71"/>
                  </a:lnTo>
                  <a:lnTo>
                    <a:pt x="332" y="73"/>
                  </a:lnTo>
                  <a:lnTo>
                    <a:pt x="332" y="71"/>
                  </a:lnTo>
                  <a:lnTo>
                    <a:pt x="335" y="71"/>
                  </a:lnTo>
                  <a:lnTo>
                    <a:pt x="337" y="73"/>
                  </a:lnTo>
                  <a:lnTo>
                    <a:pt x="337" y="76"/>
                  </a:lnTo>
                  <a:lnTo>
                    <a:pt x="337" y="78"/>
                  </a:lnTo>
                  <a:lnTo>
                    <a:pt x="340" y="78"/>
                  </a:lnTo>
                  <a:lnTo>
                    <a:pt x="342" y="76"/>
                  </a:lnTo>
                  <a:lnTo>
                    <a:pt x="342" y="78"/>
                  </a:lnTo>
                  <a:lnTo>
                    <a:pt x="344" y="78"/>
                  </a:lnTo>
                  <a:lnTo>
                    <a:pt x="344" y="76"/>
                  </a:lnTo>
                  <a:lnTo>
                    <a:pt x="347" y="76"/>
                  </a:lnTo>
                  <a:lnTo>
                    <a:pt x="349" y="76"/>
                  </a:lnTo>
                  <a:lnTo>
                    <a:pt x="351" y="76"/>
                  </a:lnTo>
                  <a:lnTo>
                    <a:pt x="351" y="78"/>
                  </a:lnTo>
                  <a:lnTo>
                    <a:pt x="354" y="78"/>
                  </a:lnTo>
                  <a:lnTo>
                    <a:pt x="354" y="81"/>
                  </a:lnTo>
                  <a:lnTo>
                    <a:pt x="356" y="81"/>
                  </a:lnTo>
                  <a:lnTo>
                    <a:pt x="359" y="81"/>
                  </a:lnTo>
                  <a:lnTo>
                    <a:pt x="359" y="78"/>
                  </a:lnTo>
                  <a:lnTo>
                    <a:pt x="361" y="78"/>
                  </a:lnTo>
                  <a:lnTo>
                    <a:pt x="363" y="78"/>
                  </a:lnTo>
                  <a:lnTo>
                    <a:pt x="366" y="78"/>
                  </a:lnTo>
                  <a:lnTo>
                    <a:pt x="366" y="81"/>
                  </a:lnTo>
                  <a:lnTo>
                    <a:pt x="368" y="81"/>
                  </a:lnTo>
                  <a:lnTo>
                    <a:pt x="370" y="81"/>
                  </a:lnTo>
                  <a:lnTo>
                    <a:pt x="370" y="78"/>
                  </a:lnTo>
                  <a:lnTo>
                    <a:pt x="370" y="81"/>
                  </a:lnTo>
                  <a:lnTo>
                    <a:pt x="373" y="81"/>
                  </a:lnTo>
                  <a:lnTo>
                    <a:pt x="373" y="83"/>
                  </a:lnTo>
                  <a:lnTo>
                    <a:pt x="375" y="83"/>
                  </a:lnTo>
                  <a:lnTo>
                    <a:pt x="375" y="85"/>
                  </a:lnTo>
                  <a:lnTo>
                    <a:pt x="373" y="85"/>
                  </a:lnTo>
                  <a:lnTo>
                    <a:pt x="375" y="85"/>
                  </a:lnTo>
                  <a:lnTo>
                    <a:pt x="375" y="88"/>
                  </a:lnTo>
                  <a:lnTo>
                    <a:pt x="377" y="88"/>
                  </a:lnTo>
                  <a:lnTo>
                    <a:pt x="377" y="90"/>
                  </a:lnTo>
                  <a:lnTo>
                    <a:pt x="377" y="93"/>
                  </a:lnTo>
                  <a:lnTo>
                    <a:pt x="380" y="93"/>
                  </a:lnTo>
                  <a:lnTo>
                    <a:pt x="380" y="95"/>
                  </a:lnTo>
                  <a:lnTo>
                    <a:pt x="382" y="95"/>
                  </a:lnTo>
                  <a:lnTo>
                    <a:pt x="385" y="95"/>
                  </a:lnTo>
                  <a:lnTo>
                    <a:pt x="385" y="93"/>
                  </a:lnTo>
                  <a:lnTo>
                    <a:pt x="382" y="93"/>
                  </a:lnTo>
                  <a:lnTo>
                    <a:pt x="385" y="93"/>
                  </a:lnTo>
                  <a:lnTo>
                    <a:pt x="387" y="93"/>
                  </a:lnTo>
                  <a:lnTo>
                    <a:pt x="387" y="90"/>
                  </a:lnTo>
                  <a:lnTo>
                    <a:pt x="389" y="90"/>
                  </a:lnTo>
                  <a:lnTo>
                    <a:pt x="389" y="93"/>
                  </a:lnTo>
                  <a:lnTo>
                    <a:pt x="389" y="95"/>
                  </a:lnTo>
                  <a:lnTo>
                    <a:pt x="389" y="97"/>
                  </a:lnTo>
                  <a:lnTo>
                    <a:pt x="392" y="97"/>
                  </a:lnTo>
                  <a:lnTo>
                    <a:pt x="392" y="95"/>
                  </a:lnTo>
                  <a:lnTo>
                    <a:pt x="394" y="95"/>
                  </a:lnTo>
                  <a:lnTo>
                    <a:pt x="394" y="97"/>
                  </a:lnTo>
                  <a:lnTo>
                    <a:pt x="396" y="95"/>
                  </a:lnTo>
                  <a:lnTo>
                    <a:pt x="399" y="97"/>
                  </a:lnTo>
                  <a:lnTo>
                    <a:pt x="399" y="95"/>
                  </a:lnTo>
                  <a:lnTo>
                    <a:pt x="401" y="95"/>
                  </a:lnTo>
                  <a:lnTo>
                    <a:pt x="401" y="93"/>
                  </a:lnTo>
                  <a:lnTo>
                    <a:pt x="404" y="93"/>
                  </a:lnTo>
                  <a:lnTo>
                    <a:pt x="404" y="95"/>
                  </a:lnTo>
                  <a:lnTo>
                    <a:pt x="406" y="95"/>
                  </a:lnTo>
                  <a:lnTo>
                    <a:pt x="406" y="97"/>
                  </a:lnTo>
                  <a:lnTo>
                    <a:pt x="408" y="97"/>
                  </a:lnTo>
                  <a:lnTo>
                    <a:pt x="411" y="100"/>
                  </a:lnTo>
                  <a:lnTo>
                    <a:pt x="413" y="100"/>
                  </a:lnTo>
                  <a:lnTo>
                    <a:pt x="415" y="100"/>
                  </a:lnTo>
                  <a:lnTo>
                    <a:pt x="418" y="100"/>
                  </a:lnTo>
                  <a:lnTo>
                    <a:pt x="420" y="100"/>
                  </a:lnTo>
                  <a:lnTo>
                    <a:pt x="420" y="102"/>
                  </a:lnTo>
                  <a:lnTo>
                    <a:pt x="423" y="100"/>
                  </a:lnTo>
                  <a:lnTo>
                    <a:pt x="423" y="102"/>
                  </a:lnTo>
                  <a:lnTo>
                    <a:pt x="425" y="102"/>
                  </a:lnTo>
                  <a:lnTo>
                    <a:pt x="427" y="102"/>
                  </a:lnTo>
                  <a:lnTo>
                    <a:pt x="427" y="104"/>
                  </a:lnTo>
                  <a:lnTo>
                    <a:pt x="430" y="104"/>
                  </a:lnTo>
                  <a:lnTo>
                    <a:pt x="427" y="104"/>
                  </a:lnTo>
                  <a:lnTo>
                    <a:pt x="427" y="107"/>
                  </a:lnTo>
                  <a:lnTo>
                    <a:pt x="425" y="109"/>
                  </a:lnTo>
                  <a:lnTo>
                    <a:pt x="425" y="112"/>
                  </a:lnTo>
                  <a:lnTo>
                    <a:pt x="423" y="112"/>
                  </a:lnTo>
                  <a:lnTo>
                    <a:pt x="423" y="114"/>
                  </a:lnTo>
                  <a:lnTo>
                    <a:pt x="420" y="114"/>
                  </a:lnTo>
                  <a:lnTo>
                    <a:pt x="420" y="116"/>
                  </a:lnTo>
                  <a:lnTo>
                    <a:pt x="418" y="116"/>
                  </a:lnTo>
                  <a:lnTo>
                    <a:pt x="418" y="119"/>
                  </a:lnTo>
                  <a:lnTo>
                    <a:pt x="415" y="119"/>
                  </a:lnTo>
                  <a:lnTo>
                    <a:pt x="415" y="121"/>
                  </a:lnTo>
                  <a:lnTo>
                    <a:pt x="415" y="123"/>
                  </a:lnTo>
                  <a:lnTo>
                    <a:pt x="415" y="126"/>
                  </a:lnTo>
                  <a:lnTo>
                    <a:pt x="413" y="126"/>
                  </a:lnTo>
                  <a:lnTo>
                    <a:pt x="413" y="128"/>
                  </a:lnTo>
                  <a:lnTo>
                    <a:pt x="413" y="131"/>
                  </a:lnTo>
                  <a:lnTo>
                    <a:pt x="413" y="133"/>
                  </a:lnTo>
                  <a:lnTo>
                    <a:pt x="413" y="135"/>
                  </a:lnTo>
                  <a:lnTo>
                    <a:pt x="411" y="135"/>
                  </a:lnTo>
                  <a:lnTo>
                    <a:pt x="411" y="138"/>
                  </a:lnTo>
                  <a:lnTo>
                    <a:pt x="411" y="140"/>
                  </a:lnTo>
                  <a:lnTo>
                    <a:pt x="408" y="140"/>
                  </a:lnTo>
                  <a:lnTo>
                    <a:pt x="408" y="142"/>
                  </a:lnTo>
                  <a:lnTo>
                    <a:pt x="408" y="145"/>
                  </a:lnTo>
                  <a:lnTo>
                    <a:pt x="408" y="147"/>
                  </a:lnTo>
                  <a:lnTo>
                    <a:pt x="408" y="150"/>
                  </a:lnTo>
                  <a:lnTo>
                    <a:pt x="408" y="152"/>
                  </a:lnTo>
                  <a:lnTo>
                    <a:pt x="408" y="154"/>
                  </a:lnTo>
                  <a:lnTo>
                    <a:pt x="408" y="157"/>
                  </a:lnTo>
                  <a:lnTo>
                    <a:pt x="406" y="157"/>
                  </a:lnTo>
                  <a:lnTo>
                    <a:pt x="408" y="157"/>
                  </a:lnTo>
                  <a:lnTo>
                    <a:pt x="406" y="159"/>
                  </a:lnTo>
                  <a:lnTo>
                    <a:pt x="406" y="161"/>
                  </a:lnTo>
                  <a:lnTo>
                    <a:pt x="406" y="164"/>
                  </a:lnTo>
                  <a:lnTo>
                    <a:pt x="406" y="166"/>
                  </a:lnTo>
                  <a:lnTo>
                    <a:pt x="408" y="169"/>
                  </a:lnTo>
                  <a:lnTo>
                    <a:pt x="408" y="171"/>
                  </a:lnTo>
                  <a:lnTo>
                    <a:pt x="406" y="171"/>
                  </a:lnTo>
                  <a:lnTo>
                    <a:pt x="406" y="173"/>
                  </a:lnTo>
                  <a:lnTo>
                    <a:pt x="406" y="176"/>
                  </a:lnTo>
                  <a:lnTo>
                    <a:pt x="404" y="176"/>
                  </a:lnTo>
                  <a:lnTo>
                    <a:pt x="404" y="173"/>
                  </a:lnTo>
                  <a:lnTo>
                    <a:pt x="404" y="176"/>
                  </a:lnTo>
                  <a:lnTo>
                    <a:pt x="401" y="176"/>
                  </a:lnTo>
                  <a:lnTo>
                    <a:pt x="401" y="178"/>
                  </a:lnTo>
                  <a:lnTo>
                    <a:pt x="399" y="176"/>
                  </a:lnTo>
                  <a:lnTo>
                    <a:pt x="399" y="178"/>
                  </a:lnTo>
                  <a:lnTo>
                    <a:pt x="396" y="178"/>
                  </a:lnTo>
                  <a:lnTo>
                    <a:pt x="396" y="176"/>
                  </a:lnTo>
                  <a:lnTo>
                    <a:pt x="396" y="178"/>
                  </a:lnTo>
                  <a:lnTo>
                    <a:pt x="394" y="176"/>
                  </a:lnTo>
                  <a:lnTo>
                    <a:pt x="396" y="173"/>
                  </a:lnTo>
                  <a:lnTo>
                    <a:pt x="394" y="173"/>
                  </a:lnTo>
                  <a:lnTo>
                    <a:pt x="392" y="173"/>
                  </a:lnTo>
                  <a:lnTo>
                    <a:pt x="389" y="173"/>
                  </a:lnTo>
                  <a:lnTo>
                    <a:pt x="389" y="176"/>
                  </a:lnTo>
                  <a:lnTo>
                    <a:pt x="387" y="176"/>
                  </a:lnTo>
                  <a:lnTo>
                    <a:pt x="387" y="178"/>
                  </a:lnTo>
                  <a:lnTo>
                    <a:pt x="385" y="178"/>
                  </a:lnTo>
                  <a:lnTo>
                    <a:pt x="385" y="180"/>
                  </a:lnTo>
                  <a:lnTo>
                    <a:pt x="387" y="180"/>
                  </a:lnTo>
                  <a:lnTo>
                    <a:pt x="389" y="180"/>
                  </a:lnTo>
                  <a:lnTo>
                    <a:pt x="392" y="180"/>
                  </a:lnTo>
                  <a:lnTo>
                    <a:pt x="389" y="180"/>
                  </a:lnTo>
                  <a:lnTo>
                    <a:pt x="389" y="183"/>
                  </a:lnTo>
                  <a:lnTo>
                    <a:pt x="387" y="183"/>
                  </a:lnTo>
                  <a:lnTo>
                    <a:pt x="387" y="185"/>
                  </a:lnTo>
                  <a:lnTo>
                    <a:pt x="387" y="188"/>
                  </a:lnTo>
                  <a:lnTo>
                    <a:pt x="385" y="188"/>
                  </a:lnTo>
                  <a:lnTo>
                    <a:pt x="385" y="190"/>
                  </a:lnTo>
                  <a:lnTo>
                    <a:pt x="382" y="190"/>
                  </a:lnTo>
                  <a:lnTo>
                    <a:pt x="382" y="192"/>
                  </a:lnTo>
                  <a:lnTo>
                    <a:pt x="380" y="192"/>
                  </a:lnTo>
                  <a:lnTo>
                    <a:pt x="380" y="195"/>
                  </a:lnTo>
                  <a:lnTo>
                    <a:pt x="377" y="195"/>
                  </a:lnTo>
                  <a:lnTo>
                    <a:pt x="380" y="195"/>
                  </a:lnTo>
                  <a:lnTo>
                    <a:pt x="377" y="197"/>
                  </a:lnTo>
                  <a:lnTo>
                    <a:pt x="375" y="197"/>
                  </a:lnTo>
                  <a:lnTo>
                    <a:pt x="375" y="199"/>
                  </a:lnTo>
                  <a:lnTo>
                    <a:pt x="373" y="199"/>
                  </a:lnTo>
                  <a:lnTo>
                    <a:pt x="370" y="199"/>
                  </a:lnTo>
                  <a:lnTo>
                    <a:pt x="370" y="202"/>
                  </a:lnTo>
                  <a:lnTo>
                    <a:pt x="370" y="204"/>
                  </a:lnTo>
                  <a:lnTo>
                    <a:pt x="370" y="207"/>
                  </a:lnTo>
                  <a:lnTo>
                    <a:pt x="370" y="209"/>
                  </a:lnTo>
                  <a:lnTo>
                    <a:pt x="368" y="209"/>
                  </a:lnTo>
                  <a:lnTo>
                    <a:pt x="368" y="211"/>
                  </a:lnTo>
                  <a:lnTo>
                    <a:pt x="366" y="211"/>
                  </a:lnTo>
                  <a:lnTo>
                    <a:pt x="366" y="214"/>
                  </a:lnTo>
                  <a:lnTo>
                    <a:pt x="363" y="214"/>
                  </a:lnTo>
                  <a:lnTo>
                    <a:pt x="363" y="216"/>
                  </a:lnTo>
                  <a:lnTo>
                    <a:pt x="361" y="216"/>
                  </a:lnTo>
                  <a:lnTo>
                    <a:pt x="359" y="218"/>
                  </a:lnTo>
                  <a:lnTo>
                    <a:pt x="361" y="218"/>
                  </a:lnTo>
                  <a:lnTo>
                    <a:pt x="361" y="221"/>
                  </a:lnTo>
                  <a:lnTo>
                    <a:pt x="359" y="221"/>
                  </a:lnTo>
                  <a:lnTo>
                    <a:pt x="359" y="223"/>
                  </a:lnTo>
                  <a:lnTo>
                    <a:pt x="359" y="226"/>
                  </a:lnTo>
                  <a:lnTo>
                    <a:pt x="361" y="226"/>
                  </a:lnTo>
                  <a:lnTo>
                    <a:pt x="361" y="228"/>
                  </a:lnTo>
                  <a:lnTo>
                    <a:pt x="361" y="230"/>
                  </a:lnTo>
                  <a:lnTo>
                    <a:pt x="359" y="233"/>
                  </a:lnTo>
                  <a:lnTo>
                    <a:pt x="361" y="233"/>
                  </a:lnTo>
                  <a:lnTo>
                    <a:pt x="359" y="233"/>
                  </a:lnTo>
                  <a:lnTo>
                    <a:pt x="356" y="235"/>
                  </a:lnTo>
                  <a:lnTo>
                    <a:pt x="356" y="233"/>
                  </a:lnTo>
                  <a:lnTo>
                    <a:pt x="356" y="235"/>
                  </a:lnTo>
                  <a:lnTo>
                    <a:pt x="354" y="235"/>
                  </a:lnTo>
                  <a:lnTo>
                    <a:pt x="356" y="235"/>
                  </a:lnTo>
                  <a:lnTo>
                    <a:pt x="356" y="237"/>
                  </a:lnTo>
                  <a:lnTo>
                    <a:pt x="354" y="237"/>
                  </a:lnTo>
                  <a:lnTo>
                    <a:pt x="354" y="240"/>
                  </a:lnTo>
                  <a:lnTo>
                    <a:pt x="354" y="237"/>
                  </a:lnTo>
                  <a:lnTo>
                    <a:pt x="356" y="237"/>
                  </a:lnTo>
                  <a:lnTo>
                    <a:pt x="359" y="237"/>
                  </a:lnTo>
                  <a:lnTo>
                    <a:pt x="361" y="237"/>
                  </a:lnTo>
                  <a:lnTo>
                    <a:pt x="361" y="235"/>
                  </a:lnTo>
                  <a:lnTo>
                    <a:pt x="363" y="235"/>
                  </a:lnTo>
                  <a:lnTo>
                    <a:pt x="366" y="235"/>
                  </a:lnTo>
                  <a:lnTo>
                    <a:pt x="366" y="233"/>
                  </a:lnTo>
                  <a:lnTo>
                    <a:pt x="363" y="233"/>
                  </a:lnTo>
                  <a:lnTo>
                    <a:pt x="363" y="230"/>
                  </a:lnTo>
                  <a:lnTo>
                    <a:pt x="363" y="228"/>
                  </a:lnTo>
                  <a:lnTo>
                    <a:pt x="366" y="226"/>
                  </a:lnTo>
                  <a:lnTo>
                    <a:pt x="368" y="226"/>
                  </a:lnTo>
                  <a:lnTo>
                    <a:pt x="370" y="226"/>
                  </a:lnTo>
                  <a:lnTo>
                    <a:pt x="373" y="223"/>
                  </a:lnTo>
                  <a:lnTo>
                    <a:pt x="377" y="223"/>
                  </a:lnTo>
                  <a:lnTo>
                    <a:pt x="382" y="226"/>
                  </a:lnTo>
                  <a:lnTo>
                    <a:pt x="382" y="228"/>
                  </a:lnTo>
                  <a:lnTo>
                    <a:pt x="382" y="230"/>
                  </a:lnTo>
                  <a:lnTo>
                    <a:pt x="385" y="230"/>
                  </a:lnTo>
                  <a:lnTo>
                    <a:pt x="385" y="233"/>
                  </a:lnTo>
                  <a:lnTo>
                    <a:pt x="382" y="233"/>
                  </a:lnTo>
                  <a:lnTo>
                    <a:pt x="382" y="235"/>
                  </a:lnTo>
                  <a:lnTo>
                    <a:pt x="382" y="237"/>
                  </a:lnTo>
                  <a:lnTo>
                    <a:pt x="385" y="240"/>
                  </a:lnTo>
                  <a:lnTo>
                    <a:pt x="385" y="242"/>
                  </a:lnTo>
                  <a:lnTo>
                    <a:pt x="387" y="242"/>
                  </a:lnTo>
                  <a:lnTo>
                    <a:pt x="387" y="245"/>
                  </a:lnTo>
                  <a:lnTo>
                    <a:pt x="389" y="245"/>
                  </a:lnTo>
                  <a:lnTo>
                    <a:pt x="389" y="247"/>
                  </a:lnTo>
                  <a:lnTo>
                    <a:pt x="389" y="249"/>
                  </a:lnTo>
                  <a:lnTo>
                    <a:pt x="389" y="252"/>
                  </a:lnTo>
                  <a:lnTo>
                    <a:pt x="387" y="252"/>
                  </a:lnTo>
                  <a:lnTo>
                    <a:pt x="385" y="252"/>
                  </a:lnTo>
                  <a:lnTo>
                    <a:pt x="382" y="252"/>
                  </a:lnTo>
                  <a:lnTo>
                    <a:pt x="382" y="254"/>
                  </a:lnTo>
                  <a:lnTo>
                    <a:pt x="382" y="256"/>
                  </a:lnTo>
                  <a:lnTo>
                    <a:pt x="382" y="259"/>
                  </a:lnTo>
                  <a:lnTo>
                    <a:pt x="385" y="259"/>
                  </a:lnTo>
                  <a:lnTo>
                    <a:pt x="385" y="261"/>
                  </a:lnTo>
                  <a:lnTo>
                    <a:pt x="387" y="261"/>
                  </a:lnTo>
                  <a:lnTo>
                    <a:pt x="389" y="261"/>
                  </a:lnTo>
                  <a:lnTo>
                    <a:pt x="389" y="264"/>
                  </a:lnTo>
                  <a:lnTo>
                    <a:pt x="387" y="264"/>
                  </a:lnTo>
                  <a:lnTo>
                    <a:pt x="389" y="266"/>
                  </a:lnTo>
                  <a:lnTo>
                    <a:pt x="389" y="268"/>
                  </a:lnTo>
                  <a:lnTo>
                    <a:pt x="392" y="268"/>
                  </a:lnTo>
                  <a:lnTo>
                    <a:pt x="389" y="268"/>
                  </a:lnTo>
                  <a:lnTo>
                    <a:pt x="389" y="271"/>
                  </a:lnTo>
                  <a:lnTo>
                    <a:pt x="392" y="271"/>
                  </a:lnTo>
                  <a:lnTo>
                    <a:pt x="394" y="271"/>
                  </a:lnTo>
                  <a:lnTo>
                    <a:pt x="394" y="273"/>
                  </a:lnTo>
                  <a:lnTo>
                    <a:pt x="394" y="275"/>
                  </a:lnTo>
                  <a:lnTo>
                    <a:pt x="392" y="275"/>
                  </a:lnTo>
                  <a:lnTo>
                    <a:pt x="392" y="278"/>
                  </a:lnTo>
                  <a:lnTo>
                    <a:pt x="394" y="278"/>
                  </a:lnTo>
                  <a:lnTo>
                    <a:pt x="394" y="280"/>
                  </a:lnTo>
                  <a:lnTo>
                    <a:pt x="392" y="280"/>
                  </a:lnTo>
                  <a:lnTo>
                    <a:pt x="392" y="283"/>
                  </a:lnTo>
                  <a:lnTo>
                    <a:pt x="389" y="280"/>
                  </a:lnTo>
                  <a:lnTo>
                    <a:pt x="389" y="283"/>
                  </a:lnTo>
                  <a:lnTo>
                    <a:pt x="387" y="283"/>
                  </a:lnTo>
                  <a:lnTo>
                    <a:pt x="385" y="285"/>
                  </a:lnTo>
                  <a:lnTo>
                    <a:pt x="382" y="285"/>
                  </a:lnTo>
                  <a:lnTo>
                    <a:pt x="380" y="285"/>
                  </a:lnTo>
                  <a:lnTo>
                    <a:pt x="377" y="285"/>
                  </a:lnTo>
                  <a:lnTo>
                    <a:pt x="377" y="287"/>
                  </a:lnTo>
                  <a:lnTo>
                    <a:pt x="377" y="290"/>
                  </a:lnTo>
                  <a:lnTo>
                    <a:pt x="380" y="290"/>
                  </a:lnTo>
                  <a:lnTo>
                    <a:pt x="380" y="292"/>
                  </a:lnTo>
                  <a:lnTo>
                    <a:pt x="380" y="294"/>
                  </a:lnTo>
                  <a:lnTo>
                    <a:pt x="380" y="297"/>
                  </a:lnTo>
                  <a:lnTo>
                    <a:pt x="382" y="297"/>
                  </a:lnTo>
                  <a:lnTo>
                    <a:pt x="382" y="299"/>
                  </a:lnTo>
                  <a:lnTo>
                    <a:pt x="385" y="299"/>
                  </a:lnTo>
                  <a:lnTo>
                    <a:pt x="387" y="299"/>
                  </a:lnTo>
                  <a:lnTo>
                    <a:pt x="389" y="299"/>
                  </a:lnTo>
                  <a:lnTo>
                    <a:pt x="389" y="302"/>
                  </a:lnTo>
                  <a:lnTo>
                    <a:pt x="389" y="304"/>
                  </a:lnTo>
                  <a:lnTo>
                    <a:pt x="392" y="304"/>
                  </a:lnTo>
                  <a:lnTo>
                    <a:pt x="392" y="306"/>
                  </a:lnTo>
                  <a:lnTo>
                    <a:pt x="389" y="306"/>
                  </a:lnTo>
                  <a:lnTo>
                    <a:pt x="387" y="306"/>
                  </a:lnTo>
                  <a:lnTo>
                    <a:pt x="387" y="309"/>
                  </a:lnTo>
                  <a:lnTo>
                    <a:pt x="387" y="311"/>
                  </a:lnTo>
                  <a:lnTo>
                    <a:pt x="385" y="311"/>
                  </a:lnTo>
                  <a:lnTo>
                    <a:pt x="387" y="311"/>
                  </a:lnTo>
                  <a:lnTo>
                    <a:pt x="385" y="313"/>
                  </a:lnTo>
                  <a:lnTo>
                    <a:pt x="385" y="316"/>
                  </a:lnTo>
                  <a:lnTo>
                    <a:pt x="387" y="318"/>
                  </a:lnTo>
                  <a:lnTo>
                    <a:pt x="385" y="318"/>
                  </a:lnTo>
                  <a:lnTo>
                    <a:pt x="385" y="321"/>
                  </a:lnTo>
                  <a:lnTo>
                    <a:pt x="387" y="323"/>
                  </a:lnTo>
                  <a:lnTo>
                    <a:pt x="387" y="325"/>
                  </a:lnTo>
                  <a:lnTo>
                    <a:pt x="389" y="325"/>
                  </a:lnTo>
                  <a:lnTo>
                    <a:pt x="389" y="328"/>
                  </a:lnTo>
                  <a:lnTo>
                    <a:pt x="392" y="328"/>
                  </a:lnTo>
                  <a:lnTo>
                    <a:pt x="394" y="330"/>
                  </a:lnTo>
                  <a:lnTo>
                    <a:pt x="394" y="328"/>
                  </a:lnTo>
                  <a:lnTo>
                    <a:pt x="394" y="330"/>
                  </a:lnTo>
                  <a:lnTo>
                    <a:pt x="396" y="330"/>
                  </a:lnTo>
                  <a:lnTo>
                    <a:pt x="396" y="332"/>
                  </a:lnTo>
                  <a:lnTo>
                    <a:pt x="399" y="332"/>
                  </a:lnTo>
                  <a:lnTo>
                    <a:pt x="401" y="332"/>
                  </a:lnTo>
                  <a:lnTo>
                    <a:pt x="404" y="332"/>
                  </a:lnTo>
                  <a:lnTo>
                    <a:pt x="406" y="332"/>
                  </a:lnTo>
                  <a:lnTo>
                    <a:pt x="408" y="330"/>
                  </a:lnTo>
                  <a:lnTo>
                    <a:pt x="408" y="332"/>
                  </a:lnTo>
                  <a:lnTo>
                    <a:pt x="408" y="330"/>
                  </a:lnTo>
                  <a:lnTo>
                    <a:pt x="411" y="330"/>
                  </a:lnTo>
                  <a:lnTo>
                    <a:pt x="411" y="332"/>
                  </a:lnTo>
                  <a:lnTo>
                    <a:pt x="411" y="335"/>
                  </a:lnTo>
                  <a:lnTo>
                    <a:pt x="413" y="335"/>
                  </a:lnTo>
                  <a:lnTo>
                    <a:pt x="411" y="337"/>
                  </a:lnTo>
                  <a:lnTo>
                    <a:pt x="411" y="340"/>
                  </a:lnTo>
                  <a:lnTo>
                    <a:pt x="408" y="340"/>
                  </a:lnTo>
                  <a:lnTo>
                    <a:pt x="408" y="342"/>
                  </a:lnTo>
                  <a:lnTo>
                    <a:pt x="406" y="342"/>
                  </a:lnTo>
                  <a:lnTo>
                    <a:pt x="408" y="342"/>
                  </a:lnTo>
                  <a:lnTo>
                    <a:pt x="406" y="344"/>
                  </a:lnTo>
                  <a:lnTo>
                    <a:pt x="406" y="347"/>
                  </a:lnTo>
                  <a:lnTo>
                    <a:pt x="406" y="349"/>
                  </a:lnTo>
                  <a:lnTo>
                    <a:pt x="404" y="349"/>
                  </a:lnTo>
                  <a:lnTo>
                    <a:pt x="406" y="349"/>
                  </a:lnTo>
                  <a:lnTo>
                    <a:pt x="404" y="349"/>
                  </a:lnTo>
                  <a:lnTo>
                    <a:pt x="401" y="351"/>
                  </a:lnTo>
                  <a:lnTo>
                    <a:pt x="404" y="351"/>
                  </a:lnTo>
                  <a:lnTo>
                    <a:pt x="401" y="351"/>
                  </a:lnTo>
                  <a:lnTo>
                    <a:pt x="399" y="351"/>
                  </a:lnTo>
                  <a:lnTo>
                    <a:pt x="399" y="354"/>
                  </a:lnTo>
                  <a:lnTo>
                    <a:pt x="401" y="354"/>
                  </a:lnTo>
                  <a:lnTo>
                    <a:pt x="399" y="354"/>
                  </a:lnTo>
                  <a:lnTo>
                    <a:pt x="399" y="351"/>
                  </a:lnTo>
                  <a:lnTo>
                    <a:pt x="399" y="354"/>
                  </a:lnTo>
                  <a:lnTo>
                    <a:pt x="399" y="351"/>
                  </a:lnTo>
                  <a:lnTo>
                    <a:pt x="396" y="351"/>
                  </a:lnTo>
                  <a:lnTo>
                    <a:pt x="396" y="354"/>
                  </a:lnTo>
                  <a:lnTo>
                    <a:pt x="394" y="354"/>
                  </a:lnTo>
                  <a:lnTo>
                    <a:pt x="396" y="354"/>
                  </a:lnTo>
                  <a:lnTo>
                    <a:pt x="394" y="354"/>
                  </a:lnTo>
                  <a:lnTo>
                    <a:pt x="394" y="356"/>
                  </a:lnTo>
                  <a:lnTo>
                    <a:pt x="392" y="356"/>
                  </a:lnTo>
                  <a:lnTo>
                    <a:pt x="394" y="356"/>
                  </a:lnTo>
                  <a:lnTo>
                    <a:pt x="392" y="356"/>
                  </a:lnTo>
                  <a:lnTo>
                    <a:pt x="392" y="359"/>
                  </a:lnTo>
                  <a:lnTo>
                    <a:pt x="394" y="359"/>
                  </a:lnTo>
                  <a:lnTo>
                    <a:pt x="394" y="356"/>
                  </a:lnTo>
                  <a:lnTo>
                    <a:pt x="392" y="359"/>
                  </a:lnTo>
                  <a:lnTo>
                    <a:pt x="394" y="359"/>
                  </a:lnTo>
                  <a:lnTo>
                    <a:pt x="392" y="359"/>
                  </a:lnTo>
                  <a:lnTo>
                    <a:pt x="389" y="359"/>
                  </a:lnTo>
                  <a:lnTo>
                    <a:pt x="389" y="361"/>
                  </a:lnTo>
                  <a:lnTo>
                    <a:pt x="389" y="359"/>
                  </a:lnTo>
                  <a:lnTo>
                    <a:pt x="387" y="359"/>
                  </a:lnTo>
                  <a:lnTo>
                    <a:pt x="387" y="361"/>
                  </a:lnTo>
                  <a:lnTo>
                    <a:pt x="387" y="363"/>
                  </a:lnTo>
                  <a:lnTo>
                    <a:pt x="387" y="361"/>
                  </a:lnTo>
                  <a:lnTo>
                    <a:pt x="387" y="363"/>
                  </a:lnTo>
                  <a:lnTo>
                    <a:pt x="385" y="363"/>
                  </a:lnTo>
                  <a:lnTo>
                    <a:pt x="385" y="366"/>
                  </a:lnTo>
                  <a:lnTo>
                    <a:pt x="385" y="363"/>
                  </a:lnTo>
                  <a:lnTo>
                    <a:pt x="385" y="366"/>
                  </a:lnTo>
                  <a:lnTo>
                    <a:pt x="382" y="366"/>
                  </a:lnTo>
                  <a:lnTo>
                    <a:pt x="380" y="366"/>
                  </a:lnTo>
                  <a:lnTo>
                    <a:pt x="380" y="368"/>
                  </a:lnTo>
                  <a:lnTo>
                    <a:pt x="380" y="366"/>
                  </a:lnTo>
                  <a:lnTo>
                    <a:pt x="380" y="368"/>
                  </a:lnTo>
                  <a:lnTo>
                    <a:pt x="377" y="368"/>
                  </a:lnTo>
                  <a:lnTo>
                    <a:pt x="377" y="370"/>
                  </a:lnTo>
                  <a:lnTo>
                    <a:pt x="375" y="370"/>
                  </a:lnTo>
                  <a:lnTo>
                    <a:pt x="375" y="373"/>
                  </a:lnTo>
                  <a:lnTo>
                    <a:pt x="377" y="373"/>
                  </a:lnTo>
                  <a:lnTo>
                    <a:pt x="377" y="370"/>
                  </a:lnTo>
                  <a:lnTo>
                    <a:pt x="377" y="373"/>
                  </a:lnTo>
                  <a:lnTo>
                    <a:pt x="380" y="373"/>
                  </a:lnTo>
                  <a:lnTo>
                    <a:pt x="377" y="373"/>
                  </a:lnTo>
                  <a:lnTo>
                    <a:pt x="377" y="375"/>
                  </a:lnTo>
                  <a:lnTo>
                    <a:pt x="377" y="378"/>
                  </a:lnTo>
                  <a:lnTo>
                    <a:pt x="375" y="378"/>
                  </a:lnTo>
                  <a:lnTo>
                    <a:pt x="375" y="375"/>
                  </a:lnTo>
                  <a:lnTo>
                    <a:pt x="373" y="375"/>
                  </a:lnTo>
                  <a:lnTo>
                    <a:pt x="373" y="378"/>
                  </a:lnTo>
                  <a:lnTo>
                    <a:pt x="370" y="378"/>
                  </a:lnTo>
                  <a:lnTo>
                    <a:pt x="368" y="378"/>
                  </a:lnTo>
                  <a:lnTo>
                    <a:pt x="368" y="380"/>
                  </a:lnTo>
                  <a:lnTo>
                    <a:pt x="366" y="380"/>
                  </a:lnTo>
                  <a:lnTo>
                    <a:pt x="363" y="380"/>
                  </a:lnTo>
                  <a:lnTo>
                    <a:pt x="361" y="380"/>
                  </a:lnTo>
                  <a:lnTo>
                    <a:pt x="361" y="382"/>
                  </a:lnTo>
                  <a:lnTo>
                    <a:pt x="359" y="382"/>
                  </a:lnTo>
                  <a:lnTo>
                    <a:pt x="361" y="382"/>
                  </a:lnTo>
                  <a:lnTo>
                    <a:pt x="361" y="380"/>
                  </a:lnTo>
                  <a:lnTo>
                    <a:pt x="359" y="380"/>
                  </a:lnTo>
                  <a:lnTo>
                    <a:pt x="356" y="380"/>
                  </a:lnTo>
                  <a:lnTo>
                    <a:pt x="354" y="380"/>
                  </a:lnTo>
                  <a:lnTo>
                    <a:pt x="351" y="380"/>
                  </a:lnTo>
                  <a:lnTo>
                    <a:pt x="354" y="380"/>
                  </a:lnTo>
                  <a:lnTo>
                    <a:pt x="351" y="380"/>
                  </a:lnTo>
                  <a:lnTo>
                    <a:pt x="354" y="380"/>
                  </a:lnTo>
                  <a:lnTo>
                    <a:pt x="354" y="382"/>
                  </a:lnTo>
                  <a:lnTo>
                    <a:pt x="354" y="380"/>
                  </a:lnTo>
                  <a:lnTo>
                    <a:pt x="351" y="380"/>
                  </a:lnTo>
                  <a:lnTo>
                    <a:pt x="351" y="382"/>
                  </a:lnTo>
                  <a:lnTo>
                    <a:pt x="349" y="382"/>
                  </a:lnTo>
                  <a:lnTo>
                    <a:pt x="349" y="380"/>
                  </a:lnTo>
                  <a:lnTo>
                    <a:pt x="349" y="378"/>
                  </a:lnTo>
                  <a:lnTo>
                    <a:pt x="347" y="378"/>
                  </a:lnTo>
                  <a:lnTo>
                    <a:pt x="344" y="378"/>
                  </a:lnTo>
                  <a:lnTo>
                    <a:pt x="347" y="378"/>
                  </a:lnTo>
                  <a:lnTo>
                    <a:pt x="344" y="375"/>
                  </a:lnTo>
                  <a:lnTo>
                    <a:pt x="342" y="375"/>
                  </a:lnTo>
                  <a:lnTo>
                    <a:pt x="342" y="378"/>
                  </a:lnTo>
                  <a:lnTo>
                    <a:pt x="342" y="375"/>
                  </a:lnTo>
                  <a:lnTo>
                    <a:pt x="340" y="375"/>
                  </a:lnTo>
                  <a:lnTo>
                    <a:pt x="337" y="375"/>
                  </a:lnTo>
                  <a:lnTo>
                    <a:pt x="335" y="375"/>
                  </a:lnTo>
                  <a:lnTo>
                    <a:pt x="335" y="373"/>
                  </a:lnTo>
                  <a:lnTo>
                    <a:pt x="335" y="370"/>
                  </a:lnTo>
                  <a:lnTo>
                    <a:pt x="335" y="368"/>
                  </a:lnTo>
                  <a:lnTo>
                    <a:pt x="332" y="368"/>
                  </a:lnTo>
                  <a:lnTo>
                    <a:pt x="335" y="368"/>
                  </a:lnTo>
                  <a:lnTo>
                    <a:pt x="332" y="368"/>
                  </a:lnTo>
                  <a:lnTo>
                    <a:pt x="330" y="368"/>
                  </a:lnTo>
                  <a:lnTo>
                    <a:pt x="330" y="370"/>
                  </a:lnTo>
                  <a:lnTo>
                    <a:pt x="330" y="368"/>
                  </a:lnTo>
                  <a:lnTo>
                    <a:pt x="330" y="370"/>
                  </a:lnTo>
                  <a:lnTo>
                    <a:pt x="330" y="368"/>
                  </a:lnTo>
                  <a:lnTo>
                    <a:pt x="330" y="370"/>
                  </a:lnTo>
                  <a:lnTo>
                    <a:pt x="330" y="368"/>
                  </a:lnTo>
                  <a:lnTo>
                    <a:pt x="330" y="370"/>
                  </a:lnTo>
                  <a:lnTo>
                    <a:pt x="328" y="368"/>
                  </a:lnTo>
                  <a:lnTo>
                    <a:pt x="328" y="370"/>
                  </a:lnTo>
                  <a:lnTo>
                    <a:pt x="325" y="368"/>
                  </a:lnTo>
                  <a:lnTo>
                    <a:pt x="325" y="370"/>
                  </a:lnTo>
                  <a:lnTo>
                    <a:pt x="325" y="368"/>
                  </a:lnTo>
                  <a:lnTo>
                    <a:pt x="325" y="370"/>
                  </a:lnTo>
                  <a:lnTo>
                    <a:pt x="325" y="368"/>
                  </a:lnTo>
                  <a:lnTo>
                    <a:pt x="325" y="370"/>
                  </a:lnTo>
                  <a:lnTo>
                    <a:pt x="325" y="368"/>
                  </a:lnTo>
                  <a:lnTo>
                    <a:pt x="325" y="370"/>
                  </a:lnTo>
                  <a:lnTo>
                    <a:pt x="325" y="368"/>
                  </a:lnTo>
                  <a:lnTo>
                    <a:pt x="325" y="370"/>
                  </a:lnTo>
                  <a:lnTo>
                    <a:pt x="325" y="368"/>
                  </a:lnTo>
                  <a:lnTo>
                    <a:pt x="323" y="370"/>
                  </a:lnTo>
                  <a:lnTo>
                    <a:pt x="323" y="368"/>
                  </a:lnTo>
                  <a:lnTo>
                    <a:pt x="323" y="366"/>
                  </a:lnTo>
                  <a:lnTo>
                    <a:pt x="325" y="366"/>
                  </a:lnTo>
                  <a:lnTo>
                    <a:pt x="328" y="366"/>
                  </a:lnTo>
                  <a:lnTo>
                    <a:pt x="330" y="363"/>
                  </a:lnTo>
                  <a:lnTo>
                    <a:pt x="330" y="361"/>
                  </a:lnTo>
                  <a:lnTo>
                    <a:pt x="328" y="363"/>
                  </a:lnTo>
                  <a:lnTo>
                    <a:pt x="328" y="361"/>
                  </a:lnTo>
                  <a:lnTo>
                    <a:pt x="325" y="361"/>
                  </a:lnTo>
                  <a:lnTo>
                    <a:pt x="328" y="361"/>
                  </a:lnTo>
                  <a:lnTo>
                    <a:pt x="325" y="361"/>
                  </a:lnTo>
                  <a:lnTo>
                    <a:pt x="323" y="359"/>
                  </a:lnTo>
                  <a:lnTo>
                    <a:pt x="323" y="361"/>
                  </a:lnTo>
                  <a:lnTo>
                    <a:pt x="323" y="363"/>
                  </a:lnTo>
                  <a:lnTo>
                    <a:pt x="325" y="363"/>
                  </a:lnTo>
                  <a:lnTo>
                    <a:pt x="325" y="366"/>
                  </a:lnTo>
                  <a:lnTo>
                    <a:pt x="323" y="366"/>
                  </a:lnTo>
                  <a:lnTo>
                    <a:pt x="321" y="366"/>
                  </a:lnTo>
                  <a:lnTo>
                    <a:pt x="321" y="363"/>
                  </a:lnTo>
                  <a:lnTo>
                    <a:pt x="321" y="366"/>
                  </a:lnTo>
                  <a:lnTo>
                    <a:pt x="318" y="366"/>
                  </a:lnTo>
                  <a:lnTo>
                    <a:pt x="321" y="366"/>
                  </a:lnTo>
                  <a:lnTo>
                    <a:pt x="318" y="366"/>
                  </a:lnTo>
                  <a:lnTo>
                    <a:pt x="318" y="363"/>
                  </a:lnTo>
                  <a:lnTo>
                    <a:pt x="318" y="366"/>
                  </a:lnTo>
                  <a:lnTo>
                    <a:pt x="316" y="366"/>
                  </a:lnTo>
                  <a:lnTo>
                    <a:pt x="318" y="366"/>
                  </a:lnTo>
                  <a:lnTo>
                    <a:pt x="318" y="368"/>
                  </a:lnTo>
                  <a:lnTo>
                    <a:pt x="321" y="368"/>
                  </a:lnTo>
                  <a:lnTo>
                    <a:pt x="318" y="368"/>
                  </a:lnTo>
                  <a:lnTo>
                    <a:pt x="316" y="368"/>
                  </a:lnTo>
                  <a:lnTo>
                    <a:pt x="316" y="366"/>
                  </a:lnTo>
                  <a:lnTo>
                    <a:pt x="313" y="366"/>
                  </a:lnTo>
                  <a:lnTo>
                    <a:pt x="316" y="366"/>
                  </a:lnTo>
                  <a:lnTo>
                    <a:pt x="313" y="366"/>
                  </a:lnTo>
                  <a:lnTo>
                    <a:pt x="313" y="363"/>
                  </a:lnTo>
                  <a:lnTo>
                    <a:pt x="313" y="361"/>
                  </a:lnTo>
                  <a:lnTo>
                    <a:pt x="313" y="359"/>
                  </a:lnTo>
                  <a:lnTo>
                    <a:pt x="311" y="359"/>
                  </a:lnTo>
                  <a:lnTo>
                    <a:pt x="311" y="356"/>
                  </a:lnTo>
                  <a:lnTo>
                    <a:pt x="309" y="354"/>
                  </a:lnTo>
                  <a:lnTo>
                    <a:pt x="311" y="354"/>
                  </a:lnTo>
                  <a:lnTo>
                    <a:pt x="311" y="351"/>
                  </a:lnTo>
                  <a:lnTo>
                    <a:pt x="311" y="349"/>
                  </a:lnTo>
                  <a:lnTo>
                    <a:pt x="311" y="347"/>
                  </a:lnTo>
                  <a:lnTo>
                    <a:pt x="311" y="344"/>
                  </a:lnTo>
                  <a:lnTo>
                    <a:pt x="313" y="344"/>
                  </a:lnTo>
                  <a:lnTo>
                    <a:pt x="313" y="342"/>
                  </a:lnTo>
                  <a:lnTo>
                    <a:pt x="313" y="344"/>
                  </a:lnTo>
                  <a:lnTo>
                    <a:pt x="311" y="344"/>
                  </a:lnTo>
                  <a:lnTo>
                    <a:pt x="311" y="347"/>
                  </a:lnTo>
                  <a:lnTo>
                    <a:pt x="311" y="344"/>
                  </a:lnTo>
                  <a:lnTo>
                    <a:pt x="311" y="347"/>
                  </a:lnTo>
                  <a:lnTo>
                    <a:pt x="311" y="349"/>
                  </a:lnTo>
                  <a:lnTo>
                    <a:pt x="311" y="351"/>
                  </a:lnTo>
                  <a:lnTo>
                    <a:pt x="311" y="354"/>
                  </a:lnTo>
                  <a:lnTo>
                    <a:pt x="309" y="354"/>
                  </a:lnTo>
                  <a:lnTo>
                    <a:pt x="309" y="356"/>
                  </a:lnTo>
                  <a:lnTo>
                    <a:pt x="311" y="356"/>
                  </a:lnTo>
                  <a:lnTo>
                    <a:pt x="311" y="359"/>
                  </a:lnTo>
                  <a:lnTo>
                    <a:pt x="313" y="359"/>
                  </a:lnTo>
                  <a:lnTo>
                    <a:pt x="313" y="361"/>
                  </a:lnTo>
                  <a:lnTo>
                    <a:pt x="313" y="363"/>
                  </a:lnTo>
                  <a:lnTo>
                    <a:pt x="313" y="366"/>
                  </a:lnTo>
                  <a:lnTo>
                    <a:pt x="316" y="366"/>
                  </a:lnTo>
                  <a:lnTo>
                    <a:pt x="316" y="368"/>
                  </a:lnTo>
                  <a:lnTo>
                    <a:pt x="318" y="368"/>
                  </a:lnTo>
                  <a:lnTo>
                    <a:pt x="318" y="370"/>
                  </a:lnTo>
                  <a:lnTo>
                    <a:pt x="318" y="368"/>
                  </a:lnTo>
                  <a:lnTo>
                    <a:pt x="316" y="368"/>
                  </a:lnTo>
                  <a:lnTo>
                    <a:pt x="313" y="368"/>
                  </a:lnTo>
                  <a:lnTo>
                    <a:pt x="311" y="368"/>
                  </a:lnTo>
                  <a:lnTo>
                    <a:pt x="309" y="368"/>
                  </a:lnTo>
                  <a:lnTo>
                    <a:pt x="309" y="366"/>
                  </a:lnTo>
                  <a:lnTo>
                    <a:pt x="309" y="363"/>
                  </a:lnTo>
                  <a:lnTo>
                    <a:pt x="306" y="363"/>
                  </a:lnTo>
                  <a:lnTo>
                    <a:pt x="304" y="363"/>
                  </a:lnTo>
                  <a:lnTo>
                    <a:pt x="302" y="363"/>
                  </a:lnTo>
                  <a:lnTo>
                    <a:pt x="299" y="363"/>
                  </a:lnTo>
                  <a:lnTo>
                    <a:pt x="297" y="363"/>
                  </a:lnTo>
                  <a:lnTo>
                    <a:pt x="294" y="363"/>
                  </a:lnTo>
                  <a:lnTo>
                    <a:pt x="294" y="361"/>
                  </a:lnTo>
                  <a:lnTo>
                    <a:pt x="294" y="359"/>
                  </a:lnTo>
                  <a:lnTo>
                    <a:pt x="292" y="359"/>
                  </a:lnTo>
                  <a:lnTo>
                    <a:pt x="290" y="359"/>
                  </a:lnTo>
                  <a:lnTo>
                    <a:pt x="287" y="361"/>
                  </a:lnTo>
                  <a:lnTo>
                    <a:pt x="285" y="361"/>
                  </a:lnTo>
                  <a:lnTo>
                    <a:pt x="285" y="363"/>
                  </a:lnTo>
                  <a:lnTo>
                    <a:pt x="283" y="363"/>
                  </a:lnTo>
                  <a:lnTo>
                    <a:pt x="283" y="366"/>
                  </a:lnTo>
                  <a:lnTo>
                    <a:pt x="280" y="366"/>
                  </a:lnTo>
                  <a:close/>
                  <a:moveTo>
                    <a:pt x="223" y="408"/>
                  </a:moveTo>
                  <a:lnTo>
                    <a:pt x="223" y="411"/>
                  </a:lnTo>
                  <a:lnTo>
                    <a:pt x="223" y="40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7" name="Freeform 57983"/>
            <p:cNvSpPr>
              <a:spLocks noEditPoints="1"/>
            </p:cNvSpPr>
            <p:nvPr/>
          </p:nvSpPr>
          <p:spPr bwMode="auto">
            <a:xfrm>
              <a:off x="1757366" y="4784729"/>
              <a:ext cx="720726" cy="523877"/>
            </a:xfrm>
            <a:custGeom>
              <a:avLst/>
              <a:gdLst>
                <a:gd name="T0" fmla="*/ 454 w 454"/>
                <a:gd name="T1" fmla="*/ 330 h 330"/>
                <a:gd name="T2" fmla="*/ 323 w 454"/>
                <a:gd name="T3" fmla="*/ 240 h 330"/>
                <a:gd name="T4" fmla="*/ 147 w 454"/>
                <a:gd name="T5" fmla="*/ 183 h 330"/>
                <a:gd name="T6" fmla="*/ 150 w 454"/>
                <a:gd name="T7" fmla="*/ 185 h 330"/>
                <a:gd name="T8" fmla="*/ 147 w 454"/>
                <a:gd name="T9" fmla="*/ 176 h 330"/>
                <a:gd name="T10" fmla="*/ 147 w 454"/>
                <a:gd name="T11" fmla="*/ 178 h 330"/>
                <a:gd name="T12" fmla="*/ 147 w 454"/>
                <a:gd name="T13" fmla="*/ 176 h 330"/>
                <a:gd name="T14" fmla="*/ 126 w 454"/>
                <a:gd name="T15" fmla="*/ 138 h 330"/>
                <a:gd name="T16" fmla="*/ 128 w 454"/>
                <a:gd name="T17" fmla="*/ 142 h 330"/>
                <a:gd name="T18" fmla="*/ 131 w 454"/>
                <a:gd name="T19" fmla="*/ 147 h 330"/>
                <a:gd name="T20" fmla="*/ 128 w 454"/>
                <a:gd name="T21" fmla="*/ 142 h 330"/>
                <a:gd name="T22" fmla="*/ 124 w 454"/>
                <a:gd name="T23" fmla="*/ 138 h 330"/>
                <a:gd name="T24" fmla="*/ 121 w 454"/>
                <a:gd name="T25" fmla="*/ 126 h 330"/>
                <a:gd name="T26" fmla="*/ 121 w 454"/>
                <a:gd name="T27" fmla="*/ 128 h 330"/>
                <a:gd name="T28" fmla="*/ 124 w 454"/>
                <a:gd name="T29" fmla="*/ 128 h 330"/>
                <a:gd name="T30" fmla="*/ 126 w 454"/>
                <a:gd name="T31" fmla="*/ 128 h 330"/>
                <a:gd name="T32" fmla="*/ 124 w 454"/>
                <a:gd name="T33" fmla="*/ 130 h 330"/>
                <a:gd name="T34" fmla="*/ 119 w 454"/>
                <a:gd name="T35" fmla="*/ 128 h 330"/>
                <a:gd name="T36" fmla="*/ 93 w 454"/>
                <a:gd name="T37" fmla="*/ 104 h 330"/>
                <a:gd name="T38" fmla="*/ 93 w 454"/>
                <a:gd name="T39" fmla="*/ 107 h 330"/>
                <a:gd name="T40" fmla="*/ 95 w 454"/>
                <a:gd name="T41" fmla="*/ 90 h 330"/>
                <a:gd name="T42" fmla="*/ 95 w 454"/>
                <a:gd name="T43" fmla="*/ 92 h 330"/>
                <a:gd name="T44" fmla="*/ 100 w 454"/>
                <a:gd name="T45" fmla="*/ 95 h 330"/>
                <a:gd name="T46" fmla="*/ 98 w 454"/>
                <a:gd name="T47" fmla="*/ 95 h 330"/>
                <a:gd name="T48" fmla="*/ 93 w 454"/>
                <a:gd name="T49" fmla="*/ 90 h 330"/>
                <a:gd name="T50" fmla="*/ 95 w 454"/>
                <a:gd name="T51" fmla="*/ 90 h 330"/>
                <a:gd name="T52" fmla="*/ 121 w 454"/>
                <a:gd name="T53" fmla="*/ 81 h 330"/>
                <a:gd name="T54" fmla="*/ 121 w 454"/>
                <a:gd name="T55" fmla="*/ 78 h 330"/>
                <a:gd name="T56" fmla="*/ 124 w 454"/>
                <a:gd name="T57" fmla="*/ 78 h 330"/>
                <a:gd name="T58" fmla="*/ 74 w 454"/>
                <a:gd name="T59" fmla="*/ 76 h 330"/>
                <a:gd name="T60" fmla="*/ 128 w 454"/>
                <a:gd name="T61" fmla="*/ 73 h 330"/>
                <a:gd name="T62" fmla="*/ 62 w 454"/>
                <a:gd name="T63" fmla="*/ 71 h 330"/>
                <a:gd name="T64" fmla="*/ 62 w 454"/>
                <a:gd name="T65" fmla="*/ 73 h 330"/>
                <a:gd name="T66" fmla="*/ 67 w 454"/>
                <a:gd name="T67" fmla="*/ 76 h 330"/>
                <a:gd name="T68" fmla="*/ 67 w 454"/>
                <a:gd name="T69" fmla="*/ 78 h 330"/>
                <a:gd name="T70" fmla="*/ 62 w 454"/>
                <a:gd name="T71" fmla="*/ 76 h 330"/>
                <a:gd name="T72" fmla="*/ 72 w 454"/>
                <a:gd name="T73" fmla="*/ 71 h 330"/>
                <a:gd name="T74" fmla="*/ 72 w 454"/>
                <a:gd name="T75" fmla="*/ 71 h 330"/>
                <a:gd name="T76" fmla="*/ 81 w 454"/>
                <a:gd name="T77" fmla="*/ 64 h 330"/>
                <a:gd name="T78" fmla="*/ 79 w 454"/>
                <a:gd name="T79" fmla="*/ 62 h 330"/>
                <a:gd name="T80" fmla="*/ 79 w 454"/>
                <a:gd name="T81" fmla="*/ 62 h 330"/>
                <a:gd name="T82" fmla="*/ 76 w 454"/>
                <a:gd name="T83" fmla="*/ 62 h 330"/>
                <a:gd name="T84" fmla="*/ 55 w 454"/>
                <a:gd name="T85" fmla="*/ 59 h 330"/>
                <a:gd name="T86" fmla="*/ 55 w 454"/>
                <a:gd name="T87" fmla="*/ 62 h 330"/>
                <a:gd name="T88" fmla="*/ 41 w 454"/>
                <a:gd name="T89" fmla="*/ 57 h 330"/>
                <a:gd name="T90" fmla="*/ 10 w 454"/>
                <a:gd name="T91" fmla="*/ 43 h 330"/>
                <a:gd name="T92" fmla="*/ 5 w 454"/>
                <a:gd name="T93" fmla="*/ 24 h 330"/>
                <a:gd name="T94" fmla="*/ 3 w 454"/>
                <a:gd name="T95" fmla="*/ 21 h 330"/>
                <a:gd name="T96" fmla="*/ 0 w 454"/>
                <a:gd name="T97" fmla="*/ 21 h 330"/>
                <a:gd name="T98" fmla="*/ 3 w 454"/>
                <a:gd name="T99" fmla="*/ 21 h 330"/>
                <a:gd name="T100" fmla="*/ 0 w 454"/>
                <a:gd name="T101" fmla="*/ 21 h 330"/>
                <a:gd name="T102" fmla="*/ 98 w 454"/>
                <a:gd name="T103" fmla="*/ 14 h 330"/>
                <a:gd name="T104" fmla="*/ 38 w 454"/>
                <a:gd name="T105" fmla="*/ 7 h 330"/>
                <a:gd name="T106" fmla="*/ 50 w 454"/>
                <a:gd name="T107" fmla="*/ 5 h 330"/>
                <a:gd name="T108" fmla="*/ 72 w 454"/>
                <a:gd name="T109" fmla="*/ 2 h 330"/>
                <a:gd name="T110" fmla="*/ 60 w 454"/>
                <a:gd name="T111" fmla="*/ 2 h 330"/>
                <a:gd name="T112" fmla="*/ 64 w 454"/>
                <a:gd name="T113" fmla="*/ 2 h 330"/>
                <a:gd name="T114" fmla="*/ 110 w 454"/>
                <a:gd name="T115" fmla="*/ 2 h 330"/>
                <a:gd name="T116" fmla="*/ 110 w 454"/>
                <a:gd name="T117" fmla="*/ 0 h 330"/>
                <a:gd name="T118" fmla="*/ 55 w 454"/>
                <a:gd name="T119" fmla="*/ 0 h 330"/>
                <a:gd name="T120" fmla="*/ 110 w 454"/>
                <a:gd name="T121" fmla="*/ 0 h 330"/>
                <a:gd name="T122" fmla="*/ 110 w 454"/>
                <a:gd name="T123" fmla="*/ 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4" h="330">
                  <a:moveTo>
                    <a:pt x="454" y="330"/>
                  </a:moveTo>
                  <a:lnTo>
                    <a:pt x="454" y="328"/>
                  </a:lnTo>
                  <a:lnTo>
                    <a:pt x="454" y="330"/>
                  </a:lnTo>
                  <a:close/>
                  <a:moveTo>
                    <a:pt x="323" y="240"/>
                  </a:moveTo>
                  <a:lnTo>
                    <a:pt x="323" y="237"/>
                  </a:lnTo>
                  <a:lnTo>
                    <a:pt x="323" y="240"/>
                  </a:lnTo>
                  <a:close/>
                  <a:moveTo>
                    <a:pt x="150" y="185"/>
                  </a:moveTo>
                  <a:lnTo>
                    <a:pt x="150" y="183"/>
                  </a:lnTo>
                  <a:lnTo>
                    <a:pt x="147" y="183"/>
                  </a:lnTo>
                  <a:lnTo>
                    <a:pt x="147" y="180"/>
                  </a:lnTo>
                  <a:lnTo>
                    <a:pt x="150" y="183"/>
                  </a:lnTo>
                  <a:lnTo>
                    <a:pt x="150" y="185"/>
                  </a:lnTo>
                  <a:close/>
                  <a:moveTo>
                    <a:pt x="147" y="176"/>
                  </a:moveTo>
                  <a:lnTo>
                    <a:pt x="147" y="178"/>
                  </a:lnTo>
                  <a:lnTo>
                    <a:pt x="147" y="176"/>
                  </a:lnTo>
                  <a:close/>
                  <a:moveTo>
                    <a:pt x="147" y="178"/>
                  </a:moveTo>
                  <a:lnTo>
                    <a:pt x="147" y="176"/>
                  </a:lnTo>
                  <a:lnTo>
                    <a:pt x="147" y="178"/>
                  </a:lnTo>
                  <a:close/>
                  <a:moveTo>
                    <a:pt x="147" y="176"/>
                  </a:moveTo>
                  <a:lnTo>
                    <a:pt x="145" y="176"/>
                  </a:lnTo>
                  <a:lnTo>
                    <a:pt x="147" y="176"/>
                  </a:lnTo>
                  <a:close/>
                  <a:moveTo>
                    <a:pt x="124" y="135"/>
                  </a:moveTo>
                  <a:lnTo>
                    <a:pt x="124" y="138"/>
                  </a:lnTo>
                  <a:lnTo>
                    <a:pt x="126" y="138"/>
                  </a:lnTo>
                  <a:lnTo>
                    <a:pt x="128" y="138"/>
                  </a:lnTo>
                  <a:lnTo>
                    <a:pt x="128" y="140"/>
                  </a:lnTo>
                  <a:lnTo>
                    <a:pt x="128" y="142"/>
                  </a:lnTo>
                  <a:lnTo>
                    <a:pt x="131" y="142"/>
                  </a:lnTo>
                  <a:lnTo>
                    <a:pt x="131" y="145"/>
                  </a:lnTo>
                  <a:lnTo>
                    <a:pt x="131" y="147"/>
                  </a:lnTo>
                  <a:lnTo>
                    <a:pt x="128" y="147"/>
                  </a:lnTo>
                  <a:lnTo>
                    <a:pt x="128" y="145"/>
                  </a:lnTo>
                  <a:lnTo>
                    <a:pt x="128" y="142"/>
                  </a:lnTo>
                  <a:lnTo>
                    <a:pt x="126" y="142"/>
                  </a:lnTo>
                  <a:lnTo>
                    <a:pt x="124" y="140"/>
                  </a:lnTo>
                  <a:lnTo>
                    <a:pt x="124" y="138"/>
                  </a:lnTo>
                  <a:lnTo>
                    <a:pt x="124" y="135"/>
                  </a:lnTo>
                  <a:close/>
                  <a:moveTo>
                    <a:pt x="119" y="126"/>
                  </a:moveTo>
                  <a:lnTo>
                    <a:pt x="121" y="126"/>
                  </a:lnTo>
                  <a:lnTo>
                    <a:pt x="121" y="128"/>
                  </a:lnTo>
                  <a:lnTo>
                    <a:pt x="121" y="126"/>
                  </a:lnTo>
                  <a:lnTo>
                    <a:pt x="121" y="128"/>
                  </a:lnTo>
                  <a:lnTo>
                    <a:pt x="119" y="128"/>
                  </a:lnTo>
                  <a:lnTo>
                    <a:pt x="121" y="128"/>
                  </a:lnTo>
                  <a:lnTo>
                    <a:pt x="124" y="128"/>
                  </a:lnTo>
                  <a:lnTo>
                    <a:pt x="121" y="128"/>
                  </a:lnTo>
                  <a:lnTo>
                    <a:pt x="124" y="128"/>
                  </a:lnTo>
                  <a:lnTo>
                    <a:pt x="126" y="128"/>
                  </a:lnTo>
                  <a:lnTo>
                    <a:pt x="128" y="130"/>
                  </a:lnTo>
                  <a:lnTo>
                    <a:pt x="126" y="130"/>
                  </a:lnTo>
                  <a:lnTo>
                    <a:pt x="124" y="130"/>
                  </a:lnTo>
                  <a:lnTo>
                    <a:pt x="124" y="128"/>
                  </a:lnTo>
                  <a:lnTo>
                    <a:pt x="121" y="128"/>
                  </a:lnTo>
                  <a:lnTo>
                    <a:pt x="119" y="128"/>
                  </a:lnTo>
                  <a:lnTo>
                    <a:pt x="119" y="126"/>
                  </a:lnTo>
                  <a:close/>
                  <a:moveTo>
                    <a:pt x="91" y="104"/>
                  </a:moveTo>
                  <a:lnTo>
                    <a:pt x="93" y="104"/>
                  </a:lnTo>
                  <a:lnTo>
                    <a:pt x="95" y="104"/>
                  </a:lnTo>
                  <a:lnTo>
                    <a:pt x="93" y="104"/>
                  </a:lnTo>
                  <a:lnTo>
                    <a:pt x="93" y="107"/>
                  </a:lnTo>
                  <a:lnTo>
                    <a:pt x="93" y="104"/>
                  </a:lnTo>
                  <a:lnTo>
                    <a:pt x="91" y="104"/>
                  </a:lnTo>
                  <a:close/>
                  <a:moveTo>
                    <a:pt x="95" y="90"/>
                  </a:moveTo>
                  <a:lnTo>
                    <a:pt x="98" y="90"/>
                  </a:lnTo>
                  <a:lnTo>
                    <a:pt x="95" y="90"/>
                  </a:lnTo>
                  <a:lnTo>
                    <a:pt x="95" y="92"/>
                  </a:lnTo>
                  <a:lnTo>
                    <a:pt x="98" y="92"/>
                  </a:lnTo>
                  <a:lnTo>
                    <a:pt x="100" y="92"/>
                  </a:lnTo>
                  <a:lnTo>
                    <a:pt x="100" y="95"/>
                  </a:lnTo>
                  <a:lnTo>
                    <a:pt x="98" y="95"/>
                  </a:lnTo>
                  <a:lnTo>
                    <a:pt x="100" y="95"/>
                  </a:lnTo>
                  <a:lnTo>
                    <a:pt x="98" y="95"/>
                  </a:lnTo>
                  <a:lnTo>
                    <a:pt x="98" y="92"/>
                  </a:lnTo>
                  <a:lnTo>
                    <a:pt x="95" y="92"/>
                  </a:lnTo>
                  <a:lnTo>
                    <a:pt x="93" y="90"/>
                  </a:lnTo>
                  <a:lnTo>
                    <a:pt x="95" y="90"/>
                  </a:lnTo>
                  <a:lnTo>
                    <a:pt x="93" y="90"/>
                  </a:lnTo>
                  <a:lnTo>
                    <a:pt x="95" y="90"/>
                  </a:lnTo>
                  <a:close/>
                  <a:moveTo>
                    <a:pt x="121" y="81"/>
                  </a:moveTo>
                  <a:lnTo>
                    <a:pt x="119" y="81"/>
                  </a:lnTo>
                  <a:lnTo>
                    <a:pt x="121" y="81"/>
                  </a:lnTo>
                  <a:close/>
                  <a:moveTo>
                    <a:pt x="121" y="78"/>
                  </a:moveTo>
                  <a:lnTo>
                    <a:pt x="124" y="78"/>
                  </a:lnTo>
                  <a:lnTo>
                    <a:pt x="121" y="78"/>
                  </a:lnTo>
                  <a:close/>
                  <a:moveTo>
                    <a:pt x="124" y="78"/>
                  </a:moveTo>
                  <a:lnTo>
                    <a:pt x="124" y="76"/>
                  </a:lnTo>
                  <a:lnTo>
                    <a:pt x="124" y="78"/>
                  </a:lnTo>
                  <a:close/>
                  <a:moveTo>
                    <a:pt x="76" y="73"/>
                  </a:moveTo>
                  <a:lnTo>
                    <a:pt x="76" y="76"/>
                  </a:lnTo>
                  <a:lnTo>
                    <a:pt x="74" y="76"/>
                  </a:lnTo>
                  <a:lnTo>
                    <a:pt x="74" y="73"/>
                  </a:lnTo>
                  <a:lnTo>
                    <a:pt x="76" y="73"/>
                  </a:lnTo>
                  <a:close/>
                  <a:moveTo>
                    <a:pt x="128" y="73"/>
                  </a:moveTo>
                  <a:lnTo>
                    <a:pt x="131" y="73"/>
                  </a:lnTo>
                  <a:lnTo>
                    <a:pt x="128" y="73"/>
                  </a:lnTo>
                  <a:close/>
                  <a:moveTo>
                    <a:pt x="62" y="71"/>
                  </a:moveTo>
                  <a:lnTo>
                    <a:pt x="62" y="73"/>
                  </a:lnTo>
                  <a:lnTo>
                    <a:pt x="62" y="71"/>
                  </a:lnTo>
                  <a:lnTo>
                    <a:pt x="62" y="73"/>
                  </a:lnTo>
                  <a:lnTo>
                    <a:pt x="64" y="73"/>
                  </a:lnTo>
                  <a:lnTo>
                    <a:pt x="67" y="73"/>
                  </a:lnTo>
                  <a:lnTo>
                    <a:pt x="67" y="76"/>
                  </a:lnTo>
                  <a:lnTo>
                    <a:pt x="69" y="76"/>
                  </a:lnTo>
                  <a:lnTo>
                    <a:pt x="69" y="78"/>
                  </a:lnTo>
                  <a:lnTo>
                    <a:pt x="67" y="78"/>
                  </a:lnTo>
                  <a:lnTo>
                    <a:pt x="67" y="76"/>
                  </a:lnTo>
                  <a:lnTo>
                    <a:pt x="64" y="76"/>
                  </a:lnTo>
                  <a:lnTo>
                    <a:pt x="62" y="76"/>
                  </a:lnTo>
                  <a:lnTo>
                    <a:pt x="62" y="73"/>
                  </a:lnTo>
                  <a:lnTo>
                    <a:pt x="62" y="71"/>
                  </a:lnTo>
                  <a:close/>
                  <a:moveTo>
                    <a:pt x="72" y="71"/>
                  </a:moveTo>
                  <a:lnTo>
                    <a:pt x="74" y="71"/>
                  </a:lnTo>
                  <a:lnTo>
                    <a:pt x="72" y="73"/>
                  </a:lnTo>
                  <a:lnTo>
                    <a:pt x="72" y="71"/>
                  </a:lnTo>
                  <a:close/>
                  <a:moveTo>
                    <a:pt x="81" y="64"/>
                  </a:moveTo>
                  <a:lnTo>
                    <a:pt x="79" y="64"/>
                  </a:lnTo>
                  <a:lnTo>
                    <a:pt x="81" y="64"/>
                  </a:lnTo>
                  <a:close/>
                  <a:moveTo>
                    <a:pt x="79" y="62"/>
                  </a:moveTo>
                  <a:lnTo>
                    <a:pt x="79" y="64"/>
                  </a:lnTo>
                  <a:lnTo>
                    <a:pt x="79" y="62"/>
                  </a:lnTo>
                  <a:lnTo>
                    <a:pt x="76" y="64"/>
                  </a:lnTo>
                  <a:lnTo>
                    <a:pt x="76" y="62"/>
                  </a:lnTo>
                  <a:lnTo>
                    <a:pt x="79" y="62"/>
                  </a:lnTo>
                  <a:close/>
                  <a:moveTo>
                    <a:pt x="76" y="62"/>
                  </a:moveTo>
                  <a:lnTo>
                    <a:pt x="76" y="64"/>
                  </a:lnTo>
                  <a:lnTo>
                    <a:pt x="76" y="62"/>
                  </a:lnTo>
                  <a:lnTo>
                    <a:pt x="76" y="64"/>
                  </a:lnTo>
                  <a:lnTo>
                    <a:pt x="76" y="62"/>
                  </a:lnTo>
                  <a:close/>
                  <a:moveTo>
                    <a:pt x="55" y="59"/>
                  </a:moveTo>
                  <a:lnTo>
                    <a:pt x="57" y="59"/>
                  </a:lnTo>
                  <a:lnTo>
                    <a:pt x="57" y="62"/>
                  </a:lnTo>
                  <a:lnTo>
                    <a:pt x="55" y="62"/>
                  </a:lnTo>
                  <a:lnTo>
                    <a:pt x="55" y="59"/>
                  </a:lnTo>
                  <a:close/>
                  <a:moveTo>
                    <a:pt x="38" y="57"/>
                  </a:moveTo>
                  <a:lnTo>
                    <a:pt x="41" y="57"/>
                  </a:lnTo>
                  <a:lnTo>
                    <a:pt x="38" y="57"/>
                  </a:lnTo>
                  <a:close/>
                  <a:moveTo>
                    <a:pt x="10" y="40"/>
                  </a:moveTo>
                  <a:lnTo>
                    <a:pt x="10" y="43"/>
                  </a:lnTo>
                  <a:lnTo>
                    <a:pt x="10" y="40"/>
                  </a:lnTo>
                  <a:close/>
                  <a:moveTo>
                    <a:pt x="7" y="24"/>
                  </a:moveTo>
                  <a:lnTo>
                    <a:pt x="5" y="24"/>
                  </a:lnTo>
                  <a:lnTo>
                    <a:pt x="7" y="24"/>
                  </a:lnTo>
                  <a:close/>
                  <a:moveTo>
                    <a:pt x="0" y="19"/>
                  </a:moveTo>
                  <a:lnTo>
                    <a:pt x="3" y="21"/>
                  </a:lnTo>
                  <a:lnTo>
                    <a:pt x="3" y="19"/>
                  </a:lnTo>
                  <a:lnTo>
                    <a:pt x="3" y="21"/>
                  </a:lnTo>
                  <a:lnTo>
                    <a:pt x="0" y="21"/>
                  </a:lnTo>
                  <a:lnTo>
                    <a:pt x="0" y="19"/>
                  </a:lnTo>
                  <a:close/>
                  <a:moveTo>
                    <a:pt x="3" y="19"/>
                  </a:moveTo>
                  <a:lnTo>
                    <a:pt x="3" y="21"/>
                  </a:lnTo>
                  <a:lnTo>
                    <a:pt x="0" y="21"/>
                  </a:lnTo>
                  <a:lnTo>
                    <a:pt x="3" y="21"/>
                  </a:lnTo>
                  <a:lnTo>
                    <a:pt x="0" y="21"/>
                  </a:lnTo>
                  <a:lnTo>
                    <a:pt x="3" y="21"/>
                  </a:lnTo>
                  <a:lnTo>
                    <a:pt x="3" y="19"/>
                  </a:lnTo>
                  <a:close/>
                  <a:moveTo>
                    <a:pt x="98" y="14"/>
                  </a:moveTo>
                  <a:lnTo>
                    <a:pt x="98" y="12"/>
                  </a:lnTo>
                  <a:lnTo>
                    <a:pt x="98" y="14"/>
                  </a:lnTo>
                  <a:close/>
                  <a:moveTo>
                    <a:pt x="38" y="7"/>
                  </a:moveTo>
                  <a:lnTo>
                    <a:pt x="36" y="7"/>
                  </a:lnTo>
                  <a:lnTo>
                    <a:pt x="38" y="7"/>
                  </a:lnTo>
                  <a:close/>
                  <a:moveTo>
                    <a:pt x="50" y="5"/>
                  </a:moveTo>
                  <a:lnTo>
                    <a:pt x="53" y="5"/>
                  </a:lnTo>
                  <a:lnTo>
                    <a:pt x="50" y="5"/>
                  </a:lnTo>
                  <a:close/>
                  <a:moveTo>
                    <a:pt x="72" y="2"/>
                  </a:moveTo>
                  <a:lnTo>
                    <a:pt x="69" y="2"/>
                  </a:lnTo>
                  <a:lnTo>
                    <a:pt x="72" y="2"/>
                  </a:lnTo>
                  <a:close/>
                  <a:moveTo>
                    <a:pt x="60" y="2"/>
                  </a:moveTo>
                  <a:lnTo>
                    <a:pt x="62" y="2"/>
                  </a:lnTo>
                  <a:lnTo>
                    <a:pt x="60" y="2"/>
                  </a:lnTo>
                  <a:close/>
                  <a:moveTo>
                    <a:pt x="64" y="2"/>
                  </a:moveTo>
                  <a:lnTo>
                    <a:pt x="64" y="0"/>
                  </a:lnTo>
                  <a:lnTo>
                    <a:pt x="64" y="2"/>
                  </a:lnTo>
                  <a:close/>
                  <a:moveTo>
                    <a:pt x="110" y="2"/>
                  </a:moveTo>
                  <a:lnTo>
                    <a:pt x="110" y="0"/>
                  </a:lnTo>
                  <a:lnTo>
                    <a:pt x="110" y="2"/>
                  </a:lnTo>
                  <a:close/>
                  <a:moveTo>
                    <a:pt x="110" y="0"/>
                  </a:moveTo>
                  <a:lnTo>
                    <a:pt x="110" y="2"/>
                  </a:lnTo>
                  <a:lnTo>
                    <a:pt x="110" y="0"/>
                  </a:lnTo>
                  <a:close/>
                  <a:moveTo>
                    <a:pt x="55" y="0"/>
                  </a:moveTo>
                  <a:lnTo>
                    <a:pt x="55" y="2"/>
                  </a:lnTo>
                  <a:lnTo>
                    <a:pt x="55" y="0"/>
                  </a:lnTo>
                  <a:close/>
                  <a:moveTo>
                    <a:pt x="110" y="0"/>
                  </a:moveTo>
                  <a:lnTo>
                    <a:pt x="110" y="2"/>
                  </a:lnTo>
                  <a:lnTo>
                    <a:pt x="110" y="0"/>
                  </a:lnTo>
                  <a:lnTo>
                    <a:pt x="110" y="2"/>
                  </a:lnTo>
                  <a:lnTo>
                    <a:pt x="107" y="0"/>
                  </a:lnTo>
                  <a:lnTo>
                    <a:pt x="11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8" name="Freeform 57984"/>
            <p:cNvSpPr>
              <a:spLocks noEditPoints="1"/>
            </p:cNvSpPr>
            <p:nvPr/>
          </p:nvSpPr>
          <p:spPr bwMode="auto">
            <a:xfrm>
              <a:off x="1768476" y="4724400"/>
              <a:ext cx="501650" cy="444500"/>
            </a:xfrm>
            <a:custGeom>
              <a:avLst/>
              <a:gdLst>
                <a:gd name="T0" fmla="*/ 316 w 316"/>
                <a:gd name="T1" fmla="*/ 280 h 280"/>
                <a:gd name="T2" fmla="*/ 145 w 316"/>
                <a:gd name="T3" fmla="*/ 221 h 280"/>
                <a:gd name="T4" fmla="*/ 145 w 316"/>
                <a:gd name="T5" fmla="*/ 221 h 280"/>
                <a:gd name="T6" fmla="*/ 138 w 316"/>
                <a:gd name="T7" fmla="*/ 214 h 280"/>
                <a:gd name="T8" fmla="*/ 84 w 316"/>
                <a:gd name="T9" fmla="*/ 114 h 280"/>
                <a:gd name="T10" fmla="*/ 81 w 316"/>
                <a:gd name="T11" fmla="*/ 116 h 280"/>
                <a:gd name="T12" fmla="*/ 84 w 316"/>
                <a:gd name="T13" fmla="*/ 114 h 280"/>
                <a:gd name="T14" fmla="*/ 93 w 316"/>
                <a:gd name="T15" fmla="*/ 116 h 280"/>
                <a:gd name="T16" fmla="*/ 65 w 316"/>
                <a:gd name="T17" fmla="*/ 109 h 280"/>
                <a:gd name="T18" fmla="*/ 65 w 316"/>
                <a:gd name="T19" fmla="*/ 109 h 280"/>
                <a:gd name="T20" fmla="*/ 67 w 316"/>
                <a:gd name="T21" fmla="*/ 104 h 280"/>
                <a:gd name="T22" fmla="*/ 57 w 316"/>
                <a:gd name="T23" fmla="*/ 97 h 280"/>
                <a:gd name="T24" fmla="*/ 57 w 316"/>
                <a:gd name="T25" fmla="*/ 97 h 280"/>
                <a:gd name="T26" fmla="*/ 57 w 316"/>
                <a:gd name="T27" fmla="*/ 95 h 280"/>
                <a:gd name="T28" fmla="*/ 57 w 316"/>
                <a:gd name="T29" fmla="*/ 97 h 280"/>
                <a:gd name="T30" fmla="*/ 57 w 316"/>
                <a:gd name="T31" fmla="*/ 97 h 280"/>
                <a:gd name="T32" fmla="*/ 57 w 316"/>
                <a:gd name="T33" fmla="*/ 95 h 280"/>
                <a:gd name="T34" fmla="*/ 31 w 316"/>
                <a:gd name="T35" fmla="*/ 95 h 280"/>
                <a:gd name="T36" fmla="*/ 31 w 316"/>
                <a:gd name="T37" fmla="*/ 95 h 280"/>
                <a:gd name="T38" fmla="*/ 31 w 316"/>
                <a:gd name="T39" fmla="*/ 92 h 280"/>
                <a:gd name="T40" fmla="*/ 3 w 316"/>
                <a:gd name="T41" fmla="*/ 64 h 280"/>
                <a:gd name="T42" fmla="*/ 3 w 316"/>
                <a:gd name="T43" fmla="*/ 64 h 280"/>
                <a:gd name="T44" fmla="*/ 0 w 316"/>
                <a:gd name="T45" fmla="*/ 62 h 280"/>
                <a:gd name="T46" fmla="*/ 10 w 316"/>
                <a:gd name="T47" fmla="*/ 52 h 280"/>
                <a:gd name="T48" fmla="*/ 8 w 316"/>
                <a:gd name="T49" fmla="*/ 52 h 280"/>
                <a:gd name="T50" fmla="*/ 12 w 316"/>
                <a:gd name="T51" fmla="*/ 52 h 280"/>
                <a:gd name="T52" fmla="*/ 12 w 316"/>
                <a:gd name="T53" fmla="*/ 52 h 280"/>
                <a:gd name="T54" fmla="*/ 15 w 316"/>
                <a:gd name="T55" fmla="*/ 52 h 280"/>
                <a:gd name="T56" fmla="*/ 19 w 316"/>
                <a:gd name="T57" fmla="*/ 50 h 280"/>
                <a:gd name="T58" fmla="*/ 19 w 316"/>
                <a:gd name="T59" fmla="*/ 50 h 280"/>
                <a:gd name="T60" fmla="*/ 103 w 316"/>
                <a:gd name="T61" fmla="*/ 47 h 280"/>
                <a:gd name="T62" fmla="*/ 46 w 316"/>
                <a:gd name="T63" fmla="*/ 47 h 280"/>
                <a:gd name="T64" fmla="*/ 46 w 316"/>
                <a:gd name="T65" fmla="*/ 47 h 280"/>
                <a:gd name="T66" fmla="*/ 43 w 316"/>
                <a:gd name="T67" fmla="*/ 45 h 280"/>
                <a:gd name="T68" fmla="*/ 65 w 316"/>
                <a:gd name="T69" fmla="*/ 45 h 280"/>
                <a:gd name="T70" fmla="*/ 65 w 316"/>
                <a:gd name="T71" fmla="*/ 45 h 280"/>
                <a:gd name="T72" fmla="*/ 46 w 316"/>
                <a:gd name="T73" fmla="*/ 45 h 280"/>
                <a:gd name="T74" fmla="*/ 43 w 316"/>
                <a:gd name="T75" fmla="*/ 43 h 280"/>
                <a:gd name="T76" fmla="*/ 43 w 316"/>
                <a:gd name="T77" fmla="*/ 43 h 280"/>
                <a:gd name="T78" fmla="*/ 53 w 316"/>
                <a:gd name="T79" fmla="*/ 43 h 280"/>
                <a:gd name="T80" fmla="*/ 62 w 316"/>
                <a:gd name="T81" fmla="*/ 40 h 280"/>
                <a:gd name="T82" fmla="*/ 62 w 316"/>
                <a:gd name="T83" fmla="*/ 40 h 280"/>
                <a:gd name="T84" fmla="*/ 103 w 316"/>
                <a:gd name="T85" fmla="*/ 40 h 280"/>
                <a:gd name="T86" fmla="*/ 103 w 316"/>
                <a:gd name="T87" fmla="*/ 40 h 280"/>
                <a:gd name="T88" fmla="*/ 103 w 316"/>
                <a:gd name="T89" fmla="*/ 40 h 280"/>
                <a:gd name="T90" fmla="*/ 103 w 316"/>
                <a:gd name="T91" fmla="*/ 38 h 280"/>
                <a:gd name="T92" fmla="*/ 62 w 316"/>
                <a:gd name="T93" fmla="*/ 38 h 280"/>
                <a:gd name="T94" fmla="*/ 62 w 316"/>
                <a:gd name="T95" fmla="*/ 38 h 280"/>
                <a:gd name="T96" fmla="*/ 124 w 316"/>
                <a:gd name="T97" fmla="*/ 9 h 280"/>
                <a:gd name="T98" fmla="*/ 167 w 316"/>
                <a:gd name="T99" fmla="*/ 2 h 280"/>
                <a:gd name="T100" fmla="*/ 167 w 316"/>
                <a:gd name="T101" fmla="*/ 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280">
                  <a:moveTo>
                    <a:pt x="316" y="278"/>
                  </a:moveTo>
                  <a:lnTo>
                    <a:pt x="316" y="280"/>
                  </a:lnTo>
                  <a:lnTo>
                    <a:pt x="316" y="278"/>
                  </a:lnTo>
                  <a:close/>
                  <a:moveTo>
                    <a:pt x="145" y="221"/>
                  </a:moveTo>
                  <a:lnTo>
                    <a:pt x="143" y="221"/>
                  </a:lnTo>
                  <a:lnTo>
                    <a:pt x="145" y="221"/>
                  </a:lnTo>
                  <a:close/>
                  <a:moveTo>
                    <a:pt x="138" y="211"/>
                  </a:moveTo>
                  <a:lnTo>
                    <a:pt x="138" y="214"/>
                  </a:lnTo>
                  <a:lnTo>
                    <a:pt x="138" y="211"/>
                  </a:lnTo>
                  <a:close/>
                  <a:moveTo>
                    <a:pt x="84" y="114"/>
                  </a:moveTo>
                  <a:lnTo>
                    <a:pt x="84" y="116"/>
                  </a:lnTo>
                  <a:lnTo>
                    <a:pt x="81" y="116"/>
                  </a:lnTo>
                  <a:lnTo>
                    <a:pt x="81" y="114"/>
                  </a:lnTo>
                  <a:lnTo>
                    <a:pt x="84" y="114"/>
                  </a:lnTo>
                  <a:close/>
                  <a:moveTo>
                    <a:pt x="93" y="114"/>
                  </a:moveTo>
                  <a:lnTo>
                    <a:pt x="93" y="116"/>
                  </a:lnTo>
                  <a:lnTo>
                    <a:pt x="93" y="114"/>
                  </a:lnTo>
                  <a:close/>
                  <a:moveTo>
                    <a:pt x="65" y="109"/>
                  </a:moveTo>
                  <a:lnTo>
                    <a:pt x="62" y="109"/>
                  </a:lnTo>
                  <a:lnTo>
                    <a:pt x="65" y="109"/>
                  </a:lnTo>
                  <a:close/>
                  <a:moveTo>
                    <a:pt x="65" y="104"/>
                  </a:moveTo>
                  <a:lnTo>
                    <a:pt x="67" y="104"/>
                  </a:lnTo>
                  <a:lnTo>
                    <a:pt x="65" y="104"/>
                  </a:lnTo>
                  <a:close/>
                  <a:moveTo>
                    <a:pt x="57" y="97"/>
                  </a:moveTo>
                  <a:lnTo>
                    <a:pt x="57" y="95"/>
                  </a:lnTo>
                  <a:lnTo>
                    <a:pt x="57" y="97"/>
                  </a:lnTo>
                  <a:close/>
                  <a:moveTo>
                    <a:pt x="57" y="97"/>
                  </a:moveTo>
                  <a:lnTo>
                    <a:pt x="57" y="95"/>
                  </a:lnTo>
                  <a:lnTo>
                    <a:pt x="57" y="97"/>
                  </a:lnTo>
                  <a:close/>
                  <a:moveTo>
                    <a:pt x="57" y="97"/>
                  </a:moveTo>
                  <a:lnTo>
                    <a:pt x="57" y="95"/>
                  </a:lnTo>
                  <a:lnTo>
                    <a:pt x="57" y="97"/>
                  </a:lnTo>
                  <a:close/>
                  <a:moveTo>
                    <a:pt x="57" y="97"/>
                  </a:moveTo>
                  <a:lnTo>
                    <a:pt x="57" y="95"/>
                  </a:lnTo>
                  <a:lnTo>
                    <a:pt x="57" y="97"/>
                  </a:lnTo>
                  <a:close/>
                  <a:moveTo>
                    <a:pt x="31" y="95"/>
                  </a:moveTo>
                  <a:lnTo>
                    <a:pt x="29" y="95"/>
                  </a:lnTo>
                  <a:lnTo>
                    <a:pt x="31" y="95"/>
                  </a:lnTo>
                  <a:close/>
                  <a:moveTo>
                    <a:pt x="29" y="92"/>
                  </a:moveTo>
                  <a:lnTo>
                    <a:pt x="31" y="92"/>
                  </a:lnTo>
                  <a:lnTo>
                    <a:pt x="29" y="92"/>
                  </a:lnTo>
                  <a:close/>
                  <a:moveTo>
                    <a:pt x="3" y="64"/>
                  </a:moveTo>
                  <a:lnTo>
                    <a:pt x="0" y="64"/>
                  </a:lnTo>
                  <a:lnTo>
                    <a:pt x="3" y="64"/>
                  </a:lnTo>
                  <a:close/>
                  <a:moveTo>
                    <a:pt x="0" y="64"/>
                  </a:moveTo>
                  <a:lnTo>
                    <a:pt x="0" y="62"/>
                  </a:lnTo>
                  <a:lnTo>
                    <a:pt x="0" y="64"/>
                  </a:lnTo>
                  <a:close/>
                  <a:moveTo>
                    <a:pt x="10" y="52"/>
                  </a:moveTo>
                  <a:lnTo>
                    <a:pt x="8" y="54"/>
                  </a:lnTo>
                  <a:lnTo>
                    <a:pt x="8" y="52"/>
                  </a:lnTo>
                  <a:lnTo>
                    <a:pt x="10" y="52"/>
                  </a:lnTo>
                  <a:close/>
                  <a:moveTo>
                    <a:pt x="12" y="52"/>
                  </a:moveTo>
                  <a:lnTo>
                    <a:pt x="12" y="50"/>
                  </a:lnTo>
                  <a:lnTo>
                    <a:pt x="12" y="52"/>
                  </a:lnTo>
                  <a:close/>
                  <a:moveTo>
                    <a:pt x="15" y="50"/>
                  </a:moveTo>
                  <a:lnTo>
                    <a:pt x="15" y="52"/>
                  </a:lnTo>
                  <a:lnTo>
                    <a:pt x="15" y="50"/>
                  </a:lnTo>
                  <a:close/>
                  <a:moveTo>
                    <a:pt x="19" y="50"/>
                  </a:moveTo>
                  <a:lnTo>
                    <a:pt x="19" y="47"/>
                  </a:lnTo>
                  <a:lnTo>
                    <a:pt x="19" y="50"/>
                  </a:lnTo>
                  <a:close/>
                  <a:moveTo>
                    <a:pt x="103" y="50"/>
                  </a:moveTo>
                  <a:lnTo>
                    <a:pt x="103" y="47"/>
                  </a:lnTo>
                  <a:lnTo>
                    <a:pt x="103" y="50"/>
                  </a:lnTo>
                  <a:close/>
                  <a:moveTo>
                    <a:pt x="46" y="47"/>
                  </a:moveTo>
                  <a:lnTo>
                    <a:pt x="46" y="45"/>
                  </a:lnTo>
                  <a:lnTo>
                    <a:pt x="46" y="47"/>
                  </a:lnTo>
                  <a:close/>
                  <a:moveTo>
                    <a:pt x="46" y="45"/>
                  </a:moveTo>
                  <a:lnTo>
                    <a:pt x="43" y="45"/>
                  </a:lnTo>
                  <a:lnTo>
                    <a:pt x="46" y="45"/>
                  </a:lnTo>
                  <a:close/>
                  <a:moveTo>
                    <a:pt x="65" y="45"/>
                  </a:moveTo>
                  <a:lnTo>
                    <a:pt x="65" y="43"/>
                  </a:lnTo>
                  <a:lnTo>
                    <a:pt x="65" y="45"/>
                  </a:lnTo>
                  <a:close/>
                  <a:moveTo>
                    <a:pt x="46" y="43"/>
                  </a:moveTo>
                  <a:lnTo>
                    <a:pt x="46" y="45"/>
                  </a:lnTo>
                  <a:lnTo>
                    <a:pt x="46" y="43"/>
                  </a:lnTo>
                  <a:close/>
                  <a:moveTo>
                    <a:pt x="43" y="43"/>
                  </a:moveTo>
                  <a:lnTo>
                    <a:pt x="43" y="45"/>
                  </a:lnTo>
                  <a:lnTo>
                    <a:pt x="43" y="43"/>
                  </a:lnTo>
                  <a:close/>
                  <a:moveTo>
                    <a:pt x="50" y="43"/>
                  </a:moveTo>
                  <a:lnTo>
                    <a:pt x="53" y="43"/>
                  </a:lnTo>
                  <a:lnTo>
                    <a:pt x="50" y="43"/>
                  </a:lnTo>
                  <a:close/>
                  <a:moveTo>
                    <a:pt x="62" y="40"/>
                  </a:moveTo>
                  <a:lnTo>
                    <a:pt x="65" y="40"/>
                  </a:lnTo>
                  <a:lnTo>
                    <a:pt x="62" y="40"/>
                  </a:lnTo>
                  <a:close/>
                  <a:moveTo>
                    <a:pt x="103" y="38"/>
                  </a:moveTo>
                  <a:lnTo>
                    <a:pt x="103" y="40"/>
                  </a:lnTo>
                  <a:lnTo>
                    <a:pt x="103" y="38"/>
                  </a:lnTo>
                  <a:close/>
                  <a:moveTo>
                    <a:pt x="103" y="40"/>
                  </a:moveTo>
                  <a:lnTo>
                    <a:pt x="103" y="38"/>
                  </a:lnTo>
                  <a:lnTo>
                    <a:pt x="103" y="40"/>
                  </a:lnTo>
                  <a:close/>
                  <a:moveTo>
                    <a:pt x="105" y="38"/>
                  </a:moveTo>
                  <a:lnTo>
                    <a:pt x="103" y="38"/>
                  </a:lnTo>
                  <a:lnTo>
                    <a:pt x="105" y="38"/>
                  </a:lnTo>
                  <a:close/>
                  <a:moveTo>
                    <a:pt x="62" y="38"/>
                  </a:moveTo>
                  <a:lnTo>
                    <a:pt x="60" y="38"/>
                  </a:lnTo>
                  <a:lnTo>
                    <a:pt x="62" y="38"/>
                  </a:lnTo>
                  <a:close/>
                  <a:moveTo>
                    <a:pt x="126" y="9"/>
                  </a:moveTo>
                  <a:lnTo>
                    <a:pt x="124" y="9"/>
                  </a:lnTo>
                  <a:lnTo>
                    <a:pt x="126" y="9"/>
                  </a:lnTo>
                  <a:close/>
                  <a:moveTo>
                    <a:pt x="167" y="2"/>
                  </a:moveTo>
                  <a:lnTo>
                    <a:pt x="167" y="0"/>
                  </a:lnTo>
                  <a:lnTo>
                    <a:pt x="167" y="2"/>
                  </a:lnTo>
                  <a:close/>
                </a:path>
              </a:pathLst>
            </a:custGeom>
            <a:grpFill/>
            <a:ln w="6350">
              <a:solidFill>
                <a:schemeClr val="bg1"/>
              </a:solidFill>
              <a:prstDash val="solid"/>
              <a:round/>
              <a:headEnd/>
              <a:tailEnd/>
            </a:ln>
          </p:spPr>
          <p:txBody>
            <a:bodyPr/>
            <a:lstStyle/>
            <a:p>
              <a:endParaRPr lang="en-US">
                <a:solidFill>
                  <a:srgbClr val="000000"/>
                </a:solidFill>
              </a:endParaRPr>
            </a:p>
          </p:txBody>
        </p:sp>
      </p:grpSp>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2. </a:t>
            </a:r>
            <a:r>
              <a:rPr lang="en-GB" kern="0" dirty="0" err="1" smtClean="0">
                <a:solidFill>
                  <a:srgbClr val="0F2D69"/>
                </a:solidFill>
                <a:latin typeface="Century Gothic"/>
                <a:cs typeface="Arial"/>
              </a:rPr>
              <a:t>Struttura</a:t>
            </a:r>
            <a:r>
              <a:rPr lang="en-GB" kern="0" dirty="0" smtClean="0">
                <a:solidFill>
                  <a:srgbClr val="0F2D69"/>
                </a:solidFill>
                <a:latin typeface="Century Gothic"/>
                <a:cs typeface="Arial"/>
              </a:rPr>
              <a:t> del </a:t>
            </a:r>
            <a:r>
              <a:rPr lang="en-GB" kern="0" dirty="0" err="1" smtClean="0">
                <a:solidFill>
                  <a:srgbClr val="0F2D69"/>
                </a:solidFill>
                <a:latin typeface="Century Gothic"/>
                <a:cs typeface="Arial"/>
              </a:rPr>
              <a:t>Regolamento</a:t>
            </a:r>
            <a:r>
              <a:rPr lang="en-GB" kern="0" dirty="0" smtClean="0">
                <a:solidFill>
                  <a:srgbClr val="0F2D69"/>
                </a:solidFill>
                <a:latin typeface="Century Gothic"/>
                <a:cs typeface="Arial"/>
              </a:rPr>
              <a:t> UE 2017/625</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6" name="Rectangle 5"/>
          <p:cNvSpPr/>
          <p:nvPr/>
        </p:nvSpPr>
        <p:spPr bwMode="auto">
          <a:xfrm>
            <a:off x="293210" y="949395"/>
            <a:ext cx="9803289" cy="5760752"/>
          </a:xfrm>
          <a:prstGeom prst="rect">
            <a:avLst/>
          </a:prstGeom>
          <a:noFill/>
          <a:ln w="19050" algn="ctr">
            <a:noFill/>
            <a:miter lim="800000"/>
            <a:headEnd/>
            <a:tailEnd/>
          </a:ln>
        </p:spPr>
        <p:txBody>
          <a:bodyPr wrap="square" lIns="88900" tIns="88900" rIns="88900" bIns="88900" rtlCol="0" anchor="t"/>
          <a:lstStyle/>
          <a:p>
            <a:pPr lvl="0"/>
            <a:r>
              <a:rPr lang="it-IT" b="1" dirty="0">
                <a:solidFill>
                  <a:srgbClr val="012169"/>
                </a:solidFill>
                <a:latin typeface="Century Gothic" panose="020B0502020202020204" pitchFamily="34" charset="0"/>
              </a:rPr>
              <a:t>Artt. 1-15 </a:t>
            </a:r>
            <a:r>
              <a:rPr lang="it-IT" dirty="0">
                <a:solidFill>
                  <a:srgbClr val="012169"/>
                </a:solidFill>
                <a:latin typeface="Century Gothic" panose="020B0502020202020204" pitchFamily="34" charset="0"/>
              </a:rPr>
              <a:t>Ambito di applicazione, definizioni, trasparenza, responsabilità e obblighi delle Autorità Competenti e degli Operatori</a:t>
            </a:r>
            <a:r>
              <a:rPr lang="it-IT" dirty="0" smtClean="0">
                <a:solidFill>
                  <a:srgbClr val="012169"/>
                </a:solidFill>
                <a:latin typeface="Century Gothic" panose="020B0502020202020204" pitchFamily="34" charset="0"/>
              </a:rPr>
              <a:t>.</a:t>
            </a:r>
          </a:p>
          <a:p>
            <a:pPr lvl="0"/>
            <a:r>
              <a:rPr lang="it-IT" dirty="0">
                <a:solidFill>
                  <a:srgbClr val="012169"/>
                </a:solidFill>
                <a:latin typeface="Century Gothic" panose="020B0502020202020204" pitchFamily="34" charset="0"/>
              </a:rPr>
              <a:t/>
            </a:r>
            <a:br>
              <a:rPr lang="it-IT" dirty="0">
                <a:solidFill>
                  <a:srgbClr val="012169"/>
                </a:solidFill>
                <a:latin typeface="Century Gothic" panose="020B0502020202020204" pitchFamily="34" charset="0"/>
              </a:rPr>
            </a:br>
            <a:r>
              <a:rPr lang="it-IT" b="1" dirty="0">
                <a:solidFill>
                  <a:srgbClr val="012169"/>
                </a:solidFill>
                <a:latin typeface="Century Gothic" panose="020B0502020202020204" pitchFamily="34" charset="0"/>
              </a:rPr>
              <a:t>Artt. 16-27</a:t>
            </a:r>
            <a:r>
              <a:rPr lang="it-IT" dirty="0">
                <a:solidFill>
                  <a:srgbClr val="012169"/>
                </a:solidFill>
                <a:latin typeface="Century Gothic" panose="020B0502020202020204" pitchFamily="34" charset="0"/>
              </a:rPr>
              <a:t> Requisiti specifici settoriali. POA (prodotti origine animale), residui, benessere animale, OGM, produzioni organiche, DOP, IGP, STG, nuovi rischi. </a:t>
            </a:r>
            <a:endParaRPr lang="it-IT" dirty="0" smtClean="0">
              <a:solidFill>
                <a:srgbClr val="012169"/>
              </a:solidFill>
              <a:latin typeface="Century Gothic" panose="020B0502020202020204" pitchFamily="34" charset="0"/>
            </a:endParaRPr>
          </a:p>
          <a:p>
            <a:pPr lvl="0"/>
            <a:r>
              <a:rPr lang="it-IT" dirty="0">
                <a:solidFill>
                  <a:srgbClr val="012169"/>
                </a:solidFill>
                <a:latin typeface="Century Gothic" panose="020B0502020202020204" pitchFamily="34" charset="0"/>
              </a:rPr>
              <a:t/>
            </a:r>
            <a:br>
              <a:rPr lang="it-IT" dirty="0">
                <a:solidFill>
                  <a:srgbClr val="012169"/>
                </a:solidFill>
                <a:latin typeface="Century Gothic" panose="020B0502020202020204" pitchFamily="34" charset="0"/>
              </a:rPr>
            </a:br>
            <a:r>
              <a:rPr lang="it-IT" b="1" dirty="0">
                <a:solidFill>
                  <a:srgbClr val="012169"/>
                </a:solidFill>
                <a:latin typeface="Century Gothic" panose="020B0502020202020204" pitchFamily="34" charset="0"/>
              </a:rPr>
              <a:t>Artt. 28-33</a:t>
            </a:r>
            <a:r>
              <a:rPr lang="it-IT" dirty="0">
                <a:solidFill>
                  <a:srgbClr val="012169"/>
                </a:solidFill>
                <a:latin typeface="Century Gothic" panose="020B0502020202020204" pitchFamily="34" charset="0"/>
              </a:rPr>
              <a:t> Delega compiti delle </a:t>
            </a:r>
            <a:r>
              <a:rPr lang="it-IT" dirty="0" smtClean="0">
                <a:solidFill>
                  <a:srgbClr val="012169"/>
                </a:solidFill>
                <a:latin typeface="Century Gothic" panose="020B0502020202020204" pitchFamily="34" charset="0"/>
              </a:rPr>
              <a:t>AC.</a:t>
            </a:r>
          </a:p>
          <a:p>
            <a:pPr lvl="0"/>
            <a:r>
              <a:rPr lang="it-IT" dirty="0">
                <a:solidFill>
                  <a:srgbClr val="012169"/>
                </a:solidFill>
                <a:latin typeface="Century Gothic" panose="020B0502020202020204" pitchFamily="34" charset="0"/>
              </a:rPr>
              <a:t/>
            </a:r>
            <a:br>
              <a:rPr lang="it-IT" dirty="0">
                <a:solidFill>
                  <a:srgbClr val="012169"/>
                </a:solidFill>
                <a:latin typeface="Century Gothic" panose="020B0502020202020204" pitchFamily="34" charset="0"/>
              </a:rPr>
            </a:br>
            <a:r>
              <a:rPr lang="it-IT" b="1" dirty="0">
                <a:solidFill>
                  <a:srgbClr val="012169"/>
                </a:solidFill>
                <a:latin typeface="Century Gothic" panose="020B0502020202020204" pitchFamily="34" charset="0"/>
              </a:rPr>
              <a:t>Artt. 34-42 </a:t>
            </a:r>
            <a:r>
              <a:rPr lang="it-IT" dirty="0">
                <a:solidFill>
                  <a:srgbClr val="012169"/>
                </a:solidFill>
                <a:latin typeface="Century Gothic" panose="020B0502020202020204" pitchFamily="34" charset="0"/>
              </a:rPr>
              <a:t>Campionamenti, analisi, prove e </a:t>
            </a:r>
            <a:r>
              <a:rPr lang="it-IT" dirty="0" smtClean="0">
                <a:solidFill>
                  <a:srgbClr val="012169"/>
                </a:solidFill>
                <a:latin typeface="Century Gothic" panose="020B0502020202020204" pitchFamily="34" charset="0"/>
              </a:rPr>
              <a:t>diagnosi.</a:t>
            </a:r>
          </a:p>
          <a:p>
            <a:pPr lvl="0"/>
            <a:r>
              <a:rPr lang="it-IT" dirty="0">
                <a:solidFill>
                  <a:srgbClr val="012169"/>
                </a:solidFill>
                <a:latin typeface="Century Gothic" panose="020B0502020202020204" pitchFamily="34" charset="0"/>
              </a:rPr>
              <a:t/>
            </a:r>
            <a:br>
              <a:rPr lang="it-IT" dirty="0">
                <a:solidFill>
                  <a:srgbClr val="012169"/>
                </a:solidFill>
                <a:latin typeface="Century Gothic" panose="020B0502020202020204" pitchFamily="34" charset="0"/>
              </a:rPr>
            </a:br>
            <a:r>
              <a:rPr lang="it-IT" b="1" dirty="0">
                <a:solidFill>
                  <a:srgbClr val="012169"/>
                </a:solidFill>
                <a:latin typeface="Century Gothic" panose="020B0502020202020204" pitchFamily="34" charset="0"/>
              </a:rPr>
              <a:t>Artt. 43-77 </a:t>
            </a:r>
            <a:r>
              <a:rPr lang="it-IT" dirty="0">
                <a:solidFill>
                  <a:srgbClr val="012169"/>
                </a:solidFill>
                <a:latin typeface="Century Gothic" panose="020B0502020202020204" pitchFamily="34" charset="0"/>
              </a:rPr>
              <a:t>Controllo ufficiali sugli animali e sulle merci in entrata </a:t>
            </a:r>
            <a:r>
              <a:rPr lang="it-IT" dirty="0" smtClean="0">
                <a:solidFill>
                  <a:srgbClr val="012169"/>
                </a:solidFill>
                <a:latin typeface="Century Gothic" panose="020B0502020202020204" pitchFamily="34" charset="0"/>
              </a:rPr>
              <a:t>nell’Unione.</a:t>
            </a:r>
          </a:p>
          <a:p>
            <a:pPr lvl="0"/>
            <a:r>
              <a:rPr lang="it-IT" dirty="0">
                <a:solidFill>
                  <a:srgbClr val="012169"/>
                </a:solidFill>
                <a:latin typeface="Century Gothic" panose="020B0502020202020204" pitchFamily="34" charset="0"/>
              </a:rPr>
              <a:t/>
            </a:r>
            <a:br>
              <a:rPr lang="it-IT" dirty="0">
                <a:solidFill>
                  <a:srgbClr val="012169"/>
                </a:solidFill>
                <a:latin typeface="Century Gothic" panose="020B0502020202020204" pitchFamily="34" charset="0"/>
              </a:rPr>
            </a:br>
            <a:r>
              <a:rPr lang="it-IT" b="1" dirty="0">
                <a:solidFill>
                  <a:srgbClr val="012169"/>
                </a:solidFill>
                <a:latin typeface="Century Gothic" panose="020B0502020202020204" pitchFamily="34" charset="0"/>
              </a:rPr>
              <a:t>Artt. 78-91 </a:t>
            </a:r>
            <a:r>
              <a:rPr lang="it-IT" dirty="0">
                <a:solidFill>
                  <a:srgbClr val="012169"/>
                </a:solidFill>
                <a:latin typeface="Century Gothic" panose="020B0502020202020204" pitchFamily="34" charset="0"/>
              </a:rPr>
              <a:t>Finanziamento, Controllo Ufficiale </a:t>
            </a:r>
            <a:r>
              <a:rPr lang="it-IT" dirty="0" smtClean="0">
                <a:solidFill>
                  <a:srgbClr val="012169"/>
                </a:solidFill>
                <a:latin typeface="Century Gothic" panose="020B0502020202020204" pitchFamily="34" charset="0"/>
              </a:rPr>
              <a:t>Certificazioni.</a:t>
            </a:r>
          </a:p>
          <a:p>
            <a:pPr lvl="0"/>
            <a:r>
              <a:rPr lang="it-IT" dirty="0">
                <a:solidFill>
                  <a:srgbClr val="012169"/>
                </a:solidFill>
                <a:latin typeface="Century Gothic" panose="020B0502020202020204" pitchFamily="34" charset="0"/>
              </a:rPr>
              <a:t/>
            </a:r>
            <a:br>
              <a:rPr lang="it-IT" dirty="0">
                <a:solidFill>
                  <a:srgbClr val="012169"/>
                </a:solidFill>
                <a:latin typeface="Century Gothic" panose="020B0502020202020204" pitchFamily="34" charset="0"/>
              </a:rPr>
            </a:br>
            <a:r>
              <a:rPr lang="it-IT" b="1" dirty="0">
                <a:solidFill>
                  <a:srgbClr val="012169"/>
                </a:solidFill>
                <a:latin typeface="Century Gothic" panose="020B0502020202020204" pitchFamily="34" charset="0"/>
              </a:rPr>
              <a:t>Artt. 92-101</a:t>
            </a:r>
            <a:r>
              <a:rPr lang="it-IT" dirty="0">
                <a:solidFill>
                  <a:srgbClr val="012169"/>
                </a:solidFill>
                <a:latin typeface="Century Gothic" panose="020B0502020202020204" pitchFamily="34" charset="0"/>
              </a:rPr>
              <a:t> LCR (laboratori riferimento comunitari), CCR (laboratori di riferimento nazionali) </a:t>
            </a:r>
            <a:endParaRPr lang="it-IT" dirty="0" smtClean="0">
              <a:solidFill>
                <a:srgbClr val="012169"/>
              </a:solidFill>
              <a:latin typeface="Century Gothic" panose="020B0502020202020204" pitchFamily="34" charset="0"/>
            </a:endParaRPr>
          </a:p>
          <a:p>
            <a:pPr lvl="0"/>
            <a:r>
              <a:rPr lang="it-IT" dirty="0">
                <a:solidFill>
                  <a:srgbClr val="012169"/>
                </a:solidFill>
                <a:latin typeface="Century Gothic" panose="020B0502020202020204" pitchFamily="34" charset="0"/>
              </a:rPr>
              <a:t/>
            </a:r>
            <a:br>
              <a:rPr lang="it-IT" dirty="0">
                <a:solidFill>
                  <a:srgbClr val="012169"/>
                </a:solidFill>
                <a:latin typeface="Century Gothic" panose="020B0502020202020204" pitchFamily="34" charset="0"/>
              </a:rPr>
            </a:br>
            <a:r>
              <a:rPr lang="it-IT" b="1" dirty="0">
                <a:solidFill>
                  <a:srgbClr val="012169"/>
                </a:solidFill>
                <a:latin typeface="Century Gothic" panose="020B0502020202020204" pitchFamily="34" charset="0"/>
              </a:rPr>
              <a:t>Artt. 102-108 </a:t>
            </a:r>
            <a:r>
              <a:rPr lang="it-IT" dirty="0">
                <a:solidFill>
                  <a:srgbClr val="012169"/>
                </a:solidFill>
                <a:latin typeface="Century Gothic" panose="020B0502020202020204" pitchFamily="34" charset="0"/>
              </a:rPr>
              <a:t>Assistenza amministrativa e </a:t>
            </a:r>
            <a:r>
              <a:rPr lang="it-IT" dirty="0" smtClean="0">
                <a:solidFill>
                  <a:srgbClr val="012169"/>
                </a:solidFill>
                <a:latin typeface="Century Gothic" panose="020B0502020202020204" pitchFamily="34" charset="0"/>
              </a:rPr>
              <a:t>cooperazione</a:t>
            </a:r>
          </a:p>
          <a:p>
            <a:pPr lvl="0"/>
            <a:r>
              <a:rPr lang="it-IT" dirty="0" smtClean="0">
                <a:solidFill>
                  <a:srgbClr val="012169"/>
                </a:solidFill>
                <a:latin typeface="Century Gothic" panose="020B0502020202020204" pitchFamily="34" charset="0"/>
              </a:rPr>
              <a:t> </a:t>
            </a:r>
            <a:r>
              <a:rPr lang="it-IT" dirty="0">
                <a:solidFill>
                  <a:srgbClr val="012169"/>
                </a:solidFill>
                <a:latin typeface="Century Gothic" panose="020B0502020202020204" pitchFamily="34" charset="0"/>
              </a:rPr>
              <a:t/>
            </a:r>
            <a:br>
              <a:rPr lang="it-IT" dirty="0">
                <a:solidFill>
                  <a:srgbClr val="012169"/>
                </a:solidFill>
                <a:latin typeface="Century Gothic" panose="020B0502020202020204" pitchFamily="34" charset="0"/>
              </a:rPr>
            </a:br>
            <a:r>
              <a:rPr lang="it-IT" b="1" dirty="0">
                <a:solidFill>
                  <a:srgbClr val="012169"/>
                </a:solidFill>
                <a:latin typeface="Century Gothic" panose="020B0502020202020204" pitchFamily="34" charset="0"/>
              </a:rPr>
              <a:t>Artt. 142-167 </a:t>
            </a:r>
            <a:r>
              <a:rPr lang="it-IT" dirty="0">
                <a:solidFill>
                  <a:srgbClr val="012169"/>
                </a:solidFill>
                <a:latin typeface="Century Gothic" panose="020B0502020202020204" pitchFamily="34" charset="0"/>
              </a:rPr>
              <a:t>Disposizioni procedurali, finali e transitorie</a:t>
            </a:r>
          </a:p>
        </p:txBody>
      </p:sp>
      <p:pic>
        <p:nvPicPr>
          <p:cNvPr id="139" name="Immagine 1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34515026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06377" y="1011386"/>
            <a:ext cx="7379247" cy="5430677"/>
            <a:chOff x="586147" y="1793883"/>
            <a:chExt cx="5055825" cy="4502160"/>
          </a:xfrm>
          <a:solidFill>
            <a:schemeClr val="bg1">
              <a:lumMod val="85000"/>
              <a:alpha val="56000"/>
            </a:schemeClr>
          </a:solidFill>
        </p:grpSpPr>
        <p:sp>
          <p:nvSpPr>
            <p:cNvPr id="9" name="Freeform 50272"/>
            <p:cNvSpPr>
              <a:spLocks/>
            </p:cNvSpPr>
            <p:nvPr/>
          </p:nvSpPr>
          <p:spPr bwMode="auto">
            <a:xfrm>
              <a:off x="3035298" y="5248292"/>
              <a:ext cx="93663" cy="219075"/>
            </a:xfrm>
            <a:custGeom>
              <a:avLst/>
              <a:gdLst>
                <a:gd name="T0" fmla="*/ 16 w 59"/>
                <a:gd name="T1" fmla="*/ 9 h 138"/>
                <a:gd name="T2" fmla="*/ 23 w 59"/>
                <a:gd name="T3" fmla="*/ 7 h 138"/>
                <a:gd name="T4" fmla="*/ 31 w 59"/>
                <a:gd name="T5" fmla="*/ 7 h 138"/>
                <a:gd name="T6" fmla="*/ 31 w 59"/>
                <a:gd name="T7" fmla="*/ 12 h 138"/>
                <a:gd name="T8" fmla="*/ 35 w 59"/>
                <a:gd name="T9" fmla="*/ 17 h 138"/>
                <a:gd name="T10" fmla="*/ 40 w 59"/>
                <a:gd name="T11" fmla="*/ 21 h 138"/>
                <a:gd name="T12" fmla="*/ 42 w 59"/>
                <a:gd name="T13" fmla="*/ 28 h 138"/>
                <a:gd name="T14" fmla="*/ 45 w 59"/>
                <a:gd name="T15" fmla="*/ 36 h 138"/>
                <a:gd name="T16" fmla="*/ 42 w 59"/>
                <a:gd name="T17" fmla="*/ 38 h 138"/>
                <a:gd name="T18" fmla="*/ 42 w 59"/>
                <a:gd name="T19" fmla="*/ 47 h 138"/>
                <a:gd name="T20" fmla="*/ 40 w 59"/>
                <a:gd name="T21" fmla="*/ 55 h 138"/>
                <a:gd name="T22" fmla="*/ 42 w 59"/>
                <a:gd name="T23" fmla="*/ 57 h 138"/>
                <a:gd name="T24" fmla="*/ 42 w 59"/>
                <a:gd name="T25" fmla="*/ 64 h 138"/>
                <a:gd name="T26" fmla="*/ 45 w 59"/>
                <a:gd name="T27" fmla="*/ 71 h 138"/>
                <a:gd name="T28" fmla="*/ 50 w 59"/>
                <a:gd name="T29" fmla="*/ 81 h 138"/>
                <a:gd name="T30" fmla="*/ 57 w 59"/>
                <a:gd name="T31" fmla="*/ 83 h 138"/>
                <a:gd name="T32" fmla="*/ 59 w 59"/>
                <a:gd name="T33" fmla="*/ 90 h 138"/>
                <a:gd name="T34" fmla="*/ 57 w 59"/>
                <a:gd name="T35" fmla="*/ 97 h 138"/>
                <a:gd name="T36" fmla="*/ 54 w 59"/>
                <a:gd name="T37" fmla="*/ 100 h 138"/>
                <a:gd name="T38" fmla="*/ 50 w 59"/>
                <a:gd name="T39" fmla="*/ 104 h 138"/>
                <a:gd name="T40" fmla="*/ 47 w 59"/>
                <a:gd name="T41" fmla="*/ 112 h 138"/>
                <a:gd name="T42" fmla="*/ 45 w 59"/>
                <a:gd name="T43" fmla="*/ 119 h 138"/>
                <a:gd name="T44" fmla="*/ 38 w 59"/>
                <a:gd name="T45" fmla="*/ 121 h 138"/>
                <a:gd name="T46" fmla="*/ 35 w 59"/>
                <a:gd name="T47" fmla="*/ 124 h 138"/>
                <a:gd name="T48" fmla="*/ 38 w 59"/>
                <a:gd name="T49" fmla="*/ 133 h 138"/>
                <a:gd name="T50" fmla="*/ 33 w 59"/>
                <a:gd name="T51" fmla="*/ 133 h 138"/>
                <a:gd name="T52" fmla="*/ 33 w 59"/>
                <a:gd name="T53" fmla="*/ 138 h 138"/>
                <a:gd name="T54" fmla="*/ 33 w 59"/>
                <a:gd name="T55" fmla="*/ 138 h 138"/>
                <a:gd name="T56" fmla="*/ 26 w 59"/>
                <a:gd name="T57" fmla="*/ 135 h 138"/>
                <a:gd name="T58" fmla="*/ 23 w 59"/>
                <a:gd name="T59" fmla="*/ 131 h 138"/>
                <a:gd name="T60" fmla="*/ 26 w 59"/>
                <a:gd name="T61" fmla="*/ 128 h 138"/>
                <a:gd name="T62" fmla="*/ 23 w 59"/>
                <a:gd name="T63" fmla="*/ 126 h 138"/>
                <a:gd name="T64" fmla="*/ 19 w 59"/>
                <a:gd name="T65" fmla="*/ 119 h 138"/>
                <a:gd name="T66" fmla="*/ 16 w 59"/>
                <a:gd name="T67" fmla="*/ 116 h 138"/>
                <a:gd name="T68" fmla="*/ 9 w 59"/>
                <a:gd name="T69" fmla="*/ 114 h 138"/>
                <a:gd name="T70" fmla="*/ 4 w 59"/>
                <a:gd name="T71" fmla="*/ 109 h 138"/>
                <a:gd name="T72" fmla="*/ 2 w 59"/>
                <a:gd name="T73" fmla="*/ 102 h 138"/>
                <a:gd name="T74" fmla="*/ 7 w 59"/>
                <a:gd name="T75" fmla="*/ 107 h 138"/>
                <a:gd name="T76" fmla="*/ 4 w 59"/>
                <a:gd name="T77" fmla="*/ 100 h 138"/>
                <a:gd name="T78" fmla="*/ 4 w 59"/>
                <a:gd name="T79" fmla="*/ 95 h 138"/>
                <a:gd name="T80" fmla="*/ 2 w 59"/>
                <a:gd name="T81" fmla="*/ 93 h 138"/>
                <a:gd name="T82" fmla="*/ 4 w 59"/>
                <a:gd name="T83" fmla="*/ 90 h 138"/>
                <a:gd name="T84" fmla="*/ 4 w 59"/>
                <a:gd name="T85" fmla="*/ 81 h 138"/>
                <a:gd name="T86" fmla="*/ 7 w 59"/>
                <a:gd name="T87" fmla="*/ 78 h 138"/>
                <a:gd name="T88" fmla="*/ 7 w 59"/>
                <a:gd name="T89" fmla="*/ 74 h 138"/>
                <a:gd name="T90" fmla="*/ 9 w 59"/>
                <a:gd name="T91" fmla="*/ 66 h 138"/>
                <a:gd name="T92" fmla="*/ 7 w 59"/>
                <a:gd name="T93" fmla="*/ 62 h 138"/>
                <a:gd name="T94" fmla="*/ 4 w 59"/>
                <a:gd name="T95" fmla="*/ 59 h 138"/>
                <a:gd name="T96" fmla="*/ 7 w 59"/>
                <a:gd name="T97" fmla="*/ 57 h 138"/>
                <a:gd name="T98" fmla="*/ 7 w 59"/>
                <a:gd name="T99" fmla="*/ 52 h 138"/>
                <a:gd name="T100" fmla="*/ 12 w 59"/>
                <a:gd name="T101" fmla="*/ 47 h 138"/>
                <a:gd name="T102" fmla="*/ 12 w 59"/>
                <a:gd name="T103" fmla="*/ 47 h 138"/>
                <a:gd name="T104" fmla="*/ 12 w 59"/>
                <a:gd name="T105" fmla="*/ 45 h 138"/>
                <a:gd name="T106" fmla="*/ 12 w 59"/>
                <a:gd name="T107" fmla="*/ 40 h 138"/>
                <a:gd name="T108" fmla="*/ 9 w 59"/>
                <a:gd name="T109" fmla="*/ 38 h 138"/>
                <a:gd name="T110" fmla="*/ 4 w 59"/>
                <a:gd name="T111" fmla="*/ 38 h 138"/>
                <a:gd name="T112" fmla="*/ 2 w 59"/>
                <a:gd name="T113" fmla="*/ 33 h 138"/>
                <a:gd name="T114" fmla="*/ 7 w 59"/>
                <a:gd name="T115" fmla="*/ 33 h 138"/>
                <a:gd name="T116" fmla="*/ 4 w 59"/>
                <a:gd name="T117" fmla="*/ 31 h 138"/>
                <a:gd name="T118" fmla="*/ 0 w 59"/>
                <a:gd name="T119" fmla="*/ 24 h 138"/>
                <a:gd name="T120" fmla="*/ 4 w 59"/>
                <a:gd name="T121" fmla="*/ 14 h 138"/>
                <a:gd name="T122" fmla="*/ 9 w 59"/>
                <a:gd name="T123" fmla="*/ 9 h 138"/>
                <a:gd name="T124" fmla="*/ 14 w 59"/>
                <a:gd name="T125" fmla="*/ 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 h="138">
                  <a:moveTo>
                    <a:pt x="16" y="2"/>
                  </a:moveTo>
                  <a:lnTo>
                    <a:pt x="16" y="5"/>
                  </a:lnTo>
                  <a:lnTo>
                    <a:pt x="16" y="7"/>
                  </a:lnTo>
                  <a:lnTo>
                    <a:pt x="16" y="9"/>
                  </a:lnTo>
                  <a:lnTo>
                    <a:pt x="19" y="9"/>
                  </a:lnTo>
                  <a:lnTo>
                    <a:pt x="21" y="9"/>
                  </a:lnTo>
                  <a:lnTo>
                    <a:pt x="21" y="7"/>
                  </a:lnTo>
                  <a:lnTo>
                    <a:pt x="23" y="7"/>
                  </a:lnTo>
                  <a:lnTo>
                    <a:pt x="26" y="7"/>
                  </a:lnTo>
                  <a:lnTo>
                    <a:pt x="26" y="5"/>
                  </a:lnTo>
                  <a:lnTo>
                    <a:pt x="28" y="7"/>
                  </a:lnTo>
                  <a:lnTo>
                    <a:pt x="31" y="7"/>
                  </a:lnTo>
                  <a:lnTo>
                    <a:pt x="31" y="9"/>
                  </a:lnTo>
                  <a:lnTo>
                    <a:pt x="31" y="12"/>
                  </a:lnTo>
                  <a:lnTo>
                    <a:pt x="33" y="12"/>
                  </a:lnTo>
                  <a:lnTo>
                    <a:pt x="31" y="12"/>
                  </a:lnTo>
                  <a:lnTo>
                    <a:pt x="31" y="14"/>
                  </a:lnTo>
                  <a:lnTo>
                    <a:pt x="33" y="14"/>
                  </a:lnTo>
                  <a:lnTo>
                    <a:pt x="33" y="17"/>
                  </a:lnTo>
                  <a:lnTo>
                    <a:pt x="35" y="17"/>
                  </a:lnTo>
                  <a:lnTo>
                    <a:pt x="38" y="17"/>
                  </a:lnTo>
                  <a:lnTo>
                    <a:pt x="38" y="19"/>
                  </a:lnTo>
                  <a:lnTo>
                    <a:pt x="40" y="19"/>
                  </a:lnTo>
                  <a:lnTo>
                    <a:pt x="40" y="21"/>
                  </a:lnTo>
                  <a:lnTo>
                    <a:pt x="42" y="21"/>
                  </a:lnTo>
                  <a:lnTo>
                    <a:pt x="42" y="24"/>
                  </a:lnTo>
                  <a:lnTo>
                    <a:pt x="42" y="26"/>
                  </a:lnTo>
                  <a:lnTo>
                    <a:pt x="42" y="28"/>
                  </a:lnTo>
                  <a:lnTo>
                    <a:pt x="45" y="28"/>
                  </a:lnTo>
                  <a:lnTo>
                    <a:pt x="45" y="31"/>
                  </a:lnTo>
                  <a:lnTo>
                    <a:pt x="45" y="33"/>
                  </a:lnTo>
                  <a:lnTo>
                    <a:pt x="45" y="36"/>
                  </a:lnTo>
                  <a:lnTo>
                    <a:pt x="42" y="36"/>
                  </a:lnTo>
                  <a:lnTo>
                    <a:pt x="45" y="36"/>
                  </a:lnTo>
                  <a:lnTo>
                    <a:pt x="45" y="38"/>
                  </a:lnTo>
                  <a:lnTo>
                    <a:pt x="42" y="38"/>
                  </a:lnTo>
                  <a:lnTo>
                    <a:pt x="42" y="40"/>
                  </a:lnTo>
                  <a:lnTo>
                    <a:pt x="42" y="43"/>
                  </a:lnTo>
                  <a:lnTo>
                    <a:pt x="42" y="45"/>
                  </a:lnTo>
                  <a:lnTo>
                    <a:pt x="42" y="47"/>
                  </a:lnTo>
                  <a:lnTo>
                    <a:pt x="42" y="50"/>
                  </a:lnTo>
                  <a:lnTo>
                    <a:pt x="42" y="52"/>
                  </a:lnTo>
                  <a:lnTo>
                    <a:pt x="40" y="52"/>
                  </a:lnTo>
                  <a:lnTo>
                    <a:pt x="40" y="55"/>
                  </a:lnTo>
                  <a:lnTo>
                    <a:pt x="42" y="55"/>
                  </a:lnTo>
                  <a:lnTo>
                    <a:pt x="42" y="57"/>
                  </a:lnTo>
                  <a:lnTo>
                    <a:pt x="40" y="57"/>
                  </a:lnTo>
                  <a:lnTo>
                    <a:pt x="42" y="57"/>
                  </a:lnTo>
                  <a:lnTo>
                    <a:pt x="42" y="59"/>
                  </a:lnTo>
                  <a:lnTo>
                    <a:pt x="42" y="62"/>
                  </a:lnTo>
                  <a:lnTo>
                    <a:pt x="40" y="62"/>
                  </a:lnTo>
                  <a:lnTo>
                    <a:pt x="42" y="64"/>
                  </a:lnTo>
                  <a:lnTo>
                    <a:pt x="42" y="66"/>
                  </a:lnTo>
                  <a:lnTo>
                    <a:pt x="42" y="69"/>
                  </a:lnTo>
                  <a:lnTo>
                    <a:pt x="45" y="69"/>
                  </a:lnTo>
                  <a:lnTo>
                    <a:pt x="45" y="71"/>
                  </a:lnTo>
                  <a:lnTo>
                    <a:pt x="45" y="74"/>
                  </a:lnTo>
                  <a:lnTo>
                    <a:pt x="47" y="74"/>
                  </a:lnTo>
                  <a:lnTo>
                    <a:pt x="47" y="78"/>
                  </a:lnTo>
                  <a:lnTo>
                    <a:pt x="50" y="81"/>
                  </a:lnTo>
                  <a:lnTo>
                    <a:pt x="52" y="81"/>
                  </a:lnTo>
                  <a:lnTo>
                    <a:pt x="54" y="81"/>
                  </a:lnTo>
                  <a:lnTo>
                    <a:pt x="57" y="81"/>
                  </a:lnTo>
                  <a:lnTo>
                    <a:pt x="57" y="83"/>
                  </a:lnTo>
                  <a:lnTo>
                    <a:pt x="57" y="85"/>
                  </a:lnTo>
                  <a:lnTo>
                    <a:pt x="57" y="88"/>
                  </a:lnTo>
                  <a:lnTo>
                    <a:pt x="57" y="90"/>
                  </a:lnTo>
                  <a:lnTo>
                    <a:pt x="59" y="90"/>
                  </a:lnTo>
                  <a:lnTo>
                    <a:pt x="59" y="93"/>
                  </a:lnTo>
                  <a:lnTo>
                    <a:pt x="59" y="95"/>
                  </a:lnTo>
                  <a:lnTo>
                    <a:pt x="59" y="97"/>
                  </a:lnTo>
                  <a:lnTo>
                    <a:pt x="57" y="97"/>
                  </a:lnTo>
                  <a:lnTo>
                    <a:pt x="57" y="100"/>
                  </a:lnTo>
                  <a:lnTo>
                    <a:pt x="57" y="102"/>
                  </a:lnTo>
                  <a:lnTo>
                    <a:pt x="54" y="102"/>
                  </a:lnTo>
                  <a:lnTo>
                    <a:pt x="54" y="100"/>
                  </a:lnTo>
                  <a:lnTo>
                    <a:pt x="52" y="100"/>
                  </a:lnTo>
                  <a:lnTo>
                    <a:pt x="52" y="102"/>
                  </a:lnTo>
                  <a:lnTo>
                    <a:pt x="50" y="102"/>
                  </a:lnTo>
                  <a:lnTo>
                    <a:pt x="50" y="104"/>
                  </a:lnTo>
                  <a:lnTo>
                    <a:pt x="50" y="107"/>
                  </a:lnTo>
                  <a:lnTo>
                    <a:pt x="50" y="109"/>
                  </a:lnTo>
                  <a:lnTo>
                    <a:pt x="47" y="109"/>
                  </a:lnTo>
                  <a:lnTo>
                    <a:pt x="47" y="112"/>
                  </a:lnTo>
                  <a:lnTo>
                    <a:pt x="47" y="114"/>
                  </a:lnTo>
                  <a:lnTo>
                    <a:pt x="47" y="116"/>
                  </a:lnTo>
                  <a:lnTo>
                    <a:pt x="47" y="119"/>
                  </a:lnTo>
                  <a:lnTo>
                    <a:pt x="45" y="119"/>
                  </a:lnTo>
                  <a:lnTo>
                    <a:pt x="42" y="119"/>
                  </a:lnTo>
                  <a:lnTo>
                    <a:pt x="40" y="119"/>
                  </a:lnTo>
                  <a:lnTo>
                    <a:pt x="38" y="119"/>
                  </a:lnTo>
                  <a:lnTo>
                    <a:pt x="38" y="121"/>
                  </a:lnTo>
                  <a:lnTo>
                    <a:pt x="38" y="124"/>
                  </a:lnTo>
                  <a:lnTo>
                    <a:pt x="35" y="124"/>
                  </a:lnTo>
                  <a:lnTo>
                    <a:pt x="35" y="121"/>
                  </a:lnTo>
                  <a:lnTo>
                    <a:pt x="35" y="124"/>
                  </a:lnTo>
                  <a:lnTo>
                    <a:pt x="35" y="126"/>
                  </a:lnTo>
                  <a:lnTo>
                    <a:pt x="38" y="128"/>
                  </a:lnTo>
                  <a:lnTo>
                    <a:pt x="38" y="131"/>
                  </a:lnTo>
                  <a:lnTo>
                    <a:pt x="38" y="133"/>
                  </a:lnTo>
                  <a:lnTo>
                    <a:pt x="35" y="131"/>
                  </a:lnTo>
                  <a:lnTo>
                    <a:pt x="33" y="131"/>
                  </a:lnTo>
                  <a:lnTo>
                    <a:pt x="35" y="133"/>
                  </a:lnTo>
                  <a:lnTo>
                    <a:pt x="33" y="133"/>
                  </a:lnTo>
                  <a:lnTo>
                    <a:pt x="35" y="133"/>
                  </a:lnTo>
                  <a:lnTo>
                    <a:pt x="35" y="135"/>
                  </a:lnTo>
                  <a:lnTo>
                    <a:pt x="33" y="135"/>
                  </a:lnTo>
                  <a:lnTo>
                    <a:pt x="33" y="138"/>
                  </a:lnTo>
                  <a:lnTo>
                    <a:pt x="33" y="135"/>
                  </a:lnTo>
                  <a:lnTo>
                    <a:pt x="33" y="138"/>
                  </a:lnTo>
                  <a:lnTo>
                    <a:pt x="31" y="138"/>
                  </a:lnTo>
                  <a:lnTo>
                    <a:pt x="33" y="138"/>
                  </a:lnTo>
                  <a:lnTo>
                    <a:pt x="31" y="138"/>
                  </a:lnTo>
                  <a:lnTo>
                    <a:pt x="28" y="138"/>
                  </a:lnTo>
                  <a:lnTo>
                    <a:pt x="28" y="135"/>
                  </a:lnTo>
                  <a:lnTo>
                    <a:pt x="26" y="135"/>
                  </a:lnTo>
                  <a:lnTo>
                    <a:pt x="23" y="135"/>
                  </a:lnTo>
                  <a:lnTo>
                    <a:pt x="23" y="133"/>
                  </a:lnTo>
                  <a:lnTo>
                    <a:pt x="26" y="133"/>
                  </a:lnTo>
                  <a:lnTo>
                    <a:pt x="23" y="131"/>
                  </a:lnTo>
                  <a:lnTo>
                    <a:pt x="26" y="131"/>
                  </a:lnTo>
                  <a:lnTo>
                    <a:pt x="23" y="131"/>
                  </a:lnTo>
                  <a:lnTo>
                    <a:pt x="26" y="131"/>
                  </a:lnTo>
                  <a:lnTo>
                    <a:pt x="26" y="128"/>
                  </a:lnTo>
                  <a:lnTo>
                    <a:pt x="23" y="128"/>
                  </a:lnTo>
                  <a:lnTo>
                    <a:pt x="23" y="126"/>
                  </a:lnTo>
                  <a:lnTo>
                    <a:pt x="21" y="126"/>
                  </a:lnTo>
                  <a:lnTo>
                    <a:pt x="23" y="126"/>
                  </a:lnTo>
                  <a:lnTo>
                    <a:pt x="21" y="124"/>
                  </a:lnTo>
                  <a:lnTo>
                    <a:pt x="21" y="121"/>
                  </a:lnTo>
                  <a:lnTo>
                    <a:pt x="19" y="121"/>
                  </a:lnTo>
                  <a:lnTo>
                    <a:pt x="19" y="119"/>
                  </a:lnTo>
                  <a:lnTo>
                    <a:pt x="19" y="121"/>
                  </a:lnTo>
                  <a:lnTo>
                    <a:pt x="19" y="119"/>
                  </a:lnTo>
                  <a:lnTo>
                    <a:pt x="16" y="119"/>
                  </a:lnTo>
                  <a:lnTo>
                    <a:pt x="16" y="116"/>
                  </a:lnTo>
                  <a:lnTo>
                    <a:pt x="14" y="116"/>
                  </a:lnTo>
                  <a:lnTo>
                    <a:pt x="12" y="116"/>
                  </a:lnTo>
                  <a:lnTo>
                    <a:pt x="12" y="114"/>
                  </a:lnTo>
                  <a:lnTo>
                    <a:pt x="9" y="114"/>
                  </a:lnTo>
                  <a:lnTo>
                    <a:pt x="7" y="114"/>
                  </a:lnTo>
                  <a:lnTo>
                    <a:pt x="7" y="112"/>
                  </a:lnTo>
                  <a:lnTo>
                    <a:pt x="4" y="112"/>
                  </a:lnTo>
                  <a:lnTo>
                    <a:pt x="4" y="109"/>
                  </a:lnTo>
                  <a:lnTo>
                    <a:pt x="4" y="107"/>
                  </a:lnTo>
                  <a:lnTo>
                    <a:pt x="2" y="107"/>
                  </a:lnTo>
                  <a:lnTo>
                    <a:pt x="2" y="104"/>
                  </a:lnTo>
                  <a:lnTo>
                    <a:pt x="2" y="102"/>
                  </a:lnTo>
                  <a:lnTo>
                    <a:pt x="4" y="102"/>
                  </a:lnTo>
                  <a:lnTo>
                    <a:pt x="4" y="104"/>
                  </a:lnTo>
                  <a:lnTo>
                    <a:pt x="4" y="107"/>
                  </a:lnTo>
                  <a:lnTo>
                    <a:pt x="7" y="107"/>
                  </a:lnTo>
                  <a:lnTo>
                    <a:pt x="7" y="104"/>
                  </a:lnTo>
                  <a:lnTo>
                    <a:pt x="7" y="102"/>
                  </a:lnTo>
                  <a:lnTo>
                    <a:pt x="7" y="100"/>
                  </a:lnTo>
                  <a:lnTo>
                    <a:pt x="4" y="100"/>
                  </a:lnTo>
                  <a:lnTo>
                    <a:pt x="7" y="100"/>
                  </a:lnTo>
                  <a:lnTo>
                    <a:pt x="4" y="100"/>
                  </a:lnTo>
                  <a:lnTo>
                    <a:pt x="4" y="97"/>
                  </a:lnTo>
                  <a:lnTo>
                    <a:pt x="4" y="95"/>
                  </a:lnTo>
                  <a:lnTo>
                    <a:pt x="4" y="97"/>
                  </a:lnTo>
                  <a:lnTo>
                    <a:pt x="4" y="95"/>
                  </a:lnTo>
                  <a:lnTo>
                    <a:pt x="2" y="95"/>
                  </a:lnTo>
                  <a:lnTo>
                    <a:pt x="2" y="93"/>
                  </a:lnTo>
                  <a:lnTo>
                    <a:pt x="4" y="93"/>
                  </a:lnTo>
                  <a:lnTo>
                    <a:pt x="2" y="93"/>
                  </a:lnTo>
                  <a:lnTo>
                    <a:pt x="2" y="90"/>
                  </a:lnTo>
                  <a:lnTo>
                    <a:pt x="4" y="90"/>
                  </a:lnTo>
                  <a:lnTo>
                    <a:pt x="4" y="88"/>
                  </a:lnTo>
                  <a:lnTo>
                    <a:pt x="4" y="85"/>
                  </a:lnTo>
                  <a:lnTo>
                    <a:pt x="4" y="83"/>
                  </a:lnTo>
                  <a:lnTo>
                    <a:pt x="4" y="81"/>
                  </a:lnTo>
                  <a:lnTo>
                    <a:pt x="7" y="81"/>
                  </a:lnTo>
                  <a:lnTo>
                    <a:pt x="7" y="78"/>
                  </a:lnTo>
                  <a:lnTo>
                    <a:pt x="7" y="76"/>
                  </a:lnTo>
                  <a:lnTo>
                    <a:pt x="7" y="78"/>
                  </a:lnTo>
                  <a:lnTo>
                    <a:pt x="7" y="76"/>
                  </a:lnTo>
                  <a:lnTo>
                    <a:pt x="7" y="78"/>
                  </a:lnTo>
                  <a:lnTo>
                    <a:pt x="7" y="76"/>
                  </a:lnTo>
                  <a:lnTo>
                    <a:pt x="7" y="74"/>
                  </a:lnTo>
                  <a:lnTo>
                    <a:pt x="7" y="71"/>
                  </a:lnTo>
                  <a:lnTo>
                    <a:pt x="7" y="69"/>
                  </a:lnTo>
                  <a:lnTo>
                    <a:pt x="7" y="66"/>
                  </a:lnTo>
                  <a:lnTo>
                    <a:pt x="9" y="66"/>
                  </a:lnTo>
                  <a:lnTo>
                    <a:pt x="9" y="64"/>
                  </a:lnTo>
                  <a:lnTo>
                    <a:pt x="7" y="62"/>
                  </a:lnTo>
                  <a:lnTo>
                    <a:pt x="7" y="64"/>
                  </a:lnTo>
                  <a:lnTo>
                    <a:pt x="7" y="62"/>
                  </a:lnTo>
                  <a:lnTo>
                    <a:pt x="7" y="64"/>
                  </a:lnTo>
                  <a:lnTo>
                    <a:pt x="7" y="62"/>
                  </a:lnTo>
                  <a:lnTo>
                    <a:pt x="4" y="62"/>
                  </a:lnTo>
                  <a:lnTo>
                    <a:pt x="4" y="59"/>
                  </a:lnTo>
                  <a:lnTo>
                    <a:pt x="4" y="57"/>
                  </a:lnTo>
                  <a:lnTo>
                    <a:pt x="4" y="59"/>
                  </a:lnTo>
                  <a:lnTo>
                    <a:pt x="7" y="59"/>
                  </a:lnTo>
                  <a:lnTo>
                    <a:pt x="7" y="57"/>
                  </a:lnTo>
                  <a:lnTo>
                    <a:pt x="7" y="55"/>
                  </a:lnTo>
                  <a:lnTo>
                    <a:pt x="9" y="55"/>
                  </a:lnTo>
                  <a:lnTo>
                    <a:pt x="9" y="52"/>
                  </a:lnTo>
                  <a:lnTo>
                    <a:pt x="7" y="52"/>
                  </a:lnTo>
                  <a:lnTo>
                    <a:pt x="7" y="50"/>
                  </a:lnTo>
                  <a:lnTo>
                    <a:pt x="9" y="50"/>
                  </a:lnTo>
                  <a:lnTo>
                    <a:pt x="12" y="50"/>
                  </a:lnTo>
                  <a:lnTo>
                    <a:pt x="12" y="47"/>
                  </a:lnTo>
                  <a:lnTo>
                    <a:pt x="12" y="50"/>
                  </a:lnTo>
                  <a:lnTo>
                    <a:pt x="12" y="47"/>
                  </a:lnTo>
                  <a:lnTo>
                    <a:pt x="9" y="47"/>
                  </a:lnTo>
                  <a:lnTo>
                    <a:pt x="12" y="47"/>
                  </a:lnTo>
                  <a:lnTo>
                    <a:pt x="9" y="47"/>
                  </a:lnTo>
                  <a:lnTo>
                    <a:pt x="12" y="47"/>
                  </a:lnTo>
                  <a:lnTo>
                    <a:pt x="9" y="47"/>
                  </a:lnTo>
                  <a:lnTo>
                    <a:pt x="12" y="45"/>
                  </a:lnTo>
                  <a:lnTo>
                    <a:pt x="12" y="43"/>
                  </a:lnTo>
                  <a:lnTo>
                    <a:pt x="9" y="43"/>
                  </a:lnTo>
                  <a:lnTo>
                    <a:pt x="12" y="43"/>
                  </a:lnTo>
                  <a:lnTo>
                    <a:pt x="12" y="40"/>
                  </a:lnTo>
                  <a:lnTo>
                    <a:pt x="12" y="43"/>
                  </a:lnTo>
                  <a:lnTo>
                    <a:pt x="12" y="40"/>
                  </a:lnTo>
                  <a:lnTo>
                    <a:pt x="9" y="40"/>
                  </a:lnTo>
                  <a:lnTo>
                    <a:pt x="9" y="38"/>
                  </a:lnTo>
                  <a:lnTo>
                    <a:pt x="7" y="38"/>
                  </a:lnTo>
                  <a:lnTo>
                    <a:pt x="7" y="36"/>
                  </a:lnTo>
                  <a:lnTo>
                    <a:pt x="7" y="38"/>
                  </a:lnTo>
                  <a:lnTo>
                    <a:pt x="4" y="38"/>
                  </a:lnTo>
                  <a:lnTo>
                    <a:pt x="4" y="36"/>
                  </a:lnTo>
                  <a:lnTo>
                    <a:pt x="2" y="36"/>
                  </a:lnTo>
                  <a:lnTo>
                    <a:pt x="4" y="36"/>
                  </a:lnTo>
                  <a:lnTo>
                    <a:pt x="2" y="33"/>
                  </a:lnTo>
                  <a:lnTo>
                    <a:pt x="4" y="33"/>
                  </a:lnTo>
                  <a:lnTo>
                    <a:pt x="4" y="31"/>
                  </a:lnTo>
                  <a:lnTo>
                    <a:pt x="4" y="33"/>
                  </a:lnTo>
                  <a:lnTo>
                    <a:pt x="7" y="33"/>
                  </a:lnTo>
                  <a:lnTo>
                    <a:pt x="7" y="31"/>
                  </a:lnTo>
                  <a:lnTo>
                    <a:pt x="7" y="33"/>
                  </a:lnTo>
                  <a:lnTo>
                    <a:pt x="4" y="33"/>
                  </a:lnTo>
                  <a:lnTo>
                    <a:pt x="4" y="31"/>
                  </a:lnTo>
                  <a:lnTo>
                    <a:pt x="4" y="28"/>
                  </a:lnTo>
                  <a:lnTo>
                    <a:pt x="4" y="26"/>
                  </a:lnTo>
                  <a:lnTo>
                    <a:pt x="2" y="24"/>
                  </a:lnTo>
                  <a:lnTo>
                    <a:pt x="0" y="24"/>
                  </a:lnTo>
                  <a:lnTo>
                    <a:pt x="2" y="21"/>
                  </a:lnTo>
                  <a:lnTo>
                    <a:pt x="4" y="19"/>
                  </a:lnTo>
                  <a:lnTo>
                    <a:pt x="4" y="17"/>
                  </a:lnTo>
                  <a:lnTo>
                    <a:pt x="4" y="14"/>
                  </a:lnTo>
                  <a:lnTo>
                    <a:pt x="7" y="14"/>
                  </a:lnTo>
                  <a:lnTo>
                    <a:pt x="7" y="12"/>
                  </a:lnTo>
                  <a:lnTo>
                    <a:pt x="9" y="12"/>
                  </a:lnTo>
                  <a:lnTo>
                    <a:pt x="9" y="9"/>
                  </a:lnTo>
                  <a:lnTo>
                    <a:pt x="9" y="7"/>
                  </a:lnTo>
                  <a:lnTo>
                    <a:pt x="12" y="7"/>
                  </a:lnTo>
                  <a:lnTo>
                    <a:pt x="12" y="5"/>
                  </a:lnTo>
                  <a:lnTo>
                    <a:pt x="14" y="2"/>
                  </a:lnTo>
                  <a:lnTo>
                    <a:pt x="16" y="2"/>
                  </a:lnTo>
                  <a:lnTo>
                    <a:pt x="16" y="0"/>
                  </a:lnTo>
                  <a:lnTo>
                    <a:pt x="1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 name="Freeform 50273"/>
            <p:cNvSpPr>
              <a:spLocks noEditPoints="1"/>
            </p:cNvSpPr>
            <p:nvPr/>
          </p:nvSpPr>
          <p:spPr bwMode="auto">
            <a:xfrm>
              <a:off x="3035298" y="5316556"/>
              <a:ext cx="19050" cy="90488"/>
            </a:xfrm>
            <a:custGeom>
              <a:avLst/>
              <a:gdLst>
                <a:gd name="T0" fmla="*/ 0 w 12"/>
                <a:gd name="T1" fmla="*/ 57 h 57"/>
                <a:gd name="T2" fmla="*/ 0 w 12"/>
                <a:gd name="T3" fmla="*/ 57 h 57"/>
                <a:gd name="T4" fmla="*/ 0 w 12"/>
                <a:gd name="T5" fmla="*/ 57 h 57"/>
                <a:gd name="T6" fmla="*/ 2 w 12"/>
                <a:gd name="T7" fmla="*/ 57 h 57"/>
                <a:gd name="T8" fmla="*/ 2 w 12"/>
                <a:gd name="T9" fmla="*/ 57 h 57"/>
                <a:gd name="T10" fmla="*/ 2 w 12"/>
                <a:gd name="T11" fmla="*/ 57 h 57"/>
                <a:gd name="T12" fmla="*/ 2 w 12"/>
                <a:gd name="T13" fmla="*/ 57 h 57"/>
                <a:gd name="T14" fmla="*/ 2 w 12"/>
                <a:gd name="T15" fmla="*/ 57 h 57"/>
                <a:gd name="T16" fmla="*/ 2 w 12"/>
                <a:gd name="T17" fmla="*/ 57 h 57"/>
                <a:gd name="T18" fmla="*/ 0 w 12"/>
                <a:gd name="T19" fmla="*/ 57 h 57"/>
                <a:gd name="T20" fmla="*/ 0 w 12"/>
                <a:gd name="T21" fmla="*/ 57 h 57"/>
                <a:gd name="T22" fmla="*/ 0 w 12"/>
                <a:gd name="T23" fmla="*/ 57 h 57"/>
                <a:gd name="T24" fmla="*/ 0 w 12"/>
                <a:gd name="T25" fmla="*/ 57 h 57"/>
                <a:gd name="T26" fmla="*/ 0 w 12"/>
                <a:gd name="T27" fmla="*/ 57 h 57"/>
                <a:gd name="T28" fmla="*/ 0 w 12"/>
                <a:gd name="T29" fmla="*/ 57 h 57"/>
                <a:gd name="T30" fmla="*/ 0 w 12"/>
                <a:gd name="T31" fmla="*/ 57 h 57"/>
                <a:gd name="T32" fmla="*/ 0 w 12"/>
                <a:gd name="T33" fmla="*/ 57 h 57"/>
                <a:gd name="T34" fmla="*/ 0 w 12"/>
                <a:gd name="T35" fmla="*/ 57 h 57"/>
                <a:gd name="T36" fmla="*/ 0 w 12"/>
                <a:gd name="T37" fmla="*/ 57 h 57"/>
                <a:gd name="T38" fmla="*/ 0 w 12"/>
                <a:gd name="T39" fmla="*/ 57 h 57"/>
                <a:gd name="T40" fmla="*/ 0 w 12"/>
                <a:gd name="T41" fmla="*/ 57 h 57"/>
                <a:gd name="T42" fmla="*/ 0 w 12"/>
                <a:gd name="T43" fmla="*/ 57 h 57"/>
                <a:gd name="T44" fmla="*/ 0 w 12"/>
                <a:gd name="T45" fmla="*/ 57 h 57"/>
                <a:gd name="T46" fmla="*/ 0 w 12"/>
                <a:gd name="T47" fmla="*/ 57 h 57"/>
                <a:gd name="T48" fmla="*/ 0 w 12"/>
                <a:gd name="T49" fmla="*/ 57 h 57"/>
                <a:gd name="T50" fmla="*/ 0 w 12"/>
                <a:gd name="T51" fmla="*/ 57 h 57"/>
                <a:gd name="T52" fmla="*/ 12 w 12"/>
                <a:gd name="T53" fmla="*/ 0 h 57"/>
                <a:gd name="T54" fmla="*/ 12 w 12"/>
                <a:gd name="T55" fmla="*/ 0 h 57"/>
                <a:gd name="T56" fmla="*/ 9 w 12"/>
                <a:gd name="T57" fmla="*/ 0 h 57"/>
                <a:gd name="T58" fmla="*/ 9 w 12"/>
                <a:gd name="T59" fmla="*/ 0 h 57"/>
                <a:gd name="T60" fmla="*/ 12 w 12"/>
                <a:gd name="T61" fmla="*/ 0 h 57"/>
                <a:gd name="T62" fmla="*/ 9 w 12"/>
                <a:gd name="T63" fmla="*/ 0 h 57"/>
                <a:gd name="T64" fmla="*/ 12 w 12"/>
                <a:gd name="T65" fmla="*/ 0 h 57"/>
                <a:gd name="T66" fmla="*/ 12 w 12"/>
                <a:gd name="T67" fmla="*/ 0 h 57"/>
                <a:gd name="T68" fmla="*/ 12 w 12"/>
                <a:gd name="T69" fmla="*/ 0 h 57"/>
                <a:gd name="T70" fmla="*/ 12 w 12"/>
                <a:gd name="T71" fmla="*/ 0 h 57"/>
                <a:gd name="T72" fmla="*/ 12 w 12"/>
                <a:gd name="T73" fmla="*/ 0 h 57"/>
                <a:gd name="T74" fmla="*/ 12 w 12"/>
                <a:gd name="T75" fmla="*/ 0 h 57"/>
                <a:gd name="T76" fmla="*/ 12 w 12"/>
                <a:gd name="T7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57">
                  <a:moveTo>
                    <a:pt x="0" y="57"/>
                  </a:moveTo>
                  <a:lnTo>
                    <a:pt x="0" y="57"/>
                  </a:lnTo>
                  <a:lnTo>
                    <a:pt x="0" y="57"/>
                  </a:lnTo>
                  <a:lnTo>
                    <a:pt x="2" y="57"/>
                  </a:lnTo>
                  <a:lnTo>
                    <a:pt x="2" y="57"/>
                  </a:lnTo>
                  <a:lnTo>
                    <a:pt x="2" y="57"/>
                  </a:lnTo>
                  <a:lnTo>
                    <a:pt x="2" y="57"/>
                  </a:lnTo>
                  <a:lnTo>
                    <a:pt x="2" y="57"/>
                  </a:lnTo>
                  <a:lnTo>
                    <a:pt x="2"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close/>
                  <a:moveTo>
                    <a:pt x="12" y="0"/>
                  </a:moveTo>
                  <a:lnTo>
                    <a:pt x="12" y="0"/>
                  </a:lnTo>
                  <a:lnTo>
                    <a:pt x="9" y="0"/>
                  </a:lnTo>
                  <a:lnTo>
                    <a:pt x="9" y="0"/>
                  </a:lnTo>
                  <a:lnTo>
                    <a:pt x="12" y="0"/>
                  </a:lnTo>
                  <a:lnTo>
                    <a:pt x="9" y="0"/>
                  </a:lnTo>
                  <a:lnTo>
                    <a:pt x="12" y="0"/>
                  </a:lnTo>
                  <a:lnTo>
                    <a:pt x="12" y="0"/>
                  </a:lnTo>
                  <a:lnTo>
                    <a:pt x="12" y="0"/>
                  </a:lnTo>
                  <a:lnTo>
                    <a:pt x="12" y="0"/>
                  </a:lnTo>
                  <a:lnTo>
                    <a:pt x="12" y="0"/>
                  </a:lnTo>
                  <a:lnTo>
                    <a:pt x="12"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 name="Freeform 50274"/>
            <p:cNvSpPr>
              <a:spLocks noEditPoints="1"/>
            </p:cNvSpPr>
            <p:nvPr/>
          </p:nvSpPr>
          <p:spPr bwMode="auto">
            <a:xfrm>
              <a:off x="3041648" y="5308618"/>
              <a:ext cx="30163" cy="150814"/>
            </a:xfrm>
            <a:custGeom>
              <a:avLst/>
              <a:gdLst>
                <a:gd name="T0" fmla="*/ 19 w 19"/>
                <a:gd name="T1" fmla="*/ 95 h 95"/>
                <a:gd name="T2" fmla="*/ 19 w 19"/>
                <a:gd name="T3" fmla="*/ 95 h 95"/>
                <a:gd name="T4" fmla="*/ 19 w 19"/>
                <a:gd name="T5" fmla="*/ 95 h 95"/>
                <a:gd name="T6" fmla="*/ 19 w 19"/>
                <a:gd name="T7" fmla="*/ 95 h 95"/>
                <a:gd name="T8" fmla="*/ 19 w 19"/>
                <a:gd name="T9" fmla="*/ 95 h 95"/>
                <a:gd name="T10" fmla="*/ 19 w 19"/>
                <a:gd name="T11" fmla="*/ 95 h 95"/>
                <a:gd name="T12" fmla="*/ 19 w 19"/>
                <a:gd name="T13" fmla="*/ 95 h 95"/>
                <a:gd name="T14" fmla="*/ 8 w 19"/>
                <a:gd name="T15" fmla="*/ 2 h 95"/>
                <a:gd name="T16" fmla="*/ 8 w 19"/>
                <a:gd name="T17" fmla="*/ 5 h 95"/>
                <a:gd name="T18" fmla="*/ 8 w 19"/>
                <a:gd name="T19" fmla="*/ 2 h 95"/>
                <a:gd name="T20" fmla="*/ 8 w 19"/>
                <a:gd name="T21" fmla="*/ 2 h 95"/>
                <a:gd name="T22" fmla="*/ 8 w 19"/>
                <a:gd name="T23" fmla="*/ 2 h 95"/>
                <a:gd name="T24" fmla="*/ 0 w 19"/>
                <a:gd name="T25" fmla="*/ 0 h 95"/>
                <a:gd name="T26" fmla="*/ 0 w 19"/>
                <a:gd name="T27" fmla="*/ 0 h 95"/>
                <a:gd name="T28" fmla="*/ 0 w 19"/>
                <a:gd name="T29" fmla="*/ 0 h 95"/>
                <a:gd name="T30" fmla="*/ 0 w 19"/>
                <a:gd name="T31" fmla="*/ 0 h 95"/>
                <a:gd name="T32" fmla="*/ 3 w 19"/>
                <a:gd name="T33" fmla="*/ 0 h 95"/>
                <a:gd name="T34" fmla="*/ 3 w 19"/>
                <a:gd name="T35" fmla="*/ 0 h 95"/>
                <a:gd name="T36" fmla="*/ 3 w 19"/>
                <a:gd name="T37" fmla="*/ 0 h 95"/>
                <a:gd name="T38" fmla="*/ 3 w 19"/>
                <a:gd name="T39" fmla="*/ 0 h 95"/>
                <a:gd name="T40" fmla="*/ 3 w 19"/>
                <a:gd name="T41" fmla="*/ 0 h 95"/>
                <a:gd name="T42" fmla="*/ 3 w 19"/>
                <a:gd name="T43" fmla="*/ 0 h 95"/>
                <a:gd name="T44" fmla="*/ 3 w 1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95">
                  <a:moveTo>
                    <a:pt x="19" y="95"/>
                  </a:moveTo>
                  <a:lnTo>
                    <a:pt x="19" y="95"/>
                  </a:lnTo>
                  <a:lnTo>
                    <a:pt x="19" y="95"/>
                  </a:lnTo>
                  <a:lnTo>
                    <a:pt x="19" y="95"/>
                  </a:lnTo>
                  <a:lnTo>
                    <a:pt x="19" y="95"/>
                  </a:lnTo>
                  <a:lnTo>
                    <a:pt x="19" y="95"/>
                  </a:lnTo>
                  <a:lnTo>
                    <a:pt x="19" y="95"/>
                  </a:lnTo>
                  <a:close/>
                  <a:moveTo>
                    <a:pt x="8" y="2"/>
                  </a:moveTo>
                  <a:lnTo>
                    <a:pt x="8" y="5"/>
                  </a:lnTo>
                  <a:lnTo>
                    <a:pt x="8" y="2"/>
                  </a:lnTo>
                  <a:lnTo>
                    <a:pt x="8" y="2"/>
                  </a:lnTo>
                  <a:lnTo>
                    <a:pt x="8" y="2"/>
                  </a:lnTo>
                  <a:close/>
                  <a:moveTo>
                    <a:pt x="0" y="0"/>
                  </a:moveTo>
                  <a:lnTo>
                    <a:pt x="0" y="0"/>
                  </a:lnTo>
                  <a:lnTo>
                    <a:pt x="0" y="0"/>
                  </a:lnTo>
                  <a:lnTo>
                    <a:pt x="0" y="0"/>
                  </a:lnTo>
                  <a:close/>
                  <a:moveTo>
                    <a:pt x="3" y="0"/>
                  </a:move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 name="Freeform 50275"/>
            <p:cNvSpPr>
              <a:spLocks/>
            </p:cNvSpPr>
            <p:nvPr/>
          </p:nvSpPr>
          <p:spPr bwMode="auto">
            <a:xfrm>
              <a:off x="2100261" y="5251467"/>
              <a:ext cx="19050" cy="15875"/>
            </a:xfrm>
            <a:custGeom>
              <a:avLst/>
              <a:gdLst>
                <a:gd name="T0" fmla="*/ 12 w 12"/>
                <a:gd name="T1" fmla="*/ 3 h 10"/>
                <a:gd name="T2" fmla="*/ 12 w 12"/>
                <a:gd name="T3" fmla="*/ 3 h 10"/>
                <a:gd name="T4" fmla="*/ 12 w 12"/>
                <a:gd name="T5" fmla="*/ 3 h 10"/>
                <a:gd name="T6" fmla="*/ 12 w 12"/>
                <a:gd name="T7" fmla="*/ 5 h 10"/>
                <a:gd name="T8" fmla="*/ 10 w 12"/>
                <a:gd name="T9" fmla="*/ 5 h 10"/>
                <a:gd name="T10" fmla="*/ 10 w 12"/>
                <a:gd name="T11" fmla="*/ 7 h 10"/>
                <a:gd name="T12" fmla="*/ 10 w 12"/>
                <a:gd name="T13" fmla="*/ 7 h 10"/>
                <a:gd name="T14" fmla="*/ 10 w 12"/>
                <a:gd name="T15" fmla="*/ 5 h 10"/>
                <a:gd name="T16" fmla="*/ 10 w 12"/>
                <a:gd name="T17" fmla="*/ 7 h 10"/>
                <a:gd name="T18" fmla="*/ 10 w 12"/>
                <a:gd name="T19" fmla="*/ 7 h 10"/>
                <a:gd name="T20" fmla="*/ 7 w 12"/>
                <a:gd name="T21" fmla="*/ 7 h 10"/>
                <a:gd name="T22" fmla="*/ 7 w 12"/>
                <a:gd name="T23" fmla="*/ 7 h 10"/>
                <a:gd name="T24" fmla="*/ 5 w 12"/>
                <a:gd name="T25" fmla="*/ 10 h 10"/>
                <a:gd name="T26" fmla="*/ 5 w 12"/>
                <a:gd name="T27" fmla="*/ 7 h 10"/>
                <a:gd name="T28" fmla="*/ 5 w 12"/>
                <a:gd name="T29" fmla="*/ 10 h 10"/>
                <a:gd name="T30" fmla="*/ 5 w 12"/>
                <a:gd name="T31" fmla="*/ 10 h 10"/>
                <a:gd name="T32" fmla="*/ 3 w 12"/>
                <a:gd name="T33" fmla="*/ 10 h 10"/>
                <a:gd name="T34" fmla="*/ 3 w 12"/>
                <a:gd name="T35" fmla="*/ 10 h 10"/>
                <a:gd name="T36" fmla="*/ 0 w 12"/>
                <a:gd name="T37" fmla="*/ 7 h 10"/>
                <a:gd name="T38" fmla="*/ 0 w 12"/>
                <a:gd name="T39" fmla="*/ 7 h 10"/>
                <a:gd name="T40" fmla="*/ 0 w 12"/>
                <a:gd name="T41" fmla="*/ 7 h 10"/>
                <a:gd name="T42" fmla="*/ 0 w 12"/>
                <a:gd name="T43" fmla="*/ 7 h 10"/>
                <a:gd name="T44" fmla="*/ 0 w 12"/>
                <a:gd name="T45" fmla="*/ 7 h 10"/>
                <a:gd name="T46" fmla="*/ 3 w 12"/>
                <a:gd name="T47" fmla="*/ 5 h 10"/>
                <a:gd name="T48" fmla="*/ 3 w 12"/>
                <a:gd name="T49" fmla="*/ 5 h 10"/>
                <a:gd name="T50" fmla="*/ 3 w 12"/>
                <a:gd name="T51" fmla="*/ 5 h 10"/>
                <a:gd name="T52" fmla="*/ 3 w 12"/>
                <a:gd name="T53" fmla="*/ 5 h 10"/>
                <a:gd name="T54" fmla="*/ 0 w 12"/>
                <a:gd name="T55" fmla="*/ 5 h 10"/>
                <a:gd name="T56" fmla="*/ 0 w 12"/>
                <a:gd name="T57" fmla="*/ 3 h 10"/>
                <a:gd name="T58" fmla="*/ 3 w 12"/>
                <a:gd name="T59" fmla="*/ 3 h 10"/>
                <a:gd name="T60" fmla="*/ 0 w 12"/>
                <a:gd name="T61" fmla="*/ 3 h 10"/>
                <a:gd name="T62" fmla="*/ 0 w 12"/>
                <a:gd name="T63" fmla="*/ 3 h 10"/>
                <a:gd name="T64" fmla="*/ 0 w 12"/>
                <a:gd name="T65" fmla="*/ 3 h 10"/>
                <a:gd name="T66" fmla="*/ 0 w 12"/>
                <a:gd name="T67" fmla="*/ 3 h 10"/>
                <a:gd name="T68" fmla="*/ 3 w 12"/>
                <a:gd name="T69" fmla="*/ 3 h 10"/>
                <a:gd name="T70" fmla="*/ 3 w 12"/>
                <a:gd name="T71" fmla="*/ 0 h 10"/>
                <a:gd name="T72" fmla="*/ 3 w 12"/>
                <a:gd name="T73" fmla="*/ 0 h 10"/>
                <a:gd name="T74" fmla="*/ 3 w 12"/>
                <a:gd name="T75" fmla="*/ 0 h 10"/>
                <a:gd name="T76" fmla="*/ 5 w 12"/>
                <a:gd name="T77" fmla="*/ 0 h 10"/>
                <a:gd name="T78" fmla="*/ 5 w 12"/>
                <a:gd name="T79" fmla="*/ 0 h 10"/>
                <a:gd name="T80" fmla="*/ 5 w 12"/>
                <a:gd name="T81" fmla="*/ 0 h 10"/>
                <a:gd name="T82" fmla="*/ 5 w 12"/>
                <a:gd name="T83" fmla="*/ 0 h 10"/>
                <a:gd name="T84" fmla="*/ 7 w 12"/>
                <a:gd name="T85" fmla="*/ 0 h 10"/>
                <a:gd name="T86" fmla="*/ 7 w 12"/>
                <a:gd name="T87" fmla="*/ 0 h 10"/>
                <a:gd name="T88" fmla="*/ 7 w 12"/>
                <a:gd name="T89" fmla="*/ 0 h 10"/>
                <a:gd name="T90" fmla="*/ 10 w 12"/>
                <a:gd name="T91" fmla="*/ 0 h 10"/>
                <a:gd name="T92" fmla="*/ 10 w 12"/>
                <a:gd name="T93" fmla="*/ 0 h 10"/>
                <a:gd name="T94" fmla="*/ 10 w 12"/>
                <a:gd name="T95" fmla="*/ 0 h 10"/>
                <a:gd name="T96" fmla="*/ 10 w 12"/>
                <a:gd name="T97" fmla="*/ 0 h 10"/>
                <a:gd name="T98" fmla="*/ 12 w 12"/>
                <a:gd name="T99" fmla="*/ 0 h 10"/>
                <a:gd name="T100" fmla="*/ 12 w 12"/>
                <a:gd name="T101" fmla="*/ 3 h 10"/>
                <a:gd name="T102" fmla="*/ 10 w 12"/>
                <a:gd name="T103" fmla="*/ 3 h 10"/>
                <a:gd name="T104" fmla="*/ 10 w 12"/>
                <a:gd name="T105" fmla="*/ 3 h 10"/>
                <a:gd name="T106" fmla="*/ 12 w 12"/>
                <a:gd name="T107" fmla="*/ 3 h 10"/>
                <a:gd name="T108" fmla="*/ 12 w 12"/>
                <a:gd name="T109" fmla="*/ 3 h 10"/>
                <a:gd name="T110" fmla="*/ 12 w 12"/>
                <a:gd name="T11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 h="10">
                  <a:moveTo>
                    <a:pt x="12" y="3"/>
                  </a:moveTo>
                  <a:lnTo>
                    <a:pt x="12" y="3"/>
                  </a:lnTo>
                  <a:lnTo>
                    <a:pt x="12" y="3"/>
                  </a:lnTo>
                  <a:lnTo>
                    <a:pt x="12" y="3"/>
                  </a:lnTo>
                  <a:lnTo>
                    <a:pt x="12" y="3"/>
                  </a:lnTo>
                  <a:lnTo>
                    <a:pt x="12" y="3"/>
                  </a:lnTo>
                  <a:lnTo>
                    <a:pt x="12" y="5"/>
                  </a:lnTo>
                  <a:lnTo>
                    <a:pt x="12" y="5"/>
                  </a:lnTo>
                  <a:lnTo>
                    <a:pt x="12" y="5"/>
                  </a:lnTo>
                  <a:lnTo>
                    <a:pt x="10" y="5"/>
                  </a:lnTo>
                  <a:lnTo>
                    <a:pt x="10" y="7"/>
                  </a:lnTo>
                  <a:lnTo>
                    <a:pt x="10" y="7"/>
                  </a:lnTo>
                  <a:lnTo>
                    <a:pt x="10" y="7"/>
                  </a:lnTo>
                  <a:lnTo>
                    <a:pt x="10" y="7"/>
                  </a:lnTo>
                  <a:lnTo>
                    <a:pt x="10" y="7"/>
                  </a:lnTo>
                  <a:lnTo>
                    <a:pt x="10" y="5"/>
                  </a:lnTo>
                  <a:lnTo>
                    <a:pt x="10" y="5"/>
                  </a:lnTo>
                  <a:lnTo>
                    <a:pt x="10" y="7"/>
                  </a:lnTo>
                  <a:lnTo>
                    <a:pt x="10" y="7"/>
                  </a:lnTo>
                  <a:lnTo>
                    <a:pt x="10" y="7"/>
                  </a:lnTo>
                  <a:lnTo>
                    <a:pt x="7" y="7"/>
                  </a:lnTo>
                  <a:lnTo>
                    <a:pt x="7" y="7"/>
                  </a:lnTo>
                  <a:lnTo>
                    <a:pt x="7" y="7"/>
                  </a:lnTo>
                  <a:lnTo>
                    <a:pt x="7" y="7"/>
                  </a:lnTo>
                  <a:lnTo>
                    <a:pt x="5" y="7"/>
                  </a:lnTo>
                  <a:lnTo>
                    <a:pt x="5" y="10"/>
                  </a:lnTo>
                  <a:lnTo>
                    <a:pt x="5" y="7"/>
                  </a:lnTo>
                  <a:lnTo>
                    <a:pt x="5" y="7"/>
                  </a:lnTo>
                  <a:lnTo>
                    <a:pt x="5" y="10"/>
                  </a:lnTo>
                  <a:lnTo>
                    <a:pt x="5" y="10"/>
                  </a:lnTo>
                  <a:lnTo>
                    <a:pt x="5" y="10"/>
                  </a:lnTo>
                  <a:lnTo>
                    <a:pt x="5" y="10"/>
                  </a:lnTo>
                  <a:lnTo>
                    <a:pt x="3" y="10"/>
                  </a:lnTo>
                  <a:lnTo>
                    <a:pt x="3" y="10"/>
                  </a:lnTo>
                  <a:lnTo>
                    <a:pt x="3" y="10"/>
                  </a:lnTo>
                  <a:lnTo>
                    <a:pt x="3" y="10"/>
                  </a:lnTo>
                  <a:lnTo>
                    <a:pt x="3" y="10"/>
                  </a:lnTo>
                  <a:lnTo>
                    <a:pt x="0" y="7"/>
                  </a:lnTo>
                  <a:lnTo>
                    <a:pt x="0" y="7"/>
                  </a:lnTo>
                  <a:lnTo>
                    <a:pt x="0" y="7"/>
                  </a:lnTo>
                  <a:lnTo>
                    <a:pt x="0" y="7"/>
                  </a:lnTo>
                  <a:lnTo>
                    <a:pt x="0" y="7"/>
                  </a:lnTo>
                  <a:lnTo>
                    <a:pt x="0" y="7"/>
                  </a:lnTo>
                  <a:lnTo>
                    <a:pt x="0" y="7"/>
                  </a:lnTo>
                  <a:lnTo>
                    <a:pt x="0" y="7"/>
                  </a:lnTo>
                  <a:lnTo>
                    <a:pt x="0" y="7"/>
                  </a:lnTo>
                  <a:lnTo>
                    <a:pt x="3" y="5"/>
                  </a:lnTo>
                  <a:lnTo>
                    <a:pt x="3" y="5"/>
                  </a:lnTo>
                  <a:lnTo>
                    <a:pt x="3" y="5"/>
                  </a:lnTo>
                  <a:lnTo>
                    <a:pt x="3" y="5"/>
                  </a:lnTo>
                  <a:lnTo>
                    <a:pt x="3" y="5"/>
                  </a:lnTo>
                  <a:lnTo>
                    <a:pt x="3" y="5"/>
                  </a:lnTo>
                  <a:lnTo>
                    <a:pt x="3" y="5"/>
                  </a:lnTo>
                  <a:lnTo>
                    <a:pt x="3" y="5"/>
                  </a:lnTo>
                  <a:lnTo>
                    <a:pt x="0" y="5"/>
                  </a:lnTo>
                  <a:lnTo>
                    <a:pt x="0" y="5"/>
                  </a:lnTo>
                  <a:lnTo>
                    <a:pt x="0" y="5"/>
                  </a:lnTo>
                  <a:lnTo>
                    <a:pt x="0" y="3"/>
                  </a:lnTo>
                  <a:lnTo>
                    <a:pt x="0" y="3"/>
                  </a:lnTo>
                  <a:lnTo>
                    <a:pt x="3" y="3"/>
                  </a:lnTo>
                  <a:lnTo>
                    <a:pt x="0" y="3"/>
                  </a:lnTo>
                  <a:lnTo>
                    <a:pt x="0" y="3"/>
                  </a:lnTo>
                  <a:lnTo>
                    <a:pt x="0" y="3"/>
                  </a:lnTo>
                  <a:lnTo>
                    <a:pt x="0" y="3"/>
                  </a:lnTo>
                  <a:lnTo>
                    <a:pt x="0" y="3"/>
                  </a:lnTo>
                  <a:lnTo>
                    <a:pt x="0" y="3"/>
                  </a:lnTo>
                  <a:lnTo>
                    <a:pt x="0" y="3"/>
                  </a:lnTo>
                  <a:lnTo>
                    <a:pt x="0" y="3"/>
                  </a:lnTo>
                  <a:lnTo>
                    <a:pt x="3" y="3"/>
                  </a:lnTo>
                  <a:lnTo>
                    <a:pt x="3" y="3"/>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5" y="0"/>
                  </a:lnTo>
                  <a:lnTo>
                    <a:pt x="5" y="0"/>
                  </a:lnTo>
                  <a:lnTo>
                    <a:pt x="7" y="0"/>
                  </a:lnTo>
                  <a:lnTo>
                    <a:pt x="7" y="0"/>
                  </a:lnTo>
                  <a:lnTo>
                    <a:pt x="7" y="0"/>
                  </a:lnTo>
                  <a:lnTo>
                    <a:pt x="7" y="0"/>
                  </a:lnTo>
                  <a:lnTo>
                    <a:pt x="7" y="0"/>
                  </a:lnTo>
                  <a:lnTo>
                    <a:pt x="7" y="0"/>
                  </a:lnTo>
                  <a:lnTo>
                    <a:pt x="7" y="0"/>
                  </a:lnTo>
                  <a:lnTo>
                    <a:pt x="10" y="0"/>
                  </a:lnTo>
                  <a:lnTo>
                    <a:pt x="10" y="0"/>
                  </a:lnTo>
                  <a:lnTo>
                    <a:pt x="10" y="0"/>
                  </a:lnTo>
                  <a:lnTo>
                    <a:pt x="10" y="0"/>
                  </a:lnTo>
                  <a:lnTo>
                    <a:pt x="10" y="0"/>
                  </a:lnTo>
                  <a:lnTo>
                    <a:pt x="10" y="0"/>
                  </a:lnTo>
                  <a:lnTo>
                    <a:pt x="10" y="0"/>
                  </a:lnTo>
                  <a:lnTo>
                    <a:pt x="12" y="0"/>
                  </a:lnTo>
                  <a:lnTo>
                    <a:pt x="12" y="0"/>
                  </a:lnTo>
                  <a:lnTo>
                    <a:pt x="12" y="0"/>
                  </a:lnTo>
                  <a:lnTo>
                    <a:pt x="12" y="3"/>
                  </a:lnTo>
                  <a:lnTo>
                    <a:pt x="10" y="3"/>
                  </a:lnTo>
                  <a:lnTo>
                    <a:pt x="10" y="3"/>
                  </a:lnTo>
                  <a:lnTo>
                    <a:pt x="10" y="3"/>
                  </a:lnTo>
                  <a:lnTo>
                    <a:pt x="10" y="3"/>
                  </a:lnTo>
                  <a:lnTo>
                    <a:pt x="12" y="3"/>
                  </a:lnTo>
                  <a:lnTo>
                    <a:pt x="12" y="3"/>
                  </a:lnTo>
                  <a:lnTo>
                    <a:pt x="12" y="3"/>
                  </a:lnTo>
                  <a:lnTo>
                    <a:pt x="12" y="3"/>
                  </a:lnTo>
                  <a:lnTo>
                    <a:pt x="12" y="3"/>
                  </a:lnTo>
                  <a:lnTo>
                    <a:pt x="12"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 name="Freeform 50276"/>
            <p:cNvSpPr>
              <a:spLocks/>
            </p:cNvSpPr>
            <p:nvPr/>
          </p:nvSpPr>
          <p:spPr bwMode="auto">
            <a:xfrm>
              <a:off x="2525711" y="4776804"/>
              <a:ext cx="400050" cy="200025"/>
            </a:xfrm>
            <a:custGeom>
              <a:avLst/>
              <a:gdLst>
                <a:gd name="T0" fmla="*/ 193 w 252"/>
                <a:gd name="T1" fmla="*/ 0 h 126"/>
                <a:gd name="T2" fmla="*/ 204 w 252"/>
                <a:gd name="T3" fmla="*/ 7 h 126"/>
                <a:gd name="T4" fmla="*/ 216 w 252"/>
                <a:gd name="T5" fmla="*/ 12 h 126"/>
                <a:gd name="T6" fmla="*/ 228 w 252"/>
                <a:gd name="T7" fmla="*/ 10 h 126"/>
                <a:gd name="T8" fmla="*/ 242 w 252"/>
                <a:gd name="T9" fmla="*/ 14 h 126"/>
                <a:gd name="T10" fmla="*/ 242 w 252"/>
                <a:gd name="T11" fmla="*/ 26 h 126"/>
                <a:gd name="T12" fmla="*/ 242 w 252"/>
                <a:gd name="T13" fmla="*/ 33 h 126"/>
                <a:gd name="T14" fmla="*/ 250 w 252"/>
                <a:gd name="T15" fmla="*/ 48 h 126"/>
                <a:gd name="T16" fmla="*/ 247 w 252"/>
                <a:gd name="T17" fmla="*/ 57 h 126"/>
                <a:gd name="T18" fmla="*/ 240 w 252"/>
                <a:gd name="T19" fmla="*/ 64 h 126"/>
                <a:gd name="T20" fmla="*/ 228 w 252"/>
                <a:gd name="T21" fmla="*/ 62 h 126"/>
                <a:gd name="T22" fmla="*/ 238 w 252"/>
                <a:gd name="T23" fmla="*/ 69 h 126"/>
                <a:gd name="T24" fmla="*/ 228 w 252"/>
                <a:gd name="T25" fmla="*/ 78 h 126"/>
                <a:gd name="T26" fmla="*/ 231 w 252"/>
                <a:gd name="T27" fmla="*/ 88 h 126"/>
                <a:gd name="T28" fmla="*/ 228 w 252"/>
                <a:gd name="T29" fmla="*/ 95 h 126"/>
                <a:gd name="T30" fmla="*/ 221 w 252"/>
                <a:gd name="T31" fmla="*/ 97 h 126"/>
                <a:gd name="T32" fmla="*/ 214 w 252"/>
                <a:gd name="T33" fmla="*/ 105 h 126"/>
                <a:gd name="T34" fmla="*/ 207 w 252"/>
                <a:gd name="T35" fmla="*/ 109 h 126"/>
                <a:gd name="T36" fmla="*/ 193 w 252"/>
                <a:gd name="T37" fmla="*/ 112 h 126"/>
                <a:gd name="T38" fmla="*/ 176 w 252"/>
                <a:gd name="T39" fmla="*/ 114 h 126"/>
                <a:gd name="T40" fmla="*/ 166 w 252"/>
                <a:gd name="T41" fmla="*/ 124 h 126"/>
                <a:gd name="T42" fmla="*/ 157 w 252"/>
                <a:gd name="T43" fmla="*/ 124 h 126"/>
                <a:gd name="T44" fmla="*/ 148 w 252"/>
                <a:gd name="T45" fmla="*/ 119 h 126"/>
                <a:gd name="T46" fmla="*/ 136 w 252"/>
                <a:gd name="T47" fmla="*/ 116 h 126"/>
                <a:gd name="T48" fmla="*/ 117 w 252"/>
                <a:gd name="T49" fmla="*/ 114 h 126"/>
                <a:gd name="T50" fmla="*/ 100 w 252"/>
                <a:gd name="T51" fmla="*/ 112 h 126"/>
                <a:gd name="T52" fmla="*/ 91 w 252"/>
                <a:gd name="T53" fmla="*/ 100 h 126"/>
                <a:gd name="T54" fmla="*/ 86 w 252"/>
                <a:gd name="T55" fmla="*/ 95 h 126"/>
                <a:gd name="T56" fmla="*/ 81 w 252"/>
                <a:gd name="T57" fmla="*/ 93 h 126"/>
                <a:gd name="T58" fmla="*/ 67 w 252"/>
                <a:gd name="T59" fmla="*/ 95 h 126"/>
                <a:gd name="T60" fmla="*/ 57 w 252"/>
                <a:gd name="T61" fmla="*/ 97 h 126"/>
                <a:gd name="T62" fmla="*/ 45 w 252"/>
                <a:gd name="T63" fmla="*/ 107 h 126"/>
                <a:gd name="T64" fmla="*/ 31 w 252"/>
                <a:gd name="T65" fmla="*/ 102 h 126"/>
                <a:gd name="T66" fmla="*/ 24 w 252"/>
                <a:gd name="T67" fmla="*/ 100 h 126"/>
                <a:gd name="T68" fmla="*/ 12 w 252"/>
                <a:gd name="T69" fmla="*/ 97 h 126"/>
                <a:gd name="T70" fmla="*/ 0 w 252"/>
                <a:gd name="T71" fmla="*/ 88 h 126"/>
                <a:gd name="T72" fmla="*/ 5 w 252"/>
                <a:gd name="T73" fmla="*/ 78 h 126"/>
                <a:gd name="T74" fmla="*/ 5 w 252"/>
                <a:gd name="T75" fmla="*/ 71 h 126"/>
                <a:gd name="T76" fmla="*/ 12 w 252"/>
                <a:gd name="T77" fmla="*/ 69 h 126"/>
                <a:gd name="T78" fmla="*/ 17 w 252"/>
                <a:gd name="T79" fmla="*/ 74 h 126"/>
                <a:gd name="T80" fmla="*/ 22 w 252"/>
                <a:gd name="T81" fmla="*/ 78 h 126"/>
                <a:gd name="T82" fmla="*/ 26 w 252"/>
                <a:gd name="T83" fmla="*/ 78 h 126"/>
                <a:gd name="T84" fmla="*/ 31 w 252"/>
                <a:gd name="T85" fmla="*/ 71 h 126"/>
                <a:gd name="T86" fmla="*/ 36 w 252"/>
                <a:gd name="T87" fmla="*/ 69 h 126"/>
                <a:gd name="T88" fmla="*/ 43 w 252"/>
                <a:gd name="T89" fmla="*/ 74 h 126"/>
                <a:gd name="T90" fmla="*/ 55 w 252"/>
                <a:gd name="T91" fmla="*/ 76 h 126"/>
                <a:gd name="T92" fmla="*/ 67 w 252"/>
                <a:gd name="T93" fmla="*/ 69 h 126"/>
                <a:gd name="T94" fmla="*/ 76 w 252"/>
                <a:gd name="T95" fmla="*/ 67 h 126"/>
                <a:gd name="T96" fmla="*/ 91 w 252"/>
                <a:gd name="T97" fmla="*/ 59 h 126"/>
                <a:gd name="T98" fmla="*/ 98 w 252"/>
                <a:gd name="T99" fmla="*/ 64 h 126"/>
                <a:gd name="T100" fmla="*/ 110 w 252"/>
                <a:gd name="T101" fmla="*/ 67 h 126"/>
                <a:gd name="T102" fmla="*/ 117 w 252"/>
                <a:gd name="T103" fmla="*/ 74 h 126"/>
                <a:gd name="T104" fmla="*/ 112 w 252"/>
                <a:gd name="T105" fmla="*/ 59 h 126"/>
                <a:gd name="T106" fmla="*/ 110 w 252"/>
                <a:gd name="T107" fmla="*/ 48 h 126"/>
                <a:gd name="T108" fmla="*/ 114 w 252"/>
                <a:gd name="T109" fmla="*/ 36 h 126"/>
                <a:gd name="T110" fmla="*/ 129 w 252"/>
                <a:gd name="T111" fmla="*/ 31 h 126"/>
                <a:gd name="T112" fmla="*/ 136 w 252"/>
                <a:gd name="T113" fmla="*/ 21 h 126"/>
                <a:gd name="T114" fmla="*/ 143 w 252"/>
                <a:gd name="T115" fmla="*/ 17 h 126"/>
                <a:gd name="T116" fmla="*/ 145 w 252"/>
                <a:gd name="T117" fmla="*/ 12 h 126"/>
                <a:gd name="T118" fmla="*/ 155 w 252"/>
                <a:gd name="T119" fmla="*/ 21 h 126"/>
                <a:gd name="T120" fmla="*/ 166 w 252"/>
                <a:gd name="T121" fmla="*/ 19 h 126"/>
                <a:gd name="T122" fmla="*/ 176 w 252"/>
                <a:gd name="T123" fmla="*/ 10 h 126"/>
                <a:gd name="T124" fmla="*/ 181 w 252"/>
                <a:gd name="T125"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2" h="126">
                  <a:moveTo>
                    <a:pt x="181" y="0"/>
                  </a:moveTo>
                  <a:lnTo>
                    <a:pt x="183" y="0"/>
                  </a:lnTo>
                  <a:lnTo>
                    <a:pt x="185" y="0"/>
                  </a:lnTo>
                  <a:lnTo>
                    <a:pt x="185" y="2"/>
                  </a:lnTo>
                  <a:lnTo>
                    <a:pt x="188" y="2"/>
                  </a:lnTo>
                  <a:lnTo>
                    <a:pt x="190" y="2"/>
                  </a:lnTo>
                  <a:lnTo>
                    <a:pt x="190" y="0"/>
                  </a:lnTo>
                  <a:lnTo>
                    <a:pt x="193" y="0"/>
                  </a:lnTo>
                  <a:lnTo>
                    <a:pt x="193" y="2"/>
                  </a:lnTo>
                  <a:lnTo>
                    <a:pt x="195" y="2"/>
                  </a:lnTo>
                  <a:lnTo>
                    <a:pt x="197" y="2"/>
                  </a:lnTo>
                  <a:lnTo>
                    <a:pt x="197" y="5"/>
                  </a:lnTo>
                  <a:lnTo>
                    <a:pt x="200" y="5"/>
                  </a:lnTo>
                  <a:lnTo>
                    <a:pt x="202" y="5"/>
                  </a:lnTo>
                  <a:lnTo>
                    <a:pt x="202" y="7"/>
                  </a:lnTo>
                  <a:lnTo>
                    <a:pt x="204" y="7"/>
                  </a:lnTo>
                  <a:lnTo>
                    <a:pt x="207" y="7"/>
                  </a:lnTo>
                  <a:lnTo>
                    <a:pt x="209" y="7"/>
                  </a:lnTo>
                  <a:lnTo>
                    <a:pt x="212" y="7"/>
                  </a:lnTo>
                  <a:lnTo>
                    <a:pt x="209" y="7"/>
                  </a:lnTo>
                  <a:lnTo>
                    <a:pt x="212" y="7"/>
                  </a:lnTo>
                  <a:lnTo>
                    <a:pt x="212" y="10"/>
                  </a:lnTo>
                  <a:lnTo>
                    <a:pt x="214" y="12"/>
                  </a:lnTo>
                  <a:lnTo>
                    <a:pt x="216" y="12"/>
                  </a:lnTo>
                  <a:lnTo>
                    <a:pt x="219" y="12"/>
                  </a:lnTo>
                  <a:lnTo>
                    <a:pt x="221" y="12"/>
                  </a:lnTo>
                  <a:lnTo>
                    <a:pt x="223" y="12"/>
                  </a:lnTo>
                  <a:lnTo>
                    <a:pt x="226" y="12"/>
                  </a:lnTo>
                  <a:lnTo>
                    <a:pt x="226" y="14"/>
                  </a:lnTo>
                  <a:lnTo>
                    <a:pt x="226" y="12"/>
                  </a:lnTo>
                  <a:lnTo>
                    <a:pt x="228" y="12"/>
                  </a:lnTo>
                  <a:lnTo>
                    <a:pt x="228" y="10"/>
                  </a:lnTo>
                  <a:lnTo>
                    <a:pt x="231" y="10"/>
                  </a:lnTo>
                  <a:lnTo>
                    <a:pt x="233" y="10"/>
                  </a:lnTo>
                  <a:lnTo>
                    <a:pt x="235" y="10"/>
                  </a:lnTo>
                  <a:lnTo>
                    <a:pt x="235" y="12"/>
                  </a:lnTo>
                  <a:lnTo>
                    <a:pt x="238" y="12"/>
                  </a:lnTo>
                  <a:lnTo>
                    <a:pt x="238" y="14"/>
                  </a:lnTo>
                  <a:lnTo>
                    <a:pt x="240" y="14"/>
                  </a:lnTo>
                  <a:lnTo>
                    <a:pt x="242" y="14"/>
                  </a:lnTo>
                  <a:lnTo>
                    <a:pt x="245" y="14"/>
                  </a:lnTo>
                  <a:lnTo>
                    <a:pt x="242" y="17"/>
                  </a:lnTo>
                  <a:lnTo>
                    <a:pt x="245" y="17"/>
                  </a:lnTo>
                  <a:lnTo>
                    <a:pt x="245" y="19"/>
                  </a:lnTo>
                  <a:lnTo>
                    <a:pt x="245" y="21"/>
                  </a:lnTo>
                  <a:lnTo>
                    <a:pt x="245" y="24"/>
                  </a:lnTo>
                  <a:lnTo>
                    <a:pt x="242" y="24"/>
                  </a:lnTo>
                  <a:lnTo>
                    <a:pt x="242" y="26"/>
                  </a:lnTo>
                  <a:lnTo>
                    <a:pt x="242" y="29"/>
                  </a:lnTo>
                  <a:lnTo>
                    <a:pt x="242" y="31"/>
                  </a:lnTo>
                  <a:lnTo>
                    <a:pt x="240" y="29"/>
                  </a:lnTo>
                  <a:lnTo>
                    <a:pt x="240" y="31"/>
                  </a:lnTo>
                  <a:lnTo>
                    <a:pt x="242" y="31"/>
                  </a:lnTo>
                  <a:lnTo>
                    <a:pt x="240" y="31"/>
                  </a:lnTo>
                  <a:lnTo>
                    <a:pt x="242" y="31"/>
                  </a:lnTo>
                  <a:lnTo>
                    <a:pt x="242" y="33"/>
                  </a:lnTo>
                  <a:lnTo>
                    <a:pt x="245" y="36"/>
                  </a:lnTo>
                  <a:lnTo>
                    <a:pt x="245" y="38"/>
                  </a:lnTo>
                  <a:lnTo>
                    <a:pt x="245" y="40"/>
                  </a:lnTo>
                  <a:lnTo>
                    <a:pt x="247" y="40"/>
                  </a:lnTo>
                  <a:lnTo>
                    <a:pt x="250" y="40"/>
                  </a:lnTo>
                  <a:lnTo>
                    <a:pt x="250" y="43"/>
                  </a:lnTo>
                  <a:lnTo>
                    <a:pt x="250" y="45"/>
                  </a:lnTo>
                  <a:lnTo>
                    <a:pt x="250" y="48"/>
                  </a:lnTo>
                  <a:lnTo>
                    <a:pt x="252" y="48"/>
                  </a:lnTo>
                  <a:lnTo>
                    <a:pt x="250" y="50"/>
                  </a:lnTo>
                  <a:lnTo>
                    <a:pt x="250" y="52"/>
                  </a:lnTo>
                  <a:lnTo>
                    <a:pt x="250" y="55"/>
                  </a:lnTo>
                  <a:lnTo>
                    <a:pt x="247" y="55"/>
                  </a:lnTo>
                  <a:lnTo>
                    <a:pt x="247" y="57"/>
                  </a:lnTo>
                  <a:lnTo>
                    <a:pt x="250" y="57"/>
                  </a:lnTo>
                  <a:lnTo>
                    <a:pt x="247" y="57"/>
                  </a:lnTo>
                  <a:lnTo>
                    <a:pt x="250" y="59"/>
                  </a:lnTo>
                  <a:lnTo>
                    <a:pt x="250" y="62"/>
                  </a:lnTo>
                  <a:lnTo>
                    <a:pt x="247" y="62"/>
                  </a:lnTo>
                  <a:lnTo>
                    <a:pt x="245" y="62"/>
                  </a:lnTo>
                  <a:lnTo>
                    <a:pt x="245" y="64"/>
                  </a:lnTo>
                  <a:lnTo>
                    <a:pt x="242" y="62"/>
                  </a:lnTo>
                  <a:lnTo>
                    <a:pt x="240" y="62"/>
                  </a:lnTo>
                  <a:lnTo>
                    <a:pt x="240" y="64"/>
                  </a:lnTo>
                  <a:lnTo>
                    <a:pt x="238" y="64"/>
                  </a:lnTo>
                  <a:lnTo>
                    <a:pt x="238" y="62"/>
                  </a:lnTo>
                  <a:lnTo>
                    <a:pt x="238" y="59"/>
                  </a:lnTo>
                  <a:lnTo>
                    <a:pt x="235" y="59"/>
                  </a:lnTo>
                  <a:lnTo>
                    <a:pt x="233" y="59"/>
                  </a:lnTo>
                  <a:lnTo>
                    <a:pt x="231" y="59"/>
                  </a:lnTo>
                  <a:lnTo>
                    <a:pt x="231" y="62"/>
                  </a:lnTo>
                  <a:lnTo>
                    <a:pt x="228" y="62"/>
                  </a:lnTo>
                  <a:lnTo>
                    <a:pt x="228" y="64"/>
                  </a:lnTo>
                  <a:lnTo>
                    <a:pt x="228" y="62"/>
                  </a:lnTo>
                  <a:lnTo>
                    <a:pt x="228" y="64"/>
                  </a:lnTo>
                  <a:lnTo>
                    <a:pt x="231" y="64"/>
                  </a:lnTo>
                  <a:lnTo>
                    <a:pt x="233" y="67"/>
                  </a:lnTo>
                  <a:lnTo>
                    <a:pt x="235" y="67"/>
                  </a:lnTo>
                  <a:lnTo>
                    <a:pt x="235" y="69"/>
                  </a:lnTo>
                  <a:lnTo>
                    <a:pt x="238" y="69"/>
                  </a:lnTo>
                  <a:lnTo>
                    <a:pt x="238" y="71"/>
                  </a:lnTo>
                  <a:lnTo>
                    <a:pt x="235" y="71"/>
                  </a:lnTo>
                  <a:lnTo>
                    <a:pt x="235" y="74"/>
                  </a:lnTo>
                  <a:lnTo>
                    <a:pt x="235" y="76"/>
                  </a:lnTo>
                  <a:lnTo>
                    <a:pt x="233" y="76"/>
                  </a:lnTo>
                  <a:lnTo>
                    <a:pt x="231" y="76"/>
                  </a:lnTo>
                  <a:lnTo>
                    <a:pt x="228" y="76"/>
                  </a:lnTo>
                  <a:lnTo>
                    <a:pt x="228" y="78"/>
                  </a:lnTo>
                  <a:lnTo>
                    <a:pt x="228" y="81"/>
                  </a:lnTo>
                  <a:lnTo>
                    <a:pt x="231" y="83"/>
                  </a:lnTo>
                  <a:lnTo>
                    <a:pt x="228" y="83"/>
                  </a:lnTo>
                  <a:lnTo>
                    <a:pt x="228" y="86"/>
                  </a:lnTo>
                  <a:lnTo>
                    <a:pt x="228" y="88"/>
                  </a:lnTo>
                  <a:lnTo>
                    <a:pt x="228" y="86"/>
                  </a:lnTo>
                  <a:lnTo>
                    <a:pt x="228" y="88"/>
                  </a:lnTo>
                  <a:lnTo>
                    <a:pt x="231" y="88"/>
                  </a:lnTo>
                  <a:lnTo>
                    <a:pt x="231" y="90"/>
                  </a:lnTo>
                  <a:lnTo>
                    <a:pt x="228" y="90"/>
                  </a:lnTo>
                  <a:lnTo>
                    <a:pt x="228" y="93"/>
                  </a:lnTo>
                  <a:lnTo>
                    <a:pt x="231" y="93"/>
                  </a:lnTo>
                  <a:lnTo>
                    <a:pt x="228" y="93"/>
                  </a:lnTo>
                  <a:lnTo>
                    <a:pt x="228" y="95"/>
                  </a:lnTo>
                  <a:lnTo>
                    <a:pt x="231" y="95"/>
                  </a:lnTo>
                  <a:lnTo>
                    <a:pt x="228" y="95"/>
                  </a:lnTo>
                  <a:lnTo>
                    <a:pt x="226" y="95"/>
                  </a:lnTo>
                  <a:lnTo>
                    <a:pt x="223" y="95"/>
                  </a:lnTo>
                  <a:lnTo>
                    <a:pt x="223" y="97"/>
                  </a:lnTo>
                  <a:lnTo>
                    <a:pt x="221" y="97"/>
                  </a:lnTo>
                  <a:lnTo>
                    <a:pt x="221" y="100"/>
                  </a:lnTo>
                  <a:lnTo>
                    <a:pt x="221" y="97"/>
                  </a:lnTo>
                  <a:lnTo>
                    <a:pt x="221" y="100"/>
                  </a:lnTo>
                  <a:lnTo>
                    <a:pt x="221" y="97"/>
                  </a:lnTo>
                  <a:lnTo>
                    <a:pt x="221" y="100"/>
                  </a:lnTo>
                  <a:lnTo>
                    <a:pt x="221" y="97"/>
                  </a:lnTo>
                  <a:lnTo>
                    <a:pt x="221" y="100"/>
                  </a:lnTo>
                  <a:lnTo>
                    <a:pt x="219" y="100"/>
                  </a:lnTo>
                  <a:lnTo>
                    <a:pt x="219" y="102"/>
                  </a:lnTo>
                  <a:lnTo>
                    <a:pt x="216" y="102"/>
                  </a:lnTo>
                  <a:lnTo>
                    <a:pt x="214" y="102"/>
                  </a:lnTo>
                  <a:lnTo>
                    <a:pt x="214" y="105"/>
                  </a:lnTo>
                  <a:lnTo>
                    <a:pt x="214" y="102"/>
                  </a:lnTo>
                  <a:lnTo>
                    <a:pt x="214" y="105"/>
                  </a:lnTo>
                  <a:lnTo>
                    <a:pt x="214" y="107"/>
                  </a:lnTo>
                  <a:lnTo>
                    <a:pt x="214" y="109"/>
                  </a:lnTo>
                  <a:lnTo>
                    <a:pt x="214" y="112"/>
                  </a:lnTo>
                  <a:lnTo>
                    <a:pt x="212" y="109"/>
                  </a:lnTo>
                  <a:lnTo>
                    <a:pt x="209" y="109"/>
                  </a:lnTo>
                  <a:lnTo>
                    <a:pt x="207" y="109"/>
                  </a:lnTo>
                  <a:lnTo>
                    <a:pt x="204" y="109"/>
                  </a:lnTo>
                  <a:lnTo>
                    <a:pt x="202" y="109"/>
                  </a:lnTo>
                  <a:lnTo>
                    <a:pt x="200" y="109"/>
                  </a:lnTo>
                  <a:lnTo>
                    <a:pt x="200" y="112"/>
                  </a:lnTo>
                  <a:lnTo>
                    <a:pt x="197" y="114"/>
                  </a:lnTo>
                  <a:lnTo>
                    <a:pt x="195" y="114"/>
                  </a:lnTo>
                  <a:lnTo>
                    <a:pt x="195" y="112"/>
                  </a:lnTo>
                  <a:lnTo>
                    <a:pt x="193" y="112"/>
                  </a:lnTo>
                  <a:lnTo>
                    <a:pt x="190" y="112"/>
                  </a:lnTo>
                  <a:lnTo>
                    <a:pt x="188" y="112"/>
                  </a:lnTo>
                  <a:lnTo>
                    <a:pt x="185" y="112"/>
                  </a:lnTo>
                  <a:lnTo>
                    <a:pt x="183" y="112"/>
                  </a:lnTo>
                  <a:lnTo>
                    <a:pt x="181" y="112"/>
                  </a:lnTo>
                  <a:lnTo>
                    <a:pt x="181" y="114"/>
                  </a:lnTo>
                  <a:lnTo>
                    <a:pt x="178" y="114"/>
                  </a:lnTo>
                  <a:lnTo>
                    <a:pt x="176" y="114"/>
                  </a:lnTo>
                  <a:lnTo>
                    <a:pt x="176" y="116"/>
                  </a:lnTo>
                  <a:lnTo>
                    <a:pt x="176" y="119"/>
                  </a:lnTo>
                  <a:lnTo>
                    <a:pt x="174" y="119"/>
                  </a:lnTo>
                  <a:lnTo>
                    <a:pt x="171" y="119"/>
                  </a:lnTo>
                  <a:lnTo>
                    <a:pt x="171" y="121"/>
                  </a:lnTo>
                  <a:lnTo>
                    <a:pt x="169" y="121"/>
                  </a:lnTo>
                  <a:lnTo>
                    <a:pt x="166" y="121"/>
                  </a:lnTo>
                  <a:lnTo>
                    <a:pt x="166" y="124"/>
                  </a:lnTo>
                  <a:lnTo>
                    <a:pt x="166" y="126"/>
                  </a:lnTo>
                  <a:lnTo>
                    <a:pt x="166" y="124"/>
                  </a:lnTo>
                  <a:lnTo>
                    <a:pt x="164" y="124"/>
                  </a:lnTo>
                  <a:lnTo>
                    <a:pt x="162" y="124"/>
                  </a:lnTo>
                  <a:lnTo>
                    <a:pt x="162" y="121"/>
                  </a:lnTo>
                  <a:lnTo>
                    <a:pt x="159" y="121"/>
                  </a:lnTo>
                  <a:lnTo>
                    <a:pt x="159" y="124"/>
                  </a:lnTo>
                  <a:lnTo>
                    <a:pt x="157" y="124"/>
                  </a:lnTo>
                  <a:lnTo>
                    <a:pt x="157" y="121"/>
                  </a:lnTo>
                  <a:lnTo>
                    <a:pt x="155" y="124"/>
                  </a:lnTo>
                  <a:lnTo>
                    <a:pt x="155" y="121"/>
                  </a:lnTo>
                  <a:lnTo>
                    <a:pt x="152" y="124"/>
                  </a:lnTo>
                  <a:lnTo>
                    <a:pt x="152" y="121"/>
                  </a:lnTo>
                  <a:lnTo>
                    <a:pt x="150" y="121"/>
                  </a:lnTo>
                  <a:lnTo>
                    <a:pt x="150" y="119"/>
                  </a:lnTo>
                  <a:lnTo>
                    <a:pt x="148" y="119"/>
                  </a:lnTo>
                  <a:lnTo>
                    <a:pt x="148" y="121"/>
                  </a:lnTo>
                  <a:lnTo>
                    <a:pt x="148" y="119"/>
                  </a:lnTo>
                  <a:lnTo>
                    <a:pt x="145" y="119"/>
                  </a:lnTo>
                  <a:lnTo>
                    <a:pt x="143" y="119"/>
                  </a:lnTo>
                  <a:lnTo>
                    <a:pt x="140" y="119"/>
                  </a:lnTo>
                  <a:lnTo>
                    <a:pt x="138" y="119"/>
                  </a:lnTo>
                  <a:lnTo>
                    <a:pt x="136" y="119"/>
                  </a:lnTo>
                  <a:lnTo>
                    <a:pt x="136" y="116"/>
                  </a:lnTo>
                  <a:lnTo>
                    <a:pt x="133" y="116"/>
                  </a:lnTo>
                  <a:lnTo>
                    <a:pt x="131" y="116"/>
                  </a:lnTo>
                  <a:lnTo>
                    <a:pt x="129" y="116"/>
                  </a:lnTo>
                  <a:lnTo>
                    <a:pt x="126" y="116"/>
                  </a:lnTo>
                  <a:lnTo>
                    <a:pt x="124" y="116"/>
                  </a:lnTo>
                  <a:lnTo>
                    <a:pt x="121" y="116"/>
                  </a:lnTo>
                  <a:lnTo>
                    <a:pt x="119" y="114"/>
                  </a:lnTo>
                  <a:lnTo>
                    <a:pt x="117" y="114"/>
                  </a:lnTo>
                  <a:lnTo>
                    <a:pt x="114" y="114"/>
                  </a:lnTo>
                  <a:lnTo>
                    <a:pt x="112" y="114"/>
                  </a:lnTo>
                  <a:lnTo>
                    <a:pt x="110" y="114"/>
                  </a:lnTo>
                  <a:lnTo>
                    <a:pt x="107" y="114"/>
                  </a:lnTo>
                  <a:lnTo>
                    <a:pt x="107" y="112"/>
                  </a:lnTo>
                  <a:lnTo>
                    <a:pt x="105" y="112"/>
                  </a:lnTo>
                  <a:lnTo>
                    <a:pt x="102" y="112"/>
                  </a:lnTo>
                  <a:lnTo>
                    <a:pt x="100" y="112"/>
                  </a:lnTo>
                  <a:lnTo>
                    <a:pt x="98" y="112"/>
                  </a:lnTo>
                  <a:lnTo>
                    <a:pt x="98" y="109"/>
                  </a:lnTo>
                  <a:lnTo>
                    <a:pt x="95" y="109"/>
                  </a:lnTo>
                  <a:lnTo>
                    <a:pt x="93" y="107"/>
                  </a:lnTo>
                  <a:lnTo>
                    <a:pt x="91" y="107"/>
                  </a:lnTo>
                  <a:lnTo>
                    <a:pt x="91" y="105"/>
                  </a:lnTo>
                  <a:lnTo>
                    <a:pt x="91" y="102"/>
                  </a:lnTo>
                  <a:lnTo>
                    <a:pt x="91" y="100"/>
                  </a:lnTo>
                  <a:lnTo>
                    <a:pt x="91" y="102"/>
                  </a:lnTo>
                  <a:lnTo>
                    <a:pt x="88" y="102"/>
                  </a:lnTo>
                  <a:lnTo>
                    <a:pt x="88" y="100"/>
                  </a:lnTo>
                  <a:lnTo>
                    <a:pt x="86" y="100"/>
                  </a:lnTo>
                  <a:lnTo>
                    <a:pt x="88" y="100"/>
                  </a:lnTo>
                  <a:lnTo>
                    <a:pt x="88" y="97"/>
                  </a:lnTo>
                  <a:lnTo>
                    <a:pt x="86" y="97"/>
                  </a:lnTo>
                  <a:lnTo>
                    <a:pt x="86" y="95"/>
                  </a:lnTo>
                  <a:lnTo>
                    <a:pt x="88" y="95"/>
                  </a:lnTo>
                  <a:lnTo>
                    <a:pt x="88" y="93"/>
                  </a:lnTo>
                  <a:lnTo>
                    <a:pt x="91" y="93"/>
                  </a:lnTo>
                  <a:lnTo>
                    <a:pt x="88" y="93"/>
                  </a:lnTo>
                  <a:lnTo>
                    <a:pt x="88" y="90"/>
                  </a:lnTo>
                  <a:lnTo>
                    <a:pt x="86" y="93"/>
                  </a:lnTo>
                  <a:lnTo>
                    <a:pt x="83" y="93"/>
                  </a:lnTo>
                  <a:lnTo>
                    <a:pt x="81" y="93"/>
                  </a:lnTo>
                  <a:lnTo>
                    <a:pt x="79" y="95"/>
                  </a:lnTo>
                  <a:lnTo>
                    <a:pt x="76" y="95"/>
                  </a:lnTo>
                  <a:lnTo>
                    <a:pt x="74" y="95"/>
                  </a:lnTo>
                  <a:lnTo>
                    <a:pt x="74" y="97"/>
                  </a:lnTo>
                  <a:lnTo>
                    <a:pt x="72" y="97"/>
                  </a:lnTo>
                  <a:lnTo>
                    <a:pt x="72" y="95"/>
                  </a:lnTo>
                  <a:lnTo>
                    <a:pt x="69" y="95"/>
                  </a:lnTo>
                  <a:lnTo>
                    <a:pt x="67" y="95"/>
                  </a:lnTo>
                  <a:lnTo>
                    <a:pt x="67" y="97"/>
                  </a:lnTo>
                  <a:lnTo>
                    <a:pt x="67" y="95"/>
                  </a:lnTo>
                  <a:lnTo>
                    <a:pt x="64" y="95"/>
                  </a:lnTo>
                  <a:lnTo>
                    <a:pt x="64" y="97"/>
                  </a:lnTo>
                  <a:lnTo>
                    <a:pt x="62" y="97"/>
                  </a:lnTo>
                  <a:lnTo>
                    <a:pt x="60" y="95"/>
                  </a:lnTo>
                  <a:lnTo>
                    <a:pt x="60" y="97"/>
                  </a:lnTo>
                  <a:lnTo>
                    <a:pt x="57" y="97"/>
                  </a:lnTo>
                  <a:lnTo>
                    <a:pt x="55" y="97"/>
                  </a:lnTo>
                  <a:lnTo>
                    <a:pt x="53" y="100"/>
                  </a:lnTo>
                  <a:lnTo>
                    <a:pt x="53" y="102"/>
                  </a:lnTo>
                  <a:lnTo>
                    <a:pt x="50" y="102"/>
                  </a:lnTo>
                  <a:lnTo>
                    <a:pt x="50" y="105"/>
                  </a:lnTo>
                  <a:lnTo>
                    <a:pt x="50" y="107"/>
                  </a:lnTo>
                  <a:lnTo>
                    <a:pt x="48" y="107"/>
                  </a:lnTo>
                  <a:lnTo>
                    <a:pt x="45" y="107"/>
                  </a:lnTo>
                  <a:lnTo>
                    <a:pt x="43" y="107"/>
                  </a:lnTo>
                  <a:lnTo>
                    <a:pt x="41" y="105"/>
                  </a:lnTo>
                  <a:lnTo>
                    <a:pt x="41" y="107"/>
                  </a:lnTo>
                  <a:lnTo>
                    <a:pt x="41" y="105"/>
                  </a:lnTo>
                  <a:lnTo>
                    <a:pt x="38" y="102"/>
                  </a:lnTo>
                  <a:lnTo>
                    <a:pt x="36" y="102"/>
                  </a:lnTo>
                  <a:lnTo>
                    <a:pt x="34" y="102"/>
                  </a:lnTo>
                  <a:lnTo>
                    <a:pt x="31" y="102"/>
                  </a:lnTo>
                  <a:lnTo>
                    <a:pt x="31" y="100"/>
                  </a:lnTo>
                  <a:lnTo>
                    <a:pt x="31" y="97"/>
                  </a:lnTo>
                  <a:lnTo>
                    <a:pt x="29" y="97"/>
                  </a:lnTo>
                  <a:lnTo>
                    <a:pt x="29" y="95"/>
                  </a:lnTo>
                  <a:lnTo>
                    <a:pt x="26" y="95"/>
                  </a:lnTo>
                  <a:lnTo>
                    <a:pt x="26" y="97"/>
                  </a:lnTo>
                  <a:lnTo>
                    <a:pt x="26" y="100"/>
                  </a:lnTo>
                  <a:lnTo>
                    <a:pt x="24" y="100"/>
                  </a:lnTo>
                  <a:lnTo>
                    <a:pt x="24" y="102"/>
                  </a:lnTo>
                  <a:lnTo>
                    <a:pt x="22" y="102"/>
                  </a:lnTo>
                  <a:lnTo>
                    <a:pt x="19" y="102"/>
                  </a:lnTo>
                  <a:lnTo>
                    <a:pt x="17" y="102"/>
                  </a:lnTo>
                  <a:lnTo>
                    <a:pt x="17" y="100"/>
                  </a:lnTo>
                  <a:lnTo>
                    <a:pt x="15" y="100"/>
                  </a:lnTo>
                  <a:lnTo>
                    <a:pt x="12" y="100"/>
                  </a:lnTo>
                  <a:lnTo>
                    <a:pt x="12" y="97"/>
                  </a:lnTo>
                  <a:lnTo>
                    <a:pt x="12" y="95"/>
                  </a:lnTo>
                  <a:lnTo>
                    <a:pt x="10" y="95"/>
                  </a:lnTo>
                  <a:lnTo>
                    <a:pt x="8" y="93"/>
                  </a:lnTo>
                  <a:lnTo>
                    <a:pt x="5" y="93"/>
                  </a:lnTo>
                  <a:lnTo>
                    <a:pt x="3" y="93"/>
                  </a:lnTo>
                  <a:lnTo>
                    <a:pt x="3" y="90"/>
                  </a:lnTo>
                  <a:lnTo>
                    <a:pt x="3" y="88"/>
                  </a:lnTo>
                  <a:lnTo>
                    <a:pt x="0" y="88"/>
                  </a:lnTo>
                  <a:lnTo>
                    <a:pt x="3" y="88"/>
                  </a:lnTo>
                  <a:lnTo>
                    <a:pt x="3" y="86"/>
                  </a:lnTo>
                  <a:lnTo>
                    <a:pt x="0" y="86"/>
                  </a:lnTo>
                  <a:lnTo>
                    <a:pt x="0" y="83"/>
                  </a:lnTo>
                  <a:lnTo>
                    <a:pt x="0" y="81"/>
                  </a:lnTo>
                  <a:lnTo>
                    <a:pt x="3" y="81"/>
                  </a:lnTo>
                  <a:lnTo>
                    <a:pt x="3" y="78"/>
                  </a:lnTo>
                  <a:lnTo>
                    <a:pt x="5" y="78"/>
                  </a:lnTo>
                  <a:lnTo>
                    <a:pt x="5" y="76"/>
                  </a:lnTo>
                  <a:lnTo>
                    <a:pt x="3" y="76"/>
                  </a:lnTo>
                  <a:lnTo>
                    <a:pt x="3" y="74"/>
                  </a:lnTo>
                  <a:lnTo>
                    <a:pt x="5" y="74"/>
                  </a:lnTo>
                  <a:lnTo>
                    <a:pt x="3" y="74"/>
                  </a:lnTo>
                  <a:lnTo>
                    <a:pt x="0" y="71"/>
                  </a:lnTo>
                  <a:lnTo>
                    <a:pt x="0" y="69"/>
                  </a:lnTo>
                  <a:lnTo>
                    <a:pt x="5" y="71"/>
                  </a:lnTo>
                  <a:lnTo>
                    <a:pt x="8" y="71"/>
                  </a:lnTo>
                  <a:lnTo>
                    <a:pt x="8" y="69"/>
                  </a:lnTo>
                  <a:lnTo>
                    <a:pt x="8" y="67"/>
                  </a:lnTo>
                  <a:lnTo>
                    <a:pt x="10" y="67"/>
                  </a:lnTo>
                  <a:lnTo>
                    <a:pt x="10" y="69"/>
                  </a:lnTo>
                  <a:lnTo>
                    <a:pt x="10" y="71"/>
                  </a:lnTo>
                  <a:lnTo>
                    <a:pt x="12" y="71"/>
                  </a:lnTo>
                  <a:lnTo>
                    <a:pt x="12" y="69"/>
                  </a:lnTo>
                  <a:lnTo>
                    <a:pt x="12" y="71"/>
                  </a:lnTo>
                  <a:lnTo>
                    <a:pt x="15" y="71"/>
                  </a:lnTo>
                  <a:lnTo>
                    <a:pt x="15" y="69"/>
                  </a:lnTo>
                  <a:lnTo>
                    <a:pt x="15" y="71"/>
                  </a:lnTo>
                  <a:lnTo>
                    <a:pt x="15" y="74"/>
                  </a:lnTo>
                  <a:lnTo>
                    <a:pt x="17" y="74"/>
                  </a:lnTo>
                  <a:lnTo>
                    <a:pt x="17" y="71"/>
                  </a:lnTo>
                  <a:lnTo>
                    <a:pt x="17" y="74"/>
                  </a:lnTo>
                  <a:lnTo>
                    <a:pt x="19" y="74"/>
                  </a:lnTo>
                  <a:lnTo>
                    <a:pt x="19" y="76"/>
                  </a:lnTo>
                  <a:lnTo>
                    <a:pt x="17" y="76"/>
                  </a:lnTo>
                  <a:lnTo>
                    <a:pt x="19" y="76"/>
                  </a:lnTo>
                  <a:lnTo>
                    <a:pt x="19" y="78"/>
                  </a:lnTo>
                  <a:lnTo>
                    <a:pt x="22" y="78"/>
                  </a:lnTo>
                  <a:lnTo>
                    <a:pt x="22" y="76"/>
                  </a:lnTo>
                  <a:lnTo>
                    <a:pt x="22" y="78"/>
                  </a:lnTo>
                  <a:lnTo>
                    <a:pt x="24" y="76"/>
                  </a:lnTo>
                  <a:lnTo>
                    <a:pt x="24" y="78"/>
                  </a:lnTo>
                  <a:lnTo>
                    <a:pt x="22" y="78"/>
                  </a:lnTo>
                  <a:lnTo>
                    <a:pt x="22" y="81"/>
                  </a:lnTo>
                  <a:lnTo>
                    <a:pt x="22" y="83"/>
                  </a:lnTo>
                  <a:lnTo>
                    <a:pt x="24" y="83"/>
                  </a:lnTo>
                  <a:lnTo>
                    <a:pt x="26" y="81"/>
                  </a:lnTo>
                  <a:lnTo>
                    <a:pt x="26" y="78"/>
                  </a:lnTo>
                  <a:lnTo>
                    <a:pt x="29" y="78"/>
                  </a:lnTo>
                  <a:lnTo>
                    <a:pt x="31" y="78"/>
                  </a:lnTo>
                  <a:lnTo>
                    <a:pt x="29" y="76"/>
                  </a:lnTo>
                  <a:lnTo>
                    <a:pt x="31" y="76"/>
                  </a:lnTo>
                  <a:lnTo>
                    <a:pt x="31" y="74"/>
                  </a:lnTo>
                  <a:lnTo>
                    <a:pt x="31" y="71"/>
                  </a:lnTo>
                  <a:lnTo>
                    <a:pt x="29" y="71"/>
                  </a:lnTo>
                  <a:lnTo>
                    <a:pt x="31" y="71"/>
                  </a:lnTo>
                  <a:lnTo>
                    <a:pt x="31" y="69"/>
                  </a:lnTo>
                  <a:lnTo>
                    <a:pt x="29" y="69"/>
                  </a:lnTo>
                  <a:lnTo>
                    <a:pt x="31" y="69"/>
                  </a:lnTo>
                  <a:lnTo>
                    <a:pt x="34" y="71"/>
                  </a:lnTo>
                  <a:lnTo>
                    <a:pt x="34" y="69"/>
                  </a:lnTo>
                  <a:lnTo>
                    <a:pt x="34" y="71"/>
                  </a:lnTo>
                  <a:lnTo>
                    <a:pt x="34" y="69"/>
                  </a:lnTo>
                  <a:lnTo>
                    <a:pt x="36" y="69"/>
                  </a:lnTo>
                  <a:lnTo>
                    <a:pt x="38" y="69"/>
                  </a:lnTo>
                  <a:lnTo>
                    <a:pt x="38" y="71"/>
                  </a:lnTo>
                  <a:lnTo>
                    <a:pt x="41" y="69"/>
                  </a:lnTo>
                  <a:lnTo>
                    <a:pt x="41" y="71"/>
                  </a:lnTo>
                  <a:lnTo>
                    <a:pt x="43" y="71"/>
                  </a:lnTo>
                  <a:lnTo>
                    <a:pt x="45" y="69"/>
                  </a:lnTo>
                  <a:lnTo>
                    <a:pt x="45" y="71"/>
                  </a:lnTo>
                  <a:lnTo>
                    <a:pt x="43" y="74"/>
                  </a:lnTo>
                  <a:lnTo>
                    <a:pt x="45" y="74"/>
                  </a:lnTo>
                  <a:lnTo>
                    <a:pt x="48" y="74"/>
                  </a:lnTo>
                  <a:lnTo>
                    <a:pt x="48" y="76"/>
                  </a:lnTo>
                  <a:lnTo>
                    <a:pt x="50" y="76"/>
                  </a:lnTo>
                  <a:lnTo>
                    <a:pt x="53" y="76"/>
                  </a:lnTo>
                  <a:lnTo>
                    <a:pt x="55" y="76"/>
                  </a:lnTo>
                  <a:lnTo>
                    <a:pt x="57" y="76"/>
                  </a:lnTo>
                  <a:lnTo>
                    <a:pt x="55" y="76"/>
                  </a:lnTo>
                  <a:lnTo>
                    <a:pt x="57" y="76"/>
                  </a:lnTo>
                  <a:lnTo>
                    <a:pt x="60" y="76"/>
                  </a:lnTo>
                  <a:lnTo>
                    <a:pt x="60" y="74"/>
                  </a:lnTo>
                  <a:lnTo>
                    <a:pt x="62" y="74"/>
                  </a:lnTo>
                  <a:lnTo>
                    <a:pt x="62" y="71"/>
                  </a:lnTo>
                  <a:lnTo>
                    <a:pt x="64" y="71"/>
                  </a:lnTo>
                  <a:lnTo>
                    <a:pt x="67" y="71"/>
                  </a:lnTo>
                  <a:lnTo>
                    <a:pt x="67" y="69"/>
                  </a:lnTo>
                  <a:lnTo>
                    <a:pt x="69" y="69"/>
                  </a:lnTo>
                  <a:lnTo>
                    <a:pt x="69" y="67"/>
                  </a:lnTo>
                  <a:lnTo>
                    <a:pt x="69" y="69"/>
                  </a:lnTo>
                  <a:lnTo>
                    <a:pt x="72" y="69"/>
                  </a:lnTo>
                  <a:lnTo>
                    <a:pt x="72" y="67"/>
                  </a:lnTo>
                  <a:lnTo>
                    <a:pt x="74" y="67"/>
                  </a:lnTo>
                  <a:lnTo>
                    <a:pt x="76" y="69"/>
                  </a:lnTo>
                  <a:lnTo>
                    <a:pt x="76" y="67"/>
                  </a:lnTo>
                  <a:lnTo>
                    <a:pt x="79" y="67"/>
                  </a:lnTo>
                  <a:lnTo>
                    <a:pt x="81" y="67"/>
                  </a:lnTo>
                  <a:lnTo>
                    <a:pt x="83" y="67"/>
                  </a:lnTo>
                  <a:lnTo>
                    <a:pt x="86" y="67"/>
                  </a:lnTo>
                  <a:lnTo>
                    <a:pt x="88" y="67"/>
                  </a:lnTo>
                  <a:lnTo>
                    <a:pt x="88" y="64"/>
                  </a:lnTo>
                  <a:lnTo>
                    <a:pt x="88" y="62"/>
                  </a:lnTo>
                  <a:lnTo>
                    <a:pt x="91" y="59"/>
                  </a:lnTo>
                  <a:lnTo>
                    <a:pt x="91" y="62"/>
                  </a:lnTo>
                  <a:lnTo>
                    <a:pt x="91" y="64"/>
                  </a:lnTo>
                  <a:lnTo>
                    <a:pt x="91" y="62"/>
                  </a:lnTo>
                  <a:lnTo>
                    <a:pt x="93" y="62"/>
                  </a:lnTo>
                  <a:lnTo>
                    <a:pt x="93" y="64"/>
                  </a:lnTo>
                  <a:lnTo>
                    <a:pt x="95" y="62"/>
                  </a:lnTo>
                  <a:lnTo>
                    <a:pt x="95" y="64"/>
                  </a:lnTo>
                  <a:lnTo>
                    <a:pt x="98" y="64"/>
                  </a:lnTo>
                  <a:lnTo>
                    <a:pt x="98" y="67"/>
                  </a:lnTo>
                  <a:lnTo>
                    <a:pt x="100" y="67"/>
                  </a:lnTo>
                  <a:lnTo>
                    <a:pt x="100" y="64"/>
                  </a:lnTo>
                  <a:lnTo>
                    <a:pt x="102" y="64"/>
                  </a:lnTo>
                  <a:lnTo>
                    <a:pt x="105" y="64"/>
                  </a:lnTo>
                  <a:lnTo>
                    <a:pt x="107" y="64"/>
                  </a:lnTo>
                  <a:lnTo>
                    <a:pt x="107" y="67"/>
                  </a:lnTo>
                  <a:lnTo>
                    <a:pt x="110" y="67"/>
                  </a:lnTo>
                  <a:lnTo>
                    <a:pt x="107" y="67"/>
                  </a:lnTo>
                  <a:lnTo>
                    <a:pt x="107" y="69"/>
                  </a:lnTo>
                  <a:lnTo>
                    <a:pt x="110" y="69"/>
                  </a:lnTo>
                  <a:lnTo>
                    <a:pt x="110" y="71"/>
                  </a:lnTo>
                  <a:lnTo>
                    <a:pt x="112" y="71"/>
                  </a:lnTo>
                  <a:lnTo>
                    <a:pt x="112" y="74"/>
                  </a:lnTo>
                  <a:lnTo>
                    <a:pt x="114" y="74"/>
                  </a:lnTo>
                  <a:lnTo>
                    <a:pt x="117" y="74"/>
                  </a:lnTo>
                  <a:lnTo>
                    <a:pt x="117" y="71"/>
                  </a:lnTo>
                  <a:lnTo>
                    <a:pt x="117" y="69"/>
                  </a:lnTo>
                  <a:lnTo>
                    <a:pt x="117" y="67"/>
                  </a:lnTo>
                  <a:lnTo>
                    <a:pt x="117" y="64"/>
                  </a:lnTo>
                  <a:lnTo>
                    <a:pt x="117" y="62"/>
                  </a:lnTo>
                  <a:lnTo>
                    <a:pt x="114" y="62"/>
                  </a:lnTo>
                  <a:lnTo>
                    <a:pt x="112" y="62"/>
                  </a:lnTo>
                  <a:lnTo>
                    <a:pt x="112" y="59"/>
                  </a:lnTo>
                  <a:lnTo>
                    <a:pt x="112" y="57"/>
                  </a:lnTo>
                  <a:lnTo>
                    <a:pt x="114" y="57"/>
                  </a:lnTo>
                  <a:lnTo>
                    <a:pt x="114" y="55"/>
                  </a:lnTo>
                  <a:lnTo>
                    <a:pt x="114" y="52"/>
                  </a:lnTo>
                  <a:lnTo>
                    <a:pt x="112" y="52"/>
                  </a:lnTo>
                  <a:lnTo>
                    <a:pt x="112" y="50"/>
                  </a:lnTo>
                  <a:lnTo>
                    <a:pt x="110" y="50"/>
                  </a:lnTo>
                  <a:lnTo>
                    <a:pt x="110" y="48"/>
                  </a:lnTo>
                  <a:lnTo>
                    <a:pt x="107" y="45"/>
                  </a:lnTo>
                  <a:lnTo>
                    <a:pt x="107" y="43"/>
                  </a:lnTo>
                  <a:lnTo>
                    <a:pt x="107" y="40"/>
                  </a:lnTo>
                  <a:lnTo>
                    <a:pt x="110" y="40"/>
                  </a:lnTo>
                  <a:lnTo>
                    <a:pt x="110" y="38"/>
                  </a:lnTo>
                  <a:lnTo>
                    <a:pt x="112" y="38"/>
                  </a:lnTo>
                  <a:lnTo>
                    <a:pt x="114" y="38"/>
                  </a:lnTo>
                  <a:lnTo>
                    <a:pt x="114" y="36"/>
                  </a:lnTo>
                  <a:lnTo>
                    <a:pt x="117" y="36"/>
                  </a:lnTo>
                  <a:lnTo>
                    <a:pt x="119" y="36"/>
                  </a:lnTo>
                  <a:lnTo>
                    <a:pt x="119" y="33"/>
                  </a:lnTo>
                  <a:lnTo>
                    <a:pt x="121" y="33"/>
                  </a:lnTo>
                  <a:lnTo>
                    <a:pt x="124" y="33"/>
                  </a:lnTo>
                  <a:lnTo>
                    <a:pt x="126" y="33"/>
                  </a:lnTo>
                  <a:lnTo>
                    <a:pt x="126" y="31"/>
                  </a:lnTo>
                  <a:lnTo>
                    <a:pt x="129" y="31"/>
                  </a:lnTo>
                  <a:lnTo>
                    <a:pt x="129" y="29"/>
                  </a:lnTo>
                  <a:lnTo>
                    <a:pt x="129" y="26"/>
                  </a:lnTo>
                  <a:lnTo>
                    <a:pt x="129" y="24"/>
                  </a:lnTo>
                  <a:lnTo>
                    <a:pt x="129" y="21"/>
                  </a:lnTo>
                  <a:lnTo>
                    <a:pt x="131" y="21"/>
                  </a:lnTo>
                  <a:lnTo>
                    <a:pt x="131" y="19"/>
                  </a:lnTo>
                  <a:lnTo>
                    <a:pt x="133" y="21"/>
                  </a:lnTo>
                  <a:lnTo>
                    <a:pt x="136" y="21"/>
                  </a:lnTo>
                  <a:lnTo>
                    <a:pt x="138" y="24"/>
                  </a:lnTo>
                  <a:lnTo>
                    <a:pt x="138" y="21"/>
                  </a:lnTo>
                  <a:lnTo>
                    <a:pt x="140" y="21"/>
                  </a:lnTo>
                  <a:lnTo>
                    <a:pt x="138" y="21"/>
                  </a:lnTo>
                  <a:lnTo>
                    <a:pt x="140" y="21"/>
                  </a:lnTo>
                  <a:lnTo>
                    <a:pt x="140" y="19"/>
                  </a:lnTo>
                  <a:lnTo>
                    <a:pt x="143" y="19"/>
                  </a:lnTo>
                  <a:lnTo>
                    <a:pt x="143" y="17"/>
                  </a:lnTo>
                  <a:lnTo>
                    <a:pt x="140" y="17"/>
                  </a:lnTo>
                  <a:lnTo>
                    <a:pt x="143" y="17"/>
                  </a:lnTo>
                  <a:lnTo>
                    <a:pt x="140" y="14"/>
                  </a:lnTo>
                  <a:lnTo>
                    <a:pt x="143" y="14"/>
                  </a:lnTo>
                  <a:lnTo>
                    <a:pt x="140" y="14"/>
                  </a:lnTo>
                  <a:lnTo>
                    <a:pt x="140" y="12"/>
                  </a:lnTo>
                  <a:lnTo>
                    <a:pt x="143" y="12"/>
                  </a:lnTo>
                  <a:lnTo>
                    <a:pt x="145" y="12"/>
                  </a:lnTo>
                  <a:lnTo>
                    <a:pt x="145" y="14"/>
                  </a:lnTo>
                  <a:lnTo>
                    <a:pt x="148" y="14"/>
                  </a:lnTo>
                  <a:lnTo>
                    <a:pt x="150" y="17"/>
                  </a:lnTo>
                  <a:lnTo>
                    <a:pt x="148" y="17"/>
                  </a:lnTo>
                  <a:lnTo>
                    <a:pt x="150" y="19"/>
                  </a:lnTo>
                  <a:lnTo>
                    <a:pt x="152" y="19"/>
                  </a:lnTo>
                  <a:lnTo>
                    <a:pt x="155" y="19"/>
                  </a:lnTo>
                  <a:lnTo>
                    <a:pt x="155" y="21"/>
                  </a:lnTo>
                  <a:lnTo>
                    <a:pt x="157" y="21"/>
                  </a:lnTo>
                  <a:lnTo>
                    <a:pt x="159" y="21"/>
                  </a:lnTo>
                  <a:lnTo>
                    <a:pt x="159" y="19"/>
                  </a:lnTo>
                  <a:lnTo>
                    <a:pt x="162" y="19"/>
                  </a:lnTo>
                  <a:lnTo>
                    <a:pt x="162" y="17"/>
                  </a:lnTo>
                  <a:lnTo>
                    <a:pt x="164" y="17"/>
                  </a:lnTo>
                  <a:lnTo>
                    <a:pt x="164" y="19"/>
                  </a:lnTo>
                  <a:lnTo>
                    <a:pt x="166" y="19"/>
                  </a:lnTo>
                  <a:lnTo>
                    <a:pt x="169" y="19"/>
                  </a:lnTo>
                  <a:lnTo>
                    <a:pt x="171" y="19"/>
                  </a:lnTo>
                  <a:lnTo>
                    <a:pt x="171" y="17"/>
                  </a:lnTo>
                  <a:lnTo>
                    <a:pt x="171" y="14"/>
                  </a:lnTo>
                  <a:lnTo>
                    <a:pt x="174" y="14"/>
                  </a:lnTo>
                  <a:lnTo>
                    <a:pt x="174" y="12"/>
                  </a:lnTo>
                  <a:lnTo>
                    <a:pt x="174" y="10"/>
                  </a:lnTo>
                  <a:lnTo>
                    <a:pt x="176" y="10"/>
                  </a:lnTo>
                  <a:lnTo>
                    <a:pt x="176" y="12"/>
                  </a:lnTo>
                  <a:lnTo>
                    <a:pt x="176" y="10"/>
                  </a:lnTo>
                  <a:lnTo>
                    <a:pt x="178" y="12"/>
                  </a:lnTo>
                  <a:lnTo>
                    <a:pt x="181" y="12"/>
                  </a:lnTo>
                  <a:lnTo>
                    <a:pt x="181" y="10"/>
                  </a:lnTo>
                  <a:lnTo>
                    <a:pt x="178" y="10"/>
                  </a:lnTo>
                  <a:lnTo>
                    <a:pt x="181" y="7"/>
                  </a:lnTo>
                  <a:lnTo>
                    <a:pt x="181" y="5"/>
                  </a:lnTo>
                  <a:lnTo>
                    <a:pt x="181" y="2"/>
                  </a:lnTo>
                  <a:lnTo>
                    <a:pt x="18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4" name="Freeform 50277"/>
            <p:cNvSpPr>
              <a:spLocks/>
            </p:cNvSpPr>
            <p:nvPr/>
          </p:nvSpPr>
          <p:spPr bwMode="auto">
            <a:xfrm>
              <a:off x="3241672" y="4211652"/>
              <a:ext cx="501650" cy="392114"/>
            </a:xfrm>
            <a:custGeom>
              <a:avLst/>
              <a:gdLst>
                <a:gd name="T0" fmla="*/ 176 w 316"/>
                <a:gd name="T1" fmla="*/ 2 h 247"/>
                <a:gd name="T2" fmla="*/ 185 w 316"/>
                <a:gd name="T3" fmla="*/ 9 h 247"/>
                <a:gd name="T4" fmla="*/ 202 w 316"/>
                <a:gd name="T5" fmla="*/ 12 h 247"/>
                <a:gd name="T6" fmla="*/ 211 w 316"/>
                <a:gd name="T7" fmla="*/ 23 h 247"/>
                <a:gd name="T8" fmla="*/ 228 w 316"/>
                <a:gd name="T9" fmla="*/ 16 h 247"/>
                <a:gd name="T10" fmla="*/ 245 w 316"/>
                <a:gd name="T11" fmla="*/ 21 h 247"/>
                <a:gd name="T12" fmla="*/ 256 w 316"/>
                <a:gd name="T13" fmla="*/ 31 h 247"/>
                <a:gd name="T14" fmla="*/ 252 w 316"/>
                <a:gd name="T15" fmla="*/ 45 h 247"/>
                <a:gd name="T16" fmla="*/ 256 w 316"/>
                <a:gd name="T17" fmla="*/ 59 h 247"/>
                <a:gd name="T18" fmla="*/ 256 w 316"/>
                <a:gd name="T19" fmla="*/ 73 h 247"/>
                <a:gd name="T20" fmla="*/ 261 w 316"/>
                <a:gd name="T21" fmla="*/ 80 h 247"/>
                <a:gd name="T22" fmla="*/ 268 w 316"/>
                <a:gd name="T23" fmla="*/ 97 h 247"/>
                <a:gd name="T24" fmla="*/ 283 w 316"/>
                <a:gd name="T25" fmla="*/ 107 h 247"/>
                <a:gd name="T26" fmla="*/ 283 w 316"/>
                <a:gd name="T27" fmla="*/ 121 h 247"/>
                <a:gd name="T28" fmla="*/ 299 w 316"/>
                <a:gd name="T29" fmla="*/ 123 h 247"/>
                <a:gd name="T30" fmla="*/ 309 w 316"/>
                <a:gd name="T31" fmla="*/ 135 h 247"/>
                <a:gd name="T32" fmla="*/ 311 w 316"/>
                <a:gd name="T33" fmla="*/ 145 h 247"/>
                <a:gd name="T34" fmla="*/ 297 w 316"/>
                <a:gd name="T35" fmla="*/ 154 h 247"/>
                <a:gd name="T36" fmla="*/ 275 w 316"/>
                <a:gd name="T37" fmla="*/ 152 h 247"/>
                <a:gd name="T38" fmla="*/ 271 w 316"/>
                <a:gd name="T39" fmla="*/ 164 h 247"/>
                <a:gd name="T40" fmla="*/ 275 w 316"/>
                <a:gd name="T41" fmla="*/ 180 h 247"/>
                <a:gd name="T42" fmla="*/ 278 w 316"/>
                <a:gd name="T43" fmla="*/ 192 h 247"/>
                <a:gd name="T44" fmla="*/ 271 w 316"/>
                <a:gd name="T45" fmla="*/ 204 h 247"/>
                <a:gd name="T46" fmla="*/ 256 w 316"/>
                <a:gd name="T47" fmla="*/ 206 h 247"/>
                <a:gd name="T48" fmla="*/ 247 w 316"/>
                <a:gd name="T49" fmla="*/ 218 h 247"/>
                <a:gd name="T50" fmla="*/ 240 w 316"/>
                <a:gd name="T51" fmla="*/ 230 h 247"/>
                <a:gd name="T52" fmla="*/ 245 w 316"/>
                <a:gd name="T53" fmla="*/ 242 h 247"/>
                <a:gd name="T54" fmla="*/ 233 w 316"/>
                <a:gd name="T55" fmla="*/ 235 h 247"/>
                <a:gd name="T56" fmla="*/ 214 w 316"/>
                <a:gd name="T57" fmla="*/ 235 h 247"/>
                <a:gd name="T58" fmla="*/ 200 w 316"/>
                <a:gd name="T59" fmla="*/ 235 h 247"/>
                <a:gd name="T60" fmla="*/ 183 w 316"/>
                <a:gd name="T61" fmla="*/ 237 h 247"/>
                <a:gd name="T62" fmla="*/ 169 w 316"/>
                <a:gd name="T63" fmla="*/ 228 h 247"/>
                <a:gd name="T64" fmla="*/ 152 w 316"/>
                <a:gd name="T65" fmla="*/ 230 h 247"/>
                <a:gd name="T66" fmla="*/ 145 w 316"/>
                <a:gd name="T67" fmla="*/ 228 h 247"/>
                <a:gd name="T68" fmla="*/ 133 w 316"/>
                <a:gd name="T69" fmla="*/ 228 h 247"/>
                <a:gd name="T70" fmla="*/ 119 w 316"/>
                <a:gd name="T71" fmla="*/ 223 h 247"/>
                <a:gd name="T72" fmla="*/ 102 w 316"/>
                <a:gd name="T73" fmla="*/ 216 h 247"/>
                <a:gd name="T74" fmla="*/ 76 w 316"/>
                <a:gd name="T75" fmla="*/ 213 h 247"/>
                <a:gd name="T76" fmla="*/ 60 w 316"/>
                <a:gd name="T77" fmla="*/ 213 h 247"/>
                <a:gd name="T78" fmla="*/ 38 w 316"/>
                <a:gd name="T79" fmla="*/ 218 h 247"/>
                <a:gd name="T80" fmla="*/ 19 w 316"/>
                <a:gd name="T81" fmla="*/ 225 h 247"/>
                <a:gd name="T82" fmla="*/ 12 w 316"/>
                <a:gd name="T83" fmla="*/ 223 h 247"/>
                <a:gd name="T84" fmla="*/ 14 w 316"/>
                <a:gd name="T85" fmla="*/ 216 h 247"/>
                <a:gd name="T86" fmla="*/ 7 w 316"/>
                <a:gd name="T87" fmla="*/ 199 h 247"/>
                <a:gd name="T88" fmla="*/ 10 w 316"/>
                <a:gd name="T89" fmla="*/ 183 h 247"/>
                <a:gd name="T90" fmla="*/ 24 w 316"/>
                <a:gd name="T91" fmla="*/ 159 h 247"/>
                <a:gd name="T92" fmla="*/ 14 w 316"/>
                <a:gd name="T93" fmla="*/ 133 h 247"/>
                <a:gd name="T94" fmla="*/ 14 w 316"/>
                <a:gd name="T95" fmla="*/ 114 h 247"/>
                <a:gd name="T96" fmla="*/ 31 w 316"/>
                <a:gd name="T97" fmla="*/ 111 h 247"/>
                <a:gd name="T98" fmla="*/ 45 w 316"/>
                <a:gd name="T99" fmla="*/ 111 h 247"/>
                <a:gd name="T100" fmla="*/ 52 w 316"/>
                <a:gd name="T101" fmla="*/ 104 h 247"/>
                <a:gd name="T102" fmla="*/ 71 w 316"/>
                <a:gd name="T103" fmla="*/ 97 h 247"/>
                <a:gd name="T104" fmla="*/ 79 w 316"/>
                <a:gd name="T105" fmla="*/ 102 h 247"/>
                <a:gd name="T106" fmla="*/ 83 w 316"/>
                <a:gd name="T107" fmla="*/ 95 h 247"/>
                <a:gd name="T108" fmla="*/ 81 w 316"/>
                <a:gd name="T109" fmla="*/ 83 h 247"/>
                <a:gd name="T110" fmla="*/ 88 w 316"/>
                <a:gd name="T111" fmla="*/ 66 h 247"/>
                <a:gd name="T112" fmla="*/ 102 w 316"/>
                <a:gd name="T113" fmla="*/ 57 h 247"/>
                <a:gd name="T114" fmla="*/ 116 w 316"/>
                <a:gd name="T115" fmla="*/ 50 h 247"/>
                <a:gd name="T116" fmla="*/ 112 w 316"/>
                <a:gd name="T117" fmla="*/ 42 h 247"/>
                <a:gd name="T118" fmla="*/ 109 w 316"/>
                <a:gd name="T119" fmla="*/ 35 h 247"/>
                <a:gd name="T120" fmla="*/ 121 w 316"/>
                <a:gd name="T121" fmla="*/ 23 h 247"/>
                <a:gd name="T122" fmla="*/ 138 w 316"/>
                <a:gd name="T123" fmla="*/ 19 h 247"/>
                <a:gd name="T124" fmla="*/ 152 w 316"/>
                <a:gd name="T125" fmla="*/ 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247">
                  <a:moveTo>
                    <a:pt x="164" y="0"/>
                  </a:moveTo>
                  <a:lnTo>
                    <a:pt x="164" y="2"/>
                  </a:lnTo>
                  <a:lnTo>
                    <a:pt x="166" y="2"/>
                  </a:lnTo>
                  <a:lnTo>
                    <a:pt x="166" y="4"/>
                  </a:lnTo>
                  <a:lnTo>
                    <a:pt x="169" y="4"/>
                  </a:lnTo>
                  <a:lnTo>
                    <a:pt x="169" y="7"/>
                  </a:lnTo>
                  <a:lnTo>
                    <a:pt x="169" y="4"/>
                  </a:lnTo>
                  <a:lnTo>
                    <a:pt x="171" y="7"/>
                  </a:lnTo>
                  <a:lnTo>
                    <a:pt x="171" y="4"/>
                  </a:lnTo>
                  <a:lnTo>
                    <a:pt x="173" y="4"/>
                  </a:lnTo>
                  <a:lnTo>
                    <a:pt x="176" y="4"/>
                  </a:lnTo>
                  <a:lnTo>
                    <a:pt x="176" y="2"/>
                  </a:lnTo>
                  <a:lnTo>
                    <a:pt x="178" y="4"/>
                  </a:lnTo>
                  <a:lnTo>
                    <a:pt x="181" y="4"/>
                  </a:lnTo>
                  <a:lnTo>
                    <a:pt x="178" y="4"/>
                  </a:lnTo>
                  <a:lnTo>
                    <a:pt x="181" y="7"/>
                  </a:lnTo>
                  <a:lnTo>
                    <a:pt x="181" y="9"/>
                  </a:lnTo>
                  <a:lnTo>
                    <a:pt x="183" y="9"/>
                  </a:lnTo>
                  <a:lnTo>
                    <a:pt x="183" y="12"/>
                  </a:lnTo>
                  <a:lnTo>
                    <a:pt x="183" y="9"/>
                  </a:lnTo>
                  <a:lnTo>
                    <a:pt x="185" y="12"/>
                  </a:lnTo>
                  <a:lnTo>
                    <a:pt x="185" y="9"/>
                  </a:lnTo>
                  <a:lnTo>
                    <a:pt x="185" y="12"/>
                  </a:lnTo>
                  <a:lnTo>
                    <a:pt x="185" y="9"/>
                  </a:lnTo>
                  <a:lnTo>
                    <a:pt x="188" y="9"/>
                  </a:lnTo>
                  <a:lnTo>
                    <a:pt x="190" y="9"/>
                  </a:lnTo>
                  <a:lnTo>
                    <a:pt x="192" y="9"/>
                  </a:lnTo>
                  <a:lnTo>
                    <a:pt x="192" y="7"/>
                  </a:lnTo>
                  <a:lnTo>
                    <a:pt x="195" y="7"/>
                  </a:lnTo>
                  <a:lnTo>
                    <a:pt x="195" y="9"/>
                  </a:lnTo>
                  <a:lnTo>
                    <a:pt x="195" y="7"/>
                  </a:lnTo>
                  <a:lnTo>
                    <a:pt x="197" y="7"/>
                  </a:lnTo>
                  <a:lnTo>
                    <a:pt x="197" y="9"/>
                  </a:lnTo>
                  <a:lnTo>
                    <a:pt x="200" y="9"/>
                  </a:lnTo>
                  <a:lnTo>
                    <a:pt x="202" y="9"/>
                  </a:lnTo>
                  <a:lnTo>
                    <a:pt x="202" y="12"/>
                  </a:lnTo>
                  <a:lnTo>
                    <a:pt x="204" y="12"/>
                  </a:lnTo>
                  <a:lnTo>
                    <a:pt x="207" y="12"/>
                  </a:lnTo>
                  <a:lnTo>
                    <a:pt x="204" y="12"/>
                  </a:lnTo>
                  <a:lnTo>
                    <a:pt x="207" y="12"/>
                  </a:lnTo>
                  <a:lnTo>
                    <a:pt x="207" y="14"/>
                  </a:lnTo>
                  <a:lnTo>
                    <a:pt x="204" y="14"/>
                  </a:lnTo>
                  <a:lnTo>
                    <a:pt x="204" y="16"/>
                  </a:lnTo>
                  <a:lnTo>
                    <a:pt x="204" y="19"/>
                  </a:lnTo>
                  <a:lnTo>
                    <a:pt x="204" y="21"/>
                  </a:lnTo>
                  <a:lnTo>
                    <a:pt x="207" y="23"/>
                  </a:lnTo>
                  <a:lnTo>
                    <a:pt x="209" y="23"/>
                  </a:lnTo>
                  <a:lnTo>
                    <a:pt x="211" y="23"/>
                  </a:lnTo>
                  <a:lnTo>
                    <a:pt x="211" y="21"/>
                  </a:lnTo>
                  <a:lnTo>
                    <a:pt x="214" y="21"/>
                  </a:lnTo>
                  <a:lnTo>
                    <a:pt x="214" y="19"/>
                  </a:lnTo>
                  <a:lnTo>
                    <a:pt x="216" y="19"/>
                  </a:lnTo>
                  <a:lnTo>
                    <a:pt x="216" y="21"/>
                  </a:lnTo>
                  <a:lnTo>
                    <a:pt x="218" y="21"/>
                  </a:lnTo>
                  <a:lnTo>
                    <a:pt x="218" y="19"/>
                  </a:lnTo>
                  <a:lnTo>
                    <a:pt x="221" y="19"/>
                  </a:lnTo>
                  <a:lnTo>
                    <a:pt x="221" y="16"/>
                  </a:lnTo>
                  <a:lnTo>
                    <a:pt x="223" y="16"/>
                  </a:lnTo>
                  <a:lnTo>
                    <a:pt x="226" y="16"/>
                  </a:lnTo>
                  <a:lnTo>
                    <a:pt x="228" y="16"/>
                  </a:lnTo>
                  <a:lnTo>
                    <a:pt x="228" y="19"/>
                  </a:lnTo>
                  <a:lnTo>
                    <a:pt x="228" y="16"/>
                  </a:lnTo>
                  <a:lnTo>
                    <a:pt x="230" y="16"/>
                  </a:lnTo>
                  <a:lnTo>
                    <a:pt x="233" y="16"/>
                  </a:lnTo>
                  <a:lnTo>
                    <a:pt x="235" y="16"/>
                  </a:lnTo>
                  <a:lnTo>
                    <a:pt x="235" y="19"/>
                  </a:lnTo>
                  <a:lnTo>
                    <a:pt x="237" y="19"/>
                  </a:lnTo>
                  <a:lnTo>
                    <a:pt x="240" y="19"/>
                  </a:lnTo>
                  <a:lnTo>
                    <a:pt x="242" y="19"/>
                  </a:lnTo>
                  <a:lnTo>
                    <a:pt x="240" y="21"/>
                  </a:lnTo>
                  <a:lnTo>
                    <a:pt x="242" y="21"/>
                  </a:lnTo>
                  <a:lnTo>
                    <a:pt x="245" y="21"/>
                  </a:lnTo>
                  <a:lnTo>
                    <a:pt x="245" y="23"/>
                  </a:lnTo>
                  <a:lnTo>
                    <a:pt x="245" y="26"/>
                  </a:lnTo>
                  <a:lnTo>
                    <a:pt x="247" y="26"/>
                  </a:lnTo>
                  <a:lnTo>
                    <a:pt x="247" y="28"/>
                  </a:lnTo>
                  <a:lnTo>
                    <a:pt x="247" y="26"/>
                  </a:lnTo>
                  <a:lnTo>
                    <a:pt x="249" y="26"/>
                  </a:lnTo>
                  <a:lnTo>
                    <a:pt x="249" y="28"/>
                  </a:lnTo>
                  <a:lnTo>
                    <a:pt x="249" y="31"/>
                  </a:lnTo>
                  <a:lnTo>
                    <a:pt x="252" y="31"/>
                  </a:lnTo>
                  <a:lnTo>
                    <a:pt x="252" y="28"/>
                  </a:lnTo>
                  <a:lnTo>
                    <a:pt x="254" y="28"/>
                  </a:lnTo>
                  <a:lnTo>
                    <a:pt x="256" y="31"/>
                  </a:lnTo>
                  <a:lnTo>
                    <a:pt x="254" y="31"/>
                  </a:lnTo>
                  <a:lnTo>
                    <a:pt x="256" y="31"/>
                  </a:lnTo>
                  <a:lnTo>
                    <a:pt x="256" y="33"/>
                  </a:lnTo>
                  <a:lnTo>
                    <a:pt x="254" y="33"/>
                  </a:lnTo>
                  <a:lnTo>
                    <a:pt x="256" y="33"/>
                  </a:lnTo>
                  <a:lnTo>
                    <a:pt x="256" y="35"/>
                  </a:lnTo>
                  <a:lnTo>
                    <a:pt x="254" y="35"/>
                  </a:lnTo>
                  <a:lnTo>
                    <a:pt x="254" y="38"/>
                  </a:lnTo>
                  <a:lnTo>
                    <a:pt x="254" y="40"/>
                  </a:lnTo>
                  <a:lnTo>
                    <a:pt x="254" y="42"/>
                  </a:lnTo>
                  <a:lnTo>
                    <a:pt x="252" y="42"/>
                  </a:lnTo>
                  <a:lnTo>
                    <a:pt x="252" y="45"/>
                  </a:lnTo>
                  <a:lnTo>
                    <a:pt x="254" y="47"/>
                  </a:lnTo>
                  <a:lnTo>
                    <a:pt x="254" y="50"/>
                  </a:lnTo>
                  <a:lnTo>
                    <a:pt x="256" y="50"/>
                  </a:lnTo>
                  <a:lnTo>
                    <a:pt x="256" y="52"/>
                  </a:lnTo>
                  <a:lnTo>
                    <a:pt x="259" y="52"/>
                  </a:lnTo>
                  <a:lnTo>
                    <a:pt x="259" y="54"/>
                  </a:lnTo>
                  <a:lnTo>
                    <a:pt x="256" y="54"/>
                  </a:lnTo>
                  <a:lnTo>
                    <a:pt x="256" y="57"/>
                  </a:lnTo>
                  <a:lnTo>
                    <a:pt x="259" y="57"/>
                  </a:lnTo>
                  <a:lnTo>
                    <a:pt x="256" y="59"/>
                  </a:lnTo>
                  <a:lnTo>
                    <a:pt x="254" y="59"/>
                  </a:lnTo>
                  <a:lnTo>
                    <a:pt x="256" y="59"/>
                  </a:lnTo>
                  <a:lnTo>
                    <a:pt x="256" y="61"/>
                  </a:lnTo>
                  <a:lnTo>
                    <a:pt x="254" y="61"/>
                  </a:lnTo>
                  <a:lnTo>
                    <a:pt x="252" y="61"/>
                  </a:lnTo>
                  <a:lnTo>
                    <a:pt x="252" y="64"/>
                  </a:lnTo>
                  <a:lnTo>
                    <a:pt x="252" y="66"/>
                  </a:lnTo>
                  <a:lnTo>
                    <a:pt x="249" y="66"/>
                  </a:lnTo>
                  <a:lnTo>
                    <a:pt x="249" y="69"/>
                  </a:lnTo>
                  <a:lnTo>
                    <a:pt x="249" y="71"/>
                  </a:lnTo>
                  <a:lnTo>
                    <a:pt x="252" y="71"/>
                  </a:lnTo>
                  <a:lnTo>
                    <a:pt x="254" y="71"/>
                  </a:lnTo>
                  <a:lnTo>
                    <a:pt x="254" y="73"/>
                  </a:lnTo>
                  <a:lnTo>
                    <a:pt x="256" y="73"/>
                  </a:lnTo>
                  <a:lnTo>
                    <a:pt x="256" y="76"/>
                  </a:lnTo>
                  <a:lnTo>
                    <a:pt x="256" y="73"/>
                  </a:lnTo>
                  <a:lnTo>
                    <a:pt x="259" y="73"/>
                  </a:lnTo>
                  <a:lnTo>
                    <a:pt x="256" y="76"/>
                  </a:lnTo>
                  <a:lnTo>
                    <a:pt x="259" y="76"/>
                  </a:lnTo>
                  <a:lnTo>
                    <a:pt x="261" y="76"/>
                  </a:lnTo>
                  <a:lnTo>
                    <a:pt x="261" y="78"/>
                  </a:lnTo>
                  <a:lnTo>
                    <a:pt x="261" y="76"/>
                  </a:lnTo>
                  <a:lnTo>
                    <a:pt x="264" y="76"/>
                  </a:lnTo>
                  <a:lnTo>
                    <a:pt x="264" y="78"/>
                  </a:lnTo>
                  <a:lnTo>
                    <a:pt x="264" y="80"/>
                  </a:lnTo>
                  <a:lnTo>
                    <a:pt x="261" y="80"/>
                  </a:lnTo>
                  <a:lnTo>
                    <a:pt x="261" y="83"/>
                  </a:lnTo>
                  <a:lnTo>
                    <a:pt x="261" y="85"/>
                  </a:lnTo>
                  <a:lnTo>
                    <a:pt x="264" y="88"/>
                  </a:lnTo>
                  <a:lnTo>
                    <a:pt x="264" y="85"/>
                  </a:lnTo>
                  <a:lnTo>
                    <a:pt x="264" y="88"/>
                  </a:lnTo>
                  <a:lnTo>
                    <a:pt x="266" y="88"/>
                  </a:lnTo>
                  <a:lnTo>
                    <a:pt x="266" y="90"/>
                  </a:lnTo>
                  <a:lnTo>
                    <a:pt x="266" y="92"/>
                  </a:lnTo>
                  <a:lnTo>
                    <a:pt x="268" y="92"/>
                  </a:lnTo>
                  <a:lnTo>
                    <a:pt x="266" y="95"/>
                  </a:lnTo>
                  <a:lnTo>
                    <a:pt x="268" y="95"/>
                  </a:lnTo>
                  <a:lnTo>
                    <a:pt x="268" y="97"/>
                  </a:lnTo>
                  <a:lnTo>
                    <a:pt x="268" y="99"/>
                  </a:lnTo>
                  <a:lnTo>
                    <a:pt x="268" y="97"/>
                  </a:lnTo>
                  <a:lnTo>
                    <a:pt x="271" y="97"/>
                  </a:lnTo>
                  <a:lnTo>
                    <a:pt x="271" y="99"/>
                  </a:lnTo>
                  <a:lnTo>
                    <a:pt x="273" y="99"/>
                  </a:lnTo>
                  <a:lnTo>
                    <a:pt x="273" y="102"/>
                  </a:lnTo>
                  <a:lnTo>
                    <a:pt x="275" y="102"/>
                  </a:lnTo>
                  <a:lnTo>
                    <a:pt x="275" y="104"/>
                  </a:lnTo>
                  <a:lnTo>
                    <a:pt x="278" y="104"/>
                  </a:lnTo>
                  <a:lnTo>
                    <a:pt x="280" y="104"/>
                  </a:lnTo>
                  <a:lnTo>
                    <a:pt x="283" y="104"/>
                  </a:lnTo>
                  <a:lnTo>
                    <a:pt x="283" y="107"/>
                  </a:lnTo>
                  <a:lnTo>
                    <a:pt x="285" y="107"/>
                  </a:lnTo>
                  <a:lnTo>
                    <a:pt x="287" y="107"/>
                  </a:lnTo>
                  <a:lnTo>
                    <a:pt x="287" y="109"/>
                  </a:lnTo>
                  <a:lnTo>
                    <a:pt x="285" y="109"/>
                  </a:lnTo>
                  <a:lnTo>
                    <a:pt x="285" y="111"/>
                  </a:lnTo>
                  <a:lnTo>
                    <a:pt x="287" y="111"/>
                  </a:lnTo>
                  <a:lnTo>
                    <a:pt x="285" y="111"/>
                  </a:lnTo>
                  <a:lnTo>
                    <a:pt x="285" y="114"/>
                  </a:lnTo>
                  <a:lnTo>
                    <a:pt x="285" y="116"/>
                  </a:lnTo>
                  <a:lnTo>
                    <a:pt x="285" y="118"/>
                  </a:lnTo>
                  <a:lnTo>
                    <a:pt x="283" y="118"/>
                  </a:lnTo>
                  <a:lnTo>
                    <a:pt x="283" y="121"/>
                  </a:lnTo>
                  <a:lnTo>
                    <a:pt x="285" y="121"/>
                  </a:lnTo>
                  <a:lnTo>
                    <a:pt x="287" y="121"/>
                  </a:lnTo>
                  <a:lnTo>
                    <a:pt x="290" y="121"/>
                  </a:lnTo>
                  <a:lnTo>
                    <a:pt x="292" y="121"/>
                  </a:lnTo>
                  <a:lnTo>
                    <a:pt x="294" y="121"/>
                  </a:lnTo>
                  <a:lnTo>
                    <a:pt x="294" y="118"/>
                  </a:lnTo>
                  <a:lnTo>
                    <a:pt x="294" y="121"/>
                  </a:lnTo>
                  <a:lnTo>
                    <a:pt x="297" y="121"/>
                  </a:lnTo>
                  <a:lnTo>
                    <a:pt x="297" y="123"/>
                  </a:lnTo>
                  <a:lnTo>
                    <a:pt x="299" y="123"/>
                  </a:lnTo>
                  <a:lnTo>
                    <a:pt x="299" y="121"/>
                  </a:lnTo>
                  <a:lnTo>
                    <a:pt x="299" y="123"/>
                  </a:lnTo>
                  <a:lnTo>
                    <a:pt x="302" y="123"/>
                  </a:lnTo>
                  <a:lnTo>
                    <a:pt x="302" y="126"/>
                  </a:lnTo>
                  <a:lnTo>
                    <a:pt x="302" y="123"/>
                  </a:lnTo>
                  <a:lnTo>
                    <a:pt x="304" y="123"/>
                  </a:lnTo>
                  <a:lnTo>
                    <a:pt x="306" y="123"/>
                  </a:lnTo>
                  <a:lnTo>
                    <a:pt x="306" y="126"/>
                  </a:lnTo>
                  <a:lnTo>
                    <a:pt x="306" y="128"/>
                  </a:lnTo>
                  <a:lnTo>
                    <a:pt x="304" y="128"/>
                  </a:lnTo>
                  <a:lnTo>
                    <a:pt x="304" y="130"/>
                  </a:lnTo>
                  <a:lnTo>
                    <a:pt x="306" y="133"/>
                  </a:lnTo>
                  <a:lnTo>
                    <a:pt x="309" y="133"/>
                  </a:lnTo>
                  <a:lnTo>
                    <a:pt x="309" y="135"/>
                  </a:lnTo>
                  <a:lnTo>
                    <a:pt x="311" y="135"/>
                  </a:lnTo>
                  <a:lnTo>
                    <a:pt x="311" y="137"/>
                  </a:lnTo>
                  <a:lnTo>
                    <a:pt x="311" y="135"/>
                  </a:lnTo>
                  <a:lnTo>
                    <a:pt x="311" y="137"/>
                  </a:lnTo>
                  <a:lnTo>
                    <a:pt x="313" y="137"/>
                  </a:lnTo>
                  <a:lnTo>
                    <a:pt x="316" y="137"/>
                  </a:lnTo>
                  <a:lnTo>
                    <a:pt x="316" y="140"/>
                  </a:lnTo>
                  <a:lnTo>
                    <a:pt x="313" y="142"/>
                  </a:lnTo>
                  <a:lnTo>
                    <a:pt x="316" y="142"/>
                  </a:lnTo>
                  <a:lnTo>
                    <a:pt x="316" y="145"/>
                  </a:lnTo>
                  <a:lnTo>
                    <a:pt x="313" y="145"/>
                  </a:lnTo>
                  <a:lnTo>
                    <a:pt x="311" y="145"/>
                  </a:lnTo>
                  <a:lnTo>
                    <a:pt x="309" y="145"/>
                  </a:lnTo>
                  <a:lnTo>
                    <a:pt x="309" y="147"/>
                  </a:lnTo>
                  <a:lnTo>
                    <a:pt x="309" y="145"/>
                  </a:lnTo>
                  <a:lnTo>
                    <a:pt x="306" y="145"/>
                  </a:lnTo>
                  <a:lnTo>
                    <a:pt x="306" y="147"/>
                  </a:lnTo>
                  <a:lnTo>
                    <a:pt x="304" y="149"/>
                  </a:lnTo>
                  <a:lnTo>
                    <a:pt x="304" y="152"/>
                  </a:lnTo>
                  <a:lnTo>
                    <a:pt x="302" y="152"/>
                  </a:lnTo>
                  <a:lnTo>
                    <a:pt x="302" y="154"/>
                  </a:lnTo>
                  <a:lnTo>
                    <a:pt x="299" y="154"/>
                  </a:lnTo>
                  <a:lnTo>
                    <a:pt x="297" y="156"/>
                  </a:lnTo>
                  <a:lnTo>
                    <a:pt x="297" y="154"/>
                  </a:lnTo>
                  <a:lnTo>
                    <a:pt x="297" y="156"/>
                  </a:lnTo>
                  <a:lnTo>
                    <a:pt x="294" y="156"/>
                  </a:lnTo>
                  <a:lnTo>
                    <a:pt x="292" y="156"/>
                  </a:lnTo>
                  <a:lnTo>
                    <a:pt x="290" y="156"/>
                  </a:lnTo>
                  <a:lnTo>
                    <a:pt x="287" y="156"/>
                  </a:lnTo>
                  <a:lnTo>
                    <a:pt x="287" y="154"/>
                  </a:lnTo>
                  <a:lnTo>
                    <a:pt x="285" y="154"/>
                  </a:lnTo>
                  <a:lnTo>
                    <a:pt x="283" y="152"/>
                  </a:lnTo>
                  <a:lnTo>
                    <a:pt x="280" y="152"/>
                  </a:lnTo>
                  <a:lnTo>
                    <a:pt x="280" y="149"/>
                  </a:lnTo>
                  <a:lnTo>
                    <a:pt x="278" y="149"/>
                  </a:lnTo>
                  <a:lnTo>
                    <a:pt x="275" y="152"/>
                  </a:lnTo>
                  <a:lnTo>
                    <a:pt x="273" y="149"/>
                  </a:lnTo>
                  <a:lnTo>
                    <a:pt x="271" y="149"/>
                  </a:lnTo>
                  <a:lnTo>
                    <a:pt x="271" y="152"/>
                  </a:lnTo>
                  <a:lnTo>
                    <a:pt x="268" y="154"/>
                  </a:lnTo>
                  <a:lnTo>
                    <a:pt x="271" y="154"/>
                  </a:lnTo>
                  <a:lnTo>
                    <a:pt x="271" y="156"/>
                  </a:lnTo>
                  <a:lnTo>
                    <a:pt x="268" y="156"/>
                  </a:lnTo>
                  <a:lnTo>
                    <a:pt x="268" y="159"/>
                  </a:lnTo>
                  <a:lnTo>
                    <a:pt x="266" y="159"/>
                  </a:lnTo>
                  <a:lnTo>
                    <a:pt x="268" y="161"/>
                  </a:lnTo>
                  <a:lnTo>
                    <a:pt x="271" y="161"/>
                  </a:lnTo>
                  <a:lnTo>
                    <a:pt x="271" y="164"/>
                  </a:lnTo>
                  <a:lnTo>
                    <a:pt x="271" y="166"/>
                  </a:lnTo>
                  <a:lnTo>
                    <a:pt x="273" y="166"/>
                  </a:lnTo>
                  <a:lnTo>
                    <a:pt x="273" y="168"/>
                  </a:lnTo>
                  <a:lnTo>
                    <a:pt x="275" y="168"/>
                  </a:lnTo>
                  <a:lnTo>
                    <a:pt x="275" y="171"/>
                  </a:lnTo>
                  <a:lnTo>
                    <a:pt x="278" y="171"/>
                  </a:lnTo>
                  <a:lnTo>
                    <a:pt x="278" y="173"/>
                  </a:lnTo>
                  <a:lnTo>
                    <a:pt x="275" y="173"/>
                  </a:lnTo>
                  <a:lnTo>
                    <a:pt x="275" y="175"/>
                  </a:lnTo>
                  <a:lnTo>
                    <a:pt x="273" y="175"/>
                  </a:lnTo>
                  <a:lnTo>
                    <a:pt x="275" y="178"/>
                  </a:lnTo>
                  <a:lnTo>
                    <a:pt x="275" y="180"/>
                  </a:lnTo>
                  <a:lnTo>
                    <a:pt x="278" y="180"/>
                  </a:lnTo>
                  <a:lnTo>
                    <a:pt x="278" y="183"/>
                  </a:lnTo>
                  <a:lnTo>
                    <a:pt x="280" y="183"/>
                  </a:lnTo>
                  <a:lnTo>
                    <a:pt x="278" y="183"/>
                  </a:lnTo>
                  <a:lnTo>
                    <a:pt x="278" y="185"/>
                  </a:lnTo>
                  <a:lnTo>
                    <a:pt x="275" y="185"/>
                  </a:lnTo>
                  <a:lnTo>
                    <a:pt x="278" y="185"/>
                  </a:lnTo>
                  <a:lnTo>
                    <a:pt x="275" y="185"/>
                  </a:lnTo>
                  <a:lnTo>
                    <a:pt x="275" y="187"/>
                  </a:lnTo>
                  <a:lnTo>
                    <a:pt x="278" y="187"/>
                  </a:lnTo>
                  <a:lnTo>
                    <a:pt x="278" y="190"/>
                  </a:lnTo>
                  <a:lnTo>
                    <a:pt x="278" y="192"/>
                  </a:lnTo>
                  <a:lnTo>
                    <a:pt x="278" y="194"/>
                  </a:lnTo>
                  <a:lnTo>
                    <a:pt x="278" y="197"/>
                  </a:lnTo>
                  <a:lnTo>
                    <a:pt x="280" y="197"/>
                  </a:lnTo>
                  <a:lnTo>
                    <a:pt x="280" y="199"/>
                  </a:lnTo>
                  <a:lnTo>
                    <a:pt x="280" y="202"/>
                  </a:lnTo>
                  <a:lnTo>
                    <a:pt x="283" y="202"/>
                  </a:lnTo>
                  <a:lnTo>
                    <a:pt x="283" y="204"/>
                  </a:lnTo>
                  <a:lnTo>
                    <a:pt x="280" y="204"/>
                  </a:lnTo>
                  <a:lnTo>
                    <a:pt x="278" y="204"/>
                  </a:lnTo>
                  <a:lnTo>
                    <a:pt x="275" y="204"/>
                  </a:lnTo>
                  <a:lnTo>
                    <a:pt x="273" y="204"/>
                  </a:lnTo>
                  <a:lnTo>
                    <a:pt x="271" y="204"/>
                  </a:lnTo>
                  <a:lnTo>
                    <a:pt x="268" y="204"/>
                  </a:lnTo>
                  <a:lnTo>
                    <a:pt x="268" y="206"/>
                  </a:lnTo>
                  <a:lnTo>
                    <a:pt x="266" y="206"/>
                  </a:lnTo>
                  <a:lnTo>
                    <a:pt x="266" y="209"/>
                  </a:lnTo>
                  <a:lnTo>
                    <a:pt x="264" y="206"/>
                  </a:lnTo>
                  <a:lnTo>
                    <a:pt x="261" y="206"/>
                  </a:lnTo>
                  <a:lnTo>
                    <a:pt x="261" y="204"/>
                  </a:lnTo>
                  <a:lnTo>
                    <a:pt x="261" y="206"/>
                  </a:lnTo>
                  <a:lnTo>
                    <a:pt x="259" y="206"/>
                  </a:lnTo>
                  <a:lnTo>
                    <a:pt x="256" y="206"/>
                  </a:lnTo>
                  <a:lnTo>
                    <a:pt x="254" y="206"/>
                  </a:lnTo>
                  <a:lnTo>
                    <a:pt x="256" y="206"/>
                  </a:lnTo>
                  <a:lnTo>
                    <a:pt x="256" y="209"/>
                  </a:lnTo>
                  <a:lnTo>
                    <a:pt x="254" y="209"/>
                  </a:lnTo>
                  <a:lnTo>
                    <a:pt x="256" y="209"/>
                  </a:lnTo>
                  <a:lnTo>
                    <a:pt x="254" y="209"/>
                  </a:lnTo>
                  <a:lnTo>
                    <a:pt x="254" y="211"/>
                  </a:lnTo>
                  <a:lnTo>
                    <a:pt x="252" y="211"/>
                  </a:lnTo>
                  <a:lnTo>
                    <a:pt x="252" y="213"/>
                  </a:lnTo>
                  <a:lnTo>
                    <a:pt x="249" y="216"/>
                  </a:lnTo>
                  <a:lnTo>
                    <a:pt x="249" y="213"/>
                  </a:lnTo>
                  <a:lnTo>
                    <a:pt x="249" y="216"/>
                  </a:lnTo>
                  <a:lnTo>
                    <a:pt x="247" y="216"/>
                  </a:lnTo>
                  <a:lnTo>
                    <a:pt x="247" y="218"/>
                  </a:lnTo>
                  <a:lnTo>
                    <a:pt x="247" y="221"/>
                  </a:lnTo>
                  <a:lnTo>
                    <a:pt x="245" y="221"/>
                  </a:lnTo>
                  <a:lnTo>
                    <a:pt x="245" y="223"/>
                  </a:lnTo>
                  <a:lnTo>
                    <a:pt x="245" y="225"/>
                  </a:lnTo>
                  <a:lnTo>
                    <a:pt x="245" y="223"/>
                  </a:lnTo>
                  <a:lnTo>
                    <a:pt x="242" y="223"/>
                  </a:lnTo>
                  <a:lnTo>
                    <a:pt x="242" y="225"/>
                  </a:lnTo>
                  <a:lnTo>
                    <a:pt x="242" y="228"/>
                  </a:lnTo>
                  <a:lnTo>
                    <a:pt x="242" y="225"/>
                  </a:lnTo>
                  <a:lnTo>
                    <a:pt x="242" y="228"/>
                  </a:lnTo>
                  <a:lnTo>
                    <a:pt x="242" y="230"/>
                  </a:lnTo>
                  <a:lnTo>
                    <a:pt x="240" y="230"/>
                  </a:lnTo>
                  <a:lnTo>
                    <a:pt x="242" y="230"/>
                  </a:lnTo>
                  <a:lnTo>
                    <a:pt x="242" y="232"/>
                  </a:lnTo>
                  <a:lnTo>
                    <a:pt x="245" y="232"/>
                  </a:lnTo>
                  <a:lnTo>
                    <a:pt x="242" y="232"/>
                  </a:lnTo>
                  <a:lnTo>
                    <a:pt x="242" y="235"/>
                  </a:lnTo>
                  <a:lnTo>
                    <a:pt x="245" y="235"/>
                  </a:lnTo>
                  <a:lnTo>
                    <a:pt x="245" y="237"/>
                  </a:lnTo>
                  <a:lnTo>
                    <a:pt x="242" y="237"/>
                  </a:lnTo>
                  <a:lnTo>
                    <a:pt x="245" y="237"/>
                  </a:lnTo>
                  <a:lnTo>
                    <a:pt x="245" y="240"/>
                  </a:lnTo>
                  <a:lnTo>
                    <a:pt x="247" y="240"/>
                  </a:lnTo>
                  <a:lnTo>
                    <a:pt x="245" y="242"/>
                  </a:lnTo>
                  <a:lnTo>
                    <a:pt x="245" y="244"/>
                  </a:lnTo>
                  <a:lnTo>
                    <a:pt x="242" y="247"/>
                  </a:lnTo>
                  <a:lnTo>
                    <a:pt x="240" y="244"/>
                  </a:lnTo>
                  <a:lnTo>
                    <a:pt x="240" y="247"/>
                  </a:lnTo>
                  <a:lnTo>
                    <a:pt x="240" y="244"/>
                  </a:lnTo>
                  <a:lnTo>
                    <a:pt x="237" y="244"/>
                  </a:lnTo>
                  <a:lnTo>
                    <a:pt x="237" y="242"/>
                  </a:lnTo>
                  <a:lnTo>
                    <a:pt x="235" y="242"/>
                  </a:lnTo>
                  <a:lnTo>
                    <a:pt x="235" y="240"/>
                  </a:lnTo>
                  <a:lnTo>
                    <a:pt x="235" y="237"/>
                  </a:lnTo>
                  <a:lnTo>
                    <a:pt x="233" y="237"/>
                  </a:lnTo>
                  <a:lnTo>
                    <a:pt x="233" y="235"/>
                  </a:lnTo>
                  <a:lnTo>
                    <a:pt x="230" y="235"/>
                  </a:lnTo>
                  <a:lnTo>
                    <a:pt x="228" y="235"/>
                  </a:lnTo>
                  <a:lnTo>
                    <a:pt x="226" y="235"/>
                  </a:lnTo>
                  <a:lnTo>
                    <a:pt x="223" y="235"/>
                  </a:lnTo>
                  <a:lnTo>
                    <a:pt x="221" y="235"/>
                  </a:lnTo>
                  <a:lnTo>
                    <a:pt x="221" y="237"/>
                  </a:lnTo>
                  <a:lnTo>
                    <a:pt x="218" y="237"/>
                  </a:lnTo>
                  <a:lnTo>
                    <a:pt x="216" y="237"/>
                  </a:lnTo>
                  <a:lnTo>
                    <a:pt x="216" y="235"/>
                  </a:lnTo>
                  <a:lnTo>
                    <a:pt x="216" y="232"/>
                  </a:lnTo>
                  <a:lnTo>
                    <a:pt x="214" y="232"/>
                  </a:lnTo>
                  <a:lnTo>
                    <a:pt x="214" y="235"/>
                  </a:lnTo>
                  <a:lnTo>
                    <a:pt x="211" y="235"/>
                  </a:lnTo>
                  <a:lnTo>
                    <a:pt x="211" y="237"/>
                  </a:lnTo>
                  <a:lnTo>
                    <a:pt x="209" y="237"/>
                  </a:lnTo>
                  <a:lnTo>
                    <a:pt x="209" y="235"/>
                  </a:lnTo>
                  <a:lnTo>
                    <a:pt x="209" y="237"/>
                  </a:lnTo>
                  <a:lnTo>
                    <a:pt x="209" y="240"/>
                  </a:lnTo>
                  <a:lnTo>
                    <a:pt x="207" y="240"/>
                  </a:lnTo>
                  <a:lnTo>
                    <a:pt x="204" y="240"/>
                  </a:lnTo>
                  <a:lnTo>
                    <a:pt x="202" y="240"/>
                  </a:lnTo>
                  <a:lnTo>
                    <a:pt x="202" y="237"/>
                  </a:lnTo>
                  <a:lnTo>
                    <a:pt x="200" y="237"/>
                  </a:lnTo>
                  <a:lnTo>
                    <a:pt x="200" y="235"/>
                  </a:lnTo>
                  <a:lnTo>
                    <a:pt x="200" y="232"/>
                  </a:lnTo>
                  <a:lnTo>
                    <a:pt x="200" y="230"/>
                  </a:lnTo>
                  <a:lnTo>
                    <a:pt x="197" y="230"/>
                  </a:lnTo>
                  <a:lnTo>
                    <a:pt x="197" y="228"/>
                  </a:lnTo>
                  <a:lnTo>
                    <a:pt x="195" y="228"/>
                  </a:lnTo>
                  <a:lnTo>
                    <a:pt x="192" y="228"/>
                  </a:lnTo>
                  <a:lnTo>
                    <a:pt x="192" y="230"/>
                  </a:lnTo>
                  <a:lnTo>
                    <a:pt x="190" y="230"/>
                  </a:lnTo>
                  <a:lnTo>
                    <a:pt x="188" y="230"/>
                  </a:lnTo>
                  <a:lnTo>
                    <a:pt x="185" y="232"/>
                  </a:lnTo>
                  <a:lnTo>
                    <a:pt x="183" y="235"/>
                  </a:lnTo>
                  <a:lnTo>
                    <a:pt x="183" y="237"/>
                  </a:lnTo>
                  <a:lnTo>
                    <a:pt x="183" y="240"/>
                  </a:lnTo>
                  <a:lnTo>
                    <a:pt x="183" y="237"/>
                  </a:lnTo>
                  <a:lnTo>
                    <a:pt x="181" y="237"/>
                  </a:lnTo>
                  <a:lnTo>
                    <a:pt x="181" y="235"/>
                  </a:lnTo>
                  <a:lnTo>
                    <a:pt x="181" y="232"/>
                  </a:lnTo>
                  <a:lnTo>
                    <a:pt x="178" y="232"/>
                  </a:lnTo>
                  <a:lnTo>
                    <a:pt x="181" y="230"/>
                  </a:lnTo>
                  <a:lnTo>
                    <a:pt x="176" y="230"/>
                  </a:lnTo>
                  <a:lnTo>
                    <a:pt x="173" y="230"/>
                  </a:lnTo>
                  <a:lnTo>
                    <a:pt x="171" y="232"/>
                  </a:lnTo>
                  <a:lnTo>
                    <a:pt x="169" y="230"/>
                  </a:lnTo>
                  <a:lnTo>
                    <a:pt x="169" y="228"/>
                  </a:lnTo>
                  <a:lnTo>
                    <a:pt x="166" y="228"/>
                  </a:lnTo>
                  <a:lnTo>
                    <a:pt x="166" y="225"/>
                  </a:lnTo>
                  <a:lnTo>
                    <a:pt x="166" y="228"/>
                  </a:lnTo>
                  <a:lnTo>
                    <a:pt x="164" y="228"/>
                  </a:lnTo>
                  <a:lnTo>
                    <a:pt x="164" y="230"/>
                  </a:lnTo>
                  <a:lnTo>
                    <a:pt x="162" y="230"/>
                  </a:lnTo>
                  <a:lnTo>
                    <a:pt x="159" y="230"/>
                  </a:lnTo>
                  <a:lnTo>
                    <a:pt x="157" y="232"/>
                  </a:lnTo>
                  <a:lnTo>
                    <a:pt x="157" y="230"/>
                  </a:lnTo>
                  <a:lnTo>
                    <a:pt x="154" y="228"/>
                  </a:lnTo>
                  <a:lnTo>
                    <a:pt x="152" y="228"/>
                  </a:lnTo>
                  <a:lnTo>
                    <a:pt x="152" y="230"/>
                  </a:lnTo>
                  <a:lnTo>
                    <a:pt x="152" y="232"/>
                  </a:lnTo>
                  <a:lnTo>
                    <a:pt x="154" y="232"/>
                  </a:lnTo>
                  <a:lnTo>
                    <a:pt x="152" y="232"/>
                  </a:lnTo>
                  <a:lnTo>
                    <a:pt x="152" y="235"/>
                  </a:lnTo>
                  <a:lnTo>
                    <a:pt x="150" y="235"/>
                  </a:lnTo>
                  <a:lnTo>
                    <a:pt x="147" y="235"/>
                  </a:lnTo>
                  <a:lnTo>
                    <a:pt x="147" y="232"/>
                  </a:lnTo>
                  <a:lnTo>
                    <a:pt x="150" y="232"/>
                  </a:lnTo>
                  <a:lnTo>
                    <a:pt x="150" y="230"/>
                  </a:lnTo>
                  <a:lnTo>
                    <a:pt x="147" y="230"/>
                  </a:lnTo>
                  <a:lnTo>
                    <a:pt x="145" y="230"/>
                  </a:lnTo>
                  <a:lnTo>
                    <a:pt x="145" y="228"/>
                  </a:lnTo>
                  <a:lnTo>
                    <a:pt x="143" y="228"/>
                  </a:lnTo>
                  <a:lnTo>
                    <a:pt x="143" y="230"/>
                  </a:lnTo>
                  <a:lnTo>
                    <a:pt x="140" y="230"/>
                  </a:lnTo>
                  <a:lnTo>
                    <a:pt x="143" y="230"/>
                  </a:lnTo>
                  <a:lnTo>
                    <a:pt x="140" y="230"/>
                  </a:lnTo>
                  <a:lnTo>
                    <a:pt x="140" y="228"/>
                  </a:lnTo>
                  <a:lnTo>
                    <a:pt x="140" y="230"/>
                  </a:lnTo>
                  <a:lnTo>
                    <a:pt x="138" y="230"/>
                  </a:lnTo>
                  <a:lnTo>
                    <a:pt x="138" y="228"/>
                  </a:lnTo>
                  <a:lnTo>
                    <a:pt x="135" y="230"/>
                  </a:lnTo>
                  <a:lnTo>
                    <a:pt x="133" y="230"/>
                  </a:lnTo>
                  <a:lnTo>
                    <a:pt x="133" y="228"/>
                  </a:lnTo>
                  <a:lnTo>
                    <a:pt x="135" y="228"/>
                  </a:lnTo>
                  <a:lnTo>
                    <a:pt x="133" y="228"/>
                  </a:lnTo>
                  <a:lnTo>
                    <a:pt x="133" y="225"/>
                  </a:lnTo>
                  <a:lnTo>
                    <a:pt x="133" y="223"/>
                  </a:lnTo>
                  <a:lnTo>
                    <a:pt x="133" y="221"/>
                  </a:lnTo>
                  <a:lnTo>
                    <a:pt x="128" y="221"/>
                  </a:lnTo>
                  <a:lnTo>
                    <a:pt x="126" y="221"/>
                  </a:lnTo>
                  <a:lnTo>
                    <a:pt x="124" y="223"/>
                  </a:lnTo>
                  <a:lnTo>
                    <a:pt x="121" y="223"/>
                  </a:lnTo>
                  <a:lnTo>
                    <a:pt x="121" y="221"/>
                  </a:lnTo>
                  <a:lnTo>
                    <a:pt x="119" y="221"/>
                  </a:lnTo>
                  <a:lnTo>
                    <a:pt x="119" y="223"/>
                  </a:lnTo>
                  <a:lnTo>
                    <a:pt x="119" y="221"/>
                  </a:lnTo>
                  <a:lnTo>
                    <a:pt x="116" y="221"/>
                  </a:lnTo>
                  <a:lnTo>
                    <a:pt x="116" y="218"/>
                  </a:lnTo>
                  <a:lnTo>
                    <a:pt x="114" y="218"/>
                  </a:lnTo>
                  <a:lnTo>
                    <a:pt x="112" y="218"/>
                  </a:lnTo>
                  <a:lnTo>
                    <a:pt x="112" y="221"/>
                  </a:lnTo>
                  <a:lnTo>
                    <a:pt x="109" y="221"/>
                  </a:lnTo>
                  <a:lnTo>
                    <a:pt x="107" y="221"/>
                  </a:lnTo>
                  <a:lnTo>
                    <a:pt x="107" y="218"/>
                  </a:lnTo>
                  <a:lnTo>
                    <a:pt x="105" y="218"/>
                  </a:lnTo>
                  <a:lnTo>
                    <a:pt x="105" y="216"/>
                  </a:lnTo>
                  <a:lnTo>
                    <a:pt x="102" y="216"/>
                  </a:lnTo>
                  <a:lnTo>
                    <a:pt x="100" y="216"/>
                  </a:lnTo>
                  <a:lnTo>
                    <a:pt x="97" y="216"/>
                  </a:lnTo>
                  <a:lnTo>
                    <a:pt x="95" y="216"/>
                  </a:lnTo>
                  <a:lnTo>
                    <a:pt x="95" y="213"/>
                  </a:lnTo>
                  <a:lnTo>
                    <a:pt x="93" y="213"/>
                  </a:lnTo>
                  <a:lnTo>
                    <a:pt x="90" y="213"/>
                  </a:lnTo>
                  <a:lnTo>
                    <a:pt x="88" y="213"/>
                  </a:lnTo>
                  <a:lnTo>
                    <a:pt x="86" y="213"/>
                  </a:lnTo>
                  <a:lnTo>
                    <a:pt x="83" y="213"/>
                  </a:lnTo>
                  <a:lnTo>
                    <a:pt x="81" y="213"/>
                  </a:lnTo>
                  <a:lnTo>
                    <a:pt x="79" y="213"/>
                  </a:lnTo>
                  <a:lnTo>
                    <a:pt x="76" y="213"/>
                  </a:lnTo>
                  <a:lnTo>
                    <a:pt x="74" y="213"/>
                  </a:lnTo>
                  <a:lnTo>
                    <a:pt x="71" y="213"/>
                  </a:lnTo>
                  <a:lnTo>
                    <a:pt x="69" y="213"/>
                  </a:lnTo>
                  <a:lnTo>
                    <a:pt x="69" y="211"/>
                  </a:lnTo>
                  <a:lnTo>
                    <a:pt x="67" y="211"/>
                  </a:lnTo>
                  <a:lnTo>
                    <a:pt x="64" y="211"/>
                  </a:lnTo>
                  <a:lnTo>
                    <a:pt x="64" y="213"/>
                  </a:lnTo>
                  <a:lnTo>
                    <a:pt x="62" y="211"/>
                  </a:lnTo>
                  <a:lnTo>
                    <a:pt x="62" y="213"/>
                  </a:lnTo>
                  <a:lnTo>
                    <a:pt x="60" y="213"/>
                  </a:lnTo>
                  <a:lnTo>
                    <a:pt x="57" y="213"/>
                  </a:lnTo>
                  <a:lnTo>
                    <a:pt x="60" y="213"/>
                  </a:lnTo>
                  <a:lnTo>
                    <a:pt x="57" y="216"/>
                  </a:lnTo>
                  <a:lnTo>
                    <a:pt x="57" y="213"/>
                  </a:lnTo>
                  <a:lnTo>
                    <a:pt x="55" y="216"/>
                  </a:lnTo>
                  <a:lnTo>
                    <a:pt x="55" y="213"/>
                  </a:lnTo>
                  <a:lnTo>
                    <a:pt x="52" y="213"/>
                  </a:lnTo>
                  <a:lnTo>
                    <a:pt x="52" y="216"/>
                  </a:lnTo>
                  <a:lnTo>
                    <a:pt x="50" y="216"/>
                  </a:lnTo>
                  <a:lnTo>
                    <a:pt x="48" y="216"/>
                  </a:lnTo>
                  <a:lnTo>
                    <a:pt x="45" y="216"/>
                  </a:lnTo>
                  <a:lnTo>
                    <a:pt x="43" y="216"/>
                  </a:lnTo>
                  <a:lnTo>
                    <a:pt x="38" y="216"/>
                  </a:lnTo>
                  <a:lnTo>
                    <a:pt x="38" y="218"/>
                  </a:lnTo>
                  <a:lnTo>
                    <a:pt x="36" y="218"/>
                  </a:lnTo>
                  <a:lnTo>
                    <a:pt x="36" y="221"/>
                  </a:lnTo>
                  <a:lnTo>
                    <a:pt x="36" y="223"/>
                  </a:lnTo>
                  <a:lnTo>
                    <a:pt x="31" y="225"/>
                  </a:lnTo>
                  <a:lnTo>
                    <a:pt x="29" y="228"/>
                  </a:lnTo>
                  <a:lnTo>
                    <a:pt x="26" y="230"/>
                  </a:lnTo>
                  <a:lnTo>
                    <a:pt x="24" y="230"/>
                  </a:lnTo>
                  <a:lnTo>
                    <a:pt x="22" y="230"/>
                  </a:lnTo>
                  <a:lnTo>
                    <a:pt x="24" y="228"/>
                  </a:lnTo>
                  <a:lnTo>
                    <a:pt x="22" y="228"/>
                  </a:lnTo>
                  <a:lnTo>
                    <a:pt x="19" y="228"/>
                  </a:lnTo>
                  <a:lnTo>
                    <a:pt x="19" y="225"/>
                  </a:lnTo>
                  <a:lnTo>
                    <a:pt x="19" y="228"/>
                  </a:lnTo>
                  <a:lnTo>
                    <a:pt x="17" y="228"/>
                  </a:lnTo>
                  <a:lnTo>
                    <a:pt x="14" y="228"/>
                  </a:lnTo>
                  <a:lnTo>
                    <a:pt x="14" y="230"/>
                  </a:lnTo>
                  <a:lnTo>
                    <a:pt x="14" y="232"/>
                  </a:lnTo>
                  <a:lnTo>
                    <a:pt x="14" y="235"/>
                  </a:lnTo>
                  <a:lnTo>
                    <a:pt x="14" y="232"/>
                  </a:lnTo>
                  <a:lnTo>
                    <a:pt x="12" y="232"/>
                  </a:lnTo>
                  <a:lnTo>
                    <a:pt x="12" y="230"/>
                  </a:lnTo>
                  <a:lnTo>
                    <a:pt x="12" y="228"/>
                  </a:lnTo>
                  <a:lnTo>
                    <a:pt x="12" y="225"/>
                  </a:lnTo>
                  <a:lnTo>
                    <a:pt x="12" y="223"/>
                  </a:lnTo>
                  <a:lnTo>
                    <a:pt x="10" y="223"/>
                  </a:lnTo>
                  <a:lnTo>
                    <a:pt x="12" y="223"/>
                  </a:lnTo>
                  <a:lnTo>
                    <a:pt x="12" y="221"/>
                  </a:lnTo>
                  <a:lnTo>
                    <a:pt x="12" y="223"/>
                  </a:lnTo>
                  <a:lnTo>
                    <a:pt x="12" y="221"/>
                  </a:lnTo>
                  <a:lnTo>
                    <a:pt x="14" y="221"/>
                  </a:lnTo>
                  <a:lnTo>
                    <a:pt x="14" y="218"/>
                  </a:lnTo>
                  <a:lnTo>
                    <a:pt x="12" y="218"/>
                  </a:lnTo>
                  <a:lnTo>
                    <a:pt x="14" y="218"/>
                  </a:lnTo>
                  <a:lnTo>
                    <a:pt x="12" y="218"/>
                  </a:lnTo>
                  <a:lnTo>
                    <a:pt x="14" y="218"/>
                  </a:lnTo>
                  <a:lnTo>
                    <a:pt x="14" y="216"/>
                  </a:lnTo>
                  <a:lnTo>
                    <a:pt x="14" y="213"/>
                  </a:lnTo>
                  <a:lnTo>
                    <a:pt x="14" y="211"/>
                  </a:lnTo>
                  <a:lnTo>
                    <a:pt x="17" y="211"/>
                  </a:lnTo>
                  <a:lnTo>
                    <a:pt x="17" y="209"/>
                  </a:lnTo>
                  <a:lnTo>
                    <a:pt x="14" y="209"/>
                  </a:lnTo>
                  <a:lnTo>
                    <a:pt x="14" y="206"/>
                  </a:lnTo>
                  <a:lnTo>
                    <a:pt x="14" y="204"/>
                  </a:lnTo>
                  <a:lnTo>
                    <a:pt x="12" y="204"/>
                  </a:lnTo>
                  <a:lnTo>
                    <a:pt x="10" y="204"/>
                  </a:lnTo>
                  <a:lnTo>
                    <a:pt x="10" y="202"/>
                  </a:lnTo>
                  <a:lnTo>
                    <a:pt x="7" y="202"/>
                  </a:lnTo>
                  <a:lnTo>
                    <a:pt x="7" y="199"/>
                  </a:lnTo>
                  <a:lnTo>
                    <a:pt x="5" y="199"/>
                  </a:lnTo>
                  <a:lnTo>
                    <a:pt x="3" y="199"/>
                  </a:lnTo>
                  <a:lnTo>
                    <a:pt x="0" y="199"/>
                  </a:lnTo>
                  <a:lnTo>
                    <a:pt x="0" y="197"/>
                  </a:lnTo>
                  <a:lnTo>
                    <a:pt x="0" y="194"/>
                  </a:lnTo>
                  <a:lnTo>
                    <a:pt x="0" y="192"/>
                  </a:lnTo>
                  <a:lnTo>
                    <a:pt x="3" y="190"/>
                  </a:lnTo>
                  <a:lnTo>
                    <a:pt x="5" y="190"/>
                  </a:lnTo>
                  <a:lnTo>
                    <a:pt x="5" y="187"/>
                  </a:lnTo>
                  <a:lnTo>
                    <a:pt x="7" y="185"/>
                  </a:lnTo>
                  <a:lnTo>
                    <a:pt x="7" y="183"/>
                  </a:lnTo>
                  <a:lnTo>
                    <a:pt x="10" y="183"/>
                  </a:lnTo>
                  <a:lnTo>
                    <a:pt x="12" y="180"/>
                  </a:lnTo>
                  <a:lnTo>
                    <a:pt x="14" y="180"/>
                  </a:lnTo>
                  <a:lnTo>
                    <a:pt x="17" y="180"/>
                  </a:lnTo>
                  <a:lnTo>
                    <a:pt x="19" y="178"/>
                  </a:lnTo>
                  <a:lnTo>
                    <a:pt x="22" y="175"/>
                  </a:lnTo>
                  <a:lnTo>
                    <a:pt x="24" y="175"/>
                  </a:lnTo>
                  <a:lnTo>
                    <a:pt x="24" y="171"/>
                  </a:lnTo>
                  <a:lnTo>
                    <a:pt x="24" y="168"/>
                  </a:lnTo>
                  <a:lnTo>
                    <a:pt x="24" y="166"/>
                  </a:lnTo>
                  <a:lnTo>
                    <a:pt x="24" y="164"/>
                  </a:lnTo>
                  <a:lnTo>
                    <a:pt x="24" y="161"/>
                  </a:lnTo>
                  <a:lnTo>
                    <a:pt x="24" y="159"/>
                  </a:lnTo>
                  <a:lnTo>
                    <a:pt x="24" y="156"/>
                  </a:lnTo>
                  <a:lnTo>
                    <a:pt x="22" y="156"/>
                  </a:lnTo>
                  <a:lnTo>
                    <a:pt x="22" y="154"/>
                  </a:lnTo>
                  <a:lnTo>
                    <a:pt x="24" y="154"/>
                  </a:lnTo>
                  <a:lnTo>
                    <a:pt x="24" y="152"/>
                  </a:lnTo>
                  <a:lnTo>
                    <a:pt x="22" y="152"/>
                  </a:lnTo>
                  <a:lnTo>
                    <a:pt x="22" y="149"/>
                  </a:lnTo>
                  <a:lnTo>
                    <a:pt x="19" y="145"/>
                  </a:lnTo>
                  <a:lnTo>
                    <a:pt x="17" y="140"/>
                  </a:lnTo>
                  <a:lnTo>
                    <a:pt x="17" y="137"/>
                  </a:lnTo>
                  <a:lnTo>
                    <a:pt x="14" y="135"/>
                  </a:lnTo>
                  <a:lnTo>
                    <a:pt x="14" y="133"/>
                  </a:lnTo>
                  <a:lnTo>
                    <a:pt x="14" y="130"/>
                  </a:lnTo>
                  <a:lnTo>
                    <a:pt x="12" y="126"/>
                  </a:lnTo>
                  <a:lnTo>
                    <a:pt x="12" y="123"/>
                  </a:lnTo>
                  <a:lnTo>
                    <a:pt x="12" y="121"/>
                  </a:lnTo>
                  <a:lnTo>
                    <a:pt x="12" y="118"/>
                  </a:lnTo>
                  <a:lnTo>
                    <a:pt x="10" y="118"/>
                  </a:lnTo>
                  <a:lnTo>
                    <a:pt x="10" y="116"/>
                  </a:lnTo>
                  <a:lnTo>
                    <a:pt x="10" y="114"/>
                  </a:lnTo>
                  <a:lnTo>
                    <a:pt x="10" y="111"/>
                  </a:lnTo>
                  <a:lnTo>
                    <a:pt x="10" y="114"/>
                  </a:lnTo>
                  <a:lnTo>
                    <a:pt x="12" y="114"/>
                  </a:lnTo>
                  <a:lnTo>
                    <a:pt x="14" y="114"/>
                  </a:lnTo>
                  <a:lnTo>
                    <a:pt x="17" y="114"/>
                  </a:lnTo>
                  <a:lnTo>
                    <a:pt x="19" y="114"/>
                  </a:lnTo>
                  <a:lnTo>
                    <a:pt x="19" y="116"/>
                  </a:lnTo>
                  <a:lnTo>
                    <a:pt x="22" y="114"/>
                  </a:lnTo>
                  <a:lnTo>
                    <a:pt x="19" y="114"/>
                  </a:lnTo>
                  <a:lnTo>
                    <a:pt x="22" y="114"/>
                  </a:lnTo>
                  <a:lnTo>
                    <a:pt x="24" y="114"/>
                  </a:lnTo>
                  <a:lnTo>
                    <a:pt x="24" y="111"/>
                  </a:lnTo>
                  <a:lnTo>
                    <a:pt x="26" y="114"/>
                  </a:lnTo>
                  <a:lnTo>
                    <a:pt x="29" y="114"/>
                  </a:lnTo>
                  <a:lnTo>
                    <a:pt x="31" y="114"/>
                  </a:lnTo>
                  <a:lnTo>
                    <a:pt x="31" y="111"/>
                  </a:lnTo>
                  <a:lnTo>
                    <a:pt x="33" y="111"/>
                  </a:lnTo>
                  <a:lnTo>
                    <a:pt x="33" y="114"/>
                  </a:lnTo>
                  <a:lnTo>
                    <a:pt x="36" y="114"/>
                  </a:lnTo>
                  <a:lnTo>
                    <a:pt x="36" y="116"/>
                  </a:lnTo>
                  <a:lnTo>
                    <a:pt x="38" y="116"/>
                  </a:lnTo>
                  <a:lnTo>
                    <a:pt x="38" y="114"/>
                  </a:lnTo>
                  <a:lnTo>
                    <a:pt x="38" y="116"/>
                  </a:lnTo>
                  <a:lnTo>
                    <a:pt x="41" y="116"/>
                  </a:lnTo>
                  <a:lnTo>
                    <a:pt x="41" y="114"/>
                  </a:lnTo>
                  <a:lnTo>
                    <a:pt x="43" y="114"/>
                  </a:lnTo>
                  <a:lnTo>
                    <a:pt x="43" y="111"/>
                  </a:lnTo>
                  <a:lnTo>
                    <a:pt x="45" y="111"/>
                  </a:lnTo>
                  <a:lnTo>
                    <a:pt x="48" y="111"/>
                  </a:lnTo>
                  <a:lnTo>
                    <a:pt x="48" y="109"/>
                  </a:lnTo>
                  <a:lnTo>
                    <a:pt x="50" y="109"/>
                  </a:lnTo>
                  <a:lnTo>
                    <a:pt x="50" y="111"/>
                  </a:lnTo>
                  <a:lnTo>
                    <a:pt x="52" y="111"/>
                  </a:lnTo>
                  <a:lnTo>
                    <a:pt x="55" y="111"/>
                  </a:lnTo>
                  <a:lnTo>
                    <a:pt x="55" y="109"/>
                  </a:lnTo>
                  <a:lnTo>
                    <a:pt x="52" y="109"/>
                  </a:lnTo>
                  <a:lnTo>
                    <a:pt x="52" y="107"/>
                  </a:lnTo>
                  <a:lnTo>
                    <a:pt x="52" y="104"/>
                  </a:lnTo>
                  <a:lnTo>
                    <a:pt x="55" y="104"/>
                  </a:lnTo>
                  <a:lnTo>
                    <a:pt x="52" y="104"/>
                  </a:lnTo>
                  <a:lnTo>
                    <a:pt x="55" y="102"/>
                  </a:lnTo>
                  <a:lnTo>
                    <a:pt x="57" y="102"/>
                  </a:lnTo>
                  <a:lnTo>
                    <a:pt x="60" y="102"/>
                  </a:lnTo>
                  <a:lnTo>
                    <a:pt x="60" y="104"/>
                  </a:lnTo>
                  <a:lnTo>
                    <a:pt x="62" y="104"/>
                  </a:lnTo>
                  <a:lnTo>
                    <a:pt x="62" y="102"/>
                  </a:lnTo>
                  <a:lnTo>
                    <a:pt x="64" y="102"/>
                  </a:lnTo>
                  <a:lnTo>
                    <a:pt x="64" y="99"/>
                  </a:lnTo>
                  <a:lnTo>
                    <a:pt x="67" y="99"/>
                  </a:lnTo>
                  <a:lnTo>
                    <a:pt x="67" y="97"/>
                  </a:lnTo>
                  <a:lnTo>
                    <a:pt x="69" y="97"/>
                  </a:lnTo>
                  <a:lnTo>
                    <a:pt x="71" y="97"/>
                  </a:lnTo>
                  <a:lnTo>
                    <a:pt x="74" y="97"/>
                  </a:lnTo>
                  <a:lnTo>
                    <a:pt x="74" y="95"/>
                  </a:lnTo>
                  <a:lnTo>
                    <a:pt x="76" y="95"/>
                  </a:lnTo>
                  <a:lnTo>
                    <a:pt x="76" y="97"/>
                  </a:lnTo>
                  <a:lnTo>
                    <a:pt x="79" y="97"/>
                  </a:lnTo>
                  <a:lnTo>
                    <a:pt x="79" y="99"/>
                  </a:lnTo>
                  <a:lnTo>
                    <a:pt x="76" y="99"/>
                  </a:lnTo>
                  <a:lnTo>
                    <a:pt x="79" y="99"/>
                  </a:lnTo>
                  <a:lnTo>
                    <a:pt x="76" y="102"/>
                  </a:lnTo>
                  <a:lnTo>
                    <a:pt x="79" y="102"/>
                  </a:lnTo>
                  <a:lnTo>
                    <a:pt x="79" y="104"/>
                  </a:lnTo>
                  <a:lnTo>
                    <a:pt x="79" y="102"/>
                  </a:lnTo>
                  <a:lnTo>
                    <a:pt x="79" y="104"/>
                  </a:lnTo>
                  <a:lnTo>
                    <a:pt x="81" y="104"/>
                  </a:lnTo>
                  <a:lnTo>
                    <a:pt x="83" y="102"/>
                  </a:lnTo>
                  <a:lnTo>
                    <a:pt x="81" y="102"/>
                  </a:lnTo>
                  <a:lnTo>
                    <a:pt x="83" y="102"/>
                  </a:lnTo>
                  <a:lnTo>
                    <a:pt x="86" y="102"/>
                  </a:lnTo>
                  <a:lnTo>
                    <a:pt x="86" y="99"/>
                  </a:lnTo>
                  <a:lnTo>
                    <a:pt x="83" y="99"/>
                  </a:lnTo>
                  <a:lnTo>
                    <a:pt x="86" y="99"/>
                  </a:lnTo>
                  <a:lnTo>
                    <a:pt x="86" y="97"/>
                  </a:lnTo>
                  <a:lnTo>
                    <a:pt x="83" y="97"/>
                  </a:lnTo>
                  <a:lnTo>
                    <a:pt x="83" y="95"/>
                  </a:lnTo>
                  <a:lnTo>
                    <a:pt x="81" y="95"/>
                  </a:lnTo>
                  <a:lnTo>
                    <a:pt x="79" y="95"/>
                  </a:lnTo>
                  <a:lnTo>
                    <a:pt x="76" y="95"/>
                  </a:lnTo>
                  <a:lnTo>
                    <a:pt x="76" y="92"/>
                  </a:lnTo>
                  <a:lnTo>
                    <a:pt x="79" y="92"/>
                  </a:lnTo>
                  <a:lnTo>
                    <a:pt x="79" y="90"/>
                  </a:lnTo>
                  <a:lnTo>
                    <a:pt x="81" y="90"/>
                  </a:lnTo>
                  <a:lnTo>
                    <a:pt x="81" y="88"/>
                  </a:lnTo>
                  <a:lnTo>
                    <a:pt x="79" y="88"/>
                  </a:lnTo>
                  <a:lnTo>
                    <a:pt x="81" y="88"/>
                  </a:lnTo>
                  <a:lnTo>
                    <a:pt x="81" y="85"/>
                  </a:lnTo>
                  <a:lnTo>
                    <a:pt x="81" y="83"/>
                  </a:lnTo>
                  <a:lnTo>
                    <a:pt x="83" y="83"/>
                  </a:lnTo>
                  <a:lnTo>
                    <a:pt x="83" y="80"/>
                  </a:lnTo>
                  <a:lnTo>
                    <a:pt x="86" y="80"/>
                  </a:lnTo>
                  <a:lnTo>
                    <a:pt x="83" y="80"/>
                  </a:lnTo>
                  <a:lnTo>
                    <a:pt x="83" y="78"/>
                  </a:lnTo>
                  <a:lnTo>
                    <a:pt x="83" y="76"/>
                  </a:lnTo>
                  <a:lnTo>
                    <a:pt x="83" y="73"/>
                  </a:lnTo>
                  <a:lnTo>
                    <a:pt x="83" y="71"/>
                  </a:lnTo>
                  <a:lnTo>
                    <a:pt x="83" y="69"/>
                  </a:lnTo>
                  <a:lnTo>
                    <a:pt x="86" y="69"/>
                  </a:lnTo>
                  <a:lnTo>
                    <a:pt x="86" y="66"/>
                  </a:lnTo>
                  <a:lnTo>
                    <a:pt x="88" y="66"/>
                  </a:lnTo>
                  <a:lnTo>
                    <a:pt x="88" y="64"/>
                  </a:lnTo>
                  <a:lnTo>
                    <a:pt x="90" y="64"/>
                  </a:lnTo>
                  <a:lnTo>
                    <a:pt x="90" y="61"/>
                  </a:lnTo>
                  <a:lnTo>
                    <a:pt x="93" y="61"/>
                  </a:lnTo>
                  <a:lnTo>
                    <a:pt x="93" y="64"/>
                  </a:lnTo>
                  <a:lnTo>
                    <a:pt x="95" y="64"/>
                  </a:lnTo>
                  <a:lnTo>
                    <a:pt x="95" y="61"/>
                  </a:lnTo>
                  <a:lnTo>
                    <a:pt x="97" y="61"/>
                  </a:lnTo>
                  <a:lnTo>
                    <a:pt x="100" y="61"/>
                  </a:lnTo>
                  <a:lnTo>
                    <a:pt x="100" y="59"/>
                  </a:lnTo>
                  <a:lnTo>
                    <a:pt x="100" y="57"/>
                  </a:lnTo>
                  <a:lnTo>
                    <a:pt x="102" y="57"/>
                  </a:lnTo>
                  <a:lnTo>
                    <a:pt x="100" y="54"/>
                  </a:lnTo>
                  <a:lnTo>
                    <a:pt x="102" y="54"/>
                  </a:lnTo>
                  <a:lnTo>
                    <a:pt x="102" y="52"/>
                  </a:lnTo>
                  <a:lnTo>
                    <a:pt x="105" y="52"/>
                  </a:lnTo>
                  <a:lnTo>
                    <a:pt x="107" y="52"/>
                  </a:lnTo>
                  <a:lnTo>
                    <a:pt x="107" y="54"/>
                  </a:lnTo>
                  <a:lnTo>
                    <a:pt x="109" y="52"/>
                  </a:lnTo>
                  <a:lnTo>
                    <a:pt x="112" y="52"/>
                  </a:lnTo>
                  <a:lnTo>
                    <a:pt x="114" y="52"/>
                  </a:lnTo>
                  <a:lnTo>
                    <a:pt x="116" y="52"/>
                  </a:lnTo>
                  <a:lnTo>
                    <a:pt x="114" y="50"/>
                  </a:lnTo>
                  <a:lnTo>
                    <a:pt x="116" y="50"/>
                  </a:lnTo>
                  <a:lnTo>
                    <a:pt x="116" y="47"/>
                  </a:lnTo>
                  <a:lnTo>
                    <a:pt x="119" y="47"/>
                  </a:lnTo>
                  <a:lnTo>
                    <a:pt x="119" y="45"/>
                  </a:lnTo>
                  <a:lnTo>
                    <a:pt x="116" y="42"/>
                  </a:lnTo>
                  <a:lnTo>
                    <a:pt x="114" y="42"/>
                  </a:lnTo>
                  <a:lnTo>
                    <a:pt x="112" y="42"/>
                  </a:lnTo>
                  <a:lnTo>
                    <a:pt x="112" y="45"/>
                  </a:lnTo>
                  <a:lnTo>
                    <a:pt x="112" y="42"/>
                  </a:lnTo>
                  <a:lnTo>
                    <a:pt x="112" y="45"/>
                  </a:lnTo>
                  <a:lnTo>
                    <a:pt x="112" y="42"/>
                  </a:lnTo>
                  <a:lnTo>
                    <a:pt x="112" y="45"/>
                  </a:lnTo>
                  <a:lnTo>
                    <a:pt x="112" y="42"/>
                  </a:lnTo>
                  <a:lnTo>
                    <a:pt x="109" y="42"/>
                  </a:lnTo>
                  <a:lnTo>
                    <a:pt x="107" y="42"/>
                  </a:lnTo>
                  <a:lnTo>
                    <a:pt x="109" y="40"/>
                  </a:lnTo>
                  <a:lnTo>
                    <a:pt x="112" y="40"/>
                  </a:lnTo>
                  <a:lnTo>
                    <a:pt x="109" y="40"/>
                  </a:lnTo>
                  <a:lnTo>
                    <a:pt x="112" y="40"/>
                  </a:lnTo>
                  <a:lnTo>
                    <a:pt x="109" y="38"/>
                  </a:lnTo>
                  <a:lnTo>
                    <a:pt x="112" y="38"/>
                  </a:lnTo>
                  <a:lnTo>
                    <a:pt x="109" y="38"/>
                  </a:lnTo>
                  <a:lnTo>
                    <a:pt x="112" y="38"/>
                  </a:lnTo>
                  <a:lnTo>
                    <a:pt x="112" y="35"/>
                  </a:lnTo>
                  <a:lnTo>
                    <a:pt x="109" y="35"/>
                  </a:lnTo>
                  <a:lnTo>
                    <a:pt x="109" y="33"/>
                  </a:lnTo>
                  <a:lnTo>
                    <a:pt x="112" y="33"/>
                  </a:lnTo>
                  <a:lnTo>
                    <a:pt x="112" y="31"/>
                  </a:lnTo>
                  <a:lnTo>
                    <a:pt x="114" y="31"/>
                  </a:lnTo>
                  <a:lnTo>
                    <a:pt x="114" y="28"/>
                  </a:lnTo>
                  <a:lnTo>
                    <a:pt x="114" y="26"/>
                  </a:lnTo>
                  <a:lnTo>
                    <a:pt x="114" y="23"/>
                  </a:lnTo>
                  <a:lnTo>
                    <a:pt x="116" y="23"/>
                  </a:lnTo>
                  <a:lnTo>
                    <a:pt x="116" y="26"/>
                  </a:lnTo>
                  <a:lnTo>
                    <a:pt x="119" y="26"/>
                  </a:lnTo>
                  <a:lnTo>
                    <a:pt x="119" y="23"/>
                  </a:lnTo>
                  <a:lnTo>
                    <a:pt x="121" y="23"/>
                  </a:lnTo>
                  <a:lnTo>
                    <a:pt x="121" y="21"/>
                  </a:lnTo>
                  <a:lnTo>
                    <a:pt x="124" y="21"/>
                  </a:lnTo>
                  <a:lnTo>
                    <a:pt x="124" y="19"/>
                  </a:lnTo>
                  <a:lnTo>
                    <a:pt x="126" y="19"/>
                  </a:lnTo>
                  <a:lnTo>
                    <a:pt x="128" y="19"/>
                  </a:lnTo>
                  <a:lnTo>
                    <a:pt x="128" y="16"/>
                  </a:lnTo>
                  <a:lnTo>
                    <a:pt x="131" y="16"/>
                  </a:lnTo>
                  <a:lnTo>
                    <a:pt x="131" y="19"/>
                  </a:lnTo>
                  <a:lnTo>
                    <a:pt x="133" y="19"/>
                  </a:lnTo>
                  <a:lnTo>
                    <a:pt x="135" y="21"/>
                  </a:lnTo>
                  <a:lnTo>
                    <a:pt x="135" y="19"/>
                  </a:lnTo>
                  <a:lnTo>
                    <a:pt x="138" y="19"/>
                  </a:lnTo>
                  <a:lnTo>
                    <a:pt x="140" y="19"/>
                  </a:lnTo>
                  <a:lnTo>
                    <a:pt x="143" y="21"/>
                  </a:lnTo>
                  <a:lnTo>
                    <a:pt x="145" y="21"/>
                  </a:lnTo>
                  <a:lnTo>
                    <a:pt x="145" y="19"/>
                  </a:lnTo>
                  <a:lnTo>
                    <a:pt x="147" y="16"/>
                  </a:lnTo>
                  <a:lnTo>
                    <a:pt x="145" y="14"/>
                  </a:lnTo>
                  <a:lnTo>
                    <a:pt x="147" y="14"/>
                  </a:lnTo>
                  <a:lnTo>
                    <a:pt x="147" y="12"/>
                  </a:lnTo>
                  <a:lnTo>
                    <a:pt x="150" y="12"/>
                  </a:lnTo>
                  <a:lnTo>
                    <a:pt x="150" y="9"/>
                  </a:lnTo>
                  <a:lnTo>
                    <a:pt x="152" y="9"/>
                  </a:lnTo>
                  <a:lnTo>
                    <a:pt x="152" y="7"/>
                  </a:lnTo>
                  <a:lnTo>
                    <a:pt x="154" y="7"/>
                  </a:lnTo>
                  <a:lnTo>
                    <a:pt x="157" y="7"/>
                  </a:lnTo>
                  <a:lnTo>
                    <a:pt x="157" y="4"/>
                  </a:lnTo>
                  <a:lnTo>
                    <a:pt x="157" y="2"/>
                  </a:lnTo>
                  <a:lnTo>
                    <a:pt x="159" y="2"/>
                  </a:lnTo>
                  <a:lnTo>
                    <a:pt x="162" y="2"/>
                  </a:lnTo>
                  <a:lnTo>
                    <a:pt x="162" y="0"/>
                  </a:lnTo>
                  <a:lnTo>
                    <a:pt x="16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5" name="Freeform 50278"/>
            <p:cNvSpPr>
              <a:spLocks/>
            </p:cNvSpPr>
            <p:nvPr/>
          </p:nvSpPr>
          <p:spPr bwMode="auto">
            <a:xfrm>
              <a:off x="2160586" y="4584715"/>
              <a:ext cx="200024" cy="153989"/>
            </a:xfrm>
            <a:custGeom>
              <a:avLst/>
              <a:gdLst>
                <a:gd name="T0" fmla="*/ 76 w 126"/>
                <a:gd name="T1" fmla="*/ 5 h 97"/>
                <a:gd name="T2" fmla="*/ 83 w 126"/>
                <a:gd name="T3" fmla="*/ 5 h 97"/>
                <a:gd name="T4" fmla="*/ 93 w 126"/>
                <a:gd name="T5" fmla="*/ 12 h 97"/>
                <a:gd name="T6" fmla="*/ 100 w 126"/>
                <a:gd name="T7" fmla="*/ 14 h 97"/>
                <a:gd name="T8" fmla="*/ 107 w 126"/>
                <a:gd name="T9" fmla="*/ 19 h 97"/>
                <a:gd name="T10" fmla="*/ 107 w 126"/>
                <a:gd name="T11" fmla="*/ 24 h 97"/>
                <a:gd name="T12" fmla="*/ 102 w 126"/>
                <a:gd name="T13" fmla="*/ 33 h 97"/>
                <a:gd name="T14" fmla="*/ 109 w 126"/>
                <a:gd name="T15" fmla="*/ 35 h 97"/>
                <a:gd name="T16" fmla="*/ 119 w 126"/>
                <a:gd name="T17" fmla="*/ 40 h 97"/>
                <a:gd name="T18" fmla="*/ 119 w 126"/>
                <a:gd name="T19" fmla="*/ 45 h 97"/>
                <a:gd name="T20" fmla="*/ 124 w 126"/>
                <a:gd name="T21" fmla="*/ 50 h 97"/>
                <a:gd name="T22" fmla="*/ 126 w 126"/>
                <a:gd name="T23" fmla="*/ 57 h 97"/>
                <a:gd name="T24" fmla="*/ 119 w 126"/>
                <a:gd name="T25" fmla="*/ 64 h 97"/>
                <a:gd name="T26" fmla="*/ 112 w 126"/>
                <a:gd name="T27" fmla="*/ 66 h 97"/>
                <a:gd name="T28" fmla="*/ 109 w 126"/>
                <a:gd name="T29" fmla="*/ 73 h 97"/>
                <a:gd name="T30" fmla="*/ 105 w 126"/>
                <a:gd name="T31" fmla="*/ 78 h 97"/>
                <a:gd name="T32" fmla="*/ 107 w 126"/>
                <a:gd name="T33" fmla="*/ 85 h 97"/>
                <a:gd name="T34" fmla="*/ 112 w 126"/>
                <a:gd name="T35" fmla="*/ 90 h 97"/>
                <a:gd name="T36" fmla="*/ 102 w 126"/>
                <a:gd name="T37" fmla="*/ 95 h 97"/>
                <a:gd name="T38" fmla="*/ 95 w 126"/>
                <a:gd name="T39" fmla="*/ 95 h 97"/>
                <a:gd name="T40" fmla="*/ 93 w 126"/>
                <a:gd name="T41" fmla="*/ 90 h 97"/>
                <a:gd name="T42" fmla="*/ 86 w 126"/>
                <a:gd name="T43" fmla="*/ 85 h 97"/>
                <a:gd name="T44" fmla="*/ 79 w 126"/>
                <a:gd name="T45" fmla="*/ 83 h 97"/>
                <a:gd name="T46" fmla="*/ 74 w 126"/>
                <a:gd name="T47" fmla="*/ 73 h 97"/>
                <a:gd name="T48" fmla="*/ 74 w 126"/>
                <a:gd name="T49" fmla="*/ 64 h 97"/>
                <a:gd name="T50" fmla="*/ 69 w 126"/>
                <a:gd name="T51" fmla="*/ 73 h 97"/>
                <a:gd name="T52" fmla="*/ 57 w 126"/>
                <a:gd name="T53" fmla="*/ 73 h 97"/>
                <a:gd name="T54" fmla="*/ 55 w 126"/>
                <a:gd name="T55" fmla="*/ 71 h 97"/>
                <a:gd name="T56" fmla="*/ 55 w 126"/>
                <a:gd name="T57" fmla="*/ 62 h 97"/>
                <a:gd name="T58" fmla="*/ 48 w 126"/>
                <a:gd name="T59" fmla="*/ 54 h 97"/>
                <a:gd name="T60" fmla="*/ 41 w 126"/>
                <a:gd name="T61" fmla="*/ 57 h 97"/>
                <a:gd name="T62" fmla="*/ 36 w 126"/>
                <a:gd name="T63" fmla="*/ 52 h 97"/>
                <a:gd name="T64" fmla="*/ 31 w 126"/>
                <a:gd name="T65" fmla="*/ 47 h 97"/>
                <a:gd name="T66" fmla="*/ 24 w 126"/>
                <a:gd name="T67" fmla="*/ 43 h 97"/>
                <a:gd name="T68" fmla="*/ 22 w 126"/>
                <a:gd name="T69" fmla="*/ 35 h 97"/>
                <a:gd name="T70" fmla="*/ 12 w 126"/>
                <a:gd name="T71" fmla="*/ 35 h 97"/>
                <a:gd name="T72" fmla="*/ 5 w 126"/>
                <a:gd name="T73" fmla="*/ 33 h 97"/>
                <a:gd name="T74" fmla="*/ 3 w 126"/>
                <a:gd name="T75" fmla="*/ 24 h 97"/>
                <a:gd name="T76" fmla="*/ 7 w 126"/>
                <a:gd name="T77" fmla="*/ 16 h 97"/>
                <a:gd name="T78" fmla="*/ 17 w 126"/>
                <a:gd name="T79" fmla="*/ 9 h 97"/>
                <a:gd name="T80" fmla="*/ 24 w 126"/>
                <a:gd name="T81" fmla="*/ 7 h 97"/>
                <a:gd name="T82" fmla="*/ 33 w 126"/>
                <a:gd name="T83" fmla="*/ 9 h 97"/>
                <a:gd name="T84" fmla="*/ 43 w 126"/>
                <a:gd name="T85" fmla="*/ 14 h 97"/>
                <a:gd name="T86" fmla="*/ 50 w 126"/>
                <a:gd name="T87" fmla="*/ 12 h 97"/>
                <a:gd name="T88" fmla="*/ 60 w 126"/>
                <a:gd name="T89" fmla="*/ 12 h 97"/>
                <a:gd name="T90" fmla="*/ 55 w 126"/>
                <a:gd name="T91" fmla="*/ 19 h 97"/>
                <a:gd name="T92" fmla="*/ 55 w 126"/>
                <a:gd name="T93" fmla="*/ 19 h 97"/>
                <a:gd name="T94" fmla="*/ 60 w 126"/>
                <a:gd name="T95" fmla="*/ 19 h 97"/>
                <a:gd name="T96" fmla="*/ 60 w 126"/>
                <a:gd name="T97" fmla="*/ 12 h 97"/>
                <a:gd name="T98" fmla="*/ 55 w 126"/>
                <a:gd name="T99" fmla="*/ 5 h 97"/>
                <a:gd name="T100" fmla="*/ 60 w 126"/>
                <a:gd name="T101" fmla="*/ 5 h 97"/>
                <a:gd name="T102" fmla="*/ 64 w 126"/>
                <a:gd name="T103" fmla="*/ 2 h 97"/>
                <a:gd name="T104" fmla="*/ 76 w 126"/>
                <a:gd name="T10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97">
                  <a:moveTo>
                    <a:pt x="74" y="2"/>
                  </a:moveTo>
                  <a:lnTo>
                    <a:pt x="76" y="2"/>
                  </a:lnTo>
                  <a:lnTo>
                    <a:pt x="76" y="5"/>
                  </a:lnTo>
                  <a:lnTo>
                    <a:pt x="74" y="2"/>
                  </a:lnTo>
                  <a:lnTo>
                    <a:pt x="74" y="5"/>
                  </a:lnTo>
                  <a:lnTo>
                    <a:pt x="76" y="5"/>
                  </a:lnTo>
                  <a:lnTo>
                    <a:pt x="79" y="5"/>
                  </a:lnTo>
                  <a:lnTo>
                    <a:pt x="81" y="2"/>
                  </a:lnTo>
                  <a:lnTo>
                    <a:pt x="81" y="0"/>
                  </a:lnTo>
                  <a:lnTo>
                    <a:pt x="83" y="0"/>
                  </a:lnTo>
                  <a:lnTo>
                    <a:pt x="83" y="2"/>
                  </a:lnTo>
                  <a:lnTo>
                    <a:pt x="83" y="5"/>
                  </a:lnTo>
                  <a:lnTo>
                    <a:pt x="86" y="7"/>
                  </a:lnTo>
                  <a:lnTo>
                    <a:pt x="86" y="9"/>
                  </a:lnTo>
                  <a:lnTo>
                    <a:pt x="88" y="9"/>
                  </a:lnTo>
                  <a:lnTo>
                    <a:pt x="88" y="12"/>
                  </a:lnTo>
                  <a:lnTo>
                    <a:pt x="90" y="12"/>
                  </a:lnTo>
                  <a:lnTo>
                    <a:pt x="93" y="12"/>
                  </a:lnTo>
                  <a:lnTo>
                    <a:pt x="93" y="9"/>
                  </a:lnTo>
                  <a:lnTo>
                    <a:pt x="95" y="12"/>
                  </a:lnTo>
                  <a:lnTo>
                    <a:pt x="95" y="9"/>
                  </a:lnTo>
                  <a:lnTo>
                    <a:pt x="98" y="9"/>
                  </a:lnTo>
                  <a:lnTo>
                    <a:pt x="100" y="12"/>
                  </a:lnTo>
                  <a:lnTo>
                    <a:pt x="100" y="14"/>
                  </a:lnTo>
                  <a:lnTo>
                    <a:pt x="102" y="14"/>
                  </a:lnTo>
                  <a:lnTo>
                    <a:pt x="105" y="14"/>
                  </a:lnTo>
                  <a:lnTo>
                    <a:pt x="107" y="14"/>
                  </a:lnTo>
                  <a:lnTo>
                    <a:pt x="107" y="16"/>
                  </a:lnTo>
                  <a:lnTo>
                    <a:pt x="109" y="16"/>
                  </a:lnTo>
                  <a:lnTo>
                    <a:pt x="107" y="19"/>
                  </a:lnTo>
                  <a:lnTo>
                    <a:pt x="109" y="19"/>
                  </a:lnTo>
                  <a:lnTo>
                    <a:pt x="107" y="19"/>
                  </a:lnTo>
                  <a:lnTo>
                    <a:pt x="107" y="21"/>
                  </a:lnTo>
                  <a:lnTo>
                    <a:pt x="105" y="21"/>
                  </a:lnTo>
                  <a:lnTo>
                    <a:pt x="105" y="24"/>
                  </a:lnTo>
                  <a:lnTo>
                    <a:pt x="107" y="24"/>
                  </a:lnTo>
                  <a:lnTo>
                    <a:pt x="105" y="24"/>
                  </a:lnTo>
                  <a:lnTo>
                    <a:pt x="105" y="26"/>
                  </a:lnTo>
                  <a:lnTo>
                    <a:pt x="105" y="28"/>
                  </a:lnTo>
                  <a:lnTo>
                    <a:pt x="102" y="28"/>
                  </a:lnTo>
                  <a:lnTo>
                    <a:pt x="102" y="31"/>
                  </a:lnTo>
                  <a:lnTo>
                    <a:pt x="102" y="33"/>
                  </a:lnTo>
                  <a:lnTo>
                    <a:pt x="105" y="33"/>
                  </a:lnTo>
                  <a:lnTo>
                    <a:pt x="105" y="35"/>
                  </a:lnTo>
                  <a:lnTo>
                    <a:pt x="102" y="35"/>
                  </a:lnTo>
                  <a:lnTo>
                    <a:pt x="105" y="35"/>
                  </a:lnTo>
                  <a:lnTo>
                    <a:pt x="107" y="35"/>
                  </a:lnTo>
                  <a:lnTo>
                    <a:pt x="109" y="35"/>
                  </a:lnTo>
                  <a:lnTo>
                    <a:pt x="112" y="35"/>
                  </a:lnTo>
                  <a:lnTo>
                    <a:pt x="114" y="35"/>
                  </a:lnTo>
                  <a:lnTo>
                    <a:pt x="114" y="38"/>
                  </a:lnTo>
                  <a:lnTo>
                    <a:pt x="117" y="38"/>
                  </a:lnTo>
                  <a:lnTo>
                    <a:pt x="119" y="38"/>
                  </a:lnTo>
                  <a:lnTo>
                    <a:pt x="119" y="40"/>
                  </a:lnTo>
                  <a:lnTo>
                    <a:pt x="119" y="43"/>
                  </a:lnTo>
                  <a:lnTo>
                    <a:pt x="121" y="43"/>
                  </a:lnTo>
                  <a:lnTo>
                    <a:pt x="124" y="43"/>
                  </a:lnTo>
                  <a:lnTo>
                    <a:pt x="121" y="43"/>
                  </a:lnTo>
                  <a:lnTo>
                    <a:pt x="121" y="45"/>
                  </a:lnTo>
                  <a:lnTo>
                    <a:pt x="119" y="45"/>
                  </a:lnTo>
                  <a:lnTo>
                    <a:pt x="119" y="47"/>
                  </a:lnTo>
                  <a:lnTo>
                    <a:pt x="121" y="47"/>
                  </a:lnTo>
                  <a:lnTo>
                    <a:pt x="121" y="50"/>
                  </a:lnTo>
                  <a:lnTo>
                    <a:pt x="121" y="47"/>
                  </a:lnTo>
                  <a:lnTo>
                    <a:pt x="124" y="47"/>
                  </a:lnTo>
                  <a:lnTo>
                    <a:pt x="124" y="50"/>
                  </a:lnTo>
                  <a:lnTo>
                    <a:pt x="126" y="50"/>
                  </a:lnTo>
                  <a:lnTo>
                    <a:pt x="126" y="52"/>
                  </a:lnTo>
                  <a:lnTo>
                    <a:pt x="126" y="54"/>
                  </a:lnTo>
                  <a:lnTo>
                    <a:pt x="124" y="54"/>
                  </a:lnTo>
                  <a:lnTo>
                    <a:pt x="126" y="54"/>
                  </a:lnTo>
                  <a:lnTo>
                    <a:pt x="126" y="57"/>
                  </a:lnTo>
                  <a:lnTo>
                    <a:pt x="124" y="57"/>
                  </a:lnTo>
                  <a:lnTo>
                    <a:pt x="124" y="59"/>
                  </a:lnTo>
                  <a:lnTo>
                    <a:pt x="121" y="59"/>
                  </a:lnTo>
                  <a:lnTo>
                    <a:pt x="121" y="62"/>
                  </a:lnTo>
                  <a:lnTo>
                    <a:pt x="119" y="62"/>
                  </a:lnTo>
                  <a:lnTo>
                    <a:pt x="119" y="64"/>
                  </a:lnTo>
                  <a:lnTo>
                    <a:pt x="119" y="66"/>
                  </a:lnTo>
                  <a:lnTo>
                    <a:pt x="117" y="66"/>
                  </a:lnTo>
                  <a:lnTo>
                    <a:pt x="117" y="64"/>
                  </a:lnTo>
                  <a:lnTo>
                    <a:pt x="114" y="64"/>
                  </a:lnTo>
                  <a:lnTo>
                    <a:pt x="112" y="64"/>
                  </a:lnTo>
                  <a:lnTo>
                    <a:pt x="112" y="66"/>
                  </a:lnTo>
                  <a:lnTo>
                    <a:pt x="109" y="66"/>
                  </a:lnTo>
                  <a:lnTo>
                    <a:pt x="109" y="69"/>
                  </a:lnTo>
                  <a:lnTo>
                    <a:pt x="109" y="71"/>
                  </a:lnTo>
                  <a:lnTo>
                    <a:pt x="107" y="71"/>
                  </a:lnTo>
                  <a:lnTo>
                    <a:pt x="107" y="73"/>
                  </a:lnTo>
                  <a:lnTo>
                    <a:pt x="109" y="73"/>
                  </a:lnTo>
                  <a:lnTo>
                    <a:pt x="107" y="73"/>
                  </a:lnTo>
                  <a:lnTo>
                    <a:pt x="107" y="76"/>
                  </a:lnTo>
                  <a:lnTo>
                    <a:pt x="105" y="76"/>
                  </a:lnTo>
                  <a:lnTo>
                    <a:pt x="105" y="78"/>
                  </a:lnTo>
                  <a:lnTo>
                    <a:pt x="107" y="78"/>
                  </a:lnTo>
                  <a:lnTo>
                    <a:pt x="105" y="78"/>
                  </a:lnTo>
                  <a:lnTo>
                    <a:pt x="105" y="81"/>
                  </a:lnTo>
                  <a:lnTo>
                    <a:pt x="105" y="83"/>
                  </a:lnTo>
                  <a:lnTo>
                    <a:pt x="107" y="83"/>
                  </a:lnTo>
                  <a:lnTo>
                    <a:pt x="107" y="85"/>
                  </a:lnTo>
                  <a:lnTo>
                    <a:pt x="109" y="85"/>
                  </a:lnTo>
                  <a:lnTo>
                    <a:pt x="107" y="85"/>
                  </a:lnTo>
                  <a:lnTo>
                    <a:pt x="109" y="85"/>
                  </a:lnTo>
                  <a:lnTo>
                    <a:pt x="109" y="88"/>
                  </a:lnTo>
                  <a:lnTo>
                    <a:pt x="109" y="90"/>
                  </a:lnTo>
                  <a:lnTo>
                    <a:pt x="112" y="90"/>
                  </a:lnTo>
                  <a:lnTo>
                    <a:pt x="109" y="90"/>
                  </a:lnTo>
                  <a:lnTo>
                    <a:pt x="112" y="90"/>
                  </a:lnTo>
                  <a:lnTo>
                    <a:pt x="109" y="90"/>
                  </a:lnTo>
                  <a:lnTo>
                    <a:pt x="109" y="92"/>
                  </a:lnTo>
                  <a:lnTo>
                    <a:pt x="109" y="95"/>
                  </a:lnTo>
                  <a:lnTo>
                    <a:pt x="107" y="95"/>
                  </a:lnTo>
                  <a:lnTo>
                    <a:pt x="105" y="95"/>
                  </a:lnTo>
                  <a:lnTo>
                    <a:pt x="102" y="95"/>
                  </a:lnTo>
                  <a:lnTo>
                    <a:pt x="102" y="97"/>
                  </a:lnTo>
                  <a:lnTo>
                    <a:pt x="100" y="97"/>
                  </a:lnTo>
                  <a:lnTo>
                    <a:pt x="100" y="95"/>
                  </a:lnTo>
                  <a:lnTo>
                    <a:pt x="98" y="97"/>
                  </a:lnTo>
                  <a:lnTo>
                    <a:pt x="95" y="97"/>
                  </a:lnTo>
                  <a:lnTo>
                    <a:pt x="95" y="95"/>
                  </a:lnTo>
                  <a:lnTo>
                    <a:pt x="95" y="92"/>
                  </a:lnTo>
                  <a:lnTo>
                    <a:pt x="93" y="90"/>
                  </a:lnTo>
                  <a:lnTo>
                    <a:pt x="90" y="90"/>
                  </a:lnTo>
                  <a:lnTo>
                    <a:pt x="90" y="92"/>
                  </a:lnTo>
                  <a:lnTo>
                    <a:pt x="90" y="90"/>
                  </a:lnTo>
                  <a:lnTo>
                    <a:pt x="93" y="90"/>
                  </a:lnTo>
                  <a:lnTo>
                    <a:pt x="90" y="88"/>
                  </a:lnTo>
                  <a:lnTo>
                    <a:pt x="88" y="88"/>
                  </a:lnTo>
                  <a:lnTo>
                    <a:pt x="86" y="88"/>
                  </a:lnTo>
                  <a:lnTo>
                    <a:pt x="86" y="85"/>
                  </a:lnTo>
                  <a:lnTo>
                    <a:pt x="86" y="88"/>
                  </a:lnTo>
                  <a:lnTo>
                    <a:pt x="86" y="85"/>
                  </a:lnTo>
                  <a:lnTo>
                    <a:pt x="83" y="85"/>
                  </a:lnTo>
                  <a:lnTo>
                    <a:pt x="83" y="83"/>
                  </a:lnTo>
                  <a:lnTo>
                    <a:pt x="83" y="85"/>
                  </a:lnTo>
                  <a:lnTo>
                    <a:pt x="83" y="83"/>
                  </a:lnTo>
                  <a:lnTo>
                    <a:pt x="81" y="83"/>
                  </a:lnTo>
                  <a:lnTo>
                    <a:pt x="79" y="83"/>
                  </a:lnTo>
                  <a:lnTo>
                    <a:pt x="76" y="83"/>
                  </a:lnTo>
                  <a:lnTo>
                    <a:pt x="76" y="81"/>
                  </a:lnTo>
                  <a:lnTo>
                    <a:pt x="76" y="78"/>
                  </a:lnTo>
                  <a:lnTo>
                    <a:pt x="76" y="76"/>
                  </a:lnTo>
                  <a:lnTo>
                    <a:pt x="74" y="76"/>
                  </a:lnTo>
                  <a:lnTo>
                    <a:pt x="74" y="73"/>
                  </a:lnTo>
                  <a:lnTo>
                    <a:pt x="76" y="71"/>
                  </a:lnTo>
                  <a:lnTo>
                    <a:pt x="74" y="69"/>
                  </a:lnTo>
                  <a:lnTo>
                    <a:pt x="76" y="69"/>
                  </a:lnTo>
                  <a:lnTo>
                    <a:pt x="76" y="66"/>
                  </a:lnTo>
                  <a:lnTo>
                    <a:pt x="76" y="64"/>
                  </a:lnTo>
                  <a:lnTo>
                    <a:pt x="74" y="64"/>
                  </a:lnTo>
                  <a:lnTo>
                    <a:pt x="74" y="66"/>
                  </a:lnTo>
                  <a:lnTo>
                    <a:pt x="71" y="66"/>
                  </a:lnTo>
                  <a:lnTo>
                    <a:pt x="71" y="69"/>
                  </a:lnTo>
                  <a:lnTo>
                    <a:pt x="71" y="71"/>
                  </a:lnTo>
                  <a:lnTo>
                    <a:pt x="71" y="73"/>
                  </a:lnTo>
                  <a:lnTo>
                    <a:pt x="69" y="73"/>
                  </a:lnTo>
                  <a:lnTo>
                    <a:pt x="67" y="73"/>
                  </a:lnTo>
                  <a:lnTo>
                    <a:pt x="64" y="76"/>
                  </a:lnTo>
                  <a:lnTo>
                    <a:pt x="62" y="76"/>
                  </a:lnTo>
                  <a:lnTo>
                    <a:pt x="60" y="76"/>
                  </a:lnTo>
                  <a:lnTo>
                    <a:pt x="60" y="73"/>
                  </a:lnTo>
                  <a:lnTo>
                    <a:pt x="57" y="73"/>
                  </a:lnTo>
                  <a:lnTo>
                    <a:pt x="57" y="76"/>
                  </a:lnTo>
                  <a:lnTo>
                    <a:pt x="55" y="76"/>
                  </a:lnTo>
                  <a:lnTo>
                    <a:pt x="55" y="73"/>
                  </a:lnTo>
                  <a:lnTo>
                    <a:pt x="52" y="73"/>
                  </a:lnTo>
                  <a:lnTo>
                    <a:pt x="52" y="71"/>
                  </a:lnTo>
                  <a:lnTo>
                    <a:pt x="55" y="71"/>
                  </a:lnTo>
                  <a:lnTo>
                    <a:pt x="55" y="69"/>
                  </a:lnTo>
                  <a:lnTo>
                    <a:pt x="55" y="66"/>
                  </a:lnTo>
                  <a:lnTo>
                    <a:pt x="52" y="66"/>
                  </a:lnTo>
                  <a:lnTo>
                    <a:pt x="52" y="64"/>
                  </a:lnTo>
                  <a:lnTo>
                    <a:pt x="52" y="62"/>
                  </a:lnTo>
                  <a:lnTo>
                    <a:pt x="55" y="62"/>
                  </a:lnTo>
                  <a:lnTo>
                    <a:pt x="55" y="59"/>
                  </a:lnTo>
                  <a:lnTo>
                    <a:pt x="52" y="59"/>
                  </a:lnTo>
                  <a:lnTo>
                    <a:pt x="52" y="57"/>
                  </a:lnTo>
                  <a:lnTo>
                    <a:pt x="50" y="57"/>
                  </a:lnTo>
                  <a:lnTo>
                    <a:pt x="48" y="57"/>
                  </a:lnTo>
                  <a:lnTo>
                    <a:pt x="48" y="54"/>
                  </a:lnTo>
                  <a:lnTo>
                    <a:pt x="48" y="57"/>
                  </a:lnTo>
                  <a:lnTo>
                    <a:pt x="45" y="57"/>
                  </a:lnTo>
                  <a:lnTo>
                    <a:pt x="43" y="57"/>
                  </a:lnTo>
                  <a:lnTo>
                    <a:pt x="43" y="54"/>
                  </a:lnTo>
                  <a:lnTo>
                    <a:pt x="43" y="57"/>
                  </a:lnTo>
                  <a:lnTo>
                    <a:pt x="41" y="57"/>
                  </a:lnTo>
                  <a:lnTo>
                    <a:pt x="41" y="54"/>
                  </a:lnTo>
                  <a:lnTo>
                    <a:pt x="41" y="57"/>
                  </a:lnTo>
                  <a:lnTo>
                    <a:pt x="38" y="57"/>
                  </a:lnTo>
                  <a:lnTo>
                    <a:pt x="36" y="57"/>
                  </a:lnTo>
                  <a:lnTo>
                    <a:pt x="36" y="54"/>
                  </a:lnTo>
                  <a:lnTo>
                    <a:pt x="36" y="52"/>
                  </a:lnTo>
                  <a:lnTo>
                    <a:pt x="36" y="50"/>
                  </a:lnTo>
                  <a:lnTo>
                    <a:pt x="33" y="50"/>
                  </a:lnTo>
                  <a:lnTo>
                    <a:pt x="33" y="47"/>
                  </a:lnTo>
                  <a:lnTo>
                    <a:pt x="33" y="50"/>
                  </a:lnTo>
                  <a:lnTo>
                    <a:pt x="31" y="50"/>
                  </a:lnTo>
                  <a:lnTo>
                    <a:pt x="31" y="47"/>
                  </a:lnTo>
                  <a:lnTo>
                    <a:pt x="29" y="47"/>
                  </a:lnTo>
                  <a:lnTo>
                    <a:pt x="29" y="50"/>
                  </a:lnTo>
                  <a:lnTo>
                    <a:pt x="26" y="47"/>
                  </a:lnTo>
                  <a:lnTo>
                    <a:pt x="24" y="47"/>
                  </a:lnTo>
                  <a:lnTo>
                    <a:pt x="24" y="45"/>
                  </a:lnTo>
                  <a:lnTo>
                    <a:pt x="24" y="43"/>
                  </a:lnTo>
                  <a:lnTo>
                    <a:pt x="24" y="40"/>
                  </a:lnTo>
                  <a:lnTo>
                    <a:pt x="22" y="40"/>
                  </a:lnTo>
                  <a:lnTo>
                    <a:pt x="24" y="40"/>
                  </a:lnTo>
                  <a:lnTo>
                    <a:pt x="24" y="38"/>
                  </a:lnTo>
                  <a:lnTo>
                    <a:pt x="22" y="38"/>
                  </a:lnTo>
                  <a:lnTo>
                    <a:pt x="22" y="35"/>
                  </a:lnTo>
                  <a:lnTo>
                    <a:pt x="19" y="35"/>
                  </a:lnTo>
                  <a:lnTo>
                    <a:pt x="19" y="33"/>
                  </a:lnTo>
                  <a:lnTo>
                    <a:pt x="19" y="35"/>
                  </a:lnTo>
                  <a:lnTo>
                    <a:pt x="17" y="35"/>
                  </a:lnTo>
                  <a:lnTo>
                    <a:pt x="14" y="35"/>
                  </a:lnTo>
                  <a:lnTo>
                    <a:pt x="12" y="35"/>
                  </a:lnTo>
                  <a:lnTo>
                    <a:pt x="12" y="38"/>
                  </a:lnTo>
                  <a:lnTo>
                    <a:pt x="10" y="38"/>
                  </a:lnTo>
                  <a:lnTo>
                    <a:pt x="7" y="38"/>
                  </a:lnTo>
                  <a:lnTo>
                    <a:pt x="7" y="35"/>
                  </a:lnTo>
                  <a:lnTo>
                    <a:pt x="5" y="35"/>
                  </a:lnTo>
                  <a:lnTo>
                    <a:pt x="5" y="33"/>
                  </a:lnTo>
                  <a:lnTo>
                    <a:pt x="3" y="33"/>
                  </a:lnTo>
                  <a:lnTo>
                    <a:pt x="3" y="31"/>
                  </a:lnTo>
                  <a:lnTo>
                    <a:pt x="3" y="28"/>
                  </a:lnTo>
                  <a:lnTo>
                    <a:pt x="0" y="28"/>
                  </a:lnTo>
                  <a:lnTo>
                    <a:pt x="3" y="26"/>
                  </a:lnTo>
                  <a:lnTo>
                    <a:pt x="3" y="24"/>
                  </a:lnTo>
                  <a:lnTo>
                    <a:pt x="0" y="24"/>
                  </a:lnTo>
                  <a:lnTo>
                    <a:pt x="0" y="21"/>
                  </a:lnTo>
                  <a:lnTo>
                    <a:pt x="0" y="19"/>
                  </a:lnTo>
                  <a:lnTo>
                    <a:pt x="3" y="19"/>
                  </a:lnTo>
                  <a:lnTo>
                    <a:pt x="5" y="16"/>
                  </a:lnTo>
                  <a:lnTo>
                    <a:pt x="7" y="16"/>
                  </a:lnTo>
                  <a:lnTo>
                    <a:pt x="10" y="14"/>
                  </a:lnTo>
                  <a:lnTo>
                    <a:pt x="12" y="12"/>
                  </a:lnTo>
                  <a:lnTo>
                    <a:pt x="12" y="14"/>
                  </a:lnTo>
                  <a:lnTo>
                    <a:pt x="12" y="12"/>
                  </a:lnTo>
                  <a:lnTo>
                    <a:pt x="14" y="12"/>
                  </a:lnTo>
                  <a:lnTo>
                    <a:pt x="17" y="9"/>
                  </a:lnTo>
                  <a:lnTo>
                    <a:pt x="19" y="9"/>
                  </a:lnTo>
                  <a:lnTo>
                    <a:pt x="19" y="7"/>
                  </a:lnTo>
                  <a:lnTo>
                    <a:pt x="22" y="7"/>
                  </a:lnTo>
                  <a:lnTo>
                    <a:pt x="19" y="7"/>
                  </a:lnTo>
                  <a:lnTo>
                    <a:pt x="22" y="7"/>
                  </a:lnTo>
                  <a:lnTo>
                    <a:pt x="24" y="7"/>
                  </a:lnTo>
                  <a:lnTo>
                    <a:pt x="26" y="7"/>
                  </a:lnTo>
                  <a:lnTo>
                    <a:pt x="26" y="9"/>
                  </a:lnTo>
                  <a:lnTo>
                    <a:pt x="29" y="12"/>
                  </a:lnTo>
                  <a:lnTo>
                    <a:pt x="31" y="12"/>
                  </a:lnTo>
                  <a:lnTo>
                    <a:pt x="31" y="9"/>
                  </a:lnTo>
                  <a:lnTo>
                    <a:pt x="33" y="9"/>
                  </a:lnTo>
                  <a:lnTo>
                    <a:pt x="36" y="9"/>
                  </a:lnTo>
                  <a:lnTo>
                    <a:pt x="38" y="9"/>
                  </a:lnTo>
                  <a:lnTo>
                    <a:pt x="38" y="12"/>
                  </a:lnTo>
                  <a:lnTo>
                    <a:pt x="41" y="12"/>
                  </a:lnTo>
                  <a:lnTo>
                    <a:pt x="41" y="14"/>
                  </a:lnTo>
                  <a:lnTo>
                    <a:pt x="43" y="14"/>
                  </a:lnTo>
                  <a:lnTo>
                    <a:pt x="45" y="14"/>
                  </a:lnTo>
                  <a:lnTo>
                    <a:pt x="43" y="14"/>
                  </a:lnTo>
                  <a:lnTo>
                    <a:pt x="45" y="14"/>
                  </a:lnTo>
                  <a:lnTo>
                    <a:pt x="48" y="14"/>
                  </a:lnTo>
                  <a:lnTo>
                    <a:pt x="48" y="12"/>
                  </a:lnTo>
                  <a:lnTo>
                    <a:pt x="50" y="12"/>
                  </a:lnTo>
                  <a:lnTo>
                    <a:pt x="52" y="9"/>
                  </a:lnTo>
                  <a:lnTo>
                    <a:pt x="55" y="7"/>
                  </a:lnTo>
                  <a:lnTo>
                    <a:pt x="57" y="7"/>
                  </a:lnTo>
                  <a:lnTo>
                    <a:pt x="57" y="9"/>
                  </a:lnTo>
                  <a:lnTo>
                    <a:pt x="57" y="12"/>
                  </a:lnTo>
                  <a:lnTo>
                    <a:pt x="60" y="12"/>
                  </a:lnTo>
                  <a:lnTo>
                    <a:pt x="62" y="12"/>
                  </a:lnTo>
                  <a:lnTo>
                    <a:pt x="60" y="14"/>
                  </a:lnTo>
                  <a:lnTo>
                    <a:pt x="60" y="16"/>
                  </a:lnTo>
                  <a:lnTo>
                    <a:pt x="57" y="16"/>
                  </a:lnTo>
                  <a:lnTo>
                    <a:pt x="57" y="19"/>
                  </a:lnTo>
                  <a:lnTo>
                    <a:pt x="55" y="19"/>
                  </a:lnTo>
                  <a:lnTo>
                    <a:pt x="52" y="19"/>
                  </a:lnTo>
                  <a:lnTo>
                    <a:pt x="55" y="19"/>
                  </a:lnTo>
                  <a:lnTo>
                    <a:pt x="55" y="21"/>
                  </a:lnTo>
                  <a:lnTo>
                    <a:pt x="55" y="19"/>
                  </a:lnTo>
                  <a:lnTo>
                    <a:pt x="52" y="19"/>
                  </a:lnTo>
                  <a:lnTo>
                    <a:pt x="55" y="19"/>
                  </a:lnTo>
                  <a:lnTo>
                    <a:pt x="57" y="19"/>
                  </a:lnTo>
                  <a:lnTo>
                    <a:pt x="60" y="19"/>
                  </a:lnTo>
                  <a:lnTo>
                    <a:pt x="57" y="19"/>
                  </a:lnTo>
                  <a:lnTo>
                    <a:pt x="60" y="19"/>
                  </a:lnTo>
                  <a:lnTo>
                    <a:pt x="60" y="21"/>
                  </a:lnTo>
                  <a:lnTo>
                    <a:pt x="60" y="19"/>
                  </a:lnTo>
                  <a:lnTo>
                    <a:pt x="57" y="19"/>
                  </a:lnTo>
                  <a:lnTo>
                    <a:pt x="60" y="19"/>
                  </a:lnTo>
                  <a:lnTo>
                    <a:pt x="60" y="16"/>
                  </a:lnTo>
                  <a:lnTo>
                    <a:pt x="60" y="14"/>
                  </a:lnTo>
                  <a:lnTo>
                    <a:pt x="62" y="12"/>
                  </a:lnTo>
                  <a:lnTo>
                    <a:pt x="60" y="12"/>
                  </a:lnTo>
                  <a:lnTo>
                    <a:pt x="57" y="12"/>
                  </a:lnTo>
                  <a:lnTo>
                    <a:pt x="60" y="9"/>
                  </a:lnTo>
                  <a:lnTo>
                    <a:pt x="57" y="9"/>
                  </a:lnTo>
                  <a:lnTo>
                    <a:pt x="57" y="7"/>
                  </a:lnTo>
                  <a:lnTo>
                    <a:pt x="55" y="7"/>
                  </a:lnTo>
                  <a:lnTo>
                    <a:pt x="55" y="5"/>
                  </a:lnTo>
                  <a:lnTo>
                    <a:pt x="57" y="5"/>
                  </a:lnTo>
                  <a:lnTo>
                    <a:pt x="60" y="5"/>
                  </a:lnTo>
                  <a:lnTo>
                    <a:pt x="60" y="7"/>
                  </a:lnTo>
                  <a:lnTo>
                    <a:pt x="62" y="7"/>
                  </a:lnTo>
                  <a:lnTo>
                    <a:pt x="62" y="5"/>
                  </a:lnTo>
                  <a:lnTo>
                    <a:pt x="60" y="5"/>
                  </a:lnTo>
                  <a:lnTo>
                    <a:pt x="60" y="2"/>
                  </a:lnTo>
                  <a:lnTo>
                    <a:pt x="62" y="2"/>
                  </a:lnTo>
                  <a:lnTo>
                    <a:pt x="62" y="0"/>
                  </a:lnTo>
                  <a:lnTo>
                    <a:pt x="64" y="0"/>
                  </a:lnTo>
                  <a:lnTo>
                    <a:pt x="67" y="0"/>
                  </a:lnTo>
                  <a:lnTo>
                    <a:pt x="64" y="2"/>
                  </a:lnTo>
                  <a:lnTo>
                    <a:pt x="67" y="2"/>
                  </a:lnTo>
                  <a:lnTo>
                    <a:pt x="69" y="2"/>
                  </a:lnTo>
                  <a:lnTo>
                    <a:pt x="71" y="2"/>
                  </a:lnTo>
                  <a:lnTo>
                    <a:pt x="71" y="0"/>
                  </a:lnTo>
                  <a:lnTo>
                    <a:pt x="74" y="0"/>
                  </a:lnTo>
                  <a:lnTo>
                    <a:pt x="76" y="0"/>
                  </a:lnTo>
                  <a:lnTo>
                    <a:pt x="76" y="2"/>
                  </a:lnTo>
                  <a:lnTo>
                    <a:pt x="74"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6" name="Freeform 50279"/>
            <p:cNvSpPr>
              <a:spLocks noEditPoints="1"/>
            </p:cNvSpPr>
            <p:nvPr/>
          </p:nvSpPr>
          <p:spPr bwMode="auto">
            <a:xfrm>
              <a:off x="2849561" y="5056205"/>
              <a:ext cx="204788" cy="200025"/>
            </a:xfrm>
            <a:custGeom>
              <a:avLst/>
              <a:gdLst>
                <a:gd name="T0" fmla="*/ 43 w 129"/>
                <a:gd name="T1" fmla="*/ 2 h 126"/>
                <a:gd name="T2" fmla="*/ 43 w 129"/>
                <a:gd name="T3" fmla="*/ 5 h 126"/>
                <a:gd name="T4" fmla="*/ 53 w 129"/>
                <a:gd name="T5" fmla="*/ 5 h 126"/>
                <a:gd name="T6" fmla="*/ 57 w 129"/>
                <a:gd name="T7" fmla="*/ 9 h 126"/>
                <a:gd name="T8" fmla="*/ 62 w 129"/>
                <a:gd name="T9" fmla="*/ 7 h 126"/>
                <a:gd name="T10" fmla="*/ 69 w 129"/>
                <a:gd name="T11" fmla="*/ 12 h 126"/>
                <a:gd name="T12" fmla="*/ 79 w 129"/>
                <a:gd name="T13" fmla="*/ 7 h 126"/>
                <a:gd name="T14" fmla="*/ 86 w 129"/>
                <a:gd name="T15" fmla="*/ 9 h 126"/>
                <a:gd name="T16" fmla="*/ 93 w 129"/>
                <a:gd name="T17" fmla="*/ 9 h 126"/>
                <a:gd name="T18" fmla="*/ 98 w 129"/>
                <a:gd name="T19" fmla="*/ 12 h 126"/>
                <a:gd name="T20" fmla="*/ 102 w 129"/>
                <a:gd name="T21" fmla="*/ 14 h 126"/>
                <a:gd name="T22" fmla="*/ 102 w 129"/>
                <a:gd name="T23" fmla="*/ 21 h 126"/>
                <a:gd name="T24" fmla="*/ 114 w 129"/>
                <a:gd name="T25" fmla="*/ 19 h 126"/>
                <a:gd name="T26" fmla="*/ 121 w 129"/>
                <a:gd name="T27" fmla="*/ 19 h 126"/>
                <a:gd name="T28" fmla="*/ 119 w 129"/>
                <a:gd name="T29" fmla="*/ 28 h 126"/>
                <a:gd name="T30" fmla="*/ 114 w 129"/>
                <a:gd name="T31" fmla="*/ 35 h 126"/>
                <a:gd name="T32" fmla="*/ 112 w 129"/>
                <a:gd name="T33" fmla="*/ 40 h 126"/>
                <a:gd name="T34" fmla="*/ 119 w 129"/>
                <a:gd name="T35" fmla="*/ 47 h 126"/>
                <a:gd name="T36" fmla="*/ 121 w 129"/>
                <a:gd name="T37" fmla="*/ 54 h 126"/>
                <a:gd name="T38" fmla="*/ 129 w 129"/>
                <a:gd name="T39" fmla="*/ 59 h 126"/>
                <a:gd name="T40" fmla="*/ 119 w 129"/>
                <a:gd name="T41" fmla="*/ 62 h 126"/>
                <a:gd name="T42" fmla="*/ 117 w 129"/>
                <a:gd name="T43" fmla="*/ 64 h 126"/>
                <a:gd name="T44" fmla="*/ 124 w 129"/>
                <a:gd name="T45" fmla="*/ 71 h 126"/>
                <a:gd name="T46" fmla="*/ 124 w 129"/>
                <a:gd name="T47" fmla="*/ 78 h 126"/>
                <a:gd name="T48" fmla="*/ 124 w 129"/>
                <a:gd name="T49" fmla="*/ 78 h 126"/>
                <a:gd name="T50" fmla="*/ 119 w 129"/>
                <a:gd name="T51" fmla="*/ 78 h 126"/>
                <a:gd name="T52" fmla="*/ 112 w 129"/>
                <a:gd name="T53" fmla="*/ 83 h 126"/>
                <a:gd name="T54" fmla="*/ 107 w 129"/>
                <a:gd name="T55" fmla="*/ 85 h 126"/>
                <a:gd name="T56" fmla="*/ 112 w 129"/>
                <a:gd name="T57" fmla="*/ 92 h 126"/>
                <a:gd name="T58" fmla="*/ 107 w 129"/>
                <a:gd name="T59" fmla="*/ 90 h 126"/>
                <a:gd name="T60" fmla="*/ 98 w 129"/>
                <a:gd name="T61" fmla="*/ 95 h 126"/>
                <a:gd name="T62" fmla="*/ 95 w 129"/>
                <a:gd name="T63" fmla="*/ 104 h 126"/>
                <a:gd name="T64" fmla="*/ 91 w 129"/>
                <a:gd name="T65" fmla="*/ 116 h 126"/>
                <a:gd name="T66" fmla="*/ 95 w 129"/>
                <a:gd name="T67" fmla="*/ 123 h 126"/>
                <a:gd name="T68" fmla="*/ 86 w 129"/>
                <a:gd name="T69" fmla="*/ 123 h 126"/>
                <a:gd name="T70" fmla="*/ 76 w 129"/>
                <a:gd name="T71" fmla="*/ 116 h 126"/>
                <a:gd name="T72" fmla="*/ 69 w 129"/>
                <a:gd name="T73" fmla="*/ 111 h 126"/>
                <a:gd name="T74" fmla="*/ 62 w 129"/>
                <a:gd name="T75" fmla="*/ 109 h 126"/>
                <a:gd name="T76" fmla="*/ 65 w 129"/>
                <a:gd name="T77" fmla="*/ 109 h 126"/>
                <a:gd name="T78" fmla="*/ 65 w 129"/>
                <a:gd name="T79" fmla="*/ 104 h 126"/>
                <a:gd name="T80" fmla="*/ 60 w 129"/>
                <a:gd name="T81" fmla="*/ 100 h 126"/>
                <a:gd name="T82" fmla="*/ 53 w 129"/>
                <a:gd name="T83" fmla="*/ 92 h 126"/>
                <a:gd name="T84" fmla="*/ 48 w 129"/>
                <a:gd name="T85" fmla="*/ 85 h 126"/>
                <a:gd name="T86" fmla="*/ 34 w 129"/>
                <a:gd name="T87" fmla="*/ 66 h 126"/>
                <a:gd name="T88" fmla="*/ 27 w 129"/>
                <a:gd name="T89" fmla="*/ 62 h 126"/>
                <a:gd name="T90" fmla="*/ 22 w 129"/>
                <a:gd name="T91" fmla="*/ 54 h 126"/>
                <a:gd name="T92" fmla="*/ 15 w 129"/>
                <a:gd name="T93" fmla="*/ 50 h 126"/>
                <a:gd name="T94" fmla="*/ 15 w 129"/>
                <a:gd name="T95" fmla="*/ 43 h 126"/>
                <a:gd name="T96" fmla="*/ 10 w 129"/>
                <a:gd name="T97" fmla="*/ 31 h 126"/>
                <a:gd name="T98" fmla="*/ 3 w 129"/>
                <a:gd name="T99" fmla="*/ 21 h 126"/>
                <a:gd name="T100" fmla="*/ 0 w 129"/>
                <a:gd name="T101" fmla="*/ 12 h 126"/>
                <a:gd name="T102" fmla="*/ 5 w 129"/>
                <a:gd name="T103" fmla="*/ 2 h 126"/>
                <a:gd name="T104" fmla="*/ 10 w 129"/>
                <a:gd name="T105" fmla="*/ 5 h 126"/>
                <a:gd name="T106" fmla="*/ 17 w 129"/>
                <a:gd name="T107" fmla="*/ 12 h 126"/>
                <a:gd name="T108" fmla="*/ 22 w 129"/>
                <a:gd name="T109" fmla="*/ 9 h 126"/>
                <a:gd name="T110" fmla="*/ 29 w 129"/>
                <a:gd name="T111" fmla="*/ 5 h 126"/>
                <a:gd name="T112" fmla="*/ 38 w 129"/>
                <a:gd name="T113" fmla="*/ 5 h 126"/>
                <a:gd name="T114" fmla="*/ 41 w 129"/>
                <a:gd name="T115"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 h="126">
                  <a:moveTo>
                    <a:pt x="124" y="81"/>
                  </a:moveTo>
                  <a:lnTo>
                    <a:pt x="121" y="81"/>
                  </a:lnTo>
                  <a:lnTo>
                    <a:pt x="124" y="81"/>
                  </a:lnTo>
                  <a:close/>
                  <a:moveTo>
                    <a:pt x="41" y="2"/>
                  </a:moveTo>
                  <a:lnTo>
                    <a:pt x="43" y="2"/>
                  </a:lnTo>
                  <a:lnTo>
                    <a:pt x="41" y="2"/>
                  </a:lnTo>
                  <a:lnTo>
                    <a:pt x="43" y="2"/>
                  </a:lnTo>
                  <a:lnTo>
                    <a:pt x="43" y="5"/>
                  </a:lnTo>
                  <a:lnTo>
                    <a:pt x="43" y="2"/>
                  </a:lnTo>
                  <a:lnTo>
                    <a:pt x="43" y="5"/>
                  </a:lnTo>
                  <a:lnTo>
                    <a:pt x="46" y="5"/>
                  </a:lnTo>
                  <a:lnTo>
                    <a:pt x="48" y="7"/>
                  </a:lnTo>
                  <a:lnTo>
                    <a:pt x="50" y="7"/>
                  </a:lnTo>
                  <a:lnTo>
                    <a:pt x="50" y="5"/>
                  </a:lnTo>
                  <a:lnTo>
                    <a:pt x="53" y="5"/>
                  </a:lnTo>
                  <a:lnTo>
                    <a:pt x="53" y="7"/>
                  </a:lnTo>
                  <a:lnTo>
                    <a:pt x="55" y="7"/>
                  </a:lnTo>
                  <a:lnTo>
                    <a:pt x="57" y="7"/>
                  </a:lnTo>
                  <a:lnTo>
                    <a:pt x="60" y="7"/>
                  </a:lnTo>
                  <a:lnTo>
                    <a:pt x="57" y="9"/>
                  </a:lnTo>
                  <a:lnTo>
                    <a:pt x="60" y="9"/>
                  </a:lnTo>
                  <a:lnTo>
                    <a:pt x="60" y="7"/>
                  </a:lnTo>
                  <a:lnTo>
                    <a:pt x="60" y="9"/>
                  </a:lnTo>
                  <a:lnTo>
                    <a:pt x="62" y="9"/>
                  </a:lnTo>
                  <a:lnTo>
                    <a:pt x="62" y="7"/>
                  </a:lnTo>
                  <a:lnTo>
                    <a:pt x="65" y="7"/>
                  </a:lnTo>
                  <a:lnTo>
                    <a:pt x="65" y="9"/>
                  </a:lnTo>
                  <a:lnTo>
                    <a:pt x="67" y="9"/>
                  </a:lnTo>
                  <a:lnTo>
                    <a:pt x="69" y="9"/>
                  </a:lnTo>
                  <a:lnTo>
                    <a:pt x="69" y="12"/>
                  </a:lnTo>
                  <a:lnTo>
                    <a:pt x="72" y="12"/>
                  </a:lnTo>
                  <a:lnTo>
                    <a:pt x="74" y="9"/>
                  </a:lnTo>
                  <a:lnTo>
                    <a:pt x="74" y="7"/>
                  </a:lnTo>
                  <a:lnTo>
                    <a:pt x="76" y="7"/>
                  </a:lnTo>
                  <a:lnTo>
                    <a:pt x="79" y="7"/>
                  </a:lnTo>
                  <a:lnTo>
                    <a:pt x="79" y="9"/>
                  </a:lnTo>
                  <a:lnTo>
                    <a:pt x="81" y="9"/>
                  </a:lnTo>
                  <a:lnTo>
                    <a:pt x="83" y="9"/>
                  </a:lnTo>
                  <a:lnTo>
                    <a:pt x="83" y="7"/>
                  </a:lnTo>
                  <a:lnTo>
                    <a:pt x="86" y="9"/>
                  </a:lnTo>
                  <a:lnTo>
                    <a:pt x="88" y="9"/>
                  </a:lnTo>
                  <a:lnTo>
                    <a:pt x="91" y="9"/>
                  </a:lnTo>
                  <a:lnTo>
                    <a:pt x="91" y="12"/>
                  </a:lnTo>
                  <a:lnTo>
                    <a:pt x="93" y="12"/>
                  </a:lnTo>
                  <a:lnTo>
                    <a:pt x="93" y="9"/>
                  </a:lnTo>
                  <a:lnTo>
                    <a:pt x="95" y="9"/>
                  </a:lnTo>
                  <a:lnTo>
                    <a:pt x="95" y="12"/>
                  </a:lnTo>
                  <a:lnTo>
                    <a:pt x="95" y="9"/>
                  </a:lnTo>
                  <a:lnTo>
                    <a:pt x="95" y="12"/>
                  </a:lnTo>
                  <a:lnTo>
                    <a:pt x="98" y="12"/>
                  </a:lnTo>
                  <a:lnTo>
                    <a:pt x="98" y="9"/>
                  </a:lnTo>
                  <a:lnTo>
                    <a:pt x="98" y="12"/>
                  </a:lnTo>
                  <a:lnTo>
                    <a:pt x="100" y="12"/>
                  </a:lnTo>
                  <a:lnTo>
                    <a:pt x="100" y="14"/>
                  </a:lnTo>
                  <a:lnTo>
                    <a:pt x="102" y="14"/>
                  </a:lnTo>
                  <a:lnTo>
                    <a:pt x="102" y="16"/>
                  </a:lnTo>
                  <a:lnTo>
                    <a:pt x="100" y="16"/>
                  </a:lnTo>
                  <a:lnTo>
                    <a:pt x="100" y="19"/>
                  </a:lnTo>
                  <a:lnTo>
                    <a:pt x="102" y="19"/>
                  </a:lnTo>
                  <a:lnTo>
                    <a:pt x="102" y="21"/>
                  </a:lnTo>
                  <a:lnTo>
                    <a:pt x="105" y="21"/>
                  </a:lnTo>
                  <a:lnTo>
                    <a:pt x="107" y="21"/>
                  </a:lnTo>
                  <a:lnTo>
                    <a:pt x="110" y="21"/>
                  </a:lnTo>
                  <a:lnTo>
                    <a:pt x="112" y="19"/>
                  </a:lnTo>
                  <a:lnTo>
                    <a:pt x="114" y="19"/>
                  </a:lnTo>
                  <a:lnTo>
                    <a:pt x="114" y="16"/>
                  </a:lnTo>
                  <a:lnTo>
                    <a:pt x="114" y="19"/>
                  </a:lnTo>
                  <a:lnTo>
                    <a:pt x="117" y="19"/>
                  </a:lnTo>
                  <a:lnTo>
                    <a:pt x="119" y="19"/>
                  </a:lnTo>
                  <a:lnTo>
                    <a:pt x="121" y="19"/>
                  </a:lnTo>
                  <a:lnTo>
                    <a:pt x="121" y="21"/>
                  </a:lnTo>
                  <a:lnTo>
                    <a:pt x="119" y="21"/>
                  </a:lnTo>
                  <a:lnTo>
                    <a:pt x="119" y="24"/>
                  </a:lnTo>
                  <a:lnTo>
                    <a:pt x="119" y="26"/>
                  </a:lnTo>
                  <a:lnTo>
                    <a:pt x="119" y="28"/>
                  </a:lnTo>
                  <a:lnTo>
                    <a:pt x="117" y="28"/>
                  </a:lnTo>
                  <a:lnTo>
                    <a:pt x="117" y="31"/>
                  </a:lnTo>
                  <a:lnTo>
                    <a:pt x="117" y="33"/>
                  </a:lnTo>
                  <a:lnTo>
                    <a:pt x="114" y="33"/>
                  </a:lnTo>
                  <a:lnTo>
                    <a:pt x="114" y="35"/>
                  </a:lnTo>
                  <a:lnTo>
                    <a:pt x="112" y="35"/>
                  </a:lnTo>
                  <a:lnTo>
                    <a:pt x="112" y="38"/>
                  </a:lnTo>
                  <a:lnTo>
                    <a:pt x="114" y="38"/>
                  </a:lnTo>
                  <a:lnTo>
                    <a:pt x="114" y="40"/>
                  </a:lnTo>
                  <a:lnTo>
                    <a:pt x="112" y="40"/>
                  </a:lnTo>
                  <a:lnTo>
                    <a:pt x="112" y="43"/>
                  </a:lnTo>
                  <a:lnTo>
                    <a:pt x="112" y="45"/>
                  </a:lnTo>
                  <a:lnTo>
                    <a:pt x="114" y="47"/>
                  </a:lnTo>
                  <a:lnTo>
                    <a:pt x="117" y="47"/>
                  </a:lnTo>
                  <a:lnTo>
                    <a:pt x="119" y="47"/>
                  </a:lnTo>
                  <a:lnTo>
                    <a:pt x="119" y="50"/>
                  </a:lnTo>
                  <a:lnTo>
                    <a:pt x="121" y="50"/>
                  </a:lnTo>
                  <a:lnTo>
                    <a:pt x="119" y="50"/>
                  </a:lnTo>
                  <a:lnTo>
                    <a:pt x="121" y="52"/>
                  </a:lnTo>
                  <a:lnTo>
                    <a:pt x="121" y="54"/>
                  </a:lnTo>
                  <a:lnTo>
                    <a:pt x="124" y="54"/>
                  </a:lnTo>
                  <a:lnTo>
                    <a:pt x="126" y="57"/>
                  </a:lnTo>
                  <a:lnTo>
                    <a:pt x="129" y="59"/>
                  </a:lnTo>
                  <a:lnTo>
                    <a:pt x="129" y="57"/>
                  </a:lnTo>
                  <a:lnTo>
                    <a:pt x="129" y="59"/>
                  </a:lnTo>
                  <a:lnTo>
                    <a:pt x="126" y="59"/>
                  </a:lnTo>
                  <a:lnTo>
                    <a:pt x="126" y="62"/>
                  </a:lnTo>
                  <a:lnTo>
                    <a:pt x="124" y="62"/>
                  </a:lnTo>
                  <a:lnTo>
                    <a:pt x="121" y="62"/>
                  </a:lnTo>
                  <a:lnTo>
                    <a:pt x="119" y="62"/>
                  </a:lnTo>
                  <a:lnTo>
                    <a:pt x="119" y="59"/>
                  </a:lnTo>
                  <a:lnTo>
                    <a:pt x="119" y="62"/>
                  </a:lnTo>
                  <a:lnTo>
                    <a:pt x="117" y="59"/>
                  </a:lnTo>
                  <a:lnTo>
                    <a:pt x="117" y="62"/>
                  </a:lnTo>
                  <a:lnTo>
                    <a:pt x="117" y="64"/>
                  </a:lnTo>
                  <a:lnTo>
                    <a:pt x="119" y="64"/>
                  </a:lnTo>
                  <a:lnTo>
                    <a:pt x="119" y="66"/>
                  </a:lnTo>
                  <a:lnTo>
                    <a:pt x="121" y="69"/>
                  </a:lnTo>
                  <a:lnTo>
                    <a:pt x="121" y="71"/>
                  </a:lnTo>
                  <a:lnTo>
                    <a:pt x="124" y="71"/>
                  </a:lnTo>
                  <a:lnTo>
                    <a:pt x="124" y="73"/>
                  </a:lnTo>
                  <a:lnTo>
                    <a:pt x="126" y="73"/>
                  </a:lnTo>
                  <a:lnTo>
                    <a:pt x="126" y="76"/>
                  </a:lnTo>
                  <a:lnTo>
                    <a:pt x="126" y="78"/>
                  </a:lnTo>
                  <a:lnTo>
                    <a:pt x="124" y="78"/>
                  </a:lnTo>
                  <a:lnTo>
                    <a:pt x="124" y="76"/>
                  </a:lnTo>
                  <a:lnTo>
                    <a:pt x="124" y="78"/>
                  </a:lnTo>
                  <a:lnTo>
                    <a:pt x="126" y="78"/>
                  </a:lnTo>
                  <a:lnTo>
                    <a:pt x="124" y="81"/>
                  </a:lnTo>
                  <a:lnTo>
                    <a:pt x="124" y="78"/>
                  </a:lnTo>
                  <a:lnTo>
                    <a:pt x="121" y="81"/>
                  </a:lnTo>
                  <a:lnTo>
                    <a:pt x="121" y="78"/>
                  </a:lnTo>
                  <a:lnTo>
                    <a:pt x="121" y="81"/>
                  </a:lnTo>
                  <a:lnTo>
                    <a:pt x="121" y="78"/>
                  </a:lnTo>
                  <a:lnTo>
                    <a:pt x="119" y="78"/>
                  </a:lnTo>
                  <a:lnTo>
                    <a:pt x="117" y="78"/>
                  </a:lnTo>
                  <a:lnTo>
                    <a:pt x="117" y="81"/>
                  </a:lnTo>
                  <a:lnTo>
                    <a:pt x="117" y="83"/>
                  </a:lnTo>
                  <a:lnTo>
                    <a:pt x="114" y="83"/>
                  </a:lnTo>
                  <a:lnTo>
                    <a:pt x="112" y="83"/>
                  </a:lnTo>
                  <a:lnTo>
                    <a:pt x="110" y="83"/>
                  </a:lnTo>
                  <a:lnTo>
                    <a:pt x="110" y="81"/>
                  </a:lnTo>
                  <a:lnTo>
                    <a:pt x="107" y="81"/>
                  </a:lnTo>
                  <a:lnTo>
                    <a:pt x="107" y="83"/>
                  </a:lnTo>
                  <a:lnTo>
                    <a:pt x="107" y="85"/>
                  </a:lnTo>
                  <a:lnTo>
                    <a:pt x="110" y="85"/>
                  </a:lnTo>
                  <a:lnTo>
                    <a:pt x="110" y="88"/>
                  </a:lnTo>
                  <a:lnTo>
                    <a:pt x="110" y="90"/>
                  </a:lnTo>
                  <a:lnTo>
                    <a:pt x="112" y="90"/>
                  </a:lnTo>
                  <a:lnTo>
                    <a:pt x="112" y="92"/>
                  </a:lnTo>
                  <a:lnTo>
                    <a:pt x="110" y="92"/>
                  </a:lnTo>
                  <a:lnTo>
                    <a:pt x="110" y="95"/>
                  </a:lnTo>
                  <a:lnTo>
                    <a:pt x="107" y="95"/>
                  </a:lnTo>
                  <a:lnTo>
                    <a:pt x="107" y="92"/>
                  </a:lnTo>
                  <a:lnTo>
                    <a:pt x="107" y="90"/>
                  </a:lnTo>
                  <a:lnTo>
                    <a:pt x="105" y="90"/>
                  </a:lnTo>
                  <a:lnTo>
                    <a:pt x="102" y="90"/>
                  </a:lnTo>
                  <a:lnTo>
                    <a:pt x="102" y="92"/>
                  </a:lnTo>
                  <a:lnTo>
                    <a:pt x="100" y="92"/>
                  </a:lnTo>
                  <a:lnTo>
                    <a:pt x="98" y="95"/>
                  </a:lnTo>
                  <a:lnTo>
                    <a:pt x="98" y="97"/>
                  </a:lnTo>
                  <a:lnTo>
                    <a:pt x="98" y="100"/>
                  </a:lnTo>
                  <a:lnTo>
                    <a:pt x="98" y="102"/>
                  </a:lnTo>
                  <a:lnTo>
                    <a:pt x="98" y="104"/>
                  </a:lnTo>
                  <a:lnTo>
                    <a:pt x="95" y="104"/>
                  </a:lnTo>
                  <a:lnTo>
                    <a:pt x="93" y="107"/>
                  </a:lnTo>
                  <a:lnTo>
                    <a:pt x="93" y="109"/>
                  </a:lnTo>
                  <a:lnTo>
                    <a:pt x="93" y="111"/>
                  </a:lnTo>
                  <a:lnTo>
                    <a:pt x="91" y="114"/>
                  </a:lnTo>
                  <a:lnTo>
                    <a:pt x="91" y="116"/>
                  </a:lnTo>
                  <a:lnTo>
                    <a:pt x="91" y="119"/>
                  </a:lnTo>
                  <a:lnTo>
                    <a:pt x="93" y="119"/>
                  </a:lnTo>
                  <a:lnTo>
                    <a:pt x="93" y="121"/>
                  </a:lnTo>
                  <a:lnTo>
                    <a:pt x="95" y="121"/>
                  </a:lnTo>
                  <a:lnTo>
                    <a:pt x="95" y="123"/>
                  </a:lnTo>
                  <a:lnTo>
                    <a:pt x="93" y="123"/>
                  </a:lnTo>
                  <a:lnTo>
                    <a:pt x="91" y="126"/>
                  </a:lnTo>
                  <a:lnTo>
                    <a:pt x="88" y="126"/>
                  </a:lnTo>
                  <a:lnTo>
                    <a:pt x="88" y="123"/>
                  </a:lnTo>
                  <a:lnTo>
                    <a:pt x="86" y="123"/>
                  </a:lnTo>
                  <a:lnTo>
                    <a:pt x="83" y="123"/>
                  </a:lnTo>
                  <a:lnTo>
                    <a:pt x="81" y="121"/>
                  </a:lnTo>
                  <a:lnTo>
                    <a:pt x="79" y="121"/>
                  </a:lnTo>
                  <a:lnTo>
                    <a:pt x="76" y="119"/>
                  </a:lnTo>
                  <a:lnTo>
                    <a:pt x="76" y="116"/>
                  </a:lnTo>
                  <a:lnTo>
                    <a:pt x="74" y="116"/>
                  </a:lnTo>
                  <a:lnTo>
                    <a:pt x="72" y="116"/>
                  </a:lnTo>
                  <a:lnTo>
                    <a:pt x="72" y="114"/>
                  </a:lnTo>
                  <a:lnTo>
                    <a:pt x="72" y="111"/>
                  </a:lnTo>
                  <a:lnTo>
                    <a:pt x="69" y="111"/>
                  </a:lnTo>
                  <a:lnTo>
                    <a:pt x="67" y="109"/>
                  </a:lnTo>
                  <a:lnTo>
                    <a:pt x="67" y="111"/>
                  </a:lnTo>
                  <a:lnTo>
                    <a:pt x="65" y="111"/>
                  </a:lnTo>
                  <a:lnTo>
                    <a:pt x="62" y="111"/>
                  </a:lnTo>
                  <a:lnTo>
                    <a:pt x="62" y="109"/>
                  </a:lnTo>
                  <a:lnTo>
                    <a:pt x="60" y="109"/>
                  </a:lnTo>
                  <a:lnTo>
                    <a:pt x="62" y="109"/>
                  </a:lnTo>
                  <a:lnTo>
                    <a:pt x="62" y="111"/>
                  </a:lnTo>
                  <a:lnTo>
                    <a:pt x="62" y="109"/>
                  </a:lnTo>
                  <a:lnTo>
                    <a:pt x="65" y="109"/>
                  </a:lnTo>
                  <a:lnTo>
                    <a:pt x="67" y="107"/>
                  </a:lnTo>
                  <a:lnTo>
                    <a:pt x="65" y="104"/>
                  </a:lnTo>
                  <a:lnTo>
                    <a:pt x="67" y="104"/>
                  </a:lnTo>
                  <a:lnTo>
                    <a:pt x="65" y="102"/>
                  </a:lnTo>
                  <a:lnTo>
                    <a:pt x="65" y="104"/>
                  </a:lnTo>
                  <a:lnTo>
                    <a:pt x="67" y="104"/>
                  </a:lnTo>
                  <a:lnTo>
                    <a:pt x="65" y="104"/>
                  </a:lnTo>
                  <a:lnTo>
                    <a:pt x="65" y="102"/>
                  </a:lnTo>
                  <a:lnTo>
                    <a:pt x="62" y="100"/>
                  </a:lnTo>
                  <a:lnTo>
                    <a:pt x="60" y="100"/>
                  </a:lnTo>
                  <a:lnTo>
                    <a:pt x="57" y="100"/>
                  </a:lnTo>
                  <a:lnTo>
                    <a:pt x="57" y="97"/>
                  </a:lnTo>
                  <a:lnTo>
                    <a:pt x="57" y="95"/>
                  </a:lnTo>
                  <a:lnTo>
                    <a:pt x="55" y="95"/>
                  </a:lnTo>
                  <a:lnTo>
                    <a:pt x="53" y="92"/>
                  </a:lnTo>
                  <a:lnTo>
                    <a:pt x="53" y="90"/>
                  </a:lnTo>
                  <a:lnTo>
                    <a:pt x="53" y="88"/>
                  </a:lnTo>
                  <a:lnTo>
                    <a:pt x="53" y="85"/>
                  </a:lnTo>
                  <a:lnTo>
                    <a:pt x="50" y="85"/>
                  </a:lnTo>
                  <a:lnTo>
                    <a:pt x="48" y="85"/>
                  </a:lnTo>
                  <a:lnTo>
                    <a:pt x="48" y="83"/>
                  </a:lnTo>
                  <a:lnTo>
                    <a:pt x="38" y="73"/>
                  </a:lnTo>
                  <a:lnTo>
                    <a:pt x="34" y="71"/>
                  </a:lnTo>
                  <a:lnTo>
                    <a:pt x="34" y="69"/>
                  </a:lnTo>
                  <a:lnTo>
                    <a:pt x="34" y="66"/>
                  </a:lnTo>
                  <a:lnTo>
                    <a:pt x="31" y="66"/>
                  </a:lnTo>
                  <a:lnTo>
                    <a:pt x="31" y="64"/>
                  </a:lnTo>
                  <a:lnTo>
                    <a:pt x="29" y="64"/>
                  </a:lnTo>
                  <a:lnTo>
                    <a:pt x="29" y="62"/>
                  </a:lnTo>
                  <a:lnTo>
                    <a:pt x="27" y="62"/>
                  </a:lnTo>
                  <a:lnTo>
                    <a:pt x="27" y="59"/>
                  </a:lnTo>
                  <a:lnTo>
                    <a:pt x="24" y="59"/>
                  </a:lnTo>
                  <a:lnTo>
                    <a:pt x="24" y="57"/>
                  </a:lnTo>
                  <a:lnTo>
                    <a:pt x="22" y="57"/>
                  </a:lnTo>
                  <a:lnTo>
                    <a:pt x="22" y="54"/>
                  </a:lnTo>
                  <a:lnTo>
                    <a:pt x="19" y="54"/>
                  </a:lnTo>
                  <a:lnTo>
                    <a:pt x="19" y="52"/>
                  </a:lnTo>
                  <a:lnTo>
                    <a:pt x="17" y="52"/>
                  </a:lnTo>
                  <a:lnTo>
                    <a:pt x="17" y="50"/>
                  </a:lnTo>
                  <a:lnTo>
                    <a:pt x="15" y="50"/>
                  </a:lnTo>
                  <a:lnTo>
                    <a:pt x="15" y="47"/>
                  </a:lnTo>
                  <a:lnTo>
                    <a:pt x="15" y="45"/>
                  </a:lnTo>
                  <a:lnTo>
                    <a:pt x="17" y="45"/>
                  </a:lnTo>
                  <a:lnTo>
                    <a:pt x="17" y="43"/>
                  </a:lnTo>
                  <a:lnTo>
                    <a:pt x="15" y="43"/>
                  </a:lnTo>
                  <a:lnTo>
                    <a:pt x="15" y="40"/>
                  </a:lnTo>
                  <a:lnTo>
                    <a:pt x="15" y="38"/>
                  </a:lnTo>
                  <a:lnTo>
                    <a:pt x="15" y="35"/>
                  </a:lnTo>
                  <a:lnTo>
                    <a:pt x="12" y="35"/>
                  </a:lnTo>
                  <a:lnTo>
                    <a:pt x="10" y="31"/>
                  </a:lnTo>
                  <a:lnTo>
                    <a:pt x="8" y="28"/>
                  </a:lnTo>
                  <a:lnTo>
                    <a:pt x="8" y="26"/>
                  </a:lnTo>
                  <a:lnTo>
                    <a:pt x="5" y="26"/>
                  </a:lnTo>
                  <a:lnTo>
                    <a:pt x="5" y="24"/>
                  </a:lnTo>
                  <a:lnTo>
                    <a:pt x="3" y="21"/>
                  </a:lnTo>
                  <a:lnTo>
                    <a:pt x="3" y="19"/>
                  </a:lnTo>
                  <a:lnTo>
                    <a:pt x="0" y="19"/>
                  </a:lnTo>
                  <a:lnTo>
                    <a:pt x="0" y="16"/>
                  </a:lnTo>
                  <a:lnTo>
                    <a:pt x="0" y="14"/>
                  </a:lnTo>
                  <a:lnTo>
                    <a:pt x="0" y="12"/>
                  </a:lnTo>
                  <a:lnTo>
                    <a:pt x="3" y="12"/>
                  </a:lnTo>
                  <a:lnTo>
                    <a:pt x="3" y="9"/>
                  </a:lnTo>
                  <a:lnTo>
                    <a:pt x="3" y="7"/>
                  </a:lnTo>
                  <a:lnTo>
                    <a:pt x="3" y="5"/>
                  </a:lnTo>
                  <a:lnTo>
                    <a:pt x="5" y="2"/>
                  </a:lnTo>
                  <a:lnTo>
                    <a:pt x="5" y="5"/>
                  </a:lnTo>
                  <a:lnTo>
                    <a:pt x="5" y="2"/>
                  </a:lnTo>
                  <a:lnTo>
                    <a:pt x="8" y="2"/>
                  </a:lnTo>
                  <a:lnTo>
                    <a:pt x="8" y="5"/>
                  </a:lnTo>
                  <a:lnTo>
                    <a:pt x="10" y="5"/>
                  </a:lnTo>
                  <a:lnTo>
                    <a:pt x="12" y="7"/>
                  </a:lnTo>
                  <a:lnTo>
                    <a:pt x="12" y="9"/>
                  </a:lnTo>
                  <a:lnTo>
                    <a:pt x="15" y="9"/>
                  </a:lnTo>
                  <a:lnTo>
                    <a:pt x="15" y="12"/>
                  </a:lnTo>
                  <a:lnTo>
                    <a:pt x="17" y="12"/>
                  </a:lnTo>
                  <a:lnTo>
                    <a:pt x="17" y="14"/>
                  </a:lnTo>
                  <a:lnTo>
                    <a:pt x="19" y="14"/>
                  </a:lnTo>
                  <a:lnTo>
                    <a:pt x="22" y="14"/>
                  </a:lnTo>
                  <a:lnTo>
                    <a:pt x="22" y="12"/>
                  </a:lnTo>
                  <a:lnTo>
                    <a:pt x="22" y="9"/>
                  </a:lnTo>
                  <a:lnTo>
                    <a:pt x="24" y="7"/>
                  </a:lnTo>
                  <a:lnTo>
                    <a:pt x="24" y="5"/>
                  </a:lnTo>
                  <a:lnTo>
                    <a:pt x="27" y="5"/>
                  </a:lnTo>
                  <a:lnTo>
                    <a:pt x="27" y="2"/>
                  </a:lnTo>
                  <a:lnTo>
                    <a:pt x="29" y="5"/>
                  </a:lnTo>
                  <a:lnTo>
                    <a:pt x="29" y="2"/>
                  </a:lnTo>
                  <a:lnTo>
                    <a:pt x="31" y="5"/>
                  </a:lnTo>
                  <a:lnTo>
                    <a:pt x="34" y="5"/>
                  </a:lnTo>
                  <a:lnTo>
                    <a:pt x="36" y="5"/>
                  </a:lnTo>
                  <a:lnTo>
                    <a:pt x="38" y="5"/>
                  </a:lnTo>
                  <a:lnTo>
                    <a:pt x="36" y="5"/>
                  </a:lnTo>
                  <a:lnTo>
                    <a:pt x="38" y="2"/>
                  </a:lnTo>
                  <a:lnTo>
                    <a:pt x="36" y="2"/>
                  </a:lnTo>
                  <a:lnTo>
                    <a:pt x="38" y="2"/>
                  </a:lnTo>
                  <a:lnTo>
                    <a:pt x="41" y="2"/>
                  </a:lnTo>
                  <a:lnTo>
                    <a:pt x="41" y="0"/>
                  </a:lnTo>
                  <a:lnTo>
                    <a:pt x="41"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7" name="Freeform 50280"/>
            <p:cNvSpPr>
              <a:spLocks/>
            </p:cNvSpPr>
            <p:nvPr/>
          </p:nvSpPr>
          <p:spPr bwMode="auto">
            <a:xfrm>
              <a:off x="3197223" y="5135579"/>
              <a:ext cx="327025" cy="217488"/>
            </a:xfrm>
            <a:custGeom>
              <a:avLst/>
              <a:gdLst>
                <a:gd name="T0" fmla="*/ 23 w 206"/>
                <a:gd name="T1" fmla="*/ 7 h 137"/>
                <a:gd name="T2" fmla="*/ 19 w 206"/>
                <a:gd name="T3" fmla="*/ 19 h 137"/>
                <a:gd name="T4" fmla="*/ 35 w 206"/>
                <a:gd name="T5" fmla="*/ 16 h 137"/>
                <a:gd name="T6" fmla="*/ 47 w 206"/>
                <a:gd name="T7" fmla="*/ 21 h 137"/>
                <a:gd name="T8" fmla="*/ 61 w 206"/>
                <a:gd name="T9" fmla="*/ 23 h 137"/>
                <a:gd name="T10" fmla="*/ 76 w 206"/>
                <a:gd name="T11" fmla="*/ 23 h 137"/>
                <a:gd name="T12" fmla="*/ 90 w 206"/>
                <a:gd name="T13" fmla="*/ 26 h 137"/>
                <a:gd name="T14" fmla="*/ 104 w 206"/>
                <a:gd name="T15" fmla="*/ 26 h 137"/>
                <a:gd name="T16" fmla="*/ 118 w 206"/>
                <a:gd name="T17" fmla="*/ 19 h 137"/>
                <a:gd name="T18" fmla="*/ 128 w 206"/>
                <a:gd name="T19" fmla="*/ 9 h 137"/>
                <a:gd name="T20" fmla="*/ 147 w 206"/>
                <a:gd name="T21" fmla="*/ 7 h 137"/>
                <a:gd name="T22" fmla="*/ 163 w 206"/>
                <a:gd name="T23" fmla="*/ 4 h 137"/>
                <a:gd name="T24" fmla="*/ 178 w 206"/>
                <a:gd name="T25" fmla="*/ 12 h 137"/>
                <a:gd name="T26" fmla="*/ 197 w 206"/>
                <a:gd name="T27" fmla="*/ 21 h 137"/>
                <a:gd name="T28" fmla="*/ 206 w 206"/>
                <a:gd name="T29" fmla="*/ 33 h 137"/>
                <a:gd name="T30" fmla="*/ 197 w 206"/>
                <a:gd name="T31" fmla="*/ 38 h 137"/>
                <a:gd name="T32" fmla="*/ 187 w 206"/>
                <a:gd name="T33" fmla="*/ 47 h 137"/>
                <a:gd name="T34" fmla="*/ 182 w 206"/>
                <a:gd name="T35" fmla="*/ 47 h 137"/>
                <a:gd name="T36" fmla="*/ 182 w 206"/>
                <a:gd name="T37" fmla="*/ 59 h 137"/>
                <a:gd name="T38" fmla="*/ 178 w 206"/>
                <a:gd name="T39" fmla="*/ 73 h 137"/>
                <a:gd name="T40" fmla="*/ 173 w 206"/>
                <a:gd name="T41" fmla="*/ 76 h 137"/>
                <a:gd name="T42" fmla="*/ 168 w 206"/>
                <a:gd name="T43" fmla="*/ 80 h 137"/>
                <a:gd name="T44" fmla="*/ 175 w 206"/>
                <a:gd name="T45" fmla="*/ 80 h 137"/>
                <a:gd name="T46" fmla="*/ 178 w 206"/>
                <a:gd name="T47" fmla="*/ 83 h 137"/>
                <a:gd name="T48" fmla="*/ 178 w 206"/>
                <a:gd name="T49" fmla="*/ 92 h 137"/>
                <a:gd name="T50" fmla="*/ 185 w 206"/>
                <a:gd name="T51" fmla="*/ 97 h 137"/>
                <a:gd name="T52" fmla="*/ 185 w 206"/>
                <a:gd name="T53" fmla="*/ 102 h 137"/>
                <a:gd name="T54" fmla="*/ 178 w 206"/>
                <a:gd name="T55" fmla="*/ 104 h 137"/>
                <a:gd name="T56" fmla="*/ 168 w 206"/>
                <a:gd name="T57" fmla="*/ 104 h 137"/>
                <a:gd name="T58" fmla="*/ 159 w 206"/>
                <a:gd name="T59" fmla="*/ 99 h 137"/>
                <a:gd name="T60" fmla="*/ 154 w 206"/>
                <a:gd name="T61" fmla="*/ 102 h 137"/>
                <a:gd name="T62" fmla="*/ 142 w 206"/>
                <a:gd name="T63" fmla="*/ 104 h 137"/>
                <a:gd name="T64" fmla="*/ 130 w 206"/>
                <a:gd name="T65" fmla="*/ 114 h 137"/>
                <a:gd name="T66" fmla="*/ 123 w 206"/>
                <a:gd name="T67" fmla="*/ 118 h 137"/>
                <a:gd name="T68" fmla="*/ 125 w 206"/>
                <a:gd name="T69" fmla="*/ 133 h 137"/>
                <a:gd name="T70" fmla="*/ 116 w 206"/>
                <a:gd name="T71" fmla="*/ 133 h 137"/>
                <a:gd name="T72" fmla="*/ 107 w 206"/>
                <a:gd name="T73" fmla="*/ 133 h 137"/>
                <a:gd name="T74" fmla="*/ 95 w 206"/>
                <a:gd name="T75" fmla="*/ 135 h 137"/>
                <a:gd name="T76" fmla="*/ 80 w 206"/>
                <a:gd name="T77" fmla="*/ 130 h 137"/>
                <a:gd name="T78" fmla="*/ 73 w 206"/>
                <a:gd name="T79" fmla="*/ 123 h 137"/>
                <a:gd name="T80" fmla="*/ 59 w 206"/>
                <a:gd name="T81" fmla="*/ 126 h 137"/>
                <a:gd name="T82" fmla="*/ 52 w 206"/>
                <a:gd name="T83" fmla="*/ 128 h 137"/>
                <a:gd name="T84" fmla="*/ 40 w 206"/>
                <a:gd name="T85" fmla="*/ 130 h 137"/>
                <a:gd name="T86" fmla="*/ 23 w 206"/>
                <a:gd name="T87" fmla="*/ 133 h 137"/>
                <a:gd name="T88" fmla="*/ 21 w 206"/>
                <a:gd name="T89" fmla="*/ 121 h 137"/>
                <a:gd name="T90" fmla="*/ 21 w 206"/>
                <a:gd name="T91" fmla="*/ 111 h 137"/>
                <a:gd name="T92" fmla="*/ 12 w 206"/>
                <a:gd name="T93" fmla="*/ 99 h 137"/>
                <a:gd name="T94" fmla="*/ 2 w 206"/>
                <a:gd name="T95" fmla="*/ 88 h 137"/>
                <a:gd name="T96" fmla="*/ 4 w 206"/>
                <a:gd name="T97" fmla="*/ 78 h 137"/>
                <a:gd name="T98" fmla="*/ 2 w 206"/>
                <a:gd name="T99" fmla="*/ 64 h 137"/>
                <a:gd name="T100" fmla="*/ 14 w 206"/>
                <a:gd name="T101" fmla="*/ 61 h 137"/>
                <a:gd name="T102" fmla="*/ 21 w 206"/>
                <a:gd name="T103" fmla="*/ 50 h 137"/>
                <a:gd name="T104" fmla="*/ 14 w 206"/>
                <a:gd name="T105" fmla="*/ 38 h 137"/>
                <a:gd name="T106" fmla="*/ 4 w 206"/>
                <a:gd name="T107" fmla="*/ 33 h 137"/>
                <a:gd name="T108" fmla="*/ 0 w 206"/>
                <a:gd name="T109" fmla="*/ 16 h 137"/>
                <a:gd name="T110" fmla="*/ 9 w 206"/>
                <a:gd name="T111" fmla="*/ 7 h 137"/>
                <a:gd name="T112" fmla="*/ 12 w 206"/>
                <a:gd name="T11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6" h="137">
                  <a:moveTo>
                    <a:pt x="12" y="0"/>
                  </a:moveTo>
                  <a:lnTo>
                    <a:pt x="14" y="2"/>
                  </a:lnTo>
                  <a:lnTo>
                    <a:pt x="16" y="2"/>
                  </a:lnTo>
                  <a:lnTo>
                    <a:pt x="16" y="4"/>
                  </a:lnTo>
                  <a:lnTo>
                    <a:pt x="19" y="4"/>
                  </a:lnTo>
                  <a:lnTo>
                    <a:pt x="19" y="7"/>
                  </a:lnTo>
                  <a:lnTo>
                    <a:pt x="21" y="7"/>
                  </a:lnTo>
                  <a:lnTo>
                    <a:pt x="23" y="7"/>
                  </a:lnTo>
                  <a:lnTo>
                    <a:pt x="21" y="9"/>
                  </a:lnTo>
                  <a:lnTo>
                    <a:pt x="19" y="9"/>
                  </a:lnTo>
                  <a:lnTo>
                    <a:pt x="19" y="12"/>
                  </a:lnTo>
                  <a:lnTo>
                    <a:pt x="16" y="12"/>
                  </a:lnTo>
                  <a:lnTo>
                    <a:pt x="16" y="14"/>
                  </a:lnTo>
                  <a:lnTo>
                    <a:pt x="16" y="16"/>
                  </a:lnTo>
                  <a:lnTo>
                    <a:pt x="16" y="19"/>
                  </a:lnTo>
                  <a:lnTo>
                    <a:pt x="19" y="19"/>
                  </a:lnTo>
                  <a:lnTo>
                    <a:pt x="21" y="19"/>
                  </a:lnTo>
                  <a:lnTo>
                    <a:pt x="23" y="19"/>
                  </a:lnTo>
                  <a:lnTo>
                    <a:pt x="26" y="19"/>
                  </a:lnTo>
                  <a:lnTo>
                    <a:pt x="28" y="19"/>
                  </a:lnTo>
                  <a:lnTo>
                    <a:pt x="31" y="19"/>
                  </a:lnTo>
                  <a:lnTo>
                    <a:pt x="31" y="16"/>
                  </a:lnTo>
                  <a:lnTo>
                    <a:pt x="33" y="16"/>
                  </a:lnTo>
                  <a:lnTo>
                    <a:pt x="35" y="16"/>
                  </a:lnTo>
                  <a:lnTo>
                    <a:pt x="38" y="19"/>
                  </a:lnTo>
                  <a:lnTo>
                    <a:pt x="40" y="19"/>
                  </a:lnTo>
                  <a:lnTo>
                    <a:pt x="42" y="19"/>
                  </a:lnTo>
                  <a:lnTo>
                    <a:pt x="42" y="21"/>
                  </a:lnTo>
                  <a:lnTo>
                    <a:pt x="42" y="19"/>
                  </a:lnTo>
                  <a:lnTo>
                    <a:pt x="45" y="19"/>
                  </a:lnTo>
                  <a:lnTo>
                    <a:pt x="47" y="19"/>
                  </a:lnTo>
                  <a:lnTo>
                    <a:pt x="47" y="21"/>
                  </a:lnTo>
                  <a:lnTo>
                    <a:pt x="50" y="21"/>
                  </a:lnTo>
                  <a:lnTo>
                    <a:pt x="52" y="21"/>
                  </a:lnTo>
                  <a:lnTo>
                    <a:pt x="54" y="21"/>
                  </a:lnTo>
                  <a:lnTo>
                    <a:pt x="57" y="23"/>
                  </a:lnTo>
                  <a:lnTo>
                    <a:pt x="59" y="23"/>
                  </a:lnTo>
                  <a:lnTo>
                    <a:pt x="59" y="26"/>
                  </a:lnTo>
                  <a:lnTo>
                    <a:pt x="61" y="26"/>
                  </a:lnTo>
                  <a:lnTo>
                    <a:pt x="61" y="23"/>
                  </a:lnTo>
                  <a:lnTo>
                    <a:pt x="64" y="23"/>
                  </a:lnTo>
                  <a:lnTo>
                    <a:pt x="66" y="23"/>
                  </a:lnTo>
                  <a:lnTo>
                    <a:pt x="69" y="23"/>
                  </a:lnTo>
                  <a:lnTo>
                    <a:pt x="69" y="21"/>
                  </a:lnTo>
                  <a:lnTo>
                    <a:pt x="71" y="21"/>
                  </a:lnTo>
                  <a:lnTo>
                    <a:pt x="73" y="21"/>
                  </a:lnTo>
                  <a:lnTo>
                    <a:pt x="76" y="21"/>
                  </a:lnTo>
                  <a:lnTo>
                    <a:pt x="76" y="23"/>
                  </a:lnTo>
                  <a:lnTo>
                    <a:pt x="78" y="26"/>
                  </a:lnTo>
                  <a:lnTo>
                    <a:pt x="80" y="26"/>
                  </a:lnTo>
                  <a:lnTo>
                    <a:pt x="80" y="23"/>
                  </a:lnTo>
                  <a:lnTo>
                    <a:pt x="83" y="23"/>
                  </a:lnTo>
                  <a:lnTo>
                    <a:pt x="85" y="23"/>
                  </a:lnTo>
                  <a:lnTo>
                    <a:pt x="88" y="23"/>
                  </a:lnTo>
                  <a:lnTo>
                    <a:pt x="90" y="23"/>
                  </a:lnTo>
                  <a:lnTo>
                    <a:pt x="90" y="26"/>
                  </a:lnTo>
                  <a:lnTo>
                    <a:pt x="92" y="26"/>
                  </a:lnTo>
                  <a:lnTo>
                    <a:pt x="92" y="23"/>
                  </a:lnTo>
                  <a:lnTo>
                    <a:pt x="95" y="23"/>
                  </a:lnTo>
                  <a:lnTo>
                    <a:pt x="95" y="26"/>
                  </a:lnTo>
                  <a:lnTo>
                    <a:pt x="97" y="26"/>
                  </a:lnTo>
                  <a:lnTo>
                    <a:pt x="99" y="28"/>
                  </a:lnTo>
                  <a:lnTo>
                    <a:pt x="102" y="28"/>
                  </a:lnTo>
                  <a:lnTo>
                    <a:pt x="104" y="26"/>
                  </a:lnTo>
                  <a:lnTo>
                    <a:pt x="107" y="26"/>
                  </a:lnTo>
                  <a:lnTo>
                    <a:pt x="109" y="26"/>
                  </a:lnTo>
                  <a:lnTo>
                    <a:pt x="111" y="23"/>
                  </a:lnTo>
                  <a:lnTo>
                    <a:pt x="114" y="23"/>
                  </a:lnTo>
                  <a:lnTo>
                    <a:pt x="114" y="21"/>
                  </a:lnTo>
                  <a:lnTo>
                    <a:pt x="116" y="21"/>
                  </a:lnTo>
                  <a:lnTo>
                    <a:pt x="116" y="19"/>
                  </a:lnTo>
                  <a:lnTo>
                    <a:pt x="118" y="19"/>
                  </a:lnTo>
                  <a:lnTo>
                    <a:pt x="118" y="16"/>
                  </a:lnTo>
                  <a:lnTo>
                    <a:pt x="121" y="16"/>
                  </a:lnTo>
                  <a:lnTo>
                    <a:pt x="121" y="14"/>
                  </a:lnTo>
                  <a:lnTo>
                    <a:pt x="123" y="14"/>
                  </a:lnTo>
                  <a:lnTo>
                    <a:pt x="123" y="12"/>
                  </a:lnTo>
                  <a:lnTo>
                    <a:pt x="125" y="12"/>
                  </a:lnTo>
                  <a:lnTo>
                    <a:pt x="128" y="12"/>
                  </a:lnTo>
                  <a:lnTo>
                    <a:pt x="128" y="9"/>
                  </a:lnTo>
                  <a:lnTo>
                    <a:pt x="130" y="9"/>
                  </a:lnTo>
                  <a:lnTo>
                    <a:pt x="133" y="9"/>
                  </a:lnTo>
                  <a:lnTo>
                    <a:pt x="135" y="9"/>
                  </a:lnTo>
                  <a:lnTo>
                    <a:pt x="137" y="7"/>
                  </a:lnTo>
                  <a:lnTo>
                    <a:pt x="140" y="7"/>
                  </a:lnTo>
                  <a:lnTo>
                    <a:pt x="142" y="7"/>
                  </a:lnTo>
                  <a:lnTo>
                    <a:pt x="144" y="7"/>
                  </a:lnTo>
                  <a:lnTo>
                    <a:pt x="147" y="7"/>
                  </a:lnTo>
                  <a:lnTo>
                    <a:pt x="147" y="4"/>
                  </a:lnTo>
                  <a:lnTo>
                    <a:pt x="149" y="4"/>
                  </a:lnTo>
                  <a:lnTo>
                    <a:pt x="152" y="4"/>
                  </a:lnTo>
                  <a:lnTo>
                    <a:pt x="154" y="4"/>
                  </a:lnTo>
                  <a:lnTo>
                    <a:pt x="156" y="4"/>
                  </a:lnTo>
                  <a:lnTo>
                    <a:pt x="159" y="4"/>
                  </a:lnTo>
                  <a:lnTo>
                    <a:pt x="161" y="4"/>
                  </a:lnTo>
                  <a:lnTo>
                    <a:pt x="163" y="4"/>
                  </a:lnTo>
                  <a:lnTo>
                    <a:pt x="163" y="7"/>
                  </a:lnTo>
                  <a:lnTo>
                    <a:pt x="166" y="7"/>
                  </a:lnTo>
                  <a:lnTo>
                    <a:pt x="166" y="9"/>
                  </a:lnTo>
                  <a:lnTo>
                    <a:pt x="168" y="9"/>
                  </a:lnTo>
                  <a:lnTo>
                    <a:pt x="173" y="9"/>
                  </a:lnTo>
                  <a:lnTo>
                    <a:pt x="175" y="9"/>
                  </a:lnTo>
                  <a:lnTo>
                    <a:pt x="175" y="12"/>
                  </a:lnTo>
                  <a:lnTo>
                    <a:pt x="178" y="12"/>
                  </a:lnTo>
                  <a:lnTo>
                    <a:pt x="180" y="12"/>
                  </a:lnTo>
                  <a:lnTo>
                    <a:pt x="182" y="9"/>
                  </a:lnTo>
                  <a:lnTo>
                    <a:pt x="185" y="12"/>
                  </a:lnTo>
                  <a:lnTo>
                    <a:pt x="185" y="14"/>
                  </a:lnTo>
                  <a:lnTo>
                    <a:pt x="187" y="19"/>
                  </a:lnTo>
                  <a:lnTo>
                    <a:pt x="190" y="19"/>
                  </a:lnTo>
                  <a:lnTo>
                    <a:pt x="194" y="21"/>
                  </a:lnTo>
                  <a:lnTo>
                    <a:pt x="197" y="21"/>
                  </a:lnTo>
                  <a:lnTo>
                    <a:pt x="201" y="23"/>
                  </a:lnTo>
                  <a:lnTo>
                    <a:pt x="206" y="23"/>
                  </a:lnTo>
                  <a:lnTo>
                    <a:pt x="204" y="23"/>
                  </a:lnTo>
                  <a:lnTo>
                    <a:pt x="204" y="26"/>
                  </a:lnTo>
                  <a:lnTo>
                    <a:pt x="206" y="26"/>
                  </a:lnTo>
                  <a:lnTo>
                    <a:pt x="206" y="28"/>
                  </a:lnTo>
                  <a:lnTo>
                    <a:pt x="206" y="31"/>
                  </a:lnTo>
                  <a:lnTo>
                    <a:pt x="206" y="33"/>
                  </a:lnTo>
                  <a:lnTo>
                    <a:pt x="206" y="35"/>
                  </a:lnTo>
                  <a:lnTo>
                    <a:pt x="204" y="35"/>
                  </a:lnTo>
                  <a:lnTo>
                    <a:pt x="204" y="38"/>
                  </a:lnTo>
                  <a:lnTo>
                    <a:pt x="201" y="38"/>
                  </a:lnTo>
                  <a:lnTo>
                    <a:pt x="201" y="40"/>
                  </a:lnTo>
                  <a:lnTo>
                    <a:pt x="201" y="38"/>
                  </a:lnTo>
                  <a:lnTo>
                    <a:pt x="199" y="38"/>
                  </a:lnTo>
                  <a:lnTo>
                    <a:pt x="197" y="38"/>
                  </a:lnTo>
                  <a:lnTo>
                    <a:pt x="194" y="38"/>
                  </a:lnTo>
                  <a:lnTo>
                    <a:pt x="192" y="38"/>
                  </a:lnTo>
                  <a:lnTo>
                    <a:pt x="190" y="38"/>
                  </a:lnTo>
                  <a:lnTo>
                    <a:pt x="190" y="40"/>
                  </a:lnTo>
                  <a:lnTo>
                    <a:pt x="190" y="42"/>
                  </a:lnTo>
                  <a:lnTo>
                    <a:pt x="187" y="42"/>
                  </a:lnTo>
                  <a:lnTo>
                    <a:pt x="187" y="45"/>
                  </a:lnTo>
                  <a:lnTo>
                    <a:pt x="187" y="47"/>
                  </a:lnTo>
                  <a:lnTo>
                    <a:pt x="185" y="47"/>
                  </a:lnTo>
                  <a:lnTo>
                    <a:pt x="182" y="47"/>
                  </a:lnTo>
                  <a:lnTo>
                    <a:pt x="180" y="47"/>
                  </a:lnTo>
                  <a:lnTo>
                    <a:pt x="178" y="47"/>
                  </a:lnTo>
                  <a:lnTo>
                    <a:pt x="175" y="47"/>
                  </a:lnTo>
                  <a:lnTo>
                    <a:pt x="178" y="47"/>
                  </a:lnTo>
                  <a:lnTo>
                    <a:pt x="180" y="47"/>
                  </a:lnTo>
                  <a:lnTo>
                    <a:pt x="182" y="47"/>
                  </a:lnTo>
                  <a:lnTo>
                    <a:pt x="182" y="50"/>
                  </a:lnTo>
                  <a:lnTo>
                    <a:pt x="185" y="47"/>
                  </a:lnTo>
                  <a:lnTo>
                    <a:pt x="185" y="50"/>
                  </a:lnTo>
                  <a:lnTo>
                    <a:pt x="185" y="52"/>
                  </a:lnTo>
                  <a:lnTo>
                    <a:pt x="182" y="52"/>
                  </a:lnTo>
                  <a:lnTo>
                    <a:pt x="182" y="54"/>
                  </a:lnTo>
                  <a:lnTo>
                    <a:pt x="182" y="57"/>
                  </a:lnTo>
                  <a:lnTo>
                    <a:pt x="182" y="59"/>
                  </a:lnTo>
                  <a:lnTo>
                    <a:pt x="182" y="61"/>
                  </a:lnTo>
                  <a:lnTo>
                    <a:pt x="182" y="64"/>
                  </a:lnTo>
                  <a:lnTo>
                    <a:pt x="182" y="66"/>
                  </a:lnTo>
                  <a:lnTo>
                    <a:pt x="182" y="69"/>
                  </a:lnTo>
                  <a:lnTo>
                    <a:pt x="182" y="71"/>
                  </a:lnTo>
                  <a:lnTo>
                    <a:pt x="180" y="71"/>
                  </a:lnTo>
                  <a:lnTo>
                    <a:pt x="178" y="71"/>
                  </a:lnTo>
                  <a:lnTo>
                    <a:pt x="178" y="73"/>
                  </a:lnTo>
                  <a:lnTo>
                    <a:pt x="178" y="71"/>
                  </a:lnTo>
                  <a:lnTo>
                    <a:pt x="178" y="73"/>
                  </a:lnTo>
                  <a:lnTo>
                    <a:pt x="175" y="73"/>
                  </a:lnTo>
                  <a:lnTo>
                    <a:pt x="173" y="76"/>
                  </a:lnTo>
                  <a:lnTo>
                    <a:pt x="175" y="76"/>
                  </a:lnTo>
                  <a:lnTo>
                    <a:pt x="175" y="78"/>
                  </a:lnTo>
                  <a:lnTo>
                    <a:pt x="175" y="76"/>
                  </a:lnTo>
                  <a:lnTo>
                    <a:pt x="173" y="76"/>
                  </a:lnTo>
                  <a:lnTo>
                    <a:pt x="173" y="78"/>
                  </a:lnTo>
                  <a:lnTo>
                    <a:pt x="171" y="78"/>
                  </a:lnTo>
                  <a:lnTo>
                    <a:pt x="171" y="76"/>
                  </a:lnTo>
                  <a:lnTo>
                    <a:pt x="171" y="78"/>
                  </a:lnTo>
                  <a:lnTo>
                    <a:pt x="168" y="78"/>
                  </a:lnTo>
                  <a:lnTo>
                    <a:pt x="168" y="80"/>
                  </a:lnTo>
                  <a:lnTo>
                    <a:pt x="168" y="83"/>
                  </a:lnTo>
                  <a:lnTo>
                    <a:pt x="168" y="80"/>
                  </a:lnTo>
                  <a:lnTo>
                    <a:pt x="171" y="83"/>
                  </a:lnTo>
                  <a:lnTo>
                    <a:pt x="171" y="80"/>
                  </a:lnTo>
                  <a:lnTo>
                    <a:pt x="171" y="83"/>
                  </a:lnTo>
                  <a:lnTo>
                    <a:pt x="173" y="83"/>
                  </a:lnTo>
                  <a:lnTo>
                    <a:pt x="173" y="80"/>
                  </a:lnTo>
                  <a:lnTo>
                    <a:pt x="173" y="83"/>
                  </a:lnTo>
                  <a:lnTo>
                    <a:pt x="173" y="80"/>
                  </a:lnTo>
                  <a:lnTo>
                    <a:pt x="175" y="80"/>
                  </a:lnTo>
                  <a:lnTo>
                    <a:pt x="175" y="83"/>
                  </a:lnTo>
                  <a:lnTo>
                    <a:pt x="178" y="83"/>
                  </a:lnTo>
                  <a:lnTo>
                    <a:pt x="175" y="83"/>
                  </a:lnTo>
                  <a:lnTo>
                    <a:pt x="178" y="83"/>
                  </a:lnTo>
                  <a:lnTo>
                    <a:pt x="178" y="85"/>
                  </a:lnTo>
                  <a:lnTo>
                    <a:pt x="178" y="83"/>
                  </a:lnTo>
                  <a:lnTo>
                    <a:pt x="178" y="85"/>
                  </a:lnTo>
                  <a:lnTo>
                    <a:pt x="178" y="83"/>
                  </a:lnTo>
                  <a:lnTo>
                    <a:pt x="178" y="85"/>
                  </a:lnTo>
                  <a:lnTo>
                    <a:pt x="178" y="88"/>
                  </a:lnTo>
                  <a:lnTo>
                    <a:pt x="180" y="88"/>
                  </a:lnTo>
                  <a:lnTo>
                    <a:pt x="178" y="88"/>
                  </a:lnTo>
                  <a:lnTo>
                    <a:pt x="180" y="88"/>
                  </a:lnTo>
                  <a:lnTo>
                    <a:pt x="178" y="88"/>
                  </a:lnTo>
                  <a:lnTo>
                    <a:pt x="178" y="90"/>
                  </a:lnTo>
                  <a:lnTo>
                    <a:pt x="178" y="92"/>
                  </a:lnTo>
                  <a:lnTo>
                    <a:pt x="178" y="90"/>
                  </a:lnTo>
                  <a:lnTo>
                    <a:pt x="180" y="92"/>
                  </a:lnTo>
                  <a:lnTo>
                    <a:pt x="180" y="95"/>
                  </a:lnTo>
                  <a:lnTo>
                    <a:pt x="182" y="95"/>
                  </a:lnTo>
                  <a:lnTo>
                    <a:pt x="180" y="95"/>
                  </a:lnTo>
                  <a:lnTo>
                    <a:pt x="182" y="95"/>
                  </a:lnTo>
                  <a:lnTo>
                    <a:pt x="182" y="97"/>
                  </a:lnTo>
                  <a:lnTo>
                    <a:pt x="185" y="97"/>
                  </a:lnTo>
                  <a:lnTo>
                    <a:pt x="185" y="99"/>
                  </a:lnTo>
                  <a:lnTo>
                    <a:pt x="187" y="99"/>
                  </a:lnTo>
                  <a:lnTo>
                    <a:pt x="185" y="99"/>
                  </a:lnTo>
                  <a:lnTo>
                    <a:pt x="187" y="99"/>
                  </a:lnTo>
                  <a:lnTo>
                    <a:pt x="187" y="102"/>
                  </a:lnTo>
                  <a:lnTo>
                    <a:pt x="187" y="104"/>
                  </a:lnTo>
                  <a:lnTo>
                    <a:pt x="185" y="104"/>
                  </a:lnTo>
                  <a:lnTo>
                    <a:pt x="185" y="102"/>
                  </a:lnTo>
                  <a:lnTo>
                    <a:pt x="185" y="104"/>
                  </a:lnTo>
                  <a:lnTo>
                    <a:pt x="182" y="104"/>
                  </a:lnTo>
                  <a:lnTo>
                    <a:pt x="182" y="102"/>
                  </a:lnTo>
                  <a:lnTo>
                    <a:pt x="180" y="102"/>
                  </a:lnTo>
                  <a:lnTo>
                    <a:pt x="180" y="104"/>
                  </a:lnTo>
                  <a:lnTo>
                    <a:pt x="178" y="104"/>
                  </a:lnTo>
                  <a:lnTo>
                    <a:pt x="175" y="104"/>
                  </a:lnTo>
                  <a:lnTo>
                    <a:pt x="178" y="104"/>
                  </a:lnTo>
                  <a:lnTo>
                    <a:pt x="175" y="104"/>
                  </a:lnTo>
                  <a:lnTo>
                    <a:pt x="173" y="104"/>
                  </a:lnTo>
                  <a:lnTo>
                    <a:pt x="173" y="107"/>
                  </a:lnTo>
                  <a:lnTo>
                    <a:pt x="173" y="104"/>
                  </a:lnTo>
                  <a:lnTo>
                    <a:pt x="173" y="107"/>
                  </a:lnTo>
                  <a:lnTo>
                    <a:pt x="171" y="107"/>
                  </a:lnTo>
                  <a:lnTo>
                    <a:pt x="171" y="104"/>
                  </a:lnTo>
                  <a:lnTo>
                    <a:pt x="168" y="104"/>
                  </a:lnTo>
                  <a:lnTo>
                    <a:pt x="168" y="102"/>
                  </a:lnTo>
                  <a:lnTo>
                    <a:pt x="166" y="102"/>
                  </a:lnTo>
                  <a:lnTo>
                    <a:pt x="166" y="99"/>
                  </a:lnTo>
                  <a:lnTo>
                    <a:pt x="163" y="99"/>
                  </a:lnTo>
                  <a:lnTo>
                    <a:pt x="163" y="97"/>
                  </a:lnTo>
                  <a:lnTo>
                    <a:pt x="161" y="97"/>
                  </a:lnTo>
                  <a:lnTo>
                    <a:pt x="161" y="99"/>
                  </a:lnTo>
                  <a:lnTo>
                    <a:pt x="159" y="99"/>
                  </a:lnTo>
                  <a:lnTo>
                    <a:pt x="161" y="99"/>
                  </a:lnTo>
                  <a:lnTo>
                    <a:pt x="159" y="99"/>
                  </a:lnTo>
                  <a:lnTo>
                    <a:pt x="156" y="99"/>
                  </a:lnTo>
                  <a:lnTo>
                    <a:pt x="156" y="97"/>
                  </a:lnTo>
                  <a:lnTo>
                    <a:pt x="156" y="99"/>
                  </a:lnTo>
                  <a:lnTo>
                    <a:pt x="154" y="99"/>
                  </a:lnTo>
                  <a:lnTo>
                    <a:pt x="152" y="99"/>
                  </a:lnTo>
                  <a:lnTo>
                    <a:pt x="154" y="102"/>
                  </a:lnTo>
                  <a:lnTo>
                    <a:pt x="152" y="102"/>
                  </a:lnTo>
                  <a:lnTo>
                    <a:pt x="149" y="102"/>
                  </a:lnTo>
                  <a:lnTo>
                    <a:pt x="149" y="104"/>
                  </a:lnTo>
                  <a:lnTo>
                    <a:pt x="147" y="104"/>
                  </a:lnTo>
                  <a:lnTo>
                    <a:pt x="147" y="102"/>
                  </a:lnTo>
                  <a:lnTo>
                    <a:pt x="147" y="104"/>
                  </a:lnTo>
                  <a:lnTo>
                    <a:pt x="144" y="104"/>
                  </a:lnTo>
                  <a:lnTo>
                    <a:pt x="142" y="104"/>
                  </a:lnTo>
                  <a:lnTo>
                    <a:pt x="140" y="104"/>
                  </a:lnTo>
                  <a:lnTo>
                    <a:pt x="140" y="107"/>
                  </a:lnTo>
                  <a:lnTo>
                    <a:pt x="140" y="109"/>
                  </a:lnTo>
                  <a:lnTo>
                    <a:pt x="137" y="109"/>
                  </a:lnTo>
                  <a:lnTo>
                    <a:pt x="137" y="111"/>
                  </a:lnTo>
                  <a:lnTo>
                    <a:pt x="133" y="111"/>
                  </a:lnTo>
                  <a:lnTo>
                    <a:pt x="133" y="114"/>
                  </a:lnTo>
                  <a:lnTo>
                    <a:pt x="130" y="114"/>
                  </a:lnTo>
                  <a:lnTo>
                    <a:pt x="133" y="116"/>
                  </a:lnTo>
                  <a:lnTo>
                    <a:pt x="130" y="116"/>
                  </a:lnTo>
                  <a:lnTo>
                    <a:pt x="128" y="116"/>
                  </a:lnTo>
                  <a:lnTo>
                    <a:pt x="128" y="114"/>
                  </a:lnTo>
                  <a:lnTo>
                    <a:pt x="125" y="114"/>
                  </a:lnTo>
                  <a:lnTo>
                    <a:pt x="123" y="114"/>
                  </a:lnTo>
                  <a:lnTo>
                    <a:pt x="123" y="116"/>
                  </a:lnTo>
                  <a:lnTo>
                    <a:pt x="123" y="118"/>
                  </a:lnTo>
                  <a:lnTo>
                    <a:pt x="125" y="118"/>
                  </a:lnTo>
                  <a:lnTo>
                    <a:pt x="125" y="121"/>
                  </a:lnTo>
                  <a:lnTo>
                    <a:pt x="125" y="123"/>
                  </a:lnTo>
                  <a:lnTo>
                    <a:pt x="125" y="126"/>
                  </a:lnTo>
                  <a:lnTo>
                    <a:pt x="128" y="128"/>
                  </a:lnTo>
                  <a:lnTo>
                    <a:pt x="125" y="128"/>
                  </a:lnTo>
                  <a:lnTo>
                    <a:pt x="125" y="130"/>
                  </a:lnTo>
                  <a:lnTo>
                    <a:pt x="125" y="133"/>
                  </a:lnTo>
                  <a:lnTo>
                    <a:pt x="125" y="130"/>
                  </a:lnTo>
                  <a:lnTo>
                    <a:pt x="125" y="133"/>
                  </a:lnTo>
                  <a:lnTo>
                    <a:pt x="123" y="133"/>
                  </a:lnTo>
                  <a:lnTo>
                    <a:pt x="121" y="133"/>
                  </a:lnTo>
                  <a:lnTo>
                    <a:pt x="118" y="133"/>
                  </a:lnTo>
                  <a:lnTo>
                    <a:pt x="118" y="135"/>
                  </a:lnTo>
                  <a:lnTo>
                    <a:pt x="116" y="135"/>
                  </a:lnTo>
                  <a:lnTo>
                    <a:pt x="116" y="133"/>
                  </a:lnTo>
                  <a:lnTo>
                    <a:pt x="114" y="133"/>
                  </a:lnTo>
                  <a:lnTo>
                    <a:pt x="111" y="133"/>
                  </a:lnTo>
                  <a:lnTo>
                    <a:pt x="111" y="135"/>
                  </a:lnTo>
                  <a:lnTo>
                    <a:pt x="109" y="135"/>
                  </a:lnTo>
                  <a:lnTo>
                    <a:pt x="109" y="133"/>
                  </a:lnTo>
                  <a:lnTo>
                    <a:pt x="109" y="135"/>
                  </a:lnTo>
                  <a:lnTo>
                    <a:pt x="107" y="135"/>
                  </a:lnTo>
                  <a:lnTo>
                    <a:pt x="107" y="133"/>
                  </a:lnTo>
                  <a:lnTo>
                    <a:pt x="107" y="135"/>
                  </a:lnTo>
                  <a:lnTo>
                    <a:pt x="104" y="135"/>
                  </a:lnTo>
                  <a:lnTo>
                    <a:pt x="102" y="135"/>
                  </a:lnTo>
                  <a:lnTo>
                    <a:pt x="99" y="135"/>
                  </a:lnTo>
                  <a:lnTo>
                    <a:pt x="99" y="137"/>
                  </a:lnTo>
                  <a:lnTo>
                    <a:pt x="97" y="137"/>
                  </a:lnTo>
                  <a:lnTo>
                    <a:pt x="95" y="137"/>
                  </a:lnTo>
                  <a:lnTo>
                    <a:pt x="95" y="135"/>
                  </a:lnTo>
                  <a:lnTo>
                    <a:pt x="92" y="135"/>
                  </a:lnTo>
                  <a:lnTo>
                    <a:pt x="92" y="133"/>
                  </a:lnTo>
                  <a:lnTo>
                    <a:pt x="90" y="133"/>
                  </a:lnTo>
                  <a:lnTo>
                    <a:pt x="90" y="130"/>
                  </a:lnTo>
                  <a:lnTo>
                    <a:pt x="88" y="130"/>
                  </a:lnTo>
                  <a:lnTo>
                    <a:pt x="85" y="130"/>
                  </a:lnTo>
                  <a:lnTo>
                    <a:pt x="83" y="130"/>
                  </a:lnTo>
                  <a:lnTo>
                    <a:pt x="80" y="130"/>
                  </a:lnTo>
                  <a:lnTo>
                    <a:pt x="80" y="133"/>
                  </a:lnTo>
                  <a:lnTo>
                    <a:pt x="80" y="130"/>
                  </a:lnTo>
                  <a:lnTo>
                    <a:pt x="78" y="130"/>
                  </a:lnTo>
                  <a:lnTo>
                    <a:pt x="78" y="128"/>
                  </a:lnTo>
                  <a:lnTo>
                    <a:pt x="76" y="128"/>
                  </a:lnTo>
                  <a:lnTo>
                    <a:pt x="73" y="128"/>
                  </a:lnTo>
                  <a:lnTo>
                    <a:pt x="73" y="126"/>
                  </a:lnTo>
                  <a:lnTo>
                    <a:pt x="73" y="123"/>
                  </a:lnTo>
                  <a:lnTo>
                    <a:pt x="71" y="123"/>
                  </a:lnTo>
                  <a:lnTo>
                    <a:pt x="69" y="123"/>
                  </a:lnTo>
                  <a:lnTo>
                    <a:pt x="66" y="123"/>
                  </a:lnTo>
                  <a:lnTo>
                    <a:pt x="64" y="126"/>
                  </a:lnTo>
                  <a:lnTo>
                    <a:pt x="64" y="123"/>
                  </a:lnTo>
                  <a:lnTo>
                    <a:pt x="64" y="121"/>
                  </a:lnTo>
                  <a:lnTo>
                    <a:pt x="61" y="123"/>
                  </a:lnTo>
                  <a:lnTo>
                    <a:pt x="59" y="126"/>
                  </a:lnTo>
                  <a:lnTo>
                    <a:pt x="59" y="123"/>
                  </a:lnTo>
                  <a:lnTo>
                    <a:pt x="57" y="123"/>
                  </a:lnTo>
                  <a:lnTo>
                    <a:pt x="57" y="126"/>
                  </a:lnTo>
                  <a:lnTo>
                    <a:pt x="57" y="128"/>
                  </a:lnTo>
                  <a:lnTo>
                    <a:pt x="54" y="128"/>
                  </a:lnTo>
                  <a:lnTo>
                    <a:pt x="54" y="126"/>
                  </a:lnTo>
                  <a:lnTo>
                    <a:pt x="54" y="128"/>
                  </a:lnTo>
                  <a:lnTo>
                    <a:pt x="52" y="128"/>
                  </a:lnTo>
                  <a:lnTo>
                    <a:pt x="52" y="126"/>
                  </a:lnTo>
                  <a:lnTo>
                    <a:pt x="52" y="128"/>
                  </a:lnTo>
                  <a:lnTo>
                    <a:pt x="50" y="128"/>
                  </a:lnTo>
                  <a:lnTo>
                    <a:pt x="47" y="128"/>
                  </a:lnTo>
                  <a:lnTo>
                    <a:pt x="47" y="130"/>
                  </a:lnTo>
                  <a:lnTo>
                    <a:pt x="45" y="130"/>
                  </a:lnTo>
                  <a:lnTo>
                    <a:pt x="42" y="130"/>
                  </a:lnTo>
                  <a:lnTo>
                    <a:pt x="40" y="130"/>
                  </a:lnTo>
                  <a:lnTo>
                    <a:pt x="38" y="130"/>
                  </a:lnTo>
                  <a:lnTo>
                    <a:pt x="35" y="130"/>
                  </a:lnTo>
                  <a:lnTo>
                    <a:pt x="33" y="130"/>
                  </a:lnTo>
                  <a:lnTo>
                    <a:pt x="31" y="130"/>
                  </a:lnTo>
                  <a:lnTo>
                    <a:pt x="28" y="130"/>
                  </a:lnTo>
                  <a:lnTo>
                    <a:pt x="28" y="133"/>
                  </a:lnTo>
                  <a:lnTo>
                    <a:pt x="26" y="133"/>
                  </a:lnTo>
                  <a:lnTo>
                    <a:pt x="23" y="133"/>
                  </a:lnTo>
                  <a:lnTo>
                    <a:pt x="21" y="133"/>
                  </a:lnTo>
                  <a:lnTo>
                    <a:pt x="19" y="133"/>
                  </a:lnTo>
                  <a:lnTo>
                    <a:pt x="21" y="133"/>
                  </a:lnTo>
                  <a:lnTo>
                    <a:pt x="21" y="130"/>
                  </a:lnTo>
                  <a:lnTo>
                    <a:pt x="21" y="128"/>
                  </a:lnTo>
                  <a:lnTo>
                    <a:pt x="21" y="126"/>
                  </a:lnTo>
                  <a:lnTo>
                    <a:pt x="21" y="123"/>
                  </a:lnTo>
                  <a:lnTo>
                    <a:pt x="21" y="121"/>
                  </a:lnTo>
                  <a:lnTo>
                    <a:pt x="19" y="121"/>
                  </a:lnTo>
                  <a:lnTo>
                    <a:pt x="19" y="118"/>
                  </a:lnTo>
                  <a:lnTo>
                    <a:pt x="21" y="118"/>
                  </a:lnTo>
                  <a:lnTo>
                    <a:pt x="21" y="116"/>
                  </a:lnTo>
                  <a:lnTo>
                    <a:pt x="23" y="116"/>
                  </a:lnTo>
                  <a:lnTo>
                    <a:pt x="23" y="114"/>
                  </a:lnTo>
                  <a:lnTo>
                    <a:pt x="21" y="114"/>
                  </a:lnTo>
                  <a:lnTo>
                    <a:pt x="21" y="111"/>
                  </a:lnTo>
                  <a:lnTo>
                    <a:pt x="19" y="111"/>
                  </a:lnTo>
                  <a:lnTo>
                    <a:pt x="19" y="109"/>
                  </a:lnTo>
                  <a:lnTo>
                    <a:pt x="19" y="107"/>
                  </a:lnTo>
                  <a:lnTo>
                    <a:pt x="16" y="107"/>
                  </a:lnTo>
                  <a:lnTo>
                    <a:pt x="16" y="104"/>
                  </a:lnTo>
                  <a:lnTo>
                    <a:pt x="16" y="102"/>
                  </a:lnTo>
                  <a:lnTo>
                    <a:pt x="14" y="99"/>
                  </a:lnTo>
                  <a:lnTo>
                    <a:pt x="12" y="99"/>
                  </a:lnTo>
                  <a:lnTo>
                    <a:pt x="9" y="99"/>
                  </a:lnTo>
                  <a:lnTo>
                    <a:pt x="9" y="97"/>
                  </a:lnTo>
                  <a:lnTo>
                    <a:pt x="7" y="97"/>
                  </a:lnTo>
                  <a:lnTo>
                    <a:pt x="4" y="95"/>
                  </a:lnTo>
                  <a:lnTo>
                    <a:pt x="4" y="92"/>
                  </a:lnTo>
                  <a:lnTo>
                    <a:pt x="2" y="92"/>
                  </a:lnTo>
                  <a:lnTo>
                    <a:pt x="2" y="90"/>
                  </a:lnTo>
                  <a:lnTo>
                    <a:pt x="2" y="88"/>
                  </a:lnTo>
                  <a:lnTo>
                    <a:pt x="0" y="88"/>
                  </a:lnTo>
                  <a:lnTo>
                    <a:pt x="2" y="88"/>
                  </a:lnTo>
                  <a:lnTo>
                    <a:pt x="4" y="88"/>
                  </a:lnTo>
                  <a:lnTo>
                    <a:pt x="4" y="85"/>
                  </a:lnTo>
                  <a:lnTo>
                    <a:pt x="7" y="83"/>
                  </a:lnTo>
                  <a:lnTo>
                    <a:pt x="7" y="80"/>
                  </a:lnTo>
                  <a:lnTo>
                    <a:pt x="7" y="78"/>
                  </a:lnTo>
                  <a:lnTo>
                    <a:pt x="4" y="78"/>
                  </a:lnTo>
                  <a:lnTo>
                    <a:pt x="4" y="76"/>
                  </a:lnTo>
                  <a:lnTo>
                    <a:pt x="2" y="76"/>
                  </a:lnTo>
                  <a:lnTo>
                    <a:pt x="4" y="73"/>
                  </a:lnTo>
                  <a:lnTo>
                    <a:pt x="4" y="71"/>
                  </a:lnTo>
                  <a:lnTo>
                    <a:pt x="4" y="69"/>
                  </a:lnTo>
                  <a:lnTo>
                    <a:pt x="4" y="66"/>
                  </a:lnTo>
                  <a:lnTo>
                    <a:pt x="2" y="66"/>
                  </a:lnTo>
                  <a:lnTo>
                    <a:pt x="2" y="64"/>
                  </a:lnTo>
                  <a:lnTo>
                    <a:pt x="4" y="64"/>
                  </a:lnTo>
                  <a:lnTo>
                    <a:pt x="4" y="61"/>
                  </a:lnTo>
                  <a:lnTo>
                    <a:pt x="7" y="61"/>
                  </a:lnTo>
                  <a:lnTo>
                    <a:pt x="7" y="64"/>
                  </a:lnTo>
                  <a:lnTo>
                    <a:pt x="7" y="61"/>
                  </a:lnTo>
                  <a:lnTo>
                    <a:pt x="9" y="61"/>
                  </a:lnTo>
                  <a:lnTo>
                    <a:pt x="12" y="61"/>
                  </a:lnTo>
                  <a:lnTo>
                    <a:pt x="14" y="61"/>
                  </a:lnTo>
                  <a:lnTo>
                    <a:pt x="14" y="59"/>
                  </a:lnTo>
                  <a:lnTo>
                    <a:pt x="14" y="57"/>
                  </a:lnTo>
                  <a:lnTo>
                    <a:pt x="16" y="57"/>
                  </a:lnTo>
                  <a:lnTo>
                    <a:pt x="16" y="54"/>
                  </a:lnTo>
                  <a:lnTo>
                    <a:pt x="19" y="54"/>
                  </a:lnTo>
                  <a:lnTo>
                    <a:pt x="19" y="52"/>
                  </a:lnTo>
                  <a:lnTo>
                    <a:pt x="21" y="52"/>
                  </a:lnTo>
                  <a:lnTo>
                    <a:pt x="21" y="50"/>
                  </a:lnTo>
                  <a:lnTo>
                    <a:pt x="21" y="47"/>
                  </a:lnTo>
                  <a:lnTo>
                    <a:pt x="19" y="47"/>
                  </a:lnTo>
                  <a:lnTo>
                    <a:pt x="19" y="45"/>
                  </a:lnTo>
                  <a:lnTo>
                    <a:pt x="16" y="45"/>
                  </a:lnTo>
                  <a:lnTo>
                    <a:pt x="16" y="42"/>
                  </a:lnTo>
                  <a:lnTo>
                    <a:pt x="16" y="40"/>
                  </a:lnTo>
                  <a:lnTo>
                    <a:pt x="14" y="40"/>
                  </a:lnTo>
                  <a:lnTo>
                    <a:pt x="14" y="38"/>
                  </a:lnTo>
                  <a:lnTo>
                    <a:pt x="12" y="38"/>
                  </a:lnTo>
                  <a:lnTo>
                    <a:pt x="9" y="38"/>
                  </a:lnTo>
                  <a:lnTo>
                    <a:pt x="9" y="35"/>
                  </a:lnTo>
                  <a:lnTo>
                    <a:pt x="9" y="38"/>
                  </a:lnTo>
                  <a:lnTo>
                    <a:pt x="9" y="35"/>
                  </a:lnTo>
                  <a:lnTo>
                    <a:pt x="7" y="35"/>
                  </a:lnTo>
                  <a:lnTo>
                    <a:pt x="7" y="33"/>
                  </a:lnTo>
                  <a:lnTo>
                    <a:pt x="4" y="33"/>
                  </a:lnTo>
                  <a:lnTo>
                    <a:pt x="4" y="31"/>
                  </a:lnTo>
                  <a:lnTo>
                    <a:pt x="4" y="28"/>
                  </a:lnTo>
                  <a:lnTo>
                    <a:pt x="4" y="26"/>
                  </a:lnTo>
                  <a:lnTo>
                    <a:pt x="2" y="26"/>
                  </a:lnTo>
                  <a:lnTo>
                    <a:pt x="2" y="23"/>
                  </a:lnTo>
                  <a:lnTo>
                    <a:pt x="2" y="21"/>
                  </a:lnTo>
                  <a:lnTo>
                    <a:pt x="0" y="19"/>
                  </a:lnTo>
                  <a:lnTo>
                    <a:pt x="0" y="16"/>
                  </a:lnTo>
                  <a:lnTo>
                    <a:pt x="2" y="16"/>
                  </a:lnTo>
                  <a:lnTo>
                    <a:pt x="2" y="14"/>
                  </a:lnTo>
                  <a:lnTo>
                    <a:pt x="2" y="12"/>
                  </a:lnTo>
                  <a:lnTo>
                    <a:pt x="2" y="9"/>
                  </a:lnTo>
                  <a:lnTo>
                    <a:pt x="4" y="9"/>
                  </a:lnTo>
                  <a:lnTo>
                    <a:pt x="7" y="9"/>
                  </a:lnTo>
                  <a:lnTo>
                    <a:pt x="7" y="7"/>
                  </a:lnTo>
                  <a:lnTo>
                    <a:pt x="9" y="7"/>
                  </a:lnTo>
                  <a:lnTo>
                    <a:pt x="9" y="4"/>
                  </a:lnTo>
                  <a:lnTo>
                    <a:pt x="9" y="2"/>
                  </a:lnTo>
                  <a:lnTo>
                    <a:pt x="9" y="0"/>
                  </a:lnTo>
                  <a:lnTo>
                    <a:pt x="12" y="0"/>
                  </a:lnTo>
                  <a:lnTo>
                    <a:pt x="9" y="0"/>
                  </a:lnTo>
                  <a:lnTo>
                    <a:pt x="12" y="0"/>
                  </a:lnTo>
                  <a:lnTo>
                    <a:pt x="9"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8" name="Freeform 50281"/>
            <p:cNvSpPr>
              <a:spLocks/>
            </p:cNvSpPr>
            <p:nvPr/>
          </p:nvSpPr>
          <p:spPr bwMode="auto">
            <a:xfrm>
              <a:off x="3475035" y="526734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9" name="Freeform 50282"/>
            <p:cNvSpPr>
              <a:spLocks/>
            </p:cNvSpPr>
            <p:nvPr/>
          </p:nvSpPr>
          <p:spPr bwMode="auto">
            <a:xfrm>
              <a:off x="2774948" y="5064142"/>
              <a:ext cx="14288" cy="52388"/>
            </a:xfrm>
            <a:custGeom>
              <a:avLst/>
              <a:gdLst>
                <a:gd name="T0" fmla="*/ 2 w 9"/>
                <a:gd name="T1" fmla="*/ 2 h 33"/>
                <a:gd name="T2" fmla="*/ 2 w 9"/>
                <a:gd name="T3" fmla="*/ 7 h 33"/>
                <a:gd name="T4" fmla="*/ 7 w 9"/>
                <a:gd name="T5" fmla="*/ 9 h 33"/>
                <a:gd name="T6" fmla="*/ 5 w 9"/>
                <a:gd name="T7" fmla="*/ 11 h 33"/>
                <a:gd name="T8" fmla="*/ 5 w 9"/>
                <a:gd name="T9" fmla="*/ 16 h 33"/>
                <a:gd name="T10" fmla="*/ 5 w 9"/>
                <a:gd name="T11" fmla="*/ 19 h 33"/>
                <a:gd name="T12" fmla="*/ 7 w 9"/>
                <a:gd name="T13" fmla="*/ 21 h 33"/>
                <a:gd name="T14" fmla="*/ 7 w 9"/>
                <a:gd name="T15" fmla="*/ 21 h 33"/>
                <a:gd name="T16" fmla="*/ 7 w 9"/>
                <a:gd name="T17" fmla="*/ 26 h 33"/>
                <a:gd name="T18" fmla="*/ 7 w 9"/>
                <a:gd name="T19" fmla="*/ 26 h 33"/>
                <a:gd name="T20" fmla="*/ 7 w 9"/>
                <a:gd name="T21" fmla="*/ 26 h 33"/>
                <a:gd name="T22" fmla="*/ 7 w 9"/>
                <a:gd name="T23" fmla="*/ 26 h 33"/>
                <a:gd name="T24" fmla="*/ 5 w 9"/>
                <a:gd name="T25" fmla="*/ 23 h 33"/>
                <a:gd name="T26" fmla="*/ 5 w 9"/>
                <a:gd name="T27" fmla="*/ 23 h 33"/>
                <a:gd name="T28" fmla="*/ 2 w 9"/>
                <a:gd name="T29" fmla="*/ 26 h 33"/>
                <a:gd name="T30" fmla="*/ 5 w 9"/>
                <a:gd name="T31" fmla="*/ 28 h 33"/>
                <a:gd name="T32" fmla="*/ 7 w 9"/>
                <a:gd name="T33" fmla="*/ 30 h 33"/>
                <a:gd name="T34" fmla="*/ 9 w 9"/>
                <a:gd name="T35" fmla="*/ 33 h 33"/>
                <a:gd name="T36" fmla="*/ 7 w 9"/>
                <a:gd name="T37" fmla="*/ 30 h 33"/>
                <a:gd name="T38" fmla="*/ 7 w 9"/>
                <a:gd name="T39" fmla="*/ 30 h 33"/>
                <a:gd name="T40" fmla="*/ 5 w 9"/>
                <a:gd name="T41" fmla="*/ 28 h 33"/>
                <a:gd name="T42" fmla="*/ 5 w 9"/>
                <a:gd name="T43" fmla="*/ 28 h 33"/>
                <a:gd name="T44" fmla="*/ 2 w 9"/>
                <a:gd name="T45" fmla="*/ 30 h 33"/>
                <a:gd name="T46" fmla="*/ 2 w 9"/>
                <a:gd name="T47" fmla="*/ 26 h 33"/>
                <a:gd name="T48" fmla="*/ 2 w 9"/>
                <a:gd name="T49" fmla="*/ 21 h 33"/>
                <a:gd name="T50" fmla="*/ 5 w 9"/>
                <a:gd name="T51" fmla="*/ 23 h 33"/>
                <a:gd name="T52" fmla="*/ 5 w 9"/>
                <a:gd name="T53" fmla="*/ 23 h 33"/>
                <a:gd name="T54" fmla="*/ 2 w 9"/>
                <a:gd name="T55" fmla="*/ 21 h 33"/>
                <a:gd name="T56" fmla="*/ 2 w 9"/>
                <a:gd name="T57" fmla="*/ 21 h 33"/>
                <a:gd name="T58" fmla="*/ 2 w 9"/>
                <a:gd name="T59" fmla="*/ 16 h 33"/>
                <a:gd name="T60" fmla="*/ 2 w 9"/>
                <a:gd name="T61" fmla="*/ 16 h 33"/>
                <a:gd name="T62" fmla="*/ 0 w 9"/>
                <a:gd name="T63" fmla="*/ 14 h 33"/>
                <a:gd name="T64" fmla="*/ 2 w 9"/>
                <a:gd name="T65" fmla="*/ 11 h 33"/>
                <a:gd name="T66" fmla="*/ 5 w 9"/>
                <a:gd name="T67" fmla="*/ 14 h 33"/>
                <a:gd name="T68" fmla="*/ 2 w 9"/>
                <a:gd name="T69" fmla="*/ 11 h 33"/>
                <a:gd name="T70" fmla="*/ 2 w 9"/>
                <a:gd name="T71" fmla="*/ 11 h 33"/>
                <a:gd name="T72" fmla="*/ 2 w 9"/>
                <a:gd name="T73" fmla="*/ 7 h 33"/>
                <a:gd name="T74" fmla="*/ 0 w 9"/>
                <a:gd name="T75" fmla="*/ 4 h 33"/>
                <a:gd name="T76" fmla="*/ 0 w 9"/>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 h="33">
                  <a:moveTo>
                    <a:pt x="2" y="0"/>
                  </a:moveTo>
                  <a:lnTo>
                    <a:pt x="2" y="2"/>
                  </a:lnTo>
                  <a:lnTo>
                    <a:pt x="2" y="4"/>
                  </a:lnTo>
                  <a:lnTo>
                    <a:pt x="2" y="7"/>
                  </a:lnTo>
                  <a:lnTo>
                    <a:pt x="5" y="9"/>
                  </a:lnTo>
                  <a:lnTo>
                    <a:pt x="7" y="9"/>
                  </a:lnTo>
                  <a:lnTo>
                    <a:pt x="7" y="11"/>
                  </a:lnTo>
                  <a:lnTo>
                    <a:pt x="5" y="11"/>
                  </a:lnTo>
                  <a:lnTo>
                    <a:pt x="5" y="14"/>
                  </a:lnTo>
                  <a:lnTo>
                    <a:pt x="5" y="16"/>
                  </a:lnTo>
                  <a:lnTo>
                    <a:pt x="7" y="19"/>
                  </a:lnTo>
                  <a:lnTo>
                    <a:pt x="5" y="19"/>
                  </a:lnTo>
                  <a:lnTo>
                    <a:pt x="7" y="19"/>
                  </a:lnTo>
                  <a:lnTo>
                    <a:pt x="7" y="21"/>
                  </a:lnTo>
                  <a:lnTo>
                    <a:pt x="5" y="21"/>
                  </a:lnTo>
                  <a:lnTo>
                    <a:pt x="7" y="21"/>
                  </a:lnTo>
                  <a:lnTo>
                    <a:pt x="7" y="23"/>
                  </a:lnTo>
                  <a:lnTo>
                    <a:pt x="7" y="26"/>
                  </a:lnTo>
                  <a:lnTo>
                    <a:pt x="9" y="26"/>
                  </a:lnTo>
                  <a:lnTo>
                    <a:pt x="7" y="26"/>
                  </a:lnTo>
                  <a:lnTo>
                    <a:pt x="7" y="28"/>
                  </a:lnTo>
                  <a:lnTo>
                    <a:pt x="7" y="26"/>
                  </a:lnTo>
                  <a:lnTo>
                    <a:pt x="7" y="28"/>
                  </a:lnTo>
                  <a:lnTo>
                    <a:pt x="7" y="26"/>
                  </a:lnTo>
                  <a:lnTo>
                    <a:pt x="5" y="26"/>
                  </a:lnTo>
                  <a:lnTo>
                    <a:pt x="5" y="23"/>
                  </a:lnTo>
                  <a:lnTo>
                    <a:pt x="2" y="23"/>
                  </a:lnTo>
                  <a:lnTo>
                    <a:pt x="5" y="23"/>
                  </a:lnTo>
                  <a:lnTo>
                    <a:pt x="5" y="26"/>
                  </a:lnTo>
                  <a:lnTo>
                    <a:pt x="2" y="26"/>
                  </a:lnTo>
                  <a:lnTo>
                    <a:pt x="5" y="26"/>
                  </a:lnTo>
                  <a:lnTo>
                    <a:pt x="5" y="28"/>
                  </a:lnTo>
                  <a:lnTo>
                    <a:pt x="5" y="30"/>
                  </a:lnTo>
                  <a:lnTo>
                    <a:pt x="7" y="30"/>
                  </a:lnTo>
                  <a:lnTo>
                    <a:pt x="7" y="33"/>
                  </a:lnTo>
                  <a:lnTo>
                    <a:pt x="9" y="33"/>
                  </a:lnTo>
                  <a:lnTo>
                    <a:pt x="7" y="33"/>
                  </a:lnTo>
                  <a:lnTo>
                    <a:pt x="7" y="30"/>
                  </a:lnTo>
                  <a:lnTo>
                    <a:pt x="5" y="30"/>
                  </a:lnTo>
                  <a:lnTo>
                    <a:pt x="7" y="30"/>
                  </a:lnTo>
                  <a:lnTo>
                    <a:pt x="5" y="30"/>
                  </a:lnTo>
                  <a:lnTo>
                    <a:pt x="5" y="28"/>
                  </a:lnTo>
                  <a:lnTo>
                    <a:pt x="5" y="30"/>
                  </a:lnTo>
                  <a:lnTo>
                    <a:pt x="5" y="28"/>
                  </a:lnTo>
                  <a:lnTo>
                    <a:pt x="5" y="30"/>
                  </a:lnTo>
                  <a:lnTo>
                    <a:pt x="2" y="30"/>
                  </a:lnTo>
                  <a:lnTo>
                    <a:pt x="2" y="28"/>
                  </a:lnTo>
                  <a:lnTo>
                    <a:pt x="2" y="26"/>
                  </a:lnTo>
                  <a:lnTo>
                    <a:pt x="2" y="23"/>
                  </a:lnTo>
                  <a:lnTo>
                    <a:pt x="2" y="21"/>
                  </a:lnTo>
                  <a:lnTo>
                    <a:pt x="2" y="23"/>
                  </a:lnTo>
                  <a:lnTo>
                    <a:pt x="5" y="23"/>
                  </a:lnTo>
                  <a:lnTo>
                    <a:pt x="2" y="23"/>
                  </a:lnTo>
                  <a:lnTo>
                    <a:pt x="5" y="23"/>
                  </a:lnTo>
                  <a:lnTo>
                    <a:pt x="5" y="21"/>
                  </a:lnTo>
                  <a:lnTo>
                    <a:pt x="2" y="21"/>
                  </a:lnTo>
                  <a:lnTo>
                    <a:pt x="5" y="21"/>
                  </a:lnTo>
                  <a:lnTo>
                    <a:pt x="2" y="21"/>
                  </a:lnTo>
                  <a:lnTo>
                    <a:pt x="2" y="19"/>
                  </a:lnTo>
                  <a:lnTo>
                    <a:pt x="2" y="16"/>
                  </a:lnTo>
                  <a:lnTo>
                    <a:pt x="2" y="19"/>
                  </a:lnTo>
                  <a:lnTo>
                    <a:pt x="2" y="16"/>
                  </a:lnTo>
                  <a:lnTo>
                    <a:pt x="2" y="14"/>
                  </a:lnTo>
                  <a:lnTo>
                    <a:pt x="0" y="14"/>
                  </a:lnTo>
                  <a:lnTo>
                    <a:pt x="0" y="11"/>
                  </a:lnTo>
                  <a:lnTo>
                    <a:pt x="2" y="11"/>
                  </a:lnTo>
                  <a:lnTo>
                    <a:pt x="2" y="14"/>
                  </a:lnTo>
                  <a:lnTo>
                    <a:pt x="5" y="14"/>
                  </a:lnTo>
                  <a:lnTo>
                    <a:pt x="5" y="11"/>
                  </a:lnTo>
                  <a:lnTo>
                    <a:pt x="2" y="11"/>
                  </a:lnTo>
                  <a:lnTo>
                    <a:pt x="5" y="11"/>
                  </a:lnTo>
                  <a:lnTo>
                    <a:pt x="2" y="11"/>
                  </a:lnTo>
                  <a:lnTo>
                    <a:pt x="2" y="9"/>
                  </a:lnTo>
                  <a:lnTo>
                    <a:pt x="2" y="7"/>
                  </a:lnTo>
                  <a:lnTo>
                    <a:pt x="0" y="7"/>
                  </a:lnTo>
                  <a:lnTo>
                    <a:pt x="0" y="4"/>
                  </a:lnTo>
                  <a:lnTo>
                    <a:pt x="0" y="2"/>
                  </a:lnTo>
                  <a:lnTo>
                    <a:pt x="0"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0" name="Freeform 50283"/>
            <p:cNvSpPr>
              <a:spLocks noEditPoints="1"/>
            </p:cNvSpPr>
            <p:nvPr/>
          </p:nvSpPr>
          <p:spPr bwMode="auto">
            <a:xfrm>
              <a:off x="2733673" y="4960954"/>
              <a:ext cx="312738" cy="309565"/>
            </a:xfrm>
            <a:custGeom>
              <a:avLst/>
              <a:gdLst>
                <a:gd name="T0" fmla="*/ 130 w 197"/>
                <a:gd name="T1" fmla="*/ 169 h 195"/>
                <a:gd name="T2" fmla="*/ 138 w 197"/>
                <a:gd name="T3" fmla="*/ 174 h 195"/>
                <a:gd name="T4" fmla="*/ 149 w 197"/>
                <a:gd name="T5" fmla="*/ 179 h 195"/>
                <a:gd name="T6" fmla="*/ 166 w 197"/>
                <a:gd name="T7" fmla="*/ 193 h 195"/>
                <a:gd name="T8" fmla="*/ 154 w 197"/>
                <a:gd name="T9" fmla="*/ 183 h 195"/>
                <a:gd name="T10" fmla="*/ 145 w 197"/>
                <a:gd name="T11" fmla="*/ 176 h 195"/>
                <a:gd name="T12" fmla="*/ 138 w 197"/>
                <a:gd name="T13" fmla="*/ 174 h 195"/>
                <a:gd name="T14" fmla="*/ 121 w 197"/>
                <a:gd name="T15" fmla="*/ 167 h 195"/>
                <a:gd name="T16" fmla="*/ 130 w 197"/>
                <a:gd name="T17" fmla="*/ 167 h 195"/>
                <a:gd name="T18" fmla="*/ 104 w 197"/>
                <a:gd name="T19" fmla="*/ 8 h 195"/>
                <a:gd name="T20" fmla="*/ 111 w 197"/>
                <a:gd name="T21" fmla="*/ 15 h 195"/>
                <a:gd name="T22" fmla="*/ 126 w 197"/>
                <a:gd name="T23" fmla="*/ 29 h 195"/>
                <a:gd name="T24" fmla="*/ 145 w 197"/>
                <a:gd name="T25" fmla="*/ 36 h 195"/>
                <a:gd name="T26" fmla="*/ 156 w 197"/>
                <a:gd name="T27" fmla="*/ 38 h 195"/>
                <a:gd name="T28" fmla="*/ 175 w 197"/>
                <a:gd name="T29" fmla="*/ 34 h 195"/>
                <a:gd name="T30" fmla="*/ 180 w 197"/>
                <a:gd name="T31" fmla="*/ 43 h 195"/>
                <a:gd name="T32" fmla="*/ 180 w 197"/>
                <a:gd name="T33" fmla="*/ 55 h 195"/>
                <a:gd name="T34" fmla="*/ 194 w 197"/>
                <a:gd name="T35" fmla="*/ 67 h 195"/>
                <a:gd name="T36" fmla="*/ 183 w 197"/>
                <a:gd name="T37" fmla="*/ 79 h 195"/>
                <a:gd name="T38" fmla="*/ 175 w 197"/>
                <a:gd name="T39" fmla="*/ 74 h 195"/>
                <a:gd name="T40" fmla="*/ 164 w 197"/>
                <a:gd name="T41" fmla="*/ 72 h 195"/>
                <a:gd name="T42" fmla="*/ 145 w 197"/>
                <a:gd name="T43" fmla="*/ 72 h 195"/>
                <a:gd name="T44" fmla="*/ 133 w 197"/>
                <a:gd name="T45" fmla="*/ 67 h 195"/>
                <a:gd name="T46" fmla="*/ 116 w 197"/>
                <a:gd name="T47" fmla="*/ 62 h 195"/>
                <a:gd name="T48" fmla="*/ 107 w 197"/>
                <a:gd name="T49" fmla="*/ 65 h 195"/>
                <a:gd name="T50" fmla="*/ 90 w 197"/>
                <a:gd name="T51" fmla="*/ 74 h 195"/>
                <a:gd name="T52" fmla="*/ 76 w 197"/>
                <a:gd name="T53" fmla="*/ 65 h 195"/>
                <a:gd name="T54" fmla="*/ 81 w 197"/>
                <a:gd name="T55" fmla="*/ 86 h 195"/>
                <a:gd name="T56" fmla="*/ 88 w 197"/>
                <a:gd name="T57" fmla="*/ 110 h 195"/>
                <a:gd name="T58" fmla="*/ 102 w 197"/>
                <a:gd name="T59" fmla="*/ 124 h 195"/>
                <a:gd name="T60" fmla="*/ 126 w 197"/>
                <a:gd name="T61" fmla="*/ 150 h 195"/>
                <a:gd name="T62" fmla="*/ 135 w 197"/>
                <a:gd name="T63" fmla="*/ 164 h 195"/>
                <a:gd name="T64" fmla="*/ 116 w 197"/>
                <a:gd name="T65" fmla="*/ 155 h 195"/>
                <a:gd name="T66" fmla="*/ 97 w 197"/>
                <a:gd name="T67" fmla="*/ 143 h 195"/>
                <a:gd name="T68" fmla="*/ 92 w 197"/>
                <a:gd name="T69" fmla="*/ 143 h 195"/>
                <a:gd name="T70" fmla="*/ 85 w 197"/>
                <a:gd name="T71" fmla="*/ 145 h 195"/>
                <a:gd name="T72" fmla="*/ 81 w 197"/>
                <a:gd name="T73" fmla="*/ 136 h 195"/>
                <a:gd name="T74" fmla="*/ 78 w 197"/>
                <a:gd name="T75" fmla="*/ 131 h 195"/>
                <a:gd name="T76" fmla="*/ 69 w 197"/>
                <a:gd name="T77" fmla="*/ 131 h 195"/>
                <a:gd name="T78" fmla="*/ 64 w 197"/>
                <a:gd name="T79" fmla="*/ 124 h 195"/>
                <a:gd name="T80" fmla="*/ 52 w 197"/>
                <a:gd name="T81" fmla="*/ 107 h 195"/>
                <a:gd name="T82" fmla="*/ 62 w 197"/>
                <a:gd name="T83" fmla="*/ 107 h 195"/>
                <a:gd name="T84" fmla="*/ 69 w 197"/>
                <a:gd name="T85" fmla="*/ 112 h 195"/>
                <a:gd name="T86" fmla="*/ 57 w 197"/>
                <a:gd name="T87" fmla="*/ 100 h 195"/>
                <a:gd name="T88" fmla="*/ 45 w 197"/>
                <a:gd name="T89" fmla="*/ 88 h 195"/>
                <a:gd name="T90" fmla="*/ 45 w 197"/>
                <a:gd name="T91" fmla="*/ 74 h 195"/>
                <a:gd name="T92" fmla="*/ 35 w 197"/>
                <a:gd name="T93" fmla="*/ 60 h 195"/>
                <a:gd name="T94" fmla="*/ 24 w 197"/>
                <a:gd name="T95" fmla="*/ 69 h 195"/>
                <a:gd name="T96" fmla="*/ 17 w 197"/>
                <a:gd name="T97" fmla="*/ 76 h 195"/>
                <a:gd name="T98" fmla="*/ 12 w 197"/>
                <a:gd name="T99" fmla="*/ 81 h 195"/>
                <a:gd name="T100" fmla="*/ 7 w 197"/>
                <a:gd name="T101" fmla="*/ 74 h 195"/>
                <a:gd name="T102" fmla="*/ 5 w 197"/>
                <a:gd name="T103" fmla="*/ 67 h 195"/>
                <a:gd name="T104" fmla="*/ 2 w 197"/>
                <a:gd name="T105" fmla="*/ 55 h 195"/>
                <a:gd name="T106" fmla="*/ 12 w 197"/>
                <a:gd name="T107" fmla="*/ 53 h 195"/>
                <a:gd name="T108" fmla="*/ 33 w 197"/>
                <a:gd name="T109" fmla="*/ 48 h 195"/>
                <a:gd name="T110" fmla="*/ 45 w 197"/>
                <a:gd name="T111" fmla="*/ 53 h 195"/>
                <a:gd name="T112" fmla="*/ 62 w 197"/>
                <a:gd name="T113" fmla="*/ 53 h 195"/>
                <a:gd name="T114" fmla="*/ 64 w 197"/>
                <a:gd name="T115" fmla="*/ 36 h 195"/>
                <a:gd name="T116" fmla="*/ 71 w 197"/>
                <a:gd name="T117" fmla="*/ 24 h 195"/>
                <a:gd name="T118" fmla="*/ 83 w 197"/>
                <a:gd name="T119"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195">
                  <a:moveTo>
                    <a:pt x="116" y="164"/>
                  </a:moveTo>
                  <a:lnTo>
                    <a:pt x="119" y="164"/>
                  </a:lnTo>
                  <a:lnTo>
                    <a:pt x="119" y="167"/>
                  </a:lnTo>
                  <a:lnTo>
                    <a:pt x="119" y="164"/>
                  </a:lnTo>
                  <a:lnTo>
                    <a:pt x="119" y="167"/>
                  </a:lnTo>
                  <a:lnTo>
                    <a:pt x="119" y="164"/>
                  </a:lnTo>
                  <a:lnTo>
                    <a:pt x="121" y="164"/>
                  </a:lnTo>
                  <a:lnTo>
                    <a:pt x="123" y="167"/>
                  </a:lnTo>
                  <a:lnTo>
                    <a:pt x="126" y="167"/>
                  </a:lnTo>
                  <a:lnTo>
                    <a:pt x="128" y="167"/>
                  </a:lnTo>
                  <a:lnTo>
                    <a:pt x="128" y="169"/>
                  </a:lnTo>
                  <a:lnTo>
                    <a:pt x="130" y="169"/>
                  </a:lnTo>
                  <a:lnTo>
                    <a:pt x="130" y="171"/>
                  </a:lnTo>
                  <a:lnTo>
                    <a:pt x="130" y="169"/>
                  </a:lnTo>
                  <a:lnTo>
                    <a:pt x="133" y="171"/>
                  </a:lnTo>
                  <a:lnTo>
                    <a:pt x="133" y="169"/>
                  </a:lnTo>
                  <a:lnTo>
                    <a:pt x="133" y="171"/>
                  </a:lnTo>
                  <a:lnTo>
                    <a:pt x="135" y="171"/>
                  </a:lnTo>
                  <a:lnTo>
                    <a:pt x="138" y="171"/>
                  </a:lnTo>
                  <a:lnTo>
                    <a:pt x="138" y="174"/>
                  </a:lnTo>
                  <a:lnTo>
                    <a:pt x="140" y="174"/>
                  </a:lnTo>
                  <a:lnTo>
                    <a:pt x="138" y="174"/>
                  </a:lnTo>
                  <a:lnTo>
                    <a:pt x="140" y="174"/>
                  </a:lnTo>
                  <a:lnTo>
                    <a:pt x="138" y="174"/>
                  </a:lnTo>
                  <a:lnTo>
                    <a:pt x="138" y="171"/>
                  </a:lnTo>
                  <a:lnTo>
                    <a:pt x="140" y="171"/>
                  </a:lnTo>
                  <a:lnTo>
                    <a:pt x="138" y="171"/>
                  </a:lnTo>
                  <a:lnTo>
                    <a:pt x="140" y="171"/>
                  </a:lnTo>
                  <a:lnTo>
                    <a:pt x="140" y="169"/>
                  </a:lnTo>
                  <a:lnTo>
                    <a:pt x="142" y="171"/>
                  </a:lnTo>
                  <a:lnTo>
                    <a:pt x="145" y="171"/>
                  </a:lnTo>
                  <a:lnTo>
                    <a:pt x="145" y="174"/>
                  </a:lnTo>
                  <a:lnTo>
                    <a:pt x="145" y="176"/>
                  </a:lnTo>
                  <a:lnTo>
                    <a:pt x="147" y="176"/>
                  </a:lnTo>
                  <a:lnTo>
                    <a:pt x="149" y="176"/>
                  </a:lnTo>
                  <a:lnTo>
                    <a:pt x="149" y="179"/>
                  </a:lnTo>
                  <a:lnTo>
                    <a:pt x="152" y="181"/>
                  </a:lnTo>
                  <a:lnTo>
                    <a:pt x="154" y="181"/>
                  </a:lnTo>
                  <a:lnTo>
                    <a:pt x="156" y="183"/>
                  </a:lnTo>
                  <a:lnTo>
                    <a:pt x="159" y="183"/>
                  </a:lnTo>
                  <a:lnTo>
                    <a:pt x="161" y="183"/>
                  </a:lnTo>
                  <a:lnTo>
                    <a:pt x="161" y="186"/>
                  </a:lnTo>
                  <a:lnTo>
                    <a:pt x="164" y="186"/>
                  </a:lnTo>
                  <a:lnTo>
                    <a:pt x="164" y="190"/>
                  </a:lnTo>
                  <a:lnTo>
                    <a:pt x="164" y="193"/>
                  </a:lnTo>
                  <a:lnTo>
                    <a:pt x="166" y="193"/>
                  </a:lnTo>
                  <a:lnTo>
                    <a:pt x="166" y="195"/>
                  </a:lnTo>
                  <a:lnTo>
                    <a:pt x="166" y="193"/>
                  </a:lnTo>
                  <a:lnTo>
                    <a:pt x="164" y="193"/>
                  </a:lnTo>
                  <a:lnTo>
                    <a:pt x="164" y="190"/>
                  </a:lnTo>
                  <a:lnTo>
                    <a:pt x="164" y="193"/>
                  </a:lnTo>
                  <a:lnTo>
                    <a:pt x="161" y="190"/>
                  </a:lnTo>
                  <a:lnTo>
                    <a:pt x="164" y="190"/>
                  </a:lnTo>
                  <a:lnTo>
                    <a:pt x="161" y="190"/>
                  </a:lnTo>
                  <a:lnTo>
                    <a:pt x="159" y="190"/>
                  </a:lnTo>
                  <a:lnTo>
                    <a:pt x="159" y="188"/>
                  </a:lnTo>
                  <a:lnTo>
                    <a:pt x="156" y="188"/>
                  </a:lnTo>
                  <a:lnTo>
                    <a:pt x="156" y="186"/>
                  </a:lnTo>
                  <a:lnTo>
                    <a:pt x="156" y="183"/>
                  </a:lnTo>
                  <a:lnTo>
                    <a:pt x="154" y="183"/>
                  </a:lnTo>
                  <a:lnTo>
                    <a:pt x="152" y="183"/>
                  </a:lnTo>
                  <a:lnTo>
                    <a:pt x="149" y="183"/>
                  </a:lnTo>
                  <a:lnTo>
                    <a:pt x="152" y="183"/>
                  </a:lnTo>
                  <a:lnTo>
                    <a:pt x="149" y="181"/>
                  </a:lnTo>
                  <a:lnTo>
                    <a:pt x="152" y="181"/>
                  </a:lnTo>
                  <a:lnTo>
                    <a:pt x="152" y="183"/>
                  </a:lnTo>
                  <a:lnTo>
                    <a:pt x="152" y="181"/>
                  </a:lnTo>
                  <a:lnTo>
                    <a:pt x="149" y="181"/>
                  </a:lnTo>
                  <a:lnTo>
                    <a:pt x="147" y="181"/>
                  </a:lnTo>
                  <a:lnTo>
                    <a:pt x="147" y="179"/>
                  </a:lnTo>
                  <a:lnTo>
                    <a:pt x="145" y="179"/>
                  </a:lnTo>
                  <a:lnTo>
                    <a:pt x="145" y="176"/>
                  </a:lnTo>
                  <a:lnTo>
                    <a:pt x="142" y="176"/>
                  </a:lnTo>
                  <a:lnTo>
                    <a:pt x="145" y="176"/>
                  </a:lnTo>
                  <a:lnTo>
                    <a:pt x="142" y="176"/>
                  </a:lnTo>
                  <a:lnTo>
                    <a:pt x="140" y="176"/>
                  </a:lnTo>
                  <a:lnTo>
                    <a:pt x="140" y="174"/>
                  </a:lnTo>
                  <a:lnTo>
                    <a:pt x="138" y="174"/>
                  </a:lnTo>
                  <a:lnTo>
                    <a:pt x="140" y="174"/>
                  </a:lnTo>
                  <a:lnTo>
                    <a:pt x="140" y="176"/>
                  </a:lnTo>
                  <a:lnTo>
                    <a:pt x="140" y="179"/>
                  </a:lnTo>
                  <a:lnTo>
                    <a:pt x="140" y="176"/>
                  </a:lnTo>
                  <a:lnTo>
                    <a:pt x="138" y="176"/>
                  </a:lnTo>
                  <a:lnTo>
                    <a:pt x="138" y="174"/>
                  </a:lnTo>
                  <a:lnTo>
                    <a:pt x="138" y="176"/>
                  </a:lnTo>
                  <a:lnTo>
                    <a:pt x="138" y="174"/>
                  </a:lnTo>
                  <a:lnTo>
                    <a:pt x="135" y="174"/>
                  </a:lnTo>
                  <a:lnTo>
                    <a:pt x="133" y="174"/>
                  </a:lnTo>
                  <a:lnTo>
                    <a:pt x="130" y="174"/>
                  </a:lnTo>
                  <a:lnTo>
                    <a:pt x="130" y="171"/>
                  </a:lnTo>
                  <a:lnTo>
                    <a:pt x="128" y="171"/>
                  </a:lnTo>
                  <a:lnTo>
                    <a:pt x="128" y="169"/>
                  </a:lnTo>
                  <a:lnTo>
                    <a:pt x="126" y="169"/>
                  </a:lnTo>
                  <a:lnTo>
                    <a:pt x="123" y="169"/>
                  </a:lnTo>
                  <a:lnTo>
                    <a:pt x="123" y="167"/>
                  </a:lnTo>
                  <a:lnTo>
                    <a:pt x="121" y="167"/>
                  </a:lnTo>
                  <a:lnTo>
                    <a:pt x="119" y="167"/>
                  </a:lnTo>
                  <a:lnTo>
                    <a:pt x="116" y="167"/>
                  </a:lnTo>
                  <a:lnTo>
                    <a:pt x="116" y="164"/>
                  </a:lnTo>
                  <a:close/>
                  <a:moveTo>
                    <a:pt x="138" y="164"/>
                  </a:moveTo>
                  <a:lnTo>
                    <a:pt x="140" y="167"/>
                  </a:lnTo>
                  <a:lnTo>
                    <a:pt x="138" y="169"/>
                  </a:lnTo>
                  <a:lnTo>
                    <a:pt x="135" y="169"/>
                  </a:lnTo>
                  <a:lnTo>
                    <a:pt x="133" y="169"/>
                  </a:lnTo>
                  <a:lnTo>
                    <a:pt x="133" y="167"/>
                  </a:lnTo>
                  <a:lnTo>
                    <a:pt x="130" y="167"/>
                  </a:lnTo>
                  <a:lnTo>
                    <a:pt x="130" y="164"/>
                  </a:lnTo>
                  <a:lnTo>
                    <a:pt x="130" y="167"/>
                  </a:lnTo>
                  <a:lnTo>
                    <a:pt x="130" y="164"/>
                  </a:lnTo>
                  <a:lnTo>
                    <a:pt x="133" y="164"/>
                  </a:lnTo>
                  <a:lnTo>
                    <a:pt x="135" y="167"/>
                  </a:lnTo>
                  <a:lnTo>
                    <a:pt x="135" y="164"/>
                  </a:lnTo>
                  <a:lnTo>
                    <a:pt x="138" y="164"/>
                  </a:lnTo>
                  <a:close/>
                  <a:moveTo>
                    <a:pt x="95" y="3"/>
                  </a:moveTo>
                  <a:lnTo>
                    <a:pt x="97" y="3"/>
                  </a:lnTo>
                  <a:lnTo>
                    <a:pt x="100" y="3"/>
                  </a:lnTo>
                  <a:lnTo>
                    <a:pt x="100" y="5"/>
                  </a:lnTo>
                  <a:lnTo>
                    <a:pt x="102" y="5"/>
                  </a:lnTo>
                  <a:lnTo>
                    <a:pt x="104" y="5"/>
                  </a:lnTo>
                  <a:lnTo>
                    <a:pt x="104" y="8"/>
                  </a:lnTo>
                  <a:lnTo>
                    <a:pt x="107" y="8"/>
                  </a:lnTo>
                  <a:lnTo>
                    <a:pt x="107" y="10"/>
                  </a:lnTo>
                  <a:lnTo>
                    <a:pt x="107" y="8"/>
                  </a:lnTo>
                  <a:lnTo>
                    <a:pt x="109" y="8"/>
                  </a:lnTo>
                  <a:lnTo>
                    <a:pt x="109" y="10"/>
                  </a:lnTo>
                  <a:lnTo>
                    <a:pt x="109" y="8"/>
                  </a:lnTo>
                  <a:lnTo>
                    <a:pt x="109" y="10"/>
                  </a:lnTo>
                  <a:lnTo>
                    <a:pt x="111" y="10"/>
                  </a:lnTo>
                  <a:lnTo>
                    <a:pt x="111" y="12"/>
                  </a:lnTo>
                  <a:lnTo>
                    <a:pt x="111" y="10"/>
                  </a:lnTo>
                  <a:lnTo>
                    <a:pt x="111" y="12"/>
                  </a:lnTo>
                  <a:lnTo>
                    <a:pt x="111" y="15"/>
                  </a:lnTo>
                  <a:lnTo>
                    <a:pt x="114" y="15"/>
                  </a:lnTo>
                  <a:lnTo>
                    <a:pt x="114" y="17"/>
                  </a:lnTo>
                  <a:lnTo>
                    <a:pt x="116" y="17"/>
                  </a:lnTo>
                  <a:lnTo>
                    <a:pt x="119" y="17"/>
                  </a:lnTo>
                  <a:lnTo>
                    <a:pt x="119" y="19"/>
                  </a:lnTo>
                  <a:lnTo>
                    <a:pt x="121" y="19"/>
                  </a:lnTo>
                  <a:lnTo>
                    <a:pt x="121" y="22"/>
                  </a:lnTo>
                  <a:lnTo>
                    <a:pt x="123" y="22"/>
                  </a:lnTo>
                  <a:lnTo>
                    <a:pt x="123" y="24"/>
                  </a:lnTo>
                  <a:lnTo>
                    <a:pt x="123" y="27"/>
                  </a:lnTo>
                  <a:lnTo>
                    <a:pt x="126" y="27"/>
                  </a:lnTo>
                  <a:lnTo>
                    <a:pt x="126" y="29"/>
                  </a:lnTo>
                  <a:lnTo>
                    <a:pt x="128" y="29"/>
                  </a:lnTo>
                  <a:lnTo>
                    <a:pt x="126" y="29"/>
                  </a:lnTo>
                  <a:lnTo>
                    <a:pt x="128" y="29"/>
                  </a:lnTo>
                  <a:lnTo>
                    <a:pt x="130" y="29"/>
                  </a:lnTo>
                  <a:lnTo>
                    <a:pt x="133" y="29"/>
                  </a:lnTo>
                  <a:lnTo>
                    <a:pt x="135" y="29"/>
                  </a:lnTo>
                  <a:lnTo>
                    <a:pt x="135" y="31"/>
                  </a:lnTo>
                  <a:lnTo>
                    <a:pt x="138" y="34"/>
                  </a:lnTo>
                  <a:lnTo>
                    <a:pt x="140" y="34"/>
                  </a:lnTo>
                  <a:lnTo>
                    <a:pt x="140" y="36"/>
                  </a:lnTo>
                  <a:lnTo>
                    <a:pt x="142" y="36"/>
                  </a:lnTo>
                  <a:lnTo>
                    <a:pt x="145" y="36"/>
                  </a:lnTo>
                  <a:lnTo>
                    <a:pt x="145" y="38"/>
                  </a:lnTo>
                  <a:lnTo>
                    <a:pt x="145" y="36"/>
                  </a:lnTo>
                  <a:lnTo>
                    <a:pt x="147" y="36"/>
                  </a:lnTo>
                  <a:lnTo>
                    <a:pt x="149" y="36"/>
                  </a:lnTo>
                  <a:lnTo>
                    <a:pt x="149" y="38"/>
                  </a:lnTo>
                  <a:lnTo>
                    <a:pt x="152" y="38"/>
                  </a:lnTo>
                  <a:lnTo>
                    <a:pt x="152" y="36"/>
                  </a:lnTo>
                  <a:lnTo>
                    <a:pt x="154" y="36"/>
                  </a:lnTo>
                  <a:lnTo>
                    <a:pt x="154" y="38"/>
                  </a:lnTo>
                  <a:lnTo>
                    <a:pt x="154" y="36"/>
                  </a:lnTo>
                  <a:lnTo>
                    <a:pt x="156" y="36"/>
                  </a:lnTo>
                  <a:lnTo>
                    <a:pt x="156" y="38"/>
                  </a:lnTo>
                  <a:lnTo>
                    <a:pt x="159" y="38"/>
                  </a:lnTo>
                  <a:lnTo>
                    <a:pt x="161" y="38"/>
                  </a:lnTo>
                  <a:lnTo>
                    <a:pt x="164" y="38"/>
                  </a:lnTo>
                  <a:lnTo>
                    <a:pt x="164" y="36"/>
                  </a:lnTo>
                  <a:lnTo>
                    <a:pt x="166" y="36"/>
                  </a:lnTo>
                  <a:lnTo>
                    <a:pt x="168" y="36"/>
                  </a:lnTo>
                  <a:lnTo>
                    <a:pt x="168" y="34"/>
                  </a:lnTo>
                  <a:lnTo>
                    <a:pt x="171" y="34"/>
                  </a:lnTo>
                  <a:lnTo>
                    <a:pt x="171" y="31"/>
                  </a:lnTo>
                  <a:lnTo>
                    <a:pt x="173" y="31"/>
                  </a:lnTo>
                  <a:lnTo>
                    <a:pt x="175" y="31"/>
                  </a:lnTo>
                  <a:lnTo>
                    <a:pt x="175" y="34"/>
                  </a:lnTo>
                  <a:lnTo>
                    <a:pt x="175" y="31"/>
                  </a:lnTo>
                  <a:lnTo>
                    <a:pt x="178" y="31"/>
                  </a:lnTo>
                  <a:lnTo>
                    <a:pt x="178" y="34"/>
                  </a:lnTo>
                  <a:lnTo>
                    <a:pt x="175" y="36"/>
                  </a:lnTo>
                  <a:lnTo>
                    <a:pt x="178" y="36"/>
                  </a:lnTo>
                  <a:lnTo>
                    <a:pt x="178" y="38"/>
                  </a:lnTo>
                  <a:lnTo>
                    <a:pt x="180" y="36"/>
                  </a:lnTo>
                  <a:lnTo>
                    <a:pt x="180" y="38"/>
                  </a:lnTo>
                  <a:lnTo>
                    <a:pt x="180" y="41"/>
                  </a:lnTo>
                  <a:lnTo>
                    <a:pt x="178" y="41"/>
                  </a:lnTo>
                  <a:lnTo>
                    <a:pt x="180" y="41"/>
                  </a:lnTo>
                  <a:lnTo>
                    <a:pt x="180" y="43"/>
                  </a:lnTo>
                  <a:lnTo>
                    <a:pt x="178" y="46"/>
                  </a:lnTo>
                  <a:lnTo>
                    <a:pt x="178" y="48"/>
                  </a:lnTo>
                  <a:lnTo>
                    <a:pt x="180" y="48"/>
                  </a:lnTo>
                  <a:lnTo>
                    <a:pt x="183" y="48"/>
                  </a:lnTo>
                  <a:lnTo>
                    <a:pt x="185" y="48"/>
                  </a:lnTo>
                  <a:lnTo>
                    <a:pt x="185" y="50"/>
                  </a:lnTo>
                  <a:lnTo>
                    <a:pt x="183" y="50"/>
                  </a:lnTo>
                  <a:lnTo>
                    <a:pt x="180" y="50"/>
                  </a:lnTo>
                  <a:lnTo>
                    <a:pt x="180" y="53"/>
                  </a:lnTo>
                  <a:lnTo>
                    <a:pt x="183" y="53"/>
                  </a:lnTo>
                  <a:lnTo>
                    <a:pt x="183" y="55"/>
                  </a:lnTo>
                  <a:lnTo>
                    <a:pt x="180" y="55"/>
                  </a:lnTo>
                  <a:lnTo>
                    <a:pt x="180" y="57"/>
                  </a:lnTo>
                  <a:lnTo>
                    <a:pt x="183" y="57"/>
                  </a:lnTo>
                  <a:lnTo>
                    <a:pt x="185" y="57"/>
                  </a:lnTo>
                  <a:lnTo>
                    <a:pt x="185" y="60"/>
                  </a:lnTo>
                  <a:lnTo>
                    <a:pt x="187" y="60"/>
                  </a:lnTo>
                  <a:lnTo>
                    <a:pt x="187" y="62"/>
                  </a:lnTo>
                  <a:lnTo>
                    <a:pt x="190" y="62"/>
                  </a:lnTo>
                  <a:lnTo>
                    <a:pt x="192" y="62"/>
                  </a:lnTo>
                  <a:lnTo>
                    <a:pt x="194" y="62"/>
                  </a:lnTo>
                  <a:lnTo>
                    <a:pt x="197" y="62"/>
                  </a:lnTo>
                  <a:lnTo>
                    <a:pt x="194" y="65"/>
                  </a:lnTo>
                  <a:lnTo>
                    <a:pt x="194" y="67"/>
                  </a:lnTo>
                  <a:lnTo>
                    <a:pt x="192" y="67"/>
                  </a:lnTo>
                  <a:lnTo>
                    <a:pt x="190" y="67"/>
                  </a:lnTo>
                  <a:lnTo>
                    <a:pt x="185" y="69"/>
                  </a:lnTo>
                  <a:lnTo>
                    <a:pt x="185" y="72"/>
                  </a:lnTo>
                  <a:lnTo>
                    <a:pt x="185" y="74"/>
                  </a:lnTo>
                  <a:lnTo>
                    <a:pt x="183" y="74"/>
                  </a:lnTo>
                  <a:lnTo>
                    <a:pt x="185" y="74"/>
                  </a:lnTo>
                  <a:lnTo>
                    <a:pt x="187" y="74"/>
                  </a:lnTo>
                  <a:lnTo>
                    <a:pt x="187" y="76"/>
                  </a:lnTo>
                  <a:lnTo>
                    <a:pt x="185" y="76"/>
                  </a:lnTo>
                  <a:lnTo>
                    <a:pt x="185" y="79"/>
                  </a:lnTo>
                  <a:lnTo>
                    <a:pt x="183" y="79"/>
                  </a:lnTo>
                  <a:lnTo>
                    <a:pt x="183" y="76"/>
                  </a:lnTo>
                  <a:lnTo>
                    <a:pt x="180" y="79"/>
                  </a:lnTo>
                  <a:lnTo>
                    <a:pt x="183" y="79"/>
                  </a:lnTo>
                  <a:lnTo>
                    <a:pt x="183" y="81"/>
                  </a:lnTo>
                  <a:lnTo>
                    <a:pt x="180" y="81"/>
                  </a:lnTo>
                  <a:lnTo>
                    <a:pt x="178" y="81"/>
                  </a:lnTo>
                  <a:lnTo>
                    <a:pt x="175" y="81"/>
                  </a:lnTo>
                  <a:lnTo>
                    <a:pt x="175" y="79"/>
                  </a:lnTo>
                  <a:lnTo>
                    <a:pt x="173" y="79"/>
                  </a:lnTo>
                  <a:lnTo>
                    <a:pt x="173" y="76"/>
                  </a:lnTo>
                  <a:lnTo>
                    <a:pt x="175" y="76"/>
                  </a:lnTo>
                  <a:lnTo>
                    <a:pt x="175" y="74"/>
                  </a:lnTo>
                  <a:lnTo>
                    <a:pt x="173" y="74"/>
                  </a:lnTo>
                  <a:lnTo>
                    <a:pt x="173" y="72"/>
                  </a:lnTo>
                  <a:lnTo>
                    <a:pt x="171" y="72"/>
                  </a:lnTo>
                  <a:lnTo>
                    <a:pt x="171" y="69"/>
                  </a:lnTo>
                  <a:lnTo>
                    <a:pt x="171" y="72"/>
                  </a:lnTo>
                  <a:lnTo>
                    <a:pt x="168" y="72"/>
                  </a:lnTo>
                  <a:lnTo>
                    <a:pt x="168" y="69"/>
                  </a:lnTo>
                  <a:lnTo>
                    <a:pt x="168" y="72"/>
                  </a:lnTo>
                  <a:lnTo>
                    <a:pt x="168" y="69"/>
                  </a:lnTo>
                  <a:lnTo>
                    <a:pt x="166" y="69"/>
                  </a:lnTo>
                  <a:lnTo>
                    <a:pt x="166" y="72"/>
                  </a:lnTo>
                  <a:lnTo>
                    <a:pt x="164" y="72"/>
                  </a:lnTo>
                  <a:lnTo>
                    <a:pt x="164" y="69"/>
                  </a:lnTo>
                  <a:lnTo>
                    <a:pt x="161" y="69"/>
                  </a:lnTo>
                  <a:lnTo>
                    <a:pt x="159" y="69"/>
                  </a:lnTo>
                  <a:lnTo>
                    <a:pt x="156" y="67"/>
                  </a:lnTo>
                  <a:lnTo>
                    <a:pt x="156" y="69"/>
                  </a:lnTo>
                  <a:lnTo>
                    <a:pt x="154" y="69"/>
                  </a:lnTo>
                  <a:lnTo>
                    <a:pt x="152" y="69"/>
                  </a:lnTo>
                  <a:lnTo>
                    <a:pt x="152" y="67"/>
                  </a:lnTo>
                  <a:lnTo>
                    <a:pt x="149" y="67"/>
                  </a:lnTo>
                  <a:lnTo>
                    <a:pt x="147" y="67"/>
                  </a:lnTo>
                  <a:lnTo>
                    <a:pt x="147" y="69"/>
                  </a:lnTo>
                  <a:lnTo>
                    <a:pt x="145" y="72"/>
                  </a:lnTo>
                  <a:lnTo>
                    <a:pt x="142" y="72"/>
                  </a:lnTo>
                  <a:lnTo>
                    <a:pt x="142" y="69"/>
                  </a:lnTo>
                  <a:lnTo>
                    <a:pt x="140" y="69"/>
                  </a:lnTo>
                  <a:lnTo>
                    <a:pt x="138" y="69"/>
                  </a:lnTo>
                  <a:lnTo>
                    <a:pt x="138" y="67"/>
                  </a:lnTo>
                  <a:lnTo>
                    <a:pt x="135" y="67"/>
                  </a:lnTo>
                  <a:lnTo>
                    <a:pt x="135" y="69"/>
                  </a:lnTo>
                  <a:lnTo>
                    <a:pt x="133" y="69"/>
                  </a:lnTo>
                  <a:lnTo>
                    <a:pt x="133" y="67"/>
                  </a:lnTo>
                  <a:lnTo>
                    <a:pt x="133" y="69"/>
                  </a:lnTo>
                  <a:lnTo>
                    <a:pt x="130" y="69"/>
                  </a:lnTo>
                  <a:lnTo>
                    <a:pt x="133" y="67"/>
                  </a:lnTo>
                  <a:lnTo>
                    <a:pt x="130" y="67"/>
                  </a:lnTo>
                  <a:lnTo>
                    <a:pt x="128" y="67"/>
                  </a:lnTo>
                  <a:lnTo>
                    <a:pt x="126" y="67"/>
                  </a:lnTo>
                  <a:lnTo>
                    <a:pt x="126" y="65"/>
                  </a:lnTo>
                  <a:lnTo>
                    <a:pt x="123" y="65"/>
                  </a:lnTo>
                  <a:lnTo>
                    <a:pt x="123" y="67"/>
                  </a:lnTo>
                  <a:lnTo>
                    <a:pt x="121" y="67"/>
                  </a:lnTo>
                  <a:lnTo>
                    <a:pt x="119" y="65"/>
                  </a:lnTo>
                  <a:lnTo>
                    <a:pt x="116" y="65"/>
                  </a:lnTo>
                  <a:lnTo>
                    <a:pt x="116" y="62"/>
                  </a:lnTo>
                  <a:lnTo>
                    <a:pt x="116" y="65"/>
                  </a:lnTo>
                  <a:lnTo>
                    <a:pt x="116" y="62"/>
                  </a:lnTo>
                  <a:lnTo>
                    <a:pt x="114" y="62"/>
                  </a:lnTo>
                  <a:lnTo>
                    <a:pt x="116" y="62"/>
                  </a:lnTo>
                  <a:lnTo>
                    <a:pt x="114" y="62"/>
                  </a:lnTo>
                  <a:lnTo>
                    <a:pt x="114" y="60"/>
                  </a:lnTo>
                  <a:lnTo>
                    <a:pt x="114" y="62"/>
                  </a:lnTo>
                  <a:lnTo>
                    <a:pt x="111" y="62"/>
                  </a:lnTo>
                  <a:lnTo>
                    <a:pt x="109" y="62"/>
                  </a:lnTo>
                  <a:lnTo>
                    <a:pt x="111" y="62"/>
                  </a:lnTo>
                  <a:lnTo>
                    <a:pt x="109" y="65"/>
                  </a:lnTo>
                  <a:lnTo>
                    <a:pt x="111" y="65"/>
                  </a:lnTo>
                  <a:lnTo>
                    <a:pt x="109" y="65"/>
                  </a:lnTo>
                  <a:lnTo>
                    <a:pt x="107" y="65"/>
                  </a:lnTo>
                  <a:lnTo>
                    <a:pt x="104" y="65"/>
                  </a:lnTo>
                  <a:lnTo>
                    <a:pt x="102" y="62"/>
                  </a:lnTo>
                  <a:lnTo>
                    <a:pt x="102" y="65"/>
                  </a:lnTo>
                  <a:lnTo>
                    <a:pt x="100" y="62"/>
                  </a:lnTo>
                  <a:lnTo>
                    <a:pt x="100" y="65"/>
                  </a:lnTo>
                  <a:lnTo>
                    <a:pt x="97" y="65"/>
                  </a:lnTo>
                  <a:lnTo>
                    <a:pt x="97" y="67"/>
                  </a:lnTo>
                  <a:lnTo>
                    <a:pt x="95" y="69"/>
                  </a:lnTo>
                  <a:lnTo>
                    <a:pt x="95" y="72"/>
                  </a:lnTo>
                  <a:lnTo>
                    <a:pt x="95" y="74"/>
                  </a:lnTo>
                  <a:lnTo>
                    <a:pt x="92" y="74"/>
                  </a:lnTo>
                  <a:lnTo>
                    <a:pt x="90" y="74"/>
                  </a:lnTo>
                  <a:lnTo>
                    <a:pt x="90" y="72"/>
                  </a:lnTo>
                  <a:lnTo>
                    <a:pt x="88" y="72"/>
                  </a:lnTo>
                  <a:lnTo>
                    <a:pt x="88" y="69"/>
                  </a:lnTo>
                  <a:lnTo>
                    <a:pt x="85" y="69"/>
                  </a:lnTo>
                  <a:lnTo>
                    <a:pt x="85" y="67"/>
                  </a:lnTo>
                  <a:lnTo>
                    <a:pt x="83" y="65"/>
                  </a:lnTo>
                  <a:lnTo>
                    <a:pt x="81" y="65"/>
                  </a:lnTo>
                  <a:lnTo>
                    <a:pt x="81" y="62"/>
                  </a:lnTo>
                  <a:lnTo>
                    <a:pt x="78" y="62"/>
                  </a:lnTo>
                  <a:lnTo>
                    <a:pt x="78" y="65"/>
                  </a:lnTo>
                  <a:lnTo>
                    <a:pt x="78" y="62"/>
                  </a:lnTo>
                  <a:lnTo>
                    <a:pt x="76" y="65"/>
                  </a:lnTo>
                  <a:lnTo>
                    <a:pt x="76" y="67"/>
                  </a:lnTo>
                  <a:lnTo>
                    <a:pt x="76" y="69"/>
                  </a:lnTo>
                  <a:lnTo>
                    <a:pt x="76" y="72"/>
                  </a:lnTo>
                  <a:lnTo>
                    <a:pt x="73" y="72"/>
                  </a:lnTo>
                  <a:lnTo>
                    <a:pt x="73" y="74"/>
                  </a:lnTo>
                  <a:lnTo>
                    <a:pt x="73" y="76"/>
                  </a:lnTo>
                  <a:lnTo>
                    <a:pt x="73" y="79"/>
                  </a:lnTo>
                  <a:lnTo>
                    <a:pt x="76" y="79"/>
                  </a:lnTo>
                  <a:lnTo>
                    <a:pt x="76" y="81"/>
                  </a:lnTo>
                  <a:lnTo>
                    <a:pt x="78" y="84"/>
                  </a:lnTo>
                  <a:lnTo>
                    <a:pt x="78" y="86"/>
                  </a:lnTo>
                  <a:lnTo>
                    <a:pt x="81" y="86"/>
                  </a:lnTo>
                  <a:lnTo>
                    <a:pt x="81" y="88"/>
                  </a:lnTo>
                  <a:lnTo>
                    <a:pt x="83" y="91"/>
                  </a:lnTo>
                  <a:lnTo>
                    <a:pt x="85" y="95"/>
                  </a:lnTo>
                  <a:lnTo>
                    <a:pt x="88" y="95"/>
                  </a:lnTo>
                  <a:lnTo>
                    <a:pt x="88" y="98"/>
                  </a:lnTo>
                  <a:lnTo>
                    <a:pt x="88" y="100"/>
                  </a:lnTo>
                  <a:lnTo>
                    <a:pt x="88" y="103"/>
                  </a:lnTo>
                  <a:lnTo>
                    <a:pt x="90" y="103"/>
                  </a:lnTo>
                  <a:lnTo>
                    <a:pt x="90" y="105"/>
                  </a:lnTo>
                  <a:lnTo>
                    <a:pt x="88" y="105"/>
                  </a:lnTo>
                  <a:lnTo>
                    <a:pt x="88" y="107"/>
                  </a:lnTo>
                  <a:lnTo>
                    <a:pt x="88" y="110"/>
                  </a:lnTo>
                  <a:lnTo>
                    <a:pt x="90" y="110"/>
                  </a:lnTo>
                  <a:lnTo>
                    <a:pt x="90" y="112"/>
                  </a:lnTo>
                  <a:lnTo>
                    <a:pt x="92" y="112"/>
                  </a:lnTo>
                  <a:lnTo>
                    <a:pt x="92" y="114"/>
                  </a:lnTo>
                  <a:lnTo>
                    <a:pt x="95" y="114"/>
                  </a:lnTo>
                  <a:lnTo>
                    <a:pt x="95" y="117"/>
                  </a:lnTo>
                  <a:lnTo>
                    <a:pt x="97" y="117"/>
                  </a:lnTo>
                  <a:lnTo>
                    <a:pt x="97" y="119"/>
                  </a:lnTo>
                  <a:lnTo>
                    <a:pt x="100" y="119"/>
                  </a:lnTo>
                  <a:lnTo>
                    <a:pt x="100" y="122"/>
                  </a:lnTo>
                  <a:lnTo>
                    <a:pt x="102" y="122"/>
                  </a:lnTo>
                  <a:lnTo>
                    <a:pt x="102" y="124"/>
                  </a:lnTo>
                  <a:lnTo>
                    <a:pt x="104" y="124"/>
                  </a:lnTo>
                  <a:lnTo>
                    <a:pt x="104" y="126"/>
                  </a:lnTo>
                  <a:lnTo>
                    <a:pt x="107" y="126"/>
                  </a:lnTo>
                  <a:lnTo>
                    <a:pt x="107" y="129"/>
                  </a:lnTo>
                  <a:lnTo>
                    <a:pt x="107" y="131"/>
                  </a:lnTo>
                  <a:lnTo>
                    <a:pt x="111" y="133"/>
                  </a:lnTo>
                  <a:lnTo>
                    <a:pt x="121" y="143"/>
                  </a:lnTo>
                  <a:lnTo>
                    <a:pt x="121" y="145"/>
                  </a:lnTo>
                  <a:lnTo>
                    <a:pt x="123" y="145"/>
                  </a:lnTo>
                  <a:lnTo>
                    <a:pt x="126" y="145"/>
                  </a:lnTo>
                  <a:lnTo>
                    <a:pt x="126" y="148"/>
                  </a:lnTo>
                  <a:lnTo>
                    <a:pt x="126" y="150"/>
                  </a:lnTo>
                  <a:lnTo>
                    <a:pt x="126" y="152"/>
                  </a:lnTo>
                  <a:lnTo>
                    <a:pt x="128" y="155"/>
                  </a:lnTo>
                  <a:lnTo>
                    <a:pt x="130" y="155"/>
                  </a:lnTo>
                  <a:lnTo>
                    <a:pt x="130" y="157"/>
                  </a:lnTo>
                  <a:lnTo>
                    <a:pt x="130" y="160"/>
                  </a:lnTo>
                  <a:lnTo>
                    <a:pt x="133" y="160"/>
                  </a:lnTo>
                  <a:lnTo>
                    <a:pt x="135" y="160"/>
                  </a:lnTo>
                  <a:lnTo>
                    <a:pt x="138" y="162"/>
                  </a:lnTo>
                  <a:lnTo>
                    <a:pt x="138" y="164"/>
                  </a:lnTo>
                  <a:lnTo>
                    <a:pt x="135" y="164"/>
                  </a:lnTo>
                  <a:lnTo>
                    <a:pt x="135" y="167"/>
                  </a:lnTo>
                  <a:lnTo>
                    <a:pt x="135" y="164"/>
                  </a:lnTo>
                  <a:lnTo>
                    <a:pt x="133" y="164"/>
                  </a:lnTo>
                  <a:lnTo>
                    <a:pt x="130" y="164"/>
                  </a:lnTo>
                  <a:lnTo>
                    <a:pt x="128" y="164"/>
                  </a:lnTo>
                  <a:lnTo>
                    <a:pt x="128" y="162"/>
                  </a:lnTo>
                  <a:lnTo>
                    <a:pt x="126" y="162"/>
                  </a:lnTo>
                  <a:lnTo>
                    <a:pt x="126" y="160"/>
                  </a:lnTo>
                  <a:lnTo>
                    <a:pt x="123" y="160"/>
                  </a:lnTo>
                  <a:lnTo>
                    <a:pt x="121" y="160"/>
                  </a:lnTo>
                  <a:lnTo>
                    <a:pt x="121" y="157"/>
                  </a:lnTo>
                  <a:lnTo>
                    <a:pt x="119" y="157"/>
                  </a:lnTo>
                  <a:lnTo>
                    <a:pt x="119" y="155"/>
                  </a:lnTo>
                  <a:lnTo>
                    <a:pt x="116" y="155"/>
                  </a:lnTo>
                  <a:lnTo>
                    <a:pt x="116" y="152"/>
                  </a:lnTo>
                  <a:lnTo>
                    <a:pt x="114" y="152"/>
                  </a:lnTo>
                  <a:lnTo>
                    <a:pt x="114" y="150"/>
                  </a:lnTo>
                  <a:lnTo>
                    <a:pt x="111" y="150"/>
                  </a:lnTo>
                  <a:lnTo>
                    <a:pt x="111" y="148"/>
                  </a:lnTo>
                  <a:lnTo>
                    <a:pt x="109" y="148"/>
                  </a:lnTo>
                  <a:lnTo>
                    <a:pt x="107" y="148"/>
                  </a:lnTo>
                  <a:lnTo>
                    <a:pt x="107" y="145"/>
                  </a:lnTo>
                  <a:lnTo>
                    <a:pt x="104" y="145"/>
                  </a:lnTo>
                  <a:lnTo>
                    <a:pt x="102" y="145"/>
                  </a:lnTo>
                  <a:lnTo>
                    <a:pt x="100" y="143"/>
                  </a:lnTo>
                  <a:lnTo>
                    <a:pt x="97" y="143"/>
                  </a:lnTo>
                  <a:lnTo>
                    <a:pt x="95" y="143"/>
                  </a:lnTo>
                  <a:lnTo>
                    <a:pt x="97" y="143"/>
                  </a:lnTo>
                  <a:lnTo>
                    <a:pt x="97" y="141"/>
                  </a:lnTo>
                  <a:lnTo>
                    <a:pt x="95" y="141"/>
                  </a:lnTo>
                  <a:lnTo>
                    <a:pt x="92" y="141"/>
                  </a:lnTo>
                  <a:lnTo>
                    <a:pt x="92" y="143"/>
                  </a:lnTo>
                  <a:lnTo>
                    <a:pt x="90" y="143"/>
                  </a:lnTo>
                  <a:lnTo>
                    <a:pt x="92" y="143"/>
                  </a:lnTo>
                  <a:lnTo>
                    <a:pt x="95" y="143"/>
                  </a:lnTo>
                  <a:lnTo>
                    <a:pt x="95" y="145"/>
                  </a:lnTo>
                  <a:lnTo>
                    <a:pt x="92" y="145"/>
                  </a:lnTo>
                  <a:lnTo>
                    <a:pt x="92" y="143"/>
                  </a:lnTo>
                  <a:lnTo>
                    <a:pt x="90" y="143"/>
                  </a:lnTo>
                  <a:lnTo>
                    <a:pt x="90" y="145"/>
                  </a:lnTo>
                  <a:lnTo>
                    <a:pt x="90" y="143"/>
                  </a:lnTo>
                  <a:lnTo>
                    <a:pt x="90" y="145"/>
                  </a:lnTo>
                  <a:lnTo>
                    <a:pt x="90" y="143"/>
                  </a:lnTo>
                  <a:lnTo>
                    <a:pt x="88" y="143"/>
                  </a:lnTo>
                  <a:lnTo>
                    <a:pt x="85" y="143"/>
                  </a:lnTo>
                  <a:lnTo>
                    <a:pt x="88" y="143"/>
                  </a:lnTo>
                  <a:lnTo>
                    <a:pt x="88" y="145"/>
                  </a:lnTo>
                  <a:lnTo>
                    <a:pt x="85" y="143"/>
                  </a:lnTo>
                  <a:lnTo>
                    <a:pt x="88" y="145"/>
                  </a:lnTo>
                  <a:lnTo>
                    <a:pt x="85" y="145"/>
                  </a:lnTo>
                  <a:lnTo>
                    <a:pt x="85" y="143"/>
                  </a:lnTo>
                  <a:lnTo>
                    <a:pt x="85" y="145"/>
                  </a:lnTo>
                  <a:lnTo>
                    <a:pt x="83" y="145"/>
                  </a:lnTo>
                  <a:lnTo>
                    <a:pt x="83" y="143"/>
                  </a:lnTo>
                  <a:lnTo>
                    <a:pt x="81" y="143"/>
                  </a:lnTo>
                  <a:lnTo>
                    <a:pt x="83" y="143"/>
                  </a:lnTo>
                  <a:lnTo>
                    <a:pt x="83" y="141"/>
                  </a:lnTo>
                  <a:lnTo>
                    <a:pt x="81" y="141"/>
                  </a:lnTo>
                  <a:lnTo>
                    <a:pt x="81" y="143"/>
                  </a:lnTo>
                  <a:lnTo>
                    <a:pt x="81" y="141"/>
                  </a:lnTo>
                  <a:lnTo>
                    <a:pt x="81" y="138"/>
                  </a:lnTo>
                  <a:lnTo>
                    <a:pt x="81" y="136"/>
                  </a:lnTo>
                  <a:lnTo>
                    <a:pt x="78" y="136"/>
                  </a:lnTo>
                  <a:lnTo>
                    <a:pt x="81" y="136"/>
                  </a:lnTo>
                  <a:lnTo>
                    <a:pt x="81" y="133"/>
                  </a:lnTo>
                  <a:lnTo>
                    <a:pt x="81" y="136"/>
                  </a:lnTo>
                  <a:lnTo>
                    <a:pt x="78" y="133"/>
                  </a:lnTo>
                  <a:lnTo>
                    <a:pt x="78" y="131"/>
                  </a:lnTo>
                  <a:lnTo>
                    <a:pt x="78" y="129"/>
                  </a:lnTo>
                  <a:lnTo>
                    <a:pt x="78" y="131"/>
                  </a:lnTo>
                  <a:lnTo>
                    <a:pt x="78" y="129"/>
                  </a:lnTo>
                  <a:lnTo>
                    <a:pt x="81" y="129"/>
                  </a:lnTo>
                  <a:lnTo>
                    <a:pt x="78" y="129"/>
                  </a:lnTo>
                  <a:lnTo>
                    <a:pt x="78" y="131"/>
                  </a:lnTo>
                  <a:lnTo>
                    <a:pt x="76" y="131"/>
                  </a:lnTo>
                  <a:lnTo>
                    <a:pt x="78" y="131"/>
                  </a:lnTo>
                  <a:lnTo>
                    <a:pt x="78" y="133"/>
                  </a:lnTo>
                  <a:lnTo>
                    <a:pt x="76" y="133"/>
                  </a:lnTo>
                  <a:lnTo>
                    <a:pt x="76" y="131"/>
                  </a:lnTo>
                  <a:lnTo>
                    <a:pt x="73" y="131"/>
                  </a:lnTo>
                  <a:lnTo>
                    <a:pt x="71" y="131"/>
                  </a:lnTo>
                  <a:lnTo>
                    <a:pt x="71" y="129"/>
                  </a:lnTo>
                  <a:lnTo>
                    <a:pt x="71" y="131"/>
                  </a:lnTo>
                  <a:lnTo>
                    <a:pt x="69" y="131"/>
                  </a:lnTo>
                  <a:lnTo>
                    <a:pt x="69" y="129"/>
                  </a:lnTo>
                  <a:lnTo>
                    <a:pt x="69" y="131"/>
                  </a:lnTo>
                  <a:lnTo>
                    <a:pt x="69" y="129"/>
                  </a:lnTo>
                  <a:lnTo>
                    <a:pt x="71" y="129"/>
                  </a:lnTo>
                  <a:lnTo>
                    <a:pt x="69" y="129"/>
                  </a:lnTo>
                  <a:lnTo>
                    <a:pt x="71" y="129"/>
                  </a:lnTo>
                  <a:lnTo>
                    <a:pt x="69" y="129"/>
                  </a:lnTo>
                  <a:lnTo>
                    <a:pt x="71" y="129"/>
                  </a:lnTo>
                  <a:lnTo>
                    <a:pt x="71" y="126"/>
                  </a:lnTo>
                  <a:lnTo>
                    <a:pt x="71" y="129"/>
                  </a:lnTo>
                  <a:lnTo>
                    <a:pt x="69" y="126"/>
                  </a:lnTo>
                  <a:lnTo>
                    <a:pt x="66" y="126"/>
                  </a:lnTo>
                  <a:lnTo>
                    <a:pt x="66" y="124"/>
                  </a:lnTo>
                  <a:lnTo>
                    <a:pt x="64" y="124"/>
                  </a:lnTo>
                  <a:lnTo>
                    <a:pt x="64" y="122"/>
                  </a:lnTo>
                  <a:lnTo>
                    <a:pt x="62" y="122"/>
                  </a:lnTo>
                  <a:lnTo>
                    <a:pt x="62" y="119"/>
                  </a:lnTo>
                  <a:lnTo>
                    <a:pt x="59" y="119"/>
                  </a:lnTo>
                  <a:lnTo>
                    <a:pt x="59" y="117"/>
                  </a:lnTo>
                  <a:lnTo>
                    <a:pt x="57" y="117"/>
                  </a:lnTo>
                  <a:lnTo>
                    <a:pt x="57" y="114"/>
                  </a:lnTo>
                  <a:lnTo>
                    <a:pt x="57" y="112"/>
                  </a:lnTo>
                  <a:lnTo>
                    <a:pt x="54" y="112"/>
                  </a:lnTo>
                  <a:lnTo>
                    <a:pt x="54" y="110"/>
                  </a:lnTo>
                  <a:lnTo>
                    <a:pt x="54" y="107"/>
                  </a:lnTo>
                  <a:lnTo>
                    <a:pt x="52" y="107"/>
                  </a:lnTo>
                  <a:lnTo>
                    <a:pt x="54" y="107"/>
                  </a:lnTo>
                  <a:lnTo>
                    <a:pt x="54" y="110"/>
                  </a:lnTo>
                  <a:lnTo>
                    <a:pt x="57" y="110"/>
                  </a:lnTo>
                  <a:lnTo>
                    <a:pt x="57" y="107"/>
                  </a:lnTo>
                  <a:lnTo>
                    <a:pt x="59" y="107"/>
                  </a:lnTo>
                  <a:lnTo>
                    <a:pt x="59" y="110"/>
                  </a:lnTo>
                  <a:lnTo>
                    <a:pt x="59" y="107"/>
                  </a:lnTo>
                  <a:lnTo>
                    <a:pt x="59" y="105"/>
                  </a:lnTo>
                  <a:lnTo>
                    <a:pt x="59" y="107"/>
                  </a:lnTo>
                  <a:lnTo>
                    <a:pt x="62" y="107"/>
                  </a:lnTo>
                  <a:lnTo>
                    <a:pt x="59" y="107"/>
                  </a:lnTo>
                  <a:lnTo>
                    <a:pt x="62" y="107"/>
                  </a:lnTo>
                  <a:lnTo>
                    <a:pt x="64" y="107"/>
                  </a:lnTo>
                  <a:lnTo>
                    <a:pt x="66" y="107"/>
                  </a:lnTo>
                  <a:lnTo>
                    <a:pt x="66" y="110"/>
                  </a:lnTo>
                  <a:lnTo>
                    <a:pt x="66" y="107"/>
                  </a:lnTo>
                  <a:lnTo>
                    <a:pt x="66" y="110"/>
                  </a:lnTo>
                  <a:lnTo>
                    <a:pt x="64" y="110"/>
                  </a:lnTo>
                  <a:lnTo>
                    <a:pt x="66" y="112"/>
                  </a:lnTo>
                  <a:lnTo>
                    <a:pt x="69" y="112"/>
                  </a:lnTo>
                  <a:lnTo>
                    <a:pt x="69" y="114"/>
                  </a:lnTo>
                  <a:lnTo>
                    <a:pt x="71" y="114"/>
                  </a:lnTo>
                  <a:lnTo>
                    <a:pt x="71" y="112"/>
                  </a:lnTo>
                  <a:lnTo>
                    <a:pt x="69" y="112"/>
                  </a:lnTo>
                  <a:lnTo>
                    <a:pt x="69" y="110"/>
                  </a:lnTo>
                  <a:lnTo>
                    <a:pt x="66" y="110"/>
                  </a:lnTo>
                  <a:lnTo>
                    <a:pt x="66" y="107"/>
                  </a:lnTo>
                  <a:lnTo>
                    <a:pt x="64" y="107"/>
                  </a:lnTo>
                  <a:lnTo>
                    <a:pt x="64" y="105"/>
                  </a:lnTo>
                  <a:lnTo>
                    <a:pt x="62" y="105"/>
                  </a:lnTo>
                  <a:lnTo>
                    <a:pt x="59" y="105"/>
                  </a:lnTo>
                  <a:lnTo>
                    <a:pt x="59" y="103"/>
                  </a:lnTo>
                  <a:lnTo>
                    <a:pt x="57" y="103"/>
                  </a:lnTo>
                  <a:lnTo>
                    <a:pt x="57" y="100"/>
                  </a:lnTo>
                  <a:lnTo>
                    <a:pt x="54" y="100"/>
                  </a:lnTo>
                  <a:lnTo>
                    <a:pt x="57" y="100"/>
                  </a:lnTo>
                  <a:lnTo>
                    <a:pt x="54" y="100"/>
                  </a:lnTo>
                  <a:lnTo>
                    <a:pt x="54" y="98"/>
                  </a:lnTo>
                  <a:lnTo>
                    <a:pt x="52" y="98"/>
                  </a:lnTo>
                  <a:lnTo>
                    <a:pt x="52" y="95"/>
                  </a:lnTo>
                  <a:lnTo>
                    <a:pt x="50" y="95"/>
                  </a:lnTo>
                  <a:lnTo>
                    <a:pt x="50" y="93"/>
                  </a:lnTo>
                  <a:lnTo>
                    <a:pt x="50" y="95"/>
                  </a:lnTo>
                  <a:lnTo>
                    <a:pt x="50" y="93"/>
                  </a:lnTo>
                  <a:lnTo>
                    <a:pt x="47" y="93"/>
                  </a:lnTo>
                  <a:lnTo>
                    <a:pt x="47" y="91"/>
                  </a:lnTo>
                  <a:lnTo>
                    <a:pt x="47" y="88"/>
                  </a:lnTo>
                  <a:lnTo>
                    <a:pt x="45" y="88"/>
                  </a:lnTo>
                  <a:lnTo>
                    <a:pt x="45" y="86"/>
                  </a:lnTo>
                  <a:lnTo>
                    <a:pt x="47" y="86"/>
                  </a:lnTo>
                  <a:lnTo>
                    <a:pt x="45" y="86"/>
                  </a:lnTo>
                  <a:lnTo>
                    <a:pt x="45" y="84"/>
                  </a:lnTo>
                  <a:lnTo>
                    <a:pt x="45" y="81"/>
                  </a:lnTo>
                  <a:lnTo>
                    <a:pt x="45" y="79"/>
                  </a:lnTo>
                  <a:lnTo>
                    <a:pt x="47" y="79"/>
                  </a:lnTo>
                  <a:lnTo>
                    <a:pt x="47" y="76"/>
                  </a:lnTo>
                  <a:lnTo>
                    <a:pt x="47" y="74"/>
                  </a:lnTo>
                  <a:lnTo>
                    <a:pt x="45" y="74"/>
                  </a:lnTo>
                  <a:lnTo>
                    <a:pt x="47" y="74"/>
                  </a:lnTo>
                  <a:lnTo>
                    <a:pt x="45" y="74"/>
                  </a:lnTo>
                  <a:lnTo>
                    <a:pt x="45" y="72"/>
                  </a:lnTo>
                  <a:lnTo>
                    <a:pt x="45" y="69"/>
                  </a:lnTo>
                  <a:lnTo>
                    <a:pt x="43" y="69"/>
                  </a:lnTo>
                  <a:lnTo>
                    <a:pt x="43" y="67"/>
                  </a:lnTo>
                  <a:lnTo>
                    <a:pt x="40" y="67"/>
                  </a:lnTo>
                  <a:lnTo>
                    <a:pt x="40" y="65"/>
                  </a:lnTo>
                  <a:lnTo>
                    <a:pt x="38" y="65"/>
                  </a:lnTo>
                  <a:lnTo>
                    <a:pt x="38" y="62"/>
                  </a:lnTo>
                  <a:lnTo>
                    <a:pt x="35" y="62"/>
                  </a:lnTo>
                  <a:lnTo>
                    <a:pt x="35" y="60"/>
                  </a:lnTo>
                  <a:lnTo>
                    <a:pt x="33" y="60"/>
                  </a:lnTo>
                  <a:lnTo>
                    <a:pt x="35" y="60"/>
                  </a:lnTo>
                  <a:lnTo>
                    <a:pt x="33" y="60"/>
                  </a:lnTo>
                  <a:lnTo>
                    <a:pt x="31" y="60"/>
                  </a:lnTo>
                  <a:lnTo>
                    <a:pt x="31" y="57"/>
                  </a:lnTo>
                  <a:lnTo>
                    <a:pt x="28" y="57"/>
                  </a:lnTo>
                  <a:lnTo>
                    <a:pt x="26" y="57"/>
                  </a:lnTo>
                  <a:lnTo>
                    <a:pt x="26" y="60"/>
                  </a:lnTo>
                  <a:lnTo>
                    <a:pt x="26" y="62"/>
                  </a:lnTo>
                  <a:lnTo>
                    <a:pt x="24" y="65"/>
                  </a:lnTo>
                  <a:lnTo>
                    <a:pt x="24" y="67"/>
                  </a:lnTo>
                  <a:lnTo>
                    <a:pt x="24" y="69"/>
                  </a:lnTo>
                  <a:lnTo>
                    <a:pt x="24" y="67"/>
                  </a:lnTo>
                  <a:lnTo>
                    <a:pt x="24" y="69"/>
                  </a:lnTo>
                  <a:lnTo>
                    <a:pt x="21" y="69"/>
                  </a:lnTo>
                  <a:lnTo>
                    <a:pt x="21" y="72"/>
                  </a:lnTo>
                  <a:lnTo>
                    <a:pt x="21" y="74"/>
                  </a:lnTo>
                  <a:lnTo>
                    <a:pt x="21" y="76"/>
                  </a:lnTo>
                  <a:lnTo>
                    <a:pt x="21" y="74"/>
                  </a:lnTo>
                  <a:lnTo>
                    <a:pt x="19" y="74"/>
                  </a:lnTo>
                  <a:lnTo>
                    <a:pt x="19" y="76"/>
                  </a:lnTo>
                  <a:lnTo>
                    <a:pt x="19" y="74"/>
                  </a:lnTo>
                  <a:lnTo>
                    <a:pt x="19" y="72"/>
                  </a:lnTo>
                  <a:lnTo>
                    <a:pt x="19" y="74"/>
                  </a:lnTo>
                  <a:lnTo>
                    <a:pt x="19" y="76"/>
                  </a:lnTo>
                  <a:lnTo>
                    <a:pt x="17" y="76"/>
                  </a:lnTo>
                  <a:lnTo>
                    <a:pt x="19" y="76"/>
                  </a:lnTo>
                  <a:lnTo>
                    <a:pt x="17" y="76"/>
                  </a:lnTo>
                  <a:lnTo>
                    <a:pt x="17" y="79"/>
                  </a:lnTo>
                  <a:lnTo>
                    <a:pt x="17" y="81"/>
                  </a:lnTo>
                  <a:lnTo>
                    <a:pt x="17" y="84"/>
                  </a:lnTo>
                  <a:lnTo>
                    <a:pt x="14" y="84"/>
                  </a:lnTo>
                  <a:lnTo>
                    <a:pt x="14" y="81"/>
                  </a:lnTo>
                  <a:lnTo>
                    <a:pt x="12" y="81"/>
                  </a:lnTo>
                  <a:lnTo>
                    <a:pt x="14" y="81"/>
                  </a:lnTo>
                  <a:lnTo>
                    <a:pt x="14" y="84"/>
                  </a:lnTo>
                  <a:lnTo>
                    <a:pt x="12" y="84"/>
                  </a:lnTo>
                  <a:lnTo>
                    <a:pt x="12" y="81"/>
                  </a:lnTo>
                  <a:lnTo>
                    <a:pt x="9" y="81"/>
                  </a:lnTo>
                  <a:lnTo>
                    <a:pt x="9" y="79"/>
                  </a:lnTo>
                  <a:lnTo>
                    <a:pt x="9" y="81"/>
                  </a:lnTo>
                  <a:lnTo>
                    <a:pt x="12" y="79"/>
                  </a:lnTo>
                  <a:lnTo>
                    <a:pt x="12" y="81"/>
                  </a:lnTo>
                  <a:lnTo>
                    <a:pt x="12" y="79"/>
                  </a:lnTo>
                  <a:lnTo>
                    <a:pt x="12" y="81"/>
                  </a:lnTo>
                  <a:lnTo>
                    <a:pt x="12" y="79"/>
                  </a:lnTo>
                  <a:lnTo>
                    <a:pt x="9" y="79"/>
                  </a:lnTo>
                  <a:lnTo>
                    <a:pt x="9" y="76"/>
                  </a:lnTo>
                  <a:lnTo>
                    <a:pt x="9" y="74"/>
                  </a:lnTo>
                  <a:lnTo>
                    <a:pt x="7" y="74"/>
                  </a:lnTo>
                  <a:lnTo>
                    <a:pt x="7" y="72"/>
                  </a:lnTo>
                  <a:lnTo>
                    <a:pt x="5" y="72"/>
                  </a:lnTo>
                  <a:lnTo>
                    <a:pt x="5" y="69"/>
                  </a:lnTo>
                  <a:lnTo>
                    <a:pt x="5" y="67"/>
                  </a:lnTo>
                  <a:lnTo>
                    <a:pt x="5" y="69"/>
                  </a:lnTo>
                  <a:lnTo>
                    <a:pt x="5" y="67"/>
                  </a:lnTo>
                  <a:lnTo>
                    <a:pt x="7" y="67"/>
                  </a:lnTo>
                  <a:lnTo>
                    <a:pt x="5" y="67"/>
                  </a:lnTo>
                  <a:lnTo>
                    <a:pt x="2" y="67"/>
                  </a:lnTo>
                  <a:lnTo>
                    <a:pt x="5" y="67"/>
                  </a:lnTo>
                  <a:lnTo>
                    <a:pt x="2" y="67"/>
                  </a:lnTo>
                  <a:lnTo>
                    <a:pt x="5" y="67"/>
                  </a:lnTo>
                  <a:lnTo>
                    <a:pt x="2" y="67"/>
                  </a:lnTo>
                  <a:lnTo>
                    <a:pt x="2" y="65"/>
                  </a:lnTo>
                  <a:lnTo>
                    <a:pt x="5" y="65"/>
                  </a:lnTo>
                  <a:lnTo>
                    <a:pt x="2" y="65"/>
                  </a:lnTo>
                  <a:lnTo>
                    <a:pt x="2" y="62"/>
                  </a:lnTo>
                  <a:lnTo>
                    <a:pt x="2" y="60"/>
                  </a:lnTo>
                  <a:lnTo>
                    <a:pt x="5" y="60"/>
                  </a:lnTo>
                  <a:lnTo>
                    <a:pt x="2" y="60"/>
                  </a:lnTo>
                  <a:lnTo>
                    <a:pt x="2" y="57"/>
                  </a:lnTo>
                  <a:lnTo>
                    <a:pt x="2" y="60"/>
                  </a:lnTo>
                  <a:lnTo>
                    <a:pt x="2" y="57"/>
                  </a:lnTo>
                  <a:lnTo>
                    <a:pt x="2" y="55"/>
                  </a:lnTo>
                  <a:lnTo>
                    <a:pt x="0" y="55"/>
                  </a:lnTo>
                  <a:lnTo>
                    <a:pt x="0" y="53"/>
                  </a:lnTo>
                  <a:lnTo>
                    <a:pt x="0" y="50"/>
                  </a:lnTo>
                  <a:lnTo>
                    <a:pt x="2" y="50"/>
                  </a:lnTo>
                  <a:lnTo>
                    <a:pt x="2" y="53"/>
                  </a:lnTo>
                  <a:lnTo>
                    <a:pt x="2" y="50"/>
                  </a:lnTo>
                  <a:lnTo>
                    <a:pt x="2" y="53"/>
                  </a:lnTo>
                  <a:lnTo>
                    <a:pt x="5" y="53"/>
                  </a:lnTo>
                  <a:lnTo>
                    <a:pt x="7" y="53"/>
                  </a:lnTo>
                  <a:lnTo>
                    <a:pt x="9" y="53"/>
                  </a:lnTo>
                  <a:lnTo>
                    <a:pt x="12" y="50"/>
                  </a:lnTo>
                  <a:lnTo>
                    <a:pt x="12" y="53"/>
                  </a:lnTo>
                  <a:lnTo>
                    <a:pt x="14" y="53"/>
                  </a:lnTo>
                  <a:lnTo>
                    <a:pt x="17" y="53"/>
                  </a:lnTo>
                  <a:lnTo>
                    <a:pt x="17" y="50"/>
                  </a:lnTo>
                  <a:lnTo>
                    <a:pt x="19" y="50"/>
                  </a:lnTo>
                  <a:lnTo>
                    <a:pt x="21" y="50"/>
                  </a:lnTo>
                  <a:lnTo>
                    <a:pt x="24" y="53"/>
                  </a:lnTo>
                  <a:lnTo>
                    <a:pt x="24" y="50"/>
                  </a:lnTo>
                  <a:lnTo>
                    <a:pt x="26" y="50"/>
                  </a:lnTo>
                  <a:lnTo>
                    <a:pt x="28" y="50"/>
                  </a:lnTo>
                  <a:lnTo>
                    <a:pt x="31" y="50"/>
                  </a:lnTo>
                  <a:lnTo>
                    <a:pt x="33" y="50"/>
                  </a:lnTo>
                  <a:lnTo>
                    <a:pt x="33" y="48"/>
                  </a:lnTo>
                  <a:lnTo>
                    <a:pt x="33" y="46"/>
                  </a:lnTo>
                  <a:lnTo>
                    <a:pt x="35" y="43"/>
                  </a:lnTo>
                  <a:lnTo>
                    <a:pt x="38" y="43"/>
                  </a:lnTo>
                  <a:lnTo>
                    <a:pt x="38" y="46"/>
                  </a:lnTo>
                  <a:lnTo>
                    <a:pt x="40" y="46"/>
                  </a:lnTo>
                  <a:lnTo>
                    <a:pt x="40" y="48"/>
                  </a:lnTo>
                  <a:lnTo>
                    <a:pt x="40" y="50"/>
                  </a:lnTo>
                  <a:lnTo>
                    <a:pt x="40" y="48"/>
                  </a:lnTo>
                  <a:lnTo>
                    <a:pt x="40" y="50"/>
                  </a:lnTo>
                  <a:lnTo>
                    <a:pt x="43" y="50"/>
                  </a:lnTo>
                  <a:lnTo>
                    <a:pt x="43" y="53"/>
                  </a:lnTo>
                  <a:lnTo>
                    <a:pt x="45" y="53"/>
                  </a:lnTo>
                  <a:lnTo>
                    <a:pt x="45" y="50"/>
                  </a:lnTo>
                  <a:lnTo>
                    <a:pt x="47" y="50"/>
                  </a:lnTo>
                  <a:lnTo>
                    <a:pt x="47" y="48"/>
                  </a:lnTo>
                  <a:lnTo>
                    <a:pt x="47" y="50"/>
                  </a:lnTo>
                  <a:lnTo>
                    <a:pt x="50" y="50"/>
                  </a:lnTo>
                  <a:lnTo>
                    <a:pt x="52" y="50"/>
                  </a:lnTo>
                  <a:lnTo>
                    <a:pt x="52" y="53"/>
                  </a:lnTo>
                  <a:lnTo>
                    <a:pt x="54" y="53"/>
                  </a:lnTo>
                  <a:lnTo>
                    <a:pt x="54" y="55"/>
                  </a:lnTo>
                  <a:lnTo>
                    <a:pt x="57" y="53"/>
                  </a:lnTo>
                  <a:lnTo>
                    <a:pt x="59" y="53"/>
                  </a:lnTo>
                  <a:lnTo>
                    <a:pt x="62" y="53"/>
                  </a:lnTo>
                  <a:lnTo>
                    <a:pt x="62" y="50"/>
                  </a:lnTo>
                  <a:lnTo>
                    <a:pt x="59" y="50"/>
                  </a:lnTo>
                  <a:lnTo>
                    <a:pt x="59" y="48"/>
                  </a:lnTo>
                  <a:lnTo>
                    <a:pt x="59" y="46"/>
                  </a:lnTo>
                  <a:lnTo>
                    <a:pt x="59" y="43"/>
                  </a:lnTo>
                  <a:lnTo>
                    <a:pt x="62" y="43"/>
                  </a:lnTo>
                  <a:lnTo>
                    <a:pt x="62" y="41"/>
                  </a:lnTo>
                  <a:lnTo>
                    <a:pt x="59" y="41"/>
                  </a:lnTo>
                  <a:lnTo>
                    <a:pt x="59" y="38"/>
                  </a:lnTo>
                  <a:lnTo>
                    <a:pt x="62" y="38"/>
                  </a:lnTo>
                  <a:lnTo>
                    <a:pt x="62" y="36"/>
                  </a:lnTo>
                  <a:lnTo>
                    <a:pt x="64" y="36"/>
                  </a:lnTo>
                  <a:lnTo>
                    <a:pt x="66" y="36"/>
                  </a:lnTo>
                  <a:lnTo>
                    <a:pt x="66" y="34"/>
                  </a:lnTo>
                  <a:lnTo>
                    <a:pt x="69" y="34"/>
                  </a:lnTo>
                  <a:lnTo>
                    <a:pt x="71" y="34"/>
                  </a:lnTo>
                  <a:lnTo>
                    <a:pt x="71" y="36"/>
                  </a:lnTo>
                  <a:lnTo>
                    <a:pt x="71" y="34"/>
                  </a:lnTo>
                  <a:lnTo>
                    <a:pt x="71" y="31"/>
                  </a:lnTo>
                  <a:lnTo>
                    <a:pt x="73" y="31"/>
                  </a:lnTo>
                  <a:lnTo>
                    <a:pt x="73" y="29"/>
                  </a:lnTo>
                  <a:lnTo>
                    <a:pt x="73" y="27"/>
                  </a:lnTo>
                  <a:lnTo>
                    <a:pt x="73" y="24"/>
                  </a:lnTo>
                  <a:lnTo>
                    <a:pt x="71" y="24"/>
                  </a:lnTo>
                  <a:lnTo>
                    <a:pt x="71" y="22"/>
                  </a:lnTo>
                  <a:lnTo>
                    <a:pt x="69" y="22"/>
                  </a:lnTo>
                  <a:lnTo>
                    <a:pt x="69" y="19"/>
                  </a:lnTo>
                  <a:lnTo>
                    <a:pt x="71" y="19"/>
                  </a:lnTo>
                  <a:lnTo>
                    <a:pt x="71" y="17"/>
                  </a:lnTo>
                  <a:lnTo>
                    <a:pt x="73" y="17"/>
                  </a:lnTo>
                  <a:lnTo>
                    <a:pt x="76" y="17"/>
                  </a:lnTo>
                  <a:lnTo>
                    <a:pt x="76" y="15"/>
                  </a:lnTo>
                  <a:lnTo>
                    <a:pt x="78" y="15"/>
                  </a:lnTo>
                  <a:lnTo>
                    <a:pt x="81" y="12"/>
                  </a:lnTo>
                  <a:lnTo>
                    <a:pt x="83" y="12"/>
                  </a:lnTo>
                  <a:lnTo>
                    <a:pt x="83" y="10"/>
                  </a:lnTo>
                  <a:lnTo>
                    <a:pt x="85" y="10"/>
                  </a:lnTo>
                  <a:lnTo>
                    <a:pt x="85" y="8"/>
                  </a:lnTo>
                  <a:lnTo>
                    <a:pt x="88" y="8"/>
                  </a:lnTo>
                  <a:lnTo>
                    <a:pt x="90" y="8"/>
                  </a:lnTo>
                  <a:lnTo>
                    <a:pt x="92" y="8"/>
                  </a:lnTo>
                  <a:lnTo>
                    <a:pt x="92" y="5"/>
                  </a:lnTo>
                  <a:lnTo>
                    <a:pt x="90" y="5"/>
                  </a:lnTo>
                  <a:lnTo>
                    <a:pt x="92" y="3"/>
                  </a:lnTo>
                  <a:lnTo>
                    <a:pt x="95" y="3"/>
                  </a:lnTo>
                  <a:lnTo>
                    <a:pt x="95" y="0"/>
                  </a:lnTo>
                  <a:lnTo>
                    <a:pt x="95"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1" name="Freeform 50284"/>
            <p:cNvSpPr>
              <a:spLocks noEditPoints="1"/>
            </p:cNvSpPr>
            <p:nvPr/>
          </p:nvSpPr>
          <p:spPr bwMode="auto">
            <a:xfrm>
              <a:off x="2744786" y="5059380"/>
              <a:ext cx="225425" cy="188913"/>
            </a:xfrm>
            <a:custGeom>
              <a:avLst/>
              <a:gdLst>
                <a:gd name="T0" fmla="*/ 138 w 142"/>
                <a:gd name="T1" fmla="*/ 117 h 119"/>
                <a:gd name="T2" fmla="*/ 107 w 142"/>
                <a:gd name="T3" fmla="*/ 114 h 119"/>
                <a:gd name="T4" fmla="*/ 102 w 142"/>
                <a:gd name="T5" fmla="*/ 117 h 119"/>
                <a:gd name="T6" fmla="*/ 109 w 142"/>
                <a:gd name="T7" fmla="*/ 114 h 119"/>
                <a:gd name="T8" fmla="*/ 133 w 142"/>
                <a:gd name="T9" fmla="*/ 117 h 119"/>
                <a:gd name="T10" fmla="*/ 119 w 142"/>
                <a:gd name="T11" fmla="*/ 114 h 119"/>
                <a:gd name="T12" fmla="*/ 107 w 142"/>
                <a:gd name="T13" fmla="*/ 105 h 119"/>
                <a:gd name="T14" fmla="*/ 114 w 142"/>
                <a:gd name="T15" fmla="*/ 109 h 119"/>
                <a:gd name="T16" fmla="*/ 100 w 142"/>
                <a:gd name="T17" fmla="*/ 109 h 119"/>
                <a:gd name="T18" fmla="*/ 76 w 142"/>
                <a:gd name="T19" fmla="*/ 107 h 119"/>
                <a:gd name="T20" fmla="*/ 83 w 142"/>
                <a:gd name="T21" fmla="*/ 100 h 119"/>
                <a:gd name="T22" fmla="*/ 81 w 142"/>
                <a:gd name="T23" fmla="*/ 105 h 119"/>
                <a:gd name="T24" fmla="*/ 97 w 142"/>
                <a:gd name="T25" fmla="*/ 100 h 119"/>
                <a:gd name="T26" fmla="*/ 95 w 142"/>
                <a:gd name="T27" fmla="*/ 95 h 119"/>
                <a:gd name="T28" fmla="*/ 109 w 142"/>
                <a:gd name="T29" fmla="*/ 98 h 119"/>
                <a:gd name="T30" fmla="*/ 97 w 142"/>
                <a:gd name="T31" fmla="*/ 100 h 119"/>
                <a:gd name="T32" fmla="*/ 93 w 142"/>
                <a:gd name="T33" fmla="*/ 93 h 119"/>
                <a:gd name="T34" fmla="*/ 93 w 142"/>
                <a:gd name="T35" fmla="*/ 86 h 119"/>
                <a:gd name="T36" fmla="*/ 104 w 142"/>
                <a:gd name="T37" fmla="*/ 90 h 119"/>
                <a:gd name="T38" fmla="*/ 88 w 142"/>
                <a:gd name="T39" fmla="*/ 90 h 119"/>
                <a:gd name="T40" fmla="*/ 88 w 142"/>
                <a:gd name="T41" fmla="*/ 88 h 119"/>
                <a:gd name="T42" fmla="*/ 81 w 142"/>
                <a:gd name="T43" fmla="*/ 86 h 119"/>
                <a:gd name="T44" fmla="*/ 66 w 142"/>
                <a:gd name="T45" fmla="*/ 76 h 119"/>
                <a:gd name="T46" fmla="*/ 66 w 142"/>
                <a:gd name="T47" fmla="*/ 74 h 119"/>
                <a:gd name="T48" fmla="*/ 64 w 142"/>
                <a:gd name="T49" fmla="*/ 74 h 119"/>
                <a:gd name="T50" fmla="*/ 69 w 142"/>
                <a:gd name="T51" fmla="*/ 71 h 119"/>
                <a:gd name="T52" fmla="*/ 66 w 142"/>
                <a:gd name="T53" fmla="*/ 71 h 119"/>
                <a:gd name="T54" fmla="*/ 62 w 142"/>
                <a:gd name="T55" fmla="*/ 64 h 119"/>
                <a:gd name="T56" fmla="*/ 55 w 142"/>
                <a:gd name="T57" fmla="*/ 64 h 119"/>
                <a:gd name="T58" fmla="*/ 50 w 142"/>
                <a:gd name="T59" fmla="*/ 62 h 119"/>
                <a:gd name="T60" fmla="*/ 45 w 142"/>
                <a:gd name="T61" fmla="*/ 57 h 119"/>
                <a:gd name="T62" fmla="*/ 50 w 142"/>
                <a:gd name="T63" fmla="*/ 57 h 119"/>
                <a:gd name="T64" fmla="*/ 52 w 142"/>
                <a:gd name="T65" fmla="*/ 57 h 119"/>
                <a:gd name="T66" fmla="*/ 43 w 142"/>
                <a:gd name="T67" fmla="*/ 50 h 119"/>
                <a:gd name="T68" fmla="*/ 40 w 142"/>
                <a:gd name="T69" fmla="*/ 52 h 119"/>
                <a:gd name="T70" fmla="*/ 50 w 142"/>
                <a:gd name="T71" fmla="*/ 64 h 119"/>
                <a:gd name="T72" fmla="*/ 50 w 142"/>
                <a:gd name="T73" fmla="*/ 64 h 119"/>
                <a:gd name="T74" fmla="*/ 43 w 142"/>
                <a:gd name="T75" fmla="*/ 57 h 119"/>
                <a:gd name="T76" fmla="*/ 38 w 142"/>
                <a:gd name="T77" fmla="*/ 50 h 119"/>
                <a:gd name="T78" fmla="*/ 43 w 142"/>
                <a:gd name="T79" fmla="*/ 50 h 119"/>
                <a:gd name="T80" fmla="*/ 38 w 142"/>
                <a:gd name="T81" fmla="*/ 48 h 119"/>
                <a:gd name="T82" fmla="*/ 33 w 142"/>
                <a:gd name="T83" fmla="*/ 45 h 119"/>
                <a:gd name="T84" fmla="*/ 28 w 142"/>
                <a:gd name="T85" fmla="*/ 43 h 119"/>
                <a:gd name="T86" fmla="*/ 36 w 142"/>
                <a:gd name="T87" fmla="*/ 38 h 119"/>
                <a:gd name="T88" fmla="*/ 40 w 142"/>
                <a:gd name="T89" fmla="*/ 38 h 119"/>
                <a:gd name="T90" fmla="*/ 19 w 142"/>
                <a:gd name="T91" fmla="*/ 33 h 119"/>
                <a:gd name="T92" fmla="*/ 19 w 142"/>
                <a:gd name="T93" fmla="*/ 26 h 119"/>
                <a:gd name="T94" fmla="*/ 40 w 142"/>
                <a:gd name="T95" fmla="*/ 31 h 119"/>
                <a:gd name="T96" fmla="*/ 45 w 142"/>
                <a:gd name="T97" fmla="*/ 38 h 119"/>
                <a:gd name="T98" fmla="*/ 50 w 142"/>
                <a:gd name="T99" fmla="*/ 43 h 119"/>
                <a:gd name="T100" fmla="*/ 43 w 142"/>
                <a:gd name="T101" fmla="*/ 38 h 119"/>
                <a:gd name="T102" fmla="*/ 36 w 142"/>
                <a:gd name="T103" fmla="*/ 29 h 119"/>
                <a:gd name="T104" fmla="*/ 36 w 142"/>
                <a:gd name="T105" fmla="*/ 19 h 119"/>
                <a:gd name="T106" fmla="*/ 38 w 142"/>
                <a:gd name="T107" fmla="*/ 26 h 119"/>
                <a:gd name="T108" fmla="*/ 31 w 142"/>
                <a:gd name="T109" fmla="*/ 19 h 119"/>
                <a:gd name="T110" fmla="*/ 0 w 142"/>
                <a:gd name="T111" fmla="*/ 17 h 119"/>
                <a:gd name="T112" fmla="*/ 2 w 142"/>
                <a:gd name="T113" fmla="*/ 14 h 119"/>
                <a:gd name="T114" fmla="*/ 28 w 142"/>
                <a:gd name="T115" fmla="*/ 3 h 119"/>
                <a:gd name="T116" fmla="*/ 36 w 142"/>
                <a:gd name="T117" fmla="*/ 12 h 119"/>
                <a:gd name="T118" fmla="*/ 31 w 142"/>
                <a:gd name="T119" fmla="*/ 10 h 119"/>
                <a:gd name="T120" fmla="*/ 24 w 142"/>
                <a:gd name="T121" fmla="*/ 10 h 119"/>
                <a:gd name="T122" fmla="*/ 26 w 142"/>
                <a:gd name="T123" fmla="*/ 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19">
                  <a:moveTo>
                    <a:pt x="142" y="119"/>
                  </a:moveTo>
                  <a:lnTo>
                    <a:pt x="140" y="119"/>
                  </a:lnTo>
                  <a:lnTo>
                    <a:pt x="142" y="119"/>
                  </a:lnTo>
                  <a:close/>
                  <a:moveTo>
                    <a:pt x="135" y="117"/>
                  </a:moveTo>
                  <a:lnTo>
                    <a:pt x="138" y="117"/>
                  </a:lnTo>
                  <a:lnTo>
                    <a:pt x="140" y="117"/>
                  </a:lnTo>
                  <a:lnTo>
                    <a:pt x="138" y="117"/>
                  </a:lnTo>
                  <a:lnTo>
                    <a:pt x="138" y="119"/>
                  </a:lnTo>
                  <a:lnTo>
                    <a:pt x="138" y="117"/>
                  </a:lnTo>
                  <a:lnTo>
                    <a:pt x="135" y="117"/>
                  </a:lnTo>
                  <a:lnTo>
                    <a:pt x="138" y="117"/>
                  </a:lnTo>
                  <a:lnTo>
                    <a:pt x="135" y="117"/>
                  </a:lnTo>
                  <a:close/>
                  <a:moveTo>
                    <a:pt x="107" y="117"/>
                  </a:moveTo>
                  <a:lnTo>
                    <a:pt x="107" y="114"/>
                  </a:lnTo>
                  <a:lnTo>
                    <a:pt x="107" y="117"/>
                  </a:lnTo>
                  <a:close/>
                  <a:moveTo>
                    <a:pt x="135" y="114"/>
                  </a:moveTo>
                  <a:lnTo>
                    <a:pt x="135" y="117"/>
                  </a:lnTo>
                  <a:lnTo>
                    <a:pt x="133" y="117"/>
                  </a:lnTo>
                  <a:lnTo>
                    <a:pt x="133" y="114"/>
                  </a:lnTo>
                  <a:lnTo>
                    <a:pt x="135" y="114"/>
                  </a:lnTo>
                  <a:close/>
                  <a:moveTo>
                    <a:pt x="109" y="114"/>
                  </a:moveTo>
                  <a:lnTo>
                    <a:pt x="107" y="114"/>
                  </a:lnTo>
                  <a:lnTo>
                    <a:pt x="109" y="114"/>
                  </a:lnTo>
                  <a:close/>
                  <a:moveTo>
                    <a:pt x="93" y="114"/>
                  </a:moveTo>
                  <a:lnTo>
                    <a:pt x="93" y="117"/>
                  </a:lnTo>
                  <a:lnTo>
                    <a:pt x="93" y="114"/>
                  </a:lnTo>
                  <a:lnTo>
                    <a:pt x="93" y="117"/>
                  </a:lnTo>
                  <a:lnTo>
                    <a:pt x="93" y="114"/>
                  </a:lnTo>
                  <a:close/>
                  <a:moveTo>
                    <a:pt x="104" y="114"/>
                  </a:moveTo>
                  <a:lnTo>
                    <a:pt x="107" y="114"/>
                  </a:lnTo>
                  <a:lnTo>
                    <a:pt x="107" y="117"/>
                  </a:lnTo>
                  <a:lnTo>
                    <a:pt x="104" y="117"/>
                  </a:lnTo>
                  <a:lnTo>
                    <a:pt x="102" y="117"/>
                  </a:lnTo>
                  <a:lnTo>
                    <a:pt x="102" y="114"/>
                  </a:lnTo>
                  <a:lnTo>
                    <a:pt x="102" y="117"/>
                  </a:lnTo>
                  <a:lnTo>
                    <a:pt x="102" y="114"/>
                  </a:lnTo>
                  <a:lnTo>
                    <a:pt x="104" y="114"/>
                  </a:lnTo>
                  <a:close/>
                  <a:moveTo>
                    <a:pt x="102" y="114"/>
                  </a:moveTo>
                  <a:lnTo>
                    <a:pt x="102" y="117"/>
                  </a:lnTo>
                  <a:lnTo>
                    <a:pt x="102" y="114"/>
                  </a:lnTo>
                  <a:lnTo>
                    <a:pt x="102" y="117"/>
                  </a:lnTo>
                  <a:lnTo>
                    <a:pt x="102" y="114"/>
                  </a:lnTo>
                  <a:close/>
                  <a:moveTo>
                    <a:pt x="107" y="114"/>
                  </a:moveTo>
                  <a:lnTo>
                    <a:pt x="109" y="114"/>
                  </a:lnTo>
                  <a:lnTo>
                    <a:pt x="107" y="114"/>
                  </a:lnTo>
                  <a:close/>
                  <a:moveTo>
                    <a:pt x="121" y="114"/>
                  </a:moveTo>
                  <a:lnTo>
                    <a:pt x="123" y="114"/>
                  </a:lnTo>
                  <a:lnTo>
                    <a:pt x="121" y="114"/>
                  </a:lnTo>
                  <a:close/>
                  <a:moveTo>
                    <a:pt x="121" y="114"/>
                  </a:moveTo>
                  <a:lnTo>
                    <a:pt x="123" y="114"/>
                  </a:lnTo>
                  <a:lnTo>
                    <a:pt x="126" y="114"/>
                  </a:lnTo>
                  <a:lnTo>
                    <a:pt x="126" y="117"/>
                  </a:lnTo>
                  <a:lnTo>
                    <a:pt x="128" y="117"/>
                  </a:lnTo>
                  <a:lnTo>
                    <a:pt x="131" y="117"/>
                  </a:lnTo>
                  <a:lnTo>
                    <a:pt x="133" y="117"/>
                  </a:lnTo>
                  <a:lnTo>
                    <a:pt x="133" y="119"/>
                  </a:lnTo>
                  <a:lnTo>
                    <a:pt x="131" y="119"/>
                  </a:lnTo>
                  <a:lnTo>
                    <a:pt x="131" y="117"/>
                  </a:lnTo>
                  <a:lnTo>
                    <a:pt x="128" y="117"/>
                  </a:lnTo>
                  <a:lnTo>
                    <a:pt x="126" y="117"/>
                  </a:lnTo>
                  <a:lnTo>
                    <a:pt x="123" y="117"/>
                  </a:lnTo>
                  <a:lnTo>
                    <a:pt x="121" y="117"/>
                  </a:lnTo>
                  <a:lnTo>
                    <a:pt x="121" y="114"/>
                  </a:lnTo>
                  <a:lnTo>
                    <a:pt x="121" y="117"/>
                  </a:lnTo>
                  <a:lnTo>
                    <a:pt x="121" y="114"/>
                  </a:lnTo>
                  <a:lnTo>
                    <a:pt x="119" y="114"/>
                  </a:lnTo>
                  <a:lnTo>
                    <a:pt x="121" y="114"/>
                  </a:lnTo>
                  <a:close/>
                  <a:moveTo>
                    <a:pt x="97" y="105"/>
                  </a:moveTo>
                  <a:lnTo>
                    <a:pt x="100" y="105"/>
                  </a:lnTo>
                  <a:lnTo>
                    <a:pt x="102" y="105"/>
                  </a:lnTo>
                  <a:lnTo>
                    <a:pt x="102" y="107"/>
                  </a:lnTo>
                  <a:lnTo>
                    <a:pt x="102" y="105"/>
                  </a:lnTo>
                  <a:lnTo>
                    <a:pt x="102" y="107"/>
                  </a:lnTo>
                  <a:lnTo>
                    <a:pt x="104" y="107"/>
                  </a:lnTo>
                  <a:lnTo>
                    <a:pt x="107" y="107"/>
                  </a:lnTo>
                  <a:lnTo>
                    <a:pt x="104" y="105"/>
                  </a:lnTo>
                  <a:lnTo>
                    <a:pt x="107" y="105"/>
                  </a:lnTo>
                  <a:lnTo>
                    <a:pt x="107" y="107"/>
                  </a:lnTo>
                  <a:lnTo>
                    <a:pt x="107" y="105"/>
                  </a:lnTo>
                  <a:lnTo>
                    <a:pt x="109" y="105"/>
                  </a:lnTo>
                  <a:lnTo>
                    <a:pt x="112" y="105"/>
                  </a:lnTo>
                  <a:lnTo>
                    <a:pt x="112" y="107"/>
                  </a:lnTo>
                  <a:lnTo>
                    <a:pt x="112" y="105"/>
                  </a:lnTo>
                  <a:lnTo>
                    <a:pt x="112" y="107"/>
                  </a:lnTo>
                  <a:lnTo>
                    <a:pt x="114" y="107"/>
                  </a:lnTo>
                  <a:lnTo>
                    <a:pt x="116" y="107"/>
                  </a:lnTo>
                  <a:lnTo>
                    <a:pt x="116" y="109"/>
                  </a:lnTo>
                  <a:lnTo>
                    <a:pt x="114" y="109"/>
                  </a:lnTo>
                  <a:lnTo>
                    <a:pt x="114" y="107"/>
                  </a:lnTo>
                  <a:lnTo>
                    <a:pt x="114" y="109"/>
                  </a:lnTo>
                  <a:lnTo>
                    <a:pt x="112" y="109"/>
                  </a:lnTo>
                  <a:lnTo>
                    <a:pt x="109" y="107"/>
                  </a:lnTo>
                  <a:lnTo>
                    <a:pt x="107" y="107"/>
                  </a:lnTo>
                  <a:lnTo>
                    <a:pt x="107" y="109"/>
                  </a:lnTo>
                  <a:lnTo>
                    <a:pt x="104" y="109"/>
                  </a:lnTo>
                  <a:lnTo>
                    <a:pt x="102" y="109"/>
                  </a:lnTo>
                  <a:lnTo>
                    <a:pt x="100" y="109"/>
                  </a:lnTo>
                  <a:lnTo>
                    <a:pt x="100" y="107"/>
                  </a:lnTo>
                  <a:lnTo>
                    <a:pt x="100" y="109"/>
                  </a:lnTo>
                  <a:lnTo>
                    <a:pt x="100" y="107"/>
                  </a:lnTo>
                  <a:lnTo>
                    <a:pt x="97" y="107"/>
                  </a:lnTo>
                  <a:lnTo>
                    <a:pt x="97" y="109"/>
                  </a:lnTo>
                  <a:lnTo>
                    <a:pt x="97" y="107"/>
                  </a:lnTo>
                  <a:lnTo>
                    <a:pt x="100" y="107"/>
                  </a:lnTo>
                  <a:lnTo>
                    <a:pt x="97" y="107"/>
                  </a:lnTo>
                  <a:lnTo>
                    <a:pt x="97" y="105"/>
                  </a:lnTo>
                  <a:lnTo>
                    <a:pt x="97" y="107"/>
                  </a:lnTo>
                  <a:lnTo>
                    <a:pt x="97" y="105"/>
                  </a:lnTo>
                  <a:close/>
                  <a:moveTo>
                    <a:pt x="76" y="105"/>
                  </a:moveTo>
                  <a:lnTo>
                    <a:pt x="76" y="107"/>
                  </a:lnTo>
                  <a:lnTo>
                    <a:pt x="76" y="105"/>
                  </a:lnTo>
                  <a:close/>
                  <a:moveTo>
                    <a:pt x="69" y="102"/>
                  </a:moveTo>
                  <a:lnTo>
                    <a:pt x="66" y="105"/>
                  </a:lnTo>
                  <a:lnTo>
                    <a:pt x="66" y="102"/>
                  </a:lnTo>
                  <a:lnTo>
                    <a:pt x="69" y="102"/>
                  </a:lnTo>
                  <a:close/>
                  <a:moveTo>
                    <a:pt x="81" y="100"/>
                  </a:moveTo>
                  <a:lnTo>
                    <a:pt x="83" y="100"/>
                  </a:lnTo>
                  <a:lnTo>
                    <a:pt x="83" y="102"/>
                  </a:lnTo>
                  <a:lnTo>
                    <a:pt x="81" y="102"/>
                  </a:lnTo>
                  <a:lnTo>
                    <a:pt x="83" y="102"/>
                  </a:lnTo>
                  <a:lnTo>
                    <a:pt x="83" y="100"/>
                  </a:lnTo>
                  <a:lnTo>
                    <a:pt x="83" y="102"/>
                  </a:lnTo>
                  <a:lnTo>
                    <a:pt x="83" y="100"/>
                  </a:lnTo>
                  <a:lnTo>
                    <a:pt x="83" y="102"/>
                  </a:lnTo>
                  <a:lnTo>
                    <a:pt x="83" y="100"/>
                  </a:lnTo>
                  <a:lnTo>
                    <a:pt x="83" y="102"/>
                  </a:lnTo>
                  <a:lnTo>
                    <a:pt x="83" y="105"/>
                  </a:lnTo>
                  <a:lnTo>
                    <a:pt x="83" y="102"/>
                  </a:lnTo>
                  <a:lnTo>
                    <a:pt x="83" y="105"/>
                  </a:lnTo>
                  <a:lnTo>
                    <a:pt x="83" y="102"/>
                  </a:lnTo>
                  <a:lnTo>
                    <a:pt x="83" y="105"/>
                  </a:lnTo>
                  <a:lnTo>
                    <a:pt x="81" y="105"/>
                  </a:lnTo>
                  <a:lnTo>
                    <a:pt x="81" y="102"/>
                  </a:lnTo>
                  <a:lnTo>
                    <a:pt x="81" y="105"/>
                  </a:lnTo>
                  <a:lnTo>
                    <a:pt x="78" y="105"/>
                  </a:lnTo>
                  <a:lnTo>
                    <a:pt x="78" y="102"/>
                  </a:lnTo>
                  <a:lnTo>
                    <a:pt x="78" y="100"/>
                  </a:lnTo>
                  <a:lnTo>
                    <a:pt x="78" y="102"/>
                  </a:lnTo>
                  <a:lnTo>
                    <a:pt x="78" y="100"/>
                  </a:lnTo>
                  <a:lnTo>
                    <a:pt x="81" y="100"/>
                  </a:lnTo>
                  <a:close/>
                  <a:moveTo>
                    <a:pt x="97" y="100"/>
                  </a:moveTo>
                  <a:lnTo>
                    <a:pt x="100" y="100"/>
                  </a:lnTo>
                  <a:lnTo>
                    <a:pt x="97" y="100"/>
                  </a:lnTo>
                  <a:close/>
                  <a:moveTo>
                    <a:pt x="88" y="98"/>
                  </a:moveTo>
                  <a:lnTo>
                    <a:pt x="85" y="98"/>
                  </a:lnTo>
                  <a:lnTo>
                    <a:pt x="88" y="98"/>
                  </a:lnTo>
                  <a:lnTo>
                    <a:pt x="88" y="95"/>
                  </a:lnTo>
                  <a:lnTo>
                    <a:pt x="88" y="98"/>
                  </a:lnTo>
                  <a:lnTo>
                    <a:pt x="88" y="95"/>
                  </a:lnTo>
                  <a:lnTo>
                    <a:pt x="88" y="98"/>
                  </a:lnTo>
                  <a:lnTo>
                    <a:pt x="88" y="95"/>
                  </a:lnTo>
                  <a:lnTo>
                    <a:pt x="88" y="98"/>
                  </a:lnTo>
                  <a:close/>
                  <a:moveTo>
                    <a:pt x="95" y="93"/>
                  </a:moveTo>
                  <a:lnTo>
                    <a:pt x="95" y="95"/>
                  </a:lnTo>
                  <a:lnTo>
                    <a:pt x="97" y="95"/>
                  </a:lnTo>
                  <a:lnTo>
                    <a:pt x="100" y="95"/>
                  </a:lnTo>
                  <a:lnTo>
                    <a:pt x="97" y="95"/>
                  </a:lnTo>
                  <a:lnTo>
                    <a:pt x="97" y="98"/>
                  </a:lnTo>
                  <a:lnTo>
                    <a:pt x="100" y="98"/>
                  </a:lnTo>
                  <a:lnTo>
                    <a:pt x="97" y="98"/>
                  </a:lnTo>
                  <a:lnTo>
                    <a:pt x="100" y="98"/>
                  </a:lnTo>
                  <a:lnTo>
                    <a:pt x="102" y="98"/>
                  </a:lnTo>
                  <a:lnTo>
                    <a:pt x="104" y="98"/>
                  </a:lnTo>
                  <a:lnTo>
                    <a:pt x="107" y="98"/>
                  </a:lnTo>
                  <a:lnTo>
                    <a:pt x="109" y="98"/>
                  </a:lnTo>
                  <a:lnTo>
                    <a:pt x="112" y="98"/>
                  </a:lnTo>
                  <a:lnTo>
                    <a:pt x="114" y="98"/>
                  </a:lnTo>
                  <a:lnTo>
                    <a:pt x="114" y="100"/>
                  </a:lnTo>
                  <a:lnTo>
                    <a:pt x="112" y="100"/>
                  </a:lnTo>
                  <a:lnTo>
                    <a:pt x="109" y="100"/>
                  </a:lnTo>
                  <a:lnTo>
                    <a:pt x="107" y="100"/>
                  </a:lnTo>
                  <a:lnTo>
                    <a:pt x="104" y="100"/>
                  </a:lnTo>
                  <a:lnTo>
                    <a:pt x="102" y="100"/>
                  </a:lnTo>
                  <a:lnTo>
                    <a:pt x="102" y="98"/>
                  </a:lnTo>
                  <a:lnTo>
                    <a:pt x="100" y="98"/>
                  </a:lnTo>
                  <a:lnTo>
                    <a:pt x="97" y="100"/>
                  </a:lnTo>
                  <a:lnTo>
                    <a:pt x="97" y="98"/>
                  </a:lnTo>
                  <a:lnTo>
                    <a:pt x="95" y="98"/>
                  </a:lnTo>
                  <a:lnTo>
                    <a:pt x="93" y="98"/>
                  </a:lnTo>
                  <a:lnTo>
                    <a:pt x="90" y="98"/>
                  </a:lnTo>
                  <a:lnTo>
                    <a:pt x="90" y="95"/>
                  </a:lnTo>
                  <a:lnTo>
                    <a:pt x="88" y="95"/>
                  </a:lnTo>
                  <a:lnTo>
                    <a:pt x="90" y="95"/>
                  </a:lnTo>
                  <a:lnTo>
                    <a:pt x="93" y="95"/>
                  </a:lnTo>
                  <a:lnTo>
                    <a:pt x="95" y="95"/>
                  </a:lnTo>
                  <a:lnTo>
                    <a:pt x="93" y="95"/>
                  </a:lnTo>
                  <a:lnTo>
                    <a:pt x="93" y="93"/>
                  </a:lnTo>
                  <a:lnTo>
                    <a:pt x="93" y="95"/>
                  </a:lnTo>
                  <a:lnTo>
                    <a:pt x="93" y="93"/>
                  </a:lnTo>
                  <a:lnTo>
                    <a:pt x="93" y="95"/>
                  </a:lnTo>
                  <a:lnTo>
                    <a:pt x="93" y="93"/>
                  </a:lnTo>
                  <a:lnTo>
                    <a:pt x="93" y="95"/>
                  </a:lnTo>
                  <a:lnTo>
                    <a:pt x="93" y="93"/>
                  </a:lnTo>
                  <a:lnTo>
                    <a:pt x="93" y="95"/>
                  </a:lnTo>
                  <a:lnTo>
                    <a:pt x="93" y="93"/>
                  </a:lnTo>
                  <a:lnTo>
                    <a:pt x="95" y="93"/>
                  </a:lnTo>
                  <a:close/>
                  <a:moveTo>
                    <a:pt x="90" y="86"/>
                  </a:moveTo>
                  <a:lnTo>
                    <a:pt x="93" y="86"/>
                  </a:lnTo>
                  <a:lnTo>
                    <a:pt x="95" y="86"/>
                  </a:lnTo>
                  <a:lnTo>
                    <a:pt x="95" y="88"/>
                  </a:lnTo>
                  <a:lnTo>
                    <a:pt x="95" y="86"/>
                  </a:lnTo>
                  <a:lnTo>
                    <a:pt x="95" y="88"/>
                  </a:lnTo>
                  <a:lnTo>
                    <a:pt x="95" y="86"/>
                  </a:lnTo>
                  <a:lnTo>
                    <a:pt x="95" y="88"/>
                  </a:lnTo>
                  <a:lnTo>
                    <a:pt x="97" y="88"/>
                  </a:lnTo>
                  <a:lnTo>
                    <a:pt x="100" y="88"/>
                  </a:lnTo>
                  <a:lnTo>
                    <a:pt x="102" y="88"/>
                  </a:lnTo>
                  <a:lnTo>
                    <a:pt x="104" y="88"/>
                  </a:lnTo>
                  <a:lnTo>
                    <a:pt x="104" y="90"/>
                  </a:lnTo>
                  <a:lnTo>
                    <a:pt x="104" y="93"/>
                  </a:lnTo>
                  <a:lnTo>
                    <a:pt x="102" y="93"/>
                  </a:lnTo>
                  <a:lnTo>
                    <a:pt x="100" y="93"/>
                  </a:lnTo>
                  <a:lnTo>
                    <a:pt x="97" y="93"/>
                  </a:lnTo>
                  <a:lnTo>
                    <a:pt x="95" y="93"/>
                  </a:lnTo>
                  <a:lnTo>
                    <a:pt x="93" y="93"/>
                  </a:lnTo>
                  <a:lnTo>
                    <a:pt x="93" y="90"/>
                  </a:lnTo>
                  <a:lnTo>
                    <a:pt x="93" y="93"/>
                  </a:lnTo>
                  <a:lnTo>
                    <a:pt x="93" y="90"/>
                  </a:lnTo>
                  <a:lnTo>
                    <a:pt x="90" y="90"/>
                  </a:lnTo>
                  <a:lnTo>
                    <a:pt x="88" y="90"/>
                  </a:lnTo>
                  <a:lnTo>
                    <a:pt x="90" y="90"/>
                  </a:lnTo>
                  <a:lnTo>
                    <a:pt x="90" y="88"/>
                  </a:lnTo>
                  <a:lnTo>
                    <a:pt x="90" y="90"/>
                  </a:lnTo>
                  <a:lnTo>
                    <a:pt x="90" y="88"/>
                  </a:lnTo>
                  <a:lnTo>
                    <a:pt x="90" y="86"/>
                  </a:lnTo>
                  <a:close/>
                  <a:moveTo>
                    <a:pt x="83" y="86"/>
                  </a:moveTo>
                  <a:lnTo>
                    <a:pt x="85" y="86"/>
                  </a:lnTo>
                  <a:lnTo>
                    <a:pt x="88" y="86"/>
                  </a:lnTo>
                  <a:lnTo>
                    <a:pt x="88" y="88"/>
                  </a:lnTo>
                  <a:lnTo>
                    <a:pt x="88" y="90"/>
                  </a:lnTo>
                  <a:lnTo>
                    <a:pt x="88" y="88"/>
                  </a:lnTo>
                  <a:lnTo>
                    <a:pt x="88" y="90"/>
                  </a:lnTo>
                  <a:lnTo>
                    <a:pt x="88" y="88"/>
                  </a:lnTo>
                  <a:lnTo>
                    <a:pt x="88" y="90"/>
                  </a:lnTo>
                  <a:lnTo>
                    <a:pt x="88" y="88"/>
                  </a:lnTo>
                  <a:lnTo>
                    <a:pt x="85" y="88"/>
                  </a:lnTo>
                  <a:lnTo>
                    <a:pt x="83" y="88"/>
                  </a:lnTo>
                  <a:lnTo>
                    <a:pt x="83" y="86"/>
                  </a:lnTo>
                  <a:lnTo>
                    <a:pt x="83" y="88"/>
                  </a:lnTo>
                  <a:lnTo>
                    <a:pt x="83" y="86"/>
                  </a:lnTo>
                  <a:close/>
                  <a:moveTo>
                    <a:pt x="81" y="83"/>
                  </a:moveTo>
                  <a:lnTo>
                    <a:pt x="81" y="86"/>
                  </a:lnTo>
                  <a:lnTo>
                    <a:pt x="81" y="83"/>
                  </a:lnTo>
                  <a:lnTo>
                    <a:pt x="81" y="86"/>
                  </a:lnTo>
                  <a:lnTo>
                    <a:pt x="78" y="86"/>
                  </a:lnTo>
                  <a:lnTo>
                    <a:pt x="78" y="83"/>
                  </a:lnTo>
                  <a:lnTo>
                    <a:pt x="81" y="83"/>
                  </a:lnTo>
                  <a:close/>
                  <a:moveTo>
                    <a:pt x="62" y="74"/>
                  </a:moveTo>
                  <a:lnTo>
                    <a:pt x="64" y="74"/>
                  </a:lnTo>
                  <a:lnTo>
                    <a:pt x="66" y="74"/>
                  </a:lnTo>
                  <a:lnTo>
                    <a:pt x="66" y="76"/>
                  </a:lnTo>
                  <a:lnTo>
                    <a:pt x="64" y="76"/>
                  </a:lnTo>
                  <a:lnTo>
                    <a:pt x="66" y="76"/>
                  </a:lnTo>
                  <a:lnTo>
                    <a:pt x="64" y="76"/>
                  </a:lnTo>
                  <a:lnTo>
                    <a:pt x="64" y="74"/>
                  </a:lnTo>
                  <a:lnTo>
                    <a:pt x="62" y="74"/>
                  </a:lnTo>
                  <a:close/>
                  <a:moveTo>
                    <a:pt x="57" y="71"/>
                  </a:moveTo>
                  <a:lnTo>
                    <a:pt x="59" y="71"/>
                  </a:lnTo>
                  <a:lnTo>
                    <a:pt x="57" y="74"/>
                  </a:lnTo>
                  <a:lnTo>
                    <a:pt x="57" y="71"/>
                  </a:lnTo>
                  <a:close/>
                  <a:moveTo>
                    <a:pt x="66" y="71"/>
                  </a:moveTo>
                  <a:lnTo>
                    <a:pt x="69" y="71"/>
                  </a:lnTo>
                  <a:lnTo>
                    <a:pt x="69" y="74"/>
                  </a:lnTo>
                  <a:lnTo>
                    <a:pt x="66" y="74"/>
                  </a:lnTo>
                  <a:lnTo>
                    <a:pt x="66" y="71"/>
                  </a:lnTo>
                  <a:lnTo>
                    <a:pt x="66" y="74"/>
                  </a:lnTo>
                  <a:lnTo>
                    <a:pt x="66" y="71"/>
                  </a:lnTo>
                  <a:close/>
                  <a:moveTo>
                    <a:pt x="71" y="71"/>
                  </a:moveTo>
                  <a:lnTo>
                    <a:pt x="71" y="74"/>
                  </a:lnTo>
                  <a:lnTo>
                    <a:pt x="69" y="71"/>
                  </a:lnTo>
                  <a:lnTo>
                    <a:pt x="71" y="71"/>
                  </a:lnTo>
                  <a:close/>
                  <a:moveTo>
                    <a:pt x="64" y="71"/>
                  </a:moveTo>
                  <a:lnTo>
                    <a:pt x="64" y="74"/>
                  </a:lnTo>
                  <a:lnTo>
                    <a:pt x="66" y="74"/>
                  </a:lnTo>
                  <a:lnTo>
                    <a:pt x="64" y="74"/>
                  </a:lnTo>
                  <a:lnTo>
                    <a:pt x="64" y="71"/>
                  </a:lnTo>
                  <a:close/>
                  <a:moveTo>
                    <a:pt x="59" y="71"/>
                  </a:moveTo>
                  <a:lnTo>
                    <a:pt x="59" y="74"/>
                  </a:lnTo>
                  <a:lnTo>
                    <a:pt x="59" y="71"/>
                  </a:lnTo>
                  <a:lnTo>
                    <a:pt x="57" y="71"/>
                  </a:lnTo>
                  <a:lnTo>
                    <a:pt x="59" y="71"/>
                  </a:lnTo>
                  <a:close/>
                  <a:moveTo>
                    <a:pt x="64" y="71"/>
                  </a:moveTo>
                  <a:lnTo>
                    <a:pt x="66" y="71"/>
                  </a:lnTo>
                  <a:lnTo>
                    <a:pt x="66" y="74"/>
                  </a:lnTo>
                  <a:lnTo>
                    <a:pt x="64" y="71"/>
                  </a:lnTo>
                  <a:close/>
                  <a:moveTo>
                    <a:pt x="69" y="71"/>
                  </a:moveTo>
                  <a:lnTo>
                    <a:pt x="66" y="71"/>
                  </a:lnTo>
                  <a:lnTo>
                    <a:pt x="69" y="71"/>
                  </a:lnTo>
                  <a:close/>
                  <a:moveTo>
                    <a:pt x="59" y="71"/>
                  </a:moveTo>
                  <a:lnTo>
                    <a:pt x="57" y="71"/>
                  </a:lnTo>
                  <a:lnTo>
                    <a:pt x="59" y="71"/>
                  </a:lnTo>
                  <a:close/>
                  <a:moveTo>
                    <a:pt x="69" y="71"/>
                  </a:moveTo>
                  <a:lnTo>
                    <a:pt x="69" y="69"/>
                  </a:lnTo>
                  <a:lnTo>
                    <a:pt x="69" y="71"/>
                  </a:lnTo>
                  <a:close/>
                  <a:moveTo>
                    <a:pt x="66" y="71"/>
                  </a:moveTo>
                  <a:lnTo>
                    <a:pt x="66" y="69"/>
                  </a:lnTo>
                  <a:lnTo>
                    <a:pt x="66" y="71"/>
                  </a:lnTo>
                  <a:close/>
                  <a:moveTo>
                    <a:pt x="55" y="69"/>
                  </a:moveTo>
                  <a:lnTo>
                    <a:pt x="52" y="69"/>
                  </a:lnTo>
                  <a:lnTo>
                    <a:pt x="55" y="69"/>
                  </a:lnTo>
                  <a:close/>
                  <a:moveTo>
                    <a:pt x="52" y="67"/>
                  </a:moveTo>
                  <a:lnTo>
                    <a:pt x="50" y="67"/>
                  </a:lnTo>
                  <a:lnTo>
                    <a:pt x="52" y="67"/>
                  </a:lnTo>
                  <a:close/>
                  <a:moveTo>
                    <a:pt x="50" y="67"/>
                  </a:moveTo>
                  <a:lnTo>
                    <a:pt x="52" y="67"/>
                  </a:lnTo>
                  <a:lnTo>
                    <a:pt x="50" y="67"/>
                  </a:lnTo>
                  <a:close/>
                  <a:moveTo>
                    <a:pt x="62" y="67"/>
                  </a:moveTo>
                  <a:lnTo>
                    <a:pt x="62" y="64"/>
                  </a:lnTo>
                  <a:lnTo>
                    <a:pt x="62" y="67"/>
                  </a:lnTo>
                  <a:close/>
                  <a:moveTo>
                    <a:pt x="62" y="64"/>
                  </a:moveTo>
                  <a:lnTo>
                    <a:pt x="59" y="64"/>
                  </a:lnTo>
                  <a:lnTo>
                    <a:pt x="62" y="64"/>
                  </a:lnTo>
                  <a:close/>
                  <a:moveTo>
                    <a:pt x="57" y="64"/>
                  </a:moveTo>
                  <a:lnTo>
                    <a:pt x="55" y="64"/>
                  </a:lnTo>
                  <a:lnTo>
                    <a:pt x="57" y="64"/>
                  </a:lnTo>
                  <a:close/>
                  <a:moveTo>
                    <a:pt x="52" y="64"/>
                  </a:moveTo>
                  <a:lnTo>
                    <a:pt x="55" y="64"/>
                  </a:lnTo>
                  <a:lnTo>
                    <a:pt x="52" y="64"/>
                  </a:lnTo>
                  <a:lnTo>
                    <a:pt x="55" y="64"/>
                  </a:lnTo>
                  <a:lnTo>
                    <a:pt x="55" y="67"/>
                  </a:lnTo>
                  <a:lnTo>
                    <a:pt x="52" y="64"/>
                  </a:lnTo>
                  <a:lnTo>
                    <a:pt x="50" y="64"/>
                  </a:lnTo>
                  <a:lnTo>
                    <a:pt x="52" y="64"/>
                  </a:lnTo>
                  <a:close/>
                  <a:moveTo>
                    <a:pt x="50" y="62"/>
                  </a:moveTo>
                  <a:lnTo>
                    <a:pt x="50" y="64"/>
                  </a:lnTo>
                  <a:lnTo>
                    <a:pt x="50" y="62"/>
                  </a:lnTo>
                  <a:close/>
                  <a:moveTo>
                    <a:pt x="52" y="62"/>
                  </a:moveTo>
                  <a:lnTo>
                    <a:pt x="50" y="62"/>
                  </a:lnTo>
                  <a:lnTo>
                    <a:pt x="52" y="62"/>
                  </a:lnTo>
                  <a:close/>
                  <a:moveTo>
                    <a:pt x="50" y="62"/>
                  </a:moveTo>
                  <a:lnTo>
                    <a:pt x="50" y="60"/>
                  </a:lnTo>
                  <a:lnTo>
                    <a:pt x="50" y="62"/>
                  </a:lnTo>
                  <a:close/>
                  <a:moveTo>
                    <a:pt x="57" y="60"/>
                  </a:moveTo>
                  <a:lnTo>
                    <a:pt x="55" y="60"/>
                  </a:lnTo>
                  <a:lnTo>
                    <a:pt x="57" y="60"/>
                  </a:lnTo>
                  <a:close/>
                  <a:moveTo>
                    <a:pt x="45" y="55"/>
                  </a:moveTo>
                  <a:lnTo>
                    <a:pt x="47" y="55"/>
                  </a:lnTo>
                  <a:lnTo>
                    <a:pt x="47" y="57"/>
                  </a:lnTo>
                  <a:lnTo>
                    <a:pt x="47" y="60"/>
                  </a:lnTo>
                  <a:lnTo>
                    <a:pt x="47" y="57"/>
                  </a:lnTo>
                  <a:lnTo>
                    <a:pt x="45" y="57"/>
                  </a:lnTo>
                  <a:lnTo>
                    <a:pt x="45" y="55"/>
                  </a:lnTo>
                  <a:close/>
                  <a:moveTo>
                    <a:pt x="45" y="52"/>
                  </a:moveTo>
                  <a:lnTo>
                    <a:pt x="47" y="52"/>
                  </a:lnTo>
                  <a:lnTo>
                    <a:pt x="47" y="55"/>
                  </a:lnTo>
                  <a:lnTo>
                    <a:pt x="47" y="52"/>
                  </a:lnTo>
                  <a:lnTo>
                    <a:pt x="50" y="55"/>
                  </a:lnTo>
                  <a:lnTo>
                    <a:pt x="47" y="55"/>
                  </a:lnTo>
                  <a:lnTo>
                    <a:pt x="50" y="55"/>
                  </a:lnTo>
                  <a:lnTo>
                    <a:pt x="50" y="57"/>
                  </a:lnTo>
                  <a:lnTo>
                    <a:pt x="52" y="57"/>
                  </a:lnTo>
                  <a:lnTo>
                    <a:pt x="50" y="57"/>
                  </a:lnTo>
                  <a:lnTo>
                    <a:pt x="52" y="57"/>
                  </a:lnTo>
                  <a:lnTo>
                    <a:pt x="52" y="60"/>
                  </a:lnTo>
                  <a:lnTo>
                    <a:pt x="55" y="60"/>
                  </a:lnTo>
                  <a:lnTo>
                    <a:pt x="55" y="62"/>
                  </a:lnTo>
                  <a:lnTo>
                    <a:pt x="57" y="62"/>
                  </a:lnTo>
                  <a:lnTo>
                    <a:pt x="57" y="64"/>
                  </a:lnTo>
                  <a:lnTo>
                    <a:pt x="57" y="62"/>
                  </a:lnTo>
                  <a:lnTo>
                    <a:pt x="55" y="62"/>
                  </a:lnTo>
                  <a:lnTo>
                    <a:pt x="52" y="62"/>
                  </a:lnTo>
                  <a:lnTo>
                    <a:pt x="52" y="60"/>
                  </a:lnTo>
                  <a:lnTo>
                    <a:pt x="52" y="57"/>
                  </a:lnTo>
                  <a:lnTo>
                    <a:pt x="50" y="57"/>
                  </a:lnTo>
                  <a:lnTo>
                    <a:pt x="50" y="55"/>
                  </a:lnTo>
                  <a:lnTo>
                    <a:pt x="50" y="57"/>
                  </a:lnTo>
                  <a:lnTo>
                    <a:pt x="47" y="57"/>
                  </a:lnTo>
                  <a:lnTo>
                    <a:pt x="47" y="55"/>
                  </a:lnTo>
                  <a:lnTo>
                    <a:pt x="47" y="52"/>
                  </a:lnTo>
                  <a:lnTo>
                    <a:pt x="45" y="52"/>
                  </a:lnTo>
                  <a:lnTo>
                    <a:pt x="45" y="50"/>
                  </a:lnTo>
                  <a:lnTo>
                    <a:pt x="45" y="52"/>
                  </a:lnTo>
                  <a:close/>
                  <a:moveTo>
                    <a:pt x="45" y="52"/>
                  </a:moveTo>
                  <a:lnTo>
                    <a:pt x="43" y="50"/>
                  </a:lnTo>
                  <a:lnTo>
                    <a:pt x="45" y="50"/>
                  </a:lnTo>
                  <a:lnTo>
                    <a:pt x="45" y="52"/>
                  </a:lnTo>
                  <a:close/>
                  <a:moveTo>
                    <a:pt x="40" y="50"/>
                  </a:moveTo>
                  <a:lnTo>
                    <a:pt x="40" y="52"/>
                  </a:lnTo>
                  <a:lnTo>
                    <a:pt x="40" y="50"/>
                  </a:lnTo>
                  <a:lnTo>
                    <a:pt x="40" y="52"/>
                  </a:lnTo>
                  <a:lnTo>
                    <a:pt x="40" y="50"/>
                  </a:lnTo>
                  <a:lnTo>
                    <a:pt x="38" y="50"/>
                  </a:lnTo>
                  <a:lnTo>
                    <a:pt x="40" y="50"/>
                  </a:lnTo>
                  <a:close/>
                  <a:moveTo>
                    <a:pt x="38" y="50"/>
                  </a:moveTo>
                  <a:lnTo>
                    <a:pt x="40" y="52"/>
                  </a:lnTo>
                  <a:lnTo>
                    <a:pt x="40" y="55"/>
                  </a:lnTo>
                  <a:lnTo>
                    <a:pt x="43" y="55"/>
                  </a:lnTo>
                  <a:lnTo>
                    <a:pt x="43" y="57"/>
                  </a:lnTo>
                  <a:lnTo>
                    <a:pt x="45" y="57"/>
                  </a:lnTo>
                  <a:lnTo>
                    <a:pt x="45" y="60"/>
                  </a:lnTo>
                  <a:lnTo>
                    <a:pt x="47" y="60"/>
                  </a:lnTo>
                  <a:lnTo>
                    <a:pt x="47" y="62"/>
                  </a:lnTo>
                  <a:lnTo>
                    <a:pt x="50" y="62"/>
                  </a:lnTo>
                  <a:lnTo>
                    <a:pt x="50" y="64"/>
                  </a:lnTo>
                  <a:lnTo>
                    <a:pt x="52" y="64"/>
                  </a:lnTo>
                  <a:lnTo>
                    <a:pt x="50" y="64"/>
                  </a:lnTo>
                  <a:lnTo>
                    <a:pt x="52" y="64"/>
                  </a:lnTo>
                  <a:lnTo>
                    <a:pt x="52" y="67"/>
                  </a:lnTo>
                  <a:lnTo>
                    <a:pt x="55" y="67"/>
                  </a:lnTo>
                  <a:lnTo>
                    <a:pt x="55" y="69"/>
                  </a:lnTo>
                  <a:lnTo>
                    <a:pt x="57" y="69"/>
                  </a:lnTo>
                  <a:lnTo>
                    <a:pt x="57" y="71"/>
                  </a:lnTo>
                  <a:lnTo>
                    <a:pt x="57" y="69"/>
                  </a:lnTo>
                  <a:lnTo>
                    <a:pt x="55" y="69"/>
                  </a:lnTo>
                  <a:lnTo>
                    <a:pt x="52" y="67"/>
                  </a:lnTo>
                  <a:lnTo>
                    <a:pt x="50" y="67"/>
                  </a:lnTo>
                  <a:lnTo>
                    <a:pt x="50" y="64"/>
                  </a:lnTo>
                  <a:lnTo>
                    <a:pt x="50" y="62"/>
                  </a:lnTo>
                  <a:lnTo>
                    <a:pt x="47" y="62"/>
                  </a:lnTo>
                  <a:lnTo>
                    <a:pt x="47" y="64"/>
                  </a:lnTo>
                  <a:lnTo>
                    <a:pt x="47" y="62"/>
                  </a:lnTo>
                  <a:lnTo>
                    <a:pt x="47" y="64"/>
                  </a:lnTo>
                  <a:lnTo>
                    <a:pt x="50" y="64"/>
                  </a:lnTo>
                  <a:lnTo>
                    <a:pt x="47" y="64"/>
                  </a:lnTo>
                  <a:lnTo>
                    <a:pt x="47" y="62"/>
                  </a:lnTo>
                  <a:lnTo>
                    <a:pt x="45" y="62"/>
                  </a:lnTo>
                  <a:lnTo>
                    <a:pt x="45" y="60"/>
                  </a:lnTo>
                  <a:lnTo>
                    <a:pt x="43" y="57"/>
                  </a:lnTo>
                  <a:lnTo>
                    <a:pt x="43" y="55"/>
                  </a:lnTo>
                  <a:lnTo>
                    <a:pt x="40" y="55"/>
                  </a:lnTo>
                  <a:lnTo>
                    <a:pt x="40" y="52"/>
                  </a:lnTo>
                  <a:lnTo>
                    <a:pt x="38" y="52"/>
                  </a:lnTo>
                  <a:lnTo>
                    <a:pt x="36" y="52"/>
                  </a:lnTo>
                  <a:lnTo>
                    <a:pt x="36" y="50"/>
                  </a:lnTo>
                  <a:lnTo>
                    <a:pt x="38" y="50"/>
                  </a:lnTo>
                  <a:lnTo>
                    <a:pt x="36" y="50"/>
                  </a:lnTo>
                  <a:lnTo>
                    <a:pt x="38" y="50"/>
                  </a:lnTo>
                  <a:lnTo>
                    <a:pt x="38" y="52"/>
                  </a:lnTo>
                  <a:lnTo>
                    <a:pt x="38" y="50"/>
                  </a:lnTo>
                  <a:lnTo>
                    <a:pt x="38" y="52"/>
                  </a:lnTo>
                  <a:lnTo>
                    <a:pt x="38" y="50"/>
                  </a:lnTo>
                  <a:lnTo>
                    <a:pt x="38" y="52"/>
                  </a:lnTo>
                  <a:lnTo>
                    <a:pt x="38" y="50"/>
                  </a:lnTo>
                  <a:close/>
                  <a:moveTo>
                    <a:pt x="40" y="48"/>
                  </a:moveTo>
                  <a:lnTo>
                    <a:pt x="40" y="50"/>
                  </a:lnTo>
                  <a:lnTo>
                    <a:pt x="43" y="50"/>
                  </a:lnTo>
                  <a:lnTo>
                    <a:pt x="43" y="52"/>
                  </a:lnTo>
                  <a:lnTo>
                    <a:pt x="43" y="50"/>
                  </a:lnTo>
                  <a:lnTo>
                    <a:pt x="40" y="50"/>
                  </a:lnTo>
                  <a:lnTo>
                    <a:pt x="43" y="50"/>
                  </a:lnTo>
                  <a:lnTo>
                    <a:pt x="40" y="50"/>
                  </a:lnTo>
                  <a:lnTo>
                    <a:pt x="40" y="48"/>
                  </a:lnTo>
                  <a:close/>
                  <a:moveTo>
                    <a:pt x="36" y="45"/>
                  </a:moveTo>
                  <a:lnTo>
                    <a:pt x="36" y="48"/>
                  </a:lnTo>
                  <a:lnTo>
                    <a:pt x="38" y="48"/>
                  </a:lnTo>
                  <a:lnTo>
                    <a:pt x="40" y="48"/>
                  </a:lnTo>
                  <a:lnTo>
                    <a:pt x="38" y="48"/>
                  </a:lnTo>
                  <a:lnTo>
                    <a:pt x="40" y="48"/>
                  </a:lnTo>
                  <a:lnTo>
                    <a:pt x="38" y="48"/>
                  </a:lnTo>
                  <a:lnTo>
                    <a:pt x="38" y="50"/>
                  </a:lnTo>
                  <a:lnTo>
                    <a:pt x="38" y="48"/>
                  </a:lnTo>
                  <a:lnTo>
                    <a:pt x="38" y="50"/>
                  </a:lnTo>
                  <a:lnTo>
                    <a:pt x="38" y="48"/>
                  </a:lnTo>
                  <a:lnTo>
                    <a:pt x="36" y="48"/>
                  </a:lnTo>
                  <a:lnTo>
                    <a:pt x="38" y="48"/>
                  </a:lnTo>
                  <a:lnTo>
                    <a:pt x="38" y="50"/>
                  </a:lnTo>
                  <a:lnTo>
                    <a:pt x="36" y="48"/>
                  </a:lnTo>
                  <a:lnTo>
                    <a:pt x="36" y="45"/>
                  </a:lnTo>
                  <a:close/>
                  <a:moveTo>
                    <a:pt x="36" y="45"/>
                  </a:moveTo>
                  <a:lnTo>
                    <a:pt x="33" y="45"/>
                  </a:lnTo>
                  <a:lnTo>
                    <a:pt x="36" y="45"/>
                  </a:lnTo>
                  <a:lnTo>
                    <a:pt x="33" y="45"/>
                  </a:lnTo>
                  <a:lnTo>
                    <a:pt x="36" y="45"/>
                  </a:lnTo>
                  <a:close/>
                  <a:moveTo>
                    <a:pt x="43" y="43"/>
                  </a:moveTo>
                  <a:lnTo>
                    <a:pt x="45" y="43"/>
                  </a:lnTo>
                  <a:lnTo>
                    <a:pt x="47" y="45"/>
                  </a:lnTo>
                  <a:lnTo>
                    <a:pt x="45" y="45"/>
                  </a:lnTo>
                  <a:lnTo>
                    <a:pt x="43" y="45"/>
                  </a:lnTo>
                  <a:lnTo>
                    <a:pt x="43" y="43"/>
                  </a:lnTo>
                  <a:close/>
                  <a:moveTo>
                    <a:pt x="31" y="43"/>
                  </a:moveTo>
                  <a:lnTo>
                    <a:pt x="31" y="45"/>
                  </a:lnTo>
                  <a:lnTo>
                    <a:pt x="31" y="43"/>
                  </a:lnTo>
                  <a:lnTo>
                    <a:pt x="28" y="43"/>
                  </a:lnTo>
                  <a:lnTo>
                    <a:pt x="28" y="41"/>
                  </a:lnTo>
                  <a:lnTo>
                    <a:pt x="28" y="43"/>
                  </a:lnTo>
                  <a:lnTo>
                    <a:pt x="31" y="43"/>
                  </a:lnTo>
                  <a:close/>
                  <a:moveTo>
                    <a:pt x="33" y="41"/>
                  </a:moveTo>
                  <a:lnTo>
                    <a:pt x="33" y="43"/>
                  </a:lnTo>
                  <a:lnTo>
                    <a:pt x="33" y="41"/>
                  </a:lnTo>
                  <a:lnTo>
                    <a:pt x="31" y="41"/>
                  </a:lnTo>
                  <a:lnTo>
                    <a:pt x="31" y="38"/>
                  </a:lnTo>
                  <a:lnTo>
                    <a:pt x="33" y="38"/>
                  </a:lnTo>
                  <a:lnTo>
                    <a:pt x="33" y="41"/>
                  </a:lnTo>
                  <a:close/>
                  <a:moveTo>
                    <a:pt x="36" y="38"/>
                  </a:moveTo>
                  <a:lnTo>
                    <a:pt x="36" y="41"/>
                  </a:lnTo>
                  <a:lnTo>
                    <a:pt x="36" y="43"/>
                  </a:lnTo>
                  <a:lnTo>
                    <a:pt x="36" y="41"/>
                  </a:lnTo>
                  <a:lnTo>
                    <a:pt x="33" y="41"/>
                  </a:lnTo>
                  <a:lnTo>
                    <a:pt x="36" y="41"/>
                  </a:lnTo>
                  <a:lnTo>
                    <a:pt x="36" y="38"/>
                  </a:lnTo>
                  <a:close/>
                  <a:moveTo>
                    <a:pt x="40" y="38"/>
                  </a:moveTo>
                  <a:lnTo>
                    <a:pt x="40" y="41"/>
                  </a:lnTo>
                  <a:lnTo>
                    <a:pt x="40" y="38"/>
                  </a:lnTo>
                  <a:lnTo>
                    <a:pt x="38" y="38"/>
                  </a:lnTo>
                  <a:lnTo>
                    <a:pt x="40" y="38"/>
                  </a:lnTo>
                  <a:close/>
                  <a:moveTo>
                    <a:pt x="28" y="38"/>
                  </a:moveTo>
                  <a:lnTo>
                    <a:pt x="26" y="38"/>
                  </a:lnTo>
                  <a:lnTo>
                    <a:pt x="26" y="36"/>
                  </a:lnTo>
                  <a:lnTo>
                    <a:pt x="28" y="36"/>
                  </a:lnTo>
                  <a:lnTo>
                    <a:pt x="28" y="38"/>
                  </a:lnTo>
                  <a:close/>
                  <a:moveTo>
                    <a:pt x="28" y="36"/>
                  </a:moveTo>
                  <a:lnTo>
                    <a:pt x="28" y="33"/>
                  </a:lnTo>
                  <a:lnTo>
                    <a:pt x="28" y="36"/>
                  </a:lnTo>
                  <a:close/>
                  <a:moveTo>
                    <a:pt x="19" y="33"/>
                  </a:moveTo>
                  <a:lnTo>
                    <a:pt x="19" y="36"/>
                  </a:lnTo>
                  <a:lnTo>
                    <a:pt x="19" y="33"/>
                  </a:lnTo>
                  <a:lnTo>
                    <a:pt x="19" y="36"/>
                  </a:lnTo>
                  <a:lnTo>
                    <a:pt x="21" y="33"/>
                  </a:lnTo>
                  <a:lnTo>
                    <a:pt x="21" y="36"/>
                  </a:lnTo>
                  <a:lnTo>
                    <a:pt x="19" y="36"/>
                  </a:lnTo>
                  <a:lnTo>
                    <a:pt x="19" y="33"/>
                  </a:lnTo>
                  <a:close/>
                  <a:moveTo>
                    <a:pt x="21" y="31"/>
                  </a:moveTo>
                  <a:lnTo>
                    <a:pt x="19" y="31"/>
                  </a:lnTo>
                  <a:lnTo>
                    <a:pt x="21" y="31"/>
                  </a:lnTo>
                  <a:close/>
                  <a:moveTo>
                    <a:pt x="19" y="26"/>
                  </a:moveTo>
                  <a:lnTo>
                    <a:pt x="19" y="29"/>
                  </a:lnTo>
                  <a:lnTo>
                    <a:pt x="19" y="26"/>
                  </a:lnTo>
                  <a:lnTo>
                    <a:pt x="19" y="29"/>
                  </a:lnTo>
                  <a:lnTo>
                    <a:pt x="19" y="31"/>
                  </a:lnTo>
                  <a:lnTo>
                    <a:pt x="19" y="29"/>
                  </a:lnTo>
                  <a:lnTo>
                    <a:pt x="17" y="29"/>
                  </a:lnTo>
                  <a:lnTo>
                    <a:pt x="17" y="26"/>
                  </a:lnTo>
                  <a:lnTo>
                    <a:pt x="19" y="26"/>
                  </a:lnTo>
                  <a:close/>
                  <a:moveTo>
                    <a:pt x="36" y="29"/>
                  </a:moveTo>
                  <a:lnTo>
                    <a:pt x="38" y="29"/>
                  </a:lnTo>
                  <a:lnTo>
                    <a:pt x="38" y="31"/>
                  </a:lnTo>
                  <a:lnTo>
                    <a:pt x="38" y="29"/>
                  </a:lnTo>
                  <a:lnTo>
                    <a:pt x="40" y="31"/>
                  </a:lnTo>
                  <a:lnTo>
                    <a:pt x="40" y="29"/>
                  </a:lnTo>
                  <a:lnTo>
                    <a:pt x="40" y="31"/>
                  </a:lnTo>
                  <a:lnTo>
                    <a:pt x="40" y="33"/>
                  </a:lnTo>
                  <a:lnTo>
                    <a:pt x="43" y="33"/>
                  </a:lnTo>
                  <a:lnTo>
                    <a:pt x="45" y="33"/>
                  </a:lnTo>
                  <a:lnTo>
                    <a:pt x="45" y="36"/>
                  </a:lnTo>
                  <a:lnTo>
                    <a:pt x="43" y="36"/>
                  </a:lnTo>
                  <a:lnTo>
                    <a:pt x="43" y="33"/>
                  </a:lnTo>
                  <a:lnTo>
                    <a:pt x="40" y="33"/>
                  </a:lnTo>
                  <a:lnTo>
                    <a:pt x="43" y="36"/>
                  </a:lnTo>
                  <a:lnTo>
                    <a:pt x="45" y="38"/>
                  </a:lnTo>
                  <a:lnTo>
                    <a:pt x="45" y="36"/>
                  </a:lnTo>
                  <a:lnTo>
                    <a:pt x="45" y="38"/>
                  </a:lnTo>
                  <a:lnTo>
                    <a:pt x="47" y="38"/>
                  </a:lnTo>
                  <a:lnTo>
                    <a:pt x="47" y="41"/>
                  </a:lnTo>
                  <a:lnTo>
                    <a:pt x="50" y="41"/>
                  </a:lnTo>
                  <a:lnTo>
                    <a:pt x="50" y="43"/>
                  </a:lnTo>
                  <a:lnTo>
                    <a:pt x="52" y="43"/>
                  </a:lnTo>
                  <a:lnTo>
                    <a:pt x="50" y="43"/>
                  </a:lnTo>
                  <a:lnTo>
                    <a:pt x="50" y="41"/>
                  </a:lnTo>
                  <a:lnTo>
                    <a:pt x="47" y="41"/>
                  </a:lnTo>
                  <a:lnTo>
                    <a:pt x="50" y="43"/>
                  </a:lnTo>
                  <a:lnTo>
                    <a:pt x="50" y="45"/>
                  </a:lnTo>
                  <a:lnTo>
                    <a:pt x="50" y="43"/>
                  </a:lnTo>
                  <a:lnTo>
                    <a:pt x="47" y="43"/>
                  </a:lnTo>
                  <a:lnTo>
                    <a:pt x="47" y="45"/>
                  </a:lnTo>
                  <a:lnTo>
                    <a:pt x="47" y="43"/>
                  </a:lnTo>
                  <a:lnTo>
                    <a:pt x="45" y="43"/>
                  </a:lnTo>
                  <a:lnTo>
                    <a:pt x="45" y="41"/>
                  </a:lnTo>
                  <a:lnTo>
                    <a:pt x="47" y="41"/>
                  </a:lnTo>
                  <a:lnTo>
                    <a:pt x="45" y="41"/>
                  </a:lnTo>
                  <a:lnTo>
                    <a:pt x="43" y="41"/>
                  </a:lnTo>
                  <a:lnTo>
                    <a:pt x="43" y="38"/>
                  </a:lnTo>
                  <a:lnTo>
                    <a:pt x="43" y="36"/>
                  </a:lnTo>
                  <a:lnTo>
                    <a:pt x="40" y="36"/>
                  </a:lnTo>
                  <a:lnTo>
                    <a:pt x="40" y="33"/>
                  </a:lnTo>
                  <a:lnTo>
                    <a:pt x="38" y="33"/>
                  </a:lnTo>
                  <a:lnTo>
                    <a:pt x="38" y="31"/>
                  </a:lnTo>
                  <a:lnTo>
                    <a:pt x="36" y="31"/>
                  </a:lnTo>
                  <a:lnTo>
                    <a:pt x="36" y="29"/>
                  </a:lnTo>
                  <a:lnTo>
                    <a:pt x="36" y="26"/>
                  </a:lnTo>
                  <a:lnTo>
                    <a:pt x="33" y="26"/>
                  </a:lnTo>
                  <a:lnTo>
                    <a:pt x="36" y="26"/>
                  </a:lnTo>
                  <a:lnTo>
                    <a:pt x="36" y="29"/>
                  </a:lnTo>
                  <a:close/>
                  <a:moveTo>
                    <a:pt x="38" y="26"/>
                  </a:moveTo>
                  <a:lnTo>
                    <a:pt x="36" y="26"/>
                  </a:lnTo>
                  <a:lnTo>
                    <a:pt x="36" y="24"/>
                  </a:lnTo>
                  <a:lnTo>
                    <a:pt x="36" y="26"/>
                  </a:lnTo>
                  <a:lnTo>
                    <a:pt x="38" y="26"/>
                  </a:lnTo>
                  <a:close/>
                  <a:moveTo>
                    <a:pt x="19" y="24"/>
                  </a:moveTo>
                  <a:lnTo>
                    <a:pt x="19" y="22"/>
                  </a:lnTo>
                  <a:lnTo>
                    <a:pt x="19" y="24"/>
                  </a:lnTo>
                  <a:close/>
                  <a:moveTo>
                    <a:pt x="36" y="19"/>
                  </a:moveTo>
                  <a:lnTo>
                    <a:pt x="38" y="19"/>
                  </a:lnTo>
                  <a:lnTo>
                    <a:pt x="36" y="19"/>
                  </a:lnTo>
                  <a:lnTo>
                    <a:pt x="38" y="19"/>
                  </a:lnTo>
                  <a:lnTo>
                    <a:pt x="36" y="19"/>
                  </a:lnTo>
                  <a:close/>
                  <a:moveTo>
                    <a:pt x="33" y="19"/>
                  </a:moveTo>
                  <a:lnTo>
                    <a:pt x="36" y="19"/>
                  </a:lnTo>
                  <a:lnTo>
                    <a:pt x="33" y="19"/>
                  </a:lnTo>
                  <a:lnTo>
                    <a:pt x="36" y="19"/>
                  </a:lnTo>
                  <a:lnTo>
                    <a:pt x="33" y="19"/>
                  </a:lnTo>
                  <a:lnTo>
                    <a:pt x="36" y="22"/>
                  </a:lnTo>
                  <a:lnTo>
                    <a:pt x="36" y="24"/>
                  </a:lnTo>
                  <a:lnTo>
                    <a:pt x="38" y="24"/>
                  </a:lnTo>
                  <a:lnTo>
                    <a:pt x="38" y="26"/>
                  </a:lnTo>
                  <a:lnTo>
                    <a:pt x="36" y="24"/>
                  </a:lnTo>
                  <a:lnTo>
                    <a:pt x="33" y="24"/>
                  </a:lnTo>
                  <a:lnTo>
                    <a:pt x="33" y="22"/>
                  </a:lnTo>
                  <a:lnTo>
                    <a:pt x="33" y="24"/>
                  </a:lnTo>
                  <a:lnTo>
                    <a:pt x="36" y="24"/>
                  </a:lnTo>
                  <a:lnTo>
                    <a:pt x="33" y="24"/>
                  </a:lnTo>
                  <a:lnTo>
                    <a:pt x="33" y="22"/>
                  </a:lnTo>
                  <a:lnTo>
                    <a:pt x="31" y="22"/>
                  </a:lnTo>
                  <a:lnTo>
                    <a:pt x="33" y="22"/>
                  </a:lnTo>
                  <a:lnTo>
                    <a:pt x="33" y="19"/>
                  </a:lnTo>
                  <a:lnTo>
                    <a:pt x="31" y="19"/>
                  </a:lnTo>
                  <a:lnTo>
                    <a:pt x="33" y="19"/>
                  </a:lnTo>
                  <a:close/>
                  <a:moveTo>
                    <a:pt x="36" y="17"/>
                  </a:moveTo>
                  <a:lnTo>
                    <a:pt x="36" y="19"/>
                  </a:lnTo>
                  <a:lnTo>
                    <a:pt x="33" y="19"/>
                  </a:lnTo>
                  <a:lnTo>
                    <a:pt x="33" y="17"/>
                  </a:lnTo>
                  <a:lnTo>
                    <a:pt x="36" y="17"/>
                  </a:lnTo>
                  <a:close/>
                  <a:moveTo>
                    <a:pt x="2" y="14"/>
                  </a:moveTo>
                  <a:lnTo>
                    <a:pt x="2" y="17"/>
                  </a:lnTo>
                  <a:lnTo>
                    <a:pt x="0" y="17"/>
                  </a:lnTo>
                  <a:lnTo>
                    <a:pt x="2" y="17"/>
                  </a:lnTo>
                  <a:lnTo>
                    <a:pt x="0" y="17"/>
                  </a:lnTo>
                  <a:lnTo>
                    <a:pt x="2" y="17"/>
                  </a:lnTo>
                  <a:lnTo>
                    <a:pt x="2" y="14"/>
                  </a:lnTo>
                  <a:lnTo>
                    <a:pt x="0" y="14"/>
                  </a:lnTo>
                  <a:lnTo>
                    <a:pt x="2" y="14"/>
                  </a:lnTo>
                  <a:close/>
                  <a:moveTo>
                    <a:pt x="36" y="14"/>
                  </a:moveTo>
                  <a:lnTo>
                    <a:pt x="36" y="17"/>
                  </a:lnTo>
                  <a:lnTo>
                    <a:pt x="38" y="17"/>
                  </a:lnTo>
                  <a:lnTo>
                    <a:pt x="36" y="17"/>
                  </a:lnTo>
                  <a:lnTo>
                    <a:pt x="36" y="14"/>
                  </a:lnTo>
                  <a:close/>
                  <a:moveTo>
                    <a:pt x="0" y="14"/>
                  </a:moveTo>
                  <a:lnTo>
                    <a:pt x="2" y="14"/>
                  </a:lnTo>
                  <a:lnTo>
                    <a:pt x="0" y="14"/>
                  </a:lnTo>
                  <a:close/>
                  <a:moveTo>
                    <a:pt x="26" y="12"/>
                  </a:moveTo>
                  <a:lnTo>
                    <a:pt x="28" y="12"/>
                  </a:lnTo>
                  <a:lnTo>
                    <a:pt x="28" y="14"/>
                  </a:lnTo>
                  <a:lnTo>
                    <a:pt x="26" y="14"/>
                  </a:lnTo>
                  <a:lnTo>
                    <a:pt x="26" y="12"/>
                  </a:lnTo>
                  <a:close/>
                  <a:moveTo>
                    <a:pt x="28" y="0"/>
                  </a:moveTo>
                  <a:lnTo>
                    <a:pt x="28" y="3"/>
                  </a:lnTo>
                  <a:lnTo>
                    <a:pt x="31" y="3"/>
                  </a:lnTo>
                  <a:lnTo>
                    <a:pt x="31" y="5"/>
                  </a:lnTo>
                  <a:lnTo>
                    <a:pt x="28" y="3"/>
                  </a:lnTo>
                  <a:lnTo>
                    <a:pt x="28" y="5"/>
                  </a:lnTo>
                  <a:lnTo>
                    <a:pt x="31" y="5"/>
                  </a:lnTo>
                  <a:lnTo>
                    <a:pt x="31" y="7"/>
                  </a:lnTo>
                  <a:lnTo>
                    <a:pt x="33" y="7"/>
                  </a:lnTo>
                  <a:lnTo>
                    <a:pt x="33" y="10"/>
                  </a:lnTo>
                  <a:lnTo>
                    <a:pt x="33" y="7"/>
                  </a:lnTo>
                  <a:lnTo>
                    <a:pt x="33" y="10"/>
                  </a:lnTo>
                  <a:lnTo>
                    <a:pt x="33" y="7"/>
                  </a:lnTo>
                  <a:lnTo>
                    <a:pt x="33" y="10"/>
                  </a:lnTo>
                  <a:lnTo>
                    <a:pt x="36" y="10"/>
                  </a:lnTo>
                  <a:lnTo>
                    <a:pt x="36" y="12"/>
                  </a:lnTo>
                  <a:lnTo>
                    <a:pt x="36" y="14"/>
                  </a:lnTo>
                  <a:lnTo>
                    <a:pt x="36" y="12"/>
                  </a:lnTo>
                  <a:lnTo>
                    <a:pt x="36" y="14"/>
                  </a:lnTo>
                  <a:lnTo>
                    <a:pt x="36" y="12"/>
                  </a:lnTo>
                  <a:lnTo>
                    <a:pt x="33" y="12"/>
                  </a:lnTo>
                  <a:lnTo>
                    <a:pt x="33" y="14"/>
                  </a:lnTo>
                  <a:lnTo>
                    <a:pt x="36" y="14"/>
                  </a:lnTo>
                  <a:lnTo>
                    <a:pt x="33" y="14"/>
                  </a:lnTo>
                  <a:lnTo>
                    <a:pt x="31" y="14"/>
                  </a:lnTo>
                  <a:lnTo>
                    <a:pt x="31" y="12"/>
                  </a:lnTo>
                  <a:lnTo>
                    <a:pt x="31" y="10"/>
                  </a:lnTo>
                  <a:lnTo>
                    <a:pt x="28" y="10"/>
                  </a:lnTo>
                  <a:lnTo>
                    <a:pt x="31" y="10"/>
                  </a:lnTo>
                  <a:lnTo>
                    <a:pt x="31" y="12"/>
                  </a:lnTo>
                  <a:lnTo>
                    <a:pt x="28" y="12"/>
                  </a:lnTo>
                  <a:lnTo>
                    <a:pt x="28" y="10"/>
                  </a:lnTo>
                  <a:lnTo>
                    <a:pt x="28" y="12"/>
                  </a:lnTo>
                  <a:lnTo>
                    <a:pt x="26" y="12"/>
                  </a:lnTo>
                  <a:lnTo>
                    <a:pt x="26" y="10"/>
                  </a:lnTo>
                  <a:lnTo>
                    <a:pt x="26" y="12"/>
                  </a:lnTo>
                  <a:lnTo>
                    <a:pt x="26" y="10"/>
                  </a:lnTo>
                  <a:lnTo>
                    <a:pt x="24" y="10"/>
                  </a:lnTo>
                  <a:lnTo>
                    <a:pt x="24" y="7"/>
                  </a:lnTo>
                  <a:lnTo>
                    <a:pt x="26" y="7"/>
                  </a:lnTo>
                  <a:lnTo>
                    <a:pt x="24" y="7"/>
                  </a:lnTo>
                  <a:lnTo>
                    <a:pt x="26" y="5"/>
                  </a:lnTo>
                  <a:lnTo>
                    <a:pt x="26" y="7"/>
                  </a:lnTo>
                  <a:lnTo>
                    <a:pt x="26" y="5"/>
                  </a:lnTo>
                  <a:lnTo>
                    <a:pt x="28" y="5"/>
                  </a:lnTo>
                  <a:lnTo>
                    <a:pt x="28" y="3"/>
                  </a:lnTo>
                  <a:lnTo>
                    <a:pt x="26" y="3"/>
                  </a:lnTo>
                  <a:lnTo>
                    <a:pt x="28" y="3"/>
                  </a:lnTo>
                  <a:lnTo>
                    <a:pt x="26" y="3"/>
                  </a:lnTo>
                  <a:lnTo>
                    <a:pt x="26" y="0"/>
                  </a:lnTo>
                  <a:lnTo>
                    <a:pt x="28" y="3"/>
                  </a:lnTo>
                  <a:lnTo>
                    <a:pt x="28" y="0"/>
                  </a:lnTo>
                  <a:lnTo>
                    <a:pt x="26" y="0"/>
                  </a:lnTo>
                  <a:lnTo>
                    <a:pt x="2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2" name="Freeform 50285"/>
            <p:cNvSpPr>
              <a:spLocks noEditPoints="1"/>
            </p:cNvSpPr>
            <p:nvPr/>
          </p:nvSpPr>
          <p:spPr bwMode="auto">
            <a:xfrm>
              <a:off x="2736848" y="5051441"/>
              <a:ext cx="230188" cy="219075"/>
            </a:xfrm>
            <a:custGeom>
              <a:avLst/>
              <a:gdLst>
                <a:gd name="T0" fmla="*/ 90 w 145"/>
                <a:gd name="T1" fmla="*/ 138 h 138"/>
                <a:gd name="T2" fmla="*/ 145 w 145"/>
                <a:gd name="T3" fmla="*/ 124 h 138"/>
                <a:gd name="T4" fmla="*/ 117 w 145"/>
                <a:gd name="T5" fmla="*/ 122 h 138"/>
                <a:gd name="T6" fmla="*/ 117 w 145"/>
                <a:gd name="T7" fmla="*/ 119 h 138"/>
                <a:gd name="T8" fmla="*/ 117 w 145"/>
                <a:gd name="T9" fmla="*/ 119 h 138"/>
                <a:gd name="T10" fmla="*/ 105 w 145"/>
                <a:gd name="T11" fmla="*/ 119 h 138"/>
                <a:gd name="T12" fmla="*/ 124 w 145"/>
                <a:gd name="T13" fmla="*/ 119 h 138"/>
                <a:gd name="T14" fmla="*/ 105 w 145"/>
                <a:gd name="T15" fmla="*/ 114 h 138"/>
                <a:gd name="T16" fmla="*/ 102 w 145"/>
                <a:gd name="T17" fmla="*/ 114 h 138"/>
                <a:gd name="T18" fmla="*/ 119 w 145"/>
                <a:gd name="T19" fmla="*/ 107 h 138"/>
                <a:gd name="T20" fmla="*/ 88 w 145"/>
                <a:gd name="T21" fmla="*/ 110 h 138"/>
                <a:gd name="T22" fmla="*/ 95 w 145"/>
                <a:gd name="T23" fmla="*/ 103 h 138"/>
                <a:gd name="T24" fmla="*/ 90 w 145"/>
                <a:gd name="T25" fmla="*/ 103 h 138"/>
                <a:gd name="T26" fmla="*/ 105 w 145"/>
                <a:gd name="T27" fmla="*/ 100 h 138"/>
                <a:gd name="T28" fmla="*/ 88 w 145"/>
                <a:gd name="T29" fmla="*/ 91 h 138"/>
                <a:gd name="T30" fmla="*/ 86 w 145"/>
                <a:gd name="T31" fmla="*/ 91 h 138"/>
                <a:gd name="T32" fmla="*/ 79 w 145"/>
                <a:gd name="T33" fmla="*/ 84 h 138"/>
                <a:gd name="T34" fmla="*/ 79 w 145"/>
                <a:gd name="T35" fmla="*/ 81 h 138"/>
                <a:gd name="T36" fmla="*/ 79 w 145"/>
                <a:gd name="T37" fmla="*/ 79 h 138"/>
                <a:gd name="T38" fmla="*/ 74 w 145"/>
                <a:gd name="T39" fmla="*/ 79 h 138"/>
                <a:gd name="T40" fmla="*/ 71 w 145"/>
                <a:gd name="T41" fmla="*/ 76 h 138"/>
                <a:gd name="T42" fmla="*/ 69 w 145"/>
                <a:gd name="T43" fmla="*/ 76 h 138"/>
                <a:gd name="T44" fmla="*/ 62 w 145"/>
                <a:gd name="T45" fmla="*/ 76 h 138"/>
                <a:gd name="T46" fmla="*/ 60 w 145"/>
                <a:gd name="T47" fmla="*/ 74 h 138"/>
                <a:gd name="T48" fmla="*/ 60 w 145"/>
                <a:gd name="T49" fmla="*/ 74 h 138"/>
                <a:gd name="T50" fmla="*/ 57 w 145"/>
                <a:gd name="T51" fmla="*/ 69 h 138"/>
                <a:gd name="T52" fmla="*/ 57 w 145"/>
                <a:gd name="T53" fmla="*/ 67 h 138"/>
                <a:gd name="T54" fmla="*/ 57 w 145"/>
                <a:gd name="T55" fmla="*/ 67 h 138"/>
                <a:gd name="T56" fmla="*/ 60 w 145"/>
                <a:gd name="T57" fmla="*/ 65 h 138"/>
                <a:gd name="T58" fmla="*/ 50 w 145"/>
                <a:gd name="T59" fmla="*/ 65 h 138"/>
                <a:gd name="T60" fmla="*/ 52 w 145"/>
                <a:gd name="T61" fmla="*/ 62 h 138"/>
                <a:gd name="T62" fmla="*/ 50 w 145"/>
                <a:gd name="T63" fmla="*/ 62 h 138"/>
                <a:gd name="T64" fmla="*/ 50 w 145"/>
                <a:gd name="T65" fmla="*/ 57 h 138"/>
                <a:gd name="T66" fmla="*/ 45 w 145"/>
                <a:gd name="T67" fmla="*/ 55 h 138"/>
                <a:gd name="T68" fmla="*/ 41 w 145"/>
                <a:gd name="T69" fmla="*/ 53 h 138"/>
                <a:gd name="T70" fmla="*/ 55 w 145"/>
                <a:gd name="T71" fmla="*/ 50 h 138"/>
                <a:gd name="T72" fmla="*/ 55 w 145"/>
                <a:gd name="T73" fmla="*/ 48 h 138"/>
                <a:gd name="T74" fmla="*/ 33 w 145"/>
                <a:gd name="T75" fmla="*/ 46 h 138"/>
                <a:gd name="T76" fmla="*/ 41 w 145"/>
                <a:gd name="T77" fmla="*/ 43 h 138"/>
                <a:gd name="T78" fmla="*/ 36 w 145"/>
                <a:gd name="T79" fmla="*/ 29 h 138"/>
                <a:gd name="T80" fmla="*/ 7 w 145"/>
                <a:gd name="T81" fmla="*/ 22 h 138"/>
                <a:gd name="T82" fmla="*/ 5 w 145"/>
                <a:gd name="T83" fmla="*/ 15 h 138"/>
                <a:gd name="T84" fmla="*/ 3 w 145"/>
                <a:gd name="T85" fmla="*/ 10 h 138"/>
                <a:gd name="T86" fmla="*/ 29 w 145"/>
                <a:gd name="T8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5" h="138">
                  <a:moveTo>
                    <a:pt x="90" y="138"/>
                  </a:moveTo>
                  <a:lnTo>
                    <a:pt x="88" y="138"/>
                  </a:lnTo>
                  <a:lnTo>
                    <a:pt x="90" y="138"/>
                  </a:lnTo>
                  <a:close/>
                  <a:moveTo>
                    <a:pt x="145" y="124"/>
                  </a:moveTo>
                  <a:lnTo>
                    <a:pt x="145" y="122"/>
                  </a:lnTo>
                  <a:lnTo>
                    <a:pt x="145" y="124"/>
                  </a:lnTo>
                  <a:close/>
                  <a:moveTo>
                    <a:pt x="117" y="122"/>
                  </a:moveTo>
                  <a:lnTo>
                    <a:pt x="117" y="119"/>
                  </a:lnTo>
                  <a:lnTo>
                    <a:pt x="117" y="122"/>
                  </a:lnTo>
                  <a:close/>
                  <a:moveTo>
                    <a:pt x="117" y="119"/>
                  </a:moveTo>
                  <a:lnTo>
                    <a:pt x="117" y="122"/>
                  </a:lnTo>
                  <a:lnTo>
                    <a:pt x="117" y="119"/>
                  </a:lnTo>
                  <a:close/>
                  <a:moveTo>
                    <a:pt x="117" y="119"/>
                  </a:moveTo>
                  <a:lnTo>
                    <a:pt x="117" y="122"/>
                  </a:lnTo>
                  <a:lnTo>
                    <a:pt x="117" y="119"/>
                  </a:lnTo>
                  <a:close/>
                  <a:moveTo>
                    <a:pt x="105" y="119"/>
                  </a:moveTo>
                  <a:lnTo>
                    <a:pt x="105" y="122"/>
                  </a:lnTo>
                  <a:lnTo>
                    <a:pt x="105" y="119"/>
                  </a:lnTo>
                  <a:close/>
                  <a:moveTo>
                    <a:pt x="124" y="119"/>
                  </a:moveTo>
                  <a:lnTo>
                    <a:pt x="126" y="119"/>
                  </a:lnTo>
                  <a:lnTo>
                    <a:pt x="124" y="119"/>
                  </a:lnTo>
                  <a:close/>
                  <a:moveTo>
                    <a:pt x="105" y="114"/>
                  </a:moveTo>
                  <a:lnTo>
                    <a:pt x="102" y="114"/>
                  </a:lnTo>
                  <a:lnTo>
                    <a:pt x="105" y="114"/>
                  </a:lnTo>
                  <a:close/>
                  <a:moveTo>
                    <a:pt x="102" y="114"/>
                  </a:moveTo>
                  <a:lnTo>
                    <a:pt x="102" y="112"/>
                  </a:lnTo>
                  <a:lnTo>
                    <a:pt x="102" y="114"/>
                  </a:lnTo>
                  <a:close/>
                  <a:moveTo>
                    <a:pt x="119" y="107"/>
                  </a:moveTo>
                  <a:lnTo>
                    <a:pt x="119" y="110"/>
                  </a:lnTo>
                  <a:lnTo>
                    <a:pt x="119" y="107"/>
                  </a:lnTo>
                  <a:close/>
                  <a:moveTo>
                    <a:pt x="88" y="110"/>
                  </a:moveTo>
                  <a:lnTo>
                    <a:pt x="88" y="107"/>
                  </a:lnTo>
                  <a:lnTo>
                    <a:pt x="88" y="110"/>
                  </a:lnTo>
                  <a:close/>
                  <a:moveTo>
                    <a:pt x="95" y="103"/>
                  </a:moveTo>
                  <a:lnTo>
                    <a:pt x="93" y="103"/>
                  </a:lnTo>
                  <a:lnTo>
                    <a:pt x="95" y="103"/>
                  </a:lnTo>
                  <a:close/>
                  <a:moveTo>
                    <a:pt x="90" y="103"/>
                  </a:moveTo>
                  <a:lnTo>
                    <a:pt x="90" y="100"/>
                  </a:lnTo>
                  <a:lnTo>
                    <a:pt x="90" y="103"/>
                  </a:lnTo>
                  <a:close/>
                  <a:moveTo>
                    <a:pt x="105" y="100"/>
                  </a:moveTo>
                  <a:lnTo>
                    <a:pt x="102" y="100"/>
                  </a:lnTo>
                  <a:lnTo>
                    <a:pt x="105" y="100"/>
                  </a:lnTo>
                  <a:close/>
                  <a:moveTo>
                    <a:pt x="88" y="91"/>
                  </a:moveTo>
                  <a:lnTo>
                    <a:pt x="86" y="91"/>
                  </a:lnTo>
                  <a:lnTo>
                    <a:pt x="88" y="91"/>
                  </a:lnTo>
                  <a:close/>
                  <a:moveTo>
                    <a:pt x="86" y="91"/>
                  </a:moveTo>
                  <a:lnTo>
                    <a:pt x="83" y="91"/>
                  </a:lnTo>
                  <a:lnTo>
                    <a:pt x="86" y="91"/>
                  </a:lnTo>
                  <a:close/>
                  <a:moveTo>
                    <a:pt x="79" y="84"/>
                  </a:moveTo>
                  <a:lnTo>
                    <a:pt x="76" y="84"/>
                  </a:lnTo>
                  <a:lnTo>
                    <a:pt x="79" y="84"/>
                  </a:lnTo>
                  <a:close/>
                  <a:moveTo>
                    <a:pt x="79" y="81"/>
                  </a:moveTo>
                  <a:lnTo>
                    <a:pt x="76" y="81"/>
                  </a:lnTo>
                  <a:lnTo>
                    <a:pt x="79" y="81"/>
                  </a:lnTo>
                  <a:close/>
                  <a:moveTo>
                    <a:pt x="79" y="79"/>
                  </a:moveTo>
                  <a:lnTo>
                    <a:pt x="76" y="79"/>
                  </a:lnTo>
                  <a:lnTo>
                    <a:pt x="79" y="79"/>
                  </a:lnTo>
                  <a:close/>
                  <a:moveTo>
                    <a:pt x="74" y="79"/>
                  </a:moveTo>
                  <a:lnTo>
                    <a:pt x="71" y="79"/>
                  </a:lnTo>
                  <a:lnTo>
                    <a:pt x="74" y="79"/>
                  </a:lnTo>
                  <a:close/>
                  <a:moveTo>
                    <a:pt x="71" y="76"/>
                  </a:moveTo>
                  <a:lnTo>
                    <a:pt x="69" y="76"/>
                  </a:lnTo>
                  <a:lnTo>
                    <a:pt x="71" y="76"/>
                  </a:lnTo>
                  <a:close/>
                  <a:moveTo>
                    <a:pt x="69" y="76"/>
                  </a:moveTo>
                  <a:lnTo>
                    <a:pt x="67" y="76"/>
                  </a:lnTo>
                  <a:lnTo>
                    <a:pt x="69" y="76"/>
                  </a:lnTo>
                  <a:close/>
                  <a:moveTo>
                    <a:pt x="62" y="76"/>
                  </a:moveTo>
                  <a:lnTo>
                    <a:pt x="60" y="76"/>
                  </a:lnTo>
                  <a:lnTo>
                    <a:pt x="62" y="76"/>
                  </a:lnTo>
                  <a:close/>
                  <a:moveTo>
                    <a:pt x="60" y="74"/>
                  </a:moveTo>
                  <a:lnTo>
                    <a:pt x="60" y="76"/>
                  </a:lnTo>
                  <a:lnTo>
                    <a:pt x="60" y="74"/>
                  </a:lnTo>
                  <a:close/>
                  <a:moveTo>
                    <a:pt x="60" y="74"/>
                  </a:moveTo>
                  <a:lnTo>
                    <a:pt x="60" y="76"/>
                  </a:lnTo>
                  <a:lnTo>
                    <a:pt x="60" y="74"/>
                  </a:lnTo>
                  <a:close/>
                  <a:moveTo>
                    <a:pt x="57" y="69"/>
                  </a:moveTo>
                  <a:lnTo>
                    <a:pt x="55" y="69"/>
                  </a:lnTo>
                  <a:lnTo>
                    <a:pt x="57" y="69"/>
                  </a:lnTo>
                  <a:close/>
                  <a:moveTo>
                    <a:pt x="57" y="67"/>
                  </a:moveTo>
                  <a:lnTo>
                    <a:pt x="60" y="67"/>
                  </a:lnTo>
                  <a:lnTo>
                    <a:pt x="57" y="67"/>
                  </a:lnTo>
                  <a:close/>
                  <a:moveTo>
                    <a:pt x="57" y="67"/>
                  </a:moveTo>
                  <a:lnTo>
                    <a:pt x="55" y="67"/>
                  </a:lnTo>
                  <a:lnTo>
                    <a:pt x="57" y="67"/>
                  </a:lnTo>
                  <a:close/>
                  <a:moveTo>
                    <a:pt x="62" y="67"/>
                  </a:moveTo>
                  <a:lnTo>
                    <a:pt x="60" y="67"/>
                  </a:lnTo>
                  <a:lnTo>
                    <a:pt x="60" y="65"/>
                  </a:lnTo>
                  <a:lnTo>
                    <a:pt x="60" y="67"/>
                  </a:lnTo>
                  <a:lnTo>
                    <a:pt x="62" y="67"/>
                  </a:lnTo>
                  <a:close/>
                  <a:moveTo>
                    <a:pt x="50" y="65"/>
                  </a:moveTo>
                  <a:lnTo>
                    <a:pt x="50" y="62"/>
                  </a:lnTo>
                  <a:lnTo>
                    <a:pt x="50" y="65"/>
                  </a:lnTo>
                  <a:close/>
                  <a:moveTo>
                    <a:pt x="52" y="62"/>
                  </a:moveTo>
                  <a:lnTo>
                    <a:pt x="50" y="62"/>
                  </a:lnTo>
                  <a:lnTo>
                    <a:pt x="52" y="62"/>
                  </a:lnTo>
                  <a:close/>
                  <a:moveTo>
                    <a:pt x="50" y="62"/>
                  </a:moveTo>
                  <a:lnTo>
                    <a:pt x="48" y="62"/>
                  </a:lnTo>
                  <a:lnTo>
                    <a:pt x="50" y="62"/>
                  </a:lnTo>
                  <a:close/>
                  <a:moveTo>
                    <a:pt x="50" y="57"/>
                  </a:moveTo>
                  <a:lnTo>
                    <a:pt x="48" y="57"/>
                  </a:lnTo>
                  <a:lnTo>
                    <a:pt x="50" y="57"/>
                  </a:lnTo>
                  <a:close/>
                  <a:moveTo>
                    <a:pt x="45" y="55"/>
                  </a:moveTo>
                  <a:lnTo>
                    <a:pt x="43" y="55"/>
                  </a:lnTo>
                  <a:lnTo>
                    <a:pt x="45" y="55"/>
                  </a:lnTo>
                  <a:close/>
                  <a:moveTo>
                    <a:pt x="41" y="53"/>
                  </a:moveTo>
                  <a:lnTo>
                    <a:pt x="38" y="53"/>
                  </a:lnTo>
                  <a:lnTo>
                    <a:pt x="41" y="53"/>
                  </a:lnTo>
                  <a:close/>
                  <a:moveTo>
                    <a:pt x="55" y="50"/>
                  </a:moveTo>
                  <a:lnTo>
                    <a:pt x="52" y="50"/>
                  </a:lnTo>
                  <a:lnTo>
                    <a:pt x="55" y="50"/>
                  </a:lnTo>
                  <a:close/>
                  <a:moveTo>
                    <a:pt x="55" y="48"/>
                  </a:moveTo>
                  <a:lnTo>
                    <a:pt x="55" y="50"/>
                  </a:lnTo>
                  <a:lnTo>
                    <a:pt x="55" y="48"/>
                  </a:lnTo>
                  <a:close/>
                  <a:moveTo>
                    <a:pt x="33" y="46"/>
                  </a:moveTo>
                  <a:lnTo>
                    <a:pt x="33" y="48"/>
                  </a:lnTo>
                  <a:lnTo>
                    <a:pt x="33" y="46"/>
                  </a:lnTo>
                  <a:close/>
                  <a:moveTo>
                    <a:pt x="41" y="43"/>
                  </a:moveTo>
                  <a:lnTo>
                    <a:pt x="38" y="43"/>
                  </a:lnTo>
                  <a:lnTo>
                    <a:pt x="41" y="43"/>
                  </a:lnTo>
                  <a:close/>
                  <a:moveTo>
                    <a:pt x="36" y="29"/>
                  </a:moveTo>
                  <a:lnTo>
                    <a:pt x="36" y="31"/>
                  </a:lnTo>
                  <a:lnTo>
                    <a:pt x="36" y="29"/>
                  </a:lnTo>
                  <a:close/>
                  <a:moveTo>
                    <a:pt x="7" y="22"/>
                  </a:moveTo>
                  <a:lnTo>
                    <a:pt x="5" y="22"/>
                  </a:lnTo>
                  <a:lnTo>
                    <a:pt x="7" y="22"/>
                  </a:lnTo>
                  <a:close/>
                  <a:moveTo>
                    <a:pt x="5" y="15"/>
                  </a:moveTo>
                  <a:lnTo>
                    <a:pt x="3" y="15"/>
                  </a:lnTo>
                  <a:lnTo>
                    <a:pt x="5" y="15"/>
                  </a:lnTo>
                  <a:close/>
                  <a:moveTo>
                    <a:pt x="3" y="10"/>
                  </a:moveTo>
                  <a:lnTo>
                    <a:pt x="0" y="10"/>
                  </a:lnTo>
                  <a:lnTo>
                    <a:pt x="3" y="10"/>
                  </a:lnTo>
                  <a:close/>
                  <a:moveTo>
                    <a:pt x="29" y="0"/>
                  </a:moveTo>
                  <a:lnTo>
                    <a:pt x="29" y="3"/>
                  </a:lnTo>
                  <a:lnTo>
                    <a:pt x="2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3" name="Freeform 50286"/>
            <p:cNvSpPr>
              <a:spLocks/>
            </p:cNvSpPr>
            <p:nvPr/>
          </p:nvSpPr>
          <p:spPr bwMode="auto">
            <a:xfrm>
              <a:off x="2662236" y="4618053"/>
              <a:ext cx="354013" cy="192090"/>
            </a:xfrm>
            <a:custGeom>
              <a:avLst/>
              <a:gdLst>
                <a:gd name="T0" fmla="*/ 80 w 223"/>
                <a:gd name="T1" fmla="*/ 3 h 121"/>
                <a:gd name="T2" fmla="*/ 88 w 223"/>
                <a:gd name="T3" fmla="*/ 12 h 121"/>
                <a:gd name="T4" fmla="*/ 95 w 223"/>
                <a:gd name="T5" fmla="*/ 3 h 121"/>
                <a:gd name="T6" fmla="*/ 102 w 223"/>
                <a:gd name="T7" fmla="*/ 3 h 121"/>
                <a:gd name="T8" fmla="*/ 107 w 223"/>
                <a:gd name="T9" fmla="*/ 14 h 121"/>
                <a:gd name="T10" fmla="*/ 114 w 223"/>
                <a:gd name="T11" fmla="*/ 14 h 121"/>
                <a:gd name="T12" fmla="*/ 123 w 223"/>
                <a:gd name="T13" fmla="*/ 19 h 121"/>
                <a:gd name="T14" fmla="*/ 133 w 223"/>
                <a:gd name="T15" fmla="*/ 22 h 121"/>
                <a:gd name="T16" fmla="*/ 142 w 223"/>
                <a:gd name="T17" fmla="*/ 24 h 121"/>
                <a:gd name="T18" fmla="*/ 135 w 223"/>
                <a:gd name="T19" fmla="*/ 29 h 121"/>
                <a:gd name="T20" fmla="*/ 140 w 223"/>
                <a:gd name="T21" fmla="*/ 36 h 121"/>
                <a:gd name="T22" fmla="*/ 147 w 223"/>
                <a:gd name="T23" fmla="*/ 45 h 121"/>
                <a:gd name="T24" fmla="*/ 156 w 223"/>
                <a:gd name="T25" fmla="*/ 41 h 121"/>
                <a:gd name="T26" fmla="*/ 159 w 223"/>
                <a:gd name="T27" fmla="*/ 33 h 121"/>
                <a:gd name="T28" fmla="*/ 166 w 223"/>
                <a:gd name="T29" fmla="*/ 33 h 121"/>
                <a:gd name="T30" fmla="*/ 173 w 223"/>
                <a:gd name="T31" fmla="*/ 38 h 121"/>
                <a:gd name="T32" fmla="*/ 180 w 223"/>
                <a:gd name="T33" fmla="*/ 38 h 121"/>
                <a:gd name="T34" fmla="*/ 185 w 223"/>
                <a:gd name="T35" fmla="*/ 41 h 121"/>
                <a:gd name="T36" fmla="*/ 183 w 223"/>
                <a:gd name="T37" fmla="*/ 45 h 121"/>
                <a:gd name="T38" fmla="*/ 190 w 223"/>
                <a:gd name="T39" fmla="*/ 52 h 121"/>
                <a:gd name="T40" fmla="*/ 194 w 223"/>
                <a:gd name="T41" fmla="*/ 50 h 121"/>
                <a:gd name="T42" fmla="*/ 206 w 223"/>
                <a:gd name="T43" fmla="*/ 55 h 121"/>
                <a:gd name="T44" fmla="*/ 213 w 223"/>
                <a:gd name="T45" fmla="*/ 55 h 121"/>
                <a:gd name="T46" fmla="*/ 216 w 223"/>
                <a:gd name="T47" fmla="*/ 67 h 121"/>
                <a:gd name="T48" fmla="*/ 220 w 223"/>
                <a:gd name="T49" fmla="*/ 74 h 121"/>
                <a:gd name="T50" fmla="*/ 209 w 223"/>
                <a:gd name="T51" fmla="*/ 79 h 121"/>
                <a:gd name="T52" fmla="*/ 199 w 223"/>
                <a:gd name="T53" fmla="*/ 86 h 121"/>
                <a:gd name="T54" fmla="*/ 194 w 223"/>
                <a:gd name="T55" fmla="*/ 98 h 121"/>
                <a:gd name="T56" fmla="*/ 187 w 223"/>
                <a:gd name="T57" fmla="*/ 102 h 121"/>
                <a:gd name="T58" fmla="*/ 178 w 223"/>
                <a:gd name="T59" fmla="*/ 110 h 121"/>
                <a:gd name="T60" fmla="*/ 166 w 223"/>
                <a:gd name="T61" fmla="*/ 107 h 121"/>
                <a:gd name="T62" fmla="*/ 159 w 223"/>
                <a:gd name="T63" fmla="*/ 117 h 121"/>
                <a:gd name="T64" fmla="*/ 152 w 223"/>
                <a:gd name="T65" fmla="*/ 114 h 121"/>
                <a:gd name="T66" fmla="*/ 142 w 223"/>
                <a:gd name="T67" fmla="*/ 112 h 121"/>
                <a:gd name="T68" fmla="*/ 130 w 223"/>
                <a:gd name="T69" fmla="*/ 112 h 121"/>
                <a:gd name="T70" fmla="*/ 121 w 223"/>
                <a:gd name="T71" fmla="*/ 107 h 121"/>
                <a:gd name="T72" fmla="*/ 109 w 223"/>
                <a:gd name="T73" fmla="*/ 102 h 121"/>
                <a:gd name="T74" fmla="*/ 99 w 223"/>
                <a:gd name="T75" fmla="*/ 100 h 121"/>
                <a:gd name="T76" fmla="*/ 95 w 223"/>
                <a:gd name="T77" fmla="*/ 110 h 121"/>
                <a:gd name="T78" fmla="*/ 88 w 223"/>
                <a:gd name="T79" fmla="*/ 112 h 121"/>
                <a:gd name="T80" fmla="*/ 78 w 223"/>
                <a:gd name="T81" fmla="*/ 119 h 121"/>
                <a:gd name="T82" fmla="*/ 69 w 223"/>
                <a:gd name="T83" fmla="*/ 121 h 121"/>
                <a:gd name="T84" fmla="*/ 59 w 223"/>
                <a:gd name="T85" fmla="*/ 114 h 121"/>
                <a:gd name="T86" fmla="*/ 52 w 223"/>
                <a:gd name="T87" fmla="*/ 105 h 121"/>
                <a:gd name="T88" fmla="*/ 43 w 223"/>
                <a:gd name="T89" fmla="*/ 102 h 121"/>
                <a:gd name="T90" fmla="*/ 35 w 223"/>
                <a:gd name="T91" fmla="*/ 93 h 121"/>
                <a:gd name="T92" fmla="*/ 28 w 223"/>
                <a:gd name="T93" fmla="*/ 86 h 121"/>
                <a:gd name="T94" fmla="*/ 21 w 223"/>
                <a:gd name="T95" fmla="*/ 81 h 121"/>
                <a:gd name="T96" fmla="*/ 14 w 223"/>
                <a:gd name="T97" fmla="*/ 71 h 121"/>
                <a:gd name="T98" fmla="*/ 9 w 223"/>
                <a:gd name="T99" fmla="*/ 67 h 121"/>
                <a:gd name="T100" fmla="*/ 12 w 223"/>
                <a:gd name="T101" fmla="*/ 55 h 121"/>
                <a:gd name="T102" fmla="*/ 5 w 223"/>
                <a:gd name="T103" fmla="*/ 48 h 121"/>
                <a:gd name="T104" fmla="*/ 0 w 223"/>
                <a:gd name="T105" fmla="*/ 41 h 121"/>
                <a:gd name="T106" fmla="*/ 5 w 223"/>
                <a:gd name="T107" fmla="*/ 38 h 121"/>
                <a:gd name="T108" fmla="*/ 9 w 223"/>
                <a:gd name="T109" fmla="*/ 36 h 121"/>
                <a:gd name="T110" fmla="*/ 19 w 223"/>
                <a:gd name="T111" fmla="*/ 31 h 121"/>
                <a:gd name="T112" fmla="*/ 28 w 223"/>
                <a:gd name="T113" fmla="*/ 29 h 121"/>
                <a:gd name="T114" fmla="*/ 38 w 223"/>
                <a:gd name="T115" fmla="*/ 22 h 121"/>
                <a:gd name="T116" fmla="*/ 47 w 223"/>
                <a:gd name="T117" fmla="*/ 19 h 121"/>
                <a:gd name="T118" fmla="*/ 57 w 223"/>
                <a:gd name="T119" fmla="*/ 14 h 121"/>
                <a:gd name="T120" fmla="*/ 66 w 223"/>
                <a:gd name="T121" fmla="*/ 12 h 121"/>
                <a:gd name="T122" fmla="*/ 76 w 223"/>
                <a:gd name="T123" fmla="*/ 7 h 121"/>
                <a:gd name="T124" fmla="*/ 73 w 223"/>
                <a:gd name="T125" fmla="*/ 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121">
                  <a:moveTo>
                    <a:pt x="73" y="0"/>
                  </a:moveTo>
                  <a:lnTo>
                    <a:pt x="73" y="3"/>
                  </a:lnTo>
                  <a:lnTo>
                    <a:pt x="76" y="3"/>
                  </a:lnTo>
                  <a:lnTo>
                    <a:pt x="76" y="0"/>
                  </a:lnTo>
                  <a:lnTo>
                    <a:pt x="78" y="0"/>
                  </a:lnTo>
                  <a:lnTo>
                    <a:pt x="78" y="3"/>
                  </a:lnTo>
                  <a:lnTo>
                    <a:pt x="80" y="3"/>
                  </a:lnTo>
                  <a:lnTo>
                    <a:pt x="80" y="5"/>
                  </a:lnTo>
                  <a:lnTo>
                    <a:pt x="80" y="7"/>
                  </a:lnTo>
                  <a:lnTo>
                    <a:pt x="83" y="7"/>
                  </a:lnTo>
                  <a:lnTo>
                    <a:pt x="83" y="10"/>
                  </a:lnTo>
                  <a:lnTo>
                    <a:pt x="85" y="10"/>
                  </a:lnTo>
                  <a:lnTo>
                    <a:pt x="85" y="12"/>
                  </a:lnTo>
                  <a:lnTo>
                    <a:pt x="88" y="12"/>
                  </a:lnTo>
                  <a:lnTo>
                    <a:pt x="88" y="10"/>
                  </a:lnTo>
                  <a:lnTo>
                    <a:pt x="90" y="10"/>
                  </a:lnTo>
                  <a:lnTo>
                    <a:pt x="92" y="10"/>
                  </a:lnTo>
                  <a:lnTo>
                    <a:pt x="95" y="10"/>
                  </a:lnTo>
                  <a:lnTo>
                    <a:pt x="95" y="7"/>
                  </a:lnTo>
                  <a:lnTo>
                    <a:pt x="95" y="5"/>
                  </a:lnTo>
                  <a:lnTo>
                    <a:pt x="95" y="3"/>
                  </a:lnTo>
                  <a:lnTo>
                    <a:pt x="95" y="5"/>
                  </a:lnTo>
                  <a:lnTo>
                    <a:pt x="95" y="3"/>
                  </a:lnTo>
                  <a:lnTo>
                    <a:pt x="97" y="3"/>
                  </a:lnTo>
                  <a:lnTo>
                    <a:pt x="99" y="3"/>
                  </a:lnTo>
                  <a:lnTo>
                    <a:pt x="99" y="5"/>
                  </a:lnTo>
                  <a:lnTo>
                    <a:pt x="102" y="5"/>
                  </a:lnTo>
                  <a:lnTo>
                    <a:pt x="102" y="3"/>
                  </a:lnTo>
                  <a:lnTo>
                    <a:pt x="102" y="5"/>
                  </a:lnTo>
                  <a:lnTo>
                    <a:pt x="104" y="5"/>
                  </a:lnTo>
                  <a:lnTo>
                    <a:pt x="104" y="7"/>
                  </a:lnTo>
                  <a:lnTo>
                    <a:pt x="104" y="10"/>
                  </a:lnTo>
                  <a:lnTo>
                    <a:pt x="107" y="10"/>
                  </a:lnTo>
                  <a:lnTo>
                    <a:pt x="107" y="12"/>
                  </a:lnTo>
                  <a:lnTo>
                    <a:pt x="107" y="14"/>
                  </a:lnTo>
                  <a:lnTo>
                    <a:pt x="109" y="14"/>
                  </a:lnTo>
                  <a:lnTo>
                    <a:pt x="109" y="12"/>
                  </a:lnTo>
                  <a:lnTo>
                    <a:pt x="111" y="12"/>
                  </a:lnTo>
                  <a:lnTo>
                    <a:pt x="111" y="14"/>
                  </a:lnTo>
                  <a:lnTo>
                    <a:pt x="111" y="12"/>
                  </a:lnTo>
                  <a:lnTo>
                    <a:pt x="111" y="14"/>
                  </a:lnTo>
                  <a:lnTo>
                    <a:pt x="114" y="14"/>
                  </a:lnTo>
                  <a:lnTo>
                    <a:pt x="116" y="14"/>
                  </a:lnTo>
                  <a:lnTo>
                    <a:pt x="118" y="17"/>
                  </a:lnTo>
                  <a:lnTo>
                    <a:pt x="118" y="14"/>
                  </a:lnTo>
                  <a:lnTo>
                    <a:pt x="121" y="14"/>
                  </a:lnTo>
                  <a:lnTo>
                    <a:pt x="121" y="17"/>
                  </a:lnTo>
                  <a:lnTo>
                    <a:pt x="123" y="17"/>
                  </a:lnTo>
                  <a:lnTo>
                    <a:pt x="123" y="19"/>
                  </a:lnTo>
                  <a:lnTo>
                    <a:pt x="126" y="19"/>
                  </a:lnTo>
                  <a:lnTo>
                    <a:pt x="128" y="19"/>
                  </a:lnTo>
                  <a:lnTo>
                    <a:pt x="128" y="22"/>
                  </a:lnTo>
                  <a:lnTo>
                    <a:pt x="130" y="22"/>
                  </a:lnTo>
                  <a:lnTo>
                    <a:pt x="130" y="19"/>
                  </a:lnTo>
                  <a:lnTo>
                    <a:pt x="133" y="19"/>
                  </a:lnTo>
                  <a:lnTo>
                    <a:pt x="133" y="22"/>
                  </a:lnTo>
                  <a:lnTo>
                    <a:pt x="135" y="22"/>
                  </a:lnTo>
                  <a:lnTo>
                    <a:pt x="135" y="19"/>
                  </a:lnTo>
                  <a:lnTo>
                    <a:pt x="137" y="19"/>
                  </a:lnTo>
                  <a:lnTo>
                    <a:pt x="140" y="19"/>
                  </a:lnTo>
                  <a:lnTo>
                    <a:pt x="140" y="22"/>
                  </a:lnTo>
                  <a:lnTo>
                    <a:pt x="142" y="22"/>
                  </a:lnTo>
                  <a:lnTo>
                    <a:pt x="142" y="24"/>
                  </a:lnTo>
                  <a:lnTo>
                    <a:pt x="140" y="24"/>
                  </a:lnTo>
                  <a:lnTo>
                    <a:pt x="142" y="24"/>
                  </a:lnTo>
                  <a:lnTo>
                    <a:pt x="140" y="24"/>
                  </a:lnTo>
                  <a:lnTo>
                    <a:pt x="140" y="26"/>
                  </a:lnTo>
                  <a:lnTo>
                    <a:pt x="137" y="26"/>
                  </a:lnTo>
                  <a:lnTo>
                    <a:pt x="137" y="29"/>
                  </a:lnTo>
                  <a:lnTo>
                    <a:pt x="135" y="29"/>
                  </a:lnTo>
                  <a:lnTo>
                    <a:pt x="135" y="31"/>
                  </a:lnTo>
                  <a:lnTo>
                    <a:pt x="135" y="29"/>
                  </a:lnTo>
                  <a:lnTo>
                    <a:pt x="135" y="31"/>
                  </a:lnTo>
                  <a:lnTo>
                    <a:pt x="135" y="33"/>
                  </a:lnTo>
                  <a:lnTo>
                    <a:pt x="137" y="33"/>
                  </a:lnTo>
                  <a:lnTo>
                    <a:pt x="140" y="33"/>
                  </a:lnTo>
                  <a:lnTo>
                    <a:pt x="140" y="36"/>
                  </a:lnTo>
                  <a:lnTo>
                    <a:pt x="142" y="36"/>
                  </a:lnTo>
                  <a:lnTo>
                    <a:pt x="142" y="38"/>
                  </a:lnTo>
                  <a:lnTo>
                    <a:pt x="145" y="38"/>
                  </a:lnTo>
                  <a:lnTo>
                    <a:pt x="145" y="41"/>
                  </a:lnTo>
                  <a:lnTo>
                    <a:pt x="147" y="41"/>
                  </a:lnTo>
                  <a:lnTo>
                    <a:pt x="147" y="43"/>
                  </a:lnTo>
                  <a:lnTo>
                    <a:pt x="147" y="45"/>
                  </a:lnTo>
                  <a:lnTo>
                    <a:pt x="149" y="45"/>
                  </a:lnTo>
                  <a:lnTo>
                    <a:pt x="149" y="48"/>
                  </a:lnTo>
                  <a:lnTo>
                    <a:pt x="152" y="48"/>
                  </a:lnTo>
                  <a:lnTo>
                    <a:pt x="152" y="45"/>
                  </a:lnTo>
                  <a:lnTo>
                    <a:pt x="154" y="45"/>
                  </a:lnTo>
                  <a:lnTo>
                    <a:pt x="154" y="43"/>
                  </a:lnTo>
                  <a:lnTo>
                    <a:pt x="156" y="41"/>
                  </a:lnTo>
                  <a:lnTo>
                    <a:pt x="156" y="43"/>
                  </a:lnTo>
                  <a:lnTo>
                    <a:pt x="156" y="41"/>
                  </a:lnTo>
                  <a:lnTo>
                    <a:pt x="159" y="41"/>
                  </a:lnTo>
                  <a:lnTo>
                    <a:pt x="161" y="41"/>
                  </a:lnTo>
                  <a:lnTo>
                    <a:pt x="161" y="38"/>
                  </a:lnTo>
                  <a:lnTo>
                    <a:pt x="159" y="36"/>
                  </a:lnTo>
                  <a:lnTo>
                    <a:pt x="159" y="33"/>
                  </a:lnTo>
                  <a:lnTo>
                    <a:pt x="156" y="33"/>
                  </a:lnTo>
                  <a:lnTo>
                    <a:pt x="156" y="31"/>
                  </a:lnTo>
                  <a:lnTo>
                    <a:pt x="159" y="31"/>
                  </a:lnTo>
                  <a:lnTo>
                    <a:pt x="161" y="31"/>
                  </a:lnTo>
                  <a:lnTo>
                    <a:pt x="164" y="31"/>
                  </a:lnTo>
                  <a:lnTo>
                    <a:pt x="164" y="33"/>
                  </a:lnTo>
                  <a:lnTo>
                    <a:pt x="166" y="33"/>
                  </a:lnTo>
                  <a:lnTo>
                    <a:pt x="168" y="33"/>
                  </a:lnTo>
                  <a:lnTo>
                    <a:pt x="166" y="33"/>
                  </a:lnTo>
                  <a:lnTo>
                    <a:pt x="168" y="33"/>
                  </a:lnTo>
                  <a:lnTo>
                    <a:pt x="168" y="36"/>
                  </a:lnTo>
                  <a:lnTo>
                    <a:pt x="171" y="36"/>
                  </a:lnTo>
                  <a:lnTo>
                    <a:pt x="173" y="36"/>
                  </a:lnTo>
                  <a:lnTo>
                    <a:pt x="173" y="38"/>
                  </a:lnTo>
                  <a:lnTo>
                    <a:pt x="171" y="38"/>
                  </a:lnTo>
                  <a:lnTo>
                    <a:pt x="173" y="38"/>
                  </a:lnTo>
                  <a:lnTo>
                    <a:pt x="175" y="38"/>
                  </a:lnTo>
                  <a:lnTo>
                    <a:pt x="175" y="41"/>
                  </a:lnTo>
                  <a:lnTo>
                    <a:pt x="175" y="38"/>
                  </a:lnTo>
                  <a:lnTo>
                    <a:pt x="178" y="38"/>
                  </a:lnTo>
                  <a:lnTo>
                    <a:pt x="180" y="38"/>
                  </a:lnTo>
                  <a:lnTo>
                    <a:pt x="183" y="38"/>
                  </a:lnTo>
                  <a:lnTo>
                    <a:pt x="183" y="36"/>
                  </a:lnTo>
                  <a:lnTo>
                    <a:pt x="185" y="36"/>
                  </a:lnTo>
                  <a:lnTo>
                    <a:pt x="185" y="38"/>
                  </a:lnTo>
                  <a:lnTo>
                    <a:pt x="185" y="41"/>
                  </a:lnTo>
                  <a:lnTo>
                    <a:pt x="185" y="43"/>
                  </a:lnTo>
                  <a:lnTo>
                    <a:pt x="185" y="41"/>
                  </a:lnTo>
                  <a:lnTo>
                    <a:pt x="185" y="43"/>
                  </a:lnTo>
                  <a:lnTo>
                    <a:pt x="183" y="43"/>
                  </a:lnTo>
                  <a:lnTo>
                    <a:pt x="180" y="43"/>
                  </a:lnTo>
                  <a:lnTo>
                    <a:pt x="180" y="45"/>
                  </a:lnTo>
                  <a:lnTo>
                    <a:pt x="183" y="45"/>
                  </a:lnTo>
                  <a:lnTo>
                    <a:pt x="183" y="48"/>
                  </a:lnTo>
                  <a:lnTo>
                    <a:pt x="183" y="45"/>
                  </a:lnTo>
                  <a:lnTo>
                    <a:pt x="185" y="48"/>
                  </a:lnTo>
                  <a:lnTo>
                    <a:pt x="185" y="50"/>
                  </a:lnTo>
                  <a:lnTo>
                    <a:pt x="187" y="50"/>
                  </a:lnTo>
                  <a:lnTo>
                    <a:pt x="185" y="50"/>
                  </a:lnTo>
                  <a:lnTo>
                    <a:pt x="187" y="50"/>
                  </a:lnTo>
                  <a:lnTo>
                    <a:pt x="187" y="52"/>
                  </a:lnTo>
                  <a:lnTo>
                    <a:pt x="190" y="52"/>
                  </a:lnTo>
                  <a:lnTo>
                    <a:pt x="192" y="52"/>
                  </a:lnTo>
                  <a:lnTo>
                    <a:pt x="192" y="50"/>
                  </a:lnTo>
                  <a:lnTo>
                    <a:pt x="194" y="50"/>
                  </a:lnTo>
                  <a:lnTo>
                    <a:pt x="194" y="52"/>
                  </a:lnTo>
                  <a:lnTo>
                    <a:pt x="194" y="50"/>
                  </a:lnTo>
                  <a:lnTo>
                    <a:pt x="194" y="48"/>
                  </a:lnTo>
                  <a:lnTo>
                    <a:pt x="194" y="50"/>
                  </a:lnTo>
                  <a:lnTo>
                    <a:pt x="197" y="50"/>
                  </a:lnTo>
                  <a:lnTo>
                    <a:pt x="197" y="52"/>
                  </a:lnTo>
                  <a:lnTo>
                    <a:pt x="199" y="52"/>
                  </a:lnTo>
                  <a:lnTo>
                    <a:pt x="201" y="52"/>
                  </a:lnTo>
                  <a:lnTo>
                    <a:pt x="204" y="52"/>
                  </a:lnTo>
                  <a:lnTo>
                    <a:pt x="204" y="55"/>
                  </a:lnTo>
                  <a:lnTo>
                    <a:pt x="206" y="55"/>
                  </a:lnTo>
                  <a:lnTo>
                    <a:pt x="204" y="55"/>
                  </a:lnTo>
                  <a:lnTo>
                    <a:pt x="206" y="55"/>
                  </a:lnTo>
                  <a:lnTo>
                    <a:pt x="209" y="55"/>
                  </a:lnTo>
                  <a:lnTo>
                    <a:pt x="209" y="57"/>
                  </a:lnTo>
                  <a:lnTo>
                    <a:pt x="211" y="57"/>
                  </a:lnTo>
                  <a:lnTo>
                    <a:pt x="211" y="55"/>
                  </a:lnTo>
                  <a:lnTo>
                    <a:pt x="213" y="55"/>
                  </a:lnTo>
                  <a:lnTo>
                    <a:pt x="213" y="57"/>
                  </a:lnTo>
                  <a:lnTo>
                    <a:pt x="211" y="57"/>
                  </a:lnTo>
                  <a:lnTo>
                    <a:pt x="213" y="57"/>
                  </a:lnTo>
                  <a:lnTo>
                    <a:pt x="213" y="60"/>
                  </a:lnTo>
                  <a:lnTo>
                    <a:pt x="213" y="62"/>
                  </a:lnTo>
                  <a:lnTo>
                    <a:pt x="213" y="64"/>
                  </a:lnTo>
                  <a:lnTo>
                    <a:pt x="216" y="67"/>
                  </a:lnTo>
                  <a:lnTo>
                    <a:pt x="218" y="67"/>
                  </a:lnTo>
                  <a:lnTo>
                    <a:pt x="220" y="67"/>
                  </a:lnTo>
                  <a:lnTo>
                    <a:pt x="220" y="69"/>
                  </a:lnTo>
                  <a:lnTo>
                    <a:pt x="220" y="71"/>
                  </a:lnTo>
                  <a:lnTo>
                    <a:pt x="220" y="74"/>
                  </a:lnTo>
                  <a:lnTo>
                    <a:pt x="223" y="74"/>
                  </a:lnTo>
                  <a:lnTo>
                    <a:pt x="220" y="74"/>
                  </a:lnTo>
                  <a:lnTo>
                    <a:pt x="220" y="76"/>
                  </a:lnTo>
                  <a:lnTo>
                    <a:pt x="218" y="76"/>
                  </a:lnTo>
                  <a:lnTo>
                    <a:pt x="216" y="76"/>
                  </a:lnTo>
                  <a:lnTo>
                    <a:pt x="213" y="76"/>
                  </a:lnTo>
                  <a:lnTo>
                    <a:pt x="211" y="76"/>
                  </a:lnTo>
                  <a:lnTo>
                    <a:pt x="211" y="79"/>
                  </a:lnTo>
                  <a:lnTo>
                    <a:pt x="209" y="79"/>
                  </a:lnTo>
                  <a:lnTo>
                    <a:pt x="209" y="81"/>
                  </a:lnTo>
                  <a:lnTo>
                    <a:pt x="206" y="81"/>
                  </a:lnTo>
                  <a:lnTo>
                    <a:pt x="206" y="83"/>
                  </a:lnTo>
                  <a:lnTo>
                    <a:pt x="206" y="86"/>
                  </a:lnTo>
                  <a:lnTo>
                    <a:pt x="204" y="86"/>
                  </a:lnTo>
                  <a:lnTo>
                    <a:pt x="201" y="86"/>
                  </a:lnTo>
                  <a:lnTo>
                    <a:pt x="199" y="86"/>
                  </a:lnTo>
                  <a:lnTo>
                    <a:pt x="199" y="88"/>
                  </a:lnTo>
                  <a:lnTo>
                    <a:pt x="199" y="91"/>
                  </a:lnTo>
                  <a:lnTo>
                    <a:pt x="197" y="91"/>
                  </a:lnTo>
                  <a:lnTo>
                    <a:pt x="197" y="93"/>
                  </a:lnTo>
                  <a:lnTo>
                    <a:pt x="197" y="95"/>
                  </a:lnTo>
                  <a:lnTo>
                    <a:pt x="197" y="98"/>
                  </a:lnTo>
                  <a:lnTo>
                    <a:pt x="194" y="98"/>
                  </a:lnTo>
                  <a:lnTo>
                    <a:pt x="194" y="100"/>
                  </a:lnTo>
                  <a:lnTo>
                    <a:pt x="194" y="98"/>
                  </a:lnTo>
                  <a:lnTo>
                    <a:pt x="192" y="100"/>
                  </a:lnTo>
                  <a:lnTo>
                    <a:pt x="190" y="100"/>
                  </a:lnTo>
                  <a:lnTo>
                    <a:pt x="190" y="102"/>
                  </a:lnTo>
                  <a:lnTo>
                    <a:pt x="190" y="105"/>
                  </a:lnTo>
                  <a:lnTo>
                    <a:pt x="187" y="102"/>
                  </a:lnTo>
                  <a:lnTo>
                    <a:pt x="187" y="105"/>
                  </a:lnTo>
                  <a:lnTo>
                    <a:pt x="185" y="105"/>
                  </a:lnTo>
                  <a:lnTo>
                    <a:pt x="185" y="107"/>
                  </a:lnTo>
                  <a:lnTo>
                    <a:pt x="183" y="107"/>
                  </a:lnTo>
                  <a:lnTo>
                    <a:pt x="180" y="107"/>
                  </a:lnTo>
                  <a:lnTo>
                    <a:pt x="180" y="110"/>
                  </a:lnTo>
                  <a:lnTo>
                    <a:pt x="178" y="110"/>
                  </a:lnTo>
                  <a:lnTo>
                    <a:pt x="178" y="107"/>
                  </a:lnTo>
                  <a:lnTo>
                    <a:pt x="175" y="107"/>
                  </a:lnTo>
                  <a:lnTo>
                    <a:pt x="175" y="110"/>
                  </a:lnTo>
                  <a:lnTo>
                    <a:pt x="173" y="110"/>
                  </a:lnTo>
                  <a:lnTo>
                    <a:pt x="171" y="107"/>
                  </a:lnTo>
                  <a:lnTo>
                    <a:pt x="168" y="107"/>
                  </a:lnTo>
                  <a:lnTo>
                    <a:pt x="166" y="107"/>
                  </a:lnTo>
                  <a:lnTo>
                    <a:pt x="164" y="107"/>
                  </a:lnTo>
                  <a:lnTo>
                    <a:pt x="164" y="110"/>
                  </a:lnTo>
                  <a:lnTo>
                    <a:pt x="164" y="112"/>
                  </a:lnTo>
                  <a:lnTo>
                    <a:pt x="161" y="112"/>
                  </a:lnTo>
                  <a:lnTo>
                    <a:pt x="161" y="114"/>
                  </a:lnTo>
                  <a:lnTo>
                    <a:pt x="159" y="114"/>
                  </a:lnTo>
                  <a:lnTo>
                    <a:pt x="159" y="117"/>
                  </a:lnTo>
                  <a:lnTo>
                    <a:pt x="159" y="119"/>
                  </a:lnTo>
                  <a:lnTo>
                    <a:pt x="159" y="117"/>
                  </a:lnTo>
                  <a:lnTo>
                    <a:pt x="156" y="117"/>
                  </a:lnTo>
                  <a:lnTo>
                    <a:pt x="159" y="114"/>
                  </a:lnTo>
                  <a:lnTo>
                    <a:pt x="156" y="114"/>
                  </a:lnTo>
                  <a:lnTo>
                    <a:pt x="154" y="114"/>
                  </a:lnTo>
                  <a:lnTo>
                    <a:pt x="152" y="114"/>
                  </a:lnTo>
                  <a:lnTo>
                    <a:pt x="152" y="112"/>
                  </a:lnTo>
                  <a:lnTo>
                    <a:pt x="149" y="112"/>
                  </a:lnTo>
                  <a:lnTo>
                    <a:pt x="149" y="110"/>
                  </a:lnTo>
                  <a:lnTo>
                    <a:pt x="147" y="110"/>
                  </a:lnTo>
                  <a:lnTo>
                    <a:pt x="145" y="110"/>
                  </a:lnTo>
                  <a:lnTo>
                    <a:pt x="142" y="110"/>
                  </a:lnTo>
                  <a:lnTo>
                    <a:pt x="142" y="112"/>
                  </a:lnTo>
                  <a:lnTo>
                    <a:pt x="140" y="112"/>
                  </a:lnTo>
                  <a:lnTo>
                    <a:pt x="140" y="114"/>
                  </a:lnTo>
                  <a:lnTo>
                    <a:pt x="140" y="112"/>
                  </a:lnTo>
                  <a:lnTo>
                    <a:pt x="137" y="112"/>
                  </a:lnTo>
                  <a:lnTo>
                    <a:pt x="135" y="112"/>
                  </a:lnTo>
                  <a:lnTo>
                    <a:pt x="133" y="112"/>
                  </a:lnTo>
                  <a:lnTo>
                    <a:pt x="130" y="112"/>
                  </a:lnTo>
                  <a:lnTo>
                    <a:pt x="128" y="112"/>
                  </a:lnTo>
                  <a:lnTo>
                    <a:pt x="126" y="110"/>
                  </a:lnTo>
                  <a:lnTo>
                    <a:pt x="126" y="107"/>
                  </a:lnTo>
                  <a:lnTo>
                    <a:pt x="123" y="107"/>
                  </a:lnTo>
                  <a:lnTo>
                    <a:pt x="126" y="107"/>
                  </a:lnTo>
                  <a:lnTo>
                    <a:pt x="123" y="107"/>
                  </a:lnTo>
                  <a:lnTo>
                    <a:pt x="121" y="107"/>
                  </a:lnTo>
                  <a:lnTo>
                    <a:pt x="118" y="107"/>
                  </a:lnTo>
                  <a:lnTo>
                    <a:pt x="116" y="107"/>
                  </a:lnTo>
                  <a:lnTo>
                    <a:pt x="116" y="105"/>
                  </a:lnTo>
                  <a:lnTo>
                    <a:pt x="114" y="105"/>
                  </a:lnTo>
                  <a:lnTo>
                    <a:pt x="111" y="105"/>
                  </a:lnTo>
                  <a:lnTo>
                    <a:pt x="111" y="102"/>
                  </a:lnTo>
                  <a:lnTo>
                    <a:pt x="109" y="102"/>
                  </a:lnTo>
                  <a:lnTo>
                    <a:pt x="107" y="102"/>
                  </a:lnTo>
                  <a:lnTo>
                    <a:pt x="107" y="100"/>
                  </a:lnTo>
                  <a:lnTo>
                    <a:pt x="104" y="100"/>
                  </a:lnTo>
                  <a:lnTo>
                    <a:pt x="104" y="102"/>
                  </a:lnTo>
                  <a:lnTo>
                    <a:pt x="102" y="102"/>
                  </a:lnTo>
                  <a:lnTo>
                    <a:pt x="99" y="102"/>
                  </a:lnTo>
                  <a:lnTo>
                    <a:pt x="99" y="100"/>
                  </a:lnTo>
                  <a:lnTo>
                    <a:pt x="97" y="100"/>
                  </a:lnTo>
                  <a:lnTo>
                    <a:pt x="95" y="100"/>
                  </a:lnTo>
                  <a:lnTo>
                    <a:pt x="95" y="102"/>
                  </a:lnTo>
                  <a:lnTo>
                    <a:pt x="95" y="105"/>
                  </a:lnTo>
                  <a:lnTo>
                    <a:pt x="95" y="107"/>
                  </a:lnTo>
                  <a:lnTo>
                    <a:pt x="92" y="110"/>
                  </a:lnTo>
                  <a:lnTo>
                    <a:pt x="95" y="110"/>
                  </a:lnTo>
                  <a:lnTo>
                    <a:pt x="95" y="112"/>
                  </a:lnTo>
                  <a:lnTo>
                    <a:pt x="92" y="112"/>
                  </a:lnTo>
                  <a:lnTo>
                    <a:pt x="90" y="110"/>
                  </a:lnTo>
                  <a:lnTo>
                    <a:pt x="90" y="112"/>
                  </a:lnTo>
                  <a:lnTo>
                    <a:pt x="90" y="110"/>
                  </a:lnTo>
                  <a:lnTo>
                    <a:pt x="88" y="110"/>
                  </a:lnTo>
                  <a:lnTo>
                    <a:pt x="88" y="112"/>
                  </a:lnTo>
                  <a:lnTo>
                    <a:pt x="88" y="114"/>
                  </a:lnTo>
                  <a:lnTo>
                    <a:pt x="85" y="114"/>
                  </a:lnTo>
                  <a:lnTo>
                    <a:pt x="85" y="117"/>
                  </a:lnTo>
                  <a:lnTo>
                    <a:pt x="85" y="119"/>
                  </a:lnTo>
                  <a:lnTo>
                    <a:pt x="83" y="119"/>
                  </a:lnTo>
                  <a:lnTo>
                    <a:pt x="80" y="119"/>
                  </a:lnTo>
                  <a:lnTo>
                    <a:pt x="78" y="119"/>
                  </a:lnTo>
                  <a:lnTo>
                    <a:pt x="78" y="117"/>
                  </a:lnTo>
                  <a:lnTo>
                    <a:pt x="76" y="117"/>
                  </a:lnTo>
                  <a:lnTo>
                    <a:pt x="76" y="119"/>
                  </a:lnTo>
                  <a:lnTo>
                    <a:pt x="73" y="119"/>
                  </a:lnTo>
                  <a:lnTo>
                    <a:pt x="73" y="121"/>
                  </a:lnTo>
                  <a:lnTo>
                    <a:pt x="71" y="121"/>
                  </a:lnTo>
                  <a:lnTo>
                    <a:pt x="69" y="121"/>
                  </a:lnTo>
                  <a:lnTo>
                    <a:pt x="69" y="119"/>
                  </a:lnTo>
                  <a:lnTo>
                    <a:pt x="66" y="119"/>
                  </a:lnTo>
                  <a:lnTo>
                    <a:pt x="64" y="119"/>
                  </a:lnTo>
                  <a:lnTo>
                    <a:pt x="62" y="117"/>
                  </a:lnTo>
                  <a:lnTo>
                    <a:pt x="64" y="117"/>
                  </a:lnTo>
                  <a:lnTo>
                    <a:pt x="62" y="114"/>
                  </a:lnTo>
                  <a:lnTo>
                    <a:pt x="59" y="114"/>
                  </a:lnTo>
                  <a:lnTo>
                    <a:pt x="59" y="112"/>
                  </a:lnTo>
                  <a:lnTo>
                    <a:pt x="57" y="112"/>
                  </a:lnTo>
                  <a:lnTo>
                    <a:pt x="54" y="112"/>
                  </a:lnTo>
                  <a:lnTo>
                    <a:pt x="54" y="110"/>
                  </a:lnTo>
                  <a:lnTo>
                    <a:pt x="54" y="107"/>
                  </a:lnTo>
                  <a:lnTo>
                    <a:pt x="52" y="107"/>
                  </a:lnTo>
                  <a:lnTo>
                    <a:pt x="52" y="105"/>
                  </a:lnTo>
                  <a:lnTo>
                    <a:pt x="52" y="107"/>
                  </a:lnTo>
                  <a:lnTo>
                    <a:pt x="52" y="105"/>
                  </a:lnTo>
                  <a:lnTo>
                    <a:pt x="50" y="105"/>
                  </a:lnTo>
                  <a:lnTo>
                    <a:pt x="50" y="102"/>
                  </a:lnTo>
                  <a:lnTo>
                    <a:pt x="47" y="102"/>
                  </a:lnTo>
                  <a:lnTo>
                    <a:pt x="45" y="102"/>
                  </a:lnTo>
                  <a:lnTo>
                    <a:pt x="43" y="102"/>
                  </a:lnTo>
                  <a:lnTo>
                    <a:pt x="43" y="100"/>
                  </a:lnTo>
                  <a:lnTo>
                    <a:pt x="43" y="98"/>
                  </a:lnTo>
                  <a:lnTo>
                    <a:pt x="40" y="98"/>
                  </a:lnTo>
                  <a:lnTo>
                    <a:pt x="40" y="95"/>
                  </a:lnTo>
                  <a:lnTo>
                    <a:pt x="38" y="95"/>
                  </a:lnTo>
                  <a:lnTo>
                    <a:pt x="35" y="95"/>
                  </a:lnTo>
                  <a:lnTo>
                    <a:pt x="35" y="93"/>
                  </a:lnTo>
                  <a:lnTo>
                    <a:pt x="33" y="93"/>
                  </a:lnTo>
                  <a:lnTo>
                    <a:pt x="35" y="93"/>
                  </a:lnTo>
                  <a:lnTo>
                    <a:pt x="33" y="91"/>
                  </a:lnTo>
                  <a:lnTo>
                    <a:pt x="31" y="88"/>
                  </a:lnTo>
                  <a:lnTo>
                    <a:pt x="28" y="86"/>
                  </a:lnTo>
                  <a:lnTo>
                    <a:pt x="31" y="86"/>
                  </a:lnTo>
                  <a:lnTo>
                    <a:pt x="28" y="86"/>
                  </a:lnTo>
                  <a:lnTo>
                    <a:pt x="28" y="83"/>
                  </a:lnTo>
                  <a:lnTo>
                    <a:pt x="26" y="83"/>
                  </a:lnTo>
                  <a:lnTo>
                    <a:pt x="24" y="83"/>
                  </a:lnTo>
                  <a:lnTo>
                    <a:pt x="26" y="83"/>
                  </a:lnTo>
                  <a:lnTo>
                    <a:pt x="24" y="83"/>
                  </a:lnTo>
                  <a:lnTo>
                    <a:pt x="21" y="83"/>
                  </a:lnTo>
                  <a:lnTo>
                    <a:pt x="21" y="81"/>
                  </a:lnTo>
                  <a:lnTo>
                    <a:pt x="19" y="81"/>
                  </a:lnTo>
                  <a:lnTo>
                    <a:pt x="19" y="79"/>
                  </a:lnTo>
                  <a:lnTo>
                    <a:pt x="16" y="79"/>
                  </a:lnTo>
                  <a:lnTo>
                    <a:pt x="16" y="76"/>
                  </a:lnTo>
                  <a:lnTo>
                    <a:pt x="16" y="74"/>
                  </a:lnTo>
                  <a:lnTo>
                    <a:pt x="14" y="74"/>
                  </a:lnTo>
                  <a:lnTo>
                    <a:pt x="14" y="71"/>
                  </a:lnTo>
                  <a:lnTo>
                    <a:pt x="14" y="69"/>
                  </a:lnTo>
                  <a:lnTo>
                    <a:pt x="12" y="69"/>
                  </a:lnTo>
                  <a:lnTo>
                    <a:pt x="14" y="69"/>
                  </a:lnTo>
                  <a:lnTo>
                    <a:pt x="12" y="69"/>
                  </a:lnTo>
                  <a:lnTo>
                    <a:pt x="14" y="67"/>
                  </a:lnTo>
                  <a:lnTo>
                    <a:pt x="12" y="67"/>
                  </a:lnTo>
                  <a:lnTo>
                    <a:pt x="9" y="67"/>
                  </a:lnTo>
                  <a:lnTo>
                    <a:pt x="9" y="64"/>
                  </a:lnTo>
                  <a:lnTo>
                    <a:pt x="12" y="62"/>
                  </a:lnTo>
                  <a:lnTo>
                    <a:pt x="12" y="60"/>
                  </a:lnTo>
                  <a:lnTo>
                    <a:pt x="12" y="57"/>
                  </a:lnTo>
                  <a:lnTo>
                    <a:pt x="14" y="57"/>
                  </a:lnTo>
                  <a:lnTo>
                    <a:pt x="14" y="55"/>
                  </a:lnTo>
                  <a:lnTo>
                    <a:pt x="12" y="55"/>
                  </a:lnTo>
                  <a:lnTo>
                    <a:pt x="12" y="52"/>
                  </a:lnTo>
                  <a:lnTo>
                    <a:pt x="9" y="52"/>
                  </a:lnTo>
                  <a:lnTo>
                    <a:pt x="9" y="50"/>
                  </a:lnTo>
                  <a:lnTo>
                    <a:pt x="7" y="50"/>
                  </a:lnTo>
                  <a:lnTo>
                    <a:pt x="5" y="48"/>
                  </a:lnTo>
                  <a:lnTo>
                    <a:pt x="5" y="50"/>
                  </a:lnTo>
                  <a:lnTo>
                    <a:pt x="5" y="48"/>
                  </a:lnTo>
                  <a:lnTo>
                    <a:pt x="2" y="48"/>
                  </a:lnTo>
                  <a:lnTo>
                    <a:pt x="2" y="45"/>
                  </a:lnTo>
                  <a:lnTo>
                    <a:pt x="2" y="43"/>
                  </a:lnTo>
                  <a:lnTo>
                    <a:pt x="2" y="41"/>
                  </a:lnTo>
                  <a:lnTo>
                    <a:pt x="0" y="41"/>
                  </a:lnTo>
                  <a:lnTo>
                    <a:pt x="2" y="41"/>
                  </a:lnTo>
                  <a:lnTo>
                    <a:pt x="0" y="41"/>
                  </a:lnTo>
                  <a:lnTo>
                    <a:pt x="0" y="38"/>
                  </a:lnTo>
                  <a:lnTo>
                    <a:pt x="0" y="36"/>
                  </a:lnTo>
                  <a:lnTo>
                    <a:pt x="2" y="36"/>
                  </a:lnTo>
                  <a:lnTo>
                    <a:pt x="2" y="38"/>
                  </a:lnTo>
                  <a:lnTo>
                    <a:pt x="5" y="38"/>
                  </a:lnTo>
                  <a:lnTo>
                    <a:pt x="5" y="41"/>
                  </a:lnTo>
                  <a:lnTo>
                    <a:pt x="5" y="38"/>
                  </a:lnTo>
                  <a:lnTo>
                    <a:pt x="5" y="41"/>
                  </a:lnTo>
                  <a:lnTo>
                    <a:pt x="5" y="43"/>
                  </a:lnTo>
                  <a:lnTo>
                    <a:pt x="7" y="43"/>
                  </a:lnTo>
                  <a:lnTo>
                    <a:pt x="7" y="41"/>
                  </a:lnTo>
                  <a:lnTo>
                    <a:pt x="7" y="38"/>
                  </a:lnTo>
                  <a:lnTo>
                    <a:pt x="9" y="38"/>
                  </a:lnTo>
                  <a:lnTo>
                    <a:pt x="9" y="36"/>
                  </a:lnTo>
                  <a:lnTo>
                    <a:pt x="12" y="36"/>
                  </a:lnTo>
                  <a:lnTo>
                    <a:pt x="12" y="33"/>
                  </a:lnTo>
                  <a:lnTo>
                    <a:pt x="14" y="33"/>
                  </a:lnTo>
                  <a:lnTo>
                    <a:pt x="16" y="31"/>
                  </a:lnTo>
                  <a:lnTo>
                    <a:pt x="19" y="31"/>
                  </a:lnTo>
                  <a:lnTo>
                    <a:pt x="19" y="33"/>
                  </a:lnTo>
                  <a:lnTo>
                    <a:pt x="19" y="31"/>
                  </a:lnTo>
                  <a:lnTo>
                    <a:pt x="21" y="31"/>
                  </a:lnTo>
                  <a:lnTo>
                    <a:pt x="24" y="31"/>
                  </a:lnTo>
                  <a:lnTo>
                    <a:pt x="24" y="29"/>
                  </a:lnTo>
                  <a:lnTo>
                    <a:pt x="24" y="31"/>
                  </a:lnTo>
                  <a:lnTo>
                    <a:pt x="26" y="31"/>
                  </a:lnTo>
                  <a:lnTo>
                    <a:pt x="28" y="31"/>
                  </a:lnTo>
                  <a:lnTo>
                    <a:pt x="28" y="29"/>
                  </a:lnTo>
                  <a:lnTo>
                    <a:pt x="31" y="29"/>
                  </a:lnTo>
                  <a:lnTo>
                    <a:pt x="31" y="26"/>
                  </a:lnTo>
                  <a:lnTo>
                    <a:pt x="33" y="26"/>
                  </a:lnTo>
                  <a:lnTo>
                    <a:pt x="35" y="26"/>
                  </a:lnTo>
                  <a:lnTo>
                    <a:pt x="35" y="24"/>
                  </a:lnTo>
                  <a:lnTo>
                    <a:pt x="38" y="24"/>
                  </a:lnTo>
                  <a:lnTo>
                    <a:pt x="38" y="22"/>
                  </a:lnTo>
                  <a:lnTo>
                    <a:pt x="38" y="24"/>
                  </a:lnTo>
                  <a:lnTo>
                    <a:pt x="40" y="24"/>
                  </a:lnTo>
                  <a:lnTo>
                    <a:pt x="40" y="22"/>
                  </a:lnTo>
                  <a:lnTo>
                    <a:pt x="43" y="22"/>
                  </a:lnTo>
                  <a:lnTo>
                    <a:pt x="45" y="22"/>
                  </a:lnTo>
                  <a:lnTo>
                    <a:pt x="45" y="19"/>
                  </a:lnTo>
                  <a:lnTo>
                    <a:pt x="47" y="19"/>
                  </a:lnTo>
                  <a:lnTo>
                    <a:pt x="45" y="17"/>
                  </a:lnTo>
                  <a:lnTo>
                    <a:pt x="47" y="17"/>
                  </a:lnTo>
                  <a:lnTo>
                    <a:pt x="50" y="17"/>
                  </a:lnTo>
                  <a:lnTo>
                    <a:pt x="52" y="17"/>
                  </a:lnTo>
                  <a:lnTo>
                    <a:pt x="54" y="17"/>
                  </a:lnTo>
                  <a:lnTo>
                    <a:pt x="57" y="17"/>
                  </a:lnTo>
                  <a:lnTo>
                    <a:pt x="57" y="14"/>
                  </a:lnTo>
                  <a:lnTo>
                    <a:pt x="57" y="17"/>
                  </a:lnTo>
                  <a:lnTo>
                    <a:pt x="59" y="17"/>
                  </a:lnTo>
                  <a:lnTo>
                    <a:pt x="59" y="14"/>
                  </a:lnTo>
                  <a:lnTo>
                    <a:pt x="59" y="12"/>
                  </a:lnTo>
                  <a:lnTo>
                    <a:pt x="62" y="12"/>
                  </a:lnTo>
                  <a:lnTo>
                    <a:pt x="64" y="12"/>
                  </a:lnTo>
                  <a:lnTo>
                    <a:pt x="66" y="12"/>
                  </a:lnTo>
                  <a:lnTo>
                    <a:pt x="66" y="10"/>
                  </a:lnTo>
                  <a:lnTo>
                    <a:pt x="69" y="10"/>
                  </a:lnTo>
                  <a:lnTo>
                    <a:pt x="69" y="7"/>
                  </a:lnTo>
                  <a:lnTo>
                    <a:pt x="71" y="7"/>
                  </a:lnTo>
                  <a:lnTo>
                    <a:pt x="71" y="10"/>
                  </a:lnTo>
                  <a:lnTo>
                    <a:pt x="73" y="7"/>
                  </a:lnTo>
                  <a:lnTo>
                    <a:pt x="76" y="7"/>
                  </a:lnTo>
                  <a:lnTo>
                    <a:pt x="73" y="7"/>
                  </a:lnTo>
                  <a:lnTo>
                    <a:pt x="76" y="7"/>
                  </a:lnTo>
                  <a:lnTo>
                    <a:pt x="76" y="5"/>
                  </a:lnTo>
                  <a:lnTo>
                    <a:pt x="73" y="5"/>
                  </a:lnTo>
                  <a:lnTo>
                    <a:pt x="71" y="5"/>
                  </a:lnTo>
                  <a:lnTo>
                    <a:pt x="73" y="5"/>
                  </a:lnTo>
                  <a:lnTo>
                    <a:pt x="73" y="3"/>
                  </a:lnTo>
                  <a:lnTo>
                    <a:pt x="71" y="5"/>
                  </a:lnTo>
                  <a:lnTo>
                    <a:pt x="71" y="3"/>
                  </a:lnTo>
                  <a:lnTo>
                    <a:pt x="71" y="0"/>
                  </a:lnTo>
                  <a:lnTo>
                    <a:pt x="7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4" name="Freeform 50287"/>
            <p:cNvSpPr>
              <a:spLocks noEditPoints="1"/>
            </p:cNvSpPr>
            <p:nvPr/>
          </p:nvSpPr>
          <p:spPr bwMode="auto">
            <a:xfrm>
              <a:off x="2473323" y="4146564"/>
              <a:ext cx="346075" cy="196850"/>
            </a:xfrm>
            <a:custGeom>
              <a:avLst/>
              <a:gdLst>
                <a:gd name="T0" fmla="*/ 95 w 218"/>
                <a:gd name="T1" fmla="*/ 107 h 124"/>
                <a:gd name="T2" fmla="*/ 100 w 218"/>
                <a:gd name="T3" fmla="*/ 110 h 124"/>
                <a:gd name="T4" fmla="*/ 105 w 218"/>
                <a:gd name="T5" fmla="*/ 107 h 124"/>
                <a:gd name="T6" fmla="*/ 109 w 218"/>
                <a:gd name="T7" fmla="*/ 114 h 124"/>
                <a:gd name="T8" fmla="*/ 107 w 218"/>
                <a:gd name="T9" fmla="*/ 119 h 124"/>
                <a:gd name="T10" fmla="*/ 105 w 218"/>
                <a:gd name="T11" fmla="*/ 119 h 124"/>
                <a:gd name="T12" fmla="*/ 97 w 218"/>
                <a:gd name="T13" fmla="*/ 119 h 124"/>
                <a:gd name="T14" fmla="*/ 95 w 218"/>
                <a:gd name="T15" fmla="*/ 119 h 124"/>
                <a:gd name="T16" fmla="*/ 88 w 218"/>
                <a:gd name="T17" fmla="*/ 114 h 124"/>
                <a:gd name="T18" fmla="*/ 83 w 218"/>
                <a:gd name="T19" fmla="*/ 110 h 124"/>
                <a:gd name="T20" fmla="*/ 83 w 218"/>
                <a:gd name="T21" fmla="*/ 107 h 124"/>
                <a:gd name="T22" fmla="*/ 86 w 218"/>
                <a:gd name="T23" fmla="*/ 102 h 124"/>
                <a:gd name="T24" fmla="*/ 109 w 218"/>
                <a:gd name="T25" fmla="*/ 105 h 124"/>
                <a:gd name="T26" fmla="*/ 119 w 218"/>
                <a:gd name="T27" fmla="*/ 107 h 124"/>
                <a:gd name="T28" fmla="*/ 116 w 218"/>
                <a:gd name="T29" fmla="*/ 112 h 124"/>
                <a:gd name="T30" fmla="*/ 114 w 218"/>
                <a:gd name="T31" fmla="*/ 121 h 124"/>
                <a:gd name="T32" fmla="*/ 109 w 218"/>
                <a:gd name="T33" fmla="*/ 119 h 124"/>
                <a:gd name="T34" fmla="*/ 112 w 218"/>
                <a:gd name="T35" fmla="*/ 114 h 124"/>
                <a:gd name="T36" fmla="*/ 109 w 218"/>
                <a:gd name="T37" fmla="*/ 110 h 124"/>
                <a:gd name="T38" fmla="*/ 107 w 218"/>
                <a:gd name="T39" fmla="*/ 105 h 124"/>
                <a:gd name="T40" fmla="*/ 109 w 218"/>
                <a:gd name="T41" fmla="*/ 105 h 124"/>
                <a:gd name="T42" fmla="*/ 216 w 218"/>
                <a:gd name="T43" fmla="*/ 93 h 124"/>
                <a:gd name="T44" fmla="*/ 218 w 218"/>
                <a:gd name="T45" fmla="*/ 100 h 124"/>
                <a:gd name="T46" fmla="*/ 209 w 218"/>
                <a:gd name="T47" fmla="*/ 100 h 124"/>
                <a:gd name="T48" fmla="*/ 204 w 218"/>
                <a:gd name="T49" fmla="*/ 93 h 124"/>
                <a:gd name="T50" fmla="*/ 207 w 218"/>
                <a:gd name="T51" fmla="*/ 86 h 124"/>
                <a:gd name="T52" fmla="*/ 62 w 218"/>
                <a:gd name="T53" fmla="*/ 69 h 124"/>
                <a:gd name="T54" fmla="*/ 64 w 218"/>
                <a:gd name="T55" fmla="*/ 74 h 124"/>
                <a:gd name="T56" fmla="*/ 64 w 218"/>
                <a:gd name="T57" fmla="*/ 76 h 124"/>
                <a:gd name="T58" fmla="*/ 67 w 218"/>
                <a:gd name="T59" fmla="*/ 76 h 124"/>
                <a:gd name="T60" fmla="*/ 69 w 218"/>
                <a:gd name="T61" fmla="*/ 72 h 124"/>
                <a:gd name="T62" fmla="*/ 71 w 218"/>
                <a:gd name="T63" fmla="*/ 76 h 124"/>
                <a:gd name="T64" fmla="*/ 74 w 218"/>
                <a:gd name="T65" fmla="*/ 83 h 124"/>
                <a:gd name="T66" fmla="*/ 76 w 218"/>
                <a:gd name="T67" fmla="*/ 88 h 124"/>
                <a:gd name="T68" fmla="*/ 74 w 218"/>
                <a:gd name="T69" fmla="*/ 98 h 124"/>
                <a:gd name="T70" fmla="*/ 64 w 218"/>
                <a:gd name="T71" fmla="*/ 98 h 124"/>
                <a:gd name="T72" fmla="*/ 59 w 218"/>
                <a:gd name="T73" fmla="*/ 98 h 124"/>
                <a:gd name="T74" fmla="*/ 57 w 218"/>
                <a:gd name="T75" fmla="*/ 98 h 124"/>
                <a:gd name="T76" fmla="*/ 50 w 218"/>
                <a:gd name="T77" fmla="*/ 95 h 124"/>
                <a:gd name="T78" fmla="*/ 52 w 218"/>
                <a:gd name="T79" fmla="*/ 91 h 124"/>
                <a:gd name="T80" fmla="*/ 50 w 218"/>
                <a:gd name="T81" fmla="*/ 91 h 124"/>
                <a:gd name="T82" fmla="*/ 45 w 218"/>
                <a:gd name="T83" fmla="*/ 88 h 124"/>
                <a:gd name="T84" fmla="*/ 41 w 218"/>
                <a:gd name="T85" fmla="*/ 81 h 124"/>
                <a:gd name="T86" fmla="*/ 43 w 218"/>
                <a:gd name="T87" fmla="*/ 81 h 124"/>
                <a:gd name="T88" fmla="*/ 41 w 218"/>
                <a:gd name="T89" fmla="*/ 79 h 124"/>
                <a:gd name="T90" fmla="*/ 43 w 218"/>
                <a:gd name="T91" fmla="*/ 76 h 124"/>
                <a:gd name="T92" fmla="*/ 41 w 218"/>
                <a:gd name="T93" fmla="*/ 76 h 124"/>
                <a:gd name="T94" fmla="*/ 50 w 218"/>
                <a:gd name="T95" fmla="*/ 74 h 124"/>
                <a:gd name="T96" fmla="*/ 55 w 218"/>
                <a:gd name="T97" fmla="*/ 72 h 124"/>
                <a:gd name="T98" fmla="*/ 59 w 218"/>
                <a:gd name="T99" fmla="*/ 72 h 124"/>
                <a:gd name="T100" fmla="*/ 12 w 218"/>
                <a:gd name="T101" fmla="*/ 3 h 124"/>
                <a:gd name="T102" fmla="*/ 10 w 218"/>
                <a:gd name="T103" fmla="*/ 10 h 124"/>
                <a:gd name="T104" fmla="*/ 7 w 218"/>
                <a:gd name="T105" fmla="*/ 15 h 124"/>
                <a:gd name="T106" fmla="*/ 3 w 218"/>
                <a:gd name="T107" fmla="*/ 12 h 124"/>
                <a:gd name="T108" fmla="*/ 0 w 218"/>
                <a:gd name="T109" fmla="*/ 12 h 124"/>
                <a:gd name="T110" fmla="*/ 3 w 218"/>
                <a:gd name="T111" fmla="*/ 7 h 124"/>
                <a:gd name="T112" fmla="*/ 5 w 218"/>
                <a:gd name="T113" fmla="*/ 5 h 124"/>
                <a:gd name="T114" fmla="*/ 12 w 218"/>
                <a:gd name="T11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124">
                  <a:moveTo>
                    <a:pt x="90" y="102"/>
                  </a:moveTo>
                  <a:lnTo>
                    <a:pt x="90" y="105"/>
                  </a:lnTo>
                  <a:lnTo>
                    <a:pt x="93" y="105"/>
                  </a:lnTo>
                  <a:lnTo>
                    <a:pt x="93" y="107"/>
                  </a:lnTo>
                  <a:lnTo>
                    <a:pt x="95" y="107"/>
                  </a:lnTo>
                  <a:lnTo>
                    <a:pt x="97" y="107"/>
                  </a:lnTo>
                  <a:lnTo>
                    <a:pt x="97" y="110"/>
                  </a:lnTo>
                  <a:lnTo>
                    <a:pt x="100" y="110"/>
                  </a:lnTo>
                  <a:lnTo>
                    <a:pt x="102" y="110"/>
                  </a:lnTo>
                  <a:lnTo>
                    <a:pt x="100" y="110"/>
                  </a:lnTo>
                  <a:lnTo>
                    <a:pt x="100" y="107"/>
                  </a:lnTo>
                  <a:lnTo>
                    <a:pt x="102" y="110"/>
                  </a:lnTo>
                  <a:lnTo>
                    <a:pt x="102" y="107"/>
                  </a:lnTo>
                  <a:lnTo>
                    <a:pt x="102" y="105"/>
                  </a:lnTo>
                  <a:lnTo>
                    <a:pt x="105" y="107"/>
                  </a:lnTo>
                  <a:lnTo>
                    <a:pt x="107" y="107"/>
                  </a:lnTo>
                  <a:lnTo>
                    <a:pt x="107" y="110"/>
                  </a:lnTo>
                  <a:lnTo>
                    <a:pt x="107" y="112"/>
                  </a:lnTo>
                  <a:lnTo>
                    <a:pt x="109" y="112"/>
                  </a:lnTo>
                  <a:lnTo>
                    <a:pt x="109" y="114"/>
                  </a:lnTo>
                  <a:lnTo>
                    <a:pt x="109" y="117"/>
                  </a:lnTo>
                  <a:lnTo>
                    <a:pt x="109" y="119"/>
                  </a:lnTo>
                  <a:lnTo>
                    <a:pt x="107" y="119"/>
                  </a:lnTo>
                  <a:lnTo>
                    <a:pt x="105" y="119"/>
                  </a:lnTo>
                  <a:lnTo>
                    <a:pt x="107" y="119"/>
                  </a:lnTo>
                  <a:lnTo>
                    <a:pt x="105" y="117"/>
                  </a:lnTo>
                  <a:lnTo>
                    <a:pt x="105" y="119"/>
                  </a:lnTo>
                  <a:lnTo>
                    <a:pt x="105" y="117"/>
                  </a:lnTo>
                  <a:lnTo>
                    <a:pt x="102" y="119"/>
                  </a:lnTo>
                  <a:lnTo>
                    <a:pt x="105" y="119"/>
                  </a:lnTo>
                  <a:lnTo>
                    <a:pt x="102" y="119"/>
                  </a:lnTo>
                  <a:lnTo>
                    <a:pt x="100" y="119"/>
                  </a:lnTo>
                  <a:lnTo>
                    <a:pt x="102" y="119"/>
                  </a:lnTo>
                  <a:lnTo>
                    <a:pt x="100" y="119"/>
                  </a:lnTo>
                  <a:lnTo>
                    <a:pt x="97" y="119"/>
                  </a:lnTo>
                  <a:lnTo>
                    <a:pt x="97" y="121"/>
                  </a:lnTo>
                  <a:lnTo>
                    <a:pt x="100" y="121"/>
                  </a:lnTo>
                  <a:lnTo>
                    <a:pt x="97" y="121"/>
                  </a:lnTo>
                  <a:lnTo>
                    <a:pt x="95" y="121"/>
                  </a:lnTo>
                  <a:lnTo>
                    <a:pt x="95" y="119"/>
                  </a:lnTo>
                  <a:lnTo>
                    <a:pt x="93" y="119"/>
                  </a:lnTo>
                  <a:lnTo>
                    <a:pt x="93" y="117"/>
                  </a:lnTo>
                  <a:lnTo>
                    <a:pt x="90" y="117"/>
                  </a:lnTo>
                  <a:lnTo>
                    <a:pt x="88" y="117"/>
                  </a:lnTo>
                  <a:lnTo>
                    <a:pt x="88" y="114"/>
                  </a:lnTo>
                  <a:lnTo>
                    <a:pt x="86" y="114"/>
                  </a:lnTo>
                  <a:lnTo>
                    <a:pt x="83" y="114"/>
                  </a:lnTo>
                  <a:lnTo>
                    <a:pt x="81" y="112"/>
                  </a:lnTo>
                  <a:lnTo>
                    <a:pt x="81" y="110"/>
                  </a:lnTo>
                  <a:lnTo>
                    <a:pt x="83" y="110"/>
                  </a:lnTo>
                  <a:lnTo>
                    <a:pt x="83" y="112"/>
                  </a:lnTo>
                  <a:lnTo>
                    <a:pt x="83" y="110"/>
                  </a:lnTo>
                  <a:lnTo>
                    <a:pt x="86" y="110"/>
                  </a:lnTo>
                  <a:lnTo>
                    <a:pt x="83" y="110"/>
                  </a:lnTo>
                  <a:lnTo>
                    <a:pt x="83" y="107"/>
                  </a:lnTo>
                  <a:lnTo>
                    <a:pt x="83" y="105"/>
                  </a:lnTo>
                  <a:lnTo>
                    <a:pt x="86" y="105"/>
                  </a:lnTo>
                  <a:lnTo>
                    <a:pt x="86" y="102"/>
                  </a:lnTo>
                  <a:lnTo>
                    <a:pt x="86" y="105"/>
                  </a:lnTo>
                  <a:lnTo>
                    <a:pt x="86" y="102"/>
                  </a:lnTo>
                  <a:lnTo>
                    <a:pt x="88" y="102"/>
                  </a:lnTo>
                  <a:lnTo>
                    <a:pt x="90" y="102"/>
                  </a:lnTo>
                  <a:close/>
                  <a:moveTo>
                    <a:pt x="109" y="102"/>
                  </a:moveTo>
                  <a:lnTo>
                    <a:pt x="112" y="105"/>
                  </a:lnTo>
                  <a:lnTo>
                    <a:pt x="109" y="105"/>
                  </a:lnTo>
                  <a:lnTo>
                    <a:pt x="112" y="105"/>
                  </a:lnTo>
                  <a:lnTo>
                    <a:pt x="114" y="105"/>
                  </a:lnTo>
                  <a:lnTo>
                    <a:pt x="114" y="107"/>
                  </a:lnTo>
                  <a:lnTo>
                    <a:pt x="116" y="107"/>
                  </a:lnTo>
                  <a:lnTo>
                    <a:pt x="119" y="107"/>
                  </a:lnTo>
                  <a:lnTo>
                    <a:pt x="119" y="110"/>
                  </a:lnTo>
                  <a:lnTo>
                    <a:pt x="121" y="110"/>
                  </a:lnTo>
                  <a:lnTo>
                    <a:pt x="119" y="110"/>
                  </a:lnTo>
                  <a:lnTo>
                    <a:pt x="119" y="112"/>
                  </a:lnTo>
                  <a:lnTo>
                    <a:pt x="116" y="112"/>
                  </a:lnTo>
                  <a:lnTo>
                    <a:pt x="116" y="114"/>
                  </a:lnTo>
                  <a:lnTo>
                    <a:pt x="114" y="114"/>
                  </a:lnTo>
                  <a:lnTo>
                    <a:pt x="114" y="117"/>
                  </a:lnTo>
                  <a:lnTo>
                    <a:pt x="114" y="119"/>
                  </a:lnTo>
                  <a:lnTo>
                    <a:pt x="114" y="121"/>
                  </a:lnTo>
                  <a:lnTo>
                    <a:pt x="114" y="124"/>
                  </a:lnTo>
                  <a:lnTo>
                    <a:pt x="112" y="124"/>
                  </a:lnTo>
                  <a:lnTo>
                    <a:pt x="112" y="121"/>
                  </a:lnTo>
                  <a:lnTo>
                    <a:pt x="112" y="119"/>
                  </a:lnTo>
                  <a:lnTo>
                    <a:pt x="109" y="119"/>
                  </a:lnTo>
                  <a:lnTo>
                    <a:pt x="109" y="117"/>
                  </a:lnTo>
                  <a:lnTo>
                    <a:pt x="112" y="117"/>
                  </a:lnTo>
                  <a:lnTo>
                    <a:pt x="112" y="114"/>
                  </a:lnTo>
                  <a:lnTo>
                    <a:pt x="109" y="114"/>
                  </a:lnTo>
                  <a:lnTo>
                    <a:pt x="112" y="114"/>
                  </a:lnTo>
                  <a:lnTo>
                    <a:pt x="109" y="112"/>
                  </a:lnTo>
                  <a:lnTo>
                    <a:pt x="107" y="110"/>
                  </a:lnTo>
                  <a:lnTo>
                    <a:pt x="109" y="110"/>
                  </a:lnTo>
                  <a:lnTo>
                    <a:pt x="107" y="110"/>
                  </a:lnTo>
                  <a:lnTo>
                    <a:pt x="109" y="110"/>
                  </a:lnTo>
                  <a:lnTo>
                    <a:pt x="107" y="110"/>
                  </a:lnTo>
                  <a:lnTo>
                    <a:pt x="107" y="107"/>
                  </a:lnTo>
                  <a:lnTo>
                    <a:pt x="107" y="105"/>
                  </a:lnTo>
                  <a:lnTo>
                    <a:pt x="105" y="105"/>
                  </a:lnTo>
                  <a:lnTo>
                    <a:pt x="107" y="105"/>
                  </a:lnTo>
                  <a:lnTo>
                    <a:pt x="107" y="102"/>
                  </a:lnTo>
                  <a:lnTo>
                    <a:pt x="105" y="102"/>
                  </a:lnTo>
                  <a:lnTo>
                    <a:pt x="107" y="102"/>
                  </a:lnTo>
                  <a:lnTo>
                    <a:pt x="107" y="105"/>
                  </a:lnTo>
                  <a:lnTo>
                    <a:pt x="109" y="105"/>
                  </a:lnTo>
                  <a:lnTo>
                    <a:pt x="109" y="102"/>
                  </a:lnTo>
                  <a:close/>
                  <a:moveTo>
                    <a:pt x="211" y="91"/>
                  </a:moveTo>
                  <a:lnTo>
                    <a:pt x="214" y="91"/>
                  </a:lnTo>
                  <a:lnTo>
                    <a:pt x="214" y="93"/>
                  </a:lnTo>
                  <a:lnTo>
                    <a:pt x="216" y="93"/>
                  </a:lnTo>
                  <a:lnTo>
                    <a:pt x="218" y="93"/>
                  </a:lnTo>
                  <a:lnTo>
                    <a:pt x="218" y="95"/>
                  </a:lnTo>
                  <a:lnTo>
                    <a:pt x="218" y="98"/>
                  </a:lnTo>
                  <a:lnTo>
                    <a:pt x="216" y="100"/>
                  </a:lnTo>
                  <a:lnTo>
                    <a:pt x="218" y="100"/>
                  </a:lnTo>
                  <a:lnTo>
                    <a:pt x="216" y="100"/>
                  </a:lnTo>
                  <a:lnTo>
                    <a:pt x="216" y="102"/>
                  </a:lnTo>
                  <a:lnTo>
                    <a:pt x="214" y="100"/>
                  </a:lnTo>
                  <a:lnTo>
                    <a:pt x="211" y="100"/>
                  </a:lnTo>
                  <a:lnTo>
                    <a:pt x="209" y="100"/>
                  </a:lnTo>
                  <a:lnTo>
                    <a:pt x="209" y="98"/>
                  </a:lnTo>
                  <a:lnTo>
                    <a:pt x="207" y="98"/>
                  </a:lnTo>
                  <a:lnTo>
                    <a:pt x="204" y="98"/>
                  </a:lnTo>
                  <a:lnTo>
                    <a:pt x="204" y="95"/>
                  </a:lnTo>
                  <a:lnTo>
                    <a:pt x="204" y="93"/>
                  </a:lnTo>
                  <a:lnTo>
                    <a:pt x="204" y="91"/>
                  </a:lnTo>
                  <a:lnTo>
                    <a:pt x="204" y="88"/>
                  </a:lnTo>
                  <a:lnTo>
                    <a:pt x="207" y="86"/>
                  </a:lnTo>
                  <a:lnTo>
                    <a:pt x="204" y="86"/>
                  </a:lnTo>
                  <a:lnTo>
                    <a:pt x="207" y="86"/>
                  </a:lnTo>
                  <a:lnTo>
                    <a:pt x="207" y="88"/>
                  </a:lnTo>
                  <a:lnTo>
                    <a:pt x="209" y="88"/>
                  </a:lnTo>
                  <a:lnTo>
                    <a:pt x="211" y="91"/>
                  </a:lnTo>
                  <a:close/>
                  <a:moveTo>
                    <a:pt x="59" y="69"/>
                  </a:moveTo>
                  <a:lnTo>
                    <a:pt x="62" y="69"/>
                  </a:lnTo>
                  <a:lnTo>
                    <a:pt x="62" y="72"/>
                  </a:lnTo>
                  <a:lnTo>
                    <a:pt x="64" y="72"/>
                  </a:lnTo>
                  <a:lnTo>
                    <a:pt x="64" y="74"/>
                  </a:lnTo>
                  <a:lnTo>
                    <a:pt x="67" y="74"/>
                  </a:lnTo>
                  <a:lnTo>
                    <a:pt x="64" y="74"/>
                  </a:lnTo>
                  <a:lnTo>
                    <a:pt x="64" y="76"/>
                  </a:lnTo>
                  <a:lnTo>
                    <a:pt x="62" y="76"/>
                  </a:lnTo>
                  <a:lnTo>
                    <a:pt x="62" y="79"/>
                  </a:lnTo>
                  <a:lnTo>
                    <a:pt x="62" y="76"/>
                  </a:lnTo>
                  <a:lnTo>
                    <a:pt x="64" y="76"/>
                  </a:lnTo>
                  <a:lnTo>
                    <a:pt x="62" y="76"/>
                  </a:lnTo>
                  <a:lnTo>
                    <a:pt x="62" y="79"/>
                  </a:lnTo>
                  <a:lnTo>
                    <a:pt x="64" y="79"/>
                  </a:lnTo>
                  <a:lnTo>
                    <a:pt x="64" y="76"/>
                  </a:lnTo>
                  <a:lnTo>
                    <a:pt x="67" y="76"/>
                  </a:lnTo>
                  <a:lnTo>
                    <a:pt x="69" y="76"/>
                  </a:lnTo>
                  <a:lnTo>
                    <a:pt x="69" y="74"/>
                  </a:lnTo>
                  <a:lnTo>
                    <a:pt x="67" y="74"/>
                  </a:lnTo>
                  <a:lnTo>
                    <a:pt x="69" y="74"/>
                  </a:lnTo>
                  <a:lnTo>
                    <a:pt x="69" y="72"/>
                  </a:lnTo>
                  <a:lnTo>
                    <a:pt x="69" y="69"/>
                  </a:lnTo>
                  <a:lnTo>
                    <a:pt x="69" y="72"/>
                  </a:lnTo>
                  <a:lnTo>
                    <a:pt x="71" y="72"/>
                  </a:lnTo>
                  <a:lnTo>
                    <a:pt x="71" y="74"/>
                  </a:lnTo>
                  <a:lnTo>
                    <a:pt x="71" y="76"/>
                  </a:lnTo>
                  <a:lnTo>
                    <a:pt x="74" y="76"/>
                  </a:lnTo>
                  <a:lnTo>
                    <a:pt x="71" y="76"/>
                  </a:lnTo>
                  <a:lnTo>
                    <a:pt x="71" y="79"/>
                  </a:lnTo>
                  <a:lnTo>
                    <a:pt x="74" y="81"/>
                  </a:lnTo>
                  <a:lnTo>
                    <a:pt x="74" y="83"/>
                  </a:lnTo>
                  <a:lnTo>
                    <a:pt x="76" y="83"/>
                  </a:lnTo>
                  <a:lnTo>
                    <a:pt x="76" y="86"/>
                  </a:lnTo>
                  <a:lnTo>
                    <a:pt x="74" y="86"/>
                  </a:lnTo>
                  <a:lnTo>
                    <a:pt x="74" y="88"/>
                  </a:lnTo>
                  <a:lnTo>
                    <a:pt x="76" y="88"/>
                  </a:lnTo>
                  <a:lnTo>
                    <a:pt x="76" y="91"/>
                  </a:lnTo>
                  <a:lnTo>
                    <a:pt x="76" y="93"/>
                  </a:lnTo>
                  <a:lnTo>
                    <a:pt x="74" y="93"/>
                  </a:lnTo>
                  <a:lnTo>
                    <a:pt x="74" y="95"/>
                  </a:lnTo>
                  <a:lnTo>
                    <a:pt x="74" y="98"/>
                  </a:lnTo>
                  <a:lnTo>
                    <a:pt x="71" y="98"/>
                  </a:lnTo>
                  <a:lnTo>
                    <a:pt x="69" y="98"/>
                  </a:lnTo>
                  <a:lnTo>
                    <a:pt x="67" y="100"/>
                  </a:lnTo>
                  <a:lnTo>
                    <a:pt x="64" y="100"/>
                  </a:lnTo>
                  <a:lnTo>
                    <a:pt x="64" y="98"/>
                  </a:lnTo>
                  <a:lnTo>
                    <a:pt x="64" y="100"/>
                  </a:lnTo>
                  <a:lnTo>
                    <a:pt x="62" y="98"/>
                  </a:lnTo>
                  <a:lnTo>
                    <a:pt x="62" y="100"/>
                  </a:lnTo>
                  <a:lnTo>
                    <a:pt x="62" y="98"/>
                  </a:lnTo>
                  <a:lnTo>
                    <a:pt x="59" y="98"/>
                  </a:lnTo>
                  <a:lnTo>
                    <a:pt x="57" y="98"/>
                  </a:lnTo>
                  <a:lnTo>
                    <a:pt x="57" y="95"/>
                  </a:lnTo>
                  <a:lnTo>
                    <a:pt x="55" y="95"/>
                  </a:lnTo>
                  <a:lnTo>
                    <a:pt x="57" y="95"/>
                  </a:lnTo>
                  <a:lnTo>
                    <a:pt x="57" y="98"/>
                  </a:lnTo>
                  <a:lnTo>
                    <a:pt x="55" y="98"/>
                  </a:lnTo>
                  <a:lnTo>
                    <a:pt x="52" y="95"/>
                  </a:lnTo>
                  <a:lnTo>
                    <a:pt x="52" y="98"/>
                  </a:lnTo>
                  <a:lnTo>
                    <a:pt x="50" y="98"/>
                  </a:lnTo>
                  <a:lnTo>
                    <a:pt x="50" y="95"/>
                  </a:lnTo>
                  <a:lnTo>
                    <a:pt x="52" y="95"/>
                  </a:lnTo>
                  <a:lnTo>
                    <a:pt x="55" y="95"/>
                  </a:lnTo>
                  <a:lnTo>
                    <a:pt x="55" y="93"/>
                  </a:lnTo>
                  <a:lnTo>
                    <a:pt x="52" y="93"/>
                  </a:lnTo>
                  <a:lnTo>
                    <a:pt x="52" y="91"/>
                  </a:lnTo>
                  <a:lnTo>
                    <a:pt x="52" y="93"/>
                  </a:lnTo>
                  <a:lnTo>
                    <a:pt x="50" y="93"/>
                  </a:lnTo>
                  <a:lnTo>
                    <a:pt x="50" y="91"/>
                  </a:lnTo>
                  <a:lnTo>
                    <a:pt x="50" y="93"/>
                  </a:lnTo>
                  <a:lnTo>
                    <a:pt x="50" y="91"/>
                  </a:lnTo>
                  <a:lnTo>
                    <a:pt x="48" y="91"/>
                  </a:lnTo>
                  <a:lnTo>
                    <a:pt x="50" y="91"/>
                  </a:lnTo>
                  <a:lnTo>
                    <a:pt x="48" y="91"/>
                  </a:lnTo>
                  <a:lnTo>
                    <a:pt x="45" y="91"/>
                  </a:lnTo>
                  <a:lnTo>
                    <a:pt x="45" y="88"/>
                  </a:lnTo>
                  <a:lnTo>
                    <a:pt x="45" y="86"/>
                  </a:lnTo>
                  <a:lnTo>
                    <a:pt x="45" y="83"/>
                  </a:lnTo>
                  <a:lnTo>
                    <a:pt x="43" y="83"/>
                  </a:lnTo>
                  <a:lnTo>
                    <a:pt x="41" y="83"/>
                  </a:lnTo>
                  <a:lnTo>
                    <a:pt x="41" y="81"/>
                  </a:lnTo>
                  <a:lnTo>
                    <a:pt x="43" y="81"/>
                  </a:lnTo>
                  <a:lnTo>
                    <a:pt x="41" y="81"/>
                  </a:lnTo>
                  <a:lnTo>
                    <a:pt x="43" y="81"/>
                  </a:lnTo>
                  <a:lnTo>
                    <a:pt x="43" y="79"/>
                  </a:lnTo>
                  <a:lnTo>
                    <a:pt x="43" y="81"/>
                  </a:lnTo>
                  <a:lnTo>
                    <a:pt x="43" y="79"/>
                  </a:lnTo>
                  <a:lnTo>
                    <a:pt x="41" y="79"/>
                  </a:lnTo>
                  <a:lnTo>
                    <a:pt x="38" y="76"/>
                  </a:lnTo>
                  <a:lnTo>
                    <a:pt x="41" y="76"/>
                  </a:lnTo>
                  <a:lnTo>
                    <a:pt x="41" y="79"/>
                  </a:lnTo>
                  <a:lnTo>
                    <a:pt x="43" y="79"/>
                  </a:lnTo>
                  <a:lnTo>
                    <a:pt x="41" y="79"/>
                  </a:lnTo>
                  <a:lnTo>
                    <a:pt x="41" y="76"/>
                  </a:lnTo>
                  <a:lnTo>
                    <a:pt x="43" y="79"/>
                  </a:lnTo>
                  <a:lnTo>
                    <a:pt x="43" y="76"/>
                  </a:lnTo>
                  <a:lnTo>
                    <a:pt x="41" y="76"/>
                  </a:lnTo>
                  <a:lnTo>
                    <a:pt x="38" y="76"/>
                  </a:lnTo>
                  <a:lnTo>
                    <a:pt x="38" y="74"/>
                  </a:lnTo>
                  <a:lnTo>
                    <a:pt x="41" y="74"/>
                  </a:lnTo>
                  <a:lnTo>
                    <a:pt x="41" y="76"/>
                  </a:lnTo>
                  <a:lnTo>
                    <a:pt x="41" y="74"/>
                  </a:lnTo>
                  <a:lnTo>
                    <a:pt x="43" y="74"/>
                  </a:lnTo>
                  <a:lnTo>
                    <a:pt x="45" y="74"/>
                  </a:lnTo>
                  <a:lnTo>
                    <a:pt x="48" y="74"/>
                  </a:lnTo>
                  <a:lnTo>
                    <a:pt x="50" y="74"/>
                  </a:lnTo>
                  <a:lnTo>
                    <a:pt x="50" y="72"/>
                  </a:lnTo>
                  <a:lnTo>
                    <a:pt x="52" y="72"/>
                  </a:lnTo>
                  <a:lnTo>
                    <a:pt x="50" y="72"/>
                  </a:lnTo>
                  <a:lnTo>
                    <a:pt x="52" y="72"/>
                  </a:lnTo>
                  <a:lnTo>
                    <a:pt x="55" y="72"/>
                  </a:lnTo>
                  <a:lnTo>
                    <a:pt x="57" y="69"/>
                  </a:lnTo>
                  <a:lnTo>
                    <a:pt x="59" y="69"/>
                  </a:lnTo>
                  <a:lnTo>
                    <a:pt x="57" y="69"/>
                  </a:lnTo>
                  <a:lnTo>
                    <a:pt x="57" y="72"/>
                  </a:lnTo>
                  <a:lnTo>
                    <a:pt x="59" y="72"/>
                  </a:lnTo>
                  <a:lnTo>
                    <a:pt x="59" y="69"/>
                  </a:lnTo>
                  <a:lnTo>
                    <a:pt x="57" y="69"/>
                  </a:lnTo>
                  <a:lnTo>
                    <a:pt x="59" y="69"/>
                  </a:lnTo>
                  <a:close/>
                  <a:moveTo>
                    <a:pt x="12" y="0"/>
                  </a:moveTo>
                  <a:lnTo>
                    <a:pt x="12" y="3"/>
                  </a:lnTo>
                  <a:lnTo>
                    <a:pt x="12" y="5"/>
                  </a:lnTo>
                  <a:lnTo>
                    <a:pt x="10" y="5"/>
                  </a:lnTo>
                  <a:lnTo>
                    <a:pt x="10" y="7"/>
                  </a:lnTo>
                  <a:lnTo>
                    <a:pt x="12" y="10"/>
                  </a:lnTo>
                  <a:lnTo>
                    <a:pt x="10" y="10"/>
                  </a:lnTo>
                  <a:lnTo>
                    <a:pt x="12" y="10"/>
                  </a:lnTo>
                  <a:lnTo>
                    <a:pt x="10" y="10"/>
                  </a:lnTo>
                  <a:lnTo>
                    <a:pt x="10" y="12"/>
                  </a:lnTo>
                  <a:lnTo>
                    <a:pt x="10" y="15"/>
                  </a:lnTo>
                  <a:lnTo>
                    <a:pt x="7" y="15"/>
                  </a:lnTo>
                  <a:lnTo>
                    <a:pt x="5" y="15"/>
                  </a:lnTo>
                  <a:lnTo>
                    <a:pt x="5" y="17"/>
                  </a:lnTo>
                  <a:lnTo>
                    <a:pt x="5" y="15"/>
                  </a:lnTo>
                  <a:lnTo>
                    <a:pt x="3" y="15"/>
                  </a:lnTo>
                  <a:lnTo>
                    <a:pt x="3" y="12"/>
                  </a:lnTo>
                  <a:lnTo>
                    <a:pt x="3" y="15"/>
                  </a:lnTo>
                  <a:lnTo>
                    <a:pt x="5" y="15"/>
                  </a:lnTo>
                  <a:lnTo>
                    <a:pt x="3" y="15"/>
                  </a:lnTo>
                  <a:lnTo>
                    <a:pt x="3" y="12"/>
                  </a:lnTo>
                  <a:lnTo>
                    <a:pt x="0" y="12"/>
                  </a:lnTo>
                  <a:lnTo>
                    <a:pt x="0" y="10"/>
                  </a:lnTo>
                  <a:lnTo>
                    <a:pt x="3" y="10"/>
                  </a:lnTo>
                  <a:lnTo>
                    <a:pt x="5" y="10"/>
                  </a:lnTo>
                  <a:lnTo>
                    <a:pt x="5" y="7"/>
                  </a:lnTo>
                  <a:lnTo>
                    <a:pt x="3" y="7"/>
                  </a:lnTo>
                  <a:lnTo>
                    <a:pt x="5" y="7"/>
                  </a:lnTo>
                  <a:lnTo>
                    <a:pt x="3" y="7"/>
                  </a:lnTo>
                  <a:lnTo>
                    <a:pt x="5" y="5"/>
                  </a:lnTo>
                  <a:lnTo>
                    <a:pt x="3" y="5"/>
                  </a:lnTo>
                  <a:lnTo>
                    <a:pt x="5" y="5"/>
                  </a:lnTo>
                  <a:lnTo>
                    <a:pt x="7" y="5"/>
                  </a:lnTo>
                  <a:lnTo>
                    <a:pt x="10" y="3"/>
                  </a:lnTo>
                  <a:lnTo>
                    <a:pt x="12" y="0"/>
                  </a:lnTo>
                  <a:lnTo>
                    <a:pt x="14"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5" name="Freeform 50288"/>
            <p:cNvSpPr>
              <a:spLocks noEditPoints="1"/>
            </p:cNvSpPr>
            <p:nvPr/>
          </p:nvSpPr>
          <p:spPr bwMode="auto">
            <a:xfrm>
              <a:off x="2451098" y="4083064"/>
              <a:ext cx="236538" cy="241300"/>
            </a:xfrm>
            <a:custGeom>
              <a:avLst/>
              <a:gdLst>
                <a:gd name="T0" fmla="*/ 147 w 149"/>
                <a:gd name="T1" fmla="*/ 95 h 152"/>
                <a:gd name="T2" fmla="*/ 147 w 149"/>
                <a:gd name="T3" fmla="*/ 107 h 152"/>
                <a:gd name="T4" fmla="*/ 135 w 149"/>
                <a:gd name="T5" fmla="*/ 119 h 152"/>
                <a:gd name="T6" fmla="*/ 135 w 149"/>
                <a:gd name="T7" fmla="*/ 128 h 152"/>
                <a:gd name="T8" fmla="*/ 133 w 149"/>
                <a:gd name="T9" fmla="*/ 135 h 152"/>
                <a:gd name="T10" fmla="*/ 126 w 149"/>
                <a:gd name="T11" fmla="*/ 140 h 152"/>
                <a:gd name="T12" fmla="*/ 121 w 149"/>
                <a:gd name="T13" fmla="*/ 133 h 152"/>
                <a:gd name="T14" fmla="*/ 109 w 149"/>
                <a:gd name="T15" fmla="*/ 131 h 152"/>
                <a:gd name="T16" fmla="*/ 97 w 149"/>
                <a:gd name="T17" fmla="*/ 114 h 152"/>
                <a:gd name="T18" fmla="*/ 95 w 149"/>
                <a:gd name="T19" fmla="*/ 104 h 152"/>
                <a:gd name="T20" fmla="*/ 107 w 149"/>
                <a:gd name="T21" fmla="*/ 102 h 152"/>
                <a:gd name="T22" fmla="*/ 109 w 149"/>
                <a:gd name="T23" fmla="*/ 93 h 152"/>
                <a:gd name="T24" fmla="*/ 121 w 149"/>
                <a:gd name="T25" fmla="*/ 90 h 152"/>
                <a:gd name="T26" fmla="*/ 119 w 149"/>
                <a:gd name="T27" fmla="*/ 104 h 152"/>
                <a:gd name="T28" fmla="*/ 128 w 149"/>
                <a:gd name="T29" fmla="*/ 97 h 152"/>
                <a:gd name="T30" fmla="*/ 128 w 149"/>
                <a:gd name="T31" fmla="*/ 107 h 152"/>
                <a:gd name="T32" fmla="*/ 130 w 149"/>
                <a:gd name="T33" fmla="*/ 104 h 152"/>
                <a:gd name="T34" fmla="*/ 128 w 149"/>
                <a:gd name="T35" fmla="*/ 88 h 152"/>
                <a:gd name="T36" fmla="*/ 71 w 149"/>
                <a:gd name="T37" fmla="*/ 40 h 152"/>
                <a:gd name="T38" fmla="*/ 64 w 149"/>
                <a:gd name="T39" fmla="*/ 55 h 152"/>
                <a:gd name="T40" fmla="*/ 73 w 149"/>
                <a:gd name="T41" fmla="*/ 57 h 152"/>
                <a:gd name="T42" fmla="*/ 73 w 149"/>
                <a:gd name="T43" fmla="*/ 59 h 152"/>
                <a:gd name="T44" fmla="*/ 95 w 149"/>
                <a:gd name="T45" fmla="*/ 66 h 152"/>
                <a:gd name="T46" fmla="*/ 83 w 149"/>
                <a:gd name="T47" fmla="*/ 81 h 152"/>
                <a:gd name="T48" fmla="*/ 73 w 149"/>
                <a:gd name="T49" fmla="*/ 81 h 152"/>
                <a:gd name="T50" fmla="*/ 69 w 149"/>
                <a:gd name="T51" fmla="*/ 81 h 152"/>
                <a:gd name="T52" fmla="*/ 66 w 149"/>
                <a:gd name="T53" fmla="*/ 97 h 152"/>
                <a:gd name="T54" fmla="*/ 64 w 149"/>
                <a:gd name="T55" fmla="*/ 102 h 152"/>
                <a:gd name="T56" fmla="*/ 50 w 149"/>
                <a:gd name="T57" fmla="*/ 107 h 152"/>
                <a:gd name="T58" fmla="*/ 50 w 149"/>
                <a:gd name="T59" fmla="*/ 116 h 152"/>
                <a:gd name="T60" fmla="*/ 52 w 149"/>
                <a:gd name="T61" fmla="*/ 126 h 152"/>
                <a:gd name="T62" fmla="*/ 50 w 149"/>
                <a:gd name="T63" fmla="*/ 131 h 152"/>
                <a:gd name="T64" fmla="*/ 47 w 149"/>
                <a:gd name="T65" fmla="*/ 138 h 152"/>
                <a:gd name="T66" fmla="*/ 52 w 149"/>
                <a:gd name="T67" fmla="*/ 147 h 152"/>
                <a:gd name="T68" fmla="*/ 40 w 149"/>
                <a:gd name="T69" fmla="*/ 150 h 152"/>
                <a:gd name="T70" fmla="*/ 17 w 149"/>
                <a:gd name="T71" fmla="*/ 145 h 152"/>
                <a:gd name="T72" fmla="*/ 12 w 149"/>
                <a:gd name="T73" fmla="*/ 135 h 152"/>
                <a:gd name="T74" fmla="*/ 19 w 149"/>
                <a:gd name="T75" fmla="*/ 133 h 152"/>
                <a:gd name="T76" fmla="*/ 9 w 149"/>
                <a:gd name="T77" fmla="*/ 114 h 152"/>
                <a:gd name="T78" fmla="*/ 2 w 149"/>
                <a:gd name="T79" fmla="*/ 102 h 152"/>
                <a:gd name="T80" fmla="*/ 0 w 149"/>
                <a:gd name="T81" fmla="*/ 71 h 152"/>
                <a:gd name="T82" fmla="*/ 5 w 149"/>
                <a:gd name="T83" fmla="*/ 59 h 152"/>
                <a:gd name="T84" fmla="*/ 17 w 149"/>
                <a:gd name="T85" fmla="*/ 59 h 152"/>
                <a:gd name="T86" fmla="*/ 21 w 149"/>
                <a:gd name="T87" fmla="*/ 62 h 152"/>
                <a:gd name="T88" fmla="*/ 28 w 149"/>
                <a:gd name="T89" fmla="*/ 50 h 152"/>
                <a:gd name="T90" fmla="*/ 33 w 149"/>
                <a:gd name="T91" fmla="*/ 59 h 152"/>
                <a:gd name="T92" fmla="*/ 40 w 149"/>
                <a:gd name="T93" fmla="*/ 62 h 152"/>
                <a:gd name="T94" fmla="*/ 38 w 149"/>
                <a:gd name="T95" fmla="*/ 40 h 152"/>
                <a:gd name="T96" fmla="*/ 57 w 149"/>
                <a:gd name="T97" fmla="*/ 36 h 152"/>
                <a:gd name="T98" fmla="*/ 81 w 149"/>
                <a:gd name="T99" fmla="*/ 19 h 152"/>
                <a:gd name="T100" fmla="*/ 73 w 149"/>
                <a:gd name="T101" fmla="*/ 38 h 152"/>
                <a:gd name="T102" fmla="*/ 57 w 149"/>
                <a:gd name="T103" fmla="*/ 33 h 152"/>
                <a:gd name="T104" fmla="*/ 38 w 149"/>
                <a:gd name="T105" fmla="*/ 40 h 152"/>
                <a:gd name="T106" fmla="*/ 21 w 149"/>
                <a:gd name="T107" fmla="*/ 40 h 152"/>
                <a:gd name="T108" fmla="*/ 12 w 149"/>
                <a:gd name="T109" fmla="*/ 55 h 152"/>
                <a:gd name="T110" fmla="*/ 7 w 149"/>
                <a:gd name="T111" fmla="*/ 50 h 152"/>
                <a:gd name="T112" fmla="*/ 19 w 149"/>
                <a:gd name="T113" fmla="*/ 33 h 152"/>
                <a:gd name="T114" fmla="*/ 50 w 149"/>
                <a:gd name="T115" fmla="*/ 24 h 152"/>
                <a:gd name="T116" fmla="*/ 71 w 149"/>
                <a:gd name="T117"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152">
                  <a:moveTo>
                    <a:pt x="140" y="83"/>
                  </a:moveTo>
                  <a:lnTo>
                    <a:pt x="140" y="85"/>
                  </a:lnTo>
                  <a:lnTo>
                    <a:pt x="142" y="85"/>
                  </a:lnTo>
                  <a:lnTo>
                    <a:pt x="145" y="85"/>
                  </a:lnTo>
                  <a:lnTo>
                    <a:pt x="147" y="85"/>
                  </a:lnTo>
                  <a:lnTo>
                    <a:pt x="147" y="88"/>
                  </a:lnTo>
                  <a:lnTo>
                    <a:pt x="149" y="88"/>
                  </a:lnTo>
                  <a:lnTo>
                    <a:pt x="149" y="90"/>
                  </a:lnTo>
                  <a:lnTo>
                    <a:pt x="147" y="90"/>
                  </a:lnTo>
                  <a:lnTo>
                    <a:pt x="147" y="93"/>
                  </a:lnTo>
                  <a:lnTo>
                    <a:pt x="145" y="93"/>
                  </a:lnTo>
                  <a:lnTo>
                    <a:pt x="147" y="93"/>
                  </a:lnTo>
                  <a:lnTo>
                    <a:pt x="145" y="95"/>
                  </a:lnTo>
                  <a:lnTo>
                    <a:pt x="147" y="95"/>
                  </a:lnTo>
                  <a:lnTo>
                    <a:pt x="147" y="97"/>
                  </a:lnTo>
                  <a:lnTo>
                    <a:pt x="147" y="100"/>
                  </a:lnTo>
                  <a:lnTo>
                    <a:pt x="149" y="102"/>
                  </a:lnTo>
                  <a:lnTo>
                    <a:pt x="147" y="102"/>
                  </a:lnTo>
                  <a:lnTo>
                    <a:pt x="149" y="102"/>
                  </a:lnTo>
                  <a:lnTo>
                    <a:pt x="147" y="102"/>
                  </a:lnTo>
                  <a:lnTo>
                    <a:pt x="147" y="104"/>
                  </a:lnTo>
                  <a:lnTo>
                    <a:pt x="149" y="104"/>
                  </a:lnTo>
                  <a:lnTo>
                    <a:pt x="147" y="104"/>
                  </a:lnTo>
                  <a:lnTo>
                    <a:pt x="149" y="104"/>
                  </a:lnTo>
                  <a:lnTo>
                    <a:pt x="149" y="107"/>
                  </a:lnTo>
                  <a:lnTo>
                    <a:pt x="147" y="107"/>
                  </a:lnTo>
                  <a:lnTo>
                    <a:pt x="147" y="109"/>
                  </a:lnTo>
                  <a:lnTo>
                    <a:pt x="147" y="107"/>
                  </a:lnTo>
                  <a:lnTo>
                    <a:pt x="147" y="109"/>
                  </a:lnTo>
                  <a:lnTo>
                    <a:pt x="145" y="109"/>
                  </a:lnTo>
                  <a:lnTo>
                    <a:pt x="145" y="112"/>
                  </a:lnTo>
                  <a:lnTo>
                    <a:pt x="142" y="109"/>
                  </a:lnTo>
                  <a:lnTo>
                    <a:pt x="140" y="109"/>
                  </a:lnTo>
                  <a:lnTo>
                    <a:pt x="142" y="109"/>
                  </a:lnTo>
                  <a:lnTo>
                    <a:pt x="140" y="112"/>
                  </a:lnTo>
                  <a:lnTo>
                    <a:pt x="138" y="112"/>
                  </a:lnTo>
                  <a:lnTo>
                    <a:pt x="138" y="114"/>
                  </a:lnTo>
                  <a:lnTo>
                    <a:pt x="135" y="114"/>
                  </a:lnTo>
                  <a:lnTo>
                    <a:pt x="135" y="116"/>
                  </a:lnTo>
                  <a:lnTo>
                    <a:pt x="135" y="114"/>
                  </a:lnTo>
                  <a:lnTo>
                    <a:pt x="135" y="116"/>
                  </a:lnTo>
                  <a:lnTo>
                    <a:pt x="135" y="119"/>
                  </a:lnTo>
                  <a:lnTo>
                    <a:pt x="138" y="119"/>
                  </a:lnTo>
                  <a:lnTo>
                    <a:pt x="138" y="121"/>
                  </a:lnTo>
                  <a:lnTo>
                    <a:pt x="140" y="121"/>
                  </a:lnTo>
                  <a:lnTo>
                    <a:pt x="142" y="121"/>
                  </a:lnTo>
                  <a:lnTo>
                    <a:pt x="142" y="123"/>
                  </a:lnTo>
                  <a:lnTo>
                    <a:pt x="145" y="123"/>
                  </a:lnTo>
                  <a:lnTo>
                    <a:pt x="142" y="123"/>
                  </a:lnTo>
                  <a:lnTo>
                    <a:pt x="142" y="126"/>
                  </a:lnTo>
                  <a:lnTo>
                    <a:pt x="145" y="126"/>
                  </a:lnTo>
                  <a:lnTo>
                    <a:pt x="142" y="126"/>
                  </a:lnTo>
                  <a:lnTo>
                    <a:pt x="142" y="128"/>
                  </a:lnTo>
                  <a:lnTo>
                    <a:pt x="140" y="128"/>
                  </a:lnTo>
                  <a:lnTo>
                    <a:pt x="138" y="128"/>
                  </a:lnTo>
                  <a:lnTo>
                    <a:pt x="135" y="128"/>
                  </a:lnTo>
                  <a:lnTo>
                    <a:pt x="135" y="131"/>
                  </a:lnTo>
                  <a:lnTo>
                    <a:pt x="133" y="131"/>
                  </a:lnTo>
                  <a:lnTo>
                    <a:pt x="133" y="133"/>
                  </a:lnTo>
                  <a:lnTo>
                    <a:pt x="130" y="135"/>
                  </a:lnTo>
                  <a:lnTo>
                    <a:pt x="130" y="133"/>
                  </a:lnTo>
                  <a:lnTo>
                    <a:pt x="133" y="133"/>
                  </a:lnTo>
                  <a:lnTo>
                    <a:pt x="130" y="133"/>
                  </a:lnTo>
                  <a:lnTo>
                    <a:pt x="128" y="133"/>
                  </a:lnTo>
                  <a:lnTo>
                    <a:pt x="130" y="133"/>
                  </a:lnTo>
                  <a:lnTo>
                    <a:pt x="130" y="135"/>
                  </a:lnTo>
                  <a:lnTo>
                    <a:pt x="133" y="135"/>
                  </a:lnTo>
                  <a:lnTo>
                    <a:pt x="135" y="135"/>
                  </a:lnTo>
                  <a:lnTo>
                    <a:pt x="133" y="138"/>
                  </a:lnTo>
                  <a:lnTo>
                    <a:pt x="133" y="135"/>
                  </a:lnTo>
                  <a:lnTo>
                    <a:pt x="133" y="138"/>
                  </a:lnTo>
                  <a:lnTo>
                    <a:pt x="133" y="140"/>
                  </a:lnTo>
                  <a:lnTo>
                    <a:pt x="135" y="140"/>
                  </a:lnTo>
                  <a:lnTo>
                    <a:pt x="135" y="142"/>
                  </a:lnTo>
                  <a:lnTo>
                    <a:pt x="133" y="140"/>
                  </a:lnTo>
                  <a:lnTo>
                    <a:pt x="133" y="142"/>
                  </a:lnTo>
                  <a:lnTo>
                    <a:pt x="133" y="140"/>
                  </a:lnTo>
                  <a:lnTo>
                    <a:pt x="133" y="142"/>
                  </a:lnTo>
                  <a:lnTo>
                    <a:pt x="133" y="140"/>
                  </a:lnTo>
                  <a:lnTo>
                    <a:pt x="133" y="142"/>
                  </a:lnTo>
                  <a:lnTo>
                    <a:pt x="130" y="142"/>
                  </a:lnTo>
                  <a:lnTo>
                    <a:pt x="128" y="142"/>
                  </a:lnTo>
                  <a:lnTo>
                    <a:pt x="128" y="140"/>
                  </a:lnTo>
                  <a:lnTo>
                    <a:pt x="126" y="140"/>
                  </a:lnTo>
                  <a:lnTo>
                    <a:pt x="126" y="142"/>
                  </a:lnTo>
                  <a:lnTo>
                    <a:pt x="126" y="140"/>
                  </a:lnTo>
                  <a:lnTo>
                    <a:pt x="123" y="140"/>
                  </a:lnTo>
                  <a:lnTo>
                    <a:pt x="121" y="138"/>
                  </a:lnTo>
                  <a:lnTo>
                    <a:pt x="119" y="138"/>
                  </a:lnTo>
                  <a:lnTo>
                    <a:pt x="121" y="138"/>
                  </a:lnTo>
                  <a:lnTo>
                    <a:pt x="123" y="138"/>
                  </a:lnTo>
                  <a:lnTo>
                    <a:pt x="121" y="138"/>
                  </a:lnTo>
                  <a:lnTo>
                    <a:pt x="121" y="135"/>
                  </a:lnTo>
                  <a:lnTo>
                    <a:pt x="119" y="135"/>
                  </a:lnTo>
                  <a:lnTo>
                    <a:pt x="121" y="135"/>
                  </a:lnTo>
                  <a:lnTo>
                    <a:pt x="123" y="135"/>
                  </a:lnTo>
                  <a:lnTo>
                    <a:pt x="123" y="133"/>
                  </a:lnTo>
                  <a:lnTo>
                    <a:pt x="121" y="133"/>
                  </a:lnTo>
                  <a:lnTo>
                    <a:pt x="119" y="133"/>
                  </a:lnTo>
                  <a:lnTo>
                    <a:pt x="121" y="133"/>
                  </a:lnTo>
                  <a:lnTo>
                    <a:pt x="121" y="131"/>
                  </a:lnTo>
                  <a:lnTo>
                    <a:pt x="119" y="131"/>
                  </a:lnTo>
                  <a:lnTo>
                    <a:pt x="121" y="131"/>
                  </a:lnTo>
                  <a:lnTo>
                    <a:pt x="119" y="131"/>
                  </a:lnTo>
                  <a:lnTo>
                    <a:pt x="116" y="131"/>
                  </a:lnTo>
                  <a:lnTo>
                    <a:pt x="116" y="133"/>
                  </a:lnTo>
                  <a:lnTo>
                    <a:pt x="119" y="133"/>
                  </a:lnTo>
                  <a:lnTo>
                    <a:pt x="116" y="133"/>
                  </a:lnTo>
                  <a:lnTo>
                    <a:pt x="116" y="131"/>
                  </a:lnTo>
                  <a:lnTo>
                    <a:pt x="114" y="131"/>
                  </a:lnTo>
                  <a:lnTo>
                    <a:pt x="111" y="131"/>
                  </a:lnTo>
                  <a:lnTo>
                    <a:pt x="109" y="131"/>
                  </a:lnTo>
                  <a:lnTo>
                    <a:pt x="107" y="131"/>
                  </a:lnTo>
                  <a:lnTo>
                    <a:pt x="104" y="131"/>
                  </a:lnTo>
                  <a:lnTo>
                    <a:pt x="104" y="128"/>
                  </a:lnTo>
                  <a:lnTo>
                    <a:pt x="104" y="126"/>
                  </a:lnTo>
                  <a:lnTo>
                    <a:pt x="102" y="126"/>
                  </a:lnTo>
                  <a:lnTo>
                    <a:pt x="100" y="126"/>
                  </a:lnTo>
                  <a:lnTo>
                    <a:pt x="100" y="123"/>
                  </a:lnTo>
                  <a:lnTo>
                    <a:pt x="100" y="121"/>
                  </a:lnTo>
                  <a:lnTo>
                    <a:pt x="100" y="123"/>
                  </a:lnTo>
                  <a:lnTo>
                    <a:pt x="102" y="121"/>
                  </a:lnTo>
                  <a:lnTo>
                    <a:pt x="102" y="119"/>
                  </a:lnTo>
                  <a:lnTo>
                    <a:pt x="102" y="116"/>
                  </a:lnTo>
                  <a:lnTo>
                    <a:pt x="100" y="114"/>
                  </a:lnTo>
                  <a:lnTo>
                    <a:pt x="97" y="114"/>
                  </a:lnTo>
                  <a:lnTo>
                    <a:pt x="100" y="114"/>
                  </a:lnTo>
                  <a:lnTo>
                    <a:pt x="102" y="112"/>
                  </a:lnTo>
                  <a:lnTo>
                    <a:pt x="100" y="112"/>
                  </a:lnTo>
                  <a:lnTo>
                    <a:pt x="100" y="109"/>
                  </a:lnTo>
                  <a:lnTo>
                    <a:pt x="97" y="109"/>
                  </a:lnTo>
                  <a:lnTo>
                    <a:pt x="97" y="107"/>
                  </a:lnTo>
                  <a:lnTo>
                    <a:pt x="95" y="107"/>
                  </a:lnTo>
                  <a:lnTo>
                    <a:pt x="92" y="107"/>
                  </a:lnTo>
                  <a:lnTo>
                    <a:pt x="95" y="107"/>
                  </a:lnTo>
                  <a:lnTo>
                    <a:pt x="97" y="107"/>
                  </a:lnTo>
                  <a:lnTo>
                    <a:pt x="100" y="107"/>
                  </a:lnTo>
                  <a:lnTo>
                    <a:pt x="97" y="107"/>
                  </a:lnTo>
                  <a:lnTo>
                    <a:pt x="97" y="104"/>
                  </a:lnTo>
                  <a:lnTo>
                    <a:pt x="95" y="104"/>
                  </a:lnTo>
                  <a:lnTo>
                    <a:pt x="92" y="104"/>
                  </a:lnTo>
                  <a:lnTo>
                    <a:pt x="92" y="102"/>
                  </a:lnTo>
                  <a:lnTo>
                    <a:pt x="95" y="102"/>
                  </a:lnTo>
                  <a:lnTo>
                    <a:pt x="95" y="104"/>
                  </a:lnTo>
                  <a:lnTo>
                    <a:pt x="97" y="104"/>
                  </a:lnTo>
                  <a:lnTo>
                    <a:pt x="100" y="102"/>
                  </a:lnTo>
                  <a:lnTo>
                    <a:pt x="102" y="102"/>
                  </a:lnTo>
                  <a:lnTo>
                    <a:pt x="102" y="104"/>
                  </a:lnTo>
                  <a:lnTo>
                    <a:pt x="102" y="102"/>
                  </a:lnTo>
                  <a:lnTo>
                    <a:pt x="104" y="104"/>
                  </a:lnTo>
                  <a:lnTo>
                    <a:pt x="104" y="102"/>
                  </a:lnTo>
                  <a:lnTo>
                    <a:pt x="107" y="102"/>
                  </a:lnTo>
                  <a:lnTo>
                    <a:pt x="104" y="102"/>
                  </a:lnTo>
                  <a:lnTo>
                    <a:pt x="107" y="102"/>
                  </a:lnTo>
                  <a:lnTo>
                    <a:pt x="109" y="102"/>
                  </a:lnTo>
                  <a:lnTo>
                    <a:pt x="109" y="100"/>
                  </a:lnTo>
                  <a:lnTo>
                    <a:pt x="107" y="97"/>
                  </a:lnTo>
                  <a:lnTo>
                    <a:pt x="109" y="97"/>
                  </a:lnTo>
                  <a:lnTo>
                    <a:pt x="109" y="100"/>
                  </a:lnTo>
                  <a:lnTo>
                    <a:pt x="109" y="97"/>
                  </a:lnTo>
                  <a:lnTo>
                    <a:pt x="111" y="97"/>
                  </a:lnTo>
                  <a:lnTo>
                    <a:pt x="114" y="97"/>
                  </a:lnTo>
                  <a:lnTo>
                    <a:pt x="114" y="95"/>
                  </a:lnTo>
                  <a:lnTo>
                    <a:pt x="114" y="97"/>
                  </a:lnTo>
                  <a:lnTo>
                    <a:pt x="114" y="95"/>
                  </a:lnTo>
                  <a:lnTo>
                    <a:pt x="114" y="93"/>
                  </a:lnTo>
                  <a:lnTo>
                    <a:pt x="111" y="93"/>
                  </a:lnTo>
                  <a:lnTo>
                    <a:pt x="109" y="93"/>
                  </a:lnTo>
                  <a:lnTo>
                    <a:pt x="107" y="93"/>
                  </a:lnTo>
                  <a:lnTo>
                    <a:pt x="107" y="90"/>
                  </a:lnTo>
                  <a:lnTo>
                    <a:pt x="107" y="93"/>
                  </a:lnTo>
                  <a:lnTo>
                    <a:pt x="104" y="93"/>
                  </a:lnTo>
                  <a:lnTo>
                    <a:pt x="104" y="90"/>
                  </a:lnTo>
                  <a:lnTo>
                    <a:pt x="107" y="90"/>
                  </a:lnTo>
                  <a:lnTo>
                    <a:pt x="107" y="93"/>
                  </a:lnTo>
                  <a:lnTo>
                    <a:pt x="109" y="93"/>
                  </a:lnTo>
                  <a:lnTo>
                    <a:pt x="111" y="93"/>
                  </a:lnTo>
                  <a:lnTo>
                    <a:pt x="114" y="93"/>
                  </a:lnTo>
                  <a:lnTo>
                    <a:pt x="116" y="93"/>
                  </a:lnTo>
                  <a:lnTo>
                    <a:pt x="119" y="93"/>
                  </a:lnTo>
                  <a:lnTo>
                    <a:pt x="121" y="93"/>
                  </a:lnTo>
                  <a:lnTo>
                    <a:pt x="121" y="90"/>
                  </a:lnTo>
                  <a:lnTo>
                    <a:pt x="121" y="93"/>
                  </a:lnTo>
                  <a:lnTo>
                    <a:pt x="121" y="95"/>
                  </a:lnTo>
                  <a:lnTo>
                    <a:pt x="119" y="95"/>
                  </a:lnTo>
                  <a:lnTo>
                    <a:pt x="119" y="97"/>
                  </a:lnTo>
                  <a:lnTo>
                    <a:pt x="121" y="100"/>
                  </a:lnTo>
                  <a:lnTo>
                    <a:pt x="119" y="100"/>
                  </a:lnTo>
                  <a:lnTo>
                    <a:pt x="116" y="100"/>
                  </a:lnTo>
                  <a:lnTo>
                    <a:pt x="116" y="102"/>
                  </a:lnTo>
                  <a:lnTo>
                    <a:pt x="119" y="102"/>
                  </a:lnTo>
                  <a:lnTo>
                    <a:pt x="119" y="100"/>
                  </a:lnTo>
                  <a:lnTo>
                    <a:pt x="121" y="100"/>
                  </a:lnTo>
                  <a:lnTo>
                    <a:pt x="121" y="102"/>
                  </a:lnTo>
                  <a:lnTo>
                    <a:pt x="121" y="104"/>
                  </a:lnTo>
                  <a:lnTo>
                    <a:pt x="119" y="104"/>
                  </a:lnTo>
                  <a:lnTo>
                    <a:pt x="116" y="104"/>
                  </a:lnTo>
                  <a:lnTo>
                    <a:pt x="119" y="104"/>
                  </a:lnTo>
                  <a:lnTo>
                    <a:pt x="121" y="104"/>
                  </a:lnTo>
                  <a:lnTo>
                    <a:pt x="123" y="107"/>
                  </a:lnTo>
                  <a:lnTo>
                    <a:pt x="121" y="107"/>
                  </a:lnTo>
                  <a:lnTo>
                    <a:pt x="123" y="107"/>
                  </a:lnTo>
                  <a:lnTo>
                    <a:pt x="121" y="107"/>
                  </a:lnTo>
                  <a:lnTo>
                    <a:pt x="123" y="107"/>
                  </a:lnTo>
                  <a:lnTo>
                    <a:pt x="123" y="104"/>
                  </a:lnTo>
                  <a:lnTo>
                    <a:pt x="123" y="102"/>
                  </a:lnTo>
                  <a:lnTo>
                    <a:pt x="123" y="100"/>
                  </a:lnTo>
                  <a:lnTo>
                    <a:pt x="126" y="100"/>
                  </a:lnTo>
                  <a:lnTo>
                    <a:pt x="128" y="100"/>
                  </a:lnTo>
                  <a:lnTo>
                    <a:pt x="128" y="97"/>
                  </a:lnTo>
                  <a:lnTo>
                    <a:pt x="126" y="97"/>
                  </a:lnTo>
                  <a:lnTo>
                    <a:pt x="126" y="95"/>
                  </a:lnTo>
                  <a:lnTo>
                    <a:pt x="126" y="93"/>
                  </a:lnTo>
                  <a:lnTo>
                    <a:pt x="128" y="93"/>
                  </a:lnTo>
                  <a:lnTo>
                    <a:pt x="128" y="95"/>
                  </a:lnTo>
                  <a:lnTo>
                    <a:pt x="130" y="95"/>
                  </a:lnTo>
                  <a:lnTo>
                    <a:pt x="128" y="95"/>
                  </a:lnTo>
                  <a:lnTo>
                    <a:pt x="128" y="97"/>
                  </a:lnTo>
                  <a:lnTo>
                    <a:pt x="130" y="97"/>
                  </a:lnTo>
                  <a:lnTo>
                    <a:pt x="130" y="100"/>
                  </a:lnTo>
                  <a:lnTo>
                    <a:pt x="130" y="102"/>
                  </a:lnTo>
                  <a:lnTo>
                    <a:pt x="130" y="104"/>
                  </a:lnTo>
                  <a:lnTo>
                    <a:pt x="128" y="104"/>
                  </a:lnTo>
                  <a:lnTo>
                    <a:pt x="128" y="107"/>
                  </a:lnTo>
                  <a:lnTo>
                    <a:pt x="126" y="107"/>
                  </a:lnTo>
                  <a:lnTo>
                    <a:pt x="126" y="109"/>
                  </a:lnTo>
                  <a:lnTo>
                    <a:pt x="126" y="107"/>
                  </a:lnTo>
                  <a:lnTo>
                    <a:pt x="128" y="107"/>
                  </a:lnTo>
                  <a:lnTo>
                    <a:pt x="128" y="104"/>
                  </a:lnTo>
                  <a:lnTo>
                    <a:pt x="128" y="107"/>
                  </a:lnTo>
                  <a:lnTo>
                    <a:pt x="128" y="104"/>
                  </a:lnTo>
                  <a:lnTo>
                    <a:pt x="128" y="107"/>
                  </a:lnTo>
                  <a:lnTo>
                    <a:pt x="130" y="107"/>
                  </a:lnTo>
                  <a:lnTo>
                    <a:pt x="128" y="107"/>
                  </a:lnTo>
                  <a:lnTo>
                    <a:pt x="130" y="107"/>
                  </a:lnTo>
                  <a:lnTo>
                    <a:pt x="133" y="107"/>
                  </a:lnTo>
                  <a:lnTo>
                    <a:pt x="130" y="107"/>
                  </a:lnTo>
                  <a:lnTo>
                    <a:pt x="130" y="104"/>
                  </a:lnTo>
                  <a:lnTo>
                    <a:pt x="133" y="104"/>
                  </a:lnTo>
                  <a:lnTo>
                    <a:pt x="133" y="102"/>
                  </a:lnTo>
                  <a:lnTo>
                    <a:pt x="130" y="102"/>
                  </a:lnTo>
                  <a:lnTo>
                    <a:pt x="130" y="100"/>
                  </a:lnTo>
                  <a:lnTo>
                    <a:pt x="130" y="97"/>
                  </a:lnTo>
                  <a:lnTo>
                    <a:pt x="130" y="95"/>
                  </a:lnTo>
                  <a:lnTo>
                    <a:pt x="130" y="93"/>
                  </a:lnTo>
                  <a:lnTo>
                    <a:pt x="128" y="93"/>
                  </a:lnTo>
                  <a:lnTo>
                    <a:pt x="126" y="93"/>
                  </a:lnTo>
                  <a:lnTo>
                    <a:pt x="123" y="93"/>
                  </a:lnTo>
                  <a:lnTo>
                    <a:pt x="123" y="90"/>
                  </a:lnTo>
                  <a:lnTo>
                    <a:pt x="126" y="90"/>
                  </a:lnTo>
                  <a:lnTo>
                    <a:pt x="128" y="90"/>
                  </a:lnTo>
                  <a:lnTo>
                    <a:pt x="128" y="88"/>
                  </a:lnTo>
                  <a:lnTo>
                    <a:pt x="130" y="88"/>
                  </a:lnTo>
                  <a:lnTo>
                    <a:pt x="133" y="85"/>
                  </a:lnTo>
                  <a:lnTo>
                    <a:pt x="135" y="85"/>
                  </a:lnTo>
                  <a:lnTo>
                    <a:pt x="135" y="83"/>
                  </a:lnTo>
                  <a:lnTo>
                    <a:pt x="138" y="83"/>
                  </a:lnTo>
                  <a:lnTo>
                    <a:pt x="140" y="83"/>
                  </a:lnTo>
                  <a:close/>
                  <a:moveTo>
                    <a:pt x="64" y="36"/>
                  </a:moveTo>
                  <a:lnTo>
                    <a:pt x="66" y="36"/>
                  </a:lnTo>
                  <a:lnTo>
                    <a:pt x="66" y="38"/>
                  </a:lnTo>
                  <a:lnTo>
                    <a:pt x="69" y="38"/>
                  </a:lnTo>
                  <a:lnTo>
                    <a:pt x="69" y="40"/>
                  </a:lnTo>
                  <a:lnTo>
                    <a:pt x="71" y="40"/>
                  </a:lnTo>
                  <a:lnTo>
                    <a:pt x="73" y="40"/>
                  </a:lnTo>
                  <a:lnTo>
                    <a:pt x="71" y="40"/>
                  </a:lnTo>
                  <a:lnTo>
                    <a:pt x="71" y="43"/>
                  </a:lnTo>
                  <a:lnTo>
                    <a:pt x="71" y="45"/>
                  </a:lnTo>
                  <a:lnTo>
                    <a:pt x="71" y="47"/>
                  </a:lnTo>
                  <a:lnTo>
                    <a:pt x="71" y="50"/>
                  </a:lnTo>
                  <a:lnTo>
                    <a:pt x="73" y="52"/>
                  </a:lnTo>
                  <a:lnTo>
                    <a:pt x="73" y="55"/>
                  </a:lnTo>
                  <a:lnTo>
                    <a:pt x="71" y="55"/>
                  </a:lnTo>
                  <a:lnTo>
                    <a:pt x="71" y="52"/>
                  </a:lnTo>
                  <a:lnTo>
                    <a:pt x="69" y="52"/>
                  </a:lnTo>
                  <a:lnTo>
                    <a:pt x="69" y="55"/>
                  </a:lnTo>
                  <a:lnTo>
                    <a:pt x="69" y="52"/>
                  </a:lnTo>
                  <a:lnTo>
                    <a:pt x="66" y="52"/>
                  </a:lnTo>
                  <a:lnTo>
                    <a:pt x="66" y="55"/>
                  </a:lnTo>
                  <a:lnTo>
                    <a:pt x="64" y="55"/>
                  </a:lnTo>
                  <a:lnTo>
                    <a:pt x="62" y="55"/>
                  </a:lnTo>
                  <a:lnTo>
                    <a:pt x="62" y="57"/>
                  </a:lnTo>
                  <a:lnTo>
                    <a:pt x="59" y="57"/>
                  </a:lnTo>
                  <a:lnTo>
                    <a:pt x="57" y="57"/>
                  </a:lnTo>
                  <a:lnTo>
                    <a:pt x="59" y="57"/>
                  </a:lnTo>
                  <a:lnTo>
                    <a:pt x="62" y="57"/>
                  </a:lnTo>
                  <a:lnTo>
                    <a:pt x="64" y="55"/>
                  </a:lnTo>
                  <a:lnTo>
                    <a:pt x="66" y="55"/>
                  </a:lnTo>
                  <a:lnTo>
                    <a:pt x="69" y="55"/>
                  </a:lnTo>
                  <a:lnTo>
                    <a:pt x="66" y="55"/>
                  </a:lnTo>
                  <a:lnTo>
                    <a:pt x="69" y="55"/>
                  </a:lnTo>
                  <a:lnTo>
                    <a:pt x="71" y="55"/>
                  </a:lnTo>
                  <a:lnTo>
                    <a:pt x="73" y="55"/>
                  </a:lnTo>
                  <a:lnTo>
                    <a:pt x="73" y="57"/>
                  </a:lnTo>
                  <a:lnTo>
                    <a:pt x="73" y="59"/>
                  </a:lnTo>
                  <a:lnTo>
                    <a:pt x="71" y="59"/>
                  </a:lnTo>
                  <a:lnTo>
                    <a:pt x="71" y="62"/>
                  </a:lnTo>
                  <a:lnTo>
                    <a:pt x="69" y="62"/>
                  </a:lnTo>
                  <a:lnTo>
                    <a:pt x="69" y="64"/>
                  </a:lnTo>
                  <a:lnTo>
                    <a:pt x="71" y="64"/>
                  </a:lnTo>
                  <a:lnTo>
                    <a:pt x="69" y="66"/>
                  </a:lnTo>
                  <a:lnTo>
                    <a:pt x="71" y="66"/>
                  </a:lnTo>
                  <a:lnTo>
                    <a:pt x="69" y="66"/>
                  </a:lnTo>
                  <a:lnTo>
                    <a:pt x="71" y="66"/>
                  </a:lnTo>
                  <a:lnTo>
                    <a:pt x="71" y="64"/>
                  </a:lnTo>
                  <a:lnTo>
                    <a:pt x="71" y="62"/>
                  </a:lnTo>
                  <a:lnTo>
                    <a:pt x="71" y="59"/>
                  </a:lnTo>
                  <a:lnTo>
                    <a:pt x="73" y="59"/>
                  </a:lnTo>
                  <a:lnTo>
                    <a:pt x="73" y="62"/>
                  </a:lnTo>
                  <a:lnTo>
                    <a:pt x="76" y="62"/>
                  </a:lnTo>
                  <a:lnTo>
                    <a:pt x="76" y="64"/>
                  </a:lnTo>
                  <a:lnTo>
                    <a:pt x="78" y="64"/>
                  </a:lnTo>
                  <a:lnTo>
                    <a:pt x="81" y="64"/>
                  </a:lnTo>
                  <a:lnTo>
                    <a:pt x="83" y="64"/>
                  </a:lnTo>
                  <a:lnTo>
                    <a:pt x="85" y="64"/>
                  </a:lnTo>
                  <a:lnTo>
                    <a:pt x="85" y="62"/>
                  </a:lnTo>
                  <a:lnTo>
                    <a:pt x="88" y="62"/>
                  </a:lnTo>
                  <a:lnTo>
                    <a:pt x="90" y="62"/>
                  </a:lnTo>
                  <a:lnTo>
                    <a:pt x="90" y="64"/>
                  </a:lnTo>
                  <a:lnTo>
                    <a:pt x="92" y="64"/>
                  </a:lnTo>
                  <a:lnTo>
                    <a:pt x="92" y="66"/>
                  </a:lnTo>
                  <a:lnTo>
                    <a:pt x="95" y="66"/>
                  </a:lnTo>
                  <a:lnTo>
                    <a:pt x="95" y="69"/>
                  </a:lnTo>
                  <a:lnTo>
                    <a:pt x="92" y="69"/>
                  </a:lnTo>
                  <a:lnTo>
                    <a:pt x="92" y="71"/>
                  </a:lnTo>
                  <a:lnTo>
                    <a:pt x="92" y="74"/>
                  </a:lnTo>
                  <a:lnTo>
                    <a:pt x="90" y="74"/>
                  </a:lnTo>
                  <a:lnTo>
                    <a:pt x="90" y="76"/>
                  </a:lnTo>
                  <a:lnTo>
                    <a:pt x="90" y="78"/>
                  </a:lnTo>
                  <a:lnTo>
                    <a:pt x="88" y="78"/>
                  </a:lnTo>
                  <a:lnTo>
                    <a:pt x="88" y="81"/>
                  </a:lnTo>
                  <a:lnTo>
                    <a:pt x="85" y="83"/>
                  </a:lnTo>
                  <a:lnTo>
                    <a:pt x="85" y="81"/>
                  </a:lnTo>
                  <a:lnTo>
                    <a:pt x="85" y="83"/>
                  </a:lnTo>
                  <a:lnTo>
                    <a:pt x="85" y="81"/>
                  </a:lnTo>
                  <a:lnTo>
                    <a:pt x="83" y="81"/>
                  </a:lnTo>
                  <a:lnTo>
                    <a:pt x="85" y="81"/>
                  </a:lnTo>
                  <a:lnTo>
                    <a:pt x="85" y="78"/>
                  </a:lnTo>
                  <a:lnTo>
                    <a:pt x="83" y="78"/>
                  </a:lnTo>
                  <a:lnTo>
                    <a:pt x="81" y="78"/>
                  </a:lnTo>
                  <a:lnTo>
                    <a:pt x="81" y="81"/>
                  </a:lnTo>
                  <a:lnTo>
                    <a:pt x="81" y="83"/>
                  </a:lnTo>
                  <a:lnTo>
                    <a:pt x="81" y="85"/>
                  </a:lnTo>
                  <a:lnTo>
                    <a:pt x="78" y="85"/>
                  </a:lnTo>
                  <a:lnTo>
                    <a:pt x="78" y="83"/>
                  </a:lnTo>
                  <a:lnTo>
                    <a:pt x="81" y="83"/>
                  </a:lnTo>
                  <a:lnTo>
                    <a:pt x="81" y="81"/>
                  </a:lnTo>
                  <a:lnTo>
                    <a:pt x="78" y="81"/>
                  </a:lnTo>
                  <a:lnTo>
                    <a:pt x="76" y="81"/>
                  </a:lnTo>
                  <a:lnTo>
                    <a:pt x="73" y="81"/>
                  </a:lnTo>
                  <a:lnTo>
                    <a:pt x="76" y="81"/>
                  </a:lnTo>
                  <a:lnTo>
                    <a:pt x="76" y="78"/>
                  </a:lnTo>
                  <a:lnTo>
                    <a:pt x="78" y="78"/>
                  </a:lnTo>
                  <a:lnTo>
                    <a:pt x="76" y="78"/>
                  </a:lnTo>
                  <a:lnTo>
                    <a:pt x="76" y="81"/>
                  </a:lnTo>
                  <a:lnTo>
                    <a:pt x="78" y="81"/>
                  </a:lnTo>
                  <a:lnTo>
                    <a:pt x="78" y="78"/>
                  </a:lnTo>
                  <a:lnTo>
                    <a:pt x="78" y="76"/>
                  </a:lnTo>
                  <a:lnTo>
                    <a:pt x="76" y="76"/>
                  </a:lnTo>
                  <a:lnTo>
                    <a:pt x="73" y="76"/>
                  </a:lnTo>
                  <a:lnTo>
                    <a:pt x="73" y="78"/>
                  </a:lnTo>
                  <a:lnTo>
                    <a:pt x="71" y="78"/>
                  </a:lnTo>
                  <a:lnTo>
                    <a:pt x="71" y="81"/>
                  </a:lnTo>
                  <a:lnTo>
                    <a:pt x="69" y="81"/>
                  </a:lnTo>
                  <a:lnTo>
                    <a:pt x="69" y="83"/>
                  </a:lnTo>
                  <a:lnTo>
                    <a:pt x="71" y="83"/>
                  </a:lnTo>
                  <a:lnTo>
                    <a:pt x="69" y="83"/>
                  </a:lnTo>
                  <a:lnTo>
                    <a:pt x="71" y="83"/>
                  </a:lnTo>
                  <a:lnTo>
                    <a:pt x="69" y="83"/>
                  </a:lnTo>
                  <a:lnTo>
                    <a:pt x="71" y="83"/>
                  </a:lnTo>
                  <a:lnTo>
                    <a:pt x="71" y="85"/>
                  </a:lnTo>
                  <a:lnTo>
                    <a:pt x="71" y="88"/>
                  </a:lnTo>
                  <a:lnTo>
                    <a:pt x="71" y="90"/>
                  </a:lnTo>
                  <a:lnTo>
                    <a:pt x="71" y="93"/>
                  </a:lnTo>
                  <a:lnTo>
                    <a:pt x="71" y="95"/>
                  </a:lnTo>
                  <a:lnTo>
                    <a:pt x="69" y="95"/>
                  </a:lnTo>
                  <a:lnTo>
                    <a:pt x="69" y="97"/>
                  </a:lnTo>
                  <a:lnTo>
                    <a:pt x="66" y="97"/>
                  </a:lnTo>
                  <a:lnTo>
                    <a:pt x="66" y="95"/>
                  </a:lnTo>
                  <a:lnTo>
                    <a:pt x="64" y="95"/>
                  </a:lnTo>
                  <a:lnTo>
                    <a:pt x="64" y="97"/>
                  </a:lnTo>
                  <a:lnTo>
                    <a:pt x="62" y="97"/>
                  </a:lnTo>
                  <a:lnTo>
                    <a:pt x="59" y="97"/>
                  </a:lnTo>
                  <a:lnTo>
                    <a:pt x="57" y="97"/>
                  </a:lnTo>
                  <a:lnTo>
                    <a:pt x="59" y="97"/>
                  </a:lnTo>
                  <a:lnTo>
                    <a:pt x="62" y="100"/>
                  </a:lnTo>
                  <a:lnTo>
                    <a:pt x="64" y="100"/>
                  </a:lnTo>
                  <a:lnTo>
                    <a:pt x="64" y="97"/>
                  </a:lnTo>
                  <a:lnTo>
                    <a:pt x="64" y="100"/>
                  </a:lnTo>
                  <a:lnTo>
                    <a:pt x="64" y="102"/>
                  </a:lnTo>
                  <a:lnTo>
                    <a:pt x="66" y="102"/>
                  </a:lnTo>
                  <a:lnTo>
                    <a:pt x="64" y="102"/>
                  </a:lnTo>
                  <a:lnTo>
                    <a:pt x="64" y="104"/>
                  </a:lnTo>
                  <a:lnTo>
                    <a:pt x="62" y="104"/>
                  </a:lnTo>
                  <a:lnTo>
                    <a:pt x="64" y="104"/>
                  </a:lnTo>
                  <a:lnTo>
                    <a:pt x="62" y="104"/>
                  </a:lnTo>
                  <a:lnTo>
                    <a:pt x="62" y="107"/>
                  </a:lnTo>
                  <a:lnTo>
                    <a:pt x="59" y="107"/>
                  </a:lnTo>
                  <a:lnTo>
                    <a:pt x="57" y="107"/>
                  </a:lnTo>
                  <a:lnTo>
                    <a:pt x="55" y="107"/>
                  </a:lnTo>
                  <a:lnTo>
                    <a:pt x="55" y="104"/>
                  </a:lnTo>
                  <a:lnTo>
                    <a:pt x="52" y="104"/>
                  </a:lnTo>
                  <a:lnTo>
                    <a:pt x="50" y="104"/>
                  </a:lnTo>
                  <a:lnTo>
                    <a:pt x="47" y="104"/>
                  </a:lnTo>
                  <a:lnTo>
                    <a:pt x="47" y="107"/>
                  </a:lnTo>
                  <a:lnTo>
                    <a:pt x="50" y="107"/>
                  </a:lnTo>
                  <a:lnTo>
                    <a:pt x="52" y="107"/>
                  </a:lnTo>
                  <a:lnTo>
                    <a:pt x="55" y="107"/>
                  </a:lnTo>
                  <a:lnTo>
                    <a:pt x="55" y="109"/>
                  </a:lnTo>
                  <a:lnTo>
                    <a:pt x="57" y="109"/>
                  </a:lnTo>
                  <a:lnTo>
                    <a:pt x="57" y="112"/>
                  </a:lnTo>
                  <a:lnTo>
                    <a:pt x="55" y="112"/>
                  </a:lnTo>
                  <a:lnTo>
                    <a:pt x="55" y="114"/>
                  </a:lnTo>
                  <a:lnTo>
                    <a:pt x="52" y="114"/>
                  </a:lnTo>
                  <a:lnTo>
                    <a:pt x="50" y="114"/>
                  </a:lnTo>
                  <a:lnTo>
                    <a:pt x="47" y="114"/>
                  </a:lnTo>
                  <a:lnTo>
                    <a:pt x="50" y="114"/>
                  </a:lnTo>
                  <a:lnTo>
                    <a:pt x="47" y="114"/>
                  </a:lnTo>
                  <a:lnTo>
                    <a:pt x="50" y="114"/>
                  </a:lnTo>
                  <a:lnTo>
                    <a:pt x="50" y="116"/>
                  </a:lnTo>
                  <a:lnTo>
                    <a:pt x="47" y="116"/>
                  </a:lnTo>
                  <a:lnTo>
                    <a:pt x="45" y="116"/>
                  </a:lnTo>
                  <a:lnTo>
                    <a:pt x="47" y="116"/>
                  </a:lnTo>
                  <a:lnTo>
                    <a:pt x="50" y="116"/>
                  </a:lnTo>
                  <a:lnTo>
                    <a:pt x="52" y="116"/>
                  </a:lnTo>
                  <a:lnTo>
                    <a:pt x="52" y="119"/>
                  </a:lnTo>
                  <a:lnTo>
                    <a:pt x="50" y="119"/>
                  </a:lnTo>
                  <a:lnTo>
                    <a:pt x="50" y="121"/>
                  </a:lnTo>
                  <a:lnTo>
                    <a:pt x="50" y="123"/>
                  </a:lnTo>
                  <a:lnTo>
                    <a:pt x="52" y="123"/>
                  </a:lnTo>
                  <a:lnTo>
                    <a:pt x="50" y="123"/>
                  </a:lnTo>
                  <a:lnTo>
                    <a:pt x="52" y="123"/>
                  </a:lnTo>
                  <a:lnTo>
                    <a:pt x="50" y="126"/>
                  </a:lnTo>
                  <a:lnTo>
                    <a:pt x="52" y="126"/>
                  </a:lnTo>
                  <a:lnTo>
                    <a:pt x="50" y="126"/>
                  </a:lnTo>
                  <a:lnTo>
                    <a:pt x="50" y="128"/>
                  </a:lnTo>
                  <a:lnTo>
                    <a:pt x="47" y="128"/>
                  </a:lnTo>
                  <a:lnTo>
                    <a:pt x="50" y="128"/>
                  </a:lnTo>
                  <a:lnTo>
                    <a:pt x="50" y="126"/>
                  </a:lnTo>
                  <a:lnTo>
                    <a:pt x="52" y="126"/>
                  </a:lnTo>
                  <a:lnTo>
                    <a:pt x="52" y="128"/>
                  </a:lnTo>
                  <a:lnTo>
                    <a:pt x="55" y="128"/>
                  </a:lnTo>
                  <a:lnTo>
                    <a:pt x="52" y="128"/>
                  </a:lnTo>
                  <a:lnTo>
                    <a:pt x="52" y="131"/>
                  </a:lnTo>
                  <a:lnTo>
                    <a:pt x="50" y="133"/>
                  </a:lnTo>
                  <a:lnTo>
                    <a:pt x="50" y="131"/>
                  </a:lnTo>
                  <a:lnTo>
                    <a:pt x="50" y="133"/>
                  </a:lnTo>
                  <a:lnTo>
                    <a:pt x="50" y="131"/>
                  </a:lnTo>
                  <a:lnTo>
                    <a:pt x="47" y="133"/>
                  </a:lnTo>
                  <a:lnTo>
                    <a:pt x="45" y="133"/>
                  </a:lnTo>
                  <a:lnTo>
                    <a:pt x="47" y="133"/>
                  </a:lnTo>
                  <a:lnTo>
                    <a:pt x="47" y="135"/>
                  </a:lnTo>
                  <a:lnTo>
                    <a:pt x="45" y="135"/>
                  </a:lnTo>
                  <a:lnTo>
                    <a:pt x="47" y="135"/>
                  </a:lnTo>
                  <a:lnTo>
                    <a:pt x="47" y="138"/>
                  </a:lnTo>
                  <a:lnTo>
                    <a:pt x="45" y="138"/>
                  </a:lnTo>
                  <a:lnTo>
                    <a:pt x="43" y="138"/>
                  </a:lnTo>
                  <a:lnTo>
                    <a:pt x="43" y="140"/>
                  </a:lnTo>
                  <a:lnTo>
                    <a:pt x="45" y="140"/>
                  </a:lnTo>
                  <a:lnTo>
                    <a:pt x="47" y="140"/>
                  </a:lnTo>
                  <a:lnTo>
                    <a:pt x="50" y="140"/>
                  </a:lnTo>
                  <a:lnTo>
                    <a:pt x="47" y="138"/>
                  </a:lnTo>
                  <a:lnTo>
                    <a:pt x="50" y="138"/>
                  </a:lnTo>
                  <a:lnTo>
                    <a:pt x="50" y="140"/>
                  </a:lnTo>
                  <a:lnTo>
                    <a:pt x="52" y="140"/>
                  </a:lnTo>
                  <a:lnTo>
                    <a:pt x="52" y="142"/>
                  </a:lnTo>
                  <a:lnTo>
                    <a:pt x="55" y="142"/>
                  </a:lnTo>
                  <a:lnTo>
                    <a:pt x="55" y="145"/>
                  </a:lnTo>
                  <a:lnTo>
                    <a:pt x="55" y="147"/>
                  </a:lnTo>
                  <a:lnTo>
                    <a:pt x="55" y="145"/>
                  </a:lnTo>
                  <a:lnTo>
                    <a:pt x="52" y="145"/>
                  </a:lnTo>
                  <a:lnTo>
                    <a:pt x="52" y="147"/>
                  </a:lnTo>
                  <a:lnTo>
                    <a:pt x="55" y="147"/>
                  </a:lnTo>
                  <a:lnTo>
                    <a:pt x="55" y="150"/>
                  </a:lnTo>
                  <a:lnTo>
                    <a:pt x="52" y="150"/>
                  </a:lnTo>
                  <a:lnTo>
                    <a:pt x="52" y="147"/>
                  </a:lnTo>
                  <a:lnTo>
                    <a:pt x="50" y="147"/>
                  </a:lnTo>
                  <a:lnTo>
                    <a:pt x="52" y="147"/>
                  </a:lnTo>
                  <a:lnTo>
                    <a:pt x="50" y="147"/>
                  </a:lnTo>
                  <a:lnTo>
                    <a:pt x="50" y="145"/>
                  </a:lnTo>
                  <a:lnTo>
                    <a:pt x="52" y="145"/>
                  </a:lnTo>
                  <a:lnTo>
                    <a:pt x="50" y="145"/>
                  </a:lnTo>
                  <a:lnTo>
                    <a:pt x="50" y="147"/>
                  </a:lnTo>
                  <a:lnTo>
                    <a:pt x="47" y="147"/>
                  </a:lnTo>
                  <a:lnTo>
                    <a:pt x="45" y="147"/>
                  </a:lnTo>
                  <a:lnTo>
                    <a:pt x="45" y="150"/>
                  </a:lnTo>
                  <a:lnTo>
                    <a:pt x="43" y="150"/>
                  </a:lnTo>
                  <a:lnTo>
                    <a:pt x="40" y="150"/>
                  </a:lnTo>
                  <a:lnTo>
                    <a:pt x="40" y="152"/>
                  </a:lnTo>
                  <a:lnTo>
                    <a:pt x="40" y="150"/>
                  </a:lnTo>
                  <a:lnTo>
                    <a:pt x="40" y="152"/>
                  </a:lnTo>
                  <a:lnTo>
                    <a:pt x="38" y="150"/>
                  </a:lnTo>
                  <a:lnTo>
                    <a:pt x="36" y="147"/>
                  </a:lnTo>
                  <a:lnTo>
                    <a:pt x="33" y="147"/>
                  </a:lnTo>
                  <a:lnTo>
                    <a:pt x="31" y="147"/>
                  </a:lnTo>
                  <a:lnTo>
                    <a:pt x="28" y="147"/>
                  </a:lnTo>
                  <a:lnTo>
                    <a:pt x="28" y="145"/>
                  </a:lnTo>
                  <a:lnTo>
                    <a:pt x="26" y="145"/>
                  </a:lnTo>
                  <a:lnTo>
                    <a:pt x="26" y="147"/>
                  </a:lnTo>
                  <a:lnTo>
                    <a:pt x="24" y="147"/>
                  </a:lnTo>
                  <a:lnTo>
                    <a:pt x="24" y="145"/>
                  </a:lnTo>
                  <a:lnTo>
                    <a:pt x="21" y="147"/>
                  </a:lnTo>
                  <a:lnTo>
                    <a:pt x="19" y="145"/>
                  </a:lnTo>
                  <a:lnTo>
                    <a:pt x="17" y="145"/>
                  </a:lnTo>
                  <a:lnTo>
                    <a:pt x="19" y="142"/>
                  </a:lnTo>
                  <a:lnTo>
                    <a:pt x="19" y="140"/>
                  </a:lnTo>
                  <a:lnTo>
                    <a:pt x="17" y="140"/>
                  </a:lnTo>
                  <a:lnTo>
                    <a:pt x="17" y="138"/>
                  </a:lnTo>
                  <a:lnTo>
                    <a:pt x="19" y="138"/>
                  </a:lnTo>
                  <a:lnTo>
                    <a:pt x="19" y="135"/>
                  </a:lnTo>
                  <a:lnTo>
                    <a:pt x="19" y="133"/>
                  </a:lnTo>
                  <a:lnTo>
                    <a:pt x="17" y="133"/>
                  </a:lnTo>
                  <a:lnTo>
                    <a:pt x="14" y="133"/>
                  </a:lnTo>
                  <a:lnTo>
                    <a:pt x="14" y="135"/>
                  </a:lnTo>
                  <a:lnTo>
                    <a:pt x="17" y="138"/>
                  </a:lnTo>
                  <a:lnTo>
                    <a:pt x="14" y="138"/>
                  </a:lnTo>
                  <a:lnTo>
                    <a:pt x="12" y="138"/>
                  </a:lnTo>
                  <a:lnTo>
                    <a:pt x="12" y="135"/>
                  </a:lnTo>
                  <a:lnTo>
                    <a:pt x="14" y="138"/>
                  </a:lnTo>
                  <a:lnTo>
                    <a:pt x="12" y="135"/>
                  </a:lnTo>
                  <a:lnTo>
                    <a:pt x="12" y="133"/>
                  </a:lnTo>
                  <a:lnTo>
                    <a:pt x="12" y="131"/>
                  </a:lnTo>
                  <a:lnTo>
                    <a:pt x="14" y="131"/>
                  </a:lnTo>
                  <a:lnTo>
                    <a:pt x="12" y="131"/>
                  </a:lnTo>
                  <a:lnTo>
                    <a:pt x="14" y="131"/>
                  </a:lnTo>
                  <a:lnTo>
                    <a:pt x="12" y="131"/>
                  </a:lnTo>
                  <a:lnTo>
                    <a:pt x="14" y="131"/>
                  </a:lnTo>
                  <a:lnTo>
                    <a:pt x="17" y="131"/>
                  </a:lnTo>
                  <a:lnTo>
                    <a:pt x="17" y="133"/>
                  </a:lnTo>
                  <a:lnTo>
                    <a:pt x="14" y="133"/>
                  </a:lnTo>
                  <a:lnTo>
                    <a:pt x="17" y="133"/>
                  </a:lnTo>
                  <a:lnTo>
                    <a:pt x="19" y="133"/>
                  </a:lnTo>
                  <a:lnTo>
                    <a:pt x="19" y="131"/>
                  </a:lnTo>
                  <a:lnTo>
                    <a:pt x="19" y="128"/>
                  </a:lnTo>
                  <a:lnTo>
                    <a:pt x="19" y="126"/>
                  </a:lnTo>
                  <a:lnTo>
                    <a:pt x="19" y="123"/>
                  </a:lnTo>
                  <a:lnTo>
                    <a:pt x="19" y="121"/>
                  </a:lnTo>
                  <a:lnTo>
                    <a:pt x="17" y="121"/>
                  </a:lnTo>
                  <a:lnTo>
                    <a:pt x="19" y="121"/>
                  </a:lnTo>
                  <a:lnTo>
                    <a:pt x="17" y="121"/>
                  </a:lnTo>
                  <a:lnTo>
                    <a:pt x="17" y="119"/>
                  </a:lnTo>
                  <a:lnTo>
                    <a:pt x="14" y="119"/>
                  </a:lnTo>
                  <a:lnTo>
                    <a:pt x="12" y="119"/>
                  </a:lnTo>
                  <a:lnTo>
                    <a:pt x="12" y="116"/>
                  </a:lnTo>
                  <a:lnTo>
                    <a:pt x="9" y="116"/>
                  </a:lnTo>
                  <a:lnTo>
                    <a:pt x="9" y="114"/>
                  </a:lnTo>
                  <a:lnTo>
                    <a:pt x="7" y="114"/>
                  </a:lnTo>
                  <a:lnTo>
                    <a:pt x="7" y="112"/>
                  </a:lnTo>
                  <a:lnTo>
                    <a:pt x="5" y="112"/>
                  </a:lnTo>
                  <a:lnTo>
                    <a:pt x="5" y="114"/>
                  </a:lnTo>
                  <a:lnTo>
                    <a:pt x="7" y="116"/>
                  </a:lnTo>
                  <a:lnTo>
                    <a:pt x="5" y="116"/>
                  </a:lnTo>
                  <a:lnTo>
                    <a:pt x="5" y="114"/>
                  </a:lnTo>
                  <a:lnTo>
                    <a:pt x="2" y="114"/>
                  </a:lnTo>
                  <a:lnTo>
                    <a:pt x="0" y="114"/>
                  </a:lnTo>
                  <a:lnTo>
                    <a:pt x="0" y="112"/>
                  </a:lnTo>
                  <a:lnTo>
                    <a:pt x="0" y="109"/>
                  </a:lnTo>
                  <a:lnTo>
                    <a:pt x="2" y="107"/>
                  </a:lnTo>
                  <a:lnTo>
                    <a:pt x="2" y="104"/>
                  </a:lnTo>
                  <a:lnTo>
                    <a:pt x="2" y="102"/>
                  </a:lnTo>
                  <a:lnTo>
                    <a:pt x="2" y="100"/>
                  </a:lnTo>
                  <a:lnTo>
                    <a:pt x="2" y="97"/>
                  </a:lnTo>
                  <a:lnTo>
                    <a:pt x="2" y="95"/>
                  </a:lnTo>
                  <a:lnTo>
                    <a:pt x="2" y="93"/>
                  </a:lnTo>
                  <a:lnTo>
                    <a:pt x="0" y="93"/>
                  </a:lnTo>
                  <a:lnTo>
                    <a:pt x="0" y="90"/>
                  </a:lnTo>
                  <a:lnTo>
                    <a:pt x="0" y="88"/>
                  </a:lnTo>
                  <a:lnTo>
                    <a:pt x="0" y="85"/>
                  </a:lnTo>
                  <a:lnTo>
                    <a:pt x="0" y="83"/>
                  </a:lnTo>
                  <a:lnTo>
                    <a:pt x="0" y="81"/>
                  </a:lnTo>
                  <a:lnTo>
                    <a:pt x="0" y="78"/>
                  </a:lnTo>
                  <a:lnTo>
                    <a:pt x="0" y="76"/>
                  </a:lnTo>
                  <a:lnTo>
                    <a:pt x="0" y="74"/>
                  </a:lnTo>
                  <a:lnTo>
                    <a:pt x="0" y="71"/>
                  </a:lnTo>
                  <a:lnTo>
                    <a:pt x="0" y="69"/>
                  </a:lnTo>
                  <a:lnTo>
                    <a:pt x="0" y="66"/>
                  </a:lnTo>
                  <a:lnTo>
                    <a:pt x="0" y="64"/>
                  </a:lnTo>
                  <a:lnTo>
                    <a:pt x="0" y="62"/>
                  </a:lnTo>
                  <a:lnTo>
                    <a:pt x="0" y="59"/>
                  </a:lnTo>
                  <a:lnTo>
                    <a:pt x="2" y="59"/>
                  </a:lnTo>
                  <a:lnTo>
                    <a:pt x="2" y="57"/>
                  </a:lnTo>
                  <a:lnTo>
                    <a:pt x="2" y="55"/>
                  </a:lnTo>
                  <a:lnTo>
                    <a:pt x="5" y="55"/>
                  </a:lnTo>
                  <a:lnTo>
                    <a:pt x="2" y="57"/>
                  </a:lnTo>
                  <a:lnTo>
                    <a:pt x="5" y="57"/>
                  </a:lnTo>
                  <a:lnTo>
                    <a:pt x="2" y="57"/>
                  </a:lnTo>
                  <a:lnTo>
                    <a:pt x="5" y="57"/>
                  </a:lnTo>
                  <a:lnTo>
                    <a:pt x="5" y="59"/>
                  </a:lnTo>
                  <a:lnTo>
                    <a:pt x="7" y="59"/>
                  </a:lnTo>
                  <a:lnTo>
                    <a:pt x="7" y="62"/>
                  </a:lnTo>
                  <a:lnTo>
                    <a:pt x="7" y="59"/>
                  </a:lnTo>
                  <a:lnTo>
                    <a:pt x="9" y="62"/>
                  </a:lnTo>
                  <a:lnTo>
                    <a:pt x="9" y="59"/>
                  </a:lnTo>
                  <a:lnTo>
                    <a:pt x="9" y="62"/>
                  </a:lnTo>
                  <a:lnTo>
                    <a:pt x="12" y="62"/>
                  </a:lnTo>
                  <a:lnTo>
                    <a:pt x="14" y="62"/>
                  </a:lnTo>
                  <a:lnTo>
                    <a:pt x="14" y="59"/>
                  </a:lnTo>
                  <a:lnTo>
                    <a:pt x="14" y="62"/>
                  </a:lnTo>
                  <a:lnTo>
                    <a:pt x="17" y="62"/>
                  </a:lnTo>
                  <a:lnTo>
                    <a:pt x="17" y="64"/>
                  </a:lnTo>
                  <a:lnTo>
                    <a:pt x="17" y="62"/>
                  </a:lnTo>
                  <a:lnTo>
                    <a:pt x="17" y="59"/>
                  </a:lnTo>
                  <a:lnTo>
                    <a:pt x="19" y="59"/>
                  </a:lnTo>
                  <a:lnTo>
                    <a:pt x="17" y="62"/>
                  </a:lnTo>
                  <a:lnTo>
                    <a:pt x="19" y="62"/>
                  </a:lnTo>
                  <a:lnTo>
                    <a:pt x="17" y="62"/>
                  </a:lnTo>
                  <a:lnTo>
                    <a:pt x="17" y="64"/>
                  </a:lnTo>
                  <a:lnTo>
                    <a:pt x="14" y="64"/>
                  </a:lnTo>
                  <a:lnTo>
                    <a:pt x="14" y="66"/>
                  </a:lnTo>
                  <a:lnTo>
                    <a:pt x="14" y="64"/>
                  </a:lnTo>
                  <a:lnTo>
                    <a:pt x="17" y="64"/>
                  </a:lnTo>
                  <a:lnTo>
                    <a:pt x="17" y="66"/>
                  </a:lnTo>
                  <a:lnTo>
                    <a:pt x="19" y="66"/>
                  </a:lnTo>
                  <a:lnTo>
                    <a:pt x="21" y="66"/>
                  </a:lnTo>
                  <a:lnTo>
                    <a:pt x="21" y="64"/>
                  </a:lnTo>
                  <a:lnTo>
                    <a:pt x="21" y="62"/>
                  </a:lnTo>
                  <a:lnTo>
                    <a:pt x="19" y="59"/>
                  </a:lnTo>
                  <a:lnTo>
                    <a:pt x="19" y="57"/>
                  </a:lnTo>
                  <a:lnTo>
                    <a:pt x="19" y="59"/>
                  </a:lnTo>
                  <a:lnTo>
                    <a:pt x="21" y="59"/>
                  </a:lnTo>
                  <a:lnTo>
                    <a:pt x="21" y="57"/>
                  </a:lnTo>
                  <a:lnTo>
                    <a:pt x="24" y="55"/>
                  </a:lnTo>
                  <a:lnTo>
                    <a:pt x="26" y="55"/>
                  </a:lnTo>
                  <a:lnTo>
                    <a:pt x="26" y="52"/>
                  </a:lnTo>
                  <a:lnTo>
                    <a:pt x="26" y="55"/>
                  </a:lnTo>
                  <a:lnTo>
                    <a:pt x="24" y="55"/>
                  </a:lnTo>
                  <a:lnTo>
                    <a:pt x="24" y="52"/>
                  </a:lnTo>
                  <a:lnTo>
                    <a:pt x="26" y="52"/>
                  </a:lnTo>
                  <a:lnTo>
                    <a:pt x="26" y="50"/>
                  </a:lnTo>
                  <a:lnTo>
                    <a:pt x="28" y="50"/>
                  </a:lnTo>
                  <a:lnTo>
                    <a:pt x="31" y="50"/>
                  </a:lnTo>
                  <a:lnTo>
                    <a:pt x="33" y="50"/>
                  </a:lnTo>
                  <a:lnTo>
                    <a:pt x="33" y="52"/>
                  </a:lnTo>
                  <a:lnTo>
                    <a:pt x="36" y="52"/>
                  </a:lnTo>
                  <a:lnTo>
                    <a:pt x="36" y="55"/>
                  </a:lnTo>
                  <a:lnTo>
                    <a:pt x="33" y="55"/>
                  </a:lnTo>
                  <a:lnTo>
                    <a:pt x="33" y="57"/>
                  </a:lnTo>
                  <a:lnTo>
                    <a:pt x="31" y="57"/>
                  </a:lnTo>
                  <a:lnTo>
                    <a:pt x="31" y="59"/>
                  </a:lnTo>
                  <a:lnTo>
                    <a:pt x="31" y="62"/>
                  </a:lnTo>
                  <a:lnTo>
                    <a:pt x="33" y="62"/>
                  </a:lnTo>
                  <a:lnTo>
                    <a:pt x="33" y="59"/>
                  </a:lnTo>
                  <a:lnTo>
                    <a:pt x="36" y="59"/>
                  </a:lnTo>
                  <a:lnTo>
                    <a:pt x="33" y="59"/>
                  </a:lnTo>
                  <a:lnTo>
                    <a:pt x="33" y="57"/>
                  </a:lnTo>
                  <a:lnTo>
                    <a:pt x="36" y="57"/>
                  </a:lnTo>
                  <a:lnTo>
                    <a:pt x="36" y="59"/>
                  </a:lnTo>
                  <a:lnTo>
                    <a:pt x="36" y="57"/>
                  </a:lnTo>
                  <a:lnTo>
                    <a:pt x="38" y="57"/>
                  </a:lnTo>
                  <a:lnTo>
                    <a:pt x="38" y="59"/>
                  </a:lnTo>
                  <a:lnTo>
                    <a:pt x="40" y="59"/>
                  </a:lnTo>
                  <a:lnTo>
                    <a:pt x="38" y="59"/>
                  </a:lnTo>
                  <a:lnTo>
                    <a:pt x="38" y="62"/>
                  </a:lnTo>
                  <a:lnTo>
                    <a:pt x="40" y="62"/>
                  </a:lnTo>
                  <a:lnTo>
                    <a:pt x="40" y="64"/>
                  </a:lnTo>
                  <a:lnTo>
                    <a:pt x="40" y="62"/>
                  </a:lnTo>
                  <a:lnTo>
                    <a:pt x="43" y="62"/>
                  </a:lnTo>
                  <a:lnTo>
                    <a:pt x="40" y="62"/>
                  </a:lnTo>
                  <a:lnTo>
                    <a:pt x="40" y="59"/>
                  </a:lnTo>
                  <a:lnTo>
                    <a:pt x="40" y="57"/>
                  </a:lnTo>
                  <a:lnTo>
                    <a:pt x="40" y="55"/>
                  </a:lnTo>
                  <a:lnTo>
                    <a:pt x="38" y="55"/>
                  </a:lnTo>
                  <a:lnTo>
                    <a:pt x="36" y="55"/>
                  </a:lnTo>
                  <a:lnTo>
                    <a:pt x="36" y="57"/>
                  </a:lnTo>
                  <a:lnTo>
                    <a:pt x="36" y="55"/>
                  </a:lnTo>
                  <a:lnTo>
                    <a:pt x="38" y="52"/>
                  </a:lnTo>
                  <a:lnTo>
                    <a:pt x="36" y="50"/>
                  </a:lnTo>
                  <a:lnTo>
                    <a:pt x="36" y="47"/>
                  </a:lnTo>
                  <a:lnTo>
                    <a:pt x="36" y="45"/>
                  </a:lnTo>
                  <a:lnTo>
                    <a:pt x="36" y="43"/>
                  </a:lnTo>
                  <a:lnTo>
                    <a:pt x="38" y="43"/>
                  </a:lnTo>
                  <a:lnTo>
                    <a:pt x="38" y="40"/>
                  </a:lnTo>
                  <a:lnTo>
                    <a:pt x="40" y="40"/>
                  </a:lnTo>
                  <a:lnTo>
                    <a:pt x="40" y="38"/>
                  </a:lnTo>
                  <a:lnTo>
                    <a:pt x="43" y="38"/>
                  </a:lnTo>
                  <a:lnTo>
                    <a:pt x="45" y="38"/>
                  </a:lnTo>
                  <a:lnTo>
                    <a:pt x="47" y="38"/>
                  </a:lnTo>
                  <a:lnTo>
                    <a:pt x="50" y="40"/>
                  </a:lnTo>
                  <a:lnTo>
                    <a:pt x="47" y="40"/>
                  </a:lnTo>
                  <a:lnTo>
                    <a:pt x="47" y="43"/>
                  </a:lnTo>
                  <a:lnTo>
                    <a:pt x="50" y="43"/>
                  </a:lnTo>
                  <a:lnTo>
                    <a:pt x="50" y="40"/>
                  </a:lnTo>
                  <a:lnTo>
                    <a:pt x="52" y="38"/>
                  </a:lnTo>
                  <a:lnTo>
                    <a:pt x="52" y="36"/>
                  </a:lnTo>
                  <a:lnTo>
                    <a:pt x="55" y="36"/>
                  </a:lnTo>
                  <a:lnTo>
                    <a:pt x="57" y="36"/>
                  </a:lnTo>
                  <a:lnTo>
                    <a:pt x="59" y="36"/>
                  </a:lnTo>
                  <a:lnTo>
                    <a:pt x="62" y="36"/>
                  </a:lnTo>
                  <a:lnTo>
                    <a:pt x="64" y="36"/>
                  </a:lnTo>
                  <a:close/>
                  <a:moveTo>
                    <a:pt x="83" y="2"/>
                  </a:moveTo>
                  <a:lnTo>
                    <a:pt x="81" y="2"/>
                  </a:lnTo>
                  <a:lnTo>
                    <a:pt x="78" y="5"/>
                  </a:lnTo>
                  <a:lnTo>
                    <a:pt x="78" y="7"/>
                  </a:lnTo>
                  <a:lnTo>
                    <a:pt x="76" y="7"/>
                  </a:lnTo>
                  <a:lnTo>
                    <a:pt x="76" y="9"/>
                  </a:lnTo>
                  <a:lnTo>
                    <a:pt x="78" y="12"/>
                  </a:lnTo>
                  <a:lnTo>
                    <a:pt x="78" y="14"/>
                  </a:lnTo>
                  <a:lnTo>
                    <a:pt x="81" y="14"/>
                  </a:lnTo>
                  <a:lnTo>
                    <a:pt x="81" y="17"/>
                  </a:lnTo>
                  <a:lnTo>
                    <a:pt x="81" y="19"/>
                  </a:lnTo>
                  <a:lnTo>
                    <a:pt x="81" y="21"/>
                  </a:lnTo>
                  <a:lnTo>
                    <a:pt x="81" y="24"/>
                  </a:lnTo>
                  <a:lnTo>
                    <a:pt x="81" y="26"/>
                  </a:lnTo>
                  <a:lnTo>
                    <a:pt x="81" y="28"/>
                  </a:lnTo>
                  <a:lnTo>
                    <a:pt x="78" y="28"/>
                  </a:lnTo>
                  <a:lnTo>
                    <a:pt x="78" y="31"/>
                  </a:lnTo>
                  <a:lnTo>
                    <a:pt x="76" y="31"/>
                  </a:lnTo>
                  <a:lnTo>
                    <a:pt x="76" y="33"/>
                  </a:lnTo>
                  <a:lnTo>
                    <a:pt x="76" y="36"/>
                  </a:lnTo>
                  <a:lnTo>
                    <a:pt x="73" y="38"/>
                  </a:lnTo>
                  <a:lnTo>
                    <a:pt x="73" y="40"/>
                  </a:lnTo>
                  <a:lnTo>
                    <a:pt x="73" y="38"/>
                  </a:lnTo>
                  <a:lnTo>
                    <a:pt x="73" y="40"/>
                  </a:lnTo>
                  <a:lnTo>
                    <a:pt x="73" y="38"/>
                  </a:lnTo>
                  <a:lnTo>
                    <a:pt x="71" y="38"/>
                  </a:lnTo>
                  <a:lnTo>
                    <a:pt x="71" y="40"/>
                  </a:lnTo>
                  <a:lnTo>
                    <a:pt x="69" y="40"/>
                  </a:lnTo>
                  <a:lnTo>
                    <a:pt x="69" y="38"/>
                  </a:lnTo>
                  <a:lnTo>
                    <a:pt x="66" y="38"/>
                  </a:lnTo>
                  <a:lnTo>
                    <a:pt x="66" y="36"/>
                  </a:lnTo>
                  <a:lnTo>
                    <a:pt x="64" y="36"/>
                  </a:lnTo>
                  <a:lnTo>
                    <a:pt x="64" y="33"/>
                  </a:lnTo>
                  <a:lnTo>
                    <a:pt x="62" y="33"/>
                  </a:lnTo>
                  <a:lnTo>
                    <a:pt x="62" y="36"/>
                  </a:lnTo>
                  <a:lnTo>
                    <a:pt x="59" y="36"/>
                  </a:lnTo>
                  <a:lnTo>
                    <a:pt x="57" y="33"/>
                  </a:lnTo>
                  <a:lnTo>
                    <a:pt x="55" y="33"/>
                  </a:lnTo>
                  <a:lnTo>
                    <a:pt x="57" y="33"/>
                  </a:lnTo>
                  <a:lnTo>
                    <a:pt x="55" y="33"/>
                  </a:lnTo>
                  <a:lnTo>
                    <a:pt x="55" y="36"/>
                  </a:lnTo>
                  <a:lnTo>
                    <a:pt x="52" y="36"/>
                  </a:lnTo>
                  <a:lnTo>
                    <a:pt x="52" y="33"/>
                  </a:lnTo>
                  <a:lnTo>
                    <a:pt x="50" y="33"/>
                  </a:lnTo>
                  <a:lnTo>
                    <a:pt x="50" y="36"/>
                  </a:lnTo>
                  <a:lnTo>
                    <a:pt x="47" y="36"/>
                  </a:lnTo>
                  <a:lnTo>
                    <a:pt x="45" y="36"/>
                  </a:lnTo>
                  <a:lnTo>
                    <a:pt x="45" y="38"/>
                  </a:lnTo>
                  <a:lnTo>
                    <a:pt x="45" y="36"/>
                  </a:lnTo>
                  <a:lnTo>
                    <a:pt x="43" y="38"/>
                  </a:lnTo>
                  <a:lnTo>
                    <a:pt x="40" y="38"/>
                  </a:lnTo>
                  <a:lnTo>
                    <a:pt x="38" y="38"/>
                  </a:lnTo>
                  <a:lnTo>
                    <a:pt x="38" y="40"/>
                  </a:lnTo>
                  <a:lnTo>
                    <a:pt x="38" y="38"/>
                  </a:lnTo>
                  <a:lnTo>
                    <a:pt x="36" y="38"/>
                  </a:lnTo>
                  <a:lnTo>
                    <a:pt x="33" y="38"/>
                  </a:lnTo>
                  <a:lnTo>
                    <a:pt x="33" y="36"/>
                  </a:lnTo>
                  <a:lnTo>
                    <a:pt x="33" y="38"/>
                  </a:lnTo>
                  <a:lnTo>
                    <a:pt x="31" y="38"/>
                  </a:lnTo>
                  <a:lnTo>
                    <a:pt x="28" y="38"/>
                  </a:lnTo>
                  <a:lnTo>
                    <a:pt x="26" y="38"/>
                  </a:lnTo>
                  <a:lnTo>
                    <a:pt x="26" y="40"/>
                  </a:lnTo>
                  <a:lnTo>
                    <a:pt x="26" y="38"/>
                  </a:lnTo>
                  <a:lnTo>
                    <a:pt x="26" y="40"/>
                  </a:lnTo>
                  <a:lnTo>
                    <a:pt x="24" y="38"/>
                  </a:lnTo>
                  <a:lnTo>
                    <a:pt x="24" y="40"/>
                  </a:lnTo>
                  <a:lnTo>
                    <a:pt x="21" y="40"/>
                  </a:lnTo>
                  <a:lnTo>
                    <a:pt x="19" y="40"/>
                  </a:lnTo>
                  <a:lnTo>
                    <a:pt x="19" y="43"/>
                  </a:lnTo>
                  <a:lnTo>
                    <a:pt x="19" y="45"/>
                  </a:lnTo>
                  <a:lnTo>
                    <a:pt x="17" y="45"/>
                  </a:lnTo>
                  <a:lnTo>
                    <a:pt x="17" y="47"/>
                  </a:lnTo>
                  <a:lnTo>
                    <a:pt x="14" y="47"/>
                  </a:lnTo>
                  <a:lnTo>
                    <a:pt x="14" y="50"/>
                  </a:lnTo>
                  <a:lnTo>
                    <a:pt x="12" y="50"/>
                  </a:lnTo>
                  <a:lnTo>
                    <a:pt x="14" y="52"/>
                  </a:lnTo>
                  <a:lnTo>
                    <a:pt x="12" y="52"/>
                  </a:lnTo>
                  <a:lnTo>
                    <a:pt x="12" y="55"/>
                  </a:lnTo>
                  <a:lnTo>
                    <a:pt x="12" y="52"/>
                  </a:lnTo>
                  <a:lnTo>
                    <a:pt x="14" y="55"/>
                  </a:lnTo>
                  <a:lnTo>
                    <a:pt x="12" y="55"/>
                  </a:lnTo>
                  <a:lnTo>
                    <a:pt x="9" y="55"/>
                  </a:lnTo>
                  <a:lnTo>
                    <a:pt x="12" y="55"/>
                  </a:lnTo>
                  <a:lnTo>
                    <a:pt x="12" y="57"/>
                  </a:lnTo>
                  <a:lnTo>
                    <a:pt x="14" y="57"/>
                  </a:lnTo>
                  <a:lnTo>
                    <a:pt x="14" y="55"/>
                  </a:lnTo>
                  <a:lnTo>
                    <a:pt x="17" y="55"/>
                  </a:lnTo>
                  <a:lnTo>
                    <a:pt x="17" y="57"/>
                  </a:lnTo>
                  <a:lnTo>
                    <a:pt x="17" y="59"/>
                  </a:lnTo>
                  <a:lnTo>
                    <a:pt x="14" y="59"/>
                  </a:lnTo>
                  <a:lnTo>
                    <a:pt x="12" y="57"/>
                  </a:lnTo>
                  <a:lnTo>
                    <a:pt x="9" y="55"/>
                  </a:lnTo>
                  <a:lnTo>
                    <a:pt x="7" y="55"/>
                  </a:lnTo>
                  <a:lnTo>
                    <a:pt x="7" y="52"/>
                  </a:lnTo>
                  <a:lnTo>
                    <a:pt x="7" y="50"/>
                  </a:lnTo>
                  <a:lnTo>
                    <a:pt x="5" y="50"/>
                  </a:lnTo>
                  <a:lnTo>
                    <a:pt x="5" y="52"/>
                  </a:lnTo>
                  <a:lnTo>
                    <a:pt x="5" y="55"/>
                  </a:lnTo>
                  <a:lnTo>
                    <a:pt x="5" y="52"/>
                  </a:lnTo>
                  <a:lnTo>
                    <a:pt x="5" y="50"/>
                  </a:lnTo>
                  <a:lnTo>
                    <a:pt x="5" y="47"/>
                  </a:lnTo>
                  <a:lnTo>
                    <a:pt x="7" y="45"/>
                  </a:lnTo>
                  <a:lnTo>
                    <a:pt x="7" y="43"/>
                  </a:lnTo>
                  <a:lnTo>
                    <a:pt x="9" y="40"/>
                  </a:lnTo>
                  <a:lnTo>
                    <a:pt x="12" y="38"/>
                  </a:lnTo>
                  <a:lnTo>
                    <a:pt x="12" y="36"/>
                  </a:lnTo>
                  <a:lnTo>
                    <a:pt x="14" y="36"/>
                  </a:lnTo>
                  <a:lnTo>
                    <a:pt x="17" y="33"/>
                  </a:lnTo>
                  <a:lnTo>
                    <a:pt x="19" y="33"/>
                  </a:lnTo>
                  <a:lnTo>
                    <a:pt x="21" y="33"/>
                  </a:lnTo>
                  <a:lnTo>
                    <a:pt x="24" y="33"/>
                  </a:lnTo>
                  <a:lnTo>
                    <a:pt x="26" y="33"/>
                  </a:lnTo>
                  <a:lnTo>
                    <a:pt x="28" y="31"/>
                  </a:lnTo>
                  <a:lnTo>
                    <a:pt x="31" y="31"/>
                  </a:lnTo>
                  <a:lnTo>
                    <a:pt x="33" y="31"/>
                  </a:lnTo>
                  <a:lnTo>
                    <a:pt x="36" y="31"/>
                  </a:lnTo>
                  <a:lnTo>
                    <a:pt x="38" y="31"/>
                  </a:lnTo>
                  <a:lnTo>
                    <a:pt x="40" y="31"/>
                  </a:lnTo>
                  <a:lnTo>
                    <a:pt x="43" y="31"/>
                  </a:lnTo>
                  <a:lnTo>
                    <a:pt x="45" y="28"/>
                  </a:lnTo>
                  <a:lnTo>
                    <a:pt x="47" y="28"/>
                  </a:lnTo>
                  <a:lnTo>
                    <a:pt x="47" y="26"/>
                  </a:lnTo>
                  <a:lnTo>
                    <a:pt x="50" y="24"/>
                  </a:lnTo>
                  <a:lnTo>
                    <a:pt x="52" y="21"/>
                  </a:lnTo>
                  <a:lnTo>
                    <a:pt x="52" y="19"/>
                  </a:lnTo>
                  <a:lnTo>
                    <a:pt x="55" y="19"/>
                  </a:lnTo>
                  <a:lnTo>
                    <a:pt x="55" y="14"/>
                  </a:lnTo>
                  <a:lnTo>
                    <a:pt x="57" y="14"/>
                  </a:lnTo>
                  <a:lnTo>
                    <a:pt x="57" y="12"/>
                  </a:lnTo>
                  <a:lnTo>
                    <a:pt x="59" y="12"/>
                  </a:lnTo>
                  <a:lnTo>
                    <a:pt x="59" y="9"/>
                  </a:lnTo>
                  <a:lnTo>
                    <a:pt x="62" y="9"/>
                  </a:lnTo>
                  <a:lnTo>
                    <a:pt x="62" y="7"/>
                  </a:lnTo>
                  <a:lnTo>
                    <a:pt x="64" y="7"/>
                  </a:lnTo>
                  <a:lnTo>
                    <a:pt x="66" y="9"/>
                  </a:lnTo>
                  <a:lnTo>
                    <a:pt x="69" y="7"/>
                  </a:lnTo>
                  <a:lnTo>
                    <a:pt x="71" y="7"/>
                  </a:lnTo>
                  <a:lnTo>
                    <a:pt x="73" y="7"/>
                  </a:lnTo>
                  <a:lnTo>
                    <a:pt x="73" y="5"/>
                  </a:lnTo>
                  <a:lnTo>
                    <a:pt x="76" y="5"/>
                  </a:lnTo>
                  <a:lnTo>
                    <a:pt x="78" y="2"/>
                  </a:lnTo>
                  <a:lnTo>
                    <a:pt x="81" y="0"/>
                  </a:lnTo>
                  <a:lnTo>
                    <a:pt x="83" y="0"/>
                  </a:lnTo>
                  <a:lnTo>
                    <a:pt x="83"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6" name="Freeform 50289"/>
            <p:cNvSpPr>
              <a:spLocks noEditPoints="1"/>
            </p:cNvSpPr>
            <p:nvPr/>
          </p:nvSpPr>
          <p:spPr bwMode="auto">
            <a:xfrm>
              <a:off x="2462210" y="4102114"/>
              <a:ext cx="233363" cy="225425"/>
            </a:xfrm>
            <a:custGeom>
              <a:avLst/>
              <a:gdLst>
                <a:gd name="T0" fmla="*/ 55 w 147"/>
                <a:gd name="T1" fmla="*/ 138 h 142"/>
                <a:gd name="T2" fmla="*/ 76 w 147"/>
                <a:gd name="T3" fmla="*/ 135 h 142"/>
                <a:gd name="T4" fmla="*/ 76 w 147"/>
                <a:gd name="T5" fmla="*/ 135 h 142"/>
                <a:gd name="T6" fmla="*/ 121 w 147"/>
                <a:gd name="T7" fmla="*/ 133 h 142"/>
                <a:gd name="T8" fmla="*/ 104 w 147"/>
                <a:gd name="T9" fmla="*/ 130 h 142"/>
                <a:gd name="T10" fmla="*/ 66 w 147"/>
                <a:gd name="T11" fmla="*/ 133 h 142"/>
                <a:gd name="T12" fmla="*/ 74 w 147"/>
                <a:gd name="T13" fmla="*/ 138 h 142"/>
                <a:gd name="T14" fmla="*/ 62 w 147"/>
                <a:gd name="T15" fmla="*/ 130 h 142"/>
                <a:gd name="T16" fmla="*/ 69 w 147"/>
                <a:gd name="T17" fmla="*/ 130 h 142"/>
                <a:gd name="T18" fmla="*/ 116 w 147"/>
                <a:gd name="T19" fmla="*/ 128 h 142"/>
                <a:gd name="T20" fmla="*/ 102 w 147"/>
                <a:gd name="T21" fmla="*/ 128 h 142"/>
                <a:gd name="T22" fmla="*/ 76 w 147"/>
                <a:gd name="T23" fmla="*/ 126 h 142"/>
                <a:gd name="T24" fmla="*/ 78 w 147"/>
                <a:gd name="T25" fmla="*/ 128 h 142"/>
                <a:gd name="T26" fmla="*/ 76 w 147"/>
                <a:gd name="T27" fmla="*/ 128 h 142"/>
                <a:gd name="T28" fmla="*/ 131 w 147"/>
                <a:gd name="T29" fmla="*/ 126 h 142"/>
                <a:gd name="T30" fmla="*/ 138 w 147"/>
                <a:gd name="T31" fmla="*/ 128 h 142"/>
                <a:gd name="T32" fmla="*/ 133 w 147"/>
                <a:gd name="T33" fmla="*/ 130 h 142"/>
                <a:gd name="T34" fmla="*/ 126 w 147"/>
                <a:gd name="T35" fmla="*/ 133 h 142"/>
                <a:gd name="T36" fmla="*/ 59 w 147"/>
                <a:gd name="T37" fmla="*/ 128 h 142"/>
                <a:gd name="T38" fmla="*/ 109 w 147"/>
                <a:gd name="T39" fmla="*/ 126 h 142"/>
                <a:gd name="T40" fmla="*/ 57 w 147"/>
                <a:gd name="T41" fmla="*/ 130 h 142"/>
                <a:gd name="T42" fmla="*/ 50 w 147"/>
                <a:gd name="T43" fmla="*/ 135 h 142"/>
                <a:gd name="T44" fmla="*/ 52 w 147"/>
                <a:gd name="T45" fmla="*/ 130 h 142"/>
                <a:gd name="T46" fmla="*/ 48 w 147"/>
                <a:gd name="T47" fmla="*/ 128 h 142"/>
                <a:gd name="T48" fmla="*/ 43 w 147"/>
                <a:gd name="T49" fmla="*/ 126 h 142"/>
                <a:gd name="T50" fmla="*/ 59 w 147"/>
                <a:gd name="T51" fmla="*/ 123 h 142"/>
                <a:gd name="T52" fmla="*/ 85 w 147"/>
                <a:gd name="T53" fmla="*/ 130 h 142"/>
                <a:gd name="T54" fmla="*/ 78 w 147"/>
                <a:gd name="T55" fmla="*/ 142 h 142"/>
                <a:gd name="T56" fmla="*/ 78 w 147"/>
                <a:gd name="T57" fmla="*/ 133 h 142"/>
                <a:gd name="T58" fmla="*/ 83 w 147"/>
                <a:gd name="T59" fmla="*/ 128 h 142"/>
                <a:gd name="T60" fmla="*/ 95 w 147"/>
                <a:gd name="T61" fmla="*/ 121 h 142"/>
                <a:gd name="T62" fmla="*/ 55 w 147"/>
                <a:gd name="T63" fmla="*/ 121 h 142"/>
                <a:gd name="T64" fmla="*/ 102 w 147"/>
                <a:gd name="T65" fmla="*/ 119 h 142"/>
                <a:gd name="T66" fmla="*/ 5 w 147"/>
                <a:gd name="T67" fmla="*/ 119 h 142"/>
                <a:gd name="T68" fmla="*/ 48 w 147"/>
                <a:gd name="T69" fmla="*/ 116 h 142"/>
                <a:gd name="T70" fmla="*/ 7 w 147"/>
                <a:gd name="T71" fmla="*/ 114 h 142"/>
                <a:gd name="T72" fmla="*/ 2 w 147"/>
                <a:gd name="T73" fmla="*/ 111 h 142"/>
                <a:gd name="T74" fmla="*/ 5 w 147"/>
                <a:gd name="T75" fmla="*/ 111 h 142"/>
                <a:gd name="T76" fmla="*/ 48 w 147"/>
                <a:gd name="T77" fmla="*/ 111 h 142"/>
                <a:gd name="T78" fmla="*/ 7 w 147"/>
                <a:gd name="T79" fmla="*/ 111 h 142"/>
                <a:gd name="T80" fmla="*/ 81 w 147"/>
                <a:gd name="T81" fmla="*/ 104 h 142"/>
                <a:gd name="T82" fmla="*/ 147 w 147"/>
                <a:gd name="T83" fmla="*/ 97 h 142"/>
                <a:gd name="T84" fmla="*/ 147 w 147"/>
                <a:gd name="T85" fmla="*/ 97 h 142"/>
                <a:gd name="T86" fmla="*/ 145 w 147"/>
                <a:gd name="T87" fmla="*/ 100 h 142"/>
                <a:gd name="T88" fmla="*/ 140 w 147"/>
                <a:gd name="T89" fmla="*/ 95 h 142"/>
                <a:gd name="T90" fmla="*/ 123 w 147"/>
                <a:gd name="T91" fmla="*/ 90 h 142"/>
                <a:gd name="T92" fmla="*/ 66 w 147"/>
                <a:gd name="T93" fmla="*/ 90 h 142"/>
                <a:gd name="T94" fmla="*/ 97 w 147"/>
                <a:gd name="T95" fmla="*/ 88 h 142"/>
                <a:gd name="T96" fmla="*/ 116 w 147"/>
                <a:gd name="T97" fmla="*/ 90 h 142"/>
                <a:gd name="T98" fmla="*/ 59 w 147"/>
                <a:gd name="T99" fmla="*/ 88 h 142"/>
                <a:gd name="T100" fmla="*/ 78 w 147"/>
                <a:gd name="T101" fmla="*/ 83 h 142"/>
                <a:gd name="T102" fmla="*/ 93 w 147"/>
                <a:gd name="T103" fmla="*/ 83 h 142"/>
                <a:gd name="T104" fmla="*/ 76 w 147"/>
                <a:gd name="T105" fmla="*/ 83 h 142"/>
                <a:gd name="T106" fmla="*/ 76 w 147"/>
                <a:gd name="T107" fmla="*/ 90 h 142"/>
                <a:gd name="T108" fmla="*/ 74 w 147"/>
                <a:gd name="T109" fmla="*/ 81 h 142"/>
                <a:gd name="T110" fmla="*/ 10 w 147"/>
                <a:gd name="T111" fmla="*/ 45 h 142"/>
                <a:gd name="T112" fmla="*/ 7 w 147"/>
                <a:gd name="T113" fmla="*/ 40 h 142"/>
                <a:gd name="T114" fmla="*/ 104 w 147"/>
                <a:gd name="T115" fmla="*/ 40 h 142"/>
                <a:gd name="T116" fmla="*/ 24 w 147"/>
                <a:gd name="T117" fmla="*/ 35 h 142"/>
                <a:gd name="T118" fmla="*/ 26 w 147"/>
                <a:gd name="T119" fmla="*/ 33 h 142"/>
                <a:gd name="T120" fmla="*/ 95 w 147"/>
                <a:gd name="T121" fmla="*/ 9 h 142"/>
                <a:gd name="T122" fmla="*/ 88 w 147"/>
                <a:gd name="T123" fmla="*/ 16 h 142"/>
                <a:gd name="T124" fmla="*/ 93 w 147"/>
                <a:gd name="T1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42">
                  <a:moveTo>
                    <a:pt x="90" y="138"/>
                  </a:moveTo>
                  <a:lnTo>
                    <a:pt x="90" y="135"/>
                  </a:lnTo>
                  <a:lnTo>
                    <a:pt x="90" y="138"/>
                  </a:lnTo>
                  <a:close/>
                  <a:moveTo>
                    <a:pt x="55" y="135"/>
                  </a:moveTo>
                  <a:lnTo>
                    <a:pt x="55" y="138"/>
                  </a:lnTo>
                  <a:lnTo>
                    <a:pt x="55" y="135"/>
                  </a:lnTo>
                  <a:lnTo>
                    <a:pt x="55" y="138"/>
                  </a:lnTo>
                  <a:lnTo>
                    <a:pt x="55" y="135"/>
                  </a:lnTo>
                  <a:lnTo>
                    <a:pt x="52" y="135"/>
                  </a:lnTo>
                  <a:lnTo>
                    <a:pt x="55" y="135"/>
                  </a:lnTo>
                  <a:close/>
                  <a:moveTo>
                    <a:pt x="76" y="135"/>
                  </a:moveTo>
                  <a:lnTo>
                    <a:pt x="74" y="135"/>
                  </a:lnTo>
                  <a:lnTo>
                    <a:pt x="74" y="133"/>
                  </a:lnTo>
                  <a:lnTo>
                    <a:pt x="76" y="135"/>
                  </a:lnTo>
                  <a:close/>
                  <a:moveTo>
                    <a:pt x="104" y="135"/>
                  </a:moveTo>
                  <a:lnTo>
                    <a:pt x="107" y="135"/>
                  </a:lnTo>
                  <a:lnTo>
                    <a:pt x="104" y="135"/>
                  </a:lnTo>
                  <a:lnTo>
                    <a:pt x="104" y="133"/>
                  </a:lnTo>
                  <a:lnTo>
                    <a:pt x="104" y="135"/>
                  </a:lnTo>
                  <a:close/>
                  <a:moveTo>
                    <a:pt x="76" y="133"/>
                  </a:moveTo>
                  <a:lnTo>
                    <a:pt x="76" y="135"/>
                  </a:lnTo>
                  <a:lnTo>
                    <a:pt x="76" y="133"/>
                  </a:lnTo>
                  <a:close/>
                  <a:moveTo>
                    <a:pt x="74" y="133"/>
                  </a:moveTo>
                  <a:lnTo>
                    <a:pt x="71" y="133"/>
                  </a:lnTo>
                  <a:lnTo>
                    <a:pt x="74" y="133"/>
                  </a:lnTo>
                  <a:close/>
                  <a:moveTo>
                    <a:pt x="121" y="133"/>
                  </a:moveTo>
                  <a:lnTo>
                    <a:pt x="123" y="133"/>
                  </a:lnTo>
                  <a:lnTo>
                    <a:pt x="121" y="133"/>
                  </a:lnTo>
                  <a:lnTo>
                    <a:pt x="121" y="130"/>
                  </a:lnTo>
                  <a:lnTo>
                    <a:pt x="121" y="133"/>
                  </a:lnTo>
                  <a:close/>
                  <a:moveTo>
                    <a:pt x="126" y="130"/>
                  </a:moveTo>
                  <a:lnTo>
                    <a:pt x="123" y="130"/>
                  </a:lnTo>
                  <a:lnTo>
                    <a:pt x="126" y="130"/>
                  </a:lnTo>
                  <a:close/>
                  <a:moveTo>
                    <a:pt x="102" y="130"/>
                  </a:moveTo>
                  <a:lnTo>
                    <a:pt x="104" y="130"/>
                  </a:lnTo>
                  <a:lnTo>
                    <a:pt x="104" y="133"/>
                  </a:lnTo>
                  <a:lnTo>
                    <a:pt x="102" y="133"/>
                  </a:lnTo>
                  <a:lnTo>
                    <a:pt x="100" y="133"/>
                  </a:lnTo>
                  <a:lnTo>
                    <a:pt x="100" y="130"/>
                  </a:lnTo>
                  <a:lnTo>
                    <a:pt x="102" y="130"/>
                  </a:lnTo>
                  <a:close/>
                  <a:moveTo>
                    <a:pt x="64" y="133"/>
                  </a:moveTo>
                  <a:lnTo>
                    <a:pt x="66" y="133"/>
                  </a:lnTo>
                  <a:lnTo>
                    <a:pt x="66" y="135"/>
                  </a:lnTo>
                  <a:lnTo>
                    <a:pt x="69" y="135"/>
                  </a:lnTo>
                  <a:lnTo>
                    <a:pt x="69" y="133"/>
                  </a:lnTo>
                  <a:lnTo>
                    <a:pt x="69" y="135"/>
                  </a:lnTo>
                  <a:lnTo>
                    <a:pt x="71" y="135"/>
                  </a:lnTo>
                  <a:lnTo>
                    <a:pt x="74" y="135"/>
                  </a:lnTo>
                  <a:lnTo>
                    <a:pt x="74" y="138"/>
                  </a:lnTo>
                  <a:lnTo>
                    <a:pt x="71" y="138"/>
                  </a:lnTo>
                  <a:lnTo>
                    <a:pt x="69" y="138"/>
                  </a:lnTo>
                  <a:lnTo>
                    <a:pt x="66" y="138"/>
                  </a:lnTo>
                  <a:lnTo>
                    <a:pt x="66" y="135"/>
                  </a:lnTo>
                  <a:lnTo>
                    <a:pt x="64" y="135"/>
                  </a:lnTo>
                  <a:lnTo>
                    <a:pt x="64" y="133"/>
                  </a:lnTo>
                  <a:lnTo>
                    <a:pt x="62" y="130"/>
                  </a:lnTo>
                  <a:lnTo>
                    <a:pt x="64" y="130"/>
                  </a:lnTo>
                  <a:lnTo>
                    <a:pt x="64" y="133"/>
                  </a:lnTo>
                  <a:close/>
                  <a:moveTo>
                    <a:pt x="69" y="130"/>
                  </a:moveTo>
                  <a:lnTo>
                    <a:pt x="71" y="130"/>
                  </a:lnTo>
                  <a:lnTo>
                    <a:pt x="69" y="130"/>
                  </a:lnTo>
                  <a:lnTo>
                    <a:pt x="66" y="130"/>
                  </a:lnTo>
                  <a:lnTo>
                    <a:pt x="69" y="130"/>
                  </a:lnTo>
                  <a:close/>
                  <a:moveTo>
                    <a:pt x="107" y="130"/>
                  </a:moveTo>
                  <a:lnTo>
                    <a:pt x="107" y="133"/>
                  </a:lnTo>
                  <a:lnTo>
                    <a:pt x="107" y="130"/>
                  </a:lnTo>
                  <a:lnTo>
                    <a:pt x="104" y="130"/>
                  </a:lnTo>
                  <a:lnTo>
                    <a:pt x="107" y="130"/>
                  </a:lnTo>
                  <a:close/>
                  <a:moveTo>
                    <a:pt x="119" y="130"/>
                  </a:moveTo>
                  <a:lnTo>
                    <a:pt x="116" y="128"/>
                  </a:lnTo>
                  <a:lnTo>
                    <a:pt x="119" y="128"/>
                  </a:lnTo>
                  <a:lnTo>
                    <a:pt x="119" y="130"/>
                  </a:lnTo>
                  <a:close/>
                  <a:moveTo>
                    <a:pt x="64" y="128"/>
                  </a:moveTo>
                  <a:lnTo>
                    <a:pt x="66" y="128"/>
                  </a:lnTo>
                  <a:lnTo>
                    <a:pt x="64" y="128"/>
                  </a:lnTo>
                  <a:close/>
                  <a:moveTo>
                    <a:pt x="100" y="128"/>
                  </a:moveTo>
                  <a:lnTo>
                    <a:pt x="102" y="128"/>
                  </a:lnTo>
                  <a:lnTo>
                    <a:pt x="100" y="128"/>
                  </a:lnTo>
                  <a:close/>
                  <a:moveTo>
                    <a:pt x="78" y="126"/>
                  </a:moveTo>
                  <a:lnTo>
                    <a:pt x="78" y="128"/>
                  </a:lnTo>
                  <a:lnTo>
                    <a:pt x="78" y="126"/>
                  </a:lnTo>
                  <a:lnTo>
                    <a:pt x="78" y="128"/>
                  </a:lnTo>
                  <a:lnTo>
                    <a:pt x="76" y="128"/>
                  </a:lnTo>
                  <a:lnTo>
                    <a:pt x="76" y="126"/>
                  </a:lnTo>
                  <a:lnTo>
                    <a:pt x="78" y="126"/>
                  </a:lnTo>
                  <a:close/>
                  <a:moveTo>
                    <a:pt x="76" y="128"/>
                  </a:moveTo>
                  <a:lnTo>
                    <a:pt x="78" y="128"/>
                  </a:lnTo>
                  <a:lnTo>
                    <a:pt x="76" y="128"/>
                  </a:lnTo>
                  <a:lnTo>
                    <a:pt x="76" y="130"/>
                  </a:lnTo>
                  <a:lnTo>
                    <a:pt x="78" y="130"/>
                  </a:lnTo>
                  <a:lnTo>
                    <a:pt x="78" y="128"/>
                  </a:lnTo>
                  <a:lnTo>
                    <a:pt x="78" y="130"/>
                  </a:lnTo>
                  <a:lnTo>
                    <a:pt x="76" y="130"/>
                  </a:lnTo>
                  <a:lnTo>
                    <a:pt x="74" y="130"/>
                  </a:lnTo>
                  <a:lnTo>
                    <a:pt x="74" y="133"/>
                  </a:lnTo>
                  <a:lnTo>
                    <a:pt x="74" y="130"/>
                  </a:lnTo>
                  <a:lnTo>
                    <a:pt x="74" y="128"/>
                  </a:lnTo>
                  <a:lnTo>
                    <a:pt x="76" y="128"/>
                  </a:lnTo>
                  <a:lnTo>
                    <a:pt x="76" y="126"/>
                  </a:lnTo>
                  <a:lnTo>
                    <a:pt x="76" y="128"/>
                  </a:lnTo>
                  <a:close/>
                  <a:moveTo>
                    <a:pt x="128" y="128"/>
                  </a:moveTo>
                  <a:lnTo>
                    <a:pt x="128" y="126"/>
                  </a:lnTo>
                  <a:lnTo>
                    <a:pt x="131" y="126"/>
                  </a:lnTo>
                  <a:lnTo>
                    <a:pt x="128" y="126"/>
                  </a:lnTo>
                  <a:lnTo>
                    <a:pt x="131" y="126"/>
                  </a:lnTo>
                  <a:lnTo>
                    <a:pt x="128" y="126"/>
                  </a:lnTo>
                  <a:lnTo>
                    <a:pt x="128" y="128"/>
                  </a:lnTo>
                  <a:close/>
                  <a:moveTo>
                    <a:pt x="131" y="126"/>
                  </a:moveTo>
                  <a:lnTo>
                    <a:pt x="131" y="128"/>
                  </a:lnTo>
                  <a:lnTo>
                    <a:pt x="133" y="128"/>
                  </a:lnTo>
                  <a:lnTo>
                    <a:pt x="135" y="128"/>
                  </a:lnTo>
                  <a:lnTo>
                    <a:pt x="138" y="128"/>
                  </a:lnTo>
                  <a:lnTo>
                    <a:pt x="140" y="128"/>
                  </a:lnTo>
                  <a:lnTo>
                    <a:pt x="140" y="130"/>
                  </a:lnTo>
                  <a:lnTo>
                    <a:pt x="140" y="133"/>
                  </a:lnTo>
                  <a:lnTo>
                    <a:pt x="138" y="133"/>
                  </a:lnTo>
                  <a:lnTo>
                    <a:pt x="138" y="130"/>
                  </a:lnTo>
                  <a:lnTo>
                    <a:pt x="135" y="130"/>
                  </a:lnTo>
                  <a:lnTo>
                    <a:pt x="133" y="130"/>
                  </a:lnTo>
                  <a:lnTo>
                    <a:pt x="131" y="130"/>
                  </a:lnTo>
                  <a:lnTo>
                    <a:pt x="131" y="133"/>
                  </a:lnTo>
                  <a:lnTo>
                    <a:pt x="128" y="135"/>
                  </a:lnTo>
                  <a:lnTo>
                    <a:pt x="126" y="135"/>
                  </a:lnTo>
                  <a:lnTo>
                    <a:pt x="126" y="133"/>
                  </a:lnTo>
                  <a:lnTo>
                    <a:pt x="126" y="135"/>
                  </a:lnTo>
                  <a:lnTo>
                    <a:pt x="126" y="133"/>
                  </a:lnTo>
                  <a:lnTo>
                    <a:pt x="126" y="130"/>
                  </a:lnTo>
                  <a:lnTo>
                    <a:pt x="128" y="130"/>
                  </a:lnTo>
                  <a:lnTo>
                    <a:pt x="131" y="130"/>
                  </a:lnTo>
                  <a:lnTo>
                    <a:pt x="131" y="128"/>
                  </a:lnTo>
                  <a:lnTo>
                    <a:pt x="128" y="126"/>
                  </a:lnTo>
                  <a:lnTo>
                    <a:pt x="131" y="126"/>
                  </a:lnTo>
                  <a:close/>
                  <a:moveTo>
                    <a:pt x="59" y="128"/>
                  </a:moveTo>
                  <a:lnTo>
                    <a:pt x="59" y="126"/>
                  </a:lnTo>
                  <a:lnTo>
                    <a:pt x="62" y="126"/>
                  </a:lnTo>
                  <a:lnTo>
                    <a:pt x="62" y="128"/>
                  </a:lnTo>
                  <a:lnTo>
                    <a:pt x="59" y="128"/>
                  </a:lnTo>
                  <a:close/>
                  <a:moveTo>
                    <a:pt x="109" y="126"/>
                  </a:moveTo>
                  <a:lnTo>
                    <a:pt x="112" y="126"/>
                  </a:lnTo>
                  <a:lnTo>
                    <a:pt x="109" y="126"/>
                  </a:lnTo>
                  <a:close/>
                  <a:moveTo>
                    <a:pt x="48" y="126"/>
                  </a:moveTo>
                  <a:lnTo>
                    <a:pt x="50" y="126"/>
                  </a:lnTo>
                  <a:lnTo>
                    <a:pt x="50" y="128"/>
                  </a:lnTo>
                  <a:lnTo>
                    <a:pt x="52" y="128"/>
                  </a:lnTo>
                  <a:lnTo>
                    <a:pt x="55" y="128"/>
                  </a:lnTo>
                  <a:lnTo>
                    <a:pt x="55" y="130"/>
                  </a:lnTo>
                  <a:lnTo>
                    <a:pt x="57" y="130"/>
                  </a:lnTo>
                  <a:lnTo>
                    <a:pt x="57" y="133"/>
                  </a:lnTo>
                  <a:lnTo>
                    <a:pt x="57" y="135"/>
                  </a:lnTo>
                  <a:lnTo>
                    <a:pt x="55" y="135"/>
                  </a:lnTo>
                  <a:lnTo>
                    <a:pt x="52" y="133"/>
                  </a:lnTo>
                  <a:lnTo>
                    <a:pt x="52" y="135"/>
                  </a:lnTo>
                  <a:lnTo>
                    <a:pt x="52" y="133"/>
                  </a:lnTo>
                  <a:lnTo>
                    <a:pt x="50" y="135"/>
                  </a:lnTo>
                  <a:lnTo>
                    <a:pt x="50" y="133"/>
                  </a:lnTo>
                  <a:lnTo>
                    <a:pt x="48" y="133"/>
                  </a:lnTo>
                  <a:lnTo>
                    <a:pt x="48" y="130"/>
                  </a:lnTo>
                  <a:lnTo>
                    <a:pt x="50" y="130"/>
                  </a:lnTo>
                  <a:lnTo>
                    <a:pt x="50" y="133"/>
                  </a:lnTo>
                  <a:lnTo>
                    <a:pt x="52" y="133"/>
                  </a:lnTo>
                  <a:lnTo>
                    <a:pt x="52" y="130"/>
                  </a:lnTo>
                  <a:lnTo>
                    <a:pt x="52" y="133"/>
                  </a:lnTo>
                  <a:lnTo>
                    <a:pt x="50" y="133"/>
                  </a:lnTo>
                  <a:lnTo>
                    <a:pt x="50" y="130"/>
                  </a:lnTo>
                  <a:lnTo>
                    <a:pt x="48" y="130"/>
                  </a:lnTo>
                  <a:lnTo>
                    <a:pt x="50" y="128"/>
                  </a:lnTo>
                  <a:lnTo>
                    <a:pt x="48" y="130"/>
                  </a:lnTo>
                  <a:lnTo>
                    <a:pt x="48" y="128"/>
                  </a:lnTo>
                  <a:lnTo>
                    <a:pt x="50" y="128"/>
                  </a:lnTo>
                  <a:lnTo>
                    <a:pt x="48" y="128"/>
                  </a:lnTo>
                  <a:lnTo>
                    <a:pt x="45" y="128"/>
                  </a:lnTo>
                  <a:lnTo>
                    <a:pt x="45" y="126"/>
                  </a:lnTo>
                  <a:lnTo>
                    <a:pt x="45" y="128"/>
                  </a:lnTo>
                  <a:lnTo>
                    <a:pt x="43" y="128"/>
                  </a:lnTo>
                  <a:lnTo>
                    <a:pt x="43" y="126"/>
                  </a:lnTo>
                  <a:lnTo>
                    <a:pt x="45" y="126"/>
                  </a:lnTo>
                  <a:lnTo>
                    <a:pt x="48" y="126"/>
                  </a:lnTo>
                  <a:close/>
                  <a:moveTo>
                    <a:pt x="59" y="123"/>
                  </a:moveTo>
                  <a:lnTo>
                    <a:pt x="57" y="123"/>
                  </a:lnTo>
                  <a:lnTo>
                    <a:pt x="59" y="123"/>
                  </a:lnTo>
                  <a:lnTo>
                    <a:pt x="59" y="121"/>
                  </a:lnTo>
                  <a:lnTo>
                    <a:pt x="59" y="123"/>
                  </a:lnTo>
                  <a:close/>
                  <a:moveTo>
                    <a:pt x="112" y="123"/>
                  </a:moveTo>
                  <a:lnTo>
                    <a:pt x="112" y="121"/>
                  </a:lnTo>
                  <a:lnTo>
                    <a:pt x="112" y="123"/>
                  </a:lnTo>
                  <a:close/>
                  <a:moveTo>
                    <a:pt x="88" y="123"/>
                  </a:moveTo>
                  <a:lnTo>
                    <a:pt x="85" y="126"/>
                  </a:lnTo>
                  <a:lnTo>
                    <a:pt x="85" y="128"/>
                  </a:lnTo>
                  <a:lnTo>
                    <a:pt x="85" y="130"/>
                  </a:lnTo>
                  <a:lnTo>
                    <a:pt x="83" y="130"/>
                  </a:lnTo>
                  <a:lnTo>
                    <a:pt x="83" y="133"/>
                  </a:lnTo>
                  <a:lnTo>
                    <a:pt x="83" y="135"/>
                  </a:lnTo>
                  <a:lnTo>
                    <a:pt x="81" y="138"/>
                  </a:lnTo>
                  <a:lnTo>
                    <a:pt x="81" y="140"/>
                  </a:lnTo>
                  <a:lnTo>
                    <a:pt x="81" y="142"/>
                  </a:lnTo>
                  <a:lnTo>
                    <a:pt x="78" y="142"/>
                  </a:lnTo>
                  <a:lnTo>
                    <a:pt x="78" y="140"/>
                  </a:lnTo>
                  <a:lnTo>
                    <a:pt x="76" y="138"/>
                  </a:lnTo>
                  <a:lnTo>
                    <a:pt x="78" y="138"/>
                  </a:lnTo>
                  <a:lnTo>
                    <a:pt x="78" y="135"/>
                  </a:lnTo>
                  <a:lnTo>
                    <a:pt x="81" y="135"/>
                  </a:lnTo>
                  <a:lnTo>
                    <a:pt x="78" y="135"/>
                  </a:lnTo>
                  <a:lnTo>
                    <a:pt x="78" y="133"/>
                  </a:lnTo>
                  <a:lnTo>
                    <a:pt x="78" y="135"/>
                  </a:lnTo>
                  <a:lnTo>
                    <a:pt x="78" y="133"/>
                  </a:lnTo>
                  <a:lnTo>
                    <a:pt x="78" y="135"/>
                  </a:lnTo>
                  <a:lnTo>
                    <a:pt x="78" y="133"/>
                  </a:lnTo>
                  <a:lnTo>
                    <a:pt x="78" y="130"/>
                  </a:lnTo>
                  <a:lnTo>
                    <a:pt x="81" y="130"/>
                  </a:lnTo>
                  <a:lnTo>
                    <a:pt x="83" y="128"/>
                  </a:lnTo>
                  <a:lnTo>
                    <a:pt x="83" y="126"/>
                  </a:lnTo>
                  <a:lnTo>
                    <a:pt x="85" y="126"/>
                  </a:lnTo>
                  <a:lnTo>
                    <a:pt x="85" y="123"/>
                  </a:lnTo>
                  <a:lnTo>
                    <a:pt x="85" y="121"/>
                  </a:lnTo>
                  <a:lnTo>
                    <a:pt x="88" y="121"/>
                  </a:lnTo>
                  <a:lnTo>
                    <a:pt x="88" y="123"/>
                  </a:lnTo>
                  <a:close/>
                  <a:moveTo>
                    <a:pt x="95" y="121"/>
                  </a:moveTo>
                  <a:lnTo>
                    <a:pt x="93" y="121"/>
                  </a:lnTo>
                  <a:lnTo>
                    <a:pt x="95" y="121"/>
                  </a:lnTo>
                  <a:close/>
                  <a:moveTo>
                    <a:pt x="55" y="121"/>
                  </a:moveTo>
                  <a:lnTo>
                    <a:pt x="57" y="121"/>
                  </a:lnTo>
                  <a:lnTo>
                    <a:pt x="57" y="123"/>
                  </a:lnTo>
                  <a:lnTo>
                    <a:pt x="55" y="123"/>
                  </a:lnTo>
                  <a:lnTo>
                    <a:pt x="55" y="121"/>
                  </a:lnTo>
                  <a:close/>
                  <a:moveTo>
                    <a:pt x="100" y="119"/>
                  </a:moveTo>
                  <a:lnTo>
                    <a:pt x="102" y="119"/>
                  </a:lnTo>
                  <a:lnTo>
                    <a:pt x="100" y="119"/>
                  </a:lnTo>
                  <a:close/>
                  <a:moveTo>
                    <a:pt x="112" y="119"/>
                  </a:moveTo>
                  <a:lnTo>
                    <a:pt x="112" y="121"/>
                  </a:lnTo>
                  <a:lnTo>
                    <a:pt x="112" y="119"/>
                  </a:lnTo>
                  <a:close/>
                  <a:moveTo>
                    <a:pt x="102" y="119"/>
                  </a:moveTo>
                  <a:lnTo>
                    <a:pt x="104" y="119"/>
                  </a:lnTo>
                  <a:lnTo>
                    <a:pt x="102" y="119"/>
                  </a:lnTo>
                  <a:close/>
                  <a:moveTo>
                    <a:pt x="95" y="116"/>
                  </a:moveTo>
                  <a:lnTo>
                    <a:pt x="95" y="119"/>
                  </a:lnTo>
                  <a:lnTo>
                    <a:pt x="95" y="116"/>
                  </a:lnTo>
                  <a:close/>
                  <a:moveTo>
                    <a:pt x="7" y="116"/>
                  </a:moveTo>
                  <a:lnTo>
                    <a:pt x="5" y="119"/>
                  </a:lnTo>
                  <a:lnTo>
                    <a:pt x="7" y="119"/>
                  </a:lnTo>
                  <a:lnTo>
                    <a:pt x="5" y="119"/>
                  </a:lnTo>
                  <a:lnTo>
                    <a:pt x="5" y="116"/>
                  </a:lnTo>
                  <a:lnTo>
                    <a:pt x="7" y="116"/>
                  </a:lnTo>
                  <a:lnTo>
                    <a:pt x="7" y="114"/>
                  </a:lnTo>
                  <a:lnTo>
                    <a:pt x="7" y="116"/>
                  </a:lnTo>
                  <a:close/>
                  <a:moveTo>
                    <a:pt x="48" y="116"/>
                  </a:moveTo>
                  <a:lnTo>
                    <a:pt x="48" y="114"/>
                  </a:lnTo>
                  <a:lnTo>
                    <a:pt x="48" y="116"/>
                  </a:lnTo>
                  <a:close/>
                  <a:moveTo>
                    <a:pt x="7" y="114"/>
                  </a:moveTo>
                  <a:lnTo>
                    <a:pt x="10" y="114"/>
                  </a:lnTo>
                  <a:lnTo>
                    <a:pt x="10" y="116"/>
                  </a:lnTo>
                  <a:lnTo>
                    <a:pt x="7" y="116"/>
                  </a:lnTo>
                  <a:lnTo>
                    <a:pt x="7" y="114"/>
                  </a:lnTo>
                  <a:close/>
                  <a:moveTo>
                    <a:pt x="50" y="111"/>
                  </a:moveTo>
                  <a:lnTo>
                    <a:pt x="50" y="114"/>
                  </a:lnTo>
                  <a:lnTo>
                    <a:pt x="48" y="114"/>
                  </a:lnTo>
                  <a:lnTo>
                    <a:pt x="50" y="111"/>
                  </a:lnTo>
                  <a:lnTo>
                    <a:pt x="50" y="114"/>
                  </a:lnTo>
                  <a:lnTo>
                    <a:pt x="50" y="111"/>
                  </a:lnTo>
                  <a:close/>
                  <a:moveTo>
                    <a:pt x="2" y="111"/>
                  </a:moveTo>
                  <a:lnTo>
                    <a:pt x="2" y="114"/>
                  </a:lnTo>
                  <a:lnTo>
                    <a:pt x="5" y="114"/>
                  </a:lnTo>
                  <a:lnTo>
                    <a:pt x="5" y="111"/>
                  </a:lnTo>
                  <a:lnTo>
                    <a:pt x="5" y="114"/>
                  </a:lnTo>
                  <a:lnTo>
                    <a:pt x="2" y="114"/>
                  </a:lnTo>
                  <a:lnTo>
                    <a:pt x="2" y="111"/>
                  </a:lnTo>
                  <a:lnTo>
                    <a:pt x="5" y="111"/>
                  </a:lnTo>
                  <a:lnTo>
                    <a:pt x="2" y="111"/>
                  </a:lnTo>
                  <a:close/>
                  <a:moveTo>
                    <a:pt x="7" y="111"/>
                  </a:moveTo>
                  <a:lnTo>
                    <a:pt x="5" y="114"/>
                  </a:lnTo>
                  <a:lnTo>
                    <a:pt x="5" y="111"/>
                  </a:lnTo>
                  <a:lnTo>
                    <a:pt x="7" y="111"/>
                  </a:lnTo>
                  <a:close/>
                  <a:moveTo>
                    <a:pt x="45" y="111"/>
                  </a:moveTo>
                  <a:lnTo>
                    <a:pt x="48" y="111"/>
                  </a:lnTo>
                  <a:lnTo>
                    <a:pt x="45" y="111"/>
                  </a:lnTo>
                  <a:close/>
                  <a:moveTo>
                    <a:pt x="2" y="104"/>
                  </a:moveTo>
                  <a:lnTo>
                    <a:pt x="2" y="107"/>
                  </a:lnTo>
                  <a:lnTo>
                    <a:pt x="5" y="107"/>
                  </a:lnTo>
                  <a:lnTo>
                    <a:pt x="5" y="109"/>
                  </a:lnTo>
                  <a:lnTo>
                    <a:pt x="5" y="111"/>
                  </a:lnTo>
                  <a:lnTo>
                    <a:pt x="7" y="111"/>
                  </a:lnTo>
                  <a:lnTo>
                    <a:pt x="5" y="111"/>
                  </a:lnTo>
                  <a:lnTo>
                    <a:pt x="2" y="109"/>
                  </a:lnTo>
                  <a:lnTo>
                    <a:pt x="2" y="107"/>
                  </a:lnTo>
                  <a:lnTo>
                    <a:pt x="0" y="107"/>
                  </a:lnTo>
                  <a:lnTo>
                    <a:pt x="2" y="104"/>
                  </a:lnTo>
                  <a:close/>
                  <a:moveTo>
                    <a:pt x="83" y="102"/>
                  </a:moveTo>
                  <a:lnTo>
                    <a:pt x="81" y="104"/>
                  </a:lnTo>
                  <a:lnTo>
                    <a:pt x="81" y="102"/>
                  </a:lnTo>
                  <a:lnTo>
                    <a:pt x="83" y="102"/>
                  </a:lnTo>
                  <a:close/>
                  <a:moveTo>
                    <a:pt x="0" y="102"/>
                  </a:moveTo>
                  <a:lnTo>
                    <a:pt x="0" y="104"/>
                  </a:lnTo>
                  <a:lnTo>
                    <a:pt x="0" y="102"/>
                  </a:lnTo>
                  <a:close/>
                  <a:moveTo>
                    <a:pt x="147" y="100"/>
                  </a:moveTo>
                  <a:lnTo>
                    <a:pt x="147" y="97"/>
                  </a:lnTo>
                  <a:lnTo>
                    <a:pt x="145" y="97"/>
                  </a:lnTo>
                  <a:lnTo>
                    <a:pt x="147" y="97"/>
                  </a:lnTo>
                  <a:lnTo>
                    <a:pt x="147" y="100"/>
                  </a:lnTo>
                  <a:close/>
                  <a:moveTo>
                    <a:pt x="147" y="95"/>
                  </a:moveTo>
                  <a:lnTo>
                    <a:pt x="147" y="97"/>
                  </a:lnTo>
                  <a:lnTo>
                    <a:pt x="145" y="97"/>
                  </a:lnTo>
                  <a:lnTo>
                    <a:pt x="147" y="97"/>
                  </a:lnTo>
                  <a:lnTo>
                    <a:pt x="145" y="97"/>
                  </a:lnTo>
                  <a:lnTo>
                    <a:pt x="145" y="95"/>
                  </a:lnTo>
                  <a:lnTo>
                    <a:pt x="147" y="95"/>
                  </a:lnTo>
                  <a:close/>
                  <a:moveTo>
                    <a:pt x="142" y="95"/>
                  </a:moveTo>
                  <a:lnTo>
                    <a:pt x="142" y="97"/>
                  </a:lnTo>
                  <a:lnTo>
                    <a:pt x="145" y="97"/>
                  </a:lnTo>
                  <a:lnTo>
                    <a:pt x="145" y="100"/>
                  </a:lnTo>
                  <a:lnTo>
                    <a:pt x="142" y="100"/>
                  </a:lnTo>
                  <a:lnTo>
                    <a:pt x="140" y="102"/>
                  </a:lnTo>
                  <a:lnTo>
                    <a:pt x="140" y="100"/>
                  </a:lnTo>
                  <a:lnTo>
                    <a:pt x="138" y="100"/>
                  </a:lnTo>
                  <a:lnTo>
                    <a:pt x="138" y="97"/>
                  </a:lnTo>
                  <a:lnTo>
                    <a:pt x="140" y="97"/>
                  </a:lnTo>
                  <a:lnTo>
                    <a:pt x="140" y="95"/>
                  </a:lnTo>
                  <a:lnTo>
                    <a:pt x="142" y="95"/>
                  </a:lnTo>
                  <a:lnTo>
                    <a:pt x="142" y="92"/>
                  </a:lnTo>
                  <a:lnTo>
                    <a:pt x="142" y="95"/>
                  </a:lnTo>
                  <a:close/>
                  <a:moveTo>
                    <a:pt x="123" y="92"/>
                  </a:moveTo>
                  <a:lnTo>
                    <a:pt x="126" y="92"/>
                  </a:lnTo>
                  <a:lnTo>
                    <a:pt x="123" y="92"/>
                  </a:lnTo>
                  <a:lnTo>
                    <a:pt x="123" y="90"/>
                  </a:lnTo>
                  <a:lnTo>
                    <a:pt x="123" y="92"/>
                  </a:lnTo>
                  <a:close/>
                  <a:moveTo>
                    <a:pt x="116" y="90"/>
                  </a:moveTo>
                  <a:lnTo>
                    <a:pt x="116" y="92"/>
                  </a:lnTo>
                  <a:lnTo>
                    <a:pt x="116" y="90"/>
                  </a:lnTo>
                  <a:lnTo>
                    <a:pt x="114" y="90"/>
                  </a:lnTo>
                  <a:lnTo>
                    <a:pt x="116" y="90"/>
                  </a:lnTo>
                  <a:close/>
                  <a:moveTo>
                    <a:pt x="66" y="90"/>
                  </a:moveTo>
                  <a:lnTo>
                    <a:pt x="64" y="90"/>
                  </a:lnTo>
                  <a:lnTo>
                    <a:pt x="66" y="90"/>
                  </a:lnTo>
                  <a:lnTo>
                    <a:pt x="66" y="88"/>
                  </a:lnTo>
                  <a:lnTo>
                    <a:pt x="66" y="90"/>
                  </a:lnTo>
                  <a:close/>
                  <a:moveTo>
                    <a:pt x="100" y="90"/>
                  </a:moveTo>
                  <a:lnTo>
                    <a:pt x="97" y="90"/>
                  </a:lnTo>
                  <a:lnTo>
                    <a:pt x="97" y="88"/>
                  </a:lnTo>
                  <a:lnTo>
                    <a:pt x="97" y="90"/>
                  </a:lnTo>
                  <a:lnTo>
                    <a:pt x="100" y="90"/>
                  </a:lnTo>
                  <a:close/>
                  <a:moveTo>
                    <a:pt x="116" y="88"/>
                  </a:moveTo>
                  <a:lnTo>
                    <a:pt x="116" y="90"/>
                  </a:lnTo>
                  <a:lnTo>
                    <a:pt x="114" y="90"/>
                  </a:lnTo>
                  <a:lnTo>
                    <a:pt x="114" y="88"/>
                  </a:lnTo>
                  <a:lnTo>
                    <a:pt x="116" y="90"/>
                  </a:lnTo>
                  <a:lnTo>
                    <a:pt x="116" y="88"/>
                  </a:lnTo>
                  <a:close/>
                  <a:moveTo>
                    <a:pt x="59" y="88"/>
                  </a:moveTo>
                  <a:lnTo>
                    <a:pt x="57" y="88"/>
                  </a:lnTo>
                  <a:lnTo>
                    <a:pt x="59" y="88"/>
                  </a:lnTo>
                  <a:lnTo>
                    <a:pt x="57" y="88"/>
                  </a:lnTo>
                  <a:lnTo>
                    <a:pt x="57" y="85"/>
                  </a:lnTo>
                  <a:lnTo>
                    <a:pt x="59" y="88"/>
                  </a:lnTo>
                  <a:close/>
                  <a:moveTo>
                    <a:pt x="59" y="85"/>
                  </a:moveTo>
                  <a:lnTo>
                    <a:pt x="57" y="85"/>
                  </a:lnTo>
                  <a:lnTo>
                    <a:pt x="59" y="85"/>
                  </a:lnTo>
                  <a:close/>
                  <a:moveTo>
                    <a:pt x="55" y="85"/>
                  </a:moveTo>
                  <a:lnTo>
                    <a:pt x="57" y="85"/>
                  </a:lnTo>
                  <a:lnTo>
                    <a:pt x="55" y="85"/>
                  </a:lnTo>
                  <a:close/>
                  <a:moveTo>
                    <a:pt x="78" y="83"/>
                  </a:moveTo>
                  <a:lnTo>
                    <a:pt x="76" y="83"/>
                  </a:lnTo>
                  <a:lnTo>
                    <a:pt x="78" y="83"/>
                  </a:lnTo>
                  <a:close/>
                  <a:moveTo>
                    <a:pt x="93" y="83"/>
                  </a:moveTo>
                  <a:lnTo>
                    <a:pt x="95" y="83"/>
                  </a:lnTo>
                  <a:lnTo>
                    <a:pt x="95" y="85"/>
                  </a:lnTo>
                  <a:lnTo>
                    <a:pt x="93" y="85"/>
                  </a:lnTo>
                  <a:lnTo>
                    <a:pt x="93" y="83"/>
                  </a:lnTo>
                  <a:lnTo>
                    <a:pt x="90" y="83"/>
                  </a:lnTo>
                  <a:lnTo>
                    <a:pt x="93" y="83"/>
                  </a:lnTo>
                  <a:close/>
                  <a:moveTo>
                    <a:pt x="71" y="81"/>
                  </a:moveTo>
                  <a:lnTo>
                    <a:pt x="69" y="81"/>
                  </a:lnTo>
                  <a:lnTo>
                    <a:pt x="71" y="81"/>
                  </a:lnTo>
                  <a:close/>
                  <a:moveTo>
                    <a:pt x="76" y="81"/>
                  </a:moveTo>
                  <a:lnTo>
                    <a:pt x="76" y="83"/>
                  </a:lnTo>
                  <a:lnTo>
                    <a:pt x="76" y="85"/>
                  </a:lnTo>
                  <a:lnTo>
                    <a:pt x="78" y="85"/>
                  </a:lnTo>
                  <a:lnTo>
                    <a:pt x="78" y="83"/>
                  </a:lnTo>
                  <a:lnTo>
                    <a:pt x="78" y="85"/>
                  </a:lnTo>
                  <a:lnTo>
                    <a:pt x="76" y="85"/>
                  </a:lnTo>
                  <a:lnTo>
                    <a:pt x="76" y="88"/>
                  </a:lnTo>
                  <a:lnTo>
                    <a:pt x="76" y="90"/>
                  </a:lnTo>
                  <a:lnTo>
                    <a:pt x="74" y="90"/>
                  </a:lnTo>
                  <a:lnTo>
                    <a:pt x="74" y="88"/>
                  </a:lnTo>
                  <a:lnTo>
                    <a:pt x="74" y="85"/>
                  </a:lnTo>
                  <a:lnTo>
                    <a:pt x="76" y="85"/>
                  </a:lnTo>
                  <a:lnTo>
                    <a:pt x="76" y="83"/>
                  </a:lnTo>
                  <a:lnTo>
                    <a:pt x="76" y="81"/>
                  </a:lnTo>
                  <a:lnTo>
                    <a:pt x="74" y="81"/>
                  </a:lnTo>
                  <a:lnTo>
                    <a:pt x="74" y="78"/>
                  </a:lnTo>
                  <a:lnTo>
                    <a:pt x="74" y="81"/>
                  </a:lnTo>
                  <a:lnTo>
                    <a:pt x="76" y="81"/>
                  </a:lnTo>
                  <a:close/>
                  <a:moveTo>
                    <a:pt x="83" y="71"/>
                  </a:moveTo>
                  <a:lnTo>
                    <a:pt x="81" y="71"/>
                  </a:lnTo>
                  <a:lnTo>
                    <a:pt x="83" y="71"/>
                  </a:lnTo>
                  <a:close/>
                  <a:moveTo>
                    <a:pt x="10" y="45"/>
                  </a:moveTo>
                  <a:lnTo>
                    <a:pt x="12" y="45"/>
                  </a:lnTo>
                  <a:lnTo>
                    <a:pt x="10" y="45"/>
                  </a:lnTo>
                  <a:lnTo>
                    <a:pt x="10" y="47"/>
                  </a:lnTo>
                  <a:lnTo>
                    <a:pt x="10" y="45"/>
                  </a:lnTo>
                  <a:close/>
                  <a:moveTo>
                    <a:pt x="10" y="43"/>
                  </a:moveTo>
                  <a:lnTo>
                    <a:pt x="7" y="43"/>
                  </a:lnTo>
                  <a:lnTo>
                    <a:pt x="7" y="40"/>
                  </a:lnTo>
                  <a:lnTo>
                    <a:pt x="10" y="40"/>
                  </a:lnTo>
                  <a:lnTo>
                    <a:pt x="10" y="43"/>
                  </a:lnTo>
                  <a:close/>
                  <a:moveTo>
                    <a:pt x="109" y="40"/>
                  </a:moveTo>
                  <a:lnTo>
                    <a:pt x="109" y="43"/>
                  </a:lnTo>
                  <a:lnTo>
                    <a:pt x="107" y="43"/>
                  </a:lnTo>
                  <a:lnTo>
                    <a:pt x="104" y="43"/>
                  </a:lnTo>
                  <a:lnTo>
                    <a:pt x="104" y="40"/>
                  </a:lnTo>
                  <a:lnTo>
                    <a:pt x="107" y="40"/>
                  </a:lnTo>
                  <a:lnTo>
                    <a:pt x="109" y="40"/>
                  </a:lnTo>
                  <a:close/>
                  <a:moveTo>
                    <a:pt x="24" y="35"/>
                  </a:moveTo>
                  <a:lnTo>
                    <a:pt x="26" y="35"/>
                  </a:lnTo>
                  <a:lnTo>
                    <a:pt x="24" y="35"/>
                  </a:lnTo>
                  <a:lnTo>
                    <a:pt x="26" y="35"/>
                  </a:lnTo>
                  <a:lnTo>
                    <a:pt x="24" y="35"/>
                  </a:lnTo>
                  <a:lnTo>
                    <a:pt x="24" y="38"/>
                  </a:lnTo>
                  <a:lnTo>
                    <a:pt x="21" y="35"/>
                  </a:lnTo>
                  <a:lnTo>
                    <a:pt x="24" y="35"/>
                  </a:lnTo>
                  <a:close/>
                  <a:moveTo>
                    <a:pt x="26" y="33"/>
                  </a:moveTo>
                  <a:lnTo>
                    <a:pt x="24" y="33"/>
                  </a:lnTo>
                  <a:lnTo>
                    <a:pt x="26" y="31"/>
                  </a:lnTo>
                  <a:lnTo>
                    <a:pt x="26" y="33"/>
                  </a:lnTo>
                  <a:close/>
                  <a:moveTo>
                    <a:pt x="50" y="24"/>
                  </a:moveTo>
                  <a:lnTo>
                    <a:pt x="52" y="24"/>
                  </a:lnTo>
                  <a:lnTo>
                    <a:pt x="50" y="24"/>
                  </a:lnTo>
                  <a:close/>
                  <a:moveTo>
                    <a:pt x="90" y="16"/>
                  </a:moveTo>
                  <a:lnTo>
                    <a:pt x="88" y="16"/>
                  </a:lnTo>
                  <a:lnTo>
                    <a:pt x="90" y="16"/>
                  </a:lnTo>
                  <a:close/>
                  <a:moveTo>
                    <a:pt x="95" y="9"/>
                  </a:moveTo>
                  <a:lnTo>
                    <a:pt x="95" y="12"/>
                  </a:lnTo>
                  <a:lnTo>
                    <a:pt x="93" y="12"/>
                  </a:lnTo>
                  <a:lnTo>
                    <a:pt x="90" y="12"/>
                  </a:lnTo>
                  <a:lnTo>
                    <a:pt x="93" y="12"/>
                  </a:lnTo>
                  <a:lnTo>
                    <a:pt x="93" y="14"/>
                  </a:lnTo>
                  <a:lnTo>
                    <a:pt x="90" y="14"/>
                  </a:lnTo>
                  <a:lnTo>
                    <a:pt x="88" y="16"/>
                  </a:lnTo>
                  <a:lnTo>
                    <a:pt x="88" y="14"/>
                  </a:lnTo>
                  <a:lnTo>
                    <a:pt x="85" y="14"/>
                  </a:lnTo>
                  <a:lnTo>
                    <a:pt x="85" y="12"/>
                  </a:lnTo>
                  <a:lnTo>
                    <a:pt x="88" y="12"/>
                  </a:lnTo>
                  <a:lnTo>
                    <a:pt x="90" y="12"/>
                  </a:lnTo>
                  <a:lnTo>
                    <a:pt x="90" y="9"/>
                  </a:lnTo>
                  <a:lnTo>
                    <a:pt x="93" y="9"/>
                  </a:lnTo>
                  <a:lnTo>
                    <a:pt x="95" y="9"/>
                  </a:lnTo>
                  <a:close/>
                  <a:moveTo>
                    <a:pt x="76" y="2"/>
                  </a:moveTo>
                  <a:lnTo>
                    <a:pt x="76" y="0"/>
                  </a:lnTo>
                  <a:lnTo>
                    <a:pt x="7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7" name="Freeform 50290"/>
            <p:cNvSpPr>
              <a:spLocks noEditPoints="1"/>
            </p:cNvSpPr>
            <p:nvPr/>
          </p:nvSpPr>
          <p:spPr bwMode="auto">
            <a:xfrm>
              <a:off x="2481261" y="4105290"/>
              <a:ext cx="342900" cy="211138"/>
            </a:xfrm>
            <a:custGeom>
              <a:avLst/>
              <a:gdLst>
                <a:gd name="T0" fmla="*/ 26 w 216"/>
                <a:gd name="T1" fmla="*/ 133 h 133"/>
                <a:gd name="T2" fmla="*/ 59 w 216"/>
                <a:gd name="T3" fmla="*/ 133 h 133"/>
                <a:gd name="T4" fmla="*/ 59 w 216"/>
                <a:gd name="T5" fmla="*/ 133 h 133"/>
                <a:gd name="T6" fmla="*/ 90 w 216"/>
                <a:gd name="T7" fmla="*/ 133 h 133"/>
                <a:gd name="T8" fmla="*/ 57 w 216"/>
                <a:gd name="T9" fmla="*/ 133 h 133"/>
                <a:gd name="T10" fmla="*/ 57 w 216"/>
                <a:gd name="T11" fmla="*/ 133 h 133"/>
                <a:gd name="T12" fmla="*/ 62 w 216"/>
                <a:gd name="T13" fmla="*/ 128 h 133"/>
                <a:gd name="T14" fmla="*/ 119 w 216"/>
                <a:gd name="T15" fmla="*/ 126 h 133"/>
                <a:gd name="T16" fmla="*/ 119 w 216"/>
                <a:gd name="T17" fmla="*/ 126 h 133"/>
                <a:gd name="T18" fmla="*/ 54 w 216"/>
                <a:gd name="T19" fmla="*/ 124 h 133"/>
                <a:gd name="T20" fmla="*/ 111 w 216"/>
                <a:gd name="T21" fmla="*/ 121 h 133"/>
                <a:gd name="T22" fmla="*/ 111 w 216"/>
                <a:gd name="T23" fmla="*/ 121 h 133"/>
                <a:gd name="T24" fmla="*/ 33 w 216"/>
                <a:gd name="T25" fmla="*/ 112 h 133"/>
                <a:gd name="T26" fmla="*/ 216 w 216"/>
                <a:gd name="T27" fmla="*/ 109 h 133"/>
                <a:gd name="T28" fmla="*/ 213 w 216"/>
                <a:gd name="T29" fmla="*/ 112 h 133"/>
                <a:gd name="T30" fmla="*/ 216 w 216"/>
                <a:gd name="T31" fmla="*/ 109 h 133"/>
                <a:gd name="T32" fmla="*/ 36 w 216"/>
                <a:gd name="T33" fmla="*/ 109 h 133"/>
                <a:gd name="T34" fmla="*/ 36 w 216"/>
                <a:gd name="T35" fmla="*/ 109 h 133"/>
                <a:gd name="T36" fmla="*/ 59 w 216"/>
                <a:gd name="T37" fmla="*/ 105 h 133"/>
                <a:gd name="T38" fmla="*/ 59 w 216"/>
                <a:gd name="T39" fmla="*/ 105 h 133"/>
                <a:gd name="T40" fmla="*/ 78 w 216"/>
                <a:gd name="T41" fmla="*/ 102 h 133"/>
                <a:gd name="T42" fmla="*/ 50 w 216"/>
                <a:gd name="T43" fmla="*/ 95 h 133"/>
                <a:gd name="T44" fmla="*/ 50 w 216"/>
                <a:gd name="T45" fmla="*/ 95 h 133"/>
                <a:gd name="T46" fmla="*/ 50 w 216"/>
                <a:gd name="T47" fmla="*/ 95 h 133"/>
                <a:gd name="T48" fmla="*/ 114 w 216"/>
                <a:gd name="T49" fmla="*/ 88 h 133"/>
                <a:gd name="T50" fmla="*/ 114 w 216"/>
                <a:gd name="T51" fmla="*/ 88 h 133"/>
                <a:gd name="T52" fmla="*/ 52 w 216"/>
                <a:gd name="T53" fmla="*/ 83 h 133"/>
                <a:gd name="T54" fmla="*/ 66 w 216"/>
                <a:gd name="T55" fmla="*/ 81 h 133"/>
                <a:gd name="T56" fmla="*/ 66 w 216"/>
                <a:gd name="T57" fmla="*/ 81 h 133"/>
                <a:gd name="T58" fmla="*/ 66 w 216"/>
                <a:gd name="T59" fmla="*/ 79 h 133"/>
                <a:gd name="T60" fmla="*/ 2 w 216"/>
                <a:gd name="T61" fmla="*/ 45 h 133"/>
                <a:gd name="T62" fmla="*/ 2 w 216"/>
                <a:gd name="T63" fmla="*/ 43 h 133"/>
                <a:gd name="T64" fmla="*/ 36 w 216"/>
                <a:gd name="T65" fmla="*/ 22 h 133"/>
                <a:gd name="T66" fmla="*/ 36 w 216"/>
                <a:gd name="T67" fmla="*/ 22 h 133"/>
                <a:gd name="T68" fmla="*/ 38 w 216"/>
                <a:gd name="T69" fmla="*/ 19 h 133"/>
                <a:gd name="T70" fmla="*/ 78 w 216"/>
                <a:gd name="T71" fmla="*/ 14 h 133"/>
                <a:gd name="T72" fmla="*/ 78 w 216"/>
                <a:gd name="T73" fmla="*/ 14 h 133"/>
                <a:gd name="T74" fmla="*/ 76 w 216"/>
                <a:gd name="T75" fmla="*/ 12 h 133"/>
                <a:gd name="T76" fmla="*/ 73 w 216"/>
                <a:gd name="T77" fmla="*/ 7 h 133"/>
                <a:gd name="T78" fmla="*/ 73 w 216"/>
                <a:gd name="T79" fmla="*/ 7 h 133"/>
                <a:gd name="T80" fmla="*/ 62 w 216"/>
                <a:gd name="T8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 h="133">
                  <a:moveTo>
                    <a:pt x="28" y="133"/>
                  </a:moveTo>
                  <a:lnTo>
                    <a:pt x="26" y="133"/>
                  </a:lnTo>
                  <a:lnTo>
                    <a:pt x="28" y="133"/>
                  </a:lnTo>
                  <a:close/>
                  <a:moveTo>
                    <a:pt x="59" y="133"/>
                  </a:moveTo>
                  <a:lnTo>
                    <a:pt x="57" y="133"/>
                  </a:lnTo>
                  <a:lnTo>
                    <a:pt x="59" y="133"/>
                  </a:lnTo>
                  <a:close/>
                  <a:moveTo>
                    <a:pt x="92" y="133"/>
                  </a:moveTo>
                  <a:lnTo>
                    <a:pt x="90" y="133"/>
                  </a:lnTo>
                  <a:lnTo>
                    <a:pt x="92" y="133"/>
                  </a:lnTo>
                  <a:close/>
                  <a:moveTo>
                    <a:pt x="57" y="133"/>
                  </a:moveTo>
                  <a:lnTo>
                    <a:pt x="57" y="131"/>
                  </a:lnTo>
                  <a:lnTo>
                    <a:pt x="57" y="133"/>
                  </a:lnTo>
                  <a:close/>
                  <a:moveTo>
                    <a:pt x="64" y="128"/>
                  </a:moveTo>
                  <a:lnTo>
                    <a:pt x="62" y="128"/>
                  </a:lnTo>
                  <a:lnTo>
                    <a:pt x="64" y="128"/>
                  </a:lnTo>
                  <a:close/>
                  <a:moveTo>
                    <a:pt x="119" y="126"/>
                  </a:moveTo>
                  <a:lnTo>
                    <a:pt x="116" y="126"/>
                  </a:lnTo>
                  <a:lnTo>
                    <a:pt x="119" y="126"/>
                  </a:lnTo>
                  <a:close/>
                  <a:moveTo>
                    <a:pt x="54" y="126"/>
                  </a:moveTo>
                  <a:lnTo>
                    <a:pt x="54" y="124"/>
                  </a:lnTo>
                  <a:lnTo>
                    <a:pt x="54" y="126"/>
                  </a:lnTo>
                  <a:close/>
                  <a:moveTo>
                    <a:pt x="111" y="121"/>
                  </a:moveTo>
                  <a:lnTo>
                    <a:pt x="111" y="119"/>
                  </a:lnTo>
                  <a:lnTo>
                    <a:pt x="111" y="121"/>
                  </a:lnTo>
                  <a:close/>
                  <a:moveTo>
                    <a:pt x="36" y="112"/>
                  </a:moveTo>
                  <a:lnTo>
                    <a:pt x="33" y="112"/>
                  </a:lnTo>
                  <a:lnTo>
                    <a:pt x="36" y="112"/>
                  </a:lnTo>
                  <a:close/>
                  <a:moveTo>
                    <a:pt x="216" y="109"/>
                  </a:moveTo>
                  <a:lnTo>
                    <a:pt x="216" y="112"/>
                  </a:lnTo>
                  <a:lnTo>
                    <a:pt x="213" y="112"/>
                  </a:lnTo>
                  <a:lnTo>
                    <a:pt x="213" y="109"/>
                  </a:lnTo>
                  <a:lnTo>
                    <a:pt x="216" y="109"/>
                  </a:lnTo>
                  <a:close/>
                  <a:moveTo>
                    <a:pt x="38" y="109"/>
                  </a:moveTo>
                  <a:lnTo>
                    <a:pt x="36" y="109"/>
                  </a:lnTo>
                  <a:lnTo>
                    <a:pt x="38" y="109"/>
                  </a:lnTo>
                  <a:lnTo>
                    <a:pt x="36" y="109"/>
                  </a:lnTo>
                  <a:lnTo>
                    <a:pt x="38" y="109"/>
                  </a:lnTo>
                  <a:close/>
                  <a:moveTo>
                    <a:pt x="59" y="105"/>
                  </a:moveTo>
                  <a:lnTo>
                    <a:pt x="59" y="102"/>
                  </a:lnTo>
                  <a:lnTo>
                    <a:pt x="59" y="105"/>
                  </a:lnTo>
                  <a:close/>
                  <a:moveTo>
                    <a:pt x="81" y="102"/>
                  </a:moveTo>
                  <a:lnTo>
                    <a:pt x="78" y="102"/>
                  </a:lnTo>
                  <a:lnTo>
                    <a:pt x="81" y="102"/>
                  </a:lnTo>
                  <a:close/>
                  <a:moveTo>
                    <a:pt x="50" y="95"/>
                  </a:moveTo>
                  <a:lnTo>
                    <a:pt x="50" y="98"/>
                  </a:lnTo>
                  <a:lnTo>
                    <a:pt x="50" y="95"/>
                  </a:lnTo>
                  <a:close/>
                  <a:moveTo>
                    <a:pt x="50" y="98"/>
                  </a:moveTo>
                  <a:lnTo>
                    <a:pt x="50" y="95"/>
                  </a:lnTo>
                  <a:lnTo>
                    <a:pt x="50" y="98"/>
                  </a:lnTo>
                  <a:close/>
                  <a:moveTo>
                    <a:pt x="114" y="88"/>
                  </a:moveTo>
                  <a:lnTo>
                    <a:pt x="111" y="88"/>
                  </a:lnTo>
                  <a:lnTo>
                    <a:pt x="114" y="88"/>
                  </a:lnTo>
                  <a:close/>
                  <a:moveTo>
                    <a:pt x="52" y="81"/>
                  </a:moveTo>
                  <a:lnTo>
                    <a:pt x="52" y="83"/>
                  </a:lnTo>
                  <a:lnTo>
                    <a:pt x="52" y="81"/>
                  </a:lnTo>
                  <a:close/>
                  <a:moveTo>
                    <a:pt x="66" y="81"/>
                  </a:moveTo>
                  <a:lnTo>
                    <a:pt x="64" y="81"/>
                  </a:lnTo>
                  <a:lnTo>
                    <a:pt x="66" y="81"/>
                  </a:lnTo>
                  <a:close/>
                  <a:moveTo>
                    <a:pt x="66" y="81"/>
                  </a:moveTo>
                  <a:lnTo>
                    <a:pt x="66" y="79"/>
                  </a:lnTo>
                  <a:lnTo>
                    <a:pt x="66" y="81"/>
                  </a:lnTo>
                  <a:close/>
                  <a:moveTo>
                    <a:pt x="2" y="45"/>
                  </a:moveTo>
                  <a:lnTo>
                    <a:pt x="0" y="43"/>
                  </a:lnTo>
                  <a:lnTo>
                    <a:pt x="2" y="43"/>
                  </a:lnTo>
                  <a:lnTo>
                    <a:pt x="2" y="45"/>
                  </a:lnTo>
                  <a:close/>
                  <a:moveTo>
                    <a:pt x="36" y="22"/>
                  </a:moveTo>
                  <a:lnTo>
                    <a:pt x="38" y="22"/>
                  </a:lnTo>
                  <a:lnTo>
                    <a:pt x="36" y="22"/>
                  </a:lnTo>
                  <a:close/>
                  <a:moveTo>
                    <a:pt x="38" y="22"/>
                  </a:moveTo>
                  <a:lnTo>
                    <a:pt x="38" y="19"/>
                  </a:lnTo>
                  <a:lnTo>
                    <a:pt x="38" y="22"/>
                  </a:lnTo>
                  <a:close/>
                  <a:moveTo>
                    <a:pt x="78" y="14"/>
                  </a:moveTo>
                  <a:lnTo>
                    <a:pt x="76" y="14"/>
                  </a:lnTo>
                  <a:lnTo>
                    <a:pt x="78" y="14"/>
                  </a:lnTo>
                  <a:close/>
                  <a:moveTo>
                    <a:pt x="76" y="14"/>
                  </a:moveTo>
                  <a:lnTo>
                    <a:pt x="76" y="12"/>
                  </a:lnTo>
                  <a:lnTo>
                    <a:pt x="76" y="14"/>
                  </a:lnTo>
                  <a:close/>
                  <a:moveTo>
                    <a:pt x="73" y="7"/>
                  </a:moveTo>
                  <a:lnTo>
                    <a:pt x="73" y="5"/>
                  </a:lnTo>
                  <a:lnTo>
                    <a:pt x="73" y="7"/>
                  </a:lnTo>
                  <a:close/>
                  <a:moveTo>
                    <a:pt x="64" y="3"/>
                  </a:moveTo>
                  <a:lnTo>
                    <a:pt x="62" y="0"/>
                  </a:lnTo>
                  <a:lnTo>
                    <a:pt x="64"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8" name="Freeform 50291"/>
            <p:cNvSpPr>
              <a:spLocks noEditPoints="1"/>
            </p:cNvSpPr>
            <p:nvPr/>
          </p:nvSpPr>
          <p:spPr bwMode="auto">
            <a:xfrm>
              <a:off x="3170236" y="3970351"/>
              <a:ext cx="82550" cy="101600"/>
            </a:xfrm>
            <a:custGeom>
              <a:avLst/>
              <a:gdLst>
                <a:gd name="T0" fmla="*/ 50 w 52"/>
                <a:gd name="T1" fmla="*/ 26 h 64"/>
                <a:gd name="T2" fmla="*/ 50 w 52"/>
                <a:gd name="T3" fmla="*/ 30 h 64"/>
                <a:gd name="T4" fmla="*/ 48 w 52"/>
                <a:gd name="T5" fmla="*/ 30 h 64"/>
                <a:gd name="T6" fmla="*/ 45 w 52"/>
                <a:gd name="T7" fmla="*/ 30 h 64"/>
                <a:gd name="T8" fmla="*/ 45 w 52"/>
                <a:gd name="T9" fmla="*/ 33 h 64"/>
                <a:gd name="T10" fmla="*/ 48 w 52"/>
                <a:gd name="T11" fmla="*/ 33 h 64"/>
                <a:gd name="T12" fmla="*/ 45 w 52"/>
                <a:gd name="T13" fmla="*/ 33 h 64"/>
                <a:gd name="T14" fmla="*/ 45 w 52"/>
                <a:gd name="T15" fmla="*/ 35 h 64"/>
                <a:gd name="T16" fmla="*/ 40 w 52"/>
                <a:gd name="T17" fmla="*/ 35 h 64"/>
                <a:gd name="T18" fmla="*/ 38 w 52"/>
                <a:gd name="T19" fmla="*/ 40 h 64"/>
                <a:gd name="T20" fmla="*/ 38 w 52"/>
                <a:gd name="T21" fmla="*/ 40 h 64"/>
                <a:gd name="T22" fmla="*/ 31 w 52"/>
                <a:gd name="T23" fmla="*/ 45 h 64"/>
                <a:gd name="T24" fmla="*/ 31 w 52"/>
                <a:gd name="T25" fmla="*/ 47 h 64"/>
                <a:gd name="T26" fmla="*/ 26 w 52"/>
                <a:gd name="T27" fmla="*/ 45 h 64"/>
                <a:gd name="T28" fmla="*/ 24 w 52"/>
                <a:gd name="T29" fmla="*/ 45 h 64"/>
                <a:gd name="T30" fmla="*/ 21 w 52"/>
                <a:gd name="T31" fmla="*/ 45 h 64"/>
                <a:gd name="T32" fmla="*/ 14 w 52"/>
                <a:gd name="T33" fmla="*/ 52 h 64"/>
                <a:gd name="T34" fmla="*/ 10 w 52"/>
                <a:gd name="T35" fmla="*/ 59 h 64"/>
                <a:gd name="T36" fmla="*/ 5 w 52"/>
                <a:gd name="T37" fmla="*/ 61 h 64"/>
                <a:gd name="T38" fmla="*/ 7 w 52"/>
                <a:gd name="T39" fmla="*/ 57 h 64"/>
                <a:gd name="T40" fmla="*/ 12 w 52"/>
                <a:gd name="T41" fmla="*/ 49 h 64"/>
                <a:gd name="T42" fmla="*/ 7 w 52"/>
                <a:gd name="T43" fmla="*/ 49 h 64"/>
                <a:gd name="T44" fmla="*/ 5 w 52"/>
                <a:gd name="T45" fmla="*/ 45 h 64"/>
                <a:gd name="T46" fmla="*/ 0 w 52"/>
                <a:gd name="T47" fmla="*/ 42 h 64"/>
                <a:gd name="T48" fmla="*/ 0 w 52"/>
                <a:gd name="T49" fmla="*/ 40 h 64"/>
                <a:gd name="T50" fmla="*/ 3 w 52"/>
                <a:gd name="T51" fmla="*/ 40 h 64"/>
                <a:gd name="T52" fmla="*/ 5 w 52"/>
                <a:gd name="T53" fmla="*/ 35 h 64"/>
                <a:gd name="T54" fmla="*/ 0 w 52"/>
                <a:gd name="T55" fmla="*/ 33 h 64"/>
                <a:gd name="T56" fmla="*/ 5 w 52"/>
                <a:gd name="T57" fmla="*/ 30 h 64"/>
                <a:gd name="T58" fmla="*/ 10 w 52"/>
                <a:gd name="T59" fmla="*/ 33 h 64"/>
                <a:gd name="T60" fmla="*/ 12 w 52"/>
                <a:gd name="T61" fmla="*/ 28 h 64"/>
                <a:gd name="T62" fmla="*/ 14 w 52"/>
                <a:gd name="T63" fmla="*/ 33 h 64"/>
                <a:gd name="T64" fmla="*/ 14 w 52"/>
                <a:gd name="T65" fmla="*/ 30 h 64"/>
                <a:gd name="T66" fmla="*/ 21 w 52"/>
                <a:gd name="T67" fmla="*/ 26 h 64"/>
                <a:gd name="T68" fmla="*/ 24 w 52"/>
                <a:gd name="T69" fmla="*/ 23 h 64"/>
                <a:gd name="T70" fmla="*/ 29 w 52"/>
                <a:gd name="T71" fmla="*/ 28 h 64"/>
                <a:gd name="T72" fmla="*/ 33 w 52"/>
                <a:gd name="T73" fmla="*/ 26 h 64"/>
                <a:gd name="T74" fmla="*/ 43 w 52"/>
                <a:gd name="T75" fmla="*/ 28 h 64"/>
                <a:gd name="T76" fmla="*/ 43 w 52"/>
                <a:gd name="T77" fmla="*/ 21 h 64"/>
                <a:gd name="T78" fmla="*/ 29 w 52"/>
                <a:gd name="T79" fmla="*/ 2 h 64"/>
                <a:gd name="T80" fmla="*/ 33 w 52"/>
                <a:gd name="T81" fmla="*/ 4 h 64"/>
                <a:gd name="T82" fmla="*/ 36 w 52"/>
                <a:gd name="T83" fmla="*/ 9 h 64"/>
                <a:gd name="T84" fmla="*/ 40 w 52"/>
                <a:gd name="T85" fmla="*/ 11 h 64"/>
                <a:gd name="T86" fmla="*/ 36 w 52"/>
                <a:gd name="T87" fmla="*/ 14 h 64"/>
                <a:gd name="T88" fmla="*/ 33 w 52"/>
                <a:gd name="T89" fmla="*/ 14 h 64"/>
                <a:gd name="T90" fmla="*/ 31 w 52"/>
                <a:gd name="T91" fmla="*/ 16 h 64"/>
                <a:gd name="T92" fmla="*/ 29 w 52"/>
                <a:gd name="T93" fmla="*/ 21 h 64"/>
                <a:gd name="T94" fmla="*/ 21 w 52"/>
                <a:gd name="T95" fmla="*/ 16 h 64"/>
                <a:gd name="T96" fmla="*/ 21 w 52"/>
                <a:gd name="T97" fmla="*/ 14 h 64"/>
                <a:gd name="T98" fmla="*/ 12 w 52"/>
                <a:gd name="T99" fmla="*/ 11 h 64"/>
                <a:gd name="T100" fmla="*/ 12 w 52"/>
                <a:gd name="T101" fmla="*/ 9 h 64"/>
                <a:gd name="T102" fmla="*/ 21 w 52"/>
                <a:gd name="T103" fmla="*/ 7 h 64"/>
                <a:gd name="T104" fmla="*/ 21 w 52"/>
                <a:gd name="T105" fmla="*/ 4 h 64"/>
                <a:gd name="T106" fmla="*/ 24 w 52"/>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64">
                  <a:moveTo>
                    <a:pt x="45" y="21"/>
                  </a:moveTo>
                  <a:lnTo>
                    <a:pt x="45" y="23"/>
                  </a:lnTo>
                  <a:lnTo>
                    <a:pt x="48" y="23"/>
                  </a:lnTo>
                  <a:lnTo>
                    <a:pt x="50" y="23"/>
                  </a:lnTo>
                  <a:lnTo>
                    <a:pt x="50" y="26"/>
                  </a:lnTo>
                  <a:lnTo>
                    <a:pt x="52" y="28"/>
                  </a:lnTo>
                  <a:lnTo>
                    <a:pt x="52" y="30"/>
                  </a:lnTo>
                  <a:lnTo>
                    <a:pt x="50" y="30"/>
                  </a:lnTo>
                  <a:lnTo>
                    <a:pt x="52" y="30"/>
                  </a:lnTo>
                  <a:lnTo>
                    <a:pt x="50" y="30"/>
                  </a:lnTo>
                  <a:lnTo>
                    <a:pt x="50" y="28"/>
                  </a:lnTo>
                  <a:lnTo>
                    <a:pt x="50" y="30"/>
                  </a:lnTo>
                  <a:lnTo>
                    <a:pt x="48" y="30"/>
                  </a:lnTo>
                  <a:lnTo>
                    <a:pt x="48" y="28"/>
                  </a:lnTo>
                  <a:lnTo>
                    <a:pt x="48" y="30"/>
                  </a:lnTo>
                  <a:lnTo>
                    <a:pt x="48" y="28"/>
                  </a:lnTo>
                  <a:lnTo>
                    <a:pt x="48" y="30"/>
                  </a:lnTo>
                  <a:lnTo>
                    <a:pt x="45" y="30"/>
                  </a:lnTo>
                  <a:lnTo>
                    <a:pt x="45" y="28"/>
                  </a:lnTo>
                  <a:lnTo>
                    <a:pt x="45" y="30"/>
                  </a:lnTo>
                  <a:lnTo>
                    <a:pt x="45" y="28"/>
                  </a:lnTo>
                  <a:lnTo>
                    <a:pt x="43" y="28"/>
                  </a:lnTo>
                  <a:lnTo>
                    <a:pt x="43" y="30"/>
                  </a:lnTo>
                  <a:lnTo>
                    <a:pt x="45" y="30"/>
                  </a:lnTo>
                  <a:lnTo>
                    <a:pt x="45" y="33"/>
                  </a:lnTo>
                  <a:lnTo>
                    <a:pt x="48" y="33"/>
                  </a:lnTo>
                  <a:lnTo>
                    <a:pt x="50" y="33"/>
                  </a:lnTo>
                  <a:lnTo>
                    <a:pt x="50" y="35"/>
                  </a:lnTo>
                  <a:lnTo>
                    <a:pt x="48" y="35"/>
                  </a:lnTo>
                  <a:lnTo>
                    <a:pt x="48" y="33"/>
                  </a:lnTo>
                  <a:lnTo>
                    <a:pt x="48" y="35"/>
                  </a:lnTo>
                  <a:lnTo>
                    <a:pt x="48" y="33"/>
                  </a:lnTo>
                  <a:lnTo>
                    <a:pt x="48" y="35"/>
                  </a:lnTo>
                  <a:lnTo>
                    <a:pt x="48" y="33"/>
                  </a:lnTo>
                  <a:lnTo>
                    <a:pt x="45" y="33"/>
                  </a:lnTo>
                  <a:lnTo>
                    <a:pt x="45" y="35"/>
                  </a:lnTo>
                  <a:lnTo>
                    <a:pt x="48" y="35"/>
                  </a:lnTo>
                  <a:lnTo>
                    <a:pt x="45" y="35"/>
                  </a:lnTo>
                  <a:lnTo>
                    <a:pt x="45" y="33"/>
                  </a:lnTo>
                  <a:lnTo>
                    <a:pt x="45" y="35"/>
                  </a:lnTo>
                  <a:lnTo>
                    <a:pt x="43" y="35"/>
                  </a:lnTo>
                  <a:lnTo>
                    <a:pt x="45" y="33"/>
                  </a:lnTo>
                  <a:lnTo>
                    <a:pt x="43" y="33"/>
                  </a:lnTo>
                  <a:lnTo>
                    <a:pt x="43" y="35"/>
                  </a:lnTo>
                  <a:lnTo>
                    <a:pt x="40" y="35"/>
                  </a:lnTo>
                  <a:lnTo>
                    <a:pt x="40" y="38"/>
                  </a:lnTo>
                  <a:lnTo>
                    <a:pt x="40" y="40"/>
                  </a:lnTo>
                  <a:lnTo>
                    <a:pt x="38" y="40"/>
                  </a:lnTo>
                  <a:lnTo>
                    <a:pt x="38" y="38"/>
                  </a:lnTo>
                  <a:lnTo>
                    <a:pt x="38" y="40"/>
                  </a:lnTo>
                  <a:lnTo>
                    <a:pt x="38" y="38"/>
                  </a:lnTo>
                  <a:lnTo>
                    <a:pt x="36" y="38"/>
                  </a:lnTo>
                  <a:lnTo>
                    <a:pt x="38" y="38"/>
                  </a:lnTo>
                  <a:lnTo>
                    <a:pt x="36" y="38"/>
                  </a:lnTo>
                  <a:lnTo>
                    <a:pt x="38" y="40"/>
                  </a:lnTo>
                  <a:lnTo>
                    <a:pt x="36" y="40"/>
                  </a:lnTo>
                  <a:lnTo>
                    <a:pt x="36" y="42"/>
                  </a:lnTo>
                  <a:lnTo>
                    <a:pt x="33" y="42"/>
                  </a:lnTo>
                  <a:lnTo>
                    <a:pt x="33" y="45"/>
                  </a:lnTo>
                  <a:lnTo>
                    <a:pt x="31" y="45"/>
                  </a:lnTo>
                  <a:lnTo>
                    <a:pt x="31" y="42"/>
                  </a:lnTo>
                  <a:lnTo>
                    <a:pt x="29" y="42"/>
                  </a:lnTo>
                  <a:lnTo>
                    <a:pt x="29" y="45"/>
                  </a:lnTo>
                  <a:lnTo>
                    <a:pt x="31" y="45"/>
                  </a:lnTo>
                  <a:lnTo>
                    <a:pt x="31" y="47"/>
                  </a:lnTo>
                  <a:lnTo>
                    <a:pt x="29" y="47"/>
                  </a:lnTo>
                  <a:lnTo>
                    <a:pt x="26" y="47"/>
                  </a:lnTo>
                  <a:lnTo>
                    <a:pt x="26" y="45"/>
                  </a:lnTo>
                  <a:lnTo>
                    <a:pt x="26" y="47"/>
                  </a:lnTo>
                  <a:lnTo>
                    <a:pt x="26" y="45"/>
                  </a:lnTo>
                  <a:lnTo>
                    <a:pt x="26" y="47"/>
                  </a:lnTo>
                  <a:lnTo>
                    <a:pt x="24" y="47"/>
                  </a:lnTo>
                  <a:lnTo>
                    <a:pt x="24" y="45"/>
                  </a:lnTo>
                  <a:lnTo>
                    <a:pt x="24" y="47"/>
                  </a:lnTo>
                  <a:lnTo>
                    <a:pt x="24" y="45"/>
                  </a:lnTo>
                  <a:lnTo>
                    <a:pt x="21" y="45"/>
                  </a:lnTo>
                  <a:lnTo>
                    <a:pt x="21" y="47"/>
                  </a:lnTo>
                  <a:lnTo>
                    <a:pt x="21" y="45"/>
                  </a:lnTo>
                  <a:lnTo>
                    <a:pt x="19" y="45"/>
                  </a:lnTo>
                  <a:lnTo>
                    <a:pt x="21" y="45"/>
                  </a:lnTo>
                  <a:lnTo>
                    <a:pt x="19" y="47"/>
                  </a:lnTo>
                  <a:lnTo>
                    <a:pt x="17" y="47"/>
                  </a:lnTo>
                  <a:lnTo>
                    <a:pt x="14" y="47"/>
                  </a:lnTo>
                  <a:lnTo>
                    <a:pt x="14" y="49"/>
                  </a:lnTo>
                  <a:lnTo>
                    <a:pt x="14" y="52"/>
                  </a:lnTo>
                  <a:lnTo>
                    <a:pt x="14" y="54"/>
                  </a:lnTo>
                  <a:lnTo>
                    <a:pt x="12" y="54"/>
                  </a:lnTo>
                  <a:lnTo>
                    <a:pt x="12" y="57"/>
                  </a:lnTo>
                  <a:lnTo>
                    <a:pt x="12" y="59"/>
                  </a:lnTo>
                  <a:lnTo>
                    <a:pt x="10" y="59"/>
                  </a:lnTo>
                  <a:lnTo>
                    <a:pt x="10" y="61"/>
                  </a:lnTo>
                  <a:lnTo>
                    <a:pt x="7" y="61"/>
                  </a:lnTo>
                  <a:lnTo>
                    <a:pt x="7" y="64"/>
                  </a:lnTo>
                  <a:lnTo>
                    <a:pt x="7" y="61"/>
                  </a:lnTo>
                  <a:lnTo>
                    <a:pt x="5" y="61"/>
                  </a:lnTo>
                  <a:lnTo>
                    <a:pt x="5" y="59"/>
                  </a:lnTo>
                  <a:lnTo>
                    <a:pt x="7" y="59"/>
                  </a:lnTo>
                  <a:lnTo>
                    <a:pt x="5" y="59"/>
                  </a:lnTo>
                  <a:lnTo>
                    <a:pt x="5" y="57"/>
                  </a:lnTo>
                  <a:lnTo>
                    <a:pt x="7" y="57"/>
                  </a:lnTo>
                  <a:lnTo>
                    <a:pt x="7" y="54"/>
                  </a:lnTo>
                  <a:lnTo>
                    <a:pt x="10" y="54"/>
                  </a:lnTo>
                  <a:lnTo>
                    <a:pt x="12" y="54"/>
                  </a:lnTo>
                  <a:lnTo>
                    <a:pt x="12" y="52"/>
                  </a:lnTo>
                  <a:lnTo>
                    <a:pt x="12" y="49"/>
                  </a:lnTo>
                  <a:lnTo>
                    <a:pt x="10" y="49"/>
                  </a:lnTo>
                  <a:lnTo>
                    <a:pt x="10" y="47"/>
                  </a:lnTo>
                  <a:lnTo>
                    <a:pt x="7" y="49"/>
                  </a:lnTo>
                  <a:lnTo>
                    <a:pt x="7" y="47"/>
                  </a:lnTo>
                  <a:lnTo>
                    <a:pt x="7" y="49"/>
                  </a:lnTo>
                  <a:lnTo>
                    <a:pt x="7" y="47"/>
                  </a:lnTo>
                  <a:lnTo>
                    <a:pt x="7" y="45"/>
                  </a:lnTo>
                  <a:lnTo>
                    <a:pt x="5" y="45"/>
                  </a:lnTo>
                  <a:lnTo>
                    <a:pt x="7" y="45"/>
                  </a:lnTo>
                  <a:lnTo>
                    <a:pt x="5" y="45"/>
                  </a:lnTo>
                  <a:lnTo>
                    <a:pt x="5" y="47"/>
                  </a:lnTo>
                  <a:lnTo>
                    <a:pt x="5" y="45"/>
                  </a:lnTo>
                  <a:lnTo>
                    <a:pt x="3" y="45"/>
                  </a:lnTo>
                  <a:lnTo>
                    <a:pt x="0" y="45"/>
                  </a:lnTo>
                  <a:lnTo>
                    <a:pt x="0" y="42"/>
                  </a:lnTo>
                  <a:lnTo>
                    <a:pt x="3" y="42"/>
                  </a:lnTo>
                  <a:lnTo>
                    <a:pt x="3" y="40"/>
                  </a:lnTo>
                  <a:lnTo>
                    <a:pt x="0" y="40"/>
                  </a:lnTo>
                  <a:lnTo>
                    <a:pt x="3" y="40"/>
                  </a:lnTo>
                  <a:lnTo>
                    <a:pt x="0" y="40"/>
                  </a:lnTo>
                  <a:lnTo>
                    <a:pt x="3" y="40"/>
                  </a:lnTo>
                  <a:lnTo>
                    <a:pt x="3" y="42"/>
                  </a:lnTo>
                  <a:lnTo>
                    <a:pt x="5" y="42"/>
                  </a:lnTo>
                  <a:lnTo>
                    <a:pt x="5" y="40"/>
                  </a:lnTo>
                  <a:lnTo>
                    <a:pt x="3" y="40"/>
                  </a:lnTo>
                  <a:lnTo>
                    <a:pt x="5" y="40"/>
                  </a:lnTo>
                  <a:lnTo>
                    <a:pt x="5" y="38"/>
                  </a:lnTo>
                  <a:lnTo>
                    <a:pt x="7" y="38"/>
                  </a:lnTo>
                  <a:lnTo>
                    <a:pt x="5" y="38"/>
                  </a:lnTo>
                  <a:lnTo>
                    <a:pt x="5" y="35"/>
                  </a:lnTo>
                  <a:lnTo>
                    <a:pt x="3" y="35"/>
                  </a:lnTo>
                  <a:lnTo>
                    <a:pt x="5" y="35"/>
                  </a:lnTo>
                  <a:lnTo>
                    <a:pt x="3" y="35"/>
                  </a:lnTo>
                  <a:lnTo>
                    <a:pt x="3" y="33"/>
                  </a:lnTo>
                  <a:lnTo>
                    <a:pt x="0" y="33"/>
                  </a:lnTo>
                  <a:lnTo>
                    <a:pt x="3" y="33"/>
                  </a:lnTo>
                  <a:lnTo>
                    <a:pt x="0" y="33"/>
                  </a:lnTo>
                  <a:lnTo>
                    <a:pt x="3" y="33"/>
                  </a:lnTo>
                  <a:lnTo>
                    <a:pt x="3" y="30"/>
                  </a:lnTo>
                  <a:lnTo>
                    <a:pt x="5" y="30"/>
                  </a:lnTo>
                  <a:lnTo>
                    <a:pt x="7" y="30"/>
                  </a:lnTo>
                  <a:lnTo>
                    <a:pt x="7" y="33"/>
                  </a:lnTo>
                  <a:lnTo>
                    <a:pt x="7" y="35"/>
                  </a:lnTo>
                  <a:lnTo>
                    <a:pt x="10" y="35"/>
                  </a:lnTo>
                  <a:lnTo>
                    <a:pt x="10" y="33"/>
                  </a:lnTo>
                  <a:lnTo>
                    <a:pt x="10" y="30"/>
                  </a:lnTo>
                  <a:lnTo>
                    <a:pt x="10" y="33"/>
                  </a:lnTo>
                  <a:lnTo>
                    <a:pt x="10" y="30"/>
                  </a:lnTo>
                  <a:lnTo>
                    <a:pt x="12" y="30"/>
                  </a:lnTo>
                  <a:lnTo>
                    <a:pt x="12" y="28"/>
                  </a:lnTo>
                  <a:lnTo>
                    <a:pt x="12" y="30"/>
                  </a:lnTo>
                  <a:lnTo>
                    <a:pt x="14" y="30"/>
                  </a:lnTo>
                  <a:lnTo>
                    <a:pt x="12" y="30"/>
                  </a:lnTo>
                  <a:lnTo>
                    <a:pt x="14" y="30"/>
                  </a:lnTo>
                  <a:lnTo>
                    <a:pt x="14" y="33"/>
                  </a:lnTo>
                  <a:lnTo>
                    <a:pt x="14" y="30"/>
                  </a:lnTo>
                  <a:lnTo>
                    <a:pt x="17" y="30"/>
                  </a:lnTo>
                  <a:lnTo>
                    <a:pt x="14" y="30"/>
                  </a:lnTo>
                  <a:lnTo>
                    <a:pt x="17" y="30"/>
                  </a:lnTo>
                  <a:lnTo>
                    <a:pt x="14" y="30"/>
                  </a:lnTo>
                  <a:lnTo>
                    <a:pt x="14" y="28"/>
                  </a:lnTo>
                  <a:lnTo>
                    <a:pt x="17" y="28"/>
                  </a:lnTo>
                  <a:lnTo>
                    <a:pt x="19" y="28"/>
                  </a:lnTo>
                  <a:lnTo>
                    <a:pt x="21" y="28"/>
                  </a:lnTo>
                  <a:lnTo>
                    <a:pt x="21" y="26"/>
                  </a:lnTo>
                  <a:lnTo>
                    <a:pt x="24" y="26"/>
                  </a:lnTo>
                  <a:lnTo>
                    <a:pt x="21" y="26"/>
                  </a:lnTo>
                  <a:lnTo>
                    <a:pt x="24" y="23"/>
                  </a:lnTo>
                  <a:lnTo>
                    <a:pt x="24" y="26"/>
                  </a:lnTo>
                  <a:lnTo>
                    <a:pt x="24" y="23"/>
                  </a:lnTo>
                  <a:lnTo>
                    <a:pt x="24" y="26"/>
                  </a:lnTo>
                  <a:lnTo>
                    <a:pt x="24" y="23"/>
                  </a:lnTo>
                  <a:lnTo>
                    <a:pt x="24" y="26"/>
                  </a:lnTo>
                  <a:lnTo>
                    <a:pt x="26" y="28"/>
                  </a:lnTo>
                  <a:lnTo>
                    <a:pt x="29" y="28"/>
                  </a:lnTo>
                  <a:lnTo>
                    <a:pt x="29" y="26"/>
                  </a:lnTo>
                  <a:lnTo>
                    <a:pt x="29" y="28"/>
                  </a:lnTo>
                  <a:lnTo>
                    <a:pt x="31" y="28"/>
                  </a:lnTo>
                  <a:lnTo>
                    <a:pt x="31" y="26"/>
                  </a:lnTo>
                  <a:lnTo>
                    <a:pt x="33" y="26"/>
                  </a:lnTo>
                  <a:lnTo>
                    <a:pt x="36" y="26"/>
                  </a:lnTo>
                  <a:lnTo>
                    <a:pt x="38" y="26"/>
                  </a:lnTo>
                  <a:lnTo>
                    <a:pt x="38" y="28"/>
                  </a:lnTo>
                  <a:lnTo>
                    <a:pt x="40" y="28"/>
                  </a:lnTo>
                  <a:lnTo>
                    <a:pt x="43" y="28"/>
                  </a:lnTo>
                  <a:lnTo>
                    <a:pt x="40" y="28"/>
                  </a:lnTo>
                  <a:lnTo>
                    <a:pt x="40" y="26"/>
                  </a:lnTo>
                  <a:lnTo>
                    <a:pt x="43" y="26"/>
                  </a:lnTo>
                  <a:lnTo>
                    <a:pt x="43" y="23"/>
                  </a:lnTo>
                  <a:lnTo>
                    <a:pt x="43" y="21"/>
                  </a:lnTo>
                  <a:lnTo>
                    <a:pt x="43" y="23"/>
                  </a:lnTo>
                  <a:lnTo>
                    <a:pt x="45" y="23"/>
                  </a:lnTo>
                  <a:lnTo>
                    <a:pt x="45" y="21"/>
                  </a:lnTo>
                  <a:close/>
                  <a:moveTo>
                    <a:pt x="26" y="2"/>
                  </a:moveTo>
                  <a:lnTo>
                    <a:pt x="29" y="2"/>
                  </a:lnTo>
                  <a:lnTo>
                    <a:pt x="29" y="4"/>
                  </a:lnTo>
                  <a:lnTo>
                    <a:pt x="31" y="4"/>
                  </a:lnTo>
                  <a:lnTo>
                    <a:pt x="33" y="4"/>
                  </a:lnTo>
                  <a:lnTo>
                    <a:pt x="33" y="7"/>
                  </a:lnTo>
                  <a:lnTo>
                    <a:pt x="33" y="4"/>
                  </a:lnTo>
                  <a:lnTo>
                    <a:pt x="33" y="7"/>
                  </a:lnTo>
                  <a:lnTo>
                    <a:pt x="36" y="7"/>
                  </a:lnTo>
                  <a:lnTo>
                    <a:pt x="38" y="7"/>
                  </a:lnTo>
                  <a:lnTo>
                    <a:pt x="38" y="9"/>
                  </a:lnTo>
                  <a:lnTo>
                    <a:pt x="36" y="9"/>
                  </a:lnTo>
                  <a:lnTo>
                    <a:pt x="36" y="7"/>
                  </a:lnTo>
                  <a:lnTo>
                    <a:pt x="36" y="9"/>
                  </a:lnTo>
                  <a:lnTo>
                    <a:pt x="38" y="9"/>
                  </a:lnTo>
                  <a:lnTo>
                    <a:pt x="38" y="11"/>
                  </a:lnTo>
                  <a:lnTo>
                    <a:pt x="40" y="11"/>
                  </a:lnTo>
                  <a:lnTo>
                    <a:pt x="38" y="11"/>
                  </a:lnTo>
                  <a:lnTo>
                    <a:pt x="40" y="11"/>
                  </a:lnTo>
                  <a:lnTo>
                    <a:pt x="40" y="14"/>
                  </a:lnTo>
                  <a:lnTo>
                    <a:pt x="38" y="14"/>
                  </a:lnTo>
                  <a:lnTo>
                    <a:pt x="36" y="14"/>
                  </a:lnTo>
                  <a:lnTo>
                    <a:pt x="38" y="14"/>
                  </a:lnTo>
                  <a:lnTo>
                    <a:pt x="36" y="14"/>
                  </a:lnTo>
                  <a:lnTo>
                    <a:pt x="33" y="14"/>
                  </a:lnTo>
                  <a:lnTo>
                    <a:pt x="36" y="14"/>
                  </a:lnTo>
                  <a:lnTo>
                    <a:pt x="33" y="14"/>
                  </a:lnTo>
                  <a:lnTo>
                    <a:pt x="33" y="16"/>
                  </a:lnTo>
                  <a:lnTo>
                    <a:pt x="33" y="19"/>
                  </a:lnTo>
                  <a:lnTo>
                    <a:pt x="31" y="19"/>
                  </a:lnTo>
                  <a:lnTo>
                    <a:pt x="33" y="16"/>
                  </a:lnTo>
                  <a:lnTo>
                    <a:pt x="31" y="16"/>
                  </a:lnTo>
                  <a:lnTo>
                    <a:pt x="31" y="19"/>
                  </a:lnTo>
                  <a:lnTo>
                    <a:pt x="31" y="16"/>
                  </a:lnTo>
                  <a:lnTo>
                    <a:pt x="29" y="16"/>
                  </a:lnTo>
                  <a:lnTo>
                    <a:pt x="29" y="19"/>
                  </a:lnTo>
                  <a:lnTo>
                    <a:pt x="29" y="21"/>
                  </a:lnTo>
                  <a:lnTo>
                    <a:pt x="26" y="21"/>
                  </a:lnTo>
                  <a:lnTo>
                    <a:pt x="24" y="21"/>
                  </a:lnTo>
                  <a:lnTo>
                    <a:pt x="21" y="21"/>
                  </a:lnTo>
                  <a:lnTo>
                    <a:pt x="21" y="19"/>
                  </a:lnTo>
                  <a:lnTo>
                    <a:pt x="21" y="16"/>
                  </a:lnTo>
                  <a:lnTo>
                    <a:pt x="19" y="16"/>
                  </a:lnTo>
                  <a:lnTo>
                    <a:pt x="21" y="16"/>
                  </a:lnTo>
                  <a:lnTo>
                    <a:pt x="19" y="16"/>
                  </a:lnTo>
                  <a:lnTo>
                    <a:pt x="21" y="16"/>
                  </a:lnTo>
                  <a:lnTo>
                    <a:pt x="21" y="14"/>
                  </a:lnTo>
                  <a:lnTo>
                    <a:pt x="19" y="14"/>
                  </a:lnTo>
                  <a:lnTo>
                    <a:pt x="19" y="11"/>
                  </a:lnTo>
                  <a:lnTo>
                    <a:pt x="17" y="11"/>
                  </a:lnTo>
                  <a:lnTo>
                    <a:pt x="14" y="11"/>
                  </a:lnTo>
                  <a:lnTo>
                    <a:pt x="12" y="11"/>
                  </a:lnTo>
                  <a:lnTo>
                    <a:pt x="10" y="11"/>
                  </a:lnTo>
                  <a:lnTo>
                    <a:pt x="10" y="9"/>
                  </a:lnTo>
                  <a:lnTo>
                    <a:pt x="7" y="9"/>
                  </a:lnTo>
                  <a:lnTo>
                    <a:pt x="10" y="9"/>
                  </a:lnTo>
                  <a:lnTo>
                    <a:pt x="12" y="9"/>
                  </a:lnTo>
                  <a:lnTo>
                    <a:pt x="14" y="9"/>
                  </a:lnTo>
                  <a:lnTo>
                    <a:pt x="17" y="9"/>
                  </a:lnTo>
                  <a:lnTo>
                    <a:pt x="19" y="9"/>
                  </a:lnTo>
                  <a:lnTo>
                    <a:pt x="19" y="7"/>
                  </a:lnTo>
                  <a:lnTo>
                    <a:pt x="21" y="7"/>
                  </a:lnTo>
                  <a:lnTo>
                    <a:pt x="19" y="7"/>
                  </a:lnTo>
                  <a:lnTo>
                    <a:pt x="21" y="7"/>
                  </a:lnTo>
                  <a:lnTo>
                    <a:pt x="19" y="7"/>
                  </a:lnTo>
                  <a:lnTo>
                    <a:pt x="21" y="7"/>
                  </a:lnTo>
                  <a:lnTo>
                    <a:pt x="21" y="4"/>
                  </a:lnTo>
                  <a:lnTo>
                    <a:pt x="24" y="4"/>
                  </a:lnTo>
                  <a:lnTo>
                    <a:pt x="21" y="4"/>
                  </a:lnTo>
                  <a:lnTo>
                    <a:pt x="24" y="4"/>
                  </a:lnTo>
                  <a:lnTo>
                    <a:pt x="24" y="2"/>
                  </a:lnTo>
                  <a:lnTo>
                    <a:pt x="24" y="0"/>
                  </a:lnTo>
                  <a:lnTo>
                    <a:pt x="26" y="0"/>
                  </a:lnTo>
                  <a:lnTo>
                    <a:pt x="2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29" name="Freeform 50292"/>
            <p:cNvSpPr>
              <a:spLocks/>
            </p:cNvSpPr>
            <p:nvPr/>
          </p:nvSpPr>
          <p:spPr bwMode="auto">
            <a:xfrm>
              <a:off x="3252785" y="3921139"/>
              <a:ext cx="252413" cy="180977"/>
            </a:xfrm>
            <a:custGeom>
              <a:avLst/>
              <a:gdLst>
                <a:gd name="T0" fmla="*/ 81 w 159"/>
                <a:gd name="T1" fmla="*/ 4 h 114"/>
                <a:gd name="T2" fmla="*/ 86 w 159"/>
                <a:gd name="T3" fmla="*/ 2 h 114"/>
                <a:gd name="T4" fmla="*/ 86 w 159"/>
                <a:gd name="T5" fmla="*/ 4 h 114"/>
                <a:gd name="T6" fmla="*/ 100 w 159"/>
                <a:gd name="T7" fmla="*/ 7 h 114"/>
                <a:gd name="T8" fmla="*/ 109 w 159"/>
                <a:gd name="T9" fmla="*/ 9 h 114"/>
                <a:gd name="T10" fmla="*/ 121 w 159"/>
                <a:gd name="T11" fmla="*/ 14 h 114"/>
                <a:gd name="T12" fmla="*/ 138 w 159"/>
                <a:gd name="T13" fmla="*/ 14 h 114"/>
                <a:gd name="T14" fmla="*/ 150 w 159"/>
                <a:gd name="T15" fmla="*/ 14 h 114"/>
                <a:gd name="T16" fmla="*/ 159 w 159"/>
                <a:gd name="T17" fmla="*/ 16 h 114"/>
                <a:gd name="T18" fmla="*/ 157 w 159"/>
                <a:gd name="T19" fmla="*/ 21 h 114"/>
                <a:gd name="T20" fmla="*/ 147 w 159"/>
                <a:gd name="T21" fmla="*/ 28 h 114"/>
                <a:gd name="T22" fmla="*/ 136 w 159"/>
                <a:gd name="T23" fmla="*/ 42 h 114"/>
                <a:gd name="T24" fmla="*/ 136 w 159"/>
                <a:gd name="T25" fmla="*/ 71 h 114"/>
                <a:gd name="T26" fmla="*/ 140 w 159"/>
                <a:gd name="T27" fmla="*/ 88 h 114"/>
                <a:gd name="T28" fmla="*/ 145 w 159"/>
                <a:gd name="T29" fmla="*/ 95 h 114"/>
                <a:gd name="T30" fmla="*/ 136 w 159"/>
                <a:gd name="T31" fmla="*/ 102 h 114"/>
                <a:gd name="T32" fmla="*/ 131 w 159"/>
                <a:gd name="T33" fmla="*/ 114 h 114"/>
                <a:gd name="T34" fmla="*/ 117 w 159"/>
                <a:gd name="T35" fmla="*/ 109 h 114"/>
                <a:gd name="T36" fmla="*/ 107 w 159"/>
                <a:gd name="T37" fmla="*/ 111 h 114"/>
                <a:gd name="T38" fmla="*/ 95 w 159"/>
                <a:gd name="T39" fmla="*/ 111 h 114"/>
                <a:gd name="T40" fmla="*/ 90 w 159"/>
                <a:gd name="T41" fmla="*/ 104 h 114"/>
                <a:gd name="T42" fmla="*/ 88 w 159"/>
                <a:gd name="T43" fmla="*/ 97 h 114"/>
                <a:gd name="T44" fmla="*/ 79 w 159"/>
                <a:gd name="T45" fmla="*/ 95 h 114"/>
                <a:gd name="T46" fmla="*/ 67 w 159"/>
                <a:gd name="T47" fmla="*/ 90 h 114"/>
                <a:gd name="T48" fmla="*/ 60 w 159"/>
                <a:gd name="T49" fmla="*/ 88 h 114"/>
                <a:gd name="T50" fmla="*/ 45 w 159"/>
                <a:gd name="T51" fmla="*/ 90 h 114"/>
                <a:gd name="T52" fmla="*/ 38 w 159"/>
                <a:gd name="T53" fmla="*/ 92 h 114"/>
                <a:gd name="T54" fmla="*/ 34 w 159"/>
                <a:gd name="T55" fmla="*/ 88 h 114"/>
                <a:gd name="T56" fmla="*/ 34 w 159"/>
                <a:gd name="T57" fmla="*/ 78 h 114"/>
                <a:gd name="T58" fmla="*/ 36 w 159"/>
                <a:gd name="T59" fmla="*/ 69 h 114"/>
                <a:gd name="T60" fmla="*/ 34 w 159"/>
                <a:gd name="T61" fmla="*/ 69 h 114"/>
                <a:gd name="T62" fmla="*/ 24 w 159"/>
                <a:gd name="T63" fmla="*/ 76 h 114"/>
                <a:gd name="T64" fmla="*/ 17 w 159"/>
                <a:gd name="T65" fmla="*/ 73 h 114"/>
                <a:gd name="T66" fmla="*/ 10 w 159"/>
                <a:gd name="T67" fmla="*/ 66 h 114"/>
                <a:gd name="T68" fmla="*/ 3 w 159"/>
                <a:gd name="T69" fmla="*/ 59 h 114"/>
                <a:gd name="T70" fmla="*/ 3 w 159"/>
                <a:gd name="T71" fmla="*/ 52 h 114"/>
                <a:gd name="T72" fmla="*/ 10 w 159"/>
                <a:gd name="T73" fmla="*/ 50 h 114"/>
                <a:gd name="T74" fmla="*/ 3 w 159"/>
                <a:gd name="T75" fmla="*/ 50 h 114"/>
                <a:gd name="T76" fmla="*/ 3 w 159"/>
                <a:gd name="T77" fmla="*/ 45 h 114"/>
                <a:gd name="T78" fmla="*/ 3 w 159"/>
                <a:gd name="T79" fmla="*/ 40 h 114"/>
                <a:gd name="T80" fmla="*/ 7 w 159"/>
                <a:gd name="T81" fmla="*/ 38 h 114"/>
                <a:gd name="T82" fmla="*/ 3 w 159"/>
                <a:gd name="T83" fmla="*/ 38 h 114"/>
                <a:gd name="T84" fmla="*/ 3 w 159"/>
                <a:gd name="T85" fmla="*/ 31 h 114"/>
                <a:gd name="T86" fmla="*/ 10 w 159"/>
                <a:gd name="T87" fmla="*/ 21 h 114"/>
                <a:gd name="T88" fmla="*/ 22 w 159"/>
                <a:gd name="T89" fmla="*/ 21 h 114"/>
                <a:gd name="T90" fmla="*/ 26 w 159"/>
                <a:gd name="T91" fmla="*/ 19 h 114"/>
                <a:gd name="T92" fmla="*/ 29 w 159"/>
                <a:gd name="T93" fmla="*/ 14 h 114"/>
                <a:gd name="T94" fmla="*/ 38 w 159"/>
                <a:gd name="T95" fmla="*/ 12 h 114"/>
                <a:gd name="T96" fmla="*/ 45 w 159"/>
                <a:gd name="T97" fmla="*/ 14 h 114"/>
                <a:gd name="T98" fmla="*/ 48 w 159"/>
                <a:gd name="T99" fmla="*/ 7 h 114"/>
                <a:gd name="T100" fmla="*/ 55 w 159"/>
                <a:gd name="T101" fmla="*/ 12 h 114"/>
                <a:gd name="T102" fmla="*/ 64 w 159"/>
                <a:gd name="T103" fmla="*/ 9 h 114"/>
                <a:gd name="T104" fmla="*/ 69 w 159"/>
                <a:gd name="T105" fmla="*/ 7 h 114"/>
                <a:gd name="T106" fmla="*/ 74 w 159"/>
                <a:gd name="T107" fmla="*/ 7 h 114"/>
                <a:gd name="T108" fmla="*/ 76 w 159"/>
                <a:gd name="T109" fmla="*/ 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 h="114">
                  <a:moveTo>
                    <a:pt x="76" y="2"/>
                  </a:moveTo>
                  <a:lnTo>
                    <a:pt x="79" y="2"/>
                  </a:lnTo>
                  <a:lnTo>
                    <a:pt x="76" y="2"/>
                  </a:lnTo>
                  <a:lnTo>
                    <a:pt x="79" y="4"/>
                  </a:lnTo>
                  <a:lnTo>
                    <a:pt x="79" y="7"/>
                  </a:lnTo>
                  <a:lnTo>
                    <a:pt x="81" y="7"/>
                  </a:lnTo>
                  <a:lnTo>
                    <a:pt x="81" y="4"/>
                  </a:lnTo>
                  <a:lnTo>
                    <a:pt x="83" y="4"/>
                  </a:lnTo>
                  <a:lnTo>
                    <a:pt x="83" y="7"/>
                  </a:lnTo>
                  <a:lnTo>
                    <a:pt x="83" y="4"/>
                  </a:lnTo>
                  <a:lnTo>
                    <a:pt x="86" y="4"/>
                  </a:lnTo>
                  <a:lnTo>
                    <a:pt x="83" y="4"/>
                  </a:lnTo>
                  <a:lnTo>
                    <a:pt x="83" y="2"/>
                  </a:lnTo>
                  <a:lnTo>
                    <a:pt x="86" y="2"/>
                  </a:lnTo>
                  <a:lnTo>
                    <a:pt x="86" y="4"/>
                  </a:lnTo>
                  <a:lnTo>
                    <a:pt x="86" y="2"/>
                  </a:lnTo>
                  <a:lnTo>
                    <a:pt x="86" y="4"/>
                  </a:lnTo>
                  <a:lnTo>
                    <a:pt x="88" y="4"/>
                  </a:lnTo>
                  <a:lnTo>
                    <a:pt x="88" y="2"/>
                  </a:lnTo>
                  <a:lnTo>
                    <a:pt x="88" y="4"/>
                  </a:lnTo>
                  <a:lnTo>
                    <a:pt x="86" y="4"/>
                  </a:lnTo>
                  <a:lnTo>
                    <a:pt x="88" y="4"/>
                  </a:lnTo>
                  <a:lnTo>
                    <a:pt x="90" y="4"/>
                  </a:lnTo>
                  <a:lnTo>
                    <a:pt x="93" y="4"/>
                  </a:lnTo>
                  <a:lnTo>
                    <a:pt x="95" y="4"/>
                  </a:lnTo>
                  <a:lnTo>
                    <a:pt x="95" y="7"/>
                  </a:lnTo>
                  <a:lnTo>
                    <a:pt x="98" y="7"/>
                  </a:lnTo>
                  <a:lnTo>
                    <a:pt x="100" y="7"/>
                  </a:lnTo>
                  <a:lnTo>
                    <a:pt x="100" y="9"/>
                  </a:lnTo>
                  <a:lnTo>
                    <a:pt x="102" y="9"/>
                  </a:lnTo>
                  <a:lnTo>
                    <a:pt x="105" y="9"/>
                  </a:lnTo>
                  <a:lnTo>
                    <a:pt x="105" y="7"/>
                  </a:lnTo>
                  <a:lnTo>
                    <a:pt x="107" y="7"/>
                  </a:lnTo>
                  <a:lnTo>
                    <a:pt x="107" y="9"/>
                  </a:lnTo>
                  <a:lnTo>
                    <a:pt x="109" y="9"/>
                  </a:lnTo>
                  <a:lnTo>
                    <a:pt x="112" y="9"/>
                  </a:lnTo>
                  <a:lnTo>
                    <a:pt x="112" y="12"/>
                  </a:lnTo>
                  <a:lnTo>
                    <a:pt x="114" y="12"/>
                  </a:lnTo>
                  <a:lnTo>
                    <a:pt x="114" y="14"/>
                  </a:lnTo>
                  <a:lnTo>
                    <a:pt x="117" y="14"/>
                  </a:lnTo>
                  <a:lnTo>
                    <a:pt x="119" y="14"/>
                  </a:lnTo>
                  <a:lnTo>
                    <a:pt x="121" y="14"/>
                  </a:lnTo>
                  <a:lnTo>
                    <a:pt x="124" y="14"/>
                  </a:lnTo>
                  <a:lnTo>
                    <a:pt x="126" y="14"/>
                  </a:lnTo>
                  <a:lnTo>
                    <a:pt x="128" y="14"/>
                  </a:lnTo>
                  <a:lnTo>
                    <a:pt x="131" y="14"/>
                  </a:lnTo>
                  <a:lnTo>
                    <a:pt x="133" y="14"/>
                  </a:lnTo>
                  <a:lnTo>
                    <a:pt x="136" y="14"/>
                  </a:lnTo>
                  <a:lnTo>
                    <a:pt x="138" y="14"/>
                  </a:lnTo>
                  <a:lnTo>
                    <a:pt x="140" y="14"/>
                  </a:lnTo>
                  <a:lnTo>
                    <a:pt x="143" y="14"/>
                  </a:lnTo>
                  <a:lnTo>
                    <a:pt x="143" y="16"/>
                  </a:lnTo>
                  <a:lnTo>
                    <a:pt x="145" y="16"/>
                  </a:lnTo>
                  <a:lnTo>
                    <a:pt x="147" y="14"/>
                  </a:lnTo>
                  <a:lnTo>
                    <a:pt x="147" y="16"/>
                  </a:lnTo>
                  <a:lnTo>
                    <a:pt x="150" y="14"/>
                  </a:lnTo>
                  <a:lnTo>
                    <a:pt x="152" y="14"/>
                  </a:lnTo>
                  <a:lnTo>
                    <a:pt x="152" y="12"/>
                  </a:lnTo>
                  <a:lnTo>
                    <a:pt x="155" y="12"/>
                  </a:lnTo>
                  <a:lnTo>
                    <a:pt x="155" y="14"/>
                  </a:lnTo>
                  <a:lnTo>
                    <a:pt x="157" y="14"/>
                  </a:lnTo>
                  <a:lnTo>
                    <a:pt x="157" y="16"/>
                  </a:lnTo>
                  <a:lnTo>
                    <a:pt x="159" y="16"/>
                  </a:lnTo>
                  <a:lnTo>
                    <a:pt x="157" y="16"/>
                  </a:lnTo>
                  <a:lnTo>
                    <a:pt x="159" y="16"/>
                  </a:lnTo>
                  <a:lnTo>
                    <a:pt x="157" y="16"/>
                  </a:lnTo>
                  <a:lnTo>
                    <a:pt x="159" y="16"/>
                  </a:lnTo>
                  <a:lnTo>
                    <a:pt x="159" y="19"/>
                  </a:lnTo>
                  <a:lnTo>
                    <a:pt x="157" y="19"/>
                  </a:lnTo>
                  <a:lnTo>
                    <a:pt x="157" y="21"/>
                  </a:lnTo>
                  <a:lnTo>
                    <a:pt x="155" y="21"/>
                  </a:lnTo>
                  <a:lnTo>
                    <a:pt x="152" y="21"/>
                  </a:lnTo>
                  <a:lnTo>
                    <a:pt x="150" y="21"/>
                  </a:lnTo>
                  <a:lnTo>
                    <a:pt x="150" y="23"/>
                  </a:lnTo>
                  <a:lnTo>
                    <a:pt x="147" y="23"/>
                  </a:lnTo>
                  <a:lnTo>
                    <a:pt x="147" y="26"/>
                  </a:lnTo>
                  <a:lnTo>
                    <a:pt x="147" y="28"/>
                  </a:lnTo>
                  <a:lnTo>
                    <a:pt x="145" y="28"/>
                  </a:lnTo>
                  <a:lnTo>
                    <a:pt x="145" y="31"/>
                  </a:lnTo>
                  <a:lnTo>
                    <a:pt x="145" y="33"/>
                  </a:lnTo>
                  <a:lnTo>
                    <a:pt x="143" y="33"/>
                  </a:lnTo>
                  <a:lnTo>
                    <a:pt x="143" y="35"/>
                  </a:lnTo>
                  <a:lnTo>
                    <a:pt x="143" y="38"/>
                  </a:lnTo>
                  <a:lnTo>
                    <a:pt x="136" y="42"/>
                  </a:lnTo>
                  <a:lnTo>
                    <a:pt x="133" y="45"/>
                  </a:lnTo>
                  <a:lnTo>
                    <a:pt x="131" y="47"/>
                  </a:lnTo>
                  <a:lnTo>
                    <a:pt x="131" y="52"/>
                  </a:lnTo>
                  <a:lnTo>
                    <a:pt x="133" y="57"/>
                  </a:lnTo>
                  <a:lnTo>
                    <a:pt x="136" y="64"/>
                  </a:lnTo>
                  <a:lnTo>
                    <a:pt x="136" y="69"/>
                  </a:lnTo>
                  <a:lnTo>
                    <a:pt x="136" y="71"/>
                  </a:lnTo>
                  <a:lnTo>
                    <a:pt x="136" y="73"/>
                  </a:lnTo>
                  <a:lnTo>
                    <a:pt x="136" y="78"/>
                  </a:lnTo>
                  <a:lnTo>
                    <a:pt x="138" y="83"/>
                  </a:lnTo>
                  <a:lnTo>
                    <a:pt x="140" y="83"/>
                  </a:lnTo>
                  <a:lnTo>
                    <a:pt x="138" y="85"/>
                  </a:lnTo>
                  <a:lnTo>
                    <a:pt x="138" y="88"/>
                  </a:lnTo>
                  <a:lnTo>
                    <a:pt x="140" y="88"/>
                  </a:lnTo>
                  <a:lnTo>
                    <a:pt x="140" y="90"/>
                  </a:lnTo>
                  <a:lnTo>
                    <a:pt x="140" y="88"/>
                  </a:lnTo>
                  <a:lnTo>
                    <a:pt x="140" y="90"/>
                  </a:lnTo>
                  <a:lnTo>
                    <a:pt x="140" y="92"/>
                  </a:lnTo>
                  <a:lnTo>
                    <a:pt x="143" y="92"/>
                  </a:lnTo>
                  <a:lnTo>
                    <a:pt x="143" y="95"/>
                  </a:lnTo>
                  <a:lnTo>
                    <a:pt x="145" y="95"/>
                  </a:lnTo>
                  <a:lnTo>
                    <a:pt x="145" y="97"/>
                  </a:lnTo>
                  <a:lnTo>
                    <a:pt x="143" y="97"/>
                  </a:lnTo>
                  <a:lnTo>
                    <a:pt x="140" y="97"/>
                  </a:lnTo>
                  <a:lnTo>
                    <a:pt x="138" y="97"/>
                  </a:lnTo>
                  <a:lnTo>
                    <a:pt x="136" y="97"/>
                  </a:lnTo>
                  <a:lnTo>
                    <a:pt x="136" y="100"/>
                  </a:lnTo>
                  <a:lnTo>
                    <a:pt x="136" y="102"/>
                  </a:lnTo>
                  <a:lnTo>
                    <a:pt x="136" y="104"/>
                  </a:lnTo>
                  <a:lnTo>
                    <a:pt x="133" y="104"/>
                  </a:lnTo>
                  <a:lnTo>
                    <a:pt x="131" y="104"/>
                  </a:lnTo>
                  <a:lnTo>
                    <a:pt x="131" y="107"/>
                  </a:lnTo>
                  <a:lnTo>
                    <a:pt x="131" y="109"/>
                  </a:lnTo>
                  <a:lnTo>
                    <a:pt x="128" y="111"/>
                  </a:lnTo>
                  <a:lnTo>
                    <a:pt x="131" y="114"/>
                  </a:lnTo>
                  <a:lnTo>
                    <a:pt x="128" y="114"/>
                  </a:lnTo>
                  <a:lnTo>
                    <a:pt x="126" y="111"/>
                  </a:lnTo>
                  <a:lnTo>
                    <a:pt x="124" y="111"/>
                  </a:lnTo>
                  <a:lnTo>
                    <a:pt x="121" y="111"/>
                  </a:lnTo>
                  <a:lnTo>
                    <a:pt x="119" y="111"/>
                  </a:lnTo>
                  <a:lnTo>
                    <a:pt x="119" y="109"/>
                  </a:lnTo>
                  <a:lnTo>
                    <a:pt x="117" y="109"/>
                  </a:lnTo>
                  <a:lnTo>
                    <a:pt x="117" y="107"/>
                  </a:lnTo>
                  <a:lnTo>
                    <a:pt x="114" y="109"/>
                  </a:lnTo>
                  <a:lnTo>
                    <a:pt x="112" y="111"/>
                  </a:lnTo>
                  <a:lnTo>
                    <a:pt x="109" y="111"/>
                  </a:lnTo>
                  <a:lnTo>
                    <a:pt x="112" y="111"/>
                  </a:lnTo>
                  <a:lnTo>
                    <a:pt x="109" y="111"/>
                  </a:lnTo>
                  <a:lnTo>
                    <a:pt x="107" y="111"/>
                  </a:lnTo>
                  <a:lnTo>
                    <a:pt x="107" y="114"/>
                  </a:lnTo>
                  <a:lnTo>
                    <a:pt x="105" y="114"/>
                  </a:lnTo>
                  <a:lnTo>
                    <a:pt x="102" y="114"/>
                  </a:lnTo>
                  <a:lnTo>
                    <a:pt x="102" y="111"/>
                  </a:lnTo>
                  <a:lnTo>
                    <a:pt x="100" y="111"/>
                  </a:lnTo>
                  <a:lnTo>
                    <a:pt x="98" y="111"/>
                  </a:lnTo>
                  <a:lnTo>
                    <a:pt x="95" y="111"/>
                  </a:lnTo>
                  <a:lnTo>
                    <a:pt x="95" y="109"/>
                  </a:lnTo>
                  <a:lnTo>
                    <a:pt x="95" y="111"/>
                  </a:lnTo>
                  <a:lnTo>
                    <a:pt x="95" y="109"/>
                  </a:lnTo>
                  <a:lnTo>
                    <a:pt x="93" y="109"/>
                  </a:lnTo>
                  <a:lnTo>
                    <a:pt x="93" y="107"/>
                  </a:lnTo>
                  <a:lnTo>
                    <a:pt x="93" y="104"/>
                  </a:lnTo>
                  <a:lnTo>
                    <a:pt x="90" y="104"/>
                  </a:lnTo>
                  <a:lnTo>
                    <a:pt x="93" y="104"/>
                  </a:lnTo>
                  <a:lnTo>
                    <a:pt x="90" y="104"/>
                  </a:lnTo>
                  <a:lnTo>
                    <a:pt x="90" y="102"/>
                  </a:lnTo>
                  <a:lnTo>
                    <a:pt x="88" y="102"/>
                  </a:lnTo>
                  <a:lnTo>
                    <a:pt x="86" y="102"/>
                  </a:lnTo>
                  <a:lnTo>
                    <a:pt x="86" y="100"/>
                  </a:lnTo>
                  <a:lnTo>
                    <a:pt x="88" y="97"/>
                  </a:lnTo>
                  <a:lnTo>
                    <a:pt x="86" y="97"/>
                  </a:lnTo>
                  <a:lnTo>
                    <a:pt x="83" y="97"/>
                  </a:lnTo>
                  <a:lnTo>
                    <a:pt x="81" y="97"/>
                  </a:lnTo>
                  <a:lnTo>
                    <a:pt x="81" y="95"/>
                  </a:lnTo>
                  <a:lnTo>
                    <a:pt x="81" y="97"/>
                  </a:lnTo>
                  <a:lnTo>
                    <a:pt x="79" y="97"/>
                  </a:lnTo>
                  <a:lnTo>
                    <a:pt x="79" y="95"/>
                  </a:lnTo>
                  <a:lnTo>
                    <a:pt x="76" y="92"/>
                  </a:lnTo>
                  <a:lnTo>
                    <a:pt x="76" y="95"/>
                  </a:lnTo>
                  <a:lnTo>
                    <a:pt x="74" y="92"/>
                  </a:lnTo>
                  <a:lnTo>
                    <a:pt x="72" y="92"/>
                  </a:lnTo>
                  <a:lnTo>
                    <a:pt x="72" y="90"/>
                  </a:lnTo>
                  <a:lnTo>
                    <a:pt x="69" y="90"/>
                  </a:lnTo>
                  <a:lnTo>
                    <a:pt x="67" y="90"/>
                  </a:lnTo>
                  <a:lnTo>
                    <a:pt x="67" y="88"/>
                  </a:lnTo>
                  <a:lnTo>
                    <a:pt x="64" y="88"/>
                  </a:lnTo>
                  <a:lnTo>
                    <a:pt x="64" y="85"/>
                  </a:lnTo>
                  <a:lnTo>
                    <a:pt x="62" y="85"/>
                  </a:lnTo>
                  <a:lnTo>
                    <a:pt x="62" y="88"/>
                  </a:lnTo>
                  <a:lnTo>
                    <a:pt x="62" y="90"/>
                  </a:lnTo>
                  <a:lnTo>
                    <a:pt x="60" y="88"/>
                  </a:lnTo>
                  <a:lnTo>
                    <a:pt x="60" y="85"/>
                  </a:lnTo>
                  <a:lnTo>
                    <a:pt x="57" y="85"/>
                  </a:lnTo>
                  <a:lnTo>
                    <a:pt x="55" y="85"/>
                  </a:lnTo>
                  <a:lnTo>
                    <a:pt x="53" y="88"/>
                  </a:lnTo>
                  <a:lnTo>
                    <a:pt x="50" y="88"/>
                  </a:lnTo>
                  <a:lnTo>
                    <a:pt x="48" y="90"/>
                  </a:lnTo>
                  <a:lnTo>
                    <a:pt x="45" y="90"/>
                  </a:lnTo>
                  <a:lnTo>
                    <a:pt x="43" y="90"/>
                  </a:lnTo>
                  <a:lnTo>
                    <a:pt x="43" y="92"/>
                  </a:lnTo>
                  <a:lnTo>
                    <a:pt x="41" y="90"/>
                  </a:lnTo>
                  <a:lnTo>
                    <a:pt x="41" y="92"/>
                  </a:lnTo>
                  <a:lnTo>
                    <a:pt x="38" y="92"/>
                  </a:lnTo>
                  <a:lnTo>
                    <a:pt x="38" y="90"/>
                  </a:lnTo>
                  <a:lnTo>
                    <a:pt x="38" y="92"/>
                  </a:lnTo>
                  <a:lnTo>
                    <a:pt x="36" y="92"/>
                  </a:lnTo>
                  <a:lnTo>
                    <a:pt x="34" y="92"/>
                  </a:lnTo>
                  <a:lnTo>
                    <a:pt x="34" y="95"/>
                  </a:lnTo>
                  <a:lnTo>
                    <a:pt x="31" y="95"/>
                  </a:lnTo>
                  <a:lnTo>
                    <a:pt x="31" y="92"/>
                  </a:lnTo>
                  <a:lnTo>
                    <a:pt x="34" y="90"/>
                  </a:lnTo>
                  <a:lnTo>
                    <a:pt x="34" y="88"/>
                  </a:lnTo>
                  <a:lnTo>
                    <a:pt x="36" y="85"/>
                  </a:lnTo>
                  <a:lnTo>
                    <a:pt x="36" y="83"/>
                  </a:lnTo>
                  <a:lnTo>
                    <a:pt x="34" y="83"/>
                  </a:lnTo>
                  <a:lnTo>
                    <a:pt x="36" y="83"/>
                  </a:lnTo>
                  <a:lnTo>
                    <a:pt x="36" y="80"/>
                  </a:lnTo>
                  <a:lnTo>
                    <a:pt x="34" y="80"/>
                  </a:lnTo>
                  <a:lnTo>
                    <a:pt x="34" y="78"/>
                  </a:lnTo>
                  <a:lnTo>
                    <a:pt x="36" y="78"/>
                  </a:lnTo>
                  <a:lnTo>
                    <a:pt x="34" y="78"/>
                  </a:lnTo>
                  <a:lnTo>
                    <a:pt x="36" y="78"/>
                  </a:lnTo>
                  <a:lnTo>
                    <a:pt x="36" y="76"/>
                  </a:lnTo>
                  <a:lnTo>
                    <a:pt x="38" y="73"/>
                  </a:lnTo>
                  <a:lnTo>
                    <a:pt x="38" y="71"/>
                  </a:lnTo>
                  <a:lnTo>
                    <a:pt x="36" y="69"/>
                  </a:lnTo>
                  <a:lnTo>
                    <a:pt x="38" y="69"/>
                  </a:lnTo>
                  <a:lnTo>
                    <a:pt x="38" y="71"/>
                  </a:lnTo>
                  <a:lnTo>
                    <a:pt x="38" y="69"/>
                  </a:lnTo>
                  <a:lnTo>
                    <a:pt x="41" y="69"/>
                  </a:lnTo>
                  <a:lnTo>
                    <a:pt x="38" y="69"/>
                  </a:lnTo>
                  <a:lnTo>
                    <a:pt x="36" y="69"/>
                  </a:lnTo>
                  <a:lnTo>
                    <a:pt x="34" y="69"/>
                  </a:lnTo>
                  <a:lnTo>
                    <a:pt x="31" y="69"/>
                  </a:lnTo>
                  <a:lnTo>
                    <a:pt x="29" y="69"/>
                  </a:lnTo>
                  <a:lnTo>
                    <a:pt x="29" y="71"/>
                  </a:lnTo>
                  <a:lnTo>
                    <a:pt x="29" y="73"/>
                  </a:lnTo>
                  <a:lnTo>
                    <a:pt x="26" y="73"/>
                  </a:lnTo>
                  <a:lnTo>
                    <a:pt x="26" y="76"/>
                  </a:lnTo>
                  <a:lnTo>
                    <a:pt x="24" y="76"/>
                  </a:lnTo>
                  <a:lnTo>
                    <a:pt x="22" y="76"/>
                  </a:lnTo>
                  <a:lnTo>
                    <a:pt x="22" y="73"/>
                  </a:lnTo>
                  <a:lnTo>
                    <a:pt x="19" y="73"/>
                  </a:lnTo>
                  <a:lnTo>
                    <a:pt x="19" y="71"/>
                  </a:lnTo>
                  <a:lnTo>
                    <a:pt x="19" y="73"/>
                  </a:lnTo>
                  <a:lnTo>
                    <a:pt x="17" y="71"/>
                  </a:lnTo>
                  <a:lnTo>
                    <a:pt x="17" y="73"/>
                  </a:lnTo>
                  <a:lnTo>
                    <a:pt x="15" y="71"/>
                  </a:lnTo>
                  <a:lnTo>
                    <a:pt x="12" y="71"/>
                  </a:lnTo>
                  <a:lnTo>
                    <a:pt x="10" y="71"/>
                  </a:lnTo>
                  <a:lnTo>
                    <a:pt x="12" y="71"/>
                  </a:lnTo>
                  <a:lnTo>
                    <a:pt x="10" y="71"/>
                  </a:lnTo>
                  <a:lnTo>
                    <a:pt x="10" y="69"/>
                  </a:lnTo>
                  <a:lnTo>
                    <a:pt x="10" y="66"/>
                  </a:lnTo>
                  <a:lnTo>
                    <a:pt x="10" y="64"/>
                  </a:lnTo>
                  <a:lnTo>
                    <a:pt x="10" y="61"/>
                  </a:lnTo>
                  <a:lnTo>
                    <a:pt x="7" y="61"/>
                  </a:lnTo>
                  <a:lnTo>
                    <a:pt x="10" y="61"/>
                  </a:lnTo>
                  <a:lnTo>
                    <a:pt x="7" y="61"/>
                  </a:lnTo>
                  <a:lnTo>
                    <a:pt x="5" y="59"/>
                  </a:lnTo>
                  <a:lnTo>
                    <a:pt x="3" y="59"/>
                  </a:lnTo>
                  <a:lnTo>
                    <a:pt x="3" y="57"/>
                  </a:lnTo>
                  <a:lnTo>
                    <a:pt x="5" y="57"/>
                  </a:lnTo>
                  <a:lnTo>
                    <a:pt x="5" y="59"/>
                  </a:lnTo>
                  <a:lnTo>
                    <a:pt x="5" y="57"/>
                  </a:lnTo>
                  <a:lnTo>
                    <a:pt x="3" y="57"/>
                  </a:lnTo>
                  <a:lnTo>
                    <a:pt x="3" y="54"/>
                  </a:lnTo>
                  <a:lnTo>
                    <a:pt x="3" y="52"/>
                  </a:lnTo>
                  <a:lnTo>
                    <a:pt x="5" y="52"/>
                  </a:lnTo>
                  <a:lnTo>
                    <a:pt x="3" y="52"/>
                  </a:lnTo>
                  <a:lnTo>
                    <a:pt x="5" y="50"/>
                  </a:lnTo>
                  <a:lnTo>
                    <a:pt x="3" y="50"/>
                  </a:lnTo>
                  <a:lnTo>
                    <a:pt x="5" y="50"/>
                  </a:lnTo>
                  <a:lnTo>
                    <a:pt x="7" y="50"/>
                  </a:lnTo>
                  <a:lnTo>
                    <a:pt x="10" y="50"/>
                  </a:lnTo>
                  <a:lnTo>
                    <a:pt x="10" y="47"/>
                  </a:lnTo>
                  <a:lnTo>
                    <a:pt x="7" y="47"/>
                  </a:lnTo>
                  <a:lnTo>
                    <a:pt x="5" y="47"/>
                  </a:lnTo>
                  <a:lnTo>
                    <a:pt x="5" y="50"/>
                  </a:lnTo>
                  <a:lnTo>
                    <a:pt x="5" y="47"/>
                  </a:lnTo>
                  <a:lnTo>
                    <a:pt x="3" y="47"/>
                  </a:lnTo>
                  <a:lnTo>
                    <a:pt x="3" y="50"/>
                  </a:lnTo>
                  <a:lnTo>
                    <a:pt x="3" y="47"/>
                  </a:lnTo>
                  <a:lnTo>
                    <a:pt x="3" y="50"/>
                  </a:lnTo>
                  <a:lnTo>
                    <a:pt x="0" y="50"/>
                  </a:lnTo>
                  <a:lnTo>
                    <a:pt x="3" y="47"/>
                  </a:lnTo>
                  <a:lnTo>
                    <a:pt x="0" y="47"/>
                  </a:lnTo>
                  <a:lnTo>
                    <a:pt x="3" y="47"/>
                  </a:lnTo>
                  <a:lnTo>
                    <a:pt x="3" y="45"/>
                  </a:lnTo>
                  <a:lnTo>
                    <a:pt x="3" y="47"/>
                  </a:lnTo>
                  <a:lnTo>
                    <a:pt x="5" y="47"/>
                  </a:lnTo>
                  <a:lnTo>
                    <a:pt x="3" y="45"/>
                  </a:lnTo>
                  <a:lnTo>
                    <a:pt x="3" y="42"/>
                  </a:lnTo>
                  <a:lnTo>
                    <a:pt x="0" y="42"/>
                  </a:lnTo>
                  <a:lnTo>
                    <a:pt x="0" y="40"/>
                  </a:lnTo>
                  <a:lnTo>
                    <a:pt x="3" y="40"/>
                  </a:lnTo>
                  <a:lnTo>
                    <a:pt x="5" y="40"/>
                  </a:lnTo>
                  <a:lnTo>
                    <a:pt x="3" y="38"/>
                  </a:lnTo>
                  <a:lnTo>
                    <a:pt x="3" y="40"/>
                  </a:lnTo>
                  <a:lnTo>
                    <a:pt x="3" y="38"/>
                  </a:lnTo>
                  <a:lnTo>
                    <a:pt x="5" y="40"/>
                  </a:lnTo>
                  <a:lnTo>
                    <a:pt x="5" y="38"/>
                  </a:lnTo>
                  <a:lnTo>
                    <a:pt x="7" y="38"/>
                  </a:lnTo>
                  <a:lnTo>
                    <a:pt x="7" y="35"/>
                  </a:lnTo>
                  <a:lnTo>
                    <a:pt x="7" y="38"/>
                  </a:lnTo>
                  <a:lnTo>
                    <a:pt x="5" y="35"/>
                  </a:lnTo>
                  <a:lnTo>
                    <a:pt x="5" y="38"/>
                  </a:lnTo>
                  <a:lnTo>
                    <a:pt x="5" y="35"/>
                  </a:lnTo>
                  <a:lnTo>
                    <a:pt x="5" y="38"/>
                  </a:lnTo>
                  <a:lnTo>
                    <a:pt x="3" y="38"/>
                  </a:lnTo>
                  <a:lnTo>
                    <a:pt x="0" y="38"/>
                  </a:lnTo>
                  <a:lnTo>
                    <a:pt x="0" y="35"/>
                  </a:lnTo>
                  <a:lnTo>
                    <a:pt x="0" y="33"/>
                  </a:lnTo>
                  <a:lnTo>
                    <a:pt x="3" y="33"/>
                  </a:lnTo>
                  <a:lnTo>
                    <a:pt x="3" y="31"/>
                  </a:lnTo>
                  <a:lnTo>
                    <a:pt x="5" y="31"/>
                  </a:lnTo>
                  <a:lnTo>
                    <a:pt x="3" y="31"/>
                  </a:lnTo>
                  <a:lnTo>
                    <a:pt x="3" y="28"/>
                  </a:lnTo>
                  <a:lnTo>
                    <a:pt x="3" y="26"/>
                  </a:lnTo>
                  <a:lnTo>
                    <a:pt x="3" y="23"/>
                  </a:lnTo>
                  <a:lnTo>
                    <a:pt x="5" y="26"/>
                  </a:lnTo>
                  <a:lnTo>
                    <a:pt x="7" y="23"/>
                  </a:lnTo>
                  <a:lnTo>
                    <a:pt x="10" y="23"/>
                  </a:lnTo>
                  <a:lnTo>
                    <a:pt x="10" y="21"/>
                  </a:lnTo>
                  <a:lnTo>
                    <a:pt x="12" y="21"/>
                  </a:lnTo>
                  <a:lnTo>
                    <a:pt x="15" y="21"/>
                  </a:lnTo>
                  <a:lnTo>
                    <a:pt x="17" y="21"/>
                  </a:lnTo>
                  <a:lnTo>
                    <a:pt x="19" y="21"/>
                  </a:lnTo>
                  <a:lnTo>
                    <a:pt x="22" y="21"/>
                  </a:lnTo>
                  <a:lnTo>
                    <a:pt x="24" y="21"/>
                  </a:lnTo>
                  <a:lnTo>
                    <a:pt x="22" y="21"/>
                  </a:lnTo>
                  <a:lnTo>
                    <a:pt x="24" y="21"/>
                  </a:lnTo>
                  <a:lnTo>
                    <a:pt x="24" y="19"/>
                  </a:lnTo>
                  <a:lnTo>
                    <a:pt x="22" y="19"/>
                  </a:lnTo>
                  <a:lnTo>
                    <a:pt x="22" y="16"/>
                  </a:lnTo>
                  <a:lnTo>
                    <a:pt x="24" y="16"/>
                  </a:lnTo>
                  <a:lnTo>
                    <a:pt x="24" y="19"/>
                  </a:lnTo>
                  <a:lnTo>
                    <a:pt x="26" y="19"/>
                  </a:lnTo>
                  <a:lnTo>
                    <a:pt x="26" y="16"/>
                  </a:lnTo>
                  <a:lnTo>
                    <a:pt x="24" y="16"/>
                  </a:lnTo>
                  <a:lnTo>
                    <a:pt x="26" y="16"/>
                  </a:lnTo>
                  <a:lnTo>
                    <a:pt x="26" y="14"/>
                  </a:lnTo>
                  <a:lnTo>
                    <a:pt x="26" y="16"/>
                  </a:lnTo>
                  <a:lnTo>
                    <a:pt x="29" y="16"/>
                  </a:lnTo>
                  <a:lnTo>
                    <a:pt x="29" y="14"/>
                  </a:lnTo>
                  <a:lnTo>
                    <a:pt x="31" y="14"/>
                  </a:lnTo>
                  <a:lnTo>
                    <a:pt x="31" y="12"/>
                  </a:lnTo>
                  <a:lnTo>
                    <a:pt x="34" y="12"/>
                  </a:lnTo>
                  <a:lnTo>
                    <a:pt x="36" y="12"/>
                  </a:lnTo>
                  <a:lnTo>
                    <a:pt x="36" y="14"/>
                  </a:lnTo>
                  <a:lnTo>
                    <a:pt x="38" y="14"/>
                  </a:lnTo>
                  <a:lnTo>
                    <a:pt x="38" y="12"/>
                  </a:lnTo>
                  <a:lnTo>
                    <a:pt x="41" y="14"/>
                  </a:lnTo>
                  <a:lnTo>
                    <a:pt x="43" y="12"/>
                  </a:lnTo>
                  <a:lnTo>
                    <a:pt x="41" y="12"/>
                  </a:lnTo>
                  <a:lnTo>
                    <a:pt x="43" y="12"/>
                  </a:lnTo>
                  <a:lnTo>
                    <a:pt x="43" y="14"/>
                  </a:lnTo>
                  <a:lnTo>
                    <a:pt x="45" y="12"/>
                  </a:lnTo>
                  <a:lnTo>
                    <a:pt x="45" y="14"/>
                  </a:lnTo>
                  <a:lnTo>
                    <a:pt x="45" y="12"/>
                  </a:lnTo>
                  <a:lnTo>
                    <a:pt x="45" y="14"/>
                  </a:lnTo>
                  <a:lnTo>
                    <a:pt x="45" y="12"/>
                  </a:lnTo>
                  <a:lnTo>
                    <a:pt x="48" y="12"/>
                  </a:lnTo>
                  <a:lnTo>
                    <a:pt x="45" y="9"/>
                  </a:lnTo>
                  <a:lnTo>
                    <a:pt x="45" y="7"/>
                  </a:lnTo>
                  <a:lnTo>
                    <a:pt x="48" y="7"/>
                  </a:lnTo>
                  <a:lnTo>
                    <a:pt x="48" y="9"/>
                  </a:lnTo>
                  <a:lnTo>
                    <a:pt x="50" y="9"/>
                  </a:lnTo>
                  <a:lnTo>
                    <a:pt x="50" y="12"/>
                  </a:lnTo>
                  <a:lnTo>
                    <a:pt x="53" y="12"/>
                  </a:lnTo>
                  <a:lnTo>
                    <a:pt x="53" y="9"/>
                  </a:lnTo>
                  <a:lnTo>
                    <a:pt x="55" y="9"/>
                  </a:lnTo>
                  <a:lnTo>
                    <a:pt x="55" y="12"/>
                  </a:lnTo>
                  <a:lnTo>
                    <a:pt x="57" y="12"/>
                  </a:lnTo>
                  <a:lnTo>
                    <a:pt x="57" y="9"/>
                  </a:lnTo>
                  <a:lnTo>
                    <a:pt x="57" y="7"/>
                  </a:lnTo>
                  <a:lnTo>
                    <a:pt x="57" y="9"/>
                  </a:lnTo>
                  <a:lnTo>
                    <a:pt x="60" y="9"/>
                  </a:lnTo>
                  <a:lnTo>
                    <a:pt x="62" y="9"/>
                  </a:lnTo>
                  <a:lnTo>
                    <a:pt x="64" y="9"/>
                  </a:lnTo>
                  <a:lnTo>
                    <a:pt x="64" y="12"/>
                  </a:lnTo>
                  <a:lnTo>
                    <a:pt x="67" y="12"/>
                  </a:lnTo>
                  <a:lnTo>
                    <a:pt x="67" y="9"/>
                  </a:lnTo>
                  <a:lnTo>
                    <a:pt x="69" y="9"/>
                  </a:lnTo>
                  <a:lnTo>
                    <a:pt x="72" y="9"/>
                  </a:lnTo>
                  <a:lnTo>
                    <a:pt x="72" y="7"/>
                  </a:lnTo>
                  <a:lnTo>
                    <a:pt x="69" y="7"/>
                  </a:lnTo>
                  <a:lnTo>
                    <a:pt x="69" y="4"/>
                  </a:lnTo>
                  <a:lnTo>
                    <a:pt x="69" y="2"/>
                  </a:lnTo>
                  <a:lnTo>
                    <a:pt x="69" y="4"/>
                  </a:lnTo>
                  <a:lnTo>
                    <a:pt x="72" y="4"/>
                  </a:lnTo>
                  <a:lnTo>
                    <a:pt x="74" y="4"/>
                  </a:lnTo>
                  <a:lnTo>
                    <a:pt x="72" y="4"/>
                  </a:lnTo>
                  <a:lnTo>
                    <a:pt x="74" y="7"/>
                  </a:lnTo>
                  <a:lnTo>
                    <a:pt x="76" y="7"/>
                  </a:lnTo>
                  <a:lnTo>
                    <a:pt x="76" y="4"/>
                  </a:lnTo>
                  <a:lnTo>
                    <a:pt x="74" y="4"/>
                  </a:lnTo>
                  <a:lnTo>
                    <a:pt x="74" y="2"/>
                  </a:lnTo>
                  <a:lnTo>
                    <a:pt x="76" y="2"/>
                  </a:lnTo>
                  <a:lnTo>
                    <a:pt x="74" y="2"/>
                  </a:lnTo>
                  <a:lnTo>
                    <a:pt x="76" y="2"/>
                  </a:lnTo>
                  <a:lnTo>
                    <a:pt x="76" y="0"/>
                  </a:lnTo>
                  <a:lnTo>
                    <a:pt x="7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0" name="Freeform 50293"/>
            <p:cNvSpPr>
              <a:spLocks noEditPoints="1"/>
            </p:cNvSpPr>
            <p:nvPr/>
          </p:nvSpPr>
          <p:spPr bwMode="auto">
            <a:xfrm>
              <a:off x="3167061" y="3921139"/>
              <a:ext cx="211138" cy="158750"/>
            </a:xfrm>
            <a:custGeom>
              <a:avLst/>
              <a:gdLst>
                <a:gd name="T0" fmla="*/ 47 w 133"/>
                <a:gd name="T1" fmla="*/ 97 h 100"/>
                <a:gd name="T2" fmla="*/ 26 w 133"/>
                <a:gd name="T3" fmla="*/ 80 h 100"/>
                <a:gd name="T4" fmla="*/ 23 w 133"/>
                <a:gd name="T5" fmla="*/ 80 h 100"/>
                <a:gd name="T6" fmla="*/ 73 w 133"/>
                <a:gd name="T7" fmla="*/ 80 h 100"/>
                <a:gd name="T8" fmla="*/ 73 w 133"/>
                <a:gd name="T9" fmla="*/ 80 h 100"/>
                <a:gd name="T10" fmla="*/ 71 w 133"/>
                <a:gd name="T11" fmla="*/ 80 h 100"/>
                <a:gd name="T12" fmla="*/ 26 w 133"/>
                <a:gd name="T13" fmla="*/ 80 h 100"/>
                <a:gd name="T14" fmla="*/ 23 w 133"/>
                <a:gd name="T15" fmla="*/ 83 h 100"/>
                <a:gd name="T16" fmla="*/ 28 w 133"/>
                <a:gd name="T17" fmla="*/ 78 h 100"/>
                <a:gd name="T18" fmla="*/ 76 w 133"/>
                <a:gd name="T19" fmla="*/ 78 h 100"/>
                <a:gd name="T20" fmla="*/ 78 w 133"/>
                <a:gd name="T21" fmla="*/ 78 h 100"/>
                <a:gd name="T22" fmla="*/ 0 w 133"/>
                <a:gd name="T23" fmla="*/ 73 h 100"/>
                <a:gd name="T24" fmla="*/ 0 w 133"/>
                <a:gd name="T25" fmla="*/ 71 h 100"/>
                <a:gd name="T26" fmla="*/ 5 w 133"/>
                <a:gd name="T27" fmla="*/ 71 h 100"/>
                <a:gd name="T28" fmla="*/ 5 w 133"/>
                <a:gd name="T29" fmla="*/ 69 h 100"/>
                <a:gd name="T30" fmla="*/ 54 w 133"/>
                <a:gd name="T31" fmla="*/ 61 h 100"/>
                <a:gd name="T32" fmla="*/ 54 w 133"/>
                <a:gd name="T33" fmla="*/ 54 h 100"/>
                <a:gd name="T34" fmla="*/ 40 w 133"/>
                <a:gd name="T35" fmla="*/ 54 h 100"/>
                <a:gd name="T36" fmla="*/ 40 w 133"/>
                <a:gd name="T37" fmla="*/ 57 h 100"/>
                <a:gd name="T38" fmla="*/ 61 w 133"/>
                <a:gd name="T39" fmla="*/ 50 h 100"/>
                <a:gd name="T40" fmla="*/ 64 w 133"/>
                <a:gd name="T41" fmla="*/ 50 h 100"/>
                <a:gd name="T42" fmla="*/ 42 w 133"/>
                <a:gd name="T43" fmla="*/ 47 h 100"/>
                <a:gd name="T44" fmla="*/ 38 w 133"/>
                <a:gd name="T45" fmla="*/ 47 h 100"/>
                <a:gd name="T46" fmla="*/ 40 w 133"/>
                <a:gd name="T47" fmla="*/ 47 h 100"/>
                <a:gd name="T48" fmla="*/ 42 w 133"/>
                <a:gd name="T49" fmla="*/ 47 h 100"/>
                <a:gd name="T50" fmla="*/ 54 w 133"/>
                <a:gd name="T51" fmla="*/ 45 h 100"/>
                <a:gd name="T52" fmla="*/ 54 w 133"/>
                <a:gd name="T53" fmla="*/ 45 h 100"/>
                <a:gd name="T54" fmla="*/ 42 w 133"/>
                <a:gd name="T55" fmla="*/ 42 h 100"/>
                <a:gd name="T56" fmla="*/ 42 w 133"/>
                <a:gd name="T57" fmla="*/ 42 h 100"/>
                <a:gd name="T58" fmla="*/ 52 w 133"/>
                <a:gd name="T59" fmla="*/ 40 h 100"/>
                <a:gd name="T60" fmla="*/ 54 w 133"/>
                <a:gd name="T61" fmla="*/ 40 h 100"/>
                <a:gd name="T62" fmla="*/ 50 w 133"/>
                <a:gd name="T63" fmla="*/ 33 h 100"/>
                <a:gd name="T64" fmla="*/ 47 w 133"/>
                <a:gd name="T65" fmla="*/ 35 h 100"/>
                <a:gd name="T66" fmla="*/ 54 w 133"/>
                <a:gd name="T67" fmla="*/ 38 h 100"/>
                <a:gd name="T68" fmla="*/ 47 w 133"/>
                <a:gd name="T69" fmla="*/ 38 h 100"/>
                <a:gd name="T70" fmla="*/ 45 w 133"/>
                <a:gd name="T71" fmla="*/ 33 h 100"/>
                <a:gd name="T72" fmla="*/ 52 w 133"/>
                <a:gd name="T73" fmla="*/ 21 h 100"/>
                <a:gd name="T74" fmla="*/ 71 w 133"/>
                <a:gd name="T75" fmla="*/ 21 h 100"/>
                <a:gd name="T76" fmla="*/ 71 w 133"/>
                <a:gd name="T77" fmla="*/ 19 h 100"/>
                <a:gd name="T78" fmla="*/ 71 w 133"/>
                <a:gd name="T79" fmla="*/ 16 h 100"/>
                <a:gd name="T80" fmla="*/ 99 w 133"/>
                <a:gd name="T81" fmla="*/ 4 h 100"/>
                <a:gd name="T82" fmla="*/ 97 w 133"/>
                <a:gd name="T83" fmla="*/ 4 h 100"/>
                <a:gd name="T84" fmla="*/ 92 w 133"/>
                <a:gd name="T85" fmla="*/ 9 h 100"/>
                <a:gd name="T86" fmla="*/ 90 w 133"/>
                <a:gd name="T87" fmla="*/ 4 h 100"/>
                <a:gd name="T88" fmla="*/ 107 w 133"/>
                <a:gd name="T89" fmla="*/ 4 h 100"/>
                <a:gd name="T90" fmla="*/ 107 w 133"/>
                <a:gd name="T91" fmla="*/ 2 h 100"/>
                <a:gd name="T92" fmla="*/ 104 w 133"/>
                <a:gd name="T93" fmla="*/ 2 h 100"/>
                <a:gd name="T94" fmla="*/ 133 w 133"/>
                <a:gd name="T95"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100">
                  <a:moveTo>
                    <a:pt x="50" y="100"/>
                  </a:moveTo>
                  <a:lnTo>
                    <a:pt x="47" y="100"/>
                  </a:lnTo>
                  <a:lnTo>
                    <a:pt x="47" y="97"/>
                  </a:lnTo>
                  <a:lnTo>
                    <a:pt x="50" y="97"/>
                  </a:lnTo>
                  <a:lnTo>
                    <a:pt x="50" y="100"/>
                  </a:lnTo>
                  <a:close/>
                  <a:moveTo>
                    <a:pt x="26" y="80"/>
                  </a:moveTo>
                  <a:lnTo>
                    <a:pt x="26" y="83"/>
                  </a:lnTo>
                  <a:lnTo>
                    <a:pt x="26" y="80"/>
                  </a:lnTo>
                  <a:close/>
                  <a:moveTo>
                    <a:pt x="23" y="80"/>
                  </a:moveTo>
                  <a:lnTo>
                    <a:pt x="23" y="83"/>
                  </a:lnTo>
                  <a:lnTo>
                    <a:pt x="23" y="80"/>
                  </a:lnTo>
                  <a:close/>
                  <a:moveTo>
                    <a:pt x="73" y="80"/>
                  </a:moveTo>
                  <a:lnTo>
                    <a:pt x="73" y="83"/>
                  </a:lnTo>
                  <a:lnTo>
                    <a:pt x="71" y="83"/>
                  </a:lnTo>
                  <a:lnTo>
                    <a:pt x="73" y="80"/>
                  </a:lnTo>
                  <a:lnTo>
                    <a:pt x="71" y="80"/>
                  </a:lnTo>
                  <a:lnTo>
                    <a:pt x="73" y="80"/>
                  </a:lnTo>
                  <a:lnTo>
                    <a:pt x="71" y="80"/>
                  </a:lnTo>
                  <a:lnTo>
                    <a:pt x="73" y="80"/>
                  </a:lnTo>
                  <a:close/>
                  <a:moveTo>
                    <a:pt x="23" y="80"/>
                  </a:moveTo>
                  <a:lnTo>
                    <a:pt x="26" y="80"/>
                  </a:lnTo>
                  <a:lnTo>
                    <a:pt x="23" y="80"/>
                  </a:lnTo>
                  <a:lnTo>
                    <a:pt x="26" y="80"/>
                  </a:lnTo>
                  <a:lnTo>
                    <a:pt x="23" y="83"/>
                  </a:lnTo>
                  <a:lnTo>
                    <a:pt x="23" y="80"/>
                  </a:lnTo>
                  <a:close/>
                  <a:moveTo>
                    <a:pt x="26" y="78"/>
                  </a:moveTo>
                  <a:lnTo>
                    <a:pt x="28" y="78"/>
                  </a:lnTo>
                  <a:lnTo>
                    <a:pt x="26" y="78"/>
                  </a:lnTo>
                  <a:close/>
                  <a:moveTo>
                    <a:pt x="78" y="78"/>
                  </a:moveTo>
                  <a:lnTo>
                    <a:pt x="76" y="78"/>
                  </a:lnTo>
                  <a:lnTo>
                    <a:pt x="78" y="78"/>
                  </a:lnTo>
                  <a:lnTo>
                    <a:pt x="78" y="76"/>
                  </a:lnTo>
                  <a:lnTo>
                    <a:pt x="78" y="78"/>
                  </a:lnTo>
                  <a:close/>
                  <a:moveTo>
                    <a:pt x="0" y="73"/>
                  </a:moveTo>
                  <a:lnTo>
                    <a:pt x="0" y="71"/>
                  </a:lnTo>
                  <a:lnTo>
                    <a:pt x="0" y="73"/>
                  </a:lnTo>
                  <a:close/>
                  <a:moveTo>
                    <a:pt x="0" y="71"/>
                  </a:moveTo>
                  <a:lnTo>
                    <a:pt x="2" y="71"/>
                  </a:lnTo>
                  <a:lnTo>
                    <a:pt x="0" y="71"/>
                  </a:lnTo>
                  <a:close/>
                  <a:moveTo>
                    <a:pt x="5" y="71"/>
                  </a:moveTo>
                  <a:lnTo>
                    <a:pt x="5" y="69"/>
                  </a:lnTo>
                  <a:lnTo>
                    <a:pt x="5" y="71"/>
                  </a:lnTo>
                  <a:close/>
                  <a:moveTo>
                    <a:pt x="5" y="69"/>
                  </a:moveTo>
                  <a:lnTo>
                    <a:pt x="2" y="69"/>
                  </a:lnTo>
                  <a:lnTo>
                    <a:pt x="5" y="69"/>
                  </a:lnTo>
                  <a:lnTo>
                    <a:pt x="2" y="69"/>
                  </a:lnTo>
                  <a:lnTo>
                    <a:pt x="5" y="69"/>
                  </a:lnTo>
                  <a:close/>
                  <a:moveTo>
                    <a:pt x="54" y="61"/>
                  </a:moveTo>
                  <a:lnTo>
                    <a:pt x="54" y="59"/>
                  </a:lnTo>
                  <a:lnTo>
                    <a:pt x="54" y="61"/>
                  </a:lnTo>
                  <a:close/>
                  <a:moveTo>
                    <a:pt x="54" y="54"/>
                  </a:moveTo>
                  <a:lnTo>
                    <a:pt x="54" y="57"/>
                  </a:lnTo>
                  <a:lnTo>
                    <a:pt x="54" y="54"/>
                  </a:lnTo>
                  <a:close/>
                  <a:moveTo>
                    <a:pt x="40" y="54"/>
                  </a:moveTo>
                  <a:lnTo>
                    <a:pt x="42" y="54"/>
                  </a:lnTo>
                  <a:lnTo>
                    <a:pt x="42" y="57"/>
                  </a:lnTo>
                  <a:lnTo>
                    <a:pt x="40" y="57"/>
                  </a:lnTo>
                  <a:lnTo>
                    <a:pt x="40" y="54"/>
                  </a:lnTo>
                  <a:close/>
                  <a:moveTo>
                    <a:pt x="64" y="50"/>
                  </a:moveTo>
                  <a:lnTo>
                    <a:pt x="61" y="50"/>
                  </a:lnTo>
                  <a:lnTo>
                    <a:pt x="61" y="47"/>
                  </a:lnTo>
                  <a:lnTo>
                    <a:pt x="61" y="50"/>
                  </a:lnTo>
                  <a:lnTo>
                    <a:pt x="64" y="50"/>
                  </a:lnTo>
                  <a:close/>
                  <a:moveTo>
                    <a:pt x="42" y="47"/>
                  </a:moveTo>
                  <a:lnTo>
                    <a:pt x="42" y="50"/>
                  </a:lnTo>
                  <a:lnTo>
                    <a:pt x="42" y="47"/>
                  </a:lnTo>
                  <a:close/>
                  <a:moveTo>
                    <a:pt x="38" y="47"/>
                  </a:moveTo>
                  <a:lnTo>
                    <a:pt x="35" y="47"/>
                  </a:lnTo>
                  <a:lnTo>
                    <a:pt x="38" y="47"/>
                  </a:lnTo>
                  <a:close/>
                  <a:moveTo>
                    <a:pt x="40" y="47"/>
                  </a:moveTo>
                  <a:lnTo>
                    <a:pt x="40" y="45"/>
                  </a:lnTo>
                  <a:lnTo>
                    <a:pt x="40" y="47"/>
                  </a:lnTo>
                  <a:close/>
                  <a:moveTo>
                    <a:pt x="42" y="47"/>
                  </a:moveTo>
                  <a:lnTo>
                    <a:pt x="42" y="45"/>
                  </a:lnTo>
                  <a:lnTo>
                    <a:pt x="42" y="47"/>
                  </a:lnTo>
                  <a:close/>
                  <a:moveTo>
                    <a:pt x="57" y="47"/>
                  </a:moveTo>
                  <a:lnTo>
                    <a:pt x="54" y="47"/>
                  </a:lnTo>
                  <a:lnTo>
                    <a:pt x="54" y="45"/>
                  </a:lnTo>
                  <a:lnTo>
                    <a:pt x="57" y="45"/>
                  </a:lnTo>
                  <a:lnTo>
                    <a:pt x="57" y="47"/>
                  </a:lnTo>
                  <a:close/>
                  <a:moveTo>
                    <a:pt x="54" y="45"/>
                  </a:moveTo>
                  <a:lnTo>
                    <a:pt x="52" y="45"/>
                  </a:lnTo>
                  <a:lnTo>
                    <a:pt x="54" y="45"/>
                  </a:lnTo>
                  <a:close/>
                  <a:moveTo>
                    <a:pt x="42" y="42"/>
                  </a:moveTo>
                  <a:lnTo>
                    <a:pt x="40" y="40"/>
                  </a:lnTo>
                  <a:lnTo>
                    <a:pt x="42" y="40"/>
                  </a:lnTo>
                  <a:lnTo>
                    <a:pt x="42" y="42"/>
                  </a:lnTo>
                  <a:close/>
                  <a:moveTo>
                    <a:pt x="52" y="40"/>
                  </a:moveTo>
                  <a:lnTo>
                    <a:pt x="54" y="40"/>
                  </a:lnTo>
                  <a:lnTo>
                    <a:pt x="52" y="40"/>
                  </a:lnTo>
                  <a:lnTo>
                    <a:pt x="52" y="38"/>
                  </a:lnTo>
                  <a:lnTo>
                    <a:pt x="54" y="38"/>
                  </a:lnTo>
                  <a:lnTo>
                    <a:pt x="54" y="40"/>
                  </a:lnTo>
                  <a:lnTo>
                    <a:pt x="52" y="40"/>
                  </a:lnTo>
                  <a:close/>
                  <a:moveTo>
                    <a:pt x="50" y="35"/>
                  </a:moveTo>
                  <a:lnTo>
                    <a:pt x="50" y="33"/>
                  </a:lnTo>
                  <a:lnTo>
                    <a:pt x="50" y="35"/>
                  </a:lnTo>
                  <a:close/>
                  <a:moveTo>
                    <a:pt x="47" y="33"/>
                  </a:moveTo>
                  <a:lnTo>
                    <a:pt x="47" y="35"/>
                  </a:lnTo>
                  <a:lnTo>
                    <a:pt x="50" y="35"/>
                  </a:lnTo>
                  <a:lnTo>
                    <a:pt x="52" y="35"/>
                  </a:lnTo>
                  <a:lnTo>
                    <a:pt x="54" y="38"/>
                  </a:lnTo>
                  <a:lnTo>
                    <a:pt x="52" y="38"/>
                  </a:lnTo>
                  <a:lnTo>
                    <a:pt x="50" y="38"/>
                  </a:lnTo>
                  <a:lnTo>
                    <a:pt x="47" y="38"/>
                  </a:lnTo>
                  <a:lnTo>
                    <a:pt x="45" y="38"/>
                  </a:lnTo>
                  <a:lnTo>
                    <a:pt x="45" y="35"/>
                  </a:lnTo>
                  <a:lnTo>
                    <a:pt x="45" y="33"/>
                  </a:lnTo>
                  <a:lnTo>
                    <a:pt x="47" y="33"/>
                  </a:lnTo>
                  <a:close/>
                  <a:moveTo>
                    <a:pt x="54" y="21"/>
                  </a:moveTo>
                  <a:lnTo>
                    <a:pt x="52" y="21"/>
                  </a:lnTo>
                  <a:lnTo>
                    <a:pt x="54" y="21"/>
                  </a:lnTo>
                  <a:close/>
                  <a:moveTo>
                    <a:pt x="71" y="19"/>
                  </a:moveTo>
                  <a:lnTo>
                    <a:pt x="71" y="21"/>
                  </a:lnTo>
                  <a:lnTo>
                    <a:pt x="71" y="19"/>
                  </a:lnTo>
                  <a:lnTo>
                    <a:pt x="69" y="19"/>
                  </a:lnTo>
                  <a:lnTo>
                    <a:pt x="71" y="19"/>
                  </a:lnTo>
                  <a:close/>
                  <a:moveTo>
                    <a:pt x="73" y="19"/>
                  </a:moveTo>
                  <a:lnTo>
                    <a:pt x="71" y="19"/>
                  </a:lnTo>
                  <a:lnTo>
                    <a:pt x="71" y="16"/>
                  </a:lnTo>
                  <a:lnTo>
                    <a:pt x="73" y="16"/>
                  </a:lnTo>
                  <a:lnTo>
                    <a:pt x="73" y="19"/>
                  </a:lnTo>
                  <a:close/>
                  <a:moveTo>
                    <a:pt x="99" y="4"/>
                  </a:moveTo>
                  <a:lnTo>
                    <a:pt x="99" y="7"/>
                  </a:lnTo>
                  <a:lnTo>
                    <a:pt x="97" y="7"/>
                  </a:lnTo>
                  <a:lnTo>
                    <a:pt x="97" y="4"/>
                  </a:lnTo>
                  <a:lnTo>
                    <a:pt x="99" y="4"/>
                  </a:lnTo>
                  <a:close/>
                  <a:moveTo>
                    <a:pt x="92" y="7"/>
                  </a:moveTo>
                  <a:lnTo>
                    <a:pt x="92" y="9"/>
                  </a:lnTo>
                  <a:lnTo>
                    <a:pt x="90" y="9"/>
                  </a:lnTo>
                  <a:lnTo>
                    <a:pt x="90" y="7"/>
                  </a:lnTo>
                  <a:lnTo>
                    <a:pt x="90" y="4"/>
                  </a:lnTo>
                  <a:lnTo>
                    <a:pt x="92" y="7"/>
                  </a:lnTo>
                  <a:close/>
                  <a:moveTo>
                    <a:pt x="107" y="2"/>
                  </a:moveTo>
                  <a:lnTo>
                    <a:pt x="107" y="4"/>
                  </a:lnTo>
                  <a:lnTo>
                    <a:pt x="109" y="4"/>
                  </a:lnTo>
                  <a:lnTo>
                    <a:pt x="107" y="4"/>
                  </a:lnTo>
                  <a:lnTo>
                    <a:pt x="107" y="2"/>
                  </a:lnTo>
                  <a:lnTo>
                    <a:pt x="107" y="4"/>
                  </a:lnTo>
                  <a:lnTo>
                    <a:pt x="107" y="2"/>
                  </a:lnTo>
                  <a:lnTo>
                    <a:pt x="104" y="2"/>
                  </a:lnTo>
                  <a:lnTo>
                    <a:pt x="107" y="2"/>
                  </a:lnTo>
                  <a:close/>
                  <a:moveTo>
                    <a:pt x="133" y="0"/>
                  </a:moveTo>
                  <a:lnTo>
                    <a:pt x="133" y="2"/>
                  </a:lnTo>
                  <a:lnTo>
                    <a:pt x="13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1" name="Freeform 50294"/>
            <p:cNvSpPr>
              <a:spLocks noEditPoints="1"/>
            </p:cNvSpPr>
            <p:nvPr/>
          </p:nvSpPr>
          <p:spPr bwMode="auto">
            <a:xfrm>
              <a:off x="3167061" y="3927488"/>
              <a:ext cx="203200" cy="120650"/>
            </a:xfrm>
            <a:custGeom>
              <a:avLst/>
              <a:gdLst>
                <a:gd name="T0" fmla="*/ 33 w 128"/>
                <a:gd name="T1" fmla="*/ 76 h 76"/>
                <a:gd name="T2" fmla="*/ 2 w 128"/>
                <a:gd name="T3" fmla="*/ 69 h 76"/>
                <a:gd name="T4" fmla="*/ 2 w 128"/>
                <a:gd name="T5" fmla="*/ 69 h 76"/>
                <a:gd name="T6" fmla="*/ 2 w 128"/>
                <a:gd name="T7" fmla="*/ 67 h 76"/>
                <a:gd name="T8" fmla="*/ 40 w 128"/>
                <a:gd name="T9" fmla="*/ 65 h 76"/>
                <a:gd name="T10" fmla="*/ 40 w 128"/>
                <a:gd name="T11" fmla="*/ 65 h 76"/>
                <a:gd name="T12" fmla="*/ 0 w 128"/>
                <a:gd name="T13" fmla="*/ 65 h 76"/>
                <a:gd name="T14" fmla="*/ 42 w 128"/>
                <a:gd name="T15" fmla="*/ 65 h 76"/>
                <a:gd name="T16" fmla="*/ 42 w 128"/>
                <a:gd name="T17" fmla="*/ 65 h 76"/>
                <a:gd name="T18" fmla="*/ 42 w 128"/>
                <a:gd name="T19" fmla="*/ 62 h 76"/>
                <a:gd name="T20" fmla="*/ 45 w 128"/>
                <a:gd name="T21" fmla="*/ 62 h 76"/>
                <a:gd name="T22" fmla="*/ 45 w 128"/>
                <a:gd name="T23" fmla="*/ 62 h 76"/>
                <a:gd name="T24" fmla="*/ 61 w 128"/>
                <a:gd name="T25" fmla="*/ 62 h 76"/>
                <a:gd name="T26" fmla="*/ 64 w 128"/>
                <a:gd name="T27" fmla="*/ 62 h 76"/>
                <a:gd name="T28" fmla="*/ 45 w 128"/>
                <a:gd name="T29" fmla="*/ 60 h 76"/>
                <a:gd name="T30" fmla="*/ 54 w 128"/>
                <a:gd name="T31" fmla="*/ 50 h 76"/>
                <a:gd name="T32" fmla="*/ 54 w 128"/>
                <a:gd name="T33" fmla="*/ 50 h 76"/>
                <a:gd name="T34" fmla="*/ 45 w 128"/>
                <a:gd name="T35" fmla="*/ 46 h 76"/>
                <a:gd name="T36" fmla="*/ 42 w 128"/>
                <a:gd name="T37" fmla="*/ 46 h 76"/>
                <a:gd name="T38" fmla="*/ 42 w 128"/>
                <a:gd name="T39" fmla="*/ 46 h 76"/>
                <a:gd name="T40" fmla="*/ 45 w 128"/>
                <a:gd name="T41" fmla="*/ 46 h 76"/>
                <a:gd name="T42" fmla="*/ 38 w 128"/>
                <a:gd name="T43" fmla="*/ 43 h 76"/>
                <a:gd name="T44" fmla="*/ 38 w 128"/>
                <a:gd name="T45" fmla="*/ 43 h 76"/>
                <a:gd name="T46" fmla="*/ 40 w 128"/>
                <a:gd name="T47" fmla="*/ 34 h 76"/>
                <a:gd name="T48" fmla="*/ 21 w 128"/>
                <a:gd name="T49" fmla="*/ 34 h 76"/>
                <a:gd name="T50" fmla="*/ 21 w 128"/>
                <a:gd name="T51" fmla="*/ 34 h 76"/>
                <a:gd name="T52" fmla="*/ 35 w 128"/>
                <a:gd name="T53" fmla="*/ 34 h 76"/>
                <a:gd name="T54" fmla="*/ 21 w 128"/>
                <a:gd name="T55" fmla="*/ 34 h 76"/>
                <a:gd name="T56" fmla="*/ 21 w 128"/>
                <a:gd name="T57" fmla="*/ 34 h 76"/>
                <a:gd name="T58" fmla="*/ 52 w 128"/>
                <a:gd name="T59" fmla="*/ 31 h 76"/>
                <a:gd name="T60" fmla="*/ 128 w 128"/>
                <a:gd name="T61" fmla="*/ 0 h 76"/>
                <a:gd name="T62" fmla="*/ 128 w 128"/>
                <a:gd name="T6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76">
                  <a:moveTo>
                    <a:pt x="35" y="76"/>
                  </a:moveTo>
                  <a:lnTo>
                    <a:pt x="33" y="76"/>
                  </a:lnTo>
                  <a:lnTo>
                    <a:pt x="35" y="76"/>
                  </a:lnTo>
                  <a:close/>
                  <a:moveTo>
                    <a:pt x="2" y="69"/>
                  </a:moveTo>
                  <a:lnTo>
                    <a:pt x="2" y="67"/>
                  </a:lnTo>
                  <a:lnTo>
                    <a:pt x="2" y="69"/>
                  </a:lnTo>
                  <a:close/>
                  <a:moveTo>
                    <a:pt x="5" y="67"/>
                  </a:moveTo>
                  <a:lnTo>
                    <a:pt x="2" y="67"/>
                  </a:lnTo>
                  <a:lnTo>
                    <a:pt x="5" y="67"/>
                  </a:lnTo>
                  <a:close/>
                  <a:moveTo>
                    <a:pt x="40" y="65"/>
                  </a:moveTo>
                  <a:lnTo>
                    <a:pt x="38" y="65"/>
                  </a:lnTo>
                  <a:lnTo>
                    <a:pt x="40" y="65"/>
                  </a:lnTo>
                  <a:close/>
                  <a:moveTo>
                    <a:pt x="2" y="65"/>
                  </a:moveTo>
                  <a:lnTo>
                    <a:pt x="0" y="65"/>
                  </a:lnTo>
                  <a:lnTo>
                    <a:pt x="2" y="65"/>
                  </a:lnTo>
                  <a:close/>
                  <a:moveTo>
                    <a:pt x="42" y="65"/>
                  </a:moveTo>
                  <a:lnTo>
                    <a:pt x="42" y="62"/>
                  </a:lnTo>
                  <a:lnTo>
                    <a:pt x="42" y="65"/>
                  </a:lnTo>
                  <a:close/>
                  <a:moveTo>
                    <a:pt x="45" y="62"/>
                  </a:moveTo>
                  <a:lnTo>
                    <a:pt x="42" y="62"/>
                  </a:lnTo>
                  <a:lnTo>
                    <a:pt x="45" y="62"/>
                  </a:lnTo>
                  <a:close/>
                  <a:moveTo>
                    <a:pt x="45" y="62"/>
                  </a:moveTo>
                  <a:lnTo>
                    <a:pt x="47" y="62"/>
                  </a:lnTo>
                  <a:lnTo>
                    <a:pt x="45" y="62"/>
                  </a:lnTo>
                  <a:close/>
                  <a:moveTo>
                    <a:pt x="64" y="62"/>
                  </a:moveTo>
                  <a:lnTo>
                    <a:pt x="61" y="62"/>
                  </a:lnTo>
                  <a:lnTo>
                    <a:pt x="64" y="60"/>
                  </a:lnTo>
                  <a:lnTo>
                    <a:pt x="64" y="62"/>
                  </a:lnTo>
                  <a:close/>
                  <a:moveTo>
                    <a:pt x="45" y="62"/>
                  </a:moveTo>
                  <a:lnTo>
                    <a:pt x="45" y="60"/>
                  </a:lnTo>
                  <a:lnTo>
                    <a:pt x="45" y="62"/>
                  </a:lnTo>
                  <a:close/>
                  <a:moveTo>
                    <a:pt x="54" y="50"/>
                  </a:moveTo>
                  <a:lnTo>
                    <a:pt x="54" y="48"/>
                  </a:lnTo>
                  <a:lnTo>
                    <a:pt x="54" y="50"/>
                  </a:lnTo>
                  <a:close/>
                  <a:moveTo>
                    <a:pt x="42" y="46"/>
                  </a:moveTo>
                  <a:lnTo>
                    <a:pt x="45" y="46"/>
                  </a:lnTo>
                  <a:lnTo>
                    <a:pt x="42" y="46"/>
                  </a:lnTo>
                  <a:close/>
                  <a:moveTo>
                    <a:pt x="42" y="46"/>
                  </a:moveTo>
                  <a:lnTo>
                    <a:pt x="45" y="46"/>
                  </a:lnTo>
                  <a:lnTo>
                    <a:pt x="42" y="46"/>
                  </a:lnTo>
                  <a:close/>
                  <a:moveTo>
                    <a:pt x="47" y="46"/>
                  </a:moveTo>
                  <a:lnTo>
                    <a:pt x="45" y="46"/>
                  </a:lnTo>
                  <a:lnTo>
                    <a:pt x="47" y="46"/>
                  </a:lnTo>
                  <a:close/>
                  <a:moveTo>
                    <a:pt x="38" y="43"/>
                  </a:moveTo>
                  <a:lnTo>
                    <a:pt x="35" y="43"/>
                  </a:lnTo>
                  <a:lnTo>
                    <a:pt x="38" y="43"/>
                  </a:lnTo>
                  <a:close/>
                  <a:moveTo>
                    <a:pt x="40" y="36"/>
                  </a:moveTo>
                  <a:lnTo>
                    <a:pt x="40" y="34"/>
                  </a:lnTo>
                  <a:lnTo>
                    <a:pt x="40" y="36"/>
                  </a:lnTo>
                  <a:close/>
                  <a:moveTo>
                    <a:pt x="21" y="34"/>
                  </a:moveTo>
                  <a:lnTo>
                    <a:pt x="19" y="34"/>
                  </a:lnTo>
                  <a:lnTo>
                    <a:pt x="21" y="34"/>
                  </a:lnTo>
                  <a:close/>
                  <a:moveTo>
                    <a:pt x="38" y="34"/>
                  </a:moveTo>
                  <a:lnTo>
                    <a:pt x="35" y="34"/>
                  </a:lnTo>
                  <a:lnTo>
                    <a:pt x="38" y="34"/>
                  </a:lnTo>
                  <a:close/>
                  <a:moveTo>
                    <a:pt x="21" y="34"/>
                  </a:moveTo>
                  <a:lnTo>
                    <a:pt x="21" y="31"/>
                  </a:lnTo>
                  <a:lnTo>
                    <a:pt x="21" y="34"/>
                  </a:lnTo>
                  <a:close/>
                  <a:moveTo>
                    <a:pt x="54" y="31"/>
                  </a:moveTo>
                  <a:lnTo>
                    <a:pt x="52" y="31"/>
                  </a:lnTo>
                  <a:lnTo>
                    <a:pt x="54" y="31"/>
                  </a:lnTo>
                  <a:close/>
                  <a:moveTo>
                    <a:pt x="128" y="0"/>
                  </a:moveTo>
                  <a:lnTo>
                    <a:pt x="128" y="3"/>
                  </a:lnTo>
                  <a:lnTo>
                    <a:pt x="12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2" name="Freeform 50295"/>
            <p:cNvSpPr>
              <a:spLocks/>
            </p:cNvSpPr>
            <p:nvPr/>
          </p:nvSpPr>
          <p:spPr bwMode="auto">
            <a:xfrm>
              <a:off x="1644648" y="3698887"/>
              <a:ext cx="30163" cy="30163"/>
            </a:xfrm>
            <a:custGeom>
              <a:avLst/>
              <a:gdLst>
                <a:gd name="T0" fmla="*/ 5 w 19"/>
                <a:gd name="T1" fmla="*/ 0 h 19"/>
                <a:gd name="T2" fmla="*/ 5 w 19"/>
                <a:gd name="T3" fmla="*/ 0 h 19"/>
                <a:gd name="T4" fmla="*/ 7 w 19"/>
                <a:gd name="T5" fmla="*/ 2 h 19"/>
                <a:gd name="T6" fmla="*/ 7 w 19"/>
                <a:gd name="T7" fmla="*/ 2 h 19"/>
                <a:gd name="T8" fmla="*/ 10 w 19"/>
                <a:gd name="T9" fmla="*/ 4 h 19"/>
                <a:gd name="T10" fmla="*/ 10 w 19"/>
                <a:gd name="T11" fmla="*/ 4 h 19"/>
                <a:gd name="T12" fmla="*/ 10 w 19"/>
                <a:gd name="T13" fmla="*/ 7 h 19"/>
                <a:gd name="T14" fmla="*/ 12 w 19"/>
                <a:gd name="T15" fmla="*/ 7 h 19"/>
                <a:gd name="T16" fmla="*/ 12 w 19"/>
                <a:gd name="T17" fmla="*/ 9 h 19"/>
                <a:gd name="T18" fmla="*/ 14 w 19"/>
                <a:gd name="T19" fmla="*/ 9 h 19"/>
                <a:gd name="T20" fmla="*/ 12 w 19"/>
                <a:gd name="T21" fmla="*/ 11 h 19"/>
                <a:gd name="T22" fmla="*/ 12 w 19"/>
                <a:gd name="T23" fmla="*/ 11 h 19"/>
                <a:gd name="T24" fmla="*/ 14 w 19"/>
                <a:gd name="T25" fmla="*/ 11 h 19"/>
                <a:gd name="T26" fmla="*/ 17 w 19"/>
                <a:gd name="T27" fmla="*/ 11 h 19"/>
                <a:gd name="T28" fmla="*/ 17 w 19"/>
                <a:gd name="T29" fmla="*/ 14 h 19"/>
                <a:gd name="T30" fmla="*/ 14 w 19"/>
                <a:gd name="T31" fmla="*/ 14 h 19"/>
                <a:gd name="T32" fmla="*/ 14 w 19"/>
                <a:gd name="T33" fmla="*/ 14 h 19"/>
                <a:gd name="T34" fmla="*/ 14 w 19"/>
                <a:gd name="T35" fmla="*/ 14 h 19"/>
                <a:gd name="T36" fmla="*/ 14 w 19"/>
                <a:gd name="T37" fmla="*/ 14 h 19"/>
                <a:gd name="T38" fmla="*/ 17 w 19"/>
                <a:gd name="T39" fmla="*/ 14 h 19"/>
                <a:gd name="T40" fmla="*/ 17 w 19"/>
                <a:gd name="T41" fmla="*/ 14 h 19"/>
                <a:gd name="T42" fmla="*/ 19 w 19"/>
                <a:gd name="T43" fmla="*/ 14 h 19"/>
                <a:gd name="T44" fmla="*/ 19 w 19"/>
                <a:gd name="T45" fmla="*/ 16 h 19"/>
                <a:gd name="T46" fmla="*/ 17 w 19"/>
                <a:gd name="T47" fmla="*/ 16 h 19"/>
                <a:gd name="T48" fmla="*/ 19 w 19"/>
                <a:gd name="T49" fmla="*/ 16 h 19"/>
                <a:gd name="T50" fmla="*/ 19 w 19"/>
                <a:gd name="T51" fmla="*/ 19 h 19"/>
                <a:gd name="T52" fmla="*/ 17 w 19"/>
                <a:gd name="T53" fmla="*/ 19 h 19"/>
                <a:gd name="T54" fmla="*/ 14 w 19"/>
                <a:gd name="T55" fmla="*/ 16 h 19"/>
                <a:gd name="T56" fmla="*/ 14 w 19"/>
                <a:gd name="T57" fmla="*/ 16 h 19"/>
                <a:gd name="T58" fmla="*/ 12 w 19"/>
                <a:gd name="T59" fmla="*/ 16 h 19"/>
                <a:gd name="T60" fmla="*/ 12 w 19"/>
                <a:gd name="T61" fmla="*/ 14 h 19"/>
                <a:gd name="T62" fmla="*/ 10 w 19"/>
                <a:gd name="T63" fmla="*/ 14 h 19"/>
                <a:gd name="T64" fmla="*/ 10 w 19"/>
                <a:gd name="T65" fmla="*/ 14 h 19"/>
                <a:gd name="T66" fmla="*/ 10 w 19"/>
                <a:gd name="T67" fmla="*/ 11 h 19"/>
                <a:gd name="T68" fmla="*/ 7 w 19"/>
                <a:gd name="T69" fmla="*/ 9 h 19"/>
                <a:gd name="T70" fmla="*/ 7 w 19"/>
                <a:gd name="T71" fmla="*/ 9 h 19"/>
                <a:gd name="T72" fmla="*/ 5 w 19"/>
                <a:gd name="T73" fmla="*/ 9 h 19"/>
                <a:gd name="T74" fmla="*/ 5 w 19"/>
                <a:gd name="T75" fmla="*/ 9 h 19"/>
                <a:gd name="T76" fmla="*/ 5 w 19"/>
                <a:gd name="T77" fmla="*/ 7 h 19"/>
                <a:gd name="T78" fmla="*/ 3 w 19"/>
                <a:gd name="T79" fmla="*/ 9 h 19"/>
                <a:gd name="T80" fmla="*/ 3 w 19"/>
                <a:gd name="T81" fmla="*/ 7 h 19"/>
                <a:gd name="T82" fmla="*/ 3 w 19"/>
                <a:gd name="T83" fmla="*/ 7 h 19"/>
                <a:gd name="T84" fmla="*/ 3 w 19"/>
                <a:gd name="T85" fmla="*/ 7 h 19"/>
                <a:gd name="T86" fmla="*/ 3 w 19"/>
                <a:gd name="T87" fmla="*/ 4 h 19"/>
                <a:gd name="T88" fmla="*/ 3 w 19"/>
                <a:gd name="T89" fmla="*/ 4 h 19"/>
                <a:gd name="T90" fmla="*/ 3 w 19"/>
                <a:gd name="T91" fmla="*/ 4 h 19"/>
                <a:gd name="T92" fmla="*/ 3 w 19"/>
                <a:gd name="T93" fmla="*/ 4 h 19"/>
                <a:gd name="T94" fmla="*/ 3 w 19"/>
                <a:gd name="T95" fmla="*/ 2 h 19"/>
                <a:gd name="T96" fmla="*/ 3 w 19"/>
                <a:gd name="T97" fmla="*/ 2 h 19"/>
                <a:gd name="T98" fmla="*/ 3 w 19"/>
                <a:gd name="T99" fmla="*/ 2 h 19"/>
                <a:gd name="T100" fmla="*/ 3 w 19"/>
                <a:gd name="T101" fmla="*/ 2 h 19"/>
                <a:gd name="T102" fmla="*/ 3 w 19"/>
                <a:gd name="T103" fmla="*/ 2 h 19"/>
                <a:gd name="T104" fmla="*/ 3 w 19"/>
                <a:gd name="T105" fmla="*/ 2 h 19"/>
                <a:gd name="T106" fmla="*/ 3 w 19"/>
                <a:gd name="T107" fmla="*/ 0 h 19"/>
                <a:gd name="T108" fmla="*/ 3 w 19"/>
                <a:gd name="T109" fmla="*/ 0 h 19"/>
                <a:gd name="T110" fmla="*/ 3 w 19"/>
                <a:gd name="T111" fmla="*/ 0 h 19"/>
                <a:gd name="T112" fmla="*/ 3 w 19"/>
                <a:gd name="T113" fmla="*/ 0 h 19"/>
                <a:gd name="T114" fmla="*/ 5 w 19"/>
                <a:gd name="T11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 h="19">
                  <a:moveTo>
                    <a:pt x="5" y="0"/>
                  </a:moveTo>
                  <a:lnTo>
                    <a:pt x="5" y="0"/>
                  </a:lnTo>
                  <a:lnTo>
                    <a:pt x="5" y="0"/>
                  </a:lnTo>
                  <a:lnTo>
                    <a:pt x="5" y="0"/>
                  </a:lnTo>
                  <a:lnTo>
                    <a:pt x="5" y="0"/>
                  </a:lnTo>
                  <a:lnTo>
                    <a:pt x="5" y="0"/>
                  </a:lnTo>
                  <a:lnTo>
                    <a:pt x="5" y="0"/>
                  </a:lnTo>
                  <a:lnTo>
                    <a:pt x="5" y="0"/>
                  </a:lnTo>
                  <a:lnTo>
                    <a:pt x="7" y="0"/>
                  </a:lnTo>
                  <a:lnTo>
                    <a:pt x="7" y="0"/>
                  </a:lnTo>
                  <a:lnTo>
                    <a:pt x="7" y="0"/>
                  </a:lnTo>
                  <a:lnTo>
                    <a:pt x="7" y="2"/>
                  </a:lnTo>
                  <a:lnTo>
                    <a:pt x="7" y="2"/>
                  </a:lnTo>
                  <a:lnTo>
                    <a:pt x="7" y="2"/>
                  </a:lnTo>
                  <a:lnTo>
                    <a:pt x="7" y="2"/>
                  </a:lnTo>
                  <a:lnTo>
                    <a:pt x="7" y="2"/>
                  </a:lnTo>
                  <a:lnTo>
                    <a:pt x="7" y="4"/>
                  </a:lnTo>
                  <a:lnTo>
                    <a:pt x="10" y="4"/>
                  </a:lnTo>
                  <a:lnTo>
                    <a:pt x="10" y="4"/>
                  </a:lnTo>
                  <a:lnTo>
                    <a:pt x="10" y="4"/>
                  </a:lnTo>
                  <a:lnTo>
                    <a:pt x="10" y="4"/>
                  </a:lnTo>
                  <a:lnTo>
                    <a:pt x="10" y="4"/>
                  </a:lnTo>
                  <a:lnTo>
                    <a:pt x="10" y="4"/>
                  </a:lnTo>
                  <a:lnTo>
                    <a:pt x="10" y="4"/>
                  </a:lnTo>
                  <a:lnTo>
                    <a:pt x="10" y="4"/>
                  </a:lnTo>
                  <a:lnTo>
                    <a:pt x="10" y="7"/>
                  </a:lnTo>
                  <a:lnTo>
                    <a:pt x="10" y="7"/>
                  </a:lnTo>
                  <a:lnTo>
                    <a:pt x="10" y="7"/>
                  </a:lnTo>
                  <a:lnTo>
                    <a:pt x="10" y="7"/>
                  </a:lnTo>
                  <a:lnTo>
                    <a:pt x="12" y="7"/>
                  </a:lnTo>
                  <a:lnTo>
                    <a:pt x="12" y="7"/>
                  </a:lnTo>
                  <a:lnTo>
                    <a:pt x="12" y="7"/>
                  </a:lnTo>
                  <a:lnTo>
                    <a:pt x="12" y="9"/>
                  </a:lnTo>
                  <a:lnTo>
                    <a:pt x="12" y="9"/>
                  </a:lnTo>
                  <a:lnTo>
                    <a:pt x="12" y="9"/>
                  </a:lnTo>
                  <a:lnTo>
                    <a:pt x="12" y="9"/>
                  </a:lnTo>
                  <a:lnTo>
                    <a:pt x="12" y="9"/>
                  </a:lnTo>
                  <a:lnTo>
                    <a:pt x="14" y="9"/>
                  </a:lnTo>
                  <a:lnTo>
                    <a:pt x="14" y="9"/>
                  </a:lnTo>
                  <a:lnTo>
                    <a:pt x="14" y="9"/>
                  </a:lnTo>
                  <a:lnTo>
                    <a:pt x="14" y="9"/>
                  </a:lnTo>
                  <a:lnTo>
                    <a:pt x="14" y="9"/>
                  </a:lnTo>
                  <a:lnTo>
                    <a:pt x="12" y="9"/>
                  </a:lnTo>
                  <a:lnTo>
                    <a:pt x="12" y="11"/>
                  </a:lnTo>
                  <a:lnTo>
                    <a:pt x="12" y="11"/>
                  </a:lnTo>
                  <a:lnTo>
                    <a:pt x="12" y="11"/>
                  </a:lnTo>
                  <a:lnTo>
                    <a:pt x="12" y="11"/>
                  </a:lnTo>
                  <a:lnTo>
                    <a:pt x="12" y="11"/>
                  </a:lnTo>
                  <a:lnTo>
                    <a:pt x="12" y="11"/>
                  </a:lnTo>
                  <a:lnTo>
                    <a:pt x="14" y="11"/>
                  </a:lnTo>
                  <a:lnTo>
                    <a:pt x="14" y="11"/>
                  </a:lnTo>
                  <a:lnTo>
                    <a:pt x="14" y="11"/>
                  </a:lnTo>
                  <a:lnTo>
                    <a:pt x="14" y="11"/>
                  </a:lnTo>
                  <a:lnTo>
                    <a:pt x="14" y="11"/>
                  </a:lnTo>
                  <a:lnTo>
                    <a:pt x="17" y="11"/>
                  </a:lnTo>
                  <a:lnTo>
                    <a:pt x="17" y="11"/>
                  </a:lnTo>
                  <a:lnTo>
                    <a:pt x="17" y="11"/>
                  </a:lnTo>
                  <a:lnTo>
                    <a:pt x="17" y="11"/>
                  </a:lnTo>
                  <a:lnTo>
                    <a:pt x="17" y="11"/>
                  </a:lnTo>
                  <a:lnTo>
                    <a:pt x="17" y="14"/>
                  </a:lnTo>
                  <a:lnTo>
                    <a:pt x="14" y="14"/>
                  </a:lnTo>
                  <a:lnTo>
                    <a:pt x="14" y="14"/>
                  </a:lnTo>
                  <a:lnTo>
                    <a:pt x="14" y="14"/>
                  </a:lnTo>
                  <a:lnTo>
                    <a:pt x="14" y="14"/>
                  </a:lnTo>
                  <a:lnTo>
                    <a:pt x="14" y="14"/>
                  </a:lnTo>
                  <a:lnTo>
                    <a:pt x="14" y="14"/>
                  </a:lnTo>
                  <a:lnTo>
                    <a:pt x="14" y="14"/>
                  </a:lnTo>
                  <a:lnTo>
                    <a:pt x="14" y="14"/>
                  </a:lnTo>
                  <a:lnTo>
                    <a:pt x="12" y="11"/>
                  </a:lnTo>
                  <a:lnTo>
                    <a:pt x="12" y="14"/>
                  </a:lnTo>
                  <a:lnTo>
                    <a:pt x="12" y="14"/>
                  </a:lnTo>
                  <a:lnTo>
                    <a:pt x="14" y="14"/>
                  </a:lnTo>
                  <a:lnTo>
                    <a:pt x="14" y="14"/>
                  </a:lnTo>
                  <a:lnTo>
                    <a:pt x="14" y="14"/>
                  </a:lnTo>
                  <a:lnTo>
                    <a:pt x="14" y="14"/>
                  </a:lnTo>
                  <a:lnTo>
                    <a:pt x="14" y="14"/>
                  </a:lnTo>
                  <a:lnTo>
                    <a:pt x="17" y="14"/>
                  </a:lnTo>
                  <a:lnTo>
                    <a:pt x="17" y="14"/>
                  </a:lnTo>
                  <a:lnTo>
                    <a:pt x="17" y="14"/>
                  </a:lnTo>
                  <a:lnTo>
                    <a:pt x="17" y="14"/>
                  </a:lnTo>
                  <a:lnTo>
                    <a:pt x="17" y="14"/>
                  </a:lnTo>
                  <a:lnTo>
                    <a:pt x="17" y="14"/>
                  </a:lnTo>
                  <a:lnTo>
                    <a:pt x="17" y="14"/>
                  </a:lnTo>
                  <a:lnTo>
                    <a:pt x="17" y="14"/>
                  </a:lnTo>
                  <a:lnTo>
                    <a:pt x="17" y="14"/>
                  </a:lnTo>
                  <a:lnTo>
                    <a:pt x="19" y="14"/>
                  </a:lnTo>
                  <a:lnTo>
                    <a:pt x="19" y="14"/>
                  </a:lnTo>
                  <a:lnTo>
                    <a:pt x="19" y="14"/>
                  </a:lnTo>
                  <a:lnTo>
                    <a:pt x="17" y="14"/>
                  </a:lnTo>
                  <a:lnTo>
                    <a:pt x="17" y="14"/>
                  </a:lnTo>
                  <a:lnTo>
                    <a:pt x="19" y="14"/>
                  </a:lnTo>
                  <a:lnTo>
                    <a:pt x="19" y="16"/>
                  </a:lnTo>
                  <a:lnTo>
                    <a:pt x="17" y="16"/>
                  </a:lnTo>
                  <a:lnTo>
                    <a:pt x="17" y="16"/>
                  </a:lnTo>
                  <a:lnTo>
                    <a:pt x="17" y="16"/>
                  </a:lnTo>
                  <a:lnTo>
                    <a:pt x="17" y="16"/>
                  </a:lnTo>
                  <a:lnTo>
                    <a:pt x="17" y="16"/>
                  </a:lnTo>
                  <a:lnTo>
                    <a:pt x="17" y="16"/>
                  </a:lnTo>
                  <a:lnTo>
                    <a:pt x="17" y="16"/>
                  </a:lnTo>
                  <a:lnTo>
                    <a:pt x="19" y="16"/>
                  </a:lnTo>
                  <a:lnTo>
                    <a:pt x="19" y="19"/>
                  </a:lnTo>
                  <a:lnTo>
                    <a:pt x="19" y="19"/>
                  </a:lnTo>
                  <a:lnTo>
                    <a:pt x="19" y="19"/>
                  </a:lnTo>
                  <a:lnTo>
                    <a:pt x="19" y="19"/>
                  </a:lnTo>
                  <a:lnTo>
                    <a:pt x="19" y="19"/>
                  </a:lnTo>
                  <a:lnTo>
                    <a:pt x="17" y="19"/>
                  </a:lnTo>
                  <a:lnTo>
                    <a:pt x="17" y="19"/>
                  </a:lnTo>
                  <a:lnTo>
                    <a:pt x="17" y="19"/>
                  </a:lnTo>
                  <a:lnTo>
                    <a:pt x="17" y="19"/>
                  </a:lnTo>
                  <a:lnTo>
                    <a:pt x="17" y="19"/>
                  </a:lnTo>
                  <a:lnTo>
                    <a:pt x="14" y="16"/>
                  </a:lnTo>
                  <a:lnTo>
                    <a:pt x="14" y="16"/>
                  </a:lnTo>
                  <a:lnTo>
                    <a:pt x="14" y="16"/>
                  </a:lnTo>
                  <a:lnTo>
                    <a:pt x="14" y="16"/>
                  </a:lnTo>
                  <a:lnTo>
                    <a:pt x="14" y="16"/>
                  </a:lnTo>
                  <a:lnTo>
                    <a:pt x="14" y="16"/>
                  </a:lnTo>
                  <a:lnTo>
                    <a:pt x="12" y="16"/>
                  </a:lnTo>
                  <a:lnTo>
                    <a:pt x="12" y="16"/>
                  </a:lnTo>
                  <a:lnTo>
                    <a:pt x="12" y="16"/>
                  </a:lnTo>
                  <a:lnTo>
                    <a:pt x="12" y="16"/>
                  </a:lnTo>
                  <a:lnTo>
                    <a:pt x="12" y="14"/>
                  </a:lnTo>
                  <a:lnTo>
                    <a:pt x="12" y="14"/>
                  </a:lnTo>
                  <a:lnTo>
                    <a:pt x="12" y="14"/>
                  </a:lnTo>
                  <a:lnTo>
                    <a:pt x="12" y="14"/>
                  </a:lnTo>
                  <a:lnTo>
                    <a:pt x="10" y="14"/>
                  </a:lnTo>
                  <a:lnTo>
                    <a:pt x="10" y="14"/>
                  </a:lnTo>
                  <a:lnTo>
                    <a:pt x="10" y="14"/>
                  </a:lnTo>
                  <a:lnTo>
                    <a:pt x="10" y="14"/>
                  </a:lnTo>
                  <a:lnTo>
                    <a:pt x="10" y="14"/>
                  </a:lnTo>
                  <a:lnTo>
                    <a:pt x="10" y="14"/>
                  </a:lnTo>
                  <a:lnTo>
                    <a:pt x="10" y="14"/>
                  </a:lnTo>
                  <a:lnTo>
                    <a:pt x="10" y="14"/>
                  </a:lnTo>
                  <a:lnTo>
                    <a:pt x="10" y="11"/>
                  </a:lnTo>
                  <a:lnTo>
                    <a:pt x="10" y="11"/>
                  </a:lnTo>
                  <a:lnTo>
                    <a:pt x="10" y="11"/>
                  </a:lnTo>
                  <a:lnTo>
                    <a:pt x="10" y="11"/>
                  </a:lnTo>
                  <a:lnTo>
                    <a:pt x="10" y="11"/>
                  </a:lnTo>
                  <a:lnTo>
                    <a:pt x="10" y="11"/>
                  </a:lnTo>
                  <a:lnTo>
                    <a:pt x="10" y="9"/>
                  </a:lnTo>
                  <a:lnTo>
                    <a:pt x="7" y="9"/>
                  </a:lnTo>
                  <a:lnTo>
                    <a:pt x="7" y="9"/>
                  </a:lnTo>
                  <a:lnTo>
                    <a:pt x="7" y="9"/>
                  </a:lnTo>
                  <a:lnTo>
                    <a:pt x="7" y="9"/>
                  </a:lnTo>
                  <a:lnTo>
                    <a:pt x="7" y="9"/>
                  </a:lnTo>
                  <a:lnTo>
                    <a:pt x="5" y="9"/>
                  </a:lnTo>
                  <a:lnTo>
                    <a:pt x="5" y="9"/>
                  </a:lnTo>
                  <a:lnTo>
                    <a:pt x="5" y="9"/>
                  </a:lnTo>
                  <a:lnTo>
                    <a:pt x="5" y="9"/>
                  </a:lnTo>
                  <a:lnTo>
                    <a:pt x="5" y="9"/>
                  </a:lnTo>
                  <a:lnTo>
                    <a:pt x="5" y="9"/>
                  </a:lnTo>
                  <a:lnTo>
                    <a:pt x="5" y="9"/>
                  </a:lnTo>
                  <a:lnTo>
                    <a:pt x="5" y="9"/>
                  </a:lnTo>
                  <a:lnTo>
                    <a:pt x="5" y="9"/>
                  </a:lnTo>
                  <a:lnTo>
                    <a:pt x="5" y="9"/>
                  </a:lnTo>
                  <a:lnTo>
                    <a:pt x="5" y="7"/>
                  </a:lnTo>
                  <a:lnTo>
                    <a:pt x="5" y="7"/>
                  </a:lnTo>
                  <a:lnTo>
                    <a:pt x="5" y="7"/>
                  </a:lnTo>
                  <a:lnTo>
                    <a:pt x="5" y="9"/>
                  </a:lnTo>
                  <a:lnTo>
                    <a:pt x="5" y="9"/>
                  </a:lnTo>
                  <a:lnTo>
                    <a:pt x="3" y="9"/>
                  </a:lnTo>
                  <a:lnTo>
                    <a:pt x="3" y="9"/>
                  </a:lnTo>
                  <a:lnTo>
                    <a:pt x="3" y="7"/>
                  </a:lnTo>
                  <a:lnTo>
                    <a:pt x="3" y="7"/>
                  </a:lnTo>
                  <a:lnTo>
                    <a:pt x="3" y="7"/>
                  </a:lnTo>
                  <a:lnTo>
                    <a:pt x="3" y="7"/>
                  </a:lnTo>
                  <a:lnTo>
                    <a:pt x="3" y="7"/>
                  </a:lnTo>
                  <a:lnTo>
                    <a:pt x="3" y="7"/>
                  </a:lnTo>
                  <a:lnTo>
                    <a:pt x="3" y="7"/>
                  </a:lnTo>
                  <a:lnTo>
                    <a:pt x="0" y="7"/>
                  </a:lnTo>
                  <a:lnTo>
                    <a:pt x="3" y="7"/>
                  </a:lnTo>
                  <a:lnTo>
                    <a:pt x="3" y="7"/>
                  </a:lnTo>
                  <a:lnTo>
                    <a:pt x="3" y="7"/>
                  </a:lnTo>
                  <a:lnTo>
                    <a:pt x="3" y="7"/>
                  </a:lnTo>
                  <a:lnTo>
                    <a:pt x="3" y="7"/>
                  </a:lnTo>
                  <a:lnTo>
                    <a:pt x="3" y="7"/>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2"/>
                  </a:lnTo>
                  <a:lnTo>
                    <a:pt x="3" y="2"/>
                  </a:lnTo>
                  <a:lnTo>
                    <a:pt x="3" y="2"/>
                  </a:lnTo>
                  <a:lnTo>
                    <a:pt x="3" y="2"/>
                  </a:lnTo>
                  <a:lnTo>
                    <a:pt x="3" y="2"/>
                  </a:lnTo>
                  <a:lnTo>
                    <a:pt x="3" y="2"/>
                  </a:lnTo>
                  <a:lnTo>
                    <a:pt x="5" y="2"/>
                  </a:lnTo>
                  <a:lnTo>
                    <a:pt x="5"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5" y="0"/>
                  </a:lnTo>
                  <a:lnTo>
                    <a:pt x="5" y="0"/>
                  </a:lnTo>
                  <a:lnTo>
                    <a:pt x="5" y="0"/>
                  </a:lnTo>
                  <a:lnTo>
                    <a:pt x="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3" name="Freeform 50296"/>
            <p:cNvSpPr>
              <a:spLocks noEditPoints="1"/>
            </p:cNvSpPr>
            <p:nvPr/>
          </p:nvSpPr>
          <p:spPr bwMode="auto">
            <a:xfrm>
              <a:off x="1625598" y="3690950"/>
              <a:ext cx="71438" cy="85725"/>
            </a:xfrm>
            <a:custGeom>
              <a:avLst/>
              <a:gdLst>
                <a:gd name="T0" fmla="*/ 24 w 45"/>
                <a:gd name="T1" fmla="*/ 40 h 54"/>
                <a:gd name="T2" fmla="*/ 26 w 45"/>
                <a:gd name="T3" fmla="*/ 43 h 54"/>
                <a:gd name="T4" fmla="*/ 29 w 45"/>
                <a:gd name="T5" fmla="*/ 45 h 54"/>
                <a:gd name="T6" fmla="*/ 29 w 45"/>
                <a:gd name="T7" fmla="*/ 45 h 54"/>
                <a:gd name="T8" fmla="*/ 31 w 45"/>
                <a:gd name="T9" fmla="*/ 47 h 54"/>
                <a:gd name="T10" fmla="*/ 29 w 45"/>
                <a:gd name="T11" fmla="*/ 50 h 54"/>
                <a:gd name="T12" fmla="*/ 31 w 45"/>
                <a:gd name="T13" fmla="*/ 52 h 54"/>
                <a:gd name="T14" fmla="*/ 31 w 45"/>
                <a:gd name="T15" fmla="*/ 52 h 54"/>
                <a:gd name="T16" fmla="*/ 24 w 45"/>
                <a:gd name="T17" fmla="*/ 47 h 54"/>
                <a:gd name="T18" fmla="*/ 22 w 45"/>
                <a:gd name="T19" fmla="*/ 45 h 54"/>
                <a:gd name="T20" fmla="*/ 22 w 45"/>
                <a:gd name="T21" fmla="*/ 43 h 54"/>
                <a:gd name="T22" fmla="*/ 24 w 45"/>
                <a:gd name="T23" fmla="*/ 40 h 54"/>
                <a:gd name="T24" fmla="*/ 29 w 45"/>
                <a:gd name="T25" fmla="*/ 35 h 54"/>
                <a:gd name="T26" fmla="*/ 26 w 45"/>
                <a:gd name="T27" fmla="*/ 26 h 54"/>
                <a:gd name="T28" fmla="*/ 34 w 45"/>
                <a:gd name="T29" fmla="*/ 28 h 54"/>
                <a:gd name="T30" fmla="*/ 31 w 45"/>
                <a:gd name="T31" fmla="*/ 35 h 54"/>
                <a:gd name="T32" fmla="*/ 24 w 45"/>
                <a:gd name="T33" fmla="*/ 31 h 54"/>
                <a:gd name="T34" fmla="*/ 26 w 45"/>
                <a:gd name="T35" fmla="*/ 26 h 54"/>
                <a:gd name="T36" fmla="*/ 26 w 45"/>
                <a:gd name="T37" fmla="*/ 24 h 54"/>
                <a:gd name="T38" fmla="*/ 22 w 45"/>
                <a:gd name="T39" fmla="*/ 21 h 54"/>
                <a:gd name="T40" fmla="*/ 36 w 45"/>
                <a:gd name="T41" fmla="*/ 24 h 54"/>
                <a:gd name="T42" fmla="*/ 34 w 45"/>
                <a:gd name="T43" fmla="*/ 21 h 54"/>
                <a:gd name="T44" fmla="*/ 3 w 45"/>
                <a:gd name="T45" fmla="*/ 16 h 54"/>
                <a:gd name="T46" fmla="*/ 3 w 45"/>
                <a:gd name="T47" fmla="*/ 16 h 54"/>
                <a:gd name="T48" fmla="*/ 15 w 45"/>
                <a:gd name="T49" fmla="*/ 14 h 54"/>
                <a:gd name="T50" fmla="*/ 19 w 45"/>
                <a:gd name="T51" fmla="*/ 19 h 54"/>
                <a:gd name="T52" fmla="*/ 15 w 45"/>
                <a:gd name="T53" fmla="*/ 19 h 54"/>
                <a:gd name="T54" fmla="*/ 10 w 45"/>
                <a:gd name="T55" fmla="*/ 16 h 54"/>
                <a:gd name="T56" fmla="*/ 7 w 45"/>
                <a:gd name="T57" fmla="*/ 14 h 54"/>
                <a:gd name="T58" fmla="*/ 15 w 45"/>
                <a:gd name="T59" fmla="*/ 12 h 54"/>
                <a:gd name="T60" fmla="*/ 45 w 45"/>
                <a:gd name="T61" fmla="*/ 7 h 54"/>
                <a:gd name="T62" fmla="*/ 41 w 45"/>
                <a:gd name="T63" fmla="*/ 7 h 54"/>
                <a:gd name="T64" fmla="*/ 45 w 45"/>
                <a:gd name="T65" fmla="*/ 7 h 54"/>
                <a:gd name="T66" fmla="*/ 24 w 45"/>
                <a:gd name="T67" fmla="*/ 7 h 54"/>
                <a:gd name="T68" fmla="*/ 26 w 45"/>
                <a:gd name="T69" fmla="*/ 5 h 54"/>
                <a:gd name="T70" fmla="*/ 29 w 45"/>
                <a:gd name="T71" fmla="*/ 7 h 54"/>
                <a:gd name="T72" fmla="*/ 34 w 45"/>
                <a:gd name="T73" fmla="*/ 12 h 54"/>
                <a:gd name="T74" fmla="*/ 34 w 45"/>
                <a:gd name="T75" fmla="*/ 12 h 54"/>
                <a:gd name="T76" fmla="*/ 31 w 45"/>
                <a:gd name="T77" fmla="*/ 14 h 54"/>
                <a:gd name="T78" fmla="*/ 31 w 45"/>
                <a:gd name="T79" fmla="*/ 19 h 54"/>
                <a:gd name="T80" fmla="*/ 31 w 45"/>
                <a:gd name="T81" fmla="*/ 14 h 54"/>
                <a:gd name="T82" fmla="*/ 29 w 45"/>
                <a:gd name="T83" fmla="*/ 12 h 54"/>
                <a:gd name="T84" fmla="*/ 29 w 45"/>
                <a:gd name="T85" fmla="*/ 14 h 54"/>
                <a:gd name="T86" fmla="*/ 22 w 45"/>
                <a:gd name="T87" fmla="*/ 12 h 54"/>
                <a:gd name="T88" fmla="*/ 22 w 45"/>
                <a:gd name="T89" fmla="*/ 5 h 54"/>
                <a:gd name="T90" fmla="*/ 45 w 45"/>
                <a:gd name="T91" fmla="*/ 2 h 54"/>
                <a:gd name="T92" fmla="*/ 45 w 45"/>
                <a:gd name="T93" fmla="*/ 2 h 54"/>
                <a:gd name="T94" fmla="*/ 38 w 45"/>
                <a:gd name="T95" fmla="*/ 7 h 54"/>
                <a:gd name="T96" fmla="*/ 38 w 45"/>
                <a:gd name="T97" fmla="*/ 12 h 54"/>
                <a:gd name="T98" fmla="*/ 38 w 45"/>
                <a:gd name="T99" fmla="*/ 12 h 54"/>
                <a:gd name="T100" fmla="*/ 36 w 45"/>
                <a:gd name="T101" fmla="*/ 7 h 54"/>
                <a:gd name="T102" fmla="*/ 34 w 45"/>
                <a:gd name="T103" fmla="*/ 2 h 54"/>
                <a:gd name="T104" fmla="*/ 38 w 45"/>
                <a:gd name="T105" fmla="*/ 7 h 54"/>
                <a:gd name="T106" fmla="*/ 36 w 45"/>
                <a:gd name="T107" fmla="*/ 5 h 54"/>
                <a:gd name="T108" fmla="*/ 31 w 45"/>
                <a:gd name="T109" fmla="*/ 5 h 54"/>
                <a:gd name="T110" fmla="*/ 31 w 45"/>
                <a:gd name="T111" fmla="*/ 9 h 54"/>
                <a:gd name="T112" fmla="*/ 29 w 45"/>
                <a:gd name="T113" fmla="*/ 2 h 54"/>
                <a:gd name="T114" fmla="*/ 31 w 45"/>
                <a:gd name="T115" fmla="*/ 7 h 54"/>
                <a:gd name="T116" fmla="*/ 38 w 45"/>
                <a:gd name="T117" fmla="*/ 0 h 54"/>
                <a:gd name="T118" fmla="*/ 41 w 45"/>
                <a:gd name="T119" fmla="*/ 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 h="54">
                  <a:moveTo>
                    <a:pt x="31" y="40"/>
                  </a:moveTo>
                  <a:lnTo>
                    <a:pt x="31" y="43"/>
                  </a:lnTo>
                  <a:lnTo>
                    <a:pt x="31" y="40"/>
                  </a:lnTo>
                  <a:close/>
                  <a:moveTo>
                    <a:pt x="24" y="40"/>
                  </a:moveTo>
                  <a:lnTo>
                    <a:pt x="26" y="40"/>
                  </a:lnTo>
                  <a:lnTo>
                    <a:pt x="24" y="40"/>
                  </a:lnTo>
                  <a:lnTo>
                    <a:pt x="24" y="43"/>
                  </a:lnTo>
                  <a:lnTo>
                    <a:pt x="26" y="43"/>
                  </a:lnTo>
                  <a:lnTo>
                    <a:pt x="24" y="43"/>
                  </a:lnTo>
                  <a:lnTo>
                    <a:pt x="26" y="43"/>
                  </a:lnTo>
                  <a:lnTo>
                    <a:pt x="26" y="45"/>
                  </a:lnTo>
                  <a:lnTo>
                    <a:pt x="29" y="45"/>
                  </a:lnTo>
                  <a:lnTo>
                    <a:pt x="31" y="45"/>
                  </a:lnTo>
                  <a:lnTo>
                    <a:pt x="29" y="45"/>
                  </a:lnTo>
                  <a:lnTo>
                    <a:pt x="31" y="45"/>
                  </a:lnTo>
                  <a:lnTo>
                    <a:pt x="29" y="45"/>
                  </a:lnTo>
                  <a:lnTo>
                    <a:pt x="26" y="45"/>
                  </a:lnTo>
                  <a:lnTo>
                    <a:pt x="29" y="45"/>
                  </a:lnTo>
                  <a:lnTo>
                    <a:pt x="29" y="47"/>
                  </a:lnTo>
                  <a:lnTo>
                    <a:pt x="31" y="47"/>
                  </a:lnTo>
                  <a:lnTo>
                    <a:pt x="29" y="47"/>
                  </a:lnTo>
                  <a:lnTo>
                    <a:pt x="29" y="50"/>
                  </a:lnTo>
                  <a:lnTo>
                    <a:pt x="31" y="50"/>
                  </a:lnTo>
                  <a:lnTo>
                    <a:pt x="29" y="50"/>
                  </a:lnTo>
                  <a:lnTo>
                    <a:pt x="29" y="52"/>
                  </a:lnTo>
                  <a:lnTo>
                    <a:pt x="29" y="50"/>
                  </a:lnTo>
                  <a:lnTo>
                    <a:pt x="31" y="50"/>
                  </a:lnTo>
                  <a:lnTo>
                    <a:pt x="31" y="52"/>
                  </a:lnTo>
                  <a:lnTo>
                    <a:pt x="34" y="52"/>
                  </a:lnTo>
                  <a:lnTo>
                    <a:pt x="34" y="54"/>
                  </a:lnTo>
                  <a:lnTo>
                    <a:pt x="31" y="54"/>
                  </a:lnTo>
                  <a:lnTo>
                    <a:pt x="31" y="52"/>
                  </a:lnTo>
                  <a:lnTo>
                    <a:pt x="29" y="52"/>
                  </a:lnTo>
                  <a:lnTo>
                    <a:pt x="26" y="50"/>
                  </a:lnTo>
                  <a:lnTo>
                    <a:pt x="26" y="47"/>
                  </a:lnTo>
                  <a:lnTo>
                    <a:pt x="24" y="47"/>
                  </a:lnTo>
                  <a:lnTo>
                    <a:pt x="26" y="47"/>
                  </a:lnTo>
                  <a:lnTo>
                    <a:pt x="24" y="47"/>
                  </a:lnTo>
                  <a:lnTo>
                    <a:pt x="24" y="45"/>
                  </a:lnTo>
                  <a:lnTo>
                    <a:pt x="22" y="45"/>
                  </a:lnTo>
                  <a:lnTo>
                    <a:pt x="24" y="43"/>
                  </a:lnTo>
                  <a:lnTo>
                    <a:pt x="22" y="43"/>
                  </a:lnTo>
                  <a:lnTo>
                    <a:pt x="24" y="43"/>
                  </a:lnTo>
                  <a:lnTo>
                    <a:pt x="22" y="43"/>
                  </a:lnTo>
                  <a:lnTo>
                    <a:pt x="22" y="40"/>
                  </a:lnTo>
                  <a:lnTo>
                    <a:pt x="22" y="43"/>
                  </a:lnTo>
                  <a:lnTo>
                    <a:pt x="22" y="40"/>
                  </a:lnTo>
                  <a:lnTo>
                    <a:pt x="24" y="40"/>
                  </a:lnTo>
                  <a:close/>
                  <a:moveTo>
                    <a:pt x="31" y="38"/>
                  </a:moveTo>
                  <a:lnTo>
                    <a:pt x="29" y="38"/>
                  </a:lnTo>
                  <a:lnTo>
                    <a:pt x="31" y="38"/>
                  </a:lnTo>
                  <a:close/>
                  <a:moveTo>
                    <a:pt x="29" y="35"/>
                  </a:moveTo>
                  <a:lnTo>
                    <a:pt x="26" y="33"/>
                  </a:lnTo>
                  <a:lnTo>
                    <a:pt x="29" y="33"/>
                  </a:lnTo>
                  <a:lnTo>
                    <a:pt x="29" y="35"/>
                  </a:lnTo>
                  <a:close/>
                  <a:moveTo>
                    <a:pt x="26" y="26"/>
                  </a:moveTo>
                  <a:lnTo>
                    <a:pt x="29" y="26"/>
                  </a:lnTo>
                  <a:lnTo>
                    <a:pt x="29" y="28"/>
                  </a:lnTo>
                  <a:lnTo>
                    <a:pt x="31" y="28"/>
                  </a:lnTo>
                  <a:lnTo>
                    <a:pt x="34" y="28"/>
                  </a:lnTo>
                  <a:lnTo>
                    <a:pt x="34" y="31"/>
                  </a:lnTo>
                  <a:lnTo>
                    <a:pt x="34" y="33"/>
                  </a:lnTo>
                  <a:lnTo>
                    <a:pt x="34" y="35"/>
                  </a:lnTo>
                  <a:lnTo>
                    <a:pt x="31" y="35"/>
                  </a:lnTo>
                  <a:lnTo>
                    <a:pt x="31" y="33"/>
                  </a:lnTo>
                  <a:lnTo>
                    <a:pt x="29" y="31"/>
                  </a:lnTo>
                  <a:lnTo>
                    <a:pt x="26" y="31"/>
                  </a:lnTo>
                  <a:lnTo>
                    <a:pt x="24" y="31"/>
                  </a:lnTo>
                  <a:lnTo>
                    <a:pt x="26" y="31"/>
                  </a:lnTo>
                  <a:lnTo>
                    <a:pt x="24" y="28"/>
                  </a:lnTo>
                  <a:lnTo>
                    <a:pt x="24" y="26"/>
                  </a:lnTo>
                  <a:lnTo>
                    <a:pt x="26" y="26"/>
                  </a:lnTo>
                  <a:close/>
                  <a:moveTo>
                    <a:pt x="26" y="26"/>
                  </a:moveTo>
                  <a:lnTo>
                    <a:pt x="26" y="24"/>
                  </a:lnTo>
                  <a:lnTo>
                    <a:pt x="24" y="24"/>
                  </a:lnTo>
                  <a:lnTo>
                    <a:pt x="26" y="24"/>
                  </a:lnTo>
                  <a:lnTo>
                    <a:pt x="26" y="26"/>
                  </a:lnTo>
                  <a:close/>
                  <a:moveTo>
                    <a:pt x="24" y="21"/>
                  </a:moveTo>
                  <a:lnTo>
                    <a:pt x="24" y="24"/>
                  </a:lnTo>
                  <a:lnTo>
                    <a:pt x="22" y="21"/>
                  </a:lnTo>
                  <a:lnTo>
                    <a:pt x="24" y="21"/>
                  </a:lnTo>
                  <a:close/>
                  <a:moveTo>
                    <a:pt x="34" y="21"/>
                  </a:moveTo>
                  <a:lnTo>
                    <a:pt x="34" y="24"/>
                  </a:lnTo>
                  <a:lnTo>
                    <a:pt x="36" y="24"/>
                  </a:lnTo>
                  <a:lnTo>
                    <a:pt x="34" y="24"/>
                  </a:lnTo>
                  <a:lnTo>
                    <a:pt x="36" y="24"/>
                  </a:lnTo>
                  <a:lnTo>
                    <a:pt x="34" y="24"/>
                  </a:lnTo>
                  <a:lnTo>
                    <a:pt x="34" y="21"/>
                  </a:lnTo>
                  <a:lnTo>
                    <a:pt x="31" y="19"/>
                  </a:lnTo>
                  <a:lnTo>
                    <a:pt x="34" y="21"/>
                  </a:lnTo>
                  <a:close/>
                  <a:moveTo>
                    <a:pt x="3" y="14"/>
                  </a:moveTo>
                  <a:lnTo>
                    <a:pt x="3" y="16"/>
                  </a:lnTo>
                  <a:lnTo>
                    <a:pt x="5" y="16"/>
                  </a:lnTo>
                  <a:lnTo>
                    <a:pt x="3" y="16"/>
                  </a:lnTo>
                  <a:lnTo>
                    <a:pt x="5" y="16"/>
                  </a:lnTo>
                  <a:lnTo>
                    <a:pt x="3" y="16"/>
                  </a:lnTo>
                  <a:lnTo>
                    <a:pt x="0" y="16"/>
                  </a:lnTo>
                  <a:lnTo>
                    <a:pt x="0" y="14"/>
                  </a:lnTo>
                  <a:lnTo>
                    <a:pt x="3" y="14"/>
                  </a:lnTo>
                  <a:close/>
                  <a:moveTo>
                    <a:pt x="15" y="14"/>
                  </a:moveTo>
                  <a:lnTo>
                    <a:pt x="17" y="14"/>
                  </a:lnTo>
                  <a:lnTo>
                    <a:pt x="17" y="16"/>
                  </a:lnTo>
                  <a:lnTo>
                    <a:pt x="19" y="16"/>
                  </a:lnTo>
                  <a:lnTo>
                    <a:pt x="19" y="19"/>
                  </a:lnTo>
                  <a:lnTo>
                    <a:pt x="17" y="19"/>
                  </a:lnTo>
                  <a:lnTo>
                    <a:pt x="15" y="19"/>
                  </a:lnTo>
                  <a:lnTo>
                    <a:pt x="17" y="19"/>
                  </a:lnTo>
                  <a:lnTo>
                    <a:pt x="15" y="19"/>
                  </a:lnTo>
                  <a:lnTo>
                    <a:pt x="12" y="19"/>
                  </a:lnTo>
                  <a:lnTo>
                    <a:pt x="10" y="19"/>
                  </a:lnTo>
                  <a:lnTo>
                    <a:pt x="7" y="16"/>
                  </a:lnTo>
                  <a:lnTo>
                    <a:pt x="10" y="16"/>
                  </a:lnTo>
                  <a:lnTo>
                    <a:pt x="12" y="16"/>
                  </a:lnTo>
                  <a:lnTo>
                    <a:pt x="10" y="16"/>
                  </a:lnTo>
                  <a:lnTo>
                    <a:pt x="7" y="16"/>
                  </a:lnTo>
                  <a:lnTo>
                    <a:pt x="7" y="14"/>
                  </a:lnTo>
                  <a:lnTo>
                    <a:pt x="10" y="14"/>
                  </a:lnTo>
                  <a:lnTo>
                    <a:pt x="12" y="14"/>
                  </a:lnTo>
                  <a:lnTo>
                    <a:pt x="12" y="12"/>
                  </a:lnTo>
                  <a:lnTo>
                    <a:pt x="15" y="12"/>
                  </a:lnTo>
                  <a:lnTo>
                    <a:pt x="15" y="14"/>
                  </a:lnTo>
                  <a:close/>
                  <a:moveTo>
                    <a:pt x="45" y="7"/>
                  </a:moveTo>
                  <a:lnTo>
                    <a:pt x="43" y="7"/>
                  </a:lnTo>
                  <a:lnTo>
                    <a:pt x="45" y="7"/>
                  </a:lnTo>
                  <a:lnTo>
                    <a:pt x="43" y="7"/>
                  </a:lnTo>
                  <a:lnTo>
                    <a:pt x="43" y="9"/>
                  </a:lnTo>
                  <a:lnTo>
                    <a:pt x="43" y="7"/>
                  </a:lnTo>
                  <a:lnTo>
                    <a:pt x="41" y="7"/>
                  </a:lnTo>
                  <a:lnTo>
                    <a:pt x="43" y="7"/>
                  </a:lnTo>
                  <a:lnTo>
                    <a:pt x="43" y="5"/>
                  </a:lnTo>
                  <a:lnTo>
                    <a:pt x="45" y="5"/>
                  </a:lnTo>
                  <a:lnTo>
                    <a:pt x="45" y="7"/>
                  </a:lnTo>
                  <a:close/>
                  <a:moveTo>
                    <a:pt x="22" y="2"/>
                  </a:moveTo>
                  <a:lnTo>
                    <a:pt x="24" y="2"/>
                  </a:lnTo>
                  <a:lnTo>
                    <a:pt x="24" y="5"/>
                  </a:lnTo>
                  <a:lnTo>
                    <a:pt x="24" y="7"/>
                  </a:lnTo>
                  <a:lnTo>
                    <a:pt x="24" y="9"/>
                  </a:lnTo>
                  <a:lnTo>
                    <a:pt x="24" y="7"/>
                  </a:lnTo>
                  <a:lnTo>
                    <a:pt x="24" y="5"/>
                  </a:lnTo>
                  <a:lnTo>
                    <a:pt x="26" y="5"/>
                  </a:lnTo>
                  <a:lnTo>
                    <a:pt x="26" y="7"/>
                  </a:lnTo>
                  <a:lnTo>
                    <a:pt x="29" y="7"/>
                  </a:lnTo>
                  <a:lnTo>
                    <a:pt x="29" y="9"/>
                  </a:lnTo>
                  <a:lnTo>
                    <a:pt x="29" y="7"/>
                  </a:lnTo>
                  <a:lnTo>
                    <a:pt x="29" y="9"/>
                  </a:lnTo>
                  <a:lnTo>
                    <a:pt x="31" y="9"/>
                  </a:lnTo>
                  <a:lnTo>
                    <a:pt x="34" y="9"/>
                  </a:lnTo>
                  <a:lnTo>
                    <a:pt x="34" y="12"/>
                  </a:lnTo>
                  <a:lnTo>
                    <a:pt x="31" y="12"/>
                  </a:lnTo>
                  <a:lnTo>
                    <a:pt x="31" y="9"/>
                  </a:lnTo>
                  <a:lnTo>
                    <a:pt x="31" y="12"/>
                  </a:lnTo>
                  <a:lnTo>
                    <a:pt x="34" y="12"/>
                  </a:lnTo>
                  <a:lnTo>
                    <a:pt x="34" y="14"/>
                  </a:lnTo>
                  <a:lnTo>
                    <a:pt x="36" y="14"/>
                  </a:lnTo>
                  <a:lnTo>
                    <a:pt x="34" y="14"/>
                  </a:lnTo>
                  <a:lnTo>
                    <a:pt x="31" y="14"/>
                  </a:lnTo>
                  <a:lnTo>
                    <a:pt x="34" y="14"/>
                  </a:lnTo>
                  <a:lnTo>
                    <a:pt x="34" y="16"/>
                  </a:lnTo>
                  <a:lnTo>
                    <a:pt x="31" y="16"/>
                  </a:lnTo>
                  <a:lnTo>
                    <a:pt x="31" y="19"/>
                  </a:lnTo>
                  <a:lnTo>
                    <a:pt x="31" y="16"/>
                  </a:lnTo>
                  <a:lnTo>
                    <a:pt x="31" y="14"/>
                  </a:lnTo>
                  <a:lnTo>
                    <a:pt x="31" y="16"/>
                  </a:lnTo>
                  <a:lnTo>
                    <a:pt x="31" y="14"/>
                  </a:lnTo>
                  <a:lnTo>
                    <a:pt x="29" y="12"/>
                  </a:lnTo>
                  <a:lnTo>
                    <a:pt x="26" y="9"/>
                  </a:lnTo>
                  <a:lnTo>
                    <a:pt x="26" y="12"/>
                  </a:lnTo>
                  <a:lnTo>
                    <a:pt x="29" y="12"/>
                  </a:lnTo>
                  <a:lnTo>
                    <a:pt x="29" y="14"/>
                  </a:lnTo>
                  <a:lnTo>
                    <a:pt x="31" y="14"/>
                  </a:lnTo>
                  <a:lnTo>
                    <a:pt x="29" y="16"/>
                  </a:lnTo>
                  <a:lnTo>
                    <a:pt x="29" y="14"/>
                  </a:lnTo>
                  <a:lnTo>
                    <a:pt x="26" y="14"/>
                  </a:lnTo>
                  <a:lnTo>
                    <a:pt x="26" y="12"/>
                  </a:lnTo>
                  <a:lnTo>
                    <a:pt x="24" y="12"/>
                  </a:lnTo>
                  <a:lnTo>
                    <a:pt x="22" y="12"/>
                  </a:lnTo>
                  <a:lnTo>
                    <a:pt x="22" y="9"/>
                  </a:lnTo>
                  <a:lnTo>
                    <a:pt x="19" y="7"/>
                  </a:lnTo>
                  <a:lnTo>
                    <a:pt x="19" y="5"/>
                  </a:lnTo>
                  <a:lnTo>
                    <a:pt x="22" y="5"/>
                  </a:lnTo>
                  <a:lnTo>
                    <a:pt x="22" y="2"/>
                  </a:lnTo>
                  <a:close/>
                  <a:moveTo>
                    <a:pt x="45" y="2"/>
                  </a:moveTo>
                  <a:lnTo>
                    <a:pt x="45" y="5"/>
                  </a:lnTo>
                  <a:lnTo>
                    <a:pt x="45" y="2"/>
                  </a:lnTo>
                  <a:lnTo>
                    <a:pt x="45" y="5"/>
                  </a:lnTo>
                  <a:lnTo>
                    <a:pt x="43" y="5"/>
                  </a:lnTo>
                  <a:lnTo>
                    <a:pt x="43" y="2"/>
                  </a:lnTo>
                  <a:lnTo>
                    <a:pt x="45" y="2"/>
                  </a:lnTo>
                  <a:close/>
                  <a:moveTo>
                    <a:pt x="41" y="7"/>
                  </a:moveTo>
                  <a:lnTo>
                    <a:pt x="41" y="9"/>
                  </a:lnTo>
                  <a:lnTo>
                    <a:pt x="38" y="9"/>
                  </a:lnTo>
                  <a:lnTo>
                    <a:pt x="38" y="7"/>
                  </a:lnTo>
                  <a:lnTo>
                    <a:pt x="38" y="9"/>
                  </a:lnTo>
                  <a:lnTo>
                    <a:pt x="41" y="9"/>
                  </a:lnTo>
                  <a:lnTo>
                    <a:pt x="41" y="12"/>
                  </a:lnTo>
                  <a:lnTo>
                    <a:pt x="38" y="12"/>
                  </a:lnTo>
                  <a:lnTo>
                    <a:pt x="38" y="9"/>
                  </a:lnTo>
                  <a:lnTo>
                    <a:pt x="36" y="9"/>
                  </a:lnTo>
                  <a:lnTo>
                    <a:pt x="36" y="12"/>
                  </a:lnTo>
                  <a:lnTo>
                    <a:pt x="38" y="12"/>
                  </a:lnTo>
                  <a:lnTo>
                    <a:pt x="36" y="12"/>
                  </a:lnTo>
                  <a:lnTo>
                    <a:pt x="34" y="9"/>
                  </a:lnTo>
                  <a:lnTo>
                    <a:pt x="34" y="7"/>
                  </a:lnTo>
                  <a:lnTo>
                    <a:pt x="36" y="7"/>
                  </a:lnTo>
                  <a:lnTo>
                    <a:pt x="36" y="9"/>
                  </a:lnTo>
                  <a:lnTo>
                    <a:pt x="36" y="7"/>
                  </a:lnTo>
                  <a:lnTo>
                    <a:pt x="36" y="5"/>
                  </a:lnTo>
                  <a:lnTo>
                    <a:pt x="34" y="2"/>
                  </a:lnTo>
                  <a:lnTo>
                    <a:pt x="36" y="2"/>
                  </a:lnTo>
                  <a:lnTo>
                    <a:pt x="36" y="5"/>
                  </a:lnTo>
                  <a:lnTo>
                    <a:pt x="38" y="5"/>
                  </a:lnTo>
                  <a:lnTo>
                    <a:pt x="38" y="7"/>
                  </a:lnTo>
                  <a:lnTo>
                    <a:pt x="41" y="7"/>
                  </a:lnTo>
                  <a:close/>
                  <a:moveTo>
                    <a:pt x="34" y="2"/>
                  </a:moveTo>
                  <a:lnTo>
                    <a:pt x="34" y="5"/>
                  </a:lnTo>
                  <a:lnTo>
                    <a:pt x="36" y="5"/>
                  </a:lnTo>
                  <a:lnTo>
                    <a:pt x="36" y="7"/>
                  </a:lnTo>
                  <a:lnTo>
                    <a:pt x="34" y="7"/>
                  </a:lnTo>
                  <a:lnTo>
                    <a:pt x="34" y="5"/>
                  </a:lnTo>
                  <a:lnTo>
                    <a:pt x="31" y="5"/>
                  </a:lnTo>
                  <a:lnTo>
                    <a:pt x="31" y="2"/>
                  </a:lnTo>
                  <a:lnTo>
                    <a:pt x="34" y="2"/>
                  </a:lnTo>
                  <a:close/>
                  <a:moveTo>
                    <a:pt x="34" y="9"/>
                  </a:moveTo>
                  <a:lnTo>
                    <a:pt x="31" y="9"/>
                  </a:lnTo>
                  <a:lnTo>
                    <a:pt x="31" y="7"/>
                  </a:lnTo>
                  <a:lnTo>
                    <a:pt x="31" y="5"/>
                  </a:lnTo>
                  <a:lnTo>
                    <a:pt x="29" y="5"/>
                  </a:lnTo>
                  <a:lnTo>
                    <a:pt x="29" y="2"/>
                  </a:lnTo>
                  <a:lnTo>
                    <a:pt x="29" y="0"/>
                  </a:lnTo>
                  <a:lnTo>
                    <a:pt x="29" y="2"/>
                  </a:lnTo>
                  <a:lnTo>
                    <a:pt x="31" y="5"/>
                  </a:lnTo>
                  <a:lnTo>
                    <a:pt x="31" y="7"/>
                  </a:lnTo>
                  <a:lnTo>
                    <a:pt x="34" y="7"/>
                  </a:lnTo>
                  <a:lnTo>
                    <a:pt x="34" y="9"/>
                  </a:lnTo>
                  <a:close/>
                  <a:moveTo>
                    <a:pt x="36" y="0"/>
                  </a:moveTo>
                  <a:lnTo>
                    <a:pt x="38" y="0"/>
                  </a:lnTo>
                  <a:lnTo>
                    <a:pt x="38" y="2"/>
                  </a:lnTo>
                  <a:lnTo>
                    <a:pt x="38" y="5"/>
                  </a:lnTo>
                  <a:lnTo>
                    <a:pt x="41" y="5"/>
                  </a:lnTo>
                  <a:lnTo>
                    <a:pt x="41" y="7"/>
                  </a:lnTo>
                  <a:lnTo>
                    <a:pt x="38" y="5"/>
                  </a:lnTo>
                  <a:lnTo>
                    <a:pt x="36" y="2"/>
                  </a:lnTo>
                  <a:lnTo>
                    <a:pt x="3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4" name="Freeform 50297"/>
            <p:cNvSpPr>
              <a:spLocks noEditPoints="1"/>
            </p:cNvSpPr>
            <p:nvPr/>
          </p:nvSpPr>
          <p:spPr bwMode="auto">
            <a:xfrm>
              <a:off x="1636712" y="3716350"/>
              <a:ext cx="38100" cy="60325"/>
            </a:xfrm>
            <a:custGeom>
              <a:avLst/>
              <a:gdLst>
                <a:gd name="T0" fmla="*/ 24 w 24"/>
                <a:gd name="T1" fmla="*/ 38 h 38"/>
                <a:gd name="T2" fmla="*/ 24 w 24"/>
                <a:gd name="T3" fmla="*/ 38 h 38"/>
                <a:gd name="T4" fmla="*/ 24 w 24"/>
                <a:gd name="T5" fmla="*/ 38 h 38"/>
                <a:gd name="T6" fmla="*/ 24 w 24"/>
                <a:gd name="T7" fmla="*/ 38 h 38"/>
                <a:gd name="T8" fmla="*/ 24 w 24"/>
                <a:gd name="T9" fmla="*/ 38 h 38"/>
                <a:gd name="T10" fmla="*/ 24 w 24"/>
                <a:gd name="T11" fmla="*/ 38 h 38"/>
                <a:gd name="T12" fmla="*/ 22 w 24"/>
                <a:gd name="T13" fmla="*/ 31 h 38"/>
                <a:gd name="T14" fmla="*/ 22 w 24"/>
                <a:gd name="T15" fmla="*/ 31 h 38"/>
                <a:gd name="T16" fmla="*/ 22 w 24"/>
                <a:gd name="T17" fmla="*/ 31 h 38"/>
                <a:gd name="T18" fmla="*/ 22 w 24"/>
                <a:gd name="T19" fmla="*/ 31 h 38"/>
                <a:gd name="T20" fmla="*/ 22 w 24"/>
                <a:gd name="T21" fmla="*/ 31 h 38"/>
                <a:gd name="T22" fmla="*/ 0 w 24"/>
                <a:gd name="T23" fmla="*/ 0 h 38"/>
                <a:gd name="T24" fmla="*/ 0 w 24"/>
                <a:gd name="T25" fmla="*/ 0 h 38"/>
                <a:gd name="T26" fmla="*/ 0 w 24"/>
                <a:gd name="T27" fmla="*/ 0 h 38"/>
                <a:gd name="T28" fmla="*/ 0 w 24"/>
                <a:gd name="T29" fmla="*/ 0 h 38"/>
                <a:gd name="T30" fmla="*/ 0 w 24"/>
                <a:gd name="T31" fmla="*/ 0 h 38"/>
                <a:gd name="T32" fmla="*/ 0 w 24"/>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8">
                  <a:moveTo>
                    <a:pt x="24" y="38"/>
                  </a:moveTo>
                  <a:lnTo>
                    <a:pt x="24" y="38"/>
                  </a:lnTo>
                  <a:lnTo>
                    <a:pt x="24" y="38"/>
                  </a:lnTo>
                  <a:lnTo>
                    <a:pt x="24" y="38"/>
                  </a:lnTo>
                  <a:lnTo>
                    <a:pt x="24" y="38"/>
                  </a:lnTo>
                  <a:lnTo>
                    <a:pt x="24" y="38"/>
                  </a:lnTo>
                  <a:close/>
                  <a:moveTo>
                    <a:pt x="22" y="31"/>
                  </a:moveTo>
                  <a:lnTo>
                    <a:pt x="22" y="31"/>
                  </a:lnTo>
                  <a:lnTo>
                    <a:pt x="22" y="31"/>
                  </a:lnTo>
                  <a:lnTo>
                    <a:pt x="22" y="31"/>
                  </a:lnTo>
                  <a:lnTo>
                    <a:pt x="22" y="31"/>
                  </a:lnTo>
                  <a:close/>
                  <a:moveTo>
                    <a:pt x="0" y="0"/>
                  </a:move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5" name="Freeform 50298"/>
            <p:cNvSpPr>
              <a:spLocks/>
            </p:cNvSpPr>
            <p:nvPr/>
          </p:nvSpPr>
          <p:spPr bwMode="auto">
            <a:xfrm>
              <a:off x="3197223" y="3867164"/>
              <a:ext cx="33338" cy="26988"/>
            </a:xfrm>
            <a:custGeom>
              <a:avLst/>
              <a:gdLst>
                <a:gd name="T0" fmla="*/ 2 w 21"/>
                <a:gd name="T1" fmla="*/ 17 h 17"/>
                <a:gd name="T2" fmla="*/ 2 w 21"/>
                <a:gd name="T3" fmla="*/ 17 h 17"/>
                <a:gd name="T4" fmla="*/ 2 w 21"/>
                <a:gd name="T5" fmla="*/ 17 h 17"/>
                <a:gd name="T6" fmla="*/ 2 w 21"/>
                <a:gd name="T7" fmla="*/ 17 h 17"/>
                <a:gd name="T8" fmla="*/ 2 w 21"/>
                <a:gd name="T9" fmla="*/ 17 h 17"/>
                <a:gd name="T10" fmla="*/ 2 w 21"/>
                <a:gd name="T11" fmla="*/ 17 h 17"/>
                <a:gd name="T12" fmla="*/ 0 w 21"/>
                <a:gd name="T13" fmla="*/ 15 h 17"/>
                <a:gd name="T14" fmla="*/ 2 w 21"/>
                <a:gd name="T15" fmla="*/ 12 h 17"/>
                <a:gd name="T16" fmla="*/ 4 w 21"/>
                <a:gd name="T17" fmla="*/ 15 h 17"/>
                <a:gd name="T18" fmla="*/ 2 w 21"/>
                <a:gd name="T19" fmla="*/ 10 h 17"/>
                <a:gd name="T20" fmla="*/ 2 w 21"/>
                <a:gd name="T21" fmla="*/ 10 h 17"/>
                <a:gd name="T22" fmla="*/ 2 w 21"/>
                <a:gd name="T23" fmla="*/ 10 h 17"/>
                <a:gd name="T24" fmla="*/ 7 w 21"/>
                <a:gd name="T25" fmla="*/ 10 h 17"/>
                <a:gd name="T26" fmla="*/ 7 w 21"/>
                <a:gd name="T27" fmla="*/ 10 h 17"/>
                <a:gd name="T28" fmla="*/ 4 w 21"/>
                <a:gd name="T29" fmla="*/ 8 h 17"/>
                <a:gd name="T30" fmla="*/ 2 w 21"/>
                <a:gd name="T31" fmla="*/ 10 h 17"/>
                <a:gd name="T32" fmla="*/ 2 w 21"/>
                <a:gd name="T33" fmla="*/ 8 h 17"/>
                <a:gd name="T34" fmla="*/ 2 w 21"/>
                <a:gd name="T35" fmla="*/ 8 h 17"/>
                <a:gd name="T36" fmla="*/ 4 w 21"/>
                <a:gd name="T37" fmla="*/ 5 h 17"/>
                <a:gd name="T38" fmla="*/ 4 w 21"/>
                <a:gd name="T39" fmla="*/ 5 h 17"/>
                <a:gd name="T40" fmla="*/ 7 w 21"/>
                <a:gd name="T41" fmla="*/ 8 h 17"/>
                <a:gd name="T42" fmla="*/ 7 w 21"/>
                <a:gd name="T43" fmla="*/ 8 h 17"/>
                <a:gd name="T44" fmla="*/ 9 w 21"/>
                <a:gd name="T45" fmla="*/ 5 h 17"/>
                <a:gd name="T46" fmla="*/ 14 w 21"/>
                <a:gd name="T47" fmla="*/ 5 h 17"/>
                <a:gd name="T48" fmla="*/ 16 w 21"/>
                <a:gd name="T49" fmla="*/ 3 h 17"/>
                <a:gd name="T50" fmla="*/ 19 w 21"/>
                <a:gd name="T51" fmla="*/ 0 h 17"/>
                <a:gd name="T52" fmla="*/ 21 w 21"/>
                <a:gd name="T53" fmla="*/ 3 h 17"/>
                <a:gd name="T54" fmla="*/ 19 w 21"/>
                <a:gd name="T55" fmla="*/ 5 h 17"/>
                <a:gd name="T56" fmla="*/ 16 w 21"/>
                <a:gd name="T57" fmla="*/ 8 h 17"/>
                <a:gd name="T58" fmla="*/ 19 w 21"/>
                <a:gd name="T59" fmla="*/ 10 h 17"/>
                <a:gd name="T60" fmla="*/ 16 w 21"/>
                <a:gd name="T61" fmla="*/ 12 h 17"/>
                <a:gd name="T62" fmla="*/ 14 w 21"/>
                <a:gd name="T63" fmla="*/ 15 h 17"/>
                <a:gd name="T64" fmla="*/ 14 w 21"/>
                <a:gd name="T65" fmla="*/ 15 h 17"/>
                <a:gd name="T66" fmla="*/ 14 w 21"/>
                <a:gd name="T67" fmla="*/ 15 h 17"/>
                <a:gd name="T68" fmla="*/ 12 w 21"/>
                <a:gd name="T69" fmla="*/ 17 h 17"/>
                <a:gd name="T70" fmla="*/ 9 w 21"/>
                <a:gd name="T71" fmla="*/ 15 h 17"/>
                <a:gd name="T72" fmla="*/ 7 w 21"/>
                <a:gd name="T73" fmla="*/ 17 h 17"/>
                <a:gd name="T74" fmla="*/ 9 w 21"/>
                <a:gd name="T75" fmla="*/ 15 h 17"/>
                <a:gd name="T76" fmla="*/ 7 w 21"/>
                <a:gd name="T7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 h="17">
                  <a:moveTo>
                    <a:pt x="4" y="17"/>
                  </a:moveTo>
                  <a:lnTo>
                    <a:pt x="2" y="17"/>
                  </a:lnTo>
                  <a:lnTo>
                    <a:pt x="2" y="15"/>
                  </a:lnTo>
                  <a:lnTo>
                    <a:pt x="2" y="17"/>
                  </a:lnTo>
                  <a:lnTo>
                    <a:pt x="2" y="15"/>
                  </a:lnTo>
                  <a:lnTo>
                    <a:pt x="2" y="17"/>
                  </a:lnTo>
                  <a:lnTo>
                    <a:pt x="2" y="15"/>
                  </a:lnTo>
                  <a:lnTo>
                    <a:pt x="2" y="17"/>
                  </a:lnTo>
                  <a:lnTo>
                    <a:pt x="0" y="17"/>
                  </a:lnTo>
                  <a:lnTo>
                    <a:pt x="2" y="17"/>
                  </a:lnTo>
                  <a:lnTo>
                    <a:pt x="2" y="15"/>
                  </a:lnTo>
                  <a:lnTo>
                    <a:pt x="2" y="17"/>
                  </a:lnTo>
                  <a:lnTo>
                    <a:pt x="2" y="15"/>
                  </a:lnTo>
                  <a:lnTo>
                    <a:pt x="0" y="15"/>
                  </a:lnTo>
                  <a:lnTo>
                    <a:pt x="0" y="12"/>
                  </a:lnTo>
                  <a:lnTo>
                    <a:pt x="2" y="12"/>
                  </a:lnTo>
                  <a:lnTo>
                    <a:pt x="4" y="12"/>
                  </a:lnTo>
                  <a:lnTo>
                    <a:pt x="4" y="15"/>
                  </a:lnTo>
                  <a:lnTo>
                    <a:pt x="4" y="12"/>
                  </a:lnTo>
                  <a:lnTo>
                    <a:pt x="2" y="10"/>
                  </a:lnTo>
                  <a:lnTo>
                    <a:pt x="2" y="12"/>
                  </a:lnTo>
                  <a:lnTo>
                    <a:pt x="2" y="10"/>
                  </a:lnTo>
                  <a:lnTo>
                    <a:pt x="2" y="12"/>
                  </a:lnTo>
                  <a:lnTo>
                    <a:pt x="2" y="10"/>
                  </a:lnTo>
                  <a:lnTo>
                    <a:pt x="4" y="10"/>
                  </a:lnTo>
                  <a:lnTo>
                    <a:pt x="7" y="10"/>
                  </a:lnTo>
                  <a:lnTo>
                    <a:pt x="9" y="10"/>
                  </a:lnTo>
                  <a:lnTo>
                    <a:pt x="7" y="10"/>
                  </a:lnTo>
                  <a:lnTo>
                    <a:pt x="4" y="10"/>
                  </a:lnTo>
                  <a:lnTo>
                    <a:pt x="4" y="8"/>
                  </a:lnTo>
                  <a:lnTo>
                    <a:pt x="4" y="10"/>
                  </a:lnTo>
                  <a:lnTo>
                    <a:pt x="2" y="10"/>
                  </a:lnTo>
                  <a:lnTo>
                    <a:pt x="4" y="8"/>
                  </a:lnTo>
                  <a:lnTo>
                    <a:pt x="2" y="8"/>
                  </a:lnTo>
                  <a:lnTo>
                    <a:pt x="2" y="10"/>
                  </a:lnTo>
                  <a:lnTo>
                    <a:pt x="2" y="8"/>
                  </a:lnTo>
                  <a:lnTo>
                    <a:pt x="4" y="8"/>
                  </a:lnTo>
                  <a:lnTo>
                    <a:pt x="4" y="5"/>
                  </a:lnTo>
                  <a:lnTo>
                    <a:pt x="4" y="8"/>
                  </a:lnTo>
                  <a:lnTo>
                    <a:pt x="4" y="5"/>
                  </a:lnTo>
                  <a:lnTo>
                    <a:pt x="7" y="5"/>
                  </a:lnTo>
                  <a:lnTo>
                    <a:pt x="7" y="8"/>
                  </a:lnTo>
                  <a:lnTo>
                    <a:pt x="7" y="5"/>
                  </a:lnTo>
                  <a:lnTo>
                    <a:pt x="7" y="8"/>
                  </a:lnTo>
                  <a:lnTo>
                    <a:pt x="7" y="5"/>
                  </a:lnTo>
                  <a:lnTo>
                    <a:pt x="9" y="5"/>
                  </a:lnTo>
                  <a:lnTo>
                    <a:pt x="12" y="5"/>
                  </a:lnTo>
                  <a:lnTo>
                    <a:pt x="14" y="5"/>
                  </a:lnTo>
                  <a:lnTo>
                    <a:pt x="16" y="5"/>
                  </a:lnTo>
                  <a:lnTo>
                    <a:pt x="16" y="3"/>
                  </a:lnTo>
                  <a:lnTo>
                    <a:pt x="19" y="3"/>
                  </a:lnTo>
                  <a:lnTo>
                    <a:pt x="19" y="0"/>
                  </a:lnTo>
                  <a:lnTo>
                    <a:pt x="21" y="0"/>
                  </a:lnTo>
                  <a:lnTo>
                    <a:pt x="21" y="3"/>
                  </a:lnTo>
                  <a:lnTo>
                    <a:pt x="19" y="3"/>
                  </a:lnTo>
                  <a:lnTo>
                    <a:pt x="19" y="5"/>
                  </a:lnTo>
                  <a:lnTo>
                    <a:pt x="16" y="5"/>
                  </a:lnTo>
                  <a:lnTo>
                    <a:pt x="16" y="8"/>
                  </a:lnTo>
                  <a:lnTo>
                    <a:pt x="16" y="10"/>
                  </a:lnTo>
                  <a:lnTo>
                    <a:pt x="19" y="10"/>
                  </a:lnTo>
                  <a:lnTo>
                    <a:pt x="16" y="10"/>
                  </a:lnTo>
                  <a:lnTo>
                    <a:pt x="16" y="12"/>
                  </a:lnTo>
                  <a:lnTo>
                    <a:pt x="14" y="12"/>
                  </a:lnTo>
                  <a:lnTo>
                    <a:pt x="14" y="15"/>
                  </a:lnTo>
                  <a:lnTo>
                    <a:pt x="14" y="17"/>
                  </a:lnTo>
                  <a:lnTo>
                    <a:pt x="14" y="15"/>
                  </a:lnTo>
                  <a:lnTo>
                    <a:pt x="14" y="17"/>
                  </a:lnTo>
                  <a:lnTo>
                    <a:pt x="14" y="15"/>
                  </a:lnTo>
                  <a:lnTo>
                    <a:pt x="14" y="17"/>
                  </a:lnTo>
                  <a:lnTo>
                    <a:pt x="12" y="17"/>
                  </a:lnTo>
                  <a:lnTo>
                    <a:pt x="12" y="15"/>
                  </a:lnTo>
                  <a:lnTo>
                    <a:pt x="9" y="15"/>
                  </a:lnTo>
                  <a:lnTo>
                    <a:pt x="9" y="17"/>
                  </a:lnTo>
                  <a:lnTo>
                    <a:pt x="7" y="17"/>
                  </a:lnTo>
                  <a:lnTo>
                    <a:pt x="7" y="15"/>
                  </a:lnTo>
                  <a:lnTo>
                    <a:pt x="9" y="15"/>
                  </a:lnTo>
                  <a:lnTo>
                    <a:pt x="7" y="15"/>
                  </a:lnTo>
                  <a:lnTo>
                    <a:pt x="7" y="17"/>
                  </a:lnTo>
                  <a:lnTo>
                    <a:pt x="4" y="17"/>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6" name="Freeform 50299"/>
            <p:cNvSpPr>
              <a:spLocks noEditPoints="1"/>
            </p:cNvSpPr>
            <p:nvPr/>
          </p:nvSpPr>
          <p:spPr bwMode="auto">
            <a:xfrm>
              <a:off x="3054348" y="2997212"/>
              <a:ext cx="623888" cy="912816"/>
            </a:xfrm>
            <a:custGeom>
              <a:avLst/>
              <a:gdLst>
                <a:gd name="T0" fmla="*/ 16 w 393"/>
                <a:gd name="T1" fmla="*/ 548 h 575"/>
                <a:gd name="T2" fmla="*/ 14 w 393"/>
                <a:gd name="T3" fmla="*/ 563 h 575"/>
                <a:gd name="T4" fmla="*/ 16 w 393"/>
                <a:gd name="T5" fmla="*/ 565 h 575"/>
                <a:gd name="T6" fmla="*/ 4 w 393"/>
                <a:gd name="T7" fmla="*/ 553 h 575"/>
                <a:gd name="T8" fmla="*/ 52 w 393"/>
                <a:gd name="T9" fmla="*/ 434 h 575"/>
                <a:gd name="T10" fmla="*/ 85 w 393"/>
                <a:gd name="T11" fmla="*/ 387 h 575"/>
                <a:gd name="T12" fmla="*/ 54 w 393"/>
                <a:gd name="T13" fmla="*/ 389 h 575"/>
                <a:gd name="T14" fmla="*/ 132 w 393"/>
                <a:gd name="T15" fmla="*/ 339 h 575"/>
                <a:gd name="T16" fmla="*/ 189 w 393"/>
                <a:gd name="T17" fmla="*/ 553 h 575"/>
                <a:gd name="T18" fmla="*/ 178 w 393"/>
                <a:gd name="T19" fmla="*/ 558 h 575"/>
                <a:gd name="T20" fmla="*/ 166 w 393"/>
                <a:gd name="T21" fmla="*/ 558 h 575"/>
                <a:gd name="T22" fmla="*/ 154 w 393"/>
                <a:gd name="T23" fmla="*/ 565 h 575"/>
                <a:gd name="T24" fmla="*/ 144 w 393"/>
                <a:gd name="T25" fmla="*/ 565 h 575"/>
                <a:gd name="T26" fmla="*/ 125 w 393"/>
                <a:gd name="T27" fmla="*/ 567 h 575"/>
                <a:gd name="T28" fmla="*/ 121 w 393"/>
                <a:gd name="T29" fmla="*/ 572 h 575"/>
                <a:gd name="T30" fmla="*/ 113 w 393"/>
                <a:gd name="T31" fmla="*/ 567 h 575"/>
                <a:gd name="T32" fmla="*/ 113 w 393"/>
                <a:gd name="T33" fmla="*/ 563 h 575"/>
                <a:gd name="T34" fmla="*/ 97 w 393"/>
                <a:gd name="T35" fmla="*/ 553 h 575"/>
                <a:gd name="T36" fmla="*/ 76 w 393"/>
                <a:gd name="T37" fmla="*/ 539 h 575"/>
                <a:gd name="T38" fmla="*/ 57 w 393"/>
                <a:gd name="T39" fmla="*/ 529 h 575"/>
                <a:gd name="T40" fmla="*/ 57 w 393"/>
                <a:gd name="T41" fmla="*/ 518 h 575"/>
                <a:gd name="T42" fmla="*/ 59 w 393"/>
                <a:gd name="T43" fmla="*/ 508 h 575"/>
                <a:gd name="T44" fmla="*/ 64 w 393"/>
                <a:gd name="T45" fmla="*/ 496 h 575"/>
                <a:gd name="T46" fmla="*/ 68 w 393"/>
                <a:gd name="T47" fmla="*/ 484 h 575"/>
                <a:gd name="T48" fmla="*/ 64 w 393"/>
                <a:gd name="T49" fmla="*/ 470 h 575"/>
                <a:gd name="T50" fmla="*/ 54 w 393"/>
                <a:gd name="T51" fmla="*/ 456 h 575"/>
                <a:gd name="T52" fmla="*/ 54 w 393"/>
                <a:gd name="T53" fmla="*/ 434 h 575"/>
                <a:gd name="T54" fmla="*/ 52 w 393"/>
                <a:gd name="T55" fmla="*/ 415 h 575"/>
                <a:gd name="T56" fmla="*/ 61 w 393"/>
                <a:gd name="T57" fmla="*/ 401 h 575"/>
                <a:gd name="T58" fmla="*/ 64 w 393"/>
                <a:gd name="T59" fmla="*/ 389 h 575"/>
                <a:gd name="T60" fmla="*/ 80 w 393"/>
                <a:gd name="T61" fmla="*/ 392 h 575"/>
                <a:gd name="T62" fmla="*/ 94 w 393"/>
                <a:gd name="T63" fmla="*/ 377 h 575"/>
                <a:gd name="T64" fmla="*/ 106 w 393"/>
                <a:gd name="T65" fmla="*/ 361 h 575"/>
                <a:gd name="T66" fmla="*/ 104 w 393"/>
                <a:gd name="T67" fmla="*/ 356 h 575"/>
                <a:gd name="T68" fmla="*/ 116 w 393"/>
                <a:gd name="T69" fmla="*/ 356 h 575"/>
                <a:gd name="T70" fmla="*/ 132 w 393"/>
                <a:gd name="T71" fmla="*/ 339 h 575"/>
                <a:gd name="T72" fmla="*/ 151 w 393"/>
                <a:gd name="T73" fmla="*/ 318 h 575"/>
                <a:gd name="T74" fmla="*/ 187 w 393"/>
                <a:gd name="T75" fmla="*/ 299 h 575"/>
                <a:gd name="T76" fmla="*/ 218 w 393"/>
                <a:gd name="T77" fmla="*/ 304 h 575"/>
                <a:gd name="T78" fmla="*/ 187 w 393"/>
                <a:gd name="T79" fmla="*/ 278 h 575"/>
                <a:gd name="T80" fmla="*/ 185 w 393"/>
                <a:gd name="T81" fmla="*/ 259 h 575"/>
                <a:gd name="T82" fmla="*/ 168 w 393"/>
                <a:gd name="T83" fmla="*/ 242 h 575"/>
                <a:gd name="T84" fmla="*/ 154 w 393"/>
                <a:gd name="T85" fmla="*/ 249 h 575"/>
                <a:gd name="T86" fmla="*/ 135 w 393"/>
                <a:gd name="T87" fmla="*/ 209 h 575"/>
                <a:gd name="T88" fmla="*/ 135 w 393"/>
                <a:gd name="T89" fmla="*/ 154 h 575"/>
                <a:gd name="T90" fmla="*/ 116 w 393"/>
                <a:gd name="T91" fmla="*/ 109 h 575"/>
                <a:gd name="T92" fmla="*/ 54 w 393"/>
                <a:gd name="T93" fmla="*/ 73 h 575"/>
                <a:gd name="T94" fmla="*/ 113 w 393"/>
                <a:gd name="T95" fmla="*/ 80 h 575"/>
                <a:gd name="T96" fmla="*/ 194 w 393"/>
                <a:gd name="T97" fmla="*/ 69 h 575"/>
                <a:gd name="T98" fmla="*/ 223 w 393"/>
                <a:gd name="T99" fmla="*/ 14 h 575"/>
                <a:gd name="T100" fmla="*/ 289 w 393"/>
                <a:gd name="T101" fmla="*/ 14 h 575"/>
                <a:gd name="T102" fmla="*/ 332 w 393"/>
                <a:gd name="T103" fmla="*/ 159 h 575"/>
                <a:gd name="T104" fmla="*/ 332 w 393"/>
                <a:gd name="T105" fmla="*/ 256 h 575"/>
                <a:gd name="T106" fmla="*/ 344 w 393"/>
                <a:gd name="T107" fmla="*/ 323 h 575"/>
                <a:gd name="T108" fmla="*/ 382 w 393"/>
                <a:gd name="T109" fmla="*/ 389 h 575"/>
                <a:gd name="T110" fmla="*/ 346 w 393"/>
                <a:gd name="T111" fmla="*/ 465 h 575"/>
                <a:gd name="T112" fmla="*/ 272 w 393"/>
                <a:gd name="T113" fmla="*/ 532 h 575"/>
                <a:gd name="T114" fmla="*/ 251 w 393"/>
                <a:gd name="T115" fmla="*/ 539 h 575"/>
                <a:gd name="T116" fmla="*/ 239 w 393"/>
                <a:gd name="T117" fmla="*/ 541 h 575"/>
                <a:gd name="T118" fmla="*/ 227 w 393"/>
                <a:gd name="T119" fmla="*/ 548 h 575"/>
                <a:gd name="T120" fmla="*/ 215 w 393"/>
                <a:gd name="T121" fmla="*/ 544 h 575"/>
                <a:gd name="T122" fmla="*/ 204 w 393"/>
                <a:gd name="T123" fmla="*/ 548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3" h="575">
                  <a:moveTo>
                    <a:pt x="42" y="570"/>
                  </a:moveTo>
                  <a:lnTo>
                    <a:pt x="42" y="572"/>
                  </a:lnTo>
                  <a:lnTo>
                    <a:pt x="42" y="570"/>
                  </a:lnTo>
                  <a:lnTo>
                    <a:pt x="42" y="572"/>
                  </a:lnTo>
                  <a:lnTo>
                    <a:pt x="45" y="572"/>
                  </a:lnTo>
                  <a:lnTo>
                    <a:pt x="42" y="570"/>
                  </a:lnTo>
                  <a:lnTo>
                    <a:pt x="45" y="570"/>
                  </a:lnTo>
                  <a:lnTo>
                    <a:pt x="45" y="572"/>
                  </a:lnTo>
                  <a:lnTo>
                    <a:pt x="45" y="570"/>
                  </a:lnTo>
                  <a:lnTo>
                    <a:pt x="45" y="572"/>
                  </a:lnTo>
                  <a:lnTo>
                    <a:pt x="42" y="572"/>
                  </a:lnTo>
                  <a:lnTo>
                    <a:pt x="45" y="572"/>
                  </a:lnTo>
                  <a:lnTo>
                    <a:pt x="42" y="572"/>
                  </a:lnTo>
                  <a:lnTo>
                    <a:pt x="42" y="570"/>
                  </a:lnTo>
                  <a:lnTo>
                    <a:pt x="42" y="572"/>
                  </a:lnTo>
                  <a:lnTo>
                    <a:pt x="42" y="570"/>
                  </a:lnTo>
                  <a:close/>
                  <a:moveTo>
                    <a:pt x="57" y="567"/>
                  </a:moveTo>
                  <a:lnTo>
                    <a:pt x="54" y="567"/>
                  </a:lnTo>
                  <a:lnTo>
                    <a:pt x="57" y="567"/>
                  </a:lnTo>
                  <a:close/>
                  <a:moveTo>
                    <a:pt x="7" y="544"/>
                  </a:moveTo>
                  <a:lnTo>
                    <a:pt x="9" y="544"/>
                  </a:lnTo>
                  <a:lnTo>
                    <a:pt x="11" y="544"/>
                  </a:lnTo>
                  <a:lnTo>
                    <a:pt x="9" y="544"/>
                  </a:lnTo>
                  <a:lnTo>
                    <a:pt x="11" y="544"/>
                  </a:lnTo>
                  <a:lnTo>
                    <a:pt x="11" y="546"/>
                  </a:lnTo>
                  <a:lnTo>
                    <a:pt x="11" y="544"/>
                  </a:lnTo>
                  <a:lnTo>
                    <a:pt x="11" y="546"/>
                  </a:lnTo>
                  <a:lnTo>
                    <a:pt x="9" y="546"/>
                  </a:lnTo>
                  <a:lnTo>
                    <a:pt x="11" y="546"/>
                  </a:lnTo>
                  <a:lnTo>
                    <a:pt x="9" y="546"/>
                  </a:lnTo>
                  <a:lnTo>
                    <a:pt x="11" y="546"/>
                  </a:lnTo>
                  <a:lnTo>
                    <a:pt x="9" y="546"/>
                  </a:lnTo>
                  <a:lnTo>
                    <a:pt x="11" y="546"/>
                  </a:lnTo>
                  <a:lnTo>
                    <a:pt x="14" y="546"/>
                  </a:lnTo>
                  <a:lnTo>
                    <a:pt x="16" y="546"/>
                  </a:lnTo>
                  <a:lnTo>
                    <a:pt x="14" y="546"/>
                  </a:lnTo>
                  <a:lnTo>
                    <a:pt x="16" y="546"/>
                  </a:lnTo>
                  <a:lnTo>
                    <a:pt x="16" y="548"/>
                  </a:lnTo>
                  <a:lnTo>
                    <a:pt x="16" y="546"/>
                  </a:lnTo>
                  <a:lnTo>
                    <a:pt x="16" y="548"/>
                  </a:lnTo>
                  <a:lnTo>
                    <a:pt x="19" y="548"/>
                  </a:lnTo>
                  <a:lnTo>
                    <a:pt x="19" y="546"/>
                  </a:lnTo>
                  <a:lnTo>
                    <a:pt x="16" y="546"/>
                  </a:lnTo>
                  <a:lnTo>
                    <a:pt x="19" y="546"/>
                  </a:lnTo>
                  <a:lnTo>
                    <a:pt x="19" y="548"/>
                  </a:lnTo>
                  <a:lnTo>
                    <a:pt x="19" y="551"/>
                  </a:lnTo>
                  <a:lnTo>
                    <a:pt x="19" y="548"/>
                  </a:lnTo>
                  <a:lnTo>
                    <a:pt x="19" y="551"/>
                  </a:lnTo>
                  <a:lnTo>
                    <a:pt x="21" y="551"/>
                  </a:lnTo>
                  <a:lnTo>
                    <a:pt x="21" y="553"/>
                  </a:lnTo>
                  <a:lnTo>
                    <a:pt x="19" y="553"/>
                  </a:lnTo>
                  <a:lnTo>
                    <a:pt x="21" y="553"/>
                  </a:lnTo>
                  <a:lnTo>
                    <a:pt x="21" y="556"/>
                  </a:lnTo>
                  <a:lnTo>
                    <a:pt x="21" y="553"/>
                  </a:lnTo>
                  <a:lnTo>
                    <a:pt x="21" y="556"/>
                  </a:lnTo>
                  <a:lnTo>
                    <a:pt x="19" y="556"/>
                  </a:lnTo>
                  <a:lnTo>
                    <a:pt x="16" y="556"/>
                  </a:lnTo>
                  <a:lnTo>
                    <a:pt x="14" y="556"/>
                  </a:lnTo>
                  <a:lnTo>
                    <a:pt x="16" y="556"/>
                  </a:lnTo>
                  <a:lnTo>
                    <a:pt x="16" y="553"/>
                  </a:lnTo>
                  <a:lnTo>
                    <a:pt x="14" y="553"/>
                  </a:lnTo>
                  <a:lnTo>
                    <a:pt x="16" y="553"/>
                  </a:lnTo>
                  <a:lnTo>
                    <a:pt x="14" y="553"/>
                  </a:lnTo>
                  <a:lnTo>
                    <a:pt x="14" y="556"/>
                  </a:lnTo>
                  <a:lnTo>
                    <a:pt x="14" y="553"/>
                  </a:lnTo>
                  <a:lnTo>
                    <a:pt x="14" y="551"/>
                  </a:lnTo>
                  <a:lnTo>
                    <a:pt x="14" y="548"/>
                  </a:lnTo>
                  <a:lnTo>
                    <a:pt x="14" y="551"/>
                  </a:lnTo>
                  <a:lnTo>
                    <a:pt x="11" y="551"/>
                  </a:lnTo>
                  <a:lnTo>
                    <a:pt x="11" y="553"/>
                  </a:lnTo>
                  <a:lnTo>
                    <a:pt x="14" y="553"/>
                  </a:lnTo>
                  <a:lnTo>
                    <a:pt x="11" y="556"/>
                  </a:lnTo>
                  <a:lnTo>
                    <a:pt x="14" y="556"/>
                  </a:lnTo>
                  <a:lnTo>
                    <a:pt x="11" y="556"/>
                  </a:lnTo>
                  <a:lnTo>
                    <a:pt x="14" y="556"/>
                  </a:lnTo>
                  <a:lnTo>
                    <a:pt x="11" y="556"/>
                  </a:lnTo>
                  <a:lnTo>
                    <a:pt x="14" y="556"/>
                  </a:lnTo>
                  <a:lnTo>
                    <a:pt x="14" y="558"/>
                  </a:lnTo>
                  <a:lnTo>
                    <a:pt x="14" y="560"/>
                  </a:lnTo>
                  <a:lnTo>
                    <a:pt x="14" y="563"/>
                  </a:lnTo>
                  <a:lnTo>
                    <a:pt x="14" y="560"/>
                  </a:lnTo>
                  <a:lnTo>
                    <a:pt x="16" y="560"/>
                  </a:lnTo>
                  <a:lnTo>
                    <a:pt x="19" y="560"/>
                  </a:lnTo>
                  <a:lnTo>
                    <a:pt x="21" y="560"/>
                  </a:lnTo>
                  <a:lnTo>
                    <a:pt x="19" y="558"/>
                  </a:lnTo>
                  <a:lnTo>
                    <a:pt x="21" y="558"/>
                  </a:lnTo>
                  <a:lnTo>
                    <a:pt x="19" y="558"/>
                  </a:lnTo>
                  <a:lnTo>
                    <a:pt x="21" y="558"/>
                  </a:lnTo>
                  <a:lnTo>
                    <a:pt x="21" y="556"/>
                  </a:lnTo>
                  <a:lnTo>
                    <a:pt x="21" y="558"/>
                  </a:lnTo>
                  <a:lnTo>
                    <a:pt x="21" y="556"/>
                  </a:lnTo>
                  <a:lnTo>
                    <a:pt x="21" y="558"/>
                  </a:lnTo>
                  <a:lnTo>
                    <a:pt x="23" y="558"/>
                  </a:lnTo>
                  <a:lnTo>
                    <a:pt x="21" y="558"/>
                  </a:lnTo>
                  <a:lnTo>
                    <a:pt x="23" y="560"/>
                  </a:lnTo>
                  <a:lnTo>
                    <a:pt x="21" y="560"/>
                  </a:lnTo>
                  <a:lnTo>
                    <a:pt x="21" y="563"/>
                  </a:lnTo>
                  <a:lnTo>
                    <a:pt x="21" y="560"/>
                  </a:lnTo>
                  <a:lnTo>
                    <a:pt x="21" y="563"/>
                  </a:lnTo>
                  <a:lnTo>
                    <a:pt x="21" y="560"/>
                  </a:lnTo>
                  <a:lnTo>
                    <a:pt x="21" y="563"/>
                  </a:lnTo>
                  <a:lnTo>
                    <a:pt x="21" y="560"/>
                  </a:lnTo>
                  <a:lnTo>
                    <a:pt x="19" y="563"/>
                  </a:lnTo>
                  <a:lnTo>
                    <a:pt x="21" y="563"/>
                  </a:lnTo>
                  <a:lnTo>
                    <a:pt x="19" y="563"/>
                  </a:lnTo>
                  <a:lnTo>
                    <a:pt x="21" y="563"/>
                  </a:lnTo>
                  <a:lnTo>
                    <a:pt x="19" y="563"/>
                  </a:lnTo>
                  <a:lnTo>
                    <a:pt x="19" y="565"/>
                  </a:lnTo>
                  <a:lnTo>
                    <a:pt x="21" y="565"/>
                  </a:lnTo>
                  <a:lnTo>
                    <a:pt x="19" y="565"/>
                  </a:lnTo>
                  <a:lnTo>
                    <a:pt x="21" y="565"/>
                  </a:lnTo>
                  <a:lnTo>
                    <a:pt x="19" y="567"/>
                  </a:lnTo>
                  <a:lnTo>
                    <a:pt x="19" y="565"/>
                  </a:lnTo>
                  <a:lnTo>
                    <a:pt x="19" y="567"/>
                  </a:lnTo>
                  <a:lnTo>
                    <a:pt x="19" y="565"/>
                  </a:lnTo>
                  <a:lnTo>
                    <a:pt x="19" y="567"/>
                  </a:lnTo>
                  <a:lnTo>
                    <a:pt x="19" y="565"/>
                  </a:lnTo>
                  <a:lnTo>
                    <a:pt x="19" y="567"/>
                  </a:lnTo>
                  <a:lnTo>
                    <a:pt x="19" y="565"/>
                  </a:lnTo>
                  <a:lnTo>
                    <a:pt x="16" y="565"/>
                  </a:lnTo>
                  <a:lnTo>
                    <a:pt x="16" y="563"/>
                  </a:lnTo>
                  <a:lnTo>
                    <a:pt x="14" y="563"/>
                  </a:lnTo>
                  <a:lnTo>
                    <a:pt x="16" y="563"/>
                  </a:lnTo>
                  <a:lnTo>
                    <a:pt x="14" y="563"/>
                  </a:lnTo>
                  <a:lnTo>
                    <a:pt x="11" y="563"/>
                  </a:lnTo>
                  <a:lnTo>
                    <a:pt x="11" y="560"/>
                  </a:lnTo>
                  <a:lnTo>
                    <a:pt x="14" y="560"/>
                  </a:lnTo>
                  <a:lnTo>
                    <a:pt x="11" y="560"/>
                  </a:lnTo>
                  <a:lnTo>
                    <a:pt x="11" y="563"/>
                  </a:lnTo>
                  <a:lnTo>
                    <a:pt x="9" y="563"/>
                  </a:lnTo>
                  <a:lnTo>
                    <a:pt x="11" y="563"/>
                  </a:lnTo>
                  <a:lnTo>
                    <a:pt x="9" y="563"/>
                  </a:lnTo>
                  <a:lnTo>
                    <a:pt x="11" y="563"/>
                  </a:lnTo>
                  <a:lnTo>
                    <a:pt x="11" y="560"/>
                  </a:lnTo>
                  <a:lnTo>
                    <a:pt x="9" y="560"/>
                  </a:lnTo>
                  <a:lnTo>
                    <a:pt x="7" y="560"/>
                  </a:lnTo>
                  <a:lnTo>
                    <a:pt x="9" y="560"/>
                  </a:lnTo>
                  <a:lnTo>
                    <a:pt x="7" y="560"/>
                  </a:lnTo>
                  <a:lnTo>
                    <a:pt x="4" y="560"/>
                  </a:lnTo>
                  <a:lnTo>
                    <a:pt x="4" y="558"/>
                  </a:lnTo>
                  <a:lnTo>
                    <a:pt x="2" y="558"/>
                  </a:lnTo>
                  <a:lnTo>
                    <a:pt x="4" y="558"/>
                  </a:lnTo>
                  <a:lnTo>
                    <a:pt x="2" y="558"/>
                  </a:lnTo>
                  <a:lnTo>
                    <a:pt x="2" y="556"/>
                  </a:lnTo>
                  <a:lnTo>
                    <a:pt x="2" y="553"/>
                  </a:lnTo>
                  <a:lnTo>
                    <a:pt x="2" y="551"/>
                  </a:lnTo>
                  <a:lnTo>
                    <a:pt x="0" y="551"/>
                  </a:lnTo>
                  <a:lnTo>
                    <a:pt x="0" y="548"/>
                  </a:lnTo>
                  <a:lnTo>
                    <a:pt x="2" y="548"/>
                  </a:lnTo>
                  <a:lnTo>
                    <a:pt x="2" y="551"/>
                  </a:lnTo>
                  <a:lnTo>
                    <a:pt x="2" y="548"/>
                  </a:lnTo>
                  <a:lnTo>
                    <a:pt x="2" y="551"/>
                  </a:lnTo>
                  <a:lnTo>
                    <a:pt x="2" y="548"/>
                  </a:lnTo>
                  <a:lnTo>
                    <a:pt x="4" y="548"/>
                  </a:lnTo>
                  <a:lnTo>
                    <a:pt x="4" y="551"/>
                  </a:lnTo>
                  <a:lnTo>
                    <a:pt x="4" y="548"/>
                  </a:lnTo>
                  <a:lnTo>
                    <a:pt x="7" y="548"/>
                  </a:lnTo>
                  <a:lnTo>
                    <a:pt x="7" y="551"/>
                  </a:lnTo>
                  <a:lnTo>
                    <a:pt x="4" y="551"/>
                  </a:lnTo>
                  <a:lnTo>
                    <a:pt x="4" y="553"/>
                  </a:lnTo>
                  <a:lnTo>
                    <a:pt x="7" y="553"/>
                  </a:lnTo>
                  <a:lnTo>
                    <a:pt x="7" y="556"/>
                  </a:lnTo>
                  <a:lnTo>
                    <a:pt x="7" y="553"/>
                  </a:lnTo>
                  <a:lnTo>
                    <a:pt x="7" y="551"/>
                  </a:lnTo>
                  <a:lnTo>
                    <a:pt x="7" y="548"/>
                  </a:lnTo>
                  <a:lnTo>
                    <a:pt x="7" y="551"/>
                  </a:lnTo>
                  <a:lnTo>
                    <a:pt x="7" y="553"/>
                  </a:lnTo>
                  <a:lnTo>
                    <a:pt x="9" y="551"/>
                  </a:lnTo>
                  <a:lnTo>
                    <a:pt x="7" y="551"/>
                  </a:lnTo>
                  <a:lnTo>
                    <a:pt x="9" y="551"/>
                  </a:lnTo>
                  <a:lnTo>
                    <a:pt x="7" y="551"/>
                  </a:lnTo>
                  <a:lnTo>
                    <a:pt x="9" y="551"/>
                  </a:lnTo>
                  <a:lnTo>
                    <a:pt x="9" y="548"/>
                  </a:lnTo>
                  <a:lnTo>
                    <a:pt x="9" y="551"/>
                  </a:lnTo>
                  <a:lnTo>
                    <a:pt x="9" y="548"/>
                  </a:lnTo>
                  <a:lnTo>
                    <a:pt x="7" y="548"/>
                  </a:lnTo>
                  <a:lnTo>
                    <a:pt x="9" y="548"/>
                  </a:lnTo>
                  <a:lnTo>
                    <a:pt x="7" y="551"/>
                  </a:lnTo>
                  <a:lnTo>
                    <a:pt x="7" y="548"/>
                  </a:lnTo>
                  <a:lnTo>
                    <a:pt x="9" y="548"/>
                  </a:lnTo>
                  <a:lnTo>
                    <a:pt x="9" y="546"/>
                  </a:lnTo>
                  <a:lnTo>
                    <a:pt x="9" y="548"/>
                  </a:lnTo>
                  <a:lnTo>
                    <a:pt x="7" y="548"/>
                  </a:lnTo>
                  <a:lnTo>
                    <a:pt x="7" y="546"/>
                  </a:lnTo>
                  <a:lnTo>
                    <a:pt x="7" y="548"/>
                  </a:lnTo>
                  <a:lnTo>
                    <a:pt x="4" y="548"/>
                  </a:lnTo>
                  <a:lnTo>
                    <a:pt x="4" y="546"/>
                  </a:lnTo>
                  <a:lnTo>
                    <a:pt x="7" y="546"/>
                  </a:lnTo>
                  <a:lnTo>
                    <a:pt x="4" y="546"/>
                  </a:lnTo>
                  <a:lnTo>
                    <a:pt x="7" y="546"/>
                  </a:lnTo>
                  <a:lnTo>
                    <a:pt x="4" y="546"/>
                  </a:lnTo>
                  <a:lnTo>
                    <a:pt x="7" y="546"/>
                  </a:lnTo>
                  <a:lnTo>
                    <a:pt x="7" y="544"/>
                  </a:lnTo>
                  <a:close/>
                  <a:moveTo>
                    <a:pt x="268" y="541"/>
                  </a:moveTo>
                  <a:lnTo>
                    <a:pt x="268" y="539"/>
                  </a:lnTo>
                  <a:lnTo>
                    <a:pt x="268" y="541"/>
                  </a:lnTo>
                  <a:close/>
                  <a:moveTo>
                    <a:pt x="52" y="522"/>
                  </a:moveTo>
                  <a:lnTo>
                    <a:pt x="49" y="522"/>
                  </a:lnTo>
                  <a:lnTo>
                    <a:pt x="52" y="522"/>
                  </a:lnTo>
                  <a:close/>
                  <a:moveTo>
                    <a:pt x="52" y="434"/>
                  </a:moveTo>
                  <a:lnTo>
                    <a:pt x="52" y="432"/>
                  </a:lnTo>
                  <a:lnTo>
                    <a:pt x="52" y="434"/>
                  </a:lnTo>
                  <a:close/>
                  <a:moveTo>
                    <a:pt x="87" y="387"/>
                  </a:moveTo>
                  <a:lnTo>
                    <a:pt x="85" y="387"/>
                  </a:lnTo>
                  <a:lnTo>
                    <a:pt x="85" y="389"/>
                  </a:lnTo>
                  <a:lnTo>
                    <a:pt x="87" y="389"/>
                  </a:lnTo>
                  <a:lnTo>
                    <a:pt x="85" y="389"/>
                  </a:lnTo>
                  <a:lnTo>
                    <a:pt x="87" y="389"/>
                  </a:lnTo>
                  <a:lnTo>
                    <a:pt x="85" y="389"/>
                  </a:lnTo>
                  <a:lnTo>
                    <a:pt x="85" y="387"/>
                  </a:lnTo>
                  <a:lnTo>
                    <a:pt x="83" y="387"/>
                  </a:lnTo>
                  <a:lnTo>
                    <a:pt x="83" y="389"/>
                  </a:lnTo>
                  <a:lnTo>
                    <a:pt x="85" y="389"/>
                  </a:lnTo>
                  <a:lnTo>
                    <a:pt x="83" y="389"/>
                  </a:lnTo>
                  <a:lnTo>
                    <a:pt x="85" y="389"/>
                  </a:lnTo>
                  <a:lnTo>
                    <a:pt x="83" y="389"/>
                  </a:lnTo>
                  <a:lnTo>
                    <a:pt x="80" y="389"/>
                  </a:lnTo>
                  <a:lnTo>
                    <a:pt x="80" y="387"/>
                  </a:lnTo>
                  <a:lnTo>
                    <a:pt x="80" y="389"/>
                  </a:lnTo>
                  <a:lnTo>
                    <a:pt x="80" y="387"/>
                  </a:lnTo>
                  <a:lnTo>
                    <a:pt x="80" y="389"/>
                  </a:lnTo>
                  <a:lnTo>
                    <a:pt x="78" y="387"/>
                  </a:lnTo>
                  <a:lnTo>
                    <a:pt x="78" y="389"/>
                  </a:lnTo>
                  <a:lnTo>
                    <a:pt x="78" y="387"/>
                  </a:lnTo>
                  <a:lnTo>
                    <a:pt x="80" y="387"/>
                  </a:lnTo>
                  <a:lnTo>
                    <a:pt x="78" y="387"/>
                  </a:lnTo>
                  <a:lnTo>
                    <a:pt x="78" y="385"/>
                  </a:lnTo>
                  <a:lnTo>
                    <a:pt x="80" y="385"/>
                  </a:lnTo>
                  <a:lnTo>
                    <a:pt x="80" y="387"/>
                  </a:lnTo>
                  <a:lnTo>
                    <a:pt x="83" y="387"/>
                  </a:lnTo>
                  <a:lnTo>
                    <a:pt x="80" y="387"/>
                  </a:lnTo>
                  <a:lnTo>
                    <a:pt x="80" y="385"/>
                  </a:lnTo>
                  <a:lnTo>
                    <a:pt x="80" y="387"/>
                  </a:lnTo>
                  <a:lnTo>
                    <a:pt x="80" y="385"/>
                  </a:lnTo>
                  <a:lnTo>
                    <a:pt x="83" y="385"/>
                  </a:lnTo>
                  <a:lnTo>
                    <a:pt x="83" y="387"/>
                  </a:lnTo>
                  <a:lnTo>
                    <a:pt x="83" y="385"/>
                  </a:lnTo>
                  <a:lnTo>
                    <a:pt x="83" y="387"/>
                  </a:lnTo>
                  <a:lnTo>
                    <a:pt x="85" y="385"/>
                  </a:lnTo>
                  <a:lnTo>
                    <a:pt x="85" y="387"/>
                  </a:lnTo>
                  <a:lnTo>
                    <a:pt x="85" y="385"/>
                  </a:lnTo>
                  <a:lnTo>
                    <a:pt x="87" y="385"/>
                  </a:lnTo>
                  <a:lnTo>
                    <a:pt x="87" y="387"/>
                  </a:lnTo>
                  <a:close/>
                  <a:moveTo>
                    <a:pt x="52" y="392"/>
                  </a:moveTo>
                  <a:lnTo>
                    <a:pt x="52" y="394"/>
                  </a:lnTo>
                  <a:lnTo>
                    <a:pt x="52" y="392"/>
                  </a:lnTo>
                  <a:lnTo>
                    <a:pt x="52" y="394"/>
                  </a:lnTo>
                  <a:lnTo>
                    <a:pt x="52" y="392"/>
                  </a:lnTo>
                  <a:lnTo>
                    <a:pt x="52" y="394"/>
                  </a:lnTo>
                  <a:lnTo>
                    <a:pt x="49" y="392"/>
                  </a:lnTo>
                  <a:lnTo>
                    <a:pt x="52" y="392"/>
                  </a:lnTo>
                  <a:lnTo>
                    <a:pt x="49" y="392"/>
                  </a:lnTo>
                  <a:lnTo>
                    <a:pt x="49" y="389"/>
                  </a:lnTo>
                  <a:lnTo>
                    <a:pt x="49" y="387"/>
                  </a:lnTo>
                  <a:lnTo>
                    <a:pt x="49" y="385"/>
                  </a:lnTo>
                  <a:lnTo>
                    <a:pt x="52" y="387"/>
                  </a:lnTo>
                  <a:lnTo>
                    <a:pt x="52" y="385"/>
                  </a:lnTo>
                  <a:lnTo>
                    <a:pt x="49" y="385"/>
                  </a:lnTo>
                  <a:lnTo>
                    <a:pt x="52" y="385"/>
                  </a:lnTo>
                  <a:lnTo>
                    <a:pt x="49" y="385"/>
                  </a:lnTo>
                  <a:lnTo>
                    <a:pt x="52" y="385"/>
                  </a:lnTo>
                  <a:lnTo>
                    <a:pt x="54" y="385"/>
                  </a:lnTo>
                  <a:lnTo>
                    <a:pt x="52" y="385"/>
                  </a:lnTo>
                  <a:lnTo>
                    <a:pt x="54" y="385"/>
                  </a:lnTo>
                  <a:lnTo>
                    <a:pt x="52" y="385"/>
                  </a:lnTo>
                  <a:lnTo>
                    <a:pt x="54" y="385"/>
                  </a:lnTo>
                  <a:lnTo>
                    <a:pt x="52" y="385"/>
                  </a:lnTo>
                  <a:lnTo>
                    <a:pt x="52" y="387"/>
                  </a:lnTo>
                  <a:lnTo>
                    <a:pt x="52" y="385"/>
                  </a:lnTo>
                  <a:lnTo>
                    <a:pt x="52" y="387"/>
                  </a:lnTo>
                  <a:lnTo>
                    <a:pt x="49" y="387"/>
                  </a:lnTo>
                  <a:lnTo>
                    <a:pt x="49" y="389"/>
                  </a:lnTo>
                  <a:lnTo>
                    <a:pt x="49" y="387"/>
                  </a:lnTo>
                  <a:lnTo>
                    <a:pt x="52" y="387"/>
                  </a:lnTo>
                  <a:lnTo>
                    <a:pt x="52" y="389"/>
                  </a:lnTo>
                  <a:lnTo>
                    <a:pt x="52" y="387"/>
                  </a:lnTo>
                  <a:lnTo>
                    <a:pt x="54" y="387"/>
                  </a:lnTo>
                  <a:lnTo>
                    <a:pt x="54" y="389"/>
                  </a:lnTo>
                  <a:lnTo>
                    <a:pt x="54" y="387"/>
                  </a:lnTo>
                  <a:lnTo>
                    <a:pt x="54" y="389"/>
                  </a:lnTo>
                  <a:lnTo>
                    <a:pt x="52" y="389"/>
                  </a:lnTo>
                  <a:lnTo>
                    <a:pt x="54" y="389"/>
                  </a:lnTo>
                  <a:lnTo>
                    <a:pt x="52" y="389"/>
                  </a:lnTo>
                  <a:lnTo>
                    <a:pt x="54" y="389"/>
                  </a:lnTo>
                  <a:lnTo>
                    <a:pt x="54" y="392"/>
                  </a:lnTo>
                  <a:lnTo>
                    <a:pt x="54" y="389"/>
                  </a:lnTo>
                  <a:lnTo>
                    <a:pt x="57" y="389"/>
                  </a:lnTo>
                  <a:lnTo>
                    <a:pt x="59" y="389"/>
                  </a:lnTo>
                  <a:lnTo>
                    <a:pt x="57" y="389"/>
                  </a:lnTo>
                  <a:lnTo>
                    <a:pt x="59" y="389"/>
                  </a:lnTo>
                  <a:lnTo>
                    <a:pt x="59" y="387"/>
                  </a:lnTo>
                  <a:lnTo>
                    <a:pt x="59" y="389"/>
                  </a:lnTo>
                  <a:lnTo>
                    <a:pt x="61" y="389"/>
                  </a:lnTo>
                  <a:lnTo>
                    <a:pt x="59" y="389"/>
                  </a:lnTo>
                  <a:lnTo>
                    <a:pt x="61" y="389"/>
                  </a:lnTo>
                  <a:lnTo>
                    <a:pt x="59" y="389"/>
                  </a:lnTo>
                  <a:lnTo>
                    <a:pt x="61" y="389"/>
                  </a:lnTo>
                  <a:lnTo>
                    <a:pt x="61" y="392"/>
                  </a:lnTo>
                  <a:lnTo>
                    <a:pt x="59" y="392"/>
                  </a:lnTo>
                  <a:lnTo>
                    <a:pt x="59" y="394"/>
                  </a:lnTo>
                  <a:lnTo>
                    <a:pt x="59" y="392"/>
                  </a:lnTo>
                  <a:lnTo>
                    <a:pt x="59" y="394"/>
                  </a:lnTo>
                  <a:lnTo>
                    <a:pt x="57" y="394"/>
                  </a:lnTo>
                  <a:lnTo>
                    <a:pt x="57" y="392"/>
                  </a:lnTo>
                  <a:lnTo>
                    <a:pt x="59" y="392"/>
                  </a:lnTo>
                  <a:lnTo>
                    <a:pt x="57" y="392"/>
                  </a:lnTo>
                  <a:lnTo>
                    <a:pt x="57" y="394"/>
                  </a:lnTo>
                  <a:lnTo>
                    <a:pt x="54" y="394"/>
                  </a:lnTo>
                  <a:lnTo>
                    <a:pt x="52" y="394"/>
                  </a:lnTo>
                  <a:lnTo>
                    <a:pt x="52" y="392"/>
                  </a:lnTo>
                  <a:close/>
                  <a:moveTo>
                    <a:pt x="132" y="337"/>
                  </a:moveTo>
                  <a:lnTo>
                    <a:pt x="132" y="339"/>
                  </a:lnTo>
                  <a:lnTo>
                    <a:pt x="135" y="339"/>
                  </a:lnTo>
                  <a:lnTo>
                    <a:pt x="132" y="339"/>
                  </a:lnTo>
                  <a:lnTo>
                    <a:pt x="135" y="339"/>
                  </a:lnTo>
                  <a:lnTo>
                    <a:pt x="132" y="339"/>
                  </a:lnTo>
                  <a:lnTo>
                    <a:pt x="132" y="337"/>
                  </a:lnTo>
                  <a:lnTo>
                    <a:pt x="132" y="339"/>
                  </a:lnTo>
                  <a:lnTo>
                    <a:pt x="132" y="337"/>
                  </a:lnTo>
                  <a:lnTo>
                    <a:pt x="132" y="339"/>
                  </a:lnTo>
                  <a:lnTo>
                    <a:pt x="132" y="337"/>
                  </a:lnTo>
                  <a:lnTo>
                    <a:pt x="132" y="339"/>
                  </a:lnTo>
                  <a:lnTo>
                    <a:pt x="130" y="337"/>
                  </a:lnTo>
                  <a:lnTo>
                    <a:pt x="132" y="337"/>
                  </a:lnTo>
                  <a:close/>
                  <a:moveTo>
                    <a:pt x="151" y="247"/>
                  </a:moveTo>
                  <a:lnTo>
                    <a:pt x="154" y="247"/>
                  </a:lnTo>
                  <a:lnTo>
                    <a:pt x="151" y="247"/>
                  </a:lnTo>
                  <a:lnTo>
                    <a:pt x="154" y="247"/>
                  </a:lnTo>
                  <a:lnTo>
                    <a:pt x="154" y="249"/>
                  </a:lnTo>
                  <a:lnTo>
                    <a:pt x="151" y="249"/>
                  </a:lnTo>
                  <a:lnTo>
                    <a:pt x="151" y="247"/>
                  </a:lnTo>
                  <a:lnTo>
                    <a:pt x="151" y="249"/>
                  </a:lnTo>
                  <a:lnTo>
                    <a:pt x="149" y="249"/>
                  </a:lnTo>
                  <a:lnTo>
                    <a:pt x="149" y="252"/>
                  </a:lnTo>
                  <a:lnTo>
                    <a:pt x="149" y="249"/>
                  </a:lnTo>
                  <a:lnTo>
                    <a:pt x="149" y="247"/>
                  </a:lnTo>
                  <a:lnTo>
                    <a:pt x="151" y="247"/>
                  </a:lnTo>
                  <a:close/>
                  <a:moveTo>
                    <a:pt x="135" y="223"/>
                  </a:moveTo>
                  <a:lnTo>
                    <a:pt x="137" y="223"/>
                  </a:lnTo>
                  <a:lnTo>
                    <a:pt x="137" y="225"/>
                  </a:lnTo>
                  <a:lnTo>
                    <a:pt x="135" y="225"/>
                  </a:lnTo>
                  <a:lnTo>
                    <a:pt x="135" y="223"/>
                  </a:lnTo>
                  <a:close/>
                  <a:moveTo>
                    <a:pt x="137" y="225"/>
                  </a:moveTo>
                  <a:lnTo>
                    <a:pt x="135" y="225"/>
                  </a:lnTo>
                  <a:lnTo>
                    <a:pt x="137" y="225"/>
                  </a:lnTo>
                  <a:close/>
                  <a:moveTo>
                    <a:pt x="135" y="216"/>
                  </a:moveTo>
                  <a:lnTo>
                    <a:pt x="132" y="216"/>
                  </a:lnTo>
                  <a:lnTo>
                    <a:pt x="135" y="213"/>
                  </a:lnTo>
                  <a:lnTo>
                    <a:pt x="135" y="216"/>
                  </a:lnTo>
                  <a:close/>
                  <a:moveTo>
                    <a:pt x="194" y="548"/>
                  </a:moveTo>
                  <a:lnTo>
                    <a:pt x="194" y="546"/>
                  </a:lnTo>
                  <a:lnTo>
                    <a:pt x="194" y="548"/>
                  </a:lnTo>
                  <a:lnTo>
                    <a:pt x="197" y="548"/>
                  </a:lnTo>
                  <a:lnTo>
                    <a:pt x="194" y="548"/>
                  </a:lnTo>
                  <a:lnTo>
                    <a:pt x="197" y="548"/>
                  </a:lnTo>
                  <a:lnTo>
                    <a:pt x="197" y="551"/>
                  </a:lnTo>
                  <a:lnTo>
                    <a:pt x="194" y="551"/>
                  </a:lnTo>
                  <a:lnTo>
                    <a:pt x="194" y="553"/>
                  </a:lnTo>
                  <a:lnTo>
                    <a:pt x="192" y="553"/>
                  </a:lnTo>
                  <a:lnTo>
                    <a:pt x="189" y="553"/>
                  </a:lnTo>
                  <a:lnTo>
                    <a:pt x="192" y="553"/>
                  </a:lnTo>
                  <a:lnTo>
                    <a:pt x="194" y="553"/>
                  </a:lnTo>
                  <a:lnTo>
                    <a:pt x="194" y="551"/>
                  </a:lnTo>
                  <a:lnTo>
                    <a:pt x="192" y="551"/>
                  </a:lnTo>
                  <a:lnTo>
                    <a:pt x="194" y="551"/>
                  </a:lnTo>
                  <a:lnTo>
                    <a:pt x="192" y="553"/>
                  </a:lnTo>
                  <a:lnTo>
                    <a:pt x="192" y="551"/>
                  </a:lnTo>
                  <a:lnTo>
                    <a:pt x="192" y="553"/>
                  </a:lnTo>
                  <a:lnTo>
                    <a:pt x="192" y="551"/>
                  </a:lnTo>
                  <a:lnTo>
                    <a:pt x="189" y="551"/>
                  </a:lnTo>
                  <a:lnTo>
                    <a:pt x="189" y="553"/>
                  </a:lnTo>
                  <a:lnTo>
                    <a:pt x="189" y="551"/>
                  </a:lnTo>
                  <a:lnTo>
                    <a:pt x="187" y="551"/>
                  </a:lnTo>
                  <a:lnTo>
                    <a:pt x="189" y="551"/>
                  </a:lnTo>
                  <a:lnTo>
                    <a:pt x="187" y="551"/>
                  </a:lnTo>
                  <a:lnTo>
                    <a:pt x="187" y="553"/>
                  </a:lnTo>
                  <a:lnTo>
                    <a:pt x="185" y="553"/>
                  </a:lnTo>
                  <a:lnTo>
                    <a:pt x="185" y="551"/>
                  </a:lnTo>
                  <a:lnTo>
                    <a:pt x="185" y="553"/>
                  </a:lnTo>
                  <a:lnTo>
                    <a:pt x="182" y="553"/>
                  </a:lnTo>
                  <a:lnTo>
                    <a:pt x="185" y="553"/>
                  </a:lnTo>
                  <a:lnTo>
                    <a:pt x="182" y="553"/>
                  </a:lnTo>
                  <a:lnTo>
                    <a:pt x="185" y="553"/>
                  </a:lnTo>
                  <a:lnTo>
                    <a:pt x="182" y="553"/>
                  </a:lnTo>
                  <a:lnTo>
                    <a:pt x="185" y="553"/>
                  </a:lnTo>
                  <a:lnTo>
                    <a:pt x="182" y="556"/>
                  </a:lnTo>
                  <a:lnTo>
                    <a:pt x="185" y="556"/>
                  </a:lnTo>
                  <a:lnTo>
                    <a:pt x="182" y="556"/>
                  </a:lnTo>
                  <a:lnTo>
                    <a:pt x="180" y="556"/>
                  </a:lnTo>
                  <a:lnTo>
                    <a:pt x="182" y="556"/>
                  </a:lnTo>
                  <a:lnTo>
                    <a:pt x="182" y="553"/>
                  </a:lnTo>
                  <a:lnTo>
                    <a:pt x="180" y="556"/>
                  </a:lnTo>
                  <a:lnTo>
                    <a:pt x="180" y="558"/>
                  </a:lnTo>
                  <a:lnTo>
                    <a:pt x="180" y="556"/>
                  </a:lnTo>
                  <a:lnTo>
                    <a:pt x="180" y="558"/>
                  </a:lnTo>
                  <a:lnTo>
                    <a:pt x="178" y="558"/>
                  </a:lnTo>
                  <a:lnTo>
                    <a:pt x="180" y="558"/>
                  </a:lnTo>
                  <a:lnTo>
                    <a:pt x="178" y="558"/>
                  </a:lnTo>
                  <a:lnTo>
                    <a:pt x="178" y="556"/>
                  </a:lnTo>
                  <a:lnTo>
                    <a:pt x="178" y="558"/>
                  </a:lnTo>
                  <a:lnTo>
                    <a:pt x="178" y="556"/>
                  </a:lnTo>
                  <a:lnTo>
                    <a:pt x="180" y="556"/>
                  </a:lnTo>
                  <a:lnTo>
                    <a:pt x="178" y="556"/>
                  </a:lnTo>
                  <a:lnTo>
                    <a:pt x="178" y="553"/>
                  </a:lnTo>
                  <a:lnTo>
                    <a:pt x="178" y="556"/>
                  </a:lnTo>
                  <a:lnTo>
                    <a:pt x="178" y="553"/>
                  </a:lnTo>
                  <a:lnTo>
                    <a:pt x="178" y="556"/>
                  </a:lnTo>
                  <a:lnTo>
                    <a:pt x="178" y="553"/>
                  </a:lnTo>
                  <a:lnTo>
                    <a:pt x="178" y="556"/>
                  </a:lnTo>
                  <a:lnTo>
                    <a:pt x="175" y="556"/>
                  </a:lnTo>
                  <a:lnTo>
                    <a:pt x="178" y="556"/>
                  </a:lnTo>
                  <a:lnTo>
                    <a:pt x="175" y="558"/>
                  </a:lnTo>
                  <a:lnTo>
                    <a:pt x="175" y="556"/>
                  </a:lnTo>
                  <a:lnTo>
                    <a:pt x="175" y="558"/>
                  </a:lnTo>
                  <a:lnTo>
                    <a:pt x="175" y="556"/>
                  </a:lnTo>
                  <a:lnTo>
                    <a:pt x="173" y="556"/>
                  </a:lnTo>
                  <a:lnTo>
                    <a:pt x="170" y="556"/>
                  </a:lnTo>
                  <a:lnTo>
                    <a:pt x="173" y="556"/>
                  </a:lnTo>
                  <a:lnTo>
                    <a:pt x="170" y="556"/>
                  </a:lnTo>
                  <a:lnTo>
                    <a:pt x="170" y="558"/>
                  </a:lnTo>
                  <a:lnTo>
                    <a:pt x="168" y="558"/>
                  </a:lnTo>
                  <a:lnTo>
                    <a:pt x="168" y="560"/>
                  </a:lnTo>
                  <a:lnTo>
                    <a:pt x="166" y="560"/>
                  </a:lnTo>
                  <a:lnTo>
                    <a:pt x="168" y="560"/>
                  </a:lnTo>
                  <a:lnTo>
                    <a:pt x="168" y="558"/>
                  </a:lnTo>
                  <a:lnTo>
                    <a:pt x="168" y="560"/>
                  </a:lnTo>
                  <a:lnTo>
                    <a:pt x="168" y="558"/>
                  </a:lnTo>
                  <a:lnTo>
                    <a:pt x="168" y="560"/>
                  </a:lnTo>
                  <a:lnTo>
                    <a:pt x="168" y="558"/>
                  </a:lnTo>
                  <a:lnTo>
                    <a:pt x="166" y="558"/>
                  </a:lnTo>
                  <a:lnTo>
                    <a:pt x="168" y="558"/>
                  </a:lnTo>
                  <a:lnTo>
                    <a:pt x="166" y="558"/>
                  </a:lnTo>
                  <a:lnTo>
                    <a:pt x="168" y="558"/>
                  </a:lnTo>
                  <a:lnTo>
                    <a:pt x="168" y="560"/>
                  </a:lnTo>
                  <a:lnTo>
                    <a:pt x="166" y="560"/>
                  </a:lnTo>
                  <a:lnTo>
                    <a:pt x="166" y="558"/>
                  </a:lnTo>
                  <a:lnTo>
                    <a:pt x="163" y="558"/>
                  </a:lnTo>
                  <a:lnTo>
                    <a:pt x="163" y="556"/>
                  </a:lnTo>
                  <a:lnTo>
                    <a:pt x="163" y="558"/>
                  </a:lnTo>
                  <a:lnTo>
                    <a:pt x="166" y="558"/>
                  </a:lnTo>
                  <a:lnTo>
                    <a:pt x="166" y="560"/>
                  </a:lnTo>
                  <a:lnTo>
                    <a:pt x="163" y="560"/>
                  </a:lnTo>
                  <a:lnTo>
                    <a:pt x="166" y="558"/>
                  </a:lnTo>
                  <a:lnTo>
                    <a:pt x="166" y="560"/>
                  </a:lnTo>
                  <a:lnTo>
                    <a:pt x="166" y="558"/>
                  </a:lnTo>
                  <a:lnTo>
                    <a:pt x="166" y="560"/>
                  </a:lnTo>
                  <a:lnTo>
                    <a:pt x="163" y="560"/>
                  </a:lnTo>
                  <a:lnTo>
                    <a:pt x="166" y="560"/>
                  </a:lnTo>
                  <a:lnTo>
                    <a:pt x="163" y="563"/>
                  </a:lnTo>
                  <a:lnTo>
                    <a:pt x="166" y="563"/>
                  </a:lnTo>
                  <a:lnTo>
                    <a:pt x="163" y="563"/>
                  </a:lnTo>
                  <a:lnTo>
                    <a:pt x="163" y="565"/>
                  </a:lnTo>
                  <a:lnTo>
                    <a:pt x="163" y="563"/>
                  </a:lnTo>
                  <a:lnTo>
                    <a:pt x="163" y="565"/>
                  </a:lnTo>
                  <a:lnTo>
                    <a:pt x="161" y="565"/>
                  </a:lnTo>
                  <a:lnTo>
                    <a:pt x="159" y="565"/>
                  </a:lnTo>
                  <a:lnTo>
                    <a:pt x="161" y="565"/>
                  </a:lnTo>
                  <a:lnTo>
                    <a:pt x="159" y="565"/>
                  </a:lnTo>
                  <a:lnTo>
                    <a:pt x="159" y="567"/>
                  </a:lnTo>
                  <a:lnTo>
                    <a:pt x="159" y="565"/>
                  </a:lnTo>
                  <a:lnTo>
                    <a:pt x="159" y="567"/>
                  </a:lnTo>
                  <a:lnTo>
                    <a:pt x="159" y="565"/>
                  </a:lnTo>
                  <a:lnTo>
                    <a:pt x="159" y="567"/>
                  </a:lnTo>
                  <a:lnTo>
                    <a:pt x="156" y="567"/>
                  </a:lnTo>
                  <a:lnTo>
                    <a:pt x="159" y="567"/>
                  </a:lnTo>
                  <a:lnTo>
                    <a:pt x="159" y="565"/>
                  </a:lnTo>
                  <a:lnTo>
                    <a:pt x="161" y="563"/>
                  </a:lnTo>
                  <a:lnTo>
                    <a:pt x="159" y="565"/>
                  </a:lnTo>
                  <a:lnTo>
                    <a:pt x="159" y="563"/>
                  </a:lnTo>
                  <a:lnTo>
                    <a:pt x="161" y="563"/>
                  </a:lnTo>
                  <a:lnTo>
                    <a:pt x="159" y="563"/>
                  </a:lnTo>
                  <a:lnTo>
                    <a:pt x="159" y="565"/>
                  </a:lnTo>
                  <a:lnTo>
                    <a:pt x="159" y="563"/>
                  </a:lnTo>
                  <a:lnTo>
                    <a:pt x="159" y="565"/>
                  </a:lnTo>
                  <a:lnTo>
                    <a:pt x="156" y="565"/>
                  </a:lnTo>
                  <a:lnTo>
                    <a:pt x="156" y="563"/>
                  </a:lnTo>
                  <a:lnTo>
                    <a:pt x="156" y="565"/>
                  </a:lnTo>
                  <a:lnTo>
                    <a:pt x="154" y="565"/>
                  </a:lnTo>
                  <a:lnTo>
                    <a:pt x="156" y="565"/>
                  </a:lnTo>
                  <a:lnTo>
                    <a:pt x="154" y="565"/>
                  </a:lnTo>
                  <a:lnTo>
                    <a:pt x="156" y="565"/>
                  </a:lnTo>
                  <a:lnTo>
                    <a:pt x="156" y="563"/>
                  </a:lnTo>
                  <a:lnTo>
                    <a:pt x="156" y="560"/>
                  </a:lnTo>
                  <a:lnTo>
                    <a:pt x="154" y="560"/>
                  </a:lnTo>
                  <a:lnTo>
                    <a:pt x="156" y="560"/>
                  </a:lnTo>
                  <a:lnTo>
                    <a:pt x="154" y="560"/>
                  </a:lnTo>
                  <a:lnTo>
                    <a:pt x="154" y="563"/>
                  </a:lnTo>
                  <a:lnTo>
                    <a:pt x="151" y="563"/>
                  </a:lnTo>
                  <a:lnTo>
                    <a:pt x="149" y="563"/>
                  </a:lnTo>
                  <a:lnTo>
                    <a:pt x="151" y="563"/>
                  </a:lnTo>
                  <a:lnTo>
                    <a:pt x="151" y="565"/>
                  </a:lnTo>
                  <a:lnTo>
                    <a:pt x="149" y="565"/>
                  </a:lnTo>
                  <a:lnTo>
                    <a:pt x="149" y="563"/>
                  </a:lnTo>
                  <a:lnTo>
                    <a:pt x="149" y="565"/>
                  </a:lnTo>
                  <a:lnTo>
                    <a:pt x="147" y="565"/>
                  </a:lnTo>
                  <a:lnTo>
                    <a:pt x="147" y="563"/>
                  </a:lnTo>
                  <a:lnTo>
                    <a:pt x="147" y="565"/>
                  </a:lnTo>
                  <a:lnTo>
                    <a:pt x="147" y="563"/>
                  </a:lnTo>
                  <a:lnTo>
                    <a:pt x="147" y="565"/>
                  </a:lnTo>
                  <a:lnTo>
                    <a:pt x="144" y="565"/>
                  </a:lnTo>
                  <a:lnTo>
                    <a:pt x="144" y="563"/>
                  </a:lnTo>
                  <a:lnTo>
                    <a:pt x="144" y="565"/>
                  </a:lnTo>
                  <a:lnTo>
                    <a:pt x="142" y="565"/>
                  </a:lnTo>
                  <a:lnTo>
                    <a:pt x="144" y="565"/>
                  </a:lnTo>
                  <a:lnTo>
                    <a:pt x="142" y="565"/>
                  </a:lnTo>
                  <a:lnTo>
                    <a:pt x="140" y="565"/>
                  </a:lnTo>
                  <a:lnTo>
                    <a:pt x="142" y="565"/>
                  </a:lnTo>
                  <a:lnTo>
                    <a:pt x="140" y="565"/>
                  </a:lnTo>
                  <a:lnTo>
                    <a:pt x="142" y="565"/>
                  </a:lnTo>
                  <a:lnTo>
                    <a:pt x="140" y="565"/>
                  </a:lnTo>
                  <a:lnTo>
                    <a:pt x="142" y="565"/>
                  </a:lnTo>
                  <a:lnTo>
                    <a:pt x="140" y="565"/>
                  </a:lnTo>
                  <a:lnTo>
                    <a:pt x="140" y="567"/>
                  </a:lnTo>
                  <a:lnTo>
                    <a:pt x="142" y="567"/>
                  </a:lnTo>
                  <a:lnTo>
                    <a:pt x="142" y="565"/>
                  </a:lnTo>
                  <a:lnTo>
                    <a:pt x="142" y="567"/>
                  </a:lnTo>
                  <a:lnTo>
                    <a:pt x="142" y="565"/>
                  </a:lnTo>
                  <a:lnTo>
                    <a:pt x="142" y="567"/>
                  </a:lnTo>
                  <a:lnTo>
                    <a:pt x="142" y="565"/>
                  </a:lnTo>
                  <a:lnTo>
                    <a:pt x="144" y="565"/>
                  </a:lnTo>
                  <a:lnTo>
                    <a:pt x="144" y="567"/>
                  </a:lnTo>
                  <a:lnTo>
                    <a:pt x="142" y="567"/>
                  </a:lnTo>
                  <a:lnTo>
                    <a:pt x="144" y="567"/>
                  </a:lnTo>
                  <a:lnTo>
                    <a:pt x="142" y="567"/>
                  </a:lnTo>
                  <a:lnTo>
                    <a:pt x="144" y="567"/>
                  </a:lnTo>
                  <a:lnTo>
                    <a:pt x="142" y="567"/>
                  </a:lnTo>
                  <a:lnTo>
                    <a:pt x="142" y="570"/>
                  </a:lnTo>
                  <a:lnTo>
                    <a:pt x="142" y="567"/>
                  </a:lnTo>
                  <a:lnTo>
                    <a:pt x="142" y="570"/>
                  </a:lnTo>
                  <a:lnTo>
                    <a:pt x="142" y="567"/>
                  </a:lnTo>
                  <a:lnTo>
                    <a:pt x="140" y="567"/>
                  </a:lnTo>
                  <a:lnTo>
                    <a:pt x="140" y="570"/>
                  </a:lnTo>
                  <a:lnTo>
                    <a:pt x="137" y="570"/>
                  </a:lnTo>
                  <a:lnTo>
                    <a:pt x="140" y="570"/>
                  </a:lnTo>
                  <a:lnTo>
                    <a:pt x="137" y="567"/>
                  </a:lnTo>
                  <a:lnTo>
                    <a:pt x="140" y="567"/>
                  </a:lnTo>
                  <a:lnTo>
                    <a:pt x="140" y="565"/>
                  </a:lnTo>
                  <a:lnTo>
                    <a:pt x="140" y="567"/>
                  </a:lnTo>
                  <a:lnTo>
                    <a:pt x="137" y="567"/>
                  </a:lnTo>
                  <a:lnTo>
                    <a:pt x="140" y="567"/>
                  </a:lnTo>
                  <a:lnTo>
                    <a:pt x="137" y="567"/>
                  </a:lnTo>
                  <a:lnTo>
                    <a:pt x="135" y="567"/>
                  </a:lnTo>
                  <a:lnTo>
                    <a:pt x="137" y="567"/>
                  </a:lnTo>
                  <a:lnTo>
                    <a:pt x="135" y="567"/>
                  </a:lnTo>
                  <a:lnTo>
                    <a:pt x="137" y="567"/>
                  </a:lnTo>
                  <a:lnTo>
                    <a:pt x="135" y="567"/>
                  </a:lnTo>
                  <a:lnTo>
                    <a:pt x="137" y="567"/>
                  </a:lnTo>
                  <a:lnTo>
                    <a:pt x="135" y="567"/>
                  </a:lnTo>
                  <a:lnTo>
                    <a:pt x="135" y="570"/>
                  </a:lnTo>
                  <a:lnTo>
                    <a:pt x="135" y="567"/>
                  </a:lnTo>
                  <a:lnTo>
                    <a:pt x="135" y="570"/>
                  </a:lnTo>
                  <a:lnTo>
                    <a:pt x="135" y="567"/>
                  </a:lnTo>
                  <a:lnTo>
                    <a:pt x="135" y="570"/>
                  </a:lnTo>
                  <a:lnTo>
                    <a:pt x="132" y="570"/>
                  </a:lnTo>
                  <a:lnTo>
                    <a:pt x="130" y="570"/>
                  </a:lnTo>
                  <a:lnTo>
                    <a:pt x="128" y="570"/>
                  </a:lnTo>
                  <a:lnTo>
                    <a:pt x="125" y="570"/>
                  </a:lnTo>
                  <a:lnTo>
                    <a:pt x="123" y="570"/>
                  </a:lnTo>
                  <a:lnTo>
                    <a:pt x="123" y="567"/>
                  </a:lnTo>
                  <a:lnTo>
                    <a:pt x="125" y="567"/>
                  </a:lnTo>
                  <a:lnTo>
                    <a:pt x="125" y="570"/>
                  </a:lnTo>
                  <a:lnTo>
                    <a:pt x="125" y="567"/>
                  </a:lnTo>
                  <a:lnTo>
                    <a:pt x="128" y="567"/>
                  </a:lnTo>
                  <a:lnTo>
                    <a:pt x="128" y="570"/>
                  </a:lnTo>
                  <a:lnTo>
                    <a:pt x="128" y="567"/>
                  </a:lnTo>
                  <a:lnTo>
                    <a:pt x="125" y="567"/>
                  </a:lnTo>
                  <a:lnTo>
                    <a:pt x="128" y="567"/>
                  </a:lnTo>
                  <a:lnTo>
                    <a:pt x="130" y="567"/>
                  </a:lnTo>
                  <a:lnTo>
                    <a:pt x="130" y="565"/>
                  </a:lnTo>
                  <a:lnTo>
                    <a:pt x="130" y="567"/>
                  </a:lnTo>
                  <a:lnTo>
                    <a:pt x="130" y="565"/>
                  </a:lnTo>
                  <a:lnTo>
                    <a:pt x="130" y="567"/>
                  </a:lnTo>
                  <a:lnTo>
                    <a:pt x="128" y="567"/>
                  </a:lnTo>
                  <a:lnTo>
                    <a:pt x="125" y="567"/>
                  </a:lnTo>
                  <a:lnTo>
                    <a:pt x="128" y="567"/>
                  </a:lnTo>
                  <a:lnTo>
                    <a:pt x="125" y="567"/>
                  </a:lnTo>
                  <a:lnTo>
                    <a:pt x="125" y="565"/>
                  </a:lnTo>
                  <a:lnTo>
                    <a:pt x="125" y="567"/>
                  </a:lnTo>
                  <a:lnTo>
                    <a:pt x="125" y="565"/>
                  </a:lnTo>
                  <a:lnTo>
                    <a:pt x="128" y="565"/>
                  </a:lnTo>
                  <a:lnTo>
                    <a:pt x="128" y="563"/>
                  </a:lnTo>
                  <a:lnTo>
                    <a:pt x="130" y="563"/>
                  </a:lnTo>
                  <a:lnTo>
                    <a:pt x="130" y="560"/>
                  </a:lnTo>
                  <a:lnTo>
                    <a:pt x="128" y="560"/>
                  </a:lnTo>
                  <a:lnTo>
                    <a:pt x="128" y="563"/>
                  </a:lnTo>
                  <a:lnTo>
                    <a:pt x="128" y="565"/>
                  </a:lnTo>
                  <a:lnTo>
                    <a:pt x="125" y="565"/>
                  </a:lnTo>
                  <a:lnTo>
                    <a:pt x="128" y="565"/>
                  </a:lnTo>
                  <a:lnTo>
                    <a:pt x="125" y="565"/>
                  </a:lnTo>
                  <a:lnTo>
                    <a:pt x="125" y="567"/>
                  </a:lnTo>
                  <a:lnTo>
                    <a:pt x="123" y="567"/>
                  </a:lnTo>
                  <a:lnTo>
                    <a:pt x="125" y="567"/>
                  </a:lnTo>
                  <a:lnTo>
                    <a:pt x="123" y="567"/>
                  </a:lnTo>
                  <a:lnTo>
                    <a:pt x="123" y="570"/>
                  </a:lnTo>
                  <a:lnTo>
                    <a:pt x="121" y="570"/>
                  </a:lnTo>
                  <a:lnTo>
                    <a:pt x="118" y="570"/>
                  </a:lnTo>
                  <a:lnTo>
                    <a:pt x="118" y="572"/>
                  </a:lnTo>
                  <a:lnTo>
                    <a:pt x="121" y="572"/>
                  </a:lnTo>
                  <a:lnTo>
                    <a:pt x="118" y="572"/>
                  </a:lnTo>
                  <a:lnTo>
                    <a:pt x="121" y="572"/>
                  </a:lnTo>
                  <a:lnTo>
                    <a:pt x="118" y="572"/>
                  </a:lnTo>
                  <a:lnTo>
                    <a:pt x="118" y="575"/>
                  </a:lnTo>
                  <a:lnTo>
                    <a:pt x="121" y="575"/>
                  </a:lnTo>
                  <a:lnTo>
                    <a:pt x="118" y="575"/>
                  </a:lnTo>
                  <a:lnTo>
                    <a:pt x="116" y="575"/>
                  </a:lnTo>
                  <a:lnTo>
                    <a:pt x="113" y="575"/>
                  </a:lnTo>
                  <a:lnTo>
                    <a:pt x="116" y="575"/>
                  </a:lnTo>
                  <a:lnTo>
                    <a:pt x="113" y="575"/>
                  </a:lnTo>
                  <a:lnTo>
                    <a:pt x="111" y="575"/>
                  </a:lnTo>
                  <a:lnTo>
                    <a:pt x="109" y="575"/>
                  </a:lnTo>
                  <a:lnTo>
                    <a:pt x="111" y="575"/>
                  </a:lnTo>
                  <a:lnTo>
                    <a:pt x="111" y="572"/>
                  </a:lnTo>
                  <a:lnTo>
                    <a:pt x="113" y="572"/>
                  </a:lnTo>
                  <a:lnTo>
                    <a:pt x="116" y="572"/>
                  </a:lnTo>
                  <a:lnTo>
                    <a:pt x="116" y="570"/>
                  </a:lnTo>
                  <a:lnTo>
                    <a:pt x="118" y="570"/>
                  </a:lnTo>
                  <a:lnTo>
                    <a:pt x="116" y="570"/>
                  </a:lnTo>
                  <a:lnTo>
                    <a:pt x="118" y="570"/>
                  </a:lnTo>
                  <a:lnTo>
                    <a:pt x="116" y="570"/>
                  </a:lnTo>
                  <a:lnTo>
                    <a:pt x="116" y="567"/>
                  </a:lnTo>
                  <a:lnTo>
                    <a:pt x="118" y="570"/>
                  </a:lnTo>
                  <a:lnTo>
                    <a:pt x="118" y="567"/>
                  </a:lnTo>
                  <a:lnTo>
                    <a:pt x="116" y="567"/>
                  </a:lnTo>
                  <a:lnTo>
                    <a:pt x="116" y="570"/>
                  </a:lnTo>
                  <a:lnTo>
                    <a:pt x="116" y="567"/>
                  </a:lnTo>
                  <a:lnTo>
                    <a:pt x="116" y="570"/>
                  </a:lnTo>
                  <a:lnTo>
                    <a:pt x="113" y="570"/>
                  </a:lnTo>
                  <a:lnTo>
                    <a:pt x="113" y="567"/>
                  </a:lnTo>
                  <a:lnTo>
                    <a:pt x="116" y="567"/>
                  </a:lnTo>
                  <a:lnTo>
                    <a:pt x="113" y="567"/>
                  </a:lnTo>
                  <a:lnTo>
                    <a:pt x="116" y="567"/>
                  </a:lnTo>
                  <a:lnTo>
                    <a:pt x="116" y="565"/>
                  </a:lnTo>
                  <a:lnTo>
                    <a:pt x="118" y="565"/>
                  </a:lnTo>
                  <a:lnTo>
                    <a:pt x="118" y="563"/>
                  </a:lnTo>
                  <a:lnTo>
                    <a:pt x="118" y="565"/>
                  </a:lnTo>
                  <a:lnTo>
                    <a:pt x="118" y="563"/>
                  </a:lnTo>
                  <a:lnTo>
                    <a:pt x="118" y="565"/>
                  </a:lnTo>
                  <a:lnTo>
                    <a:pt x="116" y="565"/>
                  </a:lnTo>
                  <a:lnTo>
                    <a:pt x="113" y="565"/>
                  </a:lnTo>
                  <a:lnTo>
                    <a:pt x="113" y="567"/>
                  </a:lnTo>
                  <a:lnTo>
                    <a:pt x="113" y="565"/>
                  </a:lnTo>
                  <a:lnTo>
                    <a:pt x="113" y="567"/>
                  </a:lnTo>
                  <a:lnTo>
                    <a:pt x="113" y="570"/>
                  </a:lnTo>
                  <a:lnTo>
                    <a:pt x="111" y="570"/>
                  </a:lnTo>
                  <a:lnTo>
                    <a:pt x="111" y="567"/>
                  </a:lnTo>
                  <a:lnTo>
                    <a:pt x="111" y="570"/>
                  </a:lnTo>
                  <a:lnTo>
                    <a:pt x="111" y="567"/>
                  </a:lnTo>
                  <a:lnTo>
                    <a:pt x="111" y="570"/>
                  </a:lnTo>
                  <a:lnTo>
                    <a:pt x="109" y="570"/>
                  </a:lnTo>
                  <a:lnTo>
                    <a:pt x="111" y="570"/>
                  </a:lnTo>
                  <a:lnTo>
                    <a:pt x="109" y="570"/>
                  </a:lnTo>
                  <a:lnTo>
                    <a:pt x="106" y="570"/>
                  </a:lnTo>
                  <a:lnTo>
                    <a:pt x="106" y="567"/>
                  </a:lnTo>
                  <a:lnTo>
                    <a:pt x="106" y="565"/>
                  </a:lnTo>
                  <a:lnTo>
                    <a:pt x="104" y="565"/>
                  </a:lnTo>
                  <a:lnTo>
                    <a:pt x="106" y="565"/>
                  </a:lnTo>
                  <a:lnTo>
                    <a:pt x="106" y="567"/>
                  </a:lnTo>
                  <a:lnTo>
                    <a:pt x="109" y="567"/>
                  </a:lnTo>
                  <a:lnTo>
                    <a:pt x="109" y="565"/>
                  </a:lnTo>
                  <a:lnTo>
                    <a:pt x="111" y="565"/>
                  </a:lnTo>
                  <a:lnTo>
                    <a:pt x="109" y="567"/>
                  </a:lnTo>
                  <a:lnTo>
                    <a:pt x="111" y="567"/>
                  </a:lnTo>
                  <a:lnTo>
                    <a:pt x="109" y="567"/>
                  </a:lnTo>
                  <a:lnTo>
                    <a:pt x="111" y="567"/>
                  </a:lnTo>
                  <a:lnTo>
                    <a:pt x="111" y="565"/>
                  </a:lnTo>
                  <a:lnTo>
                    <a:pt x="111" y="567"/>
                  </a:lnTo>
                  <a:lnTo>
                    <a:pt x="113" y="565"/>
                  </a:lnTo>
                  <a:lnTo>
                    <a:pt x="111" y="565"/>
                  </a:lnTo>
                  <a:lnTo>
                    <a:pt x="111" y="563"/>
                  </a:lnTo>
                  <a:lnTo>
                    <a:pt x="113" y="563"/>
                  </a:lnTo>
                  <a:lnTo>
                    <a:pt x="116" y="563"/>
                  </a:lnTo>
                  <a:lnTo>
                    <a:pt x="116" y="565"/>
                  </a:lnTo>
                  <a:lnTo>
                    <a:pt x="113" y="565"/>
                  </a:lnTo>
                  <a:lnTo>
                    <a:pt x="116" y="565"/>
                  </a:lnTo>
                  <a:lnTo>
                    <a:pt x="116" y="563"/>
                  </a:lnTo>
                  <a:lnTo>
                    <a:pt x="118" y="563"/>
                  </a:lnTo>
                  <a:lnTo>
                    <a:pt x="121" y="563"/>
                  </a:lnTo>
                  <a:lnTo>
                    <a:pt x="118" y="563"/>
                  </a:lnTo>
                  <a:lnTo>
                    <a:pt x="116" y="563"/>
                  </a:lnTo>
                  <a:lnTo>
                    <a:pt x="113" y="563"/>
                  </a:lnTo>
                  <a:lnTo>
                    <a:pt x="111" y="563"/>
                  </a:lnTo>
                  <a:lnTo>
                    <a:pt x="113" y="563"/>
                  </a:lnTo>
                  <a:lnTo>
                    <a:pt x="111" y="563"/>
                  </a:lnTo>
                  <a:lnTo>
                    <a:pt x="111" y="560"/>
                  </a:lnTo>
                  <a:lnTo>
                    <a:pt x="113" y="560"/>
                  </a:lnTo>
                  <a:lnTo>
                    <a:pt x="111" y="560"/>
                  </a:lnTo>
                  <a:lnTo>
                    <a:pt x="113" y="560"/>
                  </a:lnTo>
                  <a:lnTo>
                    <a:pt x="113" y="558"/>
                  </a:lnTo>
                  <a:lnTo>
                    <a:pt x="111" y="558"/>
                  </a:lnTo>
                  <a:lnTo>
                    <a:pt x="111" y="560"/>
                  </a:lnTo>
                  <a:lnTo>
                    <a:pt x="111" y="558"/>
                  </a:lnTo>
                  <a:lnTo>
                    <a:pt x="109" y="558"/>
                  </a:lnTo>
                  <a:lnTo>
                    <a:pt x="106" y="558"/>
                  </a:lnTo>
                  <a:lnTo>
                    <a:pt x="106" y="556"/>
                  </a:lnTo>
                  <a:lnTo>
                    <a:pt x="109" y="556"/>
                  </a:lnTo>
                  <a:lnTo>
                    <a:pt x="106" y="556"/>
                  </a:lnTo>
                  <a:lnTo>
                    <a:pt x="109" y="553"/>
                  </a:lnTo>
                  <a:lnTo>
                    <a:pt x="109" y="551"/>
                  </a:lnTo>
                  <a:lnTo>
                    <a:pt x="111" y="551"/>
                  </a:lnTo>
                  <a:lnTo>
                    <a:pt x="111" y="548"/>
                  </a:lnTo>
                  <a:lnTo>
                    <a:pt x="113" y="548"/>
                  </a:lnTo>
                  <a:lnTo>
                    <a:pt x="113" y="546"/>
                  </a:lnTo>
                  <a:lnTo>
                    <a:pt x="113" y="548"/>
                  </a:lnTo>
                  <a:lnTo>
                    <a:pt x="111" y="548"/>
                  </a:lnTo>
                  <a:lnTo>
                    <a:pt x="109" y="548"/>
                  </a:lnTo>
                  <a:lnTo>
                    <a:pt x="106" y="548"/>
                  </a:lnTo>
                  <a:lnTo>
                    <a:pt x="106" y="551"/>
                  </a:lnTo>
                  <a:lnTo>
                    <a:pt x="104" y="551"/>
                  </a:lnTo>
                  <a:lnTo>
                    <a:pt x="104" y="553"/>
                  </a:lnTo>
                  <a:lnTo>
                    <a:pt x="104" y="551"/>
                  </a:lnTo>
                  <a:lnTo>
                    <a:pt x="104" y="553"/>
                  </a:lnTo>
                  <a:lnTo>
                    <a:pt x="102" y="553"/>
                  </a:lnTo>
                  <a:lnTo>
                    <a:pt x="99" y="553"/>
                  </a:lnTo>
                  <a:lnTo>
                    <a:pt x="97" y="553"/>
                  </a:lnTo>
                  <a:lnTo>
                    <a:pt x="94" y="553"/>
                  </a:lnTo>
                  <a:lnTo>
                    <a:pt x="97" y="553"/>
                  </a:lnTo>
                  <a:lnTo>
                    <a:pt x="99" y="553"/>
                  </a:lnTo>
                  <a:lnTo>
                    <a:pt x="97" y="553"/>
                  </a:lnTo>
                  <a:lnTo>
                    <a:pt x="97" y="551"/>
                  </a:lnTo>
                  <a:lnTo>
                    <a:pt x="97" y="553"/>
                  </a:lnTo>
                  <a:lnTo>
                    <a:pt x="97" y="551"/>
                  </a:lnTo>
                  <a:lnTo>
                    <a:pt x="99" y="551"/>
                  </a:lnTo>
                  <a:lnTo>
                    <a:pt x="97" y="551"/>
                  </a:lnTo>
                  <a:lnTo>
                    <a:pt x="94" y="551"/>
                  </a:lnTo>
                  <a:lnTo>
                    <a:pt x="94" y="553"/>
                  </a:lnTo>
                  <a:lnTo>
                    <a:pt x="94" y="551"/>
                  </a:lnTo>
                  <a:lnTo>
                    <a:pt x="94" y="548"/>
                  </a:lnTo>
                  <a:lnTo>
                    <a:pt x="97" y="548"/>
                  </a:lnTo>
                  <a:lnTo>
                    <a:pt x="94" y="548"/>
                  </a:lnTo>
                  <a:lnTo>
                    <a:pt x="97" y="548"/>
                  </a:lnTo>
                  <a:lnTo>
                    <a:pt x="97" y="546"/>
                  </a:lnTo>
                  <a:lnTo>
                    <a:pt x="99" y="546"/>
                  </a:lnTo>
                  <a:lnTo>
                    <a:pt x="99" y="544"/>
                  </a:lnTo>
                  <a:lnTo>
                    <a:pt x="99" y="546"/>
                  </a:lnTo>
                  <a:lnTo>
                    <a:pt x="97" y="546"/>
                  </a:lnTo>
                  <a:lnTo>
                    <a:pt x="94" y="546"/>
                  </a:lnTo>
                  <a:lnTo>
                    <a:pt x="94" y="544"/>
                  </a:lnTo>
                  <a:lnTo>
                    <a:pt x="92" y="544"/>
                  </a:lnTo>
                  <a:lnTo>
                    <a:pt x="90" y="544"/>
                  </a:lnTo>
                  <a:lnTo>
                    <a:pt x="87" y="546"/>
                  </a:lnTo>
                  <a:lnTo>
                    <a:pt x="87" y="544"/>
                  </a:lnTo>
                  <a:lnTo>
                    <a:pt x="85" y="541"/>
                  </a:lnTo>
                  <a:lnTo>
                    <a:pt x="87" y="541"/>
                  </a:lnTo>
                  <a:lnTo>
                    <a:pt x="85" y="541"/>
                  </a:lnTo>
                  <a:lnTo>
                    <a:pt x="83" y="541"/>
                  </a:lnTo>
                  <a:lnTo>
                    <a:pt x="80" y="541"/>
                  </a:lnTo>
                  <a:lnTo>
                    <a:pt x="78" y="541"/>
                  </a:lnTo>
                  <a:lnTo>
                    <a:pt x="80" y="541"/>
                  </a:lnTo>
                  <a:lnTo>
                    <a:pt x="80" y="539"/>
                  </a:lnTo>
                  <a:lnTo>
                    <a:pt x="78" y="539"/>
                  </a:lnTo>
                  <a:lnTo>
                    <a:pt x="80" y="539"/>
                  </a:lnTo>
                  <a:lnTo>
                    <a:pt x="78" y="539"/>
                  </a:lnTo>
                  <a:lnTo>
                    <a:pt x="78" y="537"/>
                  </a:lnTo>
                  <a:lnTo>
                    <a:pt x="76" y="537"/>
                  </a:lnTo>
                  <a:lnTo>
                    <a:pt x="78" y="537"/>
                  </a:lnTo>
                  <a:lnTo>
                    <a:pt x="76" y="537"/>
                  </a:lnTo>
                  <a:lnTo>
                    <a:pt x="73" y="537"/>
                  </a:lnTo>
                  <a:lnTo>
                    <a:pt x="76" y="537"/>
                  </a:lnTo>
                  <a:lnTo>
                    <a:pt x="73" y="539"/>
                  </a:lnTo>
                  <a:lnTo>
                    <a:pt x="76" y="539"/>
                  </a:lnTo>
                  <a:lnTo>
                    <a:pt x="73" y="539"/>
                  </a:lnTo>
                  <a:lnTo>
                    <a:pt x="71" y="539"/>
                  </a:lnTo>
                  <a:lnTo>
                    <a:pt x="71" y="541"/>
                  </a:lnTo>
                  <a:lnTo>
                    <a:pt x="71" y="539"/>
                  </a:lnTo>
                  <a:lnTo>
                    <a:pt x="71" y="537"/>
                  </a:lnTo>
                  <a:lnTo>
                    <a:pt x="73" y="537"/>
                  </a:lnTo>
                  <a:lnTo>
                    <a:pt x="73" y="534"/>
                  </a:lnTo>
                  <a:lnTo>
                    <a:pt x="73" y="532"/>
                  </a:lnTo>
                  <a:lnTo>
                    <a:pt x="71" y="532"/>
                  </a:lnTo>
                  <a:lnTo>
                    <a:pt x="71" y="534"/>
                  </a:lnTo>
                  <a:lnTo>
                    <a:pt x="68" y="534"/>
                  </a:lnTo>
                  <a:lnTo>
                    <a:pt x="68" y="532"/>
                  </a:lnTo>
                  <a:lnTo>
                    <a:pt x="68" y="534"/>
                  </a:lnTo>
                  <a:lnTo>
                    <a:pt x="68" y="537"/>
                  </a:lnTo>
                  <a:lnTo>
                    <a:pt x="66" y="539"/>
                  </a:lnTo>
                  <a:lnTo>
                    <a:pt x="64" y="539"/>
                  </a:lnTo>
                  <a:lnTo>
                    <a:pt x="64" y="537"/>
                  </a:lnTo>
                  <a:lnTo>
                    <a:pt x="66" y="537"/>
                  </a:lnTo>
                  <a:lnTo>
                    <a:pt x="64" y="537"/>
                  </a:lnTo>
                  <a:lnTo>
                    <a:pt x="66" y="539"/>
                  </a:lnTo>
                  <a:lnTo>
                    <a:pt x="66" y="537"/>
                  </a:lnTo>
                  <a:lnTo>
                    <a:pt x="64" y="537"/>
                  </a:lnTo>
                  <a:lnTo>
                    <a:pt x="64" y="534"/>
                  </a:lnTo>
                  <a:lnTo>
                    <a:pt x="61" y="534"/>
                  </a:lnTo>
                  <a:lnTo>
                    <a:pt x="64" y="534"/>
                  </a:lnTo>
                  <a:lnTo>
                    <a:pt x="61" y="534"/>
                  </a:lnTo>
                  <a:lnTo>
                    <a:pt x="64" y="534"/>
                  </a:lnTo>
                  <a:lnTo>
                    <a:pt x="61" y="534"/>
                  </a:lnTo>
                  <a:lnTo>
                    <a:pt x="59" y="534"/>
                  </a:lnTo>
                  <a:lnTo>
                    <a:pt x="59" y="532"/>
                  </a:lnTo>
                  <a:lnTo>
                    <a:pt x="59" y="534"/>
                  </a:lnTo>
                  <a:lnTo>
                    <a:pt x="59" y="532"/>
                  </a:lnTo>
                  <a:lnTo>
                    <a:pt x="61" y="532"/>
                  </a:lnTo>
                  <a:lnTo>
                    <a:pt x="59" y="532"/>
                  </a:lnTo>
                  <a:lnTo>
                    <a:pt x="61" y="532"/>
                  </a:lnTo>
                  <a:lnTo>
                    <a:pt x="59" y="532"/>
                  </a:lnTo>
                  <a:lnTo>
                    <a:pt x="59" y="529"/>
                  </a:lnTo>
                  <a:lnTo>
                    <a:pt x="57" y="529"/>
                  </a:lnTo>
                  <a:lnTo>
                    <a:pt x="59" y="529"/>
                  </a:lnTo>
                  <a:lnTo>
                    <a:pt x="57" y="529"/>
                  </a:lnTo>
                  <a:lnTo>
                    <a:pt x="57" y="527"/>
                  </a:lnTo>
                  <a:lnTo>
                    <a:pt x="57" y="529"/>
                  </a:lnTo>
                  <a:lnTo>
                    <a:pt x="57" y="527"/>
                  </a:lnTo>
                  <a:lnTo>
                    <a:pt x="57" y="529"/>
                  </a:lnTo>
                  <a:lnTo>
                    <a:pt x="57" y="527"/>
                  </a:lnTo>
                  <a:lnTo>
                    <a:pt x="59" y="527"/>
                  </a:lnTo>
                  <a:lnTo>
                    <a:pt x="57" y="527"/>
                  </a:lnTo>
                  <a:lnTo>
                    <a:pt x="59" y="527"/>
                  </a:lnTo>
                  <a:lnTo>
                    <a:pt x="57" y="527"/>
                  </a:lnTo>
                  <a:lnTo>
                    <a:pt x="59" y="527"/>
                  </a:lnTo>
                  <a:lnTo>
                    <a:pt x="59" y="525"/>
                  </a:lnTo>
                  <a:lnTo>
                    <a:pt x="59" y="527"/>
                  </a:lnTo>
                  <a:lnTo>
                    <a:pt x="59" y="525"/>
                  </a:lnTo>
                  <a:lnTo>
                    <a:pt x="59" y="527"/>
                  </a:lnTo>
                  <a:lnTo>
                    <a:pt x="57" y="527"/>
                  </a:lnTo>
                  <a:lnTo>
                    <a:pt x="59" y="527"/>
                  </a:lnTo>
                  <a:lnTo>
                    <a:pt x="61" y="527"/>
                  </a:lnTo>
                  <a:lnTo>
                    <a:pt x="59" y="527"/>
                  </a:lnTo>
                  <a:lnTo>
                    <a:pt x="59" y="525"/>
                  </a:lnTo>
                  <a:lnTo>
                    <a:pt x="59" y="527"/>
                  </a:lnTo>
                  <a:lnTo>
                    <a:pt x="61" y="525"/>
                  </a:lnTo>
                  <a:lnTo>
                    <a:pt x="59" y="525"/>
                  </a:lnTo>
                  <a:lnTo>
                    <a:pt x="59" y="522"/>
                  </a:lnTo>
                  <a:lnTo>
                    <a:pt x="59" y="520"/>
                  </a:lnTo>
                  <a:lnTo>
                    <a:pt x="59" y="522"/>
                  </a:lnTo>
                  <a:lnTo>
                    <a:pt x="57" y="522"/>
                  </a:lnTo>
                  <a:lnTo>
                    <a:pt x="57" y="520"/>
                  </a:lnTo>
                  <a:lnTo>
                    <a:pt x="54" y="520"/>
                  </a:lnTo>
                  <a:lnTo>
                    <a:pt x="57" y="520"/>
                  </a:lnTo>
                  <a:lnTo>
                    <a:pt x="57" y="518"/>
                  </a:lnTo>
                  <a:lnTo>
                    <a:pt x="59" y="518"/>
                  </a:lnTo>
                  <a:lnTo>
                    <a:pt x="57" y="518"/>
                  </a:lnTo>
                  <a:lnTo>
                    <a:pt x="59" y="518"/>
                  </a:lnTo>
                  <a:lnTo>
                    <a:pt x="57" y="518"/>
                  </a:lnTo>
                  <a:lnTo>
                    <a:pt x="59" y="518"/>
                  </a:lnTo>
                  <a:lnTo>
                    <a:pt x="57" y="518"/>
                  </a:lnTo>
                  <a:lnTo>
                    <a:pt x="54" y="518"/>
                  </a:lnTo>
                  <a:lnTo>
                    <a:pt x="57" y="518"/>
                  </a:lnTo>
                  <a:lnTo>
                    <a:pt x="54" y="518"/>
                  </a:lnTo>
                  <a:lnTo>
                    <a:pt x="57" y="518"/>
                  </a:lnTo>
                  <a:lnTo>
                    <a:pt x="54" y="518"/>
                  </a:lnTo>
                  <a:lnTo>
                    <a:pt x="52" y="518"/>
                  </a:lnTo>
                  <a:lnTo>
                    <a:pt x="54" y="518"/>
                  </a:lnTo>
                  <a:lnTo>
                    <a:pt x="52" y="518"/>
                  </a:lnTo>
                  <a:lnTo>
                    <a:pt x="54" y="518"/>
                  </a:lnTo>
                  <a:lnTo>
                    <a:pt x="54" y="515"/>
                  </a:lnTo>
                  <a:lnTo>
                    <a:pt x="54" y="518"/>
                  </a:lnTo>
                  <a:lnTo>
                    <a:pt x="54" y="515"/>
                  </a:lnTo>
                  <a:lnTo>
                    <a:pt x="57" y="515"/>
                  </a:lnTo>
                  <a:lnTo>
                    <a:pt x="54" y="515"/>
                  </a:lnTo>
                  <a:lnTo>
                    <a:pt x="57" y="515"/>
                  </a:lnTo>
                  <a:lnTo>
                    <a:pt x="54" y="515"/>
                  </a:lnTo>
                  <a:lnTo>
                    <a:pt x="57" y="515"/>
                  </a:lnTo>
                  <a:lnTo>
                    <a:pt x="54" y="513"/>
                  </a:lnTo>
                  <a:lnTo>
                    <a:pt x="54" y="510"/>
                  </a:lnTo>
                  <a:lnTo>
                    <a:pt x="54" y="513"/>
                  </a:lnTo>
                  <a:lnTo>
                    <a:pt x="57" y="513"/>
                  </a:lnTo>
                  <a:lnTo>
                    <a:pt x="57" y="515"/>
                  </a:lnTo>
                  <a:lnTo>
                    <a:pt x="59" y="515"/>
                  </a:lnTo>
                  <a:lnTo>
                    <a:pt x="57" y="515"/>
                  </a:lnTo>
                  <a:lnTo>
                    <a:pt x="59" y="515"/>
                  </a:lnTo>
                  <a:lnTo>
                    <a:pt x="59" y="518"/>
                  </a:lnTo>
                  <a:lnTo>
                    <a:pt x="61" y="518"/>
                  </a:lnTo>
                  <a:lnTo>
                    <a:pt x="61" y="515"/>
                  </a:lnTo>
                  <a:lnTo>
                    <a:pt x="59" y="515"/>
                  </a:lnTo>
                  <a:lnTo>
                    <a:pt x="59" y="513"/>
                  </a:lnTo>
                  <a:lnTo>
                    <a:pt x="57" y="513"/>
                  </a:lnTo>
                  <a:lnTo>
                    <a:pt x="57" y="510"/>
                  </a:lnTo>
                  <a:lnTo>
                    <a:pt x="59" y="510"/>
                  </a:lnTo>
                  <a:lnTo>
                    <a:pt x="57" y="510"/>
                  </a:lnTo>
                  <a:lnTo>
                    <a:pt x="57" y="508"/>
                  </a:lnTo>
                  <a:lnTo>
                    <a:pt x="57" y="510"/>
                  </a:lnTo>
                  <a:lnTo>
                    <a:pt x="57" y="508"/>
                  </a:lnTo>
                  <a:lnTo>
                    <a:pt x="54" y="508"/>
                  </a:lnTo>
                  <a:lnTo>
                    <a:pt x="57" y="508"/>
                  </a:lnTo>
                  <a:lnTo>
                    <a:pt x="59" y="508"/>
                  </a:lnTo>
                  <a:lnTo>
                    <a:pt x="59" y="510"/>
                  </a:lnTo>
                  <a:lnTo>
                    <a:pt x="59" y="508"/>
                  </a:lnTo>
                  <a:lnTo>
                    <a:pt x="57" y="508"/>
                  </a:lnTo>
                  <a:lnTo>
                    <a:pt x="59" y="508"/>
                  </a:lnTo>
                  <a:lnTo>
                    <a:pt x="57" y="508"/>
                  </a:lnTo>
                  <a:lnTo>
                    <a:pt x="59" y="508"/>
                  </a:lnTo>
                  <a:lnTo>
                    <a:pt x="61" y="508"/>
                  </a:lnTo>
                  <a:lnTo>
                    <a:pt x="61" y="506"/>
                  </a:lnTo>
                  <a:lnTo>
                    <a:pt x="59" y="506"/>
                  </a:lnTo>
                  <a:lnTo>
                    <a:pt x="61" y="506"/>
                  </a:lnTo>
                  <a:lnTo>
                    <a:pt x="59" y="506"/>
                  </a:lnTo>
                  <a:lnTo>
                    <a:pt x="61" y="506"/>
                  </a:lnTo>
                  <a:lnTo>
                    <a:pt x="59" y="506"/>
                  </a:lnTo>
                  <a:lnTo>
                    <a:pt x="61" y="506"/>
                  </a:lnTo>
                  <a:lnTo>
                    <a:pt x="61" y="503"/>
                  </a:lnTo>
                  <a:lnTo>
                    <a:pt x="59" y="503"/>
                  </a:lnTo>
                  <a:lnTo>
                    <a:pt x="61" y="503"/>
                  </a:lnTo>
                  <a:lnTo>
                    <a:pt x="59" y="501"/>
                  </a:lnTo>
                  <a:lnTo>
                    <a:pt x="61" y="501"/>
                  </a:lnTo>
                  <a:lnTo>
                    <a:pt x="59" y="501"/>
                  </a:lnTo>
                  <a:lnTo>
                    <a:pt x="61" y="501"/>
                  </a:lnTo>
                  <a:lnTo>
                    <a:pt x="64" y="501"/>
                  </a:lnTo>
                  <a:lnTo>
                    <a:pt x="61" y="501"/>
                  </a:lnTo>
                  <a:lnTo>
                    <a:pt x="64" y="501"/>
                  </a:lnTo>
                  <a:lnTo>
                    <a:pt x="61" y="501"/>
                  </a:lnTo>
                  <a:lnTo>
                    <a:pt x="61" y="499"/>
                  </a:lnTo>
                  <a:lnTo>
                    <a:pt x="59" y="499"/>
                  </a:lnTo>
                  <a:lnTo>
                    <a:pt x="61" y="499"/>
                  </a:lnTo>
                  <a:lnTo>
                    <a:pt x="64" y="499"/>
                  </a:lnTo>
                  <a:lnTo>
                    <a:pt x="64" y="501"/>
                  </a:lnTo>
                  <a:lnTo>
                    <a:pt x="64" y="499"/>
                  </a:lnTo>
                  <a:lnTo>
                    <a:pt x="64" y="501"/>
                  </a:lnTo>
                  <a:lnTo>
                    <a:pt x="66" y="501"/>
                  </a:lnTo>
                  <a:lnTo>
                    <a:pt x="64" y="501"/>
                  </a:lnTo>
                  <a:lnTo>
                    <a:pt x="66" y="501"/>
                  </a:lnTo>
                  <a:lnTo>
                    <a:pt x="66" y="499"/>
                  </a:lnTo>
                  <a:lnTo>
                    <a:pt x="64" y="499"/>
                  </a:lnTo>
                  <a:lnTo>
                    <a:pt x="61" y="499"/>
                  </a:lnTo>
                  <a:lnTo>
                    <a:pt x="61" y="496"/>
                  </a:lnTo>
                  <a:lnTo>
                    <a:pt x="64" y="496"/>
                  </a:lnTo>
                  <a:lnTo>
                    <a:pt x="61" y="496"/>
                  </a:lnTo>
                  <a:lnTo>
                    <a:pt x="64" y="496"/>
                  </a:lnTo>
                  <a:lnTo>
                    <a:pt x="61" y="496"/>
                  </a:lnTo>
                  <a:lnTo>
                    <a:pt x="64" y="496"/>
                  </a:lnTo>
                  <a:lnTo>
                    <a:pt x="61" y="496"/>
                  </a:lnTo>
                  <a:lnTo>
                    <a:pt x="64" y="496"/>
                  </a:lnTo>
                  <a:lnTo>
                    <a:pt x="61" y="496"/>
                  </a:lnTo>
                  <a:lnTo>
                    <a:pt x="64" y="496"/>
                  </a:lnTo>
                  <a:lnTo>
                    <a:pt x="64" y="494"/>
                  </a:lnTo>
                  <a:lnTo>
                    <a:pt x="64" y="491"/>
                  </a:lnTo>
                  <a:lnTo>
                    <a:pt x="61" y="491"/>
                  </a:lnTo>
                  <a:lnTo>
                    <a:pt x="64" y="491"/>
                  </a:lnTo>
                  <a:lnTo>
                    <a:pt x="61" y="491"/>
                  </a:lnTo>
                  <a:lnTo>
                    <a:pt x="64" y="491"/>
                  </a:lnTo>
                  <a:lnTo>
                    <a:pt x="64" y="489"/>
                  </a:lnTo>
                  <a:lnTo>
                    <a:pt x="61" y="489"/>
                  </a:lnTo>
                  <a:lnTo>
                    <a:pt x="64" y="489"/>
                  </a:lnTo>
                  <a:lnTo>
                    <a:pt x="66" y="489"/>
                  </a:lnTo>
                  <a:lnTo>
                    <a:pt x="64" y="489"/>
                  </a:lnTo>
                  <a:lnTo>
                    <a:pt x="66" y="489"/>
                  </a:lnTo>
                  <a:lnTo>
                    <a:pt x="64" y="487"/>
                  </a:lnTo>
                  <a:lnTo>
                    <a:pt x="61" y="487"/>
                  </a:lnTo>
                  <a:lnTo>
                    <a:pt x="64" y="487"/>
                  </a:lnTo>
                  <a:lnTo>
                    <a:pt x="61" y="487"/>
                  </a:lnTo>
                  <a:lnTo>
                    <a:pt x="61" y="484"/>
                  </a:lnTo>
                  <a:lnTo>
                    <a:pt x="64" y="484"/>
                  </a:lnTo>
                  <a:lnTo>
                    <a:pt x="66" y="484"/>
                  </a:lnTo>
                  <a:lnTo>
                    <a:pt x="64" y="484"/>
                  </a:lnTo>
                  <a:lnTo>
                    <a:pt x="66" y="484"/>
                  </a:lnTo>
                  <a:lnTo>
                    <a:pt x="64" y="484"/>
                  </a:lnTo>
                  <a:lnTo>
                    <a:pt x="64" y="482"/>
                  </a:lnTo>
                  <a:lnTo>
                    <a:pt x="61" y="482"/>
                  </a:lnTo>
                  <a:lnTo>
                    <a:pt x="61" y="480"/>
                  </a:lnTo>
                  <a:lnTo>
                    <a:pt x="64" y="480"/>
                  </a:lnTo>
                  <a:lnTo>
                    <a:pt x="64" y="482"/>
                  </a:lnTo>
                  <a:lnTo>
                    <a:pt x="66" y="482"/>
                  </a:lnTo>
                  <a:lnTo>
                    <a:pt x="68" y="482"/>
                  </a:lnTo>
                  <a:lnTo>
                    <a:pt x="66" y="482"/>
                  </a:lnTo>
                  <a:lnTo>
                    <a:pt x="68" y="482"/>
                  </a:lnTo>
                  <a:lnTo>
                    <a:pt x="66" y="482"/>
                  </a:lnTo>
                  <a:lnTo>
                    <a:pt x="68" y="482"/>
                  </a:lnTo>
                  <a:lnTo>
                    <a:pt x="68" y="484"/>
                  </a:lnTo>
                  <a:lnTo>
                    <a:pt x="68" y="482"/>
                  </a:lnTo>
                  <a:lnTo>
                    <a:pt x="68" y="484"/>
                  </a:lnTo>
                  <a:lnTo>
                    <a:pt x="71" y="484"/>
                  </a:lnTo>
                  <a:lnTo>
                    <a:pt x="71" y="487"/>
                  </a:lnTo>
                  <a:lnTo>
                    <a:pt x="73" y="487"/>
                  </a:lnTo>
                  <a:lnTo>
                    <a:pt x="76" y="487"/>
                  </a:lnTo>
                  <a:lnTo>
                    <a:pt x="73" y="487"/>
                  </a:lnTo>
                  <a:lnTo>
                    <a:pt x="73" y="489"/>
                  </a:lnTo>
                  <a:lnTo>
                    <a:pt x="76" y="489"/>
                  </a:lnTo>
                  <a:lnTo>
                    <a:pt x="78" y="491"/>
                  </a:lnTo>
                  <a:lnTo>
                    <a:pt x="80" y="491"/>
                  </a:lnTo>
                  <a:lnTo>
                    <a:pt x="80" y="494"/>
                  </a:lnTo>
                  <a:lnTo>
                    <a:pt x="83" y="494"/>
                  </a:lnTo>
                  <a:lnTo>
                    <a:pt x="80" y="494"/>
                  </a:lnTo>
                  <a:lnTo>
                    <a:pt x="80" y="491"/>
                  </a:lnTo>
                  <a:lnTo>
                    <a:pt x="78" y="491"/>
                  </a:lnTo>
                  <a:lnTo>
                    <a:pt x="76" y="489"/>
                  </a:lnTo>
                  <a:lnTo>
                    <a:pt x="73" y="489"/>
                  </a:lnTo>
                  <a:lnTo>
                    <a:pt x="73" y="487"/>
                  </a:lnTo>
                  <a:lnTo>
                    <a:pt x="76" y="487"/>
                  </a:lnTo>
                  <a:lnTo>
                    <a:pt x="73" y="487"/>
                  </a:lnTo>
                  <a:lnTo>
                    <a:pt x="73" y="484"/>
                  </a:lnTo>
                  <a:lnTo>
                    <a:pt x="73" y="487"/>
                  </a:lnTo>
                  <a:lnTo>
                    <a:pt x="71" y="487"/>
                  </a:lnTo>
                  <a:lnTo>
                    <a:pt x="71" y="484"/>
                  </a:lnTo>
                  <a:lnTo>
                    <a:pt x="68" y="482"/>
                  </a:lnTo>
                  <a:lnTo>
                    <a:pt x="66" y="482"/>
                  </a:lnTo>
                  <a:lnTo>
                    <a:pt x="68" y="482"/>
                  </a:lnTo>
                  <a:lnTo>
                    <a:pt x="66" y="480"/>
                  </a:lnTo>
                  <a:lnTo>
                    <a:pt x="66" y="477"/>
                  </a:lnTo>
                  <a:lnTo>
                    <a:pt x="64" y="477"/>
                  </a:lnTo>
                  <a:lnTo>
                    <a:pt x="64" y="475"/>
                  </a:lnTo>
                  <a:lnTo>
                    <a:pt x="64" y="472"/>
                  </a:lnTo>
                  <a:lnTo>
                    <a:pt x="61" y="472"/>
                  </a:lnTo>
                  <a:lnTo>
                    <a:pt x="64" y="472"/>
                  </a:lnTo>
                  <a:lnTo>
                    <a:pt x="64" y="475"/>
                  </a:lnTo>
                  <a:lnTo>
                    <a:pt x="64" y="472"/>
                  </a:lnTo>
                  <a:lnTo>
                    <a:pt x="66" y="472"/>
                  </a:lnTo>
                  <a:lnTo>
                    <a:pt x="66" y="475"/>
                  </a:lnTo>
                  <a:lnTo>
                    <a:pt x="66" y="472"/>
                  </a:lnTo>
                  <a:lnTo>
                    <a:pt x="64" y="472"/>
                  </a:lnTo>
                  <a:lnTo>
                    <a:pt x="64" y="470"/>
                  </a:lnTo>
                  <a:lnTo>
                    <a:pt x="61" y="470"/>
                  </a:lnTo>
                  <a:lnTo>
                    <a:pt x="64" y="472"/>
                  </a:lnTo>
                  <a:lnTo>
                    <a:pt x="64" y="470"/>
                  </a:lnTo>
                  <a:lnTo>
                    <a:pt x="64" y="472"/>
                  </a:lnTo>
                  <a:lnTo>
                    <a:pt x="61" y="472"/>
                  </a:lnTo>
                  <a:lnTo>
                    <a:pt x="64" y="470"/>
                  </a:lnTo>
                  <a:lnTo>
                    <a:pt x="61" y="470"/>
                  </a:lnTo>
                  <a:lnTo>
                    <a:pt x="59" y="468"/>
                  </a:lnTo>
                  <a:lnTo>
                    <a:pt x="59" y="470"/>
                  </a:lnTo>
                  <a:lnTo>
                    <a:pt x="59" y="468"/>
                  </a:lnTo>
                  <a:lnTo>
                    <a:pt x="61" y="468"/>
                  </a:lnTo>
                  <a:lnTo>
                    <a:pt x="61" y="470"/>
                  </a:lnTo>
                  <a:lnTo>
                    <a:pt x="64" y="470"/>
                  </a:lnTo>
                  <a:lnTo>
                    <a:pt x="61" y="468"/>
                  </a:lnTo>
                  <a:lnTo>
                    <a:pt x="64" y="468"/>
                  </a:lnTo>
                  <a:lnTo>
                    <a:pt x="61" y="468"/>
                  </a:lnTo>
                  <a:lnTo>
                    <a:pt x="64" y="468"/>
                  </a:lnTo>
                  <a:lnTo>
                    <a:pt x="61" y="468"/>
                  </a:lnTo>
                  <a:lnTo>
                    <a:pt x="64" y="468"/>
                  </a:lnTo>
                  <a:lnTo>
                    <a:pt x="61" y="468"/>
                  </a:lnTo>
                  <a:lnTo>
                    <a:pt x="61" y="465"/>
                  </a:lnTo>
                  <a:lnTo>
                    <a:pt x="61" y="468"/>
                  </a:lnTo>
                  <a:lnTo>
                    <a:pt x="61" y="465"/>
                  </a:lnTo>
                  <a:lnTo>
                    <a:pt x="61" y="463"/>
                  </a:lnTo>
                  <a:lnTo>
                    <a:pt x="61" y="465"/>
                  </a:lnTo>
                  <a:lnTo>
                    <a:pt x="61" y="463"/>
                  </a:lnTo>
                  <a:lnTo>
                    <a:pt x="59" y="463"/>
                  </a:lnTo>
                  <a:lnTo>
                    <a:pt x="59" y="461"/>
                  </a:lnTo>
                  <a:lnTo>
                    <a:pt x="57" y="461"/>
                  </a:lnTo>
                  <a:lnTo>
                    <a:pt x="59" y="461"/>
                  </a:lnTo>
                  <a:lnTo>
                    <a:pt x="57" y="461"/>
                  </a:lnTo>
                  <a:lnTo>
                    <a:pt x="59" y="461"/>
                  </a:lnTo>
                  <a:lnTo>
                    <a:pt x="57" y="461"/>
                  </a:lnTo>
                  <a:lnTo>
                    <a:pt x="57" y="463"/>
                  </a:lnTo>
                  <a:lnTo>
                    <a:pt x="59" y="463"/>
                  </a:lnTo>
                  <a:lnTo>
                    <a:pt x="57" y="463"/>
                  </a:lnTo>
                  <a:lnTo>
                    <a:pt x="57" y="461"/>
                  </a:lnTo>
                  <a:lnTo>
                    <a:pt x="57" y="458"/>
                  </a:lnTo>
                  <a:lnTo>
                    <a:pt x="54" y="458"/>
                  </a:lnTo>
                  <a:lnTo>
                    <a:pt x="54" y="456"/>
                  </a:lnTo>
                  <a:lnTo>
                    <a:pt x="57" y="456"/>
                  </a:lnTo>
                  <a:lnTo>
                    <a:pt x="57" y="453"/>
                  </a:lnTo>
                  <a:lnTo>
                    <a:pt x="57" y="451"/>
                  </a:lnTo>
                  <a:lnTo>
                    <a:pt x="57" y="449"/>
                  </a:lnTo>
                  <a:lnTo>
                    <a:pt x="57" y="451"/>
                  </a:lnTo>
                  <a:lnTo>
                    <a:pt x="57" y="449"/>
                  </a:lnTo>
                  <a:lnTo>
                    <a:pt x="57" y="451"/>
                  </a:lnTo>
                  <a:lnTo>
                    <a:pt x="57" y="449"/>
                  </a:lnTo>
                  <a:lnTo>
                    <a:pt x="57" y="451"/>
                  </a:lnTo>
                  <a:lnTo>
                    <a:pt x="57" y="449"/>
                  </a:lnTo>
                  <a:lnTo>
                    <a:pt x="59" y="449"/>
                  </a:lnTo>
                  <a:lnTo>
                    <a:pt x="59" y="446"/>
                  </a:lnTo>
                  <a:lnTo>
                    <a:pt x="59" y="444"/>
                  </a:lnTo>
                  <a:lnTo>
                    <a:pt x="59" y="442"/>
                  </a:lnTo>
                  <a:lnTo>
                    <a:pt x="59" y="444"/>
                  </a:lnTo>
                  <a:lnTo>
                    <a:pt x="57" y="444"/>
                  </a:lnTo>
                  <a:lnTo>
                    <a:pt x="57" y="442"/>
                  </a:lnTo>
                  <a:lnTo>
                    <a:pt x="54" y="442"/>
                  </a:lnTo>
                  <a:lnTo>
                    <a:pt x="57" y="442"/>
                  </a:lnTo>
                  <a:lnTo>
                    <a:pt x="57" y="439"/>
                  </a:lnTo>
                  <a:lnTo>
                    <a:pt x="57" y="442"/>
                  </a:lnTo>
                  <a:lnTo>
                    <a:pt x="57" y="439"/>
                  </a:lnTo>
                  <a:lnTo>
                    <a:pt x="57" y="442"/>
                  </a:lnTo>
                  <a:lnTo>
                    <a:pt x="57" y="439"/>
                  </a:lnTo>
                  <a:lnTo>
                    <a:pt x="57" y="437"/>
                  </a:lnTo>
                  <a:lnTo>
                    <a:pt x="57" y="439"/>
                  </a:lnTo>
                  <a:lnTo>
                    <a:pt x="57" y="437"/>
                  </a:lnTo>
                  <a:lnTo>
                    <a:pt x="57" y="439"/>
                  </a:lnTo>
                  <a:lnTo>
                    <a:pt x="57" y="437"/>
                  </a:lnTo>
                  <a:lnTo>
                    <a:pt x="54" y="437"/>
                  </a:lnTo>
                  <a:lnTo>
                    <a:pt x="57" y="437"/>
                  </a:lnTo>
                  <a:lnTo>
                    <a:pt x="54" y="437"/>
                  </a:lnTo>
                  <a:lnTo>
                    <a:pt x="54" y="439"/>
                  </a:lnTo>
                  <a:lnTo>
                    <a:pt x="52" y="439"/>
                  </a:lnTo>
                  <a:lnTo>
                    <a:pt x="52" y="437"/>
                  </a:lnTo>
                  <a:lnTo>
                    <a:pt x="54" y="437"/>
                  </a:lnTo>
                  <a:lnTo>
                    <a:pt x="52" y="437"/>
                  </a:lnTo>
                  <a:lnTo>
                    <a:pt x="54" y="437"/>
                  </a:lnTo>
                  <a:lnTo>
                    <a:pt x="52" y="437"/>
                  </a:lnTo>
                  <a:lnTo>
                    <a:pt x="54" y="434"/>
                  </a:lnTo>
                  <a:lnTo>
                    <a:pt x="52" y="434"/>
                  </a:lnTo>
                  <a:lnTo>
                    <a:pt x="52" y="432"/>
                  </a:lnTo>
                  <a:lnTo>
                    <a:pt x="49" y="432"/>
                  </a:lnTo>
                  <a:lnTo>
                    <a:pt x="49" y="430"/>
                  </a:lnTo>
                  <a:lnTo>
                    <a:pt x="52" y="430"/>
                  </a:lnTo>
                  <a:lnTo>
                    <a:pt x="49" y="430"/>
                  </a:lnTo>
                  <a:lnTo>
                    <a:pt x="49" y="427"/>
                  </a:lnTo>
                  <a:lnTo>
                    <a:pt x="49" y="430"/>
                  </a:lnTo>
                  <a:lnTo>
                    <a:pt x="52" y="430"/>
                  </a:lnTo>
                  <a:lnTo>
                    <a:pt x="52" y="427"/>
                  </a:lnTo>
                  <a:lnTo>
                    <a:pt x="52" y="430"/>
                  </a:lnTo>
                  <a:lnTo>
                    <a:pt x="52" y="427"/>
                  </a:lnTo>
                  <a:lnTo>
                    <a:pt x="52" y="430"/>
                  </a:lnTo>
                  <a:lnTo>
                    <a:pt x="52" y="427"/>
                  </a:lnTo>
                  <a:lnTo>
                    <a:pt x="49" y="427"/>
                  </a:lnTo>
                  <a:lnTo>
                    <a:pt x="52" y="427"/>
                  </a:lnTo>
                  <a:lnTo>
                    <a:pt x="49" y="427"/>
                  </a:lnTo>
                  <a:lnTo>
                    <a:pt x="52" y="427"/>
                  </a:lnTo>
                  <a:lnTo>
                    <a:pt x="52" y="425"/>
                  </a:lnTo>
                  <a:lnTo>
                    <a:pt x="54" y="425"/>
                  </a:lnTo>
                  <a:lnTo>
                    <a:pt x="52" y="425"/>
                  </a:lnTo>
                  <a:lnTo>
                    <a:pt x="49" y="425"/>
                  </a:lnTo>
                  <a:lnTo>
                    <a:pt x="49" y="423"/>
                  </a:lnTo>
                  <a:lnTo>
                    <a:pt x="49" y="425"/>
                  </a:lnTo>
                  <a:lnTo>
                    <a:pt x="47" y="425"/>
                  </a:lnTo>
                  <a:lnTo>
                    <a:pt x="49" y="425"/>
                  </a:lnTo>
                  <a:lnTo>
                    <a:pt x="47" y="425"/>
                  </a:lnTo>
                  <a:lnTo>
                    <a:pt x="49" y="423"/>
                  </a:lnTo>
                  <a:lnTo>
                    <a:pt x="49" y="420"/>
                  </a:lnTo>
                  <a:lnTo>
                    <a:pt x="49" y="423"/>
                  </a:lnTo>
                  <a:lnTo>
                    <a:pt x="49" y="420"/>
                  </a:lnTo>
                  <a:lnTo>
                    <a:pt x="47" y="420"/>
                  </a:lnTo>
                  <a:lnTo>
                    <a:pt x="49" y="420"/>
                  </a:lnTo>
                  <a:lnTo>
                    <a:pt x="49" y="418"/>
                  </a:lnTo>
                  <a:lnTo>
                    <a:pt x="52" y="418"/>
                  </a:lnTo>
                  <a:lnTo>
                    <a:pt x="49" y="418"/>
                  </a:lnTo>
                  <a:lnTo>
                    <a:pt x="49" y="415"/>
                  </a:lnTo>
                  <a:lnTo>
                    <a:pt x="49" y="413"/>
                  </a:lnTo>
                  <a:lnTo>
                    <a:pt x="52" y="413"/>
                  </a:lnTo>
                  <a:lnTo>
                    <a:pt x="52" y="415"/>
                  </a:lnTo>
                  <a:lnTo>
                    <a:pt x="52" y="413"/>
                  </a:lnTo>
                  <a:lnTo>
                    <a:pt x="54" y="413"/>
                  </a:lnTo>
                  <a:lnTo>
                    <a:pt x="54" y="411"/>
                  </a:lnTo>
                  <a:lnTo>
                    <a:pt x="54" y="408"/>
                  </a:lnTo>
                  <a:lnTo>
                    <a:pt x="54" y="411"/>
                  </a:lnTo>
                  <a:lnTo>
                    <a:pt x="54" y="408"/>
                  </a:lnTo>
                  <a:lnTo>
                    <a:pt x="54" y="411"/>
                  </a:lnTo>
                  <a:lnTo>
                    <a:pt x="57" y="411"/>
                  </a:lnTo>
                  <a:lnTo>
                    <a:pt x="59" y="411"/>
                  </a:lnTo>
                  <a:lnTo>
                    <a:pt x="57" y="411"/>
                  </a:lnTo>
                  <a:lnTo>
                    <a:pt x="59" y="411"/>
                  </a:lnTo>
                  <a:lnTo>
                    <a:pt x="57" y="411"/>
                  </a:lnTo>
                  <a:lnTo>
                    <a:pt x="57" y="408"/>
                  </a:lnTo>
                  <a:lnTo>
                    <a:pt x="59" y="408"/>
                  </a:lnTo>
                  <a:lnTo>
                    <a:pt x="57" y="408"/>
                  </a:lnTo>
                  <a:lnTo>
                    <a:pt x="59" y="408"/>
                  </a:lnTo>
                  <a:lnTo>
                    <a:pt x="59" y="411"/>
                  </a:lnTo>
                  <a:lnTo>
                    <a:pt x="59" y="408"/>
                  </a:lnTo>
                  <a:lnTo>
                    <a:pt x="59" y="406"/>
                  </a:lnTo>
                  <a:lnTo>
                    <a:pt x="61" y="406"/>
                  </a:lnTo>
                  <a:lnTo>
                    <a:pt x="61" y="404"/>
                  </a:lnTo>
                  <a:lnTo>
                    <a:pt x="59" y="404"/>
                  </a:lnTo>
                  <a:lnTo>
                    <a:pt x="61" y="404"/>
                  </a:lnTo>
                  <a:lnTo>
                    <a:pt x="59" y="404"/>
                  </a:lnTo>
                  <a:lnTo>
                    <a:pt x="59" y="401"/>
                  </a:lnTo>
                  <a:lnTo>
                    <a:pt x="57" y="401"/>
                  </a:lnTo>
                  <a:lnTo>
                    <a:pt x="59" y="401"/>
                  </a:lnTo>
                  <a:lnTo>
                    <a:pt x="59" y="399"/>
                  </a:lnTo>
                  <a:lnTo>
                    <a:pt x="61" y="399"/>
                  </a:lnTo>
                  <a:lnTo>
                    <a:pt x="61" y="401"/>
                  </a:lnTo>
                  <a:lnTo>
                    <a:pt x="59" y="401"/>
                  </a:lnTo>
                  <a:lnTo>
                    <a:pt x="61" y="401"/>
                  </a:lnTo>
                  <a:lnTo>
                    <a:pt x="59" y="401"/>
                  </a:lnTo>
                  <a:lnTo>
                    <a:pt x="61" y="401"/>
                  </a:lnTo>
                  <a:lnTo>
                    <a:pt x="59" y="401"/>
                  </a:lnTo>
                  <a:lnTo>
                    <a:pt x="61" y="401"/>
                  </a:lnTo>
                  <a:lnTo>
                    <a:pt x="59" y="401"/>
                  </a:lnTo>
                  <a:lnTo>
                    <a:pt x="61" y="401"/>
                  </a:lnTo>
                  <a:lnTo>
                    <a:pt x="61" y="404"/>
                  </a:lnTo>
                  <a:lnTo>
                    <a:pt x="61" y="401"/>
                  </a:lnTo>
                  <a:lnTo>
                    <a:pt x="61" y="399"/>
                  </a:lnTo>
                  <a:lnTo>
                    <a:pt x="61" y="401"/>
                  </a:lnTo>
                  <a:lnTo>
                    <a:pt x="61" y="399"/>
                  </a:lnTo>
                  <a:lnTo>
                    <a:pt x="61" y="401"/>
                  </a:lnTo>
                  <a:lnTo>
                    <a:pt x="61" y="399"/>
                  </a:lnTo>
                  <a:lnTo>
                    <a:pt x="61" y="401"/>
                  </a:lnTo>
                  <a:lnTo>
                    <a:pt x="64" y="401"/>
                  </a:lnTo>
                  <a:lnTo>
                    <a:pt x="64" y="399"/>
                  </a:lnTo>
                  <a:lnTo>
                    <a:pt x="64" y="401"/>
                  </a:lnTo>
                  <a:lnTo>
                    <a:pt x="66" y="401"/>
                  </a:lnTo>
                  <a:lnTo>
                    <a:pt x="68" y="401"/>
                  </a:lnTo>
                  <a:lnTo>
                    <a:pt x="68" y="399"/>
                  </a:lnTo>
                  <a:lnTo>
                    <a:pt x="68" y="401"/>
                  </a:lnTo>
                  <a:lnTo>
                    <a:pt x="66" y="401"/>
                  </a:lnTo>
                  <a:lnTo>
                    <a:pt x="68" y="401"/>
                  </a:lnTo>
                  <a:lnTo>
                    <a:pt x="66" y="401"/>
                  </a:lnTo>
                  <a:lnTo>
                    <a:pt x="66" y="399"/>
                  </a:lnTo>
                  <a:lnTo>
                    <a:pt x="64" y="399"/>
                  </a:lnTo>
                  <a:lnTo>
                    <a:pt x="64" y="396"/>
                  </a:lnTo>
                  <a:lnTo>
                    <a:pt x="66" y="396"/>
                  </a:lnTo>
                  <a:lnTo>
                    <a:pt x="64" y="396"/>
                  </a:lnTo>
                  <a:lnTo>
                    <a:pt x="64" y="394"/>
                  </a:lnTo>
                  <a:lnTo>
                    <a:pt x="61" y="394"/>
                  </a:lnTo>
                  <a:lnTo>
                    <a:pt x="64" y="394"/>
                  </a:lnTo>
                  <a:lnTo>
                    <a:pt x="61" y="394"/>
                  </a:lnTo>
                  <a:lnTo>
                    <a:pt x="64" y="394"/>
                  </a:lnTo>
                  <a:lnTo>
                    <a:pt x="64" y="392"/>
                  </a:lnTo>
                  <a:lnTo>
                    <a:pt x="64" y="389"/>
                  </a:lnTo>
                  <a:lnTo>
                    <a:pt x="64" y="392"/>
                  </a:lnTo>
                  <a:lnTo>
                    <a:pt x="64" y="389"/>
                  </a:lnTo>
                  <a:lnTo>
                    <a:pt x="64" y="387"/>
                  </a:lnTo>
                  <a:lnTo>
                    <a:pt x="66" y="387"/>
                  </a:lnTo>
                  <a:lnTo>
                    <a:pt x="64" y="387"/>
                  </a:lnTo>
                  <a:lnTo>
                    <a:pt x="64" y="389"/>
                  </a:lnTo>
                  <a:lnTo>
                    <a:pt x="64" y="387"/>
                  </a:lnTo>
                  <a:lnTo>
                    <a:pt x="64" y="389"/>
                  </a:lnTo>
                  <a:lnTo>
                    <a:pt x="66" y="389"/>
                  </a:lnTo>
                  <a:lnTo>
                    <a:pt x="64" y="389"/>
                  </a:lnTo>
                  <a:lnTo>
                    <a:pt x="66" y="389"/>
                  </a:lnTo>
                  <a:lnTo>
                    <a:pt x="64" y="389"/>
                  </a:lnTo>
                  <a:lnTo>
                    <a:pt x="66" y="389"/>
                  </a:lnTo>
                  <a:lnTo>
                    <a:pt x="66" y="392"/>
                  </a:lnTo>
                  <a:lnTo>
                    <a:pt x="68" y="392"/>
                  </a:lnTo>
                  <a:lnTo>
                    <a:pt x="71" y="392"/>
                  </a:lnTo>
                  <a:lnTo>
                    <a:pt x="71" y="389"/>
                  </a:lnTo>
                  <a:lnTo>
                    <a:pt x="73" y="389"/>
                  </a:lnTo>
                  <a:lnTo>
                    <a:pt x="71" y="389"/>
                  </a:lnTo>
                  <a:lnTo>
                    <a:pt x="73" y="389"/>
                  </a:lnTo>
                  <a:lnTo>
                    <a:pt x="76" y="389"/>
                  </a:lnTo>
                  <a:lnTo>
                    <a:pt x="76" y="392"/>
                  </a:lnTo>
                  <a:lnTo>
                    <a:pt x="76" y="389"/>
                  </a:lnTo>
                  <a:lnTo>
                    <a:pt x="78" y="389"/>
                  </a:lnTo>
                  <a:lnTo>
                    <a:pt x="76" y="389"/>
                  </a:lnTo>
                  <a:lnTo>
                    <a:pt x="78" y="389"/>
                  </a:lnTo>
                  <a:lnTo>
                    <a:pt x="80" y="389"/>
                  </a:lnTo>
                  <a:lnTo>
                    <a:pt x="78" y="389"/>
                  </a:lnTo>
                  <a:lnTo>
                    <a:pt x="78" y="392"/>
                  </a:lnTo>
                  <a:lnTo>
                    <a:pt x="78" y="389"/>
                  </a:lnTo>
                  <a:lnTo>
                    <a:pt x="78" y="392"/>
                  </a:lnTo>
                  <a:lnTo>
                    <a:pt x="80" y="392"/>
                  </a:lnTo>
                  <a:lnTo>
                    <a:pt x="78" y="392"/>
                  </a:lnTo>
                  <a:lnTo>
                    <a:pt x="78" y="394"/>
                  </a:lnTo>
                  <a:lnTo>
                    <a:pt x="76" y="394"/>
                  </a:lnTo>
                  <a:lnTo>
                    <a:pt x="73" y="394"/>
                  </a:lnTo>
                  <a:lnTo>
                    <a:pt x="76" y="394"/>
                  </a:lnTo>
                  <a:lnTo>
                    <a:pt x="78" y="394"/>
                  </a:lnTo>
                  <a:lnTo>
                    <a:pt x="78" y="392"/>
                  </a:lnTo>
                  <a:lnTo>
                    <a:pt x="80" y="392"/>
                  </a:lnTo>
                  <a:lnTo>
                    <a:pt x="80" y="389"/>
                  </a:lnTo>
                  <a:lnTo>
                    <a:pt x="80" y="392"/>
                  </a:lnTo>
                  <a:lnTo>
                    <a:pt x="80" y="389"/>
                  </a:lnTo>
                  <a:lnTo>
                    <a:pt x="80" y="392"/>
                  </a:lnTo>
                  <a:lnTo>
                    <a:pt x="80" y="389"/>
                  </a:lnTo>
                  <a:lnTo>
                    <a:pt x="83" y="389"/>
                  </a:lnTo>
                  <a:lnTo>
                    <a:pt x="80" y="389"/>
                  </a:lnTo>
                  <a:lnTo>
                    <a:pt x="83" y="389"/>
                  </a:lnTo>
                  <a:lnTo>
                    <a:pt x="83" y="392"/>
                  </a:lnTo>
                  <a:lnTo>
                    <a:pt x="80" y="392"/>
                  </a:lnTo>
                  <a:lnTo>
                    <a:pt x="83" y="392"/>
                  </a:lnTo>
                  <a:lnTo>
                    <a:pt x="80" y="392"/>
                  </a:lnTo>
                  <a:lnTo>
                    <a:pt x="83" y="392"/>
                  </a:lnTo>
                  <a:lnTo>
                    <a:pt x="83" y="389"/>
                  </a:lnTo>
                  <a:lnTo>
                    <a:pt x="85" y="389"/>
                  </a:lnTo>
                  <a:lnTo>
                    <a:pt x="85" y="392"/>
                  </a:lnTo>
                  <a:lnTo>
                    <a:pt x="85" y="389"/>
                  </a:lnTo>
                  <a:lnTo>
                    <a:pt x="87" y="389"/>
                  </a:lnTo>
                  <a:lnTo>
                    <a:pt x="87" y="387"/>
                  </a:lnTo>
                  <a:lnTo>
                    <a:pt x="90" y="387"/>
                  </a:lnTo>
                  <a:lnTo>
                    <a:pt x="90" y="385"/>
                  </a:lnTo>
                  <a:lnTo>
                    <a:pt x="90" y="387"/>
                  </a:lnTo>
                  <a:lnTo>
                    <a:pt x="90" y="385"/>
                  </a:lnTo>
                  <a:lnTo>
                    <a:pt x="92" y="385"/>
                  </a:lnTo>
                  <a:lnTo>
                    <a:pt x="90" y="385"/>
                  </a:lnTo>
                  <a:lnTo>
                    <a:pt x="90" y="382"/>
                  </a:lnTo>
                  <a:lnTo>
                    <a:pt x="87" y="382"/>
                  </a:lnTo>
                  <a:lnTo>
                    <a:pt x="87" y="380"/>
                  </a:lnTo>
                  <a:lnTo>
                    <a:pt x="87" y="382"/>
                  </a:lnTo>
                  <a:lnTo>
                    <a:pt x="87" y="380"/>
                  </a:lnTo>
                  <a:lnTo>
                    <a:pt x="85" y="380"/>
                  </a:lnTo>
                  <a:lnTo>
                    <a:pt x="85" y="377"/>
                  </a:lnTo>
                  <a:lnTo>
                    <a:pt x="87" y="377"/>
                  </a:lnTo>
                  <a:lnTo>
                    <a:pt x="90" y="377"/>
                  </a:lnTo>
                  <a:lnTo>
                    <a:pt x="90" y="380"/>
                  </a:lnTo>
                  <a:lnTo>
                    <a:pt x="90" y="377"/>
                  </a:lnTo>
                  <a:lnTo>
                    <a:pt x="90" y="380"/>
                  </a:lnTo>
                  <a:lnTo>
                    <a:pt x="92" y="380"/>
                  </a:lnTo>
                  <a:lnTo>
                    <a:pt x="90" y="377"/>
                  </a:lnTo>
                  <a:lnTo>
                    <a:pt x="87" y="375"/>
                  </a:lnTo>
                  <a:lnTo>
                    <a:pt x="90" y="375"/>
                  </a:lnTo>
                  <a:lnTo>
                    <a:pt x="90" y="373"/>
                  </a:lnTo>
                  <a:lnTo>
                    <a:pt x="90" y="370"/>
                  </a:lnTo>
                  <a:lnTo>
                    <a:pt x="90" y="373"/>
                  </a:lnTo>
                  <a:lnTo>
                    <a:pt x="92" y="373"/>
                  </a:lnTo>
                  <a:lnTo>
                    <a:pt x="90" y="373"/>
                  </a:lnTo>
                  <a:lnTo>
                    <a:pt x="90" y="375"/>
                  </a:lnTo>
                  <a:lnTo>
                    <a:pt x="92" y="375"/>
                  </a:lnTo>
                  <a:lnTo>
                    <a:pt x="90" y="375"/>
                  </a:lnTo>
                  <a:lnTo>
                    <a:pt x="92" y="375"/>
                  </a:lnTo>
                  <a:lnTo>
                    <a:pt x="92" y="377"/>
                  </a:lnTo>
                  <a:lnTo>
                    <a:pt x="94" y="377"/>
                  </a:lnTo>
                  <a:lnTo>
                    <a:pt x="92" y="377"/>
                  </a:lnTo>
                  <a:lnTo>
                    <a:pt x="94" y="377"/>
                  </a:lnTo>
                  <a:lnTo>
                    <a:pt x="92" y="375"/>
                  </a:lnTo>
                  <a:lnTo>
                    <a:pt x="94" y="375"/>
                  </a:lnTo>
                  <a:lnTo>
                    <a:pt x="94" y="373"/>
                  </a:lnTo>
                  <a:lnTo>
                    <a:pt x="97" y="373"/>
                  </a:lnTo>
                  <a:lnTo>
                    <a:pt x="97" y="375"/>
                  </a:lnTo>
                  <a:lnTo>
                    <a:pt x="97" y="373"/>
                  </a:lnTo>
                  <a:lnTo>
                    <a:pt x="94" y="373"/>
                  </a:lnTo>
                  <a:lnTo>
                    <a:pt x="94" y="370"/>
                  </a:lnTo>
                  <a:lnTo>
                    <a:pt x="94" y="373"/>
                  </a:lnTo>
                  <a:lnTo>
                    <a:pt x="94" y="370"/>
                  </a:lnTo>
                  <a:lnTo>
                    <a:pt x="92" y="370"/>
                  </a:lnTo>
                  <a:lnTo>
                    <a:pt x="94" y="370"/>
                  </a:lnTo>
                  <a:lnTo>
                    <a:pt x="94" y="368"/>
                  </a:lnTo>
                  <a:lnTo>
                    <a:pt x="97" y="368"/>
                  </a:lnTo>
                  <a:lnTo>
                    <a:pt x="97" y="366"/>
                  </a:lnTo>
                  <a:lnTo>
                    <a:pt x="97" y="368"/>
                  </a:lnTo>
                  <a:lnTo>
                    <a:pt x="99" y="366"/>
                  </a:lnTo>
                  <a:lnTo>
                    <a:pt x="99" y="363"/>
                  </a:lnTo>
                  <a:lnTo>
                    <a:pt x="99" y="366"/>
                  </a:lnTo>
                  <a:lnTo>
                    <a:pt x="102" y="366"/>
                  </a:lnTo>
                  <a:lnTo>
                    <a:pt x="99" y="366"/>
                  </a:lnTo>
                  <a:lnTo>
                    <a:pt x="102" y="366"/>
                  </a:lnTo>
                  <a:lnTo>
                    <a:pt x="102" y="363"/>
                  </a:lnTo>
                  <a:lnTo>
                    <a:pt x="102" y="366"/>
                  </a:lnTo>
                  <a:lnTo>
                    <a:pt x="104" y="366"/>
                  </a:lnTo>
                  <a:lnTo>
                    <a:pt x="104" y="368"/>
                  </a:lnTo>
                  <a:lnTo>
                    <a:pt x="104" y="366"/>
                  </a:lnTo>
                  <a:lnTo>
                    <a:pt x="106" y="366"/>
                  </a:lnTo>
                  <a:lnTo>
                    <a:pt x="106" y="368"/>
                  </a:lnTo>
                  <a:lnTo>
                    <a:pt x="106" y="366"/>
                  </a:lnTo>
                  <a:lnTo>
                    <a:pt x="109" y="366"/>
                  </a:lnTo>
                  <a:lnTo>
                    <a:pt x="106" y="366"/>
                  </a:lnTo>
                  <a:lnTo>
                    <a:pt x="109" y="366"/>
                  </a:lnTo>
                  <a:lnTo>
                    <a:pt x="109" y="363"/>
                  </a:lnTo>
                  <a:lnTo>
                    <a:pt x="106" y="363"/>
                  </a:lnTo>
                  <a:lnTo>
                    <a:pt x="106" y="361"/>
                  </a:lnTo>
                  <a:lnTo>
                    <a:pt x="106" y="363"/>
                  </a:lnTo>
                  <a:lnTo>
                    <a:pt x="106" y="361"/>
                  </a:lnTo>
                  <a:lnTo>
                    <a:pt x="109" y="363"/>
                  </a:lnTo>
                  <a:lnTo>
                    <a:pt x="109" y="361"/>
                  </a:lnTo>
                  <a:lnTo>
                    <a:pt x="109" y="363"/>
                  </a:lnTo>
                  <a:lnTo>
                    <a:pt x="109" y="361"/>
                  </a:lnTo>
                  <a:lnTo>
                    <a:pt x="109" y="363"/>
                  </a:lnTo>
                  <a:lnTo>
                    <a:pt x="109" y="361"/>
                  </a:lnTo>
                  <a:lnTo>
                    <a:pt x="106" y="358"/>
                  </a:lnTo>
                  <a:lnTo>
                    <a:pt x="106" y="361"/>
                  </a:lnTo>
                  <a:lnTo>
                    <a:pt x="104" y="361"/>
                  </a:lnTo>
                  <a:lnTo>
                    <a:pt x="104" y="358"/>
                  </a:lnTo>
                  <a:lnTo>
                    <a:pt x="104" y="361"/>
                  </a:lnTo>
                  <a:lnTo>
                    <a:pt x="106" y="361"/>
                  </a:lnTo>
                  <a:lnTo>
                    <a:pt x="104" y="361"/>
                  </a:lnTo>
                  <a:lnTo>
                    <a:pt x="106" y="361"/>
                  </a:lnTo>
                  <a:lnTo>
                    <a:pt x="106" y="363"/>
                  </a:lnTo>
                  <a:lnTo>
                    <a:pt x="104" y="363"/>
                  </a:lnTo>
                  <a:lnTo>
                    <a:pt x="104" y="366"/>
                  </a:lnTo>
                  <a:lnTo>
                    <a:pt x="104" y="363"/>
                  </a:lnTo>
                  <a:lnTo>
                    <a:pt x="102" y="363"/>
                  </a:lnTo>
                  <a:lnTo>
                    <a:pt x="102" y="361"/>
                  </a:lnTo>
                  <a:lnTo>
                    <a:pt x="104" y="361"/>
                  </a:lnTo>
                  <a:lnTo>
                    <a:pt x="104" y="358"/>
                  </a:lnTo>
                  <a:lnTo>
                    <a:pt x="102" y="358"/>
                  </a:lnTo>
                  <a:lnTo>
                    <a:pt x="104" y="361"/>
                  </a:lnTo>
                  <a:lnTo>
                    <a:pt x="102" y="361"/>
                  </a:lnTo>
                  <a:lnTo>
                    <a:pt x="102" y="358"/>
                  </a:lnTo>
                  <a:lnTo>
                    <a:pt x="102" y="356"/>
                  </a:lnTo>
                  <a:lnTo>
                    <a:pt x="102" y="358"/>
                  </a:lnTo>
                  <a:lnTo>
                    <a:pt x="102" y="356"/>
                  </a:lnTo>
                  <a:lnTo>
                    <a:pt x="102" y="358"/>
                  </a:lnTo>
                  <a:lnTo>
                    <a:pt x="102" y="356"/>
                  </a:lnTo>
                  <a:lnTo>
                    <a:pt x="102" y="358"/>
                  </a:lnTo>
                  <a:lnTo>
                    <a:pt x="102" y="356"/>
                  </a:lnTo>
                  <a:lnTo>
                    <a:pt x="104" y="356"/>
                  </a:lnTo>
                  <a:lnTo>
                    <a:pt x="104" y="358"/>
                  </a:lnTo>
                  <a:lnTo>
                    <a:pt x="104" y="356"/>
                  </a:lnTo>
                  <a:lnTo>
                    <a:pt x="104" y="358"/>
                  </a:lnTo>
                  <a:lnTo>
                    <a:pt x="104" y="356"/>
                  </a:lnTo>
                  <a:lnTo>
                    <a:pt x="104" y="358"/>
                  </a:lnTo>
                  <a:lnTo>
                    <a:pt x="104" y="356"/>
                  </a:lnTo>
                  <a:lnTo>
                    <a:pt x="106" y="356"/>
                  </a:lnTo>
                  <a:lnTo>
                    <a:pt x="104" y="356"/>
                  </a:lnTo>
                  <a:lnTo>
                    <a:pt x="106" y="356"/>
                  </a:lnTo>
                  <a:lnTo>
                    <a:pt x="106" y="358"/>
                  </a:lnTo>
                  <a:lnTo>
                    <a:pt x="106" y="356"/>
                  </a:lnTo>
                  <a:lnTo>
                    <a:pt x="106" y="358"/>
                  </a:lnTo>
                  <a:lnTo>
                    <a:pt x="109" y="358"/>
                  </a:lnTo>
                  <a:lnTo>
                    <a:pt x="106" y="358"/>
                  </a:lnTo>
                  <a:lnTo>
                    <a:pt x="109" y="358"/>
                  </a:lnTo>
                  <a:lnTo>
                    <a:pt x="109" y="356"/>
                  </a:lnTo>
                  <a:lnTo>
                    <a:pt x="106" y="356"/>
                  </a:lnTo>
                  <a:lnTo>
                    <a:pt x="106" y="354"/>
                  </a:lnTo>
                  <a:lnTo>
                    <a:pt x="109" y="354"/>
                  </a:lnTo>
                  <a:lnTo>
                    <a:pt x="106" y="354"/>
                  </a:lnTo>
                  <a:lnTo>
                    <a:pt x="109" y="354"/>
                  </a:lnTo>
                  <a:lnTo>
                    <a:pt x="109" y="356"/>
                  </a:lnTo>
                  <a:lnTo>
                    <a:pt x="111" y="356"/>
                  </a:lnTo>
                  <a:lnTo>
                    <a:pt x="109" y="356"/>
                  </a:lnTo>
                  <a:lnTo>
                    <a:pt x="111" y="356"/>
                  </a:lnTo>
                  <a:lnTo>
                    <a:pt x="111" y="358"/>
                  </a:lnTo>
                  <a:lnTo>
                    <a:pt x="111" y="356"/>
                  </a:lnTo>
                  <a:lnTo>
                    <a:pt x="109" y="356"/>
                  </a:lnTo>
                  <a:lnTo>
                    <a:pt x="111" y="356"/>
                  </a:lnTo>
                  <a:lnTo>
                    <a:pt x="111" y="358"/>
                  </a:lnTo>
                  <a:lnTo>
                    <a:pt x="109" y="358"/>
                  </a:lnTo>
                  <a:lnTo>
                    <a:pt x="111" y="358"/>
                  </a:lnTo>
                  <a:lnTo>
                    <a:pt x="111" y="361"/>
                  </a:lnTo>
                  <a:lnTo>
                    <a:pt x="111" y="358"/>
                  </a:lnTo>
                  <a:lnTo>
                    <a:pt x="113" y="358"/>
                  </a:lnTo>
                  <a:lnTo>
                    <a:pt x="111" y="356"/>
                  </a:lnTo>
                  <a:lnTo>
                    <a:pt x="113" y="356"/>
                  </a:lnTo>
                  <a:lnTo>
                    <a:pt x="111" y="356"/>
                  </a:lnTo>
                  <a:lnTo>
                    <a:pt x="113" y="356"/>
                  </a:lnTo>
                  <a:lnTo>
                    <a:pt x="116" y="356"/>
                  </a:lnTo>
                  <a:lnTo>
                    <a:pt x="116" y="354"/>
                  </a:lnTo>
                  <a:lnTo>
                    <a:pt x="113" y="354"/>
                  </a:lnTo>
                  <a:lnTo>
                    <a:pt x="116" y="354"/>
                  </a:lnTo>
                  <a:lnTo>
                    <a:pt x="116" y="356"/>
                  </a:lnTo>
                  <a:lnTo>
                    <a:pt x="118" y="356"/>
                  </a:lnTo>
                  <a:lnTo>
                    <a:pt x="116" y="356"/>
                  </a:lnTo>
                  <a:lnTo>
                    <a:pt x="116" y="354"/>
                  </a:lnTo>
                  <a:lnTo>
                    <a:pt x="118" y="354"/>
                  </a:lnTo>
                  <a:lnTo>
                    <a:pt x="121" y="354"/>
                  </a:lnTo>
                  <a:lnTo>
                    <a:pt x="123" y="354"/>
                  </a:lnTo>
                  <a:lnTo>
                    <a:pt x="121" y="354"/>
                  </a:lnTo>
                  <a:lnTo>
                    <a:pt x="121" y="351"/>
                  </a:lnTo>
                  <a:lnTo>
                    <a:pt x="123" y="351"/>
                  </a:lnTo>
                  <a:lnTo>
                    <a:pt x="123" y="354"/>
                  </a:lnTo>
                  <a:lnTo>
                    <a:pt x="123" y="351"/>
                  </a:lnTo>
                  <a:lnTo>
                    <a:pt x="125" y="351"/>
                  </a:lnTo>
                  <a:lnTo>
                    <a:pt x="123" y="351"/>
                  </a:lnTo>
                  <a:lnTo>
                    <a:pt x="123" y="349"/>
                  </a:lnTo>
                  <a:lnTo>
                    <a:pt x="123" y="351"/>
                  </a:lnTo>
                  <a:lnTo>
                    <a:pt x="123" y="349"/>
                  </a:lnTo>
                  <a:lnTo>
                    <a:pt x="125" y="349"/>
                  </a:lnTo>
                  <a:lnTo>
                    <a:pt x="123" y="349"/>
                  </a:lnTo>
                  <a:lnTo>
                    <a:pt x="125" y="349"/>
                  </a:lnTo>
                  <a:lnTo>
                    <a:pt x="123" y="349"/>
                  </a:lnTo>
                  <a:lnTo>
                    <a:pt x="125" y="349"/>
                  </a:lnTo>
                  <a:lnTo>
                    <a:pt x="125" y="347"/>
                  </a:lnTo>
                  <a:lnTo>
                    <a:pt x="123" y="347"/>
                  </a:lnTo>
                  <a:lnTo>
                    <a:pt x="123" y="344"/>
                  </a:lnTo>
                  <a:lnTo>
                    <a:pt x="125" y="344"/>
                  </a:lnTo>
                  <a:lnTo>
                    <a:pt x="128" y="344"/>
                  </a:lnTo>
                  <a:lnTo>
                    <a:pt x="128" y="347"/>
                  </a:lnTo>
                  <a:lnTo>
                    <a:pt x="128" y="344"/>
                  </a:lnTo>
                  <a:lnTo>
                    <a:pt x="128" y="347"/>
                  </a:lnTo>
                  <a:lnTo>
                    <a:pt x="130" y="347"/>
                  </a:lnTo>
                  <a:lnTo>
                    <a:pt x="130" y="344"/>
                  </a:lnTo>
                  <a:lnTo>
                    <a:pt x="130" y="347"/>
                  </a:lnTo>
                  <a:lnTo>
                    <a:pt x="132" y="347"/>
                  </a:lnTo>
                  <a:lnTo>
                    <a:pt x="132" y="344"/>
                  </a:lnTo>
                  <a:lnTo>
                    <a:pt x="130" y="344"/>
                  </a:lnTo>
                  <a:lnTo>
                    <a:pt x="132" y="344"/>
                  </a:lnTo>
                  <a:lnTo>
                    <a:pt x="130" y="344"/>
                  </a:lnTo>
                  <a:lnTo>
                    <a:pt x="130" y="342"/>
                  </a:lnTo>
                  <a:lnTo>
                    <a:pt x="132" y="342"/>
                  </a:lnTo>
                  <a:lnTo>
                    <a:pt x="132" y="339"/>
                  </a:lnTo>
                  <a:lnTo>
                    <a:pt x="132" y="342"/>
                  </a:lnTo>
                  <a:lnTo>
                    <a:pt x="132" y="339"/>
                  </a:lnTo>
                  <a:lnTo>
                    <a:pt x="135" y="339"/>
                  </a:lnTo>
                  <a:lnTo>
                    <a:pt x="132" y="339"/>
                  </a:lnTo>
                  <a:lnTo>
                    <a:pt x="135" y="339"/>
                  </a:lnTo>
                  <a:lnTo>
                    <a:pt x="135" y="337"/>
                  </a:lnTo>
                  <a:lnTo>
                    <a:pt x="137" y="337"/>
                  </a:lnTo>
                  <a:lnTo>
                    <a:pt x="137" y="335"/>
                  </a:lnTo>
                  <a:lnTo>
                    <a:pt x="140" y="335"/>
                  </a:lnTo>
                  <a:lnTo>
                    <a:pt x="137" y="335"/>
                  </a:lnTo>
                  <a:lnTo>
                    <a:pt x="140" y="335"/>
                  </a:lnTo>
                  <a:lnTo>
                    <a:pt x="137" y="335"/>
                  </a:lnTo>
                  <a:lnTo>
                    <a:pt x="140" y="335"/>
                  </a:lnTo>
                  <a:lnTo>
                    <a:pt x="140" y="332"/>
                  </a:lnTo>
                  <a:lnTo>
                    <a:pt x="142" y="332"/>
                  </a:lnTo>
                  <a:lnTo>
                    <a:pt x="142" y="335"/>
                  </a:lnTo>
                  <a:lnTo>
                    <a:pt x="142" y="332"/>
                  </a:lnTo>
                  <a:lnTo>
                    <a:pt x="142" y="335"/>
                  </a:lnTo>
                  <a:lnTo>
                    <a:pt x="142" y="332"/>
                  </a:lnTo>
                  <a:lnTo>
                    <a:pt x="142" y="330"/>
                  </a:lnTo>
                  <a:lnTo>
                    <a:pt x="144" y="330"/>
                  </a:lnTo>
                  <a:lnTo>
                    <a:pt x="144" y="328"/>
                  </a:lnTo>
                  <a:lnTo>
                    <a:pt x="144" y="325"/>
                  </a:lnTo>
                  <a:lnTo>
                    <a:pt x="147" y="325"/>
                  </a:lnTo>
                  <a:lnTo>
                    <a:pt x="147" y="323"/>
                  </a:lnTo>
                  <a:lnTo>
                    <a:pt x="147" y="325"/>
                  </a:lnTo>
                  <a:lnTo>
                    <a:pt x="149" y="323"/>
                  </a:lnTo>
                  <a:lnTo>
                    <a:pt x="149" y="325"/>
                  </a:lnTo>
                  <a:lnTo>
                    <a:pt x="149" y="323"/>
                  </a:lnTo>
                  <a:lnTo>
                    <a:pt x="151" y="323"/>
                  </a:lnTo>
                  <a:lnTo>
                    <a:pt x="149" y="323"/>
                  </a:lnTo>
                  <a:lnTo>
                    <a:pt x="151" y="323"/>
                  </a:lnTo>
                  <a:lnTo>
                    <a:pt x="151" y="320"/>
                  </a:lnTo>
                  <a:lnTo>
                    <a:pt x="151" y="323"/>
                  </a:lnTo>
                  <a:lnTo>
                    <a:pt x="154" y="323"/>
                  </a:lnTo>
                  <a:lnTo>
                    <a:pt x="151" y="323"/>
                  </a:lnTo>
                  <a:lnTo>
                    <a:pt x="151" y="320"/>
                  </a:lnTo>
                  <a:lnTo>
                    <a:pt x="154" y="320"/>
                  </a:lnTo>
                  <a:lnTo>
                    <a:pt x="151" y="320"/>
                  </a:lnTo>
                  <a:lnTo>
                    <a:pt x="154" y="320"/>
                  </a:lnTo>
                  <a:lnTo>
                    <a:pt x="154" y="318"/>
                  </a:lnTo>
                  <a:lnTo>
                    <a:pt x="151" y="318"/>
                  </a:lnTo>
                  <a:lnTo>
                    <a:pt x="154" y="318"/>
                  </a:lnTo>
                  <a:lnTo>
                    <a:pt x="154" y="320"/>
                  </a:lnTo>
                  <a:lnTo>
                    <a:pt x="154" y="318"/>
                  </a:lnTo>
                  <a:lnTo>
                    <a:pt x="156" y="318"/>
                  </a:lnTo>
                  <a:lnTo>
                    <a:pt x="156" y="316"/>
                  </a:lnTo>
                  <a:lnTo>
                    <a:pt x="156" y="313"/>
                  </a:lnTo>
                  <a:lnTo>
                    <a:pt x="159" y="313"/>
                  </a:lnTo>
                  <a:lnTo>
                    <a:pt x="156" y="313"/>
                  </a:lnTo>
                  <a:lnTo>
                    <a:pt x="159" y="313"/>
                  </a:lnTo>
                  <a:lnTo>
                    <a:pt x="159" y="311"/>
                  </a:lnTo>
                  <a:lnTo>
                    <a:pt x="159" y="313"/>
                  </a:lnTo>
                  <a:lnTo>
                    <a:pt x="159" y="311"/>
                  </a:lnTo>
                  <a:lnTo>
                    <a:pt x="161" y="311"/>
                  </a:lnTo>
                  <a:lnTo>
                    <a:pt x="159" y="311"/>
                  </a:lnTo>
                  <a:lnTo>
                    <a:pt x="161" y="311"/>
                  </a:lnTo>
                  <a:lnTo>
                    <a:pt x="159" y="311"/>
                  </a:lnTo>
                  <a:lnTo>
                    <a:pt x="161" y="309"/>
                  </a:lnTo>
                  <a:lnTo>
                    <a:pt x="163" y="309"/>
                  </a:lnTo>
                  <a:lnTo>
                    <a:pt x="161" y="309"/>
                  </a:lnTo>
                  <a:lnTo>
                    <a:pt x="163" y="309"/>
                  </a:lnTo>
                  <a:lnTo>
                    <a:pt x="163" y="306"/>
                  </a:lnTo>
                  <a:lnTo>
                    <a:pt x="163" y="304"/>
                  </a:lnTo>
                  <a:lnTo>
                    <a:pt x="166" y="301"/>
                  </a:lnTo>
                  <a:lnTo>
                    <a:pt x="166" y="304"/>
                  </a:lnTo>
                  <a:lnTo>
                    <a:pt x="166" y="301"/>
                  </a:lnTo>
                  <a:lnTo>
                    <a:pt x="168" y="301"/>
                  </a:lnTo>
                  <a:lnTo>
                    <a:pt x="168" y="299"/>
                  </a:lnTo>
                  <a:lnTo>
                    <a:pt x="170" y="299"/>
                  </a:lnTo>
                  <a:lnTo>
                    <a:pt x="173" y="299"/>
                  </a:lnTo>
                  <a:lnTo>
                    <a:pt x="175" y="299"/>
                  </a:lnTo>
                  <a:lnTo>
                    <a:pt x="178" y="299"/>
                  </a:lnTo>
                  <a:lnTo>
                    <a:pt x="178" y="297"/>
                  </a:lnTo>
                  <a:lnTo>
                    <a:pt x="178" y="299"/>
                  </a:lnTo>
                  <a:lnTo>
                    <a:pt x="180" y="297"/>
                  </a:lnTo>
                  <a:lnTo>
                    <a:pt x="182" y="297"/>
                  </a:lnTo>
                  <a:lnTo>
                    <a:pt x="182" y="299"/>
                  </a:lnTo>
                  <a:lnTo>
                    <a:pt x="185" y="299"/>
                  </a:lnTo>
                  <a:lnTo>
                    <a:pt x="182" y="299"/>
                  </a:lnTo>
                  <a:lnTo>
                    <a:pt x="185" y="299"/>
                  </a:lnTo>
                  <a:lnTo>
                    <a:pt x="187" y="299"/>
                  </a:lnTo>
                  <a:lnTo>
                    <a:pt x="187" y="301"/>
                  </a:lnTo>
                  <a:lnTo>
                    <a:pt x="189" y="301"/>
                  </a:lnTo>
                  <a:lnTo>
                    <a:pt x="189" y="299"/>
                  </a:lnTo>
                  <a:lnTo>
                    <a:pt x="189" y="297"/>
                  </a:lnTo>
                  <a:lnTo>
                    <a:pt x="189" y="299"/>
                  </a:lnTo>
                  <a:lnTo>
                    <a:pt x="187" y="299"/>
                  </a:lnTo>
                  <a:lnTo>
                    <a:pt x="187" y="297"/>
                  </a:lnTo>
                  <a:lnTo>
                    <a:pt x="185" y="297"/>
                  </a:lnTo>
                  <a:lnTo>
                    <a:pt x="185" y="294"/>
                  </a:lnTo>
                  <a:lnTo>
                    <a:pt x="185" y="292"/>
                  </a:lnTo>
                  <a:lnTo>
                    <a:pt x="187" y="292"/>
                  </a:lnTo>
                  <a:lnTo>
                    <a:pt x="187" y="294"/>
                  </a:lnTo>
                  <a:lnTo>
                    <a:pt x="189" y="294"/>
                  </a:lnTo>
                  <a:lnTo>
                    <a:pt x="192" y="294"/>
                  </a:lnTo>
                  <a:lnTo>
                    <a:pt x="192" y="297"/>
                  </a:lnTo>
                  <a:lnTo>
                    <a:pt x="194" y="294"/>
                  </a:lnTo>
                  <a:lnTo>
                    <a:pt x="192" y="294"/>
                  </a:lnTo>
                  <a:lnTo>
                    <a:pt x="192" y="292"/>
                  </a:lnTo>
                  <a:lnTo>
                    <a:pt x="194" y="292"/>
                  </a:lnTo>
                  <a:lnTo>
                    <a:pt x="197" y="292"/>
                  </a:lnTo>
                  <a:lnTo>
                    <a:pt x="197" y="294"/>
                  </a:lnTo>
                  <a:lnTo>
                    <a:pt x="199" y="294"/>
                  </a:lnTo>
                  <a:lnTo>
                    <a:pt x="201" y="294"/>
                  </a:lnTo>
                  <a:lnTo>
                    <a:pt x="201" y="297"/>
                  </a:lnTo>
                  <a:lnTo>
                    <a:pt x="204" y="297"/>
                  </a:lnTo>
                  <a:lnTo>
                    <a:pt x="204" y="299"/>
                  </a:lnTo>
                  <a:lnTo>
                    <a:pt x="206" y="299"/>
                  </a:lnTo>
                  <a:lnTo>
                    <a:pt x="206" y="301"/>
                  </a:lnTo>
                  <a:lnTo>
                    <a:pt x="208" y="301"/>
                  </a:lnTo>
                  <a:lnTo>
                    <a:pt x="208" y="304"/>
                  </a:lnTo>
                  <a:lnTo>
                    <a:pt x="211" y="304"/>
                  </a:lnTo>
                  <a:lnTo>
                    <a:pt x="211" y="301"/>
                  </a:lnTo>
                  <a:lnTo>
                    <a:pt x="213" y="301"/>
                  </a:lnTo>
                  <a:lnTo>
                    <a:pt x="215" y="301"/>
                  </a:lnTo>
                  <a:lnTo>
                    <a:pt x="218" y="301"/>
                  </a:lnTo>
                  <a:lnTo>
                    <a:pt x="218" y="304"/>
                  </a:lnTo>
                  <a:lnTo>
                    <a:pt x="220" y="304"/>
                  </a:lnTo>
                  <a:lnTo>
                    <a:pt x="218" y="304"/>
                  </a:lnTo>
                  <a:lnTo>
                    <a:pt x="220" y="304"/>
                  </a:lnTo>
                  <a:lnTo>
                    <a:pt x="218" y="304"/>
                  </a:lnTo>
                  <a:lnTo>
                    <a:pt x="218" y="301"/>
                  </a:lnTo>
                  <a:lnTo>
                    <a:pt x="215" y="301"/>
                  </a:lnTo>
                  <a:lnTo>
                    <a:pt x="213" y="301"/>
                  </a:lnTo>
                  <a:lnTo>
                    <a:pt x="211" y="301"/>
                  </a:lnTo>
                  <a:lnTo>
                    <a:pt x="211" y="304"/>
                  </a:lnTo>
                  <a:lnTo>
                    <a:pt x="208" y="304"/>
                  </a:lnTo>
                  <a:lnTo>
                    <a:pt x="208" y="301"/>
                  </a:lnTo>
                  <a:lnTo>
                    <a:pt x="206" y="301"/>
                  </a:lnTo>
                  <a:lnTo>
                    <a:pt x="206" y="299"/>
                  </a:lnTo>
                  <a:lnTo>
                    <a:pt x="204" y="299"/>
                  </a:lnTo>
                  <a:lnTo>
                    <a:pt x="204" y="297"/>
                  </a:lnTo>
                  <a:lnTo>
                    <a:pt x="201" y="297"/>
                  </a:lnTo>
                  <a:lnTo>
                    <a:pt x="201" y="294"/>
                  </a:lnTo>
                  <a:lnTo>
                    <a:pt x="199" y="294"/>
                  </a:lnTo>
                  <a:lnTo>
                    <a:pt x="197" y="294"/>
                  </a:lnTo>
                  <a:lnTo>
                    <a:pt x="197" y="292"/>
                  </a:lnTo>
                  <a:lnTo>
                    <a:pt x="194" y="292"/>
                  </a:lnTo>
                  <a:lnTo>
                    <a:pt x="192" y="292"/>
                  </a:lnTo>
                  <a:lnTo>
                    <a:pt x="192" y="290"/>
                  </a:lnTo>
                  <a:lnTo>
                    <a:pt x="189" y="290"/>
                  </a:lnTo>
                  <a:lnTo>
                    <a:pt x="192" y="290"/>
                  </a:lnTo>
                  <a:lnTo>
                    <a:pt x="189" y="290"/>
                  </a:lnTo>
                  <a:lnTo>
                    <a:pt x="189" y="287"/>
                  </a:lnTo>
                  <a:lnTo>
                    <a:pt x="187" y="287"/>
                  </a:lnTo>
                  <a:lnTo>
                    <a:pt x="187" y="285"/>
                  </a:lnTo>
                  <a:lnTo>
                    <a:pt x="185" y="285"/>
                  </a:lnTo>
                  <a:lnTo>
                    <a:pt x="185" y="282"/>
                  </a:lnTo>
                  <a:lnTo>
                    <a:pt x="187" y="282"/>
                  </a:lnTo>
                  <a:lnTo>
                    <a:pt x="189" y="282"/>
                  </a:lnTo>
                  <a:lnTo>
                    <a:pt x="192" y="282"/>
                  </a:lnTo>
                  <a:lnTo>
                    <a:pt x="189" y="282"/>
                  </a:lnTo>
                  <a:lnTo>
                    <a:pt x="187" y="282"/>
                  </a:lnTo>
                  <a:lnTo>
                    <a:pt x="187" y="280"/>
                  </a:lnTo>
                  <a:lnTo>
                    <a:pt x="185" y="280"/>
                  </a:lnTo>
                  <a:lnTo>
                    <a:pt x="187" y="280"/>
                  </a:lnTo>
                  <a:lnTo>
                    <a:pt x="189" y="280"/>
                  </a:lnTo>
                  <a:lnTo>
                    <a:pt x="187" y="280"/>
                  </a:lnTo>
                  <a:lnTo>
                    <a:pt x="187" y="278"/>
                  </a:lnTo>
                  <a:lnTo>
                    <a:pt x="187" y="280"/>
                  </a:lnTo>
                  <a:lnTo>
                    <a:pt x="187" y="278"/>
                  </a:lnTo>
                  <a:lnTo>
                    <a:pt x="189" y="278"/>
                  </a:lnTo>
                  <a:lnTo>
                    <a:pt x="187" y="278"/>
                  </a:lnTo>
                  <a:lnTo>
                    <a:pt x="187" y="275"/>
                  </a:lnTo>
                  <a:lnTo>
                    <a:pt x="185" y="275"/>
                  </a:lnTo>
                  <a:lnTo>
                    <a:pt x="185" y="273"/>
                  </a:lnTo>
                  <a:lnTo>
                    <a:pt x="185" y="275"/>
                  </a:lnTo>
                  <a:lnTo>
                    <a:pt x="185" y="273"/>
                  </a:lnTo>
                  <a:lnTo>
                    <a:pt x="187" y="273"/>
                  </a:lnTo>
                  <a:lnTo>
                    <a:pt x="185" y="273"/>
                  </a:lnTo>
                  <a:lnTo>
                    <a:pt x="187" y="273"/>
                  </a:lnTo>
                  <a:lnTo>
                    <a:pt x="187" y="275"/>
                  </a:lnTo>
                  <a:lnTo>
                    <a:pt x="189" y="275"/>
                  </a:lnTo>
                  <a:lnTo>
                    <a:pt x="187" y="275"/>
                  </a:lnTo>
                  <a:lnTo>
                    <a:pt x="187" y="273"/>
                  </a:lnTo>
                  <a:lnTo>
                    <a:pt x="189" y="273"/>
                  </a:lnTo>
                  <a:lnTo>
                    <a:pt x="187" y="273"/>
                  </a:lnTo>
                  <a:lnTo>
                    <a:pt x="187" y="271"/>
                  </a:lnTo>
                  <a:lnTo>
                    <a:pt x="185" y="271"/>
                  </a:lnTo>
                  <a:lnTo>
                    <a:pt x="187" y="271"/>
                  </a:lnTo>
                  <a:lnTo>
                    <a:pt x="189" y="271"/>
                  </a:lnTo>
                  <a:lnTo>
                    <a:pt x="187" y="271"/>
                  </a:lnTo>
                  <a:lnTo>
                    <a:pt x="189" y="268"/>
                  </a:lnTo>
                  <a:lnTo>
                    <a:pt x="187" y="268"/>
                  </a:lnTo>
                  <a:lnTo>
                    <a:pt x="189" y="268"/>
                  </a:lnTo>
                  <a:lnTo>
                    <a:pt x="187" y="268"/>
                  </a:lnTo>
                  <a:lnTo>
                    <a:pt x="189" y="268"/>
                  </a:lnTo>
                  <a:lnTo>
                    <a:pt x="187" y="268"/>
                  </a:lnTo>
                  <a:lnTo>
                    <a:pt x="189" y="268"/>
                  </a:lnTo>
                  <a:lnTo>
                    <a:pt x="189" y="266"/>
                  </a:lnTo>
                  <a:lnTo>
                    <a:pt x="187" y="266"/>
                  </a:lnTo>
                  <a:lnTo>
                    <a:pt x="189" y="266"/>
                  </a:lnTo>
                  <a:lnTo>
                    <a:pt x="187" y="266"/>
                  </a:lnTo>
                  <a:lnTo>
                    <a:pt x="187" y="263"/>
                  </a:lnTo>
                  <a:lnTo>
                    <a:pt x="185" y="263"/>
                  </a:lnTo>
                  <a:lnTo>
                    <a:pt x="187" y="263"/>
                  </a:lnTo>
                  <a:lnTo>
                    <a:pt x="185" y="263"/>
                  </a:lnTo>
                  <a:lnTo>
                    <a:pt x="185" y="261"/>
                  </a:lnTo>
                  <a:lnTo>
                    <a:pt x="182" y="261"/>
                  </a:lnTo>
                  <a:lnTo>
                    <a:pt x="182" y="259"/>
                  </a:lnTo>
                  <a:lnTo>
                    <a:pt x="185" y="259"/>
                  </a:lnTo>
                  <a:lnTo>
                    <a:pt x="182" y="259"/>
                  </a:lnTo>
                  <a:lnTo>
                    <a:pt x="182" y="261"/>
                  </a:lnTo>
                  <a:lnTo>
                    <a:pt x="180" y="261"/>
                  </a:lnTo>
                  <a:lnTo>
                    <a:pt x="182" y="261"/>
                  </a:lnTo>
                  <a:lnTo>
                    <a:pt x="180" y="261"/>
                  </a:lnTo>
                  <a:lnTo>
                    <a:pt x="180" y="259"/>
                  </a:lnTo>
                  <a:lnTo>
                    <a:pt x="180" y="256"/>
                  </a:lnTo>
                  <a:lnTo>
                    <a:pt x="180" y="259"/>
                  </a:lnTo>
                  <a:lnTo>
                    <a:pt x="178" y="259"/>
                  </a:lnTo>
                  <a:lnTo>
                    <a:pt x="178" y="256"/>
                  </a:lnTo>
                  <a:lnTo>
                    <a:pt x="175" y="256"/>
                  </a:lnTo>
                  <a:lnTo>
                    <a:pt x="173" y="256"/>
                  </a:lnTo>
                  <a:lnTo>
                    <a:pt x="170" y="256"/>
                  </a:lnTo>
                  <a:lnTo>
                    <a:pt x="170" y="254"/>
                  </a:lnTo>
                  <a:lnTo>
                    <a:pt x="170" y="256"/>
                  </a:lnTo>
                  <a:lnTo>
                    <a:pt x="168" y="256"/>
                  </a:lnTo>
                  <a:lnTo>
                    <a:pt x="170" y="256"/>
                  </a:lnTo>
                  <a:lnTo>
                    <a:pt x="168" y="256"/>
                  </a:lnTo>
                  <a:lnTo>
                    <a:pt x="166" y="256"/>
                  </a:lnTo>
                  <a:lnTo>
                    <a:pt x="166" y="254"/>
                  </a:lnTo>
                  <a:lnTo>
                    <a:pt x="163" y="254"/>
                  </a:lnTo>
                  <a:lnTo>
                    <a:pt x="166" y="254"/>
                  </a:lnTo>
                  <a:lnTo>
                    <a:pt x="166" y="252"/>
                  </a:lnTo>
                  <a:lnTo>
                    <a:pt x="163" y="252"/>
                  </a:lnTo>
                  <a:lnTo>
                    <a:pt x="163" y="254"/>
                  </a:lnTo>
                  <a:lnTo>
                    <a:pt x="163" y="252"/>
                  </a:lnTo>
                  <a:lnTo>
                    <a:pt x="161" y="252"/>
                  </a:lnTo>
                  <a:lnTo>
                    <a:pt x="161" y="249"/>
                  </a:lnTo>
                  <a:lnTo>
                    <a:pt x="161" y="252"/>
                  </a:lnTo>
                  <a:lnTo>
                    <a:pt x="161" y="249"/>
                  </a:lnTo>
                  <a:lnTo>
                    <a:pt x="161" y="252"/>
                  </a:lnTo>
                  <a:lnTo>
                    <a:pt x="159" y="252"/>
                  </a:lnTo>
                  <a:lnTo>
                    <a:pt x="159" y="249"/>
                  </a:lnTo>
                  <a:lnTo>
                    <a:pt x="161" y="249"/>
                  </a:lnTo>
                  <a:lnTo>
                    <a:pt x="163" y="249"/>
                  </a:lnTo>
                  <a:lnTo>
                    <a:pt x="163" y="247"/>
                  </a:lnTo>
                  <a:lnTo>
                    <a:pt x="163" y="244"/>
                  </a:lnTo>
                  <a:lnTo>
                    <a:pt x="166" y="244"/>
                  </a:lnTo>
                  <a:lnTo>
                    <a:pt x="166" y="242"/>
                  </a:lnTo>
                  <a:lnTo>
                    <a:pt x="168" y="242"/>
                  </a:lnTo>
                  <a:lnTo>
                    <a:pt x="168" y="240"/>
                  </a:lnTo>
                  <a:lnTo>
                    <a:pt x="168" y="237"/>
                  </a:lnTo>
                  <a:lnTo>
                    <a:pt x="168" y="235"/>
                  </a:lnTo>
                  <a:lnTo>
                    <a:pt x="170" y="235"/>
                  </a:lnTo>
                  <a:lnTo>
                    <a:pt x="170" y="232"/>
                  </a:lnTo>
                  <a:lnTo>
                    <a:pt x="170" y="230"/>
                  </a:lnTo>
                  <a:lnTo>
                    <a:pt x="173" y="230"/>
                  </a:lnTo>
                  <a:lnTo>
                    <a:pt x="175" y="230"/>
                  </a:lnTo>
                  <a:lnTo>
                    <a:pt x="178" y="230"/>
                  </a:lnTo>
                  <a:lnTo>
                    <a:pt x="178" y="228"/>
                  </a:lnTo>
                  <a:lnTo>
                    <a:pt x="180" y="228"/>
                  </a:lnTo>
                  <a:lnTo>
                    <a:pt x="182" y="228"/>
                  </a:lnTo>
                  <a:lnTo>
                    <a:pt x="180" y="228"/>
                  </a:lnTo>
                  <a:lnTo>
                    <a:pt x="182" y="228"/>
                  </a:lnTo>
                  <a:lnTo>
                    <a:pt x="180" y="228"/>
                  </a:lnTo>
                  <a:lnTo>
                    <a:pt x="178" y="228"/>
                  </a:lnTo>
                  <a:lnTo>
                    <a:pt x="180" y="228"/>
                  </a:lnTo>
                  <a:lnTo>
                    <a:pt x="178" y="228"/>
                  </a:lnTo>
                  <a:lnTo>
                    <a:pt x="175" y="230"/>
                  </a:lnTo>
                  <a:lnTo>
                    <a:pt x="173" y="230"/>
                  </a:lnTo>
                  <a:lnTo>
                    <a:pt x="170" y="230"/>
                  </a:lnTo>
                  <a:lnTo>
                    <a:pt x="170" y="232"/>
                  </a:lnTo>
                  <a:lnTo>
                    <a:pt x="170" y="235"/>
                  </a:lnTo>
                  <a:lnTo>
                    <a:pt x="168" y="235"/>
                  </a:lnTo>
                  <a:lnTo>
                    <a:pt x="168" y="237"/>
                  </a:lnTo>
                  <a:lnTo>
                    <a:pt x="168" y="240"/>
                  </a:lnTo>
                  <a:lnTo>
                    <a:pt x="168" y="242"/>
                  </a:lnTo>
                  <a:lnTo>
                    <a:pt x="166" y="242"/>
                  </a:lnTo>
                  <a:lnTo>
                    <a:pt x="163" y="242"/>
                  </a:lnTo>
                  <a:lnTo>
                    <a:pt x="163" y="244"/>
                  </a:lnTo>
                  <a:lnTo>
                    <a:pt x="163" y="247"/>
                  </a:lnTo>
                  <a:lnTo>
                    <a:pt x="163" y="249"/>
                  </a:lnTo>
                  <a:lnTo>
                    <a:pt x="161" y="249"/>
                  </a:lnTo>
                  <a:lnTo>
                    <a:pt x="159" y="249"/>
                  </a:lnTo>
                  <a:lnTo>
                    <a:pt x="156" y="249"/>
                  </a:lnTo>
                  <a:lnTo>
                    <a:pt x="156" y="247"/>
                  </a:lnTo>
                  <a:lnTo>
                    <a:pt x="154" y="247"/>
                  </a:lnTo>
                  <a:lnTo>
                    <a:pt x="154" y="249"/>
                  </a:lnTo>
                  <a:lnTo>
                    <a:pt x="154" y="247"/>
                  </a:lnTo>
                  <a:lnTo>
                    <a:pt x="154" y="249"/>
                  </a:lnTo>
                  <a:lnTo>
                    <a:pt x="154" y="247"/>
                  </a:lnTo>
                  <a:lnTo>
                    <a:pt x="154" y="249"/>
                  </a:lnTo>
                  <a:lnTo>
                    <a:pt x="154" y="247"/>
                  </a:lnTo>
                  <a:lnTo>
                    <a:pt x="151" y="247"/>
                  </a:lnTo>
                  <a:lnTo>
                    <a:pt x="154" y="247"/>
                  </a:lnTo>
                  <a:lnTo>
                    <a:pt x="151" y="247"/>
                  </a:lnTo>
                  <a:lnTo>
                    <a:pt x="149" y="247"/>
                  </a:lnTo>
                  <a:lnTo>
                    <a:pt x="149" y="244"/>
                  </a:lnTo>
                  <a:lnTo>
                    <a:pt x="149" y="242"/>
                  </a:lnTo>
                  <a:lnTo>
                    <a:pt x="149" y="244"/>
                  </a:lnTo>
                  <a:lnTo>
                    <a:pt x="149" y="242"/>
                  </a:lnTo>
                  <a:lnTo>
                    <a:pt x="149" y="240"/>
                  </a:lnTo>
                  <a:lnTo>
                    <a:pt x="147" y="240"/>
                  </a:lnTo>
                  <a:lnTo>
                    <a:pt x="147" y="237"/>
                  </a:lnTo>
                  <a:lnTo>
                    <a:pt x="147" y="235"/>
                  </a:lnTo>
                  <a:lnTo>
                    <a:pt x="144" y="235"/>
                  </a:lnTo>
                  <a:lnTo>
                    <a:pt x="144" y="232"/>
                  </a:lnTo>
                  <a:lnTo>
                    <a:pt x="142" y="232"/>
                  </a:lnTo>
                  <a:lnTo>
                    <a:pt x="144" y="232"/>
                  </a:lnTo>
                  <a:lnTo>
                    <a:pt x="142" y="232"/>
                  </a:lnTo>
                  <a:lnTo>
                    <a:pt x="142" y="230"/>
                  </a:lnTo>
                  <a:lnTo>
                    <a:pt x="142" y="228"/>
                  </a:lnTo>
                  <a:lnTo>
                    <a:pt x="140" y="228"/>
                  </a:lnTo>
                  <a:lnTo>
                    <a:pt x="140" y="225"/>
                  </a:lnTo>
                  <a:lnTo>
                    <a:pt x="137" y="225"/>
                  </a:lnTo>
                  <a:lnTo>
                    <a:pt x="137" y="223"/>
                  </a:lnTo>
                  <a:lnTo>
                    <a:pt x="135" y="223"/>
                  </a:lnTo>
                  <a:lnTo>
                    <a:pt x="135" y="221"/>
                  </a:lnTo>
                  <a:lnTo>
                    <a:pt x="132" y="221"/>
                  </a:lnTo>
                  <a:lnTo>
                    <a:pt x="132" y="218"/>
                  </a:lnTo>
                  <a:lnTo>
                    <a:pt x="135" y="218"/>
                  </a:lnTo>
                  <a:lnTo>
                    <a:pt x="135" y="216"/>
                  </a:lnTo>
                  <a:lnTo>
                    <a:pt x="135" y="213"/>
                  </a:lnTo>
                  <a:lnTo>
                    <a:pt x="135" y="216"/>
                  </a:lnTo>
                  <a:lnTo>
                    <a:pt x="135" y="213"/>
                  </a:lnTo>
                  <a:lnTo>
                    <a:pt x="132" y="213"/>
                  </a:lnTo>
                  <a:lnTo>
                    <a:pt x="132" y="211"/>
                  </a:lnTo>
                  <a:lnTo>
                    <a:pt x="135" y="211"/>
                  </a:lnTo>
                  <a:lnTo>
                    <a:pt x="132" y="211"/>
                  </a:lnTo>
                  <a:lnTo>
                    <a:pt x="135" y="209"/>
                  </a:lnTo>
                  <a:lnTo>
                    <a:pt x="137" y="209"/>
                  </a:lnTo>
                  <a:lnTo>
                    <a:pt x="137" y="206"/>
                  </a:lnTo>
                  <a:lnTo>
                    <a:pt x="140" y="206"/>
                  </a:lnTo>
                  <a:lnTo>
                    <a:pt x="140" y="204"/>
                  </a:lnTo>
                  <a:lnTo>
                    <a:pt x="140" y="202"/>
                  </a:lnTo>
                  <a:lnTo>
                    <a:pt x="140" y="199"/>
                  </a:lnTo>
                  <a:lnTo>
                    <a:pt x="142" y="199"/>
                  </a:lnTo>
                  <a:lnTo>
                    <a:pt x="142" y="197"/>
                  </a:lnTo>
                  <a:lnTo>
                    <a:pt x="142" y="194"/>
                  </a:lnTo>
                  <a:lnTo>
                    <a:pt x="140" y="194"/>
                  </a:lnTo>
                  <a:lnTo>
                    <a:pt x="140" y="192"/>
                  </a:lnTo>
                  <a:lnTo>
                    <a:pt x="142" y="192"/>
                  </a:lnTo>
                  <a:lnTo>
                    <a:pt x="144" y="192"/>
                  </a:lnTo>
                  <a:lnTo>
                    <a:pt x="144" y="190"/>
                  </a:lnTo>
                  <a:lnTo>
                    <a:pt x="144" y="187"/>
                  </a:lnTo>
                  <a:lnTo>
                    <a:pt x="142" y="187"/>
                  </a:lnTo>
                  <a:lnTo>
                    <a:pt x="142" y="185"/>
                  </a:lnTo>
                  <a:lnTo>
                    <a:pt x="140" y="185"/>
                  </a:lnTo>
                  <a:lnTo>
                    <a:pt x="140" y="183"/>
                  </a:lnTo>
                  <a:lnTo>
                    <a:pt x="140" y="180"/>
                  </a:lnTo>
                  <a:lnTo>
                    <a:pt x="137" y="180"/>
                  </a:lnTo>
                  <a:lnTo>
                    <a:pt x="137" y="178"/>
                  </a:lnTo>
                  <a:lnTo>
                    <a:pt x="135" y="178"/>
                  </a:lnTo>
                  <a:lnTo>
                    <a:pt x="135" y="175"/>
                  </a:lnTo>
                  <a:lnTo>
                    <a:pt x="132" y="175"/>
                  </a:lnTo>
                  <a:lnTo>
                    <a:pt x="132" y="173"/>
                  </a:lnTo>
                  <a:lnTo>
                    <a:pt x="130" y="171"/>
                  </a:lnTo>
                  <a:lnTo>
                    <a:pt x="130" y="168"/>
                  </a:lnTo>
                  <a:lnTo>
                    <a:pt x="130" y="166"/>
                  </a:lnTo>
                  <a:lnTo>
                    <a:pt x="130" y="164"/>
                  </a:lnTo>
                  <a:lnTo>
                    <a:pt x="132" y="164"/>
                  </a:lnTo>
                  <a:lnTo>
                    <a:pt x="135" y="164"/>
                  </a:lnTo>
                  <a:lnTo>
                    <a:pt x="135" y="161"/>
                  </a:lnTo>
                  <a:lnTo>
                    <a:pt x="137" y="161"/>
                  </a:lnTo>
                  <a:lnTo>
                    <a:pt x="137" y="159"/>
                  </a:lnTo>
                  <a:lnTo>
                    <a:pt x="135" y="159"/>
                  </a:lnTo>
                  <a:lnTo>
                    <a:pt x="135" y="156"/>
                  </a:lnTo>
                  <a:lnTo>
                    <a:pt x="137" y="156"/>
                  </a:lnTo>
                  <a:lnTo>
                    <a:pt x="137" y="154"/>
                  </a:lnTo>
                  <a:lnTo>
                    <a:pt x="135" y="154"/>
                  </a:lnTo>
                  <a:lnTo>
                    <a:pt x="132" y="154"/>
                  </a:lnTo>
                  <a:lnTo>
                    <a:pt x="130" y="154"/>
                  </a:lnTo>
                  <a:lnTo>
                    <a:pt x="130" y="152"/>
                  </a:lnTo>
                  <a:lnTo>
                    <a:pt x="130" y="154"/>
                  </a:lnTo>
                  <a:lnTo>
                    <a:pt x="128" y="154"/>
                  </a:lnTo>
                  <a:lnTo>
                    <a:pt x="125" y="154"/>
                  </a:lnTo>
                  <a:lnTo>
                    <a:pt x="125" y="152"/>
                  </a:lnTo>
                  <a:lnTo>
                    <a:pt x="125" y="149"/>
                  </a:lnTo>
                  <a:lnTo>
                    <a:pt x="128" y="149"/>
                  </a:lnTo>
                  <a:lnTo>
                    <a:pt x="128" y="147"/>
                  </a:lnTo>
                  <a:lnTo>
                    <a:pt x="125" y="147"/>
                  </a:lnTo>
                  <a:lnTo>
                    <a:pt x="128" y="147"/>
                  </a:lnTo>
                  <a:lnTo>
                    <a:pt x="130" y="147"/>
                  </a:lnTo>
                  <a:lnTo>
                    <a:pt x="130" y="145"/>
                  </a:lnTo>
                  <a:lnTo>
                    <a:pt x="130" y="142"/>
                  </a:lnTo>
                  <a:lnTo>
                    <a:pt x="128" y="142"/>
                  </a:lnTo>
                  <a:lnTo>
                    <a:pt x="128" y="140"/>
                  </a:lnTo>
                  <a:lnTo>
                    <a:pt x="128" y="137"/>
                  </a:lnTo>
                  <a:lnTo>
                    <a:pt x="128" y="135"/>
                  </a:lnTo>
                  <a:lnTo>
                    <a:pt x="128" y="133"/>
                  </a:lnTo>
                  <a:lnTo>
                    <a:pt x="128" y="130"/>
                  </a:lnTo>
                  <a:lnTo>
                    <a:pt x="128" y="128"/>
                  </a:lnTo>
                  <a:lnTo>
                    <a:pt x="130" y="128"/>
                  </a:lnTo>
                  <a:lnTo>
                    <a:pt x="132" y="128"/>
                  </a:lnTo>
                  <a:lnTo>
                    <a:pt x="132" y="126"/>
                  </a:lnTo>
                  <a:lnTo>
                    <a:pt x="132" y="123"/>
                  </a:lnTo>
                  <a:lnTo>
                    <a:pt x="130" y="123"/>
                  </a:lnTo>
                  <a:lnTo>
                    <a:pt x="130" y="121"/>
                  </a:lnTo>
                  <a:lnTo>
                    <a:pt x="128" y="121"/>
                  </a:lnTo>
                  <a:lnTo>
                    <a:pt x="125" y="118"/>
                  </a:lnTo>
                  <a:lnTo>
                    <a:pt x="123" y="118"/>
                  </a:lnTo>
                  <a:lnTo>
                    <a:pt x="125" y="118"/>
                  </a:lnTo>
                  <a:lnTo>
                    <a:pt x="123" y="118"/>
                  </a:lnTo>
                  <a:lnTo>
                    <a:pt x="123" y="116"/>
                  </a:lnTo>
                  <a:lnTo>
                    <a:pt x="123" y="114"/>
                  </a:lnTo>
                  <a:lnTo>
                    <a:pt x="121" y="114"/>
                  </a:lnTo>
                  <a:lnTo>
                    <a:pt x="118" y="114"/>
                  </a:lnTo>
                  <a:lnTo>
                    <a:pt x="116" y="114"/>
                  </a:lnTo>
                  <a:lnTo>
                    <a:pt x="116" y="111"/>
                  </a:lnTo>
                  <a:lnTo>
                    <a:pt x="116" y="109"/>
                  </a:lnTo>
                  <a:lnTo>
                    <a:pt x="116" y="107"/>
                  </a:lnTo>
                  <a:lnTo>
                    <a:pt x="113" y="107"/>
                  </a:lnTo>
                  <a:lnTo>
                    <a:pt x="113" y="104"/>
                  </a:lnTo>
                  <a:lnTo>
                    <a:pt x="111" y="104"/>
                  </a:lnTo>
                  <a:lnTo>
                    <a:pt x="111" y="102"/>
                  </a:lnTo>
                  <a:lnTo>
                    <a:pt x="109" y="102"/>
                  </a:lnTo>
                  <a:lnTo>
                    <a:pt x="106" y="102"/>
                  </a:lnTo>
                  <a:lnTo>
                    <a:pt x="106" y="99"/>
                  </a:lnTo>
                  <a:lnTo>
                    <a:pt x="104" y="99"/>
                  </a:lnTo>
                  <a:lnTo>
                    <a:pt x="102" y="99"/>
                  </a:lnTo>
                  <a:lnTo>
                    <a:pt x="102" y="97"/>
                  </a:lnTo>
                  <a:lnTo>
                    <a:pt x="99" y="97"/>
                  </a:lnTo>
                  <a:lnTo>
                    <a:pt x="97" y="97"/>
                  </a:lnTo>
                  <a:lnTo>
                    <a:pt x="94" y="97"/>
                  </a:lnTo>
                  <a:lnTo>
                    <a:pt x="94" y="95"/>
                  </a:lnTo>
                  <a:lnTo>
                    <a:pt x="92" y="95"/>
                  </a:lnTo>
                  <a:lnTo>
                    <a:pt x="90" y="95"/>
                  </a:lnTo>
                  <a:lnTo>
                    <a:pt x="87" y="95"/>
                  </a:lnTo>
                  <a:lnTo>
                    <a:pt x="85" y="95"/>
                  </a:lnTo>
                  <a:lnTo>
                    <a:pt x="83" y="95"/>
                  </a:lnTo>
                  <a:lnTo>
                    <a:pt x="80" y="95"/>
                  </a:lnTo>
                  <a:lnTo>
                    <a:pt x="80" y="92"/>
                  </a:lnTo>
                  <a:lnTo>
                    <a:pt x="78" y="92"/>
                  </a:lnTo>
                  <a:lnTo>
                    <a:pt x="78" y="90"/>
                  </a:lnTo>
                  <a:lnTo>
                    <a:pt x="76" y="90"/>
                  </a:lnTo>
                  <a:lnTo>
                    <a:pt x="76" y="88"/>
                  </a:lnTo>
                  <a:lnTo>
                    <a:pt x="73" y="88"/>
                  </a:lnTo>
                  <a:lnTo>
                    <a:pt x="71" y="88"/>
                  </a:lnTo>
                  <a:lnTo>
                    <a:pt x="68" y="88"/>
                  </a:lnTo>
                  <a:lnTo>
                    <a:pt x="68" y="85"/>
                  </a:lnTo>
                  <a:lnTo>
                    <a:pt x="66" y="85"/>
                  </a:lnTo>
                  <a:lnTo>
                    <a:pt x="66" y="83"/>
                  </a:lnTo>
                  <a:lnTo>
                    <a:pt x="64" y="83"/>
                  </a:lnTo>
                  <a:lnTo>
                    <a:pt x="61" y="83"/>
                  </a:lnTo>
                  <a:lnTo>
                    <a:pt x="59" y="80"/>
                  </a:lnTo>
                  <a:lnTo>
                    <a:pt x="59" y="78"/>
                  </a:lnTo>
                  <a:lnTo>
                    <a:pt x="57" y="78"/>
                  </a:lnTo>
                  <a:lnTo>
                    <a:pt x="54" y="78"/>
                  </a:lnTo>
                  <a:lnTo>
                    <a:pt x="54" y="76"/>
                  </a:lnTo>
                  <a:lnTo>
                    <a:pt x="54" y="73"/>
                  </a:lnTo>
                  <a:lnTo>
                    <a:pt x="52" y="73"/>
                  </a:lnTo>
                  <a:lnTo>
                    <a:pt x="49" y="73"/>
                  </a:lnTo>
                  <a:lnTo>
                    <a:pt x="49" y="71"/>
                  </a:lnTo>
                  <a:lnTo>
                    <a:pt x="47" y="71"/>
                  </a:lnTo>
                  <a:lnTo>
                    <a:pt x="45" y="71"/>
                  </a:lnTo>
                  <a:lnTo>
                    <a:pt x="45" y="69"/>
                  </a:lnTo>
                  <a:lnTo>
                    <a:pt x="42" y="69"/>
                  </a:lnTo>
                  <a:lnTo>
                    <a:pt x="40" y="69"/>
                  </a:lnTo>
                  <a:lnTo>
                    <a:pt x="40" y="66"/>
                  </a:lnTo>
                  <a:lnTo>
                    <a:pt x="42" y="66"/>
                  </a:lnTo>
                  <a:lnTo>
                    <a:pt x="42" y="64"/>
                  </a:lnTo>
                  <a:lnTo>
                    <a:pt x="40" y="64"/>
                  </a:lnTo>
                  <a:lnTo>
                    <a:pt x="40" y="61"/>
                  </a:lnTo>
                  <a:lnTo>
                    <a:pt x="38" y="61"/>
                  </a:lnTo>
                  <a:lnTo>
                    <a:pt x="35" y="61"/>
                  </a:lnTo>
                  <a:lnTo>
                    <a:pt x="33" y="61"/>
                  </a:lnTo>
                  <a:lnTo>
                    <a:pt x="33" y="59"/>
                  </a:lnTo>
                  <a:lnTo>
                    <a:pt x="30" y="61"/>
                  </a:lnTo>
                  <a:lnTo>
                    <a:pt x="30" y="59"/>
                  </a:lnTo>
                  <a:lnTo>
                    <a:pt x="35" y="57"/>
                  </a:lnTo>
                  <a:lnTo>
                    <a:pt x="38" y="57"/>
                  </a:lnTo>
                  <a:lnTo>
                    <a:pt x="47" y="61"/>
                  </a:lnTo>
                  <a:lnTo>
                    <a:pt x="49" y="57"/>
                  </a:lnTo>
                  <a:lnTo>
                    <a:pt x="47" y="57"/>
                  </a:lnTo>
                  <a:lnTo>
                    <a:pt x="47" y="54"/>
                  </a:lnTo>
                  <a:lnTo>
                    <a:pt x="45" y="52"/>
                  </a:lnTo>
                  <a:lnTo>
                    <a:pt x="45" y="50"/>
                  </a:lnTo>
                  <a:lnTo>
                    <a:pt x="49" y="47"/>
                  </a:lnTo>
                  <a:lnTo>
                    <a:pt x="54" y="45"/>
                  </a:lnTo>
                  <a:lnTo>
                    <a:pt x="66" y="47"/>
                  </a:lnTo>
                  <a:lnTo>
                    <a:pt x="71" y="52"/>
                  </a:lnTo>
                  <a:lnTo>
                    <a:pt x="78" y="59"/>
                  </a:lnTo>
                  <a:lnTo>
                    <a:pt x="80" y="61"/>
                  </a:lnTo>
                  <a:lnTo>
                    <a:pt x="85" y="66"/>
                  </a:lnTo>
                  <a:lnTo>
                    <a:pt x="85" y="69"/>
                  </a:lnTo>
                  <a:lnTo>
                    <a:pt x="90" y="73"/>
                  </a:lnTo>
                  <a:lnTo>
                    <a:pt x="92" y="80"/>
                  </a:lnTo>
                  <a:lnTo>
                    <a:pt x="97" y="78"/>
                  </a:lnTo>
                  <a:lnTo>
                    <a:pt x="104" y="83"/>
                  </a:lnTo>
                  <a:lnTo>
                    <a:pt x="113" y="80"/>
                  </a:lnTo>
                  <a:lnTo>
                    <a:pt x="116" y="85"/>
                  </a:lnTo>
                  <a:lnTo>
                    <a:pt x="118" y="85"/>
                  </a:lnTo>
                  <a:lnTo>
                    <a:pt x="121" y="83"/>
                  </a:lnTo>
                  <a:lnTo>
                    <a:pt x="125" y="80"/>
                  </a:lnTo>
                  <a:lnTo>
                    <a:pt x="135" y="80"/>
                  </a:lnTo>
                  <a:lnTo>
                    <a:pt x="135" y="78"/>
                  </a:lnTo>
                  <a:lnTo>
                    <a:pt x="137" y="73"/>
                  </a:lnTo>
                  <a:lnTo>
                    <a:pt x="140" y="73"/>
                  </a:lnTo>
                  <a:lnTo>
                    <a:pt x="144" y="73"/>
                  </a:lnTo>
                  <a:lnTo>
                    <a:pt x="147" y="76"/>
                  </a:lnTo>
                  <a:lnTo>
                    <a:pt x="149" y="76"/>
                  </a:lnTo>
                  <a:lnTo>
                    <a:pt x="149" y="78"/>
                  </a:lnTo>
                  <a:lnTo>
                    <a:pt x="151" y="78"/>
                  </a:lnTo>
                  <a:lnTo>
                    <a:pt x="154" y="80"/>
                  </a:lnTo>
                  <a:lnTo>
                    <a:pt x="166" y="83"/>
                  </a:lnTo>
                  <a:lnTo>
                    <a:pt x="168" y="83"/>
                  </a:lnTo>
                  <a:lnTo>
                    <a:pt x="170" y="85"/>
                  </a:lnTo>
                  <a:lnTo>
                    <a:pt x="173" y="88"/>
                  </a:lnTo>
                  <a:lnTo>
                    <a:pt x="173" y="90"/>
                  </a:lnTo>
                  <a:lnTo>
                    <a:pt x="175" y="90"/>
                  </a:lnTo>
                  <a:lnTo>
                    <a:pt x="175" y="88"/>
                  </a:lnTo>
                  <a:lnTo>
                    <a:pt x="175" y="85"/>
                  </a:lnTo>
                  <a:lnTo>
                    <a:pt x="178" y="85"/>
                  </a:lnTo>
                  <a:lnTo>
                    <a:pt x="180" y="85"/>
                  </a:lnTo>
                  <a:lnTo>
                    <a:pt x="182" y="85"/>
                  </a:lnTo>
                  <a:lnTo>
                    <a:pt x="182" y="83"/>
                  </a:lnTo>
                  <a:lnTo>
                    <a:pt x="180" y="83"/>
                  </a:lnTo>
                  <a:lnTo>
                    <a:pt x="182" y="80"/>
                  </a:lnTo>
                  <a:lnTo>
                    <a:pt x="180" y="80"/>
                  </a:lnTo>
                  <a:lnTo>
                    <a:pt x="182" y="80"/>
                  </a:lnTo>
                  <a:lnTo>
                    <a:pt x="182" y="78"/>
                  </a:lnTo>
                  <a:lnTo>
                    <a:pt x="182" y="76"/>
                  </a:lnTo>
                  <a:lnTo>
                    <a:pt x="185" y="76"/>
                  </a:lnTo>
                  <a:lnTo>
                    <a:pt x="185" y="73"/>
                  </a:lnTo>
                  <a:lnTo>
                    <a:pt x="187" y="71"/>
                  </a:lnTo>
                  <a:lnTo>
                    <a:pt x="189" y="71"/>
                  </a:lnTo>
                  <a:lnTo>
                    <a:pt x="192" y="71"/>
                  </a:lnTo>
                  <a:lnTo>
                    <a:pt x="189" y="69"/>
                  </a:lnTo>
                  <a:lnTo>
                    <a:pt x="192" y="69"/>
                  </a:lnTo>
                  <a:lnTo>
                    <a:pt x="194" y="69"/>
                  </a:lnTo>
                  <a:lnTo>
                    <a:pt x="194" y="71"/>
                  </a:lnTo>
                  <a:lnTo>
                    <a:pt x="197" y="71"/>
                  </a:lnTo>
                  <a:lnTo>
                    <a:pt x="199" y="69"/>
                  </a:lnTo>
                  <a:lnTo>
                    <a:pt x="199" y="66"/>
                  </a:lnTo>
                  <a:lnTo>
                    <a:pt x="201" y="66"/>
                  </a:lnTo>
                  <a:lnTo>
                    <a:pt x="201" y="64"/>
                  </a:lnTo>
                  <a:lnTo>
                    <a:pt x="204" y="64"/>
                  </a:lnTo>
                  <a:lnTo>
                    <a:pt x="204" y="61"/>
                  </a:lnTo>
                  <a:lnTo>
                    <a:pt x="201" y="61"/>
                  </a:lnTo>
                  <a:lnTo>
                    <a:pt x="201" y="59"/>
                  </a:lnTo>
                  <a:lnTo>
                    <a:pt x="201" y="57"/>
                  </a:lnTo>
                  <a:lnTo>
                    <a:pt x="201" y="54"/>
                  </a:lnTo>
                  <a:lnTo>
                    <a:pt x="201" y="52"/>
                  </a:lnTo>
                  <a:lnTo>
                    <a:pt x="201" y="50"/>
                  </a:lnTo>
                  <a:lnTo>
                    <a:pt x="201" y="47"/>
                  </a:lnTo>
                  <a:lnTo>
                    <a:pt x="201" y="45"/>
                  </a:lnTo>
                  <a:lnTo>
                    <a:pt x="204" y="45"/>
                  </a:lnTo>
                  <a:lnTo>
                    <a:pt x="204" y="42"/>
                  </a:lnTo>
                  <a:lnTo>
                    <a:pt x="204" y="40"/>
                  </a:lnTo>
                  <a:lnTo>
                    <a:pt x="206" y="40"/>
                  </a:lnTo>
                  <a:lnTo>
                    <a:pt x="204" y="40"/>
                  </a:lnTo>
                  <a:lnTo>
                    <a:pt x="204" y="38"/>
                  </a:lnTo>
                  <a:lnTo>
                    <a:pt x="204" y="35"/>
                  </a:lnTo>
                  <a:lnTo>
                    <a:pt x="206" y="35"/>
                  </a:lnTo>
                  <a:lnTo>
                    <a:pt x="206" y="33"/>
                  </a:lnTo>
                  <a:lnTo>
                    <a:pt x="206" y="31"/>
                  </a:lnTo>
                  <a:lnTo>
                    <a:pt x="208" y="31"/>
                  </a:lnTo>
                  <a:lnTo>
                    <a:pt x="208" y="28"/>
                  </a:lnTo>
                  <a:lnTo>
                    <a:pt x="208" y="26"/>
                  </a:lnTo>
                  <a:lnTo>
                    <a:pt x="206" y="23"/>
                  </a:lnTo>
                  <a:lnTo>
                    <a:pt x="208" y="23"/>
                  </a:lnTo>
                  <a:lnTo>
                    <a:pt x="208" y="21"/>
                  </a:lnTo>
                  <a:lnTo>
                    <a:pt x="211" y="21"/>
                  </a:lnTo>
                  <a:lnTo>
                    <a:pt x="213" y="21"/>
                  </a:lnTo>
                  <a:lnTo>
                    <a:pt x="215" y="21"/>
                  </a:lnTo>
                  <a:lnTo>
                    <a:pt x="215" y="19"/>
                  </a:lnTo>
                  <a:lnTo>
                    <a:pt x="218" y="19"/>
                  </a:lnTo>
                  <a:lnTo>
                    <a:pt x="218" y="16"/>
                  </a:lnTo>
                  <a:lnTo>
                    <a:pt x="220" y="14"/>
                  </a:lnTo>
                  <a:lnTo>
                    <a:pt x="223" y="14"/>
                  </a:lnTo>
                  <a:lnTo>
                    <a:pt x="223" y="12"/>
                  </a:lnTo>
                  <a:lnTo>
                    <a:pt x="225" y="12"/>
                  </a:lnTo>
                  <a:lnTo>
                    <a:pt x="225" y="9"/>
                  </a:lnTo>
                  <a:lnTo>
                    <a:pt x="225" y="7"/>
                  </a:lnTo>
                  <a:lnTo>
                    <a:pt x="227" y="7"/>
                  </a:lnTo>
                  <a:lnTo>
                    <a:pt x="230" y="7"/>
                  </a:lnTo>
                  <a:lnTo>
                    <a:pt x="232" y="7"/>
                  </a:lnTo>
                  <a:lnTo>
                    <a:pt x="234" y="7"/>
                  </a:lnTo>
                  <a:lnTo>
                    <a:pt x="237" y="7"/>
                  </a:lnTo>
                  <a:lnTo>
                    <a:pt x="239" y="7"/>
                  </a:lnTo>
                  <a:lnTo>
                    <a:pt x="239" y="9"/>
                  </a:lnTo>
                  <a:lnTo>
                    <a:pt x="242" y="9"/>
                  </a:lnTo>
                  <a:lnTo>
                    <a:pt x="242" y="7"/>
                  </a:lnTo>
                  <a:lnTo>
                    <a:pt x="242" y="9"/>
                  </a:lnTo>
                  <a:lnTo>
                    <a:pt x="244" y="9"/>
                  </a:lnTo>
                  <a:lnTo>
                    <a:pt x="246" y="9"/>
                  </a:lnTo>
                  <a:lnTo>
                    <a:pt x="249" y="9"/>
                  </a:lnTo>
                  <a:lnTo>
                    <a:pt x="249" y="7"/>
                  </a:lnTo>
                  <a:lnTo>
                    <a:pt x="251" y="7"/>
                  </a:lnTo>
                  <a:lnTo>
                    <a:pt x="253" y="7"/>
                  </a:lnTo>
                  <a:lnTo>
                    <a:pt x="253" y="4"/>
                  </a:lnTo>
                  <a:lnTo>
                    <a:pt x="256" y="4"/>
                  </a:lnTo>
                  <a:lnTo>
                    <a:pt x="258" y="2"/>
                  </a:lnTo>
                  <a:lnTo>
                    <a:pt x="261" y="2"/>
                  </a:lnTo>
                  <a:lnTo>
                    <a:pt x="261" y="0"/>
                  </a:lnTo>
                  <a:lnTo>
                    <a:pt x="263" y="0"/>
                  </a:lnTo>
                  <a:lnTo>
                    <a:pt x="265" y="0"/>
                  </a:lnTo>
                  <a:lnTo>
                    <a:pt x="268" y="0"/>
                  </a:lnTo>
                  <a:lnTo>
                    <a:pt x="270" y="0"/>
                  </a:lnTo>
                  <a:lnTo>
                    <a:pt x="272" y="0"/>
                  </a:lnTo>
                  <a:lnTo>
                    <a:pt x="275" y="0"/>
                  </a:lnTo>
                  <a:lnTo>
                    <a:pt x="275" y="2"/>
                  </a:lnTo>
                  <a:lnTo>
                    <a:pt x="275" y="4"/>
                  </a:lnTo>
                  <a:lnTo>
                    <a:pt x="277" y="4"/>
                  </a:lnTo>
                  <a:lnTo>
                    <a:pt x="280" y="7"/>
                  </a:lnTo>
                  <a:lnTo>
                    <a:pt x="282" y="9"/>
                  </a:lnTo>
                  <a:lnTo>
                    <a:pt x="287" y="12"/>
                  </a:lnTo>
                  <a:lnTo>
                    <a:pt x="289" y="12"/>
                  </a:lnTo>
                  <a:lnTo>
                    <a:pt x="287" y="14"/>
                  </a:lnTo>
                  <a:lnTo>
                    <a:pt x="289" y="14"/>
                  </a:lnTo>
                  <a:lnTo>
                    <a:pt x="291" y="16"/>
                  </a:lnTo>
                  <a:lnTo>
                    <a:pt x="296" y="16"/>
                  </a:lnTo>
                  <a:lnTo>
                    <a:pt x="308" y="21"/>
                  </a:lnTo>
                  <a:lnTo>
                    <a:pt x="313" y="23"/>
                  </a:lnTo>
                  <a:lnTo>
                    <a:pt x="318" y="28"/>
                  </a:lnTo>
                  <a:lnTo>
                    <a:pt x="320" y="35"/>
                  </a:lnTo>
                  <a:lnTo>
                    <a:pt x="318" y="40"/>
                  </a:lnTo>
                  <a:lnTo>
                    <a:pt x="315" y="40"/>
                  </a:lnTo>
                  <a:lnTo>
                    <a:pt x="310" y="45"/>
                  </a:lnTo>
                  <a:lnTo>
                    <a:pt x="303" y="50"/>
                  </a:lnTo>
                  <a:lnTo>
                    <a:pt x="303" y="52"/>
                  </a:lnTo>
                  <a:lnTo>
                    <a:pt x="303" y="54"/>
                  </a:lnTo>
                  <a:lnTo>
                    <a:pt x="303" y="57"/>
                  </a:lnTo>
                  <a:lnTo>
                    <a:pt x="303" y="59"/>
                  </a:lnTo>
                  <a:lnTo>
                    <a:pt x="306" y="59"/>
                  </a:lnTo>
                  <a:lnTo>
                    <a:pt x="308" y="61"/>
                  </a:lnTo>
                  <a:lnTo>
                    <a:pt x="303" y="61"/>
                  </a:lnTo>
                  <a:lnTo>
                    <a:pt x="294" y="69"/>
                  </a:lnTo>
                  <a:lnTo>
                    <a:pt x="289" y="69"/>
                  </a:lnTo>
                  <a:lnTo>
                    <a:pt x="291" y="71"/>
                  </a:lnTo>
                  <a:lnTo>
                    <a:pt x="299" y="71"/>
                  </a:lnTo>
                  <a:lnTo>
                    <a:pt x="303" y="71"/>
                  </a:lnTo>
                  <a:lnTo>
                    <a:pt x="301" y="78"/>
                  </a:lnTo>
                  <a:lnTo>
                    <a:pt x="296" y="83"/>
                  </a:lnTo>
                  <a:lnTo>
                    <a:pt x="294" y="85"/>
                  </a:lnTo>
                  <a:lnTo>
                    <a:pt x="291" y="90"/>
                  </a:lnTo>
                  <a:lnTo>
                    <a:pt x="296" y="107"/>
                  </a:lnTo>
                  <a:lnTo>
                    <a:pt x="299" y="111"/>
                  </a:lnTo>
                  <a:lnTo>
                    <a:pt x="320" y="118"/>
                  </a:lnTo>
                  <a:lnTo>
                    <a:pt x="332" y="133"/>
                  </a:lnTo>
                  <a:lnTo>
                    <a:pt x="344" y="140"/>
                  </a:lnTo>
                  <a:lnTo>
                    <a:pt x="341" y="142"/>
                  </a:lnTo>
                  <a:lnTo>
                    <a:pt x="339" y="149"/>
                  </a:lnTo>
                  <a:lnTo>
                    <a:pt x="336" y="152"/>
                  </a:lnTo>
                  <a:lnTo>
                    <a:pt x="334" y="154"/>
                  </a:lnTo>
                  <a:lnTo>
                    <a:pt x="334" y="156"/>
                  </a:lnTo>
                  <a:lnTo>
                    <a:pt x="332" y="156"/>
                  </a:lnTo>
                  <a:lnTo>
                    <a:pt x="332" y="159"/>
                  </a:lnTo>
                  <a:lnTo>
                    <a:pt x="329" y="159"/>
                  </a:lnTo>
                  <a:lnTo>
                    <a:pt x="332" y="159"/>
                  </a:lnTo>
                  <a:lnTo>
                    <a:pt x="329" y="159"/>
                  </a:lnTo>
                  <a:lnTo>
                    <a:pt x="329" y="161"/>
                  </a:lnTo>
                  <a:lnTo>
                    <a:pt x="327" y="161"/>
                  </a:lnTo>
                  <a:lnTo>
                    <a:pt x="329" y="161"/>
                  </a:lnTo>
                  <a:lnTo>
                    <a:pt x="327" y="161"/>
                  </a:lnTo>
                  <a:lnTo>
                    <a:pt x="327" y="164"/>
                  </a:lnTo>
                  <a:lnTo>
                    <a:pt x="325" y="164"/>
                  </a:lnTo>
                  <a:lnTo>
                    <a:pt x="322" y="168"/>
                  </a:lnTo>
                  <a:lnTo>
                    <a:pt x="313" y="178"/>
                  </a:lnTo>
                  <a:lnTo>
                    <a:pt x="310" y="180"/>
                  </a:lnTo>
                  <a:lnTo>
                    <a:pt x="310" y="183"/>
                  </a:lnTo>
                  <a:lnTo>
                    <a:pt x="310" y="185"/>
                  </a:lnTo>
                  <a:lnTo>
                    <a:pt x="310" y="187"/>
                  </a:lnTo>
                  <a:lnTo>
                    <a:pt x="313" y="190"/>
                  </a:lnTo>
                  <a:lnTo>
                    <a:pt x="313" y="192"/>
                  </a:lnTo>
                  <a:lnTo>
                    <a:pt x="315" y="192"/>
                  </a:lnTo>
                  <a:lnTo>
                    <a:pt x="318" y="194"/>
                  </a:lnTo>
                  <a:lnTo>
                    <a:pt x="320" y="199"/>
                  </a:lnTo>
                  <a:lnTo>
                    <a:pt x="322" y="202"/>
                  </a:lnTo>
                  <a:lnTo>
                    <a:pt x="322" y="204"/>
                  </a:lnTo>
                  <a:lnTo>
                    <a:pt x="325" y="204"/>
                  </a:lnTo>
                  <a:lnTo>
                    <a:pt x="327" y="206"/>
                  </a:lnTo>
                  <a:lnTo>
                    <a:pt x="329" y="216"/>
                  </a:lnTo>
                  <a:lnTo>
                    <a:pt x="332" y="218"/>
                  </a:lnTo>
                  <a:lnTo>
                    <a:pt x="332" y="221"/>
                  </a:lnTo>
                  <a:lnTo>
                    <a:pt x="334" y="221"/>
                  </a:lnTo>
                  <a:lnTo>
                    <a:pt x="339" y="228"/>
                  </a:lnTo>
                  <a:lnTo>
                    <a:pt x="339" y="230"/>
                  </a:lnTo>
                  <a:lnTo>
                    <a:pt x="341" y="235"/>
                  </a:lnTo>
                  <a:lnTo>
                    <a:pt x="341" y="237"/>
                  </a:lnTo>
                  <a:lnTo>
                    <a:pt x="344" y="237"/>
                  </a:lnTo>
                  <a:lnTo>
                    <a:pt x="344" y="242"/>
                  </a:lnTo>
                  <a:lnTo>
                    <a:pt x="346" y="247"/>
                  </a:lnTo>
                  <a:lnTo>
                    <a:pt x="346" y="252"/>
                  </a:lnTo>
                  <a:lnTo>
                    <a:pt x="346" y="254"/>
                  </a:lnTo>
                  <a:lnTo>
                    <a:pt x="346" y="256"/>
                  </a:lnTo>
                  <a:lnTo>
                    <a:pt x="344" y="254"/>
                  </a:lnTo>
                  <a:lnTo>
                    <a:pt x="339" y="254"/>
                  </a:lnTo>
                  <a:lnTo>
                    <a:pt x="339" y="256"/>
                  </a:lnTo>
                  <a:lnTo>
                    <a:pt x="332" y="256"/>
                  </a:lnTo>
                  <a:lnTo>
                    <a:pt x="334" y="259"/>
                  </a:lnTo>
                  <a:lnTo>
                    <a:pt x="339" y="261"/>
                  </a:lnTo>
                  <a:lnTo>
                    <a:pt x="334" y="263"/>
                  </a:lnTo>
                  <a:lnTo>
                    <a:pt x="334" y="266"/>
                  </a:lnTo>
                  <a:lnTo>
                    <a:pt x="334" y="271"/>
                  </a:lnTo>
                  <a:lnTo>
                    <a:pt x="334" y="273"/>
                  </a:lnTo>
                  <a:lnTo>
                    <a:pt x="332" y="275"/>
                  </a:lnTo>
                  <a:lnTo>
                    <a:pt x="329" y="278"/>
                  </a:lnTo>
                  <a:lnTo>
                    <a:pt x="329" y="280"/>
                  </a:lnTo>
                  <a:lnTo>
                    <a:pt x="332" y="280"/>
                  </a:lnTo>
                  <a:lnTo>
                    <a:pt x="334" y="280"/>
                  </a:lnTo>
                  <a:lnTo>
                    <a:pt x="336" y="280"/>
                  </a:lnTo>
                  <a:lnTo>
                    <a:pt x="339" y="280"/>
                  </a:lnTo>
                  <a:lnTo>
                    <a:pt x="339" y="282"/>
                  </a:lnTo>
                  <a:lnTo>
                    <a:pt x="336" y="285"/>
                  </a:lnTo>
                  <a:lnTo>
                    <a:pt x="339" y="285"/>
                  </a:lnTo>
                  <a:lnTo>
                    <a:pt x="339" y="287"/>
                  </a:lnTo>
                  <a:lnTo>
                    <a:pt x="336" y="287"/>
                  </a:lnTo>
                  <a:lnTo>
                    <a:pt x="334" y="287"/>
                  </a:lnTo>
                  <a:lnTo>
                    <a:pt x="329" y="290"/>
                  </a:lnTo>
                  <a:lnTo>
                    <a:pt x="329" y="292"/>
                  </a:lnTo>
                  <a:lnTo>
                    <a:pt x="329" y="294"/>
                  </a:lnTo>
                  <a:lnTo>
                    <a:pt x="329" y="297"/>
                  </a:lnTo>
                  <a:lnTo>
                    <a:pt x="329" y="299"/>
                  </a:lnTo>
                  <a:lnTo>
                    <a:pt x="332" y="301"/>
                  </a:lnTo>
                  <a:lnTo>
                    <a:pt x="332" y="304"/>
                  </a:lnTo>
                  <a:lnTo>
                    <a:pt x="334" y="304"/>
                  </a:lnTo>
                  <a:lnTo>
                    <a:pt x="336" y="304"/>
                  </a:lnTo>
                  <a:lnTo>
                    <a:pt x="339" y="304"/>
                  </a:lnTo>
                  <a:lnTo>
                    <a:pt x="341" y="304"/>
                  </a:lnTo>
                  <a:lnTo>
                    <a:pt x="344" y="304"/>
                  </a:lnTo>
                  <a:lnTo>
                    <a:pt x="346" y="306"/>
                  </a:lnTo>
                  <a:lnTo>
                    <a:pt x="344" y="306"/>
                  </a:lnTo>
                  <a:lnTo>
                    <a:pt x="344" y="309"/>
                  </a:lnTo>
                  <a:lnTo>
                    <a:pt x="346" y="313"/>
                  </a:lnTo>
                  <a:lnTo>
                    <a:pt x="344" y="313"/>
                  </a:lnTo>
                  <a:lnTo>
                    <a:pt x="341" y="316"/>
                  </a:lnTo>
                  <a:lnTo>
                    <a:pt x="341" y="318"/>
                  </a:lnTo>
                  <a:lnTo>
                    <a:pt x="344" y="320"/>
                  </a:lnTo>
                  <a:lnTo>
                    <a:pt x="344" y="323"/>
                  </a:lnTo>
                  <a:lnTo>
                    <a:pt x="344" y="325"/>
                  </a:lnTo>
                  <a:lnTo>
                    <a:pt x="346" y="328"/>
                  </a:lnTo>
                  <a:lnTo>
                    <a:pt x="348" y="330"/>
                  </a:lnTo>
                  <a:lnTo>
                    <a:pt x="351" y="330"/>
                  </a:lnTo>
                  <a:lnTo>
                    <a:pt x="355" y="332"/>
                  </a:lnTo>
                  <a:lnTo>
                    <a:pt x="353" y="332"/>
                  </a:lnTo>
                  <a:lnTo>
                    <a:pt x="355" y="332"/>
                  </a:lnTo>
                  <a:lnTo>
                    <a:pt x="358" y="335"/>
                  </a:lnTo>
                  <a:lnTo>
                    <a:pt x="360" y="337"/>
                  </a:lnTo>
                  <a:lnTo>
                    <a:pt x="358" y="337"/>
                  </a:lnTo>
                  <a:lnTo>
                    <a:pt x="360" y="339"/>
                  </a:lnTo>
                  <a:lnTo>
                    <a:pt x="360" y="342"/>
                  </a:lnTo>
                  <a:lnTo>
                    <a:pt x="360" y="344"/>
                  </a:lnTo>
                  <a:lnTo>
                    <a:pt x="360" y="347"/>
                  </a:lnTo>
                  <a:lnTo>
                    <a:pt x="358" y="347"/>
                  </a:lnTo>
                  <a:lnTo>
                    <a:pt x="358" y="349"/>
                  </a:lnTo>
                  <a:lnTo>
                    <a:pt x="355" y="351"/>
                  </a:lnTo>
                  <a:lnTo>
                    <a:pt x="353" y="351"/>
                  </a:lnTo>
                  <a:lnTo>
                    <a:pt x="353" y="354"/>
                  </a:lnTo>
                  <a:lnTo>
                    <a:pt x="351" y="358"/>
                  </a:lnTo>
                  <a:lnTo>
                    <a:pt x="348" y="358"/>
                  </a:lnTo>
                  <a:lnTo>
                    <a:pt x="341" y="361"/>
                  </a:lnTo>
                  <a:lnTo>
                    <a:pt x="344" y="366"/>
                  </a:lnTo>
                  <a:lnTo>
                    <a:pt x="346" y="366"/>
                  </a:lnTo>
                  <a:lnTo>
                    <a:pt x="346" y="368"/>
                  </a:lnTo>
                  <a:lnTo>
                    <a:pt x="351" y="370"/>
                  </a:lnTo>
                  <a:lnTo>
                    <a:pt x="353" y="373"/>
                  </a:lnTo>
                  <a:lnTo>
                    <a:pt x="355" y="373"/>
                  </a:lnTo>
                  <a:lnTo>
                    <a:pt x="358" y="377"/>
                  </a:lnTo>
                  <a:lnTo>
                    <a:pt x="363" y="380"/>
                  </a:lnTo>
                  <a:lnTo>
                    <a:pt x="365" y="380"/>
                  </a:lnTo>
                  <a:lnTo>
                    <a:pt x="367" y="382"/>
                  </a:lnTo>
                  <a:lnTo>
                    <a:pt x="370" y="382"/>
                  </a:lnTo>
                  <a:lnTo>
                    <a:pt x="370" y="385"/>
                  </a:lnTo>
                  <a:lnTo>
                    <a:pt x="372" y="385"/>
                  </a:lnTo>
                  <a:lnTo>
                    <a:pt x="374" y="385"/>
                  </a:lnTo>
                  <a:lnTo>
                    <a:pt x="374" y="387"/>
                  </a:lnTo>
                  <a:lnTo>
                    <a:pt x="377" y="387"/>
                  </a:lnTo>
                  <a:lnTo>
                    <a:pt x="379" y="389"/>
                  </a:lnTo>
                  <a:lnTo>
                    <a:pt x="382" y="389"/>
                  </a:lnTo>
                  <a:lnTo>
                    <a:pt x="382" y="392"/>
                  </a:lnTo>
                  <a:lnTo>
                    <a:pt x="384" y="392"/>
                  </a:lnTo>
                  <a:lnTo>
                    <a:pt x="384" y="394"/>
                  </a:lnTo>
                  <a:lnTo>
                    <a:pt x="384" y="396"/>
                  </a:lnTo>
                  <a:lnTo>
                    <a:pt x="384" y="399"/>
                  </a:lnTo>
                  <a:lnTo>
                    <a:pt x="386" y="399"/>
                  </a:lnTo>
                  <a:lnTo>
                    <a:pt x="389" y="401"/>
                  </a:lnTo>
                  <a:lnTo>
                    <a:pt x="391" y="401"/>
                  </a:lnTo>
                  <a:lnTo>
                    <a:pt x="391" y="404"/>
                  </a:lnTo>
                  <a:lnTo>
                    <a:pt x="393" y="408"/>
                  </a:lnTo>
                  <a:lnTo>
                    <a:pt x="391" y="413"/>
                  </a:lnTo>
                  <a:lnTo>
                    <a:pt x="391" y="415"/>
                  </a:lnTo>
                  <a:lnTo>
                    <a:pt x="389" y="415"/>
                  </a:lnTo>
                  <a:lnTo>
                    <a:pt x="389" y="420"/>
                  </a:lnTo>
                  <a:lnTo>
                    <a:pt x="389" y="423"/>
                  </a:lnTo>
                  <a:lnTo>
                    <a:pt x="386" y="423"/>
                  </a:lnTo>
                  <a:lnTo>
                    <a:pt x="384" y="430"/>
                  </a:lnTo>
                  <a:lnTo>
                    <a:pt x="382" y="432"/>
                  </a:lnTo>
                  <a:lnTo>
                    <a:pt x="382" y="434"/>
                  </a:lnTo>
                  <a:lnTo>
                    <a:pt x="379" y="434"/>
                  </a:lnTo>
                  <a:lnTo>
                    <a:pt x="374" y="439"/>
                  </a:lnTo>
                  <a:lnTo>
                    <a:pt x="374" y="442"/>
                  </a:lnTo>
                  <a:lnTo>
                    <a:pt x="372" y="442"/>
                  </a:lnTo>
                  <a:lnTo>
                    <a:pt x="370" y="444"/>
                  </a:lnTo>
                  <a:lnTo>
                    <a:pt x="367" y="444"/>
                  </a:lnTo>
                  <a:lnTo>
                    <a:pt x="367" y="446"/>
                  </a:lnTo>
                  <a:lnTo>
                    <a:pt x="365" y="446"/>
                  </a:lnTo>
                  <a:lnTo>
                    <a:pt x="363" y="446"/>
                  </a:lnTo>
                  <a:lnTo>
                    <a:pt x="363" y="449"/>
                  </a:lnTo>
                  <a:lnTo>
                    <a:pt x="363" y="451"/>
                  </a:lnTo>
                  <a:lnTo>
                    <a:pt x="360" y="451"/>
                  </a:lnTo>
                  <a:lnTo>
                    <a:pt x="355" y="456"/>
                  </a:lnTo>
                  <a:lnTo>
                    <a:pt x="355" y="458"/>
                  </a:lnTo>
                  <a:lnTo>
                    <a:pt x="353" y="458"/>
                  </a:lnTo>
                  <a:lnTo>
                    <a:pt x="353" y="461"/>
                  </a:lnTo>
                  <a:lnTo>
                    <a:pt x="351" y="461"/>
                  </a:lnTo>
                  <a:lnTo>
                    <a:pt x="351" y="463"/>
                  </a:lnTo>
                  <a:lnTo>
                    <a:pt x="348" y="463"/>
                  </a:lnTo>
                  <a:lnTo>
                    <a:pt x="348" y="465"/>
                  </a:lnTo>
                  <a:lnTo>
                    <a:pt x="346" y="465"/>
                  </a:lnTo>
                  <a:lnTo>
                    <a:pt x="344" y="468"/>
                  </a:lnTo>
                  <a:lnTo>
                    <a:pt x="344" y="470"/>
                  </a:lnTo>
                  <a:lnTo>
                    <a:pt x="339" y="475"/>
                  </a:lnTo>
                  <a:lnTo>
                    <a:pt x="336" y="477"/>
                  </a:lnTo>
                  <a:lnTo>
                    <a:pt x="334" y="480"/>
                  </a:lnTo>
                  <a:lnTo>
                    <a:pt x="334" y="482"/>
                  </a:lnTo>
                  <a:lnTo>
                    <a:pt x="332" y="482"/>
                  </a:lnTo>
                  <a:lnTo>
                    <a:pt x="329" y="484"/>
                  </a:lnTo>
                  <a:lnTo>
                    <a:pt x="327" y="487"/>
                  </a:lnTo>
                  <a:lnTo>
                    <a:pt x="325" y="487"/>
                  </a:lnTo>
                  <a:lnTo>
                    <a:pt x="327" y="487"/>
                  </a:lnTo>
                  <a:lnTo>
                    <a:pt x="322" y="491"/>
                  </a:lnTo>
                  <a:lnTo>
                    <a:pt x="320" y="494"/>
                  </a:lnTo>
                  <a:lnTo>
                    <a:pt x="318" y="496"/>
                  </a:lnTo>
                  <a:lnTo>
                    <a:pt x="318" y="499"/>
                  </a:lnTo>
                  <a:lnTo>
                    <a:pt x="315" y="499"/>
                  </a:lnTo>
                  <a:lnTo>
                    <a:pt x="313" y="501"/>
                  </a:lnTo>
                  <a:lnTo>
                    <a:pt x="310" y="501"/>
                  </a:lnTo>
                  <a:lnTo>
                    <a:pt x="308" y="503"/>
                  </a:lnTo>
                  <a:lnTo>
                    <a:pt x="306" y="503"/>
                  </a:lnTo>
                  <a:lnTo>
                    <a:pt x="306" y="506"/>
                  </a:lnTo>
                  <a:lnTo>
                    <a:pt x="303" y="506"/>
                  </a:lnTo>
                  <a:lnTo>
                    <a:pt x="303" y="508"/>
                  </a:lnTo>
                  <a:lnTo>
                    <a:pt x="301" y="508"/>
                  </a:lnTo>
                  <a:lnTo>
                    <a:pt x="301" y="510"/>
                  </a:lnTo>
                  <a:lnTo>
                    <a:pt x="299" y="510"/>
                  </a:lnTo>
                  <a:lnTo>
                    <a:pt x="299" y="513"/>
                  </a:lnTo>
                  <a:lnTo>
                    <a:pt x="299" y="515"/>
                  </a:lnTo>
                  <a:lnTo>
                    <a:pt x="296" y="515"/>
                  </a:lnTo>
                  <a:lnTo>
                    <a:pt x="294" y="515"/>
                  </a:lnTo>
                  <a:lnTo>
                    <a:pt x="291" y="515"/>
                  </a:lnTo>
                  <a:lnTo>
                    <a:pt x="291" y="518"/>
                  </a:lnTo>
                  <a:lnTo>
                    <a:pt x="287" y="520"/>
                  </a:lnTo>
                  <a:lnTo>
                    <a:pt x="284" y="522"/>
                  </a:lnTo>
                  <a:lnTo>
                    <a:pt x="284" y="525"/>
                  </a:lnTo>
                  <a:lnTo>
                    <a:pt x="282" y="525"/>
                  </a:lnTo>
                  <a:lnTo>
                    <a:pt x="282" y="527"/>
                  </a:lnTo>
                  <a:lnTo>
                    <a:pt x="280" y="527"/>
                  </a:lnTo>
                  <a:lnTo>
                    <a:pt x="277" y="527"/>
                  </a:lnTo>
                  <a:lnTo>
                    <a:pt x="272" y="532"/>
                  </a:lnTo>
                  <a:lnTo>
                    <a:pt x="272" y="534"/>
                  </a:lnTo>
                  <a:lnTo>
                    <a:pt x="270" y="534"/>
                  </a:lnTo>
                  <a:lnTo>
                    <a:pt x="270" y="537"/>
                  </a:lnTo>
                  <a:lnTo>
                    <a:pt x="268" y="537"/>
                  </a:lnTo>
                  <a:lnTo>
                    <a:pt x="270" y="537"/>
                  </a:lnTo>
                  <a:lnTo>
                    <a:pt x="268" y="537"/>
                  </a:lnTo>
                  <a:lnTo>
                    <a:pt x="268" y="534"/>
                  </a:lnTo>
                  <a:lnTo>
                    <a:pt x="268" y="537"/>
                  </a:lnTo>
                  <a:lnTo>
                    <a:pt x="268" y="539"/>
                  </a:lnTo>
                  <a:lnTo>
                    <a:pt x="268" y="537"/>
                  </a:lnTo>
                  <a:lnTo>
                    <a:pt x="268" y="539"/>
                  </a:lnTo>
                  <a:lnTo>
                    <a:pt x="268" y="537"/>
                  </a:lnTo>
                  <a:lnTo>
                    <a:pt x="268" y="539"/>
                  </a:lnTo>
                  <a:lnTo>
                    <a:pt x="265" y="539"/>
                  </a:lnTo>
                  <a:lnTo>
                    <a:pt x="263" y="539"/>
                  </a:lnTo>
                  <a:lnTo>
                    <a:pt x="265" y="539"/>
                  </a:lnTo>
                  <a:lnTo>
                    <a:pt x="263" y="539"/>
                  </a:lnTo>
                  <a:lnTo>
                    <a:pt x="263" y="537"/>
                  </a:lnTo>
                  <a:lnTo>
                    <a:pt x="263" y="539"/>
                  </a:lnTo>
                  <a:lnTo>
                    <a:pt x="265" y="539"/>
                  </a:lnTo>
                  <a:lnTo>
                    <a:pt x="265" y="537"/>
                  </a:lnTo>
                  <a:lnTo>
                    <a:pt x="263" y="537"/>
                  </a:lnTo>
                  <a:lnTo>
                    <a:pt x="263" y="539"/>
                  </a:lnTo>
                  <a:lnTo>
                    <a:pt x="263" y="541"/>
                  </a:lnTo>
                  <a:lnTo>
                    <a:pt x="263" y="539"/>
                  </a:lnTo>
                  <a:lnTo>
                    <a:pt x="261" y="539"/>
                  </a:lnTo>
                  <a:lnTo>
                    <a:pt x="258" y="539"/>
                  </a:lnTo>
                  <a:lnTo>
                    <a:pt x="258" y="541"/>
                  </a:lnTo>
                  <a:lnTo>
                    <a:pt x="261" y="541"/>
                  </a:lnTo>
                  <a:lnTo>
                    <a:pt x="258" y="541"/>
                  </a:lnTo>
                  <a:lnTo>
                    <a:pt x="256" y="541"/>
                  </a:lnTo>
                  <a:lnTo>
                    <a:pt x="256" y="539"/>
                  </a:lnTo>
                  <a:lnTo>
                    <a:pt x="253" y="539"/>
                  </a:lnTo>
                  <a:lnTo>
                    <a:pt x="256" y="539"/>
                  </a:lnTo>
                  <a:lnTo>
                    <a:pt x="253" y="539"/>
                  </a:lnTo>
                  <a:lnTo>
                    <a:pt x="253" y="537"/>
                  </a:lnTo>
                  <a:lnTo>
                    <a:pt x="253" y="539"/>
                  </a:lnTo>
                  <a:lnTo>
                    <a:pt x="251" y="539"/>
                  </a:lnTo>
                  <a:lnTo>
                    <a:pt x="253" y="539"/>
                  </a:lnTo>
                  <a:lnTo>
                    <a:pt x="251" y="539"/>
                  </a:lnTo>
                  <a:lnTo>
                    <a:pt x="251" y="537"/>
                  </a:lnTo>
                  <a:lnTo>
                    <a:pt x="251" y="539"/>
                  </a:lnTo>
                  <a:lnTo>
                    <a:pt x="249" y="539"/>
                  </a:lnTo>
                  <a:lnTo>
                    <a:pt x="249" y="537"/>
                  </a:lnTo>
                  <a:lnTo>
                    <a:pt x="251" y="537"/>
                  </a:lnTo>
                  <a:lnTo>
                    <a:pt x="249" y="537"/>
                  </a:lnTo>
                  <a:lnTo>
                    <a:pt x="251" y="537"/>
                  </a:lnTo>
                  <a:lnTo>
                    <a:pt x="249" y="537"/>
                  </a:lnTo>
                  <a:lnTo>
                    <a:pt x="251" y="537"/>
                  </a:lnTo>
                  <a:lnTo>
                    <a:pt x="249" y="537"/>
                  </a:lnTo>
                  <a:lnTo>
                    <a:pt x="249" y="534"/>
                  </a:lnTo>
                  <a:lnTo>
                    <a:pt x="249" y="537"/>
                  </a:lnTo>
                  <a:lnTo>
                    <a:pt x="249" y="534"/>
                  </a:lnTo>
                  <a:lnTo>
                    <a:pt x="249" y="537"/>
                  </a:lnTo>
                  <a:lnTo>
                    <a:pt x="249" y="539"/>
                  </a:lnTo>
                  <a:lnTo>
                    <a:pt x="249" y="537"/>
                  </a:lnTo>
                  <a:lnTo>
                    <a:pt x="249" y="539"/>
                  </a:lnTo>
                  <a:lnTo>
                    <a:pt x="249" y="537"/>
                  </a:lnTo>
                  <a:lnTo>
                    <a:pt x="246" y="537"/>
                  </a:lnTo>
                  <a:lnTo>
                    <a:pt x="244" y="537"/>
                  </a:lnTo>
                  <a:lnTo>
                    <a:pt x="246" y="537"/>
                  </a:lnTo>
                  <a:lnTo>
                    <a:pt x="244" y="537"/>
                  </a:lnTo>
                  <a:lnTo>
                    <a:pt x="244" y="539"/>
                  </a:lnTo>
                  <a:lnTo>
                    <a:pt x="244" y="537"/>
                  </a:lnTo>
                  <a:lnTo>
                    <a:pt x="244" y="539"/>
                  </a:lnTo>
                  <a:lnTo>
                    <a:pt x="242" y="539"/>
                  </a:lnTo>
                  <a:lnTo>
                    <a:pt x="244" y="539"/>
                  </a:lnTo>
                  <a:lnTo>
                    <a:pt x="242" y="539"/>
                  </a:lnTo>
                  <a:lnTo>
                    <a:pt x="242" y="541"/>
                  </a:lnTo>
                  <a:lnTo>
                    <a:pt x="244" y="541"/>
                  </a:lnTo>
                  <a:lnTo>
                    <a:pt x="242" y="541"/>
                  </a:lnTo>
                  <a:lnTo>
                    <a:pt x="242" y="539"/>
                  </a:lnTo>
                  <a:lnTo>
                    <a:pt x="239" y="539"/>
                  </a:lnTo>
                  <a:lnTo>
                    <a:pt x="242" y="539"/>
                  </a:lnTo>
                  <a:lnTo>
                    <a:pt x="242" y="541"/>
                  </a:lnTo>
                  <a:lnTo>
                    <a:pt x="239" y="541"/>
                  </a:lnTo>
                  <a:lnTo>
                    <a:pt x="239" y="539"/>
                  </a:lnTo>
                  <a:lnTo>
                    <a:pt x="239" y="541"/>
                  </a:lnTo>
                  <a:lnTo>
                    <a:pt x="242" y="541"/>
                  </a:lnTo>
                  <a:lnTo>
                    <a:pt x="239" y="541"/>
                  </a:lnTo>
                  <a:lnTo>
                    <a:pt x="242" y="541"/>
                  </a:lnTo>
                  <a:lnTo>
                    <a:pt x="239" y="541"/>
                  </a:lnTo>
                  <a:lnTo>
                    <a:pt x="239" y="544"/>
                  </a:lnTo>
                  <a:lnTo>
                    <a:pt x="242" y="541"/>
                  </a:lnTo>
                  <a:lnTo>
                    <a:pt x="242" y="544"/>
                  </a:lnTo>
                  <a:lnTo>
                    <a:pt x="239" y="544"/>
                  </a:lnTo>
                  <a:lnTo>
                    <a:pt x="239" y="541"/>
                  </a:lnTo>
                  <a:lnTo>
                    <a:pt x="239" y="544"/>
                  </a:lnTo>
                  <a:lnTo>
                    <a:pt x="239" y="541"/>
                  </a:lnTo>
                  <a:lnTo>
                    <a:pt x="239" y="539"/>
                  </a:lnTo>
                  <a:lnTo>
                    <a:pt x="239" y="541"/>
                  </a:lnTo>
                  <a:lnTo>
                    <a:pt x="237" y="541"/>
                  </a:lnTo>
                  <a:lnTo>
                    <a:pt x="234" y="541"/>
                  </a:lnTo>
                  <a:lnTo>
                    <a:pt x="237" y="539"/>
                  </a:lnTo>
                  <a:lnTo>
                    <a:pt x="234" y="539"/>
                  </a:lnTo>
                  <a:lnTo>
                    <a:pt x="234" y="541"/>
                  </a:lnTo>
                  <a:lnTo>
                    <a:pt x="234" y="539"/>
                  </a:lnTo>
                  <a:lnTo>
                    <a:pt x="234" y="541"/>
                  </a:lnTo>
                  <a:lnTo>
                    <a:pt x="232" y="541"/>
                  </a:lnTo>
                  <a:lnTo>
                    <a:pt x="232" y="544"/>
                  </a:lnTo>
                  <a:lnTo>
                    <a:pt x="232" y="541"/>
                  </a:lnTo>
                  <a:lnTo>
                    <a:pt x="232" y="544"/>
                  </a:lnTo>
                  <a:lnTo>
                    <a:pt x="232" y="541"/>
                  </a:lnTo>
                  <a:lnTo>
                    <a:pt x="230" y="541"/>
                  </a:lnTo>
                  <a:lnTo>
                    <a:pt x="230" y="544"/>
                  </a:lnTo>
                  <a:lnTo>
                    <a:pt x="230" y="541"/>
                  </a:lnTo>
                  <a:lnTo>
                    <a:pt x="227" y="541"/>
                  </a:lnTo>
                  <a:lnTo>
                    <a:pt x="225" y="541"/>
                  </a:lnTo>
                  <a:lnTo>
                    <a:pt x="225" y="539"/>
                  </a:lnTo>
                  <a:lnTo>
                    <a:pt x="225" y="541"/>
                  </a:lnTo>
                  <a:lnTo>
                    <a:pt x="225" y="544"/>
                  </a:lnTo>
                  <a:lnTo>
                    <a:pt x="223" y="544"/>
                  </a:lnTo>
                  <a:lnTo>
                    <a:pt x="225" y="544"/>
                  </a:lnTo>
                  <a:lnTo>
                    <a:pt x="223" y="544"/>
                  </a:lnTo>
                  <a:lnTo>
                    <a:pt x="225" y="544"/>
                  </a:lnTo>
                  <a:lnTo>
                    <a:pt x="225" y="546"/>
                  </a:lnTo>
                  <a:lnTo>
                    <a:pt x="227" y="546"/>
                  </a:lnTo>
                  <a:lnTo>
                    <a:pt x="227" y="548"/>
                  </a:lnTo>
                  <a:lnTo>
                    <a:pt x="227" y="546"/>
                  </a:lnTo>
                  <a:lnTo>
                    <a:pt x="227" y="548"/>
                  </a:lnTo>
                  <a:lnTo>
                    <a:pt x="227" y="546"/>
                  </a:lnTo>
                  <a:lnTo>
                    <a:pt x="225" y="546"/>
                  </a:lnTo>
                  <a:lnTo>
                    <a:pt x="223" y="546"/>
                  </a:lnTo>
                  <a:lnTo>
                    <a:pt x="225" y="546"/>
                  </a:lnTo>
                  <a:lnTo>
                    <a:pt x="223" y="546"/>
                  </a:lnTo>
                  <a:lnTo>
                    <a:pt x="223" y="544"/>
                  </a:lnTo>
                  <a:lnTo>
                    <a:pt x="223" y="546"/>
                  </a:lnTo>
                  <a:lnTo>
                    <a:pt x="225" y="546"/>
                  </a:lnTo>
                  <a:lnTo>
                    <a:pt x="225" y="544"/>
                  </a:lnTo>
                  <a:lnTo>
                    <a:pt x="225" y="546"/>
                  </a:lnTo>
                  <a:lnTo>
                    <a:pt x="225" y="544"/>
                  </a:lnTo>
                  <a:lnTo>
                    <a:pt x="223" y="544"/>
                  </a:lnTo>
                  <a:lnTo>
                    <a:pt x="225" y="544"/>
                  </a:lnTo>
                  <a:lnTo>
                    <a:pt x="223" y="544"/>
                  </a:lnTo>
                  <a:lnTo>
                    <a:pt x="220" y="544"/>
                  </a:lnTo>
                  <a:lnTo>
                    <a:pt x="223" y="544"/>
                  </a:lnTo>
                  <a:lnTo>
                    <a:pt x="223" y="546"/>
                  </a:lnTo>
                  <a:lnTo>
                    <a:pt x="220" y="546"/>
                  </a:lnTo>
                  <a:lnTo>
                    <a:pt x="223" y="546"/>
                  </a:lnTo>
                  <a:lnTo>
                    <a:pt x="220" y="546"/>
                  </a:lnTo>
                  <a:lnTo>
                    <a:pt x="220" y="544"/>
                  </a:lnTo>
                  <a:lnTo>
                    <a:pt x="220" y="541"/>
                  </a:lnTo>
                  <a:lnTo>
                    <a:pt x="220" y="544"/>
                  </a:lnTo>
                  <a:lnTo>
                    <a:pt x="220" y="541"/>
                  </a:lnTo>
                  <a:lnTo>
                    <a:pt x="218" y="541"/>
                  </a:lnTo>
                  <a:lnTo>
                    <a:pt x="218" y="544"/>
                  </a:lnTo>
                  <a:lnTo>
                    <a:pt x="220" y="544"/>
                  </a:lnTo>
                  <a:lnTo>
                    <a:pt x="218" y="544"/>
                  </a:lnTo>
                  <a:lnTo>
                    <a:pt x="220" y="544"/>
                  </a:lnTo>
                  <a:lnTo>
                    <a:pt x="220" y="546"/>
                  </a:lnTo>
                  <a:lnTo>
                    <a:pt x="218" y="544"/>
                  </a:lnTo>
                  <a:lnTo>
                    <a:pt x="215" y="544"/>
                  </a:lnTo>
                  <a:lnTo>
                    <a:pt x="218" y="544"/>
                  </a:lnTo>
                  <a:lnTo>
                    <a:pt x="218" y="546"/>
                  </a:lnTo>
                  <a:lnTo>
                    <a:pt x="218" y="544"/>
                  </a:lnTo>
                  <a:lnTo>
                    <a:pt x="218" y="546"/>
                  </a:lnTo>
                  <a:lnTo>
                    <a:pt x="215" y="546"/>
                  </a:lnTo>
                  <a:lnTo>
                    <a:pt x="218" y="546"/>
                  </a:lnTo>
                  <a:lnTo>
                    <a:pt x="215" y="546"/>
                  </a:lnTo>
                  <a:lnTo>
                    <a:pt x="215" y="544"/>
                  </a:lnTo>
                  <a:lnTo>
                    <a:pt x="213" y="544"/>
                  </a:lnTo>
                  <a:lnTo>
                    <a:pt x="215" y="544"/>
                  </a:lnTo>
                  <a:lnTo>
                    <a:pt x="213" y="544"/>
                  </a:lnTo>
                  <a:lnTo>
                    <a:pt x="213" y="541"/>
                  </a:lnTo>
                  <a:lnTo>
                    <a:pt x="213" y="544"/>
                  </a:lnTo>
                  <a:lnTo>
                    <a:pt x="211" y="544"/>
                  </a:lnTo>
                  <a:lnTo>
                    <a:pt x="211" y="541"/>
                  </a:lnTo>
                  <a:lnTo>
                    <a:pt x="208" y="539"/>
                  </a:lnTo>
                  <a:lnTo>
                    <a:pt x="208" y="541"/>
                  </a:lnTo>
                  <a:lnTo>
                    <a:pt x="208" y="539"/>
                  </a:lnTo>
                  <a:lnTo>
                    <a:pt x="208" y="541"/>
                  </a:lnTo>
                  <a:lnTo>
                    <a:pt x="211" y="541"/>
                  </a:lnTo>
                  <a:lnTo>
                    <a:pt x="208" y="541"/>
                  </a:lnTo>
                  <a:lnTo>
                    <a:pt x="211" y="541"/>
                  </a:lnTo>
                  <a:lnTo>
                    <a:pt x="211" y="544"/>
                  </a:lnTo>
                  <a:lnTo>
                    <a:pt x="211" y="546"/>
                  </a:lnTo>
                  <a:lnTo>
                    <a:pt x="213" y="546"/>
                  </a:lnTo>
                  <a:lnTo>
                    <a:pt x="213" y="548"/>
                  </a:lnTo>
                  <a:lnTo>
                    <a:pt x="213" y="546"/>
                  </a:lnTo>
                  <a:lnTo>
                    <a:pt x="213" y="548"/>
                  </a:lnTo>
                  <a:lnTo>
                    <a:pt x="211" y="548"/>
                  </a:lnTo>
                  <a:lnTo>
                    <a:pt x="211" y="546"/>
                  </a:lnTo>
                  <a:lnTo>
                    <a:pt x="211" y="548"/>
                  </a:lnTo>
                  <a:lnTo>
                    <a:pt x="211" y="546"/>
                  </a:lnTo>
                  <a:lnTo>
                    <a:pt x="208" y="546"/>
                  </a:lnTo>
                  <a:lnTo>
                    <a:pt x="206" y="546"/>
                  </a:lnTo>
                  <a:lnTo>
                    <a:pt x="206" y="544"/>
                  </a:lnTo>
                  <a:lnTo>
                    <a:pt x="206" y="546"/>
                  </a:lnTo>
                  <a:lnTo>
                    <a:pt x="208" y="546"/>
                  </a:lnTo>
                  <a:lnTo>
                    <a:pt x="208" y="548"/>
                  </a:lnTo>
                  <a:lnTo>
                    <a:pt x="206" y="548"/>
                  </a:lnTo>
                  <a:lnTo>
                    <a:pt x="206" y="551"/>
                  </a:lnTo>
                  <a:lnTo>
                    <a:pt x="208" y="551"/>
                  </a:lnTo>
                  <a:lnTo>
                    <a:pt x="206" y="551"/>
                  </a:lnTo>
                  <a:lnTo>
                    <a:pt x="208" y="551"/>
                  </a:lnTo>
                  <a:lnTo>
                    <a:pt x="208" y="553"/>
                  </a:lnTo>
                  <a:lnTo>
                    <a:pt x="206" y="553"/>
                  </a:lnTo>
                  <a:lnTo>
                    <a:pt x="206" y="551"/>
                  </a:lnTo>
                  <a:lnTo>
                    <a:pt x="204" y="551"/>
                  </a:lnTo>
                  <a:lnTo>
                    <a:pt x="204" y="548"/>
                  </a:lnTo>
                  <a:lnTo>
                    <a:pt x="201" y="548"/>
                  </a:lnTo>
                  <a:lnTo>
                    <a:pt x="204" y="548"/>
                  </a:lnTo>
                  <a:lnTo>
                    <a:pt x="204" y="551"/>
                  </a:lnTo>
                  <a:lnTo>
                    <a:pt x="206" y="551"/>
                  </a:lnTo>
                  <a:lnTo>
                    <a:pt x="204" y="551"/>
                  </a:lnTo>
                  <a:lnTo>
                    <a:pt x="204" y="553"/>
                  </a:lnTo>
                  <a:lnTo>
                    <a:pt x="201" y="551"/>
                  </a:lnTo>
                  <a:lnTo>
                    <a:pt x="201" y="553"/>
                  </a:lnTo>
                  <a:lnTo>
                    <a:pt x="204" y="553"/>
                  </a:lnTo>
                  <a:lnTo>
                    <a:pt x="201" y="553"/>
                  </a:lnTo>
                  <a:lnTo>
                    <a:pt x="201" y="551"/>
                  </a:lnTo>
                  <a:lnTo>
                    <a:pt x="199" y="551"/>
                  </a:lnTo>
                  <a:lnTo>
                    <a:pt x="199" y="548"/>
                  </a:lnTo>
                  <a:lnTo>
                    <a:pt x="201" y="548"/>
                  </a:lnTo>
                  <a:lnTo>
                    <a:pt x="199" y="548"/>
                  </a:lnTo>
                  <a:lnTo>
                    <a:pt x="199" y="546"/>
                  </a:lnTo>
                  <a:lnTo>
                    <a:pt x="201" y="546"/>
                  </a:lnTo>
                  <a:lnTo>
                    <a:pt x="201" y="548"/>
                  </a:lnTo>
                  <a:lnTo>
                    <a:pt x="201" y="546"/>
                  </a:lnTo>
                  <a:lnTo>
                    <a:pt x="199" y="546"/>
                  </a:lnTo>
                  <a:lnTo>
                    <a:pt x="201" y="546"/>
                  </a:lnTo>
                  <a:lnTo>
                    <a:pt x="199" y="546"/>
                  </a:lnTo>
                  <a:lnTo>
                    <a:pt x="199" y="544"/>
                  </a:lnTo>
                  <a:lnTo>
                    <a:pt x="199" y="546"/>
                  </a:lnTo>
                  <a:lnTo>
                    <a:pt x="199" y="548"/>
                  </a:lnTo>
                  <a:lnTo>
                    <a:pt x="197" y="548"/>
                  </a:lnTo>
                  <a:lnTo>
                    <a:pt x="197" y="546"/>
                  </a:lnTo>
                  <a:lnTo>
                    <a:pt x="197" y="548"/>
                  </a:lnTo>
                  <a:lnTo>
                    <a:pt x="197" y="546"/>
                  </a:lnTo>
                  <a:lnTo>
                    <a:pt x="197" y="548"/>
                  </a:lnTo>
                  <a:lnTo>
                    <a:pt x="197" y="546"/>
                  </a:lnTo>
                  <a:lnTo>
                    <a:pt x="197" y="548"/>
                  </a:lnTo>
                  <a:lnTo>
                    <a:pt x="194" y="54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7" name="Freeform 50316"/>
            <p:cNvSpPr>
              <a:spLocks noEditPoints="1"/>
            </p:cNvSpPr>
            <p:nvPr/>
          </p:nvSpPr>
          <p:spPr bwMode="auto">
            <a:xfrm>
              <a:off x="3038473" y="3321062"/>
              <a:ext cx="430213" cy="592140"/>
            </a:xfrm>
            <a:custGeom>
              <a:avLst/>
              <a:gdLst>
                <a:gd name="T0" fmla="*/ 52 w 271"/>
                <a:gd name="T1" fmla="*/ 371 h 373"/>
                <a:gd name="T2" fmla="*/ 138 w 271"/>
                <a:gd name="T3" fmla="*/ 368 h 373"/>
                <a:gd name="T4" fmla="*/ 107 w 271"/>
                <a:gd name="T5" fmla="*/ 366 h 373"/>
                <a:gd name="T6" fmla="*/ 78 w 271"/>
                <a:gd name="T7" fmla="*/ 366 h 373"/>
                <a:gd name="T8" fmla="*/ 135 w 271"/>
                <a:gd name="T9" fmla="*/ 366 h 373"/>
                <a:gd name="T10" fmla="*/ 100 w 271"/>
                <a:gd name="T11" fmla="*/ 363 h 373"/>
                <a:gd name="T12" fmla="*/ 55 w 271"/>
                <a:gd name="T13" fmla="*/ 366 h 373"/>
                <a:gd name="T14" fmla="*/ 36 w 271"/>
                <a:gd name="T15" fmla="*/ 363 h 373"/>
                <a:gd name="T16" fmla="*/ 40 w 271"/>
                <a:gd name="T17" fmla="*/ 361 h 373"/>
                <a:gd name="T18" fmla="*/ 26 w 271"/>
                <a:gd name="T19" fmla="*/ 361 h 373"/>
                <a:gd name="T20" fmla="*/ 100 w 271"/>
                <a:gd name="T21" fmla="*/ 361 h 373"/>
                <a:gd name="T22" fmla="*/ 21 w 271"/>
                <a:gd name="T23" fmla="*/ 359 h 373"/>
                <a:gd name="T24" fmla="*/ 45 w 271"/>
                <a:gd name="T25" fmla="*/ 356 h 373"/>
                <a:gd name="T26" fmla="*/ 64 w 271"/>
                <a:gd name="T27" fmla="*/ 359 h 373"/>
                <a:gd name="T28" fmla="*/ 40 w 271"/>
                <a:gd name="T29" fmla="*/ 356 h 373"/>
                <a:gd name="T30" fmla="*/ 90 w 271"/>
                <a:gd name="T31" fmla="*/ 354 h 373"/>
                <a:gd name="T32" fmla="*/ 86 w 271"/>
                <a:gd name="T33" fmla="*/ 354 h 373"/>
                <a:gd name="T34" fmla="*/ 199 w 271"/>
                <a:gd name="T35" fmla="*/ 352 h 373"/>
                <a:gd name="T36" fmla="*/ 76 w 271"/>
                <a:gd name="T37" fmla="*/ 354 h 373"/>
                <a:gd name="T38" fmla="*/ 102 w 271"/>
                <a:gd name="T39" fmla="*/ 349 h 373"/>
                <a:gd name="T40" fmla="*/ 78 w 271"/>
                <a:gd name="T41" fmla="*/ 354 h 373"/>
                <a:gd name="T42" fmla="*/ 197 w 271"/>
                <a:gd name="T43" fmla="*/ 349 h 373"/>
                <a:gd name="T44" fmla="*/ 214 w 271"/>
                <a:gd name="T45" fmla="*/ 349 h 373"/>
                <a:gd name="T46" fmla="*/ 48 w 271"/>
                <a:gd name="T47" fmla="*/ 349 h 373"/>
                <a:gd name="T48" fmla="*/ 71 w 271"/>
                <a:gd name="T49" fmla="*/ 347 h 373"/>
                <a:gd name="T50" fmla="*/ 36 w 271"/>
                <a:gd name="T51" fmla="*/ 349 h 373"/>
                <a:gd name="T52" fmla="*/ 78 w 271"/>
                <a:gd name="T53" fmla="*/ 344 h 373"/>
                <a:gd name="T54" fmla="*/ 12 w 271"/>
                <a:gd name="T55" fmla="*/ 347 h 373"/>
                <a:gd name="T56" fmla="*/ 209 w 271"/>
                <a:gd name="T57" fmla="*/ 349 h 373"/>
                <a:gd name="T58" fmla="*/ 88 w 271"/>
                <a:gd name="T59" fmla="*/ 344 h 373"/>
                <a:gd name="T60" fmla="*/ 14 w 271"/>
                <a:gd name="T61" fmla="*/ 344 h 373"/>
                <a:gd name="T62" fmla="*/ 218 w 271"/>
                <a:gd name="T63" fmla="*/ 344 h 373"/>
                <a:gd name="T64" fmla="*/ 59 w 271"/>
                <a:gd name="T65" fmla="*/ 344 h 373"/>
                <a:gd name="T66" fmla="*/ 100 w 271"/>
                <a:gd name="T67" fmla="*/ 347 h 373"/>
                <a:gd name="T68" fmla="*/ 59 w 271"/>
                <a:gd name="T69" fmla="*/ 340 h 373"/>
                <a:gd name="T70" fmla="*/ 12 w 271"/>
                <a:gd name="T71" fmla="*/ 342 h 373"/>
                <a:gd name="T72" fmla="*/ 74 w 271"/>
                <a:gd name="T73" fmla="*/ 340 h 373"/>
                <a:gd name="T74" fmla="*/ 263 w 271"/>
                <a:gd name="T75" fmla="*/ 340 h 373"/>
                <a:gd name="T76" fmla="*/ 62 w 271"/>
                <a:gd name="T77" fmla="*/ 340 h 373"/>
                <a:gd name="T78" fmla="*/ 78 w 271"/>
                <a:gd name="T79" fmla="*/ 337 h 373"/>
                <a:gd name="T80" fmla="*/ 244 w 271"/>
                <a:gd name="T81" fmla="*/ 337 h 373"/>
                <a:gd name="T82" fmla="*/ 55 w 271"/>
                <a:gd name="T83" fmla="*/ 337 h 373"/>
                <a:gd name="T84" fmla="*/ 71 w 271"/>
                <a:gd name="T85" fmla="*/ 335 h 373"/>
                <a:gd name="T86" fmla="*/ 55 w 271"/>
                <a:gd name="T87" fmla="*/ 333 h 373"/>
                <a:gd name="T88" fmla="*/ 81 w 271"/>
                <a:gd name="T89" fmla="*/ 330 h 373"/>
                <a:gd name="T90" fmla="*/ 69 w 271"/>
                <a:gd name="T91" fmla="*/ 333 h 373"/>
                <a:gd name="T92" fmla="*/ 64 w 271"/>
                <a:gd name="T93" fmla="*/ 318 h 373"/>
                <a:gd name="T94" fmla="*/ 67 w 271"/>
                <a:gd name="T95" fmla="*/ 318 h 373"/>
                <a:gd name="T96" fmla="*/ 71 w 271"/>
                <a:gd name="T97" fmla="*/ 287 h 373"/>
                <a:gd name="T98" fmla="*/ 71 w 271"/>
                <a:gd name="T99" fmla="*/ 276 h 373"/>
                <a:gd name="T100" fmla="*/ 62 w 271"/>
                <a:gd name="T101" fmla="*/ 230 h 373"/>
                <a:gd name="T102" fmla="*/ 64 w 271"/>
                <a:gd name="T103" fmla="*/ 204 h 373"/>
                <a:gd name="T104" fmla="*/ 59 w 271"/>
                <a:gd name="T105" fmla="*/ 202 h 373"/>
                <a:gd name="T106" fmla="*/ 48 w 271"/>
                <a:gd name="T107" fmla="*/ 195 h 373"/>
                <a:gd name="T108" fmla="*/ 83 w 271"/>
                <a:gd name="T109" fmla="*/ 183 h 373"/>
                <a:gd name="T110" fmla="*/ 59 w 271"/>
                <a:gd name="T111" fmla="*/ 181 h 373"/>
                <a:gd name="T112" fmla="*/ 83 w 271"/>
                <a:gd name="T113" fmla="*/ 176 h 373"/>
                <a:gd name="T114" fmla="*/ 100 w 271"/>
                <a:gd name="T115" fmla="*/ 164 h 373"/>
                <a:gd name="T116" fmla="*/ 109 w 271"/>
                <a:gd name="T117" fmla="*/ 154 h 373"/>
                <a:gd name="T118" fmla="*/ 138 w 271"/>
                <a:gd name="T119" fmla="*/ 140 h 373"/>
                <a:gd name="T120" fmla="*/ 183 w 271"/>
                <a:gd name="T121" fmla="*/ 83 h 373"/>
                <a:gd name="T122" fmla="*/ 173 w 271"/>
                <a:gd name="T123" fmla="*/ 50 h 373"/>
                <a:gd name="T124" fmla="*/ 142 w 271"/>
                <a:gd name="T125" fmla="*/ 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 h="373">
                  <a:moveTo>
                    <a:pt x="62" y="373"/>
                  </a:moveTo>
                  <a:lnTo>
                    <a:pt x="59" y="373"/>
                  </a:lnTo>
                  <a:lnTo>
                    <a:pt x="62" y="373"/>
                  </a:lnTo>
                  <a:close/>
                  <a:moveTo>
                    <a:pt x="102" y="373"/>
                  </a:moveTo>
                  <a:lnTo>
                    <a:pt x="100" y="373"/>
                  </a:lnTo>
                  <a:lnTo>
                    <a:pt x="102" y="373"/>
                  </a:lnTo>
                  <a:close/>
                  <a:moveTo>
                    <a:pt x="67" y="373"/>
                  </a:moveTo>
                  <a:lnTo>
                    <a:pt x="69" y="373"/>
                  </a:lnTo>
                  <a:lnTo>
                    <a:pt x="67" y="373"/>
                  </a:lnTo>
                  <a:close/>
                  <a:moveTo>
                    <a:pt x="69" y="373"/>
                  </a:moveTo>
                  <a:lnTo>
                    <a:pt x="67" y="373"/>
                  </a:lnTo>
                  <a:lnTo>
                    <a:pt x="69" y="373"/>
                  </a:lnTo>
                  <a:close/>
                  <a:moveTo>
                    <a:pt x="102" y="373"/>
                  </a:moveTo>
                  <a:lnTo>
                    <a:pt x="100" y="373"/>
                  </a:lnTo>
                  <a:lnTo>
                    <a:pt x="102" y="373"/>
                  </a:lnTo>
                  <a:lnTo>
                    <a:pt x="100" y="373"/>
                  </a:lnTo>
                  <a:lnTo>
                    <a:pt x="102" y="373"/>
                  </a:lnTo>
                  <a:close/>
                  <a:moveTo>
                    <a:pt x="128" y="371"/>
                  </a:moveTo>
                  <a:lnTo>
                    <a:pt x="131" y="371"/>
                  </a:lnTo>
                  <a:lnTo>
                    <a:pt x="128" y="371"/>
                  </a:lnTo>
                  <a:close/>
                  <a:moveTo>
                    <a:pt x="100" y="371"/>
                  </a:moveTo>
                  <a:lnTo>
                    <a:pt x="100" y="373"/>
                  </a:lnTo>
                  <a:lnTo>
                    <a:pt x="100" y="371"/>
                  </a:lnTo>
                  <a:lnTo>
                    <a:pt x="100" y="373"/>
                  </a:lnTo>
                  <a:lnTo>
                    <a:pt x="100" y="371"/>
                  </a:lnTo>
                  <a:close/>
                  <a:moveTo>
                    <a:pt x="102" y="371"/>
                  </a:moveTo>
                  <a:lnTo>
                    <a:pt x="100" y="371"/>
                  </a:lnTo>
                  <a:lnTo>
                    <a:pt x="102" y="371"/>
                  </a:lnTo>
                  <a:lnTo>
                    <a:pt x="102" y="373"/>
                  </a:lnTo>
                  <a:lnTo>
                    <a:pt x="102" y="371"/>
                  </a:lnTo>
                  <a:lnTo>
                    <a:pt x="102" y="373"/>
                  </a:lnTo>
                  <a:lnTo>
                    <a:pt x="102" y="371"/>
                  </a:lnTo>
                  <a:lnTo>
                    <a:pt x="100" y="373"/>
                  </a:lnTo>
                  <a:lnTo>
                    <a:pt x="100" y="371"/>
                  </a:lnTo>
                  <a:lnTo>
                    <a:pt x="102" y="371"/>
                  </a:lnTo>
                  <a:close/>
                  <a:moveTo>
                    <a:pt x="76" y="371"/>
                  </a:moveTo>
                  <a:lnTo>
                    <a:pt x="74" y="371"/>
                  </a:lnTo>
                  <a:lnTo>
                    <a:pt x="76" y="371"/>
                  </a:lnTo>
                  <a:close/>
                  <a:moveTo>
                    <a:pt x="19" y="371"/>
                  </a:moveTo>
                  <a:lnTo>
                    <a:pt x="21" y="371"/>
                  </a:lnTo>
                  <a:lnTo>
                    <a:pt x="19" y="371"/>
                  </a:lnTo>
                  <a:close/>
                  <a:moveTo>
                    <a:pt x="95" y="371"/>
                  </a:moveTo>
                  <a:lnTo>
                    <a:pt x="93" y="371"/>
                  </a:lnTo>
                  <a:lnTo>
                    <a:pt x="95" y="371"/>
                  </a:lnTo>
                  <a:close/>
                  <a:moveTo>
                    <a:pt x="135" y="371"/>
                  </a:moveTo>
                  <a:lnTo>
                    <a:pt x="138" y="371"/>
                  </a:lnTo>
                  <a:lnTo>
                    <a:pt x="135" y="371"/>
                  </a:lnTo>
                  <a:close/>
                  <a:moveTo>
                    <a:pt x="133" y="371"/>
                  </a:moveTo>
                  <a:lnTo>
                    <a:pt x="133" y="368"/>
                  </a:lnTo>
                  <a:lnTo>
                    <a:pt x="133" y="371"/>
                  </a:lnTo>
                  <a:close/>
                  <a:moveTo>
                    <a:pt x="52" y="371"/>
                  </a:moveTo>
                  <a:lnTo>
                    <a:pt x="52" y="368"/>
                  </a:lnTo>
                  <a:lnTo>
                    <a:pt x="52" y="371"/>
                  </a:lnTo>
                  <a:close/>
                  <a:moveTo>
                    <a:pt x="88" y="371"/>
                  </a:moveTo>
                  <a:lnTo>
                    <a:pt x="88" y="368"/>
                  </a:lnTo>
                  <a:lnTo>
                    <a:pt x="88" y="371"/>
                  </a:lnTo>
                  <a:close/>
                  <a:moveTo>
                    <a:pt x="116" y="371"/>
                  </a:moveTo>
                  <a:lnTo>
                    <a:pt x="116" y="368"/>
                  </a:lnTo>
                  <a:lnTo>
                    <a:pt x="116" y="371"/>
                  </a:lnTo>
                  <a:close/>
                  <a:moveTo>
                    <a:pt x="90" y="368"/>
                  </a:moveTo>
                  <a:lnTo>
                    <a:pt x="90" y="371"/>
                  </a:lnTo>
                  <a:lnTo>
                    <a:pt x="90" y="368"/>
                  </a:lnTo>
                  <a:close/>
                  <a:moveTo>
                    <a:pt x="93" y="368"/>
                  </a:moveTo>
                  <a:lnTo>
                    <a:pt x="93" y="371"/>
                  </a:lnTo>
                  <a:lnTo>
                    <a:pt x="93" y="368"/>
                  </a:lnTo>
                  <a:close/>
                  <a:moveTo>
                    <a:pt x="138" y="368"/>
                  </a:moveTo>
                  <a:lnTo>
                    <a:pt x="138" y="371"/>
                  </a:lnTo>
                  <a:lnTo>
                    <a:pt x="138" y="368"/>
                  </a:lnTo>
                  <a:close/>
                  <a:moveTo>
                    <a:pt x="88" y="368"/>
                  </a:moveTo>
                  <a:lnTo>
                    <a:pt x="88" y="371"/>
                  </a:lnTo>
                  <a:lnTo>
                    <a:pt x="88" y="368"/>
                  </a:lnTo>
                  <a:lnTo>
                    <a:pt x="88" y="371"/>
                  </a:lnTo>
                  <a:lnTo>
                    <a:pt x="88" y="368"/>
                  </a:lnTo>
                  <a:close/>
                  <a:moveTo>
                    <a:pt x="140" y="368"/>
                  </a:moveTo>
                  <a:lnTo>
                    <a:pt x="138" y="368"/>
                  </a:lnTo>
                  <a:lnTo>
                    <a:pt x="140" y="368"/>
                  </a:lnTo>
                  <a:close/>
                  <a:moveTo>
                    <a:pt x="135" y="368"/>
                  </a:moveTo>
                  <a:lnTo>
                    <a:pt x="133" y="368"/>
                  </a:lnTo>
                  <a:lnTo>
                    <a:pt x="135" y="368"/>
                  </a:lnTo>
                  <a:close/>
                  <a:moveTo>
                    <a:pt x="95" y="368"/>
                  </a:moveTo>
                  <a:lnTo>
                    <a:pt x="95" y="371"/>
                  </a:lnTo>
                  <a:lnTo>
                    <a:pt x="95" y="368"/>
                  </a:lnTo>
                  <a:close/>
                  <a:moveTo>
                    <a:pt x="100" y="368"/>
                  </a:moveTo>
                  <a:lnTo>
                    <a:pt x="100" y="371"/>
                  </a:lnTo>
                  <a:lnTo>
                    <a:pt x="100" y="368"/>
                  </a:lnTo>
                  <a:lnTo>
                    <a:pt x="100" y="371"/>
                  </a:lnTo>
                  <a:lnTo>
                    <a:pt x="100" y="368"/>
                  </a:lnTo>
                  <a:lnTo>
                    <a:pt x="97" y="368"/>
                  </a:lnTo>
                  <a:lnTo>
                    <a:pt x="100" y="368"/>
                  </a:lnTo>
                  <a:close/>
                  <a:moveTo>
                    <a:pt x="93" y="368"/>
                  </a:moveTo>
                  <a:lnTo>
                    <a:pt x="90" y="368"/>
                  </a:lnTo>
                  <a:lnTo>
                    <a:pt x="93" y="368"/>
                  </a:lnTo>
                  <a:close/>
                  <a:moveTo>
                    <a:pt x="142" y="368"/>
                  </a:moveTo>
                  <a:lnTo>
                    <a:pt x="140" y="368"/>
                  </a:lnTo>
                  <a:lnTo>
                    <a:pt x="142" y="368"/>
                  </a:lnTo>
                  <a:close/>
                  <a:moveTo>
                    <a:pt x="138" y="368"/>
                  </a:moveTo>
                  <a:lnTo>
                    <a:pt x="135" y="368"/>
                  </a:lnTo>
                  <a:lnTo>
                    <a:pt x="138" y="368"/>
                  </a:lnTo>
                  <a:close/>
                  <a:moveTo>
                    <a:pt x="102" y="368"/>
                  </a:moveTo>
                  <a:lnTo>
                    <a:pt x="100" y="368"/>
                  </a:lnTo>
                  <a:lnTo>
                    <a:pt x="102" y="368"/>
                  </a:lnTo>
                  <a:close/>
                  <a:moveTo>
                    <a:pt x="135" y="368"/>
                  </a:moveTo>
                  <a:lnTo>
                    <a:pt x="133" y="368"/>
                  </a:lnTo>
                  <a:lnTo>
                    <a:pt x="135" y="368"/>
                  </a:lnTo>
                  <a:close/>
                  <a:moveTo>
                    <a:pt x="140" y="368"/>
                  </a:moveTo>
                  <a:lnTo>
                    <a:pt x="138" y="368"/>
                  </a:lnTo>
                  <a:lnTo>
                    <a:pt x="140" y="368"/>
                  </a:lnTo>
                  <a:lnTo>
                    <a:pt x="138" y="368"/>
                  </a:lnTo>
                  <a:lnTo>
                    <a:pt x="140" y="368"/>
                  </a:lnTo>
                  <a:close/>
                  <a:moveTo>
                    <a:pt x="133" y="368"/>
                  </a:moveTo>
                  <a:lnTo>
                    <a:pt x="131" y="368"/>
                  </a:lnTo>
                  <a:lnTo>
                    <a:pt x="133" y="368"/>
                  </a:lnTo>
                  <a:close/>
                  <a:moveTo>
                    <a:pt x="78" y="368"/>
                  </a:moveTo>
                  <a:lnTo>
                    <a:pt x="76" y="368"/>
                  </a:lnTo>
                  <a:lnTo>
                    <a:pt x="78" y="368"/>
                  </a:lnTo>
                  <a:close/>
                  <a:moveTo>
                    <a:pt x="102" y="366"/>
                  </a:moveTo>
                  <a:lnTo>
                    <a:pt x="102" y="368"/>
                  </a:lnTo>
                  <a:lnTo>
                    <a:pt x="102" y="366"/>
                  </a:lnTo>
                  <a:lnTo>
                    <a:pt x="102" y="368"/>
                  </a:lnTo>
                  <a:lnTo>
                    <a:pt x="102" y="366"/>
                  </a:lnTo>
                  <a:close/>
                  <a:moveTo>
                    <a:pt x="119" y="368"/>
                  </a:moveTo>
                  <a:lnTo>
                    <a:pt x="116" y="368"/>
                  </a:lnTo>
                  <a:lnTo>
                    <a:pt x="116" y="366"/>
                  </a:lnTo>
                  <a:lnTo>
                    <a:pt x="119" y="368"/>
                  </a:lnTo>
                  <a:close/>
                  <a:moveTo>
                    <a:pt x="107" y="366"/>
                  </a:moveTo>
                  <a:lnTo>
                    <a:pt x="107" y="368"/>
                  </a:lnTo>
                  <a:lnTo>
                    <a:pt x="107" y="366"/>
                  </a:lnTo>
                  <a:close/>
                  <a:moveTo>
                    <a:pt x="109" y="368"/>
                  </a:moveTo>
                  <a:lnTo>
                    <a:pt x="109" y="366"/>
                  </a:lnTo>
                  <a:lnTo>
                    <a:pt x="109" y="368"/>
                  </a:lnTo>
                  <a:close/>
                  <a:moveTo>
                    <a:pt x="131" y="366"/>
                  </a:moveTo>
                  <a:lnTo>
                    <a:pt x="131" y="368"/>
                  </a:lnTo>
                  <a:lnTo>
                    <a:pt x="131" y="366"/>
                  </a:lnTo>
                  <a:close/>
                  <a:moveTo>
                    <a:pt x="107" y="366"/>
                  </a:moveTo>
                  <a:lnTo>
                    <a:pt x="107" y="368"/>
                  </a:lnTo>
                  <a:lnTo>
                    <a:pt x="104" y="368"/>
                  </a:lnTo>
                  <a:lnTo>
                    <a:pt x="107" y="368"/>
                  </a:lnTo>
                  <a:lnTo>
                    <a:pt x="104" y="368"/>
                  </a:lnTo>
                  <a:lnTo>
                    <a:pt x="104" y="371"/>
                  </a:lnTo>
                  <a:lnTo>
                    <a:pt x="104" y="368"/>
                  </a:lnTo>
                  <a:lnTo>
                    <a:pt x="104" y="371"/>
                  </a:lnTo>
                  <a:lnTo>
                    <a:pt x="102" y="371"/>
                  </a:lnTo>
                  <a:lnTo>
                    <a:pt x="104" y="371"/>
                  </a:lnTo>
                  <a:lnTo>
                    <a:pt x="104" y="368"/>
                  </a:lnTo>
                  <a:lnTo>
                    <a:pt x="102" y="371"/>
                  </a:lnTo>
                  <a:lnTo>
                    <a:pt x="102" y="368"/>
                  </a:lnTo>
                  <a:lnTo>
                    <a:pt x="102" y="371"/>
                  </a:lnTo>
                  <a:lnTo>
                    <a:pt x="100" y="371"/>
                  </a:lnTo>
                  <a:lnTo>
                    <a:pt x="100" y="368"/>
                  </a:lnTo>
                  <a:lnTo>
                    <a:pt x="102" y="368"/>
                  </a:lnTo>
                  <a:lnTo>
                    <a:pt x="100" y="368"/>
                  </a:lnTo>
                  <a:lnTo>
                    <a:pt x="102" y="368"/>
                  </a:lnTo>
                  <a:lnTo>
                    <a:pt x="100" y="368"/>
                  </a:lnTo>
                  <a:lnTo>
                    <a:pt x="102" y="368"/>
                  </a:lnTo>
                  <a:lnTo>
                    <a:pt x="100" y="368"/>
                  </a:lnTo>
                  <a:lnTo>
                    <a:pt x="102" y="368"/>
                  </a:lnTo>
                  <a:lnTo>
                    <a:pt x="104" y="368"/>
                  </a:lnTo>
                  <a:lnTo>
                    <a:pt x="104" y="366"/>
                  </a:lnTo>
                  <a:lnTo>
                    <a:pt x="107" y="366"/>
                  </a:lnTo>
                  <a:close/>
                  <a:moveTo>
                    <a:pt x="121" y="366"/>
                  </a:moveTo>
                  <a:lnTo>
                    <a:pt x="121" y="368"/>
                  </a:lnTo>
                  <a:lnTo>
                    <a:pt x="119" y="368"/>
                  </a:lnTo>
                  <a:lnTo>
                    <a:pt x="119" y="366"/>
                  </a:lnTo>
                  <a:lnTo>
                    <a:pt x="121" y="368"/>
                  </a:lnTo>
                  <a:lnTo>
                    <a:pt x="121" y="366"/>
                  </a:lnTo>
                  <a:close/>
                  <a:moveTo>
                    <a:pt x="119" y="368"/>
                  </a:moveTo>
                  <a:lnTo>
                    <a:pt x="119" y="366"/>
                  </a:lnTo>
                  <a:lnTo>
                    <a:pt x="119" y="368"/>
                  </a:lnTo>
                  <a:close/>
                  <a:moveTo>
                    <a:pt x="121" y="366"/>
                  </a:moveTo>
                  <a:lnTo>
                    <a:pt x="121" y="368"/>
                  </a:lnTo>
                  <a:lnTo>
                    <a:pt x="121" y="366"/>
                  </a:lnTo>
                  <a:close/>
                  <a:moveTo>
                    <a:pt x="100" y="366"/>
                  </a:moveTo>
                  <a:lnTo>
                    <a:pt x="102" y="366"/>
                  </a:lnTo>
                  <a:lnTo>
                    <a:pt x="102" y="368"/>
                  </a:lnTo>
                  <a:lnTo>
                    <a:pt x="102" y="366"/>
                  </a:lnTo>
                  <a:lnTo>
                    <a:pt x="102" y="368"/>
                  </a:lnTo>
                  <a:lnTo>
                    <a:pt x="100" y="368"/>
                  </a:lnTo>
                  <a:lnTo>
                    <a:pt x="100" y="366"/>
                  </a:lnTo>
                  <a:close/>
                  <a:moveTo>
                    <a:pt x="83" y="366"/>
                  </a:moveTo>
                  <a:lnTo>
                    <a:pt x="81" y="366"/>
                  </a:lnTo>
                  <a:lnTo>
                    <a:pt x="83" y="366"/>
                  </a:lnTo>
                  <a:close/>
                  <a:moveTo>
                    <a:pt x="123" y="366"/>
                  </a:moveTo>
                  <a:lnTo>
                    <a:pt x="123" y="368"/>
                  </a:lnTo>
                  <a:lnTo>
                    <a:pt x="123" y="366"/>
                  </a:lnTo>
                  <a:lnTo>
                    <a:pt x="123" y="368"/>
                  </a:lnTo>
                  <a:lnTo>
                    <a:pt x="123" y="366"/>
                  </a:lnTo>
                  <a:close/>
                  <a:moveTo>
                    <a:pt x="145" y="366"/>
                  </a:moveTo>
                  <a:lnTo>
                    <a:pt x="142" y="366"/>
                  </a:lnTo>
                  <a:lnTo>
                    <a:pt x="142" y="368"/>
                  </a:lnTo>
                  <a:lnTo>
                    <a:pt x="142" y="366"/>
                  </a:lnTo>
                  <a:lnTo>
                    <a:pt x="145" y="366"/>
                  </a:lnTo>
                  <a:close/>
                  <a:moveTo>
                    <a:pt x="107" y="366"/>
                  </a:moveTo>
                  <a:lnTo>
                    <a:pt x="109" y="366"/>
                  </a:lnTo>
                  <a:lnTo>
                    <a:pt x="107" y="366"/>
                  </a:lnTo>
                  <a:lnTo>
                    <a:pt x="109" y="366"/>
                  </a:lnTo>
                  <a:lnTo>
                    <a:pt x="109" y="368"/>
                  </a:lnTo>
                  <a:lnTo>
                    <a:pt x="107" y="368"/>
                  </a:lnTo>
                  <a:lnTo>
                    <a:pt x="107" y="366"/>
                  </a:lnTo>
                  <a:close/>
                  <a:moveTo>
                    <a:pt x="133" y="366"/>
                  </a:moveTo>
                  <a:lnTo>
                    <a:pt x="135" y="368"/>
                  </a:lnTo>
                  <a:lnTo>
                    <a:pt x="135" y="366"/>
                  </a:lnTo>
                  <a:lnTo>
                    <a:pt x="135" y="368"/>
                  </a:lnTo>
                  <a:lnTo>
                    <a:pt x="133" y="368"/>
                  </a:lnTo>
                  <a:lnTo>
                    <a:pt x="133" y="366"/>
                  </a:lnTo>
                  <a:close/>
                  <a:moveTo>
                    <a:pt x="107" y="366"/>
                  </a:moveTo>
                  <a:lnTo>
                    <a:pt x="107" y="368"/>
                  </a:lnTo>
                  <a:lnTo>
                    <a:pt x="107" y="366"/>
                  </a:lnTo>
                  <a:close/>
                  <a:moveTo>
                    <a:pt x="133" y="366"/>
                  </a:moveTo>
                  <a:lnTo>
                    <a:pt x="131" y="366"/>
                  </a:lnTo>
                  <a:lnTo>
                    <a:pt x="133" y="366"/>
                  </a:lnTo>
                  <a:close/>
                  <a:moveTo>
                    <a:pt x="81" y="366"/>
                  </a:moveTo>
                  <a:lnTo>
                    <a:pt x="78" y="366"/>
                  </a:lnTo>
                  <a:lnTo>
                    <a:pt x="81" y="366"/>
                  </a:lnTo>
                  <a:close/>
                  <a:moveTo>
                    <a:pt x="86" y="366"/>
                  </a:moveTo>
                  <a:lnTo>
                    <a:pt x="83" y="366"/>
                  </a:lnTo>
                  <a:lnTo>
                    <a:pt x="86" y="366"/>
                  </a:lnTo>
                  <a:close/>
                  <a:moveTo>
                    <a:pt x="81" y="366"/>
                  </a:moveTo>
                  <a:lnTo>
                    <a:pt x="78" y="366"/>
                  </a:lnTo>
                  <a:lnTo>
                    <a:pt x="81" y="366"/>
                  </a:lnTo>
                  <a:lnTo>
                    <a:pt x="78" y="366"/>
                  </a:lnTo>
                  <a:lnTo>
                    <a:pt x="81" y="366"/>
                  </a:lnTo>
                  <a:close/>
                  <a:moveTo>
                    <a:pt x="102" y="366"/>
                  </a:moveTo>
                  <a:lnTo>
                    <a:pt x="100" y="366"/>
                  </a:lnTo>
                  <a:lnTo>
                    <a:pt x="102" y="366"/>
                  </a:lnTo>
                  <a:close/>
                  <a:moveTo>
                    <a:pt x="150" y="366"/>
                  </a:moveTo>
                  <a:lnTo>
                    <a:pt x="147" y="366"/>
                  </a:lnTo>
                  <a:lnTo>
                    <a:pt x="150" y="366"/>
                  </a:lnTo>
                  <a:close/>
                  <a:moveTo>
                    <a:pt x="126" y="366"/>
                  </a:moveTo>
                  <a:lnTo>
                    <a:pt x="126" y="368"/>
                  </a:lnTo>
                  <a:lnTo>
                    <a:pt x="126" y="366"/>
                  </a:lnTo>
                  <a:lnTo>
                    <a:pt x="126" y="368"/>
                  </a:lnTo>
                  <a:lnTo>
                    <a:pt x="126" y="366"/>
                  </a:lnTo>
                  <a:lnTo>
                    <a:pt x="123" y="366"/>
                  </a:lnTo>
                  <a:lnTo>
                    <a:pt x="126" y="366"/>
                  </a:lnTo>
                  <a:lnTo>
                    <a:pt x="123" y="366"/>
                  </a:lnTo>
                  <a:lnTo>
                    <a:pt x="126" y="366"/>
                  </a:lnTo>
                  <a:close/>
                  <a:moveTo>
                    <a:pt x="150" y="366"/>
                  </a:moveTo>
                  <a:lnTo>
                    <a:pt x="152" y="366"/>
                  </a:lnTo>
                  <a:lnTo>
                    <a:pt x="150" y="366"/>
                  </a:lnTo>
                  <a:lnTo>
                    <a:pt x="152" y="366"/>
                  </a:lnTo>
                  <a:lnTo>
                    <a:pt x="150" y="366"/>
                  </a:lnTo>
                  <a:lnTo>
                    <a:pt x="152" y="366"/>
                  </a:lnTo>
                  <a:lnTo>
                    <a:pt x="150" y="366"/>
                  </a:lnTo>
                  <a:close/>
                  <a:moveTo>
                    <a:pt x="154" y="366"/>
                  </a:moveTo>
                  <a:lnTo>
                    <a:pt x="152" y="366"/>
                  </a:lnTo>
                  <a:lnTo>
                    <a:pt x="154" y="366"/>
                  </a:lnTo>
                  <a:close/>
                  <a:moveTo>
                    <a:pt x="142" y="366"/>
                  </a:moveTo>
                  <a:lnTo>
                    <a:pt x="145" y="366"/>
                  </a:lnTo>
                  <a:lnTo>
                    <a:pt x="142" y="366"/>
                  </a:lnTo>
                  <a:lnTo>
                    <a:pt x="140" y="366"/>
                  </a:lnTo>
                  <a:lnTo>
                    <a:pt x="142" y="366"/>
                  </a:lnTo>
                  <a:lnTo>
                    <a:pt x="140" y="366"/>
                  </a:lnTo>
                  <a:lnTo>
                    <a:pt x="138" y="366"/>
                  </a:lnTo>
                  <a:lnTo>
                    <a:pt x="140" y="366"/>
                  </a:lnTo>
                  <a:lnTo>
                    <a:pt x="138" y="366"/>
                  </a:lnTo>
                  <a:lnTo>
                    <a:pt x="140" y="366"/>
                  </a:lnTo>
                  <a:lnTo>
                    <a:pt x="140" y="368"/>
                  </a:lnTo>
                  <a:lnTo>
                    <a:pt x="138" y="368"/>
                  </a:lnTo>
                  <a:lnTo>
                    <a:pt x="138" y="366"/>
                  </a:lnTo>
                  <a:lnTo>
                    <a:pt x="138" y="368"/>
                  </a:lnTo>
                  <a:lnTo>
                    <a:pt x="135" y="368"/>
                  </a:lnTo>
                  <a:lnTo>
                    <a:pt x="135" y="366"/>
                  </a:lnTo>
                  <a:lnTo>
                    <a:pt x="138" y="368"/>
                  </a:lnTo>
                  <a:lnTo>
                    <a:pt x="138" y="366"/>
                  </a:lnTo>
                  <a:lnTo>
                    <a:pt x="135" y="366"/>
                  </a:lnTo>
                  <a:lnTo>
                    <a:pt x="135" y="368"/>
                  </a:lnTo>
                  <a:lnTo>
                    <a:pt x="135" y="366"/>
                  </a:lnTo>
                  <a:lnTo>
                    <a:pt x="135" y="368"/>
                  </a:lnTo>
                  <a:lnTo>
                    <a:pt x="135" y="366"/>
                  </a:lnTo>
                  <a:lnTo>
                    <a:pt x="133" y="366"/>
                  </a:lnTo>
                  <a:lnTo>
                    <a:pt x="135" y="366"/>
                  </a:lnTo>
                  <a:lnTo>
                    <a:pt x="138" y="366"/>
                  </a:lnTo>
                  <a:lnTo>
                    <a:pt x="140" y="366"/>
                  </a:lnTo>
                  <a:lnTo>
                    <a:pt x="142" y="366"/>
                  </a:lnTo>
                  <a:close/>
                  <a:moveTo>
                    <a:pt x="166" y="366"/>
                  </a:moveTo>
                  <a:lnTo>
                    <a:pt x="169" y="366"/>
                  </a:lnTo>
                  <a:lnTo>
                    <a:pt x="166" y="366"/>
                  </a:lnTo>
                  <a:close/>
                  <a:moveTo>
                    <a:pt x="31" y="366"/>
                  </a:moveTo>
                  <a:lnTo>
                    <a:pt x="29" y="366"/>
                  </a:lnTo>
                  <a:lnTo>
                    <a:pt x="29" y="363"/>
                  </a:lnTo>
                  <a:lnTo>
                    <a:pt x="31" y="363"/>
                  </a:lnTo>
                  <a:lnTo>
                    <a:pt x="31" y="366"/>
                  </a:lnTo>
                  <a:close/>
                  <a:moveTo>
                    <a:pt x="152" y="366"/>
                  </a:moveTo>
                  <a:lnTo>
                    <a:pt x="152" y="363"/>
                  </a:lnTo>
                  <a:lnTo>
                    <a:pt x="152" y="366"/>
                  </a:lnTo>
                  <a:close/>
                  <a:moveTo>
                    <a:pt x="40" y="366"/>
                  </a:moveTo>
                  <a:lnTo>
                    <a:pt x="40" y="363"/>
                  </a:lnTo>
                  <a:lnTo>
                    <a:pt x="40" y="366"/>
                  </a:lnTo>
                  <a:close/>
                  <a:moveTo>
                    <a:pt x="81" y="363"/>
                  </a:moveTo>
                  <a:lnTo>
                    <a:pt x="78" y="366"/>
                  </a:lnTo>
                  <a:lnTo>
                    <a:pt x="78" y="363"/>
                  </a:lnTo>
                  <a:lnTo>
                    <a:pt x="81" y="363"/>
                  </a:lnTo>
                  <a:close/>
                  <a:moveTo>
                    <a:pt x="76" y="363"/>
                  </a:moveTo>
                  <a:lnTo>
                    <a:pt x="76" y="366"/>
                  </a:lnTo>
                  <a:lnTo>
                    <a:pt x="76" y="363"/>
                  </a:lnTo>
                  <a:close/>
                  <a:moveTo>
                    <a:pt x="86" y="363"/>
                  </a:moveTo>
                  <a:lnTo>
                    <a:pt x="86" y="366"/>
                  </a:lnTo>
                  <a:lnTo>
                    <a:pt x="86" y="363"/>
                  </a:lnTo>
                  <a:close/>
                  <a:moveTo>
                    <a:pt x="29" y="363"/>
                  </a:moveTo>
                  <a:lnTo>
                    <a:pt x="29" y="366"/>
                  </a:lnTo>
                  <a:lnTo>
                    <a:pt x="29" y="363"/>
                  </a:lnTo>
                  <a:close/>
                  <a:moveTo>
                    <a:pt x="154" y="363"/>
                  </a:moveTo>
                  <a:lnTo>
                    <a:pt x="154" y="366"/>
                  </a:lnTo>
                  <a:lnTo>
                    <a:pt x="152" y="366"/>
                  </a:lnTo>
                  <a:lnTo>
                    <a:pt x="152" y="363"/>
                  </a:lnTo>
                  <a:lnTo>
                    <a:pt x="154" y="363"/>
                  </a:lnTo>
                  <a:close/>
                  <a:moveTo>
                    <a:pt x="83" y="366"/>
                  </a:moveTo>
                  <a:lnTo>
                    <a:pt x="81" y="366"/>
                  </a:lnTo>
                  <a:lnTo>
                    <a:pt x="83" y="366"/>
                  </a:lnTo>
                  <a:lnTo>
                    <a:pt x="81" y="363"/>
                  </a:lnTo>
                  <a:lnTo>
                    <a:pt x="83" y="363"/>
                  </a:lnTo>
                  <a:lnTo>
                    <a:pt x="83" y="366"/>
                  </a:lnTo>
                  <a:close/>
                  <a:moveTo>
                    <a:pt x="102" y="363"/>
                  </a:moveTo>
                  <a:lnTo>
                    <a:pt x="100" y="363"/>
                  </a:lnTo>
                  <a:lnTo>
                    <a:pt x="102" y="363"/>
                  </a:lnTo>
                  <a:lnTo>
                    <a:pt x="102" y="366"/>
                  </a:lnTo>
                  <a:lnTo>
                    <a:pt x="100" y="366"/>
                  </a:lnTo>
                  <a:lnTo>
                    <a:pt x="100" y="363"/>
                  </a:lnTo>
                  <a:lnTo>
                    <a:pt x="102" y="363"/>
                  </a:lnTo>
                  <a:close/>
                  <a:moveTo>
                    <a:pt x="57" y="363"/>
                  </a:moveTo>
                  <a:lnTo>
                    <a:pt x="57" y="366"/>
                  </a:lnTo>
                  <a:lnTo>
                    <a:pt x="57" y="363"/>
                  </a:lnTo>
                  <a:close/>
                  <a:moveTo>
                    <a:pt x="112" y="366"/>
                  </a:moveTo>
                  <a:lnTo>
                    <a:pt x="112" y="363"/>
                  </a:lnTo>
                  <a:lnTo>
                    <a:pt x="112" y="366"/>
                  </a:lnTo>
                  <a:close/>
                  <a:moveTo>
                    <a:pt x="57" y="363"/>
                  </a:moveTo>
                  <a:lnTo>
                    <a:pt x="55" y="363"/>
                  </a:lnTo>
                  <a:lnTo>
                    <a:pt x="57" y="363"/>
                  </a:lnTo>
                  <a:close/>
                  <a:moveTo>
                    <a:pt x="147" y="363"/>
                  </a:moveTo>
                  <a:lnTo>
                    <a:pt x="147" y="366"/>
                  </a:lnTo>
                  <a:lnTo>
                    <a:pt x="145" y="366"/>
                  </a:lnTo>
                  <a:lnTo>
                    <a:pt x="147" y="366"/>
                  </a:lnTo>
                  <a:lnTo>
                    <a:pt x="145" y="366"/>
                  </a:lnTo>
                  <a:lnTo>
                    <a:pt x="147" y="366"/>
                  </a:lnTo>
                  <a:lnTo>
                    <a:pt x="145" y="366"/>
                  </a:lnTo>
                  <a:lnTo>
                    <a:pt x="147" y="366"/>
                  </a:lnTo>
                  <a:lnTo>
                    <a:pt x="147" y="363"/>
                  </a:lnTo>
                  <a:lnTo>
                    <a:pt x="147" y="366"/>
                  </a:lnTo>
                  <a:lnTo>
                    <a:pt x="147" y="363"/>
                  </a:lnTo>
                  <a:close/>
                  <a:moveTo>
                    <a:pt x="57" y="363"/>
                  </a:moveTo>
                  <a:lnTo>
                    <a:pt x="59" y="363"/>
                  </a:lnTo>
                  <a:lnTo>
                    <a:pt x="57" y="363"/>
                  </a:lnTo>
                  <a:close/>
                  <a:moveTo>
                    <a:pt x="57" y="363"/>
                  </a:moveTo>
                  <a:lnTo>
                    <a:pt x="57" y="366"/>
                  </a:lnTo>
                  <a:lnTo>
                    <a:pt x="57" y="363"/>
                  </a:lnTo>
                  <a:lnTo>
                    <a:pt x="57" y="366"/>
                  </a:lnTo>
                  <a:lnTo>
                    <a:pt x="57" y="363"/>
                  </a:lnTo>
                  <a:close/>
                  <a:moveTo>
                    <a:pt x="104" y="363"/>
                  </a:moveTo>
                  <a:lnTo>
                    <a:pt x="104" y="366"/>
                  </a:lnTo>
                  <a:lnTo>
                    <a:pt x="104" y="363"/>
                  </a:lnTo>
                  <a:close/>
                  <a:moveTo>
                    <a:pt x="57" y="363"/>
                  </a:moveTo>
                  <a:lnTo>
                    <a:pt x="55" y="363"/>
                  </a:lnTo>
                  <a:lnTo>
                    <a:pt x="57" y="363"/>
                  </a:lnTo>
                  <a:close/>
                  <a:moveTo>
                    <a:pt x="104" y="363"/>
                  </a:moveTo>
                  <a:lnTo>
                    <a:pt x="104" y="366"/>
                  </a:lnTo>
                  <a:lnTo>
                    <a:pt x="104" y="363"/>
                  </a:lnTo>
                  <a:lnTo>
                    <a:pt x="104" y="366"/>
                  </a:lnTo>
                  <a:lnTo>
                    <a:pt x="104" y="363"/>
                  </a:lnTo>
                  <a:lnTo>
                    <a:pt x="104" y="366"/>
                  </a:lnTo>
                  <a:lnTo>
                    <a:pt x="102" y="366"/>
                  </a:lnTo>
                  <a:lnTo>
                    <a:pt x="104" y="366"/>
                  </a:lnTo>
                  <a:lnTo>
                    <a:pt x="104" y="363"/>
                  </a:lnTo>
                  <a:lnTo>
                    <a:pt x="102" y="363"/>
                  </a:lnTo>
                  <a:lnTo>
                    <a:pt x="104" y="363"/>
                  </a:lnTo>
                  <a:lnTo>
                    <a:pt x="102" y="363"/>
                  </a:lnTo>
                  <a:lnTo>
                    <a:pt x="104" y="363"/>
                  </a:lnTo>
                  <a:close/>
                  <a:moveTo>
                    <a:pt x="152" y="363"/>
                  </a:moveTo>
                  <a:lnTo>
                    <a:pt x="154" y="363"/>
                  </a:lnTo>
                  <a:lnTo>
                    <a:pt x="152" y="363"/>
                  </a:lnTo>
                  <a:close/>
                  <a:moveTo>
                    <a:pt x="55" y="363"/>
                  </a:moveTo>
                  <a:lnTo>
                    <a:pt x="55" y="366"/>
                  </a:lnTo>
                  <a:lnTo>
                    <a:pt x="55" y="363"/>
                  </a:lnTo>
                  <a:lnTo>
                    <a:pt x="55" y="366"/>
                  </a:lnTo>
                  <a:lnTo>
                    <a:pt x="55" y="363"/>
                  </a:lnTo>
                  <a:lnTo>
                    <a:pt x="55" y="366"/>
                  </a:lnTo>
                  <a:lnTo>
                    <a:pt x="52" y="366"/>
                  </a:lnTo>
                  <a:lnTo>
                    <a:pt x="55" y="366"/>
                  </a:lnTo>
                  <a:lnTo>
                    <a:pt x="52" y="366"/>
                  </a:lnTo>
                  <a:lnTo>
                    <a:pt x="50" y="366"/>
                  </a:lnTo>
                  <a:lnTo>
                    <a:pt x="52" y="366"/>
                  </a:lnTo>
                  <a:lnTo>
                    <a:pt x="52" y="363"/>
                  </a:lnTo>
                  <a:lnTo>
                    <a:pt x="50" y="363"/>
                  </a:lnTo>
                  <a:lnTo>
                    <a:pt x="52" y="363"/>
                  </a:lnTo>
                  <a:lnTo>
                    <a:pt x="52" y="366"/>
                  </a:lnTo>
                  <a:lnTo>
                    <a:pt x="52" y="363"/>
                  </a:lnTo>
                  <a:lnTo>
                    <a:pt x="52" y="366"/>
                  </a:lnTo>
                  <a:lnTo>
                    <a:pt x="52" y="363"/>
                  </a:lnTo>
                  <a:lnTo>
                    <a:pt x="55" y="363"/>
                  </a:lnTo>
                  <a:close/>
                  <a:moveTo>
                    <a:pt x="67" y="363"/>
                  </a:moveTo>
                  <a:lnTo>
                    <a:pt x="64" y="363"/>
                  </a:lnTo>
                  <a:lnTo>
                    <a:pt x="67" y="363"/>
                  </a:lnTo>
                  <a:close/>
                  <a:moveTo>
                    <a:pt x="81" y="363"/>
                  </a:moveTo>
                  <a:lnTo>
                    <a:pt x="81" y="366"/>
                  </a:lnTo>
                  <a:lnTo>
                    <a:pt x="81" y="363"/>
                  </a:lnTo>
                  <a:close/>
                  <a:moveTo>
                    <a:pt x="112" y="363"/>
                  </a:moveTo>
                  <a:lnTo>
                    <a:pt x="114" y="363"/>
                  </a:lnTo>
                  <a:lnTo>
                    <a:pt x="112" y="363"/>
                  </a:lnTo>
                  <a:close/>
                  <a:moveTo>
                    <a:pt x="104" y="363"/>
                  </a:moveTo>
                  <a:lnTo>
                    <a:pt x="102" y="363"/>
                  </a:lnTo>
                  <a:lnTo>
                    <a:pt x="104" y="363"/>
                  </a:lnTo>
                  <a:lnTo>
                    <a:pt x="102" y="363"/>
                  </a:lnTo>
                  <a:lnTo>
                    <a:pt x="102" y="366"/>
                  </a:lnTo>
                  <a:lnTo>
                    <a:pt x="102" y="363"/>
                  </a:lnTo>
                  <a:lnTo>
                    <a:pt x="102" y="361"/>
                  </a:lnTo>
                  <a:lnTo>
                    <a:pt x="104" y="363"/>
                  </a:lnTo>
                  <a:close/>
                  <a:moveTo>
                    <a:pt x="40" y="361"/>
                  </a:moveTo>
                  <a:lnTo>
                    <a:pt x="40" y="363"/>
                  </a:lnTo>
                  <a:lnTo>
                    <a:pt x="40" y="361"/>
                  </a:lnTo>
                  <a:lnTo>
                    <a:pt x="40" y="363"/>
                  </a:lnTo>
                  <a:lnTo>
                    <a:pt x="38" y="363"/>
                  </a:lnTo>
                  <a:lnTo>
                    <a:pt x="40" y="361"/>
                  </a:lnTo>
                  <a:close/>
                  <a:moveTo>
                    <a:pt x="159" y="363"/>
                  </a:moveTo>
                  <a:lnTo>
                    <a:pt x="159" y="361"/>
                  </a:lnTo>
                  <a:lnTo>
                    <a:pt x="159" y="363"/>
                  </a:lnTo>
                  <a:lnTo>
                    <a:pt x="159" y="361"/>
                  </a:lnTo>
                  <a:lnTo>
                    <a:pt x="161" y="361"/>
                  </a:lnTo>
                  <a:lnTo>
                    <a:pt x="159" y="363"/>
                  </a:lnTo>
                  <a:close/>
                  <a:moveTo>
                    <a:pt x="36" y="361"/>
                  </a:moveTo>
                  <a:lnTo>
                    <a:pt x="38" y="363"/>
                  </a:lnTo>
                  <a:lnTo>
                    <a:pt x="36" y="363"/>
                  </a:lnTo>
                  <a:lnTo>
                    <a:pt x="36" y="361"/>
                  </a:lnTo>
                  <a:lnTo>
                    <a:pt x="36" y="363"/>
                  </a:lnTo>
                  <a:lnTo>
                    <a:pt x="36" y="361"/>
                  </a:lnTo>
                  <a:lnTo>
                    <a:pt x="36" y="363"/>
                  </a:lnTo>
                  <a:lnTo>
                    <a:pt x="36" y="361"/>
                  </a:lnTo>
                  <a:lnTo>
                    <a:pt x="36" y="363"/>
                  </a:lnTo>
                  <a:lnTo>
                    <a:pt x="36" y="361"/>
                  </a:lnTo>
                  <a:close/>
                  <a:moveTo>
                    <a:pt x="161" y="361"/>
                  </a:moveTo>
                  <a:lnTo>
                    <a:pt x="161" y="363"/>
                  </a:lnTo>
                  <a:lnTo>
                    <a:pt x="161" y="361"/>
                  </a:lnTo>
                  <a:close/>
                  <a:moveTo>
                    <a:pt x="76" y="363"/>
                  </a:moveTo>
                  <a:lnTo>
                    <a:pt x="78" y="363"/>
                  </a:lnTo>
                  <a:lnTo>
                    <a:pt x="76" y="363"/>
                  </a:lnTo>
                  <a:lnTo>
                    <a:pt x="76" y="361"/>
                  </a:lnTo>
                  <a:lnTo>
                    <a:pt x="76" y="363"/>
                  </a:lnTo>
                  <a:close/>
                  <a:moveTo>
                    <a:pt x="21" y="361"/>
                  </a:moveTo>
                  <a:lnTo>
                    <a:pt x="21" y="363"/>
                  </a:lnTo>
                  <a:lnTo>
                    <a:pt x="21" y="361"/>
                  </a:lnTo>
                  <a:close/>
                  <a:moveTo>
                    <a:pt x="38" y="363"/>
                  </a:moveTo>
                  <a:lnTo>
                    <a:pt x="38" y="361"/>
                  </a:lnTo>
                  <a:lnTo>
                    <a:pt x="38" y="363"/>
                  </a:lnTo>
                  <a:close/>
                  <a:moveTo>
                    <a:pt x="26" y="361"/>
                  </a:moveTo>
                  <a:lnTo>
                    <a:pt x="26" y="363"/>
                  </a:lnTo>
                  <a:lnTo>
                    <a:pt x="26" y="361"/>
                  </a:lnTo>
                  <a:lnTo>
                    <a:pt x="26" y="363"/>
                  </a:lnTo>
                  <a:lnTo>
                    <a:pt x="26" y="361"/>
                  </a:lnTo>
                  <a:close/>
                  <a:moveTo>
                    <a:pt x="64" y="361"/>
                  </a:moveTo>
                  <a:lnTo>
                    <a:pt x="64" y="363"/>
                  </a:lnTo>
                  <a:lnTo>
                    <a:pt x="64" y="361"/>
                  </a:lnTo>
                  <a:close/>
                  <a:moveTo>
                    <a:pt x="76" y="361"/>
                  </a:moveTo>
                  <a:lnTo>
                    <a:pt x="76" y="363"/>
                  </a:lnTo>
                  <a:lnTo>
                    <a:pt x="76" y="361"/>
                  </a:lnTo>
                  <a:close/>
                  <a:moveTo>
                    <a:pt x="107" y="361"/>
                  </a:moveTo>
                  <a:lnTo>
                    <a:pt x="107" y="363"/>
                  </a:lnTo>
                  <a:lnTo>
                    <a:pt x="107" y="361"/>
                  </a:lnTo>
                  <a:lnTo>
                    <a:pt x="107" y="363"/>
                  </a:lnTo>
                  <a:lnTo>
                    <a:pt x="104" y="363"/>
                  </a:lnTo>
                  <a:lnTo>
                    <a:pt x="107" y="363"/>
                  </a:lnTo>
                  <a:lnTo>
                    <a:pt x="104" y="363"/>
                  </a:lnTo>
                  <a:lnTo>
                    <a:pt x="104" y="361"/>
                  </a:lnTo>
                  <a:lnTo>
                    <a:pt x="107" y="361"/>
                  </a:lnTo>
                  <a:close/>
                  <a:moveTo>
                    <a:pt x="21" y="361"/>
                  </a:moveTo>
                  <a:lnTo>
                    <a:pt x="21" y="363"/>
                  </a:lnTo>
                  <a:lnTo>
                    <a:pt x="21" y="361"/>
                  </a:lnTo>
                  <a:lnTo>
                    <a:pt x="21" y="363"/>
                  </a:lnTo>
                  <a:lnTo>
                    <a:pt x="21" y="361"/>
                  </a:lnTo>
                  <a:close/>
                  <a:moveTo>
                    <a:pt x="157" y="361"/>
                  </a:moveTo>
                  <a:lnTo>
                    <a:pt x="159" y="361"/>
                  </a:lnTo>
                  <a:lnTo>
                    <a:pt x="159" y="363"/>
                  </a:lnTo>
                  <a:lnTo>
                    <a:pt x="159" y="361"/>
                  </a:lnTo>
                  <a:lnTo>
                    <a:pt x="157" y="361"/>
                  </a:lnTo>
                  <a:close/>
                  <a:moveTo>
                    <a:pt x="64" y="361"/>
                  </a:moveTo>
                  <a:lnTo>
                    <a:pt x="64" y="363"/>
                  </a:lnTo>
                  <a:lnTo>
                    <a:pt x="64" y="361"/>
                  </a:lnTo>
                  <a:close/>
                  <a:moveTo>
                    <a:pt x="40" y="361"/>
                  </a:moveTo>
                  <a:lnTo>
                    <a:pt x="40" y="363"/>
                  </a:lnTo>
                  <a:lnTo>
                    <a:pt x="40" y="361"/>
                  </a:lnTo>
                  <a:close/>
                  <a:moveTo>
                    <a:pt x="109" y="361"/>
                  </a:moveTo>
                  <a:lnTo>
                    <a:pt x="109" y="363"/>
                  </a:lnTo>
                  <a:lnTo>
                    <a:pt x="112" y="363"/>
                  </a:lnTo>
                  <a:lnTo>
                    <a:pt x="112" y="366"/>
                  </a:lnTo>
                  <a:lnTo>
                    <a:pt x="109" y="366"/>
                  </a:lnTo>
                  <a:lnTo>
                    <a:pt x="109" y="363"/>
                  </a:lnTo>
                  <a:lnTo>
                    <a:pt x="109" y="366"/>
                  </a:lnTo>
                  <a:lnTo>
                    <a:pt x="109" y="363"/>
                  </a:lnTo>
                  <a:lnTo>
                    <a:pt x="107" y="363"/>
                  </a:lnTo>
                  <a:lnTo>
                    <a:pt x="109" y="363"/>
                  </a:lnTo>
                  <a:lnTo>
                    <a:pt x="107" y="363"/>
                  </a:lnTo>
                  <a:lnTo>
                    <a:pt x="109" y="363"/>
                  </a:lnTo>
                  <a:lnTo>
                    <a:pt x="109" y="361"/>
                  </a:lnTo>
                  <a:close/>
                  <a:moveTo>
                    <a:pt x="104" y="361"/>
                  </a:moveTo>
                  <a:lnTo>
                    <a:pt x="104" y="363"/>
                  </a:lnTo>
                  <a:lnTo>
                    <a:pt x="102" y="361"/>
                  </a:lnTo>
                  <a:lnTo>
                    <a:pt x="104" y="361"/>
                  </a:lnTo>
                  <a:close/>
                  <a:moveTo>
                    <a:pt x="26" y="361"/>
                  </a:moveTo>
                  <a:lnTo>
                    <a:pt x="26" y="363"/>
                  </a:lnTo>
                  <a:lnTo>
                    <a:pt x="26" y="361"/>
                  </a:lnTo>
                  <a:lnTo>
                    <a:pt x="26" y="363"/>
                  </a:lnTo>
                  <a:lnTo>
                    <a:pt x="26" y="361"/>
                  </a:lnTo>
                  <a:lnTo>
                    <a:pt x="26" y="363"/>
                  </a:lnTo>
                  <a:lnTo>
                    <a:pt x="26" y="361"/>
                  </a:lnTo>
                  <a:close/>
                  <a:moveTo>
                    <a:pt x="38" y="361"/>
                  </a:moveTo>
                  <a:lnTo>
                    <a:pt x="38" y="363"/>
                  </a:lnTo>
                  <a:lnTo>
                    <a:pt x="38" y="361"/>
                  </a:lnTo>
                  <a:close/>
                  <a:moveTo>
                    <a:pt x="157" y="363"/>
                  </a:moveTo>
                  <a:lnTo>
                    <a:pt x="157" y="361"/>
                  </a:lnTo>
                  <a:lnTo>
                    <a:pt x="157" y="363"/>
                  </a:lnTo>
                  <a:close/>
                  <a:moveTo>
                    <a:pt x="78" y="361"/>
                  </a:moveTo>
                  <a:lnTo>
                    <a:pt x="76" y="361"/>
                  </a:lnTo>
                  <a:lnTo>
                    <a:pt x="78" y="361"/>
                  </a:lnTo>
                  <a:close/>
                  <a:moveTo>
                    <a:pt x="100" y="361"/>
                  </a:moveTo>
                  <a:lnTo>
                    <a:pt x="100" y="363"/>
                  </a:lnTo>
                  <a:lnTo>
                    <a:pt x="100" y="366"/>
                  </a:lnTo>
                  <a:lnTo>
                    <a:pt x="100" y="363"/>
                  </a:lnTo>
                  <a:lnTo>
                    <a:pt x="100" y="361"/>
                  </a:lnTo>
                  <a:close/>
                  <a:moveTo>
                    <a:pt x="107" y="361"/>
                  </a:moveTo>
                  <a:lnTo>
                    <a:pt x="104" y="361"/>
                  </a:lnTo>
                  <a:lnTo>
                    <a:pt x="107" y="361"/>
                  </a:lnTo>
                  <a:close/>
                  <a:moveTo>
                    <a:pt x="171" y="363"/>
                  </a:moveTo>
                  <a:lnTo>
                    <a:pt x="171" y="361"/>
                  </a:lnTo>
                  <a:lnTo>
                    <a:pt x="171" y="363"/>
                  </a:lnTo>
                  <a:close/>
                  <a:moveTo>
                    <a:pt x="38" y="361"/>
                  </a:moveTo>
                  <a:lnTo>
                    <a:pt x="40" y="361"/>
                  </a:lnTo>
                  <a:lnTo>
                    <a:pt x="38" y="361"/>
                  </a:lnTo>
                  <a:lnTo>
                    <a:pt x="40" y="361"/>
                  </a:lnTo>
                  <a:lnTo>
                    <a:pt x="38" y="361"/>
                  </a:lnTo>
                  <a:close/>
                  <a:moveTo>
                    <a:pt x="102" y="361"/>
                  </a:moveTo>
                  <a:lnTo>
                    <a:pt x="102" y="363"/>
                  </a:lnTo>
                  <a:lnTo>
                    <a:pt x="102" y="361"/>
                  </a:lnTo>
                  <a:close/>
                  <a:moveTo>
                    <a:pt x="26" y="361"/>
                  </a:moveTo>
                  <a:lnTo>
                    <a:pt x="24" y="361"/>
                  </a:lnTo>
                  <a:lnTo>
                    <a:pt x="26" y="361"/>
                  </a:lnTo>
                  <a:close/>
                  <a:moveTo>
                    <a:pt x="154" y="361"/>
                  </a:moveTo>
                  <a:lnTo>
                    <a:pt x="152" y="361"/>
                  </a:lnTo>
                  <a:lnTo>
                    <a:pt x="154" y="361"/>
                  </a:lnTo>
                  <a:lnTo>
                    <a:pt x="152" y="361"/>
                  </a:lnTo>
                  <a:lnTo>
                    <a:pt x="154" y="361"/>
                  </a:lnTo>
                  <a:close/>
                  <a:moveTo>
                    <a:pt x="112" y="361"/>
                  </a:moveTo>
                  <a:lnTo>
                    <a:pt x="114" y="361"/>
                  </a:lnTo>
                  <a:lnTo>
                    <a:pt x="112" y="361"/>
                  </a:lnTo>
                  <a:close/>
                  <a:moveTo>
                    <a:pt x="86" y="361"/>
                  </a:moveTo>
                  <a:lnTo>
                    <a:pt x="83" y="361"/>
                  </a:lnTo>
                  <a:lnTo>
                    <a:pt x="86" y="361"/>
                  </a:lnTo>
                  <a:close/>
                  <a:moveTo>
                    <a:pt x="169" y="361"/>
                  </a:moveTo>
                  <a:lnTo>
                    <a:pt x="166" y="361"/>
                  </a:lnTo>
                  <a:lnTo>
                    <a:pt x="169" y="361"/>
                  </a:lnTo>
                  <a:lnTo>
                    <a:pt x="166" y="361"/>
                  </a:lnTo>
                  <a:lnTo>
                    <a:pt x="169" y="361"/>
                  </a:lnTo>
                  <a:close/>
                  <a:moveTo>
                    <a:pt x="36" y="361"/>
                  </a:moveTo>
                  <a:lnTo>
                    <a:pt x="38" y="361"/>
                  </a:lnTo>
                  <a:lnTo>
                    <a:pt x="36" y="361"/>
                  </a:lnTo>
                  <a:lnTo>
                    <a:pt x="36" y="363"/>
                  </a:lnTo>
                  <a:lnTo>
                    <a:pt x="33" y="363"/>
                  </a:lnTo>
                  <a:lnTo>
                    <a:pt x="33" y="361"/>
                  </a:lnTo>
                  <a:lnTo>
                    <a:pt x="33" y="363"/>
                  </a:lnTo>
                  <a:lnTo>
                    <a:pt x="33" y="361"/>
                  </a:lnTo>
                  <a:lnTo>
                    <a:pt x="33" y="363"/>
                  </a:lnTo>
                  <a:lnTo>
                    <a:pt x="33" y="361"/>
                  </a:lnTo>
                  <a:lnTo>
                    <a:pt x="33" y="363"/>
                  </a:lnTo>
                  <a:lnTo>
                    <a:pt x="31" y="363"/>
                  </a:lnTo>
                  <a:lnTo>
                    <a:pt x="33" y="363"/>
                  </a:lnTo>
                  <a:lnTo>
                    <a:pt x="31" y="363"/>
                  </a:lnTo>
                  <a:lnTo>
                    <a:pt x="33" y="363"/>
                  </a:lnTo>
                  <a:lnTo>
                    <a:pt x="31" y="363"/>
                  </a:lnTo>
                  <a:lnTo>
                    <a:pt x="33" y="363"/>
                  </a:lnTo>
                  <a:lnTo>
                    <a:pt x="31" y="361"/>
                  </a:lnTo>
                  <a:lnTo>
                    <a:pt x="33" y="361"/>
                  </a:lnTo>
                  <a:lnTo>
                    <a:pt x="36" y="361"/>
                  </a:lnTo>
                  <a:close/>
                  <a:moveTo>
                    <a:pt x="171" y="361"/>
                  </a:moveTo>
                  <a:lnTo>
                    <a:pt x="173" y="361"/>
                  </a:lnTo>
                  <a:lnTo>
                    <a:pt x="171" y="361"/>
                  </a:lnTo>
                  <a:close/>
                  <a:moveTo>
                    <a:pt x="154" y="361"/>
                  </a:moveTo>
                  <a:lnTo>
                    <a:pt x="157" y="361"/>
                  </a:lnTo>
                  <a:lnTo>
                    <a:pt x="154" y="361"/>
                  </a:lnTo>
                  <a:close/>
                  <a:moveTo>
                    <a:pt x="157" y="361"/>
                  </a:moveTo>
                  <a:lnTo>
                    <a:pt x="159" y="361"/>
                  </a:lnTo>
                  <a:lnTo>
                    <a:pt x="157" y="361"/>
                  </a:lnTo>
                  <a:close/>
                  <a:moveTo>
                    <a:pt x="169" y="361"/>
                  </a:moveTo>
                  <a:lnTo>
                    <a:pt x="169" y="359"/>
                  </a:lnTo>
                  <a:lnTo>
                    <a:pt x="169" y="361"/>
                  </a:lnTo>
                  <a:close/>
                  <a:moveTo>
                    <a:pt x="100" y="361"/>
                  </a:moveTo>
                  <a:lnTo>
                    <a:pt x="100" y="359"/>
                  </a:lnTo>
                  <a:lnTo>
                    <a:pt x="100" y="361"/>
                  </a:lnTo>
                  <a:close/>
                  <a:moveTo>
                    <a:pt x="71" y="361"/>
                  </a:moveTo>
                  <a:lnTo>
                    <a:pt x="71" y="359"/>
                  </a:lnTo>
                  <a:lnTo>
                    <a:pt x="71" y="361"/>
                  </a:lnTo>
                  <a:close/>
                  <a:moveTo>
                    <a:pt x="52" y="361"/>
                  </a:moveTo>
                  <a:lnTo>
                    <a:pt x="52" y="359"/>
                  </a:lnTo>
                  <a:lnTo>
                    <a:pt x="52" y="361"/>
                  </a:lnTo>
                  <a:lnTo>
                    <a:pt x="52" y="359"/>
                  </a:lnTo>
                  <a:lnTo>
                    <a:pt x="52" y="361"/>
                  </a:lnTo>
                  <a:lnTo>
                    <a:pt x="52" y="359"/>
                  </a:lnTo>
                  <a:lnTo>
                    <a:pt x="52" y="361"/>
                  </a:lnTo>
                  <a:close/>
                  <a:moveTo>
                    <a:pt x="112" y="359"/>
                  </a:moveTo>
                  <a:lnTo>
                    <a:pt x="112" y="361"/>
                  </a:lnTo>
                  <a:lnTo>
                    <a:pt x="109" y="361"/>
                  </a:lnTo>
                  <a:lnTo>
                    <a:pt x="112" y="361"/>
                  </a:lnTo>
                  <a:lnTo>
                    <a:pt x="109" y="361"/>
                  </a:lnTo>
                  <a:lnTo>
                    <a:pt x="109" y="359"/>
                  </a:lnTo>
                  <a:lnTo>
                    <a:pt x="109" y="361"/>
                  </a:lnTo>
                  <a:lnTo>
                    <a:pt x="109" y="359"/>
                  </a:lnTo>
                  <a:lnTo>
                    <a:pt x="112" y="359"/>
                  </a:lnTo>
                  <a:close/>
                  <a:moveTo>
                    <a:pt x="19" y="359"/>
                  </a:moveTo>
                  <a:lnTo>
                    <a:pt x="19" y="361"/>
                  </a:lnTo>
                  <a:lnTo>
                    <a:pt x="19" y="359"/>
                  </a:lnTo>
                  <a:lnTo>
                    <a:pt x="21" y="359"/>
                  </a:lnTo>
                  <a:lnTo>
                    <a:pt x="21" y="361"/>
                  </a:lnTo>
                  <a:lnTo>
                    <a:pt x="19" y="359"/>
                  </a:lnTo>
                  <a:lnTo>
                    <a:pt x="19" y="361"/>
                  </a:lnTo>
                  <a:lnTo>
                    <a:pt x="21" y="361"/>
                  </a:lnTo>
                  <a:lnTo>
                    <a:pt x="19" y="361"/>
                  </a:lnTo>
                  <a:lnTo>
                    <a:pt x="19" y="359"/>
                  </a:lnTo>
                  <a:close/>
                  <a:moveTo>
                    <a:pt x="100" y="359"/>
                  </a:moveTo>
                  <a:lnTo>
                    <a:pt x="100" y="361"/>
                  </a:lnTo>
                  <a:lnTo>
                    <a:pt x="100" y="359"/>
                  </a:lnTo>
                  <a:close/>
                  <a:moveTo>
                    <a:pt x="43" y="361"/>
                  </a:moveTo>
                  <a:lnTo>
                    <a:pt x="43" y="359"/>
                  </a:lnTo>
                  <a:lnTo>
                    <a:pt x="43" y="361"/>
                  </a:lnTo>
                  <a:close/>
                  <a:moveTo>
                    <a:pt x="81" y="359"/>
                  </a:moveTo>
                  <a:lnTo>
                    <a:pt x="81" y="361"/>
                  </a:lnTo>
                  <a:lnTo>
                    <a:pt x="81" y="359"/>
                  </a:lnTo>
                  <a:lnTo>
                    <a:pt x="81" y="361"/>
                  </a:lnTo>
                  <a:lnTo>
                    <a:pt x="81" y="359"/>
                  </a:lnTo>
                  <a:close/>
                  <a:moveTo>
                    <a:pt x="121" y="359"/>
                  </a:moveTo>
                  <a:lnTo>
                    <a:pt x="121" y="361"/>
                  </a:lnTo>
                  <a:lnTo>
                    <a:pt x="119" y="361"/>
                  </a:lnTo>
                  <a:lnTo>
                    <a:pt x="119" y="359"/>
                  </a:lnTo>
                  <a:lnTo>
                    <a:pt x="121" y="359"/>
                  </a:lnTo>
                  <a:close/>
                  <a:moveTo>
                    <a:pt x="116" y="359"/>
                  </a:moveTo>
                  <a:lnTo>
                    <a:pt x="114" y="359"/>
                  </a:lnTo>
                  <a:lnTo>
                    <a:pt x="116" y="359"/>
                  </a:lnTo>
                  <a:close/>
                  <a:moveTo>
                    <a:pt x="21" y="359"/>
                  </a:moveTo>
                  <a:lnTo>
                    <a:pt x="21" y="361"/>
                  </a:lnTo>
                  <a:lnTo>
                    <a:pt x="24" y="361"/>
                  </a:lnTo>
                  <a:lnTo>
                    <a:pt x="21" y="361"/>
                  </a:lnTo>
                  <a:lnTo>
                    <a:pt x="21" y="359"/>
                  </a:lnTo>
                  <a:close/>
                  <a:moveTo>
                    <a:pt x="164" y="359"/>
                  </a:moveTo>
                  <a:lnTo>
                    <a:pt x="166" y="359"/>
                  </a:lnTo>
                  <a:lnTo>
                    <a:pt x="164" y="359"/>
                  </a:lnTo>
                  <a:close/>
                  <a:moveTo>
                    <a:pt x="36" y="359"/>
                  </a:moveTo>
                  <a:lnTo>
                    <a:pt x="33" y="359"/>
                  </a:lnTo>
                  <a:lnTo>
                    <a:pt x="36" y="359"/>
                  </a:lnTo>
                  <a:close/>
                  <a:moveTo>
                    <a:pt x="83" y="359"/>
                  </a:moveTo>
                  <a:lnTo>
                    <a:pt x="81" y="359"/>
                  </a:lnTo>
                  <a:lnTo>
                    <a:pt x="83" y="359"/>
                  </a:lnTo>
                  <a:close/>
                  <a:moveTo>
                    <a:pt x="40" y="359"/>
                  </a:moveTo>
                  <a:lnTo>
                    <a:pt x="43" y="359"/>
                  </a:lnTo>
                  <a:lnTo>
                    <a:pt x="43" y="361"/>
                  </a:lnTo>
                  <a:lnTo>
                    <a:pt x="40" y="361"/>
                  </a:lnTo>
                  <a:lnTo>
                    <a:pt x="43" y="361"/>
                  </a:lnTo>
                  <a:lnTo>
                    <a:pt x="40" y="361"/>
                  </a:lnTo>
                  <a:lnTo>
                    <a:pt x="38" y="361"/>
                  </a:lnTo>
                  <a:lnTo>
                    <a:pt x="40" y="361"/>
                  </a:lnTo>
                  <a:lnTo>
                    <a:pt x="38" y="361"/>
                  </a:lnTo>
                  <a:lnTo>
                    <a:pt x="40" y="359"/>
                  </a:lnTo>
                  <a:lnTo>
                    <a:pt x="43" y="359"/>
                  </a:lnTo>
                  <a:lnTo>
                    <a:pt x="40" y="359"/>
                  </a:lnTo>
                  <a:close/>
                  <a:moveTo>
                    <a:pt x="40" y="359"/>
                  </a:moveTo>
                  <a:lnTo>
                    <a:pt x="38" y="359"/>
                  </a:lnTo>
                  <a:lnTo>
                    <a:pt x="38" y="361"/>
                  </a:lnTo>
                  <a:lnTo>
                    <a:pt x="38" y="359"/>
                  </a:lnTo>
                  <a:lnTo>
                    <a:pt x="38" y="361"/>
                  </a:lnTo>
                  <a:lnTo>
                    <a:pt x="38" y="359"/>
                  </a:lnTo>
                  <a:lnTo>
                    <a:pt x="40" y="359"/>
                  </a:lnTo>
                  <a:close/>
                  <a:moveTo>
                    <a:pt x="166" y="359"/>
                  </a:moveTo>
                  <a:lnTo>
                    <a:pt x="164" y="359"/>
                  </a:lnTo>
                  <a:lnTo>
                    <a:pt x="166" y="359"/>
                  </a:lnTo>
                  <a:close/>
                  <a:moveTo>
                    <a:pt x="38" y="359"/>
                  </a:moveTo>
                  <a:lnTo>
                    <a:pt x="38" y="361"/>
                  </a:lnTo>
                  <a:lnTo>
                    <a:pt x="36" y="361"/>
                  </a:lnTo>
                  <a:lnTo>
                    <a:pt x="36" y="359"/>
                  </a:lnTo>
                  <a:lnTo>
                    <a:pt x="38" y="359"/>
                  </a:lnTo>
                  <a:close/>
                  <a:moveTo>
                    <a:pt x="119" y="359"/>
                  </a:moveTo>
                  <a:lnTo>
                    <a:pt x="116" y="359"/>
                  </a:lnTo>
                  <a:lnTo>
                    <a:pt x="119" y="361"/>
                  </a:lnTo>
                  <a:lnTo>
                    <a:pt x="116" y="361"/>
                  </a:lnTo>
                  <a:lnTo>
                    <a:pt x="119" y="361"/>
                  </a:lnTo>
                  <a:lnTo>
                    <a:pt x="116" y="361"/>
                  </a:lnTo>
                  <a:lnTo>
                    <a:pt x="116" y="359"/>
                  </a:lnTo>
                  <a:lnTo>
                    <a:pt x="119" y="359"/>
                  </a:lnTo>
                  <a:lnTo>
                    <a:pt x="116" y="359"/>
                  </a:lnTo>
                  <a:lnTo>
                    <a:pt x="119" y="359"/>
                  </a:lnTo>
                  <a:lnTo>
                    <a:pt x="116" y="359"/>
                  </a:lnTo>
                  <a:lnTo>
                    <a:pt x="119" y="359"/>
                  </a:lnTo>
                  <a:close/>
                  <a:moveTo>
                    <a:pt x="116" y="359"/>
                  </a:moveTo>
                  <a:lnTo>
                    <a:pt x="114" y="359"/>
                  </a:lnTo>
                  <a:lnTo>
                    <a:pt x="116" y="359"/>
                  </a:lnTo>
                  <a:close/>
                  <a:moveTo>
                    <a:pt x="45" y="359"/>
                  </a:moveTo>
                  <a:lnTo>
                    <a:pt x="45" y="356"/>
                  </a:lnTo>
                  <a:lnTo>
                    <a:pt x="45" y="359"/>
                  </a:lnTo>
                  <a:close/>
                  <a:moveTo>
                    <a:pt x="67" y="359"/>
                  </a:moveTo>
                  <a:lnTo>
                    <a:pt x="67" y="356"/>
                  </a:lnTo>
                  <a:lnTo>
                    <a:pt x="67" y="359"/>
                  </a:lnTo>
                  <a:close/>
                  <a:moveTo>
                    <a:pt x="40" y="356"/>
                  </a:moveTo>
                  <a:lnTo>
                    <a:pt x="40" y="359"/>
                  </a:lnTo>
                  <a:lnTo>
                    <a:pt x="38" y="359"/>
                  </a:lnTo>
                  <a:lnTo>
                    <a:pt x="40" y="359"/>
                  </a:lnTo>
                  <a:lnTo>
                    <a:pt x="38" y="359"/>
                  </a:lnTo>
                  <a:lnTo>
                    <a:pt x="38" y="356"/>
                  </a:lnTo>
                  <a:lnTo>
                    <a:pt x="38" y="359"/>
                  </a:lnTo>
                  <a:lnTo>
                    <a:pt x="40" y="359"/>
                  </a:lnTo>
                  <a:lnTo>
                    <a:pt x="40" y="356"/>
                  </a:lnTo>
                  <a:lnTo>
                    <a:pt x="40" y="359"/>
                  </a:lnTo>
                  <a:lnTo>
                    <a:pt x="40" y="356"/>
                  </a:lnTo>
                  <a:close/>
                  <a:moveTo>
                    <a:pt x="48" y="359"/>
                  </a:moveTo>
                  <a:lnTo>
                    <a:pt x="48" y="356"/>
                  </a:lnTo>
                  <a:lnTo>
                    <a:pt x="48" y="359"/>
                  </a:lnTo>
                  <a:close/>
                  <a:moveTo>
                    <a:pt x="45" y="356"/>
                  </a:moveTo>
                  <a:lnTo>
                    <a:pt x="48" y="356"/>
                  </a:lnTo>
                  <a:lnTo>
                    <a:pt x="48" y="359"/>
                  </a:lnTo>
                  <a:lnTo>
                    <a:pt x="45" y="359"/>
                  </a:lnTo>
                  <a:lnTo>
                    <a:pt x="45" y="356"/>
                  </a:lnTo>
                  <a:close/>
                  <a:moveTo>
                    <a:pt x="50" y="359"/>
                  </a:moveTo>
                  <a:lnTo>
                    <a:pt x="48" y="359"/>
                  </a:lnTo>
                  <a:lnTo>
                    <a:pt x="50" y="359"/>
                  </a:lnTo>
                  <a:lnTo>
                    <a:pt x="50" y="356"/>
                  </a:lnTo>
                  <a:lnTo>
                    <a:pt x="50" y="359"/>
                  </a:lnTo>
                  <a:close/>
                  <a:moveTo>
                    <a:pt x="36" y="359"/>
                  </a:moveTo>
                  <a:lnTo>
                    <a:pt x="36" y="356"/>
                  </a:lnTo>
                  <a:lnTo>
                    <a:pt x="36" y="359"/>
                  </a:lnTo>
                  <a:close/>
                  <a:moveTo>
                    <a:pt x="116" y="356"/>
                  </a:moveTo>
                  <a:lnTo>
                    <a:pt x="116" y="359"/>
                  </a:lnTo>
                  <a:lnTo>
                    <a:pt x="116" y="356"/>
                  </a:lnTo>
                  <a:close/>
                  <a:moveTo>
                    <a:pt x="38" y="359"/>
                  </a:moveTo>
                  <a:lnTo>
                    <a:pt x="36" y="359"/>
                  </a:lnTo>
                  <a:lnTo>
                    <a:pt x="36" y="356"/>
                  </a:lnTo>
                  <a:lnTo>
                    <a:pt x="38" y="356"/>
                  </a:lnTo>
                  <a:lnTo>
                    <a:pt x="38" y="359"/>
                  </a:lnTo>
                  <a:close/>
                  <a:moveTo>
                    <a:pt x="67" y="359"/>
                  </a:moveTo>
                  <a:lnTo>
                    <a:pt x="67" y="356"/>
                  </a:lnTo>
                  <a:lnTo>
                    <a:pt x="67" y="359"/>
                  </a:lnTo>
                  <a:lnTo>
                    <a:pt x="67" y="356"/>
                  </a:lnTo>
                  <a:lnTo>
                    <a:pt x="67" y="359"/>
                  </a:lnTo>
                  <a:close/>
                  <a:moveTo>
                    <a:pt x="67" y="356"/>
                  </a:moveTo>
                  <a:lnTo>
                    <a:pt x="69" y="356"/>
                  </a:lnTo>
                  <a:lnTo>
                    <a:pt x="67" y="356"/>
                  </a:lnTo>
                  <a:lnTo>
                    <a:pt x="69" y="356"/>
                  </a:lnTo>
                  <a:lnTo>
                    <a:pt x="69" y="359"/>
                  </a:lnTo>
                  <a:lnTo>
                    <a:pt x="67" y="359"/>
                  </a:lnTo>
                  <a:lnTo>
                    <a:pt x="67" y="356"/>
                  </a:lnTo>
                  <a:close/>
                  <a:moveTo>
                    <a:pt x="64" y="356"/>
                  </a:moveTo>
                  <a:lnTo>
                    <a:pt x="64" y="359"/>
                  </a:lnTo>
                  <a:lnTo>
                    <a:pt x="64" y="356"/>
                  </a:lnTo>
                  <a:close/>
                  <a:moveTo>
                    <a:pt x="33" y="356"/>
                  </a:moveTo>
                  <a:lnTo>
                    <a:pt x="33" y="359"/>
                  </a:lnTo>
                  <a:lnTo>
                    <a:pt x="33" y="356"/>
                  </a:lnTo>
                  <a:close/>
                  <a:moveTo>
                    <a:pt x="19" y="356"/>
                  </a:moveTo>
                  <a:lnTo>
                    <a:pt x="19" y="359"/>
                  </a:lnTo>
                  <a:lnTo>
                    <a:pt x="19" y="356"/>
                  </a:lnTo>
                  <a:close/>
                  <a:moveTo>
                    <a:pt x="90" y="356"/>
                  </a:moveTo>
                  <a:lnTo>
                    <a:pt x="93" y="356"/>
                  </a:lnTo>
                  <a:lnTo>
                    <a:pt x="90" y="356"/>
                  </a:lnTo>
                  <a:close/>
                  <a:moveTo>
                    <a:pt x="78" y="356"/>
                  </a:moveTo>
                  <a:lnTo>
                    <a:pt x="76" y="356"/>
                  </a:lnTo>
                  <a:lnTo>
                    <a:pt x="78" y="356"/>
                  </a:lnTo>
                  <a:close/>
                  <a:moveTo>
                    <a:pt x="48" y="356"/>
                  </a:moveTo>
                  <a:lnTo>
                    <a:pt x="45" y="356"/>
                  </a:lnTo>
                  <a:lnTo>
                    <a:pt x="48" y="356"/>
                  </a:lnTo>
                  <a:lnTo>
                    <a:pt x="45" y="356"/>
                  </a:lnTo>
                  <a:lnTo>
                    <a:pt x="48" y="356"/>
                  </a:lnTo>
                  <a:lnTo>
                    <a:pt x="45" y="356"/>
                  </a:lnTo>
                  <a:lnTo>
                    <a:pt x="48" y="356"/>
                  </a:lnTo>
                  <a:close/>
                  <a:moveTo>
                    <a:pt x="33" y="356"/>
                  </a:moveTo>
                  <a:lnTo>
                    <a:pt x="31" y="356"/>
                  </a:lnTo>
                  <a:lnTo>
                    <a:pt x="33" y="356"/>
                  </a:lnTo>
                  <a:close/>
                  <a:moveTo>
                    <a:pt x="38" y="356"/>
                  </a:moveTo>
                  <a:lnTo>
                    <a:pt x="40" y="356"/>
                  </a:lnTo>
                  <a:lnTo>
                    <a:pt x="38" y="356"/>
                  </a:lnTo>
                  <a:close/>
                  <a:moveTo>
                    <a:pt x="86" y="356"/>
                  </a:moveTo>
                  <a:lnTo>
                    <a:pt x="83" y="356"/>
                  </a:lnTo>
                  <a:lnTo>
                    <a:pt x="86" y="356"/>
                  </a:lnTo>
                  <a:close/>
                  <a:moveTo>
                    <a:pt x="81" y="356"/>
                  </a:moveTo>
                  <a:lnTo>
                    <a:pt x="83" y="356"/>
                  </a:lnTo>
                  <a:lnTo>
                    <a:pt x="81" y="356"/>
                  </a:lnTo>
                  <a:close/>
                  <a:moveTo>
                    <a:pt x="43" y="356"/>
                  </a:moveTo>
                  <a:lnTo>
                    <a:pt x="40" y="356"/>
                  </a:lnTo>
                  <a:lnTo>
                    <a:pt x="43" y="356"/>
                  </a:lnTo>
                  <a:close/>
                  <a:moveTo>
                    <a:pt x="81" y="356"/>
                  </a:moveTo>
                  <a:lnTo>
                    <a:pt x="78" y="356"/>
                  </a:lnTo>
                  <a:lnTo>
                    <a:pt x="81" y="356"/>
                  </a:lnTo>
                  <a:close/>
                  <a:moveTo>
                    <a:pt x="180" y="356"/>
                  </a:moveTo>
                  <a:lnTo>
                    <a:pt x="178" y="356"/>
                  </a:lnTo>
                  <a:lnTo>
                    <a:pt x="180" y="356"/>
                  </a:lnTo>
                  <a:close/>
                  <a:moveTo>
                    <a:pt x="76" y="356"/>
                  </a:moveTo>
                  <a:lnTo>
                    <a:pt x="78" y="356"/>
                  </a:lnTo>
                  <a:lnTo>
                    <a:pt x="76" y="356"/>
                  </a:lnTo>
                  <a:close/>
                  <a:moveTo>
                    <a:pt x="83" y="356"/>
                  </a:moveTo>
                  <a:lnTo>
                    <a:pt x="81" y="356"/>
                  </a:lnTo>
                  <a:lnTo>
                    <a:pt x="83" y="356"/>
                  </a:lnTo>
                  <a:close/>
                  <a:moveTo>
                    <a:pt x="33" y="356"/>
                  </a:moveTo>
                  <a:lnTo>
                    <a:pt x="36" y="356"/>
                  </a:lnTo>
                  <a:lnTo>
                    <a:pt x="33" y="356"/>
                  </a:lnTo>
                  <a:close/>
                  <a:moveTo>
                    <a:pt x="40" y="356"/>
                  </a:moveTo>
                  <a:lnTo>
                    <a:pt x="43" y="356"/>
                  </a:lnTo>
                  <a:lnTo>
                    <a:pt x="40" y="356"/>
                  </a:lnTo>
                  <a:lnTo>
                    <a:pt x="38" y="356"/>
                  </a:lnTo>
                  <a:lnTo>
                    <a:pt x="40" y="356"/>
                  </a:lnTo>
                  <a:lnTo>
                    <a:pt x="38" y="356"/>
                  </a:lnTo>
                  <a:lnTo>
                    <a:pt x="40" y="356"/>
                  </a:lnTo>
                  <a:close/>
                  <a:moveTo>
                    <a:pt x="71" y="356"/>
                  </a:moveTo>
                  <a:lnTo>
                    <a:pt x="74" y="356"/>
                  </a:lnTo>
                  <a:lnTo>
                    <a:pt x="71" y="356"/>
                  </a:lnTo>
                  <a:lnTo>
                    <a:pt x="71" y="354"/>
                  </a:lnTo>
                  <a:lnTo>
                    <a:pt x="71" y="356"/>
                  </a:lnTo>
                  <a:close/>
                  <a:moveTo>
                    <a:pt x="81" y="354"/>
                  </a:moveTo>
                  <a:lnTo>
                    <a:pt x="81" y="356"/>
                  </a:lnTo>
                  <a:lnTo>
                    <a:pt x="81" y="354"/>
                  </a:lnTo>
                  <a:lnTo>
                    <a:pt x="81" y="356"/>
                  </a:lnTo>
                  <a:lnTo>
                    <a:pt x="78" y="356"/>
                  </a:lnTo>
                  <a:lnTo>
                    <a:pt x="81" y="356"/>
                  </a:lnTo>
                  <a:lnTo>
                    <a:pt x="81" y="354"/>
                  </a:lnTo>
                  <a:close/>
                  <a:moveTo>
                    <a:pt x="119" y="354"/>
                  </a:moveTo>
                  <a:lnTo>
                    <a:pt x="121" y="354"/>
                  </a:lnTo>
                  <a:lnTo>
                    <a:pt x="121" y="356"/>
                  </a:lnTo>
                  <a:lnTo>
                    <a:pt x="119" y="356"/>
                  </a:lnTo>
                  <a:lnTo>
                    <a:pt x="116" y="356"/>
                  </a:lnTo>
                  <a:lnTo>
                    <a:pt x="119" y="356"/>
                  </a:lnTo>
                  <a:lnTo>
                    <a:pt x="119" y="354"/>
                  </a:lnTo>
                  <a:close/>
                  <a:moveTo>
                    <a:pt x="83" y="354"/>
                  </a:moveTo>
                  <a:lnTo>
                    <a:pt x="81" y="354"/>
                  </a:lnTo>
                  <a:lnTo>
                    <a:pt x="83" y="354"/>
                  </a:lnTo>
                  <a:close/>
                  <a:moveTo>
                    <a:pt x="102" y="354"/>
                  </a:moveTo>
                  <a:lnTo>
                    <a:pt x="102" y="356"/>
                  </a:lnTo>
                  <a:lnTo>
                    <a:pt x="100" y="354"/>
                  </a:lnTo>
                  <a:lnTo>
                    <a:pt x="102" y="354"/>
                  </a:lnTo>
                  <a:close/>
                  <a:moveTo>
                    <a:pt x="78" y="354"/>
                  </a:moveTo>
                  <a:lnTo>
                    <a:pt x="78" y="356"/>
                  </a:lnTo>
                  <a:lnTo>
                    <a:pt x="78" y="354"/>
                  </a:lnTo>
                  <a:close/>
                  <a:moveTo>
                    <a:pt x="83" y="354"/>
                  </a:moveTo>
                  <a:lnTo>
                    <a:pt x="86" y="354"/>
                  </a:lnTo>
                  <a:lnTo>
                    <a:pt x="83" y="354"/>
                  </a:lnTo>
                  <a:lnTo>
                    <a:pt x="86" y="354"/>
                  </a:lnTo>
                  <a:lnTo>
                    <a:pt x="86" y="356"/>
                  </a:lnTo>
                  <a:lnTo>
                    <a:pt x="86" y="354"/>
                  </a:lnTo>
                  <a:lnTo>
                    <a:pt x="86" y="356"/>
                  </a:lnTo>
                  <a:lnTo>
                    <a:pt x="86" y="354"/>
                  </a:lnTo>
                  <a:lnTo>
                    <a:pt x="83" y="354"/>
                  </a:lnTo>
                  <a:lnTo>
                    <a:pt x="83" y="356"/>
                  </a:lnTo>
                  <a:lnTo>
                    <a:pt x="83" y="354"/>
                  </a:lnTo>
                  <a:lnTo>
                    <a:pt x="83" y="356"/>
                  </a:lnTo>
                  <a:lnTo>
                    <a:pt x="83" y="354"/>
                  </a:lnTo>
                  <a:close/>
                  <a:moveTo>
                    <a:pt x="93" y="354"/>
                  </a:moveTo>
                  <a:lnTo>
                    <a:pt x="90" y="354"/>
                  </a:lnTo>
                  <a:lnTo>
                    <a:pt x="93" y="354"/>
                  </a:lnTo>
                  <a:lnTo>
                    <a:pt x="90" y="354"/>
                  </a:lnTo>
                  <a:lnTo>
                    <a:pt x="93" y="354"/>
                  </a:lnTo>
                  <a:close/>
                  <a:moveTo>
                    <a:pt x="88" y="354"/>
                  </a:moveTo>
                  <a:lnTo>
                    <a:pt x="90" y="354"/>
                  </a:lnTo>
                  <a:lnTo>
                    <a:pt x="88" y="356"/>
                  </a:lnTo>
                  <a:lnTo>
                    <a:pt x="86" y="356"/>
                  </a:lnTo>
                  <a:lnTo>
                    <a:pt x="86" y="354"/>
                  </a:lnTo>
                  <a:lnTo>
                    <a:pt x="86" y="356"/>
                  </a:lnTo>
                  <a:lnTo>
                    <a:pt x="86" y="354"/>
                  </a:lnTo>
                  <a:lnTo>
                    <a:pt x="88" y="354"/>
                  </a:lnTo>
                  <a:close/>
                  <a:moveTo>
                    <a:pt x="180" y="354"/>
                  </a:moveTo>
                  <a:lnTo>
                    <a:pt x="178" y="354"/>
                  </a:lnTo>
                  <a:lnTo>
                    <a:pt x="180" y="354"/>
                  </a:lnTo>
                  <a:close/>
                  <a:moveTo>
                    <a:pt x="97" y="354"/>
                  </a:moveTo>
                  <a:lnTo>
                    <a:pt x="95" y="354"/>
                  </a:lnTo>
                  <a:lnTo>
                    <a:pt x="97" y="354"/>
                  </a:lnTo>
                  <a:lnTo>
                    <a:pt x="95" y="354"/>
                  </a:lnTo>
                  <a:lnTo>
                    <a:pt x="97" y="354"/>
                  </a:lnTo>
                  <a:close/>
                  <a:moveTo>
                    <a:pt x="100" y="354"/>
                  </a:moveTo>
                  <a:lnTo>
                    <a:pt x="97" y="354"/>
                  </a:lnTo>
                  <a:lnTo>
                    <a:pt x="100" y="354"/>
                  </a:lnTo>
                  <a:close/>
                  <a:moveTo>
                    <a:pt x="90" y="354"/>
                  </a:moveTo>
                  <a:lnTo>
                    <a:pt x="93" y="354"/>
                  </a:lnTo>
                  <a:lnTo>
                    <a:pt x="90" y="354"/>
                  </a:lnTo>
                  <a:close/>
                  <a:moveTo>
                    <a:pt x="90" y="354"/>
                  </a:moveTo>
                  <a:lnTo>
                    <a:pt x="88" y="354"/>
                  </a:lnTo>
                  <a:lnTo>
                    <a:pt x="90" y="354"/>
                  </a:lnTo>
                  <a:lnTo>
                    <a:pt x="88" y="354"/>
                  </a:lnTo>
                  <a:lnTo>
                    <a:pt x="90" y="354"/>
                  </a:lnTo>
                  <a:close/>
                  <a:moveTo>
                    <a:pt x="57" y="354"/>
                  </a:moveTo>
                  <a:lnTo>
                    <a:pt x="59" y="354"/>
                  </a:lnTo>
                  <a:lnTo>
                    <a:pt x="57" y="354"/>
                  </a:lnTo>
                  <a:lnTo>
                    <a:pt x="59" y="354"/>
                  </a:lnTo>
                  <a:lnTo>
                    <a:pt x="57" y="354"/>
                  </a:lnTo>
                  <a:close/>
                  <a:moveTo>
                    <a:pt x="88" y="354"/>
                  </a:moveTo>
                  <a:lnTo>
                    <a:pt x="86" y="354"/>
                  </a:lnTo>
                  <a:lnTo>
                    <a:pt x="88" y="354"/>
                  </a:lnTo>
                  <a:close/>
                  <a:moveTo>
                    <a:pt x="45" y="354"/>
                  </a:moveTo>
                  <a:lnTo>
                    <a:pt x="45" y="356"/>
                  </a:lnTo>
                  <a:lnTo>
                    <a:pt x="45" y="354"/>
                  </a:lnTo>
                  <a:lnTo>
                    <a:pt x="43" y="354"/>
                  </a:lnTo>
                  <a:lnTo>
                    <a:pt x="45" y="354"/>
                  </a:lnTo>
                  <a:close/>
                  <a:moveTo>
                    <a:pt x="95" y="354"/>
                  </a:moveTo>
                  <a:lnTo>
                    <a:pt x="93" y="354"/>
                  </a:lnTo>
                  <a:lnTo>
                    <a:pt x="95" y="354"/>
                  </a:lnTo>
                  <a:close/>
                  <a:moveTo>
                    <a:pt x="40" y="354"/>
                  </a:moveTo>
                  <a:lnTo>
                    <a:pt x="38" y="354"/>
                  </a:lnTo>
                  <a:lnTo>
                    <a:pt x="40" y="354"/>
                  </a:lnTo>
                  <a:lnTo>
                    <a:pt x="38" y="354"/>
                  </a:lnTo>
                  <a:lnTo>
                    <a:pt x="40" y="354"/>
                  </a:lnTo>
                  <a:close/>
                  <a:moveTo>
                    <a:pt x="93" y="354"/>
                  </a:moveTo>
                  <a:lnTo>
                    <a:pt x="90" y="354"/>
                  </a:lnTo>
                  <a:lnTo>
                    <a:pt x="93" y="354"/>
                  </a:lnTo>
                  <a:close/>
                  <a:moveTo>
                    <a:pt x="83" y="354"/>
                  </a:moveTo>
                  <a:lnTo>
                    <a:pt x="86" y="354"/>
                  </a:lnTo>
                  <a:lnTo>
                    <a:pt x="83" y="354"/>
                  </a:lnTo>
                  <a:lnTo>
                    <a:pt x="86" y="354"/>
                  </a:lnTo>
                  <a:lnTo>
                    <a:pt x="83" y="354"/>
                  </a:lnTo>
                  <a:close/>
                  <a:moveTo>
                    <a:pt x="192" y="354"/>
                  </a:moveTo>
                  <a:lnTo>
                    <a:pt x="190" y="354"/>
                  </a:lnTo>
                  <a:lnTo>
                    <a:pt x="192" y="354"/>
                  </a:lnTo>
                  <a:close/>
                  <a:moveTo>
                    <a:pt x="38" y="354"/>
                  </a:moveTo>
                  <a:lnTo>
                    <a:pt x="38" y="352"/>
                  </a:lnTo>
                  <a:lnTo>
                    <a:pt x="38" y="354"/>
                  </a:lnTo>
                  <a:close/>
                  <a:moveTo>
                    <a:pt x="33" y="352"/>
                  </a:moveTo>
                  <a:lnTo>
                    <a:pt x="33" y="354"/>
                  </a:lnTo>
                  <a:lnTo>
                    <a:pt x="31" y="354"/>
                  </a:lnTo>
                  <a:lnTo>
                    <a:pt x="31" y="352"/>
                  </a:lnTo>
                  <a:lnTo>
                    <a:pt x="31" y="354"/>
                  </a:lnTo>
                  <a:lnTo>
                    <a:pt x="31" y="352"/>
                  </a:lnTo>
                  <a:lnTo>
                    <a:pt x="33" y="352"/>
                  </a:lnTo>
                  <a:close/>
                  <a:moveTo>
                    <a:pt x="86" y="352"/>
                  </a:moveTo>
                  <a:lnTo>
                    <a:pt x="86" y="354"/>
                  </a:lnTo>
                  <a:lnTo>
                    <a:pt x="86" y="352"/>
                  </a:lnTo>
                  <a:close/>
                  <a:moveTo>
                    <a:pt x="67" y="352"/>
                  </a:moveTo>
                  <a:lnTo>
                    <a:pt x="67" y="354"/>
                  </a:lnTo>
                  <a:lnTo>
                    <a:pt x="64" y="354"/>
                  </a:lnTo>
                  <a:lnTo>
                    <a:pt x="67" y="354"/>
                  </a:lnTo>
                  <a:lnTo>
                    <a:pt x="64" y="352"/>
                  </a:lnTo>
                  <a:lnTo>
                    <a:pt x="67" y="352"/>
                  </a:lnTo>
                  <a:close/>
                  <a:moveTo>
                    <a:pt x="64" y="352"/>
                  </a:moveTo>
                  <a:lnTo>
                    <a:pt x="64" y="354"/>
                  </a:lnTo>
                  <a:lnTo>
                    <a:pt x="64" y="352"/>
                  </a:lnTo>
                  <a:lnTo>
                    <a:pt x="62" y="352"/>
                  </a:lnTo>
                  <a:lnTo>
                    <a:pt x="64" y="352"/>
                  </a:lnTo>
                  <a:close/>
                  <a:moveTo>
                    <a:pt x="97" y="354"/>
                  </a:moveTo>
                  <a:lnTo>
                    <a:pt x="97" y="352"/>
                  </a:lnTo>
                  <a:lnTo>
                    <a:pt x="97" y="354"/>
                  </a:lnTo>
                  <a:close/>
                  <a:moveTo>
                    <a:pt x="183" y="352"/>
                  </a:moveTo>
                  <a:lnTo>
                    <a:pt x="183" y="354"/>
                  </a:lnTo>
                  <a:lnTo>
                    <a:pt x="183" y="352"/>
                  </a:lnTo>
                  <a:lnTo>
                    <a:pt x="183" y="354"/>
                  </a:lnTo>
                  <a:lnTo>
                    <a:pt x="183" y="352"/>
                  </a:lnTo>
                  <a:lnTo>
                    <a:pt x="183" y="354"/>
                  </a:lnTo>
                  <a:lnTo>
                    <a:pt x="183" y="352"/>
                  </a:lnTo>
                  <a:close/>
                  <a:moveTo>
                    <a:pt x="10" y="354"/>
                  </a:moveTo>
                  <a:lnTo>
                    <a:pt x="10" y="352"/>
                  </a:lnTo>
                  <a:lnTo>
                    <a:pt x="10" y="354"/>
                  </a:lnTo>
                  <a:close/>
                  <a:moveTo>
                    <a:pt x="43" y="352"/>
                  </a:moveTo>
                  <a:lnTo>
                    <a:pt x="43" y="354"/>
                  </a:lnTo>
                  <a:lnTo>
                    <a:pt x="40" y="354"/>
                  </a:lnTo>
                  <a:lnTo>
                    <a:pt x="40" y="352"/>
                  </a:lnTo>
                  <a:lnTo>
                    <a:pt x="43" y="352"/>
                  </a:lnTo>
                  <a:close/>
                  <a:moveTo>
                    <a:pt x="202" y="352"/>
                  </a:moveTo>
                  <a:lnTo>
                    <a:pt x="202" y="354"/>
                  </a:lnTo>
                  <a:lnTo>
                    <a:pt x="202" y="352"/>
                  </a:lnTo>
                  <a:lnTo>
                    <a:pt x="202" y="354"/>
                  </a:lnTo>
                  <a:lnTo>
                    <a:pt x="202" y="352"/>
                  </a:lnTo>
                  <a:close/>
                  <a:moveTo>
                    <a:pt x="197" y="352"/>
                  </a:moveTo>
                  <a:lnTo>
                    <a:pt x="199" y="352"/>
                  </a:lnTo>
                  <a:lnTo>
                    <a:pt x="197" y="352"/>
                  </a:lnTo>
                  <a:close/>
                  <a:moveTo>
                    <a:pt x="48" y="352"/>
                  </a:moveTo>
                  <a:lnTo>
                    <a:pt x="48" y="354"/>
                  </a:lnTo>
                  <a:lnTo>
                    <a:pt x="48" y="352"/>
                  </a:lnTo>
                  <a:lnTo>
                    <a:pt x="45" y="352"/>
                  </a:lnTo>
                  <a:lnTo>
                    <a:pt x="48" y="352"/>
                  </a:lnTo>
                  <a:close/>
                  <a:moveTo>
                    <a:pt x="33" y="352"/>
                  </a:moveTo>
                  <a:lnTo>
                    <a:pt x="33" y="354"/>
                  </a:lnTo>
                  <a:lnTo>
                    <a:pt x="33" y="352"/>
                  </a:lnTo>
                  <a:lnTo>
                    <a:pt x="33" y="354"/>
                  </a:lnTo>
                  <a:lnTo>
                    <a:pt x="33" y="352"/>
                  </a:lnTo>
                  <a:close/>
                  <a:moveTo>
                    <a:pt x="38" y="352"/>
                  </a:moveTo>
                  <a:lnTo>
                    <a:pt x="38" y="354"/>
                  </a:lnTo>
                  <a:lnTo>
                    <a:pt x="38" y="352"/>
                  </a:lnTo>
                  <a:close/>
                  <a:moveTo>
                    <a:pt x="97" y="352"/>
                  </a:moveTo>
                  <a:lnTo>
                    <a:pt x="95" y="354"/>
                  </a:lnTo>
                  <a:lnTo>
                    <a:pt x="95" y="352"/>
                  </a:lnTo>
                  <a:lnTo>
                    <a:pt x="95" y="354"/>
                  </a:lnTo>
                  <a:lnTo>
                    <a:pt x="95" y="352"/>
                  </a:lnTo>
                  <a:lnTo>
                    <a:pt x="95" y="354"/>
                  </a:lnTo>
                  <a:lnTo>
                    <a:pt x="95" y="352"/>
                  </a:lnTo>
                  <a:lnTo>
                    <a:pt x="97" y="352"/>
                  </a:lnTo>
                  <a:close/>
                  <a:moveTo>
                    <a:pt x="86" y="352"/>
                  </a:moveTo>
                  <a:lnTo>
                    <a:pt x="86" y="354"/>
                  </a:lnTo>
                  <a:lnTo>
                    <a:pt x="86" y="352"/>
                  </a:lnTo>
                  <a:close/>
                  <a:moveTo>
                    <a:pt x="36" y="352"/>
                  </a:moveTo>
                  <a:lnTo>
                    <a:pt x="38" y="352"/>
                  </a:lnTo>
                  <a:lnTo>
                    <a:pt x="36" y="354"/>
                  </a:lnTo>
                  <a:lnTo>
                    <a:pt x="36" y="352"/>
                  </a:lnTo>
                  <a:close/>
                  <a:moveTo>
                    <a:pt x="12" y="352"/>
                  </a:moveTo>
                  <a:lnTo>
                    <a:pt x="12" y="354"/>
                  </a:lnTo>
                  <a:lnTo>
                    <a:pt x="12" y="352"/>
                  </a:lnTo>
                  <a:close/>
                  <a:moveTo>
                    <a:pt x="202" y="352"/>
                  </a:moveTo>
                  <a:lnTo>
                    <a:pt x="204" y="352"/>
                  </a:lnTo>
                  <a:lnTo>
                    <a:pt x="202" y="352"/>
                  </a:lnTo>
                  <a:close/>
                  <a:moveTo>
                    <a:pt x="90" y="352"/>
                  </a:moveTo>
                  <a:lnTo>
                    <a:pt x="93" y="352"/>
                  </a:lnTo>
                  <a:lnTo>
                    <a:pt x="90" y="352"/>
                  </a:lnTo>
                  <a:close/>
                  <a:moveTo>
                    <a:pt x="71" y="352"/>
                  </a:moveTo>
                  <a:lnTo>
                    <a:pt x="71" y="354"/>
                  </a:lnTo>
                  <a:lnTo>
                    <a:pt x="71" y="352"/>
                  </a:lnTo>
                  <a:lnTo>
                    <a:pt x="71" y="354"/>
                  </a:lnTo>
                  <a:lnTo>
                    <a:pt x="71" y="352"/>
                  </a:lnTo>
                  <a:lnTo>
                    <a:pt x="71" y="354"/>
                  </a:lnTo>
                  <a:lnTo>
                    <a:pt x="71" y="352"/>
                  </a:lnTo>
                  <a:close/>
                  <a:moveTo>
                    <a:pt x="33" y="352"/>
                  </a:moveTo>
                  <a:lnTo>
                    <a:pt x="31" y="352"/>
                  </a:lnTo>
                  <a:lnTo>
                    <a:pt x="33" y="352"/>
                  </a:lnTo>
                  <a:close/>
                  <a:moveTo>
                    <a:pt x="74" y="352"/>
                  </a:moveTo>
                  <a:lnTo>
                    <a:pt x="76" y="352"/>
                  </a:lnTo>
                  <a:lnTo>
                    <a:pt x="78" y="352"/>
                  </a:lnTo>
                  <a:lnTo>
                    <a:pt x="78" y="354"/>
                  </a:lnTo>
                  <a:lnTo>
                    <a:pt x="76" y="354"/>
                  </a:lnTo>
                  <a:lnTo>
                    <a:pt x="78" y="354"/>
                  </a:lnTo>
                  <a:lnTo>
                    <a:pt x="78" y="356"/>
                  </a:lnTo>
                  <a:lnTo>
                    <a:pt x="76" y="356"/>
                  </a:lnTo>
                  <a:lnTo>
                    <a:pt x="74" y="356"/>
                  </a:lnTo>
                  <a:lnTo>
                    <a:pt x="71" y="356"/>
                  </a:lnTo>
                  <a:lnTo>
                    <a:pt x="74" y="356"/>
                  </a:lnTo>
                  <a:lnTo>
                    <a:pt x="74" y="354"/>
                  </a:lnTo>
                  <a:lnTo>
                    <a:pt x="71" y="356"/>
                  </a:lnTo>
                  <a:lnTo>
                    <a:pt x="74" y="354"/>
                  </a:lnTo>
                  <a:lnTo>
                    <a:pt x="71" y="354"/>
                  </a:lnTo>
                  <a:lnTo>
                    <a:pt x="74" y="354"/>
                  </a:lnTo>
                  <a:lnTo>
                    <a:pt x="71" y="354"/>
                  </a:lnTo>
                  <a:lnTo>
                    <a:pt x="74" y="354"/>
                  </a:lnTo>
                  <a:lnTo>
                    <a:pt x="76" y="354"/>
                  </a:lnTo>
                  <a:lnTo>
                    <a:pt x="74" y="354"/>
                  </a:lnTo>
                  <a:lnTo>
                    <a:pt x="71" y="354"/>
                  </a:lnTo>
                  <a:lnTo>
                    <a:pt x="74" y="354"/>
                  </a:lnTo>
                  <a:lnTo>
                    <a:pt x="74" y="352"/>
                  </a:lnTo>
                  <a:close/>
                  <a:moveTo>
                    <a:pt x="33" y="352"/>
                  </a:moveTo>
                  <a:lnTo>
                    <a:pt x="36" y="352"/>
                  </a:lnTo>
                  <a:lnTo>
                    <a:pt x="33" y="352"/>
                  </a:lnTo>
                  <a:close/>
                  <a:moveTo>
                    <a:pt x="45" y="352"/>
                  </a:moveTo>
                  <a:lnTo>
                    <a:pt x="48" y="352"/>
                  </a:lnTo>
                  <a:lnTo>
                    <a:pt x="45" y="352"/>
                  </a:lnTo>
                  <a:close/>
                  <a:moveTo>
                    <a:pt x="64" y="352"/>
                  </a:moveTo>
                  <a:lnTo>
                    <a:pt x="67" y="352"/>
                  </a:lnTo>
                  <a:lnTo>
                    <a:pt x="64" y="352"/>
                  </a:lnTo>
                  <a:close/>
                  <a:moveTo>
                    <a:pt x="64" y="352"/>
                  </a:moveTo>
                  <a:lnTo>
                    <a:pt x="62" y="352"/>
                  </a:lnTo>
                  <a:lnTo>
                    <a:pt x="64" y="352"/>
                  </a:lnTo>
                  <a:close/>
                  <a:moveTo>
                    <a:pt x="76" y="352"/>
                  </a:moveTo>
                  <a:lnTo>
                    <a:pt x="78" y="352"/>
                  </a:lnTo>
                  <a:lnTo>
                    <a:pt x="76" y="352"/>
                  </a:lnTo>
                  <a:lnTo>
                    <a:pt x="78" y="352"/>
                  </a:lnTo>
                  <a:lnTo>
                    <a:pt x="76" y="352"/>
                  </a:lnTo>
                  <a:close/>
                  <a:moveTo>
                    <a:pt x="218" y="352"/>
                  </a:moveTo>
                  <a:lnTo>
                    <a:pt x="216" y="352"/>
                  </a:lnTo>
                  <a:lnTo>
                    <a:pt x="218" y="352"/>
                  </a:lnTo>
                  <a:close/>
                  <a:moveTo>
                    <a:pt x="102" y="352"/>
                  </a:moveTo>
                  <a:lnTo>
                    <a:pt x="100" y="352"/>
                  </a:lnTo>
                  <a:lnTo>
                    <a:pt x="102" y="352"/>
                  </a:lnTo>
                  <a:lnTo>
                    <a:pt x="100" y="352"/>
                  </a:lnTo>
                  <a:lnTo>
                    <a:pt x="97" y="354"/>
                  </a:lnTo>
                  <a:lnTo>
                    <a:pt x="100" y="354"/>
                  </a:lnTo>
                  <a:lnTo>
                    <a:pt x="100" y="352"/>
                  </a:lnTo>
                  <a:lnTo>
                    <a:pt x="100" y="354"/>
                  </a:lnTo>
                  <a:lnTo>
                    <a:pt x="97" y="354"/>
                  </a:lnTo>
                  <a:lnTo>
                    <a:pt x="97" y="352"/>
                  </a:lnTo>
                  <a:lnTo>
                    <a:pt x="100" y="352"/>
                  </a:lnTo>
                  <a:lnTo>
                    <a:pt x="97" y="352"/>
                  </a:lnTo>
                  <a:lnTo>
                    <a:pt x="100" y="352"/>
                  </a:lnTo>
                  <a:lnTo>
                    <a:pt x="100" y="349"/>
                  </a:lnTo>
                  <a:lnTo>
                    <a:pt x="102" y="349"/>
                  </a:lnTo>
                  <a:lnTo>
                    <a:pt x="102" y="352"/>
                  </a:lnTo>
                  <a:close/>
                  <a:moveTo>
                    <a:pt x="204" y="349"/>
                  </a:moveTo>
                  <a:lnTo>
                    <a:pt x="204" y="352"/>
                  </a:lnTo>
                  <a:lnTo>
                    <a:pt x="204" y="349"/>
                  </a:lnTo>
                  <a:lnTo>
                    <a:pt x="204" y="352"/>
                  </a:lnTo>
                  <a:lnTo>
                    <a:pt x="204" y="349"/>
                  </a:lnTo>
                  <a:close/>
                  <a:moveTo>
                    <a:pt x="88" y="349"/>
                  </a:moveTo>
                  <a:lnTo>
                    <a:pt x="88" y="352"/>
                  </a:lnTo>
                  <a:lnTo>
                    <a:pt x="86" y="352"/>
                  </a:lnTo>
                  <a:lnTo>
                    <a:pt x="86" y="349"/>
                  </a:lnTo>
                  <a:lnTo>
                    <a:pt x="88" y="349"/>
                  </a:lnTo>
                  <a:close/>
                  <a:moveTo>
                    <a:pt x="207" y="349"/>
                  </a:moveTo>
                  <a:lnTo>
                    <a:pt x="207" y="352"/>
                  </a:lnTo>
                  <a:lnTo>
                    <a:pt x="204" y="352"/>
                  </a:lnTo>
                  <a:lnTo>
                    <a:pt x="207" y="352"/>
                  </a:lnTo>
                  <a:lnTo>
                    <a:pt x="204" y="352"/>
                  </a:lnTo>
                  <a:lnTo>
                    <a:pt x="204" y="349"/>
                  </a:lnTo>
                  <a:lnTo>
                    <a:pt x="207" y="349"/>
                  </a:lnTo>
                  <a:close/>
                  <a:moveTo>
                    <a:pt x="88" y="349"/>
                  </a:moveTo>
                  <a:lnTo>
                    <a:pt x="88" y="352"/>
                  </a:lnTo>
                  <a:lnTo>
                    <a:pt x="88" y="349"/>
                  </a:lnTo>
                  <a:lnTo>
                    <a:pt x="88" y="352"/>
                  </a:lnTo>
                  <a:lnTo>
                    <a:pt x="88" y="349"/>
                  </a:lnTo>
                  <a:close/>
                  <a:moveTo>
                    <a:pt x="78" y="349"/>
                  </a:moveTo>
                  <a:lnTo>
                    <a:pt x="81" y="349"/>
                  </a:lnTo>
                  <a:lnTo>
                    <a:pt x="81" y="352"/>
                  </a:lnTo>
                  <a:lnTo>
                    <a:pt x="78" y="352"/>
                  </a:lnTo>
                  <a:lnTo>
                    <a:pt x="78" y="349"/>
                  </a:lnTo>
                  <a:close/>
                  <a:moveTo>
                    <a:pt x="100" y="349"/>
                  </a:moveTo>
                  <a:lnTo>
                    <a:pt x="102" y="349"/>
                  </a:lnTo>
                  <a:lnTo>
                    <a:pt x="100" y="349"/>
                  </a:lnTo>
                  <a:close/>
                  <a:moveTo>
                    <a:pt x="0" y="349"/>
                  </a:moveTo>
                  <a:lnTo>
                    <a:pt x="0" y="352"/>
                  </a:lnTo>
                  <a:lnTo>
                    <a:pt x="0" y="349"/>
                  </a:lnTo>
                  <a:lnTo>
                    <a:pt x="0" y="352"/>
                  </a:lnTo>
                  <a:lnTo>
                    <a:pt x="0" y="349"/>
                  </a:lnTo>
                  <a:close/>
                  <a:moveTo>
                    <a:pt x="83" y="349"/>
                  </a:moveTo>
                  <a:lnTo>
                    <a:pt x="86" y="349"/>
                  </a:lnTo>
                  <a:lnTo>
                    <a:pt x="86" y="352"/>
                  </a:lnTo>
                  <a:lnTo>
                    <a:pt x="88" y="352"/>
                  </a:lnTo>
                  <a:lnTo>
                    <a:pt x="86" y="352"/>
                  </a:lnTo>
                  <a:lnTo>
                    <a:pt x="83" y="352"/>
                  </a:lnTo>
                  <a:lnTo>
                    <a:pt x="86" y="352"/>
                  </a:lnTo>
                  <a:lnTo>
                    <a:pt x="83" y="352"/>
                  </a:lnTo>
                  <a:lnTo>
                    <a:pt x="83" y="354"/>
                  </a:lnTo>
                  <a:lnTo>
                    <a:pt x="81" y="354"/>
                  </a:lnTo>
                  <a:lnTo>
                    <a:pt x="83" y="354"/>
                  </a:lnTo>
                  <a:lnTo>
                    <a:pt x="81" y="354"/>
                  </a:lnTo>
                  <a:lnTo>
                    <a:pt x="83" y="354"/>
                  </a:lnTo>
                  <a:lnTo>
                    <a:pt x="81" y="354"/>
                  </a:lnTo>
                  <a:lnTo>
                    <a:pt x="78" y="354"/>
                  </a:lnTo>
                  <a:lnTo>
                    <a:pt x="78" y="352"/>
                  </a:lnTo>
                  <a:lnTo>
                    <a:pt x="78" y="354"/>
                  </a:lnTo>
                  <a:lnTo>
                    <a:pt x="78" y="352"/>
                  </a:lnTo>
                  <a:lnTo>
                    <a:pt x="81" y="352"/>
                  </a:lnTo>
                  <a:lnTo>
                    <a:pt x="78" y="352"/>
                  </a:lnTo>
                  <a:lnTo>
                    <a:pt x="81" y="352"/>
                  </a:lnTo>
                  <a:lnTo>
                    <a:pt x="81" y="349"/>
                  </a:lnTo>
                  <a:lnTo>
                    <a:pt x="81" y="352"/>
                  </a:lnTo>
                  <a:lnTo>
                    <a:pt x="81" y="349"/>
                  </a:lnTo>
                  <a:lnTo>
                    <a:pt x="83" y="349"/>
                  </a:lnTo>
                  <a:close/>
                  <a:moveTo>
                    <a:pt x="93" y="349"/>
                  </a:moveTo>
                  <a:lnTo>
                    <a:pt x="90" y="349"/>
                  </a:lnTo>
                  <a:lnTo>
                    <a:pt x="90" y="352"/>
                  </a:lnTo>
                  <a:lnTo>
                    <a:pt x="93" y="349"/>
                  </a:lnTo>
                  <a:lnTo>
                    <a:pt x="93" y="352"/>
                  </a:lnTo>
                  <a:lnTo>
                    <a:pt x="90" y="352"/>
                  </a:lnTo>
                  <a:lnTo>
                    <a:pt x="90" y="354"/>
                  </a:lnTo>
                  <a:lnTo>
                    <a:pt x="90" y="352"/>
                  </a:lnTo>
                  <a:lnTo>
                    <a:pt x="90" y="354"/>
                  </a:lnTo>
                  <a:lnTo>
                    <a:pt x="90" y="352"/>
                  </a:lnTo>
                  <a:lnTo>
                    <a:pt x="90" y="354"/>
                  </a:lnTo>
                  <a:lnTo>
                    <a:pt x="88" y="354"/>
                  </a:lnTo>
                  <a:lnTo>
                    <a:pt x="88" y="352"/>
                  </a:lnTo>
                  <a:lnTo>
                    <a:pt x="88" y="354"/>
                  </a:lnTo>
                  <a:lnTo>
                    <a:pt x="86" y="352"/>
                  </a:lnTo>
                  <a:lnTo>
                    <a:pt x="88" y="352"/>
                  </a:lnTo>
                  <a:lnTo>
                    <a:pt x="90" y="352"/>
                  </a:lnTo>
                  <a:lnTo>
                    <a:pt x="90" y="349"/>
                  </a:lnTo>
                  <a:lnTo>
                    <a:pt x="90" y="352"/>
                  </a:lnTo>
                  <a:lnTo>
                    <a:pt x="90" y="349"/>
                  </a:lnTo>
                  <a:lnTo>
                    <a:pt x="93" y="349"/>
                  </a:lnTo>
                  <a:close/>
                  <a:moveTo>
                    <a:pt x="195" y="349"/>
                  </a:moveTo>
                  <a:lnTo>
                    <a:pt x="197" y="349"/>
                  </a:lnTo>
                  <a:lnTo>
                    <a:pt x="195" y="349"/>
                  </a:lnTo>
                  <a:lnTo>
                    <a:pt x="195" y="352"/>
                  </a:lnTo>
                  <a:lnTo>
                    <a:pt x="195" y="349"/>
                  </a:lnTo>
                  <a:close/>
                  <a:moveTo>
                    <a:pt x="88" y="349"/>
                  </a:moveTo>
                  <a:lnTo>
                    <a:pt x="86" y="349"/>
                  </a:lnTo>
                  <a:lnTo>
                    <a:pt x="88" y="349"/>
                  </a:lnTo>
                  <a:close/>
                  <a:moveTo>
                    <a:pt x="31" y="349"/>
                  </a:moveTo>
                  <a:lnTo>
                    <a:pt x="31" y="352"/>
                  </a:lnTo>
                  <a:lnTo>
                    <a:pt x="31" y="349"/>
                  </a:lnTo>
                  <a:close/>
                  <a:moveTo>
                    <a:pt x="74" y="349"/>
                  </a:moveTo>
                  <a:lnTo>
                    <a:pt x="71" y="349"/>
                  </a:lnTo>
                  <a:lnTo>
                    <a:pt x="74" y="349"/>
                  </a:lnTo>
                  <a:lnTo>
                    <a:pt x="71" y="349"/>
                  </a:lnTo>
                  <a:lnTo>
                    <a:pt x="74" y="349"/>
                  </a:lnTo>
                  <a:close/>
                  <a:moveTo>
                    <a:pt x="33" y="349"/>
                  </a:moveTo>
                  <a:lnTo>
                    <a:pt x="33" y="352"/>
                  </a:lnTo>
                  <a:lnTo>
                    <a:pt x="31" y="352"/>
                  </a:lnTo>
                  <a:lnTo>
                    <a:pt x="31" y="349"/>
                  </a:lnTo>
                  <a:lnTo>
                    <a:pt x="33" y="349"/>
                  </a:lnTo>
                  <a:close/>
                  <a:moveTo>
                    <a:pt x="197" y="349"/>
                  </a:moveTo>
                  <a:lnTo>
                    <a:pt x="199" y="349"/>
                  </a:lnTo>
                  <a:lnTo>
                    <a:pt x="197" y="349"/>
                  </a:lnTo>
                  <a:close/>
                  <a:moveTo>
                    <a:pt x="218" y="349"/>
                  </a:moveTo>
                  <a:lnTo>
                    <a:pt x="221" y="349"/>
                  </a:lnTo>
                  <a:lnTo>
                    <a:pt x="218" y="349"/>
                  </a:lnTo>
                  <a:lnTo>
                    <a:pt x="221" y="349"/>
                  </a:lnTo>
                  <a:lnTo>
                    <a:pt x="218" y="349"/>
                  </a:lnTo>
                  <a:close/>
                  <a:moveTo>
                    <a:pt x="102" y="349"/>
                  </a:moveTo>
                  <a:lnTo>
                    <a:pt x="100" y="349"/>
                  </a:lnTo>
                  <a:lnTo>
                    <a:pt x="102" y="349"/>
                  </a:lnTo>
                  <a:close/>
                  <a:moveTo>
                    <a:pt x="100" y="349"/>
                  </a:moveTo>
                  <a:lnTo>
                    <a:pt x="100" y="352"/>
                  </a:lnTo>
                  <a:lnTo>
                    <a:pt x="97" y="352"/>
                  </a:lnTo>
                  <a:lnTo>
                    <a:pt x="97" y="349"/>
                  </a:lnTo>
                  <a:lnTo>
                    <a:pt x="100" y="349"/>
                  </a:lnTo>
                  <a:close/>
                  <a:moveTo>
                    <a:pt x="209" y="349"/>
                  </a:moveTo>
                  <a:lnTo>
                    <a:pt x="211" y="349"/>
                  </a:lnTo>
                  <a:lnTo>
                    <a:pt x="209" y="352"/>
                  </a:lnTo>
                  <a:lnTo>
                    <a:pt x="209" y="349"/>
                  </a:lnTo>
                  <a:close/>
                  <a:moveTo>
                    <a:pt x="55" y="349"/>
                  </a:moveTo>
                  <a:lnTo>
                    <a:pt x="57" y="349"/>
                  </a:lnTo>
                  <a:lnTo>
                    <a:pt x="55" y="349"/>
                  </a:lnTo>
                  <a:lnTo>
                    <a:pt x="57" y="349"/>
                  </a:lnTo>
                  <a:lnTo>
                    <a:pt x="55" y="349"/>
                  </a:lnTo>
                  <a:close/>
                  <a:moveTo>
                    <a:pt x="69" y="349"/>
                  </a:moveTo>
                  <a:lnTo>
                    <a:pt x="67" y="349"/>
                  </a:lnTo>
                  <a:lnTo>
                    <a:pt x="69" y="349"/>
                  </a:lnTo>
                  <a:lnTo>
                    <a:pt x="67" y="349"/>
                  </a:lnTo>
                  <a:lnTo>
                    <a:pt x="69" y="349"/>
                  </a:lnTo>
                  <a:lnTo>
                    <a:pt x="67" y="349"/>
                  </a:lnTo>
                  <a:lnTo>
                    <a:pt x="69" y="352"/>
                  </a:lnTo>
                  <a:lnTo>
                    <a:pt x="67" y="352"/>
                  </a:lnTo>
                  <a:lnTo>
                    <a:pt x="69" y="352"/>
                  </a:lnTo>
                  <a:lnTo>
                    <a:pt x="71" y="349"/>
                  </a:lnTo>
                  <a:lnTo>
                    <a:pt x="71" y="352"/>
                  </a:lnTo>
                  <a:lnTo>
                    <a:pt x="69" y="352"/>
                  </a:lnTo>
                  <a:lnTo>
                    <a:pt x="67" y="352"/>
                  </a:lnTo>
                  <a:lnTo>
                    <a:pt x="64" y="352"/>
                  </a:lnTo>
                  <a:lnTo>
                    <a:pt x="64" y="349"/>
                  </a:lnTo>
                  <a:lnTo>
                    <a:pt x="64" y="352"/>
                  </a:lnTo>
                  <a:lnTo>
                    <a:pt x="64" y="349"/>
                  </a:lnTo>
                  <a:lnTo>
                    <a:pt x="67" y="349"/>
                  </a:lnTo>
                  <a:lnTo>
                    <a:pt x="64" y="349"/>
                  </a:lnTo>
                  <a:lnTo>
                    <a:pt x="67" y="349"/>
                  </a:lnTo>
                  <a:lnTo>
                    <a:pt x="69" y="349"/>
                  </a:lnTo>
                  <a:close/>
                  <a:moveTo>
                    <a:pt x="216" y="349"/>
                  </a:moveTo>
                  <a:lnTo>
                    <a:pt x="218" y="349"/>
                  </a:lnTo>
                  <a:lnTo>
                    <a:pt x="218" y="352"/>
                  </a:lnTo>
                  <a:lnTo>
                    <a:pt x="216" y="352"/>
                  </a:lnTo>
                  <a:lnTo>
                    <a:pt x="216" y="349"/>
                  </a:lnTo>
                  <a:lnTo>
                    <a:pt x="216" y="352"/>
                  </a:lnTo>
                  <a:lnTo>
                    <a:pt x="214" y="352"/>
                  </a:lnTo>
                  <a:lnTo>
                    <a:pt x="216" y="352"/>
                  </a:lnTo>
                  <a:lnTo>
                    <a:pt x="214" y="352"/>
                  </a:lnTo>
                  <a:lnTo>
                    <a:pt x="214" y="349"/>
                  </a:lnTo>
                  <a:lnTo>
                    <a:pt x="216" y="349"/>
                  </a:lnTo>
                  <a:close/>
                  <a:moveTo>
                    <a:pt x="218" y="349"/>
                  </a:moveTo>
                  <a:lnTo>
                    <a:pt x="216" y="349"/>
                  </a:lnTo>
                  <a:lnTo>
                    <a:pt x="218" y="349"/>
                  </a:lnTo>
                  <a:close/>
                  <a:moveTo>
                    <a:pt x="45" y="349"/>
                  </a:moveTo>
                  <a:lnTo>
                    <a:pt x="45" y="352"/>
                  </a:lnTo>
                  <a:lnTo>
                    <a:pt x="45" y="349"/>
                  </a:lnTo>
                  <a:lnTo>
                    <a:pt x="45" y="352"/>
                  </a:lnTo>
                  <a:lnTo>
                    <a:pt x="45" y="349"/>
                  </a:lnTo>
                  <a:lnTo>
                    <a:pt x="45" y="352"/>
                  </a:lnTo>
                  <a:lnTo>
                    <a:pt x="45" y="349"/>
                  </a:lnTo>
                  <a:close/>
                  <a:moveTo>
                    <a:pt x="102" y="349"/>
                  </a:moveTo>
                  <a:lnTo>
                    <a:pt x="100" y="349"/>
                  </a:lnTo>
                  <a:lnTo>
                    <a:pt x="102" y="349"/>
                  </a:lnTo>
                  <a:close/>
                  <a:moveTo>
                    <a:pt x="71" y="349"/>
                  </a:moveTo>
                  <a:lnTo>
                    <a:pt x="69" y="349"/>
                  </a:lnTo>
                  <a:lnTo>
                    <a:pt x="71" y="349"/>
                  </a:lnTo>
                  <a:lnTo>
                    <a:pt x="69" y="349"/>
                  </a:lnTo>
                  <a:lnTo>
                    <a:pt x="69" y="352"/>
                  </a:lnTo>
                  <a:lnTo>
                    <a:pt x="69" y="349"/>
                  </a:lnTo>
                  <a:lnTo>
                    <a:pt x="71" y="349"/>
                  </a:lnTo>
                  <a:close/>
                  <a:moveTo>
                    <a:pt x="33" y="349"/>
                  </a:moveTo>
                  <a:lnTo>
                    <a:pt x="31" y="349"/>
                  </a:lnTo>
                  <a:lnTo>
                    <a:pt x="33" y="349"/>
                  </a:lnTo>
                  <a:close/>
                  <a:moveTo>
                    <a:pt x="218" y="349"/>
                  </a:moveTo>
                  <a:lnTo>
                    <a:pt x="216" y="349"/>
                  </a:lnTo>
                  <a:lnTo>
                    <a:pt x="218" y="349"/>
                  </a:lnTo>
                  <a:close/>
                  <a:moveTo>
                    <a:pt x="90" y="349"/>
                  </a:moveTo>
                  <a:lnTo>
                    <a:pt x="88" y="349"/>
                  </a:lnTo>
                  <a:lnTo>
                    <a:pt x="90" y="349"/>
                  </a:lnTo>
                  <a:close/>
                  <a:moveTo>
                    <a:pt x="197" y="349"/>
                  </a:moveTo>
                  <a:lnTo>
                    <a:pt x="199" y="349"/>
                  </a:lnTo>
                  <a:lnTo>
                    <a:pt x="197" y="349"/>
                  </a:lnTo>
                  <a:close/>
                  <a:moveTo>
                    <a:pt x="64" y="349"/>
                  </a:moveTo>
                  <a:lnTo>
                    <a:pt x="62" y="349"/>
                  </a:lnTo>
                  <a:lnTo>
                    <a:pt x="64" y="349"/>
                  </a:lnTo>
                  <a:close/>
                  <a:moveTo>
                    <a:pt x="107" y="349"/>
                  </a:moveTo>
                  <a:lnTo>
                    <a:pt x="104" y="349"/>
                  </a:lnTo>
                  <a:lnTo>
                    <a:pt x="107" y="349"/>
                  </a:lnTo>
                  <a:close/>
                  <a:moveTo>
                    <a:pt x="81" y="349"/>
                  </a:moveTo>
                  <a:lnTo>
                    <a:pt x="78" y="349"/>
                  </a:lnTo>
                  <a:lnTo>
                    <a:pt x="81" y="349"/>
                  </a:lnTo>
                  <a:close/>
                  <a:moveTo>
                    <a:pt x="90" y="349"/>
                  </a:moveTo>
                  <a:lnTo>
                    <a:pt x="93" y="349"/>
                  </a:lnTo>
                  <a:lnTo>
                    <a:pt x="90" y="349"/>
                  </a:lnTo>
                  <a:close/>
                  <a:moveTo>
                    <a:pt x="2" y="349"/>
                  </a:moveTo>
                  <a:lnTo>
                    <a:pt x="2" y="347"/>
                  </a:lnTo>
                  <a:lnTo>
                    <a:pt x="2" y="349"/>
                  </a:lnTo>
                  <a:close/>
                  <a:moveTo>
                    <a:pt x="48" y="349"/>
                  </a:moveTo>
                  <a:lnTo>
                    <a:pt x="45" y="349"/>
                  </a:lnTo>
                  <a:lnTo>
                    <a:pt x="48" y="349"/>
                  </a:lnTo>
                  <a:lnTo>
                    <a:pt x="48" y="347"/>
                  </a:lnTo>
                  <a:lnTo>
                    <a:pt x="48" y="349"/>
                  </a:lnTo>
                  <a:close/>
                  <a:moveTo>
                    <a:pt x="104" y="347"/>
                  </a:moveTo>
                  <a:lnTo>
                    <a:pt x="104" y="349"/>
                  </a:lnTo>
                  <a:lnTo>
                    <a:pt x="104" y="347"/>
                  </a:lnTo>
                  <a:lnTo>
                    <a:pt x="104" y="349"/>
                  </a:lnTo>
                  <a:lnTo>
                    <a:pt x="104" y="347"/>
                  </a:lnTo>
                  <a:close/>
                  <a:moveTo>
                    <a:pt x="74" y="349"/>
                  </a:moveTo>
                  <a:lnTo>
                    <a:pt x="74" y="347"/>
                  </a:lnTo>
                  <a:lnTo>
                    <a:pt x="74" y="349"/>
                  </a:lnTo>
                  <a:close/>
                  <a:moveTo>
                    <a:pt x="74" y="349"/>
                  </a:moveTo>
                  <a:lnTo>
                    <a:pt x="71" y="349"/>
                  </a:lnTo>
                  <a:lnTo>
                    <a:pt x="74" y="349"/>
                  </a:lnTo>
                  <a:lnTo>
                    <a:pt x="71" y="349"/>
                  </a:lnTo>
                  <a:lnTo>
                    <a:pt x="74" y="347"/>
                  </a:lnTo>
                  <a:lnTo>
                    <a:pt x="74" y="349"/>
                  </a:lnTo>
                  <a:close/>
                  <a:moveTo>
                    <a:pt x="204" y="347"/>
                  </a:moveTo>
                  <a:lnTo>
                    <a:pt x="204" y="349"/>
                  </a:lnTo>
                  <a:lnTo>
                    <a:pt x="204" y="347"/>
                  </a:lnTo>
                  <a:close/>
                  <a:moveTo>
                    <a:pt x="102" y="347"/>
                  </a:moveTo>
                  <a:lnTo>
                    <a:pt x="104" y="347"/>
                  </a:lnTo>
                  <a:lnTo>
                    <a:pt x="104" y="349"/>
                  </a:lnTo>
                  <a:lnTo>
                    <a:pt x="102" y="349"/>
                  </a:lnTo>
                  <a:lnTo>
                    <a:pt x="102" y="347"/>
                  </a:lnTo>
                  <a:close/>
                  <a:moveTo>
                    <a:pt x="55" y="349"/>
                  </a:moveTo>
                  <a:lnTo>
                    <a:pt x="55" y="347"/>
                  </a:lnTo>
                  <a:lnTo>
                    <a:pt x="55" y="349"/>
                  </a:lnTo>
                  <a:close/>
                  <a:moveTo>
                    <a:pt x="45" y="349"/>
                  </a:moveTo>
                  <a:lnTo>
                    <a:pt x="45" y="347"/>
                  </a:lnTo>
                  <a:lnTo>
                    <a:pt x="45" y="349"/>
                  </a:lnTo>
                  <a:close/>
                  <a:moveTo>
                    <a:pt x="116" y="347"/>
                  </a:moveTo>
                  <a:lnTo>
                    <a:pt x="116" y="349"/>
                  </a:lnTo>
                  <a:lnTo>
                    <a:pt x="116" y="347"/>
                  </a:lnTo>
                  <a:close/>
                  <a:moveTo>
                    <a:pt x="78" y="349"/>
                  </a:moveTo>
                  <a:lnTo>
                    <a:pt x="76" y="349"/>
                  </a:lnTo>
                  <a:lnTo>
                    <a:pt x="76" y="347"/>
                  </a:lnTo>
                  <a:lnTo>
                    <a:pt x="78" y="347"/>
                  </a:lnTo>
                  <a:lnTo>
                    <a:pt x="78" y="349"/>
                  </a:lnTo>
                  <a:close/>
                  <a:moveTo>
                    <a:pt x="71" y="347"/>
                  </a:moveTo>
                  <a:lnTo>
                    <a:pt x="71" y="349"/>
                  </a:lnTo>
                  <a:lnTo>
                    <a:pt x="71" y="347"/>
                  </a:lnTo>
                  <a:close/>
                  <a:moveTo>
                    <a:pt x="218" y="349"/>
                  </a:moveTo>
                  <a:lnTo>
                    <a:pt x="218" y="347"/>
                  </a:lnTo>
                  <a:lnTo>
                    <a:pt x="218" y="349"/>
                  </a:lnTo>
                  <a:close/>
                  <a:moveTo>
                    <a:pt x="81" y="347"/>
                  </a:moveTo>
                  <a:lnTo>
                    <a:pt x="81" y="349"/>
                  </a:lnTo>
                  <a:lnTo>
                    <a:pt x="81" y="347"/>
                  </a:lnTo>
                  <a:close/>
                  <a:moveTo>
                    <a:pt x="71" y="347"/>
                  </a:moveTo>
                  <a:lnTo>
                    <a:pt x="71" y="349"/>
                  </a:lnTo>
                  <a:lnTo>
                    <a:pt x="71" y="347"/>
                  </a:lnTo>
                  <a:lnTo>
                    <a:pt x="71" y="349"/>
                  </a:lnTo>
                  <a:lnTo>
                    <a:pt x="69" y="347"/>
                  </a:lnTo>
                  <a:lnTo>
                    <a:pt x="69" y="349"/>
                  </a:lnTo>
                  <a:lnTo>
                    <a:pt x="69" y="347"/>
                  </a:lnTo>
                  <a:lnTo>
                    <a:pt x="71" y="347"/>
                  </a:lnTo>
                  <a:close/>
                  <a:moveTo>
                    <a:pt x="116" y="347"/>
                  </a:moveTo>
                  <a:lnTo>
                    <a:pt x="116" y="349"/>
                  </a:lnTo>
                  <a:lnTo>
                    <a:pt x="116" y="347"/>
                  </a:lnTo>
                  <a:close/>
                  <a:moveTo>
                    <a:pt x="55" y="347"/>
                  </a:moveTo>
                  <a:lnTo>
                    <a:pt x="55" y="349"/>
                  </a:lnTo>
                  <a:lnTo>
                    <a:pt x="55" y="347"/>
                  </a:lnTo>
                  <a:close/>
                  <a:moveTo>
                    <a:pt x="216" y="349"/>
                  </a:moveTo>
                  <a:lnTo>
                    <a:pt x="216" y="347"/>
                  </a:lnTo>
                  <a:lnTo>
                    <a:pt x="216" y="349"/>
                  </a:lnTo>
                  <a:close/>
                  <a:moveTo>
                    <a:pt x="33" y="347"/>
                  </a:moveTo>
                  <a:lnTo>
                    <a:pt x="33" y="349"/>
                  </a:lnTo>
                  <a:lnTo>
                    <a:pt x="31" y="349"/>
                  </a:lnTo>
                  <a:lnTo>
                    <a:pt x="31" y="347"/>
                  </a:lnTo>
                  <a:lnTo>
                    <a:pt x="33" y="347"/>
                  </a:lnTo>
                  <a:close/>
                  <a:moveTo>
                    <a:pt x="50" y="347"/>
                  </a:moveTo>
                  <a:lnTo>
                    <a:pt x="50" y="349"/>
                  </a:lnTo>
                  <a:lnTo>
                    <a:pt x="50" y="347"/>
                  </a:lnTo>
                  <a:close/>
                  <a:moveTo>
                    <a:pt x="69" y="347"/>
                  </a:moveTo>
                  <a:lnTo>
                    <a:pt x="69" y="349"/>
                  </a:lnTo>
                  <a:lnTo>
                    <a:pt x="67" y="349"/>
                  </a:lnTo>
                  <a:lnTo>
                    <a:pt x="69" y="349"/>
                  </a:lnTo>
                  <a:lnTo>
                    <a:pt x="67" y="349"/>
                  </a:lnTo>
                  <a:lnTo>
                    <a:pt x="67" y="347"/>
                  </a:lnTo>
                  <a:lnTo>
                    <a:pt x="69" y="347"/>
                  </a:lnTo>
                  <a:lnTo>
                    <a:pt x="67" y="347"/>
                  </a:lnTo>
                  <a:lnTo>
                    <a:pt x="69" y="347"/>
                  </a:lnTo>
                  <a:close/>
                  <a:moveTo>
                    <a:pt x="221" y="347"/>
                  </a:moveTo>
                  <a:lnTo>
                    <a:pt x="218" y="347"/>
                  </a:lnTo>
                  <a:lnTo>
                    <a:pt x="221" y="347"/>
                  </a:lnTo>
                  <a:close/>
                  <a:moveTo>
                    <a:pt x="76" y="347"/>
                  </a:moveTo>
                  <a:lnTo>
                    <a:pt x="74" y="349"/>
                  </a:lnTo>
                  <a:lnTo>
                    <a:pt x="76" y="349"/>
                  </a:lnTo>
                  <a:lnTo>
                    <a:pt x="76" y="347"/>
                  </a:lnTo>
                  <a:lnTo>
                    <a:pt x="76" y="349"/>
                  </a:lnTo>
                  <a:lnTo>
                    <a:pt x="74" y="349"/>
                  </a:lnTo>
                  <a:lnTo>
                    <a:pt x="74" y="347"/>
                  </a:lnTo>
                  <a:lnTo>
                    <a:pt x="76" y="347"/>
                  </a:lnTo>
                  <a:close/>
                  <a:moveTo>
                    <a:pt x="40" y="347"/>
                  </a:moveTo>
                  <a:lnTo>
                    <a:pt x="38" y="347"/>
                  </a:lnTo>
                  <a:lnTo>
                    <a:pt x="40" y="347"/>
                  </a:lnTo>
                  <a:lnTo>
                    <a:pt x="38" y="347"/>
                  </a:lnTo>
                  <a:lnTo>
                    <a:pt x="40" y="347"/>
                  </a:lnTo>
                  <a:close/>
                  <a:moveTo>
                    <a:pt x="261" y="347"/>
                  </a:moveTo>
                  <a:lnTo>
                    <a:pt x="259" y="347"/>
                  </a:lnTo>
                  <a:lnTo>
                    <a:pt x="261" y="347"/>
                  </a:lnTo>
                  <a:close/>
                  <a:moveTo>
                    <a:pt x="69" y="347"/>
                  </a:moveTo>
                  <a:lnTo>
                    <a:pt x="71" y="347"/>
                  </a:lnTo>
                  <a:lnTo>
                    <a:pt x="69" y="347"/>
                  </a:lnTo>
                  <a:lnTo>
                    <a:pt x="71" y="347"/>
                  </a:lnTo>
                  <a:lnTo>
                    <a:pt x="69" y="347"/>
                  </a:lnTo>
                  <a:close/>
                  <a:moveTo>
                    <a:pt x="33" y="347"/>
                  </a:moveTo>
                  <a:lnTo>
                    <a:pt x="36" y="347"/>
                  </a:lnTo>
                  <a:lnTo>
                    <a:pt x="36" y="349"/>
                  </a:lnTo>
                  <a:lnTo>
                    <a:pt x="36" y="347"/>
                  </a:lnTo>
                  <a:lnTo>
                    <a:pt x="36" y="349"/>
                  </a:lnTo>
                  <a:lnTo>
                    <a:pt x="36" y="352"/>
                  </a:lnTo>
                  <a:lnTo>
                    <a:pt x="36" y="349"/>
                  </a:lnTo>
                  <a:lnTo>
                    <a:pt x="33" y="349"/>
                  </a:lnTo>
                  <a:lnTo>
                    <a:pt x="36" y="349"/>
                  </a:lnTo>
                  <a:lnTo>
                    <a:pt x="33" y="349"/>
                  </a:lnTo>
                  <a:lnTo>
                    <a:pt x="33" y="347"/>
                  </a:lnTo>
                  <a:close/>
                  <a:moveTo>
                    <a:pt x="48" y="347"/>
                  </a:moveTo>
                  <a:lnTo>
                    <a:pt x="50" y="347"/>
                  </a:lnTo>
                  <a:lnTo>
                    <a:pt x="50" y="349"/>
                  </a:lnTo>
                  <a:lnTo>
                    <a:pt x="48" y="349"/>
                  </a:lnTo>
                  <a:lnTo>
                    <a:pt x="50" y="349"/>
                  </a:lnTo>
                  <a:lnTo>
                    <a:pt x="48" y="349"/>
                  </a:lnTo>
                  <a:lnTo>
                    <a:pt x="48" y="347"/>
                  </a:lnTo>
                  <a:close/>
                  <a:moveTo>
                    <a:pt x="67" y="347"/>
                  </a:moveTo>
                  <a:lnTo>
                    <a:pt x="64" y="347"/>
                  </a:lnTo>
                  <a:lnTo>
                    <a:pt x="67" y="347"/>
                  </a:lnTo>
                  <a:lnTo>
                    <a:pt x="64" y="347"/>
                  </a:lnTo>
                  <a:lnTo>
                    <a:pt x="67" y="347"/>
                  </a:lnTo>
                  <a:close/>
                  <a:moveTo>
                    <a:pt x="71" y="344"/>
                  </a:moveTo>
                  <a:lnTo>
                    <a:pt x="71" y="347"/>
                  </a:lnTo>
                  <a:lnTo>
                    <a:pt x="71" y="344"/>
                  </a:lnTo>
                  <a:lnTo>
                    <a:pt x="71" y="347"/>
                  </a:lnTo>
                  <a:lnTo>
                    <a:pt x="71" y="344"/>
                  </a:lnTo>
                  <a:close/>
                  <a:moveTo>
                    <a:pt x="76" y="344"/>
                  </a:moveTo>
                  <a:lnTo>
                    <a:pt x="76" y="347"/>
                  </a:lnTo>
                  <a:lnTo>
                    <a:pt x="78" y="347"/>
                  </a:lnTo>
                  <a:lnTo>
                    <a:pt x="76" y="347"/>
                  </a:lnTo>
                  <a:lnTo>
                    <a:pt x="76" y="344"/>
                  </a:lnTo>
                  <a:close/>
                  <a:moveTo>
                    <a:pt x="83" y="344"/>
                  </a:moveTo>
                  <a:lnTo>
                    <a:pt x="83" y="347"/>
                  </a:lnTo>
                  <a:lnTo>
                    <a:pt x="83" y="344"/>
                  </a:lnTo>
                  <a:lnTo>
                    <a:pt x="83" y="347"/>
                  </a:lnTo>
                  <a:lnTo>
                    <a:pt x="83" y="344"/>
                  </a:lnTo>
                  <a:close/>
                  <a:moveTo>
                    <a:pt x="88" y="347"/>
                  </a:moveTo>
                  <a:lnTo>
                    <a:pt x="88" y="344"/>
                  </a:lnTo>
                  <a:lnTo>
                    <a:pt x="88" y="347"/>
                  </a:lnTo>
                  <a:close/>
                  <a:moveTo>
                    <a:pt x="33" y="347"/>
                  </a:moveTo>
                  <a:lnTo>
                    <a:pt x="33" y="344"/>
                  </a:lnTo>
                  <a:lnTo>
                    <a:pt x="33" y="347"/>
                  </a:lnTo>
                  <a:close/>
                  <a:moveTo>
                    <a:pt x="81" y="344"/>
                  </a:moveTo>
                  <a:lnTo>
                    <a:pt x="81" y="347"/>
                  </a:lnTo>
                  <a:lnTo>
                    <a:pt x="81" y="344"/>
                  </a:lnTo>
                  <a:close/>
                  <a:moveTo>
                    <a:pt x="40" y="347"/>
                  </a:moveTo>
                  <a:lnTo>
                    <a:pt x="38" y="347"/>
                  </a:lnTo>
                  <a:lnTo>
                    <a:pt x="38" y="344"/>
                  </a:lnTo>
                  <a:lnTo>
                    <a:pt x="40" y="347"/>
                  </a:lnTo>
                  <a:close/>
                  <a:moveTo>
                    <a:pt x="78" y="344"/>
                  </a:moveTo>
                  <a:lnTo>
                    <a:pt x="78" y="347"/>
                  </a:lnTo>
                  <a:lnTo>
                    <a:pt x="81" y="347"/>
                  </a:lnTo>
                  <a:lnTo>
                    <a:pt x="78" y="347"/>
                  </a:lnTo>
                  <a:lnTo>
                    <a:pt x="78" y="344"/>
                  </a:lnTo>
                  <a:close/>
                  <a:moveTo>
                    <a:pt x="242" y="347"/>
                  </a:moveTo>
                  <a:lnTo>
                    <a:pt x="242" y="344"/>
                  </a:lnTo>
                  <a:lnTo>
                    <a:pt x="242" y="347"/>
                  </a:lnTo>
                  <a:close/>
                  <a:moveTo>
                    <a:pt x="12" y="344"/>
                  </a:moveTo>
                  <a:lnTo>
                    <a:pt x="12" y="347"/>
                  </a:lnTo>
                  <a:lnTo>
                    <a:pt x="12" y="344"/>
                  </a:lnTo>
                  <a:close/>
                  <a:moveTo>
                    <a:pt x="74" y="347"/>
                  </a:moveTo>
                  <a:lnTo>
                    <a:pt x="74" y="344"/>
                  </a:lnTo>
                  <a:lnTo>
                    <a:pt x="74" y="347"/>
                  </a:lnTo>
                  <a:lnTo>
                    <a:pt x="74" y="344"/>
                  </a:lnTo>
                  <a:lnTo>
                    <a:pt x="74" y="347"/>
                  </a:lnTo>
                  <a:close/>
                  <a:moveTo>
                    <a:pt x="48" y="344"/>
                  </a:moveTo>
                  <a:lnTo>
                    <a:pt x="48" y="347"/>
                  </a:lnTo>
                  <a:lnTo>
                    <a:pt x="48" y="344"/>
                  </a:lnTo>
                  <a:close/>
                  <a:moveTo>
                    <a:pt x="59" y="344"/>
                  </a:moveTo>
                  <a:lnTo>
                    <a:pt x="59" y="347"/>
                  </a:lnTo>
                  <a:lnTo>
                    <a:pt x="59" y="344"/>
                  </a:lnTo>
                  <a:close/>
                  <a:moveTo>
                    <a:pt x="57" y="347"/>
                  </a:moveTo>
                  <a:lnTo>
                    <a:pt x="55" y="347"/>
                  </a:lnTo>
                  <a:lnTo>
                    <a:pt x="55" y="344"/>
                  </a:lnTo>
                  <a:lnTo>
                    <a:pt x="57" y="344"/>
                  </a:lnTo>
                  <a:lnTo>
                    <a:pt x="57" y="347"/>
                  </a:lnTo>
                  <a:close/>
                  <a:moveTo>
                    <a:pt x="12" y="344"/>
                  </a:moveTo>
                  <a:lnTo>
                    <a:pt x="12" y="347"/>
                  </a:lnTo>
                  <a:lnTo>
                    <a:pt x="12" y="344"/>
                  </a:lnTo>
                  <a:close/>
                  <a:moveTo>
                    <a:pt x="57" y="344"/>
                  </a:moveTo>
                  <a:lnTo>
                    <a:pt x="57" y="347"/>
                  </a:lnTo>
                  <a:lnTo>
                    <a:pt x="57" y="344"/>
                  </a:lnTo>
                  <a:close/>
                  <a:moveTo>
                    <a:pt x="67" y="344"/>
                  </a:moveTo>
                  <a:lnTo>
                    <a:pt x="64" y="344"/>
                  </a:lnTo>
                  <a:lnTo>
                    <a:pt x="67" y="344"/>
                  </a:lnTo>
                  <a:close/>
                  <a:moveTo>
                    <a:pt x="36" y="344"/>
                  </a:moveTo>
                  <a:lnTo>
                    <a:pt x="36" y="347"/>
                  </a:lnTo>
                  <a:lnTo>
                    <a:pt x="36" y="344"/>
                  </a:lnTo>
                  <a:close/>
                  <a:moveTo>
                    <a:pt x="223" y="344"/>
                  </a:moveTo>
                  <a:lnTo>
                    <a:pt x="225" y="344"/>
                  </a:lnTo>
                  <a:lnTo>
                    <a:pt x="225" y="347"/>
                  </a:lnTo>
                  <a:lnTo>
                    <a:pt x="223" y="347"/>
                  </a:lnTo>
                  <a:lnTo>
                    <a:pt x="225" y="347"/>
                  </a:lnTo>
                  <a:lnTo>
                    <a:pt x="223" y="347"/>
                  </a:lnTo>
                  <a:lnTo>
                    <a:pt x="225" y="347"/>
                  </a:lnTo>
                  <a:lnTo>
                    <a:pt x="223" y="347"/>
                  </a:lnTo>
                  <a:lnTo>
                    <a:pt x="221" y="347"/>
                  </a:lnTo>
                  <a:lnTo>
                    <a:pt x="221" y="344"/>
                  </a:lnTo>
                  <a:lnTo>
                    <a:pt x="223" y="347"/>
                  </a:lnTo>
                  <a:lnTo>
                    <a:pt x="223" y="344"/>
                  </a:lnTo>
                  <a:lnTo>
                    <a:pt x="223" y="347"/>
                  </a:lnTo>
                  <a:lnTo>
                    <a:pt x="223" y="344"/>
                  </a:lnTo>
                  <a:close/>
                  <a:moveTo>
                    <a:pt x="10" y="344"/>
                  </a:moveTo>
                  <a:lnTo>
                    <a:pt x="10" y="347"/>
                  </a:lnTo>
                  <a:lnTo>
                    <a:pt x="12" y="347"/>
                  </a:lnTo>
                  <a:lnTo>
                    <a:pt x="12" y="349"/>
                  </a:lnTo>
                  <a:lnTo>
                    <a:pt x="12" y="347"/>
                  </a:lnTo>
                  <a:lnTo>
                    <a:pt x="10" y="349"/>
                  </a:lnTo>
                  <a:lnTo>
                    <a:pt x="12" y="349"/>
                  </a:lnTo>
                  <a:lnTo>
                    <a:pt x="10" y="349"/>
                  </a:lnTo>
                  <a:lnTo>
                    <a:pt x="12" y="349"/>
                  </a:lnTo>
                  <a:lnTo>
                    <a:pt x="12" y="352"/>
                  </a:lnTo>
                  <a:lnTo>
                    <a:pt x="10" y="352"/>
                  </a:lnTo>
                  <a:lnTo>
                    <a:pt x="10" y="349"/>
                  </a:lnTo>
                  <a:lnTo>
                    <a:pt x="10" y="352"/>
                  </a:lnTo>
                  <a:lnTo>
                    <a:pt x="10" y="354"/>
                  </a:lnTo>
                  <a:lnTo>
                    <a:pt x="7" y="354"/>
                  </a:lnTo>
                  <a:lnTo>
                    <a:pt x="7" y="352"/>
                  </a:lnTo>
                  <a:lnTo>
                    <a:pt x="7" y="349"/>
                  </a:lnTo>
                  <a:lnTo>
                    <a:pt x="5" y="349"/>
                  </a:lnTo>
                  <a:lnTo>
                    <a:pt x="5" y="347"/>
                  </a:lnTo>
                  <a:lnTo>
                    <a:pt x="5" y="349"/>
                  </a:lnTo>
                  <a:lnTo>
                    <a:pt x="5" y="347"/>
                  </a:lnTo>
                  <a:lnTo>
                    <a:pt x="7" y="347"/>
                  </a:lnTo>
                  <a:lnTo>
                    <a:pt x="7" y="349"/>
                  </a:lnTo>
                  <a:lnTo>
                    <a:pt x="7" y="347"/>
                  </a:lnTo>
                  <a:lnTo>
                    <a:pt x="10" y="347"/>
                  </a:lnTo>
                  <a:lnTo>
                    <a:pt x="10" y="344"/>
                  </a:lnTo>
                  <a:close/>
                  <a:moveTo>
                    <a:pt x="12" y="344"/>
                  </a:moveTo>
                  <a:lnTo>
                    <a:pt x="10" y="344"/>
                  </a:lnTo>
                  <a:lnTo>
                    <a:pt x="12" y="344"/>
                  </a:lnTo>
                  <a:lnTo>
                    <a:pt x="10" y="344"/>
                  </a:lnTo>
                  <a:lnTo>
                    <a:pt x="12" y="344"/>
                  </a:lnTo>
                  <a:close/>
                  <a:moveTo>
                    <a:pt x="86" y="344"/>
                  </a:moveTo>
                  <a:lnTo>
                    <a:pt x="88" y="344"/>
                  </a:lnTo>
                  <a:lnTo>
                    <a:pt x="88" y="347"/>
                  </a:lnTo>
                  <a:lnTo>
                    <a:pt x="86" y="347"/>
                  </a:lnTo>
                  <a:lnTo>
                    <a:pt x="88" y="347"/>
                  </a:lnTo>
                  <a:lnTo>
                    <a:pt x="86" y="347"/>
                  </a:lnTo>
                  <a:lnTo>
                    <a:pt x="86" y="344"/>
                  </a:lnTo>
                  <a:lnTo>
                    <a:pt x="83" y="344"/>
                  </a:lnTo>
                  <a:lnTo>
                    <a:pt x="86" y="344"/>
                  </a:lnTo>
                  <a:close/>
                  <a:moveTo>
                    <a:pt x="81" y="344"/>
                  </a:moveTo>
                  <a:lnTo>
                    <a:pt x="78" y="344"/>
                  </a:lnTo>
                  <a:lnTo>
                    <a:pt x="81" y="344"/>
                  </a:lnTo>
                  <a:close/>
                  <a:moveTo>
                    <a:pt x="62" y="344"/>
                  </a:moveTo>
                  <a:lnTo>
                    <a:pt x="64" y="344"/>
                  </a:lnTo>
                  <a:lnTo>
                    <a:pt x="62" y="344"/>
                  </a:lnTo>
                  <a:close/>
                  <a:moveTo>
                    <a:pt x="207" y="344"/>
                  </a:moveTo>
                  <a:lnTo>
                    <a:pt x="209" y="344"/>
                  </a:lnTo>
                  <a:lnTo>
                    <a:pt x="207" y="344"/>
                  </a:lnTo>
                  <a:lnTo>
                    <a:pt x="207" y="347"/>
                  </a:lnTo>
                  <a:lnTo>
                    <a:pt x="209" y="347"/>
                  </a:lnTo>
                  <a:lnTo>
                    <a:pt x="209" y="349"/>
                  </a:lnTo>
                  <a:lnTo>
                    <a:pt x="209" y="352"/>
                  </a:lnTo>
                  <a:lnTo>
                    <a:pt x="209" y="349"/>
                  </a:lnTo>
                  <a:lnTo>
                    <a:pt x="207" y="349"/>
                  </a:lnTo>
                  <a:lnTo>
                    <a:pt x="209" y="349"/>
                  </a:lnTo>
                  <a:lnTo>
                    <a:pt x="207" y="349"/>
                  </a:lnTo>
                  <a:lnTo>
                    <a:pt x="209" y="349"/>
                  </a:lnTo>
                  <a:lnTo>
                    <a:pt x="207" y="349"/>
                  </a:lnTo>
                  <a:lnTo>
                    <a:pt x="207" y="347"/>
                  </a:lnTo>
                  <a:lnTo>
                    <a:pt x="207" y="344"/>
                  </a:lnTo>
                  <a:close/>
                  <a:moveTo>
                    <a:pt x="50" y="344"/>
                  </a:moveTo>
                  <a:lnTo>
                    <a:pt x="48" y="344"/>
                  </a:lnTo>
                  <a:lnTo>
                    <a:pt x="50" y="344"/>
                  </a:lnTo>
                  <a:close/>
                  <a:moveTo>
                    <a:pt x="38" y="344"/>
                  </a:moveTo>
                  <a:lnTo>
                    <a:pt x="36" y="344"/>
                  </a:lnTo>
                  <a:lnTo>
                    <a:pt x="38" y="344"/>
                  </a:lnTo>
                  <a:close/>
                  <a:moveTo>
                    <a:pt x="83" y="344"/>
                  </a:moveTo>
                  <a:lnTo>
                    <a:pt x="86" y="344"/>
                  </a:lnTo>
                  <a:lnTo>
                    <a:pt x="83" y="344"/>
                  </a:lnTo>
                  <a:close/>
                  <a:moveTo>
                    <a:pt x="230" y="344"/>
                  </a:moveTo>
                  <a:lnTo>
                    <a:pt x="228" y="344"/>
                  </a:lnTo>
                  <a:lnTo>
                    <a:pt x="230" y="344"/>
                  </a:lnTo>
                  <a:close/>
                  <a:moveTo>
                    <a:pt x="86" y="344"/>
                  </a:moveTo>
                  <a:lnTo>
                    <a:pt x="83" y="344"/>
                  </a:lnTo>
                  <a:lnTo>
                    <a:pt x="86" y="344"/>
                  </a:lnTo>
                  <a:lnTo>
                    <a:pt x="83" y="344"/>
                  </a:lnTo>
                  <a:lnTo>
                    <a:pt x="86" y="344"/>
                  </a:lnTo>
                  <a:close/>
                  <a:moveTo>
                    <a:pt x="81" y="344"/>
                  </a:moveTo>
                  <a:lnTo>
                    <a:pt x="83" y="344"/>
                  </a:lnTo>
                  <a:lnTo>
                    <a:pt x="81" y="344"/>
                  </a:lnTo>
                  <a:close/>
                  <a:moveTo>
                    <a:pt x="123" y="344"/>
                  </a:moveTo>
                  <a:lnTo>
                    <a:pt x="121" y="344"/>
                  </a:lnTo>
                  <a:lnTo>
                    <a:pt x="121" y="347"/>
                  </a:lnTo>
                  <a:lnTo>
                    <a:pt x="121" y="344"/>
                  </a:lnTo>
                  <a:lnTo>
                    <a:pt x="123" y="344"/>
                  </a:lnTo>
                  <a:close/>
                  <a:moveTo>
                    <a:pt x="10" y="344"/>
                  </a:moveTo>
                  <a:lnTo>
                    <a:pt x="7" y="344"/>
                  </a:lnTo>
                  <a:lnTo>
                    <a:pt x="10" y="344"/>
                  </a:lnTo>
                  <a:close/>
                  <a:moveTo>
                    <a:pt x="14" y="344"/>
                  </a:moveTo>
                  <a:lnTo>
                    <a:pt x="12" y="344"/>
                  </a:lnTo>
                  <a:lnTo>
                    <a:pt x="14" y="344"/>
                  </a:lnTo>
                  <a:close/>
                  <a:moveTo>
                    <a:pt x="62" y="344"/>
                  </a:moveTo>
                  <a:lnTo>
                    <a:pt x="59" y="344"/>
                  </a:lnTo>
                  <a:lnTo>
                    <a:pt x="62" y="344"/>
                  </a:lnTo>
                  <a:lnTo>
                    <a:pt x="59" y="344"/>
                  </a:lnTo>
                  <a:lnTo>
                    <a:pt x="62" y="344"/>
                  </a:lnTo>
                  <a:lnTo>
                    <a:pt x="59" y="344"/>
                  </a:lnTo>
                  <a:lnTo>
                    <a:pt x="62" y="344"/>
                  </a:lnTo>
                  <a:close/>
                  <a:moveTo>
                    <a:pt x="64" y="344"/>
                  </a:moveTo>
                  <a:lnTo>
                    <a:pt x="67" y="344"/>
                  </a:lnTo>
                  <a:lnTo>
                    <a:pt x="64" y="344"/>
                  </a:lnTo>
                  <a:close/>
                  <a:moveTo>
                    <a:pt x="86" y="344"/>
                  </a:moveTo>
                  <a:lnTo>
                    <a:pt x="83" y="344"/>
                  </a:lnTo>
                  <a:lnTo>
                    <a:pt x="86" y="344"/>
                  </a:lnTo>
                  <a:close/>
                  <a:moveTo>
                    <a:pt x="78" y="344"/>
                  </a:moveTo>
                  <a:lnTo>
                    <a:pt x="81" y="344"/>
                  </a:lnTo>
                  <a:lnTo>
                    <a:pt x="78" y="344"/>
                  </a:lnTo>
                  <a:close/>
                  <a:moveTo>
                    <a:pt x="88" y="344"/>
                  </a:moveTo>
                  <a:lnTo>
                    <a:pt x="90" y="344"/>
                  </a:lnTo>
                  <a:lnTo>
                    <a:pt x="88" y="344"/>
                  </a:lnTo>
                  <a:lnTo>
                    <a:pt x="86" y="344"/>
                  </a:lnTo>
                  <a:lnTo>
                    <a:pt x="88" y="344"/>
                  </a:lnTo>
                  <a:close/>
                  <a:moveTo>
                    <a:pt x="97" y="344"/>
                  </a:moveTo>
                  <a:lnTo>
                    <a:pt x="100" y="344"/>
                  </a:lnTo>
                  <a:lnTo>
                    <a:pt x="100" y="347"/>
                  </a:lnTo>
                  <a:lnTo>
                    <a:pt x="97" y="347"/>
                  </a:lnTo>
                  <a:lnTo>
                    <a:pt x="95" y="347"/>
                  </a:lnTo>
                  <a:lnTo>
                    <a:pt x="97" y="347"/>
                  </a:lnTo>
                  <a:lnTo>
                    <a:pt x="95" y="347"/>
                  </a:lnTo>
                  <a:lnTo>
                    <a:pt x="97" y="347"/>
                  </a:lnTo>
                  <a:lnTo>
                    <a:pt x="97" y="349"/>
                  </a:lnTo>
                  <a:lnTo>
                    <a:pt x="95" y="349"/>
                  </a:lnTo>
                  <a:lnTo>
                    <a:pt x="95" y="347"/>
                  </a:lnTo>
                  <a:lnTo>
                    <a:pt x="95" y="349"/>
                  </a:lnTo>
                  <a:lnTo>
                    <a:pt x="93" y="349"/>
                  </a:lnTo>
                  <a:lnTo>
                    <a:pt x="93" y="347"/>
                  </a:lnTo>
                  <a:lnTo>
                    <a:pt x="95" y="347"/>
                  </a:lnTo>
                  <a:lnTo>
                    <a:pt x="95" y="344"/>
                  </a:lnTo>
                  <a:lnTo>
                    <a:pt x="93" y="344"/>
                  </a:lnTo>
                  <a:lnTo>
                    <a:pt x="95" y="347"/>
                  </a:lnTo>
                  <a:lnTo>
                    <a:pt x="93" y="347"/>
                  </a:lnTo>
                  <a:lnTo>
                    <a:pt x="90" y="347"/>
                  </a:lnTo>
                  <a:lnTo>
                    <a:pt x="93" y="347"/>
                  </a:lnTo>
                  <a:lnTo>
                    <a:pt x="90" y="347"/>
                  </a:lnTo>
                  <a:lnTo>
                    <a:pt x="90" y="344"/>
                  </a:lnTo>
                  <a:lnTo>
                    <a:pt x="93" y="344"/>
                  </a:lnTo>
                  <a:lnTo>
                    <a:pt x="95" y="344"/>
                  </a:lnTo>
                  <a:lnTo>
                    <a:pt x="97" y="344"/>
                  </a:lnTo>
                  <a:close/>
                  <a:moveTo>
                    <a:pt x="76" y="344"/>
                  </a:moveTo>
                  <a:lnTo>
                    <a:pt x="74" y="344"/>
                  </a:lnTo>
                  <a:lnTo>
                    <a:pt x="76" y="344"/>
                  </a:lnTo>
                  <a:close/>
                  <a:moveTo>
                    <a:pt x="64" y="344"/>
                  </a:moveTo>
                  <a:lnTo>
                    <a:pt x="67" y="344"/>
                  </a:lnTo>
                  <a:lnTo>
                    <a:pt x="64" y="344"/>
                  </a:lnTo>
                  <a:close/>
                  <a:moveTo>
                    <a:pt x="78" y="344"/>
                  </a:moveTo>
                  <a:lnTo>
                    <a:pt x="76" y="344"/>
                  </a:lnTo>
                  <a:lnTo>
                    <a:pt x="78" y="344"/>
                  </a:lnTo>
                  <a:lnTo>
                    <a:pt x="76" y="344"/>
                  </a:lnTo>
                  <a:lnTo>
                    <a:pt x="78" y="344"/>
                  </a:lnTo>
                  <a:close/>
                  <a:moveTo>
                    <a:pt x="86" y="342"/>
                  </a:moveTo>
                  <a:lnTo>
                    <a:pt x="86" y="344"/>
                  </a:lnTo>
                  <a:lnTo>
                    <a:pt x="88" y="344"/>
                  </a:lnTo>
                  <a:lnTo>
                    <a:pt x="86" y="344"/>
                  </a:lnTo>
                  <a:lnTo>
                    <a:pt x="86" y="342"/>
                  </a:lnTo>
                  <a:close/>
                  <a:moveTo>
                    <a:pt x="69" y="344"/>
                  </a:moveTo>
                  <a:lnTo>
                    <a:pt x="69" y="342"/>
                  </a:lnTo>
                  <a:lnTo>
                    <a:pt x="69" y="344"/>
                  </a:lnTo>
                  <a:close/>
                  <a:moveTo>
                    <a:pt x="67" y="342"/>
                  </a:moveTo>
                  <a:lnTo>
                    <a:pt x="67" y="344"/>
                  </a:lnTo>
                  <a:lnTo>
                    <a:pt x="64" y="344"/>
                  </a:lnTo>
                  <a:lnTo>
                    <a:pt x="64" y="342"/>
                  </a:lnTo>
                  <a:lnTo>
                    <a:pt x="67" y="342"/>
                  </a:lnTo>
                  <a:close/>
                  <a:moveTo>
                    <a:pt x="14" y="344"/>
                  </a:moveTo>
                  <a:lnTo>
                    <a:pt x="14" y="342"/>
                  </a:lnTo>
                  <a:lnTo>
                    <a:pt x="14" y="344"/>
                  </a:lnTo>
                  <a:close/>
                  <a:moveTo>
                    <a:pt x="81" y="342"/>
                  </a:moveTo>
                  <a:lnTo>
                    <a:pt x="83" y="344"/>
                  </a:lnTo>
                  <a:lnTo>
                    <a:pt x="81" y="344"/>
                  </a:lnTo>
                  <a:lnTo>
                    <a:pt x="81" y="342"/>
                  </a:lnTo>
                  <a:close/>
                  <a:moveTo>
                    <a:pt x="83" y="342"/>
                  </a:moveTo>
                  <a:lnTo>
                    <a:pt x="86" y="342"/>
                  </a:lnTo>
                  <a:lnTo>
                    <a:pt x="83" y="342"/>
                  </a:lnTo>
                  <a:close/>
                  <a:moveTo>
                    <a:pt x="90" y="342"/>
                  </a:moveTo>
                  <a:lnTo>
                    <a:pt x="90" y="344"/>
                  </a:lnTo>
                  <a:lnTo>
                    <a:pt x="90" y="342"/>
                  </a:lnTo>
                  <a:lnTo>
                    <a:pt x="93" y="342"/>
                  </a:lnTo>
                  <a:lnTo>
                    <a:pt x="90" y="342"/>
                  </a:lnTo>
                  <a:close/>
                  <a:moveTo>
                    <a:pt x="36" y="342"/>
                  </a:moveTo>
                  <a:lnTo>
                    <a:pt x="36" y="344"/>
                  </a:lnTo>
                  <a:lnTo>
                    <a:pt x="36" y="342"/>
                  </a:lnTo>
                  <a:lnTo>
                    <a:pt x="36" y="344"/>
                  </a:lnTo>
                  <a:lnTo>
                    <a:pt x="36" y="342"/>
                  </a:lnTo>
                  <a:close/>
                  <a:moveTo>
                    <a:pt x="225" y="342"/>
                  </a:moveTo>
                  <a:lnTo>
                    <a:pt x="228" y="342"/>
                  </a:lnTo>
                  <a:lnTo>
                    <a:pt x="228" y="344"/>
                  </a:lnTo>
                  <a:lnTo>
                    <a:pt x="225" y="344"/>
                  </a:lnTo>
                  <a:lnTo>
                    <a:pt x="225" y="342"/>
                  </a:lnTo>
                  <a:close/>
                  <a:moveTo>
                    <a:pt x="268" y="342"/>
                  </a:moveTo>
                  <a:lnTo>
                    <a:pt x="268" y="344"/>
                  </a:lnTo>
                  <a:lnTo>
                    <a:pt x="268" y="342"/>
                  </a:lnTo>
                  <a:close/>
                  <a:moveTo>
                    <a:pt x="12" y="344"/>
                  </a:moveTo>
                  <a:lnTo>
                    <a:pt x="12" y="342"/>
                  </a:lnTo>
                  <a:lnTo>
                    <a:pt x="12" y="344"/>
                  </a:lnTo>
                  <a:lnTo>
                    <a:pt x="12" y="342"/>
                  </a:lnTo>
                  <a:lnTo>
                    <a:pt x="12" y="344"/>
                  </a:lnTo>
                  <a:lnTo>
                    <a:pt x="12" y="342"/>
                  </a:lnTo>
                  <a:lnTo>
                    <a:pt x="12" y="344"/>
                  </a:lnTo>
                  <a:close/>
                  <a:moveTo>
                    <a:pt x="52" y="342"/>
                  </a:moveTo>
                  <a:lnTo>
                    <a:pt x="52" y="344"/>
                  </a:lnTo>
                  <a:lnTo>
                    <a:pt x="52" y="342"/>
                  </a:lnTo>
                  <a:lnTo>
                    <a:pt x="52" y="344"/>
                  </a:lnTo>
                  <a:lnTo>
                    <a:pt x="55" y="344"/>
                  </a:lnTo>
                  <a:lnTo>
                    <a:pt x="52" y="344"/>
                  </a:lnTo>
                  <a:lnTo>
                    <a:pt x="55" y="344"/>
                  </a:lnTo>
                  <a:lnTo>
                    <a:pt x="52" y="344"/>
                  </a:lnTo>
                  <a:lnTo>
                    <a:pt x="55" y="344"/>
                  </a:lnTo>
                  <a:lnTo>
                    <a:pt x="52" y="344"/>
                  </a:lnTo>
                  <a:lnTo>
                    <a:pt x="52" y="342"/>
                  </a:lnTo>
                  <a:close/>
                  <a:moveTo>
                    <a:pt x="218" y="342"/>
                  </a:moveTo>
                  <a:lnTo>
                    <a:pt x="218" y="344"/>
                  </a:lnTo>
                  <a:lnTo>
                    <a:pt x="218" y="342"/>
                  </a:lnTo>
                  <a:lnTo>
                    <a:pt x="221" y="342"/>
                  </a:lnTo>
                  <a:lnTo>
                    <a:pt x="221" y="344"/>
                  </a:lnTo>
                  <a:lnTo>
                    <a:pt x="221" y="347"/>
                  </a:lnTo>
                  <a:lnTo>
                    <a:pt x="218" y="347"/>
                  </a:lnTo>
                  <a:lnTo>
                    <a:pt x="218" y="344"/>
                  </a:lnTo>
                  <a:lnTo>
                    <a:pt x="218" y="342"/>
                  </a:lnTo>
                  <a:lnTo>
                    <a:pt x="218" y="344"/>
                  </a:lnTo>
                  <a:lnTo>
                    <a:pt x="218" y="342"/>
                  </a:lnTo>
                  <a:close/>
                  <a:moveTo>
                    <a:pt x="230" y="342"/>
                  </a:moveTo>
                  <a:lnTo>
                    <a:pt x="230" y="344"/>
                  </a:lnTo>
                  <a:lnTo>
                    <a:pt x="230" y="342"/>
                  </a:lnTo>
                  <a:lnTo>
                    <a:pt x="228" y="342"/>
                  </a:lnTo>
                  <a:lnTo>
                    <a:pt x="230" y="342"/>
                  </a:lnTo>
                  <a:close/>
                  <a:moveTo>
                    <a:pt x="62" y="342"/>
                  </a:moveTo>
                  <a:lnTo>
                    <a:pt x="62" y="344"/>
                  </a:lnTo>
                  <a:lnTo>
                    <a:pt x="59" y="344"/>
                  </a:lnTo>
                  <a:lnTo>
                    <a:pt x="59" y="342"/>
                  </a:lnTo>
                  <a:lnTo>
                    <a:pt x="62" y="342"/>
                  </a:lnTo>
                  <a:close/>
                  <a:moveTo>
                    <a:pt x="225" y="342"/>
                  </a:moveTo>
                  <a:lnTo>
                    <a:pt x="223" y="342"/>
                  </a:lnTo>
                  <a:lnTo>
                    <a:pt x="225" y="342"/>
                  </a:lnTo>
                  <a:lnTo>
                    <a:pt x="223" y="342"/>
                  </a:lnTo>
                  <a:lnTo>
                    <a:pt x="225" y="344"/>
                  </a:lnTo>
                  <a:lnTo>
                    <a:pt x="223" y="344"/>
                  </a:lnTo>
                  <a:lnTo>
                    <a:pt x="223" y="342"/>
                  </a:lnTo>
                  <a:lnTo>
                    <a:pt x="225" y="342"/>
                  </a:lnTo>
                  <a:close/>
                  <a:moveTo>
                    <a:pt x="52" y="342"/>
                  </a:moveTo>
                  <a:lnTo>
                    <a:pt x="55" y="342"/>
                  </a:lnTo>
                  <a:lnTo>
                    <a:pt x="52" y="342"/>
                  </a:lnTo>
                  <a:lnTo>
                    <a:pt x="55" y="342"/>
                  </a:lnTo>
                  <a:lnTo>
                    <a:pt x="52" y="342"/>
                  </a:lnTo>
                  <a:lnTo>
                    <a:pt x="55" y="342"/>
                  </a:lnTo>
                  <a:lnTo>
                    <a:pt x="55" y="344"/>
                  </a:lnTo>
                  <a:lnTo>
                    <a:pt x="52" y="342"/>
                  </a:lnTo>
                  <a:close/>
                  <a:moveTo>
                    <a:pt x="235" y="342"/>
                  </a:moveTo>
                  <a:lnTo>
                    <a:pt x="235" y="344"/>
                  </a:lnTo>
                  <a:lnTo>
                    <a:pt x="235" y="342"/>
                  </a:lnTo>
                  <a:close/>
                  <a:moveTo>
                    <a:pt x="78" y="342"/>
                  </a:moveTo>
                  <a:lnTo>
                    <a:pt x="78" y="344"/>
                  </a:lnTo>
                  <a:lnTo>
                    <a:pt x="78" y="342"/>
                  </a:lnTo>
                  <a:lnTo>
                    <a:pt x="78" y="344"/>
                  </a:lnTo>
                  <a:lnTo>
                    <a:pt x="76" y="342"/>
                  </a:lnTo>
                  <a:lnTo>
                    <a:pt x="78" y="342"/>
                  </a:lnTo>
                  <a:close/>
                  <a:moveTo>
                    <a:pt x="33" y="342"/>
                  </a:moveTo>
                  <a:lnTo>
                    <a:pt x="36" y="342"/>
                  </a:lnTo>
                  <a:lnTo>
                    <a:pt x="36" y="344"/>
                  </a:lnTo>
                  <a:lnTo>
                    <a:pt x="33" y="344"/>
                  </a:lnTo>
                  <a:lnTo>
                    <a:pt x="33" y="342"/>
                  </a:lnTo>
                  <a:lnTo>
                    <a:pt x="33" y="344"/>
                  </a:lnTo>
                  <a:lnTo>
                    <a:pt x="31" y="344"/>
                  </a:lnTo>
                  <a:lnTo>
                    <a:pt x="33" y="342"/>
                  </a:lnTo>
                  <a:lnTo>
                    <a:pt x="31" y="342"/>
                  </a:lnTo>
                  <a:lnTo>
                    <a:pt x="33" y="342"/>
                  </a:lnTo>
                  <a:close/>
                  <a:moveTo>
                    <a:pt x="57" y="342"/>
                  </a:moveTo>
                  <a:lnTo>
                    <a:pt x="59" y="342"/>
                  </a:lnTo>
                  <a:lnTo>
                    <a:pt x="57" y="342"/>
                  </a:lnTo>
                  <a:lnTo>
                    <a:pt x="59" y="342"/>
                  </a:lnTo>
                  <a:lnTo>
                    <a:pt x="59" y="344"/>
                  </a:lnTo>
                  <a:lnTo>
                    <a:pt x="59" y="342"/>
                  </a:lnTo>
                  <a:lnTo>
                    <a:pt x="59" y="344"/>
                  </a:lnTo>
                  <a:lnTo>
                    <a:pt x="57" y="344"/>
                  </a:lnTo>
                  <a:lnTo>
                    <a:pt x="57" y="342"/>
                  </a:lnTo>
                  <a:close/>
                  <a:moveTo>
                    <a:pt x="48" y="342"/>
                  </a:moveTo>
                  <a:lnTo>
                    <a:pt x="48" y="344"/>
                  </a:lnTo>
                  <a:lnTo>
                    <a:pt x="48" y="342"/>
                  </a:lnTo>
                  <a:lnTo>
                    <a:pt x="48" y="344"/>
                  </a:lnTo>
                  <a:lnTo>
                    <a:pt x="48" y="342"/>
                  </a:lnTo>
                  <a:close/>
                  <a:moveTo>
                    <a:pt x="78" y="342"/>
                  </a:moveTo>
                  <a:lnTo>
                    <a:pt x="76" y="342"/>
                  </a:lnTo>
                  <a:lnTo>
                    <a:pt x="78" y="342"/>
                  </a:lnTo>
                  <a:close/>
                  <a:moveTo>
                    <a:pt x="10" y="342"/>
                  </a:moveTo>
                  <a:lnTo>
                    <a:pt x="10" y="344"/>
                  </a:lnTo>
                  <a:lnTo>
                    <a:pt x="7" y="344"/>
                  </a:lnTo>
                  <a:lnTo>
                    <a:pt x="7" y="342"/>
                  </a:lnTo>
                  <a:lnTo>
                    <a:pt x="7" y="344"/>
                  </a:lnTo>
                  <a:lnTo>
                    <a:pt x="7" y="342"/>
                  </a:lnTo>
                  <a:lnTo>
                    <a:pt x="10" y="342"/>
                  </a:lnTo>
                  <a:close/>
                  <a:moveTo>
                    <a:pt x="247" y="342"/>
                  </a:moveTo>
                  <a:lnTo>
                    <a:pt x="244" y="342"/>
                  </a:lnTo>
                  <a:lnTo>
                    <a:pt x="247" y="342"/>
                  </a:lnTo>
                  <a:close/>
                  <a:moveTo>
                    <a:pt x="64" y="342"/>
                  </a:moveTo>
                  <a:lnTo>
                    <a:pt x="62" y="342"/>
                  </a:lnTo>
                  <a:lnTo>
                    <a:pt x="64" y="342"/>
                  </a:lnTo>
                  <a:close/>
                  <a:moveTo>
                    <a:pt x="102" y="342"/>
                  </a:moveTo>
                  <a:lnTo>
                    <a:pt x="104" y="342"/>
                  </a:lnTo>
                  <a:lnTo>
                    <a:pt x="104" y="344"/>
                  </a:lnTo>
                  <a:lnTo>
                    <a:pt x="102" y="344"/>
                  </a:lnTo>
                  <a:lnTo>
                    <a:pt x="104" y="344"/>
                  </a:lnTo>
                  <a:lnTo>
                    <a:pt x="104" y="347"/>
                  </a:lnTo>
                  <a:lnTo>
                    <a:pt x="102" y="347"/>
                  </a:lnTo>
                  <a:lnTo>
                    <a:pt x="102" y="349"/>
                  </a:lnTo>
                  <a:lnTo>
                    <a:pt x="100" y="349"/>
                  </a:lnTo>
                  <a:lnTo>
                    <a:pt x="97" y="349"/>
                  </a:lnTo>
                  <a:lnTo>
                    <a:pt x="97" y="352"/>
                  </a:lnTo>
                  <a:lnTo>
                    <a:pt x="95" y="352"/>
                  </a:lnTo>
                  <a:lnTo>
                    <a:pt x="95" y="349"/>
                  </a:lnTo>
                  <a:lnTo>
                    <a:pt x="93" y="349"/>
                  </a:lnTo>
                  <a:lnTo>
                    <a:pt x="95" y="349"/>
                  </a:lnTo>
                  <a:lnTo>
                    <a:pt x="97" y="349"/>
                  </a:lnTo>
                  <a:lnTo>
                    <a:pt x="95" y="349"/>
                  </a:lnTo>
                  <a:lnTo>
                    <a:pt x="97" y="349"/>
                  </a:lnTo>
                  <a:lnTo>
                    <a:pt x="97" y="347"/>
                  </a:lnTo>
                  <a:lnTo>
                    <a:pt x="100" y="347"/>
                  </a:lnTo>
                  <a:lnTo>
                    <a:pt x="97" y="347"/>
                  </a:lnTo>
                  <a:lnTo>
                    <a:pt x="100" y="347"/>
                  </a:lnTo>
                  <a:lnTo>
                    <a:pt x="100" y="349"/>
                  </a:lnTo>
                  <a:lnTo>
                    <a:pt x="100" y="347"/>
                  </a:lnTo>
                  <a:lnTo>
                    <a:pt x="102" y="344"/>
                  </a:lnTo>
                  <a:lnTo>
                    <a:pt x="100" y="347"/>
                  </a:lnTo>
                  <a:lnTo>
                    <a:pt x="100" y="344"/>
                  </a:lnTo>
                  <a:lnTo>
                    <a:pt x="100" y="347"/>
                  </a:lnTo>
                  <a:lnTo>
                    <a:pt x="100" y="344"/>
                  </a:lnTo>
                  <a:lnTo>
                    <a:pt x="102" y="344"/>
                  </a:lnTo>
                  <a:lnTo>
                    <a:pt x="100" y="344"/>
                  </a:lnTo>
                  <a:lnTo>
                    <a:pt x="97" y="344"/>
                  </a:lnTo>
                  <a:lnTo>
                    <a:pt x="100" y="344"/>
                  </a:lnTo>
                  <a:lnTo>
                    <a:pt x="100" y="342"/>
                  </a:lnTo>
                  <a:lnTo>
                    <a:pt x="102" y="342"/>
                  </a:lnTo>
                  <a:close/>
                  <a:moveTo>
                    <a:pt x="14" y="342"/>
                  </a:moveTo>
                  <a:lnTo>
                    <a:pt x="14" y="344"/>
                  </a:lnTo>
                  <a:lnTo>
                    <a:pt x="14" y="342"/>
                  </a:lnTo>
                  <a:close/>
                  <a:moveTo>
                    <a:pt x="242" y="342"/>
                  </a:moveTo>
                  <a:lnTo>
                    <a:pt x="240" y="342"/>
                  </a:lnTo>
                  <a:lnTo>
                    <a:pt x="242" y="342"/>
                  </a:lnTo>
                  <a:close/>
                  <a:moveTo>
                    <a:pt x="52" y="342"/>
                  </a:moveTo>
                  <a:lnTo>
                    <a:pt x="50" y="342"/>
                  </a:lnTo>
                  <a:lnTo>
                    <a:pt x="52" y="342"/>
                  </a:lnTo>
                  <a:close/>
                  <a:moveTo>
                    <a:pt x="107" y="342"/>
                  </a:moveTo>
                  <a:lnTo>
                    <a:pt x="104" y="342"/>
                  </a:lnTo>
                  <a:lnTo>
                    <a:pt x="102" y="342"/>
                  </a:lnTo>
                  <a:lnTo>
                    <a:pt x="104" y="342"/>
                  </a:lnTo>
                  <a:lnTo>
                    <a:pt x="102" y="342"/>
                  </a:lnTo>
                  <a:lnTo>
                    <a:pt x="104" y="342"/>
                  </a:lnTo>
                  <a:lnTo>
                    <a:pt x="107" y="342"/>
                  </a:lnTo>
                  <a:close/>
                  <a:moveTo>
                    <a:pt x="81" y="342"/>
                  </a:moveTo>
                  <a:lnTo>
                    <a:pt x="78" y="342"/>
                  </a:lnTo>
                  <a:lnTo>
                    <a:pt x="81" y="342"/>
                  </a:lnTo>
                  <a:close/>
                  <a:moveTo>
                    <a:pt x="78" y="342"/>
                  </a:moveTo>
                  <a:lnTo>
                    <a:pt x="76" y="342"/>
                  </a:lnTo>
                  <a:lnTo>
                    <a:pt x="78" y="342"/>
                  </a:lnTo>
                  <a:close/>
                  <a:moveTo>
                    <a:pt x="97" y="342"/>
                  </a:moveTo>
                  <a:lnTo>
                    <a:pt x="95" y="342"/>
                  </a:lnTo>
                  <a:lnTo>
                    <a:pt x="95" y="344"/>
                  </a:lnTo>
                  <a:lnTo>
                    <a:pt x="95" y="342"/>
                  </a:lnTo>
                  <a:lnTo>
                    <a:pt x="93" y="342"/>
                  </a:lnTo>
                  <a:lnTo>
                    <a:pt x="95" y="342"/>
                  </a:lnTo>
                  <a:lnTo>
                    <a:pt x="93" y="342"/>
                  </a:lnTo>
                  <a:lnTo>
                    <a:pt x="95" y="342"/>
                  </a:lnTo>
                  <a:lnTo>
                    <a:pt x="93" y="342"/>
                  </a:lnTo>
                  <a:lnTo>
                    <a:pt x="95" y="342"/>
                  </a:lnTo>
                  <a:lnTo>
                    <a:pt x="97" y="342"/>
                  </a:lnTo>
                  <a:lnTo>
                    <a:pt x="97" y="340"/>
                  </a:lnTo>
                  <a:lnTo>
                    <a:pt x="97" y="342"/>
                  </a:lnTo>
                  <a:close/>
                  <a:moveTo>
                    <a:pt x="62" y="340"/>
                  </a:moveTo>
                  <a:lnTo>
                    <a:pt x="62" y="342"/>
                  </a:lnTo>
                  <a:lnTo>
                    <a:pt x="62" y="340"/>
                  </a:lnTo>
                  <a:lnTo>
                    <a:pt x="62" y="342"/>
                  </a:lnTo>
                  <a:lnTo>
                    <a:pt x="62" y="340"/>
                  </a:lnTo>
                  <a:close/>
                  <a:moveTo>
                    <a:pt x="71" y="342"/>
                  </a:moveTo>
                  <a:lnTo>
                    <a:pt x="71" y="340"/>
                  </a:lnTo>
                  <a:lnTo>
                    <a:pt x="71" y="342"/>
                  </a:lnTo>
                  <a:close/>
                  <a:moveTo>
                    <a:pt x="62" y="342"/>
                  </a:moveTo>
                  <a:lnTo>
                    <a:pt x="59" y="342"/>
                  </a:lnTo>
                  <a:lnTo>
                    <a:pt x="59" y="340"/>
                  </a:lnTo>
                  <a:lnTo>
                    <a:pt x="59" y="342"/>
                  </a:lnTo>
                  <a:lnTo>
                    <a:pt x="62" y="342"/>
                  </a:lnTo>
                  <a:close/>
                  <a:moveTo>
                    <a:pt x="93" y="340"/>
                  </a:moveTo>
                  <a:lnTo>
                    <a:pt x="93" y="342"/>
                  </a:lnTo>
                  <a:lnTo>
                    <a:pt x="93" y="340"/>
                  </a:lnTo>
                  <a:lnTo>
                    <a:pt x="93" y="342"/>
                  </a:lnTo>
                  <a:lnTo>
                    <a:pt x="93" y="340"/>
                  </a:lnTo>
                  <a:close/>
                  <a:moveTo>
                    <a:pt x="57" y="340"/>
                  </a:moveTo>
                  <a:lnTo>
                    <a:pt x="57" y="342"/>
                  </a:lnTo>
                  <a:lnTo>
                    <a:pt x="59" y="342"/>
                  </a:lnTo>
                  <a:lnTo>
                    <a:pt x="57" y="342"/>
                  </a:lnTo>
                  <a:lnTo>
                    <a:pt x="57" y="340"/>
                  </a:lnTo>
                  <a:lnTo>
                    <a:pt x="57" y="342"/>
                  </a:lnTo>
                  <a:lnTo>
                    <a:pt x="57" y="340"/>
                  </a:lnTo>
                  <a:close/>
                  <a:moveTo>
                    <a:pt x="26" y="340"/>
                  </a:moveTo>
                  <a:lnTo>
                    <a:pt x="26" y="342"/>
                  </a:lnTo>
                  <a:lnTo>
                    <a:pt x="26" y="340"/>
                  </a:lnTo>
                  <a:close/>
                  <a:moveTo>
                    <a:pt x="24" y="340"/>
                  </a:moveTo>
                  <a:lnTo>
                    <a:pt x="24" y="342"/>
                  </a:lnTo>
                  <a:lnTo>
                    <a:pt x="24" y="340"/>
                  </a:lnTo>
                  <a:lnTo>
                    <a:pt x="24" y="342"/>
                  </a:lnTo>
                  <a:lnTo>
                    <a:pt x="24" y="340"/>
                  </a:lnTo>
                  <a:close/>
                  <a:moveTo>
                    <a:pt x="268" y="342"/>
                  </a:moveTo>
                  <a:lnTo>
                    <a:pt x="268" y="340"/>
                  </a:lnTo>
                  <a:lnTo>
                    <a:pt x="268" y="342"/>
                  </a:lnTo>
                  <a:lnTo>
                    <a:pt x="268" y="340"/>
                  </a:lnTo>
                  <a:lnTo>
                    <a:pt x="268" y="342"/>
                  </a:lnTo>
                  <a:close/>
                  <a:moveTo>
                    <a:pt x="67" y="340"/>
                  </a:moveTo>
                  <a:lnTo>
                    <a:pt x="67" y="342"/>
                  </a:lnTo>
                  <a:lnTo>
                    <a:pt x="64" y="342"/>
                  </a:lnTo>
                  <a:lnTo>
                    <a:pt x="67" y="342"/>
                  </a:lnTo>
                  <a:lnTo>
                    <a:pt x="67" y="340"/>
                  </a:lnTo>
                  <a:lnTo>
                    <a:pt x="67" y="342"/>
                  </a:lnTo>
                  <a:lnTo>
                    <a:pt x="64" y="340"/>
                  </a:lnTo>
                  <a:lnTo>
                    <a:pt x="67" y="340"/>
                  </a:lnTo>
                  <a:lnTo>
                    <a:pt x="64" y="340"/>
                  </a:lnTo>
                  <a:lnTo>
                    <a:pt x="67" y="340"/>
                  </a:lnTo>
                  <a:close/>
                  <a:moveTo>
                    <a:pt x="57" y="340"/>
                  </a:moveTo>
                  <a:lnTo>
                    <a:pt x="57" y="342"/>
                  </a:lnTo>
                  <a:lnTo>
                    <a:pt x="57" y="340"/>
                  </a:lnTo>
                  <a:close/>
                  <a:moveTo>
                    <a:pt x="223" y="340"/>
                  </a:moveTo>
                  <a:lnTo>
                    <a:pt x="223" y="342"/>
                  </a:lnTo>
                  <a:lnTo>
                    <a:pt x="225" y="340"/>
                  </a:lnTo>
                  <a:lnTo>
                    <a:pt x="223" y="342"/>
                  </a:lnTo>
                  <a:lnTo>
                    <a:pt x="225" y="342"/>
                  </a:lnTo>
                  <a:lnTo>
                    <a:pt x="223" y="342"/>
                  </a:lnTo>
                  <a:lnTo>
                    <a:pt x="223" y="340"/>
                  </a:lnTo>
                  <a:lnTo>
                    <a:pt x="223" y="342"/>
                  </a:lnTo>
                  <a:lnTo>
                    <a:pt x="223" y="340"/>
                  </a:lnTo>
                  <a:close/>
                  <a:moveTo>
                    <a:pt x="12" y="340"/>
                  </a:moveTo>
                  <a:lnTo>
                    <a:pt x="14" y="340"/>
                  </a:lnTo>
                  <a:lnTo>
                    <a:pt x="14" y="342"/>
                  </a:lnTo>
                  <a:lnTo>
                    <a:pt x="12" y="342"/>
                  </a:lnTo>
                  <a:lnTo>
                    <a:pt x="12" y="340"/>
                  </a:lnTo>
                  <a:close/>
                  <a:moveTo>
                    <a:pt x="242" y="340"/>
                  </a:moveTo>
                  <a:lnTo>
                    <a:pt x="244" y="340"/>
                  </a:lnTo>
                  <a:lnTo>
                    <a:pt x="242" y="340"/>
                  </a:lnTo>
                  <a:close/>
                  <a:moveTo>
                    <a:pt x="21" y="340"/>
                  </a:moveTo>
                  <a:lnTo>
                    <a:pt x="21" y="342"/>
                  </a:lnTo>
                  <a:lnTo>
                    <a:pt x="21" y="340"/>
                  </a:lnTo>
                  <a:close/>
                  <a:moveTo>
                    <a:pt x="26" y="340"/>
                  </a:moveTo>
                  <a:lnTo>
                    <a:pt x="26" y="342"/>
                  </a:lnTo>
                  <a:lnTo>
                    <a:pt x="24" y="340"/>
                  </a:lnTo>
                  <a:lnTo>
                    <a:pt x="26" y="340"/>
                  </a:lnTo>
                  <a:close/>
                  <a:moveTo>
                    <a:pt x="69" y="340"/>
                  </a:moveTo>
                  <a:lnTo>
                    <a:pt x="69" y="342"/>
                  </a:lnTo>
                  <a:lnTo>
                    <a:pt x="67" y="342"/>
                  </a:lnTo>
                  <a:lnTo>
                    <a:pt x="67" y="340"/>
                  </a:lnTo>
                  <a:lnTo>
                    <a:pt x="69" y="340"/>
                  </a:lnTo>
                  <a:close/>
                  <a:moveTo>
                    <a:pt x="104" y="340"/>
                  </a:moveTo>
                  <a:lnTo>
                    <a:pt x="104" y="342"/>
                  </a:lnTo>
                  <a:lnTo>
                    <a:pt x="102" y="342"/>
                  </a:lnTo>
                  <a:lnTo>
                    <a:pt x="100" y="342"/>
                  </a:lnTo>
                  <a:lnTo>
                    <a:pt x="100" y="340"/>
                  </a:lnTo>
                  <a:lnTo>
                    <a:pt x="102" y="340"/>
                  </a:lnTo>
                  <a:lnTo>
                    <a:pt x="104" y="340"/>
                  </a:lnTo>
                  <a:close/>
                  <a:moveTo>
                    <a:pt x="57" y="340"/>
                  </a:moveTo>
                  <a:lnTo>
                    <a:pt x="57" y="342"/>
                  </a:lnTo>
                  <a:lnTo>
                    <a:pt x="55" y="342"/>
                  </a:lnTo>
                  <a:lnTo>
                    <a:pt x="55" y="340"/>
                  </a:lnTo>
                  <a:lnTo>
                    <a:pt x="57" y="340"/>
                  </a:lnTo>
                  <a:lnTo>
                    <a:pt x="55" y="340"/>
                  </a:lnTo>
                  <a:lnTo>
                    <a:pt x="57" y="340"/>
                  </a:lnTo>
                  <a:close/>
                  <a:moveTo>
                    <a:pt x="254" y="340"/>
                  </a:moveTo>
                  <a:lnTo>
                    <a:pt x="256" y="340"/>
                  </a:lnTo>
                  <a:lnTo>
                    <a:pt x="256" y="342"/>
                  </a:lnTo>
                  <a:lnTo>
                    <a:pt x="254" y="342"/>
                  </a:lnTo>
                  <a:lnTo>
                    <a:pt x="254" y="340"/>
                  </a:lnTo>
                  <a:close/>
                  <a:moveTo>
                    <a:pt x="48" y="340"/>
                  </a:moveTo>
                  <a:lnTo>
                    <a:pt x="48" y="342"/>
                  </a:lnTo>
                  <a:lnTo>
                    <a:pt x="48" y="340"/>
                  </a:lnTo>
                  <a:close/>
                  <a:moveTo>
                    <a:pt x="78" y="340"/>
                  </a:moveTo>
                  <a:lnTo>
                    <a:pt x="78" y="342"/>
                  </a:lnTo>
                  <a:lnTo>
                    <a:pt x="78" y="340"/>
                  </a:lnTo>
                  <a:close/>
                  <a:moveTo>
                    <a:pt x="59" y="340"/>
                  </a:moveTo>
                  <a:lnTo>
                    <a:pt x="57" y="340"/>
                  </a:lnTo>
                  <a:lnTo>
                    <a:pt x="59" y="340"/>
                  </a:lnTo>
                  <a:close/>
                  <a:moveTo>
                    <a:pt x="268" y="340"/>
                  </a:moveTo>
                  <a:lnTo>
                    <a:pt x="266" y="340"/>
                  </a:lnTo>
                  <a:lnTo>
                    <a:pt x="268" y="340"/>
                  </a:lnTo>
                  <a:close/>
                  <a:moveTo>
                    <a:pt x="31" y="340"/>
                  </a:moveTo>
                  <a:lnTo>
                    <a:pt x="33" y="340"/>
                  </a:lnTo>
                  <a:lnTo>
                    <a:pt x="31" y="340"/>
                  </a:lnTo>
                  <a:lnTo>
                    <a:pt x="33" y="340"/>
                  </a:lnTo>
                  <a:lnTo>
                    <a:pt x="31" y="340"/>
                  </a:lnTo>
                  <a:close/>
                  <a:moveTo>
                    <a:pt x="74" y="340"/>
                  </a:moveTo>
                  <a:lnTo>
                    <a:pt x="76" y="340"/>
                  </a:lnTo>
                  <a:lnTo>
                    <a:pt x="74" y="340"/>
                  </a:lnTo>
                  <a:lnTo>
                    <a:pt x="76" y="340"/>
                  </a:lnTo>
                  <a:lnTo>
                    <a:pt x="74" y="340"/>
                  </a:lnTo>
                  <a:close/>
                  <a:moveTo>
                    <a:pt x="254" y="340"/>
                  </a:moveTo>
                  <a:lnTo>
                    <a:pt x="252" y="340"/>
                  </a:lnTo>
                  <a:lnTo>
                    <a:pt x="254" y="340"/>
                  </a:lnTo>
                  <a:close/>
                  <a:moveTo>
                    <a:pt x="14" y="340"/>
                  </a:moveTo>
                  <a:lnTo>
                    <a:pt x="17" y="340"/>
                  </a:lnTo>
                  <a:lnTo>
                    <a:pt x="14" y="340"/>
                  </a:lnTo>
                  <a:lnTo>
                    <a:pt x="14" y="342"/>
                  </a:lnTo>
                  <a:lnTo>
                    <a:pt x="14" y="340"/>
                  </a:lnTo>
                  <a:close/>
                  <a:moveTo>
                    <a:pt x="64" y="340"/>
                  </a:moveTo>
                  <a:lnTo>
                    <a:pt x="64" y="337"/>
                  </a:lnTo>
                  <a:lnTo>
                    <a:pt x="64" y="340"/>
                  </a:lnTo>
                  <a:close/>
                  <a:moveTo>
                    <a:pt x="55" y="340"/>
                  </a:moveTo>
                  <a:lnTo>
                    <a:pt x="55" y="337"/>
                  </a:lnTo>
                  <a:lnTo>
                    <a:pt x="55" y="340"/>
                  </a:lnTo>
                  <a:close/>
                  <a:moveTo>
                    <a:pt x="57" y="340"/>
                  </a:moveTo>
                  <a:lnTo>
                    <a:pt x="55" y="340"/>
                  </a:lnTo>
                  <a:lnTo>
                    <a:pt x="55" y="337"/>
                  </a:lnTo>
                  <a:lnTo>
                    <a:pt x="55" y="340"/>
                  </a:lnTo>
                  <a:lnTo>
                    <a:pt x="57" y="340"/>
                  </a:lnTo>
                  <a:close/>
                  <a:moveTo>
                    <a:pt x="24" y="337"/>
                  </a:moveTo>
                  <a:lnTo>
                    <a:pt x="24" y="340"/>
                  </a:lnTo>
                  <a:lnTo>
                    <a:pt x="26" y="340"/>
                  </a:lnTo>
                  <a:lnTo>
                    <a:pt x="24" y="340"/>
                  </a:lnTo>
                  <a:lnTo>
                    <a:pt x="24" y="337"/>
                  </a:lnTo>
                  <a:close/>
                  <a:moveTo>
                    <a:pt x="95" y="340"/>
                  </a:moveTo>
                  <a:lnTo>
                    <a:pt x="97" y="340"/>
                  </a:lnTo>
                  <a:lnTo>
                    <a:pt x="95" y="340"/>
                  </a:lnTo>
                  <a:lnTo>
                    <a:pt x="95" y="342"/>
                  </a:lnTo>
                  <a:lnTo>
                    <a:pt x="95" y="340"/>
                  </a:lnTo>
                  <a:lnTo>
                    <a:pt x="95" y="342"/>
                  </a:lnTo>
                  <a:lnTo>
                    <a:pt x="95" y="340"/>
                  </a:lnTo>
                  <a:lnTo>
                    <a:pt x="93" y="340"/>
                  </a:lnTo>
                  <a:lnTo>
                    <a:pt x="95" y="340"/>
                  </a:lnTo>
                  <a:lnTo>
                    <a:pt x="93" y="340"/>
                  </a:lnTo>
                  <a:lnTo>
                    <a:pt x="95" y="340"/>
                  </a:lnTo>
                  <a:lnTo>
                    <a:pt x="95" y="337"/>
                  </a:lnTo>
                  <a:lnTo>
                    <a:pt x="95" y="340"/>
                  </a:lnTo>
                  <a:close/>
                  <a:moveTo>
                    <a:pt x="31" y="340"/>
                  </a:moveTo>
                  <a:lnTo>
                    <a:pt x="31" y="337"/>
                  </a:lnTo>
                  <a:lnTo>
                    <a:pt x="31" y="340"/>
                  </a:lnTo>
                  <a:close/>
                  <a:moveTo>
                    <a:pt x="67" y="340"/>
                  </a:moveTo>
                  <a:lnTo>
                    <a:pt x="67" y="337"/>
                  </a:lnTo>
                  <a:lnTo>
                    <a:pt x="67" y="340"/>
                  </a:lnTo>
                  <a:close/>
                  <a:moveTo>
                    <a:pt x="52" y="340"/>
                  </a:moveTo>
                  <a:lnTo>
                    <a:pt x="52" y="337"/>
                  </a:lnTo>
                  <a:lnTo>
                    <a:pt x="52" y="340"/>
                  </a:lnTo>
                  <a:close/>
                  <a:moveTo>
                    <a:pt x="263" y="340"/>
                  </a:moveTo>
                  <a:lnTo>
                    <a:pt x="263" y="337"/>
                  </a:lnTo>
                  <a:lnTo>
                    <a:pt x="263" y="340"/>
                  </a:lnTo>
                  <a:close/>
                  <a:moveTo>
                    <a:pt x="268" y="340"/>
                  </a:moveTo>
                  <a:lnTo>
                    <a:pt x="268" y="337"/>
                  </a:lnTo>
                  <a:lnTo>
                    <a:pt x="268" y="340"/>
                  </a:lnTo>
                  <a:lnTo>
                    <a:pt x="268" y="337"/>
                  </a:lnTo>
                  <a:lnTo>
                    <a:pt x="268" y="340"/>
                  </a:lnTo>
                  <a:close/>
                  <a:moveTo>
                    <a:pt x="256" y="340"/>
                  </a:moveTo>
                  <a:lnTo>
                    <a:pt x="256" y="337"/>
                  </a:lnTo>
                  <a:lnTo>
                    <a:pt x="256" y="340"/>
                  </a:lnTo>
                  <a:close/>
                  <a:moveTo>
                    <a:pt x="244" y="340"/>
                  </a:moveTo>
                  <a:lnTo>
                    <a:pt x="244" y="337"/>
                  </a:lnTo>
                  <a:lnTo>
                    <a:pt x="244" y="340"/>
                  </a:lnTo>
                  <a:close/>
                  <a:moveTo>
                    <a:pt x="14" y="337"/>
                  </a:moveTo>
                  <a:lnTo>
                    <a:pt x="14" y="340"/>
                  </a:lnTo>
                  <a:lnTo>
                    <a:pt x="14" y="337"/>
                  </a:lnTo>
                  <a:close/>
                  <a:moveTo>
                    <a:pt x="221" y="340"/>
                  </a:moveTo>
                  <a:lnTo>
                    <a:pt x="221" y="337"/>
                  </a:lnTo>
                  <a:lnTo>
                    <a:pt x="221" y="340"/>
                  </a:lnTo>
                  <a:close/>
                  <a:moveTo>
                    <a:pt x="55" y="337"/>
                  </a:moveTo>
                  <a:lnTo>
                    <a:pt x="55" y="340"/>
                  </a:lnTo>
                  <a:lnTo>
                    <a:pt x="55" y="337"/>
                  </a:lnTo>
                  <a:lnTo>
                    <a:pt x="55" y="340"/>
                  </a:lnTo>
                  <a:lnTo>
                    <a:pt x="55" y="337"/>
                  </a:lnTo>
                  <a:close/>
                  <a:moveTo>
                    <a:pt x="81" y="337"/>
                  </a:moveTo>
                  <a:lnTo>
                    <a:pt x="81" y="340"/>
                  </a:lnTo>
                  <a:lnTo>
                    <a:pt x="81" y="337"/>
                  </a:lnTo>
                  <a:lnTo>
                    <a:pt x="81" y="340"/>
                  </a:lnTo>
                  <a:lnTo>
                    <a:pt x="81" y="337"/>
                  </a:lnTo>
                  <a:close/>
                  <a:moveTo>
                    <a:pt x="14" y="337"/>
                  </a:moveTo>
                  <a:lnTo>
                    <a:pt x="14" y="340"/>
                  </a:lnTo>
                  <a:lnTo>
                    <a:pt x="12" y="340"/>
                  </a:lnTo>
                  <a:lnTo>
                    <a:pt x="14" y="340"/>
                  </a:lnTo>
                  <a:lnTo>
                    <a:pt x="12" y="340"/>
                  </a:lnTo>
                  <a:lnTo>
                    <a:pt x="14" y="340"/>
                  </a:lnTo>
                  <a:lnTo>
                    <a:pt x="12" y="340"/>
                  </a:lnTo>
                  <a:lnTo>
                    <a:pt x="14" y="340"/>
                  </a:lnTo>
                  <a:lnTo>
                    <a:pt x="14" y="337"/>
                  </a:lnTo>
                  <a:close/>
                  <a:moveTo>
                    <a:pt x="69" y="337"/>
                  </a:moveTo>
                  <a:lnTo>
                    <a:pt x="69" y="340"/>
                  </a:lnTo>
                  <a:lnTo>
                    <a:pt x="67" y="340"/>
                  </a:lnTo>
                  <a:lnTo>
                    <a:pt x="69" y="340"/>
                  </a:lnTo>
                  <a:lnTo>
                    <a:pt x="69" y="337"/>
                  </a:lnTo>
                  <a:lnTo>
                    <a:pt x="69" y="340"/>
                  </a:lnTo>
                  <a:lnTo>
                    <a:pt x="69" y="337"/>
                  </a:lnTo>
                  <a:close/>
                  <a:moveTo>
                    <a:pt x="52" y="337"/>
                  </a:moveTo>
                  <a:lnTo>
                    <a:pt x="55" y="337"/>
                  </a:lnTo>
                  <a:lnTo>
                    <a:pt x="52" y="337"/>
                  </a:lnTo>
                  <a:close/>
                  <a:moveTo>
                    <a:pt x="271" y="337"/>
                  </a:moveTo>
                  <a:lnTo>
                    <a:pt x="271" y="340"/>
                  </a:lnTo>
                  <a:lnTo>
                    <a:pt x="271" y="337"/>
                  </a:lnTo>
                  <a:close/>
                  <a:moveTo>
                    <a:pt x="62" y="337"/>
                  </a:moveTo>
                  <a:lnTo>
                    <a:pt x="62" y="340"/>
                  </a:lnTo>
                  <a:lnTo>
                    <a:pt x="64" y="340"/>
                  </a:lnTo>
                  <a:lnTo>
                    <a:pt x="62" y="340"/>
                  </a:lnTo>
                  <a:lnTo>
                    <a:pt x="62" y="337"/>
                  </a:lnTo>
                  <a:close/>
                  <a:moveTo>
                    <a:pt x="24" y="337"/>
                  </a:moveTo>
                  <a:lnTo>
                    <a:pt x="24" y="340"/>
                  </a:lnTo>
                  <a:lnTo>
                    <a:pt x="24" y="337"/>
                  </a:lnTo>
                  <a:lnTo>
                    <a:pt x="24" y="340"/>
                  </a:lnTo>
                  <a:lnTo>
                    <a:pt x="24" y="337"/>
                  </a:lnTo>
                  <a:close/>
                  <a:moveTo>
                    <a:pt x="24" y="337"/>
                  </a:moveTo>
                  <a:lnTo>
                    <a:pt x="24" y="340"/>
                  </a:lnTo>
                  <a:lnTo>
                    <a:pt x="24" y="337"/>
                  </a:lnTo>
                  <a:lnTo>
                    <a:pt x="21" y="337"/>
                  </a:lnTo>
                  <a:lnTo>
                    <a:pt x="24" y="337"/>
                  </a:lnTo>
                  <a:close/>
                  <a:moveTo>
                    <a:pt x="36" y="337"/>
                  </a:moveTo>
                  <a:lnTo>
                    <a:pt x="36" y="340"/>
                  </a:lnTo>
                  <a:lnTo>
                    <a:pt x="36" y="337"/>
                  </a:lnTo>
                  <a:close/>
                  <a:moveTo>
                    <a:pt x="57" y="337"/>
                  </a:moveTo>
                  <a:lnTo>
                    <a:pt x="57" y="340"/>
                  </a:lnTo>
                  <a:lnTo>
                    <a:pt x="55" y="340"/>
                  </a:lnTo>
                  <a:lnTo>
                    <a:pt x="55" y="337"/>
                  </a:lnTo>
                  <a:lnTo>
                    <a:pt x="57" y="337"/>
                  </a:lnTo>
                  <a:lnTo>
                    <a:pt x="55" y="337"/>
                  </a:lnTo>
                  <a:lnTo>
                    <a:pt x="57" y="337"/>
                  </a:lnTo>
                  <a:lnTo>
                    <a:pt x="55" y="337"/>
                  </a:lnTo>
                  <a:lnTo>
                    <a:pt x="57" y="337"/>
                  </a:lnTo>
                  <a:close/>
                  <a:moveTo>
                    <a:pt x="74" y="337"/>
                  </a:moveTo>
                  <a:lnTo>
                    <a:pt x="74" y="340"/>
                  </a:lnTo>
                  <a:lnTo>
                    <a:pt x="74" y="337"/>
                  </a:lnTo>
                  <a:close/>
                  <a:moveTo>
                    <a:pt x="95" y="337"/>
                  </a:moveTo>
                  <a:lnTo>
                    <a:pt x="95" y="340"/>
                  </a:lnTo>
                  <a:lnTo>
                    <a:pt x="93" y="340"/>
                  </a:lnTo>
                  <a:lnTo>
                    <a:pt x="90" y="340"/>
                  </a:lnTo>
                  <a:lnTo>
                    <a:pt x="93" y="340"/>
                  </a:lnTo>
                  <a:lnTo>
                    <a:pt x="93" y="337"/>
                  </a:lnTo>
                  <a:lnTo>
                    <a:pt x="93" y="340"/>
                  </a:lnTo>
                  <a:lnTo>
                    <a:pt x="93" y="337"/>
                  </a:lnTo>
                  <a:lnTo>
                    <a:pt x="95" y="337"/>
                  </a:lnTo>
                  <a:close/>
                  <a:moveTo>
                    <a:pt x="256" y="337"/>
                  </a:moveTo>
                  <a:lnTo>
                    <a:pt x="254" y="337"/>
                  </a:lnTo>
                  <a:lnTo>
                    <a:pt x="256" y="340"/>
                  </a:lnTo>
                  <a:lnTo>
                    <a:pt x="256" y="337"/>
                  </a:lnTo>
                  <a:lnTo>
                    <a:pt x="256" y="340"/>
                  </a:lnTo>
                  <a:lnTo>
                    <a:pt x="256" y="337"/>
                  </a:lnTo>
                  <a:lnTo>
                    <a:pt x="256" y="340"/>
                  </a:lnTo>
                  <a:lnTo>
                    <a:pt x="254" y="340"/>
                  </a:lnTo>
                  <a:lnTo>
                    <a:pt x="254" y="337"/>
                  </a:lnTo>
                  <a:lnTo>
                    <a:pt x="256" y="337"/>
                  </a:lnTo>
                  <a:lnTo>
                    <a:pt x="254" y="337"/>
                  </a:lnTo>
                  <a:lnTo>
                    <a:pt x="256" y="337"/>
                  </a:lnTo>
                  <a:close/>
                  <a:moveTo>
                    <a:pt x="69" y="337"/>
                  </a:moveTo>
                  <a:lnTo>
                    <a:pt x="67" y="337"/>
                  </a:lnTo>
                  <a:lnTo>
                    <a:pt x="69" y="337"/>
                  </a:lnTo>
                  <a:close/>
                  <a:moveTo>
                    <a:pt x="78" y="337"/>
                  </a:moveTo>
                  <a:lnTo>
                    <a:pt x="78" y="340"/>
                  </a:lnTo>
                  <a:lnTo>
                    <a:pt x="78" y="337"/>
                  </a:lnTo>
                  <a:close/>
                  <a:moveTo>
                    <a:pt x="240" y="337"/>
                  </a:moveTo>
                  <a:lnTo>
                    <a:pt x="242" y="337"/>
                  </a:lnTo>
                  <a:lnTo>
                    <a:pt x="242" y="340"/>
                  </a:lnTo>
                  <a:lnTo>
                    <a:pt x="240" y="340"/>
                  </a:lnTo>
                  <a:lnTo>
                    <a:pt x="242" y="340"/>
                  </a:lnTo>
                  <a:lnTo>
                    <a:pt x="240" y="340"/>
                  </a:lnTo>
                  <a:lnTo>
                    <a:pt x="242" y="340"/>
                  </a:lnTo>
                  <a:lnTo>
                    <a:pt x="240" y="340"/>
                  </a:lnTo>
                  <a:lnTo>
                    <a:pt x="237" y="340"/>
                  </a:lnTo>
                  <a:lnTo>
                    <a:pt x="240" y="340"/>
                  </a:lnTo>
                  <a:lnTo>
                    <a:pt x="237" y="342"/>
                  </a:lnTo>
                  <a:lnTo>
                    <a:pt x="237" y="340"/>
                  </a:lnTo>
                  <a:lnTo>
                    <a:pt x="240" y="342"/>
                  </a:lnTo>
                  <a:lnTo>
                    <a:pt x="237" y="342"/>
                  </a:lnTo>
                  <a:lnTo>
                    <a:pt x="240" y="342"/>
                  </a:lnTo>
                  <a:lnTo>
                    <a:pt x="237" y="342"/>
                  </a:lnTo>
                  <a:lnTo>
                    <a:pt x="237" y="340"/>
                  </a:lnTo>
                  <a:lnTo>
                    <a:pt x="237" y="342"/>
                  </a:lnTo>
                  <a:lnTo>
                    <a:pt x="237" y="340"/>
                  </a:lnTo>
                  <a:lnTo>
                    <a:pt x="240" y="340"/>
                  </a:lnTo>
                  <a:lnTo>
                    <a:pt x="237" y="340"/>
                  </a:lnTo>
                  <a:lnTo>
                    <a:pt x="240" y="340"/>
                  </a:lnTo>
                  <a:lnTo>
                    <a:pt x="240" y="337"/>
                  </a:lnTo>
                  <a:close/>
                  <a:moveTo>
                    <a:pt x="266" y="337"/>
                  </a:moveTo>
                  <a:lnTo>
                    <a:pt x="263" y="337"/>
                  </a:lnTo>
                  <a:lnTo>
                    <a:pt x="266" y="337"/>
                  </a:lnTo>
                  <a:close/>
                  <a:moveTo>
                    <a:pt x="249" y="337"/>
                  </a:moveTo>
                  <a:lnTo>
                    <a:pt x="247" y="337"/>
                  </a:lnTo>
                  <a:lnTo>
                    <a:pt x="249" y="337"/>
                  </a:lnTo>
                  <a:close/>
                  <a:moveTo>
                    <a:pt x="78" y="337"/>
                  </a:moveTo>
                  <a:lnTo>
                    <a:pt x="76" y="337"/>
                  </a:lnTo>
                  <a:lnTo>
                    <a:pt x="78" y="337"/>
                  </a:lnTo>
                  <a:close/>
                  <a:moveTo>
                    <a:pt x="69" y="337"/>
                  </a:moveTo>
                  <a:lnTo>
                    <a:pt x="67" y="337"/>
                  </a:lnTo>
                  <a:lnTo>
                    <a:pt x="69" y="337"/>
                  </a:lnTo>
                  <a:close/>
                  <a:moveTo>
                    <a:pt x="76" y="337"/>
                  </a:moveTo>
                  <a:lnTo>
                    <a:pt x="76" y="340"/>
                  </a:lnTo>
                  <a:lnTo>
                    <a:pt x="76" y="337"/>
                  </a:lnTo>
                  <a:close/>
                  <a:moveTo>
                    <a:pt x="254" y="337"/>
                  </a:moveTo>
                  <a:lnTo>
                    <a:pt x="254" y="340"/>
                  </a:lnTo>
                  <a:lnTo>
                    <a:pt x="254" y="337"/>
                  </a:lnTo>
                  <a:close/>
                  <a:moveTo>
                    <a:pt x="31" y="337"/>
                  </a:moveTo>
                  <a:lnTo>
                    <a:pt x="29" y="337"/>
                  </a:lnTo>
                  <a:lnTo>
                    <a:pt x="31" y="337"/>
                  </a:lnTo>
                  <a:close/>
                  <a:moveTo>
                    <a:pt x="266" y="337"/>
                  </a:moveTo>
                  <a:lnTo>
                    <a:pt x="263" y="337"/>
                  </a:lnTo>
                  <a:lnTo>
                    <a:pt x="266" y="337"/>
                  </a:lnTo>
                  <a:close/>
                  <a:moveTo>
                    <a:pt x="266" y="337"/>
                  </a:moveTo>
                  <a:lnTo>
                    <a:pt x="268" y="337"/>
                  </a:lnTo>
                  <a:lnTo>
                    <a:pt x="266" y="337"/>
                  </a:lnTo>
                  <a:close/>
                  <a:moveTo>
                    <a:pt x="244" y="337"/>
                  </a:moveTo>
                  <a:lnTo>
                    <a:pt x="247" y="337"/>
                  </a:lnTo>
                  <a:lnTo>
                    <a:pt x="244" y="337"/>
                  </a:lnTo>
                  <a:lnTo>
                    <a:pt x="247" y="337"/>
                  </a:lnTo>
                  <a:lnTo>
                    <a:pt x="244" y="337"/>
                  </a:lnTo>
                  <a:close/>
                  <a:moveTo>
                    <a:pt x="221" y="337"/>
                  </a:moveTo>
                  <a:lnTo>
                    <a:pt x="218" y="337"/>
                  </a:lnTo>
                  <a:lnTo>
                    <a:pt x="221" y="337"/>
                  </a:lnTo>
                  <a:close/>
                  <a:moveTo>
                    <a:pt x="83" y="335"/>
                  </a:moveTo>
                  <a:lnTo>
                    <a:pt x="83" y="337"/>
                  </a:lnTo>
                  <a:lnTo>
                    <a:pt x="83" y="335"/>
                  </a:lnTo>
                  <a:lnTo>
                    <a:pt x="83" y="337"/>
                  </a:lnTo>
                  <a:lnTo>
                    <a:pt x="81" y="337"/>
                  </a:lnTo>
                  <a:lnTo>
                    <a:pt x="83" y="337"/>
                  </a:lnTo>
                  <a:lnTo>
                    <a:pt x="83" y="335"/>
                  </a:lnTo>
                  <a:close/>
                  <a:moveTo>
                    <a:pt x="52" y="337"/>
                  </a:moveTo>
                  <a:lnTo>
                    <a:pt x="52" y="335"/>
                  </a:lnTo>
                  <a:lnTo>
                    <a:pt x="52" y="337"/>
                  </a:lnTo>
                  <a:close/>
                  <a:moveTo>
                    <a:pt x="76" y="335"/>
                  </a:moveTo>
                  <a:lnTo>
                    <a:pt x="78" y="335"/>
                  </a:lnTo>
                  <a:lnTo>
                    <a:pt x="78" y="337"/>
                  </a:lnTo>
                  <a:lnTo>
                    <a:pt x="76" y="337"/>
                  </a:lnTo>
                  <a:lnTo>
                    <a:pt x="76" y="335"/>
                  </a:lnTo>
                  <a:close/>
                  <a:moveTo>
                    <a:pt x="67" y="335"/>
                  </a:moveTo>
                  <a:lnTo>
                    <a:pt x="67" y="337"/>
                  </a:lnTo>
                  <a:lnTo>
                    <a:pt x="67" y="335"/>
                  </a:lnTo>
                  <a:close/>
                  <a:moveTo>
                    <a:pt x="86" y="337"/>
                  </a:moveTo>
                  <a:lnTo>
                    <a:pt x="86" y="335"/>
                  </a:lnTo>
                  <a:lnTo>
                    <a:pt x="86" y="337"/>
                  </a:lnTo>
                  <a:close/>
                  <a:moveTo>
                    <a:pt x="88" y="335"/>
                  </a:moveTo>
                  <a:lnTo>
                    <a:pt x="88" y="337"/>
                  </a:lnTo>
                  <a:lnTo>
                    <a:pt x="90" y="337"/>
                  </a:lnTo>
                  <a:lnTo>
                    <a:pt x="90" y="340"/>
                  </a:lnTo>
                  <a:lnTo>
                    <a:pt x="88" y="340"/>
                  </a:lnTo>
                  <a:lnTo>
                    <a:pt x="88" y="337"/>
                  </a:lnTo>
                  <a:lnTo>
                    <a:pt x="86" y="337"/>
                  </a:lnTo>
                  <a:lnTo>
                    <a:pt x="86" y="335"/>
                  </a:lnTo>
                  <a:lnTo>
                    <a:pt x="88" y="335"/>
                  </a:lnTo>
                  <a:close/>
                  <a:moveTo>
                    <a:pt x="271" y="337"/>
                  </a:moveTo>
                  <a:lnTo>
                    <a:pt x="271" y="335"/>
                  </a:lnTo>
                  <a:lnTo>
                    <a:pt x="271" y="337"/>
                  </a:lnTo>
                  <a:close/>
                  <a:moveTo>
                    <a:pt x="78" y="335"/>
                  </a:moveTo>
                  <a:lnTo>
                    <a:pt x="76" y="335"/>
                  </a:lnTo>
                  <a:lnTo>
                    <a:pt x="78" y="335"/>
                  </a:lnTo>
                  <a:lnTo>
                    <a:pt x="76" y="335"/>
                  </a:lnTo>
                  <a:lnTo>
                    <a:pt x="78" y="335"/>
                  </a:lnTo>
                  <a:close/>
                  <a:moveTo>
                    <a:pt x="55" y="335"/>
                  </a:moveTo>
                  <a:lnTo>
                    <a:pt x="55" y="337"/>
                  </a:lnTo>
                  <a:lnTo>
                    <a:pt x="52" y="337"/>
                  </a:lnTo>
                  <a:lnTo>
                    <a:pt x="55" y="337"/>
                  </a:lnTo>
                  <a:lnTo>
                    <a:pt x="52" y="337"/>
                  </a:lnTo>
                  <a:lnTo>
                    <a:pt x="55" y="337"/>
                  </a:lnTo>
                  <a:lnTo>
                    <a:pt x="52" y="337"/>
                  </a:lnTo>
                  <a:lnTo>
                    <a:pt x="52" y="335"/>
                  </a:lnTo>
                  <a:lnTo>
                    <a:pt x="52" y="337"/>
                  </a:lnTo>
                  <a:lnTo>
                    <a:pt x="55" y="337"/>
                  </a:lnTo>
                  <a:lnTo>
                    <a:pt x="52" y="337"/>
                  </a:lnTo>
                  <a:lnTo>
                    <a:pt x="55" y="337"/>
                  </a:lnTo>
                  <a:lnTo>
                    <a:pt x="52" y="337"/>
                  </a:lnTo>
                  <a:lnTo>
                    <a:pt x="55" y="337"/>
                  </a:lnTo>
                  <a:lnTo>
                    <a:pt x="55" y="335"/>
                  </a:lnTo>
                  <a:lnTo>
                    <a:pt x="52" y="335"/>
                  </a:lnTo>
                  <a:lnTo>
                    <a:pt x="55" y="335"/>
                  </a:lnTo>
                  <a:close/>
                  <a:moveTo>
                    <a:pt x="83" y="335"/>
                  </a:moveTo>
                  <a:lnTo>
                    <a:pt x="86" y="335"/>
                  </a:lnTo>
                  <a:lnTo>
                    <a:pt x="86" y="337"/>
                  </a:lnTo>
                  <a:lnTo>
                    <a:pt x="86" y="335"/>
                  </a:lnTo>
                  <a:lnTo>
                    <a:pt x="86" y="337"/>
                  </a:lnTo>
                  <a:lnTo>
                    <a:pt x="88" y="340"/>
                  </a:lnTo>
                  <a:lnTo>
                    <a:pt x="86" y="340"/>
                  </a:lnTo>
                  <a:lnTo>
                    <a:pt x="88" y="340"/>
                  </a:lnTo>
                  <a:lnTo>
                    <a:pt x="88" y="342"/>
                  </a:lnTo>
                  <a:lnTo>
                    <a:pt x="88" y="340"/>
                  </a:lnTo>
                  <a:lnTo>
                    <a:pt x="88" y="342"/>
                  </a:lnTo>
                  <a:lnTo>
                    <a:pt x="86" y="342"/>
                  </a:lnTo>
                  <a:lnTo>
                    <a:pt x="88" y="342"/>
                  </a:lnTo>
                  <a:lnTo>
                    <a:pt x="90" y="342"/>
                  </a:lnTo>
                  <a:lnTo>
                    <a:pt x="88" y="342"/>
                  </a:lnTo>
                  <a:lnTo>
                    <a:pt x="90" y="342"/>
                  </a:lnTo>
                  <a:lnTo>
                    <a:pt x="88" y="344"/>
                  </a:lnTo>
                  <a:lnTo>
                    <a:pt x="88" y="342"/>
                  </a:lnTo>
                  <a:lnTo>
                    <a:pt x="90" y="342"/>
                  </a:lnTo>
                  <a:lnTo>
                    <a:pt x="88" y="342"/>
                  </a:lnTo>
                  <a:lnTo>
                    <a:pt x="88" y="344"/>
                  </a:lnTo>
                  <a:lnTo>
                    <a:pt x="88" y="342"/>
                  </a:lnTo>
                  <a:lnTo>
                    <a:pt x="86" y="342"/>
                  </a:lnTo>
                  <a:lnTo>
                    <a:pt x="83" y="342"/>
                  </a:lnTo>
                  <a:lnTo>
                    <a:pt x="86" y="342"/>
                  </a:lnTo>
                  <a:lnTo>
                    <a:pt x="83" y="342"/>
                  </a:lnTo>
                  <a:lnTo>
                    <a:pt x="83" y="340"/>
                  </a:lnTo>
                  <a:lnTo>
                    <a:pt x="83" y="342"/>
                  </a:lnTo>
                  <a:lnTo>
                    <a:pt x="83" y="340"/>
                  </a:lnTo>
                  <a:lnTo>
                    <a:pt x="81" y="340"/>
                  </a:lnTo>
                  <a:lnTo>
                    <a:pt x="83" y="340"/>
                  </a:lnTo>
                  <a:lnTo>
                    <a:pt x="81" y="340"/>
                  </a:lnTo>
                  <a:lnTo>
                    <a:pt x="83" y="340"/>
                  </a:lnTo>
                  <a:lnTo>
                    <a:pt x="81" y="340"/>
                  </a:lnTo>
                  <a:lnTo>
                    <a:pt x="83" y="340"/>
                  </a:lnTo>
                  <a:lnTo>
                    <a:pt x="83" y="337"/>
                  </a:lnTo>
                  <a:lnTo>
                    <a:pt x="83" y="340"/>
                  </a:lnTo>
                  <a:lnTo>
                    <a:pt x="81" y="340"/>
                  </a:lnTo>
                  <a:lnTo>
                    <a:pt x="81" y="337"/>
                  </a:lnTo>
                  <a:lnTo>
                    <a:pt x="83" y="340"/>
                  </a:lnTo>
                  <a:lnTo>
                    <a:pt x="83" y="337"/>
                  </a:lnTo>
                  <a:lnTo>
                    <a:pt x="81" y="337"/>
                  </a:lnTo>
                  <a:lnTo>
                    <a:pt x="83" y="337"/>
                  </a:lnTo>
                  <a:lnTo>
                    <a:pt x="83" y="335"/>
                  </a:lnTo>
                  <a:close/>
                  <a:moveTo>
                    <a:pt x="74" y="335"/>
                  </a:moveTo>
                  <a:lnTo>
                    <a:pt x="71" y="335"/>
                  </a:lnTo>
                  <a:lnTo>
                    <a:pt x="74" y="335"/>
                  </a:lnTo>
                  <a:close/>
                  <a:moveTo>
                    <a:pt x="57" y="335"/>
                  </a:moveTo>
                  <a:lnTo>
                    <a:pt x="59" y="335"/>
                  </a:lnTo>
                  <a:lnTo>
                    <a:pt x="57" y="335"/>
                  </a:lnTo>
                  <a:lnTo>
                    <a:pt x="59" y="335"/>
                  </a:lnTo>
                  <a:lnTo>
                    <a:pt x="59" y="337"/>
                  </a:lnTo>
                  <a:lnTo>
                    <a:pt x="57" y="337"/>
                  </a:lnTo>
                  <a:lnTo>
                    <a:pt x="57" y="335"/>
                  </a:lnTo>
                  <a:lnTo>
                    <a:pt x="57" y="337"/>
                  </a:lnTo>
                  <a:lnTo>
                    <a:pt x="57" y="335"/>
                  </a:lnTo>
                  <a:close/>
                  <a:moveTo>
                    <a:pt x="57" y="335"/>
                  </a:moveTo>
                  <a:lnTo>
                    <a:pt x="59" y="335"/>
                  </a:lnTo>
                  <a:lnTo>
                    <a:pt x="57" y="335"/>
                  </a:lnTo>
                  <a:close/>
                  <a:moveTo>
                    <a:pt x="62" y="335"/>
                  </a:moveTo>
                  <a:lnTo>
                    <a:pt x="64" y="335"/>
                  </a:lnTo>
                  <a:lnTo>
                    <a:pt x="62" y="335"/>
                  </a:lnTo>
                  <a:close/>
                  <a:moveTo>
                    <a:pt x="78" y="335"/>
                  </a:moveTo>
                  <a:lnTo>
                    <a:pt x="76" y="335"/>
                  </a:lnTo>
                  <a:lnTo>
                    <a:pt x="78" y="335"/>
                  </a:lnTo>
                  <a:lnTo>
                    <a:pt x="76" y="335"/>
                  </a:lnTo>
                  <a:lnTo>
                    <a:pt x="78" y="335"/>
                  </a:lnTo>
                  <a:close/>
                  <a:moveTo>
                    <a:pt x="69" y="335"/>
                  </a:moveTo>
                  <a:lnTo>
                    <a:pt x="67" y="335"/>
                  </a:lnTo>
                  <a:lnTo>
                    <a:pt x="67" y="333"/>
                  </a:lnTo>
                  <a:lnTo>
                    <a:pt x="69" y="335"/>
                  </a:lnTo>
                  <a:close/>
                  <a:moveTo>
                    <a:pt x="86" y="333"/>
                  </a:moveTo>
                  <a:lnTo>
                    <a:pt x="86" y="335"/>
                  </a:lnTo>
                  <a:lnTo>
                    <a:pt x="86" y="333"/>
                  </a:lnTo>
                  <a:close/>
                  <a:moveTo>
                    <a:pt x="86" y="335"/>
                  </a:moveTo>
                  <a:lnTo>
                    <a:pt x="86" y="333"/>
                  </a:lnTo>
                  <a:lnTo>
                    <a:pt x="86" y="335"/>
                  </a:lnTo>
                  <a:close/>
                  <a:moveTo>
                    <a:pt x="62" y="333"/>
                  </a:moveTo>
                  <a:lnTo>
                    <a:pt x="62" y="335"/>
                  </a:lnTo>
                  <a:lnTo>
                    <a:pt x="62" y="333"/>
                  </a:lnTo>
                  <a:close/>
                  <a:moveTo>
                    <a:pt x="74" y="335"/>
                  </a:moveTo>
                  <a:lnTo>
                    <a:pt x="71" y="335"/>
                  </a:lnTo>
                  <a:lnTo>
                    <a:pt x="74" y="335"/>
                  </a:lnTo>
                  <a:lnTo>
                    <a:pt x="74" y="333"/>
                  </a:lnTo>
                  <a:lnTo>
                    <a:pt x="74" y="335"/>
                  </a:lnTo>
                  <a:close/>
                  <a:moveTo>
                    <a:pt x="52" y="333"/>
                  </a:moveTo>
                  <a:lnTo>
                    <a:pt x="52" y="335"/>
                  </a:lnTo>
                  <a:lnTo>
                    <a:pt x="52" y="333"/>
                  </a:lnTo>
                  <a:lnTo>
                    <a:pt x="52" y="335"/>
                  </a:lnTo>
                  <a:lnTo>
                    <a:pt x="52" y="333"/>
                  </a:lnTo>
                  <a:lnTo>
                    <a:pt x="50" y="333"/>
                  </a:lnTo>
                  <a:lnTo>
                    <a:pt x="52" y="333"/>
                  </a:lnTo>
                  <a:close/>
                  <a:moveTo>
                    <a:pt x="57" y="333"/>
                  </a:moveTo>
                  <a:lnTo>
                    <a:pt x="59" y="333"/>
                  </a:lnTo>
                  <a:lnTo>
                    <a:pt x="59" y="335"/>
                  </a:lnTo>
                  <a:lnTo>
                    <a:pt x="57" y="335"/>
                  </a:lnTo>
                  <a:lnTo>
                    <a:pt x="57" y="333"/>
                  </a:lnTo>
                  <a:close/>
                  <a:moveTo>
                    <a:pt x="57" y="333"/>
                  </a:moveTo>
                  <a:lnTo>
                    <a:pt x="55" y="333"/>
                  </a:lnTo>
                  <a:lnTo>
                    <a:pt x="57" y="333"/>
                  </a:lnTo>
                  <a:close/>
                  <a:moveTo>
                    <a:pt x="81" y="333"/>
                  </a:moveTo>
                  <a:lnTo>
                    <a:pt x="81" y="335"/>
                  </a:lnTo>
                  <a:lnTo>
                    <a:pt x="78" y="335"/>
                  </a:lnTo>
                  <a:lnTo>
                    <a:pt x="81" y="335"/>
                  </a:lnTo>
                  <a:lnTo>
                    <a:pt x="78" y="335"/>
                  </a:lnTo>
                  <a:lnTo>
                    <a:pt x="81" y="335"/>
                  </a:lnTo>
                  <a:lnTo>
                    <a:pt x="81" y="337"/>
                  </a:lnTo>
                  <a:lnTo>
                    <a:pt x="78" y="337"/>
                  </a:lnTo>
                  <a:lnTo>
                    <a:pt x="78" y="335"/>
                  </a:lnTo>
                  <a:lnTo>
                    <a:pt x="78" y="333"/>
                  </a:lnTo>
                  <a:lnTo>
                    <a:pt x="81" y="333"/>
                  </a:lnTo>
                  <a:close/>
                  <a:moveTo>
                    <a:pt x="74" y="333"/>
                  </a:moveTo>
                  <a:lnTo>
                    <a:pt x="71" y="333"/>
                  </a:lnTo>
                  <a:lnTo>
                    <a:pt x="74" y="333"/>
                  </a:lnTo>
                  <a:lnTo>
                    <a:pt x="74" y="330"/>
                  </a:lnTo>
                  <a:lnTo>
                    <a:pt x="74" y="333"/>
                  </a:lnTo>
                  <a:close/>
                  <a:moveTo>
                    <a:pt x="74" y="330"/>
                  </a:moveTo>
                  <a:lnTo>
                    <a:pt x="74" y="333"/>
                  </a:lnTo>
                  <a:lnTo>
                    <a:pt x="74" y="330"/>
                  </a:lnTo>
                  <a:lnTo>
                    <a:pt x="74" y="333"/>
                  </a:lnTo>
                  <a:lnTo>
                    <a:pt x="74" y="330"/>
                  </a:lnTo>
                  <a:close/>
                  <a:moveTo>
                    <a:pt x="71" y="330"/>
                  </a:moveTo>
                  <a:lnTo>
                    <a:pt x="71" y="333"/>
                  </a:lnTo>
                  <a:lnTo>
                    <a:pt x="71" y="330"/>
                  </a:lnTo>
                  <a:close/>
                  <a:moveTo>
                    <a:pt x="74" y="330"/>
                  </a:moveTo>
                  <a:lnTo>
                    <a:pt x="71" y="330"/>
                  </a:lnTo>
                  <a:lnTo>
                    <a:pt x="74" y="330"/>
                  </a:lnTo>
                  <a:close/>
                  <a:moveTo>
                    <a:pt x="78" y="330"/>
                  </a:moveTo>
                  <a:lnTo>
                    <a:pt x="78" y="333"/>
                  </a:lnTo>
                  <a:lnTo>
                    <a:pt x="78" y="330"/>
                  </a:lnTo>
                  <a:close/>
                  <a:moveTo>
                    <a:pt x="81" y="330"/>
                  </a:moveTo>
                  <a:lnTo>
                    <a:pt x="81" y="333"/>
                  </a:lnTo>
                  <a:lnTo>
                    <a:pt x="78" y="333"/>
                  </a:lnTo>
                  <a:lnTo>
                    <a:pt x="78" y="330"/>
                  </a:lnTo>
                  <a:lnTo>
                    <a:pt x="81" y="330"/>
                  </a:lnTo>
                  <a:close/>
                  <a:moveTo>
                    <a:pt x="62" y="330"/>
                  </a:moveTo>
                  <a:lnTo>
                    <a:pt x="62" y="333"/>
                  </a:lnTo>
                  <a:lnTo>
                    <a:pt x="62" y="330"/>
                  </a:lnTo>
                  <a:lnTo>
                    <a:pt x="62" y="333"/>
                  </a:lnTo>
                  <a:lnTo>
                    <a:pt x="62" y="330"/>
                  </a:lnTo>
                  <a:lnTo>
                    <a:pt x="62" y="333"/>
                  </a:lnTo>
                  <a:lnTo>
                    <a:pt x="62" y="330"/>
                  </a:lnTo>
                  <a:close/>
                  <a:moveTo>
                    <a:pt x="64" y="330"/>
                  </a:moveTo>
                  <a:lnTo>
                    <a:pt x="64" y="333"/>
                  </a:lnTo>
                  <a:lnTo>
                    <a:pt x="67" y="333"/>
                  </a:lnTo>
                  <a:lnTo>
                    <a:pt x="67" y="335"/>
                  </a:lnTo>
                  <a:lnTo>
                    <a:pt x="64" y="335"/>
                  </a:lnTo>
                  <a:lnTo>
                    <a:pt x="64" y="333"/>
                  </a:lnTo>
                  <a:lnTo>
                    <a:pt x="64" y="330"/>
                  </a:lnTo>
                  <a:close/>
                  <a:moveTo>
                    <a:pt x="81" y="330"/>
                  </a:moveTo>
                  <a:lnTo>
                    <a:pt x="78" y="330"/>
                  </a:lnTo>
                  <a:lnTo>
                    <a:pt x="81" y="330"/>
                  </a:lnTo>
                  <a:close/>
                  <a:moveTo>
                    <a:pt x="62" y="328"/>
                  </a:moveTo>
                  <a:lnTo>
                    <a:pt x="62" y="330"/>
                  </a:lnTo>
                  <a:lnTo>
                    <a:pt x="64" y="330"/>
                  </a:lnTo>
                  <a:lnTo>
                    <a:pt x="62" y="330"/>
                  </a:lnTo>
                  <a:lnTo>
                    <a:pt x="64" y="330"/>
                  </a:lnTo>
                  <a:lnTo>
                    <a:pt x="62" y="330"/>
                  </a:lnTo>
                  <a:lnTo>
                    <a:pt x="62" y="328"/>
                  </a:lnTo>
                  <a:lnTo>
                    <a:pt x="62" y="330"/>
                  </a:lnTo>
                  <a:lnTo>
                    <a:pt x="62" y="328"/>
                  </a:lnTo>
                  <a:lnTo>
                    <a:pt x="62" y="330"/>
                  </a:lnTo>
                  <a:lnTo>
                    <a:pt x="62" y="328"/>
                  </a:lnTo>
                  <a:close/>
                  <a:moveTo>
                    <a:pt x="62" y="328"/>
                  </a:moveTo>
                  <a:lnTo>
                    <a:pt x="64" y="328"/>
                  </a:lnTo>
                  <a:lnTo>
                    <a:pt x="64" y="330"/>
                  </a:lnTo>
                  <a:lnTo>
                    <a:pt x="62" y="328"/>
                  </a:lnTo>
                  <a:close/>
                  <a:moveTo>
                    <a:pt x="69" y="328"/>
                  </a:moveTo>
                  <a:lnTo>
                    <a:pt x="67" y="328"/>
                  </a:lnTo>
                  <a:lnTo>
                    <a:pt x="69" y="328"/>
                  </a:lnTo>
                  <a:close/>
                  <a:moveTo>
                    <a:pt x="55" y="328"/>
                  </a:moveTo>
                  <a:lnTo>
                    <a:pt x="55" y="325"/>
                  </a:lnTo>
                  <a:lnTo>
                    <a:pt x="55" y="328"/>
                  </a:lnTo>
                  <a:close/>
                  <a:moveTo>
                    <a:pt x="67" y="325"/>
                  </a:moveTo>
                  <a:lnTo>
                    <a:pt x="67" y="328"/>
                  </a:lnTo>
                  <a:lnTo>
                    <a:pt x="69" y="328"/>
                  </a:lnTo>
                  <a:lnTo>
                    <a:pt x="67" y="328"/>
                  </a:lnTo>
                  <a:lnTo>
                    <a:pt x="67" y="325"/>
                  </a:lnTo>
                  <a:close/>
                  <a:moveTo>
                    <a:pt x="64" y="325"/>
                  </a:moveTo>
                  <a:lnTo>
                    <a:pt x="67" y="325"/>
                  </a:lnTo>
                  <a:lnTo>
                    <a:pt x="67" y="328"/>
                  </a:lnTo>
                  <a:lnTo>
                    <a:pt x="67" y="325"/>
                  </a:lnTo>
                  <a:lnTo>
                    <a:pt x="67" y="328"/>
                  </a:lnTo>
                  <a:lnTo>
                    <a:pt x="67" y="330"/>
                  </a:lnTo>
                  <a:lnTo>
                    <a:pt x="69" y="330"/>
                  </a:lnTo>
                  <a:lnTo>
                    <a:pt x="67" y="330"/>
                  </a:lnTo>
                  <a:lnTo>
                    <a:pt x="69" y="330"/>
                  </a:lnTo>
                  <a:lnTo>
                    <a:pt x="71" y="330"/>
                  </a:lnTo>
                  <a:lnTo>
                    <a:pt x="69" y="330"/>
                  </a:lnTo>
                  <a:lnTo>
                    <a:pt x="71" y="330"/>
                  </a:lnTo>
                  <a:lnTo>
                    <a:pt x="69" y="333"/>
                  </a:lnTo>
                  <a:lnTo>
                    <a:pt x="69" y="330"/>
                  </a:lnTo>
                  <a:lnTo>
                    <a:pt x="69" y="333"/>
                  </a:lnTo>
                  <a:lnTo>
                    <a:pt x="69" y="330"/>
                  </a:lnTo>
                  <a:lnTo>
                    <a:pt x="69" y="333"/>
                  </a:lnTo>
                  <a:lnTo>
                    <a:pt x="71" y="333"/>
                  </a:lnTo>
                  <a:lnTo>
                    <a:pt x="74" y="333"/>
                  </a:lnTo>
                  <a:lnTo>
                    <a:pt x="71" y="333"/>
                  </a:lnTo>
                  <a:lnTo>
                    <a:pt x="71" y="335"/>
                  </a:lnTo>
                  <a:lnTo>
                    <a:pt x="71" y="333"/>
                  </a:lnTo>
                  <a:lnTo>
                    <a:pt x="71" y="335"/>
                  </a:lnTo>
                  <a:lnTo>
                    <a:pt x="69" y="335"/>
                  </a:lnTo>
                  <a:lnTo>
                    <a:pt x="69" y="333"/>
                  </a:lnTo>
                  <a:lnTo>
                    <a:pt x="67" y="333"/>
                  </a:lnTo>
                  <a:lnTo>
                    <a:pt x="69" y="333"/>
                  </a:lnTo>
                  <a:lnTo>
                    <a:pt x="67" y="333"/>
                  </a:lnTo>
                  <a:lnTo>
                    <a:pt x="64" y="330"/>
                  </a:lnTo>
                  <a:lnTo>
                    <a:pt x="67" y="330"/>
                  </a:lnTo>
                  <a:lnTo>
                    <a:pt x="67" y="333"/>
                  </a:lnTo>
                  <a:lnTo>
                    <a:pt x="67" y="330"/>
                  </a:lnTo>
                  <a:lnTo>
                    <a:pt x="67" y="333"/>
                  </a:lnTo>
                  <a:lnTo>
                    <a:pt x="67" y="330"/>
                  </a:lnTo>
                  <a:lnTo>
                    <a:pt x="69" y="330"/>
                  </a:lnTo>
                  <a:lnTo>
                    <a:pt x="67" y="330"/>
                  </a:lnTo>
                  <a:lnTo>
                    <a:pt x="67" y="328"/>
                  </a:lnTo>
                  <a:lnTo>
                    <a:pt x="67" y="330"/>
                  </a:lnTo>
                  <a:lnTo>
                    <a:pt x="67" y="328"/>
                  </a:lnTo>
                  <a:lnTo>
                    <a:pt x="67" y="330"/>
                  </a:lnTo>
                  <a:lnTo>
                    <a:pt x="64" y="330"/>
                  </a:lnTo>
                  <a:lnTo>
                    <a:pt x="64" y="328"/>
                  </a:lnTo>
                  <a:lnTo>
                    <a:pt x="64" y="330"/>
                  </a:lnTo>
                  <a:lnTo>
                    <a:pt x="64" y="328"/>
                  </a:lnTo>
                  <a:lnTo>
                    <a:pt x="64" y="330"/>
                  </a:lnTo>
                  <a:lnTo>
                    <a:pt x="64" y="328"/>
                  </a:lnTo>
                  <a:lnTo>
                    <a:pt x="64" y="330"/>
                  </a:lnTo>
                  <a:lnTo>
                    <a:pt x="64" y="328"/>
                  </a:lnTo>
                  <a:lnTo>
                    <a:pt x="62" y="328"/>
                  </a:lnTo>
                  <a:lnTo>
                    <a:pt x="64" y="328"/>
                  </a:lnTo>
                  <a:lnTo>
                    <a:pt x="62" y="328"/>
                  </a:lnTo>
                  <a:lnTo>
                    <a:pt x="64" y="328"/>
                  </a:lnTo>
                  <a:lnTo>
                    <a:pt x="64" y="325"/>
                  </a:lnTo>
                  <a:lnTo>
                    <a:pt x="64" y="328"/>
                  </a:lnTo>
                  <a:lnTo>
                    <a:pt x="64" y="325"/>
                  </a:lnTo>
                  <a:close/>
                  <a:moveTo>
                    <a:pt x="67" y="323"/>
                  </a:moveTo>
                  <a:lnTo>
                    <a:pt x="64" y="323"/>
                  </a:lnTo>
                  <a:lnTo>
                    <a:pt x="67" y="323"/>
                  </a:lnTo>
                  <a:close/>
                  <a:moveTo>
                    <a:pt x="67" y="323"/>
                  </a:moveTo>
                  <a:lnTo>
                    <a:pt x="64" y="323"/>
                  </a:lnTo>
                  <a:lnTo>
                    <a:pt x="67" y="323"/>
                  </a:lnTo>
                  <a:close/>
                  <a:moveTo>
                    <a:pt x="57" y="323"/>
                  </a:moveTo>
                  <a:lnTo>
                    <a:pt x="55" y="323"/>
                  </a:lnTo>
                  <a:lnTo>
                    <a:pt x="57" y="323"/>
                  </a:lnTo>
                  <a:close/>
                  <a:moveTo>
                    <a:pt x="67" y="321"/>
                  </a:moveTo>
                  <a:lnTo>
                    <a:pt x="69" y="321"/>
                  </a:lnTo>
                  <a:lnTo>
                    <a:pt x="67" y="321"/>
                  </a:lnTo>
                  <a:lnTo>
                    <a:pt x="67" y="323"/>
                  </a:lnTo>
                  <a:lnTo>
                    <a:pt x="67" y="321"/>
                  </a:lnTo>
                  <a:close/>
                  <a:moveTo>
                    <a:pt x="69" y="321"/>
                  </a:moveTo>
                  <a:lnTo>
                    <a:pt x="67" y="321"/>
                  </a:lnTo>
                  <a:lnTo>
                    <a:pt x="69" y="321"/>
                  </a:lnTo>
                  <a:close/>
                  <a:moveTo>
                    <a:pt x="64" y="321"/>
                  </a:moveTo>
                  <a:lnTo>
                    <a:pt x="67" y="321"/>
                  </a:lnTo>
                  <a:lnTo>
                    <a:pt x="64" y="321"/>
                  </a:lnTo>
                  <a:close/>
                  <a:moveTo>
                    <a:pt x="64" y="321"/>
                  </a:moveTo>
                  <a:lnTo>
                    <a:pt x="64" y="318"/>
                  </a:lnTo>
                  <a:lnTo>
                    <a:pt x="64" y="321"/>
                  </a:lnTo>
                  <a:close/>
                  <a:moveTo>
                    <a:pt x="67" y="318"/>
                  </a:moveTo>
                  <a:lnTo>
                    <a:pt x="64" y="318"/>
                  </a:lnTo>
                  <a:lnTo>
                    <a:pt x="67" y="318"/>
                  </a:lnTo>
                  <a:lnTo>
                    <a:pt x="64" y="318"/>
                  </a:lnTo>
                  <a:lnTo>
                    <a:pt x="67" y="318"/>
                  </a:lnTo>
                  <a:lnTo>
                    <a:pt x="64" y="318"/>
                  </a:lnTo>
                  <a:lnTo>
                    <a:pt x="67" y="318"/>
                  </a:lnTo>
                  <a:close/>
                  <a:moveTo>
                    <a:pt x="59" y="318"/>
                  </a:moveTo>
                  <a:lnTo>
                    <a:pt x="62" y="318"/>
                  </a:lnTo>
                  <a:lnTo>
                    <a:pt x="62" y="321"/>
                  </a:lnTo>
                  <a:lnTo>
                    <a:pt x="59" y="321"/>
                  </a:lnTo>
                  <a:lnTo>
                    <a:pt x="59" y="318"/>
                  </a:lnTo>
                  <a:lnTo>
                    <a:pt x="59" y="321"/>
                  </a:lnTo>
                  <a:lnTo>
                    <a:pt x="59" y="318"/>
                  </a:lnTo>
                  <a:close/>
                  <a:moveTo>
                    <a:pt x="64" y="318"/>
                  </a:moveTo>
                  <a:lnTo>
                    <a:pt x="67" y="318"/>
                  </a:lnTo>
                  <a:lnTo>
                    <a:pt x="64" y="318"/>
                  </a:lnTo>
                  <a:close/>
                  <a:moveTo>
                    <a:pt x="67" y="318"/>
                  </a:moveTo>
                  <a:lnTo>
                    <a:pt x="64" y="318"/>
                  </a:lnTo>
                  <a:lnTo>
                    <a:pt x="67" y="318"/>
                  </a:lnTo>
                  <a:close/>
                  <a:moveTo>
                    <a:pt x="62" y="316"/>
                  </a:moveTo>
                  <a:lnTo>
                    <a:pt x="62" y="318"/>
                  </a:lnTo>
                  <a:lnTo>
                    <a:pt x="62" y="316"/>
                  </a:lnTo>
                  <a:close/>
                  <a:moveTo>
                    <a:pt x="55" y="316"/>
                  </a:moveTo>
                  <a:lnTo>
                    <a:pt x="57" y="316"/>
                  </a:lnTo>
                  <a:lnTo>
                    <a:pt x="55" y="316"/>
                  </a:lnTo>
                  <a:close/>
                  <a:moveTo>
                    <a:pt x="62" y="316"/>
                  </a:moveTo>
                  <a:lnTo>
                    <a:pt x="59" y="316"/>
                  </a:lnTo>
                  <a:lnTo>
                    <a:pt x="62" y="316"/>
                  </a:lnTo>
                  <a:lnTo>
                    <a:pt x="59" y="316"/>
                  </a:lnTo>
                  <a:lnTo>
                    <a:pt x="62" y="316"/>
                  </a:lnTo>
                  <a:close/>
                  <a:moveTo>
                    <a:pt x="62" y="316"/>
                  </a:moveTo>
                  <a:lnTo>
                    <a:pt x="59" y="316"/>
                  </a:lnTo>
                  <a:lnTo>
                    <a:pt x="62" y="316"/>
                  </a:lnTo>
                  <a:close/>
                  <a:moveTo>
                    <a:pt x="62" y="314"/>
                  </a:moveTo>
                  <a:lnTo>
                    <a:pt x="64" y="314"/>
                  </a:lnTo>
                  <a:lnTo>
                    <a:pt x="62" y="314"/>
                  </a:lnTo>
                  <a:lnTo>
                    <a:pt x="64" y="314"/>
                  </a:lnTo>
                  <a:lnTo>
                    <a:pt x="64" y="316"/>
                  </a:lnTo>
                  <a:lnTo>
                    <a:pt x="64" y="314"/>
                  </a:lnTo>
                  <a:lnTo>
                    <a:pt x="64" y="316"/>
                  </a:lnTo>
                  <a:lnTo>
                    <a:pt x="64" y="314"/>
                  </a:lnTo>
                  <a:lnTo>
                    <a:pt x="64" y="316"/>
                  </a:lnTo>
                  <a:lnTo>
                    <a:pt x="62" y="316"/>
                  </a:lnTo>
                  <a:lnTo>
                    <a:pt x="64" y="316"/>
                  </a:lnTo>
                  <a:lnTo>
                    <a:pt x="62" y="316"/>
                  </a:lnTo>
                  <a:lnTo>
                    <a:pt x="64" y="316"/>
                  </a:lnTo>
                  <a:lnTo>
                    <a:pt x="62" y="316"/>
                  </a:lnTo>
                  <a:lnTo>
                    <a:pt x="64" y="316"/>
                  </a:lnTo>
                  <a:lnTo>
                    <a:pt x="64" y="318"/>
                  </a:lnTo>
                  <a:lnTo>
                    <a:pt x="67" y="318"/>
                  </a:lnTo>
                  <a:lnTo>
                    <a:pt x="64" y="318"/>
                  </a:lnTo>
                  <a:lnTo>
                    <a:pt x="64" y="316"/>
                  </a:lnTo>
                  <a:lnTo>
                    <a:pt x="67" y="316"/>
                  </a:lnTo>
                  <a:lnTo>
                    <a:pt x="67" y="318"/>
                  </a:lnTo>
                  <a:lnTo>
                    <a:pt x="64" y="318"/>
                  </a:lnTo>
                  <a:lnTo>
                    <a:pt x="64" y="316"/>
                  </a:lnTo>
                  <a:lnTo>
                    <a:pt x="64" y="318"/>
                  </a:lnTo>
                  <a:lnTo>
                    <a:pt x="64" y="316"/>
                  </a:lnTo>
                  <a:lnTo>
                    <a:pt x="62" y="316"/>
                  </a:lnTo>
                  <a:lnTo>
                    <a:pt x="64" y="316"/>
                  </a:lnTo>
                  <a:lnTo>
                    <a:pt x="62" y="316"/>
                  </a:lnTo>
                  <a:lnTo>
                    <a:pt x="62" y="314"/>
                  </a:lnTo>
                  <a:lnTo>
                    <a:pt x="62" y="316"/>
                  </a:lnTo>
                  <a:lnTo>
                    <a:pt x="62" y="314"/>
                  </a:lnTo>
                  <a:close/>
                  <a:moveTo>
                    <a:pt x="62" y="311"/>
                  </a:moveTo>
                  <a:lnTo>
                    <a:pt x="59" y="311"/>
                  </a:lnTo>
                  <a:lnTo>
                    <a:pt x="62" y="311"/>
                  </a:lnTo>
                  <a:close/>
                  <a:moveTo>
                    <a:pt x="67" y="306"/>
                  </a:moveTo>
                  <a:lnTo>
                    <a:pt x="67" y="309"/>
                  </a:lnTo>
                  <a:lnTo>
                    <a:pt x="67" y="306"/>
                  </a:lnTo>
                  <a:close/>
                  <a:moveTo>
                    <a:pt x="71" y="297"/>
                  </a:moveTo>
                  <a:lnTo>
                    <a:pt x="69" y="297"/>
                  </a:lnTo>
                  <a:lnTo>
                    <a:pt x="71" y="297"/>
                  </a:lnTo>
                  <a:close/>
                  <a:moveTo>
                    <a:pt x="69" y="297"/>
                  </a:moveTo>
                  <a:lnTo>
                    <a:pt x="67" y="297"/>
                  </a:lnTo>
                  <a:lnTo>
                    <a:pt x="69" y="297"/>
                  </a:lnTo>
                  <a:lnTo>
                    <a:pt x="67" y="297"/>
                  </a:lnTo>
                  <a:lnTo>
                    <a:pt x="69" y="297"/>
                  </a:lnTo>
                  <a:lnTo>
                    <a:pt x="69" y="299"/>
                  </a:lnTo>
                  <a:lnTo>
                    <a:pt x="69" y="297"/>
                  </a:lnTo>
                  <a:lnTo>
                    <a:pt x="69" y="299"/>
                  </a:lnTo>
                  <a:lnTo>
                    <a:pt x="71" y="299"/>
                  </a:lnTo>
                  <a:lnTo>
                    <a:pt x="69" y="299"/>
                  </a:lnTo>
                  <a:lnTo>
                    <a:pt x="67" y="299"/>
                  </a:lnTo>
                  <a:lnTo>
                    <a:pt x="67" y="297"/>
                  </a:lnTo>
                  <a:lnTo>
                    <a:pt x="69" y="297"/>
                  </a:lnTo>
                  <a:close/>
                  <a:moveTo>
                    <a:pt x="71" y="297"/>
                  </a:moveTo>
                  <a:lnTo>
                    <a:pt x="69" y="297"/>
                  </a:lnTo>
                  <a:lnTo>
                    <a:pt x="71" y="297"/>
                  </a:lnTo>
                  <a:lnTo>
                    <a:pt x="69" y="297"/>
                  </a:lnTo>
                  <a:lnTo>
                    <a:pt x="71" y="297"/>
                  </a:lnTo>
                  <a:lnTo>
                    <a:pt x="69" y="297"/>
                  </a:lnTo>
                  <a:lnTo>
                    <a:pt x="71" y="297"/>
                  </a:lnTo>
                  <a:close/>
                  <a:moveTo>
                    <a:pt x="71" y="290"/>
                  </a:moveTo>
                  <a:lnTo>
                    <a:pt x="74" y="290"/>
                  </a:lnTo>
                  <a:lnTo>
                    <a:pt x="71" y="290"/>
                  </a:lnTo>
                  <a:close/>
                  <a:moveTo>
                    <a:pt x="69" y="287"/>
                  </a:moveTo>
                  <a:lnTo>
                    <a:pt x="69" y="290"/>
                  </a:lnTo>
                  <a:lnTo>
                    <a:pt x="69" y="287"/>
                  </a:lnTo>
                  <a:close/>
                  <a:moveTo>
                    <a:pt x="71" y="287"/>
                  </a:moveTo>
                  <a:lnTo>
                    <a:pt x="74" y="287"/>
                  </a:lnTo>
                  <a:lnTo>
                    <a:pt x="71" y="287"/>
                  </a:lnTo>
                  <a:close/>
                  <a:moveTo>
                    <a:pt x="71" y="287"/>
                  </a:moveTo>
                  <a:lnTo>
                    <a:pt x="71" y="285"/>
                  </a:lnTo>
                  <a:lnTo>
                    <a:pt x="71" y="287"/>
                  </a:lnTo>
                  <a:lnTo>
                    <a:pt x="71" y="285"/>
                  </a:lnTo>
                  <a:lnTo>
                    <a:pt x="71" y="287"/>
                  </a:lnTo>
                  <a:close/>
                  <a:moveTo>
                    <a:pt x="71" y="287"/>
                  </a:moveTo>
                  <a:lnTo>
                    <a:pt x="69" y="285"/>
                  </a:lnTo>
                  <a:lnTo>
                    <a:pt x="71" y="285"/>
                  </a:lnTo>
                  <a:lnTo>
                    <a:pt x="71" y="287"/>
                  </a:lnTo>
                  <a:close/>
                  <a:moveTo>
                    <a:pt x="67" y="285"/>
                  </a:moveTo>
                  <a:lnTo>
                    <a:pt x="69" y="285"/>
                  </a:lnTo>
                  <a:lnTo>
                    <a:pt x="69" y="287"/>
                  </a:lnTo>
                  <a:lnTo>
                    <a:pt x="67" y="287"/>
                  </a:lnTo>
                  <a:lnTo>
                    <a:pt x="67" y="285"/>
                  </a:lnTo>
                  <a:close/>
                  <a:moveTo>
                    <a:pt x="71" y="278"/>
                  </a:moveTo>
                  <a:lnTo>
                    <a:pt x="71" y="280"/>
                  </a:lnTo>
                  <a:lnTo>
                    <a:pt x="69" y="280"/>
                  </a:lnTo>
                  <a:lnTo>
                    <a:pt x="69" y="278"/>
                  </a:lnTo>
                  <a:lnTo>
                    <a:pt x="69" y="280"/>
                  </a:lnTo>
                  <a:lnTo>
                    <a:pt x="69" y="278"/>
                  </a:lnTo>
                  <a:lnTo>
                    <a:pt x="71" y="278"/>
                  </a:lnTo>
                  <a:close/>
                  <a:moveTo>
                    <a:pt x="74" y="273"/>
                  </a:moveTo>
                  <a:lnTo>
                    <a:pt x="74" y="276"/>
                  </a:lnTo>
                  <a:lnTo>
                    <a:pt x="76" y="276"/>
                  </a:lnTo>
                  <a:lnTo>
                    <a:pt x="74" y="276"/>
                  </a:lnTo>
                  <a:lnTo>
                    <a:pt x="76" y="276"/>
                  </a:lnTo>
                  <a:lnTo>
                    <a:pt x="74" y="276"/>
                  </a:lnTo>
                  <a:lnTo>
                    <a:pt x="74" y="273"/>
                  </a:lnTo>
                  <a:lnTo>
                    <a:pt x="74" y="276"/>
                  </a:lnTo>
                  <a:lnTo>
                    <a:pt x="74" y="273"/>
                  </a:lnTo>
                  <a:close/>
                  <a:moveTo>
                    <a:pt x="69" y="273"/>
                  </a:moveTo>
                  <a:lnTo>
                    <a:pt x="71" y="273"/>
                  </a:lnTo>
                  <a:lnTo>
                    <a:pt x="69" y="273"/>
                  </a:lnTo>
                  <a:lnTo>
                    <a:pt x="69" y="276"/>
                  </a:lnTo>
                  <a:lnTo>
                    <a:pt x="71" y="276"/>
                  </a:lnTo>
                  <a:lnTo>
                    <a:pt x="69" y="276"/>
                  </a:lnTo>
                  <a:lnTo>
                    <a:pt x="69" y="273"/>
                  </a:lnTo>
                  <a:close/>
                  <a:moveTo>
                    <a:pt x="71" y="273"/>
                  </a:moveTo>
                  <a:lnTo>
                    <a:pt x="69" y="273"/>
                  </a:lnTo>
                  <a:lnTo>
                    <a:pt x="71" y="273"/>
                  </a:lnTo>
                  <a:close/>
                  <a:moveTo>
                    <a:pt x="74" y="273"/>
                  </a:moveTo>
                  <a:lnTo>
                    <a:pt x="71" y="273"/>
                  </a:lnTo>
                  <a:lnTo>
                    <a:pt x="74" y="273"/>
                  </a:lnTo>
                  <a:close/>
                  <a:moveTo>
                    <a:pt x="71" y="273"/>
                  </a:moveTo>
                  <a:lnTo>
                    <a:pt x="71" y="271"/>
                  </a:lnTo>
                  <a:lnTo>
                    <a:pt x="71" y="273"/>
                  </a:lnTo>
                  <a:lnTo>
                    <a:pt x="71" y="271"/>
                  </a:lnTo>
                  <a:lnTo>
                    <a:pt x="71" y="273"/>
                  </a:lnTo>
                  <a:close/>
                  <a:moveTo>
                    <a:pt x="69" y="271"/>
                  </a:moveTo>
                  <a:lnTo>
                    <a:pt x="71" y="271"/>
                  </a:lnTo>
                  <a:lnTo>
                    <a:pt x="71" y="273"/>
                  </a:lnTo>
                  <a:lnTo>
                    <a:pt x="74" y="273"/>
                  </a:lnTo>
                  <a:lnTo>
                    <a:pt x="74" y="276"/>
                  </a:lnTo>
                  <a:lnTo>
                    <a:pt x="74" y="273"/>
                  </a:lnTo>
                  <a:lnTo>
                    <a:pt x="71" y="273"/>
                  </a:lnTo>
                  <a:lnTo>
                    <a:pt x="71" y="276"/>
                  </a:lnTo>
                  <a:lnTo>
                    <a:pt x="74" y="276"/>
                  </a:lnTo>
                  <a:lnTo>
                    <a:pt x="71" y="276"/>
                  </a:lnTo>
                  <a:lnTo>
                    <a:pt x="71" y="273"/>
                  </a:lnTo>
                  <a:lnTo>
                    <a:pt x="71" y="276"/>
                  </a:lnTo>
                  <a:lnTo>
                    <a:pt x="71" y="273"/>
                  </a:lnTo>
                  <a:lnTo>
                    <a:pt x="71" y="276"/>
                  </a:lnTo>
                  <a:lnTo>
                    <a:pt x="71" y="273"/>
                  </a:lnTo>
                  <a:lnTo>
                    <a:pt x="69" y="273"/>
                  </a:lnTo>
                  <a:lnTo>
                    <a:pt x="69" y="271"/>
                  </a:lnTo>
                  <a:close/>
                  <a:moveTo>
                    <a:pt x="67" y="271"/>
                  </a:moveTo>
                  <a:lnTo>
                    <a:pt x="69" y="271"/>
                  </a:lnTo>
                  <a:lnTo>
                    <a:pt x="67" y="271"/>
                  </a:lnTo>
                  <a:close/>
                  <a:moveTo>
                    <a:pt x="71" y="264"/>
                  </a:moveTo>
                  <a:lnTo>
                    <a:pt x="71" y="261"/>
                  </a:lnTo>
                  <a:lnTo>
                    <a:pt x="71" y="264"/>
                  </a:lnTo>
                  <a:lnTo>
                    <a:pt x="69" y="264"/>
                  </a:lnTo>
                  <a:lnTo>
                    <a:pt x="69" y="261"/>
                  </a:lnTo>
                  <a:lnTo>
                    <a:pt x="71" y="261"/>
                  </a:lnTo>
                  <a:lnTo>
                    <a:pt x="71" y="264"/>
                  </a:lnTo>
                  <a:close/>
                  <a:moveTo>
                    <a:pt x="67" y="261"/>
                  </a:moveTo>
                  <a:lnTo>
                    <a:pt x="67" y="264"/>
                  </a:lnTo>
                  <a:lnTo>
                    <a:pt x="67" y="261"/>
                  </a:lnTo>
                  <a:lnTo>
                    <a:pt x="67" y="264"/>
                  </a:lnTo>
                  <a:lnTo>
                    <a:pt x="67" y="261"/>
                  </a:lnTo>
                  <a:close/>
                  <a:moveTo>
                    <a:pt x="64" y="254"/>
                  </a:moveTo>
                  <a:lnTo>
                    <a:pt x="67" y="257"/>
                  </a:lnTo>
                  <a:lnTo>
                    <a:pt x="64" y="254"/>
                  </a:lnTo>
                  <a:lnTo>
                    <a:pt x="64" y="257"/>
                  </a:lnTo>
                  <a:lnTo>
                    <a:pt x="67" y="257"/>
                  </a:lnTo>
                  <a:lnTo>
                    <a:pt x="64" y="257"/>
                  </a:lnTo>
                  <a:lnTo>
                    <a:pt x="64" y="254"/>
                  </a:lnTo>
                  <a:lnTo>
                    <a:pt x="67" y="254"/>
                  </a:lnTo>
                  <a:lnTo>
                    <a:pt x="64" y="254"/>
                  </a:lnTo>
                  <a:close/>
                  <a:moveTo>
                    <a:pt x="64" y="247"/>
                  </a:moveTo>
                  <a:lnTo>
                    <a:pt x="67" y="247"/>
                  </a:lnTo>
                  <a:lnTo>
                    <a:pt x="67" y="249"/>
                  </a:lnTo>
                  <a:lnTo>
                    <a:pt x="67" y="247"/>
                  </a:lnTo>
                  <a:lnTo>
                    <a:pt x="64" y="247"/>
                  </a:lnTo>
                  <a:lnTo>
                    <a:pt x="64" y="245"/>
                  </a:lnTo>
                  <a:lnTo>
                    <a:pt x="64" y="247"/>
                  </a:lnTo>
                  <a:close/>
                  <a:moveTo>
                    <a:pt x="67" y="245"/>
                  </a:moveTo>
                  <a:lnTo>
                    <a:pt x="64" y="245"/>
                  </a:lnTo>
                  <a:lnTo>
                    <a:pt x="67" y="245"/>
                  </a:lnTo>
                  <a:close/>
                  <a:moveTo>
                    <a:pt x="69" y="242"/>
                  </a:moveTo>
                  <a:lnTo>
                    <a:pt x="67" y="242"/>
                  </a:lnTo>
                  <a:lnTo>
                    <a:pt x="69" y="242"/>
                  </a:lnTo>
                  <a:close/>
                  <a:moveTo>
                    <a:pt x="62" y="230"/>
                  </a:moveTo>
                  <a:lnTo>
                    <a:pt x="62" y="233"/>
                  </a:lnTo>
                  <a:lnTo>
                    <a:pt x="62" y="235"/>
                  </a:lnTo>
                  <a:lnTo>
                    <a:pt x="62" y="233"/>
                  </a:lnTo>
                  <a:lnTo>
                    <a:pt x="62" y="235"/>
                  </a:lnTo>
                  <a:lnTo>
                    <a:pt x="62" y="233"/>
                  </a:lnTo>
                  <a:lnTo>
                    <a:pt x="62" y="235"/>
                  </a:lnTo>
                  <a:lnTo>
                    <a:pt x="62" y="233"/>
                  </a:lnTo>
                  <a:lnTo>
                    <a:pt x="62" y="230"/>
                  </a:lnTo>
                  <a:lnTo>
                    <a:pt x="62" y="233"/>
                  </a:lnTo>
                  <a:lnTo>
                    <a:pt x="62" y="230"/>
                  </a:lnTo>
                  <a:lnTo>
                    <a:pt x="62" y="233"/>
                  </a:lnTo>
                  <a:lnTo>
                    <a:pt x="62" y="230"/>
                  </a:lnTo>
                  <a:close/>
                  <a:moveTo>
                    <a:pt x="59" y="226"/>
                  </a:moveTo>
                  <a:lnTo>
                    <a:pt x="59" y="223"/>
                  </a:lnTo>
                  <a:lnTo>
                    <a:pt x="59" y="226"/>
                  </a:lnTo>
                  <a:close/>
                  <a:moveTo>
                    <a:pt x="62" y="226"/>
                  </a:moveTo>
                  <a:lnTo>
                    <a:pt x="59" y="223"/>
                  </a:lnTo>
                  <a:lnTo>
                    <a:pt x="62" y="223"/>
                  </a:lnTo>
                  <a:lnTo>
                    <a:pt x="62" y="226"/>
                  </a:lnTo>
                  <a:close/>
                  <a:moveTo>
                    <a:pt x="57" y="223"/>
                  </a:moveTo>
                  <a:lnTo>
                    <a:pt x="59" y="223"/>
                  </a:lnTo>
                  <a:lnTo>
                    <a:pt x="57" y="226"/>
                  </a:lnTo>
                  <a:lnTo>
                    <a:pt x="59" y="226"/>
                  </a:lnTo>
                  <a:lnTo>
                    <a:pt x="57" y="226"/>
                  </a:lnTo>
                  <a:lnTo>
                    <a:pt x="57" y="223"/>
                  </a:lnTo>
                  <a:close/>
                  <a:moveTo>
                    <a:pt x="59" y="221"/>
                  </a:moveTo>
                  <a:lnTo>
                    <a:pt x="62" y="221"/>
                  </a:lnTo>
                  <a:lnTo>
                    <a:pt x="59" y="221"/>
                  </a:lnTo>
                  <a:close/>
                  <a:moveTo>
                    <a:pt x="57" y="219"/>
                  </a:moveTo>
                  <a:lnTo>
                    <a:pt x="59" y="219"/>
                  </a:lnTo>
                  <a:lnTo>
                    <a:pt x="57" y="219"/>
                  </a:lnTo>
                  <a:close/>
                  <a:moveTo>
                    <a:pt x="57" y="214"/>
                  </a:moveTo>
                  <a:lnTo>
                    <a:pt x="59" y="214"/>
                  </a:lnTo>
                  <a:lnTo>
                    <a:pt x="59" y="216"/>
                  </a:lnTo>
                  <a:lnTo>
                    <a:pt x="57" y="216"/>
                  </a:lnTo>
                  <a:lnTo>
                    <a:pt x="57" y="214"/>
                  </a:lnTo>
                  <a:close/>
                  <a:moveTo>
                    <a:pt x="62" y="207"/>
                  </a:moveTo>
                  <a:lnTo>
                    <a:pt x="64" y="207"/>
                  </a:lnTo>
                  <a:lnTo>
                    <a:pt x="64" y="209"/>
                  </a:lnTo>
                  <a:lnTo>
                    <a:pt x="64" y="207"/>
                  </a:lnTo>
                  <a:lnTo>
                    <a:pt x="64" y="209"/>
                  </a:lnTo>
                  <a:lnTo>
                    <a:pt x="62" y="209"/>
                  </a:lnTo>
                  <a:lnTo>
                    <a:pt x="59" y="209"/>
                  </a:lnTo>
                  <a:lnTo>
                    <a:pt x="59" y="207"/>
                  </a:lnTo>
                  <a:lnTo>
                    <a:pt x="59" y="209"/>
                  </a:lnTo>
                  <a:lnTo>
                    <a:pt x="59" y="207"/>
                  </a:lnTo>
                  <a:lnTo>
                    <a:pt x="59" y="209"/>
                  </a:lnTo>
                  <a:lnTo>
                    <a:pt x="59" y="207"/>
                  </a:lnTo>
                  <a:lnTo>
                    <a:pt x="62" y="207"/>
                  </a:lnTo>
                  <a:close/>
                  <a:moveTo>
                    <a:pt x="62" y="204"/>
                  </a:moveTo>
                  <a:lnTo>
                    <a:pt x="59" y="204"/>
                  </a:lnTo>
                  <a:lnTo>
                    <a:pt x="62" y="204"/>
                  </a:lnTo>
                  <a:close/>
                  <a:moveTo>
                    <a:pt x="59" y="207"/>
                  </a:moveTo>
                  <a:lnTo>
                    <a:pt x="57" y="204"/>
                  </a:lnTo>
                  <a:lnTo>
                    <a:pt x="59" y="204"/>
                  </a:lnTo>
                  <a:lnTo>
                    <a:pt x="59" y="207"/>
                  </a:lnTo>
                  <a:close/>
                  <a:moveTo>
                    <a:pt x="59" y="204"/>
                  </a:moveTo>
                  <a:lnTo>
                    <a:pt x="57" y="204"/>
                  </a:lnTo>
                  <a:lnTo>
                    <a:pt x="59" y="204"/>
                  </a:lnTo>
                  <a:close/>
                  <a:moveTo>
                    <a:pt x="62" y="204"/>
                  </a:moveTo>
                  <a:lnTo>
                    <a:pt x="64" y="204"/>
                  </a:lnTo>
                  <a:lnTo>
                    <a:pt x="62" y="204"/>
                  </a:lnTo>
                  <a:lnTo>
                    <a:pt x="64" y="204"/>
                  </a:lnTo>
                  <a:lnTo>
                    <a:pt x="64" y="207"/>
                  </a:lnTo>
                  <a:lnTo>
                    <a:pt x="62" y="207"/>
                  </a:lnTo>
                  <a:lnTo>
                    <a:pt x="62" y="204"/>
                  </a:lnTo>
                  <a:close/>
                  <a:moveTo>
                    <a:pt x="69" y="202"/>
                  </a:moveTo>
                  <a:lnTo>
                    <a:pt x="67" y="202"/>
                  </a:lnTo>
                  <a:lnTo>
                    <a:pt x="69" y="202"/>
                  </a:lnTo>
                  <a:close/>
                  <a:moveTo>
                    <a:pt x="69" y="202"/>
                  </a:moveTo>
                  <a:lnTo>
                    <a:pt x="69" y="204"/>
                  </a:lnTo>
                  <a:lnTo>
                    <a:pt x="67" y="204"/>
                  </a:lnTo>
                  <a:lnTo>
                    <a:pt x="69" y="204"/>
                  </a:lnTo>
                  <a:lnTo>
                    <a:pt x="67" y="204"/>
                  </a:lnTo>
                  <a:lnTo>
                    <a:pt x="67" y="202"/>
                  </a:lnTo>
                  <a:lnTo>
                    <a:pt x="69" y="202"/>
                  </a:lnTo>
                  <a:close/>
                  <a:moveTo>
                    <a:pt x="67" y="202"/>
                  </a:moveTo>
                  <a:lnTo>
                    <a:pt x="69" y="202"/>
                  </a:lnTo>
                  <a:lnTo>
                    <a:pt x="67" y="202"/>
                  </a:lnTo>
                  <a:lnTo>
                    <a:pt x="69" y="202"/>
                  </a:lnTo>
                  <a:lnTo>
                    <a:pt x="67" y="202"/>
                  </a:lnTo>
                  <a:close/>
                  <a:moveTo>
                    <a:pt x="57" y="202"/>
                  </a:moveTo>
                  <a:lnTo>
                    <a:pt x="57" y="200"/>
                  </a:lnTo>
                  <a:lnTo>
                    <a:pt x="57" y="202"/>
                  </a:lnTo>
                  <a:close/>
                  <a:moveTo>
                    <a:pt x="59" y="202"/>
                  </a:moveTo>
                  <a:lnTo>
                    <a:pt x="59" y="200"/>
                  </a:lnTo>
                  <a:lnTo>
                    <a:pt x="59" y="202"/>
                  </a:lnTo>
                  <a:close/>
                  <a:moveTo>
                    <a:pt x="69" y="200"/>
                  </a:moveTo>
                  <a:lnTo>
                    <a:pt x="69" y="202"/>
                  </a:lnTo>
                  <a:lnTo>
                    <a:pt x="69" y="200"/>
                  </a:lnTo>
                  <a:close/>
                  <a:moveTo>
                    <a:pt x="69" y="200"/>
                  </a:moveTo>
                  <a:lnTo>
                    <a:pt x="67" y="200"/>
                  </a:lnTo>
                  <a:lnTo>
                    <a:pt x="69" y="200"/>
                  </a:lnTo>
                  <a:close/>
                  <a:moveTo>
                    <a:pt x="50" y="200"/>
                  </a:moveTo>
                  <a:lnTo>
                    <a:pt x="50" y="202"/>
                  </a:lnTo>
                  <a:lnTo>
                    <a:pt x="50" y="200"/>
                  </a:lnTo>
                  <a:lnTo>
                    <a:pt x="50" y="202"/>
                  </a:lnTo>
                  <a:lnTo>
                    <a:pt x="50" y="200"/>
                  </a:lnTo>
                  <a:lnTo>
                    <a:pt x="52" y="202"/>
                  </a:lnTo>
                  <a:lnTo>
                    <a:pt x="50" y="202"/>
                  </a:lnTo>
                  <a:lnTo>
                    <a:pt x="50" y="200"/>
                  </a:lnTo>
                  <a:close/>
                  <a:moveTo>
                    <a:pt x="69" y="200"/>
                  </a:moveTo>
                  <a:lnTo>
                    <a:pt x="71" y="200"/>
                  </a:lnTo>
                  <a:lnTo>
                    <a:pt x="69" y="200"/>
                  </a:lnTo>
                  <a:lnTo>
                    <a:pt x="71" y="200"/>
                  </a:lnTo>
                  <a:lnTo>
                    <a:pt x="69" y="200"/>
                  </a:lnTo>
                  <a:close/>
                  <a:moveTo>
                    <a:pt x="67" y="200"/>
                  </a:moveTo>
                  <a:lnTo>
                    <a:pt x="64" y="200"/>
                  </a:lnTo>
                  <a:lnTo>
                    <a:pt x="67" y="200"/>
                  </a:lnTo>
                  <a:close/>
                  <a:moveTo>
                    <a:pt x="59" y="202"/>
                  </a:moveTo>
                  <a:lnTo>
                    <a:pt x="62" y="202"/>
                  </a:lnTo>
                  <a:lnTo>
                    <a:pt x="59" y="202"/>
                  </a:lnTo>
                  <a:lnTo>
                    <a:pt x="62" y="202"/>
                  </a:lnTo>
                  <a:lnTo>
                    <a:pt x="59" y="202"/>
                  </a:lnTo>
                  <a:lnTo>
                    <a:pt x="59" y="200"/>
                  </a:lnTo>
                  <a:lnTo>
                    <a:pt x="62" y="200"/>
                  </a:lnTo>
                  <a:lnTo>
                    <a:pt x="62" y="202"/>
                  </a:lnTo>
                  <a:lnTo>
                    <a:pt x="59" y="202"/>
                  </a:lnTo>
                  <a:close/>
                  <a:moveTo>
                    <a:pt x="69" y="200"/>
                  </a:moveTo>
                  <a:lnTo>
                    <a:pt x="67" y="200"/>
                  </a:lnTo>
                  <a:lnTo>
                    <a:pt x="69" y="200"/>
                  </a:lnTo>
                  <a:lnTo>
                    <a:pt x="67" y="200"/>
                  </a:lnTo>
                  <a:lnTo>
                    <a:pt x="69" y="200"/>
                  </a:lnTo>
                  <a:lnTo>
                    <a:pt x="67" y="200"/>
                  </a:lnTo>
                  <a:lnTo>
                    <a:pt x="69" y="200"/>
                  </a:lnTo>
                  <a:close/>
                  <a:moveTo>
                    <a:pt x="62" y="197"/>
                  </a:moveTo>
                  <a:lnTo>
                    <a:pt x="62" y="200"/>
                  </a:lnTo>
                  <a:lnTo>
                    <a:pt x="64" y="200"/>
                  </a:lnTo>
                  <a:lnTo>
                    <a:pt x="62" y="200"/>
                  </a:lnTo>
                  <a:lnTo>
                    <a:pt x="64" y="200"/>
                  </a:lnTo>
                  <a:lnTo>
                    <a:pt x="62" y="200"/>
                  </a:lnTo>
                  <a:lnTo>
                    <a:pt x="64" y="200"/>
                  </a:lnTo>
                  <a:lnTo>
                    <a:pt x="62" y="200"/>
                  </a:lnTo>
                  <a:lnTo>
                    <a:pt x="62" y="197"/>
                  </a:lnTo>
                  <a:lnTo>
                    <a:pt x="62" y="200"/>
                  </a:lnTo>
                  <a:lnTo>
                    <a:pt x="62" y="197"/>
                  </a:lnTo>
                  <a:close/>
                  <a:moveTo>
                    <a:pt x="59" y="197"/>
                  </a:moveTo>
                  <a:lnTo>
                    <a:pt x="59" y="200"/>
                  </a:lnTo>
                  <a:lnTo>
                    <a:pt x="59" y="197"/>
                  </a:lnTo>
                  <a:close/>
                  <a:moveTo>
                    <a:pt x="69" y="197"/>
                  </a:moveTo>
                  <a:lnTo>
                    <a:pt x="67" y="197"/>
                  </a:lnTo>
                  <a:lnTo>
                    <a:pt x="69" y="197"/>
                  </a:lnTo>
                  <a:lnTo>
                    <a:pt x="67" y="197"/>
                  </a:lnTo>
                  <a:lnTo>
                    <a:pt x="69" y="195"/>
                  </a:lnTo>
                  <a:lnTo>
                    <a:pt x="69" y="197"/>
                  </a:lnTo>
                  <a:close/>
                  <a:moveTo>
                    <a:pt x="50" y="197"/>
                  </a:moveTo>
                  <a:lnTo>
                    <a:pt x="50" y="195"/>
                  </a:lnTo>
                  <a:lnTo>
                    <a:pt x="50" y="197"/>
                  </a:lnTo>
                  <a:close/>
                  <a:moveTo>
                    <a:pt x="67" y="195"/>
                  </a:moveTo>
                  <a:lnTo>
                    <a:pt x="67" y="197"/>
                  </a:lnTo>
                  <a:lnTo>
                    <a:pt x="67" y="195"/>
                  </a:lnTo>
                  <a:close/>
                  <a:moveTo>
                    <a:pt x="71" y="195"/>
                  </a:moveTo>
                  <a:lnTo>
                    <a:pt x="74" y="195"/>
                  </a:lnTo>
                  <a:lnTo>
                    <a:pt x="71" y="195"/>
                  </a:lnTo>
                  <a:close/>
                  <a:moveTo>
                    <a:pt x="69" y="195"/>
                  </a:moveTo>
                  <a:lnTo>
                    <a:pt x="67" y="195"/>
                  </a:lnTo>
                  <a:lnTo>
                    <a:pt x="69" y="195"/>
                  </a:lnTo>
                  <a:close/>
                  <a:moveTo>
                    <a:pt x="76" y="195"/>
                  </a:moveTo>
                  <a:lnTo>
                    <a:pt x="74" y="195"/>
                  </a:lnTo>
                  <a:lnTo>
                    <a:pt x="76" y="195"/>
                  </a:lnTo>
                  <a:close/>
                  <a:moveTo>
                    <a:pt x="71" y="192"/>
                  </a:moveTo>
                  <a:lnTo>
                    <a:pt x="71" y="195"/>
                  </a:lnTo>
                  <a:lnTo>
                    <a:pt x="71" y="192"/>
                  </a:lnTo>
                  <a:close/>
                  <a:moveTo>
                    <a:pt x="50" y="192"/>
                  </a:moveTo>
                  <a:lnTo>
                    <a:pt x="50" y="195"/>
                  </a:lnTo>
                  <a:lnTo>
                    <a:pt x="50" y="192"/>
                  </a:lnTo>
                  <a:lnTo>
                    <a:pt x="48" y="195"/>
                  </a:lnTo>
                  <a:lnTo>
                    <a:pt x="50" y="192"/>
                  </a:lnTo>
                  <a:close/>
                  <a:moveTo>
                    <a:pt x="74" y="192"/>
                  </a:moveTo>
                  <a:lnTo>
                    <a:pt x="71" y="192"/>
                  </a:lnTo>
                  <a:lnTo>
                    <a:pt x="74" y="192"/>
                  </a:lnTo>
                  <a:close/>
                  <a:moveTo>
                    <a:pt x="71" y="190"/>
                  </a:moveTo>
                  <a:lnTo>
                    <a:pt x="71" y="192"/>
                  </a:lnTo>
                  <a:lnTo>
                    <a:pt x="71" y="190"/>
                  </a:lnTo>
                  <a:lnTo>
                    <a:pt x="74" y="192"/>
                  </a:lnTo>
                  <a:lnTo>
                    <a:pt x="74" y="190"/>
                  </a:lnTo>
                  <a:lnTo>
                    <a:pt x="74" y="192"/>
                  </a:lnTo>
                  <a:lnTo>
                    <a:pt x="71" y="192"/>
                  </a:lnTo>
                  <a:lnTo>
                    <a:pt x="71" y="190"/>
                  </a:lnTo>
                  <a:close/>
                  <a:moveTo>
                    <a:pt x="69" y="190"/>
                  </a:moveTo>
                  <a:lnTo>
                    <a:pt x="67" y="190"/>
                  </a:lnTo>
                  <a:lnTo>
                    <a:pt x="69" y="190"/>
                  </a:lnTo>
                  <a:close/>
                  <a:moveTo>
                    <a:pt x="59" y="190"/>
                  </a:moveTo>
                  <a:lnTo>
                    <a:pt x="59" y="188"/>
                  </a:lnTo>
                  <a:lnTo>
                    <a:pt x="59" y="190"/>
                  </a:lnTo>
                  <a:close/>
                  <a:moveTo>
                    <a:pt x="71" y="188"/>
                  </a:moveTo>
                  <a:lnTo>
                    <a:pt x="69" y="188"/>
                  </a:lnTo>
                  <a:lnTo>
                    <a:pt x="71" y="188"/>
                  </a:lnTo>
                  <a:lnTo>
                    <a:pt x="71" y="190"/>
                  </a:lnTo>
                  <a:lnTo>
                    <a:pt x="69" y="188"/>
                  </a:lnTo>
                  <a:lnTo>
                    <a:pt x="71" y="188"/>
                  </a:lnTo>
                  <a:close/>
                  <a:moveTo>
                    <a:pt x="43" y="188"/>
                  </a:moveTo>
                  <a:lnTo>
                    <a:pt x="43" y="185"/>
                  </a:lnTo>
                  <a:lnTo>
                    <a:pt x="43" y="188"/>
                  </a:lnTo>
                  <a:close/>
                  <a:moveTo>
                    <a:pt x="78" y="185"/>
                  </a:moveTo>
                  <a:lnTo>
                    <a:pt x="81" y="185"/>
                  </a:lnTo>
                  <a:lnTo>
                    <a:pt x="78" y="185"/>
                  </a:lnTo>
                  <a:lnTo>
                    <a:pt x="78" y="188"/>
                  </a:lnTo>
                  <a:lnTo>
                    <a:pt x="78" y="185"/>
                  </a:lnTo>
                  <a:close/>
                  <a:moveTo>
                    <a:pt x="78" y="185"/>
                  </a:moveTo>
                  <a:lnTo>
                    <a:pt x="76" y="185"/>
                  </a:lnTo>
                  <a:lnTo>
                    <a:pt x="78" y="185"/>
                  </a:lnTo>
                  <a:close/>
                  <a:moveTo>
                    <a:pt x="90" y="185"/>
                  </a:moveTo>
                  <a:lnTo>
                    <a:pt x="88" y="185"/>
                  </a:lnTo>
                  <a:lnTo>
                    <a:pt x="90" y="185"/>
                  </a:lnTo>
                  <a:close/>
                  <a:moveTo>
                    <a:pt x="59" y="185"/>
                  </a:moveTo>
                  <a:lnTo>
                    <a:pt x="57" y="185"/>
                  </a:lnTo>
                  <a:lnTo>
                    <a:pt x="59" y="185"/>
                  </a:lnTo>
                  <a:close/>
                  <a:moveTo>
                    <a:pt x="88" y="185"/>
                  </a:moveTo>
                  <a:lnTo>
                    <a:pt x="90" y="185"/>
                  </a:lnTo>
                  <a:lnTo>
                    <a:pt x="88" y="185"/>
                  </a:lnTo>
                  <a:lnTo>
                    <a:pt x="90" y="185"/>
                  </a:lnTo>
                  <a:lnTo>
                    <a:pt x="88" y="185"/>
                  </a:lnTo>
                  <a:close/>
                  <a:moveTo>
                    <a:pt x="69" y="183"/>
                  </a:moveTo>
                  <a:lnTo>
                    <a:pt x="69" y="185"/>
                  </a:lnTo>
                  <a:lnTo>
                    <a:pt x="69" y="183"/>
                  </a:lnTo>
                  <a:lnTo>
                    <a:pt x="69" y="185"/>
                  </a:lnTo>
                  <a:lnTo>
                    <a:pt x="69" y="183"/>
                  </a:lnTo>
                  <a:close/>
                  <a:moveTo>
                    <a:pt x="86" y="183"/>
                  </a:moveTo>
                  <a:lnTo>
                    <a:pt x="83" y="183"/>
                  </a:lnTo>
                  <a:lnTo>
                    <a:pt x="86" y="183"/>
                  </a:lnTo>
                  <a:close/>
                  <a:moveTo>
                    <a:pt x="88" y="183"/>
                  </a:moveTo>
                  <a:lnTo>
                    <a:pt x="88" y="185"/>
                  </a:lnTo>
                  <a:lnTo>
                    <a:pt x="86" y="185"/>
                  </a:lnTo>
                  <a:lnTo>
                    <a:pt x="86" y="183"/>
                  </a:lnTo>
                  <a:lnTo>
                    <a:pt x="88" y="183"/>
                  </a:lnTo>
                  <a:close/>
                  <a:moveTo>
                    <a:pt x="83" y="183"/>
                  </a:moveTo>
                  <a:lnTo>
                    <a:pt x="81" y="183"/>
                  </a:lnTo>
                  <a:lnTo>
                    <a:pt x="83" y="183"/>
                  </a:lnTo>
                  <a:close/>
                  <a:moveTo>
                    <a:pt x="97" y="181"/>
                  </a:moveTo>
                  <a:lnTo>
                    <a:pt x="97" y="183"/>
                  </a:lnTo>
                  <a:lnTo>
                    <a:pt x="97" y="181"/>
                  </a:lnTo>
                  <a:close/>
                  <a:moveTo>
                    <a:pt x="78" y="181"/>
                  </a:moveTo>
                  <a:lnTo>
                    <a:pt x="78" y="183"/>
                  </a:lnTo>
                  <a:lnTo>
                    <a:pt x="81" y="183"/>
                  </a:lnTo>
                  <a:lnTo>
                    <a:pt x="81" y="185"/>
                  </a:lnTo>
                  <a:lnTo>
                    <a:pt x="78" y="183"/>
                  </a:lnTo>
                  <a:lnTo>
                    <a:pt x="78" y="185"/>
                  </a:lnTo>
                  <a:lnTo>
                    <a:pt x="78" y="183"/>
                  </a:lnTo>
                  <a:lnTo>
                    <a:pt x="78" y="185"/>
                  </a:lnTo>
                  <a:lnTo>
                    <a:pt x="76" y="185"/>
                  </a:lnTo>
                  <a:lnTo>
                    <a:pt x="76" y="183"/>
                  </a:lnTo>
                  <a:lnTo>
                    <a:pt x="78" y="183"/>
                  </a:lnTo>
                  <a:lnTo>
                    <a:pt x="76" y="183"/>
                  </a:lnTo>
                  <a:lnTo>
                    <a:pt x="78" y="183"/>
                  </a:lnTo>
                  <a:lnTo>
                    <a:pt x="78" y="181"/>
                  </a:lnTo>
                  <a:lnTo>
                    <a:pt x="78" y="183"/>
                  </a:lnTo>
                  <a:lnTo>
                    <a:pt x="78" y="181"/>
                  </a:lnTo>
                  <a:close/>
                  <a:moveTo>
                    <a:pt x="59" y="181"/>
                  </a:moveTo>
                  <a:lnTo>
                    <a:pt x="57" y="181"/>
                  </a:lnTo>
                  <a:lnTo>
                    <a:pt x="59" y="181"/>
                  </a:lnTo>
                  <a:lnTo>
                    <a:pt x="57" y="181"/>
                  </a:lnTo>
                  <a:lnTo>
                    <a:pt x="59" y="181"/>
                  </a:lnTo>
                  <a:lnTo>
                    <a:pt x="57" y="181"/>
                  </a:lnTo>
                  <a:lnTo>
                    <a:pt x="59" y="181"/>
                  </a:lnTo>
                  <a:close/>
                  <a:moveTo>
                    <a:pt x="81" y="181"/>
                  </a:moveTo>
                  <a:lnTo>
                    <a:pt x="81" y="178"/>
                  </a:lnTo>
                  <a:lnTo>
                    <a:pt x="81" y="181"/>
                  </a:lnTo>
                  <a:close/>
                  <a:moveTo>
                    <a:pt x="67" y="178"/>
                  </a:moveTo>
                  <a:lnTo>
                    <a:pt x="69" y="178"/>
                  </a:lnTo>
                  <a:lnTo>
                    <a:pt x="67" y="178"/>
                  </a:lnTo>
                  <a:lnTo>
                    <a:pt x="69" y="178"/>
                  </a:lnTo>
                  <a:lnTo>
                    <a:pt x="69" y="181"/>
                  </a:lnTo>
                  <a:lnTo>
                    <a:pt x="69" y="178"/>
                  </a:lnTo>
                  <a:lnTo>
                    <a:pt x="69" y="181"/>
                  </a:lnTo>
                  <a:lnTo>
                    <a:pt x="69" y="183"/>
                  </a:lnTo>
                  <a:lnTo>
                    <a:pt x="67" y="183"/>
                  </a:lnTo>
                  <a:lnTo>
                    <a:pt x="64" y="183"/>
                  </a:lnTo>
                  <a:lnTo>
                    <a:pt x="64" y="181"/>
                  </a:lnTo>
                  <a:lnTo>
                    <a:pt x="67" y="181"/>
                  </a:lnTo>
                  <a:lnTo>
                    <a:pt x="67" y="178"/>
                  </a:lnTo>
                  <a:close/>
                  <a:moveTo>
                    <a:pt x="59" y="178"/>
                  </a:moveTo>
                  <a:lnTo>
                    <a:pt x="59" y="181"/>
                  </a:lnTo>
                  <a:lnTo>
                    <a:pt x="59" y="178"/>
                  </a:lnTo>
                  <a:close/>
                  <a:moveTo>
                    <a:pt x="95" y="178"/>
                  </a:moveTo>
                  <a:lnTo>
                    <a:pt x="93" y="178"/>
                  </a:lnTo>
                  <a:lnTo>
                    <a:pt x="95" y="178"/>
                  </a:lnTo>
                  <a:close/>
                  <a:moveTo>
                    <a:pt x="81" y="178"/>
                  </a:moveTo>
                  <a:lnTo>
                    <a:pt x="78" y="178"/>
                  </a:lnTo>
                  <a:lnTo>
                    <a:pt x="81" y="178"/>
                  </a:lnTo>
                  <a:close/>
                  <a:moveTo>
                    <a:pt x="88" y="178"/>
                  </a:moveTo>
                  <a:lnTo>
                    <a:pt x="90" y="178"/>
                  </a:lnTo>
                  <a:lnTo>
                    <a:pt x="93" y="178"/>
                  </a:lnTo>
                  <a:lnTo>
                    <a:pt x="90" y="178"/>
                  </a:lnTo>
                  <a:lnTo>
                    <a:pt x="93" y="178"/>
                  </a:lnTo>
                  <a:lnTo>
                    <a:pt x="90" y="178"/>
                  </a:lnTo>
                  <a:lnTo>
                    <a:pt x="93" y="178"/>
                  </a:lnTo>
                  <a:lnTo>
                    <a:pt x="90" y="178"/>
                  </a:lnTo>
                  <a:lnTo>
                    <a:pt x="93" y="178"/>
                  </a:lnTo>
                  <a:lnTo>
                    <a:pt x="93" y="181"/>
                  </a:lnTo>
                  <a:lnTo>
                    <a:pt x="90" y="181"/>
                  </a:lnTo>
                  <a:lnTo>
                    <a:pt x="88" y="181"/>
                  </a:lnTo>
                  <a:lnTo>
                    <a:pt x="86" y="181"/>
                  </a:lnTo>
                  <a:lnTo>
                    <a:pt x="88" y="181"/>
                  </a:lnTo>
                  <a:lnTo>
                    <a:pt x="86" y="181"/>
                  </a:lnTo>
                  <a:lnTo>
                    <a:pt x="88" y="181"/>
                  </a:lnTo>
                  <a:lnTo>
                    <a:pt x="86" y="181"/>
                  </a:lnTo>
                  <a:lnTo>
                    <a:pt x="88" y="181"/>
                  </a:lnTo>
                  <a:lnTo>
                    <a:pt x="88" y="178"/>
                  </a:lnTo>
                  <a:close/>
                  <a:moveTo>
                    <a:pt x="64" y="178"/>
                  </a:moveTo>
                  <a:lnTo>
                    <a:pt x="64" y="181"/>
                  </a:lnTo>
                  <a:lnTo>
                    <a:pt x="62" y="181"/>
                  </a:lnTo>
                  <a:lnTo>
                    <a:pt x="62" y="178"/>
                  </a:lnTo>
                  <a:lnTo>
                    <a:pt x="64" y="178"/>
                  </a:lnTo>
                  <a:close/>
                  <a:moveTo>
                    <a:pt x="78" y="178"/>
                  </a:moveTo>
                  <a:lnTo>
                    <a:pt x="76" y="178"/>
                  </a:lnTo>
                  <a:lnTo>
                    <a:pt x="78" y="178"/>
                  </a:lnTo>
                  <a:lnTo>
                    <a:pt x="76" y="178"/>
                  </a:lnTo>
                  <a:lnTo>
                    <a:pt x="78" y="178"/>
                  </a:lnTo>
                  <a:close/>
                  <a:moveTo>
                    <a:pt x="81" y="176"/>
                  </a:moveTo>
                  <a:lnTo>
                    <a:pt x="81" y="178"/>
                  </a:lnTo>
                  <a:lnTo>
                    <a:pt x="78" y="176"/>
                  </a:lnTo>
                  <a:lnTo>
                    <a:pt x="78" y="178"/>
                  </a:lnTo>
                  <a:lnTo>
                    <a:pt x="78" y="176"/>
                  </a:lnTo>
                  <a:lnTo>
                    <a:pt x="81" y="176"/>
                  </a:lnTo>
                  <a:close/>
                  <a:moveTo>
                    <a:pt x="78" y="176"/>
                  </a:moveTo>
                  <a:lnTo>
                    <a:pt x="78" y="178"/>
                  </a:lnTo>
                  <a:lnTo>
                    <a:pt x="78" y="176"/>
                  </a:lnTo>
                  <a:close/>
                  <a:moveTo>
                    <a:pt x="97" y="178"/>
                  </a:moveTo>
                  <a:lnTo>
                    <a:pt x="97" y="176"/>
                  </a:lnTo>
                  <a:lnTo>
                    <a:pt x="97" y="178"/>
                  </a:lnTo>
                  <a:close/>
                  <a:moveTo>
                    <a:pt x="83" y="176"/>
                  </a:moveTo>
                  <a:lnTo>
                    <a:pt x="81" y="176"/>
                  </a:lnTo>
                  <a:lnTo>
                    <a:pt x="81" y="178"/>
                  </a:lnTo>
                  <a:lnTo>
                    <a:pt x="81" y="176"/>
                  </a:lnTo>
                  <a:lnTo>
                    <a:pt x="83" y="176"/>
                  </a:lnTo>
                  <a:close/>
                  <a:moveTo>
                    <a:pt x="57" y="176"/>
                  </a:moveTo>
                  <a:lnTo>
                    <a:pt x="59" y="176"/>
                  </a:lnTo>
                  <a:lnTo>
                    <a:pt x="57" y="176"/>
                  </a:lnTo>
                  <a:lnTo>
                    <a:pt x="59" y="176"/>
                  </a:lnTo>
                  <a:lnTo>
                    <a:pt x="57" y="176"/>
                  </a:lnTo>
                  <a:close/>
                  <a:moveTo>
                    <a:pt x="93" y="176"/>
                  </a:moveTo>
                  <a:lnTo>
                    <a:pt x="90" y="176"/>
                  </a:lnTo>
                  <a:lnTo>
                    <a:pt x="93" y="176"/>
                  </a:lnTo>
                  <a:close/>
                  <a:moveTo>
                    <a:pt x="78" y="173"/>
                  </a:moveTo>
                  <a:lnTo>
                    <a:pt x="78" y="176"/>
                  </a:lnTo>
                  <a:lnTo>
                    <a:pt x="81" y="176"/>
                  </a:lnTo>
                  <a:lnTo>
                    <a:pt x="81" y="173"/>
                  </a:lnTo>
                  <a:lnTo>
                    <a:pt x="81" y="176"/>
                  </a:lnTo>
                  <a:lnTo>
                    <a:pt x="78" y="176"/>
                  </a:lnTo>
                  <a:lnTo>
                    <a:pt x="81" y="176"/>
                  </a:lnTo>
                  <a:lnTo>
                    <a:pt x="78" y="176"/>
                  </a:lnTo>
                  <a:lnTo>
                    <a:pt x="78" y="173"/>
                  </a:lnTo>
                  <a:close/>
                  <a:moveTo>
                    <a:pt x="81" y="173"/>
                  </a:moveTo>
                  <a:lnTo>
                    <a:pt x="83" y="173"/>
                  </a:lnTo>
                  <a:lnTo>
                    <a:pt x="81" y="176"/>
                  </a:lnTo>
                  <a:lnTo>
                    <a:pt x="83" y="176"/>
                  </a:lnTo>
                  <a:lnTo>
                    <a:pt x="81" y="176"/>
                  </a:lnTo>
                  <a:lnTo>
                    <a:pt x="81" y="173"/>
                  </a:lnTo>
                  <a:close/>
                  <a:moveTo>
                    <a:pt x="93" y="173"/>
                  </a:moveTo>
                  <a:lnTo>
                    <a:pt x="93" y="176"/>
                  </a:lnTo>
                  <a:lnTo>
                    <a:pt x="93" y="173"/>
                  </a:lnTo>
                  <a:close/>
                  <a:moveTo>
                    <a:pt x="100" y="169"/>
                  </a:moveTo>
                  <a:lnTo>
                    <a:pt x="102" y="169"/>
                  </a:lnTo>
                  <a:lnTo>
                    <a:pt x="102" y="171"/>
                  </a:lnTo>
                  <a:lnTo>
                    <a:pt x="100" y="171"/>
                  </a:lnTo>
                  <a:lnTo>
                    <a:pt x="100" y="169"/>
                  </a:lnTo>
                  <a:close/>
                  <a:moveTo>
                    <a:pt x="102" y="171"/>
                  </a:moveTo>
                  <a:lnTo>
                    <a:pt x="102" y="169"/>
                  </a:lnTo>
                  <a:lnTo>
                    <a:pt x="102" y="171"/>
                  </a:lnTo>
                  <a:close/>
                  <a:moveTo>
                    <a:pt x="102" y="166"/>
                  </a:moveTo>
                  <a:lnTo>
                    <a:pt x="102" y="169"/>
                  </a:lnTo>
                  <a:lnTo>
                    <a:pt x="104" y="169"/>
                  </a:lnTo>
                  <a:lnTo>
                    <a:pt x="102" y="169"/>
                  </a:lnTo>
                  <a:lnTo>
                    <a:pt x="104" y="169"/>
                  </a:lnTo>
                  <a:lnTo>
                    <a:pt x="102" y="169"/>
                  </a:lnTo>
                  <a:lnTo>
                    <a:pt x="104" y="169"/>
                  </a:lnTo>
                  <a:lnTo>
                    <a:pt x="104" y="171"/>
                  </a:lnTo>
                  <a:lnTo>
                    <a:pt x="104" y="169"/>
                  </a:lnTo>
                  <a:lnTo>
                    <a:pt x="104" y="171"/>
                  </a:lnTo>
                  <a:lnTo>
                    <a:pt x="102" y="169"/>
                  </a:lnTo>
                  <a:lnTo>
                    <a:pt x="102" y="166"/>
                  </a:lnTo>
                  <a:close/>
                  <a:moveTo>
                    <a:pt x="100" y="169"/>
                  </a:moveTo>
                  <a:lnTo>
                    <a:pt x="100" y="166"/>
                  </a:lnTo>
                  <a:lnTo>
                    <a:pt x="100" y="169"/>
                  </a:lnTo>
                  <a:close/>
                  <a:moveTo>
                    <a:pt x="100" y="166"/>
                  </a:moveTo>
                  <a:lnTo>
                    <a:pt x="102" y="166"/>
                  </a:lnTo>
                  <a:lnTo>
                    <a:pt x="100" y="166"/>
                  </a:lnTo>
                  <a:close/>
                  <a:moveTo>
                    <a:pt x="100" y="164"/>
                  </a:moveTo>
                  <a:lnTo>
                    <a:pt x="102" y="164"/>
                  </a:lnTo>
                  <a:lnTo>
                    <a:pt x="102" y="166"/>
                  </a:lnTo>
                  <a:lnTo>
                    <a:pt x="100" y="166"/>
                  </a:lnTo>
                  <a:lnTo>
                    <a:pt x="100" y="164"/>
                  </a:lnTo>
                  <a:close/>
                  <a:moveTo>
                    <a:pt x="116" y="162"/>
                  </a:moveTo>
                  <a:lnTo>
                    <a:pt x="116" y="164"/>
                  </a:lnTo>
                  <a:lnTo>
                    <a:pt x="116" y="162"/>
                  </a:lnTo>
                  <a:lnTo>
                    <a:pt x="116" y="164"/>
                  </a:lnTo>
                  <a:lnTo>
                    <a:pt x="116" y="162"/>
                  </a:lnTo>
                  <a:close/>
                  <a:moveTo>
                    <a:pt x="114" y="162"/>
                  </a:moveTo>
                  <a:lnTo>
                    <a:pt x="116" y="162"/>
                  </a:lnTo>
                  <a:lnTo>
                    <a:pt x="114" y="162"/>
                  </a:lnTo>
                  <a:close/>
                  <a:moveTo>
                    <a:pt x="116" y="162"/>
                  </a:moveTo>
                  <a:lnTo>
                    <a:pt x="114" y="162"/>
                  </a:lnTo>
                  <a:lnTo>
                    <a:pt x="116" y="162"/>
                  </a:lnTo>
                  <a:close/>
                  <a:moveTo>
                    <a:pt x="116" y="159"/>
                  </a:moveTo>
                  <a:lnTo>
                    <a:pt x="114" y="159"/>
                  </a:lnTo>
                  <a:lnTo>
                    <a:pt x="116" y="159"/>
                  </a:lnTo>
                  <a:close/>
                  <a:moveTo>
                    <a:pt x="112" y="159"/>
                  </a:moveTo>
                  <a:lnTo>
                    <a:pt x="109" y="159"/>
                  </a:lnTo>
                  <a:lnTo>
                    <a:pt x="112" y="159"/>
                  </a:lnTo>
                  <a:close/>
                  <a:moveTo>
                    <a:pt x="109" y="159"/>
                  </a:moveTo>
                  <a:lnTo>
                    <a:pt x="107" y="159"/>
                  </a:lnTo>
                  <a:lnTo>
                    <a:pt x="109" y="159"/>
                  </a:lnTo>
                  <a:close/>
                  <a:moveTo>
                    <a:pt x="109" y="157"/>
                  </a:moveTo>
                  <a:lnTo>
                    <a:pt x="109" y="159"/>
                  </a:lnTo>
                  <a:lnTo>
                    <a:pt x="109" y="157"/>
                  </a:lnTo>
                  <a:lnTo>
                    <a:pt x="109" y="159"/>
                  </a:lnTo>
                  <a:lnTo>
                    <a:pt x="109" y="157"/>
                  </a:lnTo>
                  <a:close/>
                  <a:moveTo>
                    <a:pt x="109" y="159"/>
                  </a:moveTo>
                  <a:lnTo>
                    <a:pt x="109" y="157"/>
                  </a:lnTo>
                  <a:lnTo>
                    <a:pt x="109" y="159"/>
                  </a:lnTo>
                  <a:close/>
                  <a:moveTo>
                    <a:pt x="109" y="157"/>
                  </a:moveTo>
                  <a:lnTo>
                    <a:pt x="109" y="159"/>
                  </a:lnTo>
                  <a:lnTo>
                    <a:pt x="109" y="157"/>
                  </a:lnTo>
                  <a:lnTo>
                    <a:pt x="107" y="157"/>
                  </a:lnTo>
                  <a:lnTo>
                    <a:pt x="109" y="157"/>
                  </a:lnTo>
                  <a:close/>
                  <a:moveTo>
                    <a:pt x="107" y="157"/>
                  </a:moveTo>
                  <a:lnTo>
                    <a:pt x="107" y="159"/>
                  </a:lnTo>
                  <a:lnTo>
                    <a:pt x="107" y="157"/>
                  </a:lnTo>
                  <a:close/>
                  <a:moveTo>
                    <a:pt x="109" y="157"/>
                  </a:moveTo>
                  <a:lnTo>
                    <a:pt x="107" y="157"/>
                  </a:lnTo>
                  <a:lnTo>
                    <a:pt x="109" y="157"/>
                  </a:lnTo>
                  <a:close/>
                  <a:moveTo>
                    <a:pt x="116" y="157"/>
                  </a:moveTo>
                  <a:lnTo>
                    <a:pt x="119" y="157"/>
                  </a:lnTo>
                  <a:lnTo>
                    <a:pt x="116" y="157"/>
                  </a:lnTo>
                  <a:lnTo>
                    <a:pt x="119" y="157"/>
                  </a:lnTo>
                  <a:lnTo>
                    <a:pt x="116" y="157"/>
                  </a:lnTo>
                  <a:close/>
                  <a:moveTo>
                    <a:pt x="109" y="154"/>
                  </a:moveTo>
                  <a:lnTo>
                    <a:pt x="109" y="157"/>
                  </a:lnTo>
                  <a:lnTo>
                    <a:pt x="112" y="157"/>
                  </a:lnTo>
                  <a:lnTo>
                    <a:pt x="109" y="157"/>
                  </a:lnTo>
                  <a:lnTo>
                    <a:pt x="109" y="154"/>
                  </a:lnTo>
                  <a:lnTo>
                    <a:pt x="112" y="154"/>
                  </a:lnTo>
                  <a:lnTo>
                    <a:pt x="112" y="157"/>
                  </a:lnTo>
                  <a:lnTo>
                    <a:pt x="109" y="157"/>
                  </a:lnTo>
                  <a:lnTo>
                    <a:pt x="112" y="157"/>
                  </a:lnTo>
                  <a:lnTo>
                    <a:pt x="109" y="157"/>
                  </a:lnTo>
                  <a:lnTo>
                    <a:pt x="109" y="154"/>
                  </a:lnTo>
                  <a:lnTo>
                    <a:pt x="109" y="157"/>
                  </a:lnTo>
                  <a:lnTo>
                    <a:pt x="109" y="154"/>
                  </a:lnTo>
                  <a:lnTo>
                    <a:pt x="109" y="157"/>
                  </a:lnTo>
                  <a:lnTo>
                    <a:pt x="107" y="154"/>
                  </a:lnTo>
                  <a:lnTo>
                    <a:pt x="109" y="154"/>
                  </a:lnTo>
                  <a:lnTo>
                    <a:pt x="107" y="154"/>
                  </a:lnTo>
                  <a:lnTo>
                    <a:pt x="109" y="154"/>
                  </a:lnTo>
                  <a:close/>
                  <a:moveTo>
                    <a:pt x="112" y="152"/>
                  </a:moveTo>
                  <a:lnTo>
                    <a:pt x="112" y="154"/>
                  </a:lnTo>
                  <a:lnTo>
                    <a:pt x="112" y="152"/>
                  </a:lnTo>
                  <a:close/>
                  <a:moveTo>
                    <a:pt x="109" y="152"/>
                  </a:moveTo>
                  <a:lnTo>
                    <a:pt x="109" y="154"/>
                  </a:lnTo>
                  <a:lnTo>
                    <a:pt x="109" y="152"/>
                  </a:lnTo>
                  <a:close/>
                  <a:moveTo>
                    <a:pt x="112" y="152"/>
                  </a:moveTo>
                  <a:lnTo>
                    <a:pt x="114" y="152"/>
                  </a:lnTo>
                  <a:lnTo>
                    <a:pt x="112" y="152"/>
                  </a:lnTo>
                  <a:close/>
                  <a:moveTo>
                    <a:pt x="114" y="152"/>
                  </a:moveTo>
                  <a:lnTo>
                    <a:pt x="112" y="152"/>
                  </a:lnTo>
                  <a:lnTo>
                    <a:pt x="114" y="152"/>
                  </a:lnTo>
                  <a:close/>
                  <a:moveTo>
                    <a:pt x="116" y="152"/>
                  </a:moveTo>
                  <a:lnTo>
                    <a:pt x="114" y="152"/>
                  </a:lnTo>
                  <a:lnTo>
                    <a:pt x="116" y="152"/>
                  </a:lnTo>
                  <a:lnTo>
                    <a:pt x="114" y="152"/>
                  </a:lnTo>
                  <a:lnTo>
                    <a:pt x="116" y="152"/>
                  </a:lnTo>
                  <a:close/>
                  <a:moveTo>
                    <a:pt x="114" y="150"/>
                  </a:moveTo>
                  <a:lnTo>
                    <a:pt x="112" y="150"/>
                  </a:lnTo>
                  <a:lnTo>
                    <a:pt x="114" y="150"/>
                  </a:lnTo>
                  <a:close/>
                  <a:moveTo>
                    <a:pt x="114" y="150"/>
                  </a:moveTo>
                  <a:lnTo>
                    <a:pt x="114" y="152"/>
                  </a:lnTo>
                  <a:lnTo>
                    <a:pt x="114" y="150"/>
                  </a:lnTo>
                  <a:lnTo>
                    <a:pt x="114" y="152"/>
                  </a:lnTo>
                  <a:lnTo>
                    <a:pt x="114" y="150"/>
                  </a:lnTo>
                  <a:close/>
                  <a:moveTo>
                    <a:pt x="116" y="150"/>
                  </a:moveTo>
                  <a:lnTo>
                    <a:pt x="114" y="150"/>
                  </a:lnTo>
                  <a:lnTo>
                    <a:pt x="116" y="150"/>
                  </a:lnTo>
                  <a:close/>
                  <a:moveTo>
                    <a:pt x="128" y="150"/>
                  </a:moveTo>
                  <a:lnTo>
                    <a:pt x="126" y="150"/>
                  </a:lnTo>
                  <a:lnTo>
                    <a:pt x="128" y="150"/>
                  </a:lnTo>
                  <a:close/>
                  <a:moveTo>
                    <a:pt x="116" y="150"/>
                  </a:moveTo>
                  <a:lnTo>
                    <a:pt x="114" y="150"/>
                  </a:lnTo>
                  <a:lnTo>
                    <a:pt x="116" y="147"/>
                  </a:lnTo>
                  <a:lnTo>
                    <a:pt x="116" y="150"/>
                  </a:lnTo>
                  <a:close/>
                  <a:moveTo>
                    <a:pt x="114" y="147"/>
                  </a:moveTo>
                  <a:lnTo>
                    <a:pt x="114" y="150"/>
                  </a:lnTo>
                  <a:lnTo>
                    <a:pt x="114" y="147"/>
                  </a:lnTo>
                  <a:close/>
                  <a:moveTo>
                    <a:pt x="140" y="140"/>
                  </a:moveTo>
                  <a:lnTo>
                    <a:pt x="138" y="140"/>
                  </a:lnTo>
                  <a:lnTo>
                    <a:pt x="140" y="140"/>
                  </a:lnTo>
                  <a:close/>
                  <a:moveTo>
                    <a:pt x="140" y="140"/>
                  </a:moveTo>
                  <a:lnTo>
                    <a:pt x="138" y="140"/>
                  </a:lnTo>
                  <a:lnTo>
                    <a:pt x="140" y="140"/>
                  </a:lnTo>
                  <a:lnTo>
                    <a:pt x="138" y="140"/>
                  </a:lnTo>
                  <a:lnTo>
                    <a:pt x="140" y="140"/>
                  </a:lnTo>
                  <a:close/>
                  <a:moveTo>
                    <a:pt x="145" y="135"/>
                  </a:moveTo>
                  <a:lnTo>
                    <a:pt x="142" y="133"/>
                  </a:lnTo>
                  <a:lnTo>
                    <a:pt x="145" y="133"/>
                  </a:lnTo>
                  <a:lnTo>
                    <a:pt x="145" y="135"/>
                  </a:lnTo>
                  <a:close/>
                  <a:moveTo>
                    <a:pt x="169" y="105"/>
                  </a:moveTo>
                  <a:lnTo>
                    <a:pt x="169" y="107"/>
                  </a:lnTo>
                  <a:lnTo>
                    <a:pt x="169" y="105"/>
                  </a:lnTo>
                  <a:close/>
                  <a:moveTo>
                    <a:pt x="197" y="88"/>
                  </a:moveTo>
                  <a:lnTo>
                    <a:pt x="197" y="90"/>
                  </a:lnTo>
                  <a:lnTo>
                    <a:pt x="197" y="88"/>
                  </a:lnTo>
                  <a:close/>
                  <a:moveTo>
                    <a:pt x="202" y="88"/>
                  </a:moveTo>
                  <a:lnTo>
                    <a:pt x="199" y="88"/>
                  </a:lnTo>
                  <a:lnTo>
                    <a:pt x="202" y="88"/>
                  </a:lnTo>
                  <a:lnTo>
                    <a:pt x="199" y="88"/>
                  </a:lnTo>
                  <a:lnTo>
                    <a:pt x="202" y="88"/>
                  </a:lnTo>
                  <a:lnTo>
                    <a:pt x="202" y="86"/>
                  </a:lnTo>
                  <a:lnTo>
                    <a:pt x="202" y="88"/>
                  </a:lnTo>
                  <a:close/>
                  <a:moveTo>
                    <a:pt x="183" y="83"/>
                  </a:moveTo>
                  <a:lnTo>
                    <a:pt x="183" y="86"/>
                  </a:lnTo>
                  <a:lnTo>
                    <a:pt x="185" y="86"/>
                  </a:lnTo>
                  <a:lnTo>
                    <a:pt x="183" y="86"/>
                  </a:lnTo>
                  <a:lnTo>
                    <a:pt x="185" y="86"/>
                  </a:lnTo>
                  <a:lnTo>
                    <a:pt x="188" y="86"/>
                  </a:lnTo>
                  <a:lnTo>
                    <a:pt x="190" y="86"/>
                  </a:lnTo>
                  <a:lnTo>
                    <a:pt x="188" y="88"/>
                  </a:lnTo>
                  <a:lnTo>
                    <a:pt x="185" y="88"/>
                  </a:lnTo>
                  <a:lnTo>
                    <a:pt x="185" y="86"/>
                  </a:lnTo>
                  <a:lnTo>
                    <a:pt x="183" y="86"/>
                  </a:lnTo>
                  <a:lnTo>
                    <a:pt x="180" y="86"/>
                  </a:lnTo>
                  <a:lnTo>
                    <a:pt x="183" y="86"/>
                  </a:lnTo>
                  <a:lnTo>
                    <a:pt x="180" y="86"/>
                  </a:lnTo>
                  <a:lnTo>
                    <a:pt x="180" y="88"/>
                  </a:lnTo>
                  <a:lnTo>
                    <a:pt x="183" y="88"/>
                  </a:lnTo>
                  <a:lnTo>
                    <a:pt x="183" y="90"/>
                  </a:lnTo>
                  <a:lnTo>
                    <a:pt x="180" y="93"/>
                  </a:lnTo>
                  <a:lnTo>
                    <a:pt x="178" y="93"/>
                  </a:lnTo>
                  <a:lnTo>
                    <a:pt x="180" y="93"/>
                  </a:lnTo>
                  <a:lnTo>
                    <a:pt x="180" y="90"/>
                  </a:lnTo>
                  <a:lnTo>
                    <a:pt x="178" y="90"/>
                  </a:lnTo>
                  <a:lnTo>
                    <a:pt x="176" y="90"/>
                  </a:lnTo>
                  <a:lnTo>
                    <a:pt x="173" y="88"/>
                  </a:lnTo>
                  <a:lnTo>
                    <a:pt x="173" y="86"/>
                  </a:lnTo>
                  <a:lnTo>
                    <a:pt x="176" y="86"/>
                  </a:lnTo>
                  <a:lnTo>
                    <a:pt x="176" y="83"/>
                  </a:lnTo>
                  <a:lnTo>
                    <a:pt x="178" y="83"/>
                  </a:lnTo>
                  <a:lnTo>
                    <a:pt x="180" y="83"/>
                  </a:lnTo>
                  <a:lnTo>
                    <a:pt x="183" y="83"/>
                  </a:lnTo>
                  <a:close/>
                  <a:moveTo>
                    <a:pt x="199" y="83"/>
                  </a:moveTo>
                  <a:lnTo>
                    <a:pt x="199" y="86"/>
                  </a:lnTo>
                  <a:lnTo>
                    <a:pt x="197" y="86"/>
                  </a:lnTo>
                  <a:lnTo>
                    <a:pt x="197" y="83"/>
                  </a:lnTo>
                  <a:lnTo>
                    <a:pt x="199" y="83"/>
                  </a:lnTo>
                  <a:close/>
                  <a:moveTo>
                    <a:pt x="192" y="83"/>
                  </a:moveTo>
                  <a:lnTo>
                    <a:pt x="195" y="83"/>
                  </a:lnTo>
                  <a:lnTo>
                    <a:pt x="192" y="83"/>
                  </a:lnTo>
                  <a:close/>
                  <a:moveTo>
                    <a:pt x="192" y="81"/>
                  </a:moveTo>
                  <a:lnTo>
                    <a:pt x="190" y="81"/>
                  </a:lnTo>
                  <a:lnTo>
                    <a:pt x="192" y="81"/>
                  </a:lnTo>
                  <a:close/>
                  <a:moveTo>
                    <a:pt x="197" y="69"/>
                  </a:moveTo>
                  <a:lnTo>
                    <a:pt x="195" y="69"/>
                  </a:lnTo>
                  <a:lnTo>
                    <a:pt x="197" y="69"/>
                  </a:lnTo>
                  <a:close/>
                  <a:moveTo>
                    <a:pt x="183" y="67"/>
                  </a:moveTo>
                  <a:lnTo>
                    <a:pt x="183" y="69"/>
                  </a:lnTo>
                  <a:lnTo>
                    <a:pt x="183" y="67"/>
                  </a:lnTo>
                  <a:lnTo>
                    <a:pt x="180" y="69"/>
                  </a:lnTo>
                  <a:lnTo>
                    <a:pt x="183" y="69"/>
                  </a:lnTo>
                  <a:lnTo>
                    <a:pt x="180" y="67"/>
                  </a:lnTo>
                  <a:lnTo>
                    <a:pt x="183" y="67"/>
                  </a:lnTo>
                  <a:close/>
                  <a:moveTo>
                    <a:pt x="188" y="64"/>
                  </a:moveTo>
                  <a:lnTo>
                    <a:pt x="188" y="67"/>
                  </a:lnTo>
                  <a:lnTo>
                    <a:pt x="188" y="64"/>
                  </a:lnTo>
                  <a:close/>
                  <a:moveTo>
                    <a:pt x="199" y="62"/>
                  </a:moveTo>
                  <a:lnTo>
                    <a:pt x="197" y="62"/>
                  </a:lnTo>
                  <a:lnTo>
                    <a:pt x="199" y="62"/>
                  </a:lnTo>
                  <a:close/>
                  <a:moveTo>
                    <a:pt x="188" y="57"/>
                  </a:moveTo>
                  <a:lnTo>
                    <a:pt x="188" y="55"/>
                  </a:lnTo>
                  <a:lnTo>
                    <a:pt x="188" y="57"/>
                  </a:lnTo>
                  <a:close/>
                  <a:moveTo>
                    <a:pt x="188" y="55"/>
                  </a:moveTo>
                  <a:lnTo>
                    <a:pt x="185" y="55"/>
                  </a:lnTo>
                  <a:lnTo>
                    <a:pt x="188" y="55"/>
                  </a:lnTo>
                  <a:lnTo>
                    <a:pt x="185" y="55"/>
                  </a:lnTo>
                  <a:lnTo>
                    <a:pt x="188" y="55"/>
                  </a:lnTo>
                  <a:close/>
                  <a:moveTo>
                    <a:pt x="188" y="55"/>
                  </a:moveTo>
                  <a:lnTo>
                    <a:pt x="190" y="55"/>
                  </a:lnTo>
                  <a:lnTo>
                    <a:pt x="188" y="55"/>
                  </a:lnTo>
                  <a:close/>
                  <a:moveTo>
                    <a:pt x="178" y="55"/>
                  </a:moveTo>
                  <a:lnTo>
                    <a:pt x="178" y="52"/>
                  </a:lnTo>
                  <a:lnTo>
                    <a:pt x="178" y="55"/>
                  </a:lnTo>
                  <a:close/>
                  <a:moveTo>
                    <a:pt x="173" y="52"/>
                  </a:moveTo>
                  <a:lnTo>
                    <a:pt x="173" y="55"/>
                  </a:lnTo>
                  <a:lnTo>
                    <a:pt x="173" y="52"/>
                  </a:lnTo>
                  <a:close/>
                  <a:moveTo>
                    <a:pt x="183" y="55"/>
                  </a:moveTo>
                  <a:lnTo>
                    <a:pt x="183" y="52"/>
                  </a:lnTo>
                  <a:lnTo>
                    <a:pt x="185" y="52"/>
                  </a:lnTo>
                  <a:lnTo>
                    <a:pt x="185" y="55"/>
                  </a:lnTo>
                  <a:lnTo>
                    <a:pt x="183" y="55"/>
                  </a:lnTo>
                  <a:close/>
                  <a:moveTo>
                    <a:pt x="183" y="52"/>
                  </a:moveTo>
                  <a:lnTo>
                    <a:pt x="180" y="52"/>
                  </a:lnTo>
                  <a:lnTo>
                    <a:pt x="183" y="52"/>
                  </a:lnTo>
                  <a:close/>
                  <a:moveTo>
                    <a:pt x="173" y="50"/>
                  </a:moveTo>
                  <a:lnTo>
                    <a:pt x="176" y="50"/>
                  </a:lnTo>
                  <a:lnTo>
                    <a:pt x="173" y="50"/>
                  </a:lnTo>
                  <a:lnTo>
                    <a:pt x="173" y="52"/>
                  </a:lnTo>
                  <a:lnTo>
                    <a:pt x="173" y="50"/>
                  </a:lnTo>
                  <a:lnTo>
                    <a:pt x="173" y="52"/>
                  </a:lnTo>
                  <a:lnTo>
                    <a:pt x="171" y="52"/>
                  </a:lnTo>
                  <a:lnTo>
                    <a:pt x="173" y="52"/>
                  </a:lnTo>
                  <a:lnTo>
                    <a:pt x="171" y="52"/>
                  </a:lnTo>
                  <a:lnTo>
                    <a:pt x="171" y="50"/>
                  </a:lnTo>
                  <a:lnTo>
                    <a:pt x="173" y="50"/>
                  </a:lnTo>
                  <a:close/>
                  <a:moveTo>
                    <a:pt x="171" y="50"/>
                  </a:moveTo>
                  <a:lnTo>
                    <a:pt x="171" y="48"/>
                  </a:lnTo>
                  <a:lnTo>
                    <a:pt x="173" y="48"/>
                  </a:lnTo>
                  <a:lnTo>
                    <a:pt x="171" y="50"/>
                  </a:lnTo>
                  <a:close/>
                  <a:moveTo>
                    <a:pt x="161" y="48"/>
                  </a:moveTo>
                  <a:lnTo>
                    <a:pt x="164" y="48"/>
                  </a:lnTo>
                  <a:lnTo>
                    <a:pt x="161" y="48"/>
                  </a:lnTo>
                  <a:close/>
                  <a:moveTo>
                    <a:pt x="169" y="48"/>
                  </a:moveTo>
                  <a:lnTo>
                    <a:pt x="169" y="45"/>
                  </a:lnTo>
                  <a:lnTo>
                    <a:pt x="169" y="48"/>
                  </a:lnTo>
                  <a:close/>
                  <a:moveTo>
                    <a:pt x="169" y="45"/>
                  </a:moveTo>
                  <a:lnTo>
                    <a:pt x="169" y="48"/>
                  </a:lnTo>
                  <a:lnTo>
                    <a:pt x="169" y="45"/>
                  </a:lnTo>
                  <a:close/>
                  <a:moveTo>
                    <a:pt x="169" y="45"/>
                  </a:moveTo>
                  <a:lnTo>
                    <a:pt x="171" y="45"/>
                  </a:lnTo>
                  <a:lnTo>
                    <a:pt x="169" y="45"/>
                  </a:lnTo>
                  <a:close/>
                  <a:moveTo>
                    <a:pt x="171" y="45"/>
                  </a:moveTo>
                  <a:lnTo>
                    <a:pt x="169" y="45"/>
                  </a:lnTo>
                  <a:lnTo>
                    <a:pt x="171" y="45"/>
                  </a:lnTo>
                  <a:close/>
                  <a:moveTo>
                    <a:pt x="169" y="45"/>
                  </a:moveTo>
                  <a:lnTo>
                    <a:pt x="166" y="45"/>
                  </a:lnTo>
                  <a:lnTo>
                    <a:pt x="169" y="45"/>
                  </a:lnTo>
                  <a:close/>
                  <a:moveTo>
                    <a:pt x="159" y="43"/>
                  </a:moveTo>
                  <a:lnTo>
                    <a:pt x="159" y="45"/>
                  </a:lnTo>
                  <a:lnTo>
                    <a:pt x="159" y="43"/>
                  </a:lnTo>
                  <a:lnTo>
                    <a:pt x="159" y="45"/>
                  </a:lnTo>
                  <a:lnTo>
                    <a:pt x="159" y="43"/>
                  </a:lnTo>
                  <a:close/>
                  <a:moveTo>
                    <a:pt x="164" y="45"/>
                  </a:moveTo>
                  <a:lnTo>
                    <a:pt x="164" y="43"/>
                  </a:lnTo>
                  <a:lnTo>
                    <a:pt x="164" y="45"/>
                  </a:lnTo>
                  <a:close/>
                  <a:moveTo>
                    <a:pt x="154" y="28"/>
                  </a:moveTo>
                  <a:lnTo>
                    <a:pt x="154" y="31"/>
                  </a:lnTo>
                  <a:lnTo>
                    <a:pt x="154" y="28"/>
                  </a:lnTo>
                  <a:close/>
                  <a:moveTo>
                    <a:pt x="152" y="28"/>
                  </a:moveTo>
                  <a:lnTo>
                    <a:pt x="154" y="28"/>
                  </a:lnTo>
                  <a:lnTo>
                    <a:pt x="152" y="28"/>
                  </a:lnTo>
                  <a:close/>
                  <a:moveTo>
                    <a:pt x="145" y="17"/>
                  </a:moveTo>
                  <a:lnTo>
                    <a:pt x="145" y="19"/>
                  </a:lnTo>
                  <a:lnTo>
                    <a:pt x="142" y="17"/>
                  </a:lnTo>
                  <a:lnTo>
                    <a:pt x="145" y="17"/>
                  </a:lnTo>
                  <a:lnTo>
                    <a:pt x="142" y="17"/>
                  </a:lnTo>
                  <a:lnTo>
                    <a:pt x="145" y="17"/>
                  </a:lnTo>
                  <a:close/>
                  <a:moveTo>
                    <a:pt x="142" y="14"/>
                  </a:moveTo>
                  <a:lnTo>
                    <a:pt x="142" y="12"/>
                  </a:lnTo>
                  <a:lnTo>
                    <a:pt x="145" y="12"/>
                  </a:lnTo>
                  <a:lnTo>
                    <a:pt x="142" y="12"/>
                  </a:lnTo>
                  <a:lnTo>
                    <a:pt x="142" y="14"/>
                  </a:lnTo>
                  <a:close/>
                  <a:moveTo>
                    <a:pt x="150" y="0"/>
                  </a:moveTo>
                  <a:lnTo>
                    <a:pt x="150" y="2"/>
                  </a:lnTo>
                  <a:lnTo>
                    <a:pt x="15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8" name="Freeform 50964"/>
            <p:cNvSpPr>
              <a:spLocks noEditPoints="1"/>
            </p:cNvSpPr>
            <p:nvPr/>
          </p:nvSpPr>
          <p:spPr bwMode="auto">
            <a:xfrm>
              <a:off x="3038473" y="3324237"/>
              <a:ext cx="441325" cy="592140"/>
            </a:xfrm>
            <a:custGeom>
              <a:avLst/>
              <a:gdLst>
                <a:gd name="T0" fmla="*/ 123 w 278"/>
                <a:gd name="T1" fmla="*/ 371 h 373"/>
                <a:gd name="T2" fmla="*/ 114 w 278"/>
                <a:gd name="T3" fmla="*/ 369 h 373"/>
                <a:gd name="T4" fmla="*/ 57 w 278"/>
                <a:gd name="T5" fmla="*/ 369 h 373"/>
                <a:gd name="T6" fmla="*/ 95 w 278"/>
                <a:gd name="T7" fmla="*/ 369 h 373"/>
                <a:gd name="T8" fmla="*/ 142 w 278"/>
                <a:gd name="T9" fmla="*/ 366 h 373"/>
                <a:gd name="T10" fmla="*/ 90 w 278"/>
                <a:gd name="T11" fmla="*/ 366 h 373"/>
                <a:gd name="T12" fmla="*/ 55 w 278"/>
                <a:gd name="T13" fmla="*/ 366 h 373"/>
                <a:gd name="T14" fmla="*/ 133 w 278"/>
                <a:gd name="T15" fmla="*/ 366 h 373"/>
                <a:gd name="T16" fmla="*/ 83 w 278"/>
                <a:gd name="T17" fmla="*/ 364 h 373"/>
                <a:gd name="T18" fmla="*/ 57 w 278"/>
                <a:gd name="T19" fmla="*/ 364 h 373"/>
                <a:gd name="T20" fmla="*/ 154 w 278"/>
                <a:gd name="T21" fmla="*/ 361 h 373"/>
                <a:gd name="T22" fmla="*/ 55 w 278"/>
                <a:gd name="T23" fmla="*/ 361 h 373"/>
                <a:gd name="T24" fmla="*/ 159 w 278"/>
                <a:gd name="T25" fmla="*/ 361 h 373"/>
                <a:gd name="T26" fmla="*/ 64 w 278"/>
                <a:gd name="T27" fmla="*/ 359 h 373"/>
                <a:gd name="T28" fmla="*/ 78 w 278"/>
                <a:gd name="T29" fmla="*/ 359 h 373"/>
                <a:gd name="T30" fmla="*/ 21 w 278"/>
                <a:gd name="T31" fmla="*/ 359 h 373"/>
                <a:gd name="T32" fmla="*/ 29 w 278"/>
                <a:gd name="T33" fmla="*/ 359 h 373"/>
                <a:gd name="T34" fmla="*/ 33 w 278"/>
                <a:gd name="T35" fmla="*/ 357 h 373"/>
                <a:gd name="T36" fmla="*/ 90 w 278"/>
                <a:gd name="T37" fmla="*/ 354 h 373"/>
                <a:gd name="T38" fmla="*/ 17 w 278"/>
                <a:gd name="T39" fmla="*/ 354 h 373"/>
                <a:gd name="T40" fmla="*/ 62 w 278"/>
                <a:gd name="T41" fmla="*/ 354 h 373"/>
                <a:gd name="T42" fmla="*/ 62 w 278"/>
                <a:gd name="T43" fmla="*/ 352 h 373"/>
                <a:gd name="T44" fmla="*/ 31 w 278"/>
                <a:gd name="T45" fmla="*/ 352 h 373"/>
                <a:gd name="T46" fmla="*/ 36 w 278"/>
                <a:gd name="T47" fmla="*/ 352 h 373"/>
                <a:gd name="T48" fmla="*/ 48 w 278"/>
                <a:gd name="T49" fmla="*/ 350 h 373"/>
                <a:gd name="T50" fmla="*/ 221 w 278"/>
                <a:gd name="T51" fmla="*/ 350 h 373"/>
                <a:gd name="T52" fmla="*/ 216 w 278"/>
                <a:gd name="T53" fmla="*/ 347 h 373"/>
                <a:gd name="T54" fmla="*/ 62 w 278"/>
                <a:gd name="T55" fmla="*/ 347 h 373"/>
                <a:gd name="T56" fmla="*/ 48 w 278"/>
                <a:gd name="T57" fmla="*/ 347 h 373"/>
                <a:gd name="T58" fmla="*/ 55 w 278"/>
                <a:gd name="T59" fmla="*/ 345 h 373"/>
                <a:gd name="T60" fmla="*/ 71 w 278"/>
                <a:gd name="T61" fmla="*/ 345 h 373"/>
                <a:gd name="T62" fmla="*/ 36 w 278"/>
                <a:gd name="T63" fmla="*/ 342 h 373"/>
                <a:gd name="T64" fmla="*/ 64 w 278"/>
                <a:gd name="T65" fmla="*/ 342 h 373"/>
                <a:gd name="T66" fmla="*/ 235 w 278"/>
                <a:gd name="T67" fmla="*/ 340 h 373"/>
                <a:gd name="T68" fmla="*/ 52 w 278"/>
                <a:gd name="T69" fmla="*/ 342 h 373"/>
                <a:gd name="T70" fmla="*/ 59 w 278"/>
                <a:gd name="T71" fmla="*/ 340 h 373"/>
                <a:gd name="T72" fmla="*/ 50 w 278"/>
                <a:gd name="T73" fmla="*/ 338 h 373"/>
                <a:gd name="T74" fmla="*/ 21 w 278"/>
                <a:gd name="T75" fmla="*/ 340 h 373"/>
                <a:gd name="T76" fmla="*/ 59 w 278"/>
                <a:gd name="T77" fmla="*/ 338 h 373"/>
                <a:gd name="T78" fmla="*/ 52 w 278"/>
                <a:gd name="T79" fmla="*/ 338 h 373"/>
                <a:gd name="T80" fmla="*/ 88 w 278"/>
                <a:gd name="T81" fmla="*/ 338 h 373"/>
                <a:gd name="T82" fmla="*/ 50 w 278"/>
                <a:gd name="T83" fmla="*/ 335 h 373"/>
                <a:gd name="T84" fmla="*/ 275 w 278"/>
                <a:gd name="T85" fmla="*/ 333 h 373"/>
                <a:gd name="T86" fmla="*/ 31 w 278"/>
                <a:gd name="T87" fmla="*/ 333 h 373"/>
                <a:gd name="T88" fmla="*/ 86 w 278"/>
                <a:gd name="T89" fmla="*/ 331 h 373"/>
                <a:gd name="T90" fmla="*/ 64 w 278"/>
                <a:gd name="T91" fmla="*/ 328 h 373"/>
                <a:gd name="T92" fmla="*/ 64 w 278"/>
                <a:gd name="T93" fmla="*/ 321 h 373"/>
                <a:gd name="T94" fmla="*/ 59 w 278"/>
                <a:gd name="T95" fmla="*/ 314 h 373"/>
                <a:gd name="T96" fmla="*/ 69 w 278"/>
                <a:gd name="T97" fmla="*/ 297 h 373"/>
                <a:gd name="T98" fmla="*/ 67 w 278"/>
                <a:gd name="T99" fmla="*/ 285 h 373"/>
                <a:gd name="T100" fmla="*/ 69 w 278"/>
                <a:gd name="T101" fmla="*/ 262 h 373"/>
                <a:gd name="T102" fmla="*/ 67 w 278"/>
                <a:gd name="T103" fmla="*/ 238 h 373"/>
                <a:gd name="T104" fmla="*/ 67 w 278"/>
                <a:gd name="T105" fmla="*/ 202 h 373"/>
                <a:gd name="T106" fmla="*/ 62 w 278"/>
                <a:gd name="T107" fmla="*/ 193 h 373"/>
                <a:gd name="T108" fmla="*/ 71 w 278"/>
                <a:gd name="T109" fmla="*/ 186 h 373"/>
                <a:gd name="T110" fmla="*/ 86 w 278"/>
                <a:gd name="T111" fmla="*/ 181 h 373"/>
                <a:gd name="T112" fmla="*/ 59 w 278"/>
                <a:gd name="T113" fmla="*/ 179 h 373"/>
                <a:gd name="T114" fmla="*/ 83 w 278"/>
                <a:gd name="T115" fmla="*/ 176 h 373"/>
                <a:gd name="T116" fmla="*/ 107 w 278"/>
                <a:gd name="T117" fmla="*/ 157 h 373"/>
                <a:gd name="T118" fmla="*/ 114 w 278"/>
                <a:gd name="T119" fmla="*/ 148 h 373"/>
                <a:gd name="T120" fmla="*/ 199 w 278"/>
                <a:gd name="T121" fmla="*/ 84 h 373"/>
                <a:gd name="T122" fmla="*/ 159 w 278"/>
                <a:gd name="T123" fmla="*/ 53 h 373"/>
                <a:gd name="T124" fmla="*/ 154 w 278"/>
                <a:gd name="T125" fmla="*/ 2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8" h="373">
                  <a:moveTo>
                    <a:pt x="76" y="373"/>
                  </a:moveTo>
                  <a:lnTo>
                    <a:pt x="74" y="373"/>
                  </a:lnTo>
                  <a:lnTo>
                    <a:pt x="76" y="373"/>
                  </a:lnTo>
                  <a:close/>
                  <a:moveTo>
                    <a:pt x="121" y="373"/>
                  </a:moveTo>
                  <a:lnTo>
                    <a:pt x="119" y="371"/>
                  </a:lnTo>
                  <a:lnTo>
                    <a:pt x="121" y="371"/>
                  </a:lnTo>
                  <a:lnTo>
                    <a:pt x="121" y="373"/>
                  </a:lnTo>
                  <a:close/>
                  <a:moveTo>
                    <a:pt x="62" y="373"/>
                  </a:moveTo>
                  <a:lnTo>
                    <a:pt x="62" y="371"/>
                  </a:lnTo>
                  <a:lnTo>
                    <a:pt x="62" y="373"/>
                  </a:lnTo>
                  <a:close/>
                  <a:moveTo>
                    <a:pt x="74" y="373"/>
                  </a:moveTo>
                  <a:lnTo>
                    <a:pt x="74" y="371"/>
                  </a:lnTo>
                  <a:lnTo>
                    <a:pt x="74" y="373"/>
                  </a:lnTo>
                  <a:close/>
                  <a:moveTo>
                    <a:pt x="112" y="373"/>
                  </a:moveTo>
                  <a:lnTo>
                    <a:pt x="112" y="371"/>
                  </a:lnTo>
                  <a:lnTo>
                    <a:pt x="112" y="373"/>
                  </a:lnTo>
                  <a:close/>
                  <a:moveTo>
                    <a:pt x="74" y="371"/>
                  </a:moveTo>
                  <a:lnTo>
                    <a:pt x="74" y="373"/>
                  </a:lnTo>
                  <a:lnTo>
                    <a:pt x="74" y="371"/>
                  </a:lnTo>
                  <a:close/>
                  <a:moveTo>
                    <a:pt x="76" y="371"/>
                  </a:moveTo>
                  <a:lnTo>
                    <a:pt x="74" y="371"/>
                  </a:lnTo>
                  <a:lnTo>
                    <a:pt x="76" y="371"/>
                  </a:lnTo>
                  <a:close/>
                  <a:moveTo>
                    <a:pt x="116" y="371"/>
                  </a:moveTo>
                  <a:lnTo>
                    <a:pt x="114" y="371"/>
                  </a:lnTo>
                  <a:lnTo>
                    <a:pt x="116" y="371"/>
                  </a:lnTo>
                  <a:close/>
                  <a:moveTo>
                    <a:pt x="71" y="371"/>
                  </a:moveTo>
                  <a:lnTo>
                    <a:pt x="69" y="371"/>
                  </a:lnTo>
                  <a:lnTo>
                    <a:pt x="71" y="371"/>
                  </a:lnTo>
                  <a:close/>
                  <a:moveTo>
                    <a:pt x="59" y="371"/>
                  </a:moveTo>
                  <a:lnTo>
                    <a:pt x="57" y="371"/>
                  </a:lnTo>
                  <a:lnTo>
                    <a:pt x="59" y="371"/>
                  </a:lnTo>
                  <a:close/>
                  <a:moveTo>
                    <a:pt x="90" y="371"/>
                  </a:moveTo>
                  <a:lnTo>
                    <a:pt x="93" y="371"/>
                  </a:lnTo>
                  <a:lnTo>
                    <a:pt x="90" y="371"/>
                  </a:lnTo>
                  <a:lnTo>
                    <a:pt x="93" y="371"/>
                  </a:lnTo>
                  <a:lnTo>
                    <a:pt x="90" y="371"/>
                  </a:lnTo>
                  <a:close/>
                  <a:moveTo>
                    <a:pt x="102" y="371"/>
                  </a:moveTo>
                  <a:lnTo>
                    <a:pt x="100" y="371"/>
                  </a:lnTo>
                  <a:lnTo>
                    <a:pt x="102" y="371"/>
                  </a:lnTo>
                  <a:close/>
                  <a:moveTo>
                    <a:pt x="62" y="371"/>
                  </a:moveTo>
                  <a:lnTo>
                    <a:pt x="59" y="371"/>
                  </a:lnTo>
                  <a:lnTo>
                    <a:pt x="62" y="371"/>
                  </a:lnTo>
                  <a:close/>
                  <a:moveTo>
                    <a:pt x="119" y="371"/>
                  </a:moveTo>
                  <a:lnTo>
                    <a:pt x="116" y="371"/>
                  </a:lnTo>
                  <a:lnTo>
                    <a:pt x="119" y="371"/>
                  </a:lnTo>
                  <a:close/>
                  <a:moveTo>
                    <a:pt x="59" y="371"/>
                  </a:moveTo>
                  <a:lnTo>
                    <a:pt x="57" y="371"/>
                  </a:lnTo>
                  <a:lnTo>
                    <a:pt x="59" y="371"/>
                  </a:lnTo>
                  <a:close/>
                  <a:moveTo>
                    <a:pt x="104" y="371"/>
                  </a:moveTo>
                  <a:lnTo>
                    <a:pt x="102" y="371"/>
                  </a:lnTo>
                  <a:lnTo>
                    <a:pt x="104" y="371"/>
                  </a:lnTo>
                  <a:close/>
                  <a:moveTo>
                    <a:pt x="119" y="371"/>
                  </a:moveTo>
                  <a:lnTo>
                    <a:pt x="116" y="371"/>
                  </a:lnTo>
                  <a:lnTo>
                    <a:pt x="119" y="371"/>
                  </a:lnTo>
                  <a:close/>
                  <a:moveTo>
                    <a:pt x="57" y="371"/>
                  </a:moveTo>
                  <a:lnTo>
                    <a:pt x="55" y="371"/>
                  </a:lnTo>
                  <a:lnTo>
                    <a:pt x="57" y="371"/>
                  </a:lnTo>
                  <a:close/>
                  <a:moveTo>
                    <a:pt x="74" y="371"/>
                  </a:moveTo>
                  <a:lnTo>
                    <a:pt x="71" y="371"/>
                  </a:lnTo>
                  <a:lnTo>
                    <a:pt x="74" y="371"/>
                  </a:lnTo>
                  <a:close/>
                  <a:moveTo>
                    <a:pt x="123" y="371"/>
                  </a:moveTo>
                  <a:lnTo>
                    <a:pt x="123" y="369"/>
                  </a:lnTo>
                  <a:lnTo>
                    <a:pt x="123" y="371"/>
                  </a:lnTo>
                  <a:close/>
                  <a:moveTo>
                    <a:pt x="116" y="371"/>
                  </a:moveTo>
                  <a:lnTo>
                    <a:pt x="116" y="369"/>
                  </a:lnTo>
                  <a:lnTo>
                    <a:pt x="116" y="371"/>
                  </a:lnTo>
                  <a:close/>
                  <a:moveTo>
                    <a:pt x="114" y="371"/>
                  </a:moveTo>
                  <a:lnTo>
                    <a:pt x="114" y="369"/>
                  </a:lnTo>
                  <a:lnTo>
                    <a:pt x="114" y="371"/>
                  </a:lnTo>
                  <a:close/>
                  <a:moveTo>
                    <a:pt x="119" y="371"/>
                  </a:moveTo>
                  <a:lnTo>
                    <a:pt x="119" y="369"/>
                  </a:lnTo>
                  <a:lnTo>
                    <a:pt x="119" y="371"/>
                  </a:lnTo>
                  <a:close/>
                  <a:moveTo>
                    <a:pt x="93" y="371"/>
                  </a:moveTo>
                  <a:lnTo>
                    <a:pt x="93" y="369"/>
                  </a:lnTo>
                  <a:lnTo>
                    <a:pt x="93" y="371"/>
                  </a:lnTo>
                  <a:close/>
                  <a:moveTo>
                    <a:pt x="83" y="371"/>
                  </a:moveTo>
                  <a:lnTo>
                    <a:pt x="83" y="369"/>
                  </a:lnTo>
                  <a:lnTo>
                    <a:pt x="83" y="371"/>
                  </a:lnTo>
                  <a:close/>
                  <a:moveTo>
                    <a:pt x="104" y="371"/>
                  </a:moveTo>
                  <a:lnTo>
                    <a:pt x="104" y="369"/>
                  </a:lnTo>
                  <a:lnTo>
                    <a:pt x="104" y="371"/>
                  </a:lnTo>
                  <a:close/>
                  <a:moveTo>
                    <a:pt x="59" y="371"/>
                  </a:moveTo>
                  <a:lnTo>
                    <a:pt x="59" y="369"/>
                  </a:lnTo>
                  <a:lnTo>
                    <a:pt x="59" y="371"/>
                  </a:lnTo>
                  <a:close/>
                  <a:moveTo>
                    <a:pt x="97" y="369"/>
                  </a:moveTo>
                  <a:lnTo>
                    <a:pt x="97" y="371"/>
                  </a:lnTo>
                  <a:lnTo>
                    <a:pt x="97" y="369"/>
                  </a:lnTo>
                  <a:close/>
                  <a:moveTo>
                    <a:pt x="90" y="369"/>
                  </a:moveTo>
                  <a:lnTo>
                    <a:pt x="90" y="371"/>
                  </a:lnTo>
                  <a:lnTo>
                    <a:pt x="90" y="369"/>
                  </a:lnTo>
                  <a:close/>
                  <a:moveTo>
                    <a:pt x="102" y="371"/>
                  </a:moveTo>
                  <a:lnTo>
                    <a:pt x="102" y="369"/>
                  </a:lnTo>
                  <a:lnTo>
                    <a:pt x="102" y="371"/>
                  </a:lnTo>
                  <a:close/>
                  <a:moveTo>
                    <a:pt x="62" y="369"/>
                  </a:moveTo>
                  <a:lnTo>
                    <a:pt x="62" y="371"/>
                  </a:lnTo>
                  <a:lnTo>
                    <a:pt x="62" y="369"/>
                  </a:lnTo>
                  <a:close/>
                  <a:moveTo>
                    <a:pt x="55" y="369"/>
                  </a:moveTo>
                  <a:lnTo>
                    <a:pt x="55" y="371"/>
                  </a:lnTo>
                  <a:lnTo>
                    <a:pt x="52" y="369"/>
                  </a:lnTo>
                  <a:lnTo>
                    <a:pt x="55" y="369"/>
                  </a:lnTo>
                  <a:close/>
                  <a:moveTo>
                    <a:pt x="67" y="369"/>
                  </a:moveTo>
                  <a:lnTo>
                    <a:pt x="67" y="371"/>
                  </a:lnTo>
                  <a:lnTo>
                    <a:pt x="67" y="369"/>
                  </a:lnTo>
                  <a:close/>
                  <a:moveTo>
                    <a:pt x="83" y="369"/>
                  </a:moveTo>
                  <a:lnTo>
                    <a:pt x="83" y="371"/>
                  </a:lnTo>
                  <a:lnTo>
                    <a:pt x="83" y="369"/>
                  </a:lnTo>
                  <a:close/>
                  <a:moveTo>
                    <a:pt x="93" y="371"/>
                  </a:moveTo>
                  <a:lnTo>
                    <a:pt x="90" y="371"/>
                  </a:lnTo>
                  <a:lnTo>
                    <a:pt x="93" y="371"/>
                  </a:lnTo>
                  <a:lnTo>
                    <a:pt x="93" y="369"/>
                  </a:lnTo>
                  <a:lnTo>
                    <a:pt x="93" y="371"/>
                  </a:lnTo>
                  <a:close/>
                  <a:moveTo>
                    <a:pt x="104" y="369"/>
                  </a:moveTo>
                  <a:lnTo>
                    <a:pt x="102" y="369"/>
                  </a:lnTo>
                  <a:lnTo>
                    <a:pt x="104" y="369"/>
                  </a:lnTo>
                  <a:close/>
                  <a:moveTo>
                    <a:pt x="55" y="369"/>
                  </a:moveTo>
                  <a:lnTo>
                    <a:pt x="52" y="369"/>
                  </a:lnTo>
                  <a:lnTo>
                    <a:pt x="55" y="369"/>
                  </a:lnTo>
                  <a:close/>
                  <a:moveTo>
                    <a:pt x="59" y="369"/>
                  </a:moveTo>
                  <a:lnTo>
                    <a:pt x="57" y="369"/>
                  </a:lnTo>
                  <a:lnTo>
                    <a:pt x="59" y="369"/>
                  </a:lnTo>
                  <a:close/>
                  <a:moveTo>
                    <a:pt x="123" y="369"/>
                  </a:moveTo>
                  <a:lnTo>
                    <a:pt x="121" y="369"/>
                  </a:lnTo>
                  <a:lnTo>
                    <a:pt x="123" y="369"/>
                  </a:lnTo>
                  <a:close/>
                  <a:moveTo>
                    <a:pt x="114" y="369"/>
                  </a:moveTo>
                  <a:lnTo>
                    <a:pt x="112" y="369"/>
                  </a:lnTo>
                  <a:lnTo>
                    <a:pt x="114" y="369"/>
                  </a:lnTo>
                  <a:close/>
                  <a:moveTo>
                    <a:pt x="52" y="369"/>
                  </a:moveTo>
                  <a:lnTo>
                    <a:pt x="55" y="369"/>
                  </a:lnTo>
                  <a:lnTo>
                    <a:pt x="52" y="369"/>
                  </a:lnTo>
                  <a:close/>
                  <a:moveTo>
                    <a:pt x="93" y="369"/>
                  </a:moveTo>
                  <a:lnTo>
                    <a:pt x="90" y="369"/>
                  </a:lnTo>
                  <a:lnTo>
                    <a:pt x="93" y="369"/>
                  </a:lnTo>
                  <a:close/>
                  <a:moveTo>
                    <a:pt x="83" y="369"/>
                  </a:moveTo>
                  <a:lnTo>
                    <a:pt x="81" y="369"/>
                  </a:lnTo>
                  <a:lnTo>
                    <a:pt x="83" y="369"/>
                  </a:lnTo>
                  <a:lnTo>
                    <a:pt x="81" y="369"/>
                  </a:lnTo>
                  <a:lnTo>
                    <a:pt x="83" y="369"/>
                  </a:lnTo>
                  <a:close/>
                  <a:moveTo>
                    <a:pt x="135" y="369"/>
                  </a:moveTo>
                  <a:lnTo>
                    <a:pt x="138" y="369"/>
                  </a:lnTo>
                  <a:lnTo>
                    <a:pt x="135" y="369"/>
                  </a:lnTo>
                  <a:close/>
                  <a:moveTo>
                    <a:pt x="83" y="369"/>
                  </a:moveTo>
                  <a:lnTo>
                    <a:pt x="81" y="369"/>
                  </a:lnTo>
                  <a:lnTo>
                    <a:pt x="83" y="369"/>
                  </a:lnTo>
                  <a:close/>
                  <a:moveTo>
                    <a:pt x="107" y="369"/>
                  </a:moveTo>
                  <a:lnTo>
                    <a:pt x="104" y="369"/>
                  </a:lnTo>
                  <a:lnTo>
                    <a:pt x="107" y="369"/>
                  </a:lnTo>
                  <a:close/>
                  <a:moveTo>
                    <a:pt x="64" y="369"/>
                  </a:moveTo>
                  <a:lnTo>
                    <a:pt x="62" y="369"/>
                  </a:lnTo>
                  <a:lnTo>
                    <a:pt x="64" y="369"/>
                  </a:lnTo>
                  <a:close/>
                  <a:moveTo>
                    <a:pt x="81" y="369"/>
                  </a:moveTo>
                  <a:lnTo>
                    <a:pt x="83" y="369"/>
                  </a:lnTo>
                  <a:lnTo>
                    <a:pt x="81" y="369"/>
                  </a:lnTo>
                  <a:close/>
                  <a:moveTo>
                    <a:pt x="138" y="369"/>
                  </a:moveTo>
                  <a:lnTo>
                    <a:pt x="135" y="369"/>
                  </a:lnTo>
                  <a:lnTo>
                    <a:pt x="138" y="369"/>
                  </a:lnTo>
                  <a:close/>
                  <a:moveTo>
                    <a:pt x="95" y="369"/>
                  </a:moveTo>
                  <a:lnTo>
                    <a:pt x="93" y="369"/>
                  </a:lnTo>
                  <a:lnTo>
                    <a:pt x="95" y="369"/>
                  </a:lnTo>
                  <a:lnTo>
                    <a:pt x="93" y="369"/>
                  </a:lnTo>
                  <a:lnTo>
                    <a:pt x="95" y="369"/>
                  </a:lnTo>
                  <a:close/>
                  <a:moveTo>
                    <a:pt x="43" y="369"/>
                  </a:moveTo>
                  <a:lnTo>
                    <a:pt x="40" y="369"/>
                  </a:lnTo>
                  <a:lnTo>
                    <a:pt x="43" y="369"/>
                  </a:lnTo>
                  <a:close/>
                  <a:moveTo>
                    <a:pt x="116" y="369"/>
                  </a:moveTo>
                  <a:lnTo>
                    <a:pt x="114" y="369"/>
                  </a:lnTo>
                  <a:lnTo>
                    <a:pt x="116" y="369"/>
                  </a:lnTo>
                  <a:close/>
                  <a:moveTo>
                    <a:pt x="104" y="369"/>
                  </a:moveTo>
                  <a:lnTo>
                    <a:pt x="102" y="369"/>
                  </a:lnTo>
                  <a:lnTo>
                    <a:pt x="104" y="369"/>
                  </a:lnTo>
                  <a:close/>
                  <a:moveTo>
                    <a:pt x="119" y="369"/>
                  </a:moveTo>
                  <a:lnTo>
                    <a:pt x="116" y="369"/>
                  </a:lnTo>
                  <a:lnTo>
                    <a:pt x="119" y="369"/>
                  </a:lnTo>
                  <a:close/>
                  <a:moveTo>
                    <a:pt x="131" y="369"/>
                  </a:moveTo>
                  <a:lnTo>
                    <a:pt x="128" y="369"/>
                  </a:lnTo>
                  <a:lnTo>
                    <a:pt x="131" y="369"/>
                  </a:lnTo>
                  <a:close/>
                  <a:moveTo>
                    <a:pt x="71" y="369"/>
                  </a:moveTo>
                  <a:lnTo>
                    <a:pt x="69" y="369"/>
                  </a:lnTo>
                  <a:lnTo>
                    <a:pt x="71" y="369"/>
                  </a:lnTo>
                  <a:close/>
                  <a:moveTo>
                    <a:pt x="90" y="369"/>
                  </a:moveTo>
                  <a:lnTo>
                    <a:pt x="88" y="369"/>
                  </a:lnTo>
                  <a:lnTo>
                    <a:pt x="90" y="369"/>
                  </a:lnTo>
                  <a:close/>
                  <a:moveTo>
                    <a:pt x="40" y="369"/>
                  </a:moveTo>
                  <a:lnTo>
                    <a:pt x="38" y="369"/>
                  </a:lnTo>
                  <a:lnTo>
                    <a:pt x="40" y="369"/>
                  </a:lnTo>
                  <a:close/>
                  <a:moveTo>
                    <a:pt x="138" y="369"/>
                  </a:moveTo>
                  <a:lnTo>
                    <a:pt x="135" y="369"/>
                  </a:lnTo>
                  <a:lnTo>
                    <a:pt x="138" y="369"/>
                  </a:lnTo>
                  <a:close/>
                  <a:moveTo>
                    <a:pt x="59" y="369"/>
                  </a:moveTo>
                  <a:lnTo>
                    <a:pt x="57" y="369"/>
                  </a:lnTo>
                  <a:lnTo>
                    <a:pt x="59" y="369"/>
                  </a:lnTo>
                  <a:close/>
                  <a:moveTo>
                    <a:pt x="104" y="369"/>
                  </a:moveTo>
                  <a:lnTo>
                    <a:pt x="102" y="369"/>
                  </a:lnTo>
                  <a:lnTo>
                    <a:pt x="104" y="369"/>
                  </a:lnTo>
                  <a:close/>
                  <a:moveTo>
                    <a:pt x="116" y="369"/>
                  </a:moveTo>
                  <a:lnTo>
                    <a:pt x="114" y="369"/>
                  </a:lnTo>
                  <a:lnTo>
                    <a:pt x="116" y="369"/>
                  </a:lnTo>
                  <a:close/>
                  <a:moveTo>
                    <a:pt x="76" y="369"/>
                  </a:moveTo>
                  <a:lnTo>
                    <a:pt x="78" y="369"/>
                  </a:lnTo>
                  <a:lnTo>
                    <a:pt x="76" y="369"/>
                  </a:lnTo>
                  <a:close/>
                  <a:moveTo>
                    <a:pt x="69" y="369"/>
                  </a:moveTo>
                  <a:lnTo>
                    <a:pt x="67" y="369"/>
                  </a:lnTo>
                  <a:lnTo>
                    <a:pt x="69" y="369"/>
                  </a:lnTo>
                  <a:close/>
                  <a:moveTo>
                    <a:pt x="38" y="369"/>
                  </a:moveTo>
                  <a:lnTo>
                    <a:pt x="40" y="369"/>
                  </a:lnTo>
                  <a:lnTo>
                    <a:pt x="38" y="369"/>
                  </a:lnTo>
                  <a:close/>
                  <a:moveTo>
                    <a:pt x="109" y="369"/>
                  </a:moveTo>
                  <a:lnTo>
                    <a:pt x="107" y="369"/>
                  </a:lnTo>
                  <a:lnTo>
                    <a:pt x="109" y="369"/>
                  </a:lnTo>
                  <a:close/>
                  <a:moveTo>
                    <a:pt x="138" y="369"/>
                  </a:moveTo>
                  <a:lnTo>
                    <a:pt x="140" y="369"/>
                  </a:lnTo>
                  <a:lnTo>
                    <a:pt x="138" y="369"/>
                  </a:lnTo>
                  <a:close/>
                  <a:moveTo>
                    <a:pt x="40" y="369"/>
                  </a:moveTo>
                  <a:lnTo>
                    <a:pt x="43" y="369"/>
                  </a:lnTo>
                  <a:lnTo>
                    <a:pt x="40" y="369"/>
                  </a:lnTo>
                  <a:close/>
                  <a:moveTo>
                    <a:pt x="93" y="369"/>
                  </a:moveTo>
                  <a:lnTo>
                    <a:pt x="95" y="369"/>
                  </a:lnTo>
                  <a:lnTo>
                    <a:pt x="93" y="369"/>
                  </a:lnTo>
                  <a:close/>
                  <a:moveTo>
                    <a:pt x="55" y="369"/>
                  </a:moveTo>
                  <a:lnTo>
                    <a:pt x="52" y="369"/>
                  </a:lnTo>
                  <a:lnTo>
                    <a:pt x="55" y="369"/>
                  </a:lnTo>
                  <a:close/>
                  <a:moveTo>
                    <a:pt x="90" y="369"/>
                  </a:moveTo>
                  <a:lnTo>
                    <a:pt x="90" y="366"/>
                  </a:lnTo>
                  <a:lnTo>
                    <a:pt x="90" y="369"/>
                  </a:lnTo>
                  <a:close/>
                  <a:moveTo>
                    <a:pt x="43" y="369"/>
                  </a:moveTo>
                  <a:lnTo>
                    <a:pt x="40" y="369"/>
                  </a:lnTo>
                  <a:lnTo>
                    <a:pt x="40" y="366"/>
                  </a:lnTo>
                  <a:lnTo>
                    <a:pt x="43" y="369"/>
                  </a:lnTo>
                  <a:close/>
                  <a:moveTo>
                    <a:pt x="55" y="369"/>
                  </a:moveTo>
                  <a:lnTo>
                    <a:pt x="55" y="366"/>
                  </a:lnTo>
                  <a:lnTo>
                    <a:pt x="55" y="369"/>
                  </a:lnTo>
                  <a:close/>
                  <a:moveTo>
                    <a:pt x="135" y="369"/>
                  </a:moveTo>
                  <a:lnTo>
                    <a:pt x="133" y="369"/>
                  </a:lnTo>
                  <a:lnTo>
                    <a:pt x="135" y="366"/>
                  </a:lnTo>
                  <a:lnTo>
                    <a:pt x="135" y="369"/>
                  </a:lnTo>
                  <a:close/>
                  <a:moveTo>
                    <a:pt x="138" y="369"/>
                  </a:moveTo>
                  <a:lnTo>
                    <a:pt x="135" y="369"/>
                  </a:lnTo>
                  <a:lnTo>
                    <a:pt x="138" y="366"/>
                  </a:lnTo>
                  <a:lnTo>
                    <a:pt x="138" y="369"/>
                  </a:lnTo>
                  <a:close/>
                  <a:moveTo>
                    <a:pt x="88" y="369"/>
                  </a:moveTo>
                  <a:lnTo>
                    <a:pt x="88" y="366"/>
                  </a:lnTo>
                  <a:lnTo>
                    <a:pt x="88" y="369"/>
                  </a:lnTo>
                  <a:close/>
                  <a:moveTo>
                    <a:pt x="138" y="369"/>
                  </a:moveTo>
                  <a:lnTo>
                    <a:pt x="138" y="366"/>
                  </a:lnTo>
                  <a:lnTo>
                    <a:pt x="138" y="369"/>
                  </a:lnTo>
                  <a:close/>
                  <a:moveTo>
                    <a:pt x="140" y="369"/>
                  </a:moveTo>
                  <a:lnTo>
                    <a:pt x="138" y="369"/>
                  </a:lnTo>
                  <a:lnTo>
                    <a:pt x="140" y="366"/>
                  </a:lnTo>
                  <a:lnTo>
                    <a:pt x="140" y="369"/>
                  </a:lnTo>
                  <a:close/>
                  <a:moveTo>
                    <a:pt x="36" y="369"/>
                  </a:moveTo>
                  <a:lnTo>
                    <a:pt x="36" y="366"/>
                  </a:lnTo>
                  <a:lnTo>
                    <a:pt x="36" y="369"/>
                  </a:lnTo>
                  <a:close/>
                  <a:moveTo>
                    <a:pt x="95" y="369"/>
                  </a:moveTo>
                  <a:lnTo>
                    <a:pt x="95" y="366"/>
                  </a:lnTo>
                  <a:lnTo>
                    <a:pt x="95" y="369"/>
                  </a:lnTo>
                  <a:close/>
                  <a:moveTo>
                    <a:pt x="95" y="366"/>
                  </a:moveTo>
                  <a:lnTo>
                    <a:pt x="95" y="369"/>
                  </a:lnTo>
                  <a:lnTo>
                    <a:pt x="95" y="366"/>
                  </a:lnTo>
                  <a:close/>
                  <a:moveTo>
                    <a:pt x="97" y="366"/>
                  </a:moveTo>
                  <a:lnTo>
                    <a:pt x="97" y="369"/>
                  </a:lnTo>
                  <a:lnTo>
                    <a:pt x="97" y="366"/>
                  </a:lnTo>
                  <a:close/>
                  <a:moveTo>
                    <a:pt x="52" y="369"/>
                  </a:moveTo>
                  <a:lnTo>
                    <a:pt x="52" y="366"/>
                  </a:lnTo>
                  <a:lnTo>
                    <a:pt x="52" y="369"/>
                  </a:lnTo>
                  <a:close/>
                  <a:moveTo>
                    <a:pt x="133" y="369"/>
                  </a:moveTo>
                  <a:lnTo>
                    <a:pt x="133" y="366"/>
                  </a:lnTo>
                  <a:lnTo>
                    <a:pt x="133" y="369"/>
                  </a:lnTo>
                  <a:close/>
                  <a:moveTo>
                    <a:pt x="88" y="366"/>
                  </a:moveTo>
                  <a:lnTo>
                    <a:pt x="88" y="369"/>
                  </a:lnTo>
                  <a:lnTo>
                    <a:pt x="88" y="366"/>
                  </a:lnTo>
                  <a:close/>
                  <a:moveTo>
                    <a:pt x="55" y="366"/>
                  </a:moveTo>
                  <a:lnTo>
                    <a:pt x="52" y="366"/>
                  </a:lnTo>
                  <a:lnTo>
                    <a:pt x="55" y="366"/>
                  </a:lnTo>
                  <a:close/>
                  <a:moveTo>
                    <a:pt x="93" y="366"/>
                  </a:moveTo>
                  <a:lnTo>
                    <a:pt x="93" y="369"/>
                  </a:lnTo>
                  <a:lnTo>
                    <a:pt x="93" y="366"/>
                  </a:lnTo>
                  <a:lnTo>
                    <a:pt x="93" y="369"/>
                  </a:lnTo>
                  <a:lnTo>
                    <a:pt x="93" y="366"/>
                  </a:lnTo>
                  <a:close/>
                  <a:moveTo>
                    <a:pt x="90" y="369"/>
                  </a:moveTo>
                  <a:lnTo>
                    <a:pt x="90" y="366"/>
                  </a:lnTo>
                  <a:lnTo>
                    <a:pt x="90" y="369"/>
                  </a:lnTo>
                  <a:close/>
                  <a:moveTo>
                    <a:pt x="135" y="366"/>
                  </a:moveTo>
                  <a:lnTo>
                    <a:pt x="135" y="369"/>
                  </a:lnTo>
                  <a:lnTo>
                    <a:pt x="135" y="366"/>
                  </a:lnTo>
                  <a:close/>
                  <a:moveTo>
                    <a:pt x="57" y="366"/>
                  </a:moveTo>
                  <a:lnTo>
                    <a:pt x="57" y="369"/>
                  </a:lnTo>
                  <a:lnTo>
                    <a:pt x="57" y="366"/>
                  </a:lnTo>
                  <a:close/>
                  <a:moveTo>
                    <a:pt x="100" y="369"/>
                  </a:moveTo>
                  <a:lnTo>
                    <a:pt x="100" y="366"/>
                  </a:lnTo>
                  <a:lnTo>
                    <a:pt x="100" y="369"/>
                  </a:lnTo>
                  <a:close/>
                  <a:moveTo>
                    <a:pt x="135" y="366"/>
                  </a:moveTo>
                  <a:lnTo>
                    <a:pt x="133" y="366"/>
                  </a:lnTo>
                  <a:lnTo>
                    <a:pt x="135" y="366"/>
                  </a:lnTo>
                  <a:close/>
                  <a:moveTo>
                    <a:pt x="140" y="369"/>
                  </a:moveTo>
                  <a:lnTo>
                    <a:pt x="140" y="366"/>
                  </a:lnTo>
                  <a:lnTo>
                    <a:pt x="140" y="369"/>
                  </a:lnTo>
                  <a:close/>
                  <a:moveTo>
                    <a:pt x="90" y="366"/>
                  </a:moveTo>
                  <a:lnTo>
                    <a:pt x="90" y="369"/>
                  </a:lnTo>
                  <a:lnTo>
                    <a:pt x="90" y="366"/>
                  </a:lnTo>
                  <a:close/>
                  <a:moveTo>
                    <a:pt x="107" y="366"/>
                  </a:moveTo>
                  <a:lnTo>
                    <a:pt x="104" y="366"/>
                  </a:lnTo>
                  <a:lnTo>
                    <a:pt x="107" y="366"/>
                  </a:lnTo>
                  <a:close/>
                  <a:moveTo>
                    <a:pt x="40" y="366"/>
                  </a:moveTo>
                  <a:lnTo>
                    <a:pt x="43" y="366"/>
                  </a:lnTo>
                  <a:lnTo>
                    <a:pt x="40" y="366"/>
                  </a:lnTo>
                  <a:close/>
                  <a:moveTo>
                    <a:pt x="57" y="366"/>
                  </a:moveTo>
                  <a:lnTo>
                    <a:pt x="55" y="366"/>
                  </a:lnTo>
                  <a:lnTo>
                    <a:pt x="57" y="366"/>
                  </a:lnTo>
                  <a:close/>
                  <a:moveTo>
                    <a:pt x="97" y="366"/>
                  </a:moveTo>
                  <a:lnTo>
                    <a:pt x="95" y="366"/>
                  </a:lnTo>
                  <a:lnTo>
                    <a:pt x="97" y="366"/>
                  </a:lnTo>
                  <a:close/>
                  <a:moveTo>
                    <a:pt x="86" y="366"/>
                  </a:moveTo>
                  <a:lnTo>
                    <a:pt x="83" y="366"/>
                  </a:lnTo>
                  <a:lnTo>
                    <a:pt x="86" y="366"/>
                  </a:lnTo>
                  <a:close/>
                  <a:moveTo>
                    <a:pt x="145" y="366"/>
                  </a:moveTo>
                  <a:lnTo>
                    <a:pt x="142" y="366"/>
                  </a:lnTo>
                  <a:lnTo>
                    <a:pt x="145" y="366"/>
                  </a:lnTo>
                  <a:close/>
                  <a:moveTo>
                    <a:pt x="59" y="366"/>
                  </a:moveTo>
                  <a:lnTo>
                    <a:pt x="57" y="366"/>
                  </a:lnTo>
                  <a:lnTo>
                    <a:pt x="59" y="366"/>
                  </a:lnTo>
                  <a:close/>
                  <a:moveTo>
                    <a:pt x="107" y="366"/>
                  </a:moveTo>
                  <a:lnTo>
                    <a:pt x="104" y="366"/>
                  </a:lnTo>
                  <a:lnTo>
                    <a:pt x="107" y="366"/>
                  </a:lnTo>
                  <a:close/>
                  <a:moveTo>
                    <a:pt x="57" y="366"/>
                  </a:moveTo>
                  <a:lnTo>
                    <a:pt x="55" y="366"/>
                  </a:lnTo>
                  <a:lnTo>
                    <a:pt x="57" y="366"/>
                  </a:lnTo>
                  <a:close/>
                  <a:moveTo>
                    <a:pt x="140" y="366"/>
                  </a:moveTo>
                  <a:lnTo>
                    <a:pt x="138" y="366"/>
                  </a:lnTo>
                  <a:lnTo>
                    <a:pt x="140" y="366"/>
                  </a:lnTo>
                  <a:close/>
                  <a:moveTo>
                    <a:pt x="102" y="366"/>
                  </a:moveTo>
                  <a:lnTo>
                    <a:pt x="100" y="366"/>
                  </a:lnTo>
                  <a:lnTo>
                    <a:pt x="102" y="366"/>
                  </a:lnTo>
                  <a:close/>
                  <a:moveTo>
                    <a:pt x="138" y="366"/>
                  </a:moveTo>
                  <a:lnTo>
                    <a:pt x="135" y="366"/>
                  </a:lnTo>
                  <a:lnTo>
                    <a:pt x="138" y="366"/>
                  </a:lnTo>
                  <a:close/>
                  <a:moveTo>
                    <a:pt x="133" y="366"/>
                  </a:moveTo>
                  <a:lnTo>
                    <a:pt x="131" y="366"/>
                  </a:lnTo>
                  <a:lnTo>
                    <a:pt x="133" y="366"/>
                  </a:lnTo>
                  <a:close/>
                  <a:moveTo>
                    <a:pt x="83" y="366"/>
                  </a:moveTo>
                  <a:lnTo>
                    <a:pt x="81" y="366"/>
                  </a:lnTo>
                  <a:lnTo>
                    <a:pt x="83" y="366"/>
                  </a:lnTo>
                  <a:close/>
                  <a:moveTo>
                    <a:pt x="145" y="366"/>
                  </a:moveTo>
                  <a:lnTo>
                    <a:pt x="142" y="366"/>
                  </a:lnTo>
                  <a:lnTo>
                    <a:pt x="145" y="366"/>
                  </a:lnTo>
                  <a:close/>
                  <a:moveTo>
                    <a:pt x="57" y="366"/>
                  </a:moveTo>
                  <a:lnTo>
                    <a:pt x="59" y="366"/>
                  </a:lnTo>
                  <a:lnTo>
                    <a:pt x="57" y="366"/>
                  </a:lnTo>
                  <a:close/>
                  <a:moveTo>
                    <a:pt x="131" y="366"/>
                  </a:moveTo>
                  <a:lnTo>
                    <a:pt x="128" y="366"/>
                  </a:lnTo>
                  <a:lnTo>
                    <a:pt x="131" y="366"/>
                  </a:lnTo>
                  <a:close/>
                  <a:moveTo>
                    <a:pt x="90" y="366"/>
                  </a:moveTo>
                  <a:lnTo>
                    <a:pt x="88" y="366"/>
                  </a:lnTo>
                  <a:lnTo>
                    <a:pt x="90" y="366"/>
                  </a:lnTo>
                  <a:close/>
                  <a:moveTo>
                    <a:pt x="138" y="366"/>
                  </a:moveTo>
                  <a:lnTo>
                    <a:pt x="135" y="366"/>
                  </a:lnTo>
                  <a:lnTo>
                    <a:pt x="138" y="366"/>
                  </a:lnTo>
                  <a:close/>
                  <a:moveTo>
                    <a:pt x="97" y="366"/>
                  </a:moveTo>
                  <a:lnTo>
                    <a:pt x="95" y="366"/>
                  </a:lnTo>
                  <a:lnTo>
                    <a:pt x="97" y="366"/>
                  </a:lnTo>
                  <a:close/>
                  <a:moveTo>
                    <a:pt x="142" y="366"/>
                  </a:moveTo>
                  <a:lnTo>
                    <a:pt x="145" y="366"/>
                  </a:lnTo>
                  <a:lnTo>
                    <a:pt x="142" y="366"/>
                  </a:lnTo>
                  <a:close/>
                  <a:moveTo>
                    <a:pt x="59" y="366"/>
                  </a:moveTo>
                  <a:lnTo>
                    <a:pt x="57" y="366"/>
                  </a:lnTo>
                  <a:lnTo>
                    <a:pt x="59" y="366"/>
                  </a:lnTo>
                  <a:close/>
                  <a:moveTo>
                    <a:pt x="121" y="366"/>
                  </a:moveTo>
                  <a:lnTo>
                    <a:pt x="119" y="366"/>
                  </a:lnTo>
                  <a:lnTo>
                    <a:pt x="121" y="366"/>
                  </a:lnTo>
                  <a:close/>
                  <a:moveTo>
                    <a:pt x="95" y="366"/>
                  </a:moveTo>
                  <a:lnTo>
                    <a:pt x="93" y="366"/>
                  </a:lnTo>
                  <a:lnTo>
                    <a:pt x="95" y="366"/>
                  </a:lnTo>
                  <a:close/>
                  <a:moveTo>
                    <a:pt x="107" y="366"/>
                  </a:moveTo>
                  <a:lnTo>
                    <a:pt x="104" y="366"/>
                  </a:lnTo>
                  <a:lnTo>
                    <a:pt x="107" y="366"/>
                  </a:lnTo>
                  <a:close/>
                  <a:moveTo>
                    <a:pt x="133" y="366"/>
                  </a:moveTo>
                  <a:lnTo>
                    <a:pt x="131" y="366"/>
                  </a:lnTo>
                  <a:lnTo>
                    <a:pt x="133" y="366"/>
                  </a:lnTo>
                  <a:close/>
                  <a:moveTo>
                    <a:pt x="93" y="366"/>
                  </a:moveTo>
                  <a:lnTo>
                    <a:pt x="90" y="366"/>
                  </a:lnTo>
                  <a:lnTo>
                    <a:pt x="93" y="366"/>
                  </a:lnTo>
                  <a:close/>
                  <a:moveTo>
                    <a:pt x="43" y="366"/>
                  </a:moveTo>
                  <a:lnTo>
                    <a:pt x="40" y="366"/>
                  </a:lnTo>
                  <a:lnTo>
                    <a:pt x="43" y="366"/>
                  </a:lnTo>
                  <a:close/>
                  <a:moveTo>
                    <a:pt x="57" y="366"/>
                  </a:moveTo>
                  <a:lnTo>
                    <a:pt x="55" y="366"/>
                  </a:lnTo>
                  <a:lnTo>
                    <a:pt x="57" y="366"/>
                  </a:lnTo>
                  <a:lnTo>
                    <a:pt x="55" y="366"/>
                  </a:lnTo>
                  <a:lnTo>
                    <a:pt x="57" y="366"/>
                  </a:lnTo>
                  <a:close/>
                  <a:moveTo>
                    <a:pt x="147" y="366"/>
                  </a:moveTo>
                  <a:lnTo>
                    <a:pt x="145" y="366"/>
                  </a:lnTo>
                  <a:lnTo>
                    <a:pt x="147" y="366"/>
                  </a:lnTo>
                  <a:close/>
                  <a:moveTo>
                    <a:pt x="86" y="366"/>
                  </a:moveTo>
                  <a:lnTo>
                    <a:pt x="88" y="366"/>
                  </a:lnTo>
                  <a:lnTo>
                    <a:pt x="86" y="366"/>
                  </a:lnTo>
                  <a:close/>
                  <a:moveTo>
                    <a:pt x="78" y="366"/>
                  </a:moveTo>
                  <a:lnTo>
                    <a:pt x="76" y="366"/>
                  </a:lnTo>
                  <a:lnTo>
                    <a:pt x="78" y="366"/>
                  </a:lnTo>
                  <a:close/>
                  <a:moveTo>
                    <a:pt x="83" y="366"/>
                  </a:moveTo>
                  <a:lnTo>
                    <a:pt x="81" y="366"/>
                  </a:lnTo>
                  <a:lnTo>
                    <a:pt x="83" y="366"/>
                  </a:lnTo>
                  <a:close/>
                  <a:moveTo>
                    <a:pt x="62" y="366"/>
                  </a:moveTo>
                  <a:lnTo>
                    <a:pt x="59" y="366"/>
                  </a:lnTo>
                  <a:lnTo>
                    <a:pt x="62" y="366"/>
                  </a:lnTo>
                  <a:close/>
                  <a:moveTo>
                    <a:pt x="142" y="366"/>
                  </a:moveTo>
                  <a:lnTo>
                    <a:pt x="140" y="366"/>
                  </a:lnTo>
                  <a:lnTo>
                    <a:pt x="142" y="366"/>
                  </a:lnTo>
                  <a:close/>
                  <a:moveTo>
                    <a:pt x="64" y="366"/>
                  </a:moveTo>
                  <a:lnTo>
                    <a:pt x="62" y="366"/>
                  </a:lnTo>
                  <a:lnTo>
                    <a:pt x="64" y="366"/>
                  </a:lnTo>
                  <a:close/>
                  <a:moveTo>
                    <a:pt x="123" y="366"/>
                  </a:moveTo>
                  <a:lnTo>
                    <a:pt x="121" y="366"/>
                  </a:lnTo>
                  <a:lnTo>
                    <a:pt x="123" y="366"/>
                  </a:lnTo>
                  <a:close/>
                  <a:moveTo>
                    <a:pt x="147" y="366"/>
                  </a:moveTo>
                  <a:lnTo>
                    <a:pt x="145" y="366"/>
                  </a:lnTo>
                  <a:lnTo>
                    <a:pt x="147" y="366"/>
                  </a:lnTo>
                  <a:close/>
                  <a:moveTo>
                    <a:pt x="88" y="366"/>
                  </a:moveTo>
                  <a:lnTo>
                    <a:pt x="86" y="366"/>
                  </a:lnTo>
                  <a:lnTo>
                    <a:pt x="88" y="366"/>
                  </a:lnTo>
                  <a:lnTo>
                    <a:pt x="86" y="366"/>
                  </a:lnTo>
                  <a:lnTo>
                    <a:pt x="88" y="366"/>
                  </a:lnTo>
                  <a:close/>
                  <a:moveTo>
                    <a:pt x="138" y="366"/>
                  </a:moveTo>
                  <a:lnTo>
                    <a:pt x="135" y="366"/>
                  </a:lnTo>
                  <a:lnTo>
                    <a:pt x="138" y="366"/>
                  </a:lnTo>
                  <a:close/>
                  <a:moveTo>
                    <a:pt x="76" y="366"/>
                  </a:moveTo>
                  <a:lnTo>
                    <a:pt x="74" y="366"/>
                  </a:lnTo>
                  <a:lnTo>
                    <a:pt x="76" y="366"/>
                  </a:lnTo>
                  <a:close/>
                  <a:moveTo>
                    <a:pt x="76" y="366"/>
                  </a:moveTo>
                  <a:lnTo>
                    <a:pt x="76" y="364"/>
                  </a:lnTo>
                  <a:lnTo>
                    <a:pt x="76" y="366"/>
                  </a:lnTo>
                  <a:close/>
                  <a:moveTo>
                    <a:pt x="43" y="366"/>
                  </a:moveTo>
                  <a:lnTo>
                    <a:pt x="43" y="364"/>
                  </a:lnTo>
                  <a:lnTo>
                    <a:pt x="43" y="366"/>
                  </a:lnTo>
                  <a:close/>
                  <a:moveTo>
                    <a:pt x="81" y="366"/>
                  </a:moveTo>
                  <a:lnTo>
                    <a:pt x="81" y="364"/>
                  </a:lnTo>
                  <a:lnTo>
                    <a:pt x="81" y="366"/>
                  </a:lnTo>
                  <a:close/>
                  <a:moveTo>
                    <a:pt x="59" y="364"/>
                  </a:moveTo>
                  <a:lnTo>
                    <a:pt x="59" y="366"/>
                  </a:lnTo>
                  <a:lnTo>
                    <a:pt x="59" y="364"/>
                  </a:lnTo>
                  <a:close/>
                  <a:moveTo>
                    <a:pt x="121" y="366"/>
                  </a:moveTo>
                  <a:lnTo>
                    <a:pt x="121" y="364"/>
                  </a:lnTo>
                  <a:lnTo>
                    <a:pt x="121" y="366"/>
                  </a:lnTo>
                  <a:close/>
                  <a:moveTo>
                    <a:pt x="55" y="366"/>
                  </a:moveTo>
                  <a:lnTo>
                    <a:pt x="55" y="364"/>
                  </a:lnTo>
                  <a:lnTo>
                    <a:pt x="55" y="366"/>
                  </a:lnTo>
                  <a:close/>
                  <a:moveTo>
                    <a:pt x="31" y="364"/>
                  </a:moveTo>
                  <a:lnTo>
                    <a:pt x="31" y="366"/>
                  </a:lnTo>
                  <a:lnTo>
                    <a:pt x="31" y="364"/>
                  </a:lnTo>
                  <a:close/>
                  <a:moveTo>
                    <a:pt x="126" y="364"/>
                  </a:moveTo>
                  <a:lnTo>
                    <a:pt x="126" y="366"/>
                  </a:lnTo>
                  <a:lnTo>
                    <a:pt x="126" y="364"/>
                  </a:lnTo>
                  <a:close/>
                  <a:moveTo>
                    <a:pt x="133" y="366"/>
                  </a:moveTo>
                  <a:lnTo>
                    <a:pt x="133" y="364"/>
                  </a:lnTo>
                  <a:lnTo>
                    <a:pt x="133" y="366"/>
                  </a:lnTo>
                  <a:close/>
                  <a:moveTo>
                    <a:pt x="57" y="366"/>
                  </a:moveTo>
                  <a:lnTo>
                    <a:pt x="55" y="366"/>
                  </a:lnTo>
                  <a:lnTo>
                    <a:pt x="55" y="364"/>
                  </a:lnTo>
                  <a:lnTo>
                    <a:pt x="57" y="366"/>
                  </a:lnTo>
                  <a:close/>
                  <a:moveTo>
                    <a:pt x="133" y="364"/>
                  </a:moveTo>
                  <a:lnTo>
                    <a:pt x="133" y="366"/>
                  </a:lnTo>
                  <a:lnTo>
                    <a:pt x="133" y="364"/>
                  </a:lnTo>
                  <a:close/>
                  <a:moveTo>
                    <a:pt x="145" y="364"/>
                  </a:moveTo>
                  <a:lnTo>
                    <a:pt x="145" y="366"/>
                  </a:lnTo>
                  <a:lnTo>
                    <a:pt x="145" y="364"/>
                  </a:lnTo>
                  <a:close/>
                  <a:moveTo>
                    <a:pt x="43" y="366"/>
                  </a:moveTo>
                  <a:lnTo>
                    <a:pt x="43" y="364"/>
                  </a:lnTo>
                  <a:lnTo>
                    <a:pt x="43" y="366"/>
                  </a:lnTo>
                  <a:close/>
                  <a:moveTo>
                    <a:pt x="62" y="366"/>
                  </a:moveTo>
                  <a:lnTo>
                    <a:pt x="62" y="364"/>
                  </a:lnTo>
                  <a:lnTo>
                    <a:pt x="62" y="366"/>
                  </a:lnTo>
                  <a:close/>
                  <a:moveTo>
                    <a:pt x="55" y="366"/>
                  </a:moveTo>
                  <a:lnTo>
                    <a:pt x="55" y="364"/>
                  </a:lnTo>
                  <a:lnTo>
                    <a:pt x="55" y="366"/>
                  </a:lnTo>
                  <a:close/>
                  <a:moveTo>
                    <a:pt x="95" y="364"/>
                  </a:moveTo>
                  <a:lnTo>
                    <a:pt x="95" y="366"/>
                  </a:lnTo>
                  <a:lnTo>
                    <a:pt x="93" y="366"/>
                  </a:lnTo>
                  <a:lnTo>
                    <a:pt x="95" y="364"/>
                  </a:lnTo>
                  <a:close/>
                  <a:moveTo>
                    <a:pt x="76" y="366"/>
                  </a:moveTo>
                  <a:lnTo>
                    <a:pt x="74" y="366"/>
                  </a:lnTo>
                  <a:lnTo>
                    <a:pt x="76" y="364"/>
                  </a:lnTo>
                  <a:lnTo>
                    <a:pt x="76" y="366"/>
                  </a:lnTo>
                  <a:close/>
                  <a:moveTo>
                    <a:pt x="95" y="364"/>
                  </a:moveTo>
                  <a:lnTo>
                    <a:pt x="95" y="366"/>
                  </a:lnTo>
                  <a:lnTo>
                    <a:pt x="95" y="364"/>
                  </a:lnTo>
                  <a:close/>
                  <a:moveTo>
                    <a:pt x="145" y="366"/>
                  </a:moveTo>
                  <a:lnTo>
                    <a:pt x="145" y="364"/>
                  </a:lnTo>
                  <a:lnTo>
                    <a:pt x="145" y="366"/>
                  </a:lnTo>
                  <a:close/>
                  <a:moveTo>
                    <a:pt x="150" y="366"/>
                  </a:moveTo>
                  <a:lnTo>
                    <a:pt x="150" y="364"/>
                  </a:lnTo>
                  <a:lnTo>
                    <a:pt x="150" y="366"/>
                  </a:lnTo>
                  <a:close/>
                  <a:moveTo>
                    <a:pt x="52" y="364"/>
                  </a:moveTo>
                  <a:lnTo>
                    <a:pt x="52" y="366"/>
                  </a:lnTo>
                  <a:lnTo>
                    <a:pt x="52" y="364"/>
                  </a:lnTo>
                  <a:lnTo>
                    <a:pt x="52" y="366"/>
                  </a:lnTo>
                  <a:lnTo>
                    <a:pt x="52" y="364"/>
                  </a:lnTo>
                  <a:close/>
                  <a:moveTo>
                    <a:pt x="100" y="364"/>
                  </a:moveTo>
                  <a:lnTo>
                    <a:pt x="100" y="366"/>
                  </a:lnTo>
                  <a:lnTo>
                    <a:pt x="100" y="364"/>
                  </a:lnTo>
                  <a:close/>
                  <a:moveTo>
                    <a:pt x="150" y="366"/>
                  </a:moveTo>
                  <a:lnTo>
                    <a:pt x="150" y="364"/>
                  </a:lnTo>
                  <a:lnTo>
                    <a:pt x="150" y="366"/>
                  </a:lnTo>
                  <a:close/>
                  <a:moveTo>
                    <a:pt x="109" y="366"/>
                  </a:moveTo>
                  <a:lnTo>
                    <a:pt x="109" y="364"/>
                  </a:lnTo>
                  <a:lnTo>
                    <a:pt x="109" y="366"/>
                  </a:lnTo>
                  <a:close/>
                  <a:moveTo>
                    <a:pt x="133" y="364"/>
                  </a:moveTo>
                  <a:lnTo>
                    <a:pt x="133" y="366"/>
                  </a:lnTo>
                  <a:lnTo>
                    <a:pt x="133" y="364"/>
                  </a:lnTo>
                  <a:close/>
                  <a:moveTo>
                    <a:pt x="107" y="364"/>
                  </a:moveTo>
                  <a:lnTo>
                    <a:pt x="107" y="366"/>
                  </a:lnTo>
                  <a:lnTo>
                    <a:pt x="107" y="364"/>
                  </a:lnTo>
                  <a:close/>
                  <a:moveTo>
                    <a:pt x="97" y="364"/>
                  </a:moveTo>
                  <a:lnTo>
                    <a:pt x="95" y="364"/>
                  </a:lnTo>
                  <a:lnTo>
                    <a:pt x="97" y="364"/>
                  </a:lnTo>
                  <a:close/>
                  <a:moveTo>
                    <a:pt x="62" y="366"/>
                  </a:moveTo>
                  <a:lnTo>
                    <a:pt x="62" y="364"/>
                  </a:lnTo>
                  <a:lnTo>
                    <a:pt x="62" y="366"/>
                  </a:lnTo>
                  <a:close/>
                  <a:moveTo>
                    <a:pt x="95" y="364"/>
                  </a:moveTo>
                  <a:lnTo>
                    <a:pt x="93" y="364"/>
                  </a:lnTo>
                  <a:lnTo>
                    <a:pt x="95" y="364"/>
                  </a:lnTo>
                  <a:close/>
                  <a:moveTo>
                    <a:pt x="147" y="364"/>
                  </a:moveTo>
                  <a:lnTo>
                    <a:pt x="145" y="364"/>
                  </a:lnTo>
                  <a:lnTo>
                    <a:pt x="147" y="364"/>
                  </a:lnTo>
                  <a:close/>
                  <a:moveTo>
                    <a:pt x="97" y="364"/>
                  </a:moveTo>
                  <a:lnTo>
                    <a:pt x="95" y="364"/>
                  </a:lnTo>
                  <a:lnTo>
                    <a:pt x="97" y="364"/>
                  </a:lnTo>
                  <a:close/>
                  <a:moveTo>
                    <a:pt x="107" y="364"/>
                  </a:moveTo>
                  <a:lnTo>
                    <a:pt x="104" y="364"/>
                  </a:lnTo>
                  <a:lnTo>
                    <a:pt x="107" y="364"/>
                  </a:lnTo>
                  <a:close/>
                  <a:moveTo>
                    <a:pt x="102" y="364"/>
                  </a:moveTo>
                  <a:lnTo>
                    <a:pt x="100" y="364"/>
                  </a:lnTo>
                  <a:lnTo>
                    <a:pt x="102" y="364"/>
                  </a:lnTo>
                  <a:close/>
                  <a:moveTo>
                    <a:pt x="88" y="364"/>
                  </a:moveTo>
                  <a:lnTo>
                    <a:pt x="86" y="364"/>
                  </a:lnTo>
                  <a:lnTo>
                    <a:pt x="88" y="364"/>
                  </a:lnTo>
                  <a:lnTo>
                    <a:pt x="86" y="364"/>
                  </a:lnTo>
                  <a:lnTo>
                    <a:pt x="88" y="364"/>
                  </a:lnTo>
                  <a:close/>
                  <a:moveTo>
                    <a:pt x="26" y="364"/>
                  </a:moveTo>
                  <a:lnTo>
                    <a:pt x="24" y="364"/>
                  </a:lnTo>
                  <a:lnTo>
                    <a:pt x="26" y="364"/>
                  </a:lnTo>
                  <a:close/>
                  <a:moveTo>
                    <a:pt x="150" y="364"/>
                  </a:moveTo>
                  <a:lnTo>
                    <a:pt x="147" y="364"/>
                  </a:lnTo>
                  <a:lnTo>
                    <a:pt x="150" y="364"/>
                  </a:lnTo>
                  <a:close/>
                  <a:moveTo>
                    <a:pt x="29" y="364"/>
                  </a:moveTo>
                  <a:lnTo>
                    <a:pt x="26" y="364"/>
                  </a:lnTo>
                  <a:lnTo>
                    <a:pt x="29" y="364"/>
                  </a:lnTo>
                  <a:close/>
                  <a:moveTo>
                    <a:pt x="67" y="364"/>
                  </a:moveTo>
                  <a:lnTo>
                    <a:pt x="64" y="364"/>
                  </a:lnTo>
                  <a:lnTo>
                    <a:pt x="67" y="364"/>
                  </a:lnTo>
                  <a:close/>
                  <a:moveTo>
                    <a:pt x="102" y="364"/>
                  </a:moveTo>
                  <a:lnTo>
                    <a:pt x="100" y="364"/>
                  </a:lnTo>
                  <a:lnTo>
                    <a:pt x="102" y="364"/>
                  </a:lnTo>
                  <a:close/>
                  <a:moveTo>
                    <a:pt x="83" y="364"/>
                  </a:moveTo>
                  <a:lnTo>
                    <a:pt x="81" y="364"/>
                  </a:lnTo>
                  <a:lnTo>
                    <a:pt x="83" y="364"/>
                  </a:lnTo>
                  <a:close/>
                  <a:moveTo>
                    <a:pt x="55" y="364"/>
                  </a:moveTo>
                  <a:lnTo>
                    <a:pt x="52" y="364"/>
                  </a:lnTo>
                  <a:lnTo>
                    <a:pt x="55" y="364"/>
                  </a:lnTo>
                  <a:close/>
                  <a:moveTo>
                    <a:pt x="64" y="364"/>
                  </a:moveTo>
                  <a:lnTo>
                    <a:pt x="62" y="364"/>
                  </a:lnTo>
                  <a:lnTo>
                    <a:pt x="64" y="364"/>
                  </a:lnTo>
                  <a:close/>
                  <a:moveTo>
                    <a:pt x="104" y="364"/>
                  </a:moveTo>
                  <a:lnTo>
                    <a:pt x="102" y="364"/>
                  </a:lnTo>
                  <a:lnTo>
                    <a:pt x="104" y="364"/>
                  </a:lnTo>
                  <a:close/>
                  <a:moveTo>
                    <a:pt x="78" y="364"/>
                  </a:moveTo>
                  <a:lnTo>
                    <a:pt x="76" y="364"/>
                  </a:lnTo>
                  <a:lnTo>
                    <a:pt x="78" y="364"/>
                  </a:lnTo>
                  <a:close/>
                  <a:moveTo>
                    <a:pt x="83" y="364"/>
                  </a:moveTo>
                  <a:lnTo>
                    <a:pt x="81" y="364"/>
                  </a:lnTo>
                  <a:lnTo>
                    <a:pt x="83" y="364"/>
                  </a:lnTo>
                  <a:close/>
                  <a:moveTo>
                    <a:pt x="76" y="364"/>
                  </a:moveTo>
                  <a:lnTo>
                    <a:pt x="78" y="364"/>
                  </a:lnTo>
                  <a:lnTo>
                    <a:pt x="76" y="364"/>
                  </a:lnTo>
                  <a:close/>
                  <a:moveTo>
                    <a:pt x="133" y="364"/>
                  </a:moveTo>
                  <a:lnTo>
                    <a:pt x="131" y="364"/>
                  </a:lnTo>
                  <a:lnTo>
                    <a:pt x="133" y="364"/>
                  </a:lnTo>
                  <a:close/>
                  <a:moveTo>
                    <a:pt x="145" y="364"/>
                  </a:moveTo>
                  <a:lnTo>
                    <a:pt x="142" y="364"/>
                  </a:lnTo>
                  <a:lnTo>
                    <a:pt x="145" y="364"/>
                  </a:lnTo>
                  <a:close/>
                  <a:moveTo>
                    <a:pt x="150" y="364"/>
                  </a:moveTo>
                  <a:lnTo>
                    <a:pt x="147" y="364"/>
                  </a:lnTo>
                  <a:lnTo>
                    <a:pt x="150" y="364"/>
                  </a:lnTo>
                  <a:close/>
                  <a:moveTo>
                    <a:pt x="78" y="364"/>
                  </a:moveTo>
                  <a:lnTo>
                    <a:pt x="76" y="364"/>
                  </a:lnTo>
                  <a:lnTo>
                    <a:pt x="78" y="364"/>
                  </a:lnTo>
                  <a:close/>
                  <a:moveTo>
                    <a:pt x="57" y="364"/>
                  </a:moveTo>
                  <a:lnTo>
                    <a:pt x="55" y="364"/>
                  </a:lnTo>
                  <a:lnTo>
                    <a:pt x="57" y="364"/>
                  </a:lnTo>
                  <a:close/>
                  <a:moveTo>
                    <a:pt x="107" y="364"/>
                  </a:moveTo>
                  <a:lnTo>
                    <a:pt x="104" y="364"/>
                  </a:lnTo>
                  <a:lnTo>
                    <a:pt x="107" y="364"/>
                  </a:lnTo>
                  <a:close/>
                  <a:moveTo>
                    <a:pt x="29" y="364"/>
                  </a:moveTo>
                  <a:lnTo>
                    <a:pt x="26" y="364"/>
                  </a:lnTo>
                  <a:lnTo>
                    <a:pt x="29" y="364"/>
                  </a:lnTo>
                  <a:close/>
                  <a:moveTo>
                    <a:pt x="126" y="364"/>
                  </a:moveTo>
                  <a:lnTo>
                    <a:pt x="123" y="364"/>
                  </a:lnTo>
                  <a:lnTo>
                    <a:pt x="126" y="364"/>
                  </a:lnTo>
                  <a:close/>
                  <a:moveTo>
                    <a:pt x="78" y="364"/>
                  </a:moveTo>
                  <a:lnTo>
                    <a:pt x="76" y="364"/>
                  </a:lnTo>
                  <a:lnTo>
                    <a:pt x="78" y="364"/>
                  </a:lnTo>
                  <a:close/>
                  <a:moveTo>
                    <a:pt x="59" y="364"/>
                  </a:moveTo>
                  <a:lnTo>
                    <a:pt x="57" y="364"/>
                  </a:lnTo>
                  <a:lnTo>
                    <a:pt x="59" y="364"/>
                  </a:lnTo>
                  <a:close/>
                  <a:moveTo>
                    <a:pt x="154" y="364"/>
                  </a:moveTo>
                  <a:lnTo>
                    <a:pt x="152" y="364"/>
                  </a:lnTo>
                  <a:lnTo>
                    <a:pt x="154" y="364"/>
                  </a:lnTo>
                  <a:close/>
                  <a:moveTo>
                    <a:pt x="43" y="364"/>
                  </a:moveTo>
                  <a:lnTo>
                    <a:pt x="40" y="364"/>
                  </a:lnTo>
                  <a:lnTo>
                    <a:pt x="43" y="364"/>
                  </a:lnTo>
                  <a:close/>
                  <a:moveTo>
                    <a:pt x="38" y="364"/>
                  </a:moveTo>
                  <a:lnTo>
                    <a:pt x="36" y="364"/>
                  </a:lnTo>
                  <a:lnTo>
                    <a:pt x="38" y="364"/>
                  </a:lnTo>
                  <a:close/>
                  <a:moveTo>
                    <a:pt x="154" y="364"/>
                  </a:moveTo>
                  <a:lnTo>
                    <a:pt x="152" y="364"/>
                  </a:lnTo>
                  <a:lnTo>
                    <a:pt x="154" y="364"/>
                  </a:lnTo>
                  <a:close/>
                  <a:moveTo>
                    <a:pt x="57" y="364"/>
                  </a:moveTo>
                  <a:lnTo>
                    <a:pt x="55" y="364"/>
                  </a:lnTo>
                  <a:lnTo>
                    <a:pt x="57" y="364"/>
                  </a:lnTo>
                  <a:close/>
                  <a:moveTo>
                    <a:pt x="114" y="364"/>
                  </a:moveTo>
                  <a:lnTo>
                    <a:pt x="112" y="364"/>
                  </a:lnTo>
                  <a:lnTo>
                    <a:pt x="114" y="364"/>
                  </a:lnTo>
                  <a:close/>
                  <a:moveTo>
                    <a:pt x="154" y="364"/>
                  </a:moveTo>
                  <a:lnTo>
                    <a:pt x="152" y="364"/>
                  </a:lnTo>
                  <a:lnTo>
                    <a:pt x="154" y="364"/>
                  </a:lnTo>
                  <a:close/>
                  <a:moveTo>
                    <a:pt x="59" y="364"/>
                  </a:moveTo>
                  <a:lnTo>
                    <a:pt x="57" y="364"/>
                  </a:lnTo>
                  <a:lnTo>
                    <a:pt x="59" y="364"/>
                  </a:lnTo>
                  <a:close/>
                  <a:moveTo>
                    <a:pt x="43" y="364"/>
                  </a:moveTo>
                  <a:lnTo>
                    <a:pt x="40" y="364"/>
                  </a:lnTo>
                  <a:lnTo>
                    <a:pt x="43" y="364"/>
                  </a:lnTo>
                  <a:close/>
                  <a:moveTo>
                    <a:pt x="57" y="364"/>
                  </a:moveTo>
                  <a:lnTo>
                    <a:pt x="55" y="364"/>
                  </a:lnTo>
                  <a:lnTo>
                    <a:pt x="57" y="364"/>
                  </a:lnTo>
                  <a:close/>
                  <a:moveTo>
                    <a:pt x="33" y="364"/>
                  </a:moveTo>
                  <a:lnTo>
                    <a:pt x="36" y="364"/>
                  </a:lnTo>
                  <a:lnTo>
                    <a:pt x="33" y="364"/>
                  </a:lnTo>
                  <a:close/>
                  <a:moveTo>
                    <a:pt x="62" y="364"/>
                  </a:moveTo>
                  <a:lnTo>
                    <a:pt x="59" y="364"/>
                  </a:lnTo>
                  <a:lnTo>
                    <a:pt x="62" y="364"/>
                  </a:lnTo>
                  <a:close/>
                  <a:moveTo>
                    <a:pt x="95" y="364"/>
                  </a:moveTo>
                  <a:lnTo>
                    <a:pt x="95" y="361"/>
                  </a:lnTo>
                  <a:lnTo>
                    <a:pt x="95" y="364"/>
                  </a:lnTo>
                  <a:close/>
                  <a:moveTo>
                    <a:pt x="81" y="364"/>
                  </a:moveTo>
                  <a:lnTo>
                    <a:pt x="81" y="361"/>
                  </a:lnTo>
                  <a:lnTo>
                    <a:pt x="81" y="364"/>
                  </a:lnTo>
                  <a:close/>
                  <a:moveTo>
                    <a:pt x="112" y="364"/>
                  </a:moveTo>
                  <a:lnTo>
                    <a:pt x="112" y="361"/>
                  </a:lnTo>
                  <a:lnTo>
                    <a:pt x="112" y="364"/>
                  </a:lnTo>
                  <a:close/>
                  <a:moveTo>
                    <a:pt x="64" y="364"/>
                  </a:moveTo>
                  <a:lnTo>
                    <a:pt x="64" y="361"/>
                  </a:lnTo>
                  <a:lnTo>
                    <a:pt x="64" y="364"/>
                  </a:lnTo>
                  <a:close/>
                  <a:moveTo>
                    <a:pt x="95" y="364"/>
                  </a:moveTo>
                  <a:lnTo>
                    <a:pt x="95" y="361"/>
                  </a:lnTo>
                  <a:lnTo>
                    <a:pt x="95" y="364"/>
                  </a:lnTo>
                  <a:close/>
                  <a:moveTo>
                    <a:pt x="114" y="361"/>
                  </a:moveTo>
                  <a:lnTo>
                    <a:pt x="114" y="364"/>
                  </a:lnTo>
                  <a:lnTo>
                    <a:pt x="112" y="364"/>
                  </a:lnTo>
                  <a:lnTo>
                    <a:pt x="114" y="361"/>
                  </a:lnTo>
                  <a:close/>
                  <a:moveTo>
                    <a:pt x="150" y="364"/>
                  </a:moveTo>
                  <a:lnTo>
                    <a:pt x="150" y="361"/>
                  </a:lnTo>
                  <a:lnTo>
                    <a:pt x="150" y="364"/>
                  </a:lnTo>
                  <a:close/>
                  <a:moveTo>
                    <a:pt x="152" y="364"/>
                  </a:moveTo>
                  <a:lnTo>
                    <a:pt x="152" y="361"/>
                  </a:lnTo>
                  <a:lnTo>
                    <a:pt x="152" y="364"/>
                  </a:lnTo>
                  <a:close/>
                  <a:moveTo>
                    <a:pt x="152" y="361"/>
                  </a:moveTo>
                  <a:lnTo>
                    <a:pt x="152" y="364"/>
                  </a:lnTo>
                  <a:lnTo>
                    <a:pt x="152" y="361"/>
                  </a:lnTo>
                  <a:close/>
                  <a:moveTo>
                    <a:pt x="57" y="364"/>
                  </a:moveTo>
                  <a:lnTo>
                    <a:pt x="57" y="361"/>
                  </a:lnTo>
                  <a:lnTo>
                    <a:pt x="57" y="364"/>
                  </a:lnTo>
                  <a:close/>
                  <a:moveTo>
                    <a:pt x="59" y="361"/>
                  </a:moveTo>
                  <a:lnTo>
                    <a:pt x="59" y="364"/>
                  </a:lnTo>
                  <a:lnTo>
                    <a:pt x="59" y="361"/>
                  </a:lnTo>
                  <a:close/>
                  <a:moveTo>
                    <a:pt x="169" y="361"/>
                  </a:moveTo>
                  <a:lnTo>
                    <a:pt x="169" y="364"/>
                  </a:lnTo>
                  <a:lnTo>
                    <a:pt x="169" y="361"/>
                  </a:lnTo>
                  <a:close/>
                  <a:moveTo>
                    <a:pt x="59" y="361"/>
                  </a:moveTo>
                  <a:lnTo>
                    <a:pt x="59" y="364"/>
                  </a:lnTo>
                  <a:lnTo>
                    <a:pt x="59" y="361"/>
                  </a:lnTo>
                  <a:close/>
                  <a:moveTo>
                    <a:pt x="102" y="361"/>
                  </a:moveTo>
                  <a:lnTo>
                    <a:pt x="102" y="364"/>
                  </a:lnTo>
                  <a:lnTo>
                    <a:pt x="102" y="361"/>
                  </a:lnTo>
                  <a:close/>
                  <a:moveTo>
                    <a:pt x="55" y="364"/>
                  </a:moveTo>
                  <a:lnTo>
                    <a:pt x="55" y="361"/>
                  </a:lnTo>
                  <a:lnTo>
                    <a:pt x="57" y="361"/>
                  </a:lnTo>
                  <a:lnTo>
                    <a:pt x="55" y="364"/>
                  </a:lnTo>
                  <a:close/>
                  <a:moveTo>
                    <a:pt x="57" y="361"/>
                  </a:moveTo>
                  <a:lnTo>
                    <a:pt x="57" y="364"/>
                  </a:lnTo>
                  <a:lnTo>
                    <a:pt x="57" y="361"/>
                  </a:lnTo>
                  <a:close/>
                  <a:moveTo>
                    <a:pt x="169" y="361"/>
                  </a:moveTo>
                  <a:lnTo>
                    <a:pt x="169" y="364"/>
                  </a:lnTo>
                  <a:lnTo>
                    <a:pt x="169" y="361"/>
                  </a:lnTo>
                  <a:close/>
                  <a:moveTo>
                    <a:pt x="76" y="361"/>
                  </a:moveTo>
                  <a:lnTo>
                    <a:pt x="76" y="364"/>
                  </a:lnTo>
                  <a:lnTo>
                    <a:pt x="76" y="361"/>
                  </a:lnTo>
                  <a:close/>
                  <a:moveTo>
                    <a:pt x="154" y="361"/>
                  </a:moveTo>
                  <a:lnTo>
                    <a:pt x="154" y="364"/>
                  </a:lnTo>
                  <a:lnTo>
                    <a:pt x="154" y="361"/>
                  </a:lnTo>
                  <a:close/>
                  <a:moveTo>
                    <a:pt x="67" y="361"/>
                  </a:moveTo>
                  <a:lnTo>
                    <a:pt x="67" y="364"/>
                  </a:lnTo>
                  <a:lnTo>
                    <a:pt x="67" y="361"/>
                  </a:lnTo>
                  <a:close/>
                  <a:moveTo>
                    <a:pt x="83" y="361"/>
                  </a:moveTo>
                  <a:lnTo>
                    <a:pt x="83" y="364"/>
                  </a:lnTo>
                  <a:lnTo>
                    <a:pt x="83" y="361"/>
                  </a:lnTo>
                  <a:close/>
                  <a:moveTo>
                    <a:pt x="43" y="361"/>
                  </a:moveTo>
                  <a:lnTo>
                    <a:pt x="40" y="361"/>
                  </a:lnTo>
                  <a:lnTo>
                    <a:pt x="43" y="361"/>
                  </a:lnTo>
                  <a:close/>
                  <a:moveTo>
                    <a:pt x="114" y="361"/>
                  </a:moveTo>
                  <a:lnTo>
                    <a:pt x="114" y="364"/>
                  </a:lnTo>
                  <a:lnTo>
                    <a:pt x="114" y="361"/>
                  </a:lnTo>
                  <a:close/>
                  <a:moveTo>
                    <a:pt x="43" y="361"/>
                  </a:moveTo>
                  <a:lnTo>
                    <a:pt x="45" y="361"/>
                  </a:lnTo>
                  <a:lnTo>
                    <a:pt x="43" y="361"/>
                  </a:lnTo>
                  <a:close/>
                  <a:moveTo>
                    <a:pt x="76" y="361"/>
                  </a:moveTo>
                  <a:lnTo>
                    <a:pt x="76" y="364"/>
                  </a:lnTo>
                  <a:lnTo>
                    <a:pt x="76" y="361"/>
                  </a:lnTo>
                  <a:close/>
                  <a:moveTo>
                    <a:pt x="154" y="361"/>
                  </a:moveTo>
                  <a:lnTo>
                    <a:pt x="152" y="361"/>
                  </a:lnTo>
                  <a:lnTo>
                    <a:pt x="154" y="361"/>
                  </a:lnTo>
                  <a:close/>
                  <a:moveTo>
                    <a:pt x="57" y="361"/>
                  </a:moveTo>
                  <a:lnTo>
                    <a:pt x="55" y="361"/>
                  </a:lnTo>
                  <a:lnTo>
                    <a:pt x="57" y="361"/>
                  </a:lnTo>
                  <a:close/>
                  <a:moveTo>
                    <a:pt x="59" y="361"/>
                  </a:moveTo>
                  <a:lnTo>
                    <a:pt x="57" y="361"/>
                  </a:lnTo>
                  <a:lnTo>
                    <a:pt x="59" y="361"/>
                  </a:lnTo>
                  <a:close/>
                  <a:moveTo>
                    <a:pt x="83" y="361"/>
                  </a:moveTo>
                  <a:lnTo>
                    <a:pt x="81" y="361"/>
                  </a:lnTo>
                  <a:lnTo>
                    <a:pt x="83" y="361"/>
                  </a:lnTo>
                  <a:close/>
                  <a:moveTo>
                    <a:pt x="33" y="361"/>
                  </a:moveTo>
                  <a:lnTo>
                    <a:pt x="31" y="361"/>
                  </a:lnTo>
                  <a:lnTo>
                    <a:pt x="33" y="361"/>
                  </a:lnTo>
                  <a:close/>
                  <a:moveTo>
                    <a:pt x="67" y="361"/>
                  </a:moveTo>
                  <a:lnTo>
                    <a:pt x="64" y="361"/>
                  </a:lnTo>
                  <a:lnTo>
                    <a:pt x="67" y="361"/>
                  </a:lnTo>
                  <a:close/>
                  <a:moveTo>
                    <a:pt x="43" y="361"/>
                  </a:moveTo>
                  <a:lnTo>
                    <a:pt x="40" y="361"/>
                  </a:lnTo>
                  <a:lnTo>
                    <a:pt x="43" y="361"/>
                  </a:lnTo>
                  <a:close/>
                  <a:moveTo>
                    <a:pt x="171" y="361"/>
                  </a:moveTo>
                  <a:lnTo>
                    <a:pt x="169" y="361"/>
                  </a:lnTo>
                  <a:lnTo>
                    <a:pt x="171" y="361"/>
                  </a:lnTo>
                  <a:close/>
                  <a:moveTo>
                    <a:pt x="57" y="361"/>
                  </a:moveTo>
                  <a:lnTo>
                    <a:pt x="55" y="361"/>
                  </a:lnTo>
                  <a:lnTo>
                    <a:pt x="57" y="361"/>
                  </a:lnTo>
                  <a:close/>
                  <a:moveTo>
                    <a:pt x="74" y="361"/>
                  </a:moveTo>
                  <a:lnTo>
                    <a:pt x="71" y="361"/>
                  </a:lnTo>
                  <a:lnTo>
                    <a:pt x="74" y="361"/>
                  </a:lnTo>
                  <a:close/>
                  <a:moveTo>
                    <a:pt x="83" y="361"/>
                  </a:moveTo>
                  <a:lnTo>
                    <a:pt x="81" y="361"/>
                  </a:lnTo>
                  <a:lnTo>
                    <a:pt x="83" y="361"/>
                  </a:lnTo>
                  <a:close/>
                  <a:moveTo>
                    <a:pt x="86" y="361"/>
                  </a:moveTo>
                  <a:lnTo>
                    <a:pt x="83" y="361"/>
                  </a:lnTo>
                  <a:lnTo>
                    <a:pt x="86" y="361"/>
                  </a:lnTo>
                  <a:close/>
                  <a:moveTo>
                    <a:pt x="86" y="361"/>
                  </a:moveTo>
                  <a:lnTo>
                    <a:pt x="83" y="361"/>
                  </a:lnTo>
                  <a:lnTo>
                    <a:pt x="86" y="361"/>
                  </a:lnTo>
                  <a:close/>
                  <a:moveTo>
                    <a:pt x="114" y="361"/>
                  </a:moveTo>
                  <a:lnTo>
                    <a:pt x="112" y="361"/>
                  </a:lnTo>
                  <a:lnTo>
                    <a:pt x="114" y="361"/>
                  </a:lnTo>
                  <a:close/>
                  <a:moveTo>
                    <a:pt x="55" y="361"/>
                  </a:moveTo>
                  <a:lnTo>
                    <a:pt x="57" y="361"/>
                  </a:lnTo>
                  <a:lnTo>
                    <a:pt x="55" y="361"/>
                  </a:lnTo>
                  <a:close/>
                  <a:moveTo>
                    <a:pt x="67" y="361"/>
                  </a:moveTo>
                  <a:lnTo>
                    <a:pt x="64" y="361"/>
                  </a:lnTo>
                  <a:lnTo>
                    <a:pt x="67" y="361"/>
                  </a:lnTo>
                  <a:close/>
                  <a:moveTo>
                    <a:pt x="97" y="361"/>
                  </a:moveTo>
                  <a:lnTo>
                    <a:pt x="100" y="361"/>
                  </a:lnTo>
                  <a:lnTo>
                    <a:pt x="97" y="361"/>
                  </a:lnTo>
                  <a:close/>
                  <a:moveTo>
                    <a:pt x="102" y="361"/>
                  </a:moveTo>
                  <a:lnTo>
                    <a:pt x="100" y="361"/>
                  </a:lnTo>
                  <a:lnTo>
                    <a:pt x="102" y="361"/>
                  </a:lnTo>
                  <a:close/>
                  <a:moveTo>
                    <a:pt x="64" y="361"/>
                  </a:moveTo>
                  <a:lnTo>
                    <a:pt x="62" y="361"/>
                  </a:lnTo>
                  <a:lnTo>
                    <a:pt x="64" y="361"/>
                  </a:lnTo>
                  <a:close/>
                  <a:moveTo>
                    <a:pt x="114" y="361"/>
                  </a:moveTo>
                  <a:lnTo>
                    <a:pt x="112" y="361"/>
                  </a:lnTo>
                  <a:lnTo>
                    <a:pt x="114" y="361"/>
                  </a:lnTo>
                  <a:close/>
                  <a:moveTo>
                    <a:pt x="64" y="361"/>
                  </a:moveTo>
                  <a:lnTo>
                    <a:pt x="62" y="361"/>
                  </a:lnTo>
                  <a:lnTo>
                    <a:pt x="64" y="361"/>
                  </a:lnTo>
                  <a:close/>
                  <a:moveTo>
                    <a:pt x="78" y="361"/>
                  </a:moveTo>
                  <a:lnTo>
                    <a:pt x="76" y="361"/>
                  </a:lnTo>
                  <a:lnTo>
                    <a:pt x="78" y="361"/>
                  </a:lnTo>
                  <a:close/>
                  <a:moveTo>
                    <a:pt x="93" y="361"/>
                  </a:moveTo>
                  <a:lnTo>
                    <a:pt x="90" y="361"/>
                  </a:lnTo>
                  <a:lnTo>
                    <a:pt x="93" y="361"/>
                  </a:lnTo>
                  <a:close/>
                  <a:moveTo>
                    <a:pt x="40" y="361"/>
                  </a:moveTo>
                  <a:lnTo>
                    <a:pt x="38" y="361"/>
                  </a:lnTo>
                  <a:lnTo>
                    <a:pt x="40" y="361"/>
                  </a:lnTo>
                  <a:close/>
                  <a:moveTo>
                    <a:pt x="64" y="361"/>
                  </a:moveTo>
                  <a:lnTo>
                    <a:pt x="62" y="361"/>
                  </a:lnTo>
                  <a:lnTo>
                    <a:pt x="64" y="361"/>
                  </a:lnTo>
                  <a:close/>
                  <a:moveTo>
                    <a:pt x="67" y="361"/>
                  </a:moveTo>
                  <a:lnTo>
                    <a:pt x="64" y="361"/>
                  </a:lnTo>
                  <a:lnTo>
                    <a:pt x="67" y="361"/>
                  </a:lnTo>
                  <a:close/>
                  <a:moveTo>
                    <a:pt x="169" y="361"/>
                  </a:moveTo>
                  <a:lnTo>
                    <a:pt x="171" y="361"/>
                  </a:lnTo>
                  <a:lnTo>
                    <a:pt x="169" y="361"/>
                  </a:lnTo>
                  <a:close/>
                  <a:moveTo>
                    <a:pt x="26" y="361"/>
                  </a:moveTo>
                  <a:lnTo>
                    <a:pt x="24" y="361"/>
                  </a:lnTo>
                  <a:lnTo>
                    <a:pt x="26" y="361"/>
                  </a:lnTo>
                  <a:close/>
                  <a:moveTo>
                    <a:pt x="100" y="361"/>
                  </a:moveTo>
                  <a:lnTo>
                    <a:pt x="97" y="361"/>
                  </a:lnTo>
                  <a:lnTo>
                    <a:pt x="100" y="361"/>
                  </a:lnTo>
                  <a:close/>
                  <a:moveTo>
                    <a:pt x="171" y="361"/>
                  </a:moveTo>
                  <a:lnTo>
                    <a:pt x="173" y="361"/>
                  </a:lnTo>
                  <a:lnTo>
                    <a:pt x="171" y="361"/>
                  </a:lnTo>
                  <a:close/>
                  <a:moveTo>
                    <a:pt x="123" y="361"/>
                  </a:moveTo>
                  <a:lnTo>
                    <a:pt x="123" y="359"/>
                  </a:lnTo>
                  <a:lnTo>
                    <a:pt x="123" y="361"/>
                  </a:lnTo>
                  <a:close/>
                  <a:moveTo>
                    <a:pt x="62" y="361"/>
                  </a:moveTo>
                  <a:lnTo>
                    <a:pt x="62" y="359"/>
                  </a:lnTo>
                  <a:lnTo>
                    <a:pt x="62" y="361"/>
                  </a:lnTo>
                  <a:close/>
                  <a:moveTo>
                    <a:pt x="71" y="361"/>
                  </a:moveTo>
                  <a:lnTo>
                    <a:pt x="71" y="359"/>
                  </a:lnTo>
                  <a:lnTo>
                    <a:pt x="71" y="361"/>
                  </a:lnTo>
                  <a:close/>
                  <a:moveTo>
                    <a:pt x="78" y="361"/>
                  </a:moveTo>
                  <a:lnTo>
                    <a:pt x="78" y="359"/>
                  </a:lnTo>
                  <a:lnTo>
                    <a:pt x="78" y="361"/>
                  </a:lnTo>
                  <a:close/>
                  <a:moveTo>
                    <a:pt x="24" y="361"/>
                  </a:moveTo>
                  <a:lnTo>
                    <a:pt x="24" y="359"/>
                  </a:lnTo>
                  <a:lnTo>
                    <a:pt x="24" y="361"/>
                  </a:lnTo>
                  <a:close/>
                  <a:moveTo>
                    <a:pt x="159" y="361"/>
                  </a:moveTo>
                  <a:lnTo>
                    <a:pt x="159" y="359"/>
                  </a:lnTo>
                  <a:lnTo>
                    <a:pt x="159" y="361"/>
                  </a:lnTo>
                  <a:close/>
                  <a:moveTo>
                    <a:pt x="50" y="361"/>
                  </a:moveTo>
                  <a:lnTo>
                    <a:pt x="50" y="359"/>
                  </a:lnTo>
                  <a:lnTo>
                    <a:pt x="50" y="361"/>
                  </a:lnTo>
                  <a:close/>
                  <a:moveTo>
                    <a:pt x="48" y="361"/>
                  </a:moveTo>
                  <a:lnTo>
                    <a:pt x="48" y="359"/>
                  </a:lnTo>
                  <a:lnTo>
                    <a:pt x="48" y="361"/>
                  </a:lnTo>
                  <a:close/>
                  <a:moveTo>
                    <a:pt x="52" y="361"/>
                  </a:moveTo>
                  <a:lnTo>
                    <a:pt x="52" y="359"/>
                  </a:lnTo>
                  <a:lnTo>
                    <a:pt x="52" y="361"/>
                  </a:lnTo>
                  <a:close/>
                  <a:moveTo>
                    <a:pt x="93" y="361"/>
                  </a:moveTo>
                  <a:lnTo>
                    <a:pt x="93" y="359"/>
                  </a:lnTo>
                  <a:lnTo>
                    <a:pt x="93" y="361"/>
                  </a:lnTo>
                  <a:close/>
                  <a:moveTo>
                    <a:pt x="50" y="361"/>
                  </a:moveTo>
                  <a:lnTo>
                    <a:pt x="50" y="359"/>
                  </a:lnTo>
                  <a:lnTo>
                    <a:pt x="50" y="361"/>
                  </a:lnTo>
                  <a:close/>
                  <a:moveTo>
                    <a:pt x="86" y="359"/>
                  </a:moveTo>
                  <a:lnTo>
                    <a:pt x="86" y="361"/>
                  </a:lnTo>
                  <a:lnTo>
                    <a:pt x="86" y="359"/>
                  </a:lnTo>
                  <a:close/>
                  <a:moveTo>
                    <a:pt x="81" y="359"/>
                  </a:moveTo>
                  <a:lnTo>
                    <a:pt x="81" y="361"/>
                  </a:lnTo>
                  <a:lnTo>
                    <a:pt x="81" y="359"/>
                  </a:lnTo>
                  <a:close/>
                  <a:moveTo>
                    <a:pt x="102" y="359"/>
                  </a:moveTo>
                  <a:lnTo>
                    <a:pt x="102" y="361"/>
                  </a:lnTo>
                  <a:lnTo>
                    <a:pt x="102" y="359"/>
                  </a:lnTo>
                  <a:close/>
                  <a:moveTo>
                    <a:pt x="57" y="359"/>
                  </a:moveTo>
                  <a:lnTo>
                    <a:pt x="55" y="361"/>
                  </a:lnTo>
                  <a:lnTo>
                    <a:pt x="55" y="359"/>
                  </a:lnTo>
                  <a:lnTo>
                    <a:pt x="57" y="359"/>
                  </a:lnTo>
                  <a:close/>
                  <a:moveTo>
                    <a:pt x="55" y="361"/>
                  </a:moveTo>
                  <a:lnTo>
                    <a:pt x="55" y="359"/>
                  </a:lnTo>
                  <a:lnTo>
                    <a:pt x="55" y="361"/>
                  </a:lnTo>
                  <a:close/>
                  <a:moveTo>
                    <a:pt x="57" y="359"/>
                  </a:moveTo>
                  <a:lnTo>
                    <a:pt x="57" y="361"/>
                  </a:lnTo>
                  <a:lnTo>
                    <a:pt x="57" y="359"/>
                  </a:lnTo>
                  <a:close/>
                  <a:moveTo>
                    <a:pt x="121" y="361"/>
                  </a:moveTo>
                  <a:lnTo>
                    <a:pt x="121" y="359"/>
                  </a:lnTo>
                  <a:lnTo>
                    <a:pt x="121" y="361"/>
                  </a:lnTo>
                  <a:close/>
                  <a:moveTo>
                    <a:pt x="171" y="359"/>
                  </a:moveTo>
                  <a:lnTo>
                    <a:pt x="171" y="361"/>
                  </a:lnTo>
                  <a:lnTo>
                    <a:pt x="171" y="359"/>
                  </a:lnTo>
                  <a:close/>
                  <a:moveTo>
                    <a:pt x="40" y="359"/>
                  </a:moveTo>
                  <a:lnTo>
                    <a:pt x="40" y="361"/>
                  </a:lnTo>
                  <a:lnTo>
                    <a:pt x="40" y="359"/>
                  </a:lnTo>
                  <a:close/>
                  <a:moveTo>
                    <a:pt x="64" y="361"/>
                  </a:moveTo>
                  <a:lnTo>
                    <a:pt x="64" y="359"/>
                  </a:lnTo>
                  <a:lnTo>
                    <a:pt x="64" y="361"/>
                  </a:lnTo>
                  <a:close/>
                  <a:moveTo>
                    <a:pt x="78" y="361"/>
                  </a:moveTo>
                  <a:lnTo>
                    <a:pt x="78" y="359"/>
                  </a:lnTo>
                  <a:lnTo>
                    <a:pt x="78" y="361"/>
                  </a:lnTo>
                  <a:close/>
                  <a:moveTo>
                    <a:pt x="76" y="359"/>
                  </a:moveTo>
                  <a:lnTo>
                    <a:pt x="76" y="361"/>
                  </a:lnTo>
                  <a:lnTo>
                    <a:pt x="76" y="359"/>
                  </a:lnTo>
                  <a:close/>
                  <a:moveTo>
                    <a:pt x="38" y="359"/>
                  </a:moveTo>
                  <a:lnTo>
                    <a:pt x="38" y="361"/>
                  </a:lnTo>
                  <a:lnTo>
                    <a:pt x="38" y="359"/>
                  </a:lnTo>
                  <a:close/>
                  <a:moveTo>
                    <a:pt x="43" y="359"/>
                  </a:moveTo>
                  <a:lnTo>
                    <a:pt x="43" y="361"/>
                  </a:lnTo>
                  <a:lnTo>
                    <a:pt x="43" y="359"/>
                  </a:lnTo>
                  <a:close/>
                  <a:moveTo>
                    <a:pt x="67" y="359"/>
                  </a:moveTo>
                  <a:lnTo>
                    <a:pt x="64" y="361"/>
                  </a:lnTo>
                  <a:lnTo>
                    <a:pt x="64" y="359"/>
                  </a:lnTo>
                  <a:lnTo>
                    <a:pt x="67" y="359"/>
                  </a:lnTo>
                  <a:close/>
                  <a:moveTo>
                    <a:pt x="104" y="361"/>
                  </a:moveTo>
                  <a:lnTo>
                    <a:pt x="104" y="359"/>
                  </a:lnTo>
                  <a:lnTo>
                    <a:pt x="104" y="361"/>
                  </a:lnTo>
                  <a:close/>
                  <a:moveTo>
                    <a:pt x="102" y="359"/>
                  </a:moveTo>
                  <a:lnTo>
                    <a:pt x="102" y="361"/>
                  </a:lnTo>
                  <a:lnTo>
                    <a:pt x="102" y="359"/>
                  </a:lnTo>
                  <a:close/>
                  <a:moveTo>
                    <a:pt x="78" y="359"/>
                  </a:moveTo>
                  <a:lnTo>
                    <a:pt x="78" y="361"/>
                  </a:lnTo>
                  <a:lnTo>
                    <a:pt x="78" y="359"/>
                  </a:lnTo>
                  <a:lnTo>
                    <a:pt x="76" y="361"/>
                  </a:lnTo>
                  <a:lnTo>
                    <a:pt x="76" y="359"/>
                  </a:lnTo>
                  <a:lnTo>
                    <a:pt x="78" y="359"/>
                  </a:lnTo>
                  <a:close/>
                  <a:moveTo>
                    <a:pt x="114" y="359"/>
                  </a:moveTo>
                  <a:lnTo>
                    <a:pt x="112" y="359"/>
                  </a:lnTo>
                  <a:lnTo>
                    <a:pt x="114" y="359"/>
                  </a:lnTo>
                  <a:close/>
                  <a:moveTo>
                    <a:pt x="157" y="359"/>
                  </a:moveTo>
                  <a:lnTo>
                    <a:pt x="154" y="359"/>
                  </a:lnTo>
                  <a:lnTo>
                    <a:pt x="157" y="359"/>
                  </a:lnTo>
                  <a:close/>
                  <a:moveTo>
                    <a:pt x="62" y="359"/>
                  </a:moveTo>
                  <a:lnTo>
                    <a:pt x="59" y="359"/>
                  </a:lnTo>
                  <a:lnTo>
                    <a:pt x="62" y="359"/>
                  </a:lnTo>
                  <a:close/>
                  <a:moveTo>
                    <a:pt x="50" y="359"/>
                  </a:moveTo>
                  <a:lnTo>
                    <a:pt x="52" y="359"/>
                  </a:lnTo>
                  <a:lnTo>
                    <a:pt x="50" y="359"/>
                  </a:lnTo>
                  <a:close/>
                  <a:moveTo>
                    <a:pt x="55" y="359"/>
                  </a:moveTo>
                  <a:lnTo>
                    <a:pt x="57" y="359"/>
                  </a:lnTo>
                  <a:lnTo>
                    <a:pt x="55" y="359"/>
                  </a:lnTo>
                  <a:close/>
                  <a:moveTo>
                    <a:pt x="55" y="359"/>
                  </a:moveTo>
                  <a:lnTo>
                    <a:pt x="52" y="359"/>
                  </a:lnTo>
                  <a:lnTo>
                    <a:pt x="55" y="359"/>
                  </a:lnTo>
                  <a:close/>
                  <a:moveTo>
                    <a:pt x="159" y="359"/>
                  </a:moveTo>
                  <a:lnTo>
                    <a:pt x="157" y="359"/>
                  </a:lnTo>
                  <a:lnTo>
                    <a:pt x="159" y="359"/>
                  </a:lnTo>
                  <a:close/>
                  <a:moveTo>
                    <a:pt x="55" y="359"/>
                  </a:moveTo>
                  <a:lnTo>
                    <a:pt x="52" y="359"/>
                  </a:lnTo>
                  <a:lnTo>
                    <a:pt x="55" y="359"/>
                  </a:lnTo>
                  <a:close/>
                  <a:moveTo>
                    <a:pt x="81" y="359"/>
                  </a:moveTo>
                  <a:lnTo>
                    <a:pt x="78" y="359"/>
                  </a:lnTo>
                  <a:lnTo>
                    <a:pt x="81" y="359"/>
                  </a:lnTo>
                  <a:close/>
                  <a:moveTo>
                    <a:pt x="43" y="359"/>
                  </a:moveTo>
                  <a:lnTo>
                    <a:pt x="40" y="359"/>
                  </a:lnTo>
                  <a:lnTo>
                    <a:pt x="43" y="359"/>
                  </a:lnTo>
                  <a:close/>
                  <a:moveTo>
                    <a:pt x="173" y="359"/>
                  </a:moveTo>
                  <a:lnTo>
                    <a:pt x="171" y="359"/>
                  </a:lnTo>
                  <a:lnTo>
                    <a:pt x="173" y="359"/>
                  </a:lnTo>
                  <a:close/>
                  <a:moveTo>
                    <a:pt x="161" y="359"/>
                  </a:moveTo>
                  <a:lnTo>
                    <a:pt x="159" y="359"/>
                  </a:lnTo>
                  <a:lnTo>
                    <a:pt x="161" y="359"/>
                  </a:lnTo>
                  <a:close/>
                  <a:moveTo>
                    <a:pt x="112" y="359"/>
                  </a:moveTo>
                  <a:lnTo>
                    <a:pt x="114" y="359"/>
                  </a:lnTo>
                  <a:lnTo>
                    <a:pt x="112" y="359"/>
                  </a:lnTo>
                  <a:close/>
                  <a:moveTo>
                    <a:pt x="157" y="359"/>
                  </a:moveTo>
                  <a:lnTo>
                    <a:pt x="154" y="359"/>
                  </a:lnTo>
                  <a:lnTo>
                    <a:pt x="157" y="359"/>
                  </a:lnTo>
                  <a:close/>
                  <a:moveTo>
                    <a:pt x="173" y="359"/>
                  </a:moveTo>
                  <a:lnTo>
                    <a:pt x="171" y="359"/>
                  </a:lnTo>
                  <a:lnTo>
                    <a:pt x="173" y="359"/>
                  </a:lnTo>
                  <a:close/>
                  <a:moveTo>
                    <a:pt x="38" y="359"/>
                  </a:moveTo>
                  <a:lnTo>
                    <a:pt x="36" y="359"/>
                  </a:lnTo>
                  <a:lnTo>
                    <a:pt x="38" y="359"/>
                  </a:lnTo>
                  <a:close/>
                  <a:moveTo>
                    <a:pt x="81" y="359"/>
                  </a:moveTo>
                  <a:lnTo>
                    <a:pt x="78" y="359"/>
                  </a:lnTo>
                  <a:lnTo>
                    <a:pt x="81" y="359"/>
                  </a:lnTo>
                  <a:close/>
                  <a:moveTo>
                    <a:pt x="109" y="359"/>
                  </a:moveTo>
                  <a:lnTo>
                    <a:pt x="107" y="359"/>
                  </a:lnTo>
                  <a:lnTo>
                    <a:pt x="109" y="359"/>
                  </a:lnTo>
                  <a:close/>
                  <a:moveTo>
                    <a:pt x="161" y="359"/>
                  </a:moveTo>
                  <a:lnTo>
                    <a:pt x="159" y="359"/>
                  </a:lnTo>
                  <a:lnTo>
                    <a:pt x="161" y="359"/>
                  </a:lnTo>
                  <a:close/>
                  <a:moveTo>
                    <a:pt x="78" y="359"/>
                  </a:moveTo>
                  <a:lnTo>
                    <a:pt x="76" y="359"/>
                  </a:lnTo>
                  <a:lnTo>
                    <a:pt x="78" y="359"/>
                  </a:lnTo>
                  <a:close/>
                  <a:moveTo>
                    <a:pt x="55" y="359"/>
                  </a:moveTo>
                  <a:lnTo>
                    <a:pt x="52" y="359"/>
                  </a:lnTo>
                  <a:lnTo>
                    <a:pt x="55" y="359"/>
                  </a:lnTo>
                  <a:close/>
                  <a:moveTo>
                    <a:pt x="88" y="359"/>
                  </a:moveTo>
                  <a:lnTo>
                    <a:pt x="86" y="359"/>
                  </a:lnTo>
                  <a:lnTo>
                    <a:pt x="88" y="359"/>
                  </a:lnTo>
                  <a:close/>
                  <a:moveTo>
                    <a:pt x="36" y="359"/>
                  </a:moveTo>
                  <a:lnTo>
                    <a:pt x="33" y="359"/>
                  </a:lnTo>
                  <a:lnTo>
                    <a:pt x="36" y="359"/>
                  </a:lnTo>
                  <a:close/>
                  <a:moveTo>
                    <a:pt x="38" y="359"/>
                  </a:moveTo>
                  <a:lnTo>
                    <a:pt x="38" y="357"/>
                  </a:lnTo>
                  <a:lnTo>
                    <a:pt x="38" y="359"/>
                  </a:lnTo>
                  <a:close/>
                  <a:moveTo>
                    <a:pt x="52" y="359"/>
                  </a:moveTo>
                  <a:lnTo>
                    <a:pt x="52" y="357"/>
                  </a:lnTo>
                  <a:lnTo>
                    <a:pt x="52" y="359"/>
                  </a:lnTo>
                  <a:close/>
                  <a:moveTo>
                    <a:pt x="107" y="357"/>
                  </a:moveTo>
                  <a:lnTo>
                    <a:pt x="107" y="359"/>
                  </a:lnTo>
                  <a:lnTo>
                    <a:pt x="107" y="357"/>
                  </a:lnTo>
                  <a:close/>
                  <a:moveTo>
                    <a:pt x="159" y="359"/>
                  </a:moveTo>
                  <a:lnTo>
                    <a:pt x="159" y="357"/>
                  </a:lnTo>
                  <a:lnTo>
                    <a:pt x="159" y="359"/>
                  </a:lnTo>
                  <a:close/>
                  <a:moveTo>
                    <a:pt x="19" y="357"/>
                  </a:moveTo>
                  <a:lnTo>
                    <a:pt x="19" y="359"/>
                  </a:lnTo>
                  <a:lnTo>
                    <a:pt x="19" y="357"/>
                  </a:lnTo>
                  <a:close/>
                  <a:moveTo>
                    <a:pt x="71" y="359"/>
                  </a:moveTo>
                  <a:lnTo>
                    <a:pt x="71" y="357"/>
                  </a:lnTo>
                  <a:lnTo>
                    <a:pt x="71" y="359"/>
                  </a:lnTo>
                  <a:close/>
                  <a:moveTo>
                    <a:pt x="48" y="359"/>
                  </a:moveTo>
                  <a:lnTo>
                    <a:pt x="48" y="357"/>
                  </a:lnTo>
                  <a:lnTo>
                    <a:pt x="48" y="359"/>
                  </a:lnTo>
                  <a:close/>
                  <a:moveTo>
                    <a:pt x="157" y="357"/>
                  </a:moveTo>
                  <a:lnTo>
                    <a:pt x="157" y="359"/>
                  </a:lnTo>
                  <a:lnTo>
                    <a:pt x="157" y="357"/>
                  </a:lnTo>
                  <a:close/>
                  <a:moveTo>
                    <a:pt x="93" y="359"/>
                  </a:moveTo>
                  <a:lnTo>
                    <a:pt x="93" y="357"/>
                  </a:lnTo>
                  <a:lnTo>
                    <a:pt x="93" y="359"/>
                  </a:lnTo>
                  <a:close/>
                  <a:moveTo>
                    <a:pt x="50" y="359"/>
                  </a:moveTo>
                  <a:lnTo>
                    <a:pt x="50" y="357"/>
                  </a:lnTo>
                  <a:lnTo>
                    <a:pt x="50" y="359"/>
                  </a:lnTo>
                  <a:close/>
                  <a:moveTo>
                    <a:pt x="24" y="359"/>
                  </a:moveTo>
                  <a:lnTo>
                    <a:pt x="21" y="359"/>
                  </a:lnTo>
                  <a:lnTo>
                    <a:pt x="21" y="357"/>
                  </a:lnTo>
                  <a:lnTo>
                    <a:pt x="24" y="359"/>
                  </a:lnTo>
                  <a:close/>
                  <a:moveTo>
                    <a:pt x="50" y="357"/>
                  </a:moveTo>
                  <a:lnTo>
                    <a:pt x="50" y="359"/>
                  </a:lnTo>
                  <a:lnTo>
                    <a:pt x="50" y="357"/>
                  </a:lnTo>
                  <a:close/>
                  <a:moveTo>
                    <a:pt x="81" y="359"/>
                  </a:moveTo>
                  <a:lnTo>
                    <a:pt x="81" y="357"/>
                  </a:lnTo>
                  <a:lnTo>
                    <a:pt x="81" y="359"/>
                  </a:lnTo>
                  <a:close/>
                  <a:moveTo>
                    <a:pt x="88" y="359"/>
                  </a:moveTo>
                  <a:lnTo>
                    <a:pt x="88" y="357"/>
                  </a:lnTo>
                  <a:lnTo>
                    <a:pt x="88" y="359"/>
                  </a:lnTo>
                  <a:close/>
                  <a:moveTo>
                    <a:pt x="21" y="359"/>
                  </a:moveTo>
                  <a:lnTo>
                    <a:pt x="21" y="357"/>
                  </a:lnTo>
                  <a:lnTo>
                    <a:pt x="21" y="359"/>
                  </a:lnTo>
                  <a:close/>
                  <a:moveTo>
                    <a:pt x="38" y="357"/>
                  </a:moveTo>
                  <a:lnTo>
                    <a:pt x="38" y="359"/>
                  </a:lnTo>
                  <a:lnTo>
                    <a:pt x="38" y="357"/>
                  </a:lnTo>
                  <a:close/>
                  <a:moveTo>
                    <a:pt x="93" y="357"/>
                  </a:moveTo>
                  <a:lnTo>
                    <a:pt x="93" y="359"/>
                  </a:lnTo>
                  <a:lnTo>
                    <a:pt x="93" y="357"/>
                  </a:lnTo>
                  <a:close/>
                  <a:moveTo>
                    <a:pt x="43" y="357"/>
                  </a:moveTo>
                  <a:lnTo>
                    <a:pt x="43" y="359"/>
                  </a:lnTo>
                  <a:lnTo>
                    <a:pt x="43" y="357"/>
                  </a:lnTo>
                  <a:close/>
                  <a:moveTo>
                    <a:pt x="97" y="357"/>
                  </a:moveTo>
                  <a:lnTo>
                    <a:pt x="97" y="359"/>
                  </a:lnTo>
                  <a:lnTo>
                    <a:pt x="97" y="357"/>
                  </a:lnTo>
                  <a:close/>
                  <a:moveTo>
                    <a:pt x="33" y="359"/>
                  </a:moveTo>
                  <a:lnTo>
                    <a:pt x="33" y="357"/>
                  </a:lnTo>
                  <a:lnTo>
                    <a:pt x="33" y="359"/>
                  </a:lnTo>
                  <a:close/>
                  <a:moveTo>
                    <a:pt x="88" y="359"/>
                  </a:moveTo>
                  <a:lnTo>
                    <a:pt x="88" y="357"/>
                  </a:lnTo>
                  <a:lnTo>
                    <a:pt x="88" y="359"/>
                  </a:lnTo>
                  <a:close/>
                  <a:moveTo>
                    <a:pt x="50" y="357"/>
                  </a:moveTo>
                  <a:lnTo>
                    <a:pt x="50" y="359"/>
                  </a:lnTo>
                  <a:lnTo>
                    <a:pt x="50" y="357"/>
                  </a:lnTo>
                  <a:close/>
                  <a:moveTo>
                    <a:pt x="36" y="357"/>
                  </a:moveTo>
                  <a:lnTo>
                    <a:pt x="33" y="357"/>
                  </a:lnTo>
                  <a:lnTo>
                    <a:pt x="36" y="357"/>
                  </a:lnTo>
                  <a:close/>
                  <a:moveTo>
                    <a:pt x="24" y="359"/>
                  </a:moveTo>
                  <a:lnTo>
                    <a:pt x="24" y="357"/>
                  </a:lnTo>
                  <a:lnTo>
                    <a:pt x="24" y="359"/>
                  </a:lnTo>
                  <a:close/>
                  <a:moveTo>
                    <a:pt x="19" y="359"/>
                  </a:moveTo>
                  <a:lnTo>
                    <a:pt x="19" y="357"/>
                  </a:lnTo>
                  <a:lnTo>
                    <a:pt x="19" y="359"/>
                  </a:lnTo>
                  <a:close/>
                  <a:moveTo>
                    <a:pt x="90" y="359"/>
                  </a:moveTo>
                  <a:lnTo>
                    <a:pt x="90" y="357"/>
                  </a:lnTo>
                  <a:lnTo>
                    <a:pt x="90" y="359"/>
                  </a:lnTo>
                  <a:close/>
                  <a:moveTo>
                    <a:pt x="97" y="357"/>
                  </a:moveTo>
                  <a:lnTo>
                    <a:pt x="97" y="359"/>
                  </a:lnTo>
                  <a:lnTo>
                    <a:pt x="97" y="357"/>
                  </a:lnTo>
                  <a:close/>
                  <a:moveTo>
                    <a:pt x="57" y="359"/>
                  </a:moveTo>
                  <a:lnTo>
                    <a:pt x="57" y="357"/>
                  </a:lnTo>
                  <a:lnTo>
                    <a:pt x="57" y="359"/>
                  </a:lnTo>
                  <a:close/>
                  <a:moveTo>
                    <a:pt x="52" y="357"/>
                  </a:moveTo>
                  <a:lnTo>
                    <a:pt x="52" y="359"/>
                  </a:lnTo>
                  <a:lnTo>
                    <a:pt x="52" y="357"/>
                  </a:lnTo>
                  <a:close/>
                  <a:moveTo>
                    <a:pt x="159" y="357"/>
                  </a:moveTo>
                  <a:lnTo>
                    <a:pt x="159" y="359"/>
                  </a:lnTo>
                  <a:lnTo>
                    <a:pt x="159" y="357"/>
                  </a:lnTo>
                  <a:close/>
                  <a:moveTo>
                    <a:pt x="19" y="359"/>
                  </a:moveTo>
                  <a:lnTo>
                    <a:pt x="19" y="357"/>
                  </a:lnTo>
                  <a:lnTo>
                    <a:pt x="19" y="359"/>
                  </a:lnTo>
                  <a:close/>
                  <a:moveTo>
                    <a:pt x="71" y="357"/>
                  </a:moveTo>
                  <a:lnTo>
                    <a:pt x="71" y="359"/>
                  </a:lnTo>
                  <a:lnTo>
                    <a:pt x="71" y="357"/>
                  </a:lnTo>
                  <a:close/>
                  <a:moveTo>
                    <a:pt x="52" y="357"/>
                  </a:moveTo>
                  <a:lnTo>
                    <a:pt x="52" y="359"/>
                  </a:lnTo>
                  <a:lnTo>
                    <a:pt x="52" y="357"/>
                  </a:lnTo>
                  <a:close/>
                  <a:moveTo>
                    <a:pt x="45" y="359"/>
                  </a:moveTo>
                  <a:lnTo>
                    <a:pt x="45" y="357"/>
                  </a:lnTo>
                  <a:lnTo>
                    <a:pt x="45" y="359"/>
                  </a:lnTo>
                  <a:close/>
                  <a:moveTo>
                    <a:pt x="19" y="357"/>
                  </a:moveTo>
                  <a:lnTo>
                    <a:pt x="19" y="359"/>
                  </a:lnTo>
                  <a:lnTo>
                    <a:pt x="19" y="357"/>
                  </a:lnTo>
                  <a:close/>
                  <a:moveTo>
                    <a:pt x="29" y="359"/>
                  </a:moveTo>
                  <a:lnTo>
                    <a:pt x="29" y="357"/>
                  </a:lnTo>
                  <a:lnTo>
                    <a:pt x="29" y="359"/>
                  </a:lnTo>
                  <a:close/>
                  <a:moveTo>
                    <a:pt x="24" y="357"/>
                  </a:moveTo>
                  <a:lnTo>
                    <a:pt x="24" y="359"/>
                  </a:lnTo>
                  <a:lnTo>
                    <a:pt x="24" y="357"/>
                  </a:lnTo>
                  <a:close/>
                  <a:moveTo>
                    <a:pt x="178" y="357"/>
                  </a:moveTo>
                  <a:lnTo>
                    <a:pt x="176" y="357"/>
                  </a:lnTo>
                  <a:lnTo>
                    <a:pt x="178" y="357"/>
                  </a:lnTo>
                  <a:close/>
                  <a:moveTo>
                    <a:pt x="78" y="357"/>
                  </a:moveTo>
                  <a:lnTo>
                    <a:pt x="78" y="359"/>
                  </a:lnTo>
                  <a:lnTo>
                    <a:pt x="78" y="357"/>
                  </a:lnTo>
                  <a:close/>
                  <a:moveTo>
                    <a:pt x="164" y="357"/>
                  </a:moveTo>
                  <a:lnTo>
                    <a:pt x="164" y="359"/>
                  </a:lnTo>
                  <a:lnTo>
                    <a:pt x="164" y="357"/>
                  </a:lnTo>
                  <a:close/>
                  <a:moveTo>
                    <a:pt x="48" y="357"/>
                  </a:moveTo>
                  <a:lnTo>
                    <a:pt x="48" y="359"/>
                  </a:lnTo>
                  <a:lnTo>
                    <a:pt x="48" y="357"/>
                  </a:lnTo>
                  <a:close/>
                  <a:moveTo>
                    <a:pt x="62" y="357"/>
                  </a:moveTo>
                  <a:lnTo>
                    <a:pt x="59" y="357"/>
                  </a:lnTo>
                  <a:lnTo>
                    <a:pt x="62" y="357"/>
                  </a:lnTo>
                  <a:close/>
                  <a:moveTo>
                    <a:pt x="71" y="357"/>
                  </a:moveTo>
                  <a:lnTo>
                    <a:pt x="74" y="357"/>
                  </a:lnTo>
                  <a:lnTo>
                    <a:pt x="74" y="359"/>
                  </a:lnTo>
                  <a:lnTo>
                    <a:pt x="74" y="357"/>
                  </a:lnTo>
                  <a:lnTo>
                    <a:pt x="71" y="357"/>
                  </a:lnTo>
                  <a:close/>
                  <a:moveTo>
                    <a:pt x="48" y="357"/>
                  </a:moveTo>
                  <a:lnTo>
                    <a:pt x="48" y="359"/>
                  </a:lnTo>
                  <a:lnTo>
                    <a:pt x="48" y="357"/>
                  </a:lnTo>
                  <a:lnTo>
                    <a:pt x="48" y="359"/>
                  </a:lnTo>
                  <a:lnTo>
                    <a:pt x="48" y="357"/>
                  </a:lnTo>
                  <a:close/>
                  <a:moveTo>
                    <a:pt x="90" y="357"/>
                  </a:moveTo>
                  <a:lnTo>
                    <a:pt x="90" y="359"/>
                  </a:lnTo>
                  <a:lnTo>
                    <a:pt x="90" y="357"/>
                  </a:lnTo>
                  <a:close/>
                  <a:moveTo>
                    <a:pt x="71" y="357"/>
                  </a:moveTo>
                  <a:lnTo>
                    <a:pt x="74" y="357"/>
                  </a:lnTo>
                  <a:lnTo>
                    <a:pt x="71" y="357"/>
                  </a:lnTo>
                  <a:close/>
                  <a:moveTo>
                    <a:pt x="21" y="357"/>
                  </a:moveTo>
                  <a:lnTo>
                    <a:pt x="19" y="357"/>
                  </a:lnTo>
                  <a:lnTo>
                    <a:pt x="21" y="357"/>
                  </a:lnTo>
                  <a:close/>
                  <a:moveTo>
                    <a:pt x="71" y="357"/>
                  </a:moveTo>
                  <a:lnTo>
                    <a:pt x="74" y="357"/>
                  </a:lnTo>
                  <a:lnTo>
                    <a:pt x="71" y="357"/>
                  </a:lnTo>
                  <a:close/>
                  <a:moveTo>
                    <a:pt x="52" y="357"/>
                  </a:moveTo>
                  <a:lnTo>
                    <a:pt x="50" y="357"/>
                  </a:lnTo>
                  <a:lnTo>
                    <a:pt x="52" y="357"/>
                  </a:lnTo>
                  <a:close/>
                  <a:moveTo>
                    <a:pt x="78" y="357"/>
                  </a:moveTo>
                  <a:lnTo>
                    <a:pt x="76" y="357"/>
                  </a:lnTo>
                  <a:lnTo>
                    <a:pt x="78" y="357"/>
                  </a:lnTo>
                  <a:close/>
                  <a:moveTo>
                    <a:pt x="55" y="357"/>
                  </a:moveTo>
                  <a:lnTo>
                    <a:pt x="52" y="357"/>
                  </a:lnTo>
                  <a:lnTo>
                    <a:pt x="55" y="357"/>
                  </a:lnTo>
                  <a:close/>
                  <a:moveTo>
                    <a:pt x="81" y="357"/>
                  </a:moveTo>
                  <a:lnTo>
                    <a:pt x="78" y="357"/>
                  </a:lnTo>
                  <a:lnTo>
                    <a:pt x="81" y="357"/>
                  </a:lnTo>
                  <a:close/>
                  <a:moveTo>
                    <a:pt x="176" y="357"/>
                  </a:moveTo>
                  <a:lnTo>
                    <a:pt x="173" y="357"/>
                  </a:lnTo>
                  <a:lnTo>
                    <a:pt x="176" y="357"/>
                  </a:lnTo>
                  <a:close/>
                  <a:moveTo>
                    <a:pt x="83" y="357"/>
                  </a:moveTo>
                  <a:lnTo>
                    <a:pt x="81" y="357"/>
                  </a:lnTo>
                  <a:lnTo>
                    <a:pt x="83" y="357"/>
                  </a:lnTo>
                  <a:close/>
                  <a:moveTo>
                    <a:pt x="33" y="357"/>
                  </a:moveTo>
                  <a:lnTo>
                    <a:pt x="31" y="357"/>
                  </a:lnTo>
                  <a:lnTo>
                    <a:pt x="33" y="357"/>
                  </a:lnTo>
                  <a:close/>
                  <a:moveTo>
                    <a:pt x="176" y="357"/>
                  </a:moveTo>
                  <a:lnTo>
                    <a:pt x="173" y="357"/>
                  </a:lnTo>
                  <a:lnTo>
                    <a:pt x="176" y="357"/>
                  </a:lnTo>
                  <a:close/>
                  <a:moveTo>
                    <a:pt x="116" y="357"/>
                  </a:moveTo>
                  <a:lnTo>
                    <a:pt x="114" y="357"/>
                  </a:lnTo>
                  <a:lnTo>
                    <a:pt x="116" y="357"/>
                  </a:lnTo>
                  <a:close/>
                  <a:moveTo>
                    <a:pt x="93" y="357"/>
                  </a:moveTo>
                  <a:lnTo>
                    <a:pt x="90" y="357"/>
                  </a:lnTo>
                  <a:lnTo>
                    <a:pt x="93" y="357"/>
                  </a:lnTo>
                  <a:close/>
                  <a:moveTo>
                    <a:pt x="76" y="357"/>
                  </a:moveTo>
                  <a:lnTo>
                    <a:pt x="74" y="357"/>
                  </a:lnTo>
                  <a:lnTo>
                    <a:pt x="76" y="357"/>
                  </a:lnTo>
                  <a:close/>
                  <a:moveTo>
                    <a:pt x="93" y="357"/>
                  </a:moveTo>
                  <a:lnTo>
                    <a:pt x="90" y="357"/>
                  </a:lnTo>
                  <a:lnTo>
                    <a:pt x="93" y="357"/>
                  </a:lnTo>
                  <a:close/>
                  <a:moveTo>
                    <a:pt x="43" y="357"/>
                  </a:moveTo>
                  <a:lnTo>
                    <a:pt x="40" y="357"/>
                  </a:lnTo>
                  <a:lnTo>
                    <a:pt x="43" y="357"/>
                  </a:lnTo>
                  <a:close/>
                  <a:moveTo>
                    <a:pt x="45" y="357"/>
                  </a:moveTo>
                  <a:lnTo>
                    <a:pt x="48" y="357"/>
                  </a:lnTo>
                  <a:lnTo>
                    <a:pt x="45" y="357"/>
                  </a:lnTo>
                  <a:close/>
                  <a:moveTo>
                    <a:pt x="76" y="357"/>
                  </a:moveTo>
                  <a:lnTo>
                    <a:pt x="74" y="357"/>
                  </a:lnTo>
                  <a:lnTo>
                    <a:pt x="76" y="357"/>
                  </a:lnTo>
                  <a:close/>
                  <a:moveTo>
                    <a:pt x="93" y="357"/>
                  </a:moveTo>
                  <a:lnTo>
                    <a:pt x="95" y="357"/>
                  </a:lnTo>
                  <a:lnTo>
                    <a:pt x="93" y="357"/>
                  </a:lnTo>
                  <a:close/>
                  <a:moveTo>
                    <a:pt x="43" y="357"/>
                  </a:moveTo>
                  <a:lnTo>
                    <a:pt x="40" y="357"/>
                  </a:lnTo>
                  <a:lnTo>
                    <a:pt x="43" y="357"/>
                  </a:lnTo>
                  <a:close/>
                  <a:moveTo>
                    <a:pt x="43" y="357"/>
                  </a:moveTo>
                  <a:lnTo>
                    <a:pt x="40" y="357"/>
                  </a:lnTo>
                  <a:lnTo>
                    <a:pt x="43" y="357"/>
                  </a:lnTo>
                  <a:close/>
                  <a:moveTo>
                    <a:pt x="176" y="357"/>
                  </a:moveTo>
                  <a:lnTo>
                    <a:pt x="173" y="357"/>
                  </a:lnTo>
                  <a:lnTo>
                    <a:pt x="176" y="357"/>
                  </a:lnTo>
                  <a:close/>
                  <a:moveTo>
                    <a:pt x="40" y="357"/>
                  </a:moveTo>
                  <a:lnTo>
                    <a:pt x="38" y="357"/>
                  </a:lnTo>
                  <a:lnTo>
                    <a:pt x="40" y="357"/>
                  </a:lnTo>
                  <a:close/>
                  <a:moveTo>
                    <a:pt x="176" y="354"/>
                  </a:moveTo>
                  <a:lnTo>
                    <a:pt x="176" y="357"/>
                  </a:lnTo>
                  <a:lnTo>
                    <a:pt x="176" y="354"/>
                  </a:lnTo>
                  <a:close/>
                  <a:moveTo>
                    <a:pt x="81" y="354"/>
                  </a:moveTo>
                  <a:lnTo>
                    <a:pt x="81" y="357"/>
                  </a:lnTo>
                  <a:lnTo>
                    <a:pt x="81" y="354"/>
                  </a:lnTo>
                  <a:close/>
                  <a:moveTo>
                    <a:pt x="176" y="357"/>
                  </a:moveTo>
                  <a:lnTo>
                    <a:pt x="176" y="354"/>
                  </a:lnTo>
                  <a:lnTo>
                    <a:pt x="176" y="357"/>
                  </a:lnTo>
                  <a:close/>
                  <a:moveTo>
                    <a:pt x="86" y="357"/>
                  </a:moveTo>
                  <a:lnTo>
                    <a:pt x="83" y="357"/>
                  </a:lnTo>
                  <a:lnTo>
                    <a:pt x="83" y="354"/>
                  </a:lnTo>
                  <a:lnTo>
                    <a:pt x="86" y="357"/>
                  </a:lnTo>
                  <a:close/>
                  <a:moveTo>
                    <a:pt x="43" y="354"/>
                  </a:moveTo>
                  <a:lnTo>
                    <a:pt x="43" y="357"/>
                  </a:lnTo>
                  <a:lnTo>
                    <a:pt x="43" y="354"/>
                  </a:lnTo>
                  <a:close/>
                  <a:moveTo>
                    <a:pt x="31" y="354"/>
                  </a:moveTo>
                  <a:lnTo>
                    <a:pt x="31" y="357"/>
                  </a:lnTo>
                  <a:lnTo>
                    <a:pt x="31" y="354"/>
                  </a:lnTo>
                  <a:close/>
                  <a:moveTo>
                    <a:pt x="48" y="357"/>
                  </a:moveTo>
                  <a:lnTo>
                    <a:pt x="48" y="354"/>
                  </a:lnTo>
                  <a:lnTo>
                    <a:pt x="48" y="357"/>
                  </a:lnTo>
                  <a:close/>
                  <a:moveTo>
                    <a:pt x="90" y="357"/>
                  </a:moveTo>
                  <a:lnTo>
                    <a:pt x="90" y="354"/>
                  </a:lnTo>
                  <a:lnTo>
                    <a:pt x="90" y="357"/>
                  </a:lnTo>
                  <a:close/>
                  <a:moveTo>
                    <a:pt x="166" y="354"/>
                  </a:moveTo>
                  <a:lnTo>
                    <a:pt x="166" y="357"/>
                  </a:lnTo>
                  <a:lnTo>
                    <a:pt x="166" y="354"/>
                  </a:lnTo>
                  <a:close/>
                  <a:moveTo>
                    <a:pt x="176" y="357"/>
                  </a:moveTo>
                  <a:lnTo>
                    <a:pt x="176" y="354"/>
                  </a:lnTo>
                  <a:lnTo>
                    <a:pt x="176" y="357"/>
                  </a:lnTo>
                  <a:close/>
                  <a:moveTo>
                    <a:pt x="40" y="354"/>
                  </a:moveTo>
                  <a:lnTo>
                    <a:pt x="40" y="357"/>
                  </a:lnTo>
                  <a:lnTo>
                    <a:pt x="40" y="354"/>
                  </a:lnTo>
                  <a:close/>
                  <a:moveTo>
                    <a:pt x="48" y="357"/>
                  </a:moveTo>
                  <a:lnTo>
                    <a:pt x="48" y="354"/>
                  </a:lnTo>
                  <a:lnTo>
                    <a:pt x="48" y="357"/>
                  </a:lnTo>
                  <a:close/>
                  <a:moveTo>
                    <a:pt x="40" y="354"/>
                  </a:moveTo>
                  <a:lnTo>
                    <a:pt x="40" y="357"/>
                  </a:lnTo>
                  <a:lnTo>
                    <a:pt x="40" y="354"/>
                  </a:lnTo>
                  <a:close/>
                  <a:moveTo>
                    <a:pt x="52" y="354"/>
                  </a:moveTo>
                  <a:lnTo>
                    <a:pt x="52" y="357"/>
                  </a:lnTo>
                  <a:lnTo>
                    <a:pt x="52" y="354"/>
                  </a:lnTo>
                  <a:close/>
                  <a:moveTo>
                    <a:pt x="45" y="357"/>
                  </a:moveTo>
                  <a:lnTo>
                    <a:pt x="45" y="354"/>
                  </a:lnTo>
                  <a:lnTo>
                    <a:pt x="45" y="357"/>
                  </a:lnTo>
                  <a:close/>
                  <a:moveTo>
                    <a:pt x="116" y="357"/>
                  </a:moveTo>
                  <a:lnTo>
                    <a:pt x="116" y="354"/>
                  </a:lnTo>
                  <a:lnTo>
                    <a:pt x="116" y="357"/>
                  </a:lnTo>
                  <a:close/>
                  <a:moveTo>
                    <a:pt x="45" y="357"/>
                  </a:moveTo>
                  <a:lnTo>
                    <a:pt x="45" y="354"/>
                  </a:lnTo>
                  <a:lnTo>
                    <a:pt x="45" y="357"/>
                  </a:lnTo>
                  <a:close/>
                  <a:moveTo>
                    <a:pt x="90" y="354"/>
                  </a:moveTo>
                  <a:lnTo>
                    <a:pt x="90" y="357"/>
                  </a:lnTo>
                  <a:lnTo>
                    <a:pt x="90" y="354"/>
                  </a:lnTo>
                  <a:close/>
                  <a:moveTo>
                    <a:pt x="45" y="357"/>
                  </a:moveTo>
                  <a:lnTo>
                    <a:pt x="45" y="354"/>
                  </a:lnTo>
                  <a:lnTo>
                    <a:pt x="45" y="357"/>
                  </a:lnTo>
                  <a:close/>
                  <a:moveTo>
                    <a:pt x="90" y="354"/>
                  </a:moveTo>
                  <a:lnTo>
                    <a:pt x="88" y="354"/>
                  </a:lnTo>
                  <a:lnTo>
                    <a:pt x="90" y="354"/>
                  </a:lnTo>
                  <a:close/>
                  <a:moveTo>
                    <a:pt x="88" y="354"/>
                  </a:moveTo>
                  <a:lnTo>
                    <a:pt x="86" y="354"/>
                  </a:lnTo>
                  <a:lnTo>
                    <a:pt x="88" y="354"/>
                  </a:lnTo>
                  <a:close/>
                  <a:moveTo>
                    <a:pt x="95" y="354"/>
                  </a:moveTo>
                  <a:lnTo>
                    <a:pt x="93" y="354"/>
                  </a:lnTo>
                  <a:lnTo>
                    <a:pt x="95" y="354"/>
                  </a:lnTo>
                  <a:close/>
                  <a:moveTo>
                    <a:pt x="178" y="354"/>
                  </a:moveTo>
                  <a:lnTo>
                    <a:pt x="176" y="354"/>
                  </a:lnTo>
                  <a:lnTo>
                    <a:pt x="178" y="354"/>
                  </a:lnTo>
                  <a:close/>
                  <a:moveTo>
                    <a:pt x="14" y="354"/>
                  </a:moveTo>
                  <a:lnTo>
                    <a:pt x="17" y="354"/>
                  </a:lnTo>
                  <a:lnTo>
                    <a:pt x="14" y="354"/>
                  </a:lnTo>
                  <a:close/>
                  <a:moveTo>
                    <a:pt x="33" y="354"/>
                  </a:moveTo>
                  <a:lnTo>
                    <a:pt x="31" y="354"/>
                  </a:lnTo>
                  <a:lnTo>
                    <a:pt x="33" y="354"/>
                  </a:lnTo>
                  <a:close/>
                  <a:moveTo>
                    <a:pt x="67" y="354"/>
                  </a:moveTo>
                  <a:lnTo>
                    <a:pt x="64" y="354"/>
                  </a:lnTo>
                  <a:lnTo>
                    <a:pt x="67" y="354"/>
                  </a:lnTo>
                  <a:close/>
                  <a:moveTo>
                    <a:pt x="83" y="354"/>
                  </a:moveTo>
                  <a:lnTo>
                    <a:pt x="81" y="354"/>
                  </a:lnTo>
                  <a:lnTo>
                    <a:pt x="83" y="354"/>
                  </a:lnTo>
                  <a:close/>
                  <a:moveTo>
                    <a:pt x="17" y="354"/>
                  </a:moveTo>
                  <a:lnTo>
                    <a:pt x="14" y="354"/>
                  </a:lnTo>
                  <a:lnTo>
                    <a:pt x="17" y="354"/>
                  </a:lnTo>
                  <a:lnTo>
                    <a:pt x="14" y="354"/>
                  </a:lnTo>
                  <a:lnTo>
                    <a:pt x="17" y="354"/>
                  </a:lnTo>
                  <a:close/>
                  <a:moveTo>
                    <a:pt x="67" y="354"/>
                  </a:moveTo>
                  <a:lnTo>
                    <a:pt x="69" y="354"/>
                  </a:lnTo>
                  <a:lnTo>
                    <a:pt x="67" y="354"/>
                  </a:lnTo>
                  <a:close/>
                  <a:moveTo>
                    <a:pt x="90" y="354"/>
                  </a:moveTo>
                  <a:lnTo>
                    <a:pt x="88" y="354"/>
                  </a:lnTo>
                  <a:lnTo>
                    <a:pt x="90" y="354"/>
                  </a:lnTo>
                  <a:close/>
                  <a:moveTo>
                    <a:pt x="86" y="354"/>
                  </a:moveTo>
                  <a:lnTo>
                    <a:pt x="83" y="354"/>
                  </a:lnTo>
                  <a:lnTo>
                    <a:pt x="86" y="354"/>
                  </a:lnTo>
                  <a:close/>
                  <a:moveTo>
                    <a:pt x="180" y="354"/>
                  </a:moveTo>
                  <a:lnTo>
                    <a:pt x="178" y="354"/>
                  </a:lnTo>
                  <a:lnTo>
                    <a:pt x="180" y="354"/>
                  </a:lnTo>
                  <a:close/>
                  <a:moveTo>
                    <a:pt x="29" y="354"/>
                  </a:moveTo>
                  <a:lnTo>
                    <a:pt x="26" y="354"/>
                  </a:lnTo>
                  <a:lnTo>
                    <a:pt x="29" y="354"/>
                  </a:lnTo>
                  <a:close/>
                  <a:moveTo>
                    <a:pt x="74" y="354"/>
                  </a:moveTo>
                  <a:lnTo>
                    <a:pt x="71" y="354"/>
                  </a:lnTo>
                  <a:lnTo>
                    <a:pt x="74" y="354"/>
                  </a:lnTo>
                  <a:close/>
                  <a:moveTo>
                    <a:pt x="24" y="354"/>
                  </a:moveTo>
                  <a:lnTo>
                    <a:pt x="21" y="354"/>
                  </a:lnTo>
                  <a:lnTo>
                    <a:pt x="24" y="354"/>
                  </a:lnTo>
                  <a:close/>
                  <a:moveTo>
                    <a:pt x="17" y="354"/>
                  </a:moveTo>
                  <a:lnTo>
                    <a:pt x="14" y="354"/>
                  </a:lnTo>
                  <a:lnTo>
                    <a:pt x="17" y="354"/>
                  </a:lnTo>
                  <a:close/>
                  <a:moveTo>
                    <a:pt x="95" y="354"/>
                  </a:moveTo>
                  <a:lnTo>
                    <a:pt x="93" y="354"/>
                  </a:lnTo>
                  <a:lnTo>
                    <a:pt x="95" y="354"/>
                  </a:lnTo>
                  <a:close/>
                  <a:moveTo>
                    <a:pt x="104" y="354"/>
                  </a:moveTo>
                  <a:lnTo>
                    <a:pt x="102" y="354"/>
                  </a:lnTo>
                  <a:lnTo>
                    <a:pt x="104" y="354"/>
                  </a:lnTo>
                  <a:close/>
                  <a:moveTo>
                    <a:pt x="43" y="354"/>
                  </a:moveTo>
                  <a:lnTo>
                    <a:pt x="40" y="354"/>
                  </a:lnTo>
                  <a:lnTo>
                    <a:pt x="43" y="354"/>
                  </a:lnTo>
                  <a:close/>
                  <a:moveTo>
                    <a:pt x="83" y="354"/>
                  </a:moveTo>
                  <a:lnTo>
                    <a:pt x="81" y="354"/>
                  </a:lnTo>
                  <a:lnTo>
                    <a:pt x="83" y="354"/>
                  </a:lnTo>
                  <a:close/>
                  <a:moveTo>
                    <a:pt x="43" y="354"/>
                  </a:moveTo>
                  <a:lnTo>
                    <a:pt x="40" y="354"/>
                  </a:lnTo>
                  <a:lnTo>
                    <a:pt x="43" y="354"/>
                  </a:lnTo>
                  <a:close/>
                  <a:moveTo>
                    <a:pt x="86" y="354"/>
                  </a:moveTo>
                  <a:lnTo>
                    <a:pt x="83" y="354"/>
                  </a:lnTo>
                  <a:lnTo>
                    <a:pt x="86" y="354"/>
                  </a:lnTo>
                  <a:close/>
                  <a:moveTo>
                    <a:pt x="81" y="354"/>
                  </a:moveTo>
                  <a:lnTo>
                    <a:pt x="78" y="354"/>
                  </a:lnTo>
                  <a:lnTo>
                    <a:pt x="81" y="354"/>
                  </a:lnTo>
                  <a:close/>
                  <a:moveTo>
                    <a:pt x="102" y="354"/>
                  </a:moveTo>
                  <a:lnTo>
                    <a:pt x="100" y="354"/>
                  </a:lnTo>
                  <a:lnTo>
                    <a:pt x="102" y="354"/>
                  </a:lnTo>
                  <a:lnTo>
                    <a:pt x="100" y="354"/>
                  </a:lnTo>
                  <a:lnTo>
                    <a:pt x="102" y="354"/>
                  </a:lnTo>
                  <a:close/>
                  <a:moveTo>
                    <a:pt x="48" y="354"/>
                  </a:moveTo>
                  <a:lnTo>
                    <a:pt x="45" y="354"/>
                  </a:lnTo>
                  <a:lnTo>
                    <a:pt x="48" y="354"/>
                  </a:lnTo>
                  <a:close/>
                  <a:moveTo>
                    <a:pt x="185" y="352"/>
                  </a:moveTo>
                  <a:lnTo>
                    <a:pt x="185" y="354"/>
                  </a:lnTo>
                  <a:lnTo>
                    <a:pt x="185" y="352"/>
                  </a:lnTo>
                  <a:close/>
                  <a:moveTo>
                    <a:pt x="78" y="352"/>
                  </a:moveTo>
                  <a:lnTo>
                    <a:pt x="78" y="354"/>
                  </a:lnTo>
                  <a:lnTo>
                    <a:pt x="78" y="352"/>
                  </a:lnTo>
                  <a:close/>
                  <a:moveTo>
                    <a:pt x="62" y="354"/>
                  </a:moveTo>
                  <a:lnTo>
                    <a:pt x="59" y="354"/>
                  </a:lnTo>
                  <a:lnTo>
                    <a:pt x="59" y="352"/>
                  </a:lnTo>
                  <a:lnTo>
                    <a:pt x="62" y="354"/>
                  </a:lnTo>
                  <a:close/>
                  <a:moveTo>
                    <a:pt x="195" y="354"/>
                  </a:moveTo>
                  <a:lnTo>
                    <a:pt x="195" y="352"/>
                  </a:lnTo>
                  <a:lnTo>
                    <a:pt x="195" y="354"/>
                  </a:lnTo>
                  <a:close/>
                  <a:moveTo>
                    <a:pt x="90" y="354"/>
                  </a:moveTo>
                  <a:lnTo>
                    <a:pt x="90" y="352"/>
                  </a:lnTo>
                  <a:lnTo>
                    <a:pt x="90" y="354"/>
                  </a:lnTo>
                  <a:close/>
                  <a:moveTo>
                    <a:pt x="12" y="354"/>
                  </a:moveTo>
                  <a:lnTo>
                    <a:pt x="12" y="352"/>
                  </a:lnTo>
                  <a:lnTo>
                    <a:pt x="12" y="354"/>
                  </a:lnTo>
                  <a:close/>
                  <a:moveTo>
                    <a:pt x="71" y="354"/>
                  </a:moveTo>
                  <a:lnTo>
                    <a:pt x="71" y="352"/>
                  </a:lnTo>
                  <a:lnTo>
                    <a:pt x="71" y="354"/>
                  </a:lnTo>
                  <a:close/>
                  <a:moveTo>
                    <a:pt x="180" y="354"/>
                  </a:moveTo>
                  <a:lnTo>
                    <a:pt x="180" y="352"/>
                  </a:lnTo>
                  <a:lnTo>
                    <a:pt x="180" y="354"/>
                  </a:lnTo>
                  <a:close/>
                  <a:moveTo>
                    <a:pt x="59" y="354"/>
                  </a:moveTo>
                  <a:lnTo>
                    <a:pt x="59" y="352"/>
                  </a:lnTo>
                  <a:lnTo>
                    <a:pt x="59" y="354"/>
                  </a:lnTo>
                  <a:close/>
                  <a:moveTo>
                    <a:pt x="83" y="354"/>
                  </a:moveTo>
                  <a:lnTo>
                    <a:pt x="83" y="352"/>
                  </a:lnTo>
                  <a:lnTo>
                    <a:pt x="83" y="354"/>
                  </a:lnTo>
                  <a:close/>
                  <a:moveTo>
                    <a:pt x="69" y="354"/>
                  </a:moveTo>
                  <a:lnTo>
                    <a:pt x="69" y="352"/>
                  </a:lnTo>
                  <a:lnTo>
                    <a:pt x="69" y="354"/>
                  </a:lnTo>
                  <a:close/>
                  <a:moveTo>
                    <a:pt x="202" y="354"/>
                  </a:moveTo>
                  <a:lnTo>
                    <a:pt x="202" y="352"/>
                  </a:lnTo>
                  <a:lnTo>
                    <a:pt x="202" y="354"/>
                  </a:lnTo>
                  <a:close/>
                  <a:moveTo>
                    <a:pt x="78" y="354"/>
                  </a:moveTo>
                  <a:lnTo>
                    <a:pt x="78" y="352"/>
                  </a:lnTo>
                  <a:lnTo>
                    <a:pt x="81" y="352"/>
                  </a:lnTo>
                  <a:lnTo>
                    <a:pt x="78" y="354"/>
                  </a:lnTo>
                  <a:close/>
                  <a:moveTo>
                    <a:pt x="43" y="354"/>
                  </a:moveTo>
                  <a:lnTo>
                    <a:pt x="40" y="354"/>
                  </a:lnTo>
                  <a:lnTo>
                    <a:pt x="43" y="352"/>
                  </a:lnTo>
                  <a:lnTo>
                    <a:pt x="43" y="354"/>
                  </a:lnTo>
                  <a:close/>
                  <a:moveTo>
                    <a:pt x="38" y="352"/>
                  </a:moveTo>
                  <a:lnTo>
                    <a:pt x="38" y="354"/>
                  </a:lnTo>
                  <a:lnTo>
                    <a:pt x="38" y="352"/>
                  </a:lnTo>
                  <a:close/>
                  <a:moveTo>
                    <a:pt x="81" y="352"/>
                  </a:moveTo>
                  <a:lnTo>
                    <a:pt x="81" y="354"/>
                  </a:lnTo>
                  <a:lnTo>
                    <a:pt x="81" y="352"/>
                  </a:lnTo>
                  <a:close/>
                  <a:moveTo>
                    <a:pt x="33" y="354"/>
                  </a:moveTo>
                  <a:lnTo>
                    <a:pt x="33" y="352"/>
                  </a:lnTo>
                  <a:lnTo>
                    <a:pt x="33" y="354"/>
                  </a:lnTo>
                  <a:close/>
                  <a:moveTo>
                    <a:pt x="29" y="352"/>
                  </a:moveTo>
                  <a:lnTo>
                    <a:pt x="29" y="354"/>
                  </a:lnTo>
                  <a:lnTo>
                    <a:pt x="29" y="352"/>
                  </a:lnTo>
                  <a:close/>
                  <a:moveTo>
                    <a:pt x="64" y="352"/>
                  </a:moveTo>
                  <a:lnTo>
                    <a:pt x="62" y="352"/>
                  </a:lnTo>
                  <a:lnTo>
                    <a:pt x="64" y="352"/>
                  </a:lnTo>
                  <a:close/>
                  <a:moveTo>
                    <a:pt x="59" y="352"/>
                  </a:moveTo>
                  <a:lnTo>
                    <a:pt x="59" y="354"/>
                  </a:lnTo>
                  <a:lnTo>
                    <a:pt x="59" y="352"/>
                  </a:lnTo>
                  <a:close/>
                  <a:moveTo>
                    <a:pt x="43" y="352"/>
                  </a:moveTo>
                  <a:lnTo>
                    <a:pt x="40" y="352"/>
                  </a:lnTo>
                  <a:lnTo>
                    <a:pt x="43" y="352"/>
                  </a:lnTo>
                  <a:close/>
                  <a:moveTo>
                    <a:pt x="102" y="352"/>
                  </a:moveTo>
                  <a:lnTo>
                    <a:pt x="102" y="354"/>
                  </a:lnTo>
                  <a:lnTo>
                    <a:pt x="102" y="352"/>
                  </a:lnTo>
                  <a:close/>
                  <a:moveTo>
                    <a:pt x="12" y="352"/>
                  </a:moveTo>
                  <a:lnTo>
                    <a:pt x="10" y="352"/>
                  </a:lnTo>
                  <a:lnTo>
                    <a:pt x="12" y="352"/>
                  </a:lnTo>
                  <a:close/>
                  <a:moveTo>
                    <a:pt x="62" y="352"/>
                  </a:moveTo>
                  <a:lnTo>
                    <a:pt x="59" y="352"/>
                  </a:lnTo>
                  <a:lnTo>
                    <a:pt x="62" y="352"/>
                  </a:lnTo>
                  <a:close/>
                  <a:moveTo>
                    <a:pt x="38" y="352"/>
                  </a:moveTo>
                  <a:lnTo>
                    <a:pt x="36" y="352"/>
                  </a:lnTo>
                  <a:lnTo>
                    <a:pt x="38" y="352"/>
                  </a:lnTo>
                  <a:close/>
                  <a:moveTo>
                    <a:pt x="95" y="352"/>
                  </a:moveTo>
                  <a:lnTo>
                    <a:pt x="93" y="352"/>
                  </a:lnTo>
                  <a:lnTo>
                    <a:pt x="95" y="352"/>
                  </a:lnTo>
                  <a:close/>
                  <a:moveTo>
                    <a:pt x="50" y="352"/>
                  </a:moveTo>
                  <a:lnTo>
                    <a:pt x="48" y="352"/>
                  </a:lnTo>
                  <a:lnTo>
                    <a:pt x="50" y="352"/>
                  </a:lnTo>
                  <a:close/>
                  <a:moveTo>
                    <a:pt x="52" y="352"/>
                  </a:moveTo>
                  <a:lnTo>
                    <a:pt x="50" y="352"/>
                  </a:lnTo>
                  <a:lnTo>
                    <a:pt x="52" y="352"/>
                  </a:lnTo>
                  <a:close/>
                  <a:moveTo>
                    <a:pt x="102" y="352"/>
                  </a:moveTo>
                  <a:lnTo>
                    <a:pt x="100" y="352"/>
                  </a:lnTo>
                  <a:lnTo>
                    <a:pt x="102" y="352"/>
                  </a:lnTo>
                  <a:close/>
                  <a:moveTo>
                    <a:pt x="104" y="352"/>
                  </a:moveTo>
                  <a:lnTo>
                    <a:pt x="102" y="352"/>
                  </a:lnTo>
                  <a:lnTo>
                    <a:pt x="104" y="352"/>
                  </a:lnTo>
                  <a:close/>
                  <a:moveTo>
                    <a:pt x="192" y="352"/>
                  </a:moveTo>
                  <a:lnTo>
                    <a:pt x="190" y="352"/>
                  </a:lnTo>
                  <a:lnTo>
                    <a:pt x="192" y="352"/>
                  </a:lnTo>
                  <a:close/>
                  <a:moveTo>
                    <a:pt x="183" y="352"/>
                  </a:moveTo>
                  <a:lnTo>
                    <a:pt x="180" y="352"/>
                  </a:lnTo>
                  <a:lnTo>
                    <a:pt x="183" y="352"/>
                  </a:lnTo>
                  <a:close/>
                  <a:moveTo>
                    <a:pt x="104" y="352"/>
                  </a:moveTo>
                  <a:lnTo>
                    <a:pt x="102" y="352"/>
                  </a:lnTo>
                  <a:lnTo>
                    <a:pt x="104" y="352"/>
                  </a:lnTo>
                  <a:close/>
                  <a:moveTo>
                    <a:pt x="48" y="352"/>
                  </a:moveTo>
                  <a:lnTo>
                    <a:pt x="50" y="352"/>
                  </a:lnTo>
                  <a:lnTo>
                    <a:pt x="48" y="352"/>
                  </a:lnTo>
                  <a:close/>
                  <a:moveTo>
                    <a:pt x="71" y="352"/>
                  </a:moveTo>
                  <a:lnTo>
                    <a:pt x="69" y="352"/>
                  </a:lnTo>
                  <a:lnTo>
                    <a:pt x="71" y="352"/>
                  </a:lnTo>
                  <a:close/>
                  <a:moveTo>
                    <a:pt x="43" y="352"/>
                  </a:moveTo>
                  <a:lnTo>
                    <a:pt x="40" y="352"/>
                  </a:lnTo>
                  <a:lnTo>
                    <a:pt x="43" y="352"/>
                  </a:lnTo>
                  <a:close/>
                  <a:moveTo>
                    <a:pt x="95" y="352"/>
                  </a:moveTo>
                  <a:lnTo>
                    <a:pt x="97" y="352"/>
                  </a:lnTo>
                  <a:lnTo>
                    <a:pt x="95" y="352"/>
                  </a:lnTo>
                  <a:close/>
                  <a:moveTo>
                    <a:pt x="183" y="352"/>
                  </a:moveTo>
                  <a:lnTo>
                    <a:pt x="180" y="352"/>
                  </a:lnTo>
                  <a:lnTo>
                    <a:pt x="183" y="352"/>
                  </a:lnTo>
                  <a:close/>
                  <a:moveTo>
                    <a:pt x="107" y="352"/>
                  </a:moveTo>
                  <a:lnTo>
                    <a:pt x="104" y="352"/>
                  </a:lnTo>
                  <a:lnTo>
                    <a:pt x="107" y="352"/>
                  </a:lnTo>
                  <a:close/>
                  <a:moveTo>
                    <a:pt x="88" y="352"/>
                  </a:moveTo>
                  <a:lnTo>
                    <a:pt x="86" y="352"/>
                  </a:lnTo>
                  <a:lnTo>
                    <a:pt x="88" y="352"/>
                  </a:lnTo>
                  <a:close/>
                  <a:moveTo>
                    <a:pt x="59" y="352"/>
                  </a:moveTo>
                  <a:lnTo>
                    <a:pt x="57" y="352"/>
                  </a:lnTo>
                  <a:lnTo>
                    <a:pt x="59" y="352"/>
                  </a:lnTo>
                  <a:close/>
                  <a:moveTo>
                    <a:pt x="48" y="352"/>
                  </a:moveTo>
                  <a:lnTo>
                    <a:pt x="45" y="352"/>
                  </a:lnTo>
                  <a:lnTo>
                    <a:pt x="48" y="352"/>
                  </a:lnTo>
                  <a:close/>
                  <a:moveTo>
                    <a:pt x="102" y="352"/>
                  </a:moveTo>
                  <a:lnTo>
                    <a:pt x="100" y="352"/>
                  </a:lnTo>
                  <a:lnTo>
                    <a:pt x="102" y="352"/>
                  </a:lnTo>
                  <a:close/>
                  <a:moveTo>
                    <a:pt x="48" y="352"/>
                  </a:moveTo>
                  <a:lnTo>
                    <a:pt x="45" y="352"/>
                  </a:lnTo>
                  <a:lnTo>
                    <a:pt x="48" y="352"/>
                  </a:lnTo>
                  <a:close/>
                  <a:moveTo>
                    <a:pt x="31" y="352"/>
                  </a:moveTo>
                  <a:lnTo>
                    <a:pt x="29" y="352"/>
                  </a:lnTo>
                  <a:lnTo>
                    <a:pt x="31" y="352"/>
                  </a:lnTo>
                  <a:close/>
                  <a:moveTo>
                    <a:pt x="43" y="352"/>
                  </a:moveTo>
                  <a:lnTo>
                    <a:pt x="43" y="350"/>
                  </a:lnTo>
                  <a:lnTo>
                    <a:pt x="43" y="352"/>
                  </a:lnTo>
                  <a:close/>
                  <a:moveTo>
                    <a:pt x="197" y="352"/>
                  </a:moveTo>
                  <a:lnTo>
                    <a:pt x="197" y="350"/>
                  </a:lnTo>
                  <a:lnTo>
                    <a:pt x="197" y="352"/>
                  </a:lnTo>
                  <a:close/>
                  <a:moveTo>
                    <a:pt x="86" y="352"/>
                  </a:moveTo>
                  <a:lnTo>
                    <a:pt x="86" y="350"/>
                  </a:lnTo>
                  <a:lnTo>
                    <a:pt x="86" y="352"/>
                  </a:lnTo>
                  <a:close/>
                  <a:moveTo>
                    <a:pt x="100" y="352"/>
                  </a:moveTo>
                  <a:lnTo>
                    <a:pt x="100" y="350"/>
                  </a:lnTo>
                  <a:lnTo>
                    <a:pt x="100" y="352"/>
                  </a:lnTo>
                  <a:close/>
                  <a:moveTo>
                    <a:pt x="102" y="352"/>
                  </a:moveTo>
                  <a:lnTo>
                    <a:pt x="102" y="350"/>
                  </a:lnTo>
                  <a:lnTo>
                    <a:pt x="102" y="352"/>
                  </a:lnTo>
                  <a:close/>
                  <a:moveTo>
                    <a:pt x="100" y="352"/>
                  </a:moveTo>
                  <a:lnTo>
                    <a:pt x="100" y="350"/>
                  </a:lnTo>
                  <a:lnTo>
                    <a:pt x="100" y="352"/>
                  </a:lnTo>
                  <a:close/>
                  <a:moveTo>
                    <a:pt x="97" y="352"/>
                  </a:moveTo>
                  <a:lnTo>
                    <a:pt x="97" y="350"/>
                  </a:lnTo>
                  <a:lnTo>
                    <a:pt x="97" y="352"/>
                  </a:lnTo>
                  <a:close/>
                  <a:moveTo>
                    <a:pt x="95" y="352"/>
                  </a:moveTo>
                  <a:lnTo>
                    <a:pt x="95" y="350"/>
                  </a:lnTo>
                  <a:lnTo>
                    <a:pt x="95" y="352"/>
                  </a:lnTo>
                  <a:close/>
                  <a:moveTo>
                    <a:pt x="64" y="352"/>
                  </a:moveTo>
                  <a:lnTo>
                    <a:pt x="64" y="350"/>
                  </a:lnTo>
                  <a:lnTo>
                    <a:pt x="64" y="352"/>
                  </a:lnTo>
                  <a:close/>
                  <a:moveTo>
                    <a:pt x="192" y="352"/>
                  </a:moveTo>
                  <a:lnTo>
                    <a:pt x="192" y="350"/>
                  </a:lnTo>
                  <a:lnTo>
                    <a:pt x="192" y="352"/>
                  </a:lnTo>
                  <a:close/>
                  <a:moveTo>
                    <a:pt x="59" y="350"/>
                  </a:moveTo>
                  <a:lnTo>
                    <a:pt x="59" y="352"/>
                  </a:lnTo>
                  <a:lnTo>
                    <a:pt x="59" y="350"/>
                  </a:lnTo>
                  <a:close/>
                  <a:moveTo>
                    <a:pt x="197" y="350"/>
                  </a:moveTo>
                  <a:lnTo>
                    <a:pt x="197" y="352"/>
                  </a:lnTo>
                  <a:lnTo>
                    <a:pt x="197" y="350"/>
                  </a:lnTo>
                  <a:close/>
                  <a:moveTo>
                    <a:pt x="52" y="350"/>
                  </a:moveTo>
                  <a:lnTo>
                    <a:pt x="52" y="352"/>
                  </a:lnTo>
                  <a:lnTo>
                    <a:pt x="52" y="350"/>
                  </a:lnTo>
                  <a:close/>
                  <a:moveTo>
                    <a:pt x="59" y="350"/>
                  </a:moveTo>
                  <a:lnTo>
                    <a:pt x="59" y="352"/>
                  </a:lnTo>
                  <a:lnTo>
                    <a:pt x="59" y="350"/>
                  </a:lnTo>
                  <a:close/>
                  <a:moveTo>
                    <a:pt x="50" y="352"/>
                  </a:moveTo>
                  <a:lnTo>
                    <a:pt x="50" y="350"/>
                  </a:lnTo>
                  <a:lnTo>
                    <a:pt x="50" y="352"/>
                  </a:lnTo>
                  <a:close/>
                  <a:moveTo>
                    <a:pt x="59" y="350"/>
                  </a:moveTo>
                  <a:lnTo>
                    <a:pt x="59" y="352"/>
                  </a:lnTo>
                  <a:lnTo>
                    <a:pt x="59" y="350"/>
                  </a:lnTo>
                  <a:close/>
                  <a:moveTo>
                    <a:pt x="38" y="352"/>
                  </a:moveTo>
                  <a:lnTo>
                    <a:pt x="38" y="350"/>
                  </a:lnTo>
                  <a:lnTo>
                    <a:pt x="38" y="352"/>
                  </a:lnTo>
                  <a:close/>
                  <a:moveTo>
                    <a:pt x="48" y="352"/>
                  </a:moveTo>
                  <a:lnTo>
                    <a:pt x="48" y="350"/>
                  </a:lnTo>
                  <a:lnTo>
                    <a:pt x="48" y="352"/>
                  </a:lnTo>
                  <a:close/>
                  <a:moveTo>
                    <a:pt x="90" y="350"/>
                  </a:moveTo>
                  <a:lnTo>
                    <a:pt x="90" y="352"/>
                  </a:lnTo>
                  <a:lnTo>
                    <a:pt x="93" y="350"/>
                  </a:lnTo>
                  <a:lnTo>
                    <a:pt x="93" y="352"/>
                  </a:lnTo>
                  <a:lnTo>
                    <a:pt x="90" y="352"/>
                  </a:lnTo>
                  <a:lnTo>
                    <a:pt x="90" y="350"/>
                  </a:lnTo>
                  <a:close/>
                  <a:moveTo>
                    <a:pt x="36" y="352"/>
                  </a:moveTo>
                  <a:lnTo>
                    <a:pt x="36" y="350"/>
                  </a:lnTo>
                  <a:lnTo>
                    <a:pt x="36" y="352"/>
                  </a:lnTo>
                  <a:close/>
                  <a:moveTo>
                    <a:pt x="93" y="350"/>
                  </a:moveTo>
                  <a:lnTo>
                    <a:pt x="93" y="352"/>
                  </a:lnTo>
                  <a:lnTo>
                    <a:pt x="93" y="350"/>
                  </a:lnTo>
                  <a:close/>
                  <a:moveTo>
                    <a:pt x="86" y="352"/>
                  </a:moveTo>
                  <a:lnTo>
                    <a:pt x="86" y="350"/>
                  </a:lnTo>
                  <a:lnTo>
                    <a:pt x="86" y="352"/>
                  </a:lnTo>
                  <a:close/>
                  <a:moveTo>
                    <a:pt x="93" y="352"/>
                  </a:moveTo>
                  <a:lnTo>
                    <a:pt x="93" y="350"/>
                  </a:lnTo>
                  <a:lnTo>
                    <a:pt x="93" y="352"/>
                  </a:lnTo>
                  <a:close/>
                  <a:moveTo>
                    <a:pt x="197" y="352"/>
                  </a:moveTo>
                  <a:lnTo>
                    <a:pt x="195" y="352"/>
                  </a:lnTo>
                  <a:lnTo>
                    <a:pt x="195" y="350"/>
                  </a:lnTo>
                  <a:lnTo>
                    <a:pt x="197" y="350"/>
                  </a:lnTo>
                  <a:lnTo>
                    <a:pt x="197" y="352"/>
                  </a:lnTo>
                  <a:close/>
                  <a:moveTo>
                    <a:pt x="209" y="350"/>
                  </a:moveTo>
                  <a:lnTo>
                    <a:pt x="207" y="350"/>
                  </a:lnTo>
                  <a:lnTo>
                    <a:pt x="209" y="350"/>
                  </a:lnTo>
                  <a:close/>
                  <a:moveTo>
                    <a:pt x="45" y="350"/>
                  </a:moveTo>
                  <a:lnTo>
                    <a:pt x="45" y="352"/>
                  </a:lnTo>
                  <a:lnTo>
                    <a:pt x="45" y="350"/>
                  </a:lnTo>
                  <a:close/>
                  <a:moveTo>
                    <a:pt x="86" y="350"/>
                  </a:moveTo>
                  <a:lnTo>
                    <a:pt x="83" y="350"/>
                  </a:lnTo>
                  <a:lnTo>
                    <a:pt x="86" y="350"/>
                  </a:lnTo>
                  <a:close/>
                  <a:moveTo>
                    <a:pt x="71" y="350"/>
                  </a:moveTo>
                  <a:lnTo>
                    <a:pt x="69" y="350"/>
                  </a:lnTo>
                  <a:lnTo>
                    <a:pt x="71" y="350"/>
                  </a:lnTo>
                  <a:close/>
                  <a:moveTo>
                    <a:pt x="40" y="350"/>
                  </a:moveTo>
                  <a:lnTo>
                    <a:pt x="40" y="352"/>
                  </a:lnTo>
                  <a:lnTo>
                    <a:pt x="40" y="350"/>
                  </a:lnTo>
                  <a:close/>
                  <a:moveTo>
                    <a:pt x="50" y="350"/>
                  </a:moveTo>
                  <a:lnTo>
                    <a:pt x="50" y="352"/>
                  </a:lnTo>
                  <a:lnTo>
                    <a:pt x="50" y="350"/>
                  </a:lnTo>
                  <a:close/>
                  <a:moveTo>
                    <a:pt x="204" y="350"/>
                  </a:moveTo>
                  <a:lnTo>
                    <a:pt x="202" y="350"/>
                  </a:lnTo>
                  <a:lnTo>
                    <a:pt x="204" y="350"/>
                  </a:lnTo>
                  <a:close/>
                  <a:moveTo>
                    <a:pt x="74" y="350"/>
                  </a:moveTo>
                  <a:lnTo>
                    <a:pt x="71" y="350"/>
                  </a:lnTo>
                  <a:lnTo>
                    <a:pt x="74" y="350"/>
                  </a:lnTo>
                  <a:close/>
                  <a:moveTo>
                    <a:pt x="64" y="350"/>
                  </a:moveTo>
                  <a:lnTo>
                    <a:pt x="62" y="350"/>
                  </a:lnTo>
                  <a:lnTo>
                    <a:pt x="64" y="350"/>
                  </a:lnTo>
                  <a:close/>
                  <a:moveTo>
                    <a:pt x="188" y="350"/>
                  </a:moveTo>
                  <a:lnTo>
                    <a:pt x="185" y="350"/>
                  </a:lnTo>
                  <a:lnTo>
                    <a:pt x="188" y="350"/>
                  </a:lnTo>
                  <a:close/>
                  <a:moveTo>
                    <a:pt x="64" y="350"/>
                  </a:moveTo>
                  <a:lnTo>
                    <a:pt x="62" y="350"/>
                  </a:lnTo>
                  <a:lnTo>
                    <a:pt x="64" y="350"/>
                  </a:lnTo>
                  <a:close/>
                  <a:moveTo>
                    <a:pt x="69" y="350"/>
                  </a:moveTo>
                  <a:lnTo>
                    <a:pt x="67" y="350"/>
                  </a:lnTo>
                  <a:lnTo>
                    <a:pt x="69" y="350"/>
                  </a:lnTo>
                  <a:close/>
                  <a:moveTo>
                    <a:pt x="74" y="350"/>
                  </a:moveTo>
                  <a:lnTo>
                    <a:pt x="71" y="350"/>
                  </a:lnTo>
                  <a:lnTo>
                    <a:pt x="74" y="350"/>
                  </a:lnTo>
                  <a:close/>
                  <a:moveTo>
                    <a:pt x="48" y="350"/>
                  </a:moveTo>
                  <a:lnTo>
                    <a:pt x="45" y="350"/>
                  </a:lnTo>
                  <a:lnTo>
                    <a:pt x="48" y="350"/>
                  </a:lnTo>
                  <a:close/>
                  <a:moveTo>
                    <a:pt x="74" y="350"/>
                  </a:moveTo>
                  <a:lnTo>
                    <a:pt x="71" y="350"/>
                  </a:lnTo>
                  <a:lnTo>
                    <a:pt x="74" y="350"/>
                  </a:lnTo>
                  <a:close/>
                  <a:moveTo>
                    <a:pt x="50" y="350"/>
                  </a:moveTo>
                  <a:lnTo>
                    <a:pt x="48" y="350"/>
                  </a:lnTo>
                  <a:lnTo>
                    <a:pt x="50" y="350"/>
                  </a:lnTo>
                  <a:close/>
                  <a:moveTo>
                    <a:pt x="43" y="350"/>
                  </a:moveTo>
                  <a:lnTo>
                    <a:pt x="40" y="350"/>
                  </a:lnTo>
                  <a:lnTo>
                    <a:pt x="43" y="350"/>
                  </a:lnTo>
                  <a:close/>
                  <a:moveTo>
                    <a:pt x="64" y="350"/>
                  </a:moveTo>
                  <a:lnTo>
                    <a:pt x="62" y="350"/>
                  </a:lnTo>
                  <a:lnTo>
                    <a:pt x="64" y="350"/>
                  </a:lnTo>
                  <a:close/>
                  <a:moveTo>
                    <a:pt x="5" y="350"/>
                  </a:moveTo>
                  <a:lnTo>
                    <a:pt x="2" y="350"/>
                  </a:lnTo>
                  <a:lnTo>
                    <a:pt x="5" y="350"/>
                  </a:lnTo>
                  <a:close/>
                  <a:moveTo>
                    <a:pt x="38" y="350"/>
                  </a:moveTo>
                  <a:lnTo>
                    <a:pt x="36" y="350"/>
                  </a:lnTo>
                  <a:lnTo>
                    <a:pt x="38" y="350"/>
                  </a:lnTo>
                  <a:close/>
                  <a:moveTo>
                    <a:pt x="93" y="350"/>
                  </a:moveTo>
                  <a:lnTo>
                    <a:pt x="90" y="350"/>
                  </a:lnTo>
                  <a:lnTo>
                    <a:pt x="93" y="350"/>
                  </a:lnTo>
                  <a:close/>
                  <a:moveTo>
                    <a:pt x="216" y="350"/>
                  </a:moveTo>
                  <a:lnTo>
                    <a:pt x="214" y="350"/>
                  </a:lnTo>
                  <a:lnTo>
                    <a:pt x="216" y="350"/>
                  </a:lnTo>
                  <a:close/>
                  <a:moveTo>
                    <a:pt x="76" y="350"/>
                  </a:moveTo>
                  <a:lnTo>
                    <a:pt x="74" y="350"/>
                  </a:lnTo>
                  <a:lnTo>
                    <a:pt x="76" y="350"/>
                  </a:lnTo>
                  <a:close/>
                  <a:moveTo>
                    <a:pt x="50" y="350"/>
                  </a:moveTo>
                  <a:lnTo>
                    <a:pt x="48" y="350"/>
                  </a:lnTo>
                  <a:lnTo>
                    <a:pt x="50" y="350"/>
                  </a:lnTo>
                  <a:close/>
                  <a:moveTo>
                    <a:pt x="202" y="350"/>
                  </a:moveTo>
                  <a:lnTo>
                    <a:pt x="199" y="350"/>
                  </a:lnTo>
                  <a:lnTo>
                    <a:pt x="202" y="350"/>
                  </a:lnTo>
                  <a:close/>
                  <a:moveTo>
                    <a:pt x="88" y="350"/>
                  </a:moveTo>
                  <a:lnTo>
                    <a:pt x="86" y="350"/>
                  </a:lnTo>
                  <a:lnTo>
                    <a:pt x="88" y="350"/>
                  </a:lnTo>
                  <a:close/>
                  <a:moveTo>
                    <a:pt x="52" y="350"/>
                  </a:moveTo>
                  <a:lnTo>
                    <a:pt x="50" y="350"/>
                  </a:lnTo>
                  <a:lnTo>
                    <a:pt x="52" y="350"/>
                  </a:lnTo>
                  <a:close/>
                  <a:moveTo>
                    <a:pt x="100" y="350"/>
                  </a:moveTo>
                  <a:lnTo>
                    <a:pt x="97" y="350"/>
                  </a:lnTo>
                  <a:lnTo>
                    <a:pt x="100" y="350"/>
                  </a:lnTo>
                  <a:close/>
                  <a:moveTo>
                    <a:pt x="223" y="350"/>
                  </a:moveTo>
                  <a:lnTo>
                    <a:pt x="223" y="347"/>
                  </a:lnTo>
                  <a:lnTo>
                    <a:pt x="223" y="350"/>
                  </a:lnTo>
                  <a:close/>
                  <a:moveTo>
                    <a:pt x="76" y="350"/>
                  </a:moveTo>
                  <a:lnTo>
                    <a:pt x="76" y="347"/>
                  </a:lnTo>
                  <a:lnTo>
                    <a:pt x="76" y="350"/>
                  </a:lnTo>
                  <a:close/>
                  <a:moveTo>
                    <a:pt x="93" y="350"/>
                  </a:moveTo>
                  <a:lnTo>
                    <a:pt x="93" y="347"/>
                  </a:lnTo>
                  <a:lnTo>
                    <a:pt x="93" y="350"/>
                  </a:lnTo>
                  <a:close/>
                  <a:moveTo>
                    <a:pt x="57" y="350"/>
                  </a:moveTo>
                  <a:lnTo>
                    <a:pt x="57" y="347"/>
                  </a:lnTo>
                  <a:lnTo>
                    <a:pt x="57" y="350"/>
                  </a:lnTo>
                  <a:close/>
                  <a:moveTo>
                    <a:pt x="199" y="350"/>
                  </a:moveTo>
                  <a:lnTo>
                    <a:pt x="199" y="347"/>
                  </a:lnTo>
                  <a:lnTo>
                    <a:pt x="199" y="350"/>
                  </a:lnTo>
                  <a:close/>
                  <a:moveTo>
                    <a:pt x="43" y="350"/>
                  </a:moveTo>
                  <a:lnTo>
                    <a:pt x="43" y="347"/>
                  </a:lnTo>
                  <a:lnTo>
                    <a:pt x="43" y="350"/>
                  </a:lnTo>
                  <a:close/>
                  <a:moveTo>
                    <a:pt x="36" y="347"/>
                  </a:moveTo>
                  <a:lnTo>
                    <a:pt x="36" y="350"/>
                  </a:lnTo>
                  <a:lnTo>
                    <a:pt x="36" y="347"/>
                  </a:lnTo>
                  <a:close/>
                  <a:moveTo>
                    <a:pt x="62" y="350"/>
                  </a:moveTo>
                  <a:lnTo>
                    <a:pt x="62" y="347"/>
                  </a:lnTo>
                  <a:lnTo>
                    <a:pt x="62" y="350"/>
                  </a:lnTo>
                  <a:close/>
                  <a:moveTo>
                    <a:pt x="221" y="347"/>
                  </a:moveTo>
                  <a:lnTo>
                    <a:pt x="221" y="350"/>
                  </a:lnTo>
                  <a:lnTo>
                    <a:pt x="221" y="347"/>
                  </a:lnTo>
                  <a:close/>
                  <a:moveTo>
                    <a:pt x="50" y="347"/>
                  </a:moveTo>
                  <a:lnTo>
                    <a:pt x="50" y="350"/>
                  </a:lnTo>
                  <a:lnTo>
                    <a:pt x="50" y="347"/>
                  </a:lnTo>
                  <a:close/>
                  <a:moveTo>
                    <a:pt x="90" y="347"/>
                  </a:moveTo>
                  <a:lnTo>
                    <a:pt x="90" y="350"/>
                  </a:lnTo>
                  <a:lnTo>
                    <a:pt x="90" y="347"/>
                  </a:lnTo>
                  <a:close/>
                  <a:moveTo>
                    <a:pt x="0" y="347"/>
                  </a:moveTo>
                  <a:lnTo>
                    <a:pt x="0" y="350"/>
                  </a:lnTo>
                  <a:lnTo>
                    <a:pt x="0" y="347"/>
                  </a:lnTo>
                  <a:close/>
                  <a:moveTo>
                    <a:pt x="38" y="347"/>
                  </a:moveTo>
                  <a:lnTo>
                    <a:pt x="38" y="350"/>
                  </a:lnTo>
                  <a:lnTo>
                    <a:pt x="38" y="347"/>
                  </a:lnTo>
                  <a:close/>
                  <a:moveTo>
                    <a:pt x="199" y="347"/>
                  </a:moveTo>
                  <a:lnTo>
                    <a:pt x="199" y="350"/>
                  </a:lnTo>
                  <a:lnTo>
                    <a:pt x="199" y="347"/>
                  </a:lnTo>
                  <a:close/>
                  <a:moveTo>
                    <a:pt x="48" y="347"/>
                  </a:moveTo>
                  <a:lnTo>
                    <a:pt x="48" y="350"/>
                  </a:lnTo>
                  <a:lnTo>
                    <a:pt x="48" y="347"/>
                  </a:lnTo>
                  <a:close/>
                  <a:moveTo>
                    <a:pt x="211" y="350"/>
                  </a:moveTo>
                  <a:lnTo>
                    <a:pt x="211" y="347"/>
                  </a:lnTo>
                  <a:lnTo>
                    <a:pt x="211" y="350"/>
                  </a:lnTo>
                  <a:close/>
                  <a:moveTo>
                    <a:pt x="204" y="347"/>
                  </a:moveTo>
                  <a:lnTo>
                    <a:pt x="204" y="350"/>
                  </a:lnTo>
                  <a:lnTo>
                    <a:pt x="204" y="347"/>
                  </a:lnTo>
                  <a:close/>
                  <a:moveTo>
                    <a:pt x="69" y="350"/>
                  </a:moveTo>
                  <a:lnTo>
                    <a:pt x="69" y="347"/>
                  </a:lnTo>
                  <a:lnTo>
                    <a:pt x="69" y="350"/>
                  </a:lnTo>
                  <a:close/>
                  <a:moveTo>
                    <a:pt x="211" y="347"/>
                  </a:moveTo>
                  <a:lnTo>
                    <a:pt x="211" y="350"/>
                  </a:lnTo>
                  <a:lnTo>
                    <a:pt x="211" y="347"/>
                  </a:lnTo>
                  <a:close/>
                  <a:moveTo>
                    <a:pt x="50" y="347"/>
                  </a:moveTo>
                  <a:lnTo>
                    <a:pt x="52" y="347"/>
                  </a:lnTo>
                  <a:lnTo>
                    <a:pt x="50" y="347"/>
                  </a:lnTo>
                  <a:close/>
                  <a:moveTo>
                    <a:pt x="50" y="347"/>
                  </a:moveTo>
                  <a:lnTo>
                    <a:pt x="48" y="347"/>
                  </a:lnTo>
                  <a:lnTo>
                    <a:pt x="50" y="347"/>
                  </a:lnTo>
                  <a:close/>
                  <a:moveTo>
                    <a:pt x="64" y="347"/>
                  </a:moveTo>
                  <a:lnTo>
                    <a:pt x="64" y="350"/>
                  </a:lnTo>
                  <a:lnTo>
                    <a:pt x="64" y="347"/>
                  </a:lnTo>
                  <a:close/>
                  <a:moveTo>
                    <a:pt x="218" y="347"/>
                  </a:moveTo>
                  <a:lnTo>
                    <a:pt x="218" y="350"/>
                  </a:lnTo>
                  <a:lnTo>
                    <a:pt x="218" y="347"/>
                  </a:lnTo>
                  <a:close/>
                  <a:moveTo>
                    <a:pt x="214" y="347"/>
                  </a:moveTo>
                  <a:lnTo>
                    <a:pt x="214" y="350"/>
                  </a:lnTo>
                  <a:lnTo>
                    <a:pt x="214" y="347"/>
                  </a:lnTo>
                  <a:close/>
                  <a:moveTo>
                    <a:pt x="199" y="347"/>
                  </a:moveTo>
                  <a:lnTo>
                    <a:pt x="197" y="347"/>
                  </a:lnTo>
                  <a:lnTo>
                    <a:pt x="199" y="347"/>
                  </a:lnTo>
                  <a:close/>
                  <a:moveTo>
                    <a:pt x="207" y="347"/>
                  </a:moveTo>
                  <a:lnTo>
                    <a:pt x="204" y="347"/>
                  </a:lnTo>
                  <a:lnTo>
                    <a:pt x="207" y="347"/>
                  </a:lnTo>
                  <a:close/>
                  <a:moveTo>
                    <a:pt x="90" y="347"/>
                  </a:moveTo>
                  <a:lnTo>
                    <a:pt x="88" y="347"/>
                  </a:lnTo>
                  <a:lnTo>
                    <a:pt x="90" y="347"/>
                  </a:lnTo>
                  <a:close/>
                  <a:moveTo>
                    <a:pt x="221" y="347"/>
                  </a:moveTo>
                  <a:lnTo>
                    <a:pt x="218" y="347"/>
                  </a:lnTo>
                  <a:lnTo>
                    <a:pt x="221" y="347"/>
                  </a:lnTo>
                  <a:close/>
                  <a:moveTo>
                    <a:pt x="221" y="347"/>
                  </a:moveTo>
                  <a:lnTo>
                    <a:pt x="221" y="350"/>
                  </a:lnTo>
                  <a:lnTo>
                    <a:pt x="221" y="347"/>
                  </a:lnTo>
                  <a:close/>
                  <a:moveTo>
                    <a:pt x="218" y="347"/>
                  </a:moveTo>
                  <a:lnTo>
                    <a:pt x="216" y="347"/>
                  </a:lnTo>
                  <a:lnTo>
                    <a:pt x="218" y="347"/>
                  </a:lnTo>
                  <a:close/>
                  <a:moveTo>
                    <a:pt x="55" y="347"/>
                  </a:moveTo>
                  <a:lnTo>
                    <a:pt x="52" y="347"/>
                  </a:lnTo>
                  <a:lnTo>
                    <a:pt x="55" y="347"/>
                  </a:lnTo>
                  <a:close/>
                  <a:moveTo>
                    <a:pt x="204" y="347"/>
                  </a:moveTo>
                  <a:lnTo>
                    <a:pt x="207" y="347"/>
                  </a:lnTo>
                  <a:lnTo>
                    <a:pt x="204" y="347"/>
                  </a:lnTo>
                  <a:close/>
                  <a:moveTo>
                    <a:pt x="197" y="347"/>
                  </a:moveTo>
                  <a:lnTo>
                    <a:pt x="195" y="347"/>
                  </a:lnTo>
                  <a:lnTo>
                    <a:pt x="197" y="347"/>
                  </a:lnTo>
                  <a:close/>
                  <a:moveTo>
                    <a:pt x="199" y="347"/>
                  </a:moveTo>
                  <a:lnTo>
                    <a:pt x="197" y="347"/>
                  </a:lnTo>
                  <a:lnTo>
                    <a:pt x="199" y="347"/>
                  </a:lnTo>
                  <a:close/>
                  <a:moveTo>
                    <a:pt x="93" y="347"/>
                  </a:moveTo>
                  <a:lnTo>
                    <a:pt x="90" y="347"/>
                  </a:lnTo>
                  <a:lnTo>
                    <a:pt x="93" y="347"/>
                  </a:lnTo>
                  <a:close/>
                  <a:moveTo>
                    <a:pt x="90" y="347"/>
                  </a:moveTo>
                  <a:lnTo>
                    <a:pt x="88" y="347"/>
                  </a:lnTo>
                  <a:lnTo>
                    <a:pt x="90" y="347"/>
                  </a:lnTo>
                  <a:close/>
                  <a:moveTo>
                    <a:pt x="88" y="347"/>
                  </a:moveTo>
                  <a:lnTo>
                    <a:pt x="86" y="347"/>
                  </a:lnTo>
                  <a:lnTo>
                    <a:pt x="88" y="347"/>
                  </a:lnTo>
                  <a:close/>
                  <a:moveTo>
                    <a:pt x="223" y="347"/>
                  </a:moveTo>
                  <a:lnTo>
                    <a:pt x="221" y="347"/>
                  </a:lnTo>
                  <a:lnTo>
                    <a:pt x="223" y="347"/>
                  </a:lnTo>
                  <a:close/>
                  <a:moveTo>
                    <a:pt x="86" y="347"/>
                  </a:moveTo>
                  <a:lnTo>
                    <a:pt x="83" y="347"/>
                  </a:lnTo>
                  <a:lnTo>
                    <a:pt x="86" y="347"/>
                  </a:lnTo>
                  <a:close/>
                  <a:moveTo>
                    <a:pt x="38" y="347"/>
                  </a:moveTo>
                  <a:lnTo>
                    <a:pt x="36" y="347"/>
                  </a:lnTo>
                  <a:lnTo>
                    <a:pt x="38" y="347"/>
                  </a:lnTo>
                  <a:close/>
                  <a:moveTo>
                    <a:pt x="81" y="347"/>
                  </a:moveTo>
                  <a:lnTo>
                    <a:pt x="83" y="347"/>
                  </a:lnTo>
                  <a:lnTo>
                    <a:pt x="81" y="347"/>
                  </a:lnTo>
                  <a:close/>
                  <a:moveTo>
                    <a:pt x="197" y="347"/>
                  </a:moveTo>
                  <a:lnTo>
                    <a:pt x="195" y="347"/>
                  </a:lnTo>
                  <a:lnTo>
                    <a:pt x="197" y="347"/>
                  </a:lnTo>
                  <a:close/>
                  <a:moveTo>
                    <a:pt x="31" y="347"/>
                  </a:moveTo>
                  <a:lnTo>
                    <a:pt x="29" y="347"/>
                  </a:lnTo>
                  <a:lnTo>
                    <a:pt x="31" y="347"/>
                  </a:lnTo>
                  <a:close/>
                  <a:moveTo>
                    <a:pt x="197" y="347"/>
                  </a:moveTo>
                  <a:lnTo>
                    <a:pt x="195" y="347"/>
                  </a:lnTo>
                  <a:lnTo>
                    <a:pt x="197" y="347"/>
                  </a:lnTo>
                  <a:close/>
                  <a:moveTo>
                    <a:pt x="254" y="347"/>
                  </a:moveTo>
                  <a:lnTo>
                    <a:pt x="256" y="347"/>
                  </a:lnTo>
                  <a:lnTo>
                    <a:pt x="254" y="347"/>
                  </a:lnTo>
                  <a:close/>
                  <a:moveTo>
                    <a:pt x="223" y="347"/>
                  </a:moveTo>
                  <a:lnTo>
                    <a:pt x="221" y="347"/>
                  </a:lnTo>
                  <a:lnTo>
                    <a:pt x="223" y="347"/>
                  </a:lnTo>
                  <a:close/>
                  <a:moveTo>
                    <a:pt x="199" y="347"/>
                  </a:moveTo>
                  <a:lnTo>
                    <a:pt x="197" y="347"/>
                  </a:lnTo>
                  <a:lnTo>
                    <a:pt x="199" y="347"/>
                  </a:lnTo>
                  <a:close/>
                  <a:moveTo>
                    <a:pt x="116" y="347"/>
                  </a:moveTo>
                  <a:lnTo>
                    <a:pt x="114" y="347"/>
                  </a:lnTo>
                  <a:lnTo>
                    <a:pt x="116" y="347"/>
                  </a:lnTo>
                  <a:close/>
                  <a:moveTo>
                    <a:pt x="86" y="347"/>
                  </a:moveTo>
                  <a:lnTo>
                    <a:pt x="83" y="347"/>
                  </a:lnTo>
                  <a:lnTo>
                    <a:pt x="86" y="347"/>
                  </a:lnTo>
                  <a:close/>
                  <a:moveTo>
                    <a:pt x="64" y="347"/>
                  </a:moveTo>
                  <a:lnTo>
                    <a:pt x="64" y="345"/>
                  </a:lnTo>
                  <a:lnTo>
                    <a:pt x="64" y="347"/>
                  </a:lnTo>
                  <a:close/>
                  <a:moveTo>
                    <a:pt x="64" y="347"/>
                  </a:moveTo>
                  <a:lnTo>
                    <a:pt x="62" y="347"/>
                  </a:lnTo>
                  <a:lnTo>
                    <a:pt x="62" y="345"/>
                  </a:lnTo>
                  <a:lnTo>
                    <a:pt x="64" y="347"/>
                  </a:lnTo>
                  <a:close/>
                  <a:moveTo>
                    <a:pt x="86" y="347"/>
                  </a:moveTo>
                  <a:lnTo>
                    <a:pt x="86" y="345"/>
                  </a:lnTo>
                  <a:lnTo>
                    <a:pt x="86" y="347"/>
                  </a:lnTo>
                  <a:close/>
                  <a:moveTo>
                    <a:pt x="223" y="347"/>
                  </a:moveTo>
                  <a:lnTo>
                    <a:pt x="223" y="345"/>
                  </a:lnTo>
                  <a:lnTo>
                    <a:pt x="223" y="347"/>
                  </a:lnTo>
                  <a:close/>
                  <a:moveTo>
                    <a:pt x="40" y="347"/>
                  </a:moveTo>
                  <a:lnTo>
                    <a:pt x="40" y="345"/>
                  </a:lnTo>
                  <a:lnTo>
                    <a:pt x="40" y="347"/>
                  </a:lnTo>
                  <a:close/>
                  <a:moveTo>
                    <a:pt x="17" y="347"/>
                  </a:moveTo>
                  <a:lnTo>
                    <a:pt x="17" y="345"/>
                  </a:lnTo>
                  <a:lnTo>
                    <a:pt x="17" y="347"/>
                  </a:lnTo>
                  <a:close/>
                  <a:moveTo>
                    <a:pt x="107" y="347"/>
                  </a:moveTo>
                  <a:lnTo>
                    <a:pt x="107" y="345"/>
                  </a:lnTo>
                  <a:lnTo>
                    <a:pt x="107" y="347"/>
                  </a:lnTo>
                  <a:close/>
                  <a:moveTo>
                    <a:pt x="221" y="347"/>
                  </a:moveTo>
                  <a:lnTo>
                    <a:pt x="221" y="345"/>
                  </a:lnTo>
                  <a:lnTo>
                    <a:pt x="221" y="347"/>
                  </a:lnTo>
                  <a:close/>
                  <a:moveTo>
                    <a:pt x="256" y="347"/>
                  </a:moveTo>
                  <a:lnTo>
                    <a:pt x="256" y="345"/>
                  </a:lnTo>
                  <a:lnTo>
                    <a:pt x="256" y="347"/>
                  </a:lnTo>
                  <a:close/>
                  <a:moveTo>
                    <a:pt x="33" y="345"/>
                  </a:moveTo>
                  <a:lnTo>
                    <a:pt x="33" y="347"/>
                  </a:lnTo>
                  <a:lnTo>
                    <a:pt x="33" y="345"/>
                  </a:lnTo>
                  <a:close/>
                  <a:moveTo>
                    <a:pt x="114" y="347"/>
                  </a:moveTo>
                  <a:lnTo>
                    <a:pt x="114" y="345"/>
                  </a:lnTo>
                  <a:lnTo>
                    <a:pt x="114" y="347"/>
                  </a:lnTo>
                  <a:close/>
                  <a:moveTo>
                    <a:pt x="67" y="347"/>
                  </a:moveTo>
                  <a:lnTo>
                    <a:pt x="67" y="345"/>
                  </a:lnTo>
                  <a:lnTo>
                    <a:pt x="67" y="347"/>
                  </a:lnTo>
                  <a:close/>
                  <a:moveTo>
                    <a:pt x="5" y="345"/>
                  </a:moveTo>
                  <a:lnTo>
                    <a:pt x="5" y="347"/>
                  </a:lnTo>
                  <a:lnTo>
                    <a:pt x="5" y="345"/>
                  </a:lnTo>
                  <a:close/>
                  <a:moveTo>
                    <a:pt x="218" y="347"/>
                  </a:moveTo>
                  <a:lnTo>
                    <a:pt x="218" y="345"/>
                  </a:lnTo>
                  <a:lnTo>
                    <a:pt x="218" y="347"/>
                  </a:lnTo>
                  <a:close/>
                  <a:moveTo>
                    <a:pt x="223" y="345"/>
                  </a:moveTo>
                  <a:lnTo>
                    <a:pt x="223" y="347"/>
                  </a:lnTo>
                  <a:lnTo>
                    <a:pt x="223" y="345"/>
                  </a:lnTo>
                  <a:close/>
                  <a:moveTo>
                    <a:pt x="221" y="345"/>
                  </a:moveTo>
                  <a:lnTo>
                    <a:pt x="221" y="347"/>
                  </a:lnTo>
                  <a:lnTo>
                    <a:pt x="218" y="347"/>
                  </a:lnTo>
                  <a:lnTo>
                    <a:pt x="221" y="345"/>
                  </a:lnTo>
                  <a:close/>
                  <a:moveTo>
                    <a:pt x="81" y="345"/>
                  </a:moveTo>
                  <a:lnTo>
                    <a:pt x="81" y="347"/>
                  </a:lnTo>
                  <a:lnTo>
                    <a:pt x="81" y="345"/>
                  </a:lnTo>
                  <a:close/>
                  <a:moveTo>
                    <a:pt x="207" y="347"/>
                  </a:moveTo>
                  <a:lnTo>
                    <a:pt x="207" y="345"/>
                  </a:lnTo>
                  <a:lnTo>
                    <a:pt x="207" y="347"/>
                  </a:lnTo>
                  <a:close/>
                  <a:moveTo>
                    <a:pt x="88" y="345"/>
                  </a:moveTo>
                  <a:lnTo>
                    <a:pt x="88" y="347"/>
                  </a:lnTo>
                  <a:lnTo>
                    <a:pt x="88" y="345"/>
                  </a:lnTo>
                  <a:close/>
                  <a:moveTo>
                    <a:pt x="67" y="345"/>
                  </a:moveTo>
                  <a:lnTo>
                    <a:pt x="67" y="347"/>
                  </a:lnTo>
                  <a:lnTo>
                    <a:pt x="67" y="345"/>
                  </a:lnTo>
                  <a:close/>
                  <a:moveTo>
                    <a:pt x="2" y="345"/>
                  </a:moveTo>
                  <a:lnTo>
                    <a:pt x="2" y="347"/>
                  </a:lnTo>
                  <a:lnTo>
                    <a:pt x="2" y="345"/>
                  </a:lnTo>
                  <a:close/>
                  <a:moveTo>
                    <a:pt x="48" y="347"/>
                  </a:moveTo>
                  <a:lnTo>
                    <a:pt x="48" y="345"/>
                  </a:lnTo>
                  <a:lnTo>
                    <a:pt x="48" y="347"/>
                  </a:lnTo>
                  <a:close/>
                  <a:moveTo>
                    <a:pt x="17" y="347"/>
                  </a:moveTo>
                  <a:lnTo>
                    <a:pt x="17" y="345"/>
                  </a:lnTo>
                  <a:lnTo>
                    <a:pt x="17" y="347"/>
                  </a:lnTo>
                  <a:close/>
                  <a:moveTo>
                    <a:pt x="81" y="345"/>
                  </a:moveTo>
                  <a:lnTo>
                    <a:pt x="78" y="345"/>
                  </a:lnTo>
                  <a:lnTo>
                    <a:pt x="81" y="345"/>
                  </a:lnTo>
                  <a:close/>
                  <a:moveTo>
                    <a:pt x="64" y="345"/>
                  </a:moveTo>
                  <a:lnTo>
                    <a:pt x="64" y="347"/>
                  </a:lnTo>
                  <a:lnTo>
                    <a:pt x="64" y="345"/>
                  </a:lnTo>
                  <a:close/>
                  <a:moveTo>
                    <a:pt x="78" y="347"/>
                  </a:moveTo>
                  <a:lnTo>
                    <a:pt x="78" y="345"/>
                  </a:lnTo>
                  <a:lnTo>
                    <a:pt x="78" y="347"/>
                  </a:lnTo>
                  <a:close/>
                  <a:moveTo>
                    <a:pt x="204" y="347"/>
                  </a:moveTo>
                  <a:lnTo>
                    <a:pt x="204" y="345"/>
                  </a:lnTo>
                  <a:lnTo>
                    <a:pt x="204" y="347"/>
                  </a:lnTo>
                  <a:close/>
                  <a:moveTo>
                    <a:pt x="5" y="347"/>
                  </a:moveTo>
                  <a:lnTo>
                    <a:pt x="5" y="345"/>
                  </a:lnTo>
                  <a:lnTo>
                    <a:pt x="5" y="347"/>
                  </a:lnTo>
                  <a:close/>
                  <a:moveTo>
                    <a:pt x="38" y="345"/>
                  </a:moveTo>
                  <a:lnTo>
                    <a:pt x="36" y="345"/>
                  </a:lnTo>
                  <a:lnTo>
                    <a:pt x="38" y="345"/>
                  </a:lnTo>
                  <a:close/>
                  <a:moveTo>
                    <a:pt x="199" y="347"/>
                  </a:moveTo>
                  <a:lnTo>
                    <a:pt x="199" y="345"/>
                  </a:lnTo>
                  <a:lnTo>
                    <a:pt x="199" y="347"/>
                  </a:lnTo>
                  <a:close/>
                  <a:moveTo>
                    <a:pt x="64" y="345"/>
                  </a:moveTo>
                  <a:lnTo>
                    <a:pt x="64" y="347"/>
                  </a:lnTo>
                  <a:lnTo>
                    <a:pt x="64" y="345"/>
                  </a:lnTo>
                  <a:close/>
                  <a:moveTo>
                    <a:pt x="52" y="345"/>
                  </a:moveTo>
                  <a:lnTo>
                    <a:pt x="50" y="345"/>
                  </a:lnTo>
                  <a:lnTo>
                    <a:pt x="52" y="345"/>
                  </a:lnTo>
                  <a:close/>
                  <a:moveTo>
                    <a:pt x="240" y="345"/>
                  </a:moveTo>
                  <a:lnTo>
                    <a:pt x="237" y="345"/>
                  </a:lnTo>
                  <a:lnTo>
                    <a:pt x="240" y="345"/>
                  </a:lnTo>
                  <a:close/>
                  <a:moveTo>
                    <a:pt x="235" y="345"/>
                  </a:moveTo>
                  <a:lnTo>
                    <a:pt x="233" y="345"/>
                  </a:lnTo>
                  <a:lnTo>
                    <a:pt x="235" y="345"/>
                  </a:lnTo>
                  <a:close/>
                  <a:moveTo>
                    <a:pt x="43" y="345"/>
                  </a:moveTo>
                  <a:lnTo>
                    <a:pt x="40" y="345"/>
                  </a:lnTo>
                  <a:lnTo>
                    <a:pt x="43" y="345"/>
                  </a:lnTo>
                  <a:close/>
                  <a:moveTo>
                    <a:pt x="64" y="345"/>
                  </a:moveTo>
                  <a:lnTo>
                    <a:pt x="62" y="345"/>
                  </a:lnTo>
                  <a:lnTo>
                    <a:pt x="64" y="345"/>
                  </a:lnTo>
                  <a:close/>
                  <a:moveTo>
                    <a:pt x="52" y="345"/>
                  </a:moveTo>
                  <a:lnTo>
                    <a:pt x="50" y="345"/>
                  </a:lnTo>
                  <a:lnTo>
                    <a:pt x="52" y="345"/>
                  </a:lnTo>
                  <a:close/>
                  <a:moveTo>
                    <a:pt x="78" y="345"/>
                  </a:moveTo>
                  <a:lnTo>
                    <a:pt x="76" y="345"/>
                  </a:lnTo>
                  <a:lnTo>
                    <a:pt x="78" y="345"/>
                  </a:lnTo>
                  <a:close/>
                  <a:moveTo>
                    <a:pt x="263" y="345"/>
                  </a:moveTo>
                  <a:lnTo>
                    <a:pt x="261" y="345"/>
                  </a:lnTo>
                  <a:lnTo>
                    <a:pt x="263" y="345"/>
                  </a:lnTo>
                  <a:close/>
                  <a:moveTo>
                    <a:pt x="83" y="345"/>
                  </a:moveTo>
                  <a:lnTo>
                    <a:pt x="81" y="345"/>
                  </a:lnTo>
                  <a:lnTo>
                    <a:pt x="83" y="345"/>
                  </a:lnTo>
                  <a:close/>
                  <a:moveTo>
                    <a:pt x="223" y="345"/>
                  </a:moveTo>
                  <a:lnTo>
                    <a:pt x="221" y="345"/>
                  </a:lnTo>
                  <a:lnTo>
                    <a:pt x="223" y="345"/>
                  </a:lnTo>
                  <a:close/>
                  <a:moveTo>
                    <a:pt x="64" y="345"/>
                  </a:moveTo>
                  <a:lnTo>
                    <a:pt x="62" y="345"/>
                  </a:lnTo>
                  <a:lnTo>
                    <a:pt x="64" y="345"/>
                  </a:lnTo>
                  <a:close/>
                  <a:moveTo>
                    <a:pt x="55" y="345"/>
                  </a:moveTo>
                  <a:lnTo>
                    <a:pt x="57" y="345"/>
                  </a:lnTo>
                  <a:lnTo>
                    <a:pt x="55" y="345"/>
                  </a:lnTo>
                  <a:close/>
                  <a:moveTo>
                    <a:pt x="261" y="345"/>
                  </a:moveTo>
                  <a:lnTo>
                    <a:pt x="259" y="345"/>
                  </a:lnTo>
                  <a:lnTo>
                    <a:pt x="261" y="345"/>
                  </a:lnTo>
                  <a:close/>
                  <a:moveTo>
                    <a:pt x="38" y="345"/>
                  </a:moveTo>
                  <a:lnTo>
                    <a:pt x="36" y="345"/>
                  </a:lnTo>
                  <a:lnTo>
                    <a:pt x="38" y="345"/>
                  </a:lnTo>
                  <a:close/>
                  <a:moveTo>
                    <a:pt x="40" y="345"/>
                  </a:moveTo>
                  <a:lnTo>
                    <a:pt x="38" y="345"/>
                  </a:lnTo>
                  <a:lnTo>
                    <a:pt x="40" y="345"/>
                  </a:lnTo>
                  <a:close/>
                  <a:moveTo>
                    <a:pt x="93" y="345"/>
                  </a:moveTo>
                  <a:lnTo>
                    <a:pt x="90" y="345"/>
                  </a:lnTo>
                  <a:lnTo>
                    <a:pt x="93" y="345"/>
                  </a:lnTo>
                  <a:close/>
                  <a:moveTo>
                    <a:pt x="67" y="345"/>
                  </a:moveTo>
                  <a:lnTo>
                    <a:pt x="64" y="345"/>
                  </a:lnTo>
                  <a:lnTo>
                    <a:pt x="67" y="345"/>
                  </a:lnTo>
                  <a:close/>
                  <a:moveTo>
                    <a:pt x="261" y="345"/>
                  </a:moveTo>
                  <a:lnTo>
                    <a:pt x="259" y="345"/>
                  </a:lnTo>
                  <a:lnTo>
                    <a:pt x="261" y="345"/>
                  </a:lnTo>
                  <a:close/>
                  <a:moveTo>
                    <a:pt x="52" y="345"/>
                  </a:moveTo>
                  <a:lnTo>
                    <a:pt x="50" y="345"/>
                  </a:lnTo>
                  <a:lnTo>
                    <a:pt x="52" y="345"/>
                  </a:lnTo>
                  <a:close/>
                  <a:moveTo>
                    <a:pt x="266" y="345"/>
                  </a:moveTo>
                  <a:lnTo>
                    <a:pt x="263" y="345"/>
                  </a:lnTo>
                  <a:lnTo>
                    <a:pt x="266" y="345"/>
                  </a:lnTo>
                  <a:close/>
                  <a:moveTo>
                    <a:pt x="7" y="345"/>
                  </a:moveTo>
                  <a:lnTo>
                    <a:pt x="5" y="345"/>
                  </a:lnTo>
                  <a:lnTo>
                    <a:pt x="7" y="345"/>
                  </a:lnTo>
                  <a:close/>
                  <a:moveTo>
                    <a:pt x="83" y="345"/>
                  </a:moveTo>
                  <a:lnTo>
                    <a:pt x="81" y="345"/>
                  </a:lnTo>
                  <a:lnTo>
                    <a:pt x="83" y="345"/>
                  </a:lnTo>
                  <a:close/>
                  <a:moveTo>
                    <a:pt x="62" y="345"/>
                  </a:moveTo>
                  <a:lnTo>
                    <a:pt x="59" y="345"/>
                  </a:lnTo>
                  <a:lnTo>
                    <a:pt x="62" y="345"/>
                  </a:lnTo>
                  <a:close/>
                  <a:moveTo>
                    <a:pt x="266" y="345"/>
                  </a:moveTo>
                  <a:lnTo>
                    <a:pt x="263" y="345"/>
                  </a:lnTo>
                  <a:lnTo>
                    <a:pt x="266" y="345"/>
                  </a:lnTo>
                  <a:close/>
                  <a:moveTo>
                    <a:pt x="52" y="345"/>
                  </a:moveTo>
                  <a:lnTo>
                    <a:pt x="50" y="345"/>
                  </a:lnTo>
                  <a:lnTo>
                    <a:pt x="52" y="345"/>
                  </a:lnTo>
                  <a:close/>
                  <a:moveTo>
                    <a:pt x="74" y="345"/>
                  </a:moveTo>
                  <a:lnTo>
                    <a:pt x="71" y="345"/>
                  </a:lnTo>
                  <a:lnTo>
                    <a:pt x="74" y="345"/>
                  </a:lnTo>
                  <a:close/>
                  <a:moveTo>
                    <a:pt x="116" y="345"/>
                  </a:moveTo>
                  <a:lnTo>
                    <a:pt x="119" y="345"/>
                  </a:lnTo>
                  <a:lnTo>
                    <a:pt x="116" y="345"/>
                  </a:lnTo>
                  <a:close/>
                  <a:moveTo>
                    <a:pt x="55" y="345"/>
                  </a:moveTo>
                  <a:lnTo>
                    <a:pt x="52" y="345"/>
                  </a:lnTo>
                  <a:lnTo>
                    <a:pt x="55" y="345"/>
                  </a:lnTo>
                  <a:close/>
                  <a:moveTo>
                    <a:pt x="266" y="345"/>
                  </a:moveTo>
                  <a:lnTo>
                    <a:pt x="263" y="345"/>
                  </a:lnTo>
                  <a:lnTo>
                    <a:pt x="266" y="345"/>
                  </a:lnTo>
                  <a:close/>
                  <a:moveTo>
                    <a:pt x="225" y="345"/>
                  </a:moveTo>
                  <a:lnTo>
                    <a:pt x="223" y="345"/>
                  </a:lnTo>
                  <a:lnTo>
                    <a:pt x="225" y="345"/>
                  </a:lnTo>
                  <a:close/>
                  <a:moveTo>
                    <a:pt x="64" y="345"/>
                  </a:moveTo>
                  <a:lnTo>
                    <a:pt x="62" y="345"/>
                  </a:lnTo>
                  <a:lnTo>
                    <a:pt x="64" y="345"/>
                  </a:lnTo>
                  <a:close/>
                  <a:moveTo>
                    <a:pt x="230" y="345"/>
                  </a:moveTo>
                  <a:lnTo>
                    <a:pt x="228" y="345"/>
                  </a:lnTo>
                  <a:lnTo>
                    <a:pt x="230" y="345"/>
                  </a:lnTo>
                  <a:close/>
                  <a:moveTo>
                    <a:pt x="71" y="345"/>
                  </a:moveTo>
                  <a:lnTo>
                    <a:pt x="69" y="345"/>
                  </a:lnTo>
                  <a:lnTo>
                    <a:pt x="71" y="345"/>
                  </a:lnTo>
                  <a:close/>
                  <a:moveTo>
                    <a:pt x="31" y="342"/>
                  </a:moveTo>
                  <a:lnTo>
                    <a:pt x="31" y="345"/>
                  </a:lnTo>
                  <a:lnTo>
                    <a:pt x="31" y="342"/>
                  </a:lnTo>
                  <a:close/>
                  <a:moveTo>
                    <a:pt x="67" y="342"/>
                  </a:moveTo>
                  <a:lnTo>
                    <a:pt x="67" y="345"/>
                  </a:lnTo>
                  <a:lnTo>
                    <a:pt x="67" y="342"/>
                  </a:lnTo>
                  <a:close/>
                  <a:moveTo>
                    <a:pt x="48" y="342"/>
                  </a:moveTo>
                  <a:lnTo>
                    <a:pt x="48" y="345"/>
                  </a:lnTo>
                  <a:lnTo>
                    <a:pt x="48" y="342"/>
                  </a:lnTo>
                  <a:close/>
                  <a:moveTo>
                    <a:pt x="48" y="345"/>
                  </a:moveTo>
                  <a:lnTo>
                    <a:pt x="48" y="342"/>
                  </a:lnTo>
                  <a:lnTo>
                    <a:pt x="48" y="345"/>
                  </a:lnTo>
                  <a:close/>
                  <a:moveTo>
                    <a:pt x="88" y="345"/>
                  </a:moveTo>
                  <a:lnTo>
                    <a:pt x="88" y="342"/>
                  </a:lnTo>
                  <a:lnTo>
                    <a:pt x="88" y="345"/>
                  </a:lnTo>
                  <a:close/>
                  <a:moveTo>
                    <a:pt x="78" y="345"/>
                  </a:moveTo>
                  <a:lnTo>
                    <a:pt x="78" y="342"/>
                  </a:lnTo>
                  <a:lnTo>
                    <a:pt x="78" y="345"/>
                  </a:lnTo>
                  <a:close/>
                  <a:moveTo>
                    <a:pt x="17" y="342"/>
                  </a:moveTo>
                  <a:lnTo>
                    <a:pt x="17" y="345"/>
                  </a:lnTo>
                  <a:lnTo>
                    <a:pt x="17" y="342"/>
                  </a:lnTo>
                  <a:close/>
                  <a:moveTo>
                    <a:pt x="50" y="342"/>
                  </a:moveTo>
                  <a:lnTo>
                    <a:pt x="50" y="345"/>
                  </a:lnTo>
                  <a:lnTo>
                    <a:pt x="50" y="342"/>
                  </a:lnTo>
                  <a:close/>
                  <a:moveTo>
                    <a:pt x="50" y="345"/>
                  </a:moveTo>
                  <a:lnTo>
                    <a:pt x="50" y="342"/>
                  </a:lnTo>
                  <a:lnTo>
                    <a:pt x="50" y="345"/>
                  </a:lnTo>
                  <a:close/>
                  <a:moveTo>
                    <a:pt x="62" y="345"/>
                  </a:moveTo>
                  <a:lnTo>
                    <a:pt x="62" y="342"/>
                  </a:lnTo>
                  <a:lnTo>
                    <a:pt x="62" y="345"/>
                  </a:lnTo>
                  <a:close/>
                  <a:moveTo>
                    <a:pt x="256" y="342"/>
                  </a:moveTo>
                  <a:lnTo>
                    <a:pt x="256" y="345"/>
                  </a:lnTo>
                  <a:lnTo>
                    <a:pt x="256" y="342"/>
                  </a:lnTo>
                  <a:close/>
                  <a:moveTo>
                    <a:pt x="221" y="345"/>
                  </a:moveTo>
                  <a:lnTo>
                    <a:pt x="221" y="342"/>
                  </a:lnTo>
                  <a:lnTo>
                    <a:pt x="221" y="345"/>
                  </a:lnTo>
                  <a:close/>
                  <a:moveTo>
                    <a:pt x="71" y="342"/>
                  </a:moveTo>
                  <a:lnTo>
                    <a:pt x="71" y="345"/>
                  </a:lnTo>
                  <a:lnTo>
                    <a:pt x="71" y="342"/>
                  </a:lnTo>
                  <a:close/>
                  <a:moveTo>
                    <a:pt x="256" y="345"/>
                  </a:moveTo>
                  <a:lnTo>
                    <a:pt x="256" y="342"/>
                  </a:lnTo>
                  <a:lnTo>
                    <a:pt x="256" y="345"/>
                  </a:lnTo>
                  <a:close/>
                  <a:moveTo>
                    <a:pt x="7" y="345"/>
                  </a:moveTo>
                  <a:lnTo>
                    <a:pt x="7" y="342"/>
                  </a:lnTo>
                  <a:lnTo>
                    <a:pt x="7" y="345"/>
                  </a:lnTo>
                  <a:close/>
                  <a:moveTo>
                    <a:pt x="55" y="342"/>
                  </a:moveTo>
                  <a:lnTo>
                    <a:pt x="55" y="345"/>
                  </a:lnTo>
                  <a:lnTo>
                    <a:pt x="55" y="342"/>
                  </a:lnTo>
                  <a:close/>
                  <a:moveTo>
                    <a:pt x="38" y="345"/>
                  </a:moveTo>
                  <a:lnTo>
                    <a:pt x="36" y="345"/>
                  </a:lnTo>
                  <a:lnTo>
                    <a:pt x="36" y="342"/>
                  </a:lnTo>
                  <a:lnTo>
                    <a:pt x="38" y="342"/>
                  </a:lnTo>
                  <a:lnTo>
                    <a:pt x="38" y="345"/>
                  </a:lnTo>
                  <a:close/>
                  <a:moveTo>
                    <a:pt x="86" y="345"/>
                  </a:moveTo>
                  <a:lnTo>
                    <a:pt x="83" y="342"/>
                  </a:lnTo>
                  <a:lnTo>
                    <a:pt x="86" y="342"/>
                  </a:lnTo>
                  <a:lnTo>
                    <a:pt x="86" y="345"/>
                  </a:lnTo>
                  <a:close/>
                  <a:moveTo>
                    <a:pt x="50" y="342"/>
                  </a:moveTo>
                  <a:lnTo>
                    <a:pt x="50" y="345"/>
                  </a:lnTo>
                  <a:lnTo>
                    <a:pt x="50" y="342"/>
                  </a:lnTo>
                  <a:close/>
                  <a:moveTo>
                    <a:pt x="36" y="345"/>
                  </a:moveTo>
                  <a:lnTo>
                    <a:pt x="33" y="342"/>
                  </a:lnTo>
                  <a:lnTo>
                    <a:pt x="36" y="342"/>
                  </a:lnTo>
                  <a:lnTo>
                    <a:pt x="36" y="345"/>
                  </a:lnTo>
                  <a:close/>
                  <a:moveTo>
                    <a:pt x="230" y="345"/>
                  </a:moveTo>
                  <a:lnTo>
                    <a:pt x="228" y="345"/>
                  </a:lnTo>
                  <a:lnTo>
                    <a:pt x="228" y="342"/>
                  </a:lnTo>
                  <a:lnTo>
                    <a:pt x="230" y="342"/>
                  </a:lnTo>
                  <a:lnTo>
                    <a:pt x="230" y="345"/>
                  </a:lnTo>
                  <a:close/>
                  <a:moveTo>
                    <a:pt x="57" y="342"/>
                  </a:moveTo>
                  <a:lnTo>
                    <a:pt x="57" y="345"/>
                  </a:lnTo>
                  <a:lnTo>
                    <a:pt x="57" y="342"/>
                  </a:lnTo>
                  <a:close/>
                  <a:moveTo>
                    <a:pt x="62" y="342"/>
                  </a:moveTo>
                  <a:lnTo>
                    <a:pt x="62" y="345"/>
                  </a:lnTo>
                  <a:lnTo>
                    <a:pt x="62" y="342"/>
                  </a:lnTo>
                  <a:close/>
                  <a:moveTo>
                    <a:pt x="230" y="342"/>
                  </a:moveTo>
                  <a:lnTo>
                    <a:pt x="228" y="342"/>
                  </a:lnTo>
                  <a:lnTo>
                    <a:pt x="230" y="342"/>
                  </a:lnTo>
                  <a:close/>
                  <a:moveTo>
                    <a:pt x="31" y="342"/>
                  </a:moveTo>
                  <a:lnTo>
                    <a:pt x="33" y="342"/>
                  </a:lnTo>
                  <a:lnTo>
                    <a:pt x="31" y="342"/>
                  </a:lnTo>
                  <a:close/>
                  <a:moveTo>
                    <a:pt x="10" y="342"/>
                  </a:moveTo>
                  <a:lnTo>
                    <a:pt x="7" y="342"/>
                  </a:lnTo>
                  <a:lnTo>
                    <a:pt x="10" y="342"/>
                  </a:lnTo>
                  <a:close/>
                  <a:moveTo>
                    <a:pt x="45" y="342"/>
                  </a:moveTo>
                  <a:lnTo>
                    <a:pt x="43" y="342"/>
                  </a:lnTo>
                  <a:lnTo>
                    <a:pt x="45" y="342"/>
                  </a:lnTo>
                  <a:close/>
                  <a:moveTo>
                    <a:pt x="76" y="342"/>
                  </a:moveTo>
                  <a:lnTo>
                    <a:pt x="74" y="342"/>
                  </a:lnTo>
                  <a:lnTo>
                    <a:pt x="76" y="342"/>
                  </a:lnTo>
                  <a:close/>
                  <a:moveTo>
                    <a:pt x="209" y="342"/>
                  </a:moveTo>
                  <a:lnTo>
                    <a:pt x="207" y="342"/>
                  </a:lnTo>
                  <a:lnTo>
                    <a:pt x="209" y="342"/>
                  </a:lnTo>
                  <a:close/>
                  <a:moveTo>
                    <a:pt x="74" y="342"/>
                  </a:moveTo>
                  <a:lnTo>
                    <a:pt x="71" y="342"/>
                  </a:lnTo>
                  <a:lnTo>
                    <a:pt x="74" y="342"/>
                  </a:lnTo>
                  <a:close/>
                  <a:moveTo>
                    <a:pt x="76" y="342"/>
                  </a:moveTo>
                  <a:lnTo>
                    <a:pt x="74" y="342"/>
                  </a:lnTo>
                  <a:lnTo>
                    <a:pt x="76" y="342"/>
                  </a:lnTo>
                  <a:close/>
                  <a:moveTo>
                    <a:pt x="36" y="342"/>
                  </a:moveTo>
                  <a:lnTo>
                    <a:pt x="33" y="342"/>
                  </a:lnTo>
                  <a:lnTo>
                    <a:pt x="36" y="342"/>
                  </a:lnTo>
                  <a:close/>
                  <a:moveTo>
                    <a:pt x="216" y="342"/>
                  </a:moveTo>
                  <a:lnTo>
                    <a:pt x="218" y="342"/>
                  </a:lnTo>
                  <a:lnTo>
                    <a:pt x="216" y="342"/>
                  </a:lnTo>
                  <a:close/>
                  <a:moveTo>
                    <a:pt x="223" y="342"/>
                  </a:moveTo>
                  <a:lnTo>
                    <a:pt x="225" y="342"/>
                  </a:lnTo>
                  <a:lnTo>
                    <a:pt x="223" y="342"/>
                  </a:lnTo>
                  <a:close/>
                  <a:moveTo>
                    <a:pt x="207" y="342"/>
                  </a:moveTo>
                  <a:lnTo>
                    <a:pt x="209" y="342"/>
                  </a:lnTo>
                  <a:lnTo>
                    <a:pt x="207" y="342"/>
                  </a:lnTo>
                  <a:close/>
                  <a:moveTo>
                    <a:pt x="74" y="342"/>
                  </a:moveTo>
                  <a:lnTo>
                    <a:pt x="76" y="342"/>
                  </a:lnTo>
                  <a:lnTo>
                    <a:pt x="74" y="342"/>
                  </a:lnTo>
                  <a:close/>
                  <a:moveTo>
                    <a:pt x="33" y="342"/>
                  </a:moveTo>
                  <a:lnTo>
                    <a:pt x="31" y="342"/>
                  </a:lnTo>
                  <a:lnTo>
                    <a:pt x="33" y="342"/>
                  </a:lnTo>
                  <a:close/>
                  <a:moveTo>
                    <a:pt x="78" y="342"/>
                  </a:moveTo>
                  <a:lnTo>
                    <a:pt x="81" y="342"/>
                  </a:lnTo>
                  <a:lnTo>
                    <a:pt x="78" y="342"/>
                  </a:lnTo>
                  <a:close/>
                  <a:moveTo>
                    <a:pt x="100" y="342"/>
                  </a:moveTo>
                  <a:lnTo>
                    <a:pt x="97" y="342"/>
                  </a:lnTo>
                  <a:lnTo>
                    <a:pt x="100" y="342"/>
                  </a:lnTo>
                  <a:close/>
                  <a:moveTo>
                    <a:pt x="64" y="342"/>
                  </a:moveTo>
                  <a:lnTo>
                    <a:pt x="62" y="342"/>
                  </a:lnTo>
                  <a:lnTo>
                    <a:pt x="64" y="342"/>
                  </a:lnTo>
                  <a:close/>
                  <a:moveTo>
                    <a:pt x="216" y="342"/>
                  </a:moveTo>
                  <a:lnTo>
                    <a:pt x="218" y="342"/>
                  </a:lnTo>
                  <a:lnTo>
                    <a:pt x="216" y="342"/>
                  </a:lnTo>
                  <a:close/>
                  <a:moveTo>
                    <a:pt x="266" y="342"/>
                  </a:moveTo>
                  <a:lnTo>
                    <a:pt x="263" y="342"/>
                  </a:lnTo>
                  <a:lnTo>
                    <a:pt x="266" y="342"/>
                  </a:lnTo>
                  <a:close/>
                  <a:moveTo>
                    <a:pt x="12" y="342"/>
                  </a:moveTo>
                  <a:lnTo>
                    <a:pt x="10" y="342"/>
                  </a:lnTo>
                  <a:lnTo>
                    <a:pt x="12" y="342"/>
                  </a:lnTo>
                  <a:close/>
                  <a:moveTo>
                    <a:pt x="52" y="342"/>
                  </a:moveTo>
                  <a:lnTo>
                    <a:pt x="50" y="342"/>
                  </a:lnTo>
                  <a:lnTo>
                    <a:pt x="52" y="342"/>
                  </a:lnTo>
                  <a:close/>
                  <a:moveTo>
                    <a:pt x="69" y="342"/>
                  </a:moveTo>
                  <a:lnTo>
                    <a:pt x="67" y="342"/>
                  </a:lnTo>
                  <a:lnTo>
                    <a:pt x="69" y="342"/>
                  </a:lnTo>
                  <a:close/>
                  <a:moveTo>
                    <a:pt x="33" y="342"/>
                  </a:moveTo>
                  <a:lnTo>
                    <a:pt x="31" y="342"/>
                  </a:lnTo>
                  <a:lnTo>
                    <a:pt x="33" y="342"/>
                  </a:lnTo>
                  <a:close/>
                  <a:moveTo>
                    <a:pt x="88" y="342"/>
                  </a:moveTo>
                  <a:lnTo>
                    <a:pt x="86" y="342"/>
                  </a:lnTo>
                  <a:lnTo>
                    <a:pt x="88" y="342"/>
                  </a:lnTo>
                  <a:close/>
                  <a:moveTo>
                    <a:pt x="52" y="342"/>
                  </a:moveTo>
                  <a:lnTo>
                    <a:pt x="50" y="342"/>
                  </a:lnTo>
                  <a:lnTo>
                    <a:pt x="52" y="342"/>
                  </a:lnTo>
                  <a:close/>
                  <a:moveTo>
                    <a:pt x="50" y="342"/>
                  </a:moveTo>
                  <a:lnTo>
                    <a:pt x="48" y="342"/>
                  </a:lnTo>
                  <a:lnTo>
                    <a:pt x="50" y="342"/>
                  </a:lnTo>
                  <a:close/>
                  <a:moveTo>
                    <a:pt x="36" y="342"/>
                  </a:moveTo>
                  <a:lnTo>
                    <a:pt x="33" y="342"/>
                  </a:lnTo>
                  <a:lnTo>
                    <a:pt x="36" y="342"/>
                  </a:lnTo>
                  <a:close/>
                  <a:moveTo>
                    <a:pt x="43" y="342"/>
                  </a:moveTo>
                  <a:lnTo>
                    <a:pt x="40" y="342"/>
                  </a:lnTo>
                  <a:lnTo>
                    <a:pt x="43" y="342"/>
                  </a:lnTo>
                  <a:close/>
                  <a:moveTo>
                    <a:pt x="62" y="342"/>
                  </a:moveTo>
                  <a:lnTo>
                    <a:pt x="64" y="342"/>
                  </a:lnTo>
                  <a:lnTo>
                    <a:pt x="62" y="342"/>
                  </a:lnTo>
                  <a:close/>
                  <a:moveTo>
                    <a:pt x="95" y="342"/>
                  </a:moveTo>
                  <a:lnTo>
                    <a:pt x="93" y="342"/>
                  </a:lnTo>
                  <a:lnTo>
                    <a:pt x="95" y="342"/>
                  </a:lnTo>
                  <a:close/>
                  <a:moveTo>
                    <a:pt x="90" y="342"/>
                  </a:moveTo>
                  <a:lnTo>
                    <a:pt x="88" y="342"/>
                  </a:lnTo>
                  <a:lnTo>
                    <a:pt x="90" y="342"/>
                  </a:lnTo>
                  <a:close/>
                  <a:moveTo>
                    <a:pt x="71" y="342"/>
                  </a:moveTo>
                  <a:lnTo>
                    <a:pt x="69" y="342"/>
                  </a:lnTo>
                  <a:lnTo>
                    <a:pt x="71" y="342"/>
                  </a:lnTo>
                  <a:close/>
                  <a:moveTo>
                    <a:pt x="55" y="342"/>
                  </a:moveTo>
                  <a:lnTo>
                    <a:pt x="52" y="342"/>
                  </a:lnTo>
                  <a:lnTo>
                    <a:pt x="55" y="342"/>
                  </a:lnTo>
                  <a:close/>
                  <a:moveTo>
                    <a:pt x="43" y="342"/>
                  </a:moveTo>
                  <a:lnTo>
                    <a:pt x="43" y="340"/>
                  </a:lnTo>
                  <a:lnTo>
                    <a:pt x="43" y="342"/>
                  </a:lnTo>
                  <a:close/>
                  <a:moveTo>
                    <a:pt x="233" y="340"/>
                  </a:moveTo>
                  <a:lnTo>
                    <a:pt x="233" y="342"/>
                  </a:lnTo>
                  <a:lnTo>
                    <a:pt x="233" y="340"/>
                  </a:lnTo>
                  <a:close/>
                  <a:moveTo>
                    <a:pt x="31" y="342"/>
                  </a:moveTo>
                  <a:lnTo>
                    <a:pt x="31" y="340"/>
                  </a:lnTo>
                  <a:lnTo>
                    <a:pt x="31" y="342"/>
                  </a:lnTo>
                  <a:close/>
                  <a:moveTo>
                    <a:pt x="235" y="342"/>
                  </a:moveTo>
                  <a:lnTo>
                    <a:pt x="233" y="342"/>
                  </a:lnTo>
                  <a:lnTo>
                    <a:pt x="235" y="340"/>
                  </a:lnTo>
                  <a:lnTo>
                    <a:pt x="235" y="342"/>
                  </a:lnTo>
                  <a:close/>
                  <a:moveTo>
                    <a:pt x="235" y="342"/>
                  </a:moveTo>
                  <a:lnTo>
                    <a:pt x="235" y="340"/>
                  </a:lnTo>
                  <a:lnTo>
                    <a:pt x="235" y="342"/>
                  </a:lnTo>
                  <a:close/>
                  <a:moveTo>
                    <a:pt x="57" y="340"/>
                  </a:moveTo>
                  <a:lnTo>
                    <a:pt x="57" y="342"/>
                  </a:lnTo>
                  <a:lnTo>
                    <a:pt x="57" y="340"/>
                  </a:lnTo>
                  <a:close/>
                  <a:moveTo>
                    <a:pt x="83" y="342"/>
                  </a:moveTo>
                  <a:lnTo>
                    <a:pt x="83" y="340"/>
                  </a:lnTo>
                  <a:lnTo>
                    <a:pt x="83" y="342"/>
                  </a:lnTo>
                  <a:close/>
                  <a:moveTo>
                    <a:pt x="64" y="340"/>
                  </a:moveTo>
                  <a:lnTo>
                    <a:pt x="64" y="342"/>
                  </a:lnTo>
                  <a:lnTo>
                    <a:pt x="64" y="340"/>
                  </a:lnTo>
                  <a:close/>
                  <a:moveTo>
                    <a:pt x="40" y="342"/>
                  </a:moveTo>
                  <a:lnTo>
                    <a:pt x="40" y="340"/>
                  </a:lnTo>
                  <a:lnTo>
                    <a:pt x="40" y="342"/>
                  </a:lnTo>
                  <a:close/>
                  <a:moveTo>
                    <a:pt x="62" y="342"/>
                  </a:moveTo>
                  <a:lnTo>
                    <a:pt x="62" y="340"/>
                  </a:lnTo>
                  <a:lnTo>
                    <a:pt x="62" y="342"/>
                  </a:lnTo>
                  <a:close/>
                  <a:moveTo>
                    <a:pt x="52" y="342"/>
                  </a:moveTo>
                  <a:lnTo>
                    <a:pt x="52" y="340"/>
                  </a:lnTo>
                  <a:lnTo>
                    <a:pt x="52" y="342"/>
                  </a:lnTo>
                  <a:close/>
                  <a:moveTo>
                    <a:pt x="10" y="340"/>
                  </a:moveTo>
                  <a:lnTo>
                    <a:pt x="10" y="342"/>
                  </a:lnTo>
                  <a:lnTo>
                    <a:pt x="10" y="340"/>
                  </a:lnTo>
                  <a:close/>
                  <a:moveTo>
                    <a:pt x="83" y="342"/>
                  </a:moveTo>
                  <a:lnTo>
                    <a:pt x="83" y="340"/>
                  </a:lnTo>
                  <a:lnTo>
                    <a:pt x="83" y="342"/>
                  </a:lnTo>
                  <a:close/>
                  <a:moveTo>
                    <a:pt x="45" y="340"/>
                  </a:moveTo>
                  <a:lnTo>
                    <a:pt x="45" y="342"/>
                  </a:lnTo>
                  <a:lnTo>
                    <a:pt x="45" y="340"/>
                  </a:lnTo>
                  <a:close/>
                  <a:moveTo>
                    <a:pt x="43" y="340"/>
                  </a:moveTo>
                  <a:lnTo>
                    <a:pt x="43" y="342"/>
                  </a:lnTo>
                  <a:lnTo>
                    <a:pt x="43" y="340"/>
                  </a:lnTo>
                  <a:lnTo>
                    <a:pt x="43" y="342"/>
                  </a:lnTo>
                  <a:lnTo>
                    <a:pt x="43" y="340"/>
                  </a:lnTo>
                  <a:close/>
                  <a:moveTo>
                    <a:pt x="64" y="340"/>
                  </a:moveTo>
                  <a:lnTo>
                    <a:pt x="64" y="342"/>
                  </a:lnTo>
                  <a:lnTo>
                    <a:pt x="64" y="340"/>
                  </a:lnTo>
                  <a:close/>
                  <a:moveTo>
                    <a:pt x="64" y="342"/>
                  </a:moveTo>
                  <a:lnTo>
                    <a:pt x="64" y="340"/>
                  </a:lnTo>
                  <a:lnTo>
                    <a:pt x="64" y="342"/>
                  </a:lnTo>
                  <a:close/>
                  <a:moveTo>
                    <a:pt x="43" y="340"/>
                  </a:moveTo>
                  <a:lnTo>
                    <a:pt x="43" y="342"/>
                  </a:lnTo>
                  <a:lnTo>
                    <a:pt x="43" y="340"/>
                  </a:lnTo>
                  <a:close/>
                  <a:moveTo>
                    <a:pt x="93" y="340"/>
                  </a:moveTo>
                  <a:lnTo>
                    <a:pt x="93" y="342"/>
                  </a:lnTo>
                  <a:lnTo>
                    <a:pt x="93" y="340"/>
                  </a:lnTo>
                  <a:close/>
                  <a:moveTo>
                    <a:pt x="237" y="340"/>
                  </a:moveTo>
                  <a:lnTo>
                    <a:pt x="237" y="342"/>
                  </a:lnTo>
                  <a:lnTo>
                    <a:pt x="237" y="340"/>
                  </a:lnTo>
                  <a:close/>
                  <a:moveTo>
                    <a:pt x="235" y="340"/>
                  </a:moveTo>
                  <a:lnTo>
                    <a:pt x="235" y="342"/>
                  </a:lnTo>
                  <a:lnTo>
                    <a:pt x="235" y="340"/>
                  </a:lnTo>
                  <a:close/>
                  <a:moveTo>
                    <a:pt x="31" y="342"/>
                  </a:moveTo>
                  <a:lnTo>
                    <a:pt x="31" y="340"/>
                  </a:lnTo>
                  <a:lnTo>
                    <a:pt x="31" y="342"/>
                  </a:lnTo>
                  <a:close/>
                  <a:moveTo>
                    <a:pt x="55" y="342"/>
                  </a:moveTo>
                  <a:lnTo>
                    <a:pt x="55" y="340"/>
                  </a:lnTo>
                  <a:lnTo>
                    <a:pt x="55" y="342"/>
                  </a:lnTo>
                  <a:close/>
                  <a:moveTo>
                    <a:pt x="225" y="342"/>
                  </a:moveTo>
                  <a:lnTo>
                    <a:pt x="225" y="340"/>
                  </a:lnTo>
                  <a:lnTo>
                    <a:pt x="225" y="342"/>
                  </a:lnTo>
                  <a:close/>
                  <a:moveTo>
                    <a:pt x="52" y="342"/>
                  </a:moveTo>
                  <a:lnTo>
                    <a:pt x="52" y="340"/>
                  </a:lnTo>
                  <a:lnTo>
                    <a:pt x="52" y="342"/>
                  </a:lnTo>
                  <a:close/>
                  <a:moveTo>
                    <a:pt x="62" y="342"/>
                  </a:moveTo>
                  <a:lnTo>
                    <a:pt x="62" y="340"/>
                  </a:lnTo>
                  <a:lnTo>
                    <a:pt x="62" y="342"/>
                  </a:lnTo>
                  <a:close/>
                  <a:moveTo>
                    <a:pt x="12" y="340"/>
                  </a:moveTo>
                  <a:lnTo>
                    <a:pt x="12" y="342"/>
                  </a:lnTo>
                  <a:lnTo>
                    <a:pt x="12" y="340"/>
                  </a:lnTo>
                  <a:close/>
                  <a:moveTo>
                    <a:pt x="263" y="340"/>
                  </a:moveTo>
                  <a:lnTo>
                    <a:pt x="261" y="340"/>
                  </a:lnTo>
                  <a:lnTo>
                    <a:pt x="263" y="340"/>
                  </a:lnTo>
                  <a:close/>
                  <a:moveTo>
                    <a:pt x="235" y="340"/>
                  </a:moveTo>
                  <a:lnTo>
                    <a:pt x="233" y="340"/>
                  </a:lnTo>
                  <a:lnTo>
                    <a:pt x="235" y="340"/>
                  </a:lnTo>
                  <a:close/>
                  <a:moveTo>
                    <a:pt x="57" y="340"/>
                  </a:moveTo>
                  <a:lnTo>
                    <a:pt x="55" y="340"/>
                  </a:lnTo>
                  <a:lnTo>
                    <a:pt x="57" y="340"/>
                  </a:lnTo>
                  <a:close/>
                  <a:moveTo>
                    <a:pt x="59" y="340"/>
                  </a:moveTo>
                  <a:lnTo>
                    <a:pt x="57" y="340"/>
                  </a:lnTo>
                  <a:lnTo>
                    <a:pt x="59" y="340"/>
                  </a:lnTo>
                  <a:close/>
                  <a:moveTo>
                    <a:pt x="230" y="340"/>
                  </a:moveTo>
                  <a:lnTo>
                    <a:pt x="228" y="340"/>
                  </a:lnTo>
                  <a:lnTo>
                    <a:pt x="230" y="340"/>
                  </a:lnTo>
                  <a:lnTo>
                    <a:pt x="228" y="340"/>
                  </a:lnTo>
                  <a:lnTo>
                    <a:pt x="230" y="340"/>
                  </a:lnTo>
                  <a:close/>
                  <a:moveTo>
                    <a:pt x="71" y="340"/>
                  </a:moveTo>
                  <a:lnTo>
                    <a:pt x="74" y="340"/>
                  </a:lnTo>
                  <a:lnTo>
                    <a:pt x="71" y="340"/>
                  </a:lnTo>
                  <a:close/>
                  <a:moveTo>
                    <a:pt x="67" y="340"/>
                  </a:moveTo>
                  <a:lnTo>
                    <a:pt x="64" y="340"/>
                  </a:lnTo>
                  <a:lnTo>
                    <a:pt x="67" y="340"/>
                  </a:lnTo>
                  <a:close/>
                  <a:moveTo>
                    <a:pt x="74" y="340"/>
                  </a:moveTo>
                  <a:lnTo>
                    <a:pt x="71" y="340"/>
                  </a:lnTo>
                  <a:lnTo>
                    <a:pt x="74" y="340"/>
                  </a:lnTo>
                  <a:close/>
                  <a:moveTo>
                    <a:pt x="43" y="340"/>
                  </a:moveTo>
                  <a:lnTo>
                    <a:pt x="40" y="340"/>
                  </a:lnTo>
                  <a:lnTo>
                    <a:pt x="43" y="340"/>
                  </a:lnTo>
                  <a:close/>
                  <a:moveTo>
                    <a:pt x="69" y="340"/>
                  </a:moveTo>
                  <a:lnTo>
                    <a:pt x="67" y="340"/>
                  </a:lnTo>
                  <a:lnTo>
                    <a:pt x="69" y="340"/>
                  </a:lnTo>
                  <a:close/>
                  <a:moveTo>
                    <a:pt x="64" y="340"/>
                  </a:moveTo>
                  <a:lnTo>
                    <a:pt x="62" y="340"/>
                  </a:lnTo>
                  <a:lnTo>
                    <a:pt x="64" y="340"/>
                  </a:lnTo>
                  <a:close/>
                  <a:moveTo>
                    <a:pt x="74" y="340"/>
                  </a:moveTo>
                  <a:lnTo>
                    <a:pt x="71" y="340"/>
                  </a:lnTo>
                  <a:lnTo>
                    <a:pt x="74" y="340"/>
                  </a:lnTo>
                  <a:close/>
                  <a:moveTo>
                    <a:pt x="109" y="340"/>
                  </a:moveTo>
                  <a:lnTo>
                    <a:pt x="107" y="340"/>
                  </a:lnTo>
                  <a:lnTo>
                    <a:pt x="109" y="340"/>
                  </a:lnTo>
                  <a:close/>
                  <a:moveTo>
                    <a:pt x="55" y="340"/>
                  </a:moveTo>
                  <a:lnTo>
                    <a:pt x="52" y="340"/>
                  </a:lnTo>
                  <a:lnTo>
                    <a:pt x="55" y="340"/>
                  </a:lnTo>
                  <a:close/>
                  <a:moveTo>
                    <a:pt x="29" y="340"/>
                  </a:moveTo>
                  <a:lnTo>
                    <a:pt x="31" y="340"/>
                  </a:lnTo>
                  <a:lnTo>
                    <a:pt x="29" y="340"/>
                  </a:lnTo>
                  <a:close/>
                  <a:moveTo>
                    <a:pt x="31" y="340"/>
                  </a:moveTo>
                  <a:lnTo>
                    <a:pt x="33" y="340"/>
                  </a:lnTo>
                  <a:lnTo>
                    <a:pt x="31" y="340"/>
                  </a:lnTo>
                  <a:close/>
                  <a:moveTo>
                    <a:pt x="14" y="340"/>
                  </a:moveTo>
                  <a:lnTo>
                    <a:pt x="12" y="340"/>
                  </a:lnTo>
                  <a:lnTo>
                    <a:pt x="14" y="340"/>
                  </a:lnTo>
                  <a:close/>
                  <a:moveTo>
                    <a:pt x="50" y="340"/>
                  </a:moveTo>
                  <a:lnTo>
                    <a:pt x="48" y="340"/>
                  </a:lnTo>
                  <a:lnTo>
                    <a:pt x="50" y="340"/>
                  </a:lnTo>
                  <a:close/>
                  <a:moveTo>
                    <a:pt x="59" y="340"/>
                  </a:moveTo>
                  <a:lnTo>
                    <a:pt x="62" y="340"/>
                  </a:lnTo>
                  <a:lnTo>
                    <a:pt x="59" y="340"/>
                  </a:lnTo>
                  <a:close/>
                  <a:moveTo>
                    <a:pt x="33" y="340"/>
                  </a:moveTo>
                  <a:lnTo>
                    <a:pt x="31" y="340"/>
                  </a:lnTo>
                  <a:lnTo>
                    <a:pt x="33" y="340"/>
                  </a:lnTo>
                  <a:close/>
                  <a:moveTo>
                    <a:pt x="55" y="340"/>
                  </a:moveTo>
                  <a:lnTo>
                    <a:pt x="52" y="340"/>
                  </a:lnTo>
                  <a:lnTo>
                    <a:pt x="55" y="340"/>
                  </a:lnTo>
                  <a:close/>
                  <a:moveTo>
                    <a:pt x="230" y="340"/>
                  </a:moveTo>
                  <a:lnTo>
                    <a:pt x="228" y="340"/>
                  </a:lnTo>
                  <a:lnTo>
                    <a:pt x="230" y="340"/>
                  </a:lnTo>
                  <a:close/>
                  <a:moveTo>
                    <a:pt x="97" y="340"/>
                  </a:moveTo>
                  <a:lnTo>
                    <a:pt x="95" y="340"/>
                  </a:lnTo>
                  <a:lnTo>
                    <a:pt x="97" y="340"/>
                  </a:lnTo>
                  <a:close/>
                  <a:moveTo>
                    <a:pt x="48" y="340"/>
                  </a:moveTo>
                  <a:lnTo>
                    <a:pt x="45" y="340"/>
                  </a:lnTo>
                  <a:lnTo>
                    <a:pt x="48" y="340"/>
                  </a:lnTo>
                  <a:close/>
                  <a:moveTo>
                    <a:pt x="40" y="340"/>
                  </a:moveTo>
                  <a:lnTo>
                    <a:pt x="38" y="340"/>
                  </a:lnTo>
                  <a:lnTo>
                    <a:pt x="40" y="340"/>
                  </a:lnTo>
                  <a:close/>
                  <a:moveTo>
                    <a:pt x="55" y="340"/>
                  </a:moveTo>
                  <a:lnTo>
                    <a:pt x="52" y="340"/>
                  </a:lnTo>
                  <a:lnTo>
                    <a:pt x="55" y="340"/>
                  </a:lnTo>
                  <a:close/>
                  <a:moveTo>
                    <a:pt x="57" y="340"/>
                  </a:moveTo>
                  <a:lnTo>
                    <a:pt x="55" y="340"/>
                  </a:lnTo>
                  <a:lnTo>
                    <a:pt x="57" y="340"/>
                  </a:lnTo>
                  <a:close/>
                  <a:moveTo>
                    <a:pt x="228" y="340"/>
                  </a:moveTo>
                  <a:lnTo>
                    <a:pt x="230" y="340"/>
                  </a:lnTo>
                  <a:lnTo>
                    <a:pt x="228" y="340"/>
                  </a:lnTo>
                  <a:close/>
                  <a:moveTo>
                    <a:pt x="52" y="340"/>
                  </a:moveTo>
                  <a:lnTo>
                    <a:pt x="50" y="340"/>
                  </a:lnTo>
                  <a:lnTo>
                    <a:pt x="52" y="340"/>
                  </a:lnTo>
                  <a:close/>
                  <a:moveTo>
                    <a:pt x="50" y="340"/>
                  </a:moveTo>
                  <a:lnTo>
                    <a:pt x="48" y="340"/>
                  </a:lnTo>
                  <a:lnTo>
                    <a:pt x="50" y="340"/>
                  </a:lnTo>
                  <a:close/>
                  <a:moveTo>
                    <a:pt x="78" y="340"/>
                  </a:moveTo>
                  <a:lnTo>
                    <a:pt x="76" y="340"/>
                  </a:lnTo>
                  <a:lnTo>
                    <a:pt x="78" y="340"/>
                  </a:lnTo>
                  <a:close/>
                  <a:moveTo>
                    <a:pt x="59" y="338"/>
                  </a:moveTo>
                  <a:lnTo>
                    <a:pt x="59" y="340"/>
                  </a:lnTo>
                  <a:lnTo>
                    <a:pt x="59" y="338"/>
                  </a:lnTo>
                  <a:close/>
                  <a:moveTo>
                    <a:pt x="88" y="338"/>
                  </a:moveTo>
                  <a:lnTo>
                    <a:pt x="88" y="340"/>
                  </a:lnTo>
                  <a:lnTo>
                    <a:pt x="88" y="338"/>
                  </a:lnTo>
                  <a:close/>
                  <a:moveTo>
                    <a:pt x="271" y="340"/>
                  </a:moveTo>
                  <a:lnTo>
                    <a:pt x="271" y="338"/>
                  </a:lnTo>
                  <a:lnTo>
                    <a:pt x="271" y="340"/>
                  </a:lnTo>
                  <a:close/>
                  <a:moveTo>
                    <a:pt x="59" y="340"/>
                  </a:moveTo>
                  <a:lnTo>
                    <a:pt x="59" y="338"/>
                  </a:lnTo>
                  <a:lnTo>
                    <a:pt x="59" y="340"/>
                  </a:lnTo>
                  <a:close/>
                  <a:moveTo>
                    <a:pt x="225" y="340"/>
                  </a:moveTo>
                  <a:lnTo>
                    <a:pt x="225" y="338"/>
                  </a:lnTo>
                  <a:lnTo>
                    <a:pt x="225" y="340"/>
                  </a:lnTo>
                  <a:close/>
                  <a:moveTo>
                    <a:pt x="36" y="340"/>
                  </a:moveTo>
                  <a:lnTo>
                    <a:pt x="33" y="340"/>
                  </a:lnTo>
                  <a:lnTo>
                    <a:pt x="33" y="338"/>
                  </a:lnTo>
                  <a:lnTo>
                    <a:pt x="36" y="340"/>
                  </a:lnTo>
                  <a:close/>
                  <a:moveTo>
                    <a:pt x="95" y="340"/>
                  </a:moveTo>
                  <a:lnTo>
                    <a:pt x="93" y="340"/>
                  </a:lnTo>
                  <a:lnTo>
                    <a:pt x="93" y="338"/>
                  </a:lnTo>
                  <a:lnTo>
                    <a:pt x="95" y="340"/>
                  </a:lnTo>
                  <a:close/>
                  <a:moveTo>
                    <a:pt x="50" y="340"/>
                  </a:moveTo>
                  <a:lnTo>
                    <a:pt x="50" y="338"/>
                  </a:lnTo>
                  <a:lnTo>
                    <a:pt x="50" y="340"/>
                  </a:lnTo>
                  <a:close/>
                  <a:moveTo>
                    <a:pt x="225" y="340"/>
                  </a:moveTo>
                  <a:lnTo>
                    <a:pt x="225" y="338"/>
                  </a:lnTo>
                  <a:lnTo>
                    <a:pt x="225" y="340"/>
                  </a:lnTo>
                  <a:close/>
                  <a:moveTo>
                    <a:pt x="221" y="340"/>
                  </a:moveTo>
                  <a:lnTo>
                    <a:pt x="221" y="338"/>
                  </a:lnTo>
                  <a:lnTo>
                    <a:pt x="221" y="340"/>
                  </a:lnTo>
                  <a:close/>
                  <a:moveTo>
                    <a:pt x="45" y="340"/>
                  </a:moveTo>
                  <a:lnTo>
                    <a:pt x="45" y="338"/>
                  </a:lnTo>
                  <a:lnTo>
                    <a:pt x="45" y="340"/>
                  </a:lnTo>
                  <a:close/>
                  <a:moveTo>
                    <a:pt x="38" y="340"/>
                  </a:moveTo>
                  <a:lnTo>
                    <a:pt x="38" y="338"/>
                  </a:lnTo>
                  <a:lnTo>
                    <a:pt x="38" y="340"/>
                  </a:lnTo>
                  <a:close/>
                  <a:moveTo>
                    <a:pt x="55" y="338"/>
                  </a:moveTo>
                  <a:lnTo>
                    <a:pt x="55" y="340"/>
                  </a:lnTo>
                  <a:lnTo>
                    <a:pt x="55" y="338"/>
                  </a:lnTo>
                  <a:close/>
                  <a:moveTo>
                    <a:pt x="228" y="340"/>
                  </a:moveTo>
                  <a:lnTo>
                    <a:pt x="228" y="338"/>
                  </a:lnTo>
                  <a:lnTo>
                    <a:pt x="228" y="340"/>
                  </a:lnTo>
                  <a:close/>
                  <a:moveTo>
                    <a:pt x="55" y="338"/>
                  </a:moveTo>
                  <a:lnTo>
                    <a:pt x="55" y="340"/>
                  </a:lnTo>
                  <a:lnTo>
                    <a:pt x="55" y="338"/>
                  </a:lnTo>
                  <a:close/>
                  <a:moveTo>
                    <a:pt x="76" y="340"/>
                  </a:moveTo>
                  <a:lnTo>
                    <a:pt x="76" y="338"/>
                  </a:lnTo>
                  <a:lnTo>
                    <a:pt x="76" y="340"/>
                  </a:lnTo>
                  <a:close/>
                  <a:moveTo>
                    <a:pt x="240" y="338"/>
                  </a:moveTo>
                  <a:lnTo>
                    <a:pt x="240" y="340"/>
                  </a:lnTo>
                  <a:lnTo>
                    <a:pt x="240" y="338"/>
                  </a:lnTo>
                  <a:close/>
                  <a:moveTo>
                    <a:pt x="12" y="340"/>
                  </a:moveTo>
                  <a:lnTo>
                    <a:pt x="12" y="338"/>
                  </a:lnTo>
                  <a:lnTo>
                    <a:pt x="12" y="340"/>
                  </a:lnTo>
                  <a:close/>
                  <a:moveTo>
                    <a:pt x="52" y="340"/>
                  </a:moveTo>
                  <a:lnTo>
                    <a:pt x="52" y="338"/>
                  </a:lnTo>
                  <a:lnTo>
                    <a:pt x="52" y="340"/>
                  </a:lnTo>
                  <a:close/>
                  <a:moveTo>
                    <a:pt x="240" y="338"/>
                  </a:moveTo>
                  <a:lnTo>
                    <a:pt x="240" y="340"/>
                  </a:lnTo>
                  <a:lnTo>
                    <a:pt x="240" y="338"/>
                  </a:lnTo>
                  <a:close/>
                  <a:moveTo>
                    <a:pt x="221" y="338"/>
                  </a:moveTo>
                  <a:lnTo>
                    <a:pt x="221" y="340"/>
                  </a:lnTo>
                  <a:lnTo>
                    <a:pt x="221" y="338"/>
                  </a:lnTo>
                  <a:close/>
                  <a:moveTo>
                    <a:pt x="29" y="338"/>
                  </a:moveTo>
                  <a:lnTo>
                    <a:pt x="29" y="340"/>
                  </a:lnTo>
                  <a:lnTo>
                    <a:pt x="29" y="338"/>
                  </a:lnTo>
                  <a:close/>
                  <a:moveTo>
                    <a:pt x="38" y="340"/>
                  </a:moveTo>
                  <a:lnTo>
                    <a:pt x="38" y="338"/>
                  </a:lnTo>
                  <a:lnTo>
                    <a:pt x="38" y="340"/>
                  </a:lnTo>
                  <a:close/>
                  <a:moveTo>
                    <a:pt x="242" y="338"/>
                  </a:moveTo>
                  <a:lnTo>
                    <a:pt x="242" y="340"/>
                  </a:lnTo>
                  <a:lnTo>
                    <a:pt x="242" y="338"/>
                  </a:lnTo>
                  <a:close/>
                  <a:moveTo>
                    <a:pt x="55" y="340"/>
                  </a:moveTo>
                  <a:lnTo>
                    <a:pt x="55" y="338"/>
                  </a:lnTo>
                  <a:lnTo>
                    <a:pt x="55" y="340"/>
                  </a:lnTo>
                  <a:close/>
                  <a:moveTo>
                    <a:pt x="81" y="340"/>
                  </a:moveTo>
                  <a:lnTo>
                    <a:pt x="81" y="338"/>
                  </a:lnTo>
                  <a:lnTo>
                    <a:pt x="81" y="340"/>
                  </a:lnTo>
                  <a:close/>
                  <a:moveTo>
                    <a:pt x="64" y="338"/>
                  </a:moveTo>
                  <a:lnTo>
                    <a:pt x="64" y="340"/>
                  </a:lnTo>
                  <a:lnTo>
                    <a:pt x="64" y="338"/>
                  </a:lnTo>
                  <a:close/>
                  <a:moveTo>
                    <a:pt x="64" y="340"/>
                  </a:moveTo>
                  <a:lnTo>
                    <a:pt x="64" y="338"/>
                  </a:lnTo>
                  <a:lnTo>
                    <a:pt x="64" y="340"/>
                  </a:lnTo>
                  <a:close/>
                  <a:moveTo>
                    <a:pt x="21" y="338"/>
                  </a:moveTo>
                  <a:lnTo>
                    <a:pt x="21" y="340"/>
                  </a:lnTo>
                  <a:lnTo>
                    <a:pt x="21" y="338"/>
                  </a:lnTo>
                  <a:close/>
                  <a:moveTo>
                    <a:pt x="40" y="338"/>
                  </a:moveTo>
                  <a:lnTo>
                    <a:pt x="40" y="340"/>
                  </a:lnTo>
                  <a:lnTo>
                    <a:pt x="40" y="338"/>
                  </a:lnTo>
                  <a:close/>
                  <a:moveTo>
                    <a:pt x="55" y="338"/>
                  </a:moveTo>
                  <a:lnTo>
                    <a:pt x="55" y="340"/>
                  </a:lnTo>
                  <a:lnTo>
                    <a:pt x="55" y="338"/>
                  </a:lnTo>
                  <a:close/>
                  <a:moveTo>
                    <a:pt x="225" y="338"/>
                  </a:moveTo>
                  <a:lnTo>
                    <a:pt x="225" y="340"/>
                  </a:lnTo>
                  <a:lnTo>
                    <a:pt x="225" y="338"/>
                  </a:lnTo>
                  <a:close/>
                  <a:moveTo>
                    <a:pt x="59" y="338"/>
                  </a:moveTo>
                  <a:lnTo>
                    <a:pt x="59" y="340"/>
                  </a:lnTo>
                  <a:lnTo>
                    <a:pt x="59" y="338"/>
                  </a:lnTo>
                  <a:close/>
                  <a:moveTo>
                    <a:pt x="55" y="338"/>
                  </a:moveTo>
                  <a:lnTo>
                    <a:pt x="55" y="340"/>
                  </a:lnTo>
                  <a:lnTo>
                    <a:pt x="55" y="338"/>
                  </a:lnTo>
                  <a:close/>
                  <a:moveTo>
                    <a:pt x="71" y="338"/>
                  </a:moveTo>
                  <a:lnTo>
                    <a:pt x="71" y="340"/>
                  </a:lnTo>
                  <a:lnTo>
                    <a:pt x="71" y="338"/>
                  </a:lnTo>
                  <a:close/>
                  <a:moveTo>
                    <a:pt x="59" y="340"/>
                  </a:moveTo>
                  <a:lnTo>
                    <a:pt x="57" y="338"/>
                  </a:lnTo>
                  <a:lnTo>
                    <a:pt x="59" y="338"/>
                  </a:lnTo>
                  <a:lnTo>
                    <a:pt x="59" y="340"/>
                  </a:lnTo>
                  <a:close/>
                  <a:moveTo>
                    <a:pt x="50" y="338"/>
                  </a:moveTo>
                  <a:lnTo>
                    <a:pt x="48" y="338"/>
                  </a:lnTo>
                  <a:lnTo>
                    <a:pt x="50" y="338"/>
                  </a:lnTo>
                  <a:close/>
                  <a:moveTo>
                    <a:pt x="55" y="338"/>
                  </a:moveTo>
                  <a:lnTo>
                    <a:pt x="52" y="338"/>
                  </a:lnTo>
                  <a:lnTo>
                    <a:pt x="55" y="338"/>
                  </a:lnTo>
                  <a:close/>
                  <a:moveTo>
                    <a:pt x="55" y="338"/>
                  </a:moveTo>
                  <a:lnTo>
                    <a:pt x="55" y="340"/>
                  </a:lnTo>
                  <a:lnTo>
                    <a:pt x="55" y="338"/>
                  </a:lnTo>
                  <a:close/>
                  <a:moveTo>
                    <a:pt x="33" y="338"/>
                  </a:moveTo>
                  <a:lnTo>
                    <a:pt x="36" y="338"/>
                  </a:lnTo>
                  <a:lnTo>
                    <a:pt x="33" y="338"/>
                  </a:lnTo>
                  <a:close/>
                  <a:moveTo>
                    <a:pt x="52" y="338"/>
                  </a:moveTo>
                  <a:lnTo>
                    <a:pt x="52" y="340"/>
                  </a:lnTo>
                  <a:lnTo>
                    <a:pt x="52" y="338"/>
                  </a:lnTo>
                  <a:close/>
                  <a:moveTo>
                    <a:pt x="278" y="338"/>
                  </a:moveTo>
                  <a:lnTo>
                    <a:pt x="275" y="338"/>
                  </a:lnTo>
                  <a:lnTo>
                    <a:pt x="278" y="338"/>
                  </a:lnTo>
                  <a:close/>
                  <a:moveTo>
                    <a:pt x="59" y="338"/>
                  </a:moveTo>
                  <a:lnTo>
                    <a:pt x="57" y="338"/>
                  </a:lnTo>
                  <a:lnTo>
                    <a:pt x="59" y="338"/>
                  </a:lnTo>
                  <a:close/>
                  <a:moveTo>
                    <a:pt x="33" y="338"/>
                  </a:moveTo>
                  <a:lnTo>
                    <a:pt x="31" y="338"/>
                  </a:lnTo>
                  <a:lnTo>
                    <a:pt x="33" y="338"/>
                  </a:lnTo>
                  <a:close/>
                  <a:moveTo>
                    <a:pt x="38" y="338"/>
                  </a:moveTo>
                  <a:lnTo>
                    <a:pt x="36" y="338"/>
                  </a:lnTo>
                  <a:lnTo>
                    <a:pt x="38" y="338"/>
                  </a:lnTo>
                  <a:close/>
                  <a:moveTo>
                    <a:pt x="278" y="338"/>
                  </a:moveTo>
                  <a:lnTo>
                    <a:pt x="275" y="338"/>
                  </a:lnTo>
                  <a:lnTo>
                    <a:pt x="278" y="338"/>
                  </a:lnTo>
                  <a:close/>
                  <a:moveTo>
                    <a:pt x="81" y="338"/>
                  </a:moveTo>
                  <a:lnTo>
                    <a:pt x="78" y="338"/>
                  </a:lnTo>
                  <a:lnTo>
                    <a:pt x="81" y="338"/>
                  </a:lnTo>
                  <a:close/>
                  <a:moveTo>
                    <a:pt x="74" y="338"/>
                  </a:moveTo>
                  <a:lnTo>
                    <a:pt x="71" y="338"/>
                  </a:lnTo>
                  <a:lnTo>
                    <a:pt x="74" y="338"/>
                  </a:lnTo>
                  <a:close/>
                  <a:moveTo>
                    <a:pt x="26" y="338"/>
                  </a:moveTo>
                  <a:lnTo>
                    <a:pt x="24" y="338"/>
                  </a:lnTo>
                  <a:lnTo>
                    <a:pt x="26" y="338"/>
                  </a:lnTo>
                  <a:close/>
                  <a:moveTo>
                    <a:pt x="59" y="338"/>
                  </a:moveTo>
                  <a:lnTo>
                    <a:pt x="57" y="338"/>
                  </a:lnTo>
                  <a:lnTo>
                    <a:pt x="59" y="338"/>
                  </a:lnTo>
                  <a:close/>
                  <a:moveTo>
                    <a:pt x="76" y="338"/>
                  </a:moveTo>
                  <a:lnTo>
                    <a:pt x="74" y="338"/>
                  </a:lnTo>
                  <a:lnTo>
                    <a:pt x="76" y="338"/>
                  </a:lnTo>
                  <a:close/>
                  <a:moveTo>
                    <a:pt x="33" y="338"/>
                  </a:moveTo>
                  <a:lnTo>
                    <a:pt x="31" y="338"/>
                  </a:lnTo>
                  <a:lnTo>
                    <a:pt x="33" y="338"/>
                  </a:lnTo>
                  <a:close/>
                  <a:moveTo>
                    <a:pt x="55" y="338"/>
                  </a:moveTo>
                  <a:lnTo>
                    <a:pt x="52" y="338"/>
                  </a:lnTo>
                  <a:lnTo>
                    <a:pt x="55" y="338"/>
                  </a:lnTo>
                  <a:close/>
                  <a:moveTo>
                    <a:pt x="36" y="338"/>
                  </a:moveTo>
                  <a:lnTo>
                    <a:pt x="33" y="338"/>
                  </a:lnTo>
                  <a:lnTo>
                    <a:pt x="36" y="338"/>
                  </a:lnTo>
                  <a:close/>
                  <a:moveTo>
                    <a:pt x="57" y="338"/>
                  </a:moveTo>
                  <a:lnTo>
                    <a:pt x="55" y="338"/>
                  </a:lnTo>
                  <a:lnTo>
                    <a:pt x="57" y="338"/>
                  </a:lnTo>
                  <a:close/>
                  <a:moveTo>
                    <a:pt x="55" y="338"/>
                  </a:moveTo>
                  <a:lnTo>
                    <a:pt x="52" y="338"/>
                  </a:lnTo>
                  <a:lnTo>
                    <a:pt x="55" y="338"/>
                  </a:lnTo>
                  <a:close/>
                  <a:moveTo>
                    <a:pt x="271" y="338"/>
                  </a:moveTo>
                  <a:lnTo>
                    <a:pt x="268" y="338"/>
                  </a:lnTo>
                  <a:lnTo>
                    <a:pt x="271" y="338"/>
                  </a:lnTo>
                  <a:close/>
                  <a:moveTo>
                    <a:pt x="55" y="338"/>
                  </a:moveTo>
                  <a:lnTo>
                    <a:pt x="57" y="338"/>
                  </a:lnTo>
                  <a:lnTo>
                    <a:pt x="55" y="338"/>
                  </a:lnTo>
                  <a:close/>
                  <a:moveTo>
                    <a:pt x="62" y="338"/>
                  </a:moveTo>
                  <a:lnTo>
                    <a:pt x="59" y="338"/>
                  </a:lnTo>
                  <a:lnTo>
                    <a:pt x="62" y="338"/>
                  </a:lnTo>
                  <a:close/>
                  <a:moveTo>
                    <a:pt x="90" y="338"/>
                  </a:moveTo>
                  <a:lnTo>
                    <a:pt x="88" y="338"/>
                  </a:lnTo>
                  <a:lnTo>
                    <a:pt x="90" y="338"/>
                  </a:lnTo>
                  <a:close/>
                  <a:moveTo>
                    <a:pt x="67" y="338"/>
                  </a:moveTo>
                  <a:lnTo>
                    <a:pt x="64" y="338"/>
                  </a:lnTo>
                  <a:lnTo>
                    <a:pt x="67" y="338"/>
                  </a:lnTo>
                  <a:close/>
                  <a:moveTo>
                    <a:pt x="247" y="338"/>
                  </a:moveTo>
                  <a:lnTo>
                    <a:pt x="244" y="338"/>
                  </a:lnTo>
                  <a:lnTo>
                    <a:pt x="247" y="338"/>
                  </a:lnTo>
                  <a:close/>
                  <a:moveTo>
                    <a:pt x="254" y="338"/>
                  </a:moveTo>
                  <a:lnTo>
                    <a:pt x="256" y="338"/>
                  </a:lnTo>
                  <a:lnTo>
                    <a:pt x="254" y="338"/>
                  </a:lnTo>
                  <a:close/>
                  <a:moveTo>
                    <a:pt x="95" y="338"/>
                  </a:moveTo>
                  <a:lnTo>
                    <a:pt x="93" y="338"/>
                  </a:lnTo>
                  <a:lnTo>
                    <a:pt x="95" y="338"/>
                  </a:lnTo>
                  <a:close/>
                  <a:moveTo>
                    <a:pt x="223" y="338"/>
                  </a:moveTo>
                  <a:lnTo>
                    <a:pt x="221" y="338"/>
                  </a:lnTo>
                  <a:lnTo>
                    <a:pt x="223" y="338"/>
                  </a:lnTo>
                  <a:close/>
                  <a:moveTo>
                    <a:pt x="55" y="338"/>
                  </a:moveTo>
                  <a:lnTo>
                    <a:pt x="52" y="338"/>
                  </a:lnTo>
                  <a:lnTo>
                    <a:pt x="55" y="338"/>
                  </a:lnTo>
                  <a:close/>
                  <a:moveTo>
                    <a:pt x="57" y="338"/>
                  </a:moveTo>
                  <a:lnTo>
                    <a:pt x="55" y="338"/>
                  </a:lnTo>
                  <a:lnTo>
                    <a:pt x="57" y="338"/>
                  </a:lnTo>
                  <a:close/>
                  <a:moveTo>
                    <a:pt x="62" y="338"/>
                  </a:moveTo>
                  <a:lnTo>
                    <a:pt x="59" y="338"/>
                  </a:lnTo>
                  <a:lnTo>
                    <a:pt x="62" y="338"/>
                  </a:lnTo>
                  <a:close/>
                  <a:moveTo>
                    <a:pt x="256" y="338"/>
                  </a:moveTo>
                  <a:lnTo>
                    <a:pt x="254" y="338"/>
                  </a:lnTo>
                  <a:lnTo>
                    <a:pt x="256" y="338"/>
                  </a:lnTo>
                  <a:close/>
                  <a:moveTo>
                    <a:pt x="240" y="338"/>
                  </a:moveTo>
                  <a:lnTo>
                    <a:pt x="237" y="338"/>
                  </a:lnTo>
                  <a:lnTo>
                    <a:pt x="240" y="338"/>
                  </a:lnTo>
                  <a:close/>
                  <a:moveTo>
                    <a:pt x="52" y="338"/>
                  </a:moveTo>
                  <a:lnTo>
                    <a:pt x="50" y="338"/>
                  </a:lnTo>
                  <a:lnTo>
                    <a:pt x="52" y="338"/>
                  </a:lnTo>
                  <a:close/>
                  <a:moveTo>
                    <a:pt x="263" y="338"/>
                  </a:moveTo>
                  <a:lnTo>
                    <a:pt x="266" y="338"/>
                  </a:lnTo>
                  <a:lnTo>
                    <a:pt x="263" y="338"/>
                  </a:lnTo>
                  <a:close/>
                  <a:moveTo>
                    <a:pt x="69" y="338"/>
                  </a:moveTo>
                  <a:lnTo>
                    <a:pt x="67" y="338"/>
                  </a:lnTo>
                  <a:lnTo>
                    <a:pt x="69" y="338"/>
                  </a:lnTo>
                  <a:close/>
                  <a:moveTo>
                    <a:pt x="17" y="338"/>
                  </a:moveTo>
                  <a:lnTo>
                    <a:pt x="14" y="338"/>
                  </a:lnTo>
                  <a:lnTo>
                    <a:pt x="17" y="338"/>
                  </a:lnTo>
                  <a:close/>
                  <a:moveTo>
                    <a:pt x="244" y="338"/>
                  </a:moveTo>
                  <a:lnTo>
                    <a:pt x="242" y="338"/>
                  </a:lnTo>
                  <a:lnTo>
                    <a:pt x="244" y="338"/>
                  </a:lnTo>
                  <a:close/>
                  <a:moveTo>
                    <a:pt x="26" y="338"/>
                  </a:moveTo>
                  <a:lnTo>
                    <a:pt x="26" y="335"/>
                  </a:lnTo>
                  <a:lnTo>
                    <a:pt x="26" y="338"/>
                  </a:lnTo>
                  <a:close/>
                  <a:moveTo>
                    <a:pt x="36" y="338"/>
                  </a:moveTo>
                  <a:lnTo>
                    <a:pt x="36" y="335"/>
                  </a:lnTo>
                  <a:lnTo>
                    <a:pt x="36" y="338"/>
                  </a:lnTo>
                  <a:close/>
                  <a:moveTo>
                    <a:pt x="228" y="338"/>
                  </a:moveTo>
                  <a:lnTo>
                    <a:pt x="228" y="335"/>
                  </a:lnTo>
                  <a:lnTo>
                    <a:pt x="228" y="338"/>
                  </a:lnTo>
                  <a:close/>
                  <a:moveTo>
                    <a:pt x="52" y="335"/>
                  </a:moveTo>
                  <a:lnTo>
                    <a:pt x="52" y="338"/>
                  </a:lnTo>
                  <a:lnTo>
                    <a:pt x="52" y="335"/>
                  </a:lnTo>
                  <a:close/>
                  <a:moveTo>
                    <a:pt x="81" y="338"/>
                  </a:moveTo>
                  <a:lnTo>
                    <a:pt x="81" y="335"/>
                  </a:lnTo>
                  <a:lnTo>
                    <a:pt x="81" y="338"/>
                  </a:lnTo>
                  <a:close/>
                  <a:moveTo>
                    <a:pt x="275" y="335"/>
                  </a:moveTo>
                  <a:lnTo>
                    <a:pt x="275" y="338"/>
                  </a:lnTo>
                  <a:lnTo>
                    <a:pt x="275" y="335"/>
                  </a:lnTo>
                  <a:close/>
                  <a:moveTo>
                    <a:pt x="261" y="335"/>
                  </a:moveTo>
                  <a:lnTo>
                    <a:pt x="261" y="338"/>
                  </a:lnTo>
                  <a:lnTo>
                    <a:pt x="261" y="335"/>
                  </a:lnTo>
                  <a:close/>
                  <a:moveTo>
                    <a:pt x="67" y="335"/>
                  </a:moveTo>
                  <a:lnTo>
                    <a:pt x="67" y="338"/>
                  </a:lnTo>
                  <a:lnTo>
                    <a:pt x="67" y="335"/>
                  </a:lnTo>
                  <a:close/>
                  <a:moveTo>
                    <a:pt x="256" y="335"/>
                  </a:moveTo>
                  <a:lnTo>
                    <a:pt x="256" y="338"/>
                  </a:lnTo>
                  <a:lnTo>
                    <a:pt x="256" y="335"/>
                  </a:lnTo>
                  <a:close/>
                  <a:moveTo>
                    <a:pt x="69" y="335"/>
                  </a:moveTo>
                  <a:lnTo>
                    <a:pt x="69" y="338"/>
                  </a:lnTo>
                  <a:lnTo>
                    <a:pt x="69" y="335"/>
                  </a:lnTo>
                  <a:close/>
                  <a:moveTo>
                    <a:pt x="78" y="335"/>
                  </a:moveTo>
                  <a:lnTo>
                    <a:pt x="78" y="338"/>
                  </a:lnTo>
                  <a:lnTo>
                    <a:pt x="78" y="335"/>
                  </a:lnTo>
                  <a:close/>
                  <a:moveTo>
                    <a:pt x="74" y="335"/>
                  </a:moveTo>
                  <a:lnTo>
                    <a:pt x="74" y="338"/>
                  </a:lnTo>
                  <a:lnTo>
                    <a:pt x="74" y="335"/>
                  </a:lnTo>
                  <a:close/>
                  <a:moveTo>
                    <a:pt x="71" y="335"/>
                  </a:moveTo>
                  <a:lnTo>
                    <a:pt x="71" y="338"/>
                  </a:lnTo>
                  <a:lnTo>
                    <a:pt x="71" y="335"/>
                  </a:lnTo>
                  <a:close/>
                  <a:moveTo>
                    <a:pt x="36" y="338"/>
                  </a:moveTo>
                  <a:lnTo>
                    <a:pt x="36" y="335"/>
                  </a:lnTo>
                  <a:lnTo>
                    <a:pt x="36" y="338"/>
                  </a:lnTo>
                  <a:close/>
                  <a:moveTo>
                    <a:pt x="78" y="338"/>
                  </a:moveTo>
                  <a:lnTo>
                    <a:pt x="78" y="335"/>
                  </a:lnTo>
                  <a:lnTo>
                    <a:pt x="78" y="338"/>
                  </a:lnTo>
                  <a:close/>
                  <a:moveTo>
                    <a:pt x="57" y="335"/>
                  </a:moveTo>
                  <a:lnTo>
                    <a:pt x="57" y="338"/>
                  </a:lnTo>
                  <a:lnTo>
                    <a:pt x="57" y="335"/>
                  </a:lnTo>
                  <a:close/>
                  <a:moveTo>
                    <a:pt x="88" y="338"/>
                  </a:moveTo>
                  <a:lnTo>
                    <a:pt x="88" y="335"/>
                  </a:lnTo>
                  <a:lnTo>
                    <a:pt x="88" y="338"/>
                  </a:lnTo>
                  <a:close/>
                  <a:moveTo>
                    <a:pt x="67" y="335"/>
                  </a:moveTo>
                  <a:lnTo>
                    <a:pt x="67" y="338"/>
                  </a:lnTo>
                  <a:lnTo>
                    <a:pt x="67" y="335"/>
                  </a:lnTo>
                  <a:close/>
                  <a:moveTo>
                    <a:pt x="62" y="338"/>
                  </a:moveTo>
                  <a:lnTo>
                    <a:pt x="62" y="335"/>
                  </a:lnTo>
                  <a:lnTo>
                    <a:pt x="62" y="338"/>
                  </a:lnTo>
                  <a:close/>
                  <a:moveTo>
                    <a:pt x="71" y="338"/>
                  </a:moveTo>
                  <a:lnTo>
                    <a:pt x="71" y="335"/>
                  </a:lnTo>
                  <a:lnTo>
                    <a:pt x="71" y="338"/>
                  </a:lnTo>
                  <a:close/>
                  <a:moveTo>
                    <a:pt x="14" y="338"/>
                  </a:moveTo>
                  <a:lnTo>
                    <a:pt x="14" y="335"/>
                  </a:lnTo>
                  <a:lnTo>
                    <a:pt x="14" y="338"/>
                  </a:lnTo>
                  <a:close/>
                  <a:moveTo>
                    <a:pt x="45" y="335"/>
                  </a:moveTo>
                  <a:lnTo>
                    <a:pt x="45" y="338"/>
                  </a:lnTo>
                  <a:lnTo>
                    <a:pt x="45" y="335"/>
                  </a:lnTo>
                  <a:close/>
                  <a:moveTo>
                    <a:pt x="52" y="335"/>
                  </a:moveTo>
                  <a:lnTo>
                    <a:pt x="52" y="338"/>
                  </a:lnTo>
                  <a:lnTo>
                    <a:pt x="52" y="335"/>
                  </a:lnTo>
                  <a:close/>
                  <a:moveTo>
                    <a:pt x="64" y="335"/>
                  </a:moveTo>
                  <a:lnTo>
                    <a:pt x="64" y="338"/>
                  </a:lnTo>
                  <a:lnTo>
                    <a:pt x="64" y="335"/>
                  </a:lnTo>
                  <a:lnTo>
                    <a:pt x="64" y="338"/>
                  </a:lnTo>
                  <a:lnTo>
                    <a:pt x="64" y="335"/>
                  </a:lnTo>
                  <a:close/>
                  <a:moveTo>
                    <a:pt x="36" y="335"/>
                  </a:moveTo>
                  <a:lnTo>
                    <a:pt x="33" y="335"/>
                  </a:lnTo>
                  <a:lnTo>
                    <a:pt x="36" y="335"/>
                  </a:lnTo>
                  <a:close/>
                  <a:moveTo>
                    <a:pt x="31" y="338"/>
                  </a:moveTo>
                  <a:lnTo>
                    <a:pt x="31" y="335"/>
                  </a:lnTo>
                  <a:lnTo>
                    <a:pt x="31" y="338"/>
                  </a:lnTo>
                  <a:close/>
                  <a:moveTo>
                    <a:pt x="67" y="338"/>
                  </a:moveTo>
                  <a:lnTo>
                    <a:pt x="67" y="335"/>
                  </a:lnTo>
                  <a:lnTo>
                    <a:pt x="67" y="338"/>
                  </a:lnTo>
                  <a:close/>
                  <a:moveTo>
                    <a:pt x="78" y="335"/>
                  </a:moveTo>
                  <a:lnTo>
                    <a:pt x="78" y="338"/>
                  </a:lnTo>
                  <a:lnTo>
                    <a:pt x="78" y="335"/>
                  </a:lnTo>
                  <a:close/>
                  <a:moveTo>
                    <a:pt x="52" y="335"/>
                  </a:moveTo>
                  <a:lnTo>
                    <a:pt x="52" y="338"/>
                  </a:lnTo>
                  <a:lnTo>
                    <a:pt x="52" y="335"/>
                  </a:lnTo>
                  <a:close/>
                  <a:moveTo>
                    <a:pt x="69" y="335"/>
                  </a:moveTo>
                  <a:lnTo>
                    <a:pt x="67" y="335"/>
                  </a:lnTo>
                  <a:lnTo>
                    <a:pt x="69" y="335"/>
                  </a:lnTo>
                  <a:close/>
                  <a:moveTo>
                    <a:pt x="26" y="335"/>
                  </a:moveTo>
                  <a:lnTo>
                    <a:pt x="24" y="335"/>
                  </a:lnTo>
                  <a:lnTo>
                    <a:pt x="26" y="335"/>
                  </a:lnTo>
                  <a:close/>
                  <a:moveTo>
                    <a:pt x="31" y="335"/>
                  </a:moveTo>
                  <a:lnTo>
                    <a:pt x="29" y="335"/>
                  </a:lnTo>
                  <a:lnTo>
                    <a:pt x="31" y="335"/>
                  </a:lnTo>
                  <a:close/>
                  <a:moveTo>
                    <a:pt x="21" y="335"/>
                  </a:moveTo>
                  <a:lnTo>
                    <a:pt x="24" y="335"/>
                  </a:lnTo>
                  <a:lnTo>
                    <a:pt x="21" y="335"/>
                  </a:lnTo>
                  <a:close/>
                  <a:moveTo>
                    <a:pt x="275" y="335"/>
                  </a:moveTo>
                  <a:lnTo>
                    <a:pt x="273" y="335"/>
                  </a:lnTo>
                  <a:lnTo>
                    <a:pt x="275" y="335"/>
                  </a:lnTo>
                  <a:close/>
                  <a:moveTo>
                    <a:pt x="57" y="335"/>
                  </a:moveTo>
                  <a:lnTo>
                    <a:pt x="55" y="335"/>
                  </a:lnTo>
                  <a:lnTo>
                    <a:pt x="57" y="335"/>
                  </a:lnTo>
                  <a:close/>
                  <a:moveTo>
                    <a:pt x="74" y="335"/>
                  </a:moveTo>
                  <a:lnTo>
                    <a:pt x="71" y="335"/>
                  </a:lnTo>
                  <a:lnTo>
                    <a:pt x="74" y="335"/>
                  </a:lnTo>
                  <a:close/>
                  <a:moveTo>
                    <a:pt x="52" y="335"/>
                  </a:moveTo>
                  <a:lnTo>
                    <a:pt x="50" y="335"/>
                  </a:lnTo>
                  <a:lnTo>
                    <a:pt x="52" y="335"/>
                  </a:lnTo>
                  <a:close/>
                  <a:moveTo>
                    <a:pt x="266" y="335"/>
                  </a:moveTo>
                  <a:lnTo>
                    <a:pt x="263" y="335"/>
                  </a:lnTo>
                  <a:lnTo>
                    <a:pt x="266" y="335"/>
                  </a:lnTo>
                  <a:close/>
                  <a:moveTo>
                    <a:pt x="59" y="335"/>
                  </a:moveTo>
                  <a:lnTo>
                    <a:pt x="62" y="335"/>
                  </a:lnTo>
                  <a:lnTo>
                    <a:pt x="59" y="335"/>
                  </a:lnTo>
                  <a:close/>
                  <a:moveTo>
                    <a:pt x="81" y="335"/>
                  </a:moveTo>
                  <a:lnTo>
                    <a:pt x="78" y="335"/>
                  </a:lnTo>
                  <a:lnTo>
                    <a:pt x="81" y="335"/>
                  </a:lnTo>
                  <a:close/>
                  <a:moveTo>
                    <a:pt x="62" y="335"/>
                  </a:moveTo>
                  <a:lnTo>
                    <a:pt x="59" y="335"/>
                  </a:lnTo>
                  <a:lnTo>
                    <a:pt x="62" y="335"/>
                  </a:lnTo>
                  <a:close/>
                  <a:moveTo>
                    <a:pt x="52" y="335"/>
                  </a:moveTo>
                  <a:lnTo>
                    <a:pt x="50" y="335"/>
                  </a:lnTo>
                  <a:lnTo>
                    <a:pt x="52" y="335"/>
                  </a:lnTo>
                  <a:close/>
                  <a:moveTo>
                    <a:pt x="90" y="335"/>
                  </a:moveTo>
                  <a:lnTo>
                    <a:pt x="88" y="335"/>
                  </a:lnTo>
                  <a:lnTo>
                    <a:pt x="90" y="335"/>
                  </a:lnTo>
                  <a:close/>
                  <a:moveTo>
                    <a:pt x="278" y="335"/>
                  </a:moveTo>
                  <a:lnTo>
                    <a:pt x="275" y="335"/>
                  </a:lnTo>
                  <a:lnTo>
                    <a:pt x="278" y="335"/>
                  </a:lnTo>
                  <a:close/>
                  <a:moveTo>
                    <a:pt x="52" y="335"/>
                  </a:moveTo>
                  <a:lnTo>
                    <a:pt x="50" y="335"/>
                  </a:lnTo>
                  <a:lnTo>
                    <a:pt x="52" y="335"/>
                  </a:lnTo>
                  <a:close/>
                  <a:moveTo>
                    <a:pt x="67" y="335"/>
                  </a:moveTo>
                  <a:lnTo>
                    <a:pt x="64" y="335"/>
                  </a:lnTo>
                  <a:lnTo>
                    <a:pt x="67" y="335"/>
                  </a:lnTo>
                  <a:close/>
                  <a:moveTo>
                    <a:pt x="52" y="335"/>
                  </a:moveTo>
                  <a:lnTo>
                    <a:pt x="50" y="335"/>
                  </a:lnTo>
                  <a:lnTo>
                    <a:pt x="52" y="335"/>
                  </a:lnTo>
                  <a:close/>
                  <a:moveTo>
                    <a:pt x="261" y="335"/>
                  </a:moveTo>
                  <a:lnTo>
                    <a:pt x="259" y="335"/>
                  </a:lnTo>
                  <a:lnTo>
                    <a:pt x="261" y="335"/>
                  </a:lnTo>
                  <a:close/>
                  <a:moveTo>
                    <a:pt x="40" y="335"/>
                  </a:moveTo>
                  <a:lnTo>
                    <a:pt x="38" y="335"/>
                  </a:lnTo>
                  <a:lnTo>
                    <a:pt x="40" y="335"/>
                  </a:lnTo>
                  <a:close/>
                  <a:moveTo>
                    <a:pt x="31" y="333"/>
                  </a:moveTo>
                  <a:lnTo>
                    <a:pt x="31" y="335"/>
                  </a:lnTo>
                  <a:lnTo>
                    <a:pt x="31" y="333"/>
                  </a:lnTo>
                  <a:close/>
                  <a:moveTo>
                    <a:pt x="244" y="335"/>
                  </a:moveTo>
                  <a:lnTo>
                    <a:pt x="244" y="333"/>
                  </a:lnTo>
                  <a:lnTo>
                    <a:pt x="244" y="335"/>
                  </a:lnTo>
                  <a:close/>
                  <a:moveTo>
                    <a:pt x="33" y="335"/>
                  </a:moveTo>
                  <a:lnTo>
                    <a:pt x="33" y="333"/>
                  </a:lnTo>
                  <a:lnTo>
                    <a:pt x="33" y="335"/>
                  </a:lnTo>
                  <a:close/>
                  <a:moveTo>
                    <a:pt x="81" y="335"/>
                  </a:moveTo>
                  <a:lnTo>
                    <a:pt x="81" y="333"/>
                  </a:lnTo>
                  <a:lnTo>
                    <a:pt x="81" y="335"/>
                  </a:lnTo>
                  <a:close/>
                  <a:moveTo>
                    <a:pt x="55" y="335"/>
                  </a:moveTo>
                  <a:lnTo>
                    <a:pt x="55" y="333"/>
                  </a:lnTo>
                  <a:lnTo>
                    <a:pt x="55" y="335"/>
                  </a:lnTo>
                  <a:close/>
                  <a:moveTo>
                    <a:pt x="50" y="335"/>
                  </a:moveTo>
                  <a:lnTo>
                    <a:pt x="50" y="333"/>
                  </a:lnTo>
                  <a:lnTo>
                    <a:pt x="50" y="335"/>
                  </a:lnTo>
                  <a:close/>
                  <a:moveTo>
                    <a:pt x="69" y="333"/>
                  </a:moveTo>
                  <a:lnTo>
                    <a:pt x="69" y="335"/>
                  </a:lnTo>
                  <a:lnTo>
                    <a:pt x="69" y="333"/>
                  </a:lnTo>
                  <a:close/>
                  <a:moveTo>
                    <a:pt x="259" y="335"/>
                  </a:moveTo>
                  <a:lnTo>
                    <a:pt x="259" y="333"/>
                  </a:lnTo>
                  <a:lnTo>
                    <a:pt x="259" y="335"/>
                  </a:lnTo>
                  <a:close/>
                  <a:moveTo>
                    <a:pt x="275" y="335"/>
                  </a:moveTo>
                  <a:lnTo>
                    <a:pt x="275" y="333"/>
                  </a:lnTo>
                  <a:lnTo>
                    <a:pt x="275" y="335"/>
                  </a:lnTo>
                  <a:close/>
                  <a:moveTo>
                    <a:pt x="50" y="335"/>
                  </a:moveTo>
                  <a:lnTo>
                    <a:pt x="50" y="333"/>
                  </a:lnTo>
                  <a:lnTo>
                    <a:pt x="50" y="335"/>
                  </a:lnTo>
                  <a:close/>
                  <a:moveTo>
                    <a:pt x="275" y="335"/>
                  </a:moveTo>
                  <a:lnTo>
                    <a:pt x="273" y="335"/>
                  </a:lnTo>
                  <a:lnTo>
                    <a:pt x="273" y="333"/>
                  </a:lnTo>
                  <a:lnTo>
                    <a:pt x="275" y="335"/>
                  </a:lnTo>
                  <a:close/>
                  <a:moveTo>
                    <a:pt x="261" y="333"/>
                  </a:moveTo>
                  <a:lnTo>
                    <a:pt x="261" y="335"/>
                  </a:lnTo>
                  <a:lnTo>
                    <a:pt x="261" y="333"/>
                  </a:lnTo>
                  <a:close/>
                  <a:moveTo>
                    <a:pt x="81" y="335"/>
                  </a:moveTo>
                  <a:lnTo>
                    <a:pt x="81" y="333"/>
                  </a:lnTo>
                  <a:lnTo>
                    <a:pt x="81" y="335"/>
                  </a:lnTo>
                  <a:close/>
                  <a:moveTo>
                    <a:pt x="275" y="335"/>
                  </a:moveTo>
                  <a:lnTo>
                    <a:pt x="275" y="333"/>
                  </a:lnTo>
                  <a:lnTo>
                    <a:pt x="275" y="335"/>
                  </a:lnTo>
                  <a:close/>
                  <a:moveTo>
                    <a:pt x="74" y="335"/>
                  </a:moveTo>
                  <a:lnTo>
                    <a:pt x="74" y="333"/>
                  </a:lnTo>
                  <a:lnTo>
                    <a:pt x="74" y="335"/>
                  </a:lnTo>
                  <a:close/>
                  <a:moveTo>
                    <a:pt x="261" y="333"/>
                  </a:moveTo>
                  <a:lnTo>
                    <a:pt x="259" y="333"/>
                  </a:lnTo>
                  <a:lnTo>
                    <a:pt x="261" y="333"/>
                  </a:lnTo>
                  <a:close/>
                  <a:moveTo>
                    <a:pt x="88" y="333"/>
                  </a:moveTo>
                  <a:lnTo>
                    <a:pt x="88" y="335"/>
                  </a:lnTo>
                  <a:lnTo>
                    <a:pt x="88" y="333"/>
                  </a:lnTo>
                  <a:close/>
                  <a:moveTo>
                    <a:pt x="275" y="335"/>
                  </a:moveTo>
                  <a:lnTo>
                    <a:pt x="275" y="333"/>
                  </a:lnTo>
                  <a:lnTo>
                    <a:pt x="275" y="335"/>
                  </a:lnTo>
                  <a:close/>
                  <a:moveTo>
                    <a:pt x="57" y="333"/>
                  </a:moveTo>
                  <a:lnTo>
                    <a:pt x="57" y="335"/>
                  </a:lnTo>
                  <a:lnTo>
                    <a:pt x="57" y="333"/>
                  </a:lnTo>
                  <a:close/>
                  <a:moveTo>
                    <a:pt x="261" y="333"/>
                  </a:moveTo>
                  <a:lnTo>
                    <a:pt x="261" y="335"/>
                  </a:lnTo>
                  <a:lnTo>
                    <a:pt x="261" y="333"/>
                  </a:lnTo>
                  <a:close/>
                  <a:moveTo>
                    <a:pt x="55" y="333"/>
                  </a:moveTo>
                  <a:lnTo>
                    <a:pt x="57" y="333"/>
                  </a:lnTo>
                  <a:lnTo>
                    <a:pt x="55" y="333"/>
                  </a:lnTo>
                  <a:lnTo>
                    <a:pt x="55" y="335"/>
                  </a:lnTo>
                  <a:lnTo>
                    <a:pt x="55" y="333"/>
                  </a:lnTo>
                  <a:close/>
                  <a:moveTo>
                    <a:pt x="263" y="333"/>
                  </a:moveTo>
                  <a:lnTo>
                    <a:pt x="263" y="335"/>
                  </a:lnTo>
                  <a:lnTo>
                    <a:pt x="263" y="333"/>
                  </a:lnTo>
                  <a:close/>
                  <a:moveTo>
                    <a:pt x="67" y="333"/>
                  </a:moveTo>
                  <a:lnTo>
                    <a:pt x="67" y="335"/>
                  </a:lnTo>
                  <a:lnTo>
                    <a:pt x="67" y="333"/>
                  </a:lnTo>
                  <a:close/>
                  <a:moveTo>
                    <a:pt x="67" y="333"/>
                  </a:moveTo>
                  <a:lnTo>
                    <a:pt x="64" y="333"/>
                  </a:lnTo>
                  <a:lnTo>
                    <a:pt x="67" y="333"/>
                  </a:lnTo>
                  <a:close/>
                  <a:moveTo>
                    <a:pt x="83" y="333"/>
                  </a:moveTo>
                  <a:lnTo>
                    <a:pt x="81" y="333"/>
                  </a:lnTo>
                  <a:lnTo>
                    <a:pt x="83" y="333"/>
                  </a:lnTo>
                  <a:close/>
                  <a:moveTo>
                    <a:pt x="52" y="333"/>
                  </a:moveTo>
                  <a:lnTo>
                    <a:pt x="50" y="333"/>
                  </a:lnTo>
                  <a:lnTo>
                    <a:pt x="52" y="333"/>
                  </a:lnTo>
                  <a:close/>
                  <a:moveTo>
                    <a:pt x="57" y="333"/>
                  </a:moveTo>
                  <a:lnTo>
                    <a:pt x="55" y="333"/>
                  </a:lnTo>
                  <a:lnTo>
                    <a:pt x="57" y="333"/>
                  </a:lnTo>
                  <a:close/>
                  <a:moveTo>
                    <a:pt x="252" y="333"/>
                  </a:moveTo>
                  <a:lnTo>
                    <a:pt x="254" y="333"/>
                  </a:lnTo>
                  <a:lnTo>
                    <a:pt x="252" y="333"/>
                  </a:lnTo>
                  <a:close/>
                  <a:moveTo>
                    <a:pt x="33" y="333"/>
                  </a:moveTo>
                  <a:lnTo>
                    <a:pt x="31" y="333"/>
                  </a:lnTo>
                  <a:lnTo>
                    <a:pt x="33" y="333"/>
                  </a:lnTo>
                  <a:close/>
                  <a:moveTo>
                    <a:pt x="57" y="333"/>
                  </a:moveTo>
                  <a:lnTo>
                    <a:pt x="55" y="333"/>
                  </a:lnTo>
                  <a:lnTo>
                    <a:pt x="57" y="333"/>
                  </a:lnTo>
                  <a:close/>
                  <a:moveTo>
                    <a:pt x="52" y="333"/>
                  </a:moveTo>
                  <a:lnTo>
                    <a:pt x="50" y="333"/>
                  </a:lnTo>
                  <a:lnTo>
                    <a:pt x="52" y="333"/>
                  </a:lnTo>
                  <a:close/>
                  <a:moveTo>
                    <a:pt x="40" y="333"/>
                  </a:moveTo>
                  <a:lnTo>
                    <a:pt x="38" y="333"/>
                  </a:lnTo>
                  <a:lnTo>
                    <a:pt x="40" y="333"/>
                  </a:lnTo>
                  <a:close/>
                  <a:moveTo>
                    <a:pt x="88" y="333"/>
                  </a:moveTo>
                  <a:lnTo>
                    <a:pt x="86" y="333"/>
                  </a:lnTo>
                  <a:lnTo>
                    <a:pt x="88" y="333"/>
                  </a:lnTo>
                  <a:close/>
                  <a:moveTo>
                    <a:pt x="50" y="333"/>
                  </a:moveTo>
                  <a:lnTo>
                    <a:pt x="48" y="333"/>
                  </a:lnTo>
                  <a:lnTo>
                    <a:pt x="50" y="333"/>
                  </a:lnTo>
                  <a:close/>
                  <a:moveTo>
                    <a:pt x="271" y="333"/>
                  </a:moveTo>
                  <a:lnTo>
                    <a:pt x="268" y="333"/>
                  </a:lnTo>
                  <a:lnTo>
                    <a:pt x="271" y="333"/>
                  </a:lnTo>
                  <a:close/>
                  <a:moveTo>
                    <a:pt x="59" y="333"/>
                  </a:moveTo>
                  <a:lnTo>
                    <a:pt x="57" y="333"/>
                  </a:lnTo>
                  <a:lnTo>
                    <a:pt x="59" y="333"/>
                  </a:lnTo>
                  <a:close/>
                  <a:moveTo>
                    <a:pt x="263" y="333"/>
                  </a:moveTo>
                  <a:lnTo>
                    <a:pt x="261" y="333"/>
                  </a:lnTo>
                  <a:lnTo>
                    <a:pt x="263" y="333"/>
                  </a:lnTo>
                  <a:close/>
                  <a:moveTo>
                    <a:pt x="52" y="333"/>
                  </a:moveTo>
                  <a:lnTo>
                    <a:pt x="50" y="333"/>
                  </a:lnTo>
                  <a:lnTo>
                    <a:pt x="52" y="333"/>
                  </a:lnTo>
                  <a:close/>
                  <a:moveTo>
                    <a:pt x="52" y="333"/>
                  </a:moveTo>
                  <a:lnTo>
                    <a:pt x="50" y="333"/>
                  </a:lnTo>
                  <a:lnTo>
                    <a:pt x="52" y="333"/>
                  </a:lnTo>
                  <a:close/>
                  <a:moveTo>
                    <a:pt x="62" y="333"/>
                  </a:moveTo>
                  <a:lnTo>
                    <a:pt x="59" y="333"/>
                  </a:lnTo>
                  <a:lnTo>
                    <a:pt x="62" y="333"/>
                  </a:lnTo>
                  <a:close/>
                  <a:moveTo>
                    <a:pt x="64" y="333"/>
                  </a:moveTo>
                  <a:lnTo>
                    <a:pt x="62" y="333"/>
                  </a:lnTo>
                  <a:lnTo>
                    <a:pt x="64" y="333"/>
                  </a:lnTo>
                  <a:close/>
                  <a:moveTo>
                    <a:pt x="256" y="333"/>
                  </a:moveTo>
                  <a:lnTo>
                    <a:pt x="254" y="333"/>
                  </a:lnTo>
                  <a:lnTo>
                    <a:pt x="256" y="333"/>
                  </a:lnTo>
                  <a:close/>
                  <a:moveTo>
                    <a:pt x="74" y="333"/>
                  </a:moveTo>
                  <a:lnTo>
                    <a:pt x="71" y="333"/>
                  </a:lnTo>
                  <a:lnTo>
                    <a:pt x="74" y="333"/>
                  </a:lnTo>
                  <a:close/>
                  <a:moveTo>
                    <a:pt x="52" y="333"/>
                  </a:moveTo>
                  <a:lnTo>
                    <a:pt x="50" y="333"/>
                  </a:lnTo>
                  <a:lnTo>
                    <a:pt x="52" y="333"/>
                  </a:lnTo>
                  <a:close/>
                  <a:moveTo>
                    <a:pt x="78" y="333"/>
                  </a:moveTo>
                  <a:lnTo>
                    <a:pt x="78" y="331"/>
                  </a:lnTo>
                  <a:lnTo>
                    <a:pt x="78" y="333"/>
                  </a:lnTo>
                  <a:close/>
                  <a:moveTo>
                    <a:pt x="254" y="333"/>
                  </a:moveTo>
                  <a:lnTo>
                    <a:pt x="254" y="331"/>
                  </a:lnTo>
                  <a:lnTo>
                    <a:pt x="254" y="333"/>
                  </a:lnTo>
                  <a:close/>
                  <a:moveTo>
                    <a:pt x="76" y="333"/>
                  </a:moveTo>
                  <a:lnTo>
                    <a:pt x="76" y="331"/>
                  </a:lnTo>
                  <a:lnTo>
                    <a:pt x="76" y="333"/>
                  </a:lnTo>
                  <a:close/>
                  <a:moveTo>
                    <a:pt x="40" y="331"/>
                  </a:moveTo>
                  <a:lnTo>
                    <a:pt x="40" y="333"/>
                  </a:lnTo>
                  <a:lnTo>
                    <a:pt x="40" y="331"/>
                  </a:lnTo>
                  <a:close/>
                  <a:moveTo>
                    <a:pt x="52" y="331"/>
                  </a:moveTo>
                  <a:lnTo>
                    <a:pt x="50" y="331"/>
                  </a:lnTo>
                  <a:lnTo>
                    <a:pt x="52" y="331"/>
                  </a:lnTo>
                  <a:close/>
                  <a:moveTo>
                    <a:pt x="88" y="333"/>
                  </a:moveTo>
                  <a:lnTo>
                    <a:pt x="86" y="331"/>
                  </a:lnTo>
                  <a:lnTo>
                    <a:pt x="88" y="333"/>
                  </a:lnTo>
                  <a:close/>
                  <a:moveTo>
                    <a:pt x="55" y="331"/>
                  </a:moveTo>
                  <a:lnTo>
                    <a:pt x="52" y="331"/>
                  </a:lnTo>
                  <a:lnTo>
                    <a:pt x="55" y="331"/>
                  </a:lnTo>
                  <a:close/>
                  <a:moveTo>
                    <a:pt x="52" y="331"/>
                  </a:moveTo>
                  <a:lnTo>
                    <a:pt x="50" y="331"/>
                  </a:lnTo>
                  <a:lnTo>
                    <a:pt x="52" y="331"/>
                  </a:lnTo>
                  <a:close/>
                  <a:moveTo>
                    <a:pt x="57" y="331"/>
                  </a:moveTo>
                  <a:lnTo>
                    <a:pt x="55" y="331"/>
                  </a:lnTo>
                  <a:lnTo>
                    <a:pt x="57" y="331"/>
                  </a:lnTo>
                  <a:close/>
                  <a:moveTo>
                    <a:pt x="52" y="331"/>
                  </a:moveTo>
                  <a:lnTo>
                    <a:pt x="50" y="331"/>
                  </a:lnTo>
                  <a:lnTo>
                    <a:pt x="52" y="331"/>
                  </a:lnTo>
                  <a:close/>
                  <a:moveTo>
                    <a:pt x="62" y="331"/>
                  </a:moveTo>
                  <a:lnTo>
                    <a:pt x="59" y="331"/>
                  </a:lnTo>
                  <a:lnTo>
                    <a:pt x="62" y="331"/>
                  </a:lnTo>
                  <a:close/>
                  <a:moveTo>
                    <a:pt x="74" y="331"/>
                  </a:moveTo>
                  <a:lnTo>
                    <a:pt x="71" y="331"/>
                  </a:lnTo>
                  <a:lnTo>
                    <a:pt x="74" y="331"/>
                  </a:lnTo>
                  <a:close/>
                  <a:moveTo>
                    <a:pt x="59" y="331"/>
                  </a:moveTo>
                  <a:lnTo>
                    <a:pt x="57" y="331"/>
                  </a:lnTo>
                  <a:lnTo>
                    <a:pt x="59" y="331"/>
                  </a:lnTo>
                  <a:close/>
                  <a:moveTo>
                    <a:pt x="64" y="331"/>
                  </a:moveTo>
                  <a:lnTo>
                    <a:pt x="62" y="331"/>
                  </a:lnTo>
                  <a:lnTo>
                    <a:pt x="64" y="331"/>
                  </a:lnTo>
                  <a:close/>
                  <a:moveTo>
                    <a:pt x="59" y="331"/>
                  </a:moveTo>
                  <a:lnTo>
                    <a:pt x="57" y="331"/>
                  </a:lnTo>
                  <a:lnTo>
                    <a:pt x="59" y="331"/>
                  </a:lnTo>
                  <a:close/>
                  <a:moveTo>
                    <a:pt x="59" y="328"/>
                  </a:moveTo>
                  <a:lnTo>
                    <a:pt x="59" y="331"/>
                  </a:lnTo>
                  <a:lnTo>
                    <a:pt x="59" y="328"/>
                  </a:lnTo>
                  <a:close/>
                  <a:moveTo>
                    <a:pt x="52" y="331"/>
                  </a:moveTo>
                  <a:lnTo>
                    <a:pt x="52" y="328"/>
                  </a:lnTo>
                  <a:lnTo>
                    <a:pt x="52" y="331"/>
                  </a:lnTo>
                  <a:close/>
                  <a:moveTo>
                    <a:pt x="74" y="328"/>
                  </a:moveTo>
                  <a:lnTo>
                    <a:pt x="74" y="331"/>
                  </a:lnTo>
                  <a:lnTo>
                    <a:pt x="74" y="328"/>
                  </a:lnTo>
                  <a:close/>
                  <a:moveTo>
                    <a:pt x="74" y="328"/>
                  </a:moveTo>
                  <a:lnTo>
                    <a:pt x="74" y="331"/>
                  </a:lnTo>
                  <a:lnTo>
                    <a:pt x="74" y="328"/>
                  </a:lnTo>
                  <a:close/>
                  <a:moveTo>
                    <a:pt x="62" y="328"/>
                  </a:moveTo>
                  <a:lnTo>
                    <a:pt x="62" y="331"/>
                  </a:lnTo>
                  <a:lnTo>
                    <a:pt x="62" y="328"/>
                  </a:lnTo>
                  <a:close/>
                  <a:moveTo>
                    <a:pt x="278" y="331"/>
                  </a:moveTo>
                  <a:lnTo>
                    <a:pt x="278" y="328"/>
                  </a:lnTo>
                  <a:lnTo>
                    <a:pt x="278" y="331"/>
                  </a:lnTo>
                  <a:close/>
                  <a:moveTo>
                    <a:pt x="81" y="331"/>
                  </a:moveTo>
                  <a:lnTo>
                    <a:pt x="81" y="328"/>
                  </a:lnTo>
                  <a:lnTo>
                    <a:pt x="81" y="331"/>
                  </a:lnTo>
                  <a:close/>
                  <a:moveTo>
                    <a:pt x="55" y="328"/>
                  </a:moveTo>
                  <a:lnTo>
                    <a:pt x="55" y="331"/>
                  </a:lnTo>
                  <a:lnTo>
                    <a:pt x="55" y="328"/>
                  </a:lnTo>
                  <a:close/>
                  <a:moveTo>
                    <a:pt x="62" y="331"/>
                  </a:moveTo>
                  <a:lnTo>
                    <a:pt x="62" y="328"/>
                  </a:lnTo>
                  <a:lnTo>
                    <a:pt x="62" y="331"/>
                  </a:lnTo>
                  <a:close/>
                  <a:moveTo>
                    <a:pt x="57" y="331"/>
                  </a:moveTo>
                  <a:lnTo>
                    <a:pt x="57" y="328"/>
                  </a:lnTo>
                  <a:lnTo>
                    <a:pt x="57" y="331"/>
                  </a:lnTo>
                  <a:close/>
                  <a:moveTo>
                    <a:pt x="50" y="328"/>
                  </a:moveTo>
                  <a:lnTo>
                    <a:pt x="50" y="331"/>
                  </a:lnTo>
                  <a:lnTo>
                    <a:pt x="50" y="328"/>
                  </a:lnTo>
                  <a:close/>
                  <a:moveTo>
                    <a:pt x="64" y="331"/>
                  </a:moveTo>
                  <a:lnTo>
                    <a:pt x="64" y="328"/>
                  </a:lnTo>
                  <a:lnTo>
                    <a:pt x="64" y="331"/>
                  </a:lnTo>
                  <a:close/>
                  <a:moveTo>
                    <a:pt x="62" y="328"/>
                  </a:moveTo>
                  <a:lnTo>
                    <a:pt x="62" y="331"/>
                  </a:lnTo>
                  <a:lnTo>
                    <a:pt x="62" y="328"/>
                  </a:lnTo>
                  <a:close/>
                  <a:moveTo>
                    <a:pt x="78" y="331"/>
                  </a:moveTo>
                  <a:lnTo>
                    <a:pt x="78" y="328"/>
                  </a:lnTo>
                  <a:lnTo>
                    <a:pt x="78" y="331"/>
                  </a:lnTo>
                  <a:close/>
                  <a:moveTo>
                    <a:pt x="71" y="328"/>
                  </a:moveTo>
                  <a:lnTo>
                    <a:pt x="69" y="328"/>
                  </a:lnTo>
                  <a:lnTo>
                    <a:pt x="71" y="328"/>
                  </a:lnTo>
                  <a:close/>
                  <a:moveTo>
                    <a:pt x="59" y="328"/>
                  </a:moveTo>
                  <a:lnTo>
                    <a:pt x="57" y="328"/>
                  </a:lnTo>
                  <a:lnTo>
                    <a:pt x="59" y="328"/>
                  </a:lnTo>
                  <a:close/>
                  <a:moveTo>
                    <a:pt x="64" y="328"/>
                  </a:moveTo>
                  <a:lnTo>
                    <a:pt x="62" y="328"/>
                  </a:lnTo>
                  <a:lnTo>
                    <a:pt x="64" y="328"/>
                  </a:lnTo>
                  <a:close/>
                  <a:moveTo>
                    <a:pt x="62" y="326"/>
                  </a:moveTo>
                  <a:lnTo>
                    <a:pt x="62" y="328"/>
                  </a:lnTo>
                  <a:lnTo>
                    <a:pt x="62" y="326"/>
                  </a:lnTo>
                  <a:close/>
                  <a:moveTo>
                    <a:pt x="52" y="328"/>
                  </a:moveTo>
                  <a:lnTo>
                    <a:pt x="52" y="326"/>
                  </a:lnTo>
                  <a:lnTo>
                    <a:pt x="52" y="328"/>
                  </a:lnTo>
                  <a:close/>
                  <a:moveTo>
                    <a:pt x="62" y="328"/>
                  </a:moveTo>
                  <a:lnTo>
                    <a:pt x="62" y="326"/>
                  </a:lnTo>
                  <a:lnTo>
                    <a:pt x="62" y="328"/>
                  </a:lnTo>
                  <a:close/>
                  <a:moveTo>
                    <a:pt x="81" y="326"/>
                  </a:moveTo>
                  <a:lnTo>
                    <a:pt x="81" y="328"/>
                  </a:lnTo>
                  <a:lnTo>
                    <a:pt x="81" y="326"/>
                  </a:lnTo>
                  <a:close/>
                  <a:moveTo>
                    <a:pt x="52" y="326"/>
                  </a:moveTo>
                  <a:lnTo>
                    <a:pt x="50" y="326"/>
                  </a:lnTo>
                  <a:lnTo>
                    <a:pt x="52" y="326"/>
                  </a:lnTo>
                  <a:close/>
                  <a:moveTo>
                    <a:pt x="69" y="326"/>
                  </a:moveTo>
                  <a:lnTo>
                    <a:pt x="67" y="326"/>
                  </a:lnTo>
                  <a:lnTo>
                    <a:pt x="69" y="326"/>
                  </a:lnTo>
                  <a:close/>
                  <a:moveTo>
                    <a:pt x="62" y="326"/>
                  </a:moveTo>
                  <a:lnTo>
                    <a:pt x="64" y="326"/>
                  </a:lnTo>
                  <a:lnTo>
                    <a:pt x="62" y="326"/>
                  </a:lnTo>
                  <a:close/>
                  <a:moveTo>
                    <a:pt x="64" y="326"/>
                  </a:moveTo>
                  <a:lnTo>
                    <a:pt x="64" y="323"/>
                  </a:lnTo>
                  <a:lnTo>
                    <a:pt x="64" y="326"/>
                  </a:lnTo>
                  <a:close/>
                  <a:moveTo>
                    <a:pt x="64" y="323"/>
                  </a:moveTo>
                  <a:lnTo>
                    <a:pt x="64" y="326"/>
                  </a:lnTo>
                  <a:lnTo>
                    <a:pt x="64" y="323"/>
                  </a:lnTo>
                  <a:close/>
                  <a:moveTo>
                    <a:pt x="55" y="323"/>
                  </a:moveTo>
                  <a:lnTo>
                    <a:pt x="55" y="326"/>
                  </a:lnTo>
                  <a:lnTo>
                    <a:pt x="55" y="323"/>
                  </a:lnTo>
                  <a:close/>
                  <a:moveTo>
                    <a:pt x="69" y="323"/>
                  </a:moveTo>
                  <a:lnTo>
                    <a:pt x="69" y="326"/>
                  </a:lnTo>
                  <a:lnTo>
                    <a:pt x="69" y="323"/>
                  </a:lnTo>
                  <a:close/>
                  <a:moveTo>
                    <a:pt x="64" y="323"/>
                  </a:moveTo>
                  <a:lnTo>
                    <a:pt x="62" y="323"/>
                  </a:lnTo>
                  <a:lnTo>
                    <a:pt x="64" y="323"/>
                  </a:lnTo>
                  <a:close/>
                  <a:moveTo>
                    <a:pt x="62" y="323"/>
                  </a:moveTo>
                  <a:lnTo>
                    <a:pt x="59" y="323"/>
                  </a:lnTo>
                  <a:lnTo>
                    <a:pt x="62" y="323"/>
                  </a:lnTo>
                  <a:close/>
                  <a:moveTo>
                    <a:pt x="62" y="323"/>
                  </a:moveTo>
                  <a:lnTo>
                    <a:pt x="62" y="321"/>
                  </a:lnTo>
                  <a:lnTo>
                    <a:pt x="62" y="323"/>
                  </a:lnTo>
                  <a:close/>
                  <a:moveTo>
                    <a:pt x="62" y="321"/>
                  </a:moveTo>
                  <a:lnTo>
                    <a:pt x="59" y="321"/>
                  </a:lnTo>
                  <a:lnTo>
                    <a:pt x="62" y="321"/>
                  </a:lnTo>
                  <a:close/>
                  <a:moveTo>
                    <a:pt x="67" y="321"/>
                  </a:moveTo>
                  <a:lnTo>
                    <a:pt x="64" y="321"/>
                  </a:lnTo>
                  <a:lnTo>
                    <a:pt x="67" y="321"/>
                  </a:lnTo>
                  <a:close/>
                  <a:moveTo>
                    <a:pt x="69" y="321"/>
                  </a:moveTo>
                  <a:lnTo>
                    <a:pt x="71" y="321"/>
                  </a:lnTo>
                  <a:lnTo>
                    <a:pt x="69" y="321"/>
                  </a:lnTo>
                  <a:close/>
                  <a:moveTo>
                    <a:pt x="64" y="321"/>
                  </a:moveTo>
                  <a:lnTo>
                    <a:pt x="64" y="319"/>
                  </a:lnTo>
                  <a:lnTo>
                    <a:pt x="64" y="321"/>
                  </a:lnTo>
                  <a:close/>
                  <a:moveTo>
                    <a:pt x="64" y="321"/>
                  </a:moveTo>
                  <a:lnTo>
                    <a:pt x="64" y="319"/>
                  </a:lnTo>
                  <a:lnTo>
                    <a:pt x="64" y="321"/>
                  </a:lnTo>
                  <a:close/>
                  <a:moveTo>
                    <a:pt x="64" y="321"/>
                  </a:moveTo>
                  <a:lnTo>
                    <a:pt x="64" y="319"/>
                  </a:lnTo>
                  <a:lnTo>
                    <a:pt x="64" y="321"/>
                  </a:lnTo>
                  <a:close/>
                  <a:moveTo>
                    <a:pt x="64" y="321"/>
                  </a:moveTo>
                  <a:lnTo>
                    <a:pt x="64" y="319"/>
                  </a:lnTo>
                  <a:lnTo>
                    <a:pt x="64" y="321"/>
                  </a:lnTo>
                  <a:close/>
                  <a:moveTo>
                    <a:pt x="64" y="321"/>
                  </a:moveTo>
                  <a:lnTo>
                    <a:pt x="64" y="319"/>
                  </a:lnTo>
                  <a:lnTo>
                    <a:pt x="64" y="321"/>
                  </a:lnTo>
                  <a:close/>
                  <a:moveTo>
                    <a:pt x="67" y="321"/>
                  </a:moveTo>
                  <a:lnTo>
                    <a:pt x="67" y="319"/>
                  </a:lnTo>
                  <a:lnTo>
                    <a:pt x="67" y="321"/>
                  </a:lnTo>
                  <a:close/>
                  <a:moveTo>
                    <a:pt x="69" y="319"/>
                  </a:moveTo>
                  <a:lnTo>
                    <a:pt x="67" y="319"/>
                  </a:lnTo>
                  <a:lnTo>
                    <a:pt x="69" y="319"/>
                  </a:lnTo>
                  <a:close/>
                  <a:moveTo>
                    <a:pt x="64" y="319"/>
                  </a:moveTo>
                  <a:lnTo>
                    <a:pt x="62" y="319"/>
                  </a:lnTo>
                  <a:lnTo>
                    <a:pt x="64" y="319"/>
                  </a:lnTo>
                  <a:close/>
                  <a:moveTo>
                    <a:pt x="67" y="319"/>
                  </a:moveTo>
                  <a:lnTo>
                    <a:pt x="64" y="319"/>
                  </a:lnTo>
                  <a:lnTo>
                    <a:pt x="67" y="319"/>
                  </a:lnTo>
                  <a:close/>
                  <a:moveTo>
                    <a:pt x="62" y="319"/>
                  </a:moveTo>
                  <a:lnTo>
                    <a:pt x="59" y="319"/>
                  </a:lnTo>
                  <a:lnTo>
                    <a:pt x="62" y="319"/>
                  </a:lnTo>
                  <a:close/>
                  <a:moveTo>
                    <a:pt x="69" y="319"/>
                  </a:moveTo>
                  <a:lnTo>
                    <a:pt x="67" y="319"/>
                  </a:lnTo>
                  <a:lnTo>
                    <a:pt x="67" y="316"/>
                  </a:lnTo>
                  <a:lnTo>
                    <a:pt x="69" y="319"/>
                  </a:lnTo>
                  <a:close/>
                  <a:moveTo>
                    <a:pt x="64" y="319"/>
                  </a:moveTo>
                  <a:lnTo>
                    <a:pt x="64" y="316"/>
                  </a:lnTo>
                  <a:lnTo>
                    <a:pt x="64" y="319"/>
                  </a:lnTo>
                  <a:close/>
                  <a:moveTo>
                    <a:pt x="67" y="319"/>
                  </a:moveTo>
                  <a:lnTo>
                    <a:pt x="67" y="316"/>
                  </a:lnTo>
                  <a:lnTo>
                    <a:pt x="67" y="319"/>
                  </a:lnTo>
                  <a:close/>
                  <a:moveTo>
                    <a:pt x="69" y="319"/>
                  </a:moveTo>
                  <a:lnTo>
                    <a:pt x="69" y="316"/>
                  </a:lnTo>
                  <a:lnTo>
                    <a:pt x="69" y="319"/>
                  </a:lnTo>
                  <a:close/>
                  <a:moveTo>
                    <a:pt x="62" y="316"/>
                  </a:moveTo>
                  <a:lnTo>
                    <a:pt x="59" y="316"/>
                  </a:lnTo>
                  <a:lnTo>
                    <a:pt x="62" y="316"/>
                  </a:lnTo>
                  <a:close/>
                  <a:moveTo>
                    <a:pt x="62" y="316"/>
                  </a:moveTo>
                  <a:lnTo>
                    <a:pt x="59" y="316"/>
                  </a:lnTo>
                  <a:lnTo>
                    <a:pt x="62" y="316"/>
                  </a:lnTo>
                  <a:close/>
                  <a:moveTo>
                    <a:pt x="64" y="316"/>
                  </a:moveTo>
                  <a:lnTo>
                    <a:pt x="62" y="316"/>
                  </a:lnTo>
                  <a:lnTo>
                    <a:pt x="64" y="316"/>
                  </a:lnTo>
                  <a:close/>
                  <a:moveTo>
                    <a:pt x="69" y="316"/>
                  </a:moveTo>
                  <a:lnTo>
                    <a:pt x="67" y="316"/>
                  </a:lnTo>
                  <a:lnTo>
                    <a:pt x="69" y="316"/>
                  </a:lnTo>
                  <a:close/>
                  <a:moveTo>
                    <a:pt x="59" y="314"/>
                  </a:moveTo>
                  <a:lnTo>
                    <a:pt x="59" y="316"/>
                  </a:lnTo>
                  <a:lnTo>
                    <a:pt x="59" y="314"/>
                  </a:lnTo>
                  <a:close/>
                  <a:moveTo>
                    <a:pt x="59" y="314"/>
                  </a:moveTo>
                  <a:lnTo>
                    <a:pt x="59" y="316"/>
                  </a:lnTo>
                  <a:lnTo>
                    <a:pt x="59" y="314"/>
                  </a:lnTo>
                  <a:close/>
                  <a:moveTo>
                    <a:pt x="67" y="314"/>
                  </a:moveTo>
                  <a:lnTo>
                    <a:pt x="67" y="316"/>
                  </a:lnTo>
                  <a:lnTo>
                    <a:pt x="67" y="314"/>
                  </a:lnTo>
                  <a:lnTo>
                    <a:pt x="67" y="316"/>
                  </a:lnTo>
                  <a:lnTo>
                    <a:pt x="67" y="314"/>
                  </a:lnTo>
                  <a:close/>
                  <a:moveTo>
                    <a:pt x="62" y="314"/>
                  </a:moveTo>
                  <a:lnTo>
                    <a:pt x="59" y="314"/>
                  </a:lnTo>
                  <a:lnTo>
                    <a:pt x="62" y="314"/>
                  </a:lnTo>
                  <a:close/>
                  <a:moveTo>
                    <a:pt x="67" y="314"/>
                  </a:moveTo>
                  <a:lnTo>
                    <a:pt x="64" y="314"/>
                  </a:lnTo>
                  <a:lnTo>
                    <a:pt x="67" y="314"/>
                  </a:lnTo>
                  <a:close/>
                  <a:moveTo>
                    <a:pt x="64" y="314"/>
                  </a:moveTo>
                  <a:lnTo>
                    <a:pt x="64" y="312"/>
                  </a:lnTo>
                  <a:lnTo>
                    <a:pt x="64" y="314"/>
                  </a:lnTo>
                  <a:close/>
                  <a:moveTo>
                    <a:pt x="64" y="312"/>
                  </a:moveTo>
                  <a:lnTo>
                    <a:pt x="64" y="314"/>
                  </a:lnTo>
                  <a:lnTo>
                    <a:pt x="64" y="312"/>
                  </a:lnTo>
                  <a:close/>
                  <a:moveTo>
                    <a:pt x="69" y="312"/>
                  </a:moveTo>
                  <a:lnTo>
                    <a:pt x="69" y="309"/>
                  </a:lnTo>
                  <a:lnTo>
                    <a:pt x="69" y="312"/>
                  </a:lnTo>
                  <a:close/>
                  <a:moveTo>
                    <a:pt x="62" y="309"/>
                  </a:moveTo>
                  <a:lnTo>
                    <a:pt x="64" y="309"/>
                  </a:lnTo>
                  <a:lnTo>
                    <a:pt x="62" y="309"/>
                  </a:lnTo>
                  <a:close/>
                  <a:moveTo>
                    <a:pt x="62" y="312"/>
                  </a:moveTo>
                  <a:lnTo>
                    <a:pt x="62" y="309"/>
                  </a:lnTo>
                  <a:lnTo>
                    <a:pt x="62" y="312"/>
                  </a:lnTo>
                  <a:close/>
                  <a:moveTo>
                    <a:pt x="67" y="309"/>
                  </a:moveTo>
                  <a:lnTo>
                    <a:pt x="64" y="309"/>
                  </a:lnTo>
                  <a:lnTo>
                    <a:pt x="67" y="309"/>
                  </a:lnTo>
                  <a:close/>
                  <a:moveTo>
                    <a:pt x="67" y="309"/>
                  </a:moveTo>
                  <a:lnTo>
                    <a:pt x="64" y="309"/>
                  </a:lnTo>
                  <a:lnTo>
                    <a:pt x="67" y="309"/>
                  </a:lnTo>
                  <a:close/>
                  <a:moveTo>
                    <a:pt x="62" y="309"/>
                  </a:moveTo>
                  <a:lnTo>
                    <a:pt x="59" y="307"/>
                  </a:lnTo>
                  <a:lnTo>
                    <a:pt x="62" y="309"/>
                  </a:lnTo>
                  <a:close/>
                  <a:moveTo>
                    <a:pt x="67" y="307"/>
                  </a:moveTo>
                  <a:lnTo>
                    <a:pt x="67" y="309"/>
                  </a:lnTo>
                  <a:lnTo>
                    <a:pt x="67" y="307"/>
                  </a:lnTo>
                  <a:close/>
                  <a:moveTo>
                    <a:pt x="64" y="307"/>
                  </a:moveTo>
                  <a:lnTo>
                    <a:pt x="62" y="307"/>
                  </a:lnTo>
                  <a:lnTo>
                    <a:pt x="64" y="307"/>
                  </a:lnTo>
                  <a:close/>
                  <a:moveTo>
                    <a:pt x="62" y="304"/>
                  </a:moveTo>
                  <a:lnTo>
                    <a:pt x="62" y="307"/>
                  </a:lnTo>
                  <a:lnTo>
                    <a:pt x="62" y="304"/>
                  </a:lnTo>
                  <a:close/>
                  <a:moveTo>
                    <a:pt x="64" y="304"/>
                  </a:moveTo>
                  <a:lnTo>
                    <a:pt x="62" y="304"/>
                  </a:lnTo>
                  <a:lnTo>
                    <a:pt x="64" y="304"/>
                  </a:lnTo>
                  <a:close/>
                  <a:moveTo>
                    <a:pt x="67" y="300"/>
                  </a:moveTo>
                  <a:lnTo>
                    <a:pt x="64" y="300"/>
                  </a:lnTo>
                  <a:lnTo>
                    <a:pt x="67" y="300"/>
                  </a:lnTo>
                  <a:close/>
                  <a:moveTo>
                    <a:pt x="69" y="300"/>
                  </a:moveTo>
                  <a:lnTo>
                    <a:pt x="67" y="300"/>
                  </a:lnTo>
                  <a:lnTo>
                    <a:pt x="69" y="300"/>
                  </a:lnTo>
                  <a:close/>
                  <a:moveTo>
                    <a:pt x="71" y="300"/>
                  </a:moveTo>
                  <a:lnTo>
                    <a:pt x="69" y="300"/>
                  </a:lnTo>
                  <a:lnTo>
                    <a:pt x="71" y="300"/>
                  </a:lnTo>
                  <a:close/>
                  <a:moveTo>
                    <a:pt x="67" y="300"/>
                  </a:moveTo>
                  <a:lnTo>
                    <a:pt x="67" y="297"/>
                  </a:lnTo>
                  <a:lnTo>
                    <a:pt x="67" y="300"/>
                  </a:lnTo>
                  <a:close/>
                  <a:moveTo>
                    <a:pt x="69" y="300"/>
                  </a:moveTo>
                  <a:lnTo>
                    <a:pt x="69" y="297"/>
                  </a:lnTo>
                  <a:lnTo>
                    <a:pt x="69" y="300"/>
                  </a:lnTo>
                  <a:close/>
                  <a:moveTo>
                    <a:pt x="69" y="300"/>
                  </a:moveTo>
                  <a:lnTo>
                    <a:pt x="69" y="297"/>
                  </a:lnTo>
                  <a:lnTo>
                    <a:pt x="69" y="300"/>
                  </a:lnTo>
                  <a:close/>
                  <a:moveTo>
                    <a:pt x="71" y="297"/>
                  </a:moveTo>
                  <a:lnTo>
                    <a:pt x="71" y="300"/>
                  </a:lnTo>
                  <a:lnTo>
                    <a:pt x="71" y="297"/>
                  </a:lnTo>
                  <a:close/>
                  <a:moveTo>
                    <a:pt x="69" y="297"/>
                  </a:moveTo>
                  <a:lnTo>
                    <a:pt x="67" y="297"/>
                  </a:lnTo>
                  <a:lnTo>
                    <a:pt x="69" y="297"/>
                  </a:lnTo>
                  <a:close/>
                  <a:moveTo>
                    <a:pt x="69" y="297"/>
                  </a:moveTo>
                  <a:lnTo>
                    <a:pt x="67" y="297"/>
                  </a:lnTo>
                  <a:lnTo>
                    <a:pt x="69" y="297"/>
                  </a:lnTo>
                  <a:close/>
                  <a:moveTo>
                    <a:pt x="71" y="297"/>
                  </a:moveTo>
                  <a:lnTo>
                    <a:pt x="69" y="297"/>
                  </a:lnTo>
                  <a:lnTo>
                    <a:pt x="71" y="297"/>
                  </a:lnTo>
                  <a:close/>
                  <a:moveTo>
                    <a:pt x="71" y="297"/>
                  </a:moveTo>
                  <a:lnTo>
                    <a:pt x="69" y="297"/>
                  </a:lnTo>
                  <a:lnTo>
                    <a:pt x="71" y="297"/>
                  </a:lnTo>
                  <a:close/>
                  <a:moveTo>
                    <a:pt x="69" y="297"/>
                  </a:moveTo>
                  <a:lnTo>
                    <a:pt x="71" y="297"/>
                  </a:lnTo>
                  <a:lnTo>
                    <a:pt x="69" y="297"/>
                  </a:lnTo>
                  <a:close/>
                  <a:moveTo>
                    <a:pt x="71" y="297"/>
                  </a:moveTo>
                  <a:lnTo>
                    <a:pt x="69" y="297"/>
                  </a:lnTo>
                  <a:lnTo>
                    <a:pt x="71" y="297"/>
                  </a:lnTo>
                  <a:close/>
                  <a:moveTo>
                    <a:pt x="69" y="295"/>
                  </a:moveTo>
                  <a:lnTo>
                    <a:pt x="69" y="293"/>
                  </a:lnTo>
                  <a:lnTo>
                    <a:pt x="69" y="295"/>
                  </a:lnTo>
                  <a:close/>
                  <a:moveTo>
                    <a:pt x="74" y="295"/>
                  </a:moveTo>
                  <a:lnTo>
                    <a:pt x="74" y="293"/>
                  </a:lnTo>
                  <a:lnTo>
                    <a:pt x="74" y="295"/>
                  </a:lnTo>
                  <a:close/>
                  <a:moveTo>
                    <a:pt x="69" y="290"/>
                  </a:moveTo>
                  <a:lnTo>
                    <a:pt x="69" y="293"/>
                  </a:lnTo>
                  <a:lnTo>
                    <a:pt x="69" y="290"/>
                  </a:lnTo>
                  <a:close/>
                  <a:moveTo>
                    <a:pt x="71" y="288"/>
                  </a:moveTo>
                  <a:lnTo>
                    <a:pt x="69" y="288"/>
                  </a:lnTo>
                  <a:lnTo>
                    <a:pt x="71" y="288"/>
                  </a:lnTo>
                  <a:close/>
                  <a:moveTo>
                    <a:pt x="69" y="285"/>
                  </a:moveTo>
                  <a:lnTo>
                    <a:pt x="69" y="288"/>
                  </a:lnTo>
                  <a:lnTo>
                    <a:pt x="69" y="285"/>
                  </a:lnTo>
                  <a:close/>
                  <a:moveTo>
                    <a:pt x="74" y="285"/>
                  </a:moveTo>
                  <a:lnTo>
                    <a:pt x="71" y="285"/>
                  </a:lnTo>
                  <a:lnTo>
                    <a:pt x="74" y="285"/>
                  </a:lnTo>
                  <a:close/>
                  <a:moveTo>
                    <a:pt x="71" y="285"/>
                  </a:moveTo>
                  <a:lnTo>
                    <a:pt x="69" y="285"/>
                  </a:lnTo>
                  <a:lnTo>
                    <a:pt x="71" y="285"/>
                  </a:lnTo>
                  <a:close/>
                  <a:moveTo>
                    <a:pt x="69" y="285"/>
                  </a:moveTo>
                  <a:lnTo>
                    <a:pt x="67" y="285"/>
                  </a:lnTo>
                  <a:lnTo>
                    <a:pt x="69" y="285"/>
                  </a:lnTo>
                  <a:close/>
                  <a:moveTo>
                    <a:pt x="74" y="285"/>
                  </a:moveTo>
                  <a:lnTo>
                    <a:pt x="71" y="285"/>
                  </a:lnTo>
                  <a:lnTo>
                    <a:pt x="74" y="285"/>
                  </a:lnTo>
                  <a:close/>
                  <a:moveTo>
                    <a:pt x="71" y="285"/>
                  </a:moveTo>
                  <a:lnTo>
                    <a:pt x="69" y="285"/>
                  </a:lnTo>
                  <a:lnTo>
                    <a:pt x="71" y="285"/>
                  </a:lnTo>
                  <a:close/>
                  <a:moveTo>
                    <a:pt x="71" y="285"/>
                  </a:moveTo>
                  <a:lnTo>
                    <a:pt x="71" y="283"/>
                  </a:lnTo>
                  <a:lnTo>
                    <a:pt x="71" y="285"/>
                  </a:lnTo>
                  <a:close/>
                  <a:moveTo>
                    <a:pt x="71" y="285"/>
                  </a:moveTo>
                  <a:lnTo>
                    <a:pt x="69" y="285"/>
                  </a:lnTo>
                  <a:lnTo>
                    <a:pt x="69" y="283"/>
                  </a:lnTo>
                  <a:lnTo>
                    <a:pt x="71" y="285"/>
                  </a:lnTo>
                  <a:close/>
                  <a:moveTo>
                    <a:pt x="67" y="285"/>
                  </a:moveTo>
                  <a:lnTo>
                    <a:pt x="67" y="283"/>
                  </a:lnTo>
                  <a:lnTo>
                    <a:pt x="67" y="285"/>
                  </a:lnTo>
                  <a:close/>
                  <a:moveTo>
                    <a:pt x="71" y="283"/>
                  </a:moveTo>
                  <a:lnTo>
                    <a:pt x="74" y="283"/>
                  </a:lnTo>
                  <a:lnTo>
                    <a:pt x="71" y="283"/>
                  </a:lnTo>
                  <a:close/>
                  <a:moveTo>
                    <a:pt x="67" y="283"/>
                  </a:moveTo>
                  <a:lnTo>
                    <a:pt x="64" y="283"/>
                  </a:lnTo>
                  <a:lnTo>
                    <a:pt x="67" y="283"/>
                  </a:lnTo>
                  <a:close/>
                  <a:moveTo>
                    <a:pt x="67" y="283"/>
                  </a:moveTo>
                  <a:lnTo>
                    <a:pt x="69" y="283"/>
                  </a:lnTo>
                  <a:lnTo>
                    <a:pt x="67" y="283"/>
                  </a:lnTo>
                  <a:close/>
                  <a:moveTo>
                    <a:pt x="71" y="278"/>
                  </a:moveTo>
                  <a:lnTo>
                    <a:pt x="69" y="278"/>
                  </a:lnTo>
                  <a:lnTo>
                    <a:pt x="71" y="278"/>
                  </a:lnTo>
                  <a:close/>
                  <a:moveTo>
                    <a:pt x="71" y="276"/>
                  </a:moveTo>
                  <a:lnTo>
                    <a:pt x="71" y="278"/>
                  </a:lnTo>
                  <a:lnTo>
                    <a:pt x="71" y="276"/>
                  </a:lnTo>
                  <a:close/>
                  <a:moveTo>
                    <a:pt x="67" y="274"/>
                  </a:moveTo>
                  <a:lnTo>
                    <a:pt x="69" y="274"/>
                  </a:lnTo>
                  <a:lnTo>
                    <a:pt x="67" y="274"/>
                  </a:lnTo>
                  <a:close/>
                  <a:moveTo>
                    <a:pt x="76" y="274"/>
                  </a:moveTo>
                  <a:lnTo>
                    <a:pt x="76" y="271"/>
                  </a:lnTo>
                  <a:lnTo>
                    <a:pt x="76" y="274"/>
                  </a:lnTo>
                  <a:close/>
                  <a:moveTo>
                    <a:pt x="69" y="271"/>
                  </a:moveTo>
                  <a:lnTo>
                    <a:pt x="67" y="271"/>
                  </a:lnTo>
                  <a:lnTo>
                    <a:pt x="69" y="271"/>
                  </a:lnTo>
                  <a:close/>
                  <a:moveTo>
                    <a:pt x="69" y="269"/>
                  </a:moveTo>
                  <a:lnTo>
                    <a:pt x="69" y="271"/>
                  </a:lnTo>
                  <a:lnTo>
                    <a:pt x="69" y="269"/>
                  </a:lnTo>
                  <a:close/>
                  <a:moveTo>
                    <a:pt x="67" y="269"/>
                  </a:moveTo>
                  <a:lnTo>
                    <a:pt x="67" y="271"/>
                  </a:lnTo>
                  <a:lnTo>
                    <a:pt x="67" y="269"/>
                  </a:lnTo>
                  <a:close/>
                  <a:moveTo>
                    <a:pt x="71" y="269"/>
                  </a:moveTo>
                  <a:lnTo>
                    <a:pt x="74" y="269"/>
                  </a:lnTo>
                  <a:lnTo>
                    <a:pt x="71" y="269"/>
                  </a:lnTo>
                  <a:close/>
                  <a:moveTo>
                    <a:pt x="74" y="269"/>
                  </a:moveTo>
                  <a:lnTo>
                    <a:pt x="71" y="269"/>
                  </a:lnTo>
                  <a:lnTo>
                    <a:pt x="74" y="269"/>
                  </a:lnTo>
                  <a:close/>
                  <a:moveTo>
                    <a:pt x="74" y="269"/>
                  </a:moveTo>
                  <a:lnTo>
                    <a:pt x="71" y="269"/>
                  </a:lnTo>
                  <a:lnTo>
                    <a:pt x="74" y="269"/>
                  </a:lnTo>
                  <a:close/>
                  <a:moveTo>
                    <a:pt x="71" y="269"/>
                  </a:moveTo>
                  <a:lnTo>
                    <a:pt x="69" y="269"/>
                  </a:lnTo>
                  <a:lnTo>
                    <a:pt x="71" y="269"/>
                  </a:lnTo>
                  <a:close/>
                  <a:moveTo>
                    <a:pt x="71" y="269"/>
                  </a:moveTo>
                  <a:lnTo>
                    <a:pt x="71" y="266"/>
                  </a:lnTo>
                  <a:lnTo>
                    <a:pt x="71" y="269"/>
                  </a:lnTo>
                  <a:close/>
                  <a:moveTo>
                    <a:pt x="74" y="266"/>
                  </a:moveTo>
                  <a:lnTo>
                    <a:pt x="71" y="266"/>
                  </a:lnTo>
                  <a:lnTo>
                    <a:pt x="74" y="266"/>
                  </a:lnTo>
                  <a:close/>
                  <a:moveTo>
                    <a:pt x="71" y="264"/>
                  </a:moveTo>
                  <a:lnTo>
                    <a:pt x="71" y="266"/>
                  </a:lnTo>
                  <a:lnTo>
                    <a:pt x="71" y="264"/>
                  </a:lnTo>
                  <a:close/>
                  <a:moveTo>
                    <a:pt x="71" y="264"/>
                  </a:moveTo>
                  <a:lnTo>
                    <a:pt x="69" y="264"/>
                  </a:lnTo>
                  <a:lnTo>
                    <a:pt x="71" y="264"/>
                  </a:lnTo>
                  <a:close/>
                  <a:moveTo>
                    <a:pt x="71" y="264"/>
                  </a:moveTo>
                  <a:lnTo>
                    <a:pt x="69" y="264"/>
                  </a:lnTo>
                  <a:lnTo>
                    <a:pt x="71" y="264"/>
                  </a:lnTo>
                  <a:close/>
                  <a:moveTo>
                    <a:pt x="69" y="264"/>
                  </a:moveTo>
                  <a:lnTo>
                    <a:pt x="69" y="262"/>
                  </a:lnTo>
                  <a:lnTo>
                    <a:pt x="69" y="264"/>
                  </a:lnTo>
                  <a:close/>
                  <a:moveTo>
                    <a:pt x="69" y="262"/>
                  </a:moveTo>
                  <a:lnTo>
                    <a:pt x="69" y="264"/>
                  </a:lnTo>
                  <a:lnTo>
                    <a:pt x="69" y="262"/>
                  </a:lnTo>
                  <a:close/>
                  <a:moveTo>
                    <a:pt x="71" y="264"/>
                  </a:moveTo>
                  <a:lnTo>
                    <a:pt x="71" y="262"/>
                  </a:lnTo>
                  <a:lnTo>
                    <a:pt x="71" y="264"/>
                  </a:lnTo>
                  <a:close/>
                  <a:moveTo>
                    <a:pt x="71" y="262"/>
                  </a:moveTo>
                  <a:lnTo>
                    <a:pt x="69" y="262"/>
                  </a:lnTo>
                  <a:lnTo>
                    <a:pt x="71" y="262"/>
                  </a:lnTo>
                  <a:close/>
                  <a:moveTo>
                    <a:pt x="71" y="262"/>
                  </a:moveTo>
                  <a:lnTo>
                    <a:pt x="69" y="262"/>
                  </a:lnTo>
                  <a:lnTo>
                    <a:pt x="71" y="262"/>
                  </a:lnTo>
                  <a:close/>
                  <a:moveTo>
                    <a:pt x="69" y="262"/>
                  </a:moveTo>
                  <a:lnTo>
                    <a:pt x="69" y="259"/>
                  </a:lnTo>
                  <a:lnTo>
                    <a:pt x="69" y="262"/>
                  </a:lnTo>
                  <a:close/>
                  <a:moveTo>
                    <a:pt x="67" y="259"/>
                  </a:moveTo>
                  <a:lnTo>
                    <a:pt x="67" y="262"/>
                  </a:lnTo>
                  <a:lnTo>
                    <a:pt x="67" y="259"/>
                  </a:lnTo>
                  <a:close/>
                  <a:moveTo>
                    <a:pt x="69" y="259"/>
                  </a:moveTo>
                  <a:lnTo>
                    <a:pt x="69" y="262"/>
                  </a:lnTo>
                  <a:lnTo>
                    <a:pt x="69" y="259"/>
                  </a:lnTo>
                  <a:close/>
                  <a:moveTo>
                    <a:pt x="69" y="257"/>
                  </a:moveTo>
                  <a:lnTo>
                    <a:pt x="67" y="257"/>
                  </a:lnTo>
                  <a:lnTo>
                    <a:pt x="69" y="257"/>
                  </a:lnTo>
                  <a:close/>
                  <a:moveTo>
                    <a:pt x="69" y="257"/>
                  </a:moveTo>
                  <a:lnTo>
                    <a:pt x="67" y="257"/>
                  </a:lnTo>
                  <a:lnTo>
                    <a:pt x="69" y="257"/>
                  </a:lnTo>
                  <a:close/>
                  <a:moveTo>
                    <a:pt x="69" y="257"/>
                  </a:moveTo>
                  <a:lnTo>
                    <a:pt x="69" y="255"/>
                  </a:lnTo>
                  <a:lnTo>
                    <a:pt x="69" y="257"/>
                  </a:lnTo>
                  <a:close/>
                  <a:moveTo>
                    <a:pt x="67" y="252"/>
                  </a:moveTo>
                  <a:lnTo>
                    <a:pt x="67" y="255"/>
                  </a:lnTo>
                  <a:lnTo>
                    <a:pt x="67" y="252"/>
                  </a:lnTo>
                  <a:close/>
                  <a:moveTo>
                    <a:pt x="67" y="252"/>
                  </a:moveTo>
                  <a:lnTo>
                    <a:pt x="64" y="252"/>
                  </a:lnTo>
                  <a:lnTo>
                    <a:pt x="67" y="252"/>
                  </a:lnTo>
                  <a:close/>
                  <a:moveTo>
                    <a:pt x="67" y="252"/>
                  </a:moveTo>
                  <a:lnTo>
                    <a:pt x="64" y="252"/>
                  </a:lnTo>
                  <a:lnTo>
                    <a:pt x="67" y="252"/>
                  </a:lnTo>
                  <a:close/>
                  <a:moveTo>
                    <a:pt x="67" y="250"/>
                  </a:moveTo>
                  <a:lnTo>
                    <a:pt x="64" y="250"/>
                  </a:lnTo>
                  <a:lnTo>
                    <a:pt x="67" y="250"/>
                  </a:lnTo>
                  <a:close/>
                  <a:moveTo>
                    <a:pt x="64" y="247"/>
                  </a:moveTo>
                  <a:lnTo>
                    <a:pt x="64" y="250"/>
                  </a:lnTo>
                  <a:lnTo>
                    <a:pt x="64" y="247"/>
                  </a:lnTo>
                  <a:close/>
                  <a:moveTo>
                    <a:pt x="67" y="247"/>
                  </a:moveTo>
                  <a:lnTo>
                    <a:pt x="64" y="247"/>
                  </a:lnTo>
                  <a:lnTo>
                    <a:pt x="67" y="247"/>
                  </a:lnTo>
                  <a:close/>
                  <a:moveTo>
                    <a:pt x="64" y="245"/>
                  </a:moveTo>
                  <a:lnTo>
                    <a:pt x="64" y="247"/>
                  </a:lnTo>
                  <a:lnTo>
                    <a:pt x="64" y="245"/>
                  </a:lnTo>
                  <a:close/>
                  <a:moveTo>
                    <a:pt x="64" y="247"/>
                  </a:moveTo>
                  <a:lnTo>
                    <a:pt x="64" y="245"/>
                  </a:lnTo>
                  <a:lnTo>
                    <a:pt x="64" y="247"/>
                  </a:lnTo>
                  <a:close/>
                  <a:moveTo>
                    <a:pt x="64" y="245"/>
                  </a:moveTo>
                  <a:lnTo>
                    <a:pt x="64" y="243"/>
                  </a:lnTo>
                  <a:lnTo>
                    <a:pt x="64" y="245"/>
                  </a:lnTo>
                  <a:close/>
                  <a:moveTo>
                    <a:pt x="67" y="240"/>
                  </a:moveTo>
                  <a:lnTo>
                    <a:pt x="64" y="240"/>
                  </a:lnTo>
                  <a:lnTo>
                    <a:pt x="67" y="240"/>
                  </a:lnTo>
                  <a:close/>
                  <a:moveTo>
                    <a:pt x="69" y="240"/>
                  </a:moveTo>
                  <a:lnTo>
                    <a:pt x="69" y="238"/>
                  </a:lnTo>
                  <a:lnTo>
                    <a:pt x="69" y="240"/>
                  </a:lnTo>
                  <a:close/>
                  <a:moveTo>
                    <a:pt x="67" y="238"/>
                  </a:moveTo>
                  <a:lnTo>
                    <a:pt x="67" y="236"/>
                  </a:lnTo>
                  <a:lnTo>
                    <a:pt x="67" y="238"/>
                  </a:lnTo>
                  <a:close/>
                  <a:moveTo>
                    <a:pt x="67" y="238"/>
                  </a:moveTo>
                  <a:lnTo>
                    <a:pt x="67" y="236"/>
                  </a:lnTo>
                  <a:lnTo>
                    <a:pt x="67" y="238"/>
                  </a:lnTo>
                  <a:close/>
                  <a:moveTo>
                    <a:pt x="64" y="233"/>
                  </a:moveTo>
                  <a:lnTo>
                    <a:pt x="64" y="236"/>
                  </a:lnTo>
                  <a:lnTo>
                    <a:pt x="64" y="233"/>
                  </a:lnTo>
                  <a:close/>
                  <a:moveTo>
                    <a:pt x="64" y="233"/>
                  </a:moveTo>
                  <a:lnTo>
                    <a:pt x="62" y="233"/>
                  </a:lnTo>
                  <a:lnTo>
                    <a:pt x="64" y="233"/>
                  </a:lnTo>
                  <a:close/>
                  <a:moveTo>
                    <a:pt x="67" y="233"/>
                  </a:moveTo>
                  <a:lnTo>
                    <a:pt x="64" y="233"/>
                  </a:lnTo>
                  <a:lnTo>
                    <a:pt x="64" y="231"/>
                  </a:lnTo>
                  <a:lnTo>
                    <a:pt x="67" y="233"/>
                  </a:lnTo>
                  <a:close/>
                  <a:moveTo>
                    <a:pt x="62" y="233"/>
                  </a:moveTo>
                  <a:lnTo>
                    <a:pt x="62" y="231"/>
                  </a:lnTo>
                  <a:lnTo>
                    <a:pt x="62" y="233"/>
                  </a:lnTo>
                  <a:close/>
                  <a:moveTo>
                    <a:pt x="62" y="231"/>
                  </a:moveTo>
                  <a:lnTo>
                    <a:pt x="59" y="231"/>
                  </a:lnTo>
                  <a:lnTo>
                    <a:pt x="62" y="231"/>
                  </a:lnTo>
                  <a:close/>
                  <a:moveTo>
                    <a:pt x="62" y="228"/>
                  </a:moveTo>
                  <a:lnTo>
                    <a:pt x="62" y="226"/>
                  </a:lnTo>
                  <a:lnTo>
                    <a:pt x="62" y="228"/>
                  </a:lnTo>
                  <a:close/>
                  <a:moveTo>
                    <a:pt x="59" y="228"/>
                  </a:moveTo>
                  <a:lnTo>
                    <a:pt x="59" y="226"/>
                  </a:lnTo>
                  <a:lnTo>
                    <a:pt x="59" y="228"/>
                  </a:lnTo>
                  <a:close/>
                  <a:moveTo>
                    <a:pt x="62" y="226"/>
                  </a:moveTo>
                  <a:lnTo>
                    <a:pt x="59" y="226"/>
                  </a:lnTo>
                  <a:lnTo>
                    <a:pt x="62" y="226"/>
                  </a:lnTo>
                  <a:close/>
                  <a:moveTo>
                    <a:pt x="59" y="226"/>
                  </a:moveTo>
                  <a:lnTo>
                    <a:pt x="59" y="224"/>
                  </a:lnTo>
                  <a:lnTo>
                    <a:pt x="59" y="226"/>
                  </a:lnTo>
                  <a:close/>
                  <a:moveTo>
                    <a:pt x="62" y="219"/>
                  </a:moveTo>
                  <a:lnTo>
                    <a:pt x="59" y="219"/>
                  </a:lnTo>
                  <a:lnTo>
                    <a:pt x="62" y="219"/>
                  </a:lnTo>
                  <a:lnTo>
                    <a:pt x="59" y="219"/>
                  </a:lnTo>
                  <a:lnTo>
                    <a:pt x="62" y="219"/>
                  </a:lnTo>
                  <a:close/>
                  <a:moveTo>
                    <a:pt x="59" y="214"/>
                  </a:moveTo>
                  <a:lnTo>
                    <a:pt x="57" y="214"/>
                  </a:lnTo>
                  <a:lnTo>
                    <a:pt x="59" y="214"/>
                  </a:lnTo>
                  <a:close/>
                  <a:moveTo>
                    <a:pt x="59" y="214"/>
                  </a:moveTo>
                  <a:lnTo>
                    <a:pt x="59" y="212"/>
                  </a:lnTo>
                  <a:lnTo>
                    <a:pt x="59" y="214"/>
                  </a:lnTo>
                  <a:close/>
                  <a:moveTo>
                    <a:pt x="59" y="207"/>
                  </a:moveTo>
                  <a:lnTo>
                    <a:pt x="59" y="209"/>
                  </a:lnTo>
                  <a:lnTo>
                    <a:pt x="59" y="207"/>
                  </a:lnTo>
                  <a:lnTo>
                    <a:pt x="59" y="209"/>
                  </a:lnTo>
                  <a:lnTo>
                    <a:pt x="59" y="207"/>
                  </a:lnTo>
                  <a:close/>
                  <a:moveTo>
                    <a:pt x="64" y="205"/>
                  </a:moveTo>
                  <a:lnTo>
                    <a:pt x="64" y="202"/>
                  </a:lnTo>
                  <a:lnTo>
                    <a:pt x="64" y="205"/>
                  </a:lnTo>
                  <a:close/>
                  <a:moveTo>
                    <a:pt x="57" y="202"/>
                  </a:moveTo>
                  <a:lnTo>
                    <a:pt x="55" y="202"/>
                  </a:lnTo>
                  <a:lnTo>
                    <a:pt x="57" y="202"/>
                  </a:lnTo>
                  <a:close/>
                  <a:moveTo>
                    <a:pt x="55" y="202"/>
                  </a:moveTo>
                  <a:lnTo>
                    <a:pt x="57" y="202"/>
                  </a:lnTo>
                  <a:lnTo>
                    <a:pt x="55" y="202"/>
                  </a:lnTo>
                  <a:close/>
                  <a:moveTo>
                    <a:pt x="55" y="202"/>
                  </a:moveTo>
                  <a:lnTo>
                    <a:pt x="57" y="202"/>
                  </a:lnTo>
                  <a:lnTo>
                    <a:pt x="55" y="202"/>
                  </a:lnTo>
                  <a:close/>
                  <a:moveTo>
                    <a:pt x="69" y="202"/>
                  </a:moveTo>
                  <a:lnTo>
                    <a:pt x="67" y="202"/>
                  </a:lnTo>
                  <a:lnTo>
                    <a:pt x="69" y="202"/>
                  </a:lnTo>
                  <a:close/>
                  <a:moveTo>
                    <a:pt x="57" y="202"/>
                  </a:moveTo>
                  <a:lnTo>
                    <a:pt x="55" y="202"/>
                  </a:lnTo>
                  <a:lnTo>
                    <a:pt x="57" y="202"/>
                  </a:lnTo>
                  <a:close/>
                  <a:moveTo>
                    <a:pt x="67" y="200"/>
                  </a:moveTo>
                  <a:lnTo>
                    <a:pt x="67" y="202"/>
                  </a:lnTo>
                  <a:lnTo>
                    <a:pt x="67" y="200"/>
                  </a:lnTo>
                  <a:close/>
                  <a:moveTo>
                    <a:pt x="52" y="200"/>
                  </a:moveTo>
                  <a:lnTo>
                    <a:pt x="50" y="200"/>
                  </a:lnTo>
                  <a:lnTo>
                    <a:pt x="52" y="200"/>
                  </a:lnTo>
                  <a:close/>
                  <a:moveTo>
                    <a:pt x="55" y="200"/>
                  </a:moveTo>
                  <a:lnTo>
                    <a:pt x="52" y="200"/>
                  </a:lnTo>
                  <a:lnTo>
                    <a:pt x="55" y="200"/>
                  </a:lnTo>
                  <a:close/>
                  <a:moveTo>
                    <a:pt x="62" y="200"/>
                  </a:moveTo>
                  <a:lnTo>
                    <a:pt x="64" y="200"/>
                  </a:lnTo>
                  <a:lnTo>
                    <a:pt x="62" y="200"/>
                  </a:lnTo>
                  <a:close/>
                  <a:moveTo>
                    <a:pt x="69" y="200"/>
                  </a:moveTo>
                  <a:lnTo>
                    <a:pt x="69" y="198"/>
                  </a:lnTo>
                  <a:lnTo>
                    <a:pt x="69" y="200"/>
                  </a:lnTo>
                  <a:close/>
                  <a:moveTo>
                    <a:pt x="50" y="200"/>
                  </a:moveTo>
                  <a:lnTo>
                    <a:pt x="50" y="198"/>
                  </a:lnTo>
                  <a:lnTo>
                    <a:pt x="50" y="200"/>
                  </a:lnTo>
                  <a:close/>
                  <a:moveTo>
                    <a:pt x="55" y="200"/>
                  </a:moveTo>
                  <a:lnTo>
                    <a:pt x="55" y="198"/>
                  </a:lnTo>
                  <a:lnTo>
                    <a:pt x="55" y="200"/>
                  </a:lnTo>
                  <a:close/>
                  <a:moveTo>
                    <a:pt x="64" y="198"/>
                  </a:moveTo>
                  <a:lnTo>
                    <a:pt x="64" y="200"/>
                  </a:lnTo>
                  <a:lnTo>
                    <a:pt x="64" y="198"/>
                  </a:lnTo>
                  <a:close/>
                  <a:moveTo>
                    <a:pt x="57" y="198"/>
                  </a:moveTo>
                  <a:lnTo>
                    <a:pt x="55" y="198"/>
                  </a:lnTo>
                  <a:lnTo>
                    <a:pt x="57" y="198"/>
                  </a:lnTo>
                  <a:close/>
                  <a:moveTo>
                    <a:pt x="57" y="198"/>
                  </a:moveTo>
                  <a:lnTo>
                    <a:pt x="55" y="198"/>
                  </a:lnTo>
                  <a:lnTo>
                    <a:pt x="57" y="198"/>
                  </a:lnTo>
                  <a:close/>
                  <a:moveTo>
                    <a:pt x="52" y="198"/>
                  </a:moveTo>
                  <a:lnTo>
                    <a:pt x="50" y="198"/>
                  </a:lnTo>
                  <a:lnTo>
                    <a:pt x="52" y="198"/>
                  </a:lnTo>
                  <a:close/>
                  <a:moveTo>
                    <a:pt x="67" y="198"/>
                  </a:moveTo>
                  <a:lnTo>
                    <a:pt x="64" y="198"/>
                  </a:lnTo>
                  <a:lnTo>
                    <a:pt x="67" y="198"/>
                  </a:lnTo>
                  <a:close/>
                  <a:moveTo>
                    <a:pt x="67" y="198"/>
                  </a:moveTo>
                  <a:lnTo>
                    <a:pt x="69" y="198"/>
                  </a:lnTo>
                  <a:lnTo>
                    <a:pt x="67" y="198"/>
                  </a:lnTo>
                  <a:close/>
                  <a:moveTo>
                    <a:pt x="67" y="195"/>
                  </a:moveTo>
                  <a:lnTo>
                    <a:pt x="67" y="198"/>
                  </a:lnTo>
                  <a:lnTo>
                    <a:pt x="67" y="195"/>
                  </a:lnTo>
                  <a:close/>
                  <a:moveTo>
                    <a:pt x="64" y="195"/>
                  </a:moveTo>
                  <a:lnTo>
                    <a:pt x="64" y="198"/>
                  </a:lnTo>
                  <a:lnTo>
                    <a:pt x="64" y="195"/>
                  </a:lnTo>
                  <a:close/>
                  <a:moveTo>
                    <a:pt x="52" y="195"/>
                  </a:moveTo>
                  <a:lnTo>
                    <a:pt x="50" y="195"/>
                  </a:lnTo>
                  <a:lnTo>
                    <a:pt x="52" y="195"/>
                  </a:lnTo>
                  <a:close/>
                  <a:moveTo>
                    <a:pt x="67" y="195"/>
                  </a:moveTo>
                  <a:lnTo>
                    <a:pt x="64" y="195"/>
                  </a:lnTo>
                  <a:lnTo>
                    <a:pt x="67" y="195"/>
                  </a:lnTo>
                  <a:close/>
                  <a:moveTo>
                    <a:pt x="59" y="195"/>
                  </a:moveTo>
                  <a:lnTo>
                    <a:pt x="57" y="195"/>
                  </a:lnTo>
                  <a:lnTo>
                    <a:pt x="59" y="195"/>
                  </a:lnTo>
                  <a:close/>
                  <a:moveTo>
                    <a:pt x="50" y="193"/>
                  </a:moveTo>
                  <a:lnTo>
                    <a:pt x="50" y="195"/>
                  </a:lnTo>
                  <a:lnTo>
                    <a:pt x="50" y="193"/>
                  </a:lnTo>
                  <a:close/>
                  <a:moveTo>
                    <a:pt x="64" y="193"/>
                  </a:moveTo>
                  <a:lnTo>
                    <a:pt x="62" y="193"/>
                  </a:lnTo>
                  <a:lnTo>
                    <a:pt x="64" y="193"/>
                  </a:lnTo>
                  <a:close/>
                  <a:moveTo>
                    <a:pt x="69" y="193"/>
                  </a:moveTo>
                  <a:lnTo>
                    <a:pt x="67" y="193"/>
                  </a:lnTo>
                  <a:lnTo>
                    <a:pt x="69" y="193"/>
                  </a:lnTo>
                  <a:close/>
                  <a:moveTo>
                    <a:pt x="67" y="193"/>
                  </a:moveTo>
                  <a:lnTo>
                    <a:pt x="64" y="193"/>
                  </a:lnTo>
                  <a:lnTo>
                    <a:pt x="67" y="193"/>
                  </a:lnTo>
                  <a:close/>
                  <a:moveTo>
                    <a:pt x="71" y="193"/>
                  </a:moveTo>
                  <a:lnTo>
                    <a:pt x="71" y="190"/>
                  </a:lnTo>
                  <a:lnTo>
                    <a:pt x="71" y="193"/>
                  </a:lnTo>
                  <a:close/>
                  <a:moveTo>
                    <a:pt x="69" y="193"/>
                  </a:moveTo>
                  <a:lnTo>
                    <a:pt x="67" y="193"/>
                  </a:lnTo>
                  <a:lnTo>
                    <a:pt x="67" y="190"/>
                  </a:lnTo>
                  <a:lnTo>
                    <a:pt x="69" y="193"/>
                  </a:lnTo>
                  <a:close/>
                  <a:moveTo>
                    <a:pt x="69" y="193"/>
                  </a:moveTo>
                  <a:lnTo>
                    <a:pt x="69" y="190"/>
                  </a:lnTo>
                  <a:lnTo>
                    <a:pt x="69" y="193"/>
                  </a:lnTo>
                  <a:close/>
                  <a:moveTo>
                    <a:pt x="67" y="190"/>
                  </a:moveTo>
                  <a:lnTo>
                    <a:pt x="67" y="193"/>
                  </a:lnTo>
                  <a:lnTo>
                    <a:pt x="67" y="190"/>
                  </a:lnTo>
                  <a:close/>
                  <a:moveTo>
                    <a:pt x="71" y="193"/>
                  </a:moveTo>
                  <a:lnTo>
                    <a:pt x="71" y="190"/>
                  </a:lnTo>
                  <a:lnTo>
                    <a:pt x="71" y="193"/>
                  </a:lnTo>
                  <a:close/>
                  <a:moveTo>
                    <a:pt x="71" y="190"/>
                  </a:moveTo>
                  <a:lnTo>
                    <a:pt x="71" y="193"/>
                  </a:lnTo>
                  <a:lnTo>
                    <a:pt x="71" y="190"/>
                  </a:lnTo>
                  <a:close/>
                  <a:moveTo>
                    <a:pt x="64" y="190"/>
                  </a:moveTo>
                  <a:lnTo>
                    <a:pt x="67" y="190"/>
                  </a:lnTo>
                  <a:lnTo>
                    <a:pt x="67" y="193"/>
                  </a:lnTo>
                  <a:lnTo>
                    <a:pt x="64" y="193"/>
                  </a:lnTo>
                  <a:lnTo>
                    <a:pt x="64" y="190"/>
                  </a:lnTo>
                  <a:close/>
                  <a:moveTo>
                    <a:pt x="74" y="190"/>
                  </a:moveTo>
                  <a:lnTo>
                    <a:pt x="71" y="190"/>
                  </a:lnTo>
                  <a:lnTo>
                    <a:pt x="74" y="190"/>
                  </a:lnTo>
                  <a:close/>
                  <a:moveTo>
                    <a:pt x="67" y="190"/>
                  </a:moveTo>
                  <a:lnTo>
                    <a:pt x="69" y="190"/>
                  </a:lnTo>
                  <a:lnTo>
                    <a:pt x="67" y="190"/>
                  </a:lnTo>
                  <a:close/>
                  <a:moveTo>
                    <a:pt x="69" y="190"/>
                  </a:moveTo>
                  <a:lnTo>
                    <a:pt x="67" y="190"/>
                  </a:lnTo>
                  <a:lnTo>
                    <a:pt x="69" y="190"/>
                  </a:lnTo>
                  <a:close/>
                  <a:moveTo>
                    <a:pt x="71" y="190"/>
                  </a:moveTo>
                  <a:lnTo>
                    <a:pt x="69" y="190"/>
                  </a:lnTo>
                  <a:lnTo>
                    <a:pt x="71" y="190"/>
                  </a:lnTo>
                  <a:close/>
                  <a:moveTo>
                    <a:pt x="71" y="190"/>
                  </a:moveTo>
                  <a:lnTo>
                    <a:pt x="71" y="188"/>
                  </a:lnTo>
                  <a:lnTo>
                    <a:pt x="71" y="190"/>
                  </a:lnTo>
                  <a:close/>
                  <a:moveTo>
                    <a:pt x="71" y="190"/>
                  </a:moveTo>
                  <a:lnTo>
                    <a:pt x="71" y="188"/>
                  </a:lnTo>
                  <a:lnTo>
                    <a:pt x="71" y="190"/>
                  </a:lnTo>
                  <a:close/>
                  <a:moveTo>
                    <a:pt x="69" y="188"/>
                  </a:moveTo>
                  <a:lnTo>
                    <a:pt x="69" y="190"/>
                  </a:lnTo>
                  <a:lnTo>
                    <a:pt x="69" y="188"/>
                  </a:lnTo>
                  <a:close/>
                  <a:moveTo>
                    <a:pt x="64" y="188"/>
                  </a:moveTo>
                  <a:lnTo>
                    <a:pt x="62" y="188"/>
                  </a:lnTo>
                  <a:lnTo>
                    <a:pt x="64" y="188"/>
                  </a:lnTo>
                  <a:close/>
                  <a:moveTo>
                    <a:pt x="71" y="188"/>
                  </a:moveTo>
                  <a:lnTo>
                    <a:pt x="69" y="188"/>
                  </a:lnTo>
                  <a:lnTo>
                    <a:pt x="71" y="188"/>
                  </a:lnTo>
                  <a:close/>
                  <a:moveTo>
                    <a:pt x="62" y="188"/>
                  </a:moveTo>
                  <a:lnTo>
                    <a:pt x="59" y="188"/>
                  </a:lnTo>
                  <a:lnTo>
                    <a:pt x="62" y="188"/>
                  </a:lnTo>
                  <a:close/>
                  <a:moveTo>
                    <a:pt x="71" y="188"/>
                  </a:moveTo>
                  <a:lnTo>
                    <a:pt x="71" y="186"/>
                  </a:lnTo>
                  <a:lnTo>
                    <a:pt x="71" y="188"/>
                  </a:lnTo>
                  <a:close/>
                  <a:moveTo>
                    <a:pt x="71" y="188"/>
                  </a:moveTo>
                  <a:lnTo>
                    <a:pt x="71" y="186"/>
                  </a:lnTo>
                  <a:lnTo>
                    <a:pt x="71" y="188"/>
                  </a:lnTo>
                  <a:close/>
                  <a:moveTo>
                    <a:pt x="71" y="188"/>
                  </a:moveTo>
                  <a:lnTo>
                    <a:pt x="71" y="186"/>
                  </a:lnTo>
                  <a:lnTo>
                    <a:pt x="71" y="188"/>
                  </a:lnTo>
                  <a:close/>
                  <a:moveTo>
                    <a:pt x="88" y="186"/>
                  </a:moveTo>
                  <a:lnTo>
                    <a:pt x="88" y="188"/>
                  </a:lnTo>
                  <a:lnTo>
                    <a:pt x="88" y="186"/>
                  </a:lnTo>
                  <a:close/>
                  <a:moveTo>
                    <a:pt x="74" y="188"/>
                  </a:moveTo>
                  <a:lnTo>
                    <a:pt x="74" y="186"/>
                  </a:lnTo>
                  <a:lnTo>
                    <a:pt x="74" y="188"/>
                  </a:lnTo>
                  <a:close/>
                  <a:moveTo>
                    <a:pt x="71" y="186"/>
                  </a:moveTo>
                  <a:lnTo>
                    <a:pt x="69" y="186"/>
                  </a:lnTo>
                  <a:lnTo>
                    <a:pt x="71" y="186"/>
                  </a:lnTo>
                  <a:close/>
                  <a:moveTo>
                    <a:pt x="90" y="186"/>
                  </a:moveTo>
                  <a:lnTo>
                    <a:pt x="88" y="186"/>
                  </a:lnTo>
                  <a:lnTo>
                    <a:pt x="90" y="186"/>
                  </a:lnTo>
                  <a:close/>
                  <a:moveTo>
                    <a:pt x="90" y="186"/>
                  </a:moveTo>
                  <a:lnTo>
                    <a:pt x="88" y="186"/>
                  </a:lnTo>
                  <a:lnTo>
                    <a:pt x="88" y="183"/>
                  </a:lnTo>
                  <a:lnTo>
                    <a:pt x="90" y="183"/>
                  </a:lnTo>
                  <a:lnTo>
                    <a:pt x="90" y="186"/>
                  </a:lnTo>
                  <a:close/>
                  <a:moveTo>
                    <a:pt x="59" y="183"/>
                  </a:moveTo>
                  <a:lnTo>
                    <a:pt x="59" y="186"/>
                  </a:lnTo>
                  <a:lnTo>
                    <a:pt x="59" y="183"/>
                  </a:lnTo>
                  <a:close/>
                  <a:moveTo>
                    <a:pt x="95" y="183"/>
                  </a:moveTo>
                  <a:lnTo>
                    <a:pt x="93" y="183"/>
                  </a:lnTo>
                  <a:lnTo>
                    <a:pt x="95" y="183"/>
                  </a:lnTo>
                  <a:close/>
                  <a:moveTo>
                    <a:pt x="76" y="183"/>
                  </a:moveTo>
                  <a:lnTo>
                    <a:pt x="74" y="183"/>
                  </a:lnTo>
                  <a:lnTo>
                    <a:pt x="76" y="183"/>
                  </a:lnTo>
                  <a:close/>
                  <a:moveTo>
                    <a:pt x="83" y="183"/>
                  </a:moveTo>
                  <a:lnTo>
                    <a:pt x="86" y="183"/>
                  </a:lnTo>
                  <a:lnTo>
                    <a:pt x="83" y="183"/>
                  </a:lnTo>
                  <a:close/>
                  <a:moveTo>
                    <a:pt x="86" y="183"/>
                  </a:moveTo>
                  <a:lnTo>
                    <a:pt x="83" y="183"/>
                  </a:lnTo>
                  <a:lnTo>
                    <a:pt x="86" y="183"/>
                  </a:lnTo>
                  <a:close/>
                  <a:moveTo>
                    <a:pt x="67" y="183"/>
                  </a:moveTo>
                  <a:lnTo>
                    <a:pt x="67" y="181"/>
                  </a:lnTo>
                  <a:lnTo>
                    <a:pt x="67" y="183"/>
                  </a:lnTo>
                  <a:close/>
                  <a:moveTo>
                    <a:pt x="95" y="181"/>
                  </a:moveTo>
                  <a:lnTo>
                    <a:pt x="95" y="183"/>
                  </a:lnTo>
                  <a:lnTo>
                    <a:pt x="95" y="181"/>
                  </a:lnTo>
                  <a:close/>
                  <a:moveTo>
                    <a:pt x="83" y="181"/>
                  </a:moveTo>
                  <a:lnTo>
                    <a:pt x="83" y="183"/>
                  </a:lnTo>
                  <a:lnTo>
                    <a:pt x="83" y="181"/>
                  </a:lnTo>
                  <a:close/>
                  <a:moveTo>
                    <a:pt x="97" y="183"/>
                  </a:moveTo>
                  <a:lnTo>
                    <a:pt x="97" y="181"/>
                  </a:lnTo>
                  <a:lnTo>
                    <a:pt x="95" y="181"/>
                  </a:lnTo>
                  <a:lnTo>
                    <a:pt x="97" y="181"/>
                  </a:lnTo>
                  <a:lnTo>
                    <a:pt x="97" y="183"/>
                  </a:lnTo>
                  <a:close/>
                  <a:moveTo>
                    <a:pt x="69" y="181"/>
                  </a:moveTo>
                  <a:lnTo>
                    <a:pt x="67" y="181"/>
                  </a:lnTo>
                  <a:lnTo>
                    <a:pt x="69" y="181"/>
                  </a:lnTo>
                  <a:close/>
                  <a:moveTo>
                    <a:pt x="69" y="181"/>
                  </a:moveTo>
                  <a:lnTo>
                    <a:pt x="67" y="181"/>
                  </a:lnTo>
                  <a:lnTo>
                    <a:pt x="69" y="181"/>
                  </a:lnTo>
                  <a:close/>
                  <a:moveTo>
                    <a:pt x="95" y="181"/>
                  </a:moveTo>
                  <a:lnTo>
                    <a:pt x="97" y="181"/>
                  </a:lnTo>
                  <a:lnTo>
                    <a:pt x="95" y="181"/>
                  </a:lnTo>
                  <a:close/>
                  <a:moveTo>
                    <a:pt x="86" y="181"/>
                  </a:moveTo>
                  <a:lnTo>
                    <a:pt x="83" y="181"/>
                  </a:lnTo>
                  <a:lnTo>
                    <a:pt x="86" y="181"/>
                  </a:lnTo>
                  <a:close/>
                  <a:moveTo>
                    <a:pt x="88" y="181"/>
                  </a:moveTo>
                  <a:lnTo>
                    <a:pt x="86" y="181"/>
                  </a:lnTo>
                  <a:lnTo>
                    <a:pt x="88" y="181"/>
                  </a:lnTo>
                  <a:close/>
                  <a:moveTo>
                    <a:pt x="93" y="181"/>
                  </a:moveTo>
                  <a:lnTo>
                    <a:pt x="93" y="179"/>
                  </a:lnTo>
                  <a:lnTo>
                    <a:pt x="93" y="181"/>
                  </a:lnTo>
                  <a:close/>
                  <a:moveTo>
                    <a:pt x="78" y="181"/>
                  </a:moveTo>
                  <a:lnTo>
                    <a:pt x="78" y="179"/>
                  </a:lnTo>
                  <a:lnTo>
                    <a:pt x="78" y="181"/>
                  </a:lnTo>
                  <a:close/>
                  <a:moveTo>
                    <a:pt x="88" y="179"/>
                  </a:moveTo>
                  <a:lnTo>
                    <a:pt x="88" y="181"/>
                  </a:lnTo>
                  <a:lnTo>
                    <a:pt x="88" y="179"/>
                  </a:lnTo>
                  <a:close/>
                  <a:moveTo>
                    <a:pt x="76" y="181"/>
                  </a:moveTo>
                  <a:lnTo>
                    <a:pt x="76" y="179"/>
                  </a:lnTo>
                  <a:lnTo>
                    <a:pt x="76" y="181"/>
                  </a:lnTo>
                  <a:close/>
                  <a:moveTo>
                    <a:pt x="76" y="181"/>
                  </a:moveTo>
                  <a:lnTo>
                    <a:pt x="76" y="179"/>
                  </a:lnTo>
                  <a:lnTo>
                    <a:pt x="76" y="181"/>
                  </a:lnTo>
                  <a:close/>
                  <a:moveTo>
                    <a:pt x="88" y="179"/>
                  </a:moveTo>
                  <a:lnTo>
                    <a:pt x="88" y="181"/>
                  </a:lnTo>
                  <a:lnTo>
                    <a:pt x="88" y="179"/>
                  </a:lnTo>
                  <a:close/>
                  <a:moveTo>
                    <a:pt x="95" y="179"/>
                  </a:moveTo>
                  <a:lnTo>
                    <a:pt x="95" y="181"/>
                  </a:lnTo>
                  <a:lnTo>
                    <a:pt x="95" y="179"/>
                  </a:lnTo>
                  <a:close/>
                  <a:moveTo>
                    <a:pt x="76" y="179"/>
                  </a:moveTo>
                  <a:lnTo>
                    <a:pt x="76" y="181"/>
                  </a:lnTo>
                  <a:lnTo>
                    <a:pt x="76" y="179"/>
                  </a:lnTo>
                  <a:close/>
                  <a:moveTo>
                    <a:pt x="78" y="181"/>
                  </a:moveTo>
                  <a:lnTo>
                    <a:pt x="78" y="179"/>
                  </a:lnTo>
                  <a:lnTo>
                    <a:pt x="78" y="181"/>
                  </a:lnTo>
                  <a:close/>
                  <a:moveTo>
                    <a:pt x="83" y="181"/>
                  </a:moveTo>
                  <a:lnTo>
                    <a:pt x="81" y="181"/>
                  </a:lnTo>
                  <a:lnTo>
                    <a:pt x="81" y="179"/>
                  </a:lnTo>
                  <a:lnTo>
                    <a:pt x="83" y="179"/>
                  </a:lnTo>
                  <a:lnTo>
                    <a:pt x="83" y="181"/>
                  </a:lnTo>
                  <a:close/>
                  <a:moveTo>
                    <a:pt x="95" y="179"/>
                  </a:moveTo>
                  <a:lnTo>
                    <a:pt x="93" y="179"/>
                  </a:lnTo>
                  <a:lnTo>
                    <a:pt x="95" y="179"/>
                  </a:lnTo>
                  <a:close/>
                  <a:moveTo>
                    <a:pt x="78" y="179"/>
                  </a:moveTo>
                  <a:lnTo>
                    <a:pt x="76" y="179"/>
                  </a:lnTo>
                  <a:lnTo>
                    <a:pt x="78" y="179"/>
                  </a:lnTo>
                  <a:lnTo>
                    <a:pt x="76" y="179"/>
                  </a:lnTo>
                  <a:lnTo>
                    <a:pt x="78" y="179"/>
                  </a:lnTo>
                  <a:close/>
                  <a:moveTo>
                    <a:pt x="76" y="179"/>
                  </a:moveTo>
                  <a:lnTo>
                    <a:pt x="74" y="179"/>
                  </a:lnTo>
                  <a:lnTo>
                    <a:pt x="76" y="179"/>
                  </a:lnTo>
                  <a:close/>
                  <a:moveTo>
                    <a:pt x="62" y="179"/>
                  </a:moveTo>
                  <a:lnTo>
                    <a:pt x="59" y="179"/>
                  </a:lnTo>
                  <a:lnTo>
                    <a:pt x="62" y="179"/>
                  </a:lnTo>
                  <a:lnTo>
                    <a:pt x="59" y="179"/>
                  </a:lnTo>
                  <a:lnTo>
                    <a:pt x="62" y="179"/>
                  </a:lnTo>
                  <a:close/>
                  <a:moveTo>
                    <a:pt x="95" y="179"/>
                  </a:moveTo>
                  <a:lnTo>
                    <a:pt x="93" y="179"/>
                  </a:lnTo>
                  <a:lnTo>
                    <a:pt x="95" y="179"/>
                  </a:lnTo>
                  <a:close/>
                  <a:moveTo>
                    <a:pt x="59" y="179"/>
                  </a:moveTo>
                  <a:lnTo>
                    <a:pt x="62" y="179"/>
                  </a:lnTo>
                  <a:lnTo>
                    <a:pt x="59" y="179"/>
                  </a:lnTo>
                  <a:close/>
                  <a:moveTo>
                    <a:pt x="57" y="176"/>
                  </a:moveTo>
                  <a:lnTo>
                    <a:pt x="57" y="179"/>
                  </a:lnTo>
                  <a:lnTo>
                    <a:pt x="57" y="176"/>
                  </a:lnTo>
                  <a:close/>
                  <a:moveTo>
                    <a:pt x="59" y="179"/>
                  </a:moveTo>
                  <a:lnTo>
                    <a:pt x="59" y="176"/>
                  </a:lnTo>
                  <a:lnTo>
                    <a:pt x="59" y="179"/>
                  </a:lnTo>
                  <a:close/>
                  <a:moveTo>
                    <a:pt x="78" y="176"/>
                  </a:moveTo>
                  <a:lnTo>
                    <a:pt x="78" y="179"/>
                  </a:lnTo>
                  <a:lnTo>
                    <a:pt x="78" y="176"/>
                  </a:lnTo>
                  <a:close/>
                  <a:moveTo>
                    <a:pt x="59" y="179"/>
                  </a:moveTo>
                  <a:lnTo>
                    <a:pt x="59" y="176"/>
                  </a:lnTo>
                  <a:lnTo>
                    <a:pt x="59" y="179"/>
                  </a:lnTo>
                  <a:close/>
                  <a:moveTo>
                    <a:pt x="57" y="179"/>
                  </a:moveTo>
                  <a:lnTo>
                    <a:pt x="57" y="176"/>
                  </a:lnTo>
                  <a:lnTo>
                    <a:pt x="57" y="179"/>
                  </a:lnTo>
                  <a:close/>
                  <a:moveTo>
                    <a:pt x="74" y="179"/>
                  </a:moveTo>
                  <a:lnTo>
                    <a:pt x="74" y="176"/>
                  </a:lnTo>
                  <a:lnTo>
                    <a:pt x="74" y="179"/>
                  </a:lnTo>
                  <a:close/>
                  <a:moveTo>
                    <a:pt x="95" y="176"/>
                  </a:moveTo>
                  <a:lnTo>
                    <a:pt x="95" y="179"/>
                  </a:lnTo>
                  <a:lnTo>
                    <a:pt x="95" y="176"/>
                  </a:lnTo>
                  <a:close/>
                  <a:moveTo>
                    <a:pt x="78" y="176"/>
                  </a:moveTo>
                  <a:lnTo>
                    <a:pt x="78" y="179"/>
                  </a:lnTo>
                  <a:lnTo>
                    <a:pt x="78" y="176"/>
                  </a:lnTo>
                  <a:close/>
                  <a:moveTo>
                    <a:pt x="81" y="176"/>
                  </a:moveTo>
                  <a:lnTo>
                    <a:pt x="81" y="179"/>
                  </a:lnTo>
                  <a:lnTo>
                    <a:pt x="81" y="176"/>
                  </a:lnTo>
                  <a:close/>
                  <a:moveTo>
                    <a:pt x="59" y="176"/>
                  </a:moveTo>
                  <a:lnTo>
                    <a:pt x="62" y="176"/>
                  </a:lnTo>
                  <a:lnTo>
                    <a:pt x="59" y="176"/>
                  </a:lnTo>
                  <a:close/>
                  <a:moveTo>
                    <a:pt x="74" y="176"/>
                  </a:moveTo>
                  <a:lnTo>
                    <a:pt x="74" y="179"/>
                  </a:lnTo>
                  <a:lnTo>
                    <a:pt x="74" y="176"/>
                  </a:lnTo>
                  <a:close/>
                  <a:moveTo>
                    <a:pt x="64" y="179"/>
                  </a:moveTo>
                  <a:lnTo>
                    <a:pt x="64" y="176"/>
                  </a:lnTo>
                  <a:lnTo>
                    <a:pt x="64" y="179"/>
                  </a:lnTo>
                  <a:close/>
                  <a:moveTo>
                    <a:pt x="95" y="176"/>
                  </a:moveTo>
                  <a:lnTo>
                    <a:pt x="93" y="176"/>
                  </a:lnTo>
                  <a:lnTo>
                    <a:pt x="95" y="176"/>
                  </a:lnTo>
                  <a:close/>
                  <a:moveTo>
                    <a:pt x="95" y="176"/>
                  </a:moveTo>
                  <a:lnTo>
                    <a:pt x="93" y="176"/>
                  </a:lnTo>
                  <a:lnTo>
                    <a:pt x="95" y="176"/>
                  </a:lnTo>
                  <a:close/>
                  <a:moveTo>
                    <a:pt x="95" y="176"/>
                  </a:moveTo>
                  <a:lnTo>
                    <a:pt x="93" y="176"/>
                  </a:lnTo>
                  <a:lnTo>
                    <a:pt x="95" y="176"/>
                  </a:lnTo>
                  <a:close/>
                  <a:moveTo>
                    <a:pt x="78" y="176"/>
                  </a:moveTo>
                  <a:lnTo>
                    <a:pt x="76" y="176"/>
                  </a:lnTo>
                  <a:lnTo>
                    <a:pt x="78" y="176"/>
                  </a:lnTo>
                  <a:close/>
                  <a:moveTo>
                    <a:pt x="81" y="176"/>
                  </a:moveTo>
                  <a:lnTo>
                    <a:pt x="83" y="176"/>
                  </a:lnTo>
                  <a:lnTo>
                    <a:pt x="81" y="176"/>
                  </a:lnTo>
                  <a:close/>
                  <a:moveTo>
                    <a:pt x="83" y="176"/>
                  </a:moveTo>
                  <a:lnTo>
                    <a:pt x="81" y="176"/>
                  </a:lnTo>
                  <a:lnTo>
                    <a:pt x="83" y="176"/>
                  </a:lnTo>
                  <a:close/>
                  <a:moveTo>
                    <a:pt x="59" y="176"/>
                  </a:moveTo>
                  <a:lnTo>
                    <a:pt x="59" y="174"/>
                  </a:lnTo>
                  <a:lnTo>
                    <a:pt x="59" y="176"/>
                  </a:lnTo>
                  <a:close/>
                  <a:moveTo>
                    <a:pt x="83" y="176"/>
                  </a:moveTo>
                  <a:lnTo>
                    <a:pt x="81" y="176"/>
                  </a:lnTo>
                  <a:lnTo>
                    <a:pt x="81" y="174"/>
                  </a:lnTo>
                  <a:lnTo>
                    <a:pt x="81" y="176"/>
                  </a:lnTo>
                  <a:lnTo>
                    <a:pt x="83" y="176"/>
                  </a:lnTo>
                  <a:close/>
                  <a:moveTo>
                    <a:pt x="81" y="174"/>
                  </a:moveTo>
                  <a:lnTo>
                    <a:pt x="81" y="176"/>
                  </a:lnTo>
                  <a:lnTo>
                    <a:pt x="81" y="174"/>
                  </a:lnTo>
                  <a:close/>
                  <a:moveTo>
                    <a:pt x="83" y="174"/>
                  </a:moveTo>
                  <a:lnTo>
                    <a:pt x="83" y="176"/>
                  </a:lnTo>
                  <a:lnTo>
                    <a:pt x="83" y="174"/>
                  </a:lnTo>
                  <a:close/>
                  <a:moveTo>
                    <a:pt x="57" y="174"/>
                  </a:moveTo>
                  <a:lnTo>
                    <a:pt x="59" y="174"/>
                  </a:lnTo>
                  <a:lnTo>
                    <a:pt x="57" y="174"/>
                  </a:lnTo>
                  <a:close/>
                  <a:moveTo>
                    <a:pt x="81" y="174"/>
                  </a:moveTo>
                  <a:lnTo>
                    <a:pt x="78" y="174"/>
                  </a:lnTo>
                  <a:lnTo>
                    <a:pt x="81" y="174"/>
                  </a:lnTo>
                  <a:close/>
                  <a:moveTo>
                    <a:pt x="62" y="174"/>
                  </a:moveTo>
                  <a:lnTo>
                    <a:pt x="59" y="174"/>
                  </a:lnTo>
                  <a:lnTo>
                    <a:pt x="62" y="174"/>
                  </a:lnTo>
                  <a:close/>
                  <a:moveTo>
                    <a:pt x="62" y="174"/>
                  </a:moveTo>
                  <a:lnTo>
                    <a:pt x="59" y="174"/>
                  </a:lnTo>
                  <a:lnTo>
                    <a:pt x="62" y="174"/>
                  </a:lnTo>
                  <a:close/>
                  <a:moveTo>
                    <a:pt x="95" y="174"/>
                  </a:moveTo>
                  <a:lnTo>
                    <a:pt x="93" y="174"/>
                  </a:lnTo>
                  <a:lnTo>
                    <a:pt x="95" y="174"/>
                  </a:lnTo>
                  <a:close/>
                  <a:moveTo>
                    <a:pt x="90" y="174"/>
                  </a:moveTo>
                  <a:lnTo>
                    <a:pt x="88" y="174"/>
                  </a:lnTo>
                  <a:lnTo>
                    <a:pt x="90" y="174"/>
                  </a:lnTo>
                  <a:close/>
                  <a:moveTo>
                    <a:pt x="81" y="174"/>
                  </a:moveTo>
                  <a:lnTo>
                    <a:pt x="81" y="171"/>
                  </a:lnTo>
                  <a:lnTo>
                    <a:pt x="81" y="174"/>
                  </a:lnTo>
                  <a:close/>
                  <a:moveTo>
                    <a:pt x="83" y="171"/>
                  </a:moveTo>
                  <a:lnTo>
                    <a:pt x="83" y="174"/>
                  </a:lnTo>
                  <a:lnTo>
                    <a:pt x="83" y="171"/>
                  </a:lnTo>
                  <a:close/>
                  <a:moveTo>
                    <a:pt x="102" y="171"/>
                  </a:moveTo>
                  <a:lnTo>
                    <a:pt x="102" y="169"/>
                  </a:lnTo>
                  <a:lnTo>
                    <a:pt x="102" y="171"/>
                  </a:lnTo>
                  <a:close/>
                  <a:moveTo>
                    <a:pt x="95" y="169"/>
                  </a:moveTo>
                  <a:lnTo>
                    <a:pt x="93" y="169"/>
                  </a:lnTo>
                  <a:lnTo>
                    <a:pt x="95" y="169"/>
                  </a:lnTo>
                  <a:close/>
                  <a:moveTo>
                    <a:pt x="104" y="169"/>
                  </a:moveTo>
                  <a:lnTo>
                    <a:pt x="102" y="169"/>
                  </a:lnTo>
                  <a:lnTo>
                    <a:pt x="104" y="169"/>
                  </a:lnTo>
                  <a:close/>
                  <a:moveTo>
                    <a:pt x="102" y="169"/>
                  </a:moveTo>
                  <a:lnTo>
                    <a:pt x="102" y="167"/>
                  </a:lnTo>
                  <a:lnTo>
                    <a:pt x="102" y="169"/>
                  </a:lnTo>
                  <a:close/>
                  <a:moveTo>
                    <a:pt x="102" y="167"/>
                  </a:moveTo>
                  <a:lnTo>
                    <a:pt x="100" y="167"/>
                  </a:lnTo>
                  <a:lnTo>
                    <a:pt x="102" y="167"/>
                  </a:lnTo>
                  <a:close/>
                  <a:moveTo>
                    <a:pt x="100" y="167"/>
                  </a:moveTo>
                  <a:lnTo>
                    <a:pt x="100" y="164"/>
                  </a:lnTo>
                  <a:lnTo>
                    <a:pt x="100" y="167"/>
                  </a:lnTo>
                  <a:close/>
                  <a:moveTo>
                    <a:pt x="102" y="162"/>
                  </a:moveTo>
                  <a:lnTo>
                    <a:pt x="100" y="162"/>
                  </a:lnTo>
                  <a:lnTo>
                    <a:pt x="102" y="162"/>
                  </a:lnTo>
                  <a:close/>
                  <a:moveTo>
                    <a:pt x="116" y="160"/>
                  </a:moveTo>
                  <a:lnTo>
                    <a:pt x="114" y="160"/>
                  </a:lnTo>
                  <a:lnTo>
                    <a:pt x="116" y="160"/>
                  </a:lnTo>
                  <a:close/>
                  <a:moveTo>
                    <a:pt x="119" y="160"/>
                  </a:moveTo>
                  <a:lnTo>
                    <a:pt x="116" y="160"/>
                  </a:lnTo>
                  <a:lnTo>
                    <a:pt x="119" y="160"/>
                  </a:lnTo>
                  <a:close/>
                  <a:moveTo>
                    <a:pt x="114" y="160"/>
                  </a:moveTo>
                  <a:lnTo>
                    <a:pt x="112" y="160"/>
                  </a:lnTo>
                  <a:lnTo>
                    <a:pt x="114" y="160"/>
                  </a:lnTo>
                  <a:close/>
                  <a:moveTo>
                    <a:pt x="116" y="160"/>
                  </a:moveTo>
                  <a:lnTo>
                    <a:pt x="116" y="157"/>
                  </a:lnTo>
                  <a:lnTo>
                    <a:pt x="116" y="160"/>
                  </a:lnTo>
                  <a:close/>
                  <a:moveTo>
                    <a:pt x="116" y="160"/>
                  </a:moveTo>
                  <a:lnTo>
                    <a:pt x="116" y="157"/>
                  </a:lnTo>
                  <a:lnTo>
                    <a:pt x="116" y="160"/>
                  </a:lnTo>
                  <a:close/>
                  <a:moveTo>
                    <a:pt x="107" y="160"/>
                  </a:moveTo>
                  <a:lnTo>
                    <a:pt x="107" y="157"/>
                  </a:lnTo>
                  <a:lnTo>
                    <a:pt x="107" y="160"/>
                  </a:lnTo>
                  <a:close/>
                  <a:moveTo>
                    <a:pt x="107" y="157"/>
                  </a:moveTo>
                  <a:lnTo>
                    <a:pt x="107" y="160"/>
                  </a:lnTo>
                  <a:lnTo>
                    <a:pt x="107" y="157"/>
                  </a:lnTo>
                  <a:close/>
                  <a:moveTo>
                    <a:pt x="112" y="157"/>
                  </a:moveTo>
                  <a:lnTo>
                    <a:pt x="112" y="160"/>
                  </a:lnTo>
                  <a:lnTo>
                    <a:pt x="112" y="157"/>
                  </a:lnTo>
                  <a:close/>
                  <a:moveTo>
                    <a:pt x="114" y="157"/>
                  </a:moveTo>
                  <a:lnTo>
                    <a:pt x="112" y="157"/>
                  </a:lnTo>
                  <a:lnTo>
                    <a:pt x="114" y="157"/>
                  </a:lnTo>
                  <a:close/>
                  <a:moveTo>
                    <a:pt x="116" y="155"/>
                  </a:moveTo>
                  <a:lnTo>
                    <a:pt x="116" y="157"/>
                  </a:lnTo>
                  <a:lnTo>
                    <a:pt x="116" y="155"/>
                  </a:lnTo>
                  <a:close/>
                  <a:moveTo>
                    <a:pt x="116" y="155"/>
                  </a:moveTo>
                  <a:lnTo>
                    <a:pt x="116" y="157"/>
                  </a:lnTo>
                  <a:lnTo>
                    <a:pt x="116" y="155"/>
                  </a:lnTo>
                  <a:close/>
                  <a:moveTo>
                    <a:pt x="109" y="152"/>
                  </a:moveTo>
                  <a:lnTo>
                    <a:pt x="107" y="152"/>
                  </a:lnTo>
                  <a:lnTo>
                    <a:pt x="109" y="152"/>
                  </a:lnTo>
                  <a:close/>
                  <a:moveTo>
                    <a:pt x="121" y="152"/>
                  </a:moveTo>
                  <a:lnTo>
                    <a:pt x="121" y="150"/>
                  </a:lnTo>
                  <a:lnTo>
                    <a:pt x="121" y="152"/>
                  </a:lnTo>
                  <a:close/>
                  <a:moveTo>
                    <a:pt x="112" y="150"/>
                  </a:moveTo>
                  <a:lnTo>
                    <a:pt x="109" y="150"/>
                  </a:lnTo>
                  <a:lnTo>
                    <a:pt x="112" y="150"/>
                  </a:lnTo>
                  <a:close/>
                  <a:moveTo>
                    <a:pt x="114" y="150"/>
                  </a:moveTo>
                  <a:lnTo>
                    <a:pt x="114" y="152"/>
                  </a:lnTo>
                  <a:lnTo>
                    <a:pt x="114" y="150"/>
                  </a:lnTo>
                  <a:close/>
                  <a:moveTo>
                    <a:pt x="112" y="150"/>
                  </a:moveTo>
                  <a:lnTo>
                    <a:pt x="109" y="150"/>
                  </a:lnTo>
                  <a:lnTo>
                    <a:pt x="112" y="150"/>
                  </a:lnTo>
                  <a:close/>
                  <a:moveTo>
                    <a:pt x="119" y="150"/>
                  </a:moveTo>
                  <a:lnTo>
                    <a:pt x="121" y="150"/>
                  </a:lnTo>
                  <a:lnTo>
                    <a:pt x="119" y="150"/>
                  </a:lnTo>
                  <a:close/>
                  <a:moveTo>
                    <a:pt x="116" y="150"/>
                  </a:moveTo>
                  <a:lnTo>
                    <a:pt x="116" y="148"/>
                  </a:lnTo>
                  <a:lnTo>
                    <a:pt x="116" y="150"/>
                  </a:lnTo>
                  <a:close/>
                  <a:moveTo>
                    <a:pt x="119" y="148"/>
                  </a:moveTo>
                  <a:lnTo>
                    <a:pt x="119" y="150"/>
                  </a:lnTo>
                  <a:lnTo>
                    <a:pt x="121" y="150"/>
                  </a:lnTo>
                  <a:lnTo>
                    <a:pt x="119" y="150"/>
                  </a:lnTo>
                  <a:lnTo>
                    <a:pt x="119" y="148"/>
                  </a:lnTo>
                  <a:close/>
                  <a:moveTo>
                    <a:pt x="112" y="150"/>
                  </a:moveTo>
                  <a:lnTo>
                    <a:pt x="112" y="148"/>
                  </a:lnTo>
                  <a:lnTo>
                    <a:pt x="112" y="150"/>
                  </a:lnTo>
                  <a:close/>
                  <a:moveTo>
                    <a:pt x="109" y="150"/>
                  </a:moveTo>
                  <a:lnTo>
                    <a:pt x="109" y="148"/>
                  </a:lnTo>
                  <a:lnTo>
                    <a:pt x="109" y="150"/>
                  </a:lnTo>
                  <a:close/>
                  <a:moveTo>
                    <a:pt x="112" y="148"/>
                  </a:moveTo>
                  <a:lnTo>
                    <a:pt x="112" y="150"/>
                  </a:lnTo>
                  <a:lnTo>
                    <a:pt x="112" y="148"/>
                  </a:lnTo>
                  <a:close/>
                  <a:moveTo>
                    <a:pt x="114" y="148"/>
                  </a:moveTo>
                  <a:lnTo>
                    <a:pt x="112" y="148"/>
                  </a:lnTo>
                  <a:lnTo>
                    <a:pt x="114" y="148"/>
                  </a:lnTo>
                  <a:close/>
                  <a:moveTo>
                    <a:pt x="123" y="148"/>
                  </a:moveTo>
                  <a:lnTo>
                    <a:pt x="121" y="148"/>
                  </a:lnTo>
                  <a:lnTo>
                    <a:pt x="123" y="148"/>
                  </a:lnTo>
                  <a:close/>
                  <a:moveTo>
                    <a:pt x="119" y="148"/>
                  </a:moveTo>
                  <a:lnTo>
                    <a:pt x="116" y="148"/>
                  </a:lnTo>
                  <a:lnTo>
                    <a:pt x="119" y="148"/>
                  </a:lnTo>
                  <a:close/>
                  <a:moveTo>
                    <a:pt x="114" y="148"/>
                  </a:moveTo>
                  <a:lnTo>
                    <a:pt x="112" y="148"/>
                  </a:lnTo>
                  <a:lnTo>
                    <a:pt x="114" y="148"/>
                  </a:lnTo>
                  <a:close/>
                  <a:moveTo>
                    <a:pt x="131" y="148"/>
                  </a:moveTo>
                  <a:lnTo>
                    <a:pt x="131" y="145"/>
                  </a:lnTo>
                  <a:lnTo>
                    <a:pt x="131" y="148"/>
                  </a:lnTo>
                  <a:close/>
                  <a:moveTo>
                    <a:pt x="133" y="148"/>
                  </a:moveTo>
                  <a:lnTo>
                    <a:pt x="133" y="145"/>
                  </a:lnTo>
                  <a:lnTo>
                    <a:pt x="133" y="148"/>
                  </a:lnTo>
                  <a:close/>
                  <a:moveTo>
                    <a:pt x="112" y="145"/>
                  </a:moveTo>
                  <a:lnTo>
                    <a:pt x="112" y="148"/>
                  </a:lnTo>
                  <a:lnTo>
                    <a:pt x="112" y="145"/>
                  </a:lnTo>
                  <a:close/>
                  <a:moveTo>
                    <a:pt x="112" y="145"/>
                  </a:moveTo>
                  <a:lnTo>
                    <a:pt x="114" y="145"/>
                  </a:lnTo>
                  <a:lnTo>
                    <a:pt x="112" y="145"/>
                  </a:lnTo>
                  <a:close/>
                  <a:moveTo>
                    <a:pt x="114" y="145"/>
                  </a:moveTo>
                  <a:lnTo>
                    <a:pt x="112" y="145"/>
                  </a:lnTo>
                  <a:lnTo>
                    <a:pt x="114" y="145"/>
                  </a:lnTo>
                  <a:close/>
                  <a:moveTo>
                    <a:pt x="140" y="141"/>
                  </a:moveTo>
                  <a:lnTo>
                    <a:pt x="140" y="138"/>
                  </a:lnTo>
                  <a:lnTo>
                    <a:pt x="140" y="141"/>
                  </a:lnTo>
                  <a:close/>
                  <a:moveTo>
                    <a:pt x="140" y="138"/>
                  </a:moveTo>
                  <a:lnTo>
                    <a:pt x="140" y="141"/>
                  </a:lnTo>
                  <a:lnTo>
                    <a:pt x="140" y="138"/>
                  </a:lnTo>
                  <a:close/>
                  <a:moveTo>
                    <a:pt x="145" y="131"/>
                  </a:moveTo>
                  <a:lnTo>
                    <a:pt x="145" y="133"/>
                  </a:lnTo>
                  <a:lnTo>
                    <a:pt x="145" y="131"/>
                  </a:lnTo>
                  <a:close/>
                  <a:moveTo>
                    <a:pt x="145" y="129"/>
                  </a:moveTo>
                  <a:lnTo>
                    <a:pt x="145" y="131"/>
                  </a:lnTo>
                  <a:lnTo>
                    <a:pt x="145" y="129"/>
                  </a:lnTo>
                  <a:close/>
                  <a:moveTo>
                    <a:pt x="142" y="131"/>
                  </a:moveTo>
                  <a:lnTo>
                    <a:pt x="142" y="129"/>
                  </a:lnTo>
                  <a:lnTo>
                    <a:pt x="142" y="131"/>
                  </a:lnTo>
                  <a:close/>
                  <a:moveTo>
                    <a:pt x="138" y="126"/>
                  </a:moveTo>
                  <a:lnTo>
                    <a:pt x="138" y="124"/>
                  </a:lnTo>
                  <a:lnTo>
                    <a:pt x="138" y="126"/>
                  </a:lnTo>
                  <a:close/>
                  <a:moveTo>
                    <a:pt x="169" y="107"/>
                  </a:moveTo>
                  <a:lnTo>
                    <a:pt x="169" y="105"/>
                  </a:lnTo>
                  <a:lnTo>
                    <a:pt x="169" y="107"/>
                  </a:lnTo>
                  <a:close/>
                  <a:moveTo>
                    <a:pt x="169" y="105"/>
                  </a:moveTo>
                  <a:lnTo>
                    <a:pt x="166" y="105"/>
                  </a:lnTo>
                  <a:lnTo>
                    <a:pt x="169" y="105"/>
                  </a:lnTo>
                  <a:close/>
                  <a:moveTo>
                    <a:pt x="169" y="105"/>
                  </a:moveTo>
                  <a:lnTo>
                    <a:pt x="166" y="105"/>
                  </a:lnTo>
                  <a:lnTo>
                    <a:pt x="169" y="105"/>
                  </a:lnTo>
                  <a:close/>
                  <a:moveTo>
                    <a:pt x="169" y="103"/>
                  </a:moveTo>
                  <a:lnTo>
                    <a:pt x="166" y="103"/>
                  </a:lnTo>
                  <a:lnTo>
                    <a:pt x="169" y="103"/>
                  </a:lnTo>
                  <a:close/>
                  <a:moveTo>
                    <a:pt x="218" y="98"/>
                  </a:moveTo>
                  <a:lnTo>
                    <a:pt x="221" y="98"/>
                  </a:lnTo>
                  <a:lnTo>
                    <a:pt x="218" y="98"/>
                  </a:lnTo>
                  <a:close/>
                  <a:moveTo>
                    <a:pt x="216" y="95"/>
                  </a:moveTo>
                  <a:lnTo>
                    <a:pt x="218" y="95"/>
                  </a:lnTo>
                  <a:lnTo>
                    <a:pt x="216" y="95"/>
                  </a:lnTo>
                  <a:close/>
                  <a:moveTo>
                    <a:pt x="214" y="91"/>
                  </a:moveTo>
                  <a:lnTo>
                    <a:pt x="211" y="91"/>
                  </a:lnTo>
                  <a:lnTo>
                    <a:pt x="214" y="91"/>
                  </a:lnTo>
                  <a:close/>
                  <a:moveTo>
                    <a:pt x="211" y="91"/>
                  </a:moveTo>
                  <a:lnTo>
                    <a:pt x="211" y="88"/>
                  </a:lnTo>
                  <a:lnTo>
                    <a:pt x="211" y="91"/>
                  </a:lnTo>
                  <a:close/>
                  <a:moveTo>
                    <a:pt x="197" y="86"/>
                  </a:moveTo>
                  <a:lnTo>
                    <a:pt x="195" y="86"/>
                  </a:lnTo>
                  <a:lnTo>
                    <a:pt x="197" y="86"/>
                  </a:lnTo>
                  <a:close/>
                  <a:moveTo>
                    <a:pt x="199" y="84"/>
                  </a:moveTo>
                  <a:lnTo>
                    <a:pt x="197" y="84"/>
                  </a:lnTo>
                  <a:lnTo>
                    <a:pt x="199" y="84"/>
                  </a:lnTo>
                  <a:close/>
                  <a:moveTo>
                    <a:pt x="197" y="84"/>
                  </a:moveTo>
                  <a:lnTo>
                    <a:pt x="195" y="84"/>
                  </a:lnTo>
                  <a:lnTo>
                    <a:pt x="197" y="84"/>
                  </a:lnTo>
                  <a:close/>
                  <a:moveTo>
                    <a:pt x="190" y="79"/>
                  </a:moveTo>
                  <a:lnTo>
                    <a:pt x="188" y="79"/>
                  </a:lnTo>
                  <a:lnTo>
                    <a:pt x="190" y="79"/>
                  </a:lnTo>
                  <a:close/>
                  <a:moveTo>
                    <a:pt x="188" y="76"/>
                  </a:moveTo>
                  <a:lnTo>
                    <a:pt x="185" y="76"/>
                  </a:lnTo>
                  <a:lnTo>
                    <a:pt x="188" y="76"/>
                  </a:lnTo>
                  <a:close/>
                  <a:moveTo>
                    <a:pt x="188" y="76"/>
                  </a:moveTo>
                  <a:lnTo>
                    <a:pt x="188" y="74"/>
                  </a:lnTo>
                  <a:lnTo>
                    <a:pt x="188" y="76"/>
                  </a:lnTo>
                  <a:close/>
                  <a:moveTo>
                    <a:pt x="199" y="74"/>
                  </a:moveTo>
                  <a:lnTo>
                    <a:pt x="197" y="74"/>
                  </a:lnTo>
                  <a:lnTo>
                    <a:pt x="199" y="74"/>
                  </a:lnTo>
                  <a:close/>
                  <a:moveTo>
                    <a:pt x="195" y="74"/>
                  </a:moveTo>
                  <a:lnTo>
                    <a:pt x="195" y="72"/>
                  </a:lnTo>
                  <a:lnTo>
                    <a:pt x="195" y="74"/>
                  </a:lnTo>
                  <a:close/>
                  <a:moveTo>
                    <a:pt x="197" y="72"/>
                  </a:moveTo>
                  <a:lnTo>
                    <a:pt x="197" y="69"/>
                  </a:lnTo>
                  <a:lnTo>
                    <a:pt x="197" y="72"/>
                  </a:lnTo>
                  <a:close/>
                  <a:moveTo>
                    <a:pt x="197" y="69"/>
                  </a:moveTo>
                  <a:lnTo>
                    <a:pt x="199" y="69"/>
                  </a:lnTo>
                  <a:lnTo>
                    <a:pt x="197" y="69"/>
                  </a:lnTo>
                  <a:close/>
                  <a:moveTo>
                    <a:pt x="188" y="67"/>
                  </a:moveTo>
                  <a:lnTo>
                    <a:pt x="185" y="67"/>
                  </a:lnTo>
                  <a:lnTo>
                    <a:pt x="188" y="67"/>
                  </a:lnTo>
                  <a:close/>
                  <a:moveTo>
                    <a:pt x="197" y="67"/>
                  </a:moveTo>
                  <a:lnTo>
                    <a:pt x="195" y="67"/>
                  </a:lnTo>
                  <a:lnTo>
                    <a:pt x="197" y="67"/>
                  </a:lnTo>
                  <a:close/>
                  <a:moveTo>
                    <a:pt x="197" y="67"/>
                  </a:moveTo>
                  <a:lnTo>
                    <a:pt x="195" y="67"/>
                  </a:lnTo>
                  <a:lnTo>
                    <a:pt x="197" y="67"/>
                  </a:lnTo>
                  <a:close/>
                  <a:moveTo>
                    <a:pt x="197" y="65"/>
                  </a:moveTo>
                  <a:lnTo>
                    <a:pt x="197" y="67"/>
                  </a:lnTo>
                  <a:lnTo>
                    <a:pt x="195" y="65"/>
                  </a:lnTo>
                  <a:lnTo>
                    <a:pt x="197" y="65"/>
                  </a:lnTo>
                  <a:close/>
                  <a:moveTo>
                    <a:pt x="188" y="65"/>
                  </a:moveTo>
                  <a:lnTo>
                    <a:pt x="188" y="62"/>
                  </a:lnTo>
                  <a:lnTo>
                    <a:pt x="188" y="65"/>
                  </a:lnTo>
                  <a:close/>
                  <a:moveTo>
                    <a:pt x="197" y="65"/>
                  </a:moveTo>
                  <a:lnTo>
                    <a:pt x="197" y="62"/>
                  </a:lnTo>
                  <a:lnTo>
                    <a:pt x="197" y="65"/>
                  </a:lnTo>
                  <a:close/>
                  <a:moveTo>
                    <a:pt x="195" y="62"/>
                  </a:moveTo>
                  <a:lnTo>
                    <a:pt x="192" y="62"/>
                  </a:lnTo>
                  <a:lnTo>
                    <a:pt x="195" y="62"/>
                  </a:lnTo>
                  <a:close/>
                  <a:moveTo>
                    <a:pt x="199" y="62"/>
                  </a:moveTo>
                  <a:lnTo>
                    <a:pt x="197" y="62"/>
                  </a:lnTo>
                  <a:lnTo>
                    <a:pt x="199" y="62"/>
                  </a:lnTo>
                  <a:close/>
                  <a:moveTo>
                    <a:pt x="183" y="60"/>
                  </a:moveTo>
                  <a:lnTo>
                    <a:pt x="183" y="57"/>
                  </a:lnTo>
                  <a:lnTo>
                    <a:pt x="183" y="60"/>
                  </a:lnTo>
                  <a:close/>
                  <a:moveTo>
                    <a:pt x="197" y="57"/>
                  </a:moveTo>
                  <a:lnTo>
                    <a:pt x="197" y="60"/>
                  </a:lnTo>
                  <a:lnTo>
                    <a:pt x="197" y="57"/>
                  </a:lnTo>
                  <a:close/>
                  <a:moveTo>
                    <a:pt x="183" y="55"/>
                  </a:moveTo>
                  <a:lnTo>
                    <a:pt x="183" y="57"/>
                  </a:lnTo>
                  <a:lnTo>
                    <a:pt x="183" y="55"/>
                  </a:lnTo>
                  <a:close/>
                  <a:moveTo>
                    <a:pt x="188" y="53"/>
                  </a:moveTo>
                  <a:lnTo>
                    <a:pt x="185" y="53"/>
                  </a:lnTo>
                  <a:lnTo>
                    <a:pt x="188" y="53"/>
                  </a:lnTo>
                  <a:close/>
                  <a:moveTo>
                    <a:pt x="161" y="53"/>
                  </a:moveTo>
                  <a:lnTo>
                    <a:pt x="159" y="53"/>
                  </a:lnTo>
                  <a:lnTo>
                    <a:pt x="161" y="53"/>
                  </a:lnTo>
                  <a:close/>
                  <a:moveTo>
                    <a:pt x="161" y="53"/>
                  </a:moveTo>
                  <a:lnTo>
                    <a:pt x="159" y="53"/>
                  </a:lnTo>
                  <a:lnTo>
                    <a:pt x="161" y="53"/>
                  </a:lnTo>
                  <a:close/>
                  <a:moveTo>
                    <a:pt x="173" y="50"/>
                  </a:moveTo>
                  <a:lnTo>
                    <a:pt x="171" y="50"/>
                  </a:lnTo>
                  <a:lnTo>
                    <a:pt x="173" y="50"/>
                  </a:lnTo>
                  <a:close/>
                  <a:moveTo>
                    <a:pt x="180" y="50"/>
                  </a:moveTo>
                  <a:lnTo>
                    <a:pt x="178" y="50"/>
                  </a:lnTo>
                  <a:lnTo>
                    <a:pt x="180" y="50"/>
                  </a:lnTo>
                  <a:close/>
                  <a:moveTo>
                    <a:pt x="176" y="50"/>
                  </a:moveTo>
                  <a:lnTo>
                    <a:pt x="176" y="48"/>
                  </a:lnTo>
                  <a:lnTo>
                    <a:pt x="176" y="50"/>
                  </a:lnTo>
                  <a:close/>
                  <a:moveTo>
                    <a:pt x="164" y="48"/>
                  </a:moveTo>
                  <a:lnTo>
                    <a:pt x="161" y="48"/>
                  </a:lnTo>
                  <a:lnTo>
                    <a:pt x="164" y="48"/>
                  </a:lnTo>
                  <a:close/>
                  <a:moveTo>
                    <a:pt x="166" y="48"/>
                  </a:moveTo>
                  <a:lnTo>
                    <a:pt x="164" y="48"/>
                  </a:lnTo>
                  <a:lnTo>
                    <a:pt x="166" y="48"/>
                  </a:lnTo>
                  <a:close/>
                  <a:moveTo>
                    <a:pt x="161" y="48"/>
                  </a:moveTo>
                  <a:lnTo>
                    <a:pt x="159" y="48"/>
                  </a:lnTo>
                  <a:lnTo>
                    <a:pt x="161" y="48"/>
                  </a:lnTo>
                  <a:close/>
                  <a:moveTo>
                    <a:pt x="164" y="48"/>
                  </a:moveTo>
                  <a:lnTo>
                    <a:pt x="164" y="46"/>
                  </a:lnTo>
                  <a:lnTo>
                    <a:pt x="164" y="48"/>
                  </a:lnTo>
                  <a:close/>
                  <a:moveTo>
                    <a:pt x="173" y="48"/>
                  </a:moveTo>
                  <a:lnTo>
                    <a:pt x="173" y="46"/>
                  </a:lnTo>
                  <a:lnTo>
                    <a:pt x="173" y="48"/>
                  </a:lnTo>
                  <a:close/>
                  <a:moveTo>
                    <a:pt x="171" y="46"/>
                  </a:moveTo>
                  <a:lnTo>
                    <a:pt x="169" y="46"/>
                  </a:lnTo>
                  <a:lnTo>
                    <a:pt x="171" y="46"/>
                  </a:lnTo>
                  <a:close/>
                  <a:moveTo>
                    <a:pt x="159" y="46"/>
                  </a:moveTo>
                  <a:lnTo>
                    <a:pt x="161" y="46"/>
                  </a:lnTo>
                  <a:lnTo>
                    <a:pt x="159" y="46"/>
                  </a:lnTo>
                  <a:close/>
                  <a:moveTo>
                    <a:pt x="166" y="43"/>
                  </a:moveTo>
                  <a:lnTo>
                    <a:pt x="166" y="46"/>
                  </a:lnTo>
                  <a:lnTo>
                    <a:pt x="166" y="43"/>
                  </a:lnTo>
                  <a:close/>
                  <a:moveTo>
                    <a:pt x="169" y="43"/>
                  </a:moveTo>
                  <a:lnTo>
                    <a:pt x="169" y="46"/>
                  </a:lnTo>
                  <a:lnTo>
                    <a:pt x="169" y="43"/>
                  </a:lnTo>
                  <a:close/>
                  <a:moveTo>
                    <a:pt x="164" y="43"/>
                  </a:moveTo>
                  <a:lnTo>
                    <a:pt x="161" y="43"/>
                  </a:lnTo>
                  <a:lnTo>
                    <a:pt x="164" y="43"/>
                  </a:lnTo>
                  <a:close/>
                  <a:moveTo>
                    <a:pt x="166" y="43"/>
                  </a:moveTo>
                  <a:lnTo>
                    <a:pt x="169" y="43"/>
                  </a:lnTo>
                  <a:lnTo>
                    <a:pt x="166" y="43"/>
                  </a:lnTo>
                  <a:lnTo>
                    <a:pt x="169" y="43"/>
                  </a:lnTo>
                  <a:lnTo>
                    <a:pt x="166" y="43"/>
                  </a:lnTo>
                  <a:close/>
                  <a:moveTo>
                    <a:pt x="164" y="43"/>
                  </a:moveTo>
                  <a:lnTo>
                    <a:pt x="161" y="43"/>
                  </a:lnTo>
                  <a:lnTo>
                    <a:pt x="164" y="43"/>
                  </a:lnTo>
                  <a:close/>
                  <a:moveTo>
                    <a:pt x="164" y="43"/>
                  </a:moveTo>
                  <a:lnTo>
                    <a:pt x="161" y="43"/>
                  </a:lnTo>
                  <a:lnTo>
                    <a:pt x="164" y="43"/>
                  </a:lnTo>
                  <a:close/>
                  <a:moveTo>
                    <a:pt x="164" y="41"/>
                  </a:moveTo>
                  <a:lnTo>
                    <a:pt x="161" y="41"/>
                  </a:lnTo>
                  <a:lnTo>
                    <a:pt x="164" y="41"/>
                  </a:lnTo>
                  <a:close/>
                  <a:moveTo>
                    <a:pt x="159" y="36"/>
                  </a:moveTo>
                  <a:lnTo>
                    <a:pt x="159" y="34"/>
                  </a:lnTo>
                  <a:lnTo>
                    <a:pt x="159" y="36"/>
                  </a:lnTo>
                  <a:close/>
                  <a:moveTo>
                    <a:pt x="154" y="26"/>
                  </a:moveTo>
                  <a:lnTo>
                    <a:pt x="154" y="29"/>
                  </a:lnTo>
                  <a:lnTo>
                    <a:pt x="154" y="26"/>
                  </a:lnTo>
                  <a:close/>
                  <a:moveTo>
                    <a:pt x="145" y="17"/>
                  </a:moveTo>
                  <a:lnTo>
                    <a:pt x="145" y="15"/>
                  </a:lnTo>
                  <a:lnTo>
                    <a:pt x="145" y="17"/>
                  </a:lnTo>
                  <a:close/>
                  <a:moveTo>
                    <a:pt x="145" y="10"/>
                  </a:moveTo>
                  <a:lnTo>
                    <a:pt x="145" y="12"/>
                  </a:lnTo>
                  <a:lnTo>
                    <a:pt x="145" y="10"/>
                  </a:lnTo>
                  <a:close/>
                  <a:moveTo>
                    <a:pt x="145" y="3"/>
                  </a:moveTo>
                  <a:lnTo>
                    <a:pt x="145" y="0"/>
                  </a:lnTo>
                  <a:lnTo>
                    <a:pt x="145"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39" name="Freeform 52263"/>
            <p:cNvSpPr>
              <a:spLocks/>
            </p:cNvSpPr>
            <p:nvPr/>
          </p:nvSpPr>
          <p:spPr bwMode="auto">
            <a:xfrm>
              <a:off x="2714622" y="4332301"/>
              <a:ext cx="33338" cy="36513"/>
            </a:xfrm>
            <a:custGeom>
              <a:avLst/>
              <a:gdLst>
                <a:gd name="T0" fmla="*/ 10 w 21"/>
                <a:gd name="T1" fmla="*/ 2 h 23"/>
                <a:gd name="T2" fmla="*/ 7 w 21"/>
                <a:gd name="T3" fmla="*/ 4 h 23"/>
                <a:gd name="T4" fmla="*/ 10 w 21"/>
                <a:gd name="T5" fmla="*/ 7 h 23"/>
                <a:gd name="T6" fmla="*/ 12 w 21"/>
                <a:gd name="T7" fmla="*/ 4 h 23"/>
                <a:gd name="T8" fmla="*/ 17 w 21"/>
                <a:gd name="T9" fmla="*/ 4 h 23"/>
                <a:gd name="T10" fmla="*/ 17 w 21"/>
                <a:gd name="T11" fmla="*/ 7 h 23"/>
                <a:gd name="T12" fmla="*/ 14 w 21"/>
                <a:gd name="T13" fmla="*/ 9 h 23"/>
                <a:gd name="T14" fmla="*/ 14 w 21"/>
                <a:gd name="T15" fmla="*/ 14 h 23"/>
                <a:gd name="T16" fmla="*/ 19 w 21"/>
                <a:gd name="T17" fmla="*/ 14 h 23"/>
                <a:gd name="T18" fmla="*/ 21 w 21"/>
                <a:gd name="T19" fmla="*/ 16 h 23"/>
                <a:gd name="T20" fmla="*/ 19 w 21"/>
                <a:gd name="T21" fmla="*/ 19 h 23"/>
                <a:gd name="T22" fmla="*/ 19 w 21"/>
                <a:gd name="T23" fmla="*/ 19 h 23"/>
                <a:gd name="T24" fmla="*/ 19 w 21"/>
                <a:gd name="T25" fmla="*/ 19 h 23"/>
                <a:gd name="T26" fmla="*/ 19 w 21"/>
                <a:gd name="T27" fmla="*/ 16 h 23"/>
                <a:gd name="T28" fmla="*/ 17 w 21"/>
                <a:gd name="T29" fmla="*/ 19 h 23"/>
                <a:gd name="T30" fmla="*/ 14 w 21"/>
                <a:gd name="T31" fmla="*/ 16 h 23"/>
                <a:gd name="T32" fmla="*/ 12 w 21"/>
                <a:gd name="T33" fmla="*/ 19 h 23"/>
                <a:gd name="T34" fmla="*/ 10 w 21"/>
                <a:gd name="T35" fmla="*/ 19 h 23"/>
                <a:gd name="T36" fmla="*/ 10 w 21"/>
                <a:gd name="T37" fmla="*/ 19 h 23"/>
                <a:gd name="T38" fmla="*/ 7 w 21"/>
                <a:gd name="T39" fmla="*/ 21 h 23"/>
                <a:gd name="T40" fmla="*/ 7 w 21"/>
                <a:gd name="T41" fmla="*/ 21 h 23"/>
                <a:gd name="T42" fmla="*/ 10 w 21"/>
                <a:gd name="T43" fmla="*/ 23 h 23"/>
                <a:gd name="T44" fmla="*/ 5 w 21"/>
                <a:gd name="T45" fmla="*/ 23 h 23"/>
                <a:gd name="T46" fmla="*/ 7 w 21"/>
                <a:gd name="T47" fmla="*/ 21 h 23"/>
                <a:gd name="T48" fmla="*/ 7 w 21"/>
                <a:gd name="T49" fmla="*/ 21 h 23"/>
                <a:gd name="T50" fmla="*/ 2 w 21"/>
                <a:gd name="T51" fmla="*/ 21 h 23"/>
                <a:gd name="T52" fmla="*/ 0 w 21"/>
                <a:gd name="T53" fmla="*/ 19 h 23"/>
                <a:gd name="T54" fmla="*/ 0 w 21"/>
                <a:gd name="T55" fmla="*/ 19 h 23"/>
                <a:gd name="T56" fmla="*/ 0 w 21"/>
                <a:gd name="T57" fmla="*/ 19 h 23"/>
                <a:gd name="T58" fmla="*/ 2 w 21"/>
                <a:gd name="T59" fmla="*/ 16 h 23"/>
                <a:gd name="T60" fmla="*/ 5 w 21"/>
                <a:gd name="T61" fmla="*/ 14 h 23"/>
                <a:gd name="T62" fmla="*/ 2 w 21"/>
                <a:gd name="T63" fmla="*/ 12 h 23"/>
                <a:gd name="T64" fmla="*/ 0 w 21"/>
                <a:gd name="T65" fmla="*/ 14 h 23"/>
                <a:gd name="T66" fmla="*/ 2 w 21"/>
                <a:gd name="T67" fmla="*/ 12 h 23"/>
                <a:gd name="T68" fmla="*/ 5 w 21"/>
                <a:gd name="T69" fmla="*/ 9 h 23"/>
                <a:gd name="T70" fmla="*/ 0 w 21"/>
                <a:gd name="T71" fmla="*/ 9 h 23"/>
                <a:gd name="T72" fmla="*/ 2 w 21"/>
                <a:gd name="T73" fmla="*/ 7 h 23"/>
                <a:gd name="T74" fmla="*/ 5 w 21"/>
                <a:gd name="T75" fmla="*/ 9 h 23"/>
                <a:gd name="T76" fmla="*/ 7 w 21"/>
                <a:gd name="T77" fmla="*/ 7 h 23"/>
                <a:gd name="T78" fmla="*/ 7 w 21"/>
                <a:gd name="T79" fmla="*/ 7 h 23"/>
                <a:gd name="T80" fmla="*/ 10 w 21"/>
                <a:gd name="T81" fmla="*/ 9 h 23"/>
                <a:gd name="T82" fmla="*/ 10 w 21"/>
                <a:gd name="T83" fmla="*/ 9 h 23"/>
                <a:gd name="T84" fmla="*/ 12 w 21"/>
                <a:gd name="T85" fmla="*/ 7 h 23"/>
                <a:gd name="T86" fmla="*/ 10 w 21"/>
                <a:gd name="T87" fmla="*/ 4 h 23"/>
                <a:gd name="T88" fmla="*/ 5 w 21"/>
                <a:gd name="T89" fmla="*/ 4 h 23"/>
                <a:gd name="T90" fmla="*/ 2 w 21"/>
                <a:gd name="T91" fmla="*/ 7 h 23"/>
                <a:gd name="T92" fmla="*/ 5 w 21"/>
                <a:gd name="T93" fmla="*/ 4 h 23"/>
                <a:gd name="T94" fmla="*/ 2 w 21"/>
                <a:gd name="T95" fmla="*/ 2 h 23"/>
                <a:gd name="T96" fmla="*/ 2 w 21"/>
                <a:gd name="T97" fmla="*/ 7 h 23"/>
                <a:gd name="T98" fmla="*/ 0 w 21"/>
                <a:gd name="T99" fmla="*/ 4 h 23"/>
                <a:gd name="T100" fmla="*/ 2 w 21"/>
                <a:gd name="T101" fmla="*/ 2 h 23"/>
                <a:gd name="T102" fmla="*/ 5 w 21"/>
                <a:gd name="T103" fmla="*/ 0 h 23"/>
                <a:gd name="T104" fmla="*/ 10 w 21"/>
                <a:gd name="T10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 h="23">
                  <a:moveTo>
                    <a:pt x="10" y="0"/>
                  </a:moveTo>
                  <a:lnTo>
                    <a:pt x="10" y="2"/>
                  </a:lnTo>
                  <a:lnTo>
                    <a:pt x="7" y="2"/>
                  </a:lnTo>
                  <a:lnTo>
                    <a:pt x="7" y="4"/>
                  </a:lnTo>
                  <a:lnTo>
                    <a:pt x="10" y="4"/>
                  </a:lnTo>
                  <a:lnTo>
                    <a:pt x="10" y="7"/>
                  </a:lnTo>
                  <a:lnTo>
                    <a:pt x="12" y="7"/>
                  </a:lnTo>
                  <a:lnTo>
                    <a:pt x="12" y="4"/>
                  </a:lnTo>
                  <a:lnTo>
                    <a:pt x="14" y="4"/>
                  </a:lnTo>
                  <a:lnTo>
                    <a:pt x="17" y="4"/>
                  </a:lnTo>
                  <a:lnTo>
                    <a:pt x="19" y="7"/>
                  </a:lnTo>
                  <a:lnTo>
                    <a:pt x="17" y="7"/>
                  </a:lnTo>
                  <a:lnTo>
                    <a:pt x="17" y="9"/>
                  </a:lnTo>
                  <a:lnTo>
                    <a:pt x="14" y="9"/>
                  </a:lnTo>
                  <a:lnTo>
                    <a:pt x="14" y="12"/>
                  </a:lnTo>
                  <a:lnTo>
                    <a:pt x="14" y="14"/>
                  </a:lnTo>
                  <a:lnTo>
                    <a:pt x="17" y="14"/>
                  </a:lnTo>
                  <a:lnTo>
                    <a:pt x="19" y="14"/>
                  </a:lnTo>
                  <a:lnTo>
                    <a:pt x="19" y="16"/>
                  </a:lnTo>
                  <a:lnTo>
                    <a:pt x="21" y="16"/>
                  </a:lnTo>
                  <a:lnTo>
                    <a:pt x="19" y="16"/>
                  </a:lnTo>
                  <a:lnTo>
                    <a:pt x="19" y="19"/>
                  </a:lnTo>
                  <a:lnTo>
                    <a:pt x="19" y="21"/>
                  </a:lnTo>
                  <a:lnTo>
                    <a:pt x="19" y="19"/>
                  </a:lnTo>
                  <a:lnTo>
                    <a:pt x="17" y="19"/>
                  </a:lnTo>
                  <a:lnTo>
                    <a:pt x="19" y="19"/>
                  </a:lnTo>
                  <a:lnTo>
                    <a:pt x="17" y="19"/>
                  </a:lnTo>
                  <a:lnTo>
                    <a:pt x="19" y="16"/>
                  </a:lnTo>
                  <a:lnTo>
                    <a:pt x="17" y="16"/>
                  </a:lnTo>
                  <a:lnTo>
                    <a:pt x="17" y="19"/>
                  </a:lnTo>
                  <a:lnTo>
                    <a:pt x="17" y="16"/>
                  </a:lnTo>
                  <a:lnTo>
                    <a:pt x="14" y="16"/>
                  </a:lnTo>
                  <a:lnTo>
                    <a:pt x="12" y="16"/>
                  </a:lnTo>
                  <a:lnTo>
                    <a:pt x="12" y="19"/>
                  </a:lnTo>
                  <a:lnTo>
                    <a:pt x="10" y="16"/>
                  </a:lnTo>
                  <a:lnTo>
                    <a:pt x="10" y="19"/>
                  </a:lnTo>
                  <a:lnTo>
                    <a:pt x="12" y="19"/>
                  </a:lnTo>
                  <a:lnTo>
                    <a:pt x="10" y="19"/>
                  </a:lnTo>
                  <a:lnTo>
                    <a:pt x="10" y="21"/>
                  </a:lnTo>
                  <a:lnTo>
                    <a:pt x="7" y="21"/>
                  </a:lnTo>
                  <a:lnTo>
                    <a:pt x="10" y="21"/>
                  </a:lnTo>
                  <a:lnTo>
                    <a:pt x="7" y="21"/>
                  </a:lnTo>
                  <a:lnTo>
                    <a:pt x="10" y="21"/>
                  </a:lnTo>
                  <a:lnTo>
                    <a:pt x="10" y="23"/>
                  </a:lnTo>
                  <a:lnTo>
                    <a:pt x="7" y="23"/>
                  </a:lnTo>
                  <a:lnTo>
                    <a:pt x="5" y="23"/>
                  </a:lnTo>
                  <a:lnTo>
                    <a:pt x="5" y="21"/>
                  </a:lnTo>
                  <a:lnTo>
                    <a:pt x="7" y="21"/>
                  </a:lnTo>
                  <a:lnTo>
                    <a:pt x="5" y="21"/>
                  </a:lnTo>
                  <a:lnTo>
                    <a:pt x="7" y="21"/>
                  </a:lnTo>
                  <a:lnTo>
                    <a:pt x="5" y="21"/>
                  </a:lnTo>
                  <a:lnTo>
                    <a:pt x="2" y="21"/>
                  </a:lnTo>
                  <a:lnTo>
                    <a:pt x="2" y="19"/>
                  </a:lnTo>
                  <a:lnTo>
                    <a:pt x="0" y="19"/>
                  </a:lnTo>
                  <a:lnTo>
                    <a:pt x="0" y="21"/>
                  </a:lnTo>
                  <a:lnTo>
                    <a:pt x="0" y="19"/>
                  </a:lnTo>
                  <a:lnTo>
                    <a:pt x="2" y="19"/>
                  </a:lnTo>
                  <a:lnTo>
                    <a:pt x="0" y="19"/>
                  </a:lnTo>
                  <a:lnTo>
                    <a:pt x="0" y="16"/>
                  </a:lnTo>
                  <a:lnTo>
                    <a:pt x="2" y="16"/>
                  </a:lnTo>
                  <a:lnTo>
                    <a:pt x="5" y="16"/>
                  </a:lnTo>
                  <a:lnTo>
                    <a:pt x="5" y="14"/>
                  </a:lnTo>
                  <a:lnTo>
                    <a:pt x="2" y="14"/>
                  </a:lnTo>
                  <a:lnTo>
                    <a:pt x="2" y="12"/>
                  </a:lnTo>
                  <a:lnTo>
                    <a:pt x="2" y="14"/>
                  </a:lnTo>
                  <a:lnTo>
                    <a:pt x="0" y="14"/>
                  </a:lnTo>
                  <a:lnTo>
                    <a:pt x="0" y="12"/>
                  </a:lnTo>
                  <a:lnTo>
                    <a:pt x="2" y="12"/>
                  </a:lnTo>
                  <a:lnTo>
                    <a:pt x="5" y="12"/>
                  </a:lnTo>
                  <a:lnTo>
                    <a:pt x="5" y="9"/>
                  </a:lnTo>
                  <a:lnTo>
                    <a:pt x="2" y="9"/>
                  </a:lnTo>
                  <a:lnTo>
                    <a:pt x="0" y="9"/>
                  </a:lnTo>
                  <a:lnTo>
                    <a:pt x="0" y="7"/>
                  </a:lnTo>
                  <a:lnTo>
                    <a:pt x="2" y="7"/>
                  </a:lnTo>
                  <a:lnTo>
                    <a:pt x="5" y="7"/>
                  </a:lnTo>
                  <a:lnTo>
                    <a:pt x="5" y="9"/>
                  </a:lnTo>
                  <a:lnTo>
                    <a:pt x="5" y="7"/>
                  </a:lnTo>
                  <a:lnTo>
                    <a:pt x="7" y="7"/>
                  </a:lnTo>
                  <a:lnTo>
                    <a:pt x="7" y="4"/>
                  </a:lnTo>
                  <a:lnTo>
                    <a:pt x="7" y="7"/>
                  </a:lnTo>
                  <a:lnTo>
                    <a:pt x="10" y="7"/>
                  </a:lnTo>
                  <a:lnTo>
                    <a:pt x="10" y="9"/>
                  </a:lnTo>
                  <a:lnTo>
                    <a:pt x="10" y="12"/>
                  </a:lnTo>
                  <a:lnTo>
                    <a:pt x="10" y="9"/>
                  </a:lnTo>
                  <a:lnTo>
                    <a:pt x="12" y="9"/>
                  </a:lnTo>
                  <a:lnTo>
                    <a:pt x="12" y="7"/>
                  </a:lnTo>
                  <a:lnTo>
                    <a:pt x="10" y="7"/>
                  </a:lnTo>
                  <a:lnTo>
                    <a:pt x="10" y="4"/>
                  </a:lnTo>
                  <a:lnTo>
                    <a:pt x="7" y="4"/>
                  </a:lnTo>
                  <a:lnTo>
                    <a:pt x="5" y="4"/>
                  </a:lnTo>
                  <a:lnTo>
                    <a:pt x="5" y="7"/>
                  </a:lnTo>
                  <a:lnTo>
                    <a:pt x="2" y="7"/>
                  </a:lnTo>
                  <a:lnTo>
                    <a:pt x="5" y="7"/>
                  </a:lnTo>
                  <a:lnTo>
                    <a:pt x="5" y="4"/>
                  </a:lnTo>
                  <a:lnTo>
                    <a:pt x="5" y="2"/>
                  </a:lnTo>
                  <a:lnTo>
                    <a:pt x="2" y="2"/>
                  </a:lnTo>
                  <a:lnTo>
                    <a:pt x="2" y="4"/>
                  </a:lnTo>
                  <a:lnTo>
                    <a:pt x="2" y="7"/>
                  </a:lnTo>
                  <a:lnTo>
                    <a:pt x="0" y="7"/>
                  </a:lnTo>
                  <a:lnTo>
                    <a:pt x="0" y="4"/>
                  </a:lnTo>
                  <a:lnTo>
                    <a:pt x="2" y="4"/>
                  </a:lnTo>
                  <a:lnTo>
                    <a:pt x="2" y="2"/>
                  </a:lnTo>
                  <a:lnTo>
                    <a:pt x="5" y="2"/>
                  </a:lnTo>
                  <a:lnTo>
                    <a:pt x="5" y="0"/>
                  </a:lnTo>
                  <a:lnTo>
                    <a:pt x="7" y="0"/>
                  </a:lnTo>
                  <a:lnTo>
                    <a:pt x="1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0" name="Freeform 52264"/>
            <p:cNvSpPr>
              <a:spLocks noEditPoints="1"/>
            </p:cNvSpPr>
            <p:nvPr/>
          </p:nvSpPr>
          <p:spPr bwMode="auto">
            <a:xfrm>
              <a:off x="2333623" y="4302140"/>
              <a:ext cx="482600" cy="606428"/>
            </a:xfrm>
            <a:custGeom>
              <a:avLst/>
              <a:gdLst>
                <a:gd name="T0" fmla="*/ 221 w 304"/>
                <a:gd name="T1" fmla="*/ 33 h 382"/>
                <a:gd name="T2" fmla="*/ 226 w 304"/>
                <a:gd name="T3" fmla="*/ 33 h 382"/>
                <a:gd name="T4" fmla="*/ 240 w 304"/>
                <a:gd name="T5" fmla="*/ 38 h 382"/>
                <a:gd name="T6" fmla="*/ 261 w 304"/>
                <a:gd name="T7" fmla="*/ 50 h 382"/>
                <a:gd name="T8" fmla="*/ 264 w 304"/>
                <a:gd name="T9" fmla="*/ 54 h 382"/>
                <a:gd name="T10" fmla="*/ 264 w 304"/>
                <a:gd name="T11" fmla="*/ 64 h 382"/>
                <a:gd name="T12" fmla="*/ 280 w 304"/>
                <a:gd name="T13" fmla="*/ 97 h 382"/>
                <a:gd name="T14" fmla="*/ 287 w 304"/>
                <a:gd name="T15" fmla="*/ 133 h 382"/>
                <a:gd name="T16" fmla="*/ 287 w 304"/>
                <a:gd name="T17" fmla="*/ 164 h 382"/>
                <a:gd name="T18" fmla="*/ 302 w 304"/>
                <a:gd name="T19" fmla="*/ 185 h 382"/>
                <a:gd name="T20" fmla="*/ 287 w 304"/>
                <a:gd name="T21" fmla="*/ 204 h 382"/>
                <a:gd name="T22" fmla="*/ 271 w 304"/>
                <a:gd name="T23" fmla="*/ 211 h 382"/>
                <a:gd name="T24" fmla="*/ 238 w 304"/>
                <a:gd name="T25" fmla="*/ 228 h 382"/>
                <a:gd name="T26" fmla="*/ 209 w 304"/>
                <a:gd name="T27" fmla="*/ 235 h 382"/>
                <a:gd name="T28" fmla="*/ 221 w 304"/>
                <a:gd name="T29" fmla="*/ 266 h 382"/>
                <a:gd name="T30" fmla="*/ 242 w 304"/>
                <a:gd name="T31" fmla="*/ 292 h 382"/>
                <a:gd name="T32" fmla="*/ 264 w 304"/>
                <a:gd name="T33" fmla="*/ 316 h 382"/>
                <a:gd name="T34" fmla="*/ 233 w 304"/>
                <a:gd name="T35" fmla="*/ 337 h 382"/>
                <a:gd name="T36" fmla="*/ 231 w 304"/>
                <a:gd name="T37" fmla="*/ 370 h 382"/>
                <a:gd name="T38" fmla="*/ 202 w 304"/>
                <a:gd name="T39" fmla="*/ 366 h 382"/>
                <a:gd name="T40" fmla="*/ 164 w 304"/>
                <a:gd name="T41" fmla="*/ 373 h 382"/>
                <a:gd name="T42" fmla="*/ 145 w 304"/>
                <a:gd name="T43" fmla="*/ 382 h 382"/>
                <a:gd name="T44" fmla="*/ 131 w 304"/>
                <a:gd name="T45" fmla="*/ 366 h 382"/>
                <a:gd name="T46" fmla="*/ 91 w 304"/>
                <a:gd name="T47" fmla="*/ 358 h 382"/>
                <a:gd name="T48" fmla="*/ 76 w 304"/>
                <a:gd name="T49" fmla="*/ 368 h 382"/>
                <a:gd name="T50" fmla="*/ 57 w 304"/>
                <a:gd name="T51" fmla="*/ 347 h 382"/>
                <a:gd name="T52" fmla="*/ 76 w 304"/>
                <a:gd name="T53" fmla="*/ 301 h 382"/>
                <a:gd name="T54" fmla="*/ 41 w 304"/>
                <a:gd name="T55" fmla="*/ 294 h 382"/>
                <a:gd name="T56" fmla="*/ 19 w 304"/>
                <a:gd name="T57" fmla="*/ 278 h 382"/>
                <a:gd name="T58" fmla="*/ 10 w 304"/>
                <a:gd name="T59" fmla="*/ 249 h 382"/>
                <a:gd name="T60" fmla="*/ 12 w 304"/>
                <a:gd name="T61" fmla="*/ 228 h 382"/>
                <a:gd name="T62" fmla="*/ 0 w 304"/>
                <a:gd name="T63" fmla="*/ 199 h 382"/>
                <a:gd name="T64" fmla="*/ 3 w 304"/>
                <a:gd name="T65" fmla="*/ 166 h 382"/>
                <a:gd name="T66" fmla="*/ 31 w 304"/>
                <a:gd name="T67" fmla="*/ 156 h 382"/>
                <a:gd name="T68" fmla="*/ 29 w 304"/>
                <a:gd name="T69" fmla="*/ 126 h 382"/>
                <a:gd name="T70" fmla="*/ 50 w 304"/>
                <a:gd name="T71" fmla="*/ 92 h 382"/>
                <a:gd name="T72" fmla="*/ 48 w 304"/>
                <a:gd name="T73" fmla="*/ 69 h 382"/>
                <a:gd name="T74" fmla="*/ 79 w 304"/>
                <a:gd name="T75" fmla="*/ 83 h 382"/>
                <a:gd name="T76" fmla="*/ 95 w 304"/>
                <a:gd name="T77" fmla="*/ 99 h 382"/>
                <a:gd name="T78" fmla="*/ 88 w 304"/>
                <a:gd name="T79" fmla="*/ 71 h 382"/>
                <a:gd name="T80" fmla="*/ 117 w 304"/>
                <a:gd name="T81" fmla="*/ 64 h 382"/>
                <a:gd name="T82" fmla="*/ 143 w 304"/>
                <a:gd name="T83" fmla="*/ 83 h 382"/>
                <a:gd name="T84" fmla="*/ 183 w 304"/>
                <a:gd name="T85" fmla="*/ 99 h 382"/>
                <a:gd name="T86" fmla="*/ 202 w 304"/>
                <a:gd name="T87" fmla="*/ 123 h 382"/>
                <a:gd name="T88" fmla="*/ 181 w 304"/>
                <a:gd name="T89" fmla="*/ 99 h 382"/>
                <a:gd name="T90" fmla="*/ 140 w 304"/>
                <a:gd name="T91" fmla="*/ 83 h 382"/>
                <a:gd name="T92" fmla="*/ 112 w 304"/>
                <a:gd name="T93" fmla="*/ 57 h 382"/>
                <a:gd name="T94" fmla="*/ 143 w 304"/>
                <a:gd name="T95" fmla="*/ 35 h 382"/>
                <a:gd name="T96" fmla="*/ 174 w 304"/>
                <a:gd name="T97" fmla="*/ 33 h 382"/>
                <a:gd name="T98" fmla="*/ 166 w 304"/>
                <a:gd name="T99" fmla="*/ 57 h 382"/>
                <a:gd name="T100" fmla="*/ 183 w 304"/>
                <a:gd name="T101" fmla="*/ 59 h 382"/>
                <a:gd name="T102" fmla="*/ 195 w 304"/>
                <a:gd name="T103" fmla="*/ 45 h 382"/>
                <a:gd name="T104" fmla="*/ 219 w 304"/>
                <a:gd name="T105" fmla="*/ 31 h 382"/>
                <a:gd name="T106" fmla="*/ 100 w 304"/>
                <a:gd name="T107" fmla="*/ 9 h 382"/>
                <a:gd name="T108" fmla="*/ 133 w 304"/>
                <a:gd name="T109" fmla="*/ 16 h 382"/>
                <a:gd name="T110" fmla="*/ 124 w 304"/>
                <a:gd name="T111" fmla="*/ 28 h 382"/>
                <a:gd name="T112" fmla="*/ 131 w 304"/>
                <a:gd name="T113" fmla="*/ 28 h 382"/>
                <a:gd name="T114" fmla="*/ 114 w 304"/>
                <a:gd name="T115" fmla="*/ 50 h 382"/>
                <a:gd name="T116" fmla="*/ 102 w 304"/>
                <a:gd name="T117" fmla="*/ 35 h 382"/>
                <a:gd name="T118" fmla="*/ 95 w 304"/>
                <a:gd name="T119" fmla="*/ 38 h 382"/>
                <a:gd name="T120" fmla="*/ 100 w 304"/>
                <a:gd name="T121" fmla="*/ 26 h 382"/>
                <a:gd name="T122" fmla="*/ 86 w 304"/>
                <a:gd name="T12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2">
                  <a:moveTo>
                    <a:pt x="93" y="361"/>
                  </a:moveTo>
                  <a:lnTo>
                    <a:pt x="95" y="361"/>
                  </a:lnTo>
                  <a:lnTo>
                    <a:pt x="93" y="361"/>
                  </a:lnTo>
                  <a:lnTo>
                    <a:pt x="93" y="363"/>
                  </a:lnTo>
                  <a:lnTo>
                    <a:pt x="93" y="361"/>
                  </a:lnTo>
                  <a:close/>
                  <a:moveTo>
                    <a:pt x="223" y="31"/>
                  </a:moveTo>
                  <a:lnTo>
                    <a:pt x="226" y="31"/>
                  </a:lnTo>
                  <a:lnTo>
                    <a:pt x="228" y="31"/>
                  </a:lnTo>
                  <a:lnTo>
                    <a:pt x="231" y="31"/>
                  </a:lnTo>
                  <a:lnTo>
                    <a:pt x="233" y="31"/>
                  </a:lnTo>
                  <a:lnTo>
                    <a:pt x="235" y="31"/>
                  </a:lnTo>
                  <a:lnTo>
                    <a:pt x="233" y="31"/>
                  </a:lnTo>
                  <a:lnTo>
                    <a:pt x="233" y="33"/>
                  </a:lnTo>
                  <a:lnTo>
                    <a:pt x="231" y="33"/>
                  </a:lnTo>
                  <a:lnTo>
                    <a:pt x="228" y="33"/>
                  </a:lnTo>
                  <a:lnTo>
                    <a:pt x="226" y="33"/>
                  </a:lnTo>
                  <a:lnTo>
                    <a:pt x="226" y="31"/>
                  </a:lnTo>
                  <a:lnTo>
                    <a:pt x="226" y="33"/>
                  </a:lnTo>
                  <a:lnTo>
                    <a:pt x="226" y="31"/>
                  </a:lnTo>
                  <a:lnTo>
                    <a:pt x="226" y="33"/>
                  </a:lnTo>
                  <a:lnTo>
                    <a:pt x="226" y="31"/>
                  </a:lnTo>
                  <a:lnTo>
                    <a:pt x="226" y="33"/>
                  </a:lnTo>
                  <a:lnTo>
                    <a:pt x="223" y="33"/>
                  </a:lnTo>
                  <a:lnTo>
                    <a:pt x="226" y="33"/>
                  </a:lnTo>
                  <a:lnTo>
                    <a:pt x="223" y="33"/>
                  </a:lnTo>
                  <a:lnTo>
                    <a:pt x="221" y="33"/>
                  </a:lnTo>
                  <a:lnTo>
                    <a:pt x="223" y="33"/>
                  </a:lnTo>
                  <a:lnTo>
                    <a:pt x="221" y="33"/>
                  </a:lnTo>
                  <a:lnTo>
                    <a:pt x="221" y="35"/>
                  </a:lnTo>
                  <a:lnTo>
                    <a:pt x="219" y="35"/>
                  </a:lnTo>
                  <a:lnTo>
                    <a:pt x="221" y="35"/>
                  </a:lnTo>
                  <a:lnTo>
                    <a:pt x="219" y="35"/>
                  </a:lnTo>
                  <a:lnTo>
                    <a:pt x="216" y="35"/>
                  </a:lnTo>
                  <a:lnTo>
                    <a:pt x="216" y="38"/>
                  </a:lnTo>
                  <a:lnTo>
                    <a:pt x="216" y="35"/>
                  </a:lnTo>
                  <a:lnTo>
                    <a:pt x="216" y="38"/>
                  </a:lnTo>
                  <a:lnTo>
                    <a:pt x="214" y="38"/>
                  </a:lnTo>
                  <a:lnTo>
                    <a:pt x="214" y="40"/>
                  </a:lnTo>
                  <a:lnTo>
                    <a:pt x="216" y="40"/>
                  </a:lnTo>
                  <a:lnTo>
                    <a:pt x="214" y="40"/>
                  </a:lnTo>
                  <a:lnTo>
                    <a:pt x="216" y="40"/>
                  </a:lnTo>
                  <a:lnTo>
                    <a:pt x="219" y="40"/>
                  </a:lnTo>
                  <a:lnTo>
                    <a:pt x="216" y="40"/>
                  </a:lnTo>
                  <a:lnTo>
                    <a:pt x="216" y="38"/>
                  </a:lnTo>
                  <a:lnTo>
                    <a:pt x="219" y="38"/>
                  </a:lnTo>
                  <a:lnTo>
                    <a:pt x="219" y="35"/>
                  </a:lnTo>
                  <a:lnTo>
                    <a:pt x="219" y="38"/>
                  </a:lnTo>
                  <a:lnTo>
                    <a:pt x="221" y="38"/>
                  </a:lnTo>
                  <a:lnTo>
                    <a:pt x="221" y="35"/>
                  </a:lnTo>
                  <a:lnTo>
                    <a:pt x="223" y="35"/>
                  </a:lnTo>
                  <a:lnTo>
                    <a:pt x="223" y="33"/>
                  </a:lnTo>
                  <a:lnTo>
                    <a:pt x="226" y="33"/>
                  </a:lnTo>
                  <a:lnTo>
                    <a:pt x="223" y="33"/>
                  </a:lnTo>
                  <a:lnTo>
                    <a:pt x="226" y="33"/>
                  </a:lnTo>
                  <a:lnTo>
                    <a:pt x="226" y="35"/>
                  </a:lnTo>
                  <a:lnTo>
                    <a:pt x="226" y="33"/>
                  </a:lnTo>
                  <a:lnTo>
                    <a:pt x="226" y="35"/>
                  </a:lnTo>
                  <a:lnTo>
                    <a:pt x="228" y="35"/>
                  </a:lnTo>
                  <a:lnTo>
                    <a:pt x="228" y="33"/>
                  </a:lnTo>
                  <a:lnTo>
                    <a:pt x="228" y="35"/>
                  </a:lnTo>
                  <a:lnTo>
                    <a:pt x="228" y="33"/>
                  </a:lnTo>
                  <a:lnTo>
                    <a:pt x="228" y="35"/>
                  </a:lnTo>
                  <a:lnTo>
                    <a:pt x="231" y="35"/>
                  </a:lnTo>
                  <a:lnTo>
                    <a:pt x="233" y="35"/>
                  </a:lnTo>
                  <a:lnTo>
                    <a:pt x="233" y="33"/>
                  </a:lnTo>
                  <a:lnTo>
                    <a:pt x="235" y="33"/>
                  </a:lnTo>
                  <a:lnTo>
                    <a:pt x="235" y="31"/>
                  </a:lnTo>
                  <a:lnTo>
                    <a:pt x="238" y="31"/>
                  </a:lnTo>
                  <a:lnTo>
                    <a:pt x="238" y="33"/>
                  </a:lnTo>
                  <a:lnTo>
                    <a:pt x="235" y="33"/>
                  </a:lnTo>
                  <a:lnTo>
                    <a:pt x="238" y="33"/>
                  </a:lnTo>
                  <a:lnTo>
                    <a:pt x="238" y="35"/>
                  </a:lnTo>
                  <a:lnTo>
                    <a:pt x="238" y="33"/>
                  </a:lnTo>
                  <a:lnTo>
                    <a:pt x="238" y="35"/>
                  </a:lnTo>
                  <a:lnTo>
                    <a:pt x="238" y="38"/>
                  </a:lnTo>
                  <a:lnTo>
                    <a:pt x="240" y="38"/>
                  </a:lnTo>
                  <a:lnTo>
                    <a:pt x="238" y="38"/>
                  </a:lnTo>
                  <a:lnTo>
                    <a:pt x="240" y="38"/>
                  </a:lnTo>
                  <a:lnTo>
                    <a:pt x="240" y="40"/>
                  </a:lnTo>
                  <a:lnTo>
                    <a:pt x="242" y="40"/>
                  </a:lnTo>
                  <a:lnTo>
                    <a:pt x="240" y="40"/>
                  </a:lnTo>
                  <a:lnTo>
                    <a:pt x="242" y="40"/>
                  </a:lnTo>
                  <a:lnTo>
                    <a:pt x="242" y="42"/>
                  </a:lnTo>
                  <a:lnTo>
                    <a:pt x="245" y="42"/>
                  </a:lnTo>
                  <a:lnTo>
                    <a:pt x="245" y="40"/>
                  </a:lnTo>
                  <a:lnTo>
                    <a:pt x="245" y="42"/>
                  </a:lnTo>
                  <a:lnTo>
                    <a:pt x="247" y="42"/>
                  </a:lnTo>
                  <a:lnTo>
                    <a:pt x="247" y="45"/>
                  </a:lnTo>
                  <a:lnTo>
                    <a:pt x="250" y="45"/>
                  </a:lnTo>
                  <a:lnTo>
                    <a:pt x="247" y="45"/>
                  </a:lnTo>
                  <a:lnTo>
                    <a:pt x="247" y="47"/>
                  </a:lnTo>
                  <a:lnTo>
                    <a:pt x="250" y="47"/>
                  </a:lnTo>
                  <a:lnTo>
                    <a:pt x="250" y="45"/>
                  </a:lnTo>
                  <a:lnTo>
                    <a:pt x="250" y="47"/>
                  </a:lnTo>
                  <a:lnTo>
                    <a:pt x="250" y="50"/>
                  </a:lnTo>
                  <a:lnTo>
                    <a:pt x="252" y="50"/>
                  </a:lnTo>
                  <a:lnTo>
                    <a:pt x="252" y="47"/>
                  </a:lnTo>
                  <a:lnTo>
                    <a:pt x="254" y="47"/>
                  </a:lnTo>
                  <a:lnTo>
                    <a:pt x="257" y="47"/>
                  </a:lnTo>
                  <a:lnTo>
                    <a:pt x="257" y="45"/>
                  </a:lnTo>
                  <a:lnTo>
                    <a:pt x="259" y="45"/>
                  </a:lnTo>
                  <a:lnTo>
                    <a:pt x="259" y="47"/>
                  </a:lnTo>
                  <a:lnTo>
                    <a:pt x="261" y="47"/>
                  </a:lnTo>
                  <a:lnTo>
                    <a:pt x="261" y="50"/>
                  </a:lnTo>
                  <a:lnTo>
                    <a:pt x="261" y="52"/>
                  </a:lnTo>
                  <a:lnTo>
                    <a:pt x="259" y="52"/>
                  </a:lnTo>
                  <a:lnTo>
                    <a:pt x="261" y="52"/>
                  </a:lnTo>
                  <a:lnTo>
                    <a:pt x="261" y="54"/>
                  </a:lnTo>
                  <a:lnTo>
                    <a:pt x="264" y="54"/>
                  </a:lnTo>
                  <a:lnTo>
                    <a:pt x="264" y="57"/>
                  </a:lnTo>
                  <a:lnTo>
                    <a:pt x="266" y="57"/>
                  </a:lnTo>
                  <a:lnTo>
                    <a:pt x="264" y="59"/>
                  </a:lnTo>
                  <a:lnTo>
                    <a:pt x="266" y="59"/>
                  </a:lnTo>
                  <a:lnTo>
                    <a:pt x="266" y="57"/>
                  </a:lnTo>
                  <a:lnTo>
                    <a:pt x="266" y="54"/>
                  </a:lnTo>
                  <a:lnTo>
                    <a:pt x="269" y="54"/>
                  </a:lnTo>
                  <a:lnTo>
                    <a:pt x="266" y="54"/>
                  </a:lnTo>
                  <a:lnTo>
                    <a:pt x="266" y="57"/>
                  </a:lnTo>
                  <a:lnTo>
                    <a:pt x="269" y="57"/>
                  </a:lnTo>
                  <a:lnTo>
                    <a:pt x="269" y="54"/>
                  </a:lnTo>
                  <a:lnTo>
                    <a:pt x="269" y="57"/>
                  </a:lnTo>
                  <a:lnTo>
                    <a:pt x="271" y="57"/>
                  </a:lnTo>
                  <a:lnTo>
                    <a:pt x="271" y="54"/>
                  </a:lnTo>
                  <a:lnTo>
                    <a:pt x="271" y="52"/>
                  </a:lnTo>
                  <a:lnTo>
                    <a:pt x="269" y="52"/>
                  </a:lnTo>
                  <a:lnTo>
                    <a:pt x="269" y="50"/>
                  </a:lnTo>
                  <a:lnTo>
                    <a:pt x="266" y="50"/>
                  </a:lnTo>
                  <a:lnTo>
                    <a:pt x="266" y="52"/>
                  </a:lnTo>
                  <a:lnTo>
                    <a:pt x="264" y="52"/>
                  </a:lnTo>
                  <a:lnTo>
                    <a:pt x="264" y="54"/>
                  </a:lnTo>
                  <a:lnTo>
                    <a:pt x="264" y="52"/>
                  </a:lnTo>
                  <a:lnTo>
                    <a:pt x="261" y="52"/>
                  </a:lnTo>
                  <a:lnTo>
                    <a:pt x="261" y="50"/>
                  </a:lnTo>
                  <a:lnTo>
                    <a:pt x="261" y="47"/>
                  </a:lnTo>
                  <a:lnTo>
                    <a:pt x="261" y="45"/>
                  </a:lnTo>
                  <a:lnTo>
                    <a:pt x="264" y="47"/>
                  </a:lnTo>
                  <a:lnTo>
                    <a:pt x="264" y="50"/>
                  </a:lnTo>
                  <a:lnTo>
                    <a:pt x="266" y="50"/>
                  </a:lnTo>
                  <a:lnTo>
                    <a:pt x="269" y="50"/>
                  </a:lnTo>
                  <a:lnTo>
                    <a:pt x="271" y="52"/>
                  </a:lnTo>
                  <a:lnTo>
                    <a:pt x="273" y="54"/>
                  </a:lnTo>
                  <a:lnTo>
                    <a:pt x="276" y="57"/>
                  </a:lnTo>
                  <a:lnTo>
                    <a:pt x="276" y="59"/>
                  </a:lnTo>
                  <a:lnTo>
                    <a:pt x="273" y="59"/>
                  </a:lnTo>
                  <a:lnTo>
                    <a:pt x="271" y="59"/>
                  </a:lnTo>
                  <a:lnTo>
                    <a:pt x="269" y="59"/>
                  </a:lnTo>
                  <a:lnTo>
                    <a:pt x="269" y="61"/>
                  </a:lnTo>
                  <a:lnTo>
                    <a:pt x="266" y="61"/>
                  </a:lnTo>
                  <a:lnTo>
                    <a:pt x="264" y="61"/>
                  </a:lnTo>
                  <a:lnTo>
                    <a:pt x="264" y="59"/>
                  </a:lnTo>
                  <a:lnTo>
                    <a:pt x="261" y="59"/>
                  </a:lnTo>
                  <a:lnTo>
                    <a:pt x="261" y="61"/>
                  </a:lnTo>
                  <a:lnTo>
                    <a:pt x="264" y="61"/>
                  </a:lnTo>
                  <a:lnTo>
                    <a:pt x="261" y="61"/>
                  </a:lnTo>
                  <a:lnTo>
                    <a:pt x="264" y="61"/>
                  </a:lnTo>
                  <a:lnTo>
                    <a:pt x="264" y="64"/>
                  </a:lnTo>
                  <a:lnTo>
                    <a:pt x="266" y="64"/>
                  </a:lnTo>
                  <a:lnTo>
                    <a:pt x="269" y="64"/>
                  </a:lnTo>
                  <a:lnTo>
                    <a:pt x="269" y="66"/>
                  </a:lnTo>
                  <a:lnTo>
                    <a:pt x="271" y="66"/>
                  </a:lnTo>
                  <a:lnTo>
                    <a:pt x="273" y="66"/>
                  </a:lnTo>
                  <a:lnTo>
                    <a:pt x="276" y="66"/>
                  </a:lnTo>
                  <a:lnTo>
                    <a:pt x="278" y="66"/>
                  </a:lnTo>
                  <a:lnTo>
                    <a:pt x="278" y="69"/>
                  </a:lnTo>
                  <a:lnTo>
                    <a:pt x="276" y="69"/>
                  </a:lnTo>
                  <a:lnTo>
                    <a:pt x="278" y="69"/>
                  </a:lnTo>
                  <a:lnTo>
                    <a:pt x="278" y="71"/>
                  </a:lnTo>
                  <a:lnTo>
                    <a:pt x="278" y="73"/>
                  </a:lnTo>
                  <a:lnTo>
                    <a:pt x="278" y="76"/>
                  </a:lnTo>
                  <a:lnTo>
                    <a:pt x="278" y="78"/>
                  </a:lnTo>
                  <a:lnTo>
                    <a:pt x="280" y="78"/>
                  </a:lnTo>
                  <a:lnTo>
                    <a:pt x="280" y="80"/>
                  </a:lnTo>
                  <a:lnTo>
                    <a:pt x="280" y="83"/>
                  </a:lnTo>
                  <a:lnTo>
                    <a:pt x="280" y="85"/>
                  </a:lnTo>
                  <a:lnTo>
                    <a:pt x="283" y="85"/>
                  </a:lnTo>
                  <a:lnTo>
                    <a:pt x="280" y="85"/>
                  </a:lnTo>
                  <a:lnTo>
                    <a:pt x="283" y="88"/>
                  </a:lnTo>
                  <a:lnTo>
                    <a:pt x="283" y="90"/>
                  </a:lnTo>
                  <a:lnTo>
                    <a:pt x="283" y="92"/>
                  </a:lnTo>
                  <a:lnTo>
                    <a:pt x="280" y="92"/>
                  </a:lnTo>
                  <a:lnTo>
                    <a:pt x="280" y="95"/>
                  </a:lnTo>
                  <a:lnTo>
                    <a:pt x="280" y="97"/>
                  </a:lnTo>
                  <a:lnTo>
                    <a:pt x="280" y="99"/>
                  </a:lnTo>
                  <a:lnTo>
                    <a:pt x="280" y="102"/>
                  </a:lnTo>
                  <a:lnTo>
                    <a:pt x="278" y="102"/>
                  </a:lnTo>
                  <a:lnTo>
                    <a:pt x="278" y="104"/>
                  </a:lnTo>
                  <a:lnTo>
                    <a:pt x="276" y="104"/>
                  </a:lnTo>
                  <a:lnTo>
                    <a:pt x="273" y="104"/>
                  </a:lnTo>
                  <a:lnTo>
                    <a:pt x="273" y="107"/>
                  </a:lnTo>
                  <a:lnTo>
                    <a:pt x="273" y="109"/>
                  </a:lnTo>
                  <a:lnTo>
                    <a:pt x="273" y="111"/>
                  </a:lnTo>
                  <a:lnTo>
                    <a:pt x="276" y="111"/>
                  </a:lnTo>
                  <a:lnTo>
                    <a:pt x="276" y="114"/>
                  </a:lnTo>
                  <a:lnTo>
                    <a:pt x="278" y="114"/>
                  </a:lnTo>
                  <a:lnTo>
                    <a:pt x="278" y="116"/>
                  </a:lnTo>
                  <a:lnTo>
                    <a:pt x="280" y="116"/>
                  </a:lnTo>
                  <a:lnTo>
                    <a:pt x="283" y="118"/>
                  </a:lnTo>
                  <a:lnTo>
                    <a:pt x="283" y="121"/>
                  </a:lnTo>
                  <a:lnTo>
                    <a:pt x="285" y="121"/>
                  </a:lnTo>
                  <a:lnTo>
                    <a:pt x="287" y="121"/>
                  </a:lnTo>
                  <a:lnTo>
                    <a:pt x="287" y="123"/>
                  </a:lnTo>
                  <a:lnTo>
                    <a:pt x="290" y="123"/>
                  </a:lnTo>
                  <a:lnTo>
                    <a:pt x="290" y="126"/>
                  </a:lnTo>
                  <a:lnTo>
                    <a:pt x="287" y="126"/>
                  </a:lnTo>
                  <a:lnTo>
                    <a:pt x="290" y="128"/>
                  </a:lnTo>
                  <a:lnTo>
                    <a:pt x="290" y="130"/>
                  </a:lnTo>
                  <a:lnTo>
                    <a:pt x="287" y="130"/>
                  </a:lnTo>
                  <a:lnTo>
                    <a:pt x="287" y="133"/>
                  </a:lnTo>
                  <a:lnTo>
                    <a:pt x="285" y="133"/>
                  </a:lnTo>
                  <a:lnTo>
                    <a:pt x="287" y="135"/>
                  </a:lnTo>
                  <a:lnTo>
                    <a:pt x="287" y="137"/>
                  </a:lnTo>
                  <a:lnTo>
                    <a:pt x="287" y="140"/>
                  </a:lnTo>
                  <a:lnTo>
                    <a:pt x="290" y="140"/>
                  </a:lnTo>
                  <a:lnTo>
                    <a:pt x="292" y="140"/>
                  </a:lnTo>
                  <a:lnTo>
                    <a:pt x="292" y="142"/>
                  </a:lnTo>
                  <a:lnTo>
                    <a:pt x="292" y="145"/>
                  </a:lnTo>
                  <a:lnTo>
                    <a:pt x="290" y="145"/>
                  </a:lnTo>
                  <a:lnTo>
                    <a:pt x="290" y="147"/>
                  </a:lnTo>
                  <a:lnTo>
                    <a:pt x="292" y="147"/>
                  </a:lnTo>
                  <a:lnTo>
                    <a:pt x="290" y="147"/>
                  </a:lnTo>
                  <a:lnTo>
                    <a:pt x="292" y="147"/>
                  </a:lnTo>
                  <a:lnTo>
                    <a:pt x="292" y="149"/>
                  </a:lnTo>
                  <a:lnTo>
                    <a:pt x="295" y="149"/>
                  </a:lnTo>
                  <a:lnTo>
                    <a:pt x="292" y="149"/>
                  </a:lnTo>
                  <a:lnTo>
                    <a:pt x="292" y="152"/>
                  </a:lnTo>
                  <a:lnTo>
                    <a:pt x="292" y="154"/>
                  </a:lnTo>
                  <a:lnTo>
                    <a:pt x="292" y="156"/>
                  </a:lnTo>
                  <a:lnTo>
                    <a:pt x="292" y="159"/>
                  </a:lnTo>
                  <a:lnTo>
                    <a:pt x="290" y="159"/>
                  </a:lnTo>
                  <a:lnTo>
                    <a:pt x="290" y="161"/>
                  </a:lnTo>
                  <a:lnTo>
                    <a:pt x="287" y="161"/>
                  </a:lnTo>
                  <a:lnTo>
                    <a:pt x="290" y="161"/>
                  </a:lnTo>
                  <a:lnTo>
                    <a:pt x="287" y="161"/>
                  </a:lnTo>
                  <a:lnTo>
                    <a:pt x="287" y="164"/>
                  </a:lnTo>
                  <a:lnTo>
                    <a:pt x="290" y="164"/>
                  </a:lnTo>
                  <a:lnTo>
                    <a:pt x="290" y="166"/>
                  </a:lnTo>
                  <a:lnTo>
                    <a:pt x="292" y="166"/>
                  </a:lnTo>
                  <a:lnTo>
                    <a:pt x="292" y="168"/>
                  </a:lnTo>
                  <a:lnTo>
                    <a:pt x="295" y="171"/>
                  </a:lnTo>
                  <a:lnTo>
                    <a:pt x="292" y="171"/>
                  </a:lnTo>
                  <a:lnTo>
                    <a:pt x="295" y="171"/>
                  </a:lnTo>
                  <a:lnTo>
                    <a:pt x="292" y="171"/>
                  </a:lnTo>
                  <a:lnTo>
                    <a:pt x="295" y="171"/>
                  </a:lnTo>
                  <a:lnTo>
                    <a:pt x="295" y="173"/>
                  </a:lnTo>
                  <a:lnTo>
                    <a:pt x="292" y="173"/>
                  </a:lnTo>
                  <a:lnTo>
                    <a:pt x="292" y="175"/>
                  </a:lnTo>
                  <a:lnTo>
                    <a:pt x="295" y="175"/>
                  </a:lnTo>
                  <a:lnTo>
                    <a:pt x="295" y="178"/>
                  </a:lnTo>
                  <a:lnTo>
                    <a:pt x="295" y="175"/>
                  </a:lnTo>
                  <a:lnTo>
                    <a:pt x="295" y="178"/>
                  </a:lnTo>
                  <a:lnTo>
                    <a:pt x="295" y="175"/>
                  </a:lnTo>
                  <a:lnTo>
                    <a:pt x="295" y="178"/>
                  </a:lnTo>
                  <a:lnTo>
                    <a:pt x="297" y="178"/>
                  </a:lnTo>
                  <a:lnTo>
                    <a:pt x="299" y="178"/>
                  </a:lnTo>
                  <a:lnTo>
                    <a:pt x="299" y="180"/>
                  </a:lnTo>
                  <a:lnTo>
                    <a:pt x="302" y="180"/>
                  </a:lnTo>
                  <a:lnTo>
                    <a:pt x="299" y="180"/>
                  </a:lnTo>
                  <a:lnTo>
                    <a:pt x="299" y="183"/>
                  </a:lnTo>
                  <a:lnTo>
                    <a:pt x="302" y="183"/>
                  </a:lnTo>
                  <a:lnTo>
                    <a:pt x="302" y="185"/>
                  </a:lnTo>
                  <a:lnTo>
                    <a:pt x="299" y="185"/>
                  </a:lnTo>
                  <a:lnTo>
                    <a:pt x="302" y="185"/>
                  </a:lnTo>
                  <a:lnTo>
                    <a:pt x="302" y="187"/>
                  </a:lnTo>
                  <a:lnTo>
                    <a:pt x="302" y="190"/>
                  </a:lnTo>
                  <a:lnTo>
                    <a:pt x="304" y="190"/>
                  </a:lnTo>
                  <a:lnTo>
                    <a:pt x="302" y="190"/>
                  </a:lnTo>
                  <a:lnTo>
                    <a:pt x="302" y="192"/>
                  </a:lnTo>
                  <a:lnTo>
                    <a:pt x="302" y="194"/>
                  </a:lnTo>
                  <a:lnTo>
                    <a:pt x="302" y="197"/>
                  </a:lnTo>
                  <a:lnTo>
                    <a:pt x="302" y="199"/>
                  </a:lnTo>
                  <a:lnTo>
                    <a:pt x="299" y="199"/>
                  </a:lnTo>
                  <a:lnTo>
                    <a:pt x="302" y="199"/>
                  </a:lnTo>
                  <a:lnTo>
                    <a:pt x="299" y="199"/>
                  </a:lnTo>
                  <a:lnTo>
                    <a:pt x="299" y="202"/>
                  </a:lnTo>
                  <a:lnTo>
                    <a:pt x="299" y="204"/>
                  </a:lnTo>
                  <a:lnTo>
                    <a:pt x="297" y="204"/>
                  </a:lnTo>
                  <a:lnTo>
                    <a:pt x="297" y="206"/>
                  </a:lnTo>
                  <a:lnTo>
                    <a:pt x="295" y="206"/>
                  </a:lnTo>
                  <a:lnTo>
                    <a:pt x="295" y="209"/>
                  </a:lnTo>
                  <a:lnTo>
                    <a:pt x="295" y="211"/>
                  </a:lnTo>
                  <a:lnTo>
                    <a:pt x="292" y="211"/>
                  </a:lnTo>
                  <a:lnTo>
                    <a:pt x="292" y="209"/>
                  </a:lnTo>
                  <a:lnTo>
                    <a:pt x="290" y="209"/>
                  </a:lnTo>
                  <a:lnTo>
                    <a:pt x="290" y="206"/>
                  </a:lnTo>
                  <a:lnTo>
                    <a:pt x="287" y="206"/>
                  </a:lnTo>
                  <a:lnTo>
                    <a:pt x="287" y="204"/>
                  </a:lnTo>
                  <a:lnTo>
                    <a:pt x="287" y="202"/>
                  </a:lnTo>
                  <a:lnTo>
                    <a:pt x="285" y="202"/>
                  </a:lnTo>
                  <a:lnTo>
                    <a:pt x="285" y="199"/>
                  </a:lnTo>
                  <a:lnTo>
                    <a:pt x="283" y="199"/>
                  </a:lnTo>
                  <a:lnTo>
                    <a:pt x="283" y="202"/>
                  </a:lnTo>
                  <a:lnTo>
                    <a:pt x="280" y="202"/>
                  </a:lnTo>
                  <a:lnTo>
                    <a:pt x="280" y="199"/>
                  </a:lnTo>
                  <a:lnTo>
                    <a:pt x="278" y="199"/>
                  </a:lnTo>
                  <a:lnTo>
                    <a:pt x="278" y="202"/>
                  </a:lnTo>
                  <a:lnTo>
                    <a:pt x="278" y="204"/>
                  </a:lnTo>
                  <a:lnTo>
                    <a:pt x="280" y="202"/>
                  </a:lnTo>
                  <a:lnTo>
                    <a:pt x="280" y="204"/>
                  </a:lnTo>
                  <a:lnTo>
                    <a:pt x="278" y="204"/>
                  </a:lnTo>
                  <a:lnTo>
                    <a:pt x="280" y="204"/>
                  </a:lnTo>
                  <a:lnTo>
                    <a:pt x="283" y="204"/>
                  </a:lnTo>
                  <a:lnTo>
                    <a:pt x="283" y="206"/>
                  </a:lnTo>
                  <a:lnTo>
                    <a:pt x="280" y="206"/>
                  </a:lnTo>
                  <a:lnTo>
                    <a:pt x="283" y="206"/>
                  </a:lnTo>
                  <a:lnTo>
                    <a:pt x="280" y="206"/>
                  </a:lnTo>
                  <a:lnTo>
                    <a:pt x="278" y="209"/>
                  </a:lnTo>
                  <a:lnTo>
                    <a:pt x="278" y="206"/>
                  </a:lnTo>
                  <a:lnTo>
                    <a:pt x="276" y="206"/>
                  </a:lnTo>
                  <a:lnTo>
                    <a:pt x="276" y="209"/>
                  </a:lnTo>
                  <a:lnTo>
                    <a:pt x="273" y="209"/>
                  </a:lnTo>
                  <a:lnTo>
                    <a:pt x="273" y="211"/>
                  </a:lnTo>
                  <a:lnTo>
                    <a:pt x="271" y="211"/>
                  </a:lnTo>
                  <a:lnTo>
                    <a:pt x="269" y="211"/>
                  </a:lnTo>
                  <a:lnTo>
                    <a:pt x="266" y="211"/>
                  </a:lnTo>
                  <a:lnTo>
                    <a:pt x="266" y="213"/>
                  </a:lnTo>
                  <a:lnTo>
                    <a:pt x="266" y="216"/>
                  </a:lnTo>
                  <a:lnTo>
                    <a:pt x="264" y="216"/>
                  </a:lnTo>
                  <a:lnTo>
                    <a:pt x="264" y="213"/>
                  </a:lnTo>
                  <a:lnTo>
                    <a:pt x="264" y="216"/>
                  </a:lnTo>
                  <a:lnTo>
                    <a:pt x="261" y="216"/>
                  </a:lnTo>
                  <a:lnTo>
                    <a:pt x="259" y="216"/>
                  </a:lnTo>
                  <a:lnTo>
                    <a:pt x="257" y="216"/>
                  </a:lnTo>
                  <a:lnTo>
                    <a:pt x="254" y="216"/>
                  </a:lnTo>
                  <a:lnTo>
                    <a:pt x="252" y="216"/>
                  </a:lnTo>
                  <a:lnTo>
                    <a:pt x="254" y="218"/>
                  </a:lnTo>
                  <a:lnTo>
                    <a:pt x="252" y="218"/>
                  </a:lnTo>
                  <a:lnTo>
                    <a:pt x="252" y="221"/>
                  </a:lnTo>
                  <a:lnTo>
                    <a:pt x="250" y="221"/>
                  </a:lnTo>
                  <a:lnTo>
                    <a:pt x="247" y="221"/>
                  </a:lnTo>
                  <a:lnTo>
                    <a:pt x="247" y="223"/>
                  </a:lnTo>
                  <a:lnTo>
                    <a:pt x="245" y="223"/>
                  </a:lnTo>
                  <a:lnTo>
                    <a:pt x="245" y="221"/>
                  </a:lnTo>
                  <a:lnTo>
                    <a:pt x="245" y="223"/>
                  </a:lnTo>
                  <a:lnTo>
                    <a:pt x="242" y="223"/>
                  </a:lnTo>
                  <a:lnTo>
                    <a:pt x="242" y="225"/>
                  </a:lnTo>
                  <a:lnTo>
                    <a:pt x="240" y="225"/>
                  </a:lnTo>
                  <a:lnTo>
                    <a:pt x="238" y="225"/>
                  </a:lnTo>
                  <a:lnTo>
                    <a:pt x="238" y="228"/>
                  </a:lnTo>
                  <a:lnTo>
                    <a:pt x="235" y="228"/>
                  </a:lnTo>
                  <a:lnTo>
                    <a:pt x="235" y="230"/>
                  </a:lnTo>
                  <a:lnTo>
                    <a:pt x="233" y="230"/>
                  </a:lnTo>
                  <a:lnTo>
                    <a:pt x="231" y="230"/>
                  </a:lnTo>
                  <a:lnTo>
                    <a:pt x="231" y="228"/>
                  </a:lnTo>
                  <a:lnTo>
                    <a:pt x="231" y="230"/>
                  </a:lnTo>
                  <a:lnTo>
                    <a:pt x="228" y="230"/>
                  </a:lnTo>
                  <a:lnTo>
                    <a:pt x="226" y="230"/>
                  </a:lnTo>
                  <a:lnTo>
                    <a:pt x="226" y="232"/>
                  </a:lnTo>
                  <a:lnTo>
                    <a:pt x="226" y="230"/>
                  </a:lnTo>
                  <a:lnTo>
                    <a:pt x="223" y="230"/>
                  </a:lnTo>
                  <a:lnTo>
                    <a:pt x="221" y="232"/>
                  </a:lnTo>
                  <a:lnTo>
                    <a:pt x="219" y="232"/>
                  </a:lnTo>
                  <a:lnTo>
                    <a:pt x="219" y="235"/>
                  </a:lnTo>
                  <a:lnTo>
                    <a:pt x="216" y="235"/>
                  </a:lnTo>
                  <a:lnTo>
                    <a:pt x="216" y="237"/>
                  </a:lnTo>
                  <a:lnTo>
                    <a:pt x="214" y="237"/>
                  </a:lnTo>
                  <a:lnTo>
                    <a:pt x="214" y="240"/>
                  </a:lnTo>
                  <a:lnTo>
                    <a:pt x="214" y="242"/>
                  </a:lnTo>
                  <a:lnTo>
                    <a:pt x="212" y="242"/>
                  </a:lnTo>
                  <a:lnTo>
                    <a:pt x="212" y="240"/>
                  </a:lnTo>
                  <a:lnTo>
                    <a:pt x="212" y="237"/>
                  </a:lnTo>
                  <a:lnTo>
                    <a:pt x="212" y="240"/>
                  </a:lnTo>
                  <a:lnTo>
                    <a:pt x="212" y="237"/>
                  </a:lnTo>
                  <a:lnTo>
                    <a:pt x="209" y="237"/>
                  </a:lnTo>
                  <a:lnTo>
                    <a:pt x="209" y="235"/>
                  </a:lnTo>
                  <a:lnTo>
                    <a:pt x="207" y="235"/>
                  </a:lnTo>
                  <a:lnTo>
                    <a:pt x="207" y="237"/>
                  </a:lnTo>
                  <a:lnTo>
                    <a:pt x="207" y="240"/>
                  </a:lnTo>
                  <a:lnTo>
                    <a:pt x="209" y="240"/>
                  </a:lnTo>
                  <a:lnTo>
                    <a:pt x="207" y="240"/>
                  </a:lnTo>
                  <a:lnTo>
                    <a:pt x="209" y="240"/>
                  </a:lnTo>
                  <a:lnTo>
                    <a:pt x="209" y="242"/>
                  </a:lnTo>
                  <a:lnTo>
                    <a:pt x="209" y="244"/>
                  </a:lnTo>
                  <a:lnTo>
                    <a:pt x="209" y="247"/>
                  </a:lnTo>
                  <a:lnTo>
                    <a:pt x="212" y="247"/>
                  </a:lnTo>
                  <a:lnTo>
                    <a:pt x="212" y="249"/>
                  </a:lnTo>
                  <a:lnTo>
                    <a:pt x="212" y="247"/>
                  </a:lnTo>
                  <a:lnTo>
                    <a:pt x="214" y="249"/>
                  </a:lnTo>
                  <a:lnTo>
                    <a:pt x="216" y="249"/>
                  </a:lnTo>
                  <a:lnTo>
                    <a:pt x="216" y="251"/>
                  </a:lnTo>
                  <a:lnTo>
                    <a:pt x="219" y="251"/>
                  </a:lnTo>
                  <a:lnTo>
                    <a:pt x="219" y="254"/>
                  </a:lnTo>
                  <a:lnTo>
                    <a:pt x="221" y="254"/>
                  </a:lnTo>
                  <a:lnTo>
                    <a:pt x="221" y="256"/>
                  </a:lnTo>
                  <a:lnTo>
                    <a:pt x="219" y="256"/>
                  </a:lnTo>
                  <a:lnTo>
                    <a:pt x="219" y="259"/>
                  </a:lnTo>
                  <a:lnTo>
                    <a:pt x="219" y="261"/>
                  </a:lnTo>
                  <a:lnTo>
                    <a:pt x="216" y="263"/>
                  </a:lnTo>
                  <a:lnTo>
                    <a:pt x="216" y="266"/>
                  </a:lnTo>
                  <a:lnTo>
                    <a:pt x="219" y="266"/>
                  </a:lnTo>
                  <a:lnTo>
                    <a:pt x="221" y="266"/>
                  </a:lnTo>
                  <a:lnTo>
                    <a:pt x="219" y="268"/>
                  </a:lnTo>
                  <a:lnTo>
                    <a:pt x="221" y="268"/>
                  </a:lnTo>
                  <a:lnTo>
                    <a:pt x="219" y="268"/>
                  </a:lnTo>
                  <a:lnTo>
                    <a:pt x="221" y="268"/>
                  </a:lnTo>
                  <a:lnTo>
                    <a:pt x="221" y="270"/>
                  </a:lnTo>
                  <a:lnTo>
                    <a:pt x="221" y="273"/>
                  </a:lnTo>
                  <a:lnTo>
                    <a:pt x="223" y="273"/>
                  </a:lnTo>
                  <a:lnTo>
                    <a:pt x="223" y="275"/>
                  </a:lnTo>
                  <a:lnTo>
                    <a:pt x="223" y="278"/>
                  </a:lnTo>
                  <a:lnTo>
                    <a:pt x="226" y="278"/>
                  </a:lnTo>
                  <a:lnTo>
                    <a:pt x="226" y="280"/>
                  </a:lnTo>
                  <a:lnTo>
                    <a:pt x="228" y="280"/>
                  </a:lnTo>
                  <a:lnTo>
                    <a:pt x="228" y="282"/>
                  </a:lnTo>
                  <a:lnTo>
                    <a:pt x="231" y="282"/>
                  </a:lnTo>
                  <a:lnTo>
                    <a:pt x="233" y="282"/>
                  </a:lnTo>
                  <a:lnTo>
                    <a:pt x="231" y="282"/>
                  </a:lnTo>
                  <a:lnTo>
                    <a:pt x="233" y="282"/>
                  </a:lnTo>
                  <a:lnTo>
                    <a:pt x="235" y="282"/>
                  </a:lnTo>
                  <a:lnTo>
                    <a:pt x="235" y="285"/>
                  </a:lnTo>
                  <a:lnTo>
                    <a:pt x="238" y="285"/>
                  </a:lnTo>
                  <a:lnTo>
                    <a:pt x="235" y="285"/>
                  </a:lnTo>
                  <a:lnTo>
                    <a:pt x="238" y="287"/>
                  </a:lnTo>
                  <a:lnTo>
                    <a:pt x="240" y="290"/>
                  </a:lnTo>
                  <a:lnTo>
                    <a:pt x="242" y="292"/>
                  </a:lnTo>
                  <a:lnTo>
                    <a:pt x="240" y="292"/>
                  </a:lnTo>
                  <a:lnTo>
                    <a:pt x="242" y="292"/>
                  </a:lnTo>
                  <a:lnTo>
                    <a:pt x="242" y="294"/>
                  </a:lnTo>
                  <a:lnTo>
                    <a:pt x="245" y="294"/>
                  </a:lnTo>
                  <a:lnTo>
                    <a:pt x="247" y="294"/>
                  </a:lnTo>
                  <a:lnTo>
                    <a:pt x="247" y="297"/>
                  </a:lnTo>
                  <a:lnTo>
                    <a:pt x="250" y="297"/>
                  </a:lnTo>
                  <a:lnTo>
                    <a:pt x="250" y="299"/>
                  </a:lnTo>
                  <a:lnTo>
                    <a:pt x="250" y="301"/>
                  </a:lnTo>
                  <a:lnTo>
                    <a:pt x="252" y="301"/>
                  </a:lnTo>
                  <a:lnTo>
                    <a:pt x="254" y="301"/>
                  </a:lnTo>
                  <a:lnTo>
                    <a:pt x="257" y="301"/>
                  </a:lnTo>
                  <a:lnTo>
                    <a:pt x="257" y="304"/>
                  </a:lnTo>
                  <a:lnTo>
                    <a:pt x="259" y="304"/>
                  </a:lnTo>
                  <a:lnTo>
                    <a:pt x="259" y="306"/>
                  </a:lnTo>
                  <a:lnTo>
                    <a:pt x="259" y="304"/>
                  </a:lnTo>
                  <a:lnTo>
                    <a:pt x="259" y="306"/>
                  </a:lnTo>
                  <a:lnTo>
                    <a:pt x="261" y="306"/>
                  </a:lnTo>
                  <a:lnTo>
                    <a:pt x="261" y="309"/>
                  </a:lnTo>
                  <a:lnTo>
                    <a:pt x="261" y="311"/>
                  </a:lnTo>
                  <a:lnTo>
                    <a:pt x="264" y="311"/>
                  </a:lnTo>
                  <a:lnTo>
                    <a:pt x="261" y="311"/>
                  </a:lnTo>
                  <a:lnTo>
                    <a:pt x="261" y="313"/>
                  </a:lnTo>
                  <a:lnTo>
                    <a:pt x="264" y="313"/>
                  </a:lnTo>
                  <a:lnTo>
                    <a:pt x="261" y="313"/>
                  </a:lnTo>
                  <a:lnTo>
                    <a:pt x="264" y="316"/>
                  </a:lnTo>
                  <a:lnTo>
                    <a:pt x="261" y="316"/>
                  </a:lnTo>
                  <a:lnTo>
                    <a:pt x="264" y="316"/>
                  </a:lnTo>
                  <a:lnTo>
                    <a:pt x="264" y="318"/>
                  </a:lnTo>
                  <a:lnTo>
                    <a:pt x="261" y="318"/>
                  </a:lnTo>
                  <a:lnTo>
                    <a:pt x="261" y="320"/>
                  </a:lnTo>
                  <a:lnTo>
                    <a:pt x="259" y="320"/>
                  </a:lnTo>
                  <a:lnTo>
                    <a:pt x="261" y="320"/>
                  </a:lnTo>
                  <a:lnTo>
                    <a:pt x="259" y="320"/>
                  </a:lnTo>
                  <a:lnTo>
                    <a:pt x="259" y="323"/>
                  </a:lnTo>
                  <a:lnTo>
                    <a:pt x="257" y="320"/>
                  </a:lnTo>
                  <a:lnTo>
                    <a:pt x="254" y="320"/>
                  </a:lnTo>
                  <a:lnTo>
                    <a:pt x="252" y="318"/>
                  </a:lnTo>
                  <a:lnTo>
                    <a:pt x="252" y="320"/>
                  </a:lnTo>
                  <a:lnTo>
                    <a:pt x="250" y="320"/>
                  </a:lnTo>
                  <a:lnTo>
                    <a:pt x="250" y="323"/>
                  </a:lnTo>
                  <a:lnTo>
                    <a:pt x="250" y="325"/>
                  </a:lnTo>
                  <a:lnTo>
                    <a:pt x="250" y="328"/>
                  </a:lnTo>
                  <a:lnTo>
                    <a:pt x="250" y="330"/>
                  </a:lnTo>
                  <a:lnTo>
                    <a:pt x="247" y="330"/>
                  </a:lnTo>
                  <a:lnTo>
                    <a:pt x="247" y="332"/>
                  </a:lnTo>
                  <a:lnTo>
                    <a:pt x="245" y="332"/>
                  </a:lnTo>
                  <a:lnTo>
                    <a:pt x="242" y="332"/>
                  </a:lnTo>
                  <a:lnTo>
                    <a:pt x="240" y="332"/>
                  </a:lnTo>
                  <a:lnTo>
                    <a:pt x="240" y="335"/>
                  </a:lnTo>
                  <a:lnTo>
                    <a:pt x="238" y="335"/>
                  </a:lnTo>
                  <a:lnTo>
                    <a:pt x="235" y="335"/>
                  </a:lnTo>
                  <a:lnTo>
                    <a:pt x="235" y="337"/>
                  </a:lnTo>
                  <a:lnTo>
                    <a:pt x="233" y="337"/>
                  </a:lnTo>
                  <a:lnTo>
                    <a:pt x="231" y="337"/>
                  </a:lnTo>
                  <a:lnTo>
                    <a:pt x="231" y="339"/>
                  </a:lnTo>
                  <a:lnTo>
                    <a:pt x="228" y="339"/>
                  </a:lnTo>
                  <a:lnTo>
                    <a:pt x="228" y="342"/>
                  </a:lnTo>
                  <a:lnTo>
                    <a:pt x="228" y="344"/>
                  </a:lnTo>
                  <a:lnTo>
                    <a:pt x="231" y="347"/>
                  </a:lnTo>
                  <a:lnTo>
                    <a:pt x="231" y="349"/>
                  </a:lnTo>
                  <a:lnTo>
                    <a:pt x="233" y="349"/>
                  </a:lnTo>
                  <a:lnTo>
                    <a:pt x="233" y="351"/>
                  </a:lnTo>
                  <a:lnTo>
                    <a:pt x="235" y="351"/>
                  </a:lnTo>
                  <a:lnTo>
                    <a:pt x="235" y="354"/>
                  </a:lnTo>
                  <a:lnTo>
                    <a:pt x="235" y="356"/>
                  </a:lnTo>
                  <a:lnTo>
                    <a:pt x="233" y="356"/>
                  </a:lnTo>
                  <a:lnTo>
                    <a:pt x="233" y="358"/>
                  </a:lnTo>
                  <a:lnTo>
                    <a:pt x="233" y="361"/>
                  </a:lnTo>
                  <a:lnTo>
                    <a:pt x="235" y="361"/>
                  </a:lnTo>
                  <a:lnTo>
                    <a:pt x="238" y="361"/>
                  </a:lnTo>
                  <a:lnTo>
                    <a:pt x="238" y="363"/>
                  </a:lnTo>
                  <a:lnTo>
                    <a:pt x="238" y="366"/>
                  </a:lnTo>
                  <a:lnTo>
                    <a:pt x="238" y="368"/>
                  </a:lnTo>
                  <a:lnTo>
                    <a:pt x="238" y="370"/>
                  </a:lnTo>
                  <a:lnTo>
                    <a:pt x="238" y="373"/>
                  </a:lnTo>
                  <a:lnTo>
                    <a:pt x="235" y="373"/>
                  </a:lnTo>
                  <a:lnTo>
                    <a:pt x="233" y="373"/>
                  </a:lnTo>
                  <a:lnTo>
                    <a:pt x="233" y="370"/>
                  </a:lnTo>
                  <a:lnTo>
                    <a:pt x="231" y="370"/>
                  </a:lnTo>
                  <a:lnTo>
                    <a:pt x="231" y="368"/>
                  </a:lnTo>
                  <a:lnTo>
                    <a:pt x="228" y="368"/>
                  </a:lnTo>
                  <a:lnTo>
                    <a:pt x="228" y="366"/>
                  </a:lnTo>
                  <a:lnTo>
                    <a:pt x="231" y="366"/>
                  </a:lnTo>
                  <a:lnTo>
                    <a:pt x="228" y="366"/>
                  </a:lnTo>
                  <a:lnTo>
                    <a:pt x="228" y="363"/>
                  </a:lnTo>
                  <a:lnTo>
                    <a:pt x="226" y="363"/>
                  </a:lnTo>
                  <a:lnTo>
                    <a:pt x="223" y="363"/>
                  </a:lnTo>
                  <a:lnTo>
                    <a:pt x="221" y="363"/>
                  </a:lnTo>
                  <a:lnTo>
                    <a:pt x="221" y="366"/>
                  </a:lnTo>
                  <a:lnTo>
                    <a:pt x="219" y="366"/>
                  </a:lnTo>
                  <a:lnTo>
                    <a:pt x="219" y="363"/>
                  </a:lnTo>
                  <a:lnTo>
                    <a:pt x="216" y="363"/>
                  </a:lnTo>
                  <a:lnTo>
                    <a:pt x="216" y="361"/>
                  </a:lnTo>
                  <a:lnTo>
                    <a:pt x="214" y="363"/>
                  </a:lnTo>
                  <a:lnTo>
                    <a:pt x="214" y="361"/>
                  </a:lnTo>
                  <a:lnTo>
                    <a:pt x="212" y="361"/>
                  </a:lnTo>
                  <a:lnTo>
                    <a:pt x="212" y="363"/>
                  </a:lnTo>
                  <a:lnTo>
                    <a:pt x="212" y="361"/>
                  </a:lnTo>
                  <a:lnTo>
                    <a:pt x="212" y="358"/>
                  </a:lnTo>
                  <a:lnTo>
                    <a:pt x="209" y="361"/>
                  </a:lnTo>
                  <a:lnTo>
                    <a:pt x="209" y="363"/>
                  </a:lnTo>
                  <a:lnTo>
                    <a:pt x="209" y="366"/>
                  </a:lnTo>
                  <a:lnTo>
                    <a:pt x="207" y="366"/>
                  </a:lnTo>
                  <a:lnTo>
                    <a:pt x="204" y="366"/>
                  </a:lnTo>
                  <a:lnTo>
                    <a:pt x="202" y="366"/>
                  </a:lnTo>
                  <a:lnTo>
                    <a:pt x="200" y="366"/>
                  </a:lnTo>
                  <a:lnTo>
                    <a:pt x="197" y="366"/>
                  </a:lnTo>
                  <a:lnTo>
                    <a:pt x="197" y="368"/>
                  </a:lnTo>
                  <a:lnTo>
                    <a:pt x="195" y="366"/>
                  </a:lnTo>
                  <a:lnTo>
                    <a:pt x="193" y="366"/>
                  </a:lnTo>
                  <a:lnTo>
                    <a:pt x="193" y="368"/>
                  </a:lnTo>
                  <a:lnTo>
                    <a:pt x="190" y="368"/>
                  </a:lnTo>
                  <a:lnTo>
                    <a:pt x="190" y="366"/>
                  </a:lnTo>
                  <a:lnTo>
                    <a:pt x="190" y="368"/>
                  </a:lnTo>
                  <a:lnTo>
                    <a:pt x="188" y="368"/>
                  </a:lnTo>
                  <a:lnTo>
                    <a:pt x="188" y="370"/>
                  </a:lnTo>
                  <a:lnTo>
                    <a:pt x="185" y="370"/>
                  </a:lnTo>
                  <a:lnTo>
                    <a:pt x="183" y="370"/>
                  </a:lnTo>
                  <a:lnTo>
                    <a:pt x="183" y="373"/>
                  </a:lnTo>
                  <a:lnTo>
                    <a:pt x="181" y="373"/>
                  </a:lnTo>
                  <a:lnTo>
                    <a:pt x="181" y="375"/>
                  </a:lnTo>
                  <a:lnTo>
                    <a:pt x="178" y="375"/>
                  </a:lnTo>
                  <a:lnTo>
                    <a:pt x="176" y="375"/>
                  </a:lnTo>
                  <a:lnTo>
                    <a:pt x="178" y="375"/>
                  </a:lnTo>
                  <a:lnTo>
                    <a:pt x="176" y="375"/>
                  </a:lnTo>
                  <a:lnTo>
                    <a:pt x="174" y="375"/>
                  </a:lnTo>
                  <a:lnTo>
                    <a:pt x="171" y="375"/>
                  </a:lnTo>
                  <a:lnTo>
                    <a:pt x="169" y="375"/>
                  </a:lnTo>
                  <a:lnTo>
                    <a:pt x="169" y="373"/>
                  </a:lnTo>
                  <a:lnTo>
                    <a:pt x="166" y="373"/>
                  </a:lnTo>
                  <a:lnTo>
                    <a:pt x="164" y="373"/>
                  </a:lnTo>
                  <a:lnTo>
                    <a:pt x="166" y="370"/>
                  </a:lnTo>
                  <a:lnTo>
                    <a:pt x="166" y="368"/>
                  </a:lnTo>
                  <a:lnTo>
                    <a:pt x="164" y="370"/>
                  </a:lnTo>
                  <a:lnTo>
                    <a:pt x="162" y="370"/>
                  </a:lnTo>
                  <a:lnTo>
                    <a:pt x="162" y="368"/>
                  </a:lnTo>
                  <a:lnTo>
                    <a:pt x="159" y="370"/>
                  </a:lnTo>
                  <a:lnTo>
                    <a:pt x="159" y="368"/>
                  </a:lnTo>
                  <a:lnTo>
                    <a:pt x="157" y="368"/>
                  </a:lnTo>
                  <a:lnTo>
                    <a:pt x="155" y="368"/>
                  </a:lnTo>
                  <a:lnTo>
                    <a:pt x="155" y="370"/>
                  </a:lnTo>
                  <a:lnTo>
                    <a:pt x="155" y="368"/>
                  </a:lnTo>
                  <a:lnTo>
                    <a:pt x="155" y="370"/>
                  </a:lnTo>
                  <a:lnTo>
                    <a:pt x="152" y="368"/>
                  </a:lnTo>
                  <a:lnTo>
                    <a:pt x="150" y="368"/>
                  </a:lnTo>
                  <a:lnTo>
                    <a:pt x="152" y="368"/>
                  </a:lnTo>
                  <a:lnTo>
                    <a:pt x="152" y="370"/>
                  </a:lnTo>
                  <a:lnTo>
                    <a:pt x="150" y="370"/>
                  </a:lnTo>
                  <a:lnTo>
                    <a:pt x="152" y="370"/>
                  </a:lnTo>
                  <a:lnTo>
                    <a:pt x="152" y="373"/>
                  </a:lnTo>
                  <a:lnTo>
                    <a:pt x="152" y="375"/>
                  </a:lnTo>
                  <a:lnTo>
                    <a:pt x="150" y="375"/>
                  </a:lnTo>
                  <a:lnTo>
                    <a:pt x="152" y="377"/>
                  </a:lnTo>
                  <a:lnTo>
                    <a:pt x="150" y="377"/>
                  </a:lnTo>
                  <a:lnTo>
                    <a:pt x="147" y="377"/>
                  </a:lnTo>
                  <a:lnTo>
                    <a:pt x="147" y="380"/>
                  </a:lnTo>
                  <a:lnTo>
                    <a:pt x="145" y="382"/>
                  </a:lnTo>
                  <a:lnTo>
                    <a:pt x="143" y="382"/>
                  </a:lnTo>
                  <a:lnTo>
                    <a:pt x="143" y="380"/>
                  </a:lnTo>
                  <a:lnTo>
                    <a:pt x="143" y="377"/>
                  </a:lnTo>
                  <a:lnTo>
                    <a:pt x="145" y="377"/>
                  </a:lnTo>
                  <a:lnTo>
                    <a:pt x="145" y="375"/>
                  </a:lnTo>
                  <a:lnTo>
                    <a:pt x="143" y="377"/>
                  </a:lnTo>
                  <a:lnTo>
                    <a:pt x="143" y="375"/>
                  </a:lnTo>
                  <a:lnTo>
                    <a:pt x="143" y="377"/>
                  </a:lnTo>
                  <a:lnTo>
                    <a:pt x="140" y="377"/>
                  </a:lnTo>
                  <a:lnTo>
                    <a:pt x="140" y="375"/>
                  </a:lnTo>
                  <a:lnTo>
                    <a:pt x="138" y="375"/>
                  </a:lnTo>
                  <a:lnTo>
                    <a:pt x="140" y="375"/>
                  </a:lnTo>
                  <a:lnTo>
                    <a:pt x="140" y="373"/>
                  </a:lnTo>
                  <a:lnTo>
                    <a:pt x="138" y="373"/>
                  </a:lnTo>
                  <a:lnTo>
                    <a:pt x="138" y="370"/>
                  </a:lnTo>
                  <a:lnTo>
                    <a:pt x="138" y="373"/>
                  </a:lnTo>
                  <a:lnTo>
                    <a:pt x="136" y="373"/>
                  </a:lnTo>
                  <a:lnTo>
                    <a:pt x="136" y="370"/>
                  </a:lnTo>
                  <a:lnTo>
                    <a:pt x="136" y="368"/>
                  </a:lnTo>
                  <a:lnTo>
                    <a:pt x="136" y="370"/>
                  </a:lnTo>
                  <a:lnTo>
                    <a:pt x="133" y="370"/>
                  </a:lnTo>
                  <a:lnTo>
                    <a:pt x="133" y="368"/>
                  </a:lnTo>
                  <a:lnTo>
                    <a:pt x="133" y="370"/>
                  </a:lnTo>
                  <a:lnTo>
                    <a:pt x="131" y="370"/>
                  </a:lnTo>
                  <a:lnTo>
                    <a:pt x="131" y="368"/>
                  </a:lnTo>
                  <a:lnTo>
                    <a:pt x="131" y="366"/>
                  </a:lnTo>
                  <a:lnTo>
                    <a:pt x="129" y="366"/>
                  </a:lnTo>
                  <a:lnTo>
                    <a:pt x="129" y="368"/>
                  </a:lnTo>
                  <a:lnTo>
                    <a:pt x="129" y="370"/>
                  </a:lnTo>
                  <a:lnTo>
                    <a:pt x="126" y="370"/>
                  </a:lnTo>
                  <a:lnTo>
                    <a:pt x="121" y="368"/>
                  </a:lnTo>
                  <a:lnTo>
                    <a:pt x="119" y="368"/>
                  </a:lnTo>
                  <a:lnTo>
                    <a:pt x="117" y="366"/>
                  </a:lnTo>
                  <a:lnTo>
                    <a:pt x="110" y="363"/>
                  </a:lnTo>
                  <a:lnTo>
                    <a:pt x="107" y="363"/>
                  </a:lnTo>
                  <a:lnTo>
                    <a:pt x="102" y="363"/>
                  </a:lnTo>
                  <a:lnTo>
                    <a:pt x="100" y="363"/>
                  </a:lnTo>
                  <a:lnTo>
                    <a:pt x="98" y="363"/>
                  </a:lnTo>
                  <a:lnTo>
                    <a:pt x="100" y="361"/>
                  </a:lnTo>
                  <a:lnTo>
                    <a:pt x="98" y="361"/>
                  </a:lnTo>
                  <a:lnTo>
                    <a:pt x="100" y="361"/>
                  </a:lnTo>
                  <a:lnTo>
                    <a:pt x="98" y="361"/>
                  </a:lnTo>
                  <a:lnTo>
                    <a:pt x="95" y="361"/>
                  </a:lnTo>
                  <a:lnTo>
                    <a:pt x="98" y="361"/>
                  </a:lnTo>
                  <a:lnTo>
                    <a:pt x="98" y="363"/>
                  </a:lnTo>
                  <a:lnTo>
                    <a:pt x="95" y="363"/>
                  </a:lnTo>
                  <a:lnTo>
                    <a:pt x="95" y="361"/>
                  </a:lnTo>
                  <a:lnTo>
                    <a:pt x="95" y="358"/>
                  </a:lnTo>
                  <a:lnTo>
                    <a:pt x="93" y="358"/>
                  </a:lnTo>
                  <a:lnTo>
                    <a:pt x="93" y="356"/>
                  </a:lnTo>
                  <a:lnTo>
                    <a:pt x="93" y="358"/>
                  </a:lnTo>
                  <a:lnTo>
                    <a:pt x="91" y="358"/>
                  </a:lnTo>
                  <a:lnTo>
                    <a:pt x="91" y="356"/>
                  </a:lnTo>
                  <a:lnTo>
                    <a:pt x="88" y="356"/>
                  </a:lnTo>
                  <a:lnTo>
                    <a:pt x="91" y="358"/>
                  </a:lnTo>
                  <a:lnTo>
                    <a:pt x="88" y="358"/>
                  </a:lnTo>
                  <a:lnTo>
                    <a:pt x="86" y="358"/>
                  </a:lnTo>
                  <a:lnTo>
                    <a:pt x="86" y="361"/>
                  </a:lnTo>
                  <a:lnTo>
                    <a:pt x="83" y="361"/>
                  </a:lnTo>
                  <a:lnTo>
                    <a:pt x="86" y="363"/>
                  </a:lnTo>
                  <a:lnTo>
                    <a:pt x="83" y="363"/>
                  </a:lnTo>
                  <a:lnTo>
                    <a:pt x="86" y="363"/>
                  </a:lnTo>
                  <a:lnTo>
                    <a:pt x="88" y="363"/>
                  </a:lnTo>
                  <a:lnTo>
                    <a:pt x="91" y="363"/>
                  </a:lnTo>
                  <a:lnTo>
                    <a:pt x="91" y="366"/>
                  </a:lnTo>
                  <a:lnTo>
                    <a:pt x="91" y="363"/>
                  </a:lnTo>
                  <a:lnTo>
                    <a:pt x="91" y="366"/>
                  </a:lnTo>
                  <a:lnTo>
                    <a:pt x="88" y="366"/>
                  </a:lnTo>
                  <a:lnTo>
                    <a:pt x="91" y="366"/>
                  </a:lnTo>
                  <a:lnTo>
                    <a:pt x="88" y="366"/>
                  </a:lnTo>
                  <a:lnTo>
                    <a:pt x="86" y="366"/>
                  </a:lnTo>
                  <a:lnTo>
                    <a:pt x="86" y="368"/>
                  </a:lnTo>
                  <a:lnTo>
                    <a:pt x="83" y="368"/>
                  </a:lnTo>
                  <a:lnTo>
                    <a:pt x="81" y="368"/>
                  </a:lnTo>
                  <a:lnTo>
                    <a:pt x="81" y="366"/>
                  </a:lnTo>
                  <a:lnTo>
                    <a:pt x="79" y="366"/>
                  </a:lnTo>
                  <a:lnTo>
                    <a:pt x="76" y="366"/>
                  </a:lnTo>
                  <a:lnTo>
                    <a:pt x="76" y="368"/>
                  </a:lnTo>
                  <a:lnTo>
                    <a:pt x="74" y="368"/>
                  </a:lnTo>
                  <a:lnTo>
                    <a:pt x="72" y="368"/>
                  </a:lnTo>
                  <a:lnTo>
                    <a:pt x="69" y="368"/>
                  </a:lnTo>
                  <a:lnTo>
                    <a:pt x="67" y="368"/>
                  </a:lnTo>
                  <a:lnTo>
                    <a:pt x="67" y="366"/>
                  </a:lnTo>
                  <a:lnTo>
                    <a:pt x="64" y="368"/>
                  </a:lnTo>
                  <a:lnTo>
                    <a:pt x="64" y="366"/>
                  </a:lnTo>
                  <a:lnTo>
                    <a:pt x="64" y="368"/>
                  </a:lnTo>
                  <a:lnTo>
                    <a:pt x="62" y="368"/>
                  </a:lnTo>
                  <a:lnTo>
                    <a:pt x="60" y="370"/>
                  </a:lnTo>
                  <a:lnTo>
                    <a:pt x="60" y="368"/>
                  </a:lnTo>
                  <a:lnTo>
                    <a:pt x="57" y="368"/>
                  </a:lnTo>
                  <a:lnTo>
                    <a:pt x="60" y="368"/>
                  </a:lnTo>
                  <a:lnTo>
                    <a:pt x="60" y="366"/>
                  </a:lnTo>
                  <a:lnTo>
                    <a:pt x="57" y="368"/>
                  </a:lnTo>
                  <a:lnTo>
                    <a:pt x="57" y="366"/>
                  </a:lnTo>
                  <a:lnTo>
                    <a:pt x="55" y="363"/>
                  </a:lnTo>
                  <a:lnTo>
                    <a:pt x="55" y="361"/>
                  </a:lnTo>
                  <a:lnTo>
                    <a:pt x="55" y="358"/>
                  </a:lnTo>
                  <a:lnTo>
                    <a:pt x="55" y="356"/>
                  </a:lnTo>
                  <a:lnTo>
                    <a:pt x="57" y="354"/>
                  </a:lnTo>
                  <a:lnTo>
                    <a:pt x="55" y="354"/>
                  </a:lnTo>
                  <a:lnTo>
                    <a:pt x="57" y="354"/>
                  </a:lnTo>
                  <a:lnTo>
                    <a:pt x="57" y="351"/>
                  </a:lnTo>
                  <a:lnTo>
                    <a:pt x="57" y="349"/>
                  </a:lnTo>
                  <a:lnTo>
                    <a:pt x="57" y="347"/>
                  </a:lnTo>
                  <a:lnTo>
                    <a:pt x="57" y="344"/>
                  </a:lnTo>
                  <a:lnTo>
                    <a:pt x="57" y="342"/>
                  </a:lnTo>
                  <a:lnTo>
                    <a:pt x="57" y="339"/>
                  </a:lnTo>
                  <a:lnTo>
                    <a:pt x="57" y="337"/>
                  </a:lnTo>
                  <a:lnTo>
                    <a:pt x="60" y="337"/>
                  </a:lnTo>
                  <a:lnTo>
                    <a:pt x="60" y="335"/>
                  </a:lnTo>
                  <a:lnTo>
                    <a:pt x="60" y="332"/>
                  </a:lnTo>
                  <a:lnTo>
                    <a:pt x="62" y="332"/>
                  </a:lnTo>
                  <a:lnTo>
                    <a:pt x="62" y="330"/>
                  </a:lnTo>
                  <a:lnTo>
                    <a:pt x="62" y="328"/>
                  </a:lnTo>
                  <a:lnTo>
                    <a:pt x="62" y="325"/>
                  </a:lnTo>
                  <a:lnTo>
                    <a:pt x="62" y="323"/>
                  </a:lnTo>
                  <a:lnTo>
                    <a:pt x="64" y="323"/>
                  </a:lnTo>
                  <a:lnTo>
                    <a:pt x="64" y="320"/>
                  </a:lnTo>
                  <a:lnTo>
                    <a:pt x="64" y="318"/>
                  </a:lnTo>
                  <a:lnTo>
                    <a:pt x="64" y="316"/>
                  </a:lnTo>
                  <a:lnTo>
                    <a:pt x="67" y="316"/>
                  </a:lnTo>
                  <a:lnTo>
                    <a:pt x="67" y="313"/>
                  </a:lnTo>
                  <a:lnTo>
                    <a:pt x="69" y="313"/>
                  </a:lnTo>
                  <a:lnTo>
                    <a:pt x="69" y="311"/>
                  </a:lnTo>
                  <a:lnTo>
                    <a:pt x="72" y="311"/>
                  </a:lnTo>
                  <a:lnTo>
                    <a:pt x="72" y="309"/>
                  </a:lnTo>
                  <a:lnTo>
                    <a:pt x="74" y="309"/>
                  </a:lnTo>
                  <a:lnTo>
                    <a:pt x="74" y="306"/>
                  </a:lnTo>
                  <a:lnTo>
                    <a:pt x="76" y="304"/>
                  </a:lnTo>
                  <a:lnTo>
                    <a:pt x="76" y="301"/>
                  </a:lnTo>
                  <a:lnTo>
                    <a:pt x="79" y="301"/>
                  </a:lnTo>
                  <a:lnTo>
                    <a:pt x="76" y="301"/>
                  </a:lnTo>
                  <a:lnTo>
                    <a:pt x="76" y="299"/>
                  </a:lnTo>
                  <a:lnTo>
                    <a:pt x="74" y="299"/>
                  </a:lnTo>
                  <a:lnTo>
                    <a:pt x="72" y="299"/>
                  </a:lnTo>
                  <a:lnTo>
                    <a:pt x="72" y="297"/>
                  </a:lnTo>
                  <a:lnTo>
                    <a:pt x="69" y="299"/>
                  </a:lnTo>
                  <a:lnTo>
                    <a:pt x="69" y="297"/>
                  </a:lnTo>
                  <a:lnTo>
                    <a:pt x="67" y="297"/>
                  </a:lnTo>
                  <a:lnTo>
                    <a:pt x="64" y="297"/>
                  </a:lnTo>
                  <a:lnTo>
                    <a:pt x="62" y="297"/>
                  </a:lnTo>
                  <a:lnTo>
                    <a:pt x="60" y="297"/>
                  </a:lnTo>
                  <a:lnTo>
                    <a:pt x="57" y="294"/>
                  </a:lnTo>
                  <a:lnTo>
                    <a:pt x="55" y="294"/>
                  </a:lnTo>
                  <a:lnTo>
                    <a:pt x="55" y="292"/>
                  </a:lnTo>
                  <a:lnTo>
                    <a:pt x="53" y="292"/>
                  </a:lnTo>
                  <a:lnTo>
                    <a:pt x="53" y="290"/>
                  </a:lnTo>
                  <a:lnTo>
                    <a:pt x="50" y="290"/>
                  </a:lnTo>
                  <a:lnTo>
                    <a:pt x="50" y="292"/>
                  </a:lnTo>
                  <a:lnTo>
                    <a:pt x="48" y="292"/>
                  </a:lnTo>
                  <a:lnTo>
                    <a:pt x="48" y="294"/>
                  </a:lnTo>
                  <a:lnTo>
                    <a:pt x="45" y="292"/>
                  </a:lnTo>
                  <a:lnTo>
                    <a:pt x="43" y="294"/>
                  </a:lnTo>
                  <a:lnTo>
                    <a:pt x="43" y="292"/>
                  </a:lnTo>
                  <a:lnTo>
                    <a:pt x="41" y="292"/>
                  </a:lnTo>
                  <a:lnTo>
                    <a:pt x="41" y="294"/>
                  </a:lnTo>
                  <a:lnTo>
                    <a:pt x="38" y="294"/>
                  </a:lnTo>
                  <a:lnTo>
                    <a:pt x="38" y="292"/>
                  </a:lnTo>
                  <a:lnTo>
                    <a:pt x="38" y="290"/>
                  </a:lnTo>
                  <a:lnTo>
                    <a:pt x="38" y="287"/>
                  </a:lnTo>
                  <a:lnTo>
                    <a:pt x="36" y="287"/>
                  </a:lnTo>
                  <a:lnTo>
                    <a:pt x="36" y="290"/>
                  </a:lnTo>
                  <a:lnTo>
                    <a:pt x="34" y="290"/>
                  </a:lnTo>
                  <a:lnTo>
                    <a:pt x="31" y="290"/>
                  </a:lnTo>
                  <a:lnTo>
                    <a:pt x="34" y="290"/>
                  </a:lnTo>
                  <a:lnTo>
                    <a:pt x="34" y="292"/>
                  </a:lnTo>
                  <a:lnTo>
                    <a:pt x="31" y="292"/>
                  </a:lnTo>
                  <a:lnTo>
                    <a:pt x="29" y="292"/>
                  </a:lnTo>
                  <a:lnTo>
                    <a:pt x="29" y="290"/>
                  </a:lnTo>
                  <a:lnTo>
                    <a:pt x="26" y="290"/>
                  </a:lnTo>
                  <a:lnTo>
                    <a:pt x="26" y="287"/>
                  </a:lnTo>
                  <a:lnTo>
                    <a:pt x="26" y="285"/>
                  </a:lnTo>
                  <a:lnTo>
                    <a:pt x="24" y="285"/>
                  </a:lnTo>
                  <a:lnTo>
                    <a:pt x="24" y="282"/>
                  </a:lnTo>
                  <a:lnTo>
                    <a:pt x="22" y="282"/>
                  </a:lnTo>
                  <a:lnTo>
                    <a:pt x="24" y="282"/>
                  </a:lnTo>
                  <a:lnTo>
                    <a:pt x="24" y="280"/>
                  </a:lnTo>
                  <a:lnTo>
                    <a:pt x="22" y="280"/>
                  </a:lnTo>
                  <a:lnTo>
                    <a:pt x="22" y="278"/>
                  </a:lnTo>
                  <a:lnTo>
                    <a:pt x="19" y="278"/>
                  </a:lnTo>
                  <a:lnTo>
                    <a:pt x="19" y="275"/>
                  </a:lnTo>
                  <a:lnTo>
                    <a:pt x="19" y="278"/>
                  </a:lnTo>
                  <a:lnTo>
                    <a:pt x="17" y="278"/>
                  </a:lnTo>
                  <a:lnTo>
                    <a:pt x="17" y="275"/>
                  </a:lnTo>
                  <a:lnTo>
                    <a:pt x="17" y="273"/>
                  </a:lnTo>
                  <a:lnTo>
                    <a:pt x="17" y="270"/>
                  </a:lnTo>
                  <a:lnTo>
                    <a:pt x="19" y="270"/>
                  </a:lnTo>
                  <a:lnTo>
                    <a:pt x="19" y="268"/>
                  </a:lnTo>
                  <a:lnTo>
                    <a:pt x="19" y="266"/>
                  </a:lnTo>
                  <a:lnTo>
                    <a:pt x="22" y="266"/>
                  </a:lnTo>
                  <a:lnTo>
                    <a:pt x="22" y="263"/>
                  </a:lnTo>
                  <a:lnTo>
                    <a:pt x="22" y="261"/>
                  </a:lnTo>
                  <a:lnTo>
                    <a:pt x="22" y="259"/>
                  </a:lnTo>
                  <a:lnTo>
                    <a:pt x="19" y="259"/>
                  </a:lnTo>
                  <a:lnTo>
                    <a:pt x="19" y="261"/>
                  </a:lnTo>
                  <a:lnTo>
                    <a:pt x="19" y="259"/>
                  </a:lnTo>
                  <a:lnTo>
                    <a:pt x="19" y="261"/>
                  </a:lnTo>
                  <a:lnTo>
                    <a:pt x="19" y="259"/>
                  </a:lnTo>
                  <a:lnTo>
                    <a:pt x="17" y="259"/>
                  </a:lnTo>
                  <a:lnTo>
                    <a:pt x="15" y="259"/>
                  </a:lnTo>
                  <a:lnTo>
                    <a:pt x="15" y="256"/>
                  </a:lnTo>
                  <a:lnTo>
                    <a:pt x="12" y="256"/>
                  </a:lnTo>
                  <a:lnTo>
                    <a:pt x="12" y="254"/>
                  </a:lnTo>
                  <a:lnTo>
                    <a:pt x="12" y="251"/>
                  </a:lnTo>
                  <a:lnTo>
                    <a:pt x="10" y="251"/>
                  </a:lnTo>
                  <a:lnTo>
                    <a:pt x="10" y="254"/>
                  </a:lnTo>
                  <a:lnTo>
                    <a:pt x="10" y="251"/>
                  </a:lnTo>
                  <a:lnTo>
                    <a:pt x="10" y="249"/>
                  </a:lnTo>
                  <a:lnTo>
                    <a:pt x="10" y="247"/>
                  </a:lnTo>
                  <a:lnTo>
                    <a:pt x="8" y="247"/>
                  </a:lnTo>
                  <a:lnTo>
                    <a:pt x="8" y="249"/>
                  </a:lnTo>
                  <a:lnTo>
                    <a:pt x="8" y="247"/>
                  </a:lnTo>
                  <a:lnTo>
                    <a:pt x="10" y="247"/>
                  </a:lnTo>
                  <a:lnTo>
                    <a:pt x="8" y="247"/>
                  </a:lnTo>
                  <a:lnTo>
                    <a:pt x="10" y="247"/>
                  </a:lnTo>
                  <a:lnTo>
                    <a:pt x="8" y="247"/>
                  </a:lnTo>
                  <a:lnTo>
                    <a:pt x="10" y="247"/>
                  </a:lnTo>
                  <a:lnTo>
                    <a:pt x="10" y="244"/>
                  </a:lnTo>
                  <a:lnTo>
                    <a:pt x="10" y="242"/>
                  </a:lnTo>
                  <a:lnTo>
                    <a:pt x="10" y="240"/>
                  </a:lnTo>
                  <a:lnTo>
                    <a:pt x="12" y="240"/>
                  </a:lnTo>
                  <a:lnTo>
                    <a:pt x="12" y="237"/>
                  </a:lnTo>
                  <a:lnTo>
                    <a:pt x="15" y="237"/>
                  </a:lnTo>
                  <a:lnTo>
                    <a:pt x="15" y="235"/>
                  </a:lnTo>
                  <a:lnTo>
                    <a:pt x="17" y="235"/>
                  </a:lnTo>
                  <a:lnTo>
                    <a:pt x="17" y="232"/>
                  </a:lnTo>
                  <a:lnTo>
                    <a:pt x="15" y="232"/>
                  </a:lnTo>
                  <a:lnTo>
                    <a:pt x="17" y="232"/>
                  </a:lnTo>
                  <a:lnTo>
                    <a:pt x="17" y="230"/>
                  </a:lnTo>
                  <a:lnTo>
                    <a:pt x="17" y="228"/>
                  </a:lnTo>
                  <a:lnTo>
                    <a:pt x="15" y="228"/>
                  </a:lnTo>
                  <a:lnTo>
                    <a:pt x="15" y="225"/>
                  </a:lnTo>
                  <a:lnTo>
                    <a:pt x="12" y="225"/>
                  </a:lnTo>
                  <a:lnTo>
                    <a:pt x="12" y="228"/>
                  </a:lnTo>
                  <a:lnTo>
                    <a:pt x="12" y="225"/>
                  </a:lnTo>
                  <a:lnTo>
                    <a:pt x="10" y="225"/>
                  </a:lnTo>
                  <a:lnTo>
                    <a:pt x="10" y="223"/>
                  </a:lnTo>
                  <a:lnTo>
                    <a:pt x="12" y="223"/>
                  </a:lnTo>
                  <a:lnTo>
                    <a:pt x="12" y="221"/>
                  </a:lnTo>
                  <a:lnTo>
                    <a:pt x="15" y="221"/>
                  </a:lnTo>
                  <a:lnTo>
                    <a:pt x="12" y="221"/>
                  </a:lnTo>
                  <a:lnTo>
                    <a:pt x="10" y="221"/>
                  </a:lnTo>
                  <a:lnTo>
                    <a:pt x="10" y="218"/>
                  </a:lnTo>
                  <a:lnTo>
                    <a:pt x="10" y="216"/>
                  </a:lnTo>
                  <a:lnTo>
                    <a:pt x="8" y="216"/>
                  </a:lnTo>
                  <a:lnTo>
                    <a:pt x="5" y="216"/>
                  </a:lnTo>
                  <a:lnTo>
                    <a:pt x="5" y="213"/>
                  </a:lnTo>
                  <a:lnTo>
                    <a:pt x="5" y="211"/>
                  </a:lnTo>
                  <a:lnTo>
                    <a:pt x="5" y="209"/>
                  </a:lnTo>
                  <a:lnTo>
                    <a:pt x="8" y="209"/>
                  </a:lnTo>
                  <a:lnTo>
                    <a:pt x="8" y="206"/>
                  </a:lnTo>
                  <a:lnTo>
                    <a:pt x="5" y="206"/>
                  </a:lnTo>
                  <a:lnTo>
                    <a:pt x="5" y="204"/>
                  </a:lnTo>
                  <a:lnTo>
                    <a:pt x="3" y="202"/>
                  </a:lnTo>
                  <a:lnTo>
                    <a:pt x="3" y="204"/>
                  </a:lnTo>
                  <a:lnTo>
                    <a:pt x="0" y="204"/>
                  </a:lnTo>
                  <a:lnTo>
                    <a:pt x="0" y="202"/>
                  </a:lnTo>
                  <a:lnTo>
                    <a:pt x="3" y="202"/>
                  </a:lnTo>
                  <a:lnTo>
                    <a:pt x="0" y="202"/>
                  </a:lnTo>
                  <a:lnTo>
                    <a:pt x="0" y="199"/>
                  </a:lnTo>
                  <a:lnTo>
                    <a:pt x="3" y="199"/>
                  </a:lnTo>
                  <a:lnTo>
                    <a:pt x="5" y="199"/>
                  </a:lnTo>
                  <a:lnTo>
                    <a:pt x="5" y="197"/>
                  </a:lnTo>
                  <a:lnTo>
                    <a:pt x="8" y="197"/>
                  </a:lnTo>
                  <a:lnTo>
                    <a:pt x="8" y="194"/>
                  </a:lnTo>
                  <a:lnTo>
                    <a:pt x="10" y="194"/>
                  </a:lnTo>
                  <a:lnTo>
                    <a:pt x="10" y="192"/>
                  </a:lnTo>
                  <a:lnTo>
                    <a:pt x="8" y="194"/>
                  </a:lnTo>
                  <a:lnTo>
                    <a:pt x="8" y="192"/>
                  </a:lnTo>
                  <a:lnTo>
                    <a:pt x="8" y="190"/>
                  </a:lnTo>
                  <a:lnTo>
                    <a:pt x="10" y="190"/>
                  </a:lnTo>
                  <a:lnTo>
                    <a:pt x="10" y="187"/>
                  </a:lnTo>
                  <a:lnTo>
                    <a:pt x="10" y="185"/>
                  </a:lnTo>
                  <a:lnTo>
                    <a:pt x="12" y="185"/>
                  </a:lnTo>
                  <a:lnTo>
                    <a:pt x="12" y="183"/>
                  </a:lnTo>
                  <a:lnTo>
                    <a:pt x="12" y="180"/>
                  </a:lnTo>
                  <a:lnTo>
                    <a:pt x="12" y="178"/>
                  </a:lnTo>
                  <a:lnTo>
                    <a:pt x="12" y="175"/>
                  </a:lnTo>
                  <a:lnTo>
                    <a:pt x="10" y="175"/>
                  </a:lnTo>
                  <a:lnTo>
                    <a:pt x="10" y="173"/>
                  </a:lnTo>
                  <a:lnTo>
                    <a:pt x="8" y="173"/>
                  </a:lnTo>
                  <a:lnTo>
                    <a:pt x="8" y="171"/>
                  </a:lnTo>
                  <a:lnTo>
                    <a:pt x="8" y="168"/>
                  </a:lnTo>
                  <a:lnTo>
                    <a:pt x="5" y="168"/>
                  </a:lnTo>
                  <a:lnTo>
                    <a:pt x="5" y="166"/>
                  </a:lnTo>
                  <a:lnTo>
                    <a:pt x="3" y="166"/>
                  </a:lnTo>
                  <a:lnTo>
                    <a:pt x="5" y="164"/>
                  </a:lnTo>
                  <a:lnTo>
                    <a:pt x="3" y="164"/>
                  </a:lnTo>
                  <a:lnTo>
                    <a:pt x="3" y="161"/>
                  </a:lnTo>
                  <a:lnTo>
                    <a:pt x="5" y="161"/>
                  </a:lnTo>
                  <a:lnTo>
                    <a:pt x="8" y="159"/>
                  </a:lnTo>
                  <a:lnTo>
                    <a:pt x="8" y="161"/>
                  </a:lnTo>
                  <a:lnTo>
                    <a:pt x="10" y="161"/>
                  </a:lnTo>
                  <a:lnTo>
                    <a:pt x="10" y="159"/>
                  </a:lnTo>
                  <a:lnTo>
                    <a:pt x="8" y="159"/>
                  </a:lnTo>
                  <a:lnTo>
                    <a:pt x="10" y="159"/>
                  </a:lnTo>
                  <a:lnTo>
                    <a:pt x="12" y="159"/>
                  </a:lnTo>
                  <a:lnTo>
                    <a:pt x="15" y="159"/>
                  </a:lnTo>
                  <a:lnTo>
                    <a:pt x="15" y="161"/>
                  </a:lnTo>
                  <a:lnTo>
                    <a:pt x="17" y="161"/>
                  </a:lnTo>
                  <a:lnTo>
                    <a:pt x="19" y="161"/>
                  </a:lnTo>
                  <a:lnTo>
                    <a:pt x="17" y="161"/>
                  </a:lnTo>
                  <a:lnTo>
                    <a:pt x="17" y="159"/>
                  </a:lnTo>
                  <a:lnTo>
                    <a:pt x="19" y="159"/>
                  </a:lnTo>
                  <a:lnTo>
                    <a:pt x="22" y="159"/>
                  </a:lnTo>
                  <a:lnTo>
                    <a:pt x="24" y="159"/>
                  </a:lnTo>
                  <a:lnTo>
                    <a:pt x="26" y="159"/>
                  </a:lnTo>
                  <a:lnTo>
                    <a:pt x="26" y="156"/>
                  </a:lnTo>
                  <a:lnTo>
                    <a:pt x="29" y="156"/>
                  </a:lnTo>
                  <a:lnTo>
                    <a:pt x="29" y="159"/>
                  </a:lnTo>
                  <a:lnTo>
                    <a:pt x="29" y="156"/>
                  </a:lnTo>
                  <a:lnTo>
                    <a:pt x="31" y="156"/>
                  </a:lnTo>
                  <a:lnTo>
                    <a:pt x="31" y="154"/>
                  </a:lnTo>
                  <a:lnTo>
                    <a:pt x="29" y="152"/>
                  </a:lnTo>
                  <a:lnTo>
                    <a:pt x="26" y="152"/>
                  </a:lnTo>
                  <a:lnTo>
                    <a:pt x="26" y="149"/>
                  </a:lnTo>
                  <a:lnTo>
                    <a:pt x="29" y="149"/>
                  </a:lnTo>
                  <a:lnTo>
                    <a:pt x="29" y="147"/>
                  </a:lnTo>
                  <a:lnTo>
                    <a:pt x="31" y="147"/>
                  </a:lnTo>
                  <a:lnTo>
                    <a:pt x="34" y="147"/>
                  </a:lnTo>
                  <a:lnTo>
                    <a:pt x="34" y="145"/>
                  </a:lnTo>
                  <a:lnTo>
                    <a:pt x="36" y="145"/>
                  </a:lnTo>
                  <a:lnTo>
                    <a:pt x="36" y="142"/>
                  </a:lnTo>
                  <a:lnTo>
                    <a:pt x="38" y="142"/>
                  </a:lnTo>
                  <a:lnTo>
                    <a:pt x="41" y="142"/>
                  </a:lnTo>
                  <a:lnTo>
                    <a:pt x="38" y="140"/>
                  </a:lnTo>
                  <a:lnTo>
                    <a:pt x="38" y="137"/>
                  </a:lnTo>
                  <a:lnTo>
                    <a:pt x="41" y="135"/>
                  </a:lnTo>
                  <a:lnTo>
                    <a:pt x="41" y="133"/>
                  </a:lnTo>
                  <a:lnTo>
                    <a:pt x="38" y="133"/>
                  </a:lnTo>
                  <a:lnTo>
                    <a:pt x="38" y="130"/>
                  </a:lnTo>
                  <a:lnTo>
                    <a:pt x="36" y="130"/>
                  </a:lnTo>
                  <a:lnTo>
                    <a:pt x="34" y="130"/>
                  </a:lnTo>
                  <a:lnTo>
                    <a:pt x="31" y="130"/>
                  </a:lnTo>
                  <a:lnTo>
                    <a:pt x="29" y="130"/>
                  </a:lnTo>
                  <a:lnTo>
                    <a:pt x="29" y="128"/>
                  </a:lnTo>
                  <a:lnTo>
                    <a:pt x="26" y="126"/>
                  </a:lnTo>
                  <a:lnTo>
                    <a:pt x="29" y="126"/>
                  </a:lnTo>
                  <a:lnTo>
                    <a:pt x="31" y="126"/>
                  </a:lnTo>
                  <a:lnTo>
                    <a:pt x="29" y="123"/>
                  </a:lnTo>
                  <a:lnTo>
                    <a:pt x="29" y="121"/>
                  </a:lnTo>
                  <a:lnTo>
                    <a:pt x="31" y="121"/>
                  </a:lnTo>
                  <a:lnTo>
                    <a:pt x="34" y="121"/>
                  </a:lnTo>
                  <a:lnTo>
                    <a:pt x="36" y="121"/>
                  </a:lnTo>
                  <a:lnTo>
                    <a:pt x="38" y="121"/>
                  </a:lnTo>
                  <a:lnTo>
                    <a:pt x="41" y="118"/>
                  </a:lnTo>
                  <a:lnTo>
                    <a:pt x="41" y="114"/>
                  </a:lnTo>
                  <a:lnTo>
                    <a:pt x="41" y="111"/>
                  </a:lnTo>
                  <a:lnTo>
                    <a:pt x="41" y="109"/>
                  </a:lnTo>
                  <a:lnTo>
                    <a:pt x="43" y="107"/>
                  </a:lnTo>
                  <a:lnTo>
                    <a:pt x="45" y="104"/>
                  </a:lnTo>
                  <a:lnTo>
                    <a:pt x="45" y="102"/>
                  </a:lnTo>
                  <a:lnTo>
                    <a:pt x="43" y="99"/>
                  </a:lnTo>
                  <a:lnTo>
                    <a:pt x="45" y="97"/>
                  </a:lnTo>
                  <a:lnTo>
                    <a:pt x="43" y="97"/>
                  </a:lnTo>
                  <a:lnTo>
                    <a:pt x="43" y="95"/>
                  </a:lnTo>
                  <a:lnTo>
                    <a:pt x="45" y="95"/>
                  </a:lnTo>
                  <a:lnTo>
                    <a:pt x="45" y="92"/>
                  </a:lnTo>
                  <a:lnTo>
                    <a:pt x="45" y="90"/>
                  </a:lnTo>
                  <a:lnTo>
                    <a:pt x="45" y="88"/>
                  </a:lnTo>
                  <a:lnTo>
                    <a:pt x="48" y="88"/>
                  </a:lnTo>
                  <a:lnTo>
                    <a:pt x="50" y="88"/>
                  </a:lnTo>
                  <a:lnTo>
                    <a:pt x="50" y="90"/>
                  </a:lnTo>
                  <a:lnTo>
                    <a:pt x="50" y="92"/>
                  </a:lnTo>
                  <a:lnTo>
                    <a:pt x="53" y="92"/>
                  </a:lnTo>
                  <a:lnTo>
                    <a:pt x="50" y="92"/>
                  </a:lnTo>
                  <a:lnTo>
                    <a:pt x="53" y="92"/>
                  </a:lnTo>
                  <a:lnTo>
                    <a:pt x="50" y="92"/>
                  </a:lnTo>
                  <a:lnTo>
                    <a:pt x="50" y="90"/>
                  </a:lnTo>
                  <a:lnTo>
                    <a:pt x="50" y="88"/>
                  </a:lnTo>
                  <a:lnTo>
                    <a:pt x="48" y="88"/>
                  </a:lnTo>
                  <a:lnTo>
                    <a:pt x="45" y="88"/>
                  </a:lnTo>
                  <a:lnTo>
                    <a:pt x="43" y="88"/>
                  </a:lnTo>
                  <a:lnTo>
                    <a:pt x="41" y="88"/>
                  </a:lnTo>
                  <a:lnTo>
                    <a:pt x="38" y="88"/>
                  </a:lnTo>
                  <a:lnTo>
                    <a:pt x="38" y="85"/>
                  </a:lnTo>
                  <a:lnTo>
                    <a:pt x="38" y="83"/>
                  </a:lnTo>
                  <a:lnTo>
                    <a:pt x="38" y="80"/>
                  </a:lnTo>
                  <a:lnTo>
                    <a:pt x="38" y="78"/>
                  </a:lnTo>
                  <a:lnTo>
                    <a:pt x="38" y="76"/>
                  </a:lnTo>
                  <a:lnTo>
                    <a:pt x="41" y="78"/>
                  </a:lnTo>
                  <a:lnTo>
                    <a:pt x="41" y="76"/>
                  </a:lnTo>
                  <a:lnTo>
                    <a:pt x="41" y="78"/>
                  </a:lnTo>
                  <a:lnTo>
                    <a:pt x="43" y="76"/>
                  </a:lnTo>
                  <a:lnTo>
                    <a:pt x="41" y="76"/>
                  </a:lnTo>
                  <a:lnTo>
                    <a:pt x="41" y="73"/>
                  </a:lnTo>
                  <a:lnTo>
                    <a:pt x="43" y="73"/>
                  </a:lnTo>
                  <a:lnTo>
                    <a:pt x="43" y="71"/>
                  </a:lnTo>
                  <a:lnTo>
                    <a:pt x="45" y="71"/>
                  </a:lnTo>
                  <a:lnTo>
                    <a:pt x="48" y="69"/>
                  </a:lnTo>
                  <a:lnTo>
                    <a:pt x="50" y="69"/>
                  </a:lnTo>
                  <a:lnTo>
                    <a:pt x="53" y="69"/>
                  </a:lnTo>
                  <a:lnTo>
                    <a:pt x="55" y="69"/>
                  </a:lnTo>
                  <a:lnTo>
                    <a:pt x="55" y="71"/>
                  </a:lnTo>
                  <a:lnTo>
                    <a:pt x="55" y="69"/>
                  </a:lnTo>
                  <a:lnTo>
                    <a:pt x="57" y="69"/>
                  </a:lnTo>
                  <a:lnTo>
                    <a:pt x="60" y="69"/>
                  </a:lnTo>
                  <a:lnTo>
                    <a:pt x="62" y="69"/>
                  </a:lnTo>
                  <a:lnTo>
                    <a:pt x="64" y="69"/>
                  </a:lnTo>
                  <a:lnTo>
                    <a:pt x="67" y="69"/>
                  </a:lnTo>
                  <a:lnTo>
                    <a:pt x="69" y="69"/>
                  </a:lnTo>
                  <a:lnTo>
                    <a:pt x="72" y="69"/>
                  </a:lnTo>
                  <a:lnTo>
                    <a:pt x="72" y="71"/>
                  </a:lnTo>
                  <a:lnTo>
                    <a:pt x="74" y="71"/>
                  </a:lnTo>
                  <a:lnTo>
                    <a:pt x="74" y="73"/>
                  </a:lnTo>
                  <a:lnTo>
                    <a:pt x="76" y="73"/>
                  </a:lnTo>
                  <a:lnTo>
                    <a:pt x="76" y="76"/>
                  </a:lnTo>
                  <a:lnTo>
                    <a:pt x="76" y="78"/>
                  </a:lnTo>
                  <a:lnTo>
                    <a:pt x="76" y="76"/>
                  </a:lnTo>
                  <a:lnTo>
                    <a:pt x="76" y="78"/>
                  </a:lnTo>
                  <a:lnTo>
                    <a:pt x="74" y="78"/>
                  </a:lnTo>
                  <a:lnTo>
                    <a:pt x="72" y="78"/>
                  </a:lnTo>
                  <a:lnTo>
                    <a:pt x="74" y="80"/>
                  </a:lnTo>
                  <a:lnTo>
                    <a:pt x="76" y="80"/>
                  </a:lnTo>
                  <a:lnTo>
                    <a:pt x="76" y="83"/>
                  </a:lnTo>
                  <a:lnTo>
                    <a:pt x="79" y="83"/>
                  </a:lnTo>
                  <a:lnTo>
                    <a:pt x="81" y="83"/>
                  </a:lnTo>
                  <a:lnTo>
                    <a:pt x="81" y="80"/>
                  </a:lnTo>
                  <a:lnTo>
                    <a:pt x="81" y="78"/>
                  </a:lnTo>
                  <a:lnTo>
                    <a:pt x="79" y="78"/>
                  </a:lnTo>
                  <a:lnTo>
                    <a:pt x="79" y="76"/>
                  </a:lnTo>
                  <a:lnTo>
                    <a:pt x="79" y="73"/>
                  </a:lnTo>
                  <a:lnTo>
                    <a:pt x="81" y="73"/>
                  </a:lnTo>
                  <a:lnTo>
                    <a:pt x="83" y="73"/>
                  </a:lnTo>
                  <a:lnTo>
                    <a:pt x="83" y="76"/>
                  </a:lnTo>
                  <a:lnTo>
                    <a:pt x="86" y="76"/>
                  </a:lnTo>
                  <a:lnTo>
                    <a:pt x="88" y="76"/>
                  </a:lnTo>
                  <a:lnTo>
                    <a:pt x="88" y="78"/>
                  </a:lnTo>
                  <a:lnTo>
                    <a:pt x="86" y="80"/>
                  </a:lnTo>
                  <a:lnTo>
                    <a:pt x="86" y="83"/>
                  </a:lnTo>
                  <a:lnTo>
                    <a:pt x="86" y="85"/>
                  </a:lnTo>
                  <a:lnTo>
                    <a:pt x="88" y="85"/>
                  </a:lnTo>
                  <a:lnTo>
                    <a:pt x="86" y="88"/>
                  </a:lnTo>
                  <a:lnTo>
                    <a:pt x="86" y="90"/>
                  </a:lnTo>
                  <a:lnTo>
                    <a:pt x="86" y="92"/>
                  </a:lnTo>
                  <a:lnTo>
                    <a:pt x="88" y="92"/>
                  </a:lnTo>
                  <a:lnTo>
                    <a:pt x="88" y="95"/>
                  </a:lnTo>
                  <a:lnTo>
                    <a:pt x="91" y="95"/>
                  </a:lnTo>
                  <a:lnTo>
                    <a:pt x="91" y="97"/>
                  </a:lnTo>
                  <a:lnTo>
                    <a:pt x="93" y="97"/>
                  </a:lnTo>
                  <a:lnTo>
                    <a:pt x="95" y="97"/>
                  </a:lnTo>
                  <a:lnTo>
                    <a:pt x="95" y="99"/>
                  </a:lnTo>
                  <a:lnTo>
                    <a:pt x="95" y="97"/>
                  </a:lnTo>
                  <a:lnTo>
                    <a:pt x="95" y="99"/>
                  </a:lnTo>
                  <a:lnTo>
                    <a:pt x="98" y="99"/>
                  </a:lnTo>
                  <a:lnTo>
                    <a:pt x="95" y="99"/>
                  </a:lnTo>
                  <a:lnTo>
                    <a:pt x="95" y="97"/>
                  </a:lnTo>
                  <a:lnTo>
                    <a:pt x="93" y="97"/>
                  </a:lnTo>
                  <a:lnTo>
                    <a:pt x="91" y="97"/>
                  </a:lnTo>
                  <a:lnTo>
                    <a:pt x="91" y="95"/>
                  </a:lnTo>
                  <a:lnTo>
                    <a:pt x="88" y="95"/>
                  </a:lnTo>
                  <a:lnTo>
                    <a:pt x="88" y="92"/>
                  </a:lnTo>
                  <a:lnTo>
                    <a:pt x="86" y="92"/>
                  </a:lnTo>
                  <a:lnTo>
                    <a:pt x="86" y="90"/>
                  </a:lnTo>
                  <a:lnTo>
                    <a:pt x="88" y="88"/>
                  </a:lnTo>
                  <a:lnTo>
                    <a:pt x="86" y="88"/>
                  </a:lnTo>
                  <a:lnTo>
                    <a:pt x="88" y="88"/>
                  </a:lnTo>
                  <a:lnTo>
                    <a:pt x="88" y="85"/>
                  </a:lnTo>
                  <a:lnTo>
                    <a:pt x="88" y="88"/>
                  </a:lnTo>
                  <a:lnTo>
                    <a:pt x="88" y="85"/>
                  </a:lnTo>
                  <a:lnTo>
                    <a:pt x="88" y="83"/>
                  </a:lnTo>
                  <a:lnTo>
                    <a:pt x="88" y="80"/>
                  </a:lnTo>
                  <a:lnTo>
                    <a:pt x="88" y="78"/>
                  </a:lnTo>
                  <a:lnTo>
                    <a:pt x="91" y="78"/>
                  </a:lnTo>
                  <a:lnTo>
                    <a:pt x="91" y="76"/>
                  </a:lnTo>
                  <a:lnTo>
                    <a:pt x="88" y="76"/>
                  </a:lnTo>
                  <a:lnTo>
                    <a:pt x="88" y="73"/>
                  </a:lnTo>
                  <a:lnTo>
                    <a:pt x="88" y="71"/>
                  </a:lnTo>
                  <a:lnTo>
                    <a:pt x="86" y="71"/>
                  </a:lnTo>
                  <a:lnTo>
                    <a:pt x="86" y="69"/>
                  </a:lnTo>
                  <a:lnTo>
                    <a:pt x="88" y="69"/>
                  </a:lnTo>
                  <a:lnTo>
                    <a:pt x="86" y="69"/>
                  </a:lnTo>
                  <a:lnTo>
                    <a:pt x="88" y="66"/>
                  </a:lnTo>
                  <a:lnTo>
                    <a:pt x="88" y="64"/>
                  </a:lnTo>
                  <a:lnTo>
                    <a:pt x="88" y="61"/>
                  </a:lnTo>
                  <a:lnTo>
                    <a:pt x="91" y="61"/>
                  </a:lnTo>
                  <a:lnTo>
                    <a:pt x="91" y="59"/>
                  </a:lnTo>
                  <a:lnTo>
                    <a:pt x="93" y="59"/>
                  </a:lnTo>
                  <a:lnTo>
                    <a:pt x="95" y="59"/>
                  </a:lnTo>
                  <a:lnTo>
                    <a:pt x="95" y="61"/>
                  </a:lnTo>
                  <a:lnTo>
                    <a:pt x="98" y="61"/>
                  </a:lnTo>
                  <a:lnTo>
                    <a:pt x="100" y="61"/>
                  </a:lnTo>
                  <a:lnTo>
                    <a:pt x="102" y="61"/>
                  </a:lnTo>
                  <a:lnTo>
                    <a:pt x="105" y="61"/>
                  </a:lnTo>
                  <a:lnTo>
                    <a:pt x="105" y="64"/>
                  </a:lnTo>
                  <a:lnTo>
                    <a:pt x="105" y="61"/>
                  </a:lnTo>
                  <a:lnTo>
                    <a:pt x="107" y="61"/>
                  </a:lnTo>
                  <a:lnTo>
                    <a:pt x="107" y="59"/>
                  </a:lnTo>
                  <a:lnTo>
                    <a:pt x="110" y="59"/>
                  </a:lnTo>
                  <a:lnTo>
                    <a:pt x="112" y="59"/>
                  </a:lnTo>
                  <a:lnTo>
                    <a:pt x="112" y="61"/>
                  </a:lnTo>
                  <a:lnTo>
                    <a:pt x="114" y="61"/>
                  </a:lnTo>
                  <a:lnTo>
                    <a:pt x="114" y="64"/>
                  </a:lnTo>
                  <a:lnTo>
                    <a:pt x="117" y="64"/>
                  </a:lnTo>
                  <a:lnTo>
                    <a:pt x="117" y="66"/>
                  </a:lnTo>
                  <a:lnTo>
                    <a:pt x="119" y="69"/>
                  </a:lnTo>
                  <a:lnTo>
                    <a:pt x="119" y="71"/>
                  </a:lnTo>
                  <a:lnTo>
                    <a:pt x="121" y="71"/>
                  </a:lnTo>
                  <a:lnTo>
                    <a:pt x="119" y="71"/>
                  </a:lnTo>
                  <a:lnTo>
                    <a:pt x="121" y="71"/>
                  </a:lnTo>
                  <a:lnTo>
                    <a:pt x="121" y="73"/>
                  </a:lnTo>
                  <a:lnTo>
                    <a:pt x="124" y="73"/>
                  </a:lnTo>
                  <a:lnTo>
                    <a:pt x="124" y="76"/>
                  </a:lnTo>
                  <a:lnTo>
                    <a:pt x="126" y="76"/>
                  </a:lnTo>
                  <a:lnTo>
                    <a:pt x="129" y="76"/>
                  </a:lnTo>
                  <a:lnTo>
                    <a:pt x="131" y="76"/>
                  </a:lnTo>
                  <a:lnTo>
                    <a:pt x="131" y="78"/>
                  </a:lnTo>
                  <a:lnTo>
                    <a:pt x="131" y="76"/>
                  </a:lnTo>
                  <a:lnTo>
                    <a:pt x="133" y="76"/>
                  </a:lnTo>
                  <a:lnTo>
                    <a:pt x="133" y="78"/>
                  </a:lnTo>
                  <a:lnTo>
                    <a:pt x="133" y="76"/>
                  </a:lnTo>
                  <a:lnTo>
                    <a:pt x="133" y="78"/>
                  </a:lnTo>
                  <a:lnTo>
                    <a:pt x="133" y="76"/>
                  </a:lnTo>
                  <a:lnTo>
                    <a:pt x="136" y="76"/>
                  </a:lnTo>
                  <a:lnTo>
                    <a:pt x="136" y="78"/>
                  </a:lnTo>
                  <a:lnTo>
                    <a:pt x="136" y="80"/>
                  </a:lnTo>
                  <a:lnTo>
                    <a:pt x="138" y="80"/>
                  </a:lnTo>
                  <a:lnTo>
                    <a:pt x="140" y="80"/>
                  </a:lnTo>
                  <a:lnTo>
                    <a:pt x="140" y="83"/>
                  </a:lnTo>
                  <a:lnTo>
                    <a:pt x="143" y="83"/>
                  </a:lnTo>
                  <a:lnTo>
                    <a:pt x="145" y="83"/>
                  </a:lnTo>
                  <a:lnTo>
                    <a:pt x="147" y="83"/>
                  </a:lnTo>
                  <a:lnTo>
                    <a:pt x="150" y="83"/>
                  </a:lnTo>
                  <a:lnTo>
                    <a:pt x="152" y="83"/>
                  </a:lnTo>
                  <a:lnTo>
                    <a:pt x="152" y="85"/>
                  </a:lnTo>
                  <a:lnTo>
                    <a:pt x="155" y="85"/>
                  </a:lnTo>
                  <a:lnTo>
                    <a:pt x="157" y="85"/>
                  </a:lnTo>
                  <a:lnTo>
                    <a:pt x="159" y="85"/>
                  </a:lnTo>
                  <a:lnTo>
                    <a:pt x="162" y="85"/>
                  </a:lnTo>
                  <a:lnTo>
                    <a:pt x="162" y="88"/>
                  </a:lnTo>
                  <a:lnTo>
                    <a:pt x="162" y="90"/>
                  </a:lnTo>
                  <a:lnTo>
                    <a:pt x="164" y="90"/>
                  </a:lnTo>
                  <a:lnTo>
                    <a:pt x="166" y="92"/>
                  </a:lnTo>
                  <a:lnTo>
                    <a:pt x="169" y="95"/>
                  </a:lnTo>
                  <a:lnTo>
                    <a:pt x="171" y="95"/>
                  </a:lnTo>
                  <a:lnTo>
                    <a:pt x="171" y="97"/>
                  </a:lnTo>
                  <a:lnTo>
                    <a:pt x="174" y="97"/>
                  </a:lnTo>
                  <a:lnTo>
                    <a:pt x="174" y="95"/>
                  </a:lnTo>
                  <a:lnTo>
                    <a:pt x="176" y="95"/>
                  </a:lnTo>
                  <a:lnTo>
                    <a:pt x="176" y="97"/>
                  </a:lnTo>
                  <a:lnTo>
                    <a:pt x="178" y="97"/>
                  </a:lnTo>
                  <a:lnTo>
                    <a:pt x="178" y="99"/>
                  </a:lnTo>
                  <a:lnTo>
                    <a:pt x="181" y="99"/>
                  </a:lnTo>
                  <a:lnTo>
                    <a:pt x="181" y="102"/>
                  </a:lnTo>
                  <a:lnTo>
                    <a:pt x="181" y="99"/>
                  </a:lnTo>
                  <a:lnTo>
                    <a:pt x="183" y="99"/>
                  </a:lnTo>
                  <a:lnTo>
                    <a:pt x="185" y="99"/>
                  </a:lnTo>
                  <a:lnTo>
                    <a:pt x="185" y="102"/>
                  </a:lnTo>
                  <a:lnTo>
                    <a:pt x="188" y="102"/>
                  </a:lnTo>
                  <a:lnTo>
                    <a:pt x="190" y="102"/>
                  </a:lnTo>
                  <a:lnTo>
                    <a:pt x="190" y="104"/>
                  </a:lnTo>
                  <a:lnTo>
                    <a:pt x="190" y="102"/>
                  </a:lnTo>
                  <a:lnTo>
                    <a:pt x="193" y="102"/>
                  </a:lnTo>
                  <a:lnTo>
                    <a:pt x="193" y="104"/>
                  </a:lnTo>
                  <a:lnTo>
                    <a:pt x="195" y="104"/>
                  </a:lnTo>
                  <a:lnTo>
                    <a:pt x="195" y="107"/>
                  </a:lnTo>
                  <a:lnTo>
                    <a:pt x="197" y="107"/>
                  </a:lnTo>
                  <a:lnTo>
                    <a:pt x="197" y="109"/>
                  </a:lnTo>
                  <a:lnTo>
                    <a:pt x="200" y="109"/>
                  </a:lnTo>
                  <a:lnTo>
                    <a:pt x="202" y="109"/>
                  </a:lnTo>
                  <a:lnTo>
                    <a:pt x="204" y="109"/>
                  </a:lnTo>
                  <a:lnTo>
                    <a:pt x="204" y="111"/>
                  </a:lnTo>
                  <a:lnTo>
                    <a:pt x="202" y="111"/>
                  </a:lnTo>
                  <a:lnTo>
                    <a:pt x="204" y="111"/>
                  </a:lnTo>
                  <a:lnTo>
                    <a:pt x="204" y="114"/>
                  </a:lnTo>
                  <a:lnTo>
                    <a:pt x="204" y="116"/>
                  </a:lnTo>
                  <a:lnTo>
                    <a:pt x="204" y="118"/>
                  </a:lnTo>
                  <a:lnTo>
                    <a:pt x="202" y="118"/>
                  </a:lnTo>
                  <a:lnTo>
                    <a:pt x="202" y="121"/>
                  </a:lnTo>
                  <a:lnTo>
                    <a:pt x="202" y="123"/>
                  </a:lnTo>
                  <a:lnTo>
                    <a:pt x="202" y="126"/>
                  </a:lnTo>
                  <a:lnTo>
                    <a:pt x="202" y="123"/>
                  </a:lnTo>
                  <a:lnTo>
                    <a:pt x="202" y="121"/>
                  </a:lnTo>
                  <a:lnTo>
                    <a:pt x="204" y="121"/>
                  </a:lnTo>
                  <a:lnTo>
                    <a:pt x="202" y="121"/>
                  </a:lnTo>
                  <a:lnTo>
                    <a:pt x="202" y="118"/>
                  </a:lnTo>
                  <a:lnTo>
                    <a:pt x="204" y="118"/>
                  </a:lnTo>
                  <a:lnTo>
                    <a:pt x="204" y="116"/>
                  </a:lnTo>
                  <a:lnTo>
                    <a:pt x="204" y="114"/>
                  </a:lnTo>
                  <a:lnTo>
                    <a:pt x="204" y="111"/>
                  </a:lnTo>
                  <a:lnTo>
                    <a:pt x="204" y="109"/>
                  </a:lnTo>
                  <a:lnTo>
                    <a:pt x="202" y="109"/>
                  </a:lnTo>
                  <a:lnTo>
                    <a:pt x="200" y="109"/>
                  </a:lnTo>
                  <a:lnTo>
                    <a:pt x="197" y="109"/>
                  </a:lnTo>
                  <a:lnTo>
                    <a:pt x="197" y="107"/>
                  </a:lnTo>
                  <a:lnTo>
                    <a:pt x="197" y="104"/>
                  </a:lnTo>
                  <a:lnTo>
                    <a:pt x="197" y="107"/>
                  </a:lnTo>
                  <a:lnTo>
                    <a:pt x="195" y="104"/>
                  </a:lnTo>
                  <a:lnTo>
                    <a:pt x="193" y="104"/>
                  </a:lnTo>
                  <a:lnTo>
                    <a:pt x="193" y="102"/>
                  </a:lnTo>
                  <a:lnTo>
                    <a:pt x="190" y="102"/>
                  </a:lnTo>
                  <a:lnTo>
                    <a:pt x="188" y="102"/>
                  </a:lnTo>
                  <a:lnTo>
                    <a:pt x="188" y="99"/>
                  </a:lnTo>
                  <a:lnTo>
                    <a:pt x="188" y="102"/>
                  </a:lnTo>
                  <a:lnTo>
                    <a:pt x="185" y="102"/>
                  </a:lnTo>
                  <a:lnTo>
                    <a:pt x="185" y="99"/>
                  </a:lnTo>
                  <a:lnTo>
                    <a:pt x="183" y="99"/>
                  </a:lnTo>
                  <a:lnTo>
                    <a:pt x="181" y="99"/>
                  </a:lnTo>
                  <a:lnTo>
                    <a:pt x="178" y="99"/>
                  </a:lnTo>
                  <a:lnTo>
                    <a:pt x="178" y="97"/>
                  </a:lnTo>
                  <a:lnTo>
                    <a:pt x="176" y="97"/>
                  </a:lnTo>
                  <a:lnTo>
                    <a:pt x="176" y="95"/>
                  </a:lnTo>
                  <a:lnTo>
                    <a:pt x="174" y="95"/>
                  </a:lnTo>
                  <a:lnTo>
                    <a:pt x="174" y="97"/>
                  </a:lnTo>
                  <a:lnTo>
                    <a:pt x="171" y="97"/>
                  </a:lnTo>
                  <a:lnTo>
                    <a:pt x="171" y="95"/>
                  </a:lnTo>
                  <a:lnTo>
                    <a:pt x="169" y="95"/>
                  </a:lnTo>
                  <a:lnTo>
                    <a:pt x="169" y="92"/>
                  </a:lnTo>
                  <a:lnTo>
                    <a:pt x="166" y="92"/>
                  </a:lnTo>
                  <a:lnTo>
                    <a:pt x="166" y="90"/>
                  </a:lnTo>
                  <a:lnTo>
                    <a:pt x="164" y="90"/>
                  </a:lnTo>
                  <a:lnTo>
                    <a:pt x="162" y="90"/>
                  </a:lnTo>
                  <a:lnTo>
                    <a:pt x="162" y="88"/>
                  </a:lnTo>
                  <a:lnTo>
                    <a:pt x="162" y="85"/>
                  </a:lnTo>
                  <a:lnTo>
                    <a:pt x="159" y="85"/>
                  </a:lnTo>
                  <a:lnTo>
                    <a:pt x="157" y="85"/>
                  </a:lnTo>
                  <a:lnTo>
                    <a:pt x="155" y="85"/>
                  </a:lnTo>
                  <a:lnTo>
                    <a:pt x="152" y="85"/>
                  </a:lnTo>
                  <a:lnTo>
                    <a:pt x="152" y="83"/>
                  </a:lnTo>
                  <a:lnTo>
                    <a:pt x="150" y="83"/>
                  </a:lnTo>
                  <a:lnTo>
                    <a:pt x="147" y="83"/>
                  </a:lnTo>
                  <a:lnTo>
                    <a:pt x="145" y="83"/>
                  </a:lnTo>
                  <a:lnTo>
                    <a:pt x="143" y="83"/>
                  </a:lnTo>
                  <a:lnTo>
                    <a:pt x="140" y="83"/>
                  </a:lnTo>
                  <a:lnTo>
                    <a:pt x="140" y="80"/>
                  </a:lnTo>
                  <a:lnTo>
                    <a:pt x="138" y="80"/>
                  </a:lnTo>
                  <a:lnTo>
                    <a:pt x="138" y="78"/>
                  </a:lnTo>
                  <a:lnTo>
                    <a:pt x="138" y="76"/>
                  </a:lnTo>
                  <a:lnTo>
                    <a:pt x="136" y="76"/>
                  </a:lnTo>
                  <a:lnTo>
                    <a:pt x="133" y="76"/>
                  </a:lnTo>
                  <a:lnTo>
                    <a:pt x="131" y="76"/>
                  </a:lnTo>
                  <a:lnTo>
                    <a:pt x="129" y="76"/>
                  </a:lnTo>
                  <a:lnTo>
                    <a:pt x="126" y="76"/>
                  </a:lnTo>
                  <a:lnTo>
                    <a:pt x="126" y="73"/>
                  </a:lnTo>
                  <a:lnTo>
                    <a:pt x="124" y="73"/>
                  </a:lnTo>
                  <a:lnTo>
                    <a:pt x="121" y="73"/>
                  </a:lnTo>
                  <a:lnTo>
                    <a:pt x="121" y="71"/>
                  </a:lnTo>
                  <a:lnTo>
                    <a:pt x="121" y="69"/>
                  </a:lnTo>
                  <a:lnTo>
                    <a:pt x="119" y="66"/>
                  </a:lnTo>
                  <a:lnTo>
                    <a:pt x="117" y="66"/>
                  </a:lnTo>
                  <a:lnTo>
                    <a:pt x="117" y="64"/>
                  </a:lnTo>
                  <a:lnTo>
                    <a:pt x="117" y="61"/>
                  </a:lnTo>
                  <a:lnTo>
                    <a:pt x="114" y="61"/>
                  </a:lnTo>
                  <a:lnTo>
                    <a:pt x="114" y="59"/>
                  </a:lnTo>
                  <a:lnTo>
                    <a:pt x="112" y="59"/>
                  </a:lnTo>
                  <a:lnTo>
                    <a:pt x="110" y="59"/>
                  </a:lnTo>
                  <a:lnTo>
                    <a:pt x="107" y="59"/>
                  </a:lnTo>
                  <a:lnTo>
                    <a:pt x="110" y="59"/>
                  </a:lnTo>
                  <a:lnTo>
                    <a:pt x="110" y="57"/>
                  </a:lnTo>
                  <a:lnTo>
                    <a:pt x="112" y="57"/>
                  </a:lnTo>
                  <a:lnTo>
                    <a:pt x="112" y="54"/>
                  </a:lnTo>
                  <a:lnTo>
                    <a:pt x="114" y="54"/>
                  </a:lnTo>
                  <a:lnTo>
                    <a:pt x="114" y="50"/>
                  </a:lnTo>
                  <a:lnTo>
                    <a:pt x="114" y="47"/>
                  </a:lnTo>
                  <a:lnTo>
                    <a:pt x="114" y="45"/>
                  </a:lnTo>
                  <a:lnTo>
                    <a:pt x="117" y="45"/>
                  </a:lnTo>
                  <a:lnTo>
                    <a:pt x="119" y="45"/>
                  </a:lnTo>
                  <a:lnTo>
                    <a:pt x="121" y="42"/>
                  </a:lnTo>
                  <a:lnTo>
                    <a:pt x="124" y="42"/>
                  </a:lnTo>
                  <a:lnTo>
                    <a:pt x="124" y="40"/>
                  </a:lnTo>
                  <a:lnTo>
                    <a:pt x="126" y="40"/>
                  </a:lnTo>
                  <a:lnTo>
                    <a:pt x="126" y="38"/>
                  </a:lnTo>
                  <a:lnTo>
                    <a:pt x="129" y="38"/>
                  </a:lnTo>
                  <a:lnTo>
                    <a:pt x="129" y="35"/>
                  </a:lnTo>
                  <a:lnTo>
                    <a:pt x="131" y="35"/>
                  </a:lnTo>
                  <a:lnTo>
                    <a:pt x="133" y="35"/>
                  </a:lnTo>
                  <a:lnTo>
                    <a:pt x="136" y="35"/>
                  </a:lnTo>
                  <a:lnTo>
                    <a:pt x="136" y="38"/>
                  </a:lnTo>
                  <a:lnTo>
                    <a:pt x="136" y="35"/>
                  </a:lnTo>
                  <a:lnTo>
                    <a:pt x="138" y="35"/>
                  </a:lnTo>
                  <a:lnTo>
                    <a:pt x="140" y="35"/>
                  </a:lnTo>
                  <a:lnTo>
                    <a:pt x="143" y="35"/>
                  </a:lnTo>
                  <a:lnTo>
                    <a:pt x="140" y="35"/>
                  </a:lnTo>
                  <a:lnTo>
                    <a:pt x="143" y="35"/>
                  </a:lnTo>
                  <a:lnTo>
                    <a:pt x="140" y="35"/>
                  </a:lnTo>
                  <a:lnTo>
                    <a:pt x="143" y="35"/>
                  </a:lnTo>
                  <a:lnTo>
                    <a:pt x="140" y="38"/>
                  </a:lnTo>
                  <a:lnTo>
                    <a:pt x="143" y="38"/>
                  </a:lnTo>
                  <a:lnTo>
                    <a:pt x="143" y="35"/>
                  </a:lnTo>
                  <a:lnTo>
                    <a:pt x="143" y="33"/>
                  </a:lnTo>
                  <a:lnTo>
                    <a:pt x="145" y="33"/>
                  </a:lnTo>
                  <a:lnTo>
                    <a:pt x="147" y="33"/>
                  </a:lnTo>
                  <a:lnTo>
                    <a:pt x="145" y="33"/>
                  </a:lnTo>
                  <a:lnTo>
                    <a:pt x="147" y="31"/>
                  </a:lnTo>
                  <a:lnTo>
                    <a:pt x="150" y="33"/>
                  </a:lnTo>
                  <a:lnTo>
                    <a:pt x="152" y="33"/>
                  </a:lnTo>
                  <a:lnTo>
                    <a:pt x="155" y="33"/>
                  </a:lnTo>
                  <a:lnTo>
                    <a:pt x="155" y="35"/>
                  </a:lnTo>
                  <a:lnTo>
                    <a:pt x="157" y="35"/>
                  </a:lnTo>
                  <a:lnTo>
                    <a:pt x="157" y="38"/>
                  </a:lnTo>
                  <a:lnTo>
                    <a:pt x="159" y="38"/>
                  </a:lnTo>
                  <a:lnTo>
                    <a:pt x="162" y="38"/>
                  </a:lnTo>
                  <a:lnTo>
                    <a:pt x="164" y="38"/>
                  </a:lnTo>
                  <a:lnTo>
                    <a:pt x="164" y="35"/>
                  </a:lnTo>
                  <a:lnTo>
                    <a:pt x="166" y="35"/>
                  </a:lnTo>
                  <a:lnTo>
                    <a:pt x="169" y="33"/>
                  </a:lnTo>
                  <a:lnTo>
                    <a:pt x="169" y="35"/>
                  </a:lnTo>
                  <a:lnTo>
                    <a:pt x="171" y="35"/>
                  </a:lnTo>
                  <a:lnTo>
                    <a:pt x="169" y="35"/>
                  </a:lnTo>
                  <a:lnTo>
                    <a:pt x="171" y="35"/>
                  </a:lnTo>
                  <a:lnTo>
                    <a:pt x="171" y="33"/>
                  </a:lnTo>
                  <a:lnTo>
                    <a:pt x="174" y="33"/>
                  </a:lnTo>
                  <a:lnTo>
                    <a:pt x="174" y="35"/>
                  </a:lnTo>
                  <a:lnTo>
                    <a:pt x="171" y="35"/>
                  </a:lnTo>
                  <a:lnTo>
                    <a:pt x="171" y="38"/>
                  </a:lnTo>
                  <a:lnTo>
                    <a:pt x="171" y="40"/>
                  </a:lnTo>
                  <a:lnTo>
                    <a:pt x="174" y="42"/>
                  </a:lnTo>
                  <a:lnTo>
                    <a:pt x="171" y="42"/>
                  </a:lnTo>
                  <a:lnTo>
                    <a:pt x="171" y="45"/>
                  </a:lnTo>
                  <a:lnTo>
                    <a:pt x="169" y="45"/>
                  </a:lnTo>
                  <a:lnTo>
                    <a:pt x="169" y="47"/>
                  </a:lnTo>
                  <a:lnTo>
                    <a:pt x="166" y="47"/>
                  </a:lnTo>
                  <a:lnTo>
                    <a:pt x="166" y="50"/>
                  </a:lnTo>
                  <a:lnTo>
                    <a:pt x="164" y="50"/>
                  </a:lnTo>
                  <a:lnTo>
                    <a:pt x="162" y="50"/>
                  </a:lnTo>
                  <a:lnTo>
                    <a:pt x="162" y="52"/>
                  </a:lnTo>
                  <a:lnTo>
                    <a:pt x="162" y="54"/>
                  </a:lnTo>
                  <a:lnTo>
                    <a:pt x="164" y="54"/>
                  </a:lnTo>
                  <a:lnTo>
                    <a:pt x="166" y="54"/>
                  </a:lnTo>
                  <a:lnTo>
                    <a:pt x="164" y="57"/>
                  </a:lnTo>
                  <a:lnTo>
                    <a:pt x="164" y="59"/>
                  </a:lnTo>
                  <a:lnTo>
                    <a:pt x="162" y="59"/>
                  </a:lnTo>
                  <a:lnTo>
                    <a:pt x="162" y="57"/>
                  </a:lnTo>
                  <a:lnTo>
                    <a:pt x="162" y="59"/>
                  </a:lnTo>
                  <a:lnTo>
                    <a:pt x="159" y="59"/>
                  </a:lnTo>
                  <a:lnTo>
                    <a:pt x="162" y="59"/>
                  </a:lnTo>
                  <a:lnTo>
                    <a:pt x="164" y="59"/>
                  </a:lnTo>
                  <a:lnTo>
                    <a:pt x="166" y="57"/>
                  </a:lnTo>
                  <a:lnTo>
                    <a:pt x="166" y="59"/>
                  </a:lnTo>
                  <a:lnTo>
                    <a:pt x="169" y="59"/>
                  </a:lnTo>
                  <a:lnTo>
                    <a:pt x="169" y="57"/>
                  </a:lnTo>
                  <a:lnTo>
                    <a:pt x="169" y="59"/>
                  </a:lnTo>
                  <a:lnTo>
                    <a:pt x="169" y="57"/>
                  </a:lnTo>
                  <a:lnTo>
                    <a:pt x="166" y="57"/>
                  </a:lnTo>
                  <a:lnTo>
                    <a:pt x="164" y="57"/>
                  </a:lnTo>
                  <a:lnTo>
                    <a:pt x="166" y="57"/>
                  </a:lnTo>
                  <a:lnTo>
                    <a:pt x="166" y="54"/>
                  </a:lnTo>
                  <a:lnTo>
                    <a:pt x="166" y="57"/>
                  </a:lnTo>
                  <a:lnTo>
                    <a:pt x="166" y="54"/>
                  </a:lnTo>
                  <a:lnTo>
                    <a:pt x="169" y="54"/>
                  </a:lnTo>
                  <a:lnTo>
                    <a:pt x="171" y="54"/>
                  </a:lnTo>
                  <a:lnTo>
                    <a:pt x="171" y="52"/>
                  </a:lnTo>
                  <a:lnTo>
                    <a:pt x="174" y="52"/>
                  </a:lnTo>
                  <a:lnTo>
                    <a:pt x="176" y="52"/>
                  </a:lnTo>
                  <a:lnTo>
                    <a:pt x="176" y="54"/>
                  </a:lnTo>
                  <a:lnTo>
                    <a:pt x="178" y="54"/>
                  </a:lnTo>
                  <a:lnTo>
                    <a:pt x="178" y="57"/>
                  </a:lnTo>
                  <a:lnTo>
                    <a:pt x="181" y="57"/>
                  </a:lnTo>
                  <a:lnTo>
                    <a:pt x="181" y="54"/>
                  </a:lnTo>
                  <a:lnTo>
                    <a:pt x="181" y="57"/>
                  </a:lnTo>
                  <a:lnTo>
                    <a:pt x="183" y="57"/>
                  </a:lnTo>
                  <a:lnTo>
                    <a:pt x="183" y="59"/>
                  </a:lnTo>
                  <a:lnTo>
                    <a:pt x="185" y="59"/>
                  </a:lnTo>
                  <a:lnTo>
                    <a:pt x="183" y="59"/>
                  </a:lnTo>
                  <a:lnTo>
                    <a:pt x="185" y="59"/>
                  </a:lnTo>
                  <a:lnTo>
                    <a:pt x="183" y="57"/>
                  </a:lnTo>
                  <a:lnTo>
                    <a:pt x="185" y="57"/>
                  </a:lnTo>
                  <a:lnTo>
                    <a:pt x="185" y="54"/>
                  </a:lnTo>
                  <a:lnTo>
                    <a:pt x="183" y="54"/>
                  </a:lnTo>
                  <a:lnTo>
                    <a:pt x="185" y="54"/>
                  </a:lnTo>
                  <a:lnTo>
                    <a:pt x="183" y="54"/>
                  </a:lnTo>
                  <a:lnTo>
                    <a:pt x="183" y="52"/>
                  </a:lnTo>
                  <a:lnTo>
                    <a:pt x="185" y="52"/>
                  </a:lnTo>
                  <a:lnTo>
                    <a:pt x="185" y="54"/>
                  </a:lnTo>
                  <a:lnTo>
                    <a:pt x="185" y="52"/>
                  </a:lnTo>
                  <a:lnTo>
                    <a:pt x="188" y="52"/>
                  </a:lnTo>
                  <a:lnTo>
                    <a:pt x="185" y="52"/>
                  </a:lnTo>
                  <a:lnTo>
                    <a:pt x="188" y="52"/>
                  </a:lnTo>
                  <a:lnTo>
                    <a:pt x="188" y="50"/>
                  </a:lnTo>
                  <a:lnTo>
                    <a:pt x="190" y="50"/>
                  </a:lnTo>
                  <a:lnTo>
                    <a:pt x="190" y="47"/>
                  </a:lnTo>
                  <a:lnTo>
                    <a:pt x="190" y="50"/>
                  </a:lnTo>
                  <a:lnTo>
                    <a:pt x="188" y="50"/>
                  </a:lnTo>
                  <a:lnTo>
                    <a:pt x="188" y="52"/>
                  </a:lnTo>
                  <a:lnTo>
                    <a:pt x="188" y="50"/>
                  </a:lnTo>
                  <a:lnTo>
                    <a:pt x="188" y="47"/>
                  </a:lnTo>
                  <a:lnTo>
                    <a:pt x="190" y="47"/>
                  </a:lnTo>
                  <a:lnTo>
                    <a:pt x="193" y="47"/>
                  </a:lnTo>
                  <a:lnTo>
                    <a:pt x="193" y="45"/>
                  </a:lnTo>
                  <a:lnTo>
                    <a:pt x="195" y="45"/>
                  </a:lnTo>
                  <a:lnTo>
                    <a:pt x="197" y="47"/>
                  </a:lnTo>
                  <a:lnTo>
                    <a:pt x="200" y="45"/>
                  </a:lnTo>
                  <a:lnTo>
                    <a:pt x="202" y="45"/>
                  </a:lnTo>
                  <a:lnTo>
                    <a:pt x="204" y="45"/>
                  </a:lnTo>
                  <a:lnTo>
                    <a:pt x="207" y="45"/>
                  </a:lnTo>
                  <a:lnTo>
                    <a:pt x="204" y="45"/>
                  </a:lnTo>
                  <a:lnTo>
                    <a:pt x="204" y="47"/>
                  </a:lnTo>
                  <a:lnTo>
                    <a:pt x="207" y="47"/>
                  </a:lnTo>
                  <a:lnTo>
                    <a:pt x="204" y="47"/>
                  </a:lnTo>
                  <a:lnTo>
                    <a:pt x="207" y="47"/>
                  </a:lnTo>
                  <a:lnTo>
                    <a:pt x="207" y="50"/>
                  </a:lnTo>
                  <a:lnTo>
                    <a:pt x="207" y="47"/>
                  </a:lnTo>
                  <a:lnTo>
                    <a:pt x="207" y="50"/>
                  </a:lnTo>
                  <a:lnTo>
                    <a:pt x="207" y="47"/>
                  </a:lnTo>
                  <a:lnTo>
                    <a:pt x="207" y="45"/>
                  </a:lnTo>
                  <a:lnTo>
                    <a:pt x="207" y="42"/>
                  </a:lnTo>
                  <a:lnTo>
                    <a:pt x="209" y="42"/>
                  </a:lnTo>
                  <a:lnTo>
                    <a:pt x="209" y="40"/>
                  </a:lnTo>
                  <a:lnTo>
                    <a:pt x="212" y="40"/>
                  </a:lnTo>
                  <a:lnTo>
                    <a:pt x="214" y="40"/>
                  </a:lnTo>
                  <a:lnTo>
                    <a:pt x="214" y="38"/>
                  </a:lnTo>
                  <a:lnTo>
                    <a:pt x="214" y="35"/>
                  </a:lnTo>
                  <a:lnTo>
                    <a:pt x="216" y="35"/>
                  </a:lnTo>
                  <a:lnTo>
                    <a:pt x="216" y="33"/>
                  </a:lnTo>
                  <a:lnTo>
                    <a:pt x="219" y="33"/>
                  </a:lnTo>
                  <a:lnTo>
                    <a:pt x="219" y="31"/>
                  </a:lnTo>
                  <a:lnTo>
                    <a:pt x="219" y="28"/>
                  </a:lnTo>
                  <a:lnTo>
                    <a:pt x="221" y="28"/>
                  </a:lnTo>
                  <a:lnTo>
                    <a:pt x="221" y="31"/>
                  </a:lnTo>
                  <a:lnTo>
                    <a:pt x="223" y="31"/>
                  </a:lnTo>
                  <a:close/>
                  <a:moveTo>
                    <a:pt x="98" y="99"/>
                  </a:moveTo>
                  <a:lnTo>
                    <a:pt x="100" y="99"/>
                  </a:lnTo>
                  <a:lnTo>
                    <a:pt x="100" y="102"/>
                  </a:lnTo>
                  <a:lnTo>
                    <a:pt x="100" y="99"/>
                  </a:lnTo>
                  <a:lnTo>
                    <a:pt x="98" y="99"/>
                  </a:lnTo>
                  <a:close/>
                  <a:moveTo>
                    <a:pt x="86" y="0"/>
                  </a:moveTo>
                  <a:lnTo>
                    <a:pt x="83" y="0"/>
                  </a:lnTo>
                  <a:lnTo>
                    <a:pt x="83" y="2"/>
                  </a:lnTo>
                  <a:lnTo>
                    <a:pt x="86" y="2"/>
                  </a:lnTo>
                  <a:lnTo>
                    <a:pt x="83" y="2"/>
                  </a:lnTo>
                  <a:lnTo>
                    <a:pt x="83" y="4"/>
                  </a:lnTo>
                  <a:lnTo>
                    <a:pt x="83" y="7"/>
                  </a:lnTo>
                  <a:lnTo>
                    <a:pt x="83" y="9"/>
                  </a:lnTo>
                  <a:lnTo>
                    <a:pt x="86" y="9"/>
                  </a:lnTo>
                  <a:lnTo>
                    <a:pt x="88" y="9"/>
                  </a:lnTo>
                  <a:lnTo>
                    <a:pt x="91" y="9"/>
                  </a:lnTo>
                  <a:lnTo>
                    <a:pt x="91" y="7"/>
                  </a:lnTo>
                  <a:lnTo>
                    <a:pt x="93" y="7"/>
                  </a:lnTo>
                  <a:lnTo>
                    <a:pt x="95" y="9"/>
                  </a:lnTo>
                  <a:lnTo>
                    <a:pt x="98" y="7"/>
                  </a:lnTo>
                  <a:lnTo>
                    <a:pt x="98" y="9"/>
                  </a:lnTo>
                  <a:lnTo>
                    <a:pt x="100" y="9"/>
                  </a:lnTo>
                  <a:lnTo>
                    <a:pt x="100" y="7"/>
                  </a:lnTo>
                  <a:lnTo>
                    <a:pt x="102" y="7"/>
                  </a:lnTo>
                  <a:lnTo>
                    <a:pt x="102" y="9"/>
                  </a:lnTo>
                  <a:lnTo>
                    <a:pt x="105" y="9"/>
                  </a:lnTo>
                  <a:lnTo>
                    <a:pt x="107" y="9"/>
                  </a:lnTo>
                  <a:lnTo>
                    <a:pt x="110" y="9"/>
                  </a:lnTo>
                  <a:lnTo>
                    <a:pt x="112" y="12"/>
                  </a:lnTo>
                  <a:lnTo>
                    <a:pt x="114" y="14"/>
                  </a:lnTo>
                  <a:lnTo>
                    <a:pt x="114" y="12"/>
                  </a:lnTo>
                  <a:lnTo>
                    <a:pt x="114" y="14"/>
                  </a:lnTo>
                  <a:lnTo>
                    <a:pt x="114" y="12"/>
                  </a:lnTo>
                  <a:lnTo>
                    <a:pt x="117" y="12"/>
                  </a:lnTo>
                  <a:lnTo>
                    <a:pt x="119" y="12"/>
                  </a:lnTo>
                  <a:lnTo>
                    <a:pt x="119" y="14"/>
                  </a:lnTo>
                  <a:lnTo>
                    <a:pt x="117" y="14"/>
                  </a:lnTo>
                  <a:lnTo>
                    <a:pt x="119" y="14"/>
                  </a:lnTo>
                  <a:lnTo>
                    <a:pt x="119" y="12"/>
                  </a:lnTo>
                  <a:lnTo>
                    <a:pt x="121" y="12"/>
                  </a:lnTo>
                  <a:lnTo>
                    <a:pt x="121" y="9"/>
                  </a:lnTo>
                  <a:lnTo>
                    <a:pt x="124" y="9"/>
                  </a:lnTo>
                  <a:lnTo>
                    <a:pt x="124" y="12"/>
                  </a:lnTo>
                  <a:lnTo>
                    <a:pt x="126" y="12"/>
                  </a:lnTo>
                  <a:lnTo>
                    <a:pt x="129" y="14"/>
                  </a:lnTo>
                  <a:lnTo>
                    <a:pt x="131" y="14"/>
                  </a:lnTo>
                  <a:lnTo>
                    <a:pt x="131" y="16"/>
                  </a:lnTo>
                  <a:lnTo>
                    <a:pt x="133" y="16"/>
                  </a:lnTo>
                  <a:lnTo>
                    <a:pt x="133" y="14"/>
                  </a:lnTo>
                  <a:lnTo>
                    <a:pt x="136" y="14"/>
                  </a:lnTo>
                  <a:lnTo>
                    <a:pt x="136" y="16"/>
                  </a:lnTo>
                  <a:lnTo>
                    <a:pt x="136" y="19"/>
                  </a:lnTo>
                  <a:lnTo>
                    <a:pt x="138" y="19"/>
                  </a:lnTo>
                  <a:lnTo>
                    <a:pt x="136" y="19"/>
                  </a:lnTo>
                  <a:lnTo>
                    <a:pt x="136" y="21"/>
                  </a:lnTo>
                  <a:lnTo>
                    <a:pt x="133" y="21"/>
                  </a:lnTo>
                  <a:lnTo>
                    <a:pt x="136" y="21"/>
                  </a:lnTo>
                  <a:lnTo>
                    <a:pt x="133" y="21"/>
                  </a:lnTo>
                  <a:lnTo>
                    <a:pt x="133" y="23"/>
                  </a:lnTo>
                  <a:lnTo>
                    <a:pt x="131" y="23"/>
                  </a:lnTo>
                  <a:lnTo>
                    <a:pt x="129" y="23"/>
                  </a:lnTo>
                  <a:lnTo>
                    <a:pt x="129" y="26"/>
                  </a:lnTo>
                  <a:lnTo>
                    <a:pt x="126" y="26"/>
                  </a:lnTo>
                  <a:lnTo>
                    <a:pt x="129" y="26"/>
                  </a:lnTo>
                  <a:lnTo>
                    <a:pt x="126" y="28"/>
                  </a:lnTo>
                  <a:lnTo>
                    <a:pt x="126" y="26"/>
                  </a:lnTo>
                  <a:lnTo>
                    <a:pt x="126" y="28"/>
                  </a:lnTo>
                  <a:lnTo>
                    <a:pt x="126" y="26"/>
                  </a:lnTo>
                  <a:lnTo>
                    <a:pt x="126" y="28"/>
                  </a:lnTo>
                  <a:lnTo>
                    <a:pt x="124" y="28"/>
                  </a:lnTo>
                  <a:lnTo>
                    <a:pt x="124" y="26"/>
                  </a:lnTo>
                  <a:lnTo>
                    <a:pt x="124" y="28"/>
                  </a:lnTo>
                  <a:lnTo>
                    <a:pt x="121" y="28"/>
                  </a:lnTo>
                  <a:lnTo>
                    <a:pt x="124" y="28"/>
                  </a:lnTo>
                  <a:lnTo>
                    <a:pt x="121" y="28"/>
                  </a:lnTo>
                  <a:lnTo>
                    <a:pt x="124" y="28"/>
                  </a:lnTo>
                  <a:lnTo>
                    <a:pt x="121" y="28"/>
                  </a:lnTo>
                  <a:lnTo>
                    <a:pt x="121" y="31"/>
                  </a:lnTo>
                  <a:lnTo>
                    <a:pt x="124" y="31"/>
                  </a:lnTo>
                  <a:lnTo>
                    <a:pt x="124" y="28"/>
                  </a:lnTo>
                  <a:lnTo>
                    <a:pt x="126" y="28"/>
                  </a:lnTo>
                  <a:lnTo>
                    <a:pt x="129" y="26"/>
                  </a:lnTo>
                  <a:lnTo>
                    <a:pt x="129" y="28"/>
                  </a:lnTo>
                  <a:lnTo>
                    <a:pt x="129" y="26"/>
                  </a:lnTo>
                  <a:lnTo>
                    <a:pt x="131" y="26"/>
                  </a:lnTo>
                  <a:lnTo>
                    <a:pt x="131" y="23"/>
                  </a:lnTo>
                  <a:lnTo>
                    <a:pt x="133" y="23"/>
                  </a:lnTo>
                  <a:lnTo>
                    <a:pt x="133" y="21"/>
                  </a:lnTo>
                  <a:lnTo>
                    <a:pt x="136" y="21"/>
                  </a:lnTo>
                  <a:lnTo>
                    <a:pt x="136" y="19"/>
                  </a:lnTo>
                  <a:lnTo>
                    <a:pt x="138" y="21"/>
                  </a:lnTo>
                  <a:lnTo>
                    <a:pt x="138" y="19"/>
                  </a:lnTo>
                  <a:lnTo>
                    <a:pt x="138" y="21"/>
                  </a:lnTo>
                  <a:lnTo>
                    <a:pt x="138" y="23"/>
                  </a:lnTo>
                  <a:lnTo>
                    <a:pt x="138" y="26"/>
                  </a:lnTo>
                  <a:lnTo>
                    <a:pt x="136" y="28"/>
                  </a:lnTo>
                  <a:lnTo>
                    <a:pt x="133" y="28"/>
                  </a:lnTo>
                  <a:lnTo>
                    <a:pt x="133" y="31"/>
                  </a:lnTo>
                  <a:lnTo>
                    <a:pt x="131" y="31"/>
                  </a:lnTo>
                  <a:lnTo>
                    <a:pt x="131" y="28"/>
                  </a:lnTo>
                  <a:lnTo>
                    <a:pt x="131" y="31"/>
                  </a:lnTo>
                  <a:lnTo>
                    <a:pt x="133" y="31"/>
                  </a:lnTo>
                  <a:lnTo>
                    <a:pt x="136" y="31"/>
                  </a:lnTo>
                  <a:lnTo>
                    <a:pt x="133" y="31"/>
                  </a:lnTo>
                  <a:lnTo>
                    <a:pt x="136" y="31"/>
                  </a:lnTo>
                  <a:lnTo>
                    <a:pt x="138" y="31"/>
                  </a:lnTo>
                  <a:lnTo>
                    <a:pt x="138" y="28"/>
                  </a:lnTo>
                  <a:lnTo>
                    <a:pt x="140" y="28"/>
                  </a:lnTo>
                  <a:lnTo>
                    <a:pt x="143" y="31"/>
                  </a:lnTo>
                  <a:lnTo>
                    <a:pt x="143" y="33"/>
                  </a:lnTo>
                  <a:lnTo>
                    <a:pt x="143" y="35"/>
                  </a:lnTo>
                  <a:lnTo>
                    <a:pt x="140" y="35"/>
                  </a:lnTo>
                  <a:lnTo>
                    <a:pt x="138" y="35"/>
                  </a:lnTo>
                  <a:lnTo>
                    <a:pt x="136" y="35"/>
                  </a:lnTo>
                  <a:lnTo>
                    <a:pt x="133" y="35"/>
                  </a:lnTo>
                  <a:lnTo>
                    <a:pt x="131" y="35"/>
                  </a:lnTo>
                  <a:lnTo>
                    <a:pt x="129" y="35"/>
                  </a:lnTo>
                  <a:lnTo>
                    <a:pt x="126" y="35"/>
                  </a:lnTo>
                  <a:lnTo>
                    <a:pt x="126" y="38"/>
                  </a:lnTo>
                  <a:lnTo>
                    <a:pt x="124" y="40"/>
                  </a:lnTo>
                  <a:lnTo>
                    <a:pt x="124" y="42"/>
                  </a:lnTo>
                  <a:lnTo>
                    <a:pt x="121" y="42"/>
                  </a:lnTo>
                  <a:lnTo>
                    <a:pt x="119" y="45"/>
                  </a:lnTo>
                  <a:lnTo>
                    <a:pt x="117" y="45"/>
                  </a:lnTo>
                  <a:lnTo>
                    <a:pt x="114" y="47"/>
                  </a:lnTo>
                  <a:lnTo>
                    <a:pt x="114" y="50"/>
                  </a:lnTo>
                  <a:lnTo>
                    <a:pt x="114" y="52"/>
                  </a:lnTo>
                  <a:lnTo>
                    <a:pt x="114" y="54"/>
                  </a:lnTo>
                  <a:lnTo>
                    <a:pt x="112" y="54"/>
                  </a:lnTo>
                  <a:lnTo>
                    <a:pt x="112" y="57"/>
                  </a:lnTo>
                  <a:lnTo>
                    <a:pt x="110" y="57"/>
                  </a:lnTo>
                  <a:lnTo>
                    <a:pt x="110" y="59"/>
                  </a:lnTo>
                  <a:lnTo>
                    <a:pt x="107" y="59"/>
                  </a:lnTo>
                  <a:lnTo>
                    <a:pt x="105" y="59"/>
                  </a:lnTo>
                  <a:lnTo>
                    <a:pt x="102" y="59"/>
                  </a:lnTo>
                  <a:lnTo>
                    <a:pt x="100" y="57"/>
                  </a:lnTo>
                  <a:lnTo>
                    <a:pt x="100" y="54"/>
                  </a:lnTo>
                  <a:lnTo>
                    <a:pt x="98" y="54"/>
                  </a:lnTo>
                  <a:lnTo>
                    <a:pt x="98" y="52"/>
                  </a:lnTo>
                  <a:lnTo>
                    <a:pt x="100" y="52"/>
                  </a:lnTo>
                  <a:lnTo>
                    <a:pt x="102" y="52"/>
                  </a:lnTo>
                  <a:lnTo>
                    <a:pt x="102" y="50"/>
                  </a:lnTo>
                  <a:lnTo>
                    <a:pt x="102" y="47"/>
                  </a:lnTo>
                  <a:lnTo>
                    <a:pt x="100" y="47"/>
                  </a:lnTo>
                  <a:lnTo>
                    <a:pt x="98" y="47"/>
                  </a:lnTo>
                  <a:lnTo>
                    <a:pt x="98" y="45"/>
                  </a:lnTo>
                  <a:lnTo>
                    <a:pt x="98" y="42"/>
                  </a:lnTo>
                  <a:lnTo>
                    <a:pt x="98" y="40"/>
                  </a:lnTo>
                  <a:lnTo>
                    <a:pt x="100" y="40"/>
                  </a:lnTo>
                  <a:lnTo>
                    <a:pt x="102" y="40"/>
                  </a:lnTo>
                  <a:lnTo>
                    <a:pt x="102" y="38"/>
                  </a:lnTo>
                  <a:lnTo>
                    <a:pt x="102" y="35"/>
                  </a:lnTo>
                  <a:lnTo>
                    <a:pt x="105" y="35"/>
                  </a:lnTo>
                  <a:lnTo>
                    <a:pt x="107" y="35"/>
                  </a:lnTo>
                  <a:lnTo>
                    <a:pt x="110" y="35"/>
                  </a:lnTo>
                  <a:lnTo>
                    <a:pt x="110" y="38"/>
                  </a:lnTo>
                  <a:lnTo>
                    <a:pt x="112" y="38"/>
                  </a:lnTo>
                  <a:lnTo>
                    <a:pt x="112" y="35"/>
                  </a:lnTo>
                  <a:lnTo>
                    <a:pt x="112" y="38"/>
                  </a:lnTo>
                  <a:lnTo>
                    <a:pt x="110" y="38"/>
                  </a:lnTo>
                  <a:lnTo>
                    <a:pt x="110" y="35"/>
                  </a:lnTo>
                  <a:lnTo>
                    <a:pt x="110" y="38"/>
                  </a:lnTo>
                  <a:lnTo>
                    <a:pt x="110" y="35"/>
                  </a:lnTo>
                  <a:lnTo>
                    <a:pt x="107" y="35"/>
                  </a:lnTo>
                  <a:lnTo>
                    <a:pt x="105" y="35"/>
                  </a:lnTo>
                  <a:lnTo>
                    <a:pt x="102" y="35"/>
                  </a:lnTo>
                  <a:lnTo>
                    <a:pt x="102" y="38"/>
                  </a:lnTo>
                  <a:lnTo>
                    <a:pt x="100" y="38"/>
                  </a:lnTo>
                  <a:lnTo>
                    <a:pt x="100" y="40"/>
                  </a:lnTo>
                  <a:lnTo>
                    <a:pt x="98" y="40"/>
                  </a:lnTo>
                  <a:lnTo>
                    <a:pt x="98" y="38"/>
                  </a:lnTo>
                  <a:lnTo>
                    <a:pt x="98" y="40"/>
                  </a:lnTo>
                  <a:lnTo>
                    <a:pt x="100" y="40"/>
                  </a:lnTo>
                  <a:lnTo>
                    <a:pt x="98" y="40"/>
                  </a:lnTo>
                  <a:lnTo>
                    <a:pt x="98" y="38"/>
                  </a:lnTo>
                  <a:lnTo>
                    <a:pt x="98" y="40"/>
                  </a:lnTo>
                  <a:lnTo>
                    <a:pt x="95" y="40"/>
                  </a:lnTo>
                  <a:lnTo>
                    <a:pt x="95" y="38"/>
                  </a:lnTo>
                  <a:lnTo>
                    <a:pt x="95" y="40"/>
                  </a:lnTo>
                  <a:lnTo>
                    <a:pt x="93" y="40"/>
                  </a:lnTo>
                  <a:lnTo>
                    <a:pt x="91" y="40"/>
                  </a:lnTo>
                  <a:lnTo>
                    <a:pt x="91" y="38"/>
                  </a:lnTo>
                  <a:lnTo>
                    <a:pt x="91" y="40"/>
                  </a:lnTo>
                  <a:lnTo>
                    <a:pt x="91" y="38"/>
                  </a:lnTo>
                  <a:lnTo>
                    <a:pt x="91" y="35"/>
                  </a:lnTo>
                  <a:lnTo>
                    <a:pt x="93" y="35"/>
                  </a:lnTo>
                  <a:lnTo>
                    <a:pt x="91" y="35"/>
                  </a:lnTo>
                  <a:lnTo>
                    <a:pt x="93" y="35"/>
                  </a:lnTo>
                  <a:lnTo>
                    <a:pt x="91" y="35"/>
                  </a:lnTo>
                  <a:lnTo>
                    <a:pt x="91" y="33"/>
                  </a:lnTo>
                  <a:lnTo>
                    <a:pt x="93" y="33"/>
                  </a:lnTo>
                  <a:lnTo>
                    <a:pt x="95" y="33"/>
                  </a:lnTo>
                  <a:lnTo>
                    <a:pt x="98" y="33"/>
                  </a:lnTo>
                  <a:lnTo>
                    <a:pt x="100" y="33"/>
                  </a:lnTo>
                  <a:lnTo>
                    <a:pt x="100" y="31"/>
                  </a:lnTo>
                  <a:lnTo>
                    <a:pt x="102" y="31"/>
                  </a:lnTo>
                  <a:lnTo>
                    <a:pt x="105" y="31"/>
                  </a:lnTo>
                  <a:lnTo>
                    <a:pt x="105" y="28"/>
                  </a:lnTo>
                  <a:lnTo>
                    <a:pt x="102" y="28"/>
                  </a:lnTo>
                  <a:lnTo>
                    <a:pt x="102" y="31"/>
                  </a:lnTo>
                  <a:lnTo>
                    <a:pt x="100" y="31"/>
                  </a:lnTo>
                  <a:lnTo>
                    <a:pt x="98" y="31"/>
                  </a:lnTo>
                  <a:lnTo>
                    <a:pt x="98" y="28"/>
                  </a:lnTo>
                  <a:lnTo>
                    <a:pt x="100" y="26"/>
                  </a:lnTo>
                  <a:lnTo>
                    <a:pt x="100" y="23"/>
                  </a:lnTo>
                  <a:lnTo>
                    <a:pt x="98" y="23"/>
                  </a:lnTo>
                  <a:lnTo>
                    <a:pt x="98" y="21"/>
                  </a:lnTo>
                  <a:lnTo>
                    <a:pt x="95" y="19"/>
                  </a:lnTo>
                  <a:lnTo>
                    <a:pt x="95" y="16"/>
                  </a:lnTo>
                  <a:lnTo>
                    <a:pt x="93" y="16"/>
                  </a:lnTo>
                  <a:lnTo>
                    <a:pt x="93" y="14"/>
                  </a:lnTo>
                  <a:lnTo>
                    <a:pt x="93" y="12"/>
                  </a:lnTo>
                  <a:lnTo>
                    <a:pt x="91" y="12"/>
                  </a:lnTo>
                  <a:lnTo>
                    <a:pt x="91" y="9"/>
                  </a:lnTo>
                  <a:lnTo>
                    <a:pt x="88" y="9"/>
                  </a:lnTo>
                  <a:lnTo>
                    <a:pt x="86" y="9"/>
                  </a:lnTo>
                  <a:lnTo>
                    <a:pt x="86" y="12"/>
                  </a:lnTo>
                  <a:lnTo>
                    <a:pt x="83" y="12"/>
                  </a:lnTo>
                  <a:lnTo>
                    <a:pt x="83" y="9"/>
                  </a:lnTo>
                  <a:lnTo>
                    <a:pt x="81" y="9"/>
                  </a:lnTo>
                  <a:lnTo>
                    <a:pt x="81" y="12"/>
                  </a:lnTo>
                  <a:lnTo>
                    <a:pt x="81" y="14"/>
                  </a:lnTo>
                  <a:lnTo>
                    <a:pt x="81" y="16"/>
                  </a:lnTo>
                  <a:lnTo>
                    <a:pt x="81" y="12"/>
                  </a:lnTo>
                  <a:lnTo>
                    <a:pt x="81" y="9"/>
                  </a:lnTo>
                  <a:lnTo>
                    <a:pt x="81" y="7"/>
                  </a:lnTo>
                  <a:lnTo>
                    <a:pt x="81" y="4"/>
                  </a:lnTo>
                  <a:lnTo>
                    <a:pt x="83" y="2"/>
                  </a:lnTo>
                  <a:lnTo>
                    <a:pt x="83" y="0"/>
                  </a:lnTo>
                  <a:lnTo>
                    <a:pt x="8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1" name="Freeform 52270"/>
            <p:cNvSpPr>
              <a:spLocks noEditPoints="1"/>
            </p:cNvSpPr>
            <p:nvPr/>
          </p:nvSpPr>
          <p:spPr bwMode="auto">
            <a:xfrm>
              <a:off x="2374898" y="4327539"/>
              <a:ext cx="400050" cy="101600"/>
            </a:xfrm>
            <a:custGeom>
              <a:avLst/>
              <a:gdLst>
                <a:gd name="T0" fmla="*/ 112 w 252"/>
                <a:gd name="T1" fmla="*/ 64 h 64"/>
                <a:gd name="T2" fmla="*/ 110 w 252"/>
                <a:gd name="T3" fmla="*/ 62 h 64"/>
                <a:gd name="T4" fmla="*/ 100 w 252"/>
                <a:gd name="T5" fmla="*/ 60 h 64"/>
                <a:gd name="T6" fmla="*/ 5 w 252"/>
                <a:gd name="T7" fmla="*/ 57 h 64"/>
                <a:gd name="T8" fmla="*/ 0 w 252"/>
                <a:gd name="T9" fmla="*/ 57 h 64"/>
                <a:gd name="T10" fmla="*/ 8 w 252"/>
                <a:gd name="T11" fmla="*/ 55 h 64"/>
                <a:gd name="T12" fmla="*/ 15 w 252"/>
                <a:gd name="T13" fmla="*/ 53 h 64"/>
                <a:gd name="T14" fmla="*/ 10 w 252"/>
                <a:gd name="T15" fmla="*/ 55 h 64"/>
                <a:gd name="T16" fmla="*/ 15 w 252"/>
                <a:gd name="T17" fmla="*/ 53 h 64"/>
                <a:gd name="T18" fmla="*/ 95 w 252"/>
                <a:gd name="T19" fmla="*/ 55 h 64"/>
                <a:gd name="T20" fmla="*/ 95 w 252"/>
                <a:gd name="T21" fmla="*/ 55 h 64"/>
                <a:gd name="T22" fmla="*/ 22 w 252"/>
                <a:gd name="T23" fmla="*/ 50 h 64"/>
                <a:gd name="T24" fmla="*/ 17 w 252"/>
                <a:gd name="T25" fmla="*/ 50 h 64"/>
                <a:gd name="T26" fmla="*/ 22 w 252"/>
                <a:gd name="T27" fmla="*/ 50 h 64"/>
                <a:gd name="T28" fmla="*/ 48 w 252"/>
                <a:gd name="T29" fmla="*/ 50 h 64"/>
                <a:gd name="T30" fmla="*/ 27 w 252"/>
                <a:gd name="T31" fmla="*/ 50 h 64"/>
                <a:gd name="T32" fmla="*/ 29 w 252"/>
                <a:gd name="T33" fmla="*/ 50 h 64"/>
                <a:gd name="T34" fmla="*/ 38 w 252"/>
                <a:gd name="T35" fmla="*/ 50 h 64"/>
                <a:gd name="T36" fmla="*/ 36 w 252"/>
                <a:gd name="T37" fmla="*/ 48 h 64"/>
                <a:gd name="T38" fmla="*/ 46 w 252"/>
                <a:gd name="T39" fmla="*/ 50 h 64"/>
                <a:gd name="T40" fmla="*/ 41 w 252"/>
                <a:gd name="T41" fmla="*/ 48 h 64"/>
                <a:gd name="T42" fmla="*/ 91 w 252"/>
                <a:gd name="T43" fmla="*/ 48 h 64"/>
                <a:gd name="T44" fmla="*/ 67 w 252"/>
                <a:gd name="T45" fmla="*/ 36 h 64"/>
                <a:gd name="T46" fmla="*/ 159 w 252"/>
                <a:gd name="T47" fmla="*/ 34 h 64"/>
                <a:gd name="T48" fmla="*/ 159 w 252"/>
                <a:gd name="T49" fmla="*/ 36 h 64"/>
                <a:gd name="T50" fmla="*/ 41 w 252"/>
                <a:gd name="T51" fmla="*/ 29 h 64"/>
                <a:gd name="T52" fmla="*/ 228 w 252"/>
                <a:gd name="T53" fmla="*/ 22 h 64"/>
                <a:gd name="T54" fmla="*/ 103 w 252"/>
                <a:gd name="T55" fmla="*/ 22 h 64"/>
                <a:gd name="T56" fmla="*/ 212 w 252"/>
                <a:gd name="T57" fmla="*/ 15 h 64"/>
                <a:gd name="T58" fmla="*/ 62 w 252"/>
                <a:gd name="T59" fmla="*/ 17 h 64"/>
                <a:gd name="T60" fmla="*/ 60 w 252"/>
                <a:gd name="T61" fmla="*/ 15 h 64"/>
                <a:gd name="T62" fmla="*/ 214 w 252"/>
                <a:gd name="T63" fmla="*/ 15 h 64"/>
                <a:gd name="T64" fmla="*/ 152 w 252"/>
                <a:gd name="T65" fmla="*/ 12 h 64"/>
                <a:gd name="T66" fmla="*/ 150 w 252"/>
                <a:gd name="T67" fmla="*/ 17 h 64"/>
                <a:gd name="T68" fmla="*/ 145 w 252"/>
                <a:gd name="T69" fmla="*/ 17 h 64"/>
                <a:gd name="T70" fmla="*/ 145 w 252"/>
                <a:gd name="T71" fmla="*/ 10 h 64"/>
                <a:gd name="T72" fmla="*/ 60 w 252"/>
                <a:gd name="T73" fmla="*/ 10 h 64"/>
                <a:gd name="T74" fmla="*/ 62 w 252"/>
                <a:gd name="T75" fmla="*/ 12 h 64"/>
                <a:gd name="T76" fmla="*/ 65 w 252"/>
                <a:gd name="T77" fmla="*/ 12 h 64"/>
                <a:gd name="T78" fmla="*/ 62 w 252"/>
                <a:gd name="T79" fmla="*/ 10 h 64"/>
                <a:gd name="T80" fmla="*/ 60 w 252"/>
                <a:gd name="T81" fmla="*/ 7 h 64"/>
                <a:gd name="T82" fmla="*/ 214 w 252"/>
                <a:gd name="T83" fmla="*/ 7 h 64"/>
                <a:gd name="T84" fmla="*/ 212 w 252"/>
                <a:gd name="T85" fmla="*/ 15 h 64"/>
                <a:gd name="T86" fmla="*/ 212 w 252"/>
                <a:gd name="T87" fmla="*/ 7 h 64"/>
                <a:gd name="T88" fmla="*/ 69 w 252"/>
                <a:gd name="T89" fmla="*/ 5 h 64"/>
                <a:gd name="T90" fmla="*/ 62 w 252"/>
                <a:gd name="T91" fmla="*/ 7 h 64"/>
                <a:gd name="T92" fmla="*/ 69 w 252"/>
                <a:gd name="T93" fmla="*/ 3 h 64"/>
                <a:gd name="T94" fmla="*/ 57 w 252"/>
                <a:gd name="T95" fmla="*/ 7 h 64"/>
                <a:gd name="T96" fmla="*/ 55 w 252"/>
                <a:gd name="T97" fmla="*/ 3 h 64"/>
                <a:gd name="T98" fmla="*/ 57 w 252"/>
                <a:gd name="T99" fmla="*/ 5 h 64"/>
                <a:gd name="T100" fmla="*/ 60 w 252"/>
                <a:gd name="T101" fmla="*/ 3 h 64"/>
                <a:gd name="T102" fmla="*/ 62 w 252"/>
                <a:gd name="T10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 h="64">
                  <a:moveTo>
                    <a:pt x="110" y="60"/>
                  </a:moveTo>
                  <a:lnTo>
                    <a:pt x="112" y="60"/>
                  </a:lnTo>
                  <a:lnTo>
                    <a:pt x="112" y="62"/>
                  </a:lnTo>
                  <a:lnTo>
                    <a:pt x="112" y="64"/>
                  </a:lnTo>
                  <a:lnTo>
                    <a:pt x="110" y="64"/>
                  </a:lnTo>
                  <a:lnTo>
                    <a:pt x="110" y="62"/>
                  </a:lnTo>
                  <a:lnTo>
                    <a:pt x="110" y="60"/>
                  </a:lnTo>
                  <a:lnTo>
                    <a:pt x="110" y="62"/>
                  </a:lnTo>
                  <a:lnTo>
                    <a:pt x="110" y="60"/>
                  </a:lnTo>
                  <a:close/>
                  <a:moveTo>
                    <a:pt x="100" y="60"/>
                  </a:moveTo>
                  <a:lnTo>
                    <a:pt x="103" y="60"/>
                  </a:lnTo>
                  <a:lnTo>
                    <a:pt x="100" y="60"/>
                  </a:lnTo>
                  <a:close/>
                  <a:moveTo>
                    <a:pt x="98" y="57"/>
                  </a:moveTo>
                  <a:lnTo>
                    <a:pt x="95" y="57"/>
                  </a:lnTo>
                  <a:lnTo>
                    <a:pt x="98" y="57"/>
                  </a:lnTo>
                  <a:close/>
                  <a:moveTo>
                    <a:pt x="5" y="57"/>
                  </a:moveTo>
                  <a:lnTo>
                    <a:pt x="3" y="57"/>
                  </a:lnTo>
                  <a:lnTo>
                    <a:pt x="3" y="60"/>
                  </a:lnTo>
                  <a:lnTo>
                    <a:pt x="0" y="60"/>
                  </a:lnTo>
                  <a:lnTo>
                    <a:pt x="0" y="57"/>
                  </a:lnTo>
                  <a:lnTo>
                    <a:pt x="3" y="57"/>
                  </a:lnTo>
                  <a:lnTo>
                    <a:pt x="5" y="57"/>
                  </a:lnTo>
                  <a:close/>
                  <a:moveTo>
                    <a:pt x="5" y="55"/>
                  </a:moveTo>
                  <a:lnTo>
                    <a:pt x="8" y="55"/>
                  </a:lnTo>
                  <a:lnTo>
                    <a:pt x="5" y="55"/>
                  </a:lnTo>
                  <a:lnTo>
                    <a:pt x="8" y="55"/>
                  </a:lnTo>
                  <a:lnTo>
                    <a:pt x="5" y="55"/>
                  </a:lnTo>
                  <a:close/>
                  <a:moveTo>
                    <a:pt x="15" y="53"/>
                  </a:moveTo>
                  <a:lnTo>
                    <a:pt x="12" y="53"/>
                  </a:lnTo>
                  <a:lnTo>
                    <a:pt x="12" y="55"/>
                  </a:lnTo>
                  <a:lnTo>
                    <a:pt x="12" y="53"/>
                  </a:lnTo>
                  <a:lnTo>
                    <a:pt x="10" y="55"/>
                  </a:lnTo>
                  <a:lnTo>
                    <a:pt x="8" y="55"/>
                  </a:lnTo>
                  <a:lnTo>
                    <a:pt x="10" y="53"/>
                  </a:lnTo>
                  <a:lnTo>
                    <a:pt x="12" y="53"/>
                  </a:lnTo>
                  <a:lnTo>
                    <a:pt x="15" y="53"/>
                  </a:lnTo>
                  <a:close/>
                  <a:moveTo>
                    <a:pt x="252" y="53"/>
                  </a:moveTo>
                  <a:lnTo>
                    <a:pt x="250" y="53"/>
                  </a:lnTo>
                  <a:lnTo>
                    <a:pt x="252" y="53"/>
                  </a:lnTo>
                  <a:close/>
                  <a:moveTo>
                    <a:pt x="95" y="55"/>
                  </a:moveTo>
                  <a:lnTo>
                    <a:pt x="95" y="53"/>
                  </a:lnTo>
                  <a:lnTo>
                    <a:pt x="93" y="53"/>
                  </a:lnTo>
                  <a:lnTo>
                    <a:pt x="95" y="53"/>
                  </a:lnTo>
                  <a:lnTo>
                    <a:pt x="95" y="55"/>
                  </a:lnTo>
                  <a:close/>
                  <a:moveTo>
                    <a:pt x="93" y="53"/>
                  </a:moveTo>
                  <a:lnTo>
                    <a:pt x="93" y="50"/>
                  </a:lnTo>
                  <a:lnTo>
                    <a:pt x="93" y="53"/>
                  </a:lnTo>
                  <a:close/>
                  <a:moveTo>
                    <a:pt x="22" y="50"/>
                  </a:moveTo>
                  <a:lnTo>
                    <a:pt x="22" y="53"/>
                  </a:lnTo>
                  <a:lnTo>
                    <a:pt x="19" y="53"/>
                  </a:lnTo>
                  <a:lnTo>
                    <a:pt x="17" y="53"/>
                  </a:lnTo>
                  <a:lnTo>
                    <a:pt x="17" y="50"/>
                  </a:lnTo>
                  <a:lnTo>
                    <a:pt x="19" y="50"/>
                  </a:lnTo>
                  <a:lnTo>
                    <a:pt x="19" y="53"/>
                  </a:lnTo>
                  <a:lnTo>
                    <a:pt x="22" y="53"/>
                  </a:lnTo>
                  <a:lnTo>
                    <a:pt x="22" y="50"/>
                  </a:lnTo>
                  <a:close/>
                  <a:moveTo>
                    <a:pt x="50" y="50"/>
                  </a:moveTo>
                  <a:lnTo>
                    <a:pt x="50" y="53"/>
                  </a:lnTo>
                  <a:lnTo>
                    <a:pt x="48" y="53"/>
                  </a:lnTo>
                  <a:lnTo>
                    <a:pt x="48" y="50"/>
                  </a:lnTo>
                  <a:lnTo>
                    <a:pt x="50" y="50"/>
                  </a:lnTo>
                  <a:close/>
                  <a:moveTo>
                    <a:pt x="27" y="50"/>
                  </a:moveTo>
                  <a:lnTo>
                    <a:pt x="24" y="50"/>
                  </a:lnTo>
                  <a:lnTo>
                    <a:pt x="27" y="50"/>
                  </a:lnTo>
                  <a:close/>
                  <a:moveTo>
                    <a:pt x="31" y="50"/>
                  </a:moveTo>
                  <a:lnTo>
                    <a:pt x="29" y="50"/>
                  </a:lnTo>
                  <a:lnTo>
                    <a:pt x="27" y="50"/>
                  </a:lnTo>
                  <a:lnTo>
                    <a:pt x="29" y="50"/>
                  </a:lnTo>
                  <a:lnTo>
                    <a:pt x="31" y="50"/>
                  </a:lnTo>
                  <a:close/>
                  <a:moveTo>
                    <a:pt x="36" y="48"/>
                  </a:moveTo>
                  <a:lnTo>
                    <a:pt x="38" y="48"/>
                  </a:lnTo>
                  <a:lnTo>
                    <a:pt x="38" y="50"/>
                  </a:lnTo>
                  <a:lnTo>
                    <a:pt x="36" y="50"/>
                  </a:lnTo>
                  <a:lnTo>
                    <a:pt x="34" y="50"/>
                  </a:lnTo>
                  <a:lnTo>
                    <a:pt x="34" y="48"/>
                  </a:lnTo>
                  <a:lnTo>
                    <a:pt x="36" y="48"/>
                  </a:lnTo>
                  <a:close/>
                  <a:moveTo>
                    <a:pt x="46" y="50"/>
                  </a:moveTo>
                  <a:lnTo>
                    <a:pt x="43" y="48"/>
                  </a:lnTo>
                  <a:lnTo>
                    <a:pt x="46" y="48"/>
                  </a:lnTo>
                  <a:lnTo>
                    <a:pt x="46" y="50"/>
                  </a:lnTo>
                  <a:close/>
                  <a:moveTo>
                    <a:pt x="43" y="48"/>
                  </a:moveTo>
                  <a:lnTo>
                    <a:pt x="41" y="48"/>
                  </a:lnTo>
                  <a:lnTo>
                    <a:pt x="38" y="48"/>
                  </a:lnTo>
                  <a:lnTo>
                    <a:pt x="41" y="48"/>
                  </a:lnTo>
                  <a:lnTo>
                    <a:pt x="43" y="48"/>
                  </a:lnTo>
                  <a:close/>
                  <a:moveTo>
                    <a:pt x="91" y="48"/>
                  </a:moveTo>
                  <a:lnTo>
                    <a:pt x="91" y="50"/>
                  </a:lnTo>
                  <a:lnTo>
                    <a:pt x="91" y="48"/>
                  </a:lnTo>
                  <a:close/>
                  <a:moveTo>
                    <a:pt x="62" y="41"/>
                  </a:moveTo>
                  <a:lnTo>
                    <a:pt x="60" y="41"/>
                  </a:lnTo>
                  <a:lnTo>
                    <a:pt x="62" y="41"/>
                  </a:lnTo>
                  <a:close/>
                  <a:moveTo>
                    <a:pt x="67" y="36"/>
                  </a:moveTo>
                  <a:lnTo>
                    <a:pt x="67" y="34"/>
                  </a:lnTo>
                  <a:lnTo>
                    <a:pt x="67" y="36"/>
                  </a:lnTo>
                  <a:close/>
                  <a:moveTo>
                    <a:pt x="159" y="36"/>
                  </a:moveTo>
                  <a:lnTo>
                    <a:pt x="159" y="34"/>
                  </a:lnTo>
                  <a:lnTo>
                    <a:pt x="162" y="34"/>
                  </a:lnTo>
                  <a:lnTo>
                    <a:pt x="159" y="34"/>
                  </a:lnTo>
                  <a:lnTo>
                    <a:pt x="162" y="36"/>
                  </a:lnTo>
                  <a:lnTo>
                    <a:pt x="159" y="36"/>
                  </a:lnTo>
                  <a:close/>
                  <a:moveTo>
                    <a:pt x="41" y="29"/>
                  </a:moveTo>
                  <a:lnTo>
                    <a:pt x="43" y="29"/>
                  </a:lnTo>
                  <a:lnTo>
                    <a:pt x="41" y="29"/>
                  </a:lnTo>
                  <a:close/>
                  <a:moveTo>
                    <a:pt x="41" y="29"/>
                  </a:moveTo>
                  <a:lnTo>
                    <a:pt x="41" y="26"/>
                  </a:lnTo>
                  <a:lnTo>
                    <a:pt x="41" y="29"/>
                  </a:lnTo>
                  <a:close/>
                  <a:moveTo>
                    <a:pt x="226" y="22"/>
                  </a:moveTo>
                  <a:lnTo>
                    <a:pt x="228" y="22"/>
                  </a:lnTo>
                  <a:lnTo>
                    <a:pt x="226" y="22"/>
                  </a:lnTo>
                  <a:lnTo>
                    <a:pt x="228" y="22"/>
                  </a:lnTo>
                  <a:lnTo>
                    <a:pt x="226" y="22"/>
                  </a:lnTo>
                  <a:close/>
                  <a:moveTo>
                    <a:pt x="103" y="22"/>
                  </a:moveTo>
                  <a:lnTo>
                    <a:pt x="100" y="22"/>
                  </a:lnTo>
                  <a:lnTo>
                    <a:pt x="103" y="19"/>
                  </a:lnTo>
                  <a:lnTo>
                    <a:pt x="103" y="22"/>
                  </a:lnTo>
                  <a:close/>
                  <a:moveTo>
                    <a:pt x="212" y="15"/>
                  </a:moveTo>
                  <a:lnTo>
                    <a:pt x="209" y="15"/>
                  </a:lnTo>
                  <a:lnTo>
                    <a:pt x="212" y="15"/>
                  </a:lnTo>
                  <a:close/>
                  <a:moveTo>
                    <a:pt x="62" y="15"/>
                  </a:moveTo>
                  <a:lnTo>
                    <a:pt x="62" y="17"/>
                  </a:lnTo>
                  <a:lnTo>
                    <a:pt x="60" y="17"/>
                  </a:lnTo>
                  <a:lnTo>
                    <a:pt x="60" y="15"/>
                  </a:lnTo>
                  <a:lnTo>
                    <a:pt x="60" y="12"/>
                  </a:lnTo>
                  <a:lnTo>
                    <a:pt x="60" y="15"/>
                  </a:lnTo>
                  <a:lnTo>
                    <a:pt x="62" y="15"/>
                  </a:lnTo>
                  <a:close/>
                  <a:moveTo>
                    <a:pt x="216" y="12"/>
                  </a:moveTo>
                  <a:lnTo>
                    <a:pt x="216" y="15"/>
                  </a:lnTo>
                  <a:lnTo>
                    <a:pt x="214" y="15"/>
                  </a:lnTo>
                  <a:lnTo>
                    <a:pt x="214" y="12"/>
                  </a:lnTo>
                  <a:lnTo>
                    <a:pt x="216" y="12"/>
                  </a:lnTo>
                  <a:close/>
                  <a:moveTo>
                    <a:pt x="150" y="12"/>
                  </a:moveTo>
                  <a:lnTo>
                    <a:pt x="152" y="12"/>
                  </a:lnTo>
                  <a:lnTo>
                    <a:pt x="152" y="15"/>
                  </a:lnTo>
                  <a:lnTo>
                    <a:pt x="155" y="17"/>
                  </a:lnTo>
                  <a:lnTo>
                    <a:pt x="152" y="17"/>
                  </a:lnTo>
                  <a:lnTo>
                    <a:pt x="150" y="17"/>
                  </a:lnTo>
                  <a:lnTo>
                    <a:pt x="148" y="17"/>
                  </a:lnTo>
                  <a:lnTo>
                    <a:pt x="148" y="15"/>
                  </a:lnTo>
                  <a:lnTo>
                    <a:pt x="145" y="15"/>
                  </a:lnTo>
                  <a:lnTo>
                    <a:pt x="145" y="17"/>
                  </a:lnTo>
                  <a:lnTo>
                    <a:pt x="143" y="15"/>
                  </a:lnTo>
                  <a:lnTo>
                    <a:pt x="143" y="12"/>
                  </a:lnTo>
                  <a:lnTo>
                    <a:pt x="145" y="12"/>
                  </a:lnTo>
                  <a:lnTo>
                    <a:pt x="145" y="10"/>
                  </a:lnTo>
                  <a:lnTo>
                    <a:pt x="148" y="10"/>
                  </a:lnTo>
                  <a:lnTo>
                    <a:pt x="150" y="12"/>
                  </a:lnTo>
                  <a:close/>
                  <a:moveTo>
                    <a:pt x="60" y="12"/>
                  </a:moveTo>
                  <a:lnTo>
                    <a:pt x="60" y="10"/>
                  </a:lnTo>
                  <a:lnTo>
                    <a:pt x="62" y="10"/>
                  </a:lnTo>
                  <a:lnTo>
                    <a:pt x="60" y="10"/>
                  </a:lnTo>
                  <a:lnTo>
                    <a:pt x="60" y="12"/>
                  </a:lnTo>
                  <a:lnTo>
                    <a:pt x="62" y="12"/>
                  </a:lnTo>
                  <a:lnTo>
                    <a:pt x="60" y="12"/>
                  </a:lnTo>
                  <a:close/>
                  <a:moveTo>
                    <a:pt x="67" y="10"/>
                  </a:moveTo>
                  <a:lnTo>
                    <a:pt x="67" y="12"/>
                  </a:lnTo>
                  <a:lnTo>
                    <a:pt x="65" y="12"/>
                  </a:lnTo>
                  <a:lnTo>
                    <a:pt x="65" y="10"/>
                  </a:lnTo>
                  <a:lnTo>
                    <a:pt x="67" y="10"/>
                  </a:lnTo>
                  <a:close/>
                  <a:moveTo>
                    <a:pt x="62" y="7"/>
                  </a:moveTo>
                  <a:lnTo>
                    <a:pt x="62" y="10"/>
                  </a:lnTo>
                  <a:lnTo>
                    <a:pt x="65" y="10"/>
                  </a:lnTo>
                  <a:lnTo>
                    <a:pt x="62" y="10"/>
                  </a:lnTo>
                  <a:lnTo>
                    <a:pt x="62" y="7"/>
                  </a:lnTo>
                  <a:close/>
                  <a:moveTo>
                    <a:pt x="60" y="7"/>
                  </a:moveTo>
                  <a:lnTo>
                    <a:pt x="62" y="10"/>
                  </a:lnTo>
                  <a:lnTo>
                    <a:pt x="60" y="10"/>
                  </a:lnTo>
                  <a:lnTo>
                    <a:pt x="60" y="7"/>
                  </a:lnTo>
                  <a:close/>
                  <a:moveTo>
                    <a:pt x="214" y="7"/>
                  </a:moveTo>
                  <a:lnTo>
                    <a:pt x="214" y="10"/>
                  </a:lnTo>
                  <a:lnTo>
                    <a:pt x="212" y="10"/>
                  </a:lnTo>
                  <a:lnTo>
                    <a:pt x="212" y="12"/>
                  </a:lnTo>
                  <a:lnTo>
                    <a:pt x="212" y="15"/>
                  </a:lnTo>
                  <a:lnTo>
                    <a:pt x="212" y="12"/>
                  </a:lnTo>
                  <a:lnTo>
                    <a:pt x="212" y="10"/>
                  </a:lnTo>
                  <a:lnTo>
                    <a:pt x="214" y="7"/>
                  </a:lnTo>
                  <a:lnTo>
                    <a:pt x="212" y="7"/>
                  </a:lnTo>
                  <a:lnTo>
                    <a:pt x="214" y="7"/>
                  </a:lnTo>
                  <a:close/>
                  <a:moveTo>
                    <a:pt x="69" y="5"/>
                  </a:moveTo>
                  <a:lnTo>
                    <a:pt x="67" y="5"/>
                  </a:lnTo>
                  <a:lnTo>
                    <a:pt x="69" y="5"/>
                  </a:lnTo>
                  <a:close/>
                  <a:moveTo>
                    <a:pt x="67" y="5"/>
                  </a:moveTo>
                  <a:lnTo>
                    <a:pt x="65" y="5"/>
                  </a:lnTo>
                  <a:lnTo>
                    <a:pt x="62" y="5"/>
                  </a:lnTo>
                  <a:lnTo>
                    <a:pt x="62" y="7"/>
                  </a:lnTo>
                  <a:lnTo>
                    <a:pt x="62" y="5"/>
                  </a:lnTo>
                  <a:lnTo>
                    <a:pt x="65" y="5"/>
                  </a:lnTo>
                  <a:lnTo>
                    <a:pt x="67" y="5"/>
                  </a:lnTo>
                  <a:close/>
                  <a:moveTo>
                    <a:pt x="69" y="3"/>
                  </a:moveTo>
                  <a:lnTo>
                    <a:pt x="67" y="3"/>
                  </a:lnTo>
                  <a:lnTo>
                    <a:pt x="69" y="3"/>
                  </a:lnTo>
                  <a:close/>
                  <a:moveTo>
                    <a:pt x="57" y="5"/>
                  </a:moveTo>
                  <a:lnTo>
                    <a:pt x="57" y="7"/>
                  </a:lnTo>
                  <a:lnTo>
                    <a:pt x="57" y="5"/>
                  </a:lnTo>
                  <a:lnTo>
                    <a:pt x="57" y="7"/>
                  </a:lnTo>
                  <a:lnTo>
                    <a:pt x="55" y="5"/>
                  </a:lnTo>
                  <a:lnTo>
                    <a:pt x="55" y="3"/>
                  </a:lnTo>
                  <a:lnTo>
                    <a:pt x="57" y="3"/>
                  </a:lnTo>
                  <a:lnTo>
                    <a:pt x="55" y="3"/>
                  </a:lnTo>
                  <a:lnTo>
                    <a:pt x="57" y="3"/>
                  </a:lnTo>
                  <a:lnTo>
                    <a:pt x="57" y="5"/>
                  </a:lnTo>
                  <a:close/>
                  <a:moveTo>
                    <a:pt x="65" y="0"/>
                  </a:moveTo>
                  <a:lnTo>
                    <a:pt x="65" y="3"/>
                  </a:lnTo>
                  <a:lnTo>
                    <a:pt x="62" y="3"/>
                  </a:lnTo>
                  <a:lnTo>
                    <a:pt x="60" y="3"/>
                  </a:lnTo>
                  <a:lnTo>
                    <a:pt x="57" y="3"/>
                  </a:lnTo>
                  <a:lnTo>
                    <a:pt x="57" y="0"/>
                  </a:lnTo>
                  <a:lnTo>
                    <a:pt x="60" y="0"/>
                  </a:lnTo>
                  <a:lnTo>
                    <a:pt x="62" y="0"/>
                  </a:lnTo>
                  <a:lnTo>
                    <a:pt x="6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2" name="Freeform 52271"/>
            <p:cNvSpPr>
              <a:spLocks noEditPoints="1"/>
            </p:cNvSpPr>
            <p:nvPr/>
          </p:nvSpPr>
          <p:spPr bwMode="auto">
            <a:xfrm>
              <a:off x="2387598" y="4305313"/>
              <a:ext cx="376238" cy="150814"/>
            </a:xfrm>
            <a:custGeom>
              <a:avLst/>
              <a:gdLst>
                <a:gd name="T0" fmla="*/ 61 w 237"/>
                <a:gd name="T1" fmla="*/ 95 h 95"/>
                <a:gd name="T2" fmla="*/ 16 w 237"/>
                <a:gd name="T3" fmla="*/ 86 h 95"/>
                <a:gd name="T4" fmla="*/ 16 w 237"/>
                <a:gd name="T5" fmla="*/ 86 h 95"/>
                <a:gd name="T6" fmla="*/ 102 w 237"/>
                <a:gd name="T7" fmla="*/ 74 h 95"/>
                <a:gd name="T8" fmla="*/ 102 w 237"/>
                <a:gd name="T9" fmla="*/ 74 h 95"/>
                <a:gd name="T10" fmla="*/ 95 w 237"/>
                <a:gd name="T11" fmla="*/ 74 h 95"/>
                <a:gd name="T12" fmla="*/ 95 w 237"/>
                <a:gd name="T13" fmla="*/ 74 h 95"/>
                <a:gd name="T14" fmla="*/ 95 w 237"/>
                <a:gd name="T15" fmla="*/ 74 h 95"/>
                <a:gd name="T16" fmla="*/ 90 w 237"/>
                <a:gd name="T17" fmla="*/ 71 h 95"/>
                <a:gd name="T18" fmla="*/ 0 w 237"/>
                <a:gd name="T19" fmla="*/ 71 h 95"/>
                <a:gd name="T20" fmla="*/ 87 w 237"/>
                <a:gd name="T21" fmla="*/ 69 h 95"/>
                <a:gd name="T22" fmla="*/ 87 w 237"/>
                <a:gd name="T23" fmla="*/ 69 h 95"/>
                <a:gd name="T24" fmla="*/ 132 w 237"/>
                <a:gd name="T25" fmla="*/ 57 h 95"/>
                <a:gd name="T26" fmla="*/ 149 w 237"/>
                <a:gd name="T27" fmla="*/ 55 h 95"/>
                <a:gd name="T28" fmla="*/ 232 w 237"/>
                <a:gd name="T29" fmla="*/ 55 h 95"/>
                <a:gd name="T30" fmla="*/ 232 w 237"/>
                <a:gd name="T31" fmla="*/ 55 h 95"/>
                <a:gd name="T32" fmla="*/ 237 w 237"/>
                <a:gd name="T33" fmla="*/ 55 h 95"/>
                <a:gd name="T34" fmla="*/ 52 w 237"/>
                <a:gd name="T35" fmla="*/ 55 h 95"/>
                <a:gd name="T36" fmla="*/ 235 w 237"/>
                <a:gd name="T37" fmla="*/ 55 h 95"/>
                <a:gd name="T38" fmla="*/ 52 w 237"/>
                <a:gd name="T39" fmla="*/ 52 h 95"/>
                <a:gd name="T40" fmla="*/ 52 w 237"/>
                <a:gd name="T41" fmla="*/ 52 h 95"/>
                <a:gd name="T42" fmla="*/ 52 w 237"/>
                <a:gd name="T43" fmla="*/ 52 h 95"/>
                <a:gd name="T44" fmla="*/ 151 w 237"/>
                <a:gd name="T45" fmla="*/ 52 h 95"/>
                <a:gd name="T46" fmla="*/ 151 w 237"/>
                <a:gd name="T47" fmla="*/ 52 h 95"/>
                <a:gd name="T48" fmla="*/ 227 w 237"/>
                <a:gd name="T49" fmla="*/ 45 h 95"/>
                <a:gd name="T50" fmla="*/ 213 w 237"/>
                <a:gd name="T51" fmla="*/ 43 h 95"/>
                <a:gd name="T52" fmla="*/ 227 w 237"/>
                <a:gd name="T53" fmla="*/ 40 h 95"/>
                <a:gd name="T54" fmla="*/ 227 w 237"/>
                <a:gd name="T55" fmla="*/ 40 h 95"/>
                <a:gd name="T56" fmla="*/ 213 w 237"/>
                <a:gd name="T57" fmla="*/ 38 h 95"/>
                <a:gd name="T58" fmla="*/ 213 w 237"/>
                <a:gd name="T59" fmla="*/ 38 h 95"/>
                <a:gd name="T60" fmla="*/ 106 w 237"/>
                <a:gd name="T61" fmla="*/ 33 h 95"/>
                <a:gd name="T62" fmla="*/ 187 w 237"/>
                <a:gd name="T63" fmla="*/ 33 h 95"/>
                <a:gd name="T64" fmla="*/ 185 w 237"/>
                <a:gd name="T65" fmla="*/ 33 h 95"/>
                <a:gd name="T66" fmla="*/ 187 w 237"/>
                <a:gd name="T67" fmla="*/ 33 h 95"/>
                <a:gd name="T68" fmla="*/ 187 w 237"/>
                <a:gd name="T69" fmla="*/ 33 h 95"/>
                <a:gd name="T70" fmla="*/ 187 w 237"/>
                <a:gd name="T71" fmla="*/ 33 h 95"/>
                <a:gd name="T72" fmla="*/ 57 w 237"/>
                <a:gd name="T73" fmla="*/ 31 h 95"/>
                <a:gd name="T74" fmla="*/ 57 w 237"/>
                <a:gd name="T75" fmla="*/ 31 h 95"/>
                <a:gd name="T76" fmla="*/ 206 w 237"/>
                <a:gd name="T77" fmla="*/ 29 h 95"/>
                <a:gd name="T78" fmla="*/ 140 w 237"/>
                <a:gd name="T79" fmla="*/ 29 h 95"/>
                <a:gd name="T80" fmla="*/ 204 w 237"/>
                <a:gd name="T81" fmla="*/ 29 h 95"/>
                <a:gd name="T82" fmla="*/ 204 w 237"/>
                <a:gd name="T83" fmla="*/ 26 h 95"/>
                <a:gd name="T84" fmla="*/ 92 w 237"/>
                <a:gd name="T85" fmla="*/ 26 h 95"/>
                <a:gd name="T86" fmla="*/ 92 w 237"/>
                <a:gd name="T87" fmla="*/ 26 h 95"/>
                <a:gd name="T88" fmla="*/ 54 w 237"/>
                <a:gd name="T89" fmla="*/ 24 h 95"/>
                <a:gd name="T90" fmla="*/ 211 w 237"/>
                <a:gd name="T91" fmla="*/ 24 h 95"/>
                <a:gd name="T92" fmla="*/ 211 w 237"/>
                <a:gd name="T93" fmla="*/ 24 h 95"/>
                <a:gd name="T94" fmla="*/ 61 w 237"/>
                <a:gd name="T95" fmla="*/ 19 h 95"/>
                <a:gd name="T96" fmla="*/ 61 w 237"/>
                <a:gd name="T97" fmla="*/ 19 h 95"/>
                <a:gd name="T98" fmla="*/ 52 w 237"/>
                <a:gd name="T9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7" h="95">
                  <a:moveTo>
                    <a:pt x="61" y="95"/>
                  </a:moveTo>
                  <a:lnTo>
                    <a:pt x="61" y="95"/>
                  </a:lnTo>
                  <a:lnTo>
                    <a:pt x="61" y="95"/>
                  </a:lnTo>
                  <a:lnTo>
                    <a:pt x="61" y="95"/>
                  </a:lnTo>
                  <a:lnTo>
                    <a:pt x="61" y="95"/>
                  </a:lnTo>
                  <a:lnTo>
                    <a:pt x="61" y="95"/>
                  </a:lnTo>
                  <a:close/>
                  <a:moveTo>
                    <a:pt x="16" y="86"/>
                  </a:moveTo>
                  <a:lnTo>
                    <a:pt x="16" y="86"/>
                  </a:lnTo>
                  <a:lnTo>
                    <a:pt x="16" y="86"/>
                  </a:lnTo>
                  <a:lnTo>
                    <a:pt x="16" y="86"/>
                  </a:lnTo>
                  <a:lnTo>
                    <a:pt x="16" y="86"/>
                  </a:lnTo>
                  <a:lnTo>
                    <a:pt x="16" y="86"/>
                  </a:lnTo>
                  <a:lnTo>
                    <a:pt x="16" y="86"/>
                  </a:lnTo>
                  <a:lnTo>
                    <a:pt x="16" y="86"/>
                  </a:lnTo>
                  <a:lnTo>
                    <a:pt x="16" y="86"/>
                  </a:lnTo>
                  <a:close/>
                  <a:moveTo>
                    <a:pt x="102" y="74"/>
                  </a:moveTo>
                  <a:lnTo>
                    <a:pt x="102" y="74"/>
                  </a:lnTo>
                  <a:lnTo>
                    <a:pt x="102" y="74"/>
                  </a:lnTo>
                  <a:lnTo>
                    <a:pt x="102" y="74"/>
                  </a:lnTo>
                  <a:lnTo>
                    <a:pt x="102" y="74"/>
                  </a:lnTo>
                  <a:lnTo>
                    <a:pt x="102" y="74"/>
                  </a:lnTo>
                  <a:lnTo>
                    <a:pt x="102" y="74"/>
                  </a:lnTo>
                  <a:lnTo>
                    <a:pt x="102" y="74"/>
                  </a:lnTo>
                  <a:close/>
                  <a:moveTo>
                    <a:pt x="95" y="74"/>
                  </a:moveTo>
                  <a:lnTo>
                    <a:pt x="95" y="74"/>
                  </a:lnTo>
                  <a:lnTo>
                    <a:pt x="95" y="74"/>
                  </a:lnTo>
                  <a:lnTo>
                    <a:pt x="95" y="74"/>
                  </a:lnTo>
                  <a:lnTo>
                    <a:pt x="95" y="74"/>
                  </a:lnTo>
                  <a:lnTo>
                    <a:pt x="95" y="74"/>
                  </a:lnTo>
                  <a:lnTo>
                    <a:pt x="95" y="74"/>
                  </a:lnTo>
                  <a:lnTo>
                    <a:pt x="95" y="74"/>
                  </a:lnTo>
                  <a:lnTo>
                    <a:pt x="95" y="74"/>
                  </a:lnTo>
                  <a:close/>
                  <a:moveTo>
                    <a:pt x="90" y="71"/>
                  </a:moveTo>
                  <a:lnTo>
                    <a:pt x="90" y="71"/>
                  </a:lnTo>
                  <a:lnTo>
                    <a:pt x="90" y="71"/>
                  </a:lnTo>
                  <a:lnTo>
                    <a:pt x="90" y="71"/>
                  </a:lnTo>
                  <a:lnTo>
                    <a:pt x="90" y="71"/>
                  </a:lnTo>
                  <a:close/>
                  <a:moveTo>
                    <a:pt x="0" y="71"/>
                  </a:moveTo>
                  <a:lnTo>
                    <a:pt x="0" y="71"/>
                  </a:lnTo>
                  <a:lnTo>
                    <a:pt x="0" y="71"/>
                  </a:lnTo>
                  <a:lnTo>
                    <a:pt x="0" y="71"/>
                  </a:lnTo>
                  <a:lnTo>
                    <a:pt x="0" y="71"/>
                  </a:lnTo>
                  <a:lnTo>
                    <a:pt x="0" y="71"/>
                  </a:lnTo>
                  <a:close/>
                  <a:moveTo>
                    <a:pt x="87" y="69"/>
                  </a:moveTo>
                  <a:lnTo>
                    <a:pt x="87" y="69"/>
                  </a:lnTo>
                  <a:lnTo>
                    <a:pt x="87" y="69"/>
                  </a:lnTo>
                  <a:lnTo>
                    <a:pt x="87" y="69"/>
                  </a:lnTo>
                  <a:lnTo>
                    <a:pt x="87" y="69"/>
                  </a:lnTo>
                  <a:close/>
                  <a:moveTo>
                    <a:pt x="132" y="57"/>
                  </a:moveTo>
                  <a:lnTo>
                    <a:pt x="132" y="57"/>
                  </a:lnTo>
                  <a:lnTo>
                    <a:pt x="132" y="57"/>
                  </a:lnTo>
                  <a:lnTo>
                    <a:pt x="132" y="57"/>
                  </a:lnTo>
                  <a:lnTo>
                    <a:pt x="132" y="57"/>
                  </a:lnTo>
                  <a:lnTo>
                    <a:pt x="132" y="57"/>
                  </a:lnTo>
                  <a:close/>
                  <a:moveTo>
                    <a:pt x="149" y="55"/>
                  </a:moveTo>
                  <a:lnTo>
                    <a:pt x="149" y="55"/>
                  </a:lnTo>
                  <a:lnTo>
                    <a:pt x="149" y="55"/>
                  </a:lnTo>
                  <a:lnTo>
                    <a:pt x="149" y="55"/>
                  </a:lnTo>
                  <a:lnTo>
                    <a:pt x="149" y="55"/>
                  </a:lnTo>
                  <a:close/>
                  <a:moveTo>
                    <a:pt x="232" y="55"/>
                  </a:moveTo>
                  <a:lnTo>
                    <a:pt x="232" y="55"/>
                  </a:lnTo>
                  <a:lnTo>
                    <a:pt x="232" y="55"/>
                  </a:lnTo>
                  <a:lnTo>
                    <a:pt x="232" y="55"/>
                  </a:lnTo>
                  <a:lnTo>
                    <a:pt x="232" y="55"/>
                  </a:lnTo>
                  <a:close/>
                  <a:moveTo>
                    <a:pt x="237" y="55"/>
                  </a:moveTo>
                  <a:lnTo>
                    <a:pt x="235" y="55"/>
                  </a:lnTo>
                  <a:lnTo>
                    <a:pt x="235" y="55"/>
                  </a:lnTo>
                  <a:lnTo>
                    <a:pt x="237" y="55"/>
                  </a:lnTo>
                  <a:close/>
                  <a:moveTo>
                    <a:pt x="52" y="55"/>
                  </a:moveTo>
                  <a:lnTo>
                    <a:pt x="52" y="55"/>
                  </a:lnTo>
                  <a:lnTo>
                    <a:pt x="52" y="55"/>
                  </a:lnTo>
                  <a:lnTo>
                    <a:pt x="52" y="55"/>
                  </a:lnTo>
                  <a:lnTo>
                    <a:pt x="52" y="55"/>
                  </a:lnTo>
                  <a:lnTo>
                    <a:pt x="52" y="55"/>
                  </a:lnTo>
                  <a:close/>
                  <a:moveTo>
                    <a:pt x="235" y="55"/>
                  </a:moveTo>
                  <a:lnTo>
                    <a:pt x="235" y="55"/>
                  </a:lnTo>
                  <a:lnTo>
                    <a:pt x="235" y="55"/>
                  </a:lnTo>
                  <a:lnTo>
                    <a:pt x="235" y="55"/>
                  </a:lnTo>
                  <a:lnTo>
                    <a:pt x="235" y="55"/>
                  </a:lnTo>
                  <a:close/>
                  <a:moveTo>
                    <a:pt x="52" y="52"/>
                  </a:moveTo>
                  <a:lnTo>
                    <a:pt x="52" y="52"/>
                  </a:lnTo>
                  <a:lnTo>
                    <a:pt x="52" y="52"/>
                  </a:lnTo>
                  <a:lnTo>
                    <a:pt x="52" y="52"/>
                  </a:lnTo>
                  <a:lnTo>
                    <a:pt x="52" y="52"/>
                  </a:lnTo>
                  <a:lnTo>
                    <a:pt x="52" y="52"/>
                  </a:lnTo>
                  <a:lnTo>
                    <a:pt x="52" y="52"/>
                  </a:lnTo>
                  <a:lnTo>
                    <a:pt x="52" y="52"/>
                  </a:lnTo>
                  <a:lnTo>
                    <a:pt x="52" y="52"/>
                  </a:lnTo>
                  <a:close/>
                  <a:moveTo>
                    <a:pt x="151" y="52"/>
                  </a:moveTo>
                  <a:lnTo>
                    <a:pt x="151" y="52"/>
                  </a:lnTo>
                  <a:lnTo>
                    <a:pt x="151" y="52"/>
                  </a:lnTo>
                  <a:lnTo>
                    <a:pt x="151" y="52"/>
                  </a:lnTo>
                  <a:lnTo>
                    <a:pt x="151" y="52"/>
                  </a:lnTo>
                  <a:lnTo>
                    <a:pt x="151" y="52"/>
                  </a:lnTo>
                  <a:lnTo>
                    <a:pt x="151" y="52"/>
                  </a:lnTo>
                  <a:lnTo>
                    <a:pt x="151" y="52"/>
                  </a:lnTo>
                  <a:close/>
                  <a:moveTo>
                    <a:pt x="227" y="45"/>
                  </a:moveTo>
                  <a:lnTo>
                    <a:pt x="227" y="45"/>
                  </a:lnTo>
                  <a:lnTo>
                    <a:pt x="227" y="45"/>
                  </a:lnTo>
                  <a:lnTo>
                    <a:pt x="227" y="45"/>
                  </a:lnTo>
                  <a:lnTo>
                    <a:pt x="227" y="45"/>
                  </a:lnTo>
                  <a:close/>
                  <a:moveTo>
                    <a:pt x="213" y="43"/>
                  </a:moveTo>
                  <a:lnTo>
                    <a:pt x="213" y="43"/>
                  </a:lnTo>
                  <a:lnTo>
                    <a:pt x="213" y="43"/>
                  </a:lnTo>
                  <a:lnTo>
                    <a:pt x="213" y="43"/>
                  </a:lnTo>
                  <a:lnTo>
                    <a:pt x="213" y="43"/>
                  </a:lnTo>
                  <a:lnTo>
                    <a:pt x="213" y="43"/>
                  </a:lnTo>
                  <a:close/>
                  <a:moveTo>
                    <a:pt x="227" y="40"/>
                  </a:moveTo>
                  <a:lnTo>
                    <a:pt x="227" y="40"/>
                  </a:lnTo>
                  <a:lnTo>
                    <a:pt x="227" y="40"/>
                  </a:lnTo>
                  <a:lnTo>
                    <a:pt x="227" y="40"/>
                  </a:lnTo>
                  <a:lnTo>
                    <a:pt x="227" y="40"/>
                  </a:lnTo>
                  <a:lnTo>
                    <a:pt x="227" y="40"/>
                  </a:lnTo>
                  <a:lnTo>
                    <a:pt x="227" y="40"/>
                  </a:lnTo>
                  <a:lnTo>
                    <a:pt x="227" y="40"/>
                  </a:lnTo>
                  <a:close/>
                  <a:moveTo>
                    <a:pt x="213" y="38"/>
                  </a:moveTo>
                  <a:lnTo>
                    <a:pt x="213" y="38"/>
                  </a:lnTo>
                  <a:lnTo>
                    <a:pt x="213" y="38"/>
                  </a:lnTo>
                  <a:lnTo>
                    <a:pt x="213" y="38"/>
                  </a:lnTo>
                  <a:lnTo>
                    <a:pt x="213" y="38"/>
                  </a:lnTo>
                  <a:close/>
                  <a:moveTo>
                    <a:pt x="106" y="33"/>
                  </a:moveTo>
                  <a:lnTo>
                    <a:pt x="106" y="33"/>
                  </a:lnTo>
                  <a:lnTo>
                    <a:pt x="106" y="33"/>
                  </a:lnTo>
                  <a:lnTo>
                    <a:pt x="106" y="33"/>
                  </a:lnTo>
                  <a:lnTo>
                    <a:pt x="106" y="33"/>
                  </a:lnTo>
                  <a:lnTo>
                    <a:pt x="106" y="33"/>
                  </a:lnTo>
                  <a:lnTo>
                    <a:pt x="106" y="33"/>
                  </a:lnTo>
                  <a:close/>
                  <a:moveTo>
                    <a:pt x="187" y="33"/>
                  </a:moveTo>
                  <a:lnTo>
                    <a:pt x="187" y="33"/>
                  </a:lnTo>
                  <a:lnTo>
                    <a:pt x="187" y="33"/>
                  </a:lnTo>
                  <a:lnTo>
                    <a:pt x="187" y="33"/>
                  </a:lnTo>
                  <a:lnTo>
                    <a:pt x="185" y="33"/>
                  </a:lnTo>
                  <a:lnTo>
                    <a:pt x="185" y="33"/>
                  </a:lnTo>
                  <a:lnTo>
                    <a:pt x="187" y="33"/>
                  </a:lnTo>
                  <a:lnTo>
                    <a:pt x="187" y="33"/>
                  </a:lnTo>
                  <a:lnTo>
                    <a:pt x="187" y="33"/>
                  </a:lnTo>
                  <a:lnTo>
                    <a:pt x="187" y="33"/>
                  </a:lnTo>
                  <a:close/>
                  <a:moveTo>
                    <a:pt x="187" y="33"/>
                  </a:moveTo>
                  <a:lnTo>
                    <a:pt x="187" y="33"/>
                  </a:lnTo>
                  <a:lnTo>
                    <a:pt x="187" y="33"/>
                  </a:lnTo>
                  <a:lnTo>
                    <a:pt x="187" y="33"/>
                  </a:lnTo>
                  <a:lnTo>
                    <a:pt x="187" y="33"/>
                  </a:lnTo>
                  <a:lnTo>
                    <a:pt x="187" y="33"/>
                  </a:lnTo>
                  <a:lnTo>
                    <a:pt x="187" y="33"/>
                  </a:lnTo>
                  <a:lnTo>
                    <a:pt x="187" y="33"/>
                  </a:lnTo>
                  <a:close/>
                  <a:moveTo>
                    <a:pt x="57" y="31"/>
                  </a:moveTo>
                  <a:lnTo>
                    <a:pt x="57" y="31"/>
                  </a:lnTo>
                  <a:lnTo>
                    <a:pt x="57" y="31"/>
                  </a:lnTo>
                  <a:lnTo>
                    <a:pt x="57" y="31"/>
                  </a:lnTo>
                  <a:lnTo>
                    <a:pt x="57" y="31"/>
                  </a:lnTo>
                  <a:lnTo>
                    <a:pt x="57" y="31"/>
                  </a:lnTo>
                  <a:lnTo>
                    <a:pt x="57" y="31"/>
                  </a:lnTo>
                  <a:close/>
                  <a:moveTo>
                    <a:pt x="206" y="31"/>
                  </a:moveTo>
                  <a:lnTo>
                    <a:pt x="206" y="31"/>
                  </a:lnTo>
                  <a:lnTo>
                    <a:pt x="206" y="31"/>
                  </a:lnTo>
                  <a:lnTo>
                    <a:pt x="206" y="29"/>
                  </a:lnTo>
                  <a:lnTo>
                    <a:pt x="206" y="29"/>
                  </a:lnTo>
                  <a:lnTo>
                    <a:pt x="206" y="31"/>
                  </a:lnTo>
                  <a:close/>
                  <a:moveTo>
                    <a:pt x="140" y="29"/>
                  </a:moveTo>
                  <a:lnTo>
                    <a:pt x="140" y="29"/>
                  </a:lnTo>
                  <a:lnTo>
                    <a:pt x="137" y="29"/>
                  </a:lnTo>
                  <a:lnTo>
                    <a:pt x="140" y="29"/>
                  </a:lnTo>
                  <a:lnTo>
                    <a:pt x="140" y="29"/>
                  </a:lnTo>
                  <a:close/>
                  <a:moveTo>
                    <a:pt x="204" y="29"/>
                  </a:moveTo>
                  <a:lnTo>
                    <a:pt x="204" y="29"/>
                  </a:lnTo>
                  <a:lnTo>
                    <a:pt x="204" y="26"/>
                  </a:lnTo>
                  <a:lnTo>
                    <a:pt x="204" y="26"/>
                  </a:lnTo>
                  <a:lnTo>
                    <a:pt x="204" y="26"/>
                  </a:lnTo>
                  <a:lnTo>
                    <a:pt x="204" y="29"/>
                  </a:lnTo>
                  <a:lnTo>
                    <a:pt x="204" y="29"/>
                  </a:lnTo>
                  <a:close/>
                  <a:moveTo>
                    <a:pt x="92" y="26"/>
                  </a:moveTo>
                  <a:lnTo>
                    <a:pt x="92" y="26"/>
                  </a:lnTo>
                  <a:lnTo>
                    <a:pt x="92" y="26"/>
                  </a:lnTo>
                  <a:lnTo>
                    <a:pt x="92" y="26"/>
                  </a:lnTo>
                  <a:lnTo>
                    <a:pt x="92" y="26"/>
                  </a:lnTo>
                  <a:lnTo>
                    <a:pt x="92" y="26"/>
                  </a:lnTo>
                  <a:close/>
                  <a:moveTo>
                    <a:pt x="54" y="24"/>
                  </a:moveTo>
                  <a:lnTo>
                    <a:pt x="54" y="24"/>
                  </a:lnTo>
                  <a:lnTo>
                    <a:pt x="54" y="24"/>
                  </a:lnTo>
                  <a:lnTo>
                    <a:pt x="54" y="24"/>
                  </a:lnTo>
                  <a:lnTo>
                    <a:pt x="54" y="24"/>
                  </a:lnTo>
                  <a:lnTo>
                    <a:pt x="54" y="24"/>
                  </a:lnTo>
                  <a:lnTo>
                    <a:pt x="54" y="24"/>
                  </a:lnTo>
                  <a:close/>
                  <a:moveTo>
                    <a:pt x="211" y="24"/>
                  </a:moveTo>
                  <a:lnTo>
                    <a:pt x="211" y="24"/>
                  </a:lnTo>
                  <a:lnTo>
                    <a:pt x="211" y="24"/>
                  </a:lnTo>
                  <a:lnTo>
                    <a:pt x="211" y="24"/>
                  </a:lnTo>
                  <a:lnTo>
                    <a:pt x="211" y="24"/>
                  </a:lnTo>
                  <a:lnTo>
                    <a:pt x="211" y="24"/>
                  </a:lnTo>
                  <a:close/>
                  <a:moveTo>
                    <a:pt x="61" y="19"/>
                  </a:moveTo>
                  <a:lnTo>
                    <a:pt x="61" y="19"/>
                  </a:lnTo>
                  <a:lnTo>
                    <a:pt x="61" y="19"/>
                  </a:lnTo>
                  <a:lnTo>
                    <a:pt x="61" y="19"/>
                  </a:lnTo>
                  <a:lnTo>
                    <a:pt x="61" y="19"/>
                  </a:lnTo>
                  <a:lnTo>
                    <a:pt x="61" y="19"/>
                  </a:lnTo>
                  <a:lnTo>
                    <a:pt x="61" y="19"/>
                  </a:lnTo>
                  <a:close/>
                  <a:moveTo>
                    <a:pt x="52" y="0"/>
                  </a:moveTo>
                  <a:lnTo>
                    <a:pt x="52" y="0"/>
                  </a:lnTo>
                  <a:lnTo>
                    <a:pt x="52" y="0"/>
                  </a:lnTo>
                  <a:lnTo>
                    <a:pt x="5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3" name="Freeform 52272"/>
            <p:cNvSpPr>
              <a:spLocks/>
            </p:cNvSpPr>
            <p:nvPr/>
          </p:nvSpPr>
          <p:spPr bwMode="auto">
            <a:xfrm>
              <a:off x="1746248" y="5716607"/>
              <a:ext cx="0" cy="3175"/>
            </a:xfrm>
            <a:custGeom>
              <a:avLst/>
              <a:gdLst>
                <a:gd name="T0" fmla="*/ 0 h 2"/>
                <a:gd name="T1" fmla="*/ 0 h 2"/>
                <a:gd name="T2" fmla="*/ 0 h 2"/>
                <a:gd name="T3" fmla="*/ 0 h 2"/>
                <a:gd name="T4" fmla="*/ 0 h 2"/>
                <a:gd name="T5" fmla="*/ 0 h 2"/>
                <a:gd name="T6" fmla="*/ 0 h 2"/>
                <a:gd name="T7" fmla="*/ 0 h 2"/>
                <a:gd name="T8" fmla="*/ 0 h 2"/>
                <a:gd name="T9" fmla="*/ 0 h 2"/>
                <a:gd name="T10" fmla="*/ 2 h 2"/>
                <a:gd name="T11" fmla="*/ 2 h 2"/>
                <a:gd name="T12" fmla="*/ 0 h 2"/>
                <a:gd name="T13" fmla="*/ 0 h 2"/>
                <a:gd name="T14" fmla="*/ 0 h 2"/>
                <a:gd name="T15" fmla="*/ 0 h 2"/>
                <a:gd name="T16" fmla="*/ 0 h 2"/>
                <a:gd name="T17" fmla="*/ 0 h 2"/>
                <a:gd name="T18" fmla="*/ 0 h 2"/>
                <a:gd name="T19" fmla="*/ 0 h 2"/>
                <a:gd name="T20" fmla="*/ 0 h 2"/>
                <a:gd name="T21" fmla="*/ 0 h 2"/>
                <a:gd name="T22" fmla="*/ 0 h 2"/>
                <a:gd name="T23" fmla="*/ 0 h 2"/>
                <a:gd name="T24" fmla="*/ 0 h 2"/>
                <a:gd name="T25" fmla="*/ 0 h 2"/>
                <a:gd name="T26" fmla="*/ 0 h 2"/>
                <a:gd name="T27" fmla="*/ 0 h 2"/>
                <a:gd name="T28" fmla="*/ 0 h 2"/>
                <a:gd name="T29" fmla="*/ 0 h 2"/>
                <a:gd name="T30" fmla="*/ 0 h 2"/>
                <a:gd name="T31" fmla="*/ 0 h 2"/>
                <a:gd name="T32" fmla="*/ 0 h 2"/>
                <a:gd name="T33" fmla="*/ 0 h 2"/>
                <a:gd name="T34" fmla="*/ 0 h 2"/>
                <a:gd name="T35" fmla="*/ 0 h 2"/>
                <a:gd name="T36" fmla="*/ 0 h 2"/>
                <a:gd name="T37" fmla="*/ 0 h 2"/>
                <a:gd name="T3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Lst>
              <a:rect l="0" t="0" r="r" b="b"/>
              <a:pathLst>
                <a:path h="2">
                  <a:moveTo>
                    <a:pt x="0" y="0"/>
                  </a:moveTo>
                  <a:lnTo>
                    <a:pt x="0" y="0"/>
                  </a:lnTo>
                  <a:lnTo>
                    <a:pt x="0" y="0"/>
                  </a:lnTo>
                  <a:lnTo>
                    <a:pt x="0" y="0"/>
                  </a:lnTo>
                  <a:lnTo>
                    <a:pt x="0" y="0"/>
                  </a:lnTo>
                  <a:lnTo>
                    <a:pt x="0" y="0"/>
                  </a:lnTo>
                  <a:lnTo>
                    <a:pt x="0" y="0"/>
                  </a:lnTo>
                  <a:lnTo>
                    <a:pt x="0" y="0"/>
                  </a:lnTo>
                  <a:lnTo>
                    <a:pt x="0" y="0"/>
                  </a:lnTo>
                  <a:lnTo>
                    <a:pt x="0" y="0"/>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4" name="Freeform 52273"/>
            <p:cNvSpPr>
              <a:spLocks noEditPoints="1"/>
            </p:cNvSpPr>
            <p:nvPr/>
          </p:nvSpPr>
          <p:spPr bwMode="auto">
            <a:xfrm>
              <a:off x="1746248" y="5716607"/>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moveTo>
                    <a:pt x="0" y="0"/>
                  </a:moveTo>
                  <a:lnTo>
                    <a:pt x="0" y="0"/>
                  </a:lnTo>
                  <a:lnTo>
                    <a:pt x="0" y="0"/>
                  </a:lnTo>
                  <a:lnTo>
                    <a:pt x="0" y="0"/>
                  </a:lnTo>
                  <a:lnTo>
                    <a:pt x="0" y="0"/>
                  </a:lnTo>
                  <a:close/>
                  <a:moveTo>
                    <a:pt x="0" y="0"/>
                  </a:moveTo>
                  <a:lnTo>
                    <a:pt x="0" y="0"/>
                  </a:lnTo>
                  <a:lnTo>
                    <a:pt x="0" y="0"/>
                  </a:lnTo>
                  <a:lnTo>
                    <a:pt x="0" y="0"/>
                  </a:lnTo>
                  <a:close/>
                  <a:moveTo>
                    <a:pt x="0" y="0"/>
                  </a:move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5" name="Freeform 52274"/>
            <p:cNvSpPr>
              <a:spLocks/>
            </p:cNvSpPr>
            <p:nvPr/>
          </p:nvSpPr>
          <p:spPr bwMode="auto">
            <a:xfrm>
              <a:off x="3257547" y="5746768"/>
              <a:ext cx="146050" cy="55563"/>
            </a:xfrm>
            <a:custGeom>
              <a:avLst/>
              <a:gdLst>
                <a:gd name="T0" fmla="*/ 9 w 92"/>
                <a:gd name="T1" fmla="*/ 2 h 35"/>
                <a:gd name="T2" fmla="*/ 14 w 92"/>
                <a:gd name="T3" fmla="*/ 7 h 35"/>
                <a:gd name="T4" fmla="*/ 16 w 92"/>
                <a:gd name="T5" fmla="*/ 9 h 35"/>
                <a:gd name="T6" fmla="*/ 16 w 92"/>
                <a:gd name="T7" fmla="*/ 9 h 35"/>
                <a:gd name="T8" fmla="*/ 23 w 92"/>
                <a:gd name="T9" fmla="*/ 4 h 35"/>
                <a:gd name="T10" fmla="*/ 19 w 92"/>
                <a:gd name="T11" fmla="*/ 9 h 35"/>
                <a:gd name="T12" fmla="*/ 23 w 92"/>
                <a:gd name="T13" fmla="*/ 9 h 35"/>
                <a:gd name="T14" fmla="*/ 26 w 92"/>
                <a:gd name="T15" fmla="*/ 11 h 35"/>
                <a:gd name="T16" fmla="*/ 28 w 92"/>
                <a:gd name="T17" fmla="*/ 14 h 35"/>
                <a:gd name="T18" fmla="*/ 38 w 92"/>
                <a:gd name="T19" fmla="*/ 14 h 35"/>
                <a:gd name="T20" fmla="*/ 42 w 92"/>
                <a:gd name="T21" fmla="*/ 14 h 35"/>
                <a:gd name="T22" fmla="*/ 45 w 92"/>
                <a:gd name="T23" fmla="*/ 11 h 35"/>
                <a:gd name="T24" fmla="*/ 45 w 92"/>
                <a:gd name="T25" fmla="*/ 11 h 35"/>
                <a:gd name="T26" fmla="*/ 47 w 92"/>
                <a:gd name="T27" fmla="*/ 14 h 35"/>
                <a:gd name="T28" fmla="*/ 50 w 92"/>
                <a:gd name="T29" fmla="*/ 11 h 35"/>
                <a:gd name="T30" fmla="*/ 52 w 92"/>
                <a:gd name="T31" fmla="*/ 14 h 35"/>
                <a:gd name="T32" fmla="*/ 59 w 92"/>
                <a:gd name="T33" fmla="*/ 16 h 35"/>
                <a:gd name="T34" fmla="*/ 66 w 92"/>
                <a:gd name="T35" fmla="*/ 19 h 35"/>
                <a:gd name="T36" fmla="*/ 73 w 92"/>
                <a:gd name="T37" fmla="*/ 16 h 35"/>
                <a:gd name="T38" fmla="*/ 73 w 92"/>
                <a:gd name="T39" fmla="*/ 21 h 35"/>
                <a:gd name="T40" fmla="*/ 78 w 92"/>
                <a:gd name="T41" fmla="*/ 26 h 35"/>
                <a:gd name="T42" fmla="*/ 83 w 92"/>
                <a:gd name="T43" fmla="*/ 21 h 35"/>
                <a:gd name="T44" fmla="*/ 90 w 92"/>
                <a:gd name="T45" fmla="*/ 19 h 35"/>
                <a:gd name="T46" fmla="*/ 90 w 92"/>
                <a:gd name="T47" fmla="*/ 19 h 35"/>
                <a:gd name="T48" fmla="*/ 92 w 92"/>
                <a:gd name="T49" fmla="*/ 21 h 35"/>
                <a:gd name="T50" fmla="*/ 92 w 92"/>
                <a:gd name="T51" fmla="*/ 26 h 35"/>
                <a:gd name="T52" fmla="*/ 90 w 92"/>
                <a:gd name="T53" fmla="*/ 30 h 35"/>
                <a:gd name="T54" fmla="*/ 83 w 92"/>
                <a:gd name="T55" fmla="*/ 28 h 35"/>
                <a:gd name="T56" fmla="*/ 76 w 92"/>
                <a:gd name="T57" fmla="*/ 30 h 35"/>
                <a:gd name="T58" fmla="*/ 66 w 92"/>
                <a:gd name="T59" fmla="*/ 30 h 35"/>
                <a:gd name="T60" fmla="*/ 59 w 92"/>
                <a:gd name="T61" fmla="*/ 33 h 35"/>
                <a:gd name="T62" fmla="*/ 50 w 92"/>
                <a:gd name="T63" fmla="*/ 33 h 35"/>
                <a:gd name="T64" fmla="*/ 42 w 92"/>
                <a:gd name="T65" fmla="*/ 35 h 35"/>
                <a:gd name="T66" fmla="*/ 40 w 92"/>
                <a:gd name="T67" fmla="*/ 33 h 35"/>
                <a:gd name="T68" fmla="*/ 40 w 92"/>
                <a:gd name="T69" fmla="*/ 28 h 35"/>
                <a:gd name="T70" fmla="*/ 33 w 92"/>
                <a:gd name="T71" fmla="*/ 26 h 35"/>
                <a:gd name="T72" fmla="*/ 31 w 92"/>
                <a:gd name="T73" fmla="*/ 23 h 35"/>
                <a:gd name="T74" fmla="*/ 23 w 92"/>
                <a:gd name="T75" fmla="*/ 23 h 35"/>
                <a:gd name="T76" fmla="*/ 21 w 92"/>
                <a:gd name="T77" fmla="*/ 21 h 35"/>
                <a:gd name="T78" fmla="*/ 19 w 92"/>
                <a:gd name="T79" fmla="*/ 23 h 35"/>
                <a:gd name="T80" fmla="*/ 12 w 92"/>
                <a:gd name="T81" fmla="*/ 21 h 35"/>
                <a:gd name="T82" fmla="*/ 7 w 92"/>
                <a:gd name="T83" fmla="*/ 21 h 35"/>
                <a:gd name="T84" fmla="*/ 2 w 92"/>
                <a:gd name="T85" fmla="*/ 21 h 35"/>
                <a:gd name="T86" fmla="*/ 2 w 92"/>
                <a:gd name="T87" fmla="*/ 16 h 35"/>
                <a:gd name="T88" fmla="*/ 2 w 92"/>
                <a:gd name="T89" fmla="*/ 16 h 35"/>
                <a:gd name="T90" fmla="*/ 2 w 92"/>
                <a:gd name="T91" fmla="*/ 14 h 35"/>
                <a:gd name="T92" fmla="*/ 2 w 92"/>
                <a:gd name="T93" fmla="*/ 9 h 35"/>
                <a:gd name="T94" fmla="*/ 4 w 92"/>
                <a:gd name="T95" fmla="*/ 4 h 35"/>
                <a:gd name="T96" fmla="*/ 4 w 92"/>
                <a:gd name="T97" fmla="*/ 9 h 35"/>
                <a:gd name="T98" fmla="*/ 7 w 92"/>
                <a:gd name="T99"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35">
                  <a:moveTo>
                    <a:pt x="7" y="2"/>
                  </a:moveTo>
                  <a:lnTo>
                    <a:pt x="7" y="0"/>
                  </a:lnTo>
                  <a:lnTo>
                    <a:pt x="9" y="0"/>
                  </a:lnTo>
                  <a:lnTo>
                    <a:pt x="9" y="2"/>
                  </a:lnTo>
                  <a:lnTo>
                    <a:pt x="9" y="4"/>
                  </a:lnTo>
                  <a:lnTo>
                    <a:pt x="9" y="7"/>
                  </a:lnTo>
                  <a:lnTo>
                    <a:pt x="12" y="7"/>
                  </a:lnTo>
                  <a:lnTo>
                    <a:pt x="14" y="7"/>
                  </a:lnTo>
                  <a:lnTo>
                    <a:pt x="14" y="9"/>
                  </a:lnTo>
                  <a:lnTo>
                    <a:pt x="16" y="9"/>
                  </a:lnTo>
                  <a:lnTo>
                    <a:pt x="16" y="7"/>
                  </a:lnTo>
                  <a:lnTo>
                    <a:pt x="16" y="9"/>
                  </a:lnTo>
                  <a:lnTo>
                    <a:pt x="16" y="7"/>
                  </a:lnTo>
                  <a:lnTo>
                    <a:pt x="16" y="9"/>
                  </a:lnTo>
                  <a:lnTo>
                    <a:pt x="16" y="7"/>
                  </a:lnTo>
                  <a:lnTo>
                    <a:pt x="16" y="9"/>
                  </a:lnTo>
                  <a:lnTo>
                    <a:pt x="19" y="7"/>
                  </a:lnTo>
                  <a:lnTo>
                    <a:pt x="19" y="4"/>
                  </a:lnTo>
                  <a:lnTo>
                    <a:pt x="21" y="4"/>
                  </a:lnTo>
                  <a:lnTo>
                    <a:pt x="23" y="4"/>
                  </a:lnTo>
                  <a:lnTo>
                    <a:pt x="23" y="7"/>
                  </a:lnTo>
                  <a:lnTo>
                    <a:pt x="23" y="9"/>
                  </a:lnTo>
                  <a:lnTo>
                    <a:pt x="21" y="9"/>
                  </a:lnTo>
                  <a:lnTo>
                    <a:pt x="19" y="9"/>
                  </a:lnTo>
                  <a:lnTo>
                    <a:pt x="21" y="9"/>
                  </a:lnTo>
                  <a:lnTo>
                    <a:pt x="21" y="11"/>
                  </a:lnTo>
                  <a:lnTo>
                    <a:pt x="23" y="11"/>
                  </a:lnTo>
                  <a:lnTo>
                    <a:pt x="23" y="9"/>
                  </a:lnTo>
                  <a:lnTo>
                    <a:pt x="23" y="11"/>
                  </a:lnTo>
                  <a:lnTo>
                    <a:pt x="23" y="9"/>
                  </a:lnTo>
                  <a:lnTo>
                    <a:pt x="23" y="11"/>
                  </a:lnTo>
                  <a:lnTo>
                    <a:pt x="26" y="11"/>
                  </a:lnTo>
                  <a:lnTo>
                    <a:pt x="26" y="14"/>
                  </a:lnTo>
                  <a:lnTo>
                    <a:pt x="26" y="16"/>
                  </a:lnTo>
                  <a:lnTo>
                    <a:pt x="28" y="16"/>
                  </a:lnTo>
                  <a:lnTo>
                    <a:pt x="28" y="14"/>
                  </a:lnTo>
                  <a:lnTo>
                    <a:pt x="31" y="14"/>
                  </a:lnTo>
                  <a:lnTo>
                    <a:pt x="33" y="14"/>
                  </a:lnTo>
                  <a:lnTo>
                    <a:pt x="35" y="14"/>
                  </a:lnTo>
                  <a:lnTo>
                    <a:pt x="38" y="14"/>
                  </a:lnTo>
                  <a:lnTo>
                    <a:pt x="38" y="11"/>
                  </a:lnTo>
                  <a:lnTo>
                    <a:pt x="40" y="11"/>
                  </a:lnTo>
                  <a:lnTo>
                    <a:pt x="42" y="11"/>
                  </a:lnTo>
                  <a:lnTo>
                    <a:pt x="42" y="14"/>
                  </a:lnTo>
                  <a:lnTo>
                    <a:pt x="42" y="11"/>
                  </a:lnTo>
                  <a:lnTo>
                    <a:pt x="42" y="14"/>
                  </a:lnTo>
                  <a:lnTo>
                    <a:pt x="42" y="11"/>
                  </a:lnTo>
                  <a:lnTo>
                    <a:pt x="45" y="11"/>
                  </a:lnTo>
                  <a:lnTo>
                    <a:pt x="42" y="11"/>
                  </a:lnTo>
                  <a:lnTo>
                    <a:pt x="45" y="11"/>
                  </a:lnTo>
                  <a:lnTo>
                    <a:pt x="45" y="14"/>
                  </a:lnTo>
                  <a:lnTo>
                    <a:pt x="45" y="11"/>
                  </a:lnTo>
                  <a:lnTo>
                    <a:pt x="45" y="14"/>
                  </a:lnTo>
                  <a:lnTo>
                    <a:pt x="45" y="11"/>
                  </a:lnTo>
                  <a:lnTo>
                    <a:pt x="47" y="11"/>
                  </a:lnTo>
                  <a:lnTo>
                    <a:pt x="47" y="14"/>
                  </a:lnTo>
                  <a:lnTo>
                    <a:pt x="47" y="11"/>
                  </a:lnTo>
                  <a:lnTo>
                    <a:pt x="47" y="14"/>
                  </a:lnTo>
                  <a:lnTo>
                    <a:pt x="47" y="11"/>
                  </a:lnTo>
                  <a:lnTo>
                    <a:pt x="50" y="11"/>
                  </a:lnTo>
                  <a:lnTo>
                    <a:pt x="50" y="14"/>
                  </a:lnTo>
                  <a:lnTo>
                    <a:pt x="52" y="14"/>
                  </a:lnTo>
                  <a:lnTo>
                    <a:pt x="50" y="14"/>
                  </a:lnTo>
                  <a:lnTo>
                    <a:pt x="52" y="14"/>
                  </a:lnTo>
                  <a:lnTo>
                    <a:pt x="52" y="16"/>
                  </a:lnTo>
                  <a:lnTo>
                    <a:pt x="54" y="16"/>
                  </a:lnTo>
                  <a:lnTo>
                    <a:pt x="57" y="16"/>
                  </a:lnTo>
                  <a:lnTo>
                    <a:pt x="59" y="16"/>
                  </a:lnTo>
                  <a:lnTo>
                    <a:pt x="61" y="16"/>
                  </a:lnTo>
                  <a:lnTo>
                    <a:pt x="64" y="16"/>
                  </a:lnTo>
                  <a:lnTo>
                    <a:pt x="64" y="19"/>
                  </a:lnTo>
                  <a:lnTo>
                    <a:pt x="66" y="19"/>
                  </a:lnTo>
                  <a:lnTo>
                    <a:pt x="66" y="16"/>
                  </a:lnTo>
                  <a:lnTo>
                    <a:pt x="69" y="16"/>
                  </a:lnTo>
                  <a:lnTo>
                    <a:pt x="71" y="16"/>
                  </a:lnTo>
                  <a:lnTo>
                    <a:pt x="73" y="16"/>
                  </a:lnTo>
                  <a:lnTo>
                    <a:pt x="76" y="16"/>
                  </a:lnTo>
                  <a:lnTo>
                    <a:pt x="73" y="16"/>
                  </a:lnTo>
                  <a:lnTo>
                    <a:pt x="73" y="19"/>
                  </a:lnTo>
                  <a:lnTo>
                    <a:pt x="73" y="21"/>
                  </a:lnTo>
                  <a:lnTo>
                    <a:pt x="73" y="23"/>
                  </a:lnTo>
                  <a:lnTo>
                    <a:pt x="73" y="26"/>
                  </a:lnTo>
                  <a:lnTo>
                    <a:pt x="76" y="26"/>
                  </a:lnTo>
                  <a:lnTo>
                    <a:pt x="78" y="26"/>
                  </a:lnTo>
                  <a:lnTo>
                    <a:pt x="78" y="23"/>
                  </a:lnTo>
                  <a:lnTo>
                    <a:pt x="80" y="23"/>
                  </a:lnTo>
                  <a:lnTo>
                    <a:pt x="80" y="21"/>
                  </a:lnTo>
                  <a:lnTo>
                    <a:pt x="83" y="21"/>
                  </a:lnTo>
                  <a:lnTo>
                    <a:pt x="85" y="21"/>
                  </a:lnTo>
                  <a:lnTo>
                    <a:pt x="87" y="21"/>
                  </a:lnTo>
                  <a:lnTo>
                    <a:pt x="90" y="21"/>
                  </a:lnTo>
                  <a:lnTo>
                    <a:pt x="90" y="19"/>
                  </a:lnTo>
                  <a:lnTo>
                    <a:pt x="92" y="19"/>
                  </a:lnTo>
                  <a:lnTo>
                    <a:pt x="92" y="16"/>
                  </a:lnTo>
                  <a:lnTo>
                    <a:pt x="92" y="19"/>
                  </a:lnTo>
                  <a:lnTo>
                    <a:pt x="90" y="19"/>
                  </a:lnTo>
                  <a:lnTo>
                    <a:pt x="92" y="19"/>
                  </a:lnTo>
                  <a:lnTo>
                    <a:pt x="90" y="19"/>
                  </a:lnTo>
                  <a:lnTo>
                    <a:pt x="92" y="19"/>
                  </a:lnTo>
                  <a:lnTo>
                    <a:pt x="92" y="21"/>
                  </a:lnTo>
                  <a:lnTo>
                    <a:pt x="92" y="23"/>
                  </a:lnTo>
                  <a:lnTo>
                    <a:pt x="92" y="21"/>
                  </a:lnTo>
                  <a:lnTo>
                    <a:pt x="92" y="23"/>
                  </a:lnTo>
                  <a:lnTo>
                    <a:pt x="92" y="26"/>
                  </a:lnTo>
                  <a:lnTo>
                    <a:pt x="90" y="26"/>
                  </a:lnTo>
                  <a:lnTo>
                    <a:pt x="92" y="26"/>
                  </a:lnTo>
                  <a:lnTo>
                    <a:pt x="90" y="28"/>
                  </a:lnTo>
                  <a:lnTo>
                    <a:pt x="90" y="30"/>
                  </a:lnTo>
                  <a:lnTo>
                    <a:pt x="87" y="30"/>
                  </a:lnTo>
                  <a:lnTo>
                    <a:pt x="85" y="30"/>
                  </a:lnTo>
                  <a:lnTo>
                    <a:pt x="83" y="30"/>
                  </a:lnTo>
                  <a:lnTo>
                    <a:pt x="83" y="28"/>
                  </a:lnTo>
                  <a:lnTo>
                    <a:pt x="80" y="28"/>
                  </a:lnTo>
                  <a:lnTo>
                    <a:pt x="80" y="30"/>
                  </a:lnTo>
                  <a:lnTo>
                    <a:pt x="78" y="30"/>
                  </a:lnTo>
                  <a:lnTo>
                    <a:pt x="76" y="30"/>
                  </a:lnTo>
                  <a:lnTo>
                    <a:pt x="73" y="30"/>
                  </a:lnTo>
                  <a:lnTo>
                    <a:pt x="71" y="30"/>
                  </a:lnTo>
                  <a:lnTo>
                    <a:pt x="69" y="30"/>
                  </a:lnTo>
                  <a:lnTo>
                    <a:pt x="66" y="30"/>
                  </a:lnTo>
                  <a:lnTo>
                    <a:pt x="64" y="30"/>
                  </a:lnTo>
                  <a:lnTo>
                    <a:pt x="61" y="30"/>
                  </a:lnTo>
                  <a:lnTo>
                    <a:pt x="59" y="30"/>
                  </a:lnTo>
                  <a:lnTo>
                    <a:pt x="59" y="33"/>
                  </a:lnTo>
                  <a:lnTo>
                    <a:pt x="57" y="33"/>
                  </a:lnTo>
                  <a:lnTo>
                    <a:pt x="54" y="33"/>
                  </a:lnTo>
                  <a:lnTo>
                    <a:pt x="52" y="33"/>
                  </a:lnTo>
                  <a:lnTo>
                    <a:pt x="50" y="33"/>
                  </a:lnTo>
                  <a:lnTo>
                    <a:pt x="47" y="33"/>
                  </a:lnTo>
                  <a:lnTo>
                    <a:pt x="45" y="33"/>
                  </a:lnTo>
                  <a:lnTo>
                    <a:pt x="42" y="33"/>
                  </a:lnTo>
                  <a:lnTo>
                    <a:pt x="42" y="35"/>
                  </a:lnTo>
                  <a:lnTo>
                    <a:pt x="42" y="33"/>
                  </a:lnTo>
                  <a:lnTo>
                    <a:pt x="40" y="33"/>
                  </a:lnTo>
                  <a:lnTo>
                    <a:pt x="42" y="33"/>
                  </a:lnTo>
                  <a:lnTo>
                    <a:pt x="40" y="33"/>
                  </a:lnTo>
                  <a:lnTo>
                    <a:pt x="40" y="30"/>
                  </a:lnTo>
                  <a:lnTo>
                    <a:pt x="42" y="30"/>
                  </a:lnTo>
                  <a:lnTo>
                    <a:pt x="42" y="28"/>
                  </a:lnTo>
                  <a:lnTo>
                    <a:pt x="40" y="28"/>
                  </a:lnTo>
                  <a:lnTo>
                    <a:pt x="40" y="26"/>
                  </a:lnTo>
                  <a:lnTo>
                    <a:pt x="38" y="26"/>
                  </a:lnTo>
                  <a:lnTo>
                    <a:pt x="35" y="26"/>
                  </a:lnTo>
                  <a:lnTo>
                    <a:pt x="33" y="26"/>
                  </a:lnTo>
                  <a:lnTo>
                    <a:pt x="33" y="23"/>
                  </a:lnTo>
                  <a:lnTo>
                    <a:pt x="31" y="23"/>
                  </a:lnTo>
                  <a:lnTo>
                    <a:pt x="28" y="23"/>
                  </a:lnTo>
                  <a:lnTo>
                    <a:pt x="31" y="23"/>
                  </a:lnTo>
                  <a:lnTo>
                    <a:pt x="28" y="21"/>
                  </a:lnTo>
                  <a:lnTo>
                    <a:pt x="28" y="23"/>
                  </a:lnTo>
                  <a:lnTo>
                    <a:pt x="26" y="23"/>
                  </a:lnTo>
                  <a:lnTo>
                    <a:pt x="23" y="23"/>
                  </a:lnTo>
                  <a:lnTo>
                    <a:pt x="23" y="21"/>
                  </a:lnTo>
                  <a:lnTo>
                    <a:pt x="23" y="23"/>
                  </a:lnTo>
                  <a:lnTo>
                    <a:pt x="23" y="21"/>
                  </a:lnTo>
                  <a:lnTo>
                    <a:pt x="21" y="21"/>
                  </a:lnTo>
                  <a:lnTo>
                    <a:pt x="21" y="23"/>
                  </a:lnTo>
                  <a:lnTo>
                    <a:pt x="21" y="21"/>
                  </a:lnTo>
                  <a:lnTo>
                    <a:pt x="19" y="21"/>
                  </a:lnTo>
                  <a:lnTo>
                    <a:pt x="19" y="23"/>
                  </a:lnTo>
                  <a:lnTo>
                    <a:pt x="19" y="21"/>
                  </a:lnTo>
                  <a:lnTo>
                    <a:pt x="16" y="21"/>
                  </a:lnTo>
                  <a:lnTo>
                    <a:pt x="14" y="21"/>
                  </a:lnTo>
                  <a:lnTo>
                    <a:pt x="12" y="21"/>
                  </a:lnTo>
                  <a:lnTo>
                    <a:pt x="12" y="19"/>
                  </a:lnTo>
                  <a:lnTo>
                    <a:pt x="9" y="19"/>
                  </a:lnTo>
                  <a:lnTo>
                    <a:pt x="9" y="21"/>
                  </a:lnTo>
                  <a:lnTo>
                    <a:pt x="7" y="21"/>
                  </a:lnTo>
                  <a:lnTo>
                    <a:pt x="4" y="21"/>
                  </a:lnTo>
                  <a:lnTo>
                    <a:pt x="7" y="21"/>
                  </a:lnTo>
                  <a:lnTo>
                    <a:pt x="4" y="21"/>
                  </a:lnTo>
                  <a:lnTo>
                    <a:pt x="2" y="21"/>
                  </a:lnTo>
                  <a:lnTo>
                    <a:pt x="2" y="19"/>
                  </a:lnTo>
                  <a:lnTo>
                    <a:pt x="0" y="19"/>
                  </a:lnTo>
                  <a:lnTo>
                    <a:pt x="0" y="16"/>
                  </a:lnTo>
                  <a:lnTo>
                    <a:pt x="2" y="16"/>
                  </a:lnTo>
                  <a:lnTo>
                    <a:pt x="0" y="16"/>
                  </a:lnTo>
                  <a:lnTo>
                    <a:pt x="2" y="16"/>
                  </a:lnTo>
                  <a:lnTo>
                    <a:pt x="0" y="16"/>
                  </a:lnTo>
                  <a:lnTo>
                    <a:pt x="2" y="16"/>
                  </a:lnTo>
                  <a:lnTo>
                    <a:pt x="0" y="14"/>
                  </a:lnTo>
                  <a:lnTo>
                    <a:pt x="2" y="14"/>
                  </a:lnTo>
                  <a:lnTo>
                    <a:pt x="0" y="14"/>
                  </a:lnTo>
                  <a:lnTo>
                    <a:pt x="2" y="14"/>
                  </a:lnTo>
                  <a:lnTo>
                    <a:pt x="0" y="14"/>
                  </a:lnTo>
                  <a:lnTo>
                    <a:pt x="2" y="14"/>
                  </a:lnTo>
                  <a:lnTo>
                    <a:pt x="2" y="11"/>
                  </a:lnTo>
                  <a:lnTo>
                    <a:pt x="2" y="9"/>
                  </a:lnTo>
                  <a:lnTo>
                    <a:pt x="2" y="7"/>
                  </a:lnTo>
                  <a:lnTo>
                    <a:pt x="2" y="4"/>
                  </a:lnTo>
                  <a:lnTo>
                    <a:pt x="2" y="2"/>
                  </a:lnTo>
                  <a:lnTo>
                    <a:pt x="4" y="4"/>
                  </a:lnTo>
                  <a:lnTo>
                    <a:pt x="4" y="7"/>
                  </a:lnTo>
                  <a:lnTo>
                    <a:pt x="4" y="9"/>
                  </a:lnTo>
                  <a:lnTo>
                    <a:pt x="4" y="7"/>
                  </a:lnTo>
                  <a:lnTo>
                    <a:pt x="4" y="9"/>
                  </a:lnTo>
                  <a:lnTo>
                    <a:pt x="7" y="9"/>
                  </a:lnTo>
                  <a:lnTo>
                    <a:pt x="7" y="7"/>
                  </a:lnTo>
                  <a:lnTo>
                    <a:pt x="7" y="4"/>
                  </a:lnTo>
                  <a:lnTo>
                    <a:pt x="7"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6" name="Freeform 52275"/>
            <p:cNvSpPr>
              <a:spLocks noEditPoints="1"/>
            </p:cNvSpPr>
            <p:nvPr/>
          </p:nvSpPr>
          <p:spPr bwMode="auto">
            <a:xfrm>
              <a:off x="3054348" y="5440381"/>
              <a:ext cx="450850" cy="293690"/>
            </a:xfrm>
            <a:custGeom>
              <a:avLst/>
              <a:gdLst>
                <a:gd name="T0" fmla="*/ 282 w 284"/>
                <a:gd name="T1" fmla="*/ 166 h 185"/>
                <a:gd name="T2" fmla="*/ 280 w 284"/>
                <a:gd name="T3" fmla="*/ 176 h 185"/>
                <a:gd name="T4" fmla="*/ 270 w 284"/>
                <a:gd name="T5" fmla="*/ 183 h 185"/>
                <a:gd name="T6" fmla="*/ 268 w 284"/>
                <a:gd name="T7" fmla="*/ 174 h 185"/>
                <a:gd name="T8" fmla="*/ 270 w 284"/>
                <a:gd name="T9" fmla="*/ 166 h 185"/>
                <a:gd name="T10" fmla="*/ 282 w 284"/>
                <a:gd name="T11" fmla="*/ 162 h 185"/>
                <a:gd name="T12" fmla="*/ 33 w 284"/>
                <a:gd name="T13" fmla="*/ 71 h 185"/>
                <a:gd name="T14" fmla="*/ 35 w 284"/>
                <a:gd name="T15" fmla="*/ 81 h 185"/>
                <a:gd name="T16" fmla="*/ 35 w 284"/>
                <a:gd name="T17" fmla="*/ 88 h 185"/>
                <a:gd name="T18" fmla="*/ 28 w 284"/>
                <a:gd name="T19" fmla="*/ 83 h 185"/>
                <a:gd name="T20" fmla="*/ 28 w 284"/>
                <a:gd name="T21" fmla="*/ 81 h 185"/>
                <a:gd name="T22" fmla="*/ 26 w 284"/>
                <a:gd name="T23" fmla="*/ 76 h 185"/>
                <a:gd name="T24" fmla="*/ 213 w 284"/>
                <a:gd name="T25" fmla="*/ 64 h 185"/>
                <a:gd name="T26" fmla="*/ 215 w 284"/>
                <a:gd name="T27" fmla="*/ 69 h 185"/>
                <a:gd name="T28" fmla="*/ 211 w 284"/>
                <a:gd name="T29" fmla="*/ 81 h 185"/>
                <a:gd name="T30" fmla="*/ 208 w 284"/>
                <a:gd name="T31" fmla="*/ 76 h 185"/>
                <a:gd name="T32" fmla="*/ 206 w 284"/>
                <a:gd name="T33" fmla="*/ 67 h 185"/>
                <a:gd name="T34" fmla="*/ 123 w 284"/>
                <a:gd name="T35" fmla="*/ 45 h 185"/>
                <a:gd name="T36" fmla="*/ 130 w 284"/>
                <a:gd name="T37" fmla="*/ 55 h 185"/>
                <a:gd name="T38" fmla="*/ 137 w 284"/>
                <a:gd name="T39" fmla="*/ 60 h 185"/>
                <a:gd name="T40" fmla="*/ 144 w 284"/>
                <a:gd name="T41" fmla="*/ 60 h 185"/>
                <a:gd name="T42" fmla="*/ 149 w 284"/>
                <a:gd name="T43" fmla="*/ 62 h 185"/>
                <a:gd name="T44" fmla="*/ 151 w 284"/>
                <a:gd name="T45" fmla="*/ 76 h 185"/>
                <a:gd name="T46" fmla="*/ 154 w 284"/>
                <a:gd name="T47" fmla="*/ 81 h 185"/>
                <a:gd name="T48" fmla="*/ 161 w 284"/>
                <a:gd name="T49" fmla="*/ 86 h 185"/>
                <a:gd name="T50" fmla="*/ 163 w 284"/>
                <a:gd name="T51" fmla="*/ 90 h 185"/>
                <a:gd name="T52" fmla="*/ 156 w 284"/>
                <a:gd name="T53" fmla="*/ 90 h 185"/>
                <a:gd name="T54" fmla="*/ 154 w 284"/>
                <a:gd name="T55" fmla="*/ 90 h 185"/>
                <a:gd name="T56" fmla="*/ 151 w 284"/>
                <a:gd name="T57" fmla="*/ 83 h 185"/>
                <a:gd name="T58" fmla="*/ 149 w 284"/>
                <a:gd name="T59" fmla="*/ 79 h 185"/>
                <a:gd name="T60" fmla="*/ 144 w 284"/>
                <a:gd name="T61" fmla="*/ 76 h 185"/>
                <a:gd name="T62" fmla="*/ 135 w 284"/>
                <a:gd name="T63" fmla="*/ 74 h 185"/>
                <a:gd name="T64" fmla="*/ 130 w 284"/>
                <a:gd name="T65" fmla="*/ 71 h 185"/>
                <a:gd name="T66" fmla="*/ 125 w 284"/>
                <a:gd name="T67" fmla="*/ 62 h 185"/>
                <a:gd name="T68" fmla="*/ 118 w 284"/>
                <a:gd name="T69" fmla="*/ 52 h 185"/>
                <a:gd name="T70" fmla="*/ 111 w 284"/>
                <a:gd name="T71" fmla="*/ 52 h 185"/>
                <a:gd name="T72" fmla="*/ 106 w 284"/>
                <a:gd name="T73" fmla="*/ 55 h 185"/>
                <a:gd name="T74" fmla="*/ 113 w 284"/>
                <a:gd name="T75" fmla="*/ 50 h 185"/>
                <a:gd name="T76" fmla="*/ 225 w 284"/>
                <a:gd name="T77" fmla="*/ 31 h 185"/>
                <a:gd name="T78" fmla="*/ 227 w 284"/>
                <a:gd name="T79" fmla="*/ 41 h 185"/>
                <a:gd name="T80" fmla="*/ 225 w 284"/>
                <a:gd name="T81" fmla="*/ 41 h 185"/>
                <a:gd name="T82" fmla="*/ 220 w 284"/>
                <a:gd name="T83" fmla="*/ 48 h 185"/>
                <a:gd name="T84" fmla="*/ 215 w 284"/>
                <a:gd name="T85" fmla="*/ 41 h 185"/>
                <a:gd name="T86" fmla="*/ 218 w 284"/>
                <a:gd name="T87" fmla="*/ 36 h 185"/>
                <a:gd name="T88" fmla="*/ 211 w 284"/>
                <a:gd name="T89" fmla="*/ 41 h 185"/>
                <a:gd name="T90" fmla="*/ 206 w 284"/>
                <a:gd name="T91" fmla="*/ 33 h 185"/>
                <a:gd name="T92" fmla="*/ 208 w 284"/>
                <a:gd name="T93" fmla="*/ 33 h 185"/>
                <a:gd name="T94" fmla="*/ 215 w 284"/>
                <a:gd name="T95" fmla="*/ 33 h 185"/>
                <a:gd name="T96" fmla="*/ 9 w 284"/>
                <a:gd name="T97" fmla="*/ 10 h 185"/>
                <a:gd name="T98" fmla="*/ 7 w 284"/>
                <a:gd name="T99" fmla="*/ 14 h 185"/>
                <a:gd name="T100" fmla="*/ 9 w 284"/>
                <a:gd name="T101" fmla="*/ 19 h 185"/>
                <a:gd name="T102" fmla="*/ 14 w 284"/>
                <a:gd name="T103" fmla="*/ 26 h 185"/>
                <a:gd name="T104" fmla="*/ 14 w 284"/>
                <a:gd name="T105" fmla="*/ 29 h 185"/>
                <a:gd name="T106" fmla="*/ 7 w 284"/>
                <a:gd name="T107" fmla="*/ 19 h 185"/>
                <a:gd name="T108" fmla="*/ 2 w 284"/>
                <a:gd name="T109" fmla="*/ 10 h 185"/>
                <a:gd name="T110" fmla="*/ 189 w 284"/>
                <a:gd name="T111" fmla="*/ 7 h 185"/>
                <a:gd name="T112" fmla="*/ 187 w 284"/>
                <a:gd name="T113" fmla="*/ 5 h 185"/>
                <a:gd name="T114" fmla="*/ 185 w 284"/>
                <a:gd name="T115" fmla="*/ 10 h 185"/>
                <a:gd name="T116" fmla="*/ 180 w 284"/>
                <a:gd name="T117" fmla="*/ 7 h 185"/>
                <a:gd name="T118" fmla="*/ 180 w 284"/>
                <a:gd name="T119" fmla="*/ 5 h 185"/>
                <a:gd name="T120" fmla="*/ 185 w 284"/>
                <a:gd name="T121" fmla="*/ 0 h 185"/>
                <a:gd name="T122" fmla="*/ 187 w 284"/>
                <a:gd name="T123" fmla="*/ 5 h 185"/>
                <a:gd name="T124" fmla="*/ 189 w 284"/>
                <a:gd name="T12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185">
                  <a:moveTo>
                    <a:pt x="284" y="159"/>
                  </a:moveTo>
                  <a:lnTo>
                    <a:pt x="284" y="162"/>
                  </a:lnTo>
                  <a:lnTo>
                    <a:pt x="284" y="164"/>
                  </a:lnTo>
                  <a:lnTo>
                    <a:pt x="282" y="164"/>
                  </a:lnTo>
                  <a:lnTo>
                    <a:pt x="284" y="164"/>
                  </a:lnTo>
                  <a:lnTo>
                    <a:pt x="284" y="166"/>
                  </a:lnTo>
                  <a:lnTo>
                    <a:pt x="282" y="166"/>
                  </a:lnTo>
                  <a:lnTo>
                    <a:pt x="282" y="169"/>
                  </a:lnTo>
                  <a:lnTo>
                    <a:pt x="282" y="171"/>
                  </a:lnTo>
                  <a:lnTo>
                    <a:pt x="280" y="171"/>
                  </a:lnTo>
                  <a:lnTo>
                    <a:pt x="280" y="174"/>
                  </a:lnTo>
                  <a:lnTo>
                    <a:pt x="280" y="176"/>
                  </a:lnTo>
                  <a:lnTo>
                    <a:pt x="280" y="178"/>
                  </a:lnTo>
                  <a:lnTo>
                    <a:pt x="280" y="176"/>
                  </a:lnTo>
                  <a:lnTo>
                    <a:pt x="277" y="176"/>
                  </a:lnTo>
                  <a:lnTo>
                    <a:pt x="275" y="176"/>
                  </a:lnTo>
                  <a:lnTo>
                    <a:pt x="275" y="178"/>
                  </a:lnTo>
                  <a:lnTo>
                    <a:pt x="272" y="178"/>
                  </a:lnTo>
                  <a:lnTo>
                    <a:pt x="272" y="181"/>
                  </a:lnTo>
                  <a:lnTo>
                    <a:pt x="272" y="183"/>
                  </a:lnTo>
                  <a:lnTo>
                    <a:pt x="270" y="183"/>
                  </a:lnTo>
                  <a:lnTo>
                    <a:pt x="270" y="185"/>
                  </a:lnTo>
                  <a:lnTo>
                    <a:pt x="268" y="185"/>
                  </a:lnTo>
                  <a:lnTo>
                    <a:pt x="268" y="183"/>
                  </a:lnTo>
                  <a:lnTo>
                    <a:pt x="268" y="181"/>
                  </a:lnTo>
                  <a:lnTo>
                    <a:pt x="268" y="178"/>
                  </a:lnTo>
                  <a:lnTo>
                    <a:pt x="268" y="176"/>
                  </a:lnTo>
                  <a:lnTo>
                    <a:pt x="268" y="174"/>
                  </a:lnTo>
                  <a:lnTo>
                    <a:pt x="265" y="174"/>
                  </a:lnTo>
                  <a:lnTo>
                    <a:pt x="268" y="171"/>
                  </a:lnTo>
                  <a:lnTo>
                    <a:pt x="268" y="174"/>
                  </a:lnTo>
                  <a:lnTo>
                    <a:pt x="268" y="171"/>
                  </a:lnTo>
                  <a:lnTo>
                    <a:pt x="270" y="171"/>
                  </a:lnTo>
                  <a:lnTo>
                    <a:pt x="270" y="169"/>
                  </a:lnTo>
                  <a:lnTo>
                    <a:pt x="270" y="166"/>
                  </a:lnTo>
                  <a:lnTo>
                    <a:pt x="272" y="166"/>
                  </a:lnTo>
                  <a:lnTo>
                    <a:pt x="272" y="164"/>
                  </a:lnTo>
                  <a:lnTo>
                    <a:pt x="275" y="164"/>
                  </a:lnTo>
                  <a:lnTo>
                    <a:pt x="277" y="164"/>
                  </a:lnTo>
                  <a:lnTo>
                    <a:pt x="277" y="162"/>
                  </a:lnTo>
                  <a:lnTo>
                    <a:pt x="280" y="162"/>
                  </a:lnTo>
                  <a:lnTo>
                    <a:pt x="282" y="162"/>
                  </a:lnTo>
                  <a:lnTo>
                    <a:pt x="284" y="159"/>
                  </a:lnTo>
                  <a:close/>
                  <a:moveTo>
                    <a:pt x="30" y="69"/>
                  </a:moveTo>
                  <a:lnTo>
                    <a:pt x="33" y="71"/>
                  </a:lnTo>
                  <a:lnTo>
                    <a:pt x="30" y="71"/>
                  </a:lnTo>
                  <a:lnTo>
                    <a:pt x="33" y="71"/>
                  </a:lnTo>
                  <a:lnTo>
                    <a:pt x="30" y="71"/>
                  </a:lnTo>
                  <a:lnTo>
                    <a:pt x="33" y="71"/>
                  </a:lnTo>
                  <a:lnTo>
                    <a:pt x="33" y="74"/>
                  </a:lnTo>
                  <a:lnTo>
                    <a:pt x="33" y="76"/>
                  </a:lnTo>
                  <a:lnTo>
                    <a:pt x="33" y="79"/>
                  </a:lnTo>
                  <a:lnTo>
                    <a:pt x="33" y="81"/>
                  </a:lnTo>
                  <a:lnTo>
                    <a:pt x="33" y="79"/>
                  </a:lnTo>
                  <a:lnTo>
                    <a:pt x="35" y="79"/>
                  </a:lnTo>
                  <a:lnTo>
                    <a:pt x="35" y="81"/>
                  </a:lnTo>
                  <a:lnTo>
                    <a:pt x="38" y="81"/>
                  </a:lnTo>
                  <a:lnTo>
                    <a:pt x="38" y="83"/>
                  </a:lnTo>
                  <a:lnTo>
                    <a:pt x="38" y="86"/>
                  </a:lnTo>
                  <a:lnTo>
                    <a:pt x="40" y="86"/>
                  </a:lnTo>
                  <a:lnTo>
                    <a:pt x="40" y="88"/>
                  </a:lnTo>
                  <a:lnTo>
                    <a:pt x="38" y="88"/>
                  </a:lnTo>
                  <a:lnTo>
                    <a:pt x="35" y="88"/>
                  </a:lnTo>
                  <a:lnTo>
                    <a:pt x="35" y="86"/>
                  </a:lnTo>
                  <a:lnTo>
                    <a:pt x="33" y="86"/>
                  </a:lnTo>
                  <a:lnTo>
                    <a:pt x="30" y="86"/>
                  </a:lnTo>
                  <a:lnTo>
                    <a:pt x="30" y="88"/>
                  </a:lnTo>
                  <a:lnTo>
                    <a:pt x="30" y="86"/>
                  </a:lnTo>
                  <a:lnTo>
                    <a:pt x="28" y="86"/>
                  </a:lnTo>
                  <a:lnTo>
                    <a:pt x="28" y="83"/>
                  </a:lnTo>
                  <a:lnTo>
                    <a:pt x="30" y="83"/>
                  </a:lnTo>
                  <a:lnTo>
                    <a:pt x="28" y="83"/>
                  </a:lnTo>
                  <a:lnTo>
                    <a:pt x="28" y="81"/>
                  </a:lnTo>
                  <a:lnTo>
                    <a:pt x="28" y="79"/>
                  </a:lnTo>
                  <a:lnTo>
                    <a:pt x="26" y="79"/>
                  </a:lnTo>
                  <a:lnTo>
                    <a:pt x="26" y="81"/>
                  </a:lnTo>
                  <a:lnTo>
                    <a:pt x="28" y="81"/>
                  </a:lnTo>
                  <a:lnTo>
                    <a:pt x="28" y="83"/>
                  </a:lnTo>
                  <a:lnTo>
                    <a:pt x="26" y="83"/>
                  </a:lnTo>
                  <a:lnTo>
                    <a:pt x="23" y="83"/>
                  </a:lnTo>
                  <a:lnTo>
                    <a:pt x="23" y="81"/>
                  </a:lnTo>
                  <a:lnTo>
                    <a:pt x="23" y="79"/>
                  </a:lnTo>
                  <a:lnTo>
                    <a:pt x="26" y="79"/>
                  </a:lnTo>
                  <a:lnTo>
                    <a:pt x="26" y="76"/>
                  </a:lnTo>
                  <a:lnTo>
                    <a:pt x="28" y="76"/>
                  </a:lnTo>
                  <a:lnTo>
                    <a:pt x="30" y="76"/>
                  </a:lnTo>
                  <a:lnTo>
                    <a:pt x="30" y="74"/>
                  </a:lnTo>
                  <a:lnTo>
                    <a:pt x="30" y="71"/>
                  </a:lnTo>
                  <a:lnTo>
                    <a:pt x="30" y="69"/>
                  </a:lnTo>
                  <a:close/>
                  <a:moveTo>
                    <a:pt x="211" y="64"/>
                  </a:moveTo>
                  <a:lnTo>
                    <a:pt x="213" y="64"/>
                  </a:lnTo>
                  <a:lnTo>
                    <a:pt x="213" y="67"/>
                  </a:lnTo>
                  <a:lnTo>
                    <a:pt x="215" y="67"/>
                  </a:lnTo>
                  <a:lnTo>
                    <a:pt x="215" y="69"/>
                  </a:lnTo>
                  <a:lnTo>
                    <a:pt x="215" y="71"/>
                  </a:lnTo>
                  <a:lnTo>
                    <a:pt x="215" y="69"/>
                  </a:lnTo>
                  <a:lnTo>
                    <a:pt x="215" y="71"/>
                  </a:lnTo>
                  <a:lnTo>
                    <a:pt x="215" y="69"/>
                  </a:lnTo>
                  <a:lnTo>
                    <a:pt x="215" y="71"/>
                  </a:lnTo>
                  <a:lnTo>
                    <a:pt x="215" y="74"/>
                  </a:lnTo>
                  <a:lnTo>
                    <a:pt x="215" y="76"/>
                  </a:lnTo>
                  <a:lnTo>
                    <a:pt x="215" y="79"/>
                  </a:lnTo>
                  <a:lnTo>
                    <a:pt x="213" y="79"/>
                  </a:lnTo>
                  <a:lnTo>
                    <a:pt x="213" y="81"/>
                  </a:lnTo>
                  <a:lnTo>
                    <a:pt x="211" y="81"/>
                  </a:lnTo>
                  <a:lnTo>
                    <a:pt x="211" y="83"/>
                  </a:lnTo>
                  <a:lnTo>
                    <a:pt x="208" y="83"/>
                  </a:lnTo>
                  <a:lnTo>
                    <a:pt x="208" y="81"/>
                  </a:lnTo>
                  <a:lnTo>
                    <a:pt x="206" y="81"/>
                  </a:lnTo>
                  <a:lnTo>
                    <a:pt x="206" y="79"/>
                  </a:lnTo>
                  <a:lnTo>
                    <a:pt x="208" y="79"/>
                  </a:lnTo>
                  <a:lnTo>
                    <a:pt x="208" y="76"/>
                  </a:lnTo>
                  <a:lnTo>
                    <a:pt x="211" y="76"/>
                  </a:lnTo>
                  <a:lnTo>
                    <a:pt x="211" y="74"/>
                  </a:lnTo>
                  <a:lnTo>
                    <a:pt x="208" y="74"/>
                  </a:lnTo>
                  <a:lnTo>
                    <a:pt x="208" y="71"/>
                  </a:lnTo>
                  <a:lnTo>
                    <a:pt x="208" y="69"/>
                  </a:lnTo>
                  <a:lnTo>
                    <a:pt x="206" y="69"/>
                  </a:lnTo>
                  <a:lnTo>
                    <a:pt x="206" y="67"/>
                  </a:lnTo>
                  <a:lnTo>
                    <a:pt x="204" y="67"/>
                  </a:lnTo>
                  <a:lnTo>
                    <a:pt x="206" y="67"/>
                  </a:lnTo>
                  <a:lnTo>
                    <a:pt x="206" y="64"/>
                  </a:lnTo>
                  <a:lnTo>
                    <a:pt x="208" y="64"/>
                  </a:lnTo>
                  <a:lnTo>
                    <a:pt x="211" y="64"/>
                  </a:lnTo>
                  <a:close/>
                  <a:moveTo>
                    <a:pt x="121" y="45"/>
                  </a:moveTo>
                  <a:lnTo>
                    <a:pt x="123" y="45"/>
                  </a:lnTo>
                  <a:lnTo>
                    <a:pt x="123" y="48"/>
                  </a:lnTo>
                  <a:lnTo>
                    <a:pt x="125" y="48"/>
                  </a:lnTo>
                  <a:lnTo>
                    <a:pt x="125" y="50"/>
                  </a:lnTo>
                  <a:lnTo>
                    <a:pt x="125" y="52"/>
                  </a:lnTo>
                  <a:lnTo>
                    <a:pt x="128" y="52"/>
                  </a:lnTo>
                  <a:lnTo>
                    <a:pt x="128" y="55"/>
                  </a:lnTo>
                  <a:lnTo>
                    <a:pt x="130" y="55"/>
                  </a:lnTo>
                  <a:lnTo>
                    <a:pt x="130" y="57"/>
                  </a:lnTo>
                  <a:lnTo>
                    <a:pt x="130" y="55"/>
                  </a:lnTo>
                  <a:lnTo>
                    <a:pt x="130" y="57"/>
                  </a:lnTo>
                  <a:lnTo>
                    <a:pt x="132" y="57"/>
                  </a:lnTo>
                  <a:lnTo>
                    <a:pt x="135" y="57"/>
                  </a:lnTo>
                  <a:lnTo>
                    <a:pt x="135" y="60"/>
                  </a:lnTo>
                  <a:lnTo>
                    <a:pt x="137" y="60"/>
                  </a:lnTo>
                  <a:lnTo>
                    <a:pt x="140" y="60"/>
                  </a:lnTo>
                  <a:lnTo>
                    <a:pt x="140" y="62"/>
                  </a:lnTo>
                  <a:lnTo>
                    <a:pt x="140" y="60"/>
                  </a:lnTo>
                  <a:lnTo>
                    <a:pt x="142" y="60"/>
                  </a:lnTo>
                  <a:lnTo>
                    <a:pt x="142" y="62"/>
                  </a:lnTo>
                  <a:lnTo>
                    <a:pt x="144" y="62"/>
                  </a:lnTo>
                  <a:lnTo>
                    <a:pt x="144" y="60"/>
                  </a:lnTo>
                  <a:lnTo>
                    <a:pt x="144" y="62"/>
                  </a:lnTo>
                  <a:lnTo>
                    <a:pt x="144" y="60"/>
                  </a:lnTo>
                  <a:lnTo>
                    <a:pt x="147" y="60"/>
                  </a:lnTo>
                  <a:lnTo>
                    <a:pt x="147" y="62"/>
                  </a:lnTo>
                  <a:lnTo>
                    <a:pt x="149" y="62"/>
                  </a:lnTo>
                  <a:lnTo>
                    <a:pt x="149" y="64"/>
                  </a:lnTo>
                  <a:lnTo>
                    <a:pt x="149" y="62"/>
                  </a:lnTo>
                  <a:lnTo>
                    <a:pt x="149" y="64"/>
                  </a:lnTo>
                  <a:lnTo>
                    <a:pt x="149" y="67"/>
                  </a:lnTo>
                  <a:lnTo>
                    <a:pt x="151" y="67"/>
                  </a:lnTo>
                  <a:lnTo>
                    <a:pt x="151" y="69"/>
                  </a:lnTo>
                  <a:lnTo>
                    <a:pt x="151" y="71"/>
                  </a:lnTo>
                  <a:lnTo>
                    <a:pt x="151" y="74"/>
                  </a:lnTo>
                  <a:lnTo>
                    <a:pt x="151" y="76"/>
                  </a:lnTo>
                  <a:lnTo>
                    <a:pt x="151" y="79"/>
                  </a:lnTo>
                  <a:lnTo>
                    <a:pt x="154" y="79"/>
                  </a:lnTo>
                  <a:lnTo>
                    <a:pt x="154" y="81"/>
                  </a:lnTo>
                  <a:lnTo>
                    <a:pt x="151" y="81"/>
                  </a:lnTo>
                  <a:lnTo>
                    <a:pt x="154" y="81"/>
                  </a:lnTo>
                  <a:lnTo>
                    <a:pt x="154" y="83"/>
                  </a:lnTo>
                  <a:lnTo>
                    <a:pt x="154" y="81"/>
                  </a:lnTo>
                  <a:lnTo>
                    <a:pt x="154" y="83"/>
                  </a:lnTo>
                  <a:lnTo>
                    <a:pt x="156" y="83"/>
                  </a:lnTo>
                  <a:lnTo>
                    <a:pt x="159" y="83"/>
                  </a:lnTo>
                  <a:lnTo>
                    <a:pt x="159" y="86"/>
                  </a:lnTo>
                  <a:lnTo>
                    <a:pt x="159" y="83"/>
                  </a:lnTo>
                  <a:lnTo>
                    <a:pt x="159" y="86"/>
                  </a:lnTo>
                  <a:lnTo>
                    <a:pt x="161" y="86"/>
                  </a:lnTo>
                  <a:lnTo>
                    <a:pt x="161" y="83"/>
                  </a:lnTo>
                  <a:lnTo>
                    <a:pt x="161" y="86"/>
                  </a:lnTo>
                  <a:lnTo>
                    <a:pt x="163" y="86"/>
                  </a:lnTo>
                  <a:lnTo>
                    <a:pt x="163" y="83"/>
                  </a:lnTo>
                  <a:lnTo>
                    <a:pt x="163" y="86"/>
                  </a:lnTo>
                  <a:lnTo>
                    <a:pt x="163" y="88"/>
                  </a:lnTo>
                  <a:lnTo>
                    <a:pt x="163" y="90"/>
                  </a:lnTo>
                  <a:lnTo>
                    <a:pt x="163" y="93"/>
                  </a:lnTo>
                  <a:lnTo>
                    <a:pt x="161" y="93"/>
                  </a:lnTo>
                  <a:lnTo>
                    <a:pt x="163" y="93"/>
                  </a:lnTo>
                  <a:lnTo>
                    <a:pt x="161" y="93"/>
                  </a:lnTo>
                  <a:lnTo>
                    <a:pt x="161" y="90"/>
                  </a:lnTo>
                  <a:lnTo>
                    <a:pt x="159" y="90"/>
                  </a:lnTo>
                  <a:lnTo>
                    <a:pt x="156" y="90"/>
                  </a:lnTo>
                  <a:lnTo>
                    <a:pt x="159" y="90"/>
                  </a:lnTo>
                  <a:lnTo>
                    <a:pt x="156" y="90"/>
                  </a:lnTo>
                  <a:lnTo>
                    <a:pt x="156" y="93"/>
                  </a:lnTo>
                  <a:lnTo>
                    <a:pt x="159" y="93"/>
                  </a:lnTo>
                  <a:lnTo>
                    <a:pt x="156" y="93"/>
                  </a:lnTo>
                  <a:lnTo>
                    <a:pt x="156" y="90"/>
                  </a:lnTo>
                  <a:lnTo>
                    <a:pt x="154" y="90"/>
                  </a:lnTo>
                  <a:lnTo>
                    <a:pt x="154" y="88"/>
                  </a:lnTo>
                  <a:lnTo>
                    <a:pt x="154" y="86"/>
                  </a:lnTo>
                  <a:lnTo>
                    <a:pt x="154" y="88"/>
                  </a:lnTo>
                  <a:lnTo>
                    <a:pt x="151" y="86"/>
                  </a:lnTo>
                  <a:lnTo>
                    <a:pt x="151" y="88"/>
                  </a:lnTo>
                  <a:lnTo>
                    <a:pt x="151" y="86"/>
                  </a:lnTo>
                  <a:lnTo>
                    <a:pt x="151" y="83"/>
                  </a:lnTo>
                  <a:lnTo>
                    <a:pt x="151" y="81"/>
                  </a:lnTo>
                  <a:lnTo>
                    <a:pt x="149" y="81"/>
                  </a:lnTo>
                  <a:lnTo>
                    <a:pt x="149" y="79"/>
                  </a:lnTo>
                  <a:lnTo>
                    <a:pt x="149" y="81"/>
                  </a:lnTo>
                  <a:lnTo>
                    <a:pt x="149" y="79"/>
                  </a:lnTo>
                  <a:lnTo>
                    <a:pt x="147" y="79"/>
                  </a:lnTo>
                  <a:lnTo>
                    <a:pt x="149" y="79"/>
                  </a:lnTo>
                  <a:lnTo>
                    <a:pt x="147" y="79"/>
                  </a:lnTo>
                  <a:lnTo>
                    <a:pt x="149" y="79"/>
                  </a:lnTo>
                  <a:lnTo>
                    <a:pt x="147" y="79"/>
                  </a:lnTo>
                  <a:lnTo>
                    <a:pt x="149" y="79"/>
                  </a:lnTo>
                  <a:lnTo>
                    <a:pt x="149" y="76"/>
                  </a:lnTo>
                  <a:lnTo>
                    <a:pt x="147" y="76"/>
                  </a:lnTo>
                  <a:lnTo>
                    <a:pt x="144" y="76"/>
                  </a:lnTo>
                  <a:lnTo>
                    <a:pt x="147" y="76"/>
                  </a:lnTo>
                  <a:lnTo>
                    <a:pt x="147" y="74"/>
                  </a:lnTo>
                  <a:lnTo>
                    <a:pt x="144" y="74"/>
                  </a:lnTo>
                  <a:lnTo>
                    <a:pt x="142" y="74"/>
                  </a:lnTo>
                  <a:lnTo>
                    <a:pt x="140" y="74"/>
                  </a:lnTo>
                  <a:lnTo>
                    <a:pt x="137" y="74"/>
                  </a:lnTo>
                  <a:lnTo>
                    <a:pt x="135" y="74"/>
                  </a:lnTo>
                  <a:lnTo>
                    <a:pt x="135" y="71"/>
                  </a:lnTo>
                  <a:lnTo>
                    <a:pt x="135" y="74"/>
                  </a:lnTo>
                  <a:lnTo>
                    <a:pt x="135" y="71"/>
                  </a:lnTo>
                  <a:lnTo>
                    <a:pt x="135" y="74"/>
                  </a:lnTo>
                  <a:lnTo>
                    <a:pt x="132" y="74"/>
                  </a:lnTo>
                  <a:lnTo>
                    <a:pt x="132" y="71"/>
                  </a:lnTo>
                  <a:lnTo>
                    <a:pt x="130" y="71"/>
                  </a:lnTo>
                  <a:lnTo>
                    <a:pt x="130" y="69"/>
                  </a:lnTo>
                  <a:lnTo>
                    <a:pt x="132" y="69"/>
                  </a:lnTo>
                  <a:lnTo>
                    <a:pt x="132" y="67"/>
                  </a:lnTo>
                  <a:lnTo>
                    <a:pt x="130" y="64"/>
                  </a:lnTo>
                  <a:lnTo>
                    <a:pt x="128" y="64"/>
                  </a:lnTo>
                  <a:lnTo>
                    <a:pt x="128" y="62"/>
                  </a:lnTo>
                  <a:lnTo>
                    <a:pt x="125" y="62"/>
                  </a:lnTo>
                  <a:lnTo>
                    <a:pt x="125" y="60"/>
                  </a:lnTo>
                  <a:lnTo>
                    <a:pt x="123" y="60"/>
                  </a:lnTo>
                  <a:lnTo>
                    <a:pt x="123" y="57"/>
                  </a:lnTo>
                  <a:lnTo>
                    <a:pt x="121" y="57"/>
                  </a:lnTo>
                  <a:lnTo>
                    <a:pt x="121" y="55"/>
                  </a:lnTo>
                  <a:lnTo>
                    <a:pt x="118" y="55"/>
                  </a:lnTo>
                  <a:lnTo>
                    <a:pt x="118" y="52"/>
                  </a:lnTo>
                  <a:lnTo>
                    <a:pt x="116" y="52"/>
                  </a:lnTo>
                  <a:lnTo>
                    <a:pt x="113" y="52"/>
                  </a:lnTo>
                  <a:lnTo>
                    <a:pt x="111" y="52"/>
                  </a:lnTo>
                  <a:lnTo>
                    <a:pt x="111" y="50"/>
                  </a:lnTo>
                  <a:lnTo>
                    <a:pt x="111" y="52"/>
                  </a:lnTo>
                  <a:lnTo>
                    <a:pt x="109" y="52"/>
                  </a:lnTo>
                  <a:lnTo>
                    <a:pt x="111" y="52"/>
                  </a:lnTo>
                  <a:lnTo>
                    <a:pt x="111" y="55"/>
                  </a:lnTo>
                  <a:lnTo>
                    <a:pt x="109" y="55"/>
                  </a:lnTo>
                  <a:lnTo>
                    <a:pt x="109" y="52"/>
                  </a:lnTo>
                  <a:lnTo>
                    <a:pt x="109" y="55"/>
                  </a:lnTo>
                  <a:lnTo>
                    <a:pt x="109" y="52"/>
                  </a:lnTo>
                  <a:lnTo>
                    <a:pt x="106" y="52"/>
                  </a:lnTo>
                  <a:lnTo>
                    <a:pt x="106" y="55"/>
                  </a:lnTo>
                  <a:lnTo>
                    <a:pt x="106" y="52"/>
                  </a:lnTo>
                  <a:lnTo>
                    <a:pt x="109" y="52"/>
                  </a:lnTo>
                  <a:lnTo>
                    <a:pt x="109" y="50"/>
                  </a:lnTo>
                  <a:lnTo>
                    <a:pt x="111" y="50"/>
                  </a:lnTo>
                  <a:lnTo>
                    <a:pt x="113" y="50"/>
                  </a:lnTo>
                  <a:lnTo>
                    <a:pt x="113" y="48"/>
                  </a:lnTo>
                  <a:lnTo>
                    <a:pt x="113" y="50"/>
                  </a:lnTo>
                  <a:lnTo>
                    <a:pt x="113" y="48"/>
                  </a:lnTo>
                  <a:lnTo>
                    <a:pt x="116" y="45"/>
                  </a:lnTo>
                  <a:lnTo>
                    <a:pt x="118" y="45"/>
                  </a:lnTo>
                  <a:lnTo>
                    <a:pt x="121" y="45"/>
                  </a:lnTo>
                  <a:close/>
                  <a:moveTo>
                    <a:pt x="223" y="29"/>
                  </a:moveTo>
                  <a:lnTo>
                    <a:pt x="223" y="31"/>
                  </a:lnTo>
                  <a:lnTo>
                    <a:pt x="225" y="31"/>
                  </a:lnTo>
                  <a:lnTo>
                    <a:pt x="223" y="33"/>
                  </a:lnTo>
                  <a:lnTo>
                    <a:pt x="225" y="36"/>
                  </a:lnTo>
                  <a:lnTo>
                    <a:pt x="227" y="36"/>
                  </a:lnTo>
                  <a:lnTo>
                    <a:pt x="225" y="36"/>
                  </a:lnTo>
                  <a:lnTo>
                    <a:pt x="227" y="36"/>
                  </a:lnTo>
                  <a:lnTo>
                    <a:pt x="227" y="38"/>
                  </a:lnTo>
                  <a:lnTo>
                    <a:pt x="227" y="41"/>
                  </a:lnTo>
                  <a:lnTo>
                    <a:pt x="230" y="41"/>
                  </a:lnTo>
                  <a:lnTo>
                    <a:pt x="230" y="43"/>
                  </a:lnTo>
                  <a:lnTo>
                    <a:pt x="230" y="45"/>
                  </a:lnTo>
                  <a:lnTo>
                    <a:pt x="227" y="45"/>
                  </a:lnTo>
                  <a:lnTo>
                    <a:pt x="227" y="43"/>
                  </a:lnTo>
                  <a:lnTo>
                    <a:pt x="227" y="41"/>
                  </a:lnTo>
                  <a:lnTo>
                    <a:pt x="225" y="41"/>
                  </a:lnTo>
                  <a:lnTo>
                    <a:pt x="225" y="43"/>
                  </a:lnTo>
                  <a:lnTo>
                    <a:pt x="227" y="43"/>
                  </a:lnTo>
                  <a:lnTo>
                    <a:pt x="227" y="45"/>
                  </a:lnTo>
                  <a:lnTo>
                    <a:pt x="227" y="48"/>
                  </a:lnTo>
                  <a:lnTo>
                    <a:pt x="225" y="48"/>
                  </a:lnTo>
                  <a:lnTo>
                    <a:pt x="223" y="48"/>
                  </a:lnTo>
                  <a:lnTo>
                    <a:pt x="220" y="48"/>
                  </a:lnTo>
                  <a:lnTo>
                    <a:pt x="220" y="45"/>
                  </a:lnTo>
                  <a:lnTo>
                    <a:pt x="218" y="45"/>
                  </a:lnTo>
                  <a:lnTo>
                    <a:pt x="215" y="45"/>
                  </a:lnTo>
                  <a:lnTo>
                    <a:pt x="215" y="43"/>
                  </a:lnTo>
                  <a:lnTo>
                    <a:pt x="213" y="43"/>
                  </a:lnTo>
                  <a:lnTo>
                    <a:pt x="215" y="43"/>
                  </a:lnTo>
                  <a:lnTo>
                    <a:pt x="215" y="41"/>
                  </a:lnTo>
                  <a:lnTo>
                    <a:pt x="218" y="41"/>
                  </a:lnTo>
                  <a:lnTo>
                    <a:pt x="220" y="41"/>
                  </a:lnTo>
                  <a:lnTo>
                    <a:pt x="220" y="38"/>
                  </a:lnTo>
                  <a:lnTo>
                    <a:pt x="218" y="38"/>
                  </a:lnTo>
                  <a:lnTo>
                    <a:pt x="218" y="36"/>
                  </a:lnTo>
                  <a:lnTo>
                    <a:pt x="218" y="38"/>
                  </a:lnTo>
                  <a:lnTo>
                    <a:pt x="218" y="36"/>
                  </a:lnTo>
                  <a:lnTo>
                    <a:pt x="218" y="38"/>
                  </a:lnTo>
                  <a:lnTo>
                    <a:pt x="215" y="38"/>
                  </a:lnTo>
                  <a:lnTo>
                    <a:pt x="215" y="41"/>
                  </a:lnTo>
                  <a:lnTo>
                    <a:pt x="213" y="41"/>
                  </a:lnTo>
                  <a:lnTo>
                    <a:pt x="213" y="43"/>
                  </a:lnTo>
                  <a:lnTo>
                    <a:pt x="211" y="43"/>
                  </a:lnTo>
                  <a:lnTo>
                    <a:pt x="211" y="41"/>
                  </a:lnTo>
                  <a:lnTo>
                    <a:pt x="208" y="41"/>
                  </a:lnTo>
                  <a:lnTo>
                    <a:pt x="206" y="41"/>
                  </a:lnTo>
                  <a:lnTo>
                    <a:pt x="206" y="38"/>
                  </a:lnTo>
                  <a:lnTo>
                    <a:pt x="204" y="38"/>
                  </a:lnTo>
                  <a:lnTo>
                    <a:pt x="206" y="38"/>
                  </a:lnTo>
                  <a:lnTo>
                    <a:pt x="206" y="36"/>
                  </a:lnTo>
                  <a:lnTo>
                    <a:pt x="206" y="33"/>
                  </a:lnTo>
                  <a:lnTo>
                    <a:pt x="208" y="33"/>
                  </a:lnTo>
                  <a:lnTo>
                    <a:pt x="206" y="33"/>
                  </a:lnTo>
                  <a:lnTo>
                    <a:pt x="208" y="33"/>
                  </a:lnTo>
                  <a:lnTo>
                    <a:pt x="206" y="33"/>
                  </a:lnTo>
                  <a:lnTo>
                    <a:pt x="208" y="33"/>
                  </a:lnTo>
                  <a:lnTo>
                    <a:pt x="211" y="33"/>
                  </a:lnTo>
                  <a:lnTo>
                    <a:pt x="208" y="33"/>
                  </a:lnTo>
                  <a:lnTo>
                    <a:pt x="211" y="33"/>
                  </a:lnTo>
                  <a:lnTo>
                    <a:pt x="213" y="33"/>
                  </a:lnTo>
                  <a:lnTo>
                    <a:pt x="211" y="33"/>
                  </a:lnTo>
                  <a:lnTo>
                    <a:pt x="213" y="33"/>
                  </a:lnTo>
                  <a:lnTo>
                    <a:pt x="213" y="31"/>
                  </a:lnTo>
                  <a:lnTo>
                    <a:pt x="213" y="33"/>
                  </a:lnTo>
                  <a:lnTo>
                    <a:pt x="215" y="33"/>
                  </a:lnTo>
                  <a:lnTo>
                    <a:pt x="215" y="31"/>
                  </a:lnTo>
                  <a:lnTo>
                    <a:pt x="215" y="29"/>
                  </a:lnTo>
                  <a:lnTo>
                    <a:pt x="218" y="29"/>
                  </a:lnTo>
                  <a:lnTo>
                    <a:pt x="220" y="29"/>
                  </a:lnTo>
                  <a:lnTo>
                    <a:pt x="223" y="29"/>
                  </a:lnTo>
                  <a:close/>
                  <a:moveTo>
                    <a:pt x="7" y="10"/>
                  </a:moveTo>
                  <a:lnTo>
                    <a:pt x="9" y="10"/>
                  </a:lnTo>
                  <a:lnTo>
                    <a:pt x="9" y="12"/>
                  </a:lnTo>
                  <a:lnTo>
                    <a:pt x="11" y="12"/>
                  </a:lnTo>
                  <a:lnTo>
                    <a:pt x="11" y="10"/>
                  </a:lnTo>
                  <a:lnTo>
                    <a:pt x="11" y="12"/>
                  </a:lnTo>
                  <a:lnTo>
                    <a:pt x="9" y="12"/>
                  </a:lnTo>
                  <a:lnTo>
                    <a:pt x="9" y="14"/>
                  </a:lnTo>
                  <a:lnTo>
                    <a:pt x="7" y="14"/>
                  </a:lnTo>
                  <a:lnTo>
                    <a:pt x="7" y="17"/>
                  </a:lnTo>
                  <a:lnTo>
                    <a:pt x="9" y="17"/>
                  </a:lnTo>
                  <a:lnTo>
                    <a:pt x="7" y="17"/>
                  </a:lnTo>
                  <a:lnTo>
                    <a:pt x="9" y="17"/>
                  </a:lnTo>
                  <a:lnTo>
                    <a:pt x="7" y="17"/>
                  </a:lnTo>
                  <a:lnTo>
                    <a:pt x="9" y="17"/>
                  </a:lnTo>
                  <a:lnTo>
                    <a:pt x="9" y="19"/>
                  </a:lnTo>
                  <a:lnTo>
                    <a:pt x="9" y="17"/>
                  </a:lnTo>
                  <a:lnTo>
                    <a:pt x="9" y="19"/>
                  </a:lnTo>
                  <a:lnTo>
                    <a:pt x="9" y="22"/>
                  </a:lnTo>
                  <a:lnTo>
                    <a:pt x="9" y="24"/>
                  </a:lnTo>
                  <a:lnTo>
                    <a:pt x="11" y="24"/>
                  </a:lnTo>
                  <a:lnTo>
                    <a:pt x="11" y="26"/>
                  </a:lnTo>
                  <a:lnTo>
                    <a:pt x="14" y="26"/>
                  </a:lnTo>
                  <a:lnTo>
                    <a:pt x="16" y="26"/>
                  </a:lnTo>
                  <a:lnTo>
                    <a:pt x="16" y="29"/>
                  </a:lnTo>
                  <a:lnTo>
                    <a:pt x="16" y="31"/>
                  </a:lnTo>
                  <a:lnTo>
                    <a:pt x="16" y="29"/>
                  </a:lnTo>
                  <a:lnTo>
                    <a:pt x="16" y="31"/>
                  </a:lnTo>
                  <a:lnTo>
                    <a:pt x="16" y="29"/>
                  </a:lnTo>
                  <a:lnTo>
                    <a:pt x="14" y="29"/>
                  </a:lnTo>
                  <a:lnTo>
                    <a:pt x="11" y="29"/>
                  </a:lnTo>
                  <a:lnTo>
                    <a:pt x="11" y="26"/>
                  </a:lnTo>
                  <a:lnTo>
                    <a:pt x="9" y="26"/>
                  </a:lnTo>
                  <a:lnTo>
                    <a:pt x="9" y="24"/>
                  </a:lnTo>
                  <a:lnTo>
                    <a:pt x="7" y="24"/>
                  </a:lnTo>
                  <a:lnTo>
                    <a:pt x="7" y="22"/>
                  </a:lnTo>
                  <a:lnTo>
                    <a:pt x="7" y="19"/>
                  </a:lnTo>
                  <a:lnTo>
                    <a:pt x="4" y="19"/>
                  </a:lnTo>
                  <a:lnTo>
                    <a:pt x="4" y="17"/>
                  </a:lnTo>
                  <a:lnTo>
                    <a:pt x="2" y="17"/>
                  </a:lnTo>
                  <a:lnTo>
                    <a:pt x="2" y="14"/>
                  </a:lnTo>
                  <a:lnTo>
                    <a:pt x="0" y="12"/>
                  </a:lnTo>
                  <a:lnTo>
                    <a:pt x="2" y="12"/>
                  </a:lnTo>
                  <a:lnTo>
                    <a:pt x="2" y="10"/>
                  </a:lnTo>
                  <a:lnTo>
                    <a:pt x="4" y="10"/>
                  </a:lnTo>
                  <a:lnTo>
                    <a:pt x="7" y="10"/>
                  </a:lnTo>
                  <a:close/>
                  <a:moveTo>
                    <a:pt x="192" y="0"/>
                  </a:moveTo>
                  <a:lnTo>
                    <a:pt x="192" y="3"/>
                  </a:lnTo>
                  <a:lnTo>
                    <a:pt x="189" y="3"/>
                  </a:lnTo>
                  <a:lnTo>
                    <a:pt x="189" y="5"/>
                  </a:lnTo>
                  <a:lnTo>
                    <a:pt x="189" y="7"/>
                  </a:lnTo>
                  <a:lnTo>
                    <a:pt x="189" y="10"/>
                  </a:lnTo>
                  <a:lnTo>
                    <a:pt x="189" y="12"/>
                  </a:lnTo>
                  <a:lnTo>
                    <a:pt x="187" y="10"/>
                  </a:lnTo>
                  <a:lnTo>
                    <a:pt x="187" y="7"/>
                  </a:lnTo>
                  <a:lnTo>
                    <a:pt x="185" y="7"/>
                  </a:lnTo>
                  <a:lnTo>
                    <a:pt x="187" y="7"/>
                  </a:lnTo>
                  <a:lnTo>
                    <a:pt x="187" y="5"/>
                  </a:lnTo>
                  <a:lnTo>
                    <a:pt x="185" y="5"/>
                  </a:lnTo>
                  <a:lnTo>
                    <a:pt x="185" y="7"/>
                  </a:lnTo>
                  <a:lnTo>
                    <a:pt x="182" y="7"/>
                  </a:lnTo>
                  <a:lnTo>
                    <a:pt x="185" y="7"/>
                  </a:lnTo>
                  <a:lnTo>
                    <a:pt x="185" y="10"/>
                  </a:lnTo>
                  <a:lnTo>
                    <a:pt x="185" y="7"/>
                  </a:lnTo>
                  <a:lnTo>
                    <a:pt x="185" y="10"/>
                  </a:lnTo>
                  <a:lnTo>
                    <a:pt x="182" y="10"/>
                  </a:lnTo>
                  <a:lnTo>
                    <a:pt x="182" y="7"/>
                  </a:lnTo>
                  <a:lnTo>
                    <a:pt x="182" y="10"/>
                  </a:lnTo>
                  <a:lnTo>
                    <a:pt x="182" y="7"/>
                  </a:lnTo>
                  <a:lnTo>
                    <a:pt x="182" y="10"/>
                  </a:lnTo>
                  <a:lnTo>
                    <a:pt x="182" y="7"/>
                  </a:lnTo>
                  <a:lnTo>
                    <a:pt x="180" y="7"/>
                  </a:lnTo>
                  <a:lnTo>
                    <a:pt x="180" y="10"/>
                  </a:lnTo>
                  <a:lnTo>
                    <a:pt x="180" y="7"/>
                  </a:lnTo>
                  <a:lnTo>
                    <a:pt x="180" y="10"/>
                  </a:lnTo>
                  <a:lnTo>
                    <a:pt x="180" y="7"/>
                  </a:lnTo>
                  <a:lnTo>
                    <a:pt x="180" y="10"/>
                  </a:lnTo>
                  <a:lnTo>
                    <a:pt x="180" y="7"/>
                  </a:lnTo>
                  <a:lnTo>
                    <a:pt x="180" y="5"/>
                  </a:lnTo>
                  <a:lnTo>
                    <a:pt x="180" y="3"/>
                  </a:lnTo>
                  <a:lnTo>
                    <a:pt x="178" y="3"/>
                  </a:lnTo>
                  <a:lnTo>
                    <a:pt x="180" y="3"/>
                  </a:lnTo>
                  <a:lnTo>
                    <a:pt x="182" y="3"/>
                  </a:lnTo>
                  <a:lnTo>
                    <a:pt x="182" y="0"/>
                  </a:lnTo>
                  <a:lnTo>
                    <a:pt x="182" y="3"/>
                  </a:lnTo>
                  <a:lnTo>
                    <a:pt x="185" y="0"/>
                  </a:lnTo>
                  <a:lnTo>
                    <a:pt x="185" y="3"/>
                  </a:lnTo>
                  <a:lnTo>
                    <a:pt x="185" y="0"/>
                  </a:lnTo>
                  <a:lnTo>
                    <a:pt x="185" y="3"/>
                  </a:lnTo>
                  <a:lnTo>
                    <a:pt x="185" y="0"/>
                  </a:lnTo>
                  <a:lnTo>
                    <a:pt x="185" y="3"/>
                  </a:lnTo>
                  <a:lnTo>
                    <a:pt x="187" y="3"/>
                  </a:lnTo>
                  <a:lnTo>
                    <a:pt x="187" y="5"/>
                  </a:lnTo>
                  <a:lnTo>
                    <a:pt x="187" y="3"/>
                  </a:lnTo>
                  <a:lnTo>
                    <a:pt x="189" y="3"/>
                  </a:lnTo>
                  <a:lnTo>
                    <a:pt x="187" y="3"/>
                  </a:lnTo>
                  <a:lnTo>
                    <a:pt x="189" y="3"/>
                  </a:lnTo>
                  <a:lnTo>
                    <a:pt x="187" y="3"/>
                  </a:lnTo>
                  <a:lnTo>
                    <a:pt x="189" y="3"/>
                  </a:lnTo>
                  <a:lnTo>
                    <a:pt x="189" y="0"/>
                  </a:lnTo>
                  <a:lnTo>
                    <a:pt x="19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7" name="Freeform 52276"/>
            <p:cNvSpPr>
              <a:spLocks noEditPoints="1"/>
            </p:cNvSpPr>
            <p:nvPr/>
          </p:nvSpPr>
          <p:spPr bwMode="auto">
            <a:xfrm>
              <a:off x="3076573" y="5316556"/>
              <a:ext cx="346075" cy="381001"/>
            </a:xfrm>
            <a:custGeom>
              <a:avLst/>
              <a:gdLst>
                <a:gd name="T0" fmla="*/ 69 w 218"/>
                <a:gd name="T1" fmla="*/ 159 h 240"/>
                <a:gd name="T2" fmla="*/ 97 w 218"/>
                <a:gd name="T3" fmla="*/ 173 h 240"/>
                <a:gd name="T4" fmla="*/ 109 w 218"/>
                <a:gd name="T5" fmla="*/ 187 h 240"/>
                <a:gd name="T6" fmla="*/ 104 w 218"/>
                <a:gd name="T7" fmla="*/ 197 h 240"/>
                <a:gd name="T8" fmla="*/ 102 w 218"/>
                <a:gd name="T9" fmla="*/ 197 h 240"/>
                <a:gd name="T10" fmla="*/ 90 w 218"/>
                <a:gd name="T11" fmla="*/ 197 h 240"/>
                <a:gd name="T12" fmla="*/ 102 w 218"/>
                <a:gd name="T13" fmla="*/ 223 h 240"/>
                <a:gd name="T14" fmla="*/ 99 w 218"/>
                <a:gd name="T15" fmla="*/ 237 h 240"/>
                <a:gd name="T16" fmla="*/ 83 w 218"/>
                <a:gd name="T17" fmla="*/ 225 h 240"/>
                <a:gd name="T18" fmla="*/ 76 w 218"/>
                <a:gd name="T19" fmla="*/ 233 h 240"/>
                <a:gd name="T20" fmla="*/ 71 w 218"/>
                <a:gd name="T21" fmla="*/ 218 h 240"/>
                <a:gd name="T22" fmla="*/ 59 w 218"/>
                <a:gd name="T23" fmla="*/ 225 h 240"/>
                <a:gd name="T24" fmla="*/ 54 w 218"/>
                <a:gd name="T25" fmla="*/ 202 h 240"/>
                <a:gd name="T26" fmla="*/ 35 w 218"/>
                <a:gd name="T27" fmla="*/ 173 h 240"/>
                <a:gd name="T28" fmla="*/ 121 w 218"/>
                <a:gd name="T29" fmla="*/ 173 h 240"/>
                <a:gd name="T30" fmla="*/ 111 w 218"/>
                <a:gd name="T31" fmla="*/ 168 h 240"/>
                <a:gd name="T32" fmla="*/ 104 w 218"/>
                <a:gd name="T33" fmla="*/ 166 h 240"/>
                <a:gd name="T34" fmla="*/ 90 w 218"/>
                <a:gd name="T35" fmla="*/ 159 h 240"/>
                <a:gd name="T36" fmla="*/ 78 w 218"/>
                <a:gd name="T37" fmla="*/ 149 h 240"/>
                <a:gd name="T38" fmla="*/ 52 w 218"/>
                <a:gd name="T39" fmla="*/ 154 h 240"/>
                <a:gd name="T40" fmla="*/ 43 w 218"/>
                <a:gd name="T41" fmla="*/ 152 h 240"/>
                <a:gd name="T42" fmla="*/ 35 w 218"/>
                <a:gd name="T43" fmla="*/ 149 h 240"/>
                <a:gd name="T44" fmla="*/ 31 w 218"/>
                <a:gd name="T45" fmla="*/ 140 h 240"/>
                <a:gd name="T46" fmla="*/ 21 w 218"/>
                <a:gd name="T47" fmla="*/ 135 h 240"/>
                <a:gd name="T48" fmla="*/ 16 w 218"/>
                <a:gd name="T49" fmla="*/ 142 h 240"/>
                <a:gd name="T50" fmla="*/ 26 w 218"/>
                <a:gd name="T51" fmla="*/ 128 h 240"/>
                <a:gd name="T52" fmla="*/ 33 w 218"/>
                <a:gd name="T53" fmla="*/ 123 h 240"/>
                <a:gd name="T54" fmla="*/ 16 w 218"/>
                <a:gd name="T55" fmla="*/ 116 h 240"/>
                <a:gd name="T56" fmla="*/ 5 w 218"/>
                <a:gd name="T57" fmla="*/ 100 h 240"/>
                <a:gd name="T58" fmla="*/ 5 w 218"/>
                <a:gd name="T59" fmla="*/ 95 h 240"/>
                <a:gd name="T60" fmla="*/ 12 w 218"/>
                <a:gd name="T61" fmla="*/ 76 h 240"/>
                <a:gd name="T62" fmla="*/ 33 w 218"/>
                <a:gd name="T63" fmla="*/ 54 h 240"/>
                <a:gd name="T64" fmla="*/ 54 w 218"/>
                <a:gd name="T65" fmla="*/ 38 h 240"/>
                <a:gd name="T66" fmla="*/ 78 w 218"/>
                <a:gd name="T67" fmla="*/ 28 h 240"/>
                <a:gd name="T68" fmla="*/ 114 w 218"/>
                <a:gd name="T69" fmla="*/ 16 h 240"/>
                <a:gd name="T70" fmla="*/ 140 w 218"/>
                <a:gd name="T71" fmla="*/ 9 h 240"/>
                <a:gd name="T72" fmla="*/ 168 w 218"/>
                <a:gd name="T73" fmla="*/ 21 h 240"/>
                <a:gd name="T74" fmla="*/ 194 w 218"/>
                <a:gd name="T75" fmla="*/ 19 h 240"/>
                <a:gd name="T76" fmla="*/ 209 w 218"/>
                <a:gd name="T77" fmla="*/ 2 h 240"/>
                <a:gd name="T78" fmla="*/ 206 w 218"/>
                <a:gd name="T79" fmla="*/ 23 h 240"/>
                <a:gd name="T80" fmla="*/ 199 w 218"/>
                <a:gd name="T81" fmla="*/ 45 h 240"/>
                <a:gd name="T82" fmla="*/ 173 w 218"/>
                <a:gd name="T83" fmla="*/ 35 h 240"/>
                <a:gd name="T84" fmla="*/ 161 w 218"/>
                <a:gd name="T85" fmla="*/ 38 h 240"/>
                <a:gd name="T86" fmla="*/ 142 w 218"/>
                <a:gd name="T87" fmla="*/ 38 h 240"/>
                <a:gd name="T88" fmla="*/ 121 w 218"/>
                <a:gd name="T89" fmla="*/ 45 h 240"/>
                <a:gd name="T90" fmla="*/ 133 w 218"/>
                <a:gd name="T91" fmla="*/ 61 h 240"/>
                <a:gd name="T92" fmla="*/ 133 w 218"/>
                <a:gd name="T93" fmla="*/ 66 h 240"/>
                <a:gd name="T94" fmla="*/ 130 w 218"/>
                <a:gd name="T95" fmla="*/ 73 h 240"/>
                <a:gd name="T96" fmla="*/ 118 w 218"/>
                <a:gd name="T97" fmla="*/ 69 h 240"/>
                <a:gd name="T98" fmla="*/ 123 w 218"/>
                <a:gd name="T99" fmla="*/ 83 h 240"/>
                <a:gd name="T100" fmla="*/ 97 w 218"/>
                <a:gd name="T101" fmla="*/ 64 h 240"/>
                <a:gd name="T102" fmla="*/ 88 w 218"/>
                <a:gd name="T103" fmla="*/ 54 h 240"/>
                <a:gd name="T104" fmla="*/ 85 w 218"/>
                <a:gd name="T105" fmla="*/ 66 h 240"/>
                <a:gd name="T106" fmla="*/ 95 w 218"/>
                <a:gd name="T107" fmla="*/ 100 h 240"/>
                <a:gd name="T108" fmla="*/ 104 w 218"/>
                <a:gd name="T109" fmla="*/ 119 h 240"/>
                <a:gd name="T110" fmla="*/ 99 w 218"/>
                <a:gd name="T111" fmla="*/ 111 h 240"/>
                <a:gd name="T112" fmla="*/ 95 w 218"/>
                <a:gd name="T113" fmla="*/ 128 h 240"/>
                <a:gd name="T114" fmla="*/ 85 w 218"/>
                <a:gd name="T115" fmla="*/ 130 h 240"/>
                <a:gd name="T116" fmla="*/ 107 w 218"/>
                <a:gd name="T117" fmla="*/ 140 h 240"/>
                <a:gd name="T118" fmla="*/ 126 w 218"/>
                <a:gd name="T119" fmla="*/ 154 h 240"/>
                <a:gd name="T120" fmla="*/ 133 w 218"/>
                <a:gd name="T121" fmla="*/ 1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240">
                  <a:moveTo>
                    <a:pt x="43" y="161"/>
                  </a:moveTo>
                  <a:lnTo>
                    <a:pt x="45" y="161"/>
                  </a:lnTo>
                  <a:lnTo>
                    <a:pt x="43" y="159"/>
                  </a:lnTo>
                  <a:lnTo>
                    <a:pt x="45" y="159"/>
                  </a:lnTo>
                  <a:lnTo>
                    <a:pt x="45" y="161"/>
                  </a:lnTo>
                  <a:lnTo>
                    <a:pt x="47" y="161"/>
                  </a:lnTo>
                  <a:lnTo>
                    <a:pt x="50" y="161"/>
                  </a:lnTo>
                  <a:lnTo>
                    <a:pt x="52" y="164"/>
                  </a:lnTo>
                  <a:lnTo>
                    <a:pt x="52" y="161"/>
                  </a:lnTo>
                  <a:lnTo>
                    <a:pt x="54" y="161"/>
                  </a:lnTo>
                  <a:lnTo>
                    <a:pt x="54" y="159"/>
                  </a:lnTo>
                  <a:lnTo>
                    <a:pt x="57" y="159"/>
                  </a:lnTo>
                  <a:lnTo>
                    <a:pt x="57" y="157"/>
                  </a:lnTo>
                  <a:lnTo>
                    <a:pt x="57" y="154"/>
                  </a:lnTo>
                  <a:lnTo>
                    <a:pt x="59" y="154"/>
                  </a:lnTo>
                  <a:lnTo>
                    <a:pt x="62" y="154"/>
                  </a:lnTo>
                  <a:lnTo>
                    <a:pt x="64" y="154"/>
                  </a:lnTo>
                  <a:lnTo>
                    <a:pt x="66" y="157"/>
                  </a:lnTo>
                  <a:lnTo>
                    <a:pt x="69" y="157"/>
                  </a:lnTo>
                  <a:lnTo>
                    <a:pt x="69" y="159"/>
                  </a:lnTo>
                  <a:lnTo>
                    <a:pt x="71" y="159"/>
                  </a:lnTo>
                  <a:lnTo>
                    <a:pt x="71" y="161"/>
                  </a:lnTo>
                  <a:lnTo>
                    <a:pt x="73" y="161"/>
                  </a:lnTo>
                  <a:lnTo>
                    <a:pt x="76" y="161"/>
                  </a:lnTo>
                  <a:lnTo>
                    <a:pt x="76" y="164"/>
                  </a:lnTo>
                  <a:lnTo>
                    <a:pt x="78" y="164"/>
                  </a:lnTo>
                  <a:lnTo>
                    <a:pt x="80" y="164"/>
                  </a:lnTo>
                  <a:lnTo>
                    <a:pt x="83" y="164"/>
                  </a:lnTo>
                  <a:lnTo>
                    <a:pt x="83" y="166"/>
                  </a:lnTo>
                  <a:lnTo>
                    <a:pt x="85" y="166"/>
                  </a:lnTo>
                  <a:lnTo>
                    <a:pt x="88" y="166"/>
                  </a:lnTo>
                  <a:lnTo>
                    <a:pt x="88" y="168"/>
                  </a:lnTo>
                  <a:lnTo>
                    <a:pt x="90" y="168"/>
                  </a:lnTo>
                  <a:lnTo>
                    <a:pt x="90" y="171"/>
                  </a:lnTo>
                  <a:lnTo>
                    <a:pt x="92" y="171"/>
                  </a:lnTo>
                  <a:lnTo>
                    <a:pt x="95" y="171"/>
                  </a:lnTo>
                  <a:lnTo>
                    <a:pt x="95" y="173"/>
                  </a:lnTo>
                  <a:lnTo>
                    <a:pt x="95" y="171"/>
                  </a:lnTo>
                  <a:lnTo>
                    <a:pt x="97" y="171"/>
                  </a:lnTo>
                  <a:lnTo>
                    <a:pt x="97" y="173"/>
                  </a:lnTo>
                  <a:lnTo>
                    <a:pt x="97" y="176"/>
                  </a:lnTo>
                  <a:lnTo>
                    <a:pt x="99" y="176"/>
                  </a:lnTo>
                  <a:lnTo>
                    <a:pt x="102" y="176"/>
                  </a:lnTo>
                  <a:lnTo>
                    <a:pt x="102" y="178"/>
                  </a:lnTo>
                  <a:lnTo>
                    <a:pt x="104" y="178"/>
                  </a:lnTo>
                  <a:lnTo>
                    <a:pt x="102" y="180"/>
                  </a:lnTo>
                  <a:lnTo>
                    <a:pt x="102" y="183"/>
                  </a:lnTo>
                  <a:lnTo>
                    <a:pt x="104" y="183"/>
                  </a:lnTo>
                  <a:lnTo>
                    <a:pt x="102" y="183"/>
                  </a:lnTo>
                  <a:lnTo>
                    <a:pt x="104" y="183"/>
                  </a:lnTo>
                  <a:lnTo>
                    <a:pt x="102" y="183"/>
                  </a:lnTo>
                  <a:lnTo>
                    <a:pt x="102" y="185"/>
                  </a:lnTo>
                  <a:lnTo>
                    <a:pt x="104" y="185"/>
                  </a:lnTo>
                  <a:lnTo>
                    <a:pt x="102" y="185"/>
                  </a:lnTo>
                  <a:lnTo>
                    <a:pt x="104" y="185"/>
                  </a:lnTo>
                  <a:lnTo>
                    <a:pt x="104" y="187"/>
                  </a:lnTo>
                  <a:lnTo>
                    <a:pt x="107" y="187"/>
                  </a:lnTo>
                  <a:lnTo>
                    <a:pt x="107" y="190"/>
                  </a:lnTo>
                  <a:lnTo>
                    <a:pt x="109" y="190"/>
                  </a:lnTo>
                  <a:lnTo>
                    <a:pt x="109" y="187"/>
                  </a:lnTo>
                  <a:lnTo>
                    <a:pt x="107" y="187"/>
                  </a:lnTo>
                  <a:lnTo>
                    <a:pt x="107" y="185"/>
                  </a:lnTo>
                  <a:lnTo>
                    <a:pt x="109" y="185"/>
                  </a:lnTo>
                  <a:lnTo>
                    <a:pt x="111" y="185"/>
                  </a:lnTo>
                  <a:lnTo>
                    <a:pt x="111" y="187"/>
                  </a:lnTo>
                  <a:lnTo>
                    <a:pt x="109" y="187"/>
                  </a:lnTo>
                  <a:lnTo>
                    <a:pt x="109" y="190"/>
                  </a:lnTo>
                  <a:lnTo>
                    <a:pt x="109" y="187"/>
                  </a:lnTo>
                  <a:lnTo>
                    <a:pt x="109" y="190"/>
                  </a:lnTo>
                  <a:lnTo>
                    <a:pt x="111" y="190"/>
                  </a:lnTo>
                  <a:lnTo>
                    <a:pt x="111" y="192"/>
                  </a:lnTo>
                  <a:lnTo>
                    <a:pt x="114" y="192"/>
                  </a:lnTo>
                  <a:lnTo>
                    <a:pt x="114" y="195"/>
                  </a:lnTo>
                  <a:lnTo>
                    <a:pt x="111" y="195"/>
                  </a:lnTo>
                  <a:lnTo>
                    <a:pt x="109" y="195"/>
                  </a:lnTo>
                  <a:lnTo>
                    <a:pt x="107" y="195"/>
                  </a:lnTo>
                  <a:lnTo>
                    <a:pt x="107" y="197"/>
                  </a:lnTo>
                  <a:lnTo>
                    <a:pt x="107" y="195"/>
                  </a:lnTo>
                  <a:lnTo>
                    <a:pt x="107" y="197"/>
                  </a:lnTo>
                  <a:lnTo>
                    <a:pt x="104" y="197"/>
                  </a:lnTo>
                  <a:lnTo>
                    <a:pt x="107" y="197"/>
                  </a:lnTo>
                  <a:lnTo>
                    <a:pt x="107" y="199"/>
                  </a:lnTo>
                  <a:lnTo>
                    <a:pt x="107" y="197"/>
                  </a:lnTo>
                  <a:lnTo>
                    <a:pt x="104" y="199"/>
                  </a:lnTo>
                  <a:lnTo>
                    <a:pt x="104" y="197"/>
                  </a:lnTo>
                  <a:lnTo>
                    <a:pt x="104" y="199"/>
                  </a:lnTo>
                  <a:lnTo>
                    <a:pt x="104" y="197"/>
                  </a:lnTo>
                  <a:lnTo>
                    <a:pt x="104" y="199"/>
                  </a:lnTo>
                  <a:lnTo>
                    <a:pt x="104" y="197"/>
                  </a:lnTo>
                  <a:lnTo>
                    <a:pt x="104" y="199"/>
                  </a:lnTo>
                  <a:lnTo>
                    <a:pt x="104" y="202"/>
                  </a:lnTo>
                  <a:lnTo>
                    <a:pt x="104" y="199"/>
                  </a:lnTo>
                  <a:lnTo>
                    <a:pt x="104" y="202"/>
                  </a:lnTo>
                  <a:lnTo>
                    <a:pt x="102" y="202"/>
                  </a:lnTo>
                  <a:lnTo>
                    <a:pt x="102" y="199"/>
                  </a:lnTo>
                  <a:lnTo>
                    <a:pt x="102" y="197"/>
                  </a:lnTo>
                  <a:lnTo>
                    <a:pt x="99" y="197"/>
                  </a:lnTo>
                  <a:lnTo>
                    <a:pt x="102" y="197"/>
                  </a:lnTo>
                  <a:lnTo>
                    <a:pt x="102" y="195"/>
                  </a:lnTo>
                  <a:lnTo>
                    <a:pt x="102" y="197"/>
                  </a:lnTo>
                  <a:lnTo>
                    <a:pt x="102" y="195"/>
                  </a:lnTo>
                  <a:lnTo>
                    <a:pt x="102" y="192"/>
                  </a:lnTo>
                  <a:lnTo>
                    <a:pt x="99" y="192"/>
                  </a:lnTo>
                  <a:lnTo>
                    <a:pt x="99" y="195"/>
                  </a:lnTo>
                  <a:lnTo>
                    <a:pt x="99" y="192"/>
                  </a:lnTo>
                  <a:lnTo>
                    <a:pt x="99" y="195"/>
                  </a:lnTo>
                  <a:lnTo>
                    <a:pt x="99" y="192"/>
                  </a:lnTo>
                  <a:lnTo>
                    <a:pt x="97" y="192"/>
                  </a:lnTo>
                  <a:lnTo>
                    <a:pt x="97" y="190"/>
                  </a:lnTo>
                  <a:lnTo>
                    <a:pt x="95" y="190"/>
                  </a:lnTo>
                  <a:lnTo>
                    <a:pt x="92" y="190"/>
                  </a:lnTo>
                  <a:lnTo>
                    <a:pt x="90" y="187"/>
                  </a:lnTo>
                  <a:lnTo>
                    <a:pt x="88" y="187"/>
                  </a:lnTo>
                  <a:lnTo>
                    <a:pt x="88" y="190"/>
                  </a:lnTo>
                  <a:lnTo>
                    <a:pt x="90" y="190"/>
                  </a:lnTo>
                  <a:lnTo>
                    <a:pt x="88" y="190"/>
                  </a:lnTo>
                  <a:lnTo>
                    <a:pt x="88" y="192"/>
                  </a:lnTo>
                  <a:lnTo>
                    <a:pt x="90" y="192"/>
                  </a:lnTo>
                  <a:lnTo>
                    <a:pt x="90" y="195"/>
                  </a:lnTo>
                  <a:lnTo>
                    <a:pt x="90" y="197"/>
                  </a:lnTo>
                  <a:lnTo>
                    <a:pt x="90" y="199"/>
                  </a:lnTo>
                  <a:lnTo>
                    <a:pt x="92" y="199"/>
                  </a:lnTo>
                  <a:lnTo>
                    <a:pt x="90" y="199"/>
                  </a:lnTo>
                  <a:lnTo>
                    <a:pt x="92" y="199"/>
                  </a:lnTo>
                  <a:lnTo>
                    <a:pt x="92" y="202"/>
                  </a:lnTo>
                  <a:lnTo>
                    <a:pt x="95" y="204"/>
                  </a:lnTo>
                  <a:lnTo>
                    <a:pt x="95" y="206"/>
                  </a:lnTo>
                  <a:lnTo>
                    <a:pt x="95" y="209"/>
                  </a:lnTo>
                  <a:lnTo>
                    <a:pt x="97" y="209"/>
                  </a:lnTo>
                  <a:lnTo>
                    <a:pt x="95" y="209"/>
                  </a:lnTo>
                  <a:lnTo>
                    <a:pt x="97" y="209"/>
                  </a:lnTo>
                  <a:lnTo>
                    <a:pt x="97" y="211"/>
                  </a:lnTo>
                  <a:lnTo>
                    <a:pt x="97" y="214"/>
                  </a:lnTo>
                  <a:lnTo>
                    <a:pt x="97" y="216"/>
                  </a:lnTo>
                  <a:lnTo>
                    <a:pt x="97" y="214"/>
                  </a:lnTo>
                  <a:lnTo>
                    <a:pt x="97" y="216"/>
                  </a:lnTo>
                  <a:lnTo>
                    <a:pt x="99" y="218"/>
                  </a:lnTo>
                  <a:lnTo>
                    <a:pt x="99" y="221"/>
                  </a:lnTo>
                  <a:lnTo>
                    <a:pt x="99" y="223"/>
                  </a:lnTo>
                  <a:lnTo>
                    <a:pt x="102" y="223"/>
                  </a:lnTo>
                  <a:lnTo>
                    <a:pt x="99" y="223"/>
                  </a:lnTo>
                  <a:lnTo>
                    <a:pt x="99" y="225"/>
                  </a:lnTo>
                  <a:lnTo>
                    <a:pt x="97" y="225"/>
                  </a:lnTo>
                  <a:lnTo>
                    <a:pt x="99" y="225"/>
                  </a:lnTo>
                  <a:lnTo>
                    <a:pt x="99" y="228"/>
                  </a:lnTo>
                  <a:lnTo>
                    <a:pt x="97" y="228"/>
                  </a:lnTo>
                  <a:lnTo>
                    <a:pt x="99" y="228"/>
                  </a:lnTo>
                  <a:lnTo>
                    <a:pt x="97" y="228"/>
                  </a:lnTo>
                  <a:lnTo>
                    <a:pt x="99" y="230"/>
                  </a:lnTo>
                  <a:lnTo>
                    <a:pt x="99" y="233"/>
                  </a:lnTo>
                  <a:lnTo>
                    <a:pt x="102" y="233"/>
                  </a:lnTo>
                  <a:lnTo>
                    <a:pt x="102" y="235"/>
                  </a:lnTo>
                  <a:lnTo>
                    <a:pt x="102" y="237"/>
                  </a:lnTo>
                  <a:lnTo>
                    <a:pt x="102" y="235"/>
                  </a:lnTo>
                  <a:lnTo>
                    <a:pt x="102" y="237"/>
                  </a:lnTo>
                  <a:lnTo>
                    <a:pt x="104" y="237"/>
                  </a:lnTo>
                  <a:lnTo>
                    <a:pt x="102" y="237"/>
                  </a:lnTo>
                  <a:lnTo>
                    <a:pt x="102" y="240"/>
                  </a:lnTo>
                  <a:lnTo>
                    <a:pt x="102" y="237"/>
                  </a:lnTo>
                  <a:lnTo>
                    <a:pt x="99" y="237"/>
                  </a:lnTo>
                  <a:lnTo>
                    <a:pt x="99" y="235"/>
                  </a:lnTo>
                  <a:lnTo>
                    <a:pt x="97" y="235"/>
                  </a:lnTo>
                  <a:lnTo>
                    <a:pt x="97" y="233"/>
                  </a:lnTo>
                  <a:lnTo>
                    <a:pt x="95" y="233"/>
                  </a:lnTo>
                  <a:lnTo>
                    <a:pt x="95" y="230"/>
                  </a:lnTo>
                  <a:lnTo>
                    <a:pt x="92" y="230"/>
                  </a:lnTo>
                  <a:lnTo>
                    <a:pt x="95" y="230"/>
                  </a:lnTo>
                  <a:lnTo>
                    <a:pt x="92" y="230"/>
                  </a:lnTo>
                  <a:lnTo>
                    <a:pt x="92" y="228"/>
                  </a:lnTo>
                  <a:lnTo>
                    <a:pt x="90" y="228"/>
                  </a:lnTo>
                  <a:lnTo>
                    <a:pt x="92" y="228"/>
                  </a:lnTo>
                  <a:lnTo>
                    <a:pt x="90" y="228"/>
                  </a:lnTo>
                  <a:lnTo>
                    <a:pt x="92" y="228"/>
                  </a:lnTo>
                  <a:lnTo>
                    <a:pt x="92" y="225"/>
                  </a:lnTo>
                  <a:lnTo>
                    <a:pt x="90" y="225"/>
                  </a:lnTo>
                  <a:lnTo>
                    <a:pt x="90" y="223"/>
                  </a:lnTo>
                  <a:lnTo>
                    <a:pt x="88" y="223"/>
                  </a:lnTo>
                  <a:lnTo>
                    <a:pt x="85" y="223"/>
                  </a:lnTo>
                  <a:lnTo>
                    <a:pt x="83" y="223"/>
                  </a:lnTo>
                  <a:lnTo>
                    <a:pt x="83" y="225"/>
                  </a:lnTo>
                  <a:lnTo>
                    <a:pt x="80" y="225"/>
                  </a:lnTo>
                  <a:lnTo>
                    <a:pt x="80" y="228"/>
                  </a:lnTo>
                  <a:lnTo>
                    <a:pt x="83" y="228"/>
                  </a:lnTo>
                  <a:lnTo>
                    <a:pt x="80" y="228"/>
                  </a:lnTo>
                  <a:lnTo>
                    <a:pt x="83" y="228"/>
                  </a:lnTo>
                  <a:lnTo>
                    <a:pt x="83" y="230"/>
                  </a:lnTo>
                  <a:lnTo>
                    <a:pt x="83" y="228"/>
                  </a:lnTo>
                  <a:lnTo>
                    <a:pt x="80" y="228"/>
                  </a:lnTo>
                  <a:lnTo>
                    <a:pt x="80" y="230"/>
                  </a:lnTo>
                  <a:lnTo>
                    <a:pt x="83" y="230"/>
                  </a:lnTo>
                  <a:lnTo>
                    <a:pt x="80" y="230"/>
                  </a:lnTo>
                  <a:lnTo>
                    <a:pt x="80" y="233"/>
                  </a:lnTo>
                  <a:lnTo>
                    <a:pt x="80" y="235"/>
                  </a:lnTo>
                  <a:lnTo>
                    <a:pt x="80" y="237"/>
                  </a:lnTo>
                  <a:lnTo>
                    <a:pt x="80" y="240"/>
                  </a:lnTo>
                  <a:lnTo>
                    <a:pt x="80" y="237"/>
                  </a:lnTo>
                  <a:lnTo>
                    <a:pt x="78" y="237"/>
                  </a:lnTo>
                  <a:lnTo>
                    <a:pt x="76" y="237"/>
                  </a:lnTo>
                  <a:lnTo>
                    <a:pt x="76" y="235"/>
                  </a:lnTo>
                  <a:lnTo>
                    <a:pt x="76" y="233"/>
                  </a:lnTo>
                  <a:lnTo>
                    <a:pt x="76" y="235"/>
                  </a:lnTo>
                  <a:lnTo>
                    <a:pt x="78" y="235"/>
                  </a:lnTo>
                  <a:lnTo>
                    <a:pt x="78" y="233"/>
                  </a:lnTo>
                  <a:lnTo>
                    <a:pt x="76" y="233"/>
                  </a:lnTo>
                  <a:lnTo>
                    <a:pt x="78" y="233"/>
                  </a:lnTo>
                  <a:lnTo>
                    <a:pt x="78" y="230"/>
                  </a:lnTo>
                  <a:lnTo>
                    <a:pt x="76" y="230"/>
                  </a:lnTo>
                  <a:lnTo>
                    <a:pt x="78" y="230"/>
                  </a:lnTo>
                  <a:lnTo>
                    <a:pt x="76" y="230"/>
                  </a:lnTo>
                  <a:lnTo>
                    <a:pt x="76" y="228"/>
                  </a:lnTo>
                  <a:lnTo>
                    <a:pt x="78" y="228"/>
                  </a:lnTo>
                  <a:lnTo>
                    <a:pt x="76" y="228"/>
                  </a:lnTo>
                  <a:lnTo>
                    <a:pt x="76" y="225"/>
                  </a:lnTo>
                  <a:lnTo>
                    <a:pt x="76" y="223"/>
                  </a:lnTo>
                  <a:lnTo>
                    <a:pt x="73" y="223"/>
                  </a:lnTo>
                  <a:lnTo>
                    <a:pt x="76" y="223"/>
                  </a:lnTo>
                  <a:lnTo>
                    <a:pt x="73" y="223"/>
                  </a:lnTo>
                  <a:lnTo>
                    <a:pt x="73" y="221"/>
                  </a:lnTo>
                  <a:lnTo>
                    <a:pt x="73" y="218"/>
                  </a:lnTo>
                  <a:lnTo>
                    <a:pt x="71" y="218"/>
                  </a:lnTo>
                  <a:lnTo>
                    <a:pt x="69" y="218"/>
                  </a:lnTo>
                  <a:lnTo>
                    <a:pt x="69" y="216"/>
                  </a:lnTo>
                  <a:lnTo>
                    <a:pt x="69" y="214"/>
                  </a:lnTo>
                  <a:lnTo>
                    <a:pt x="69" y="211"/>
                  </a:lnTo>
                  <a:lnTo>
                    <a:pt x="69" y="214"/>
                  </a:lnTo>
                  <a:lnTo>
                    <a:pt x="69" y="211"/>
                  </a:lnTo>
                  <a:lnTo>
                    <a:pt x="69" y="214"/>
                  </a:lnTo>
                  <a:lnTo>
                    <a:pt x="69" y="211"/>
                  </a:lnTo>
                  <a:lnTo>
                    <a:pt x="66" y="211"/>
                  </a:lnTo>
                  <a:lnTo>
                    <a:pt x="66" y="214"/>
                  </a:lnTo>
                  <a:lnTo>
                    <a:pt x="64" y="214"/>
                  </a:lnTo>
                  <a:lnTo>
                    <a:pt x="62" y="214"/>
                  </a:lnTo>
                  <a:lnTo>
                    <a:pt x="62" y="216"/>
                  </a:lnTo>
                  <a:lnTo>
                    <a:pt x="62" y="218"/>
                  </a:lnTo>
                  <a:lnTo>
                    <a:pt x="62" y="221"/>
                  </a:lnTo>
                  <a:lnTo>
                    <a:pt x="62" y="223"/>
                  </a:lnTo>
                  <a:lnTo>
                    <a:pt x="64" y="223"/>
                  </a:lnTo>
                  <a:lnTo>
                    <a:pt x="62" y="223"/>
                  </a:lnTo>
                  <a:lnTo>
                    <a:pt x="62" y="225"/>
                  </a:lnTo>
                  <a:lnTo>
                    <a:pt x="59" y="225"/>
                  </a:lnTo>
                  <a:lnTo>
                    <a:pt x="59" y="223"/>
                  </a:lnTo>
                  <a:lnTo>
                    <a:pt x="57" y="223"/>
                  </a:lnTo>
                  <a:lnTo>
                    <a:pt x="54" y="223"/>
                  </a:lnTo>
                  <a:lnTo>
                    <a:pt x="54" y="221"/>
                  </a:lnTo>
                  <a:lnTo>
                    <a:pt x="54" y="218"/>
                  </a:lnTo>
                  <a:lnTo>
                    <a:pt x="54" y="216"/>
                  </a:lnTo>
                  <a:lnTo>
                    <a:pt x="54" y="218"/>
                  </a:lnTo>
                  <a:lnTo>
                    <a:pt x="54" y="216"/>
                  </a:lnTo>
                  <a:lnTo>
                    <a:pt x="52" y="216"/>
                  </a:lnTo>
                  <a:lnTo>
                    <a:pt x="54" y="216"/>
                  </a:lnTo>
                  <a:lnTo>
                    <a:pt x="52" y="216"/>
                  </a:lnTo>
                  <a:lnTo>
                    <a:pt x="52" y="214"/>
                  </a:lnTo>
                  <a:lnTo>
                    <a:pt x="52" y="211"/>
                  </a:lnTo>
                  <a:lnTo>
                    <a:pt x="50" y="211"/>
                  </a:lnTo>
                  <a:lnTo>
                    <a:pt x="50" y="209"/>
                  </a:lnTo>
                  <a:lnTo>
                    <a:pt x="50" y="206"/>
                  </a:lnTo>
                  <a:lnTo>
                    <a:pt x="50" y="204"/>
                  </a:lnTo>
                  <a:lnTo>
                    <a:pt x="52" y="204"/>
                  </a:lnTo>
                  <a:lnTo>
                    <a:pt x="52" y="202"/>
                  </a:lnTo>
                  <a:lnTo>
                    <a:pt x="54" y="202"/>
                  </a:lnTo>
                  <a:lnTo>
                    <a:pt x="54" y="199"/>
                  </a:lnTo>
                  <a:lnTo>
                    <a:pt x="54" y="202"/>
                  </a:lnTo>
                  <a:lnTo>
                    <a:pt x="54" y="199"/>
                  </a:lnTo>
                  <a:lnTo>
                    <a:pt x="54" y="197"/>
                  </a:lnTo>
                  <a:lnTo>
                    <a:pt x="54" y="195"/>
                  </a:lnTo>
                  <a:lnTo>
                    <a:pt x="52" y="195"/>
                  </a:lnTo>
                  <a:lnTo>
                    <a:pt x="52" y="192"/>
                  </a:lnTo>
                  <a:lnTo>
                    <a:pt x="50" y="190"/>
                  </a:lnTo>
                  <a:lnTo>
                    <a:pt x="50" y="187"/>
                  </a:lnTo>
                  <a:lnTo>
                    <a:pt x="47" y="187"/>
                  </a:lnTo>
                  <a:lnTo>
                    <a:pt x="47" y="185"/>
                  </a:lnTo>
                  <a:lnTo>
                    <a:pt x="45" y="185"/>
                  </a:lnTo>
                  <a:lnTo>
                    <a:pt x="43" y="185"/>
                  </a:lnTo>
                  <a:lnTo>
                    <a:pt x="43" y="183"/>
                  </a:lnTo>
                  <a:lnTo>
                    <a:pt x="43" y="180"/>
                  </a:lnTo>
                  <a:lnTo>
                    <a:pt x="40" y="178"/>
                  </a:lnTo>
                  <a:lnTo>
                    <a:pt x="38" y="178"/>
                  </a:lnTo>
                  <a:lnTo>
                    <a:pt x="38" y="176"/>
                  </a:lnTo>
                  <a:lnTo>
                    <a:pt x="35" y="176"/>
                  </a:lnTo>
                  <a:lnTo>
                    <a:pt x="35" y="173"/>
                  </a:lnTo>
                  <a:lnTo>
                    <a:pt x="35" y="171"/>
                  </a:lnTo>
                  <a:lnTo>
                    <a:pt x="35" y="173"/>
                  </a:lnTo>
                  <a:lnTo>
                    <a:pt x="38" y="173"/>
                  </a:lnTo>
                  <a:lnTo>
                    <a:pt x="38" y="171"/>
                  </a:lnTo>
                  <a:lnTo>
                    <a:pt x="40" y="171"/>
                  </a:lnTo>
                  <a:lnTo>
                    <a:pt x="40" y="168"/>
                  </a:lnTo>
                  <a:lnTo>
                    <a:pt x="43" y="168"/>
                  </a:lnTo>
                  <a:lnTo>
                    <a:pt x="40" y="168"/>
                  </a:lnTo>
                  <a:lnTo>
                    <a:pt x="43" y="168"/>
                  </a:lnTo>
                  <a:lnTo>
                    <a:pt x="43" y="166"/>
                  </a:lnTo>
                  <a:lnTo>
                    <a:pt x="43" y="164"/>
                  </a:lnTo>
                  <a:lnTo>
                    <a:pt x="43" y="161"/>
                  </a:lnTo>
                  <a:close/>
                  <a:moveTo>
                    <a:pt x="123" y="178"/>
                  </a:moveTo>
                  <a:lnTo>
                    <a:pt x="123" y="176"/>
                  </a:lnTo>
                  <a:lnTo>
                    <a:pt x="121" y="176"/>
                  </a:lnTo>
                  <a:lnTo>
                    <a:pt x="123" y="176"/>
                  </a:lnTo>
                  <a:lnTo>
                    <a:pt x="121" y="176"/>
                  </a:lnTo>
                  <a:lnTo>
                    <a:pt x="121" y="173"/>
                  </a:lnTo>
                  <a:lnTo>
                    <a:pt x="121" y="176"/>
                  </a:lnTo>
                  <a:lnTo>
                    <a:pt x="121" y="173"/>
                  </a:lnTo>
                  <a:lnTo>
                    <a:pt x="121" y="171"/>
                  </a:lnTo>
                  <a:lnTo>
                    <a:pt x="118" y="171"/>
                  </a:lnTo>
                  <a:lnTo>
                    <a:pt x="118" y="173"/>
                  </a:lnTo>
                  <a:lnTo>
                    <a:pt x="118" y="171"/>
                  </a:lnTo>
                  <a:lnTo>
                    <a:pt x="116" y="171"/>
                  </a:lnTo>
                  <a:lnTo>
                    <a:pt x="118" y="171"/>
                  </a:lnTo>
                  <a:lnTo>
                    <a:pt x="116" y="171"/>
                  </a:lnTo>
                  <a:lnTo>
                    <a:pt x="118" y="171"/>
                  </a:lnTo>
                  <a:lnTo>
                    <a:pt x="116" y="171"/>
                  </a:lnTo>
                  <a:lnTo>
                    <a:pt x="116" y="168"/>
                  </a:lnTo>
                  <a:lnTo>
                    <a:pt x="118" y="168"/>
                  </a:lnTo>
                  <a:lnTo>
                    <a:pt x="116" y="168"/>
                  </a:lnTo>
                  <a:lnTo>
                    <a:pt x="116" y="166"/>
                  </a:lnTo>
                  <a:lnTo>
                    <a:pt x="116" y="168"/>
                  </a:lnTo>
                  <a:lnTo>
                    <a:pt x="116" y="166"/>
                  </a:lnTo>
                  <a:lnTo>
                    <a:pt x="116" y="168"/>
                  </a:lnTo>
                  <a:lnTo>
                    <a:pt x="116" y="166"/>
                  </a:lnTo>
                  <a:lnTo>
                    <a:pt x="114" y="166"/>
                  </a:lnTo>
                  <a:lnTo>
                    <a:pt x="114" y="168"/>
                  </a:lnTo>
                  <a:lnTo>
                    <a:pt x="111" y="168"/>
                  </a:lnTo>
                  <a:lnTo>
                    <a:pt x="111" y="171"/>
                  </a:lnTo>
                  <a:lnTo>
                    <a:pt x="111" y="168"/>
                  </a:lnTo>
                  <a:lnTo>
                    <a:pt x="111" y="171"/>
                  </a:lnTo>
                  <a:lnTo>
                    <a:pt x="109" y="171"/>
                  </a:lnTo>
                  <a:lnTo>
                    <a:pt x="107" y="171"/>
                  </a:lnTo>
                  <a:lnTo>
                    <a:pt x="104" y="171"/>
                  </a:lnTo>
                  <a:lnTo>
                    <a:pt x="102" y="171"/>
                  </a:lnTo>
                  <a:lnTo>
                    <a:pt x="102" y="173"/>
                  </a:lnTo>
                  <a:lnTo>
                    <a:pt x="99" y="173"/>
                  </a:lnTo>
                  <a:lnTo>
                    <a:pt x="97" y="173"/>
                  </a:lnTo>
                  <a:lnTo>
                    <a:pt x="97" y="171"/>
                  </a:lnTo>
                  <a:lnTo>
                    <a:pt x="97" y="168"/>
                  </a:lnTo>
                  <a:lnTo>
                    <a:pt x="95" y="168"/>
                  </a:lnTo>
                  <a:lnTo>
                    <a:pt x="92" y="168"/>
                  </a:lnTo>
                  <a:lnTo>
                    <a:pt x="92" y="166"/>
                  </a:lnTo>
                  <a:lnTo>
                    <a:pt x="95" y="166"/>
                  </a:lnTo>
                  <a:lnTo>
                    <a:pt x="97" y="166"/>
                  </a:lnTo>
                  <a:lnTo>
                    <a:pt x="99" y="166"/>
                  </a:lnTo>
                  <a:lnTo>
                    <a:pt x="102" y="166"/>
                  </a:lnTo>
                  <a:lnTo>
                    <a:pt x="104" y="166"/>
                  </a:lnTo>
                  <a:lnTo>
                    <a:pt x="104" y="164"/>
                  </a:lnTo>
                  <a:lnTo>
                    <a:pt x="104" y="161"/>
                  </a:lnTo>
                  <a:lnTo>
                    <a:pt x="104" y="164"/>
                  </a:lnTo>
                  <a:lnTo>
                    <a:pt x="104" y="161"/>
                  </a:lnTo>
                  <a:lnTo>
                    <a:pt x="102" y="161"/>
                  </a:lnTo>
                  <a:lnTo>
                    <a:pt x="102" y="159"/>
                  </a:lnTo>
                  <a:lnTo>
                    <a:pt x="99" y="161"/>
                  </a:lnTo>
                  <a:lnTo>
                    <a:pt x="99" y="159"/>
                  </a:lnTo>
                  <a:lnTo>
                    <a:pt x="99" y="161"/>
                  </a:lnTo>
                  <a:lnTo>
                    <a:pt x="99" y="159"/>
                  </a:lnTo>
                  <a:lnTo>
                    <a:pt x="97" y="159"/>
                  </a:lnTo>
                  <a:lnTo>
                    <a:pt x="95" y="159"/>
                  </a:lnTo>
                  <a:lnTo>
                    <a:pt x="97" y="159"/>
                  </a:lnTo>
                  <a:lnTo>
                    <a:pt x="97" y="161"/>
                  </a:lnTo>
                  <a:lnTo>
                    <a:pt x="95" y="161"/>
                  </a:lnTo>
                  <a:lnTo>
                    <a:pt x="95" y="159"/>
                  </a:lnTo>
                  <a:lnTo>
                    <a:pt x="92" y="159"/>
                  </a:lnTo>
                  <a:lnTo>
                    <a:pt x="95" y="159"/>
                  </a:lnTo>
                  <a:lnTo>
                    <a:pt x="92" y="159"/>
                  </a:lnTo>
                  <a:lnTo>
                    <a:pt x="90" y="159"/>
                  </a:lnTo>
                  <a:lnTo>
                    <a:pt x="90" y="157"/>
                  </a:lnTo>
                  <a:lnTo>
                    <a:pt x="88" y="157"/>
                  </a:lnTo>
                  <a:lnTo>
                    <a:pt x="88" y="154"/>
                  </a:lnTo>
                  <a:lnTo>
                    <a:pt x="88" y="152"/>
                  </a:lnTo>
                  <a:lnTo>
                    <a:pt x="85" y="152"/>
                  </a:lnTo>
                  <a:lnTo>
                    <a:pt x="85" y="154"/>
                  </a:lnTo>
                  <a:lnTo>
                    <a:pt x="85" y="152"/>
                  </a:lnTo>
                  <a:lnTo>
                    <a:pt x="85" y="154"/>
                  </a:lnTo>
                  <a:lnTo>
                    <a:pt x="85" y="152"/>
                  </a:lnTo>
                  <a:lnTo>
                    <a:pt x="85" y="154"/>
                  </a:lnTo>
                  <a:lnTo>
                    <a:pt x="83" y="154"/>
                  </a:lnTo>
                  <a:lnTo>
                    <a:pt x="85" y="154"/>
                  </a:lnTo>
                  <a:lnTo>
                    <a:pt x="83" y="157"/>
                  </a:lnTo>
                  <a:lnTo>
                    <a:pt x="83" y="154"/>
                  </a:lnTo>
                  <a:lnTo>
                    <a:pt x="80" y="154"/>
                  </a:lnTo>
                  <a:lnTo>
                    <a:pt x="83" y="154"/>
                  </a:lnTo>
                  <a:lnTo>
                    <a:pt x="80" y="154"/>
                  </a:lnTo>
                  <a:lnTo>
                    <a:pt x="80" y="152"/>
                  </a:lnTo>
                  <a:lnTo>
                    <a:pt x="80" y="149"/>
                  </a:lnTo>
                  <a:lnTo>
                    <a:pt x="78" y="149"/>
                  </a:lnTo>
                  <a:lnTo>
                    <a:pt x="78" y="152"/>
                  </a:lnTo>
                  <a:lnTo>
                    <a:pt x="76" y="152"/>
                  </a:lnTo>
                  <a:lnTo>
                    <a:pt x="78" y="152"/>
                  </a:lnTo>
                  <a:lnTo>
                    <a:pt x="78" y="154"/>
                  </a:lnTo>
                  <a:lnTo>
                    <a:pt x="76" y="154"/>
                  </a:lnTo>
                  <a:lnTo>
                    <a:pt x="73" y="154"/>
                  </a:lnTo>
                  <a:lnTo>
                    <a:pt x="73" y="152"/>
                  </a:lnTo>
                  <a:lnTo>
                    <a:pt x="73" y="154"/>
                  </a:lnTo>
                  <a:lnTo>
                    <a:pt x="71" y="152"/>
                  </a:lnTo>
                  <a:lnTo>
                    <a:pt x="71" y="154"/>
                  </a:lnTo>
                  <a:lnTo>
                    <a:pt x="69" y="154"/>
                  </a:lnTo>
                  <a:lnTo>
                    <a:pt x="69" y="152"/>
                  </a:lnTo>
                  <a:lnTo>
                    <a:pt x="66" y="152"/>
                  </a:lnTo>
                  <a:lnTo>
                    <a:pt x="64" y="152"/>
                  </a:lnTo>
                  <a:lnTo>
                    <a:pt x="62" y="152"/>
                  </a:lnTo>
                  <a:lnTo>
                    <a:pt x="59" y="152"/>
                  </a:lnTo>
                  <a:lnTo>
                    <a:pt x="57" y="152"/>
                  </a:lnTo>
                  <a:lnTo>
                    <a:pt x="57" y="154"/>
                  </a:lnTo>
                  <a:lnTo>
                    <a:pt x="54" y="154"/>
                  </a:lnTo>
                  <a:lnTo>
                    <a:pt x="52" y="154"/>
                  </a:lnTo>
                  <a:lnTo>
                    <a:pt x="50" y="154"/>
                  </a:lnTo>
                  <a:lnTo>
                    <a:pt x="50" y="157"/>
                  </a:lnTo>
                  <a:lnTo>
                    <a:pt x="50" y="154"/>
                  </a:lnTo>
                  <a:lnTo>
                    <a:pt x="50" y="157"/>
                  </a:lnTo>
                  <a:lnTo>
                    <a:pt x="47" y="157"/>
                  </a:lnTo>
                  <a:lnTo>
                    <a:pt x="47" y="154"/>
                  </a:lnTo>
                  <a:lnTo>
                    <a:pt x="45" y="154"/>
                  </a:lnTo>
                  <a:lnTo>
                    <a:pt x="47" y="154"/>
                  </a:lnTo>
                  <a:lnTo>
                    <a:pt x="47" y="157"/>
                  </a:lnTo>
                  <a:lnTo>
                    <a:pt x="47" y="154"/>
                  </a:lnTo>
                  <a:lnTo>
                    <a:pt x="47" y="152"/>
                  </a:lnTo>
                  <a:lnTo>
                    <a:pt x="45" y="152"/>
                  </a:lnTo>
                  <a:lnTo>
                    <a:pt x="45" y="154"/>
                  </a:lnTo>
                  <a:lnTo>
                    <a:pt x="45" y="152"/>
                  </a:lnTo>
                  <a:lnTo>
                    <a:pt x="45" y="149"/>
                  </a:lnTo>
                  <a:lnTo>
                    <a:pt x="43" y="152"/>
                  </a:lnTo>
                  <a:lnTo>
                    <a:pt x="43" y="149"/>
                  </a:lnTo>
                  <a:lnTo>
                    <a:pt x="43" y="147"/>
                  </a:lnTo>
                  <a:lnTo>
                    <a:pt x="43" y="149"/>
                  </a:lnTo>
                  <a:lnTo>
                    <a:pt x="43" y="152"/>
                  </a:lnTo>
                  <a:lnTo>
                    <a:pt x="40" y="152"/>
                  </a:lnTo>
                  <a:lnTo>
                    <a:pt x="40" y="154"/>
                  </a:lnTo>
                  <a:lnTo>
                    <a:pt x="38" y="154"/>
                  </a:lnTo>
                  <a:lnTo>
                    <a:pt x="40" y="157"/>
                  </a:lnTo>
                  <a:lnTo>
                    <a:pt x="40" y="154"/>
                  </a:lnTo>
                  <a:lnTo>
                    <a:pt x="43" y="154"/>
                  </a:lnTo>
                  <a:lnTo>
                    <a:pt x="43" y="157"/>
                  </a:lnTo>
                  <a:lnTo>
                    <a:pt x="40" y="154"/>
                  </a:lnTo>
                  <a:lnTo>
                    <a:pt x="40" y="157"/>
                  </a:lnTo>
                  <a:lnTo>
                    <a:pt x="38" y="157"/>
                  </a:lnTo>
                  <a:lnTo>
                    <a:pt x="38" y="154"/>
                  </a:lnTo>
                  <a:lnTo>
                    <a:pt x="38" y="157"/>
                  </a:lnTo>
                  <a:lnTo>
                    <a:pt x="35" y="157"/>
                  </a:lnTo>
                  <a:lnTo>
                    <a:pt x="35" y="154"/>
                  </a:lnTo>
                  <a:lnTo>
                    <a:pt x="35" y="152"/>
                  </a:lnTo>
                  <a:lnTo>
                    <a:pt x="35" y="149"/>
                  </a:lnTo>
                  <a:lnTo>
                    <a:pt x="35" y="152"/>
                  </a:lnTo>
                  <a:lnTo>
                    <a:pt x="35" y="149"/>
                  </a:lnTo>
                  <a:lnTo>
                    <a:pt x="35" y="152"/>
                  </a:lnTo>
                  <a:lnTo>
                    <a:pt x="35" y="149"/>
                  </a:lnTo>
                  <a:lnTo>
                    <a:pt x="35" y="147"/>
                  </a:lnTo>
                  <a:lnTo>
                    <a:pt x="35" y="149"/>
                  </a:lnTo>
                  <a:lnTo>
                    <a:pt x="35" y="147"/>
                  </a:lnTo>
                  <a:lnTo>
                    <a:pt x="33" y="147"/>
                  </a:lnTo>
                  <a:lnTo>
                    <a:pt x="35" y="147"/>
                  </a:lnTo>
                  <a:lnTo>
                    <a:pt x="33" y="147"/>
                  </a:lnTo>
                  <a:lnTo>
                    <a:pt x="35" y="147"/>
                  </a:lnTo>
                  <a:lnTo>
                    <a:pt x="33" y="147"/>
                  </a:lnTo>
                  <a:lnTo>
                    <a:pt x="35" y="147"/>
                  </a:lnTo>
                  <a:lnTo>
                    <a:pt x="35" y="145"/>
                  </a:lnTo>
                  <a:lnTo>
                    <a:pt x="33" y="145"/>
                  </a:lnTo>
                  <a:lnTo>
                    <a:pt x="33" y="147"/>
                  </a:lnTo>
                  <a:lnTo>
                    <a:pt x="33" y="145"/>
                  </a:lnTo>
                  <a:lnTo>
                    <a:pt x="31" y="145"/>
                  </a:lnTo>
                  <a:lnTo>
                    <a:pt x="33" y="145"/>
                  </a:lnTo>
                  <a:lnTo>
                    <a:pt x="31" y="145"/>
                  </a:lnTo>
                  <a:lnTo>
                    <a:pt x="33" y="145"/>
                  </a:lnTo>
                  <a:lnTo>
                    <a:pt x="33" y="142"/>
                  </a:lnTo>
                  <a:lnTo>
                    <a:pt x="31" y="142"/>
                  </a:lnTo>
                  <a:lnTo>
                    <a:pt x="31" y="140"/>
                  </a:lnTo>
                  <a:lnTo>
                    <a:pt x="28" y="140"/>
                  </a:lnTo>
                  <a:lnTo>
                    <a:pt x="28" y="138"/>
                  </a:lnTo>
                  <a:lnTo>
                    <a:pt x="28" y="140"/>
                  </a:lnTo>
                  <a:lnTo>
                    <a:pt x="28" y="138"/>
                  </a:lnTo>
                  <a:lnTo>
                    <a:pt x="28" y="135"/>
                  </a:lnTo>
                  <a:lnTo>
                    <a:pt x="28" y="133"/>
                  </a:lnTo>
                  <a:lnTo>
                    <a:pt x="26" y="133"/>
                  </a:lnTo>
                  <a:lnTo>
                    <a:pt x="26" y="135"/>
                  </a:lnTo>
                  <a:lnTo>
                    <a:pt x="24" y="135"/>
                  </a:lnTo>
                  <a:lnTo>
                    <a:pt x="24" y="133"/>
                  </a:lnTo>
                  <a:lnTo>
                    <a:pt x="24" y="130"/>
                  </a:lnTo>
                  <a:lnTo>
                    <a:pt x="21" y="130"/>
                  </a:lnTo>
                  <a:lnTo>
                    <a:pt x="21" y="133"/>
                  </a:lnTo>
                  <a:lnTo>
                    <a:pt x="21" y="130"/>
                  </a:lnTo>
                  <a:lnTo>
                    <a:pt x="21" y="133"/>
                  </a:lnTo>
                  <a:lnTo>
                    <a:pt x="21" y="130"/>
                  </a:lnTo>
                  <a:lnTo>
                    <a:pt x="21" y="133"/>
                  </a:lnTo>
                  <a:lnTo>
                    <a:pt x="24" y="133"/>
                  </a:lnTo>
                  <a:lnTo>
                    <a:pt x="21" y="133"/>
                  </a:lnTo>
                  <a:lnTo>
                    <a:pt x="21" y="135"/>
                  </a:lnTo>
                  <a:lnTo>
                    <a:pt x="24" y="135"/>
                  </a:lnTo>
                  <a:lnTo>
                    <a:pt x="24" y="138"/>
                  </a:lnTo>
                  <a:lnTo>
                    <a:pt x="21" y="138"/>
                  </a:lnTo>
                  <a:lnTo>
                    <a:pt x="24" y="138"/>
                  </a:lnTo>
                  <a:lnTo>
                    <a:pt x="21" y="138"/>
                  </a:lnTo>
                  <a:lnTo>
                    <a:pt x="24" y="138"/>
                  </a:lnTo>
                  <a:lnTo>
                    <a:pt x="21" y="140"/>
                  </a:lnTo>
                  <a:lnTo>
                    <a:pt x="24" y="140"/>
                  </a:lnTo>
                  <a:lnTo>
                    <a:pt x="21" y="140"/>
                  </a:lnTo>
                  <a:lnTo>
                    <a:pt x="21" y="142"/>
                  </a:lnTo>
                  <a:lnTo>
                    <a:pt x="21" y="140"/>
                  </a:lnTo>
                  <a:lnTo>
                    <a:pt x="21" y="142"/>
                  </a:lnTo>
                  <a:lnTo>
                    <a:pt x="21" y="140"/>
                  </a:lnTo>
                  <a:lnTo>
                    <a:pt x="21" y="142"/>
                  </a:lnTo>
                  <a:lnTo>
                    <a:pt x="19" y="142"/>
                  </a:lnTo>
                  <a:lnTo>
                    <a:pt x="19" y="140"/>
                  </a:lnTo>
                  <a:lnTo>
                    <a:pt x="19" y="142"/>
                  </a:lnTo>
                  <a:lnTo>
                    <a:pt x="16" y="142"/>
                  </a:lnTo>
                  <a:lnTo>
                    <a:pt x="16" y="145"/>
                  </a:lnTo>
                  <a:lnTo>
                    <a:pt x="16" y="142"/>
                  </a:lnTo>
                  <a:lnTo>
                    <a:pt x="16" y="140"/>
                  </a:lnTo>
                  <a:lnTo>
                    <a:pt x="16" y="138"/>
                  </a:lnTo>
                  <a:lnTo>
                    <a:pt x="16" y="135"/>
                  </a:lnTo>
                  <a:lnTo>
                    <a:pt x="19" y="135"/>
                  </a:lnTo>
                  <a:lnTo>
                    <a:pt x="19" y="133"/>
                  </a:lnTo>
                  <a:lnTo>
                    <a:pt x="21" y="133"/>
                  </a:lnTo>
                  <a:lnTo>
                    <a:pt x="21" y="130"/>
                  </a:lnTo>
                  <a:lnTo>
                    <a:pt x="24" y="130"/>
                  </a:lnTo>
                  <a:lnTo>
                    <a:pt x="26" y="130"/>
                  </a:lnTo>
                  <a:lnTo>
                    <a:pt x="24" y="130"/>
                  </a:lnTo>
                  <a:lnTo>
                    <a:pt x="24" y="128"/>
                  </a:lnTo>
                  <a:lnTo>
                    <a:pt x="24" y="126"/>
                  </a:lnTo>
                  <a:lnTo>
                    <a:pt x="24" y="128"/>
                  </a:lnTo>
                  <a:lnTo>
                    <a:pt x="26" y="128"/>
                  </a:lnTo>
                  <a:lnTo>
                    <a:pt x="26" y="126"/>
                  </a:lnTo>
                  <a:lnTo>
                    <a:pt x="28" y="126"/>
                  </a:lnTo>
                  <a:lnTo>
                    <a:pt x="26" y="126"/>
                  </a:lnTo>
                  <a:lnTo>
                    <a:pt x="26" y="128"/>
                  </a:lnTo>
                  <a:lnTo>
                    <a:pt x="28" y="128"/>
                  </a:lnTo>
                  <a:lnTo>
                    <a:pt x="26" y="128"/>
                  </a:lnTo>
                  <a:lnTo>
                    <a:pt x="28" y="128"/>
                  </a:lnTo>
                  <a:lnTo>
                    <a:pt x="28" y="126"/>
                  </a:lnTo>
                  <a:lnTo>
                    <a:pt x="28" y="128"/>
                  </a:lnTo>
                  <a:lnTo>
                    <a:pt x="31" y="128"/>
                  </a:lnTo>
                  <a:lnTo>
                    <a:pt x="31" y="126"/>
                  </a:lnTo>
                  <a:lnTo>
                    <a:pt x="31" y="128"/>
                  </a:lnTo>
                  <a:lnTo>
                    <a:pt x="33" y="128"/>
                  </a:lnTo>
                  <a:lnTo>
                    <a:pt x="33" y="130"/>
                  </a:lnTo>
                  <a:lnTo>
                    <a:pt x="35" y="130"/>
                  </a:lnTo>
                  <a:lnTo>
                    <a:pt x="35" y="128"/>
                  </a:lnTo>
                  <a:lnTo>
                    <a:pt x="38" y="130"/>
                  </a:lnTo>
                  <a:lnTo>
                    <a:pt x="38" y="128"/>
                  </a:lnTo>
                  <a:lnTo>
                    <a:pt x="35" y="128"/>
                  </a:lnTo>
                  <a:lnTo>
                    <a:pt x="35" y="126"/>
                  </a:lnTo>
                  <a:lnTo>
                    <a:pt x="35" y="123"/>
                  </a:lnTo>
                  <a:lnTo>
                    <a:pt x="35" y="121"/>
                  </a:lnTo>
                  <a:lnTo>
                    <a:pt x="33" y="121"/>
                  </a:lnTo>
                  <a:lnTo>
                    <a:pt x="33" y="123"/>
                  </a:lnTo>
                  <a:lnTo>
                    <a:pt x="33" y="121"/>
                  </a:lnTo>
                  <a:lnTo>
                    <a:pt x="33" y="123"/>
                  </a:lnTo>
                  <a:lnTo>
                    <a:pt x="33" y="121"/>
                  </a:lnTo>
                  <a:lnTo>
                    <a:pt x="33" y="123"/>
                  </a:lnTo>
                  <a:lnTo>
                    <a:pt x="31" y="123"/>
                  </a:lnTo>
                  <a:lnTo>
                    <a:pt x="33" y="123"/>
                  </a:lnTo>
                  <a:lnTo>
                    <a:pt x="31" y="123"/>
                  </a:lnTo>
                  <a:lnTo>
                    <a:pt x="28" y="123"/>
                  </a:lnTo>
                  <a:lnTo>
                    <a:pt x="26" y="123"/>
                  </a:lnTo>
                  <a:lnTo>
                    <a:pt x="26" y="121"/>
                  </a:lnTo>
                  <a:lnTo>
                    <a:pt x="24" y="121"/>
                  </a:lnTo>
                  <a:lnTo>
                    <a:pt x="24" y="123"/>
                  </a:lnTo>
                  <a:lnTo>
                    <a:pt x="24" y="126"/>
                  </a:lnTo>
                  <a:lnTo>
                    <a:pt x="26" y="126"/>
                  </a:lnTo>
                  <a:lnTo>
                    <a:pt x="24" y="126"/>
                  </a:lnTo>
                  <a:lnTo>
                    <a:pt x="21" y="126"/>
                  </a:lnTo>
                  <a:lnTo>
                    <a:pt x="21" y="123"/>
                  </a:lnTo>
                  <a:lnTo>
                    <a:pt x="21" y="121"/>
                  </a:lnTo>
                  <a:lnTo>
                    <a:pt x="19" y="121"/>
                  </a:lnTo>
                  <a:lnTo>
                    <a:pt x="19" y="119"/>
                  </a:lnTo>
                  <a:lnTo>
                    <a:pt x="16" y="119"/>
                  </a:lnTo>
                  <a:lnTo>
                    <a:pt x="16" y="116"/>
                  </a:lnTo>
                  <a:lnTo>
                    <a:pt x="14" y="116"/>
                  </a:lnTo>
                  <a:lnTo>
                    <a:pt x="14" y="114"/>
                  </a:lnTo>
                  <a:lnTo>
                    <a:pt x="14" y="111"/>
                  </a:lnTo>
                  <a:lnTo>
                    <a:pt x="12" y="111"/>
                  </a:lnTo>
                  <a:lnTo>
                    <a:pt x="9" y="111"/>
                  </a:lnTo>
                  <a:lnTo>
                    <a:pt x="9" y="109"/>
                  </a:lnTo>
                  <a:lnTo>
                    <a:pt x="7" y="109"/>
                  </a:lnTo>
                  <a:lnTo>
                    <a:pt x="7" y="107"/>
                  </a:lnTo>
                  <a:lnTo>
                    <a:pt x="7" y="104"/>
                  </a:lnTo>
                  <a:lnTo>
                    <a:pt x="5" y="104"/>
                  </a:lnTo>
                  <a:lnTo>
                    <a:pt x="7" y="104"/>
                  </a:lnTo>
                  <a:lnTo>
                    <a:pt x="7" y="102"/>
                  </a:lnTo>
                  <a:lnTo>
                    <a:pt x="7" y="104"/>
                  </a:lnTo>
                  <a:lnTo>
                    <a:pt x="7" y="102"/>
                  </a:lnTo>
                  <a:lnTo>
                    <a:pt x="5" y="102"/>
                  </a:lnTo>
                  <a:lnTo>
                    <a:pt x="7" y="102"/>
                  </a:lnTo>
                  <a:lnTo>
                    <a:pt x="5" y="102"/>
                  </a:lnTo>
                  <a:lnTo>
                    <a:pt x="5" y="100"/>
                  </a:lnTo>
                  <a:lnTo>
                    <a:pt x="5" y="102"/>
                  </a:lnTo>
                  <a:lnTo>
                    <a:pt x="5" y="100"/>
                  </a:lnTo>
                  <a:lnTo>
                    <a:pt x="2" y="100"/>
                  </a:lnTo>
                  <a:lnTo>
                    <a:pt x="5" y="100"/>
                  </a:lnTo>
                  <a:lnTo>
                    <a:pt x="5" y="97"/>
                  </a:lnTo>
                  <a:lnTo>
                    <a:pt x="2" y="97"/>
                  </a:lnTo>
                  <a:lnTo>
                    <a:pt x="5" y="97"/>
                  </a:lnTo>
                  <a:lnTo>
                    <a:pt x="2" y="97"/>
                  </a:lnTo>
                  <a:lnTo>
                    <a:pt x="5" y="97"/>
                  </a:lnTo>
                  <a:lnTo>
                    <a:pt x="5" y="95"/>
                  </a:lnTo>
                  <a:lnTo>
                    <a:pt x="2" y="95"/>
                  </a:lnTo>
                  <a:lnTo>
                    <a:pt x="0" y="95"/>
                  </a:lnTo>
                  <a:lnTo>
                    <a:pt x="0" y="92"/>
                  </a:lnTo>
                  <a:lnTo>
                    <a:pt x="0" y="95"/>
                  </a:lnTo>
                  <a:lnTo>
                    <a:pt x="0" y="92"/>
                  </a:lnTo>
                  <a:lnTo>
                    <a:pt x="0" y="95"/>
                  </a:lnTo>
                  <a:lnTo>
                    <a:pt x="0" y="92"/>
                  </a:lnTo>
                  <a:lnTo>
                    <a:pt x="2" y="92"/>
                  </a:lnTo>
                  <a:lnTo>
                    <a:pt x="2" y="95"/>
                  </a:lnTo>
                  <a:lnTo>
                    <a:pt x="5" y="95"/>
                  </a:lnTo>
                  <a:lnTo>
                    <a:pt x="7" y="95"/>
                  </a:lnTo>
                  <a:lnTo>
                    <a:pt x="5" y="95"/>
                  </a:lnTo>
                  <a:lnTo>
                    <a:pt x="7" y="95"/>
                  </a:lnTo>
                  <a:lnTo>
                    <a:pt x="7" y="92"/>
                  </a:lnTo>
                  <a:lnTo>
                    <a:pt x="7" y="95"/>
                  </a:lnTo>
                  <a:lnTo>
                    <a:pt x="7" y="92"/>
                  </a:lnTo>
                  <a:lnTo>
                    <a:pt x="9" y="92"/>
                  </a:lnTo>
                  <a:lnTo>
                    <a:pt x="9" y="90"/>
                  </a:lnTo>
                  <a:lnTo>
                    <a:pt x="7" y="90"/>
                  </a:lnTo>
                  <a:lnTo>
                    <a:pt x="9" y="90"/>
                  </a:lnTo>
                  <a:lnTo>
                    <a:pt x="7" y="88"/>
                  </a:lnTo>
                  <a:lnTo>
                    <a:pt x="9" y="88"/>
                  </a:lnTo>
                  <a:lnTo>
                    <a:pt x="12" y="90"/>
                  </a:lnTo>
                  <a:lnTo>
                    <a:pt x="12" y="88"/>
                  </a:lnTo>
                  <a:lnTo>
                    <a:pt x="12" y="85"/>
                  </a:lnTo>
                  <a:lnTo>
                    <a:pt x="9" y="83"/>
                  </a:lnTo>
                  <a:lnTo>
                    <a:pt x="9" y="81"/>
                  </a:lnTo>
                  <a:lnTo>
                    <a:pt x="9" y="78"/>
                  </a:lnTo>
                  <a:lnTo>
                    <a:pt x="9" y="81"/>
                  </a:lnTo>
                  <a:lnTo>
                    <a:pt x="12" y="81"/>
                  </a:lnTo>
                  <a:lnTo>
                    <a:pt x="12" y="78"/>
                  </a:lnTo>
                  <a:lnTo>
                    <a:pt x="12" y="76"/>
                  </a:lnTo>
                  <a:lnTo>
                    <a:pt x="14" y="76"/>
                  </a:lnTo>
                  <a:lnTo>
                    <a:pt x="16" y="76"/>
                  </a:lnTo>
                  <a:lnTo>
                    <a:pt x="19" y="76"/>
                  </a:lnTo>
                  <a:lnTo>
                    <a:pt x="21" y="76"/>
                  </a:lnTo>
                  <a:lnTo>
                    <a:pt x="21" y="73"/>
                  </a:lnTo>
                  <a:lnTo>
                    <a:pt x="21" y="71"/>
                  </a:lnTo>
                  <a:lnTo>
                    <a:pt x="21" y="69"/>
                  </a:lnTo>
                  <a:lnTo>
                    <a:pt x="21" y="66"/>
                  </a:lnTo>
                  <a:lnTo>
                    <a:pt x="24" y="66"/>
                  </a:lnTo>
                  <a:lnTo>
                    <a:pt x="24" y="64"/>
                  </a:lnTo>
                  <a:lnTo>
                    <a:pt x="24" y="61"/>
                  </a:lnTo>
                  <a:lnTo>
                    <a:pt x="24" y="59"/>
                  </a:lnTo>
                  <a:lnTo>
                    <a:pt x="26" y="59"/>
                  </a:lnTo>
                  <a:lnTo>
                    <a:pt x="26" y="57"/>
                  </a:lnTo>
                  <a:lnTo>
                    <a:pt x="28" y="57"/>
                  </a:lnTo>
                  <a:lnTo>
                    <a:pt x="28" y="59"/>
                  </a:lnTo>
                  <a:lnTo>
                    <a:pt x="31" y="59"/>
                  </a:lnTo>
                  <a:lnTo>
                    <a:pt x="31" y="57"/>
                  </a:lnTo>
                  <a:lnTo>
                    <a:pt x="31" y="54"/>
                  </a:lnTo>
                  <a:lnTo>
                    <a:pt x="33" y="54"/>
                  </a:lnTo>
                  <a:lnTo>
                    <a:pt x="33" y="52"/>
                  </a:lnTo>
                  <a:lnTo>
                    <a:pt x="33" y="50"/>
                  </a:lnTo>
                  <a:lnTo>
                    <a:pt x="33" y="47"/>
                  </a:lnTo>
                  <a:lnTo>
                    <a:pt x="31" y="47"/>
                  </a:lnTo>
                  <a:lnTo>
                    <a:pt x="31" y="45"/>
                  </a:lnTo>
                  <a:lnTo>
                    <a:pt x="31" y="42"/>
                  </a:lnTo>
                  <a:lnTo>
                    <a:pt x="31" y="40"/>
                  </a:lnTo>
                  <a:lnTo>
                    <a:pt x="35" y="40"/>
                  </a:lnTo>
                  <a:lnTo>
                    <a:pt x="38" y="40"/>
                  </a:lnTo>
                  <a:lnTo>
                    <a:pt x="40" y="40"/>
                  </a:lnTo>
                  <a:lnTo>
                    <a:pt x="43" y="40"/>
                  </a:lnTo>
                  <a:lnTo>
                    <a:pt x="45" y="38"/>
                  </a:lnTo>
                  <a:lnTo>
                    <a:pt x="47" y="38"/>
                  </a:lnTo>
                  <a:lnTo>
                    <a:pt x="50" y="38"/>
                  </a:lnTo>
                  <a:lnTo>
                    <a:pt x="50" y="40"/>
                  </a:lnTo>
                  <a:lnTo>
                    <a:pt x="52" y="40"/>
                  </a:lnTo>
                  <a:lnTo>
                    <a:pt x="52" y="38"/>
                  </a:lnTo>
                  <a:lnTo>
                    <a:pt x="54" y="38"/>
                  </a:lnTo>
                  <a:lnTo>
                    <a:pt x="54" y="35"/>
                  </a:lnTo>
                  <a:lnTo>
                    <a:pt x="54" y="38"/>
                  </a:lnTo>
                  <a:lnTo>
                    <a:pt x="57" y="38"/>
                  </a:lnTo>
                  <a:lnTo>
                    <a:pt x="57" y="35"/>
                  </a:lnTo>
                  <a:lnTo>
                    <a:pt x="59" y="35"/>
                  </a:lnTo>
                  <a:lnTo>
                    <a:pt x="57" y="35"/>
                  </a:lnTo>
                  <a:lnTo>
                    <a:pt x="59" y="35"/>
                  </a:lnTo>
                  <a:lnTo>
                    <a:pt x="59" y="33"/>
                  </a:lnTo>
                  <a:lnTo>
                    <a:pt x="62" y="33"/>
                  </a:lnTo>
                  <a:lnTo>
                    <a:pt x="62" y="31"/>
                  </a:lnTo>
                  <a:lnTo>
                    <a:pt x="62" y="28"/>
                  </a:lnTo>
                  <a:lnTo>
                    <a:pt x="64" y="28"/>
                  </a:lnTo>
                  <a:lnTo>
                    <a:pt x="66" y="28"/>
                  </a:lnTo>
                  <a:lnTo>
                    <a:pt x="66" y="26"/>
                  </a:lnTo>
                  <a:lnTo>
                    <a:pt x="66" y="28"/>
                  </a:lnTo>
                  <a:lnTo>
                    <a:pt x="69" y="28"/>
                  </a:lnTo>
                  <a:lnTo>
                    <a:pt x="71" y="28"/>
                  </a:lnTo>
                  <a:lnTo>
                    <a:pt x="71" y="26"/>
                  </a:lnTo>
                  <a:lnTo>
                    <a:pt x="73" y="26"/>
                  </a:lnTo>
                  <a:lnTo>
                    <a:pt x="73" y="28"/>
                  </a:lnTo>
                  <a:lnTo>
                    <a:pt x="76" y="28"/>
                  </a:lnTo>
                  <a:lnTo>
                    <a:pt x="78" y="28"/>
                  </a:lnTo>
                  <a:lnTo>
                    <a:pt x="80" y="28"/>
                  </a:lnTo>
                  <a:lnTo>
                    <a:pt x="83" y="28"/>
                  </a:lnTo>
                  <a:lnTo>
                    <a:pt x="85" y="28"/>
                  </a:lnTo>
                  <a:lnTo>
                    <a:pt x="85" y="26"/>
                  </a:lnTo>
                  <a:lnTo>
                    <a:pt x="88" y="26"/>
                  </a:lnTo>
                  <a:lnTo>
                    <a:pt x="88" y="28"/>
                  </a:lnTo>
                  <a:lnTo>
                    <a:pt x="90" y="26"/>
                  </a:lnTo>
                  <a:lnTo>
                    <a:pt x="90" y="21"/>
                  </a:lnTo>
                  <a:lnTo>
                    <a:pt x="90" y="19"/>
                  </a:lnTo>
                  <a:lnTo>
                    <a:pt x="92" y="19"/>
                  </a:lnTo>
                  <a:lnTo>
                    <a:pt x="95" y="19"/>
                  </a:lnTo>
                  <a:lnTo>
                    <a:pt x="97" y="19"/>
                  </a:lnTo>
                  <a:lnTo>
                    <a:pt x="99" y="19"/>
                  </a:lnTo>
                  <a:lnTo>
                    <a:pt x="102" y="19"/>
                  </a:lnTo>
                  <a:lnTo>
                    <a:pt x="104" y="19"/>
                  </a:lnTo>
                  <a:lnTo>
                    <a:pt x="104" y="16"/>
                  </a:lnTo>
                  <a:lnTo>
                    <a:pt x="107" y="16"/>
                  </a:lnTo>
                  <a:lnTo>
                    <a:pt x="109" y="16"/>
                  </a:lnTo>
                  <a:lnTo>
                    <a:pt x="111" y="16"/>
                  </a:lnTo>
                  <a:lnTo>
                    <a:pt x="114" y="16"/>
                  </a:lnTo>
                  <a:lnTo>
                    <a:pt x="116" y="16"/>
                  </a:lnTo>
                  <a:lnTo>
                    <a:pt x="118" y="16"/>
                  </a:lnTo>
                  <a:lnTo>
                    <a:pt x="121" y="16"/>
                  </a:lnTo>
                  <a:lnTo>
                    <a:pt x="123" y="16"/>
                  </a:lnTo>
                  <a:lnTo>
                    <a:pt x="123" y="14"/>
                  </a:lnTo>
                  <a:lnTo>
                    <a:pt x="126" y="14"/>
                  </a:lnTo>
                  <a:lnTo>
                    <a:pt x="128" y="14"/>
                  </a:lnTo>
                  <a:lnTo>
                    <a:pt x="128" y="12"/>
                  </a:lnTo>
                  <a:lnTo>
                    <a:pt x="128" y="14"/>
                  </a:lnTo>
                  <a:lnTo>
                    <a:pt x="130" y="14"/>
                  </a:lnTo>
                  <a:lnTo>
                    <a:pt x="130" y="12"/>
                  </a:lnTo>
                  <a:lnTo>
                    <a:pt x="130" y="14"/>
                  </a:lnTo>
                  <a:lnTo>
                    <a:pt x="133" y="14"/>
                  </a:lnTo>
                  <a:lnTo>
                    <a:pt x="133" y="12"/>
                  </a:lnTo>
                  <a:lnTo>
                    <a:pt x="133" y="9"/>
                  </a:lnTo>
                  <a:lnTo>
                    <a:pt x="135" y="9"/>
                  </a:lnTo>
                  <a:lnTo>
                    <a:pt x="135" y="12"/>
                  </a:lnTo>
                  <a:lnTo>
                    <a:pt x="137" y="9"/>
                  </a:lnTo>
                  <a:lnTo>
                    <a:pt x="140" y="7"/>
                  </a:lnTo>
                  <a:lnTo>
                    <a:pt x="140" y="9"/>
                  </a:lnTo>
                  <a:lnTo>
                    <a:pt x="140" y="12"/>
                  </a:lnTo>
                  <a:lnTo>
                    <a:pt x="142" y="9"/>
                  </a:lnTo>
                  <a:lnTo>
                    <a:pt x="145" y="9"/>
                  </a:lnTo>
                  <a:lnTo>
                    <a:pt x="147" y="9"/>
                  </a:lnTo>
                  <a:lnTo>
                    <a:pt x="149" y="9"/>
                  </a:lnTo>
                  <a:lnTo>
                    <a:pt x="149" y="12"/>
                  </a:lnTo>
                  <a:lnTo>
                    <a:pt x="149" y="14"/>
                  </a:lnTo>
                  <a:lnTo>
                    <a:pt x="152" y="14"/>
                  </a:lnTo>
                  <a:lnTo>
                    <a:pt x="154" y="14"/>
                  </a:lnTo>
                  <a:lnTo>
                    <a:pt x="154" y="16"/>
                  </a:lnTo>
                  <a:lnTo>
                    <a:pt x="156" y="16"/>
                  </a:lnTo>
                  <a:lnTo>
                    <a:pt x="156" y="19"/>
                  </a:lnTo>
                  <a:lnTo>
                    <a:pt x="156" y="16"/>
                  </a:lnTo>
                  <a:lnTo>
                    <a:pt x="159" y="16"/>
                  </a:lnTo>
                  <a:lnTo>
                    <a:pt x="161" y="16"/>
                  </a:lnTo>
                  <a:lnTo>
                    <a:pt x="164" y="16"/>
                  </a:lnTo>
                  <a:lnTo>
                    <a:pt x="166" y="16"/>
                  </a:lnTo>
                  <a:lnTo>
                    <a:pt x="166" y="19"/>
                  </a:lnTo>
                  <a:lnTo>
                    <a:pt x="168" y="19"/>
                  </a:lnTo>
                  <a:lnTo>
                    <a:pt x="168" y="21"/>
                  </a:lnTo>
                  <a:lnTo>
                    <a:pt x="171" y="21"/>
                  </a:lnTo>
                  <a:lnTo>
                    <a:pt x="171" y="23"/>
                  </a:lnTo>
                  <a:lnTo>
                    <a:pt x="173" y="23"/>
                  </a:lnTo>
                  <a:lnTo>
                    <a:pt x="175" y="23"/>
                  </a:lnTo>
                  <a:lnTo>
                    <a:pt x="175" y="21"/>
                  </a:lnTo>
                  <a:lnTo>
                    <a:pt x="178" y="21"/>
                  </a:lnTo>
                  <a:lnTo>
                    <a:pt x="180" y="21"/>
                  </a:lnTo>
                  <a:lnTo>
                    <a:pt x="183" y="21"/>
                  </a:lnTo>
                  <a:lnTo>
                    <a:pt x="183" y="19"/>
                  </a:lnTo>
                  <a:lnTo>
                    <a:pt x="183" y="21"/>
                  </a:lnTo>
                  <a:lnTo>
                    <a:pt x="185" y="21"/>
                  </a:lnTo>
                  <a:lnTo>
                    <a:pt x="185" y="19"/>
                  </a:lnTo>
                  <a:lnTo>
                    <a:pt x="185" y="21"/>
                  </a:lnTo>
                  <a:lnTo>
                    <a:pt x="187" y="21"/>
                  </a:lnTo>
                  <a:lnTo>
                    <a:pt x="187" y="19"/>
                  </a:lnTo>
                  <a:lnTo>
                    <a:pt x="190" y="19"/>
                  </a:lnTo>
                  <a:lnTo>
                    <a:pt x="192" y="19"/>
                  </a:lnTo>
                  <a:lnTo>
                    <a:pt x="192" y="21"/>
                  </a:lnTo>
                  <a:lnTo>
                    <a:pt x="194" y="21"/>
                  </a:lnTo>
                  <a:lnTo>
                    <a:pt x="194" y="19"/>
                  </a:lnTo>
                  <a:lnTo>
                    <a:pt x="197" y="19"/>
                  </a:lnTo>
                  <a:lnTo>
                    <a:pt x="199" y="19"/>
                  </a:lnTo>
                  <a:lnTo>
                    <a:pt x="201" y="19"/>
                  </a:lnTo>
                  <a:lnTo>
                    <a:pt x="201" y="16"/>
                  </a:lnTo>
                  <a:lnTo>
                    <a:pt x="201" y="19"/>
                  </a:lnTo>
                  <a:lnTo>
                    <a:pt x="201" y="16"/>
                  </a:lnTo>
                  <a:lnTo>
                    <a:pt x="201" y="14"/>
                  </a:lnTo>
                  <a:lnTo>
                    <a:pt x="204" y="14"/>
                  </a:lnTo>
                  <a:lnTo>
                    <a:pt x="201" y="12"/>
                  </a:lnTo>
                  <a:lnTo>
                    <a:pt x="201" y="9"/>
                  </a:lnTo>
                  <a:lnTo>
                    <a:pt x="201" y="7"/>
                  </a:lnTo>
                  <a:lnTo>
                    <a:pt x="201" y="4"/>
                  </a:lnTo>
                  <a:lnTo>
                    <a:pt x="199" y="4"/>
                  </a:lnTo>
                  <a:lnTo>
                    <a:pt x="199" y="2"/>
                  </a:lnTo>
                  <a:lnTo>
                    <a:pt x="199" y="0"/>
                  </a:lnTo>
                  <a:lnTo>
                    <a:pt x="201" y="0"/>
                  </a:lnTo>
                  <a:lnTo>
                    <a:pt x="204" y="0"/>
                  </a:lnTo>
                  <a:lnTo>
                    <a:pt x="204" y="2"/>
                  </a:lnTo>
                  <a:lnTo>
                    <a:pt x="206" y="2"/>
                  </a:lnTo>
                  <a:lnTo>
                    <a:pt x="209" y="2"/>
                  </a:lnTo>
                  <a:lnTo>
                    <a:pt x="211" y="2"/>
                  </a:lnTo>
                  <a:lnTo>
                    <a:pt x="211" y="4"/>
                  </a:lnTo>
                  <a:lnTo>
                    <a:pt x="213" y="2"/>
                  </a:lnTo>
                  <a:lnTo>
                    <a:pt x="213" y="4"/>
                  </a:lnTo>
                  <a:lnTo>
                    <a:pt x="213" y="7"/>
                  </a:lnTo>
                  <a:lnTo>
                    <a:pt x="216" y="7"/>
                  </a:lnTo>
                  <a:lnTo>
                    <a:pt x="216" y="9"/>
                  </a:lnTo>
                  <a:lnTo>
                    <a:pt x="216" y="12"/>
                  </a:lnTo>
                  <a:lnTo>
                    <a:pt x="216" y="14"/>
                  </a:lnTo>
                  <a:lnTo>
                    <a:pt x="218" y="14"/>
                  </a:lnTo>
                  <a:lnTo>
                    <a:pt x="218" y="16"/>
                  </a:lnTo>
                  <a:lnTo>
                    <a:pt x="218" y="19"/>
                  </a:lnTo>
                  <a:lnTo>
                    <a:pt x="216" y="19"/>
                  </a:lnTo>
                  <a:lnTo>
                    <a:pt x="213" y="19"/>
                  </a:lnTo>
                  <a:lnTo>
                    <a:pt x="213" y="21"/>
                  </a:lnTo>
                  <a:lnTo>
                    <a:pt x="211" y="21"/>
                  </a:lnTo>
                  <a:lnTo>
                    <a:pt x="211" y="23"/>
                  </a:lnTo>
                  <a:lnTo>
                    <a:pt x="209" y="23"/>
                  </a:lnTo>
                  <a:lnTo>
                    <a:pt x="209" y="21"/>
                  </a:lnTo>
                  <a:lnTo>
                    <a:pt x="206" y="23"/>
                  </a:lnTo>
                  <a:lnTo>
                    <a:pt x="206" y="26"/>
                  </a:lnTo>
                  <a:lnTo>
                    <a:pt x="209" y="28"/>
                  </a:lnTo>
                  <a:lnTo>
                    <a:pt x="206" y="28"/>
                  </a:lnTo>
                  <a:lnTo>
                    <a:pt x="206" y="31"/>
                  </a:lnTo>
                  <a:lnTo>
                    <a:pt x="206" y="33"/>
                  </a:lnTo>
                  <a:lnTo>
                    <a:pt x="209" y="33"/>
                  </a:lnTo>
                  <a:lnTo>
                    <a:pt x="209" y="35"/>
                  </a:lnTo>
                  <a:lnTo>
                    <a:pt x="206" y="35"/>
                  </a:lnTo>
                  <a:lnTo>
                    <a:pt x="209" y="35"/>
                  </a:lnTo>
                  <a:lnTo>
                    <a:pt x="209" y="38"/>
                  </a:lnTo>
                  <a:lnTo>
                    <a:pt x="206" y="35"/>
                  </a:lnTo>
                  <a:lnTo>
                    <a:pt x="206" y="38"/>
                  </a:lnTo>
                  <a:lnTo>
                    <a:pt x="204" y="38"/>
                  </a:lnTo>
                  <a:lnTo>
                    <a:pt x="204" y="40"/>
                  </a:lnTo>
                  <a:lnTo>
                    <a:pt x="204" y="38"/>
                  </a:lnTo>
                  <a:lnTo>
                    <a:pt x="204" y="40"/>
                  </a:lnTo>
                  <a:lnTo>
                    <a:pt x="204" y="42"/>
                  </a:lnTo>
                  <a:lnTo>
                    <a:pt x="201" y="42"/>
                  </a:lnTo>
                  <a:lnTo>
                    <a:pt x="201" y="45"/>
                  </a:lnTo>
                  <a:lnTo>
                    <a:pt x="199" y="45"/>
                  </a:lnTo>
                  <a:lnTo>
                    <a:pt x="199" y="47"/>
                  </a:lnTo>
                  <a:lnTo>
                    <a:pt x="197" y="47"/>
                  </a:lnTo>
                  <a:lnTo>
                    <a:pt x="197" y="45"/>
                  </a:lnTo>
                  <a:lnTo>
                    <a:pt x="199" y="45"/>
                  </a:lnTo>
                  <a:lnTo>
                    <a:pt x="197" y="45"/>
                  </a:lnTo>
                  <a:lnTo>
                    <a:pt x="197" y="42"/>
                  </a:lnTo>
                  <a:lnTo>
                    <a:pt x="194" y="40"/>
                  </a:lnTo>
                  <a:lnTo>
                    <a:pt x="192" y="40"/>
                  </a:lnTo>
                  <a:lnTo>
                    <a:pt x="190" y="40"/>
                  </a:lnTo>
                  <a:lnTo>
                    <a:pt x="187" y="40"/>
                  </a:lnTo>
                  <a:lnTo>
                    <a:pt x="185" y="40"/>
                  </a:lnTo>
                  <a:lnTo>
                    <a:pt x="183" y="40"/>
                  </a:lnTo>
                  <a:lnTo>
                    <a:pt x="180" y="40"/>
                  </a:lnTo>
                  <a:lnTo>
                    <a:pt x="178" y="38"/>
                  </a:lnTo>
                  <a:lnTo>
                    <a:pt x="175" y="38"/>
                  </a:lnTo>
                  <a:lnTo>
                    <a:pt x="175" y="35"/>
                  </a:lnTo>
                  <a:lnTo>
                    <a:pt x="175" y="38"/>
                  </a:lnTo>
                  <a:lnTo>
                    <a:pt x="173" y="35"/>
                  </a:lnTo>
                  <a:lnTo>
                    <a:pt x="173" y="38"/>
                  </a:lnTo>
                  <a:lnTo>
                    <a:pt x="173" y="35"/>
                  </a:lnTo>
                  <a:lnTo>
                    <a:pt x="173" y="38"/>
                  </a:lnTo>
                  <a:lnTo>
                    <a:pt x="171" y="38"/>
                  </a:lnTo>
                  <a:lnTo>
                    <a:pt x="173" y="38"/>
                  </a:lnTo>
                  <a:lnTo>
                    <a:pt x="171" y="38"/>
                  </a:lnTo>
                  <a:lnTo>
                    <a:pt x="173" y="38"/>
                  </a:lnTo>
                  <a:lnTo>
                    <a:pt x="171" y="38"/>
                  </a:lnTo>
                  <a:lnTo>
                    <a:pt x="168" y="38"/>
                  </a:lnTo>
                  <a:lnTo>
                    <a:pt x="168" y="35"/>
                  </a:lnTo>
                  <a:lnTo>
                    <a:pt x="168" y="33"/>
                  </a:lnTo>
                  <a:lnTo>
                    <a:pt x="168" y="35"/>
                  </a:lnTo>
                  <a:lnTo>
                    <a:pt x="168" y="33"/>
                  </a:lnTo>
                  <a:lnTo>
                    <a:pt x="168" y="31"/>
                  </a:lnTo>
                  <a:lnTo>
                    <a:pt x="166" y="31"/>
                  </a:lnTo>
                  <a:lnTo>
                    <a:pt x="166" y="33"/>
                  </a:lnTo>
                  <a:lnTo>
                    <a:pt x="168" y="33"/>
                  </a:lnTo>
                  <a:lnTo>
                    <a:pt x="166" y="33"/>
                  </a:lnTo>
                  <a:lnTo>
                    <a:pt x="166" y="35"/>
                  </a:lnTo>
                  <a:lnTo>
                    <a:pt x="164" y="35"/>
                  </a:lnTo>
                  <a:lnTo>
                    <a:pt x="164" y="38"/>
                  </a:lnTo>
                  <a:lnTo>
                    <a:pt x="161" y="38"/>
                  </a:lnTo>
                  <a:lnTo>
                    <a:pt x="164" y="38"/>
                  </a:lnTo>
                  <a:lnTo>
                    <a:pt x="161" y="38"/>
                  </a:lnTo>
                  <a:lnTo>
                    <a:pt x="159" y="38"/>
                  </a:lnTo>
                  <a:lnTo>
                    <a:pt x="159" y="40"/>
                  </a:lnTo>
                  <a:lnTo>
                    <a:pt x="156" y="40"/>
                  </a:lnTo>
                  <a:lnTo>
                    <a:pt x="154" y="40"/>
                  </a:lnTo>
                  <a:lnTo>
                    <a:pt x="152" y="40"/>
                  </a:lnTo>
                  <a:lnTo>
                    <a:pt x="149" y="40"/>
                  </a:lnTo>
                  <a:lnTo>
                    <a:pt x="149" y="38"/>
                  </a:lnTo>
                  <a:lnTo>
                    <a:pt x="149" y="35"/>
                  </a:lnTo>
                  <a:lnTo>
                    <a:pt x="147" y="35"/>
                  </a:lnTo>
                  <a:lnTo>
                    <a:pt x="147" y="38"/>
                  </a:lnTo>
                  <a:lnTo>
                    <a:pt x="147" y="35"/>
                  </a:lnTo>
                  <a:lnTo>
                    <a:pt x="145" y="35"/>
                  </a:lnTo>
                  <a:lnTo>
                    <a:pt x="145" y="38"/>
                  </a:lnTo>
                  <a:lnTo>
                    <a:pt x="145" y="35"/>
                  </a:lnTo>
                  <a:lnTo>
                    <a:pt x="145" y="38"/>
                  </a:lnTo>
                  <a:lnTo>
                    <a:pt x="142" y="38"/>
                  </a:lnTo>
                  <a:lnTo>
                    <a:pt x="145" y="38"/>
                  </a:lnTo>
                  <a:lnTo>
                    <a:pt x="142" y="38"/>
                  </a:lnTo>
                  <a:lnTo>
                    <a:pt x="142" y="40"/>
                  </a:lnTo>
                  <a:lnTo>
                    <a:pt x="140" y="40"/>
                  </a:lnTo>
                  <a:lnTo>
                    <a:pt x="142" y="40"/>
                  </a:lnTo>
                  <a:lnTo>
                    <a:pt x="140" y="40"/>
                  </a:lnTo>
                  <a:lnTo>
                    <a:pt x="140" y="42"/>
                  </a:lnTo>
                  <a:lnTo>
                    <a:pt x="142" y="42"/>
                  </a:lnTo>
                  <a:lnTo>
                    <a:pt x="140" y="42"/>
                  </a:lnTo>
                  <a:lnTo>
                    <a:pt x="137" y="42"/>
                  </a:lnTo>
                  <a:lnTo>
                    <a:pt x="137" y="45"/>
                  </a:lnTo>
                  <a:lnTo>
                    <a:pt x="135" y="45"/>
                  </a:lnTo>
                  <a:lnTo>
                    <a:pt x="135" y="47"/>
                  </a:lnTo>
                  <a:lnTo>
                    <a:pt x="133" y="47"/>
                  </a:lnTo>
                  <a:lnTo>
                    <a:pt x="130" y="47"/>
                  </a:lnTo>
                  <a:lnTo>
                    <a:pt x="130" y="45"/>
                  </a:lnTo>
                  <a:lnTo>
                    <a:pt x="128" y="45"/>
                  </a:lnTo>
                  <a:lnTo>
                    <a:pt x="126" y="45"/>
                  </a:lnTo>
                  <a:lnTo>
                    <a:pt x="126" y="42"/>
                  </a:lnTo>
                  <a:lnTo>
                    <a:pt x="126" y="45"/>
                  </a:lnTo>
                  <a:lnTo>
                    <a:pt x="123" y="45"/>
                  </a:lnTo>
                  <a:lnTo>
                    <a:pt x="121" y="45"/>
                  </a:lnTo>
                  <a:lnTo>
                    <a:pt x="121" y="47"/>
                  </a:lnTo>
                  <a:lnTo>
                    <a:pt x="121" y="50"/>
                  </a:lnTo>
                  <a:lnTo>
                    <a:pt x="123" y="50"/>
                  </a:lnTo>
                  <a:lnTo>
                    <a:pt x="123" y="52"/>
                  </a:lnTo>
                  <a:lnTo>
                    <a:pt x="126" y="52"/>
                  </a:lnTo>
                  <a:lnTo>
                    <a:pt x="126" y="54"/>
                  </a:lnTo>
                  <a:lnTo>
                    <a:pt x="128" y="54"/>
                  </a:lnTo>
                  <a:lnTo>
                    <a:pt x="128" y="57"/>
                  </a:lnTo>
                  <a:lnTo>
                    <a:pt x="128" y="54"/>
                  </a:lnTo>
                  <a:lnTo>
                    <a:pt x="128" y="57"/>
                  </a:lnTo>
                  <a:lnTo>
                    <a:pt x="126" y="57"/>
                  </a:lnTo>
                  <a:lnTo>
                    <a:pt x="126" y="59"/>
                  </a:lnTo>
                  <a:lnTo>
                    <a:pt x="126" y="61"/>
                  </a:lnTo>
                  <a:lnTo>
                    <a:pt x="128" y="61"/>
                  </a:lnTo>
                  <a:lnTo>
                    <a:pt x="130" y="61"/>
                  </a:lnTo>
                  <a:lnTo>
                    <a:pt x="130" y="59"/>
                  </a:lnTo>
                  <a:lnTo>
                    <a:pt x="130" y="61"/>
                  </a:lnTo>
                  <a:lnTo>
                    <a:pt x="133" y="61"/>
                  </a:lnTo>
                  <a:lnTo>
                    <a:pt x="133" y="64"/>
                  </a:lnTo>
                  <a:lnTo>
                    <a:pt x="133" y="61"/>
                  </a:lnTo>
                  <a:lnTo>
                    <a:pt x="133" y="64"/>
                  </a:lnTo>
                  <a:lnTo>
                    <a:pt x="133" y="61"/>
                  </a:lnTo>
                  <a:lnTo>
                    <a:pt x="133" y="64"/>
                  </a:lnTo>
                  <a:lnTo>
                    <a:pt x="135" y="64"/>
                  </a:lnTo>
                  <a:lnTo>
                    <a:pt x="137" y="64"/>
                  </a:lnTo>
                  <a:lnTo>
                    <a:pt x="137" y="66"/>
                  </a:lnTo>
                  <a:lnTo>
                    <a:pt x="140" y="66"/>
                  </a:lnTo>
                  <a:lnTo>
                    <a:pt x="140" y="69"/>
                  </a:lnTo>
                  <a:lnTo>
                    <a:pt x="142" y="69"/>
                  </a:lnTo>
                  <a:lnTo>
                    <a:pt x="142" y="71"/>
                  </a:lnTo>
                  <a:lnTo>
                    <a:pt x="145" y="71"/>
                  </a:lnTo>
                  <a:lnTo>
                    <a:pt x="145" y="73"/>
                  </a:lnTo>
                  <a:lnTo>
                    <a:pt x="142" y="73"/>
                  </a:lnTo>
                  <a:lnTo>
                    <a:pt x="140" y="73"/>
                  </a:lnTo>
                  <a:lnTo>
                    <a:pt x="140" y="71"/>
                  </a:lnTo>
                  <a:lnTo>
                    <a:pt x="137" y="71"/>
                  </a:lnTo>
                  <a:lnTo>
                    <a:pt x="137" y="69"/>
                  </a:lnTo>
                  <a:lnTo>
                    <a:pt x="135" y="69"/>
                  </a:lnTo>
                  <a:lnTo>
                    <a:pt x="135" y="66"/>
                  </a:lnTo>
                  <a:lnTo>
                    <a:pt x="133" y="66"/>
                  </a:lnTo>
                  <a:lnTo>
                    <a:pt x="130" y="66"/>
                  </a:lnTo>
                  <a:lnTo>
                    <a:pt x="130" y="64"/>
                  </a:lnTo>
                  <a:lnTo>
                    <a:pt x="128" y="64"/>
                  </a:lnTo>
                  <a:lnTo>
                    <a:pt x="126" y="64"/>
                  </a:lnTo>
                  <a:lnTo>
                    <a:pt x="126" y="61"/>
                  </a:lnTo>
                  <a:lnTo>
                    <a:pt x="126" y="64"/>
                  </a:lnTo>
                  <a:lnTo>
                    <a:pt x="123" y="64"/>
                  </a:lnTo>
                  <a:lnTo>
                    <a:pt x="121" y="64"/>
                  </a:lnTo>
                  <a:lnTo>
                    <a:pt x="121" y="66"/>
                  </a:lnTo>
                  <a:lnTo>
                    <a:pt x="121" y="69"/>
                  </a:lnTo>
                  <a:lnTo>
                    <a:pt x="123" y="69"/>
                  </a:lnTo>
                  <a:lnTo>
                    <a:pt x="121" y="69"/>
                  </a:lnTo>
                  <a:lnTo>
                    <a:pt x="123" y="69"/>
                  </a:lnTo>
                  <a:lnTo>
                    <a:pt x="123" y="71"/>
                  </a:lnTo>
                  <a:lnTo>
                    <a:pt x="126" y="71"/>
                  </a:lnTo>
                  <a:lnTo>
                    <a:pt x="128" y="71"/>
                  </a:lnTo>
                  <a:lnTo>
                    <a:pt x="128" y="73"/>
                  </a:lnTo>
                  <a:lnTo>
                    <a:pt x="130" y="73"/>
                  </a:lnTo>
                  <a:lnTo>
                    <a:pt x="130" y="76"/>
                  </a:lnTo>
                  <a:lnTo>
                    <a:pt x="130" y="73"/>
                  </a:lnTo>
                  <a:lnTo>
                    <a:pt x="130" y="76"/>
                  </a:lnTo>
                  <a:lnTo>
                    <a:pt x="130" y="78"/>
                  </a:lnTo>
                  <a:lnTo>
                    <a:pt x="130" y="76"/>
                  </a:lnTo>
                  <a:lnTo>
                    <a:pt x="130" y="78"/>
                  </a:lnTo>
                  <a:lnTo>
                    <a:pt x="130" y="81"/>
                  </a:lnTo>
                  <a:lnTo>
                    <a:pt x="130" y="78"/>
                  </a:lnTo>
                  <a:lnTo>
                    <a:pt x="130" y="81"/>
                  </a:lnTo>
                  <a:lnTo>
                    <a:pt x="130" y="83"/>
                  </a:lnTo>
                  <a:lnTo>
                    <a:pt x="130" y="81"/>
                  </a:lnTo>
                  <a:lnTo>
                    <a:pt x="128" y="81"/>
                  </a:lnTo>
                  <a:lnTo>
                    <a:pt x="128" y="83"/>
                  </a:lnTo>
                  <a:lnTo>
                    <a:pt x="128" y="81"/>
                  </a:lnTo>
                  <a:lnTo>
                    <a:pt x="126" y="81"/>
                  </a:lnTo>
                  <a:lnTo>
                    <a:pt x="126" y="78"/>
                  </a:lnTo>
                  <a:lnTo>
                    <a:pt x="123" y="78"/>
                  </a:lnTo>
                  <a:lnTo>
                    <a:pt x="123" y="76"/>
                  </a:lnTo>
                  <a:lnTo>
                    <a:pt x="123" y="73"/>
                  </a:lnTo>
                  <a:lnTo>
                    <a:pt x="121" y="73"/>
                  </a:lnTo>
                  <a:lnTo>
                    <a:pt x="121" y="71"/>
                  </a:lnTo>
                  <a:lnTo>
                    <a:pt x="118" y="69"/>
                  </a:lnTo>
                  <a:lnTo>
                    <a:pt x="116" y="69"/>
                  </a:lnTo>
                  <a:lnTo>
                    <a:pt x="114" y="69"/>
                  </a:lnTo>
                  <a:lnTo>
                    <a:pt x="114" y="66"/>
                  </a:lnTo>
                  <a:lnTo>
                    <a:pt x="111" y="66"/>
                  </a:lnTo>
                  <a:lnTo>
                    <a:pt x="109" y="66"/>
                  </a:lnTo>
                  <a:lnTo>
                    <a:pt x="109" y="69"/>
                  </a:lnTo>
                  <a:lnTo>
                    <a:pt x="109" y="71"/>
                  </a:lnTo>
                  <a:lnTo>
                    <a:pt x="109" y="73"/>
                  </a:lnTo>
                  <a:lnTo>
                    <a:pt x="111" y="73"/>
                  </a:lnTo>
                  <a:lnTo>
                    <a:pt x="111" y="76"/>
                  </a:lnTo>
                  <a:lnTo>
                    <a:pt x="114" y="76"/>
                  </a:lnTo>
                  <a:lnTo>
                    <a:pt x="114" y="78"/>
                  </a:lnTo>
                  <a:lnTo>
                    <a:pt x="116" y="78"/>
                  </a:lnTo>
                  <a:lnTo>
                    <a:pt x="116" y="81"/>
                  </a:lnTo>
                  <a:lnTo>
                    <a:pt x="118" y="81"/>
                  </a:lnTo>
                  <a:lnTo>
                    <a:pt x="121" y="81"/>
                  </a:lnTo>
                  <a:lnTo>
                    <a:pt x="121" y="83"/>
                  </a:lnTo>
                  <a:lnTo>
                    <a:pt x="123" y="83"/>
                  </a:lnTo>
                  <a:lnTo>
                    <a:pt x="121" y="83"/>
                  </a:lnTo>
                  <a:lnTo>
                    <a:pt x="123" y="83"/>
                  </a:lnTo>
                  <a:lnTo>
                    <a:pt x="121" y="83"/>
                  </a:lnTo>
                  <a:lnTo>
                    <a:pt x="118" y="83"/>
                  </a:lnTo>
                  <a:lnTo>
                    <a:pt x="116" y="83"/>
                  </a:lnTo>
                  <a:lnTo>
                    <a:pt x="114" y="81"/>
                  </a:lnTo>
                  <a:lnTo>
                    <a:pt x="111" y="81"/>
                  </a:lnTo>
                  <a:lnTo>
                    <a:pt x="109" y="81"/>
                  </a:lnTo>
                  <a:lnTo>
                    <a:pt x="109" y="78"/>
                  </a:lnTo>
                  <a:lnTo>
                    <a:pt x="109" y="76"/>
                  </a:lnTo>
                  <a:lnTo>
                    <a:pt x="107" y="76"/>
                  </a:lnTo>
                  <a:lnTo>
                    <a:pt x="107" y="73"/>
                  </a:lnTo>
                  <a:lnTo>
                    <a:pt x="109" y="73"/>
                  </a:lnTo>
                  <a:lnTo>
                    <a:pt x="109" y="71"/>
                  </a:lnTo>
                  <a:lnTo>
                    <a:pt x="109" y="69"/>
                  </a:lnTo>
                  <a:lnTo>
                    <a:pt x="107" y="69"/>
                  </a:lnTo>
                  <a:lnTo>
                    <a:pt x="104" y="69"/>
                  </a:lnTo>
                  <a:lnTo>
                    <a:pt x="104" y="66"/>
                  </a:lnTo>
                  <a:lnTo>
                    <a:pt x="102" y="66"/>
                  </a:lnTo>
                  <a:lnTo>
                    <a:pt x="99" y="66"/>
                  </a:lnTo>
                  <a:lnTo>
                    <a:pt x="99" y="64"/>
                  </a:lnTo>
                  <a:lnTo>
                    <a:pt x="97" y="64"/>
                  </a:lnTo>
                  <a:lnTo>
                    <a:pt x="97" y="61"/>
                  </a:lnTo>
                  <a:lnTo>
                    <a:pt x="95" y="61"/>
                  </a:lnTo>
                  <a:lnTo>
                    <a:pt x="95" y="59"/>
                  </a:lnTo>
                  <a:lnTo>
                    <a:pt x="92" y="59"/>
                  </a:lnTo>
                  <a:lnTo>
                    <a:pt x="92" y="57"/>
                  </a:lnTo>
                  <a:lnTo>
                    <a:pt x="95" y="57"/>
                  </a:lnTo>
                  <a:lnTo>
                    <a:pt x="97" y="54"/>
                  </a:lnTo>
                  <a:lnTo>
                    <a:pt x="95" y="54"/>
                  </a:lnTo>
                  <a:lnTo>
                    <a:pt x="95" y="52"/>
                  </a:lnTo>
                  <a:lnTo>
                    <a:pt x="95" y="50"/>
                  </a:lnTo>
                  <a:lnTo>
                    <a:pt x="92" y="50"/>
                  </a:lnTo>
                  <a:lnTo>
                    <a:pt x="92" y="52"/>
                  </a:lnTo>
                  <a:lnTo>
                    <a:pt x="92" y="50"/>
                  </a:lnTo>
                  <a:lnTo>
                    <a:pt x="92" y="52"/>
                  </a:lnTo>
                  <a:lnTo>
                    <a:pt x="90" y="54"/>
                  </a:lnTo>
                  <a:lnTo>
                    <a:pt x="92" y="54"/>
                  </a:lnTo>
                  <a:lnTo>
                    <a:pt x="90" y="54"/>
                  </a:lnTo>
                  <a:lnTo>
                    <a:pt x="88" y="54"/>
                  </a:lnTo>
                  <a:lnTo>
                    <a:pt x="90" y="54"/>
                  </a:lnTo>
                  <a:lnTo>
                    <a:pt x="88" y="54"/>
                  </a:lnTo>
                  <a:lnTo>
                    <a:pt x="90" y="54"/>
                  </a:lnTo>
                  <a:lnTo>
                    <a:pt x="90" y="57"/>
                  </a:lnTo>
                  <a:lnTo>
                    <a:pt x="88" y="57"/>
                  </a:lnTo>
                  <a:lnTo>
                    <a:pt x="90" y="57"/>
                  </a:lnTo>
                  <a:lnTo>
                    <a:pt x="88" y="57"/>
                  </a:lnTo>
                  <a:lnTo>
                    <a:pt x="88" y="54"/>
                  </a:lnTo>
                  <a:lnTo>
                    <a:pt x="85" y="54"/>
                  </a:lnTo>
                  <a:lnTo>
                    <a:pt x="85" y="57"/>
                  </a:lnTo>
                  <a:lnTo>
                    <a:pt x="88" y="57"/>
                  </a:lnTo>
                  <a:lnTo>
                    <a:pt x="85" y="57"/>
                  </a:lnTo>
                  <a:lnTo>
                    <a:pt x="85" y="59"/>
                  </a:lnTo>
                  <a:lnTo>
                    <a:pt x="85" y="57"/>
                  </a:lnTo>
                  <a:lnTo>
                    <a:pt x="85" y="59"/>
                  </a:lnTo>
                  <a:lnTo>
                    <a:pt x="85" y="57"/>
                  </a:lnTo>
                  <a:lnTo>
                    <a:pt x="83" y="57"/>
                  </a:lnTo>
                  <a:lnTo>
                    <a:pt x="83" y="59"/>
                  </a:lnTo>
                  <a:lnTo>
                    <a:pt x="85" y="59"/>
                  </a:lnTo>
                  <a:lnTo>
                    <a:pt x="85" y="61"/>
                  </a:lnTo>
                  <a:lnTo>
                    <a:pt x="85" y="64"/>
                  </a:lnTo>
                  <a:lnTo>
                    <a:pt x="85" y="66"/>
                  </a:lnTo>
                  <a:lnTo>
                    <a:pt x="85" y="69"/>
                  </a:lnTo>
                  <a:lnTo>
                    <a:pt x="83" y="69"/>
                  </a:lnTo>
                  <a:lnTo>
                    <a:pt x="83" y="71"/>
                  </a:lnTo>
                  <a:lnTo>
                    <a:pt x="83" y="73"/>
                  </a:lnTo>
                  <a:lnTo>
                    <a:pt x="83" y="76"/>
                  </a:lnTo>
                  <a:lnTo>
                    <a:pt x="83" y="78"/>
                  </a:lnTo>
                  <a:lnTo>
                    <a:pt x="85" y="78"/>
                  </a:lnTo>
                  <a:lnTo>
                    <a:pt x="85" y="81"/>
                  </a:lnTo>
                  <a:lnTo>
                    <a:pt x="88" y="81"/>
                  </a:lnTo>
                  <a:lnTo>
                    <a:pt x="88" y="83"/>
                  </a:lnTo>
                  <a:lnTo>
                    <a:pt x="88" y="85"/>
                  </a:lnTo>
                  <a:lnTo>
                    <a:pt x="90" y="85"/>
                  </a:lnTo>
                  <a:lnTo>
                    <a:pt x="90" y="88"/>
                  </a:lnTo>
                  <a:lnTo>
                    <a:pt x="92" y="88"/>
                  </a:lnTo>
                  <a:lnTo>
                    <a:pt x="92" y="90"/>
                  </a:lnTo>
                  <a:lnTo>
                    <a:pt x="92" y="92"/>
                  </a:lnTo>
                  <a:lnTo>
                    <a:pt x="95" y="92"/>
                  </a:lnTo>
                  <a:lnTo>
                    <a:pt x="95" y="95"/>
                  </a:lnTo>
                  <a:lnTo>
                    <a:pt x="95" y="97"/>
                  </a:lnTo>
                  <a:lnTo>
                    <a:pt x="95" y="100"/>
                  </a:lnTo>
                  <a:lnTo>
                    <a:pt x="97" y="100"/>
                  </a:lnTo>
                  <a:lnTo>
                    <a:pt x="99" y="100"/>
                  </a:lnTo>
                  <a:lnTo>
                    <a:pt x="99" y="102"/>
                  </a:lnTo>
                  <a:lnTo>
                    <a:pt x="102" y="102"/>
                  </a:lnTo>
                  <a:lnTo>
                    <a:pt x="102" y="104"/>
                  </a:lnTo>
                  <a:lnTo>
                    <a:pt x="102" y="107"/>
                  </a:lnTo>
                  <a:lnTo>
                    <a:pt x="104" y="107"/>
                  </a:lnTo>
                  <a:lnTo>
                    <a:pt x="104" y="109"/>
                  </a:lnTo>
                  <a:lnTo>
                    <a:pt x="104" y="107"/>
                  </a:lnTo>
                  <a:lnTo>
                    <a:pt x="104" y="109"/>
                  </a:lnTo>
                  <a:lnTo>
                    <a:pt x="107" y="109"/>
                  </a:lnTo>
                  <a:lnTo>
                    <a:pt x="107" y="111"/>
                  </a:lnTo>
                  <a:lnTo>
                    <a:pt x="107" y="114"/>
                  </a:lnTo>
                  <a:lnTo>
                    <a:pt x="109" y="114"/>
                  </a:lnTo>
                  <a:lnTo>
                    <a:pt x="109" y="116"/>
                  </a:lnTo>
                  <a:lnTo>
                    <a:pt x="109" y="119"/>
                  </a:lnTo>
                  <a:lnTo>
                    <a:pt x="107" y="119"/>
                  </a:lnTo>
                  <a:lnTo>
                    <a:pt x="104" y="119"/>
                  </a:lnTo>
                  <a:lnTo>
                    <a:pt x="104" y="121"/>
                  </a:lnTo>
                  <a:lnTo>
                    <a:pt x="104" y="119"/>
                  </a:lnTo>
                  <a:lnTo>
                    <a:pt x="102" y="121"/>
                  </a:lnTo>
                  <a:lnTo>
                    <a:pt x="99" y="121"/>
                  </a:lnTo>
                  <a:lnTo>
                    <a:pt x="99" y="119"/>
                  </a:lnTo>
                  <a:lnTo>
                    <a:pt x="102" y="119"/>
                  </a:lnTo>
                  <a:lnTo>
                    <a:pt x="102" y="116"/>
                  </a:lnTo>
                  <a:lnTo>
                    <a:pt x="102" y="119"/>
                  </a:lnTo>
                  <a:lnTo>
                    <a:pt x="99" y="119"/>
                  </a:lnTo>
                  <a:lnTo>
                    <a:pt x="99" y="121"/>
                  </a:lnTo>
                  <a:lnTo>
                    <a:pt x="102" y="121"/>
                  </a:lnTo>
                  <a:lnTo>
                    <a:pt x="102" y="119"/>
                  </a:lnTo>
                  <a:lnTo>
                    <a:pt x="104" y="119"/>
                  </a:lnTo>
                  <a:lnTo>
                    <a:pt x="104" y="116"/>
                  </a:lnTo>
                  <a:lnTo>
                    <a:pt x="104" y="119"/>
                  </a:lnTo>
                  <a:lnTo>
                    <a:pt x="104" y="116"/>
                  </a:lnTo>
                  <a:lnTo>
                    <a:pt x="104" y="119"/>
                  </a:lnTo>
                  <a:lnTo>
                    <a:pt x="104" y="116"/>
                  </a:lnTo>
                  <a:lnTo>
                    <a:pt x="104" y="114"/>
                  </a:lnTo>
                  <a:lnTo>
                    <a:pt x="104" y="111"/>
                  </a:lnTo>
                  <a:lnTo>
                    <a:pt x="102" y="111"/>
                  </a:lnTo>
                  <a:lnTo>
                    <a:pt x="99" y="111"/>
                  </a:lnTo>
                  <a:lnTo>
                    <a:pt x="99" y="109"/>
                  </a:lnTo>
                  <a:lnTo>
                    <a:pt x="99" y="111"/>
                  </a:lnTo>
                  <a:lnTo>
                    <a:pt x="99" y="109"/>
                  </a:lnTo>
                  <a:lnTo>
                    <a:pt x="97" y="109"/>
                  </a:lnTo>
                  <a:lnTo>
                    <a:pt x="95" y="109"/>
                  </a:lnTo>
                  <a:lnTo>
                    <a:pt x="95" y="111"/>
                  </a:lnTo>
                  <a:lnTo>
                    <a:pt x="92" y="111"/>
                  </a:lnTo>
                  <a:lnTo>
                    <a:pt x="92" y="114"/>
                  </a:lnTo>
                  <a:lnTo>
                    <a:pt x="92" y="116"/>
                  </a:lnTo>
                  <a:lnTo>
                    <a:pt x="92" y="119"/>
                  </a:lnTo>
                  <a:lnTo>
                    <a:pt x="92" y="116"/>
                  </a:lnTo>
                  <a:lnTo>
                    <a:pt x="95" y="116"/>
                  </a:lnTo>
                  <a:lnTo>
                    <a:pt x="95" y="119"/>
                  </a:lnTo>
                  <a:lnTo>
                    <a:pt x="97" y="119"/>
                  </a:lnTo>
                  <a:lnTo>
                    <a:pt x="97" y="121"/>
                  </a:lnTo>
                  <a:lnTo>
                    <a:pt x="97" y="123"/>
                  </a:lnTo>
                  <a:lnTo>
                    <a:pt x="99" y="123"/>
                  </a:lnTo>
                  <a:lnTo>
                    <a:pt x="97" y="123"/>
                  </a:lnTo>
                  <a:lnTo>
                    <a:pt x="97" y="126"/>
                  </a:lnTo>
                  <a:lnTo>
                    <a:pt x="95" y="128"/>
                  </a:lnTo>
                  <a:lnTo>
                    <a:pt x="95" y="126"/>
                  </a:lnTo>
                  <a:lnTo>
                    <a:pt x="95" y="128"/>
                  </a:lnTo>
                  <a:lnTo>
                    <a:pt x="92" y="128"/>
                  </a:lnTo>
                  <a:lnTo>
                    <a:pt x="92" y="130"/>
                  </a:lnTo>
                  <a:lnTo>
                    <a:pt x="90" y="130"/>
                  </a:lnTo>
                  <a:lnTo>
                    <a:pt x="88" y="130"/>
                  </a:lnTo>
                  <a:lnTo>
                    <a:pt x="85" y="130"/>
                  </a:lnTo>
                  <a:lnTo>
                    <a:pt x="85" y="128"/>
                  </a:lnTo>
                  <a:lnTo>
                    <a:pt x="83" y="128"/>
                  </a:lnTo>
                  <a:lnTo>
                    <a:pt x="83" y="130"/>
                  </a:lnTo>
                  <a:lnTo>
                    <a:pt x="83" y="133"/>
                  </a:lnTo>
                  <a:lnTo>
                    <a:pt x="83" y="130"/>
                  </a:lnTo>
                  <a:lnTo>
                    <a:pt x="83" y="133"/>
                  </a:lnTo>
                  <a:lnTo>
                    <a:pt x="83" y="130"/>
                  </a:lnTo>
                  <a:lnTo>
                    <a:pt x="83" y="133"/>
                  </a:lnTo>
                  <a:lnTo>
                    <a:pt x="85" y="130"/>
                  </a:lnTo>
                  <a:lnTo>
                    <a:pt x="83" y="130"/>
                  </a:lnTo>
                  <a:lnTo>
                    <a:pt x="85" y="130"/>
                  </a:lnTo>
                  <a:lnTo>
                    <a:pt x="85" y="133"/>
                  </a:lnTo>
                  <a:lnTo>
                    <a:pt x="85" y="130"/>
                  </a:lnTo>
                  <a:lnTo>
                    <a:pt x="85" y="133"/>
                  </a:lnTo>
                  <a:lnTo>
                    <a:pt x="88" y="130"/>
                  </a:lnTo>
                  <a:lnTo>
                    <a:pt x="88" y="133"/>
                  </a:lnTo>
                  <a:lnTo>
                    <a:pt x="90" y="133"/>
                  </a:lnTo>
                  <a:lnTo>
                    <a:pt x="90" y="135"/>
                  </a:lnTo>
                  <a:lnTo>
                    <a:pt x="90" y="133"/>
                  </a:lnTo>
                  <a:lnTo>
                    <a:pt x="90" y="135"/>
                  </a:lnTo>
                  <a:lnTo>
                    <a:pt x="92" y="133"/>
                  </a:lnTo>
                  <a:lnTo>
                    <a:pt x="92" y="135"/>
                  </a:lnTo>
                  <a:lnTo>
                    <a:pt x="95" y="135"/>
                  </a:lnTo>
                  <a:lnTo>
                    <a:pt x="97" y="135"/>
                  </a:lnTo>
                  <a:lnTo>
                    <a:pt x="99" y="135"/>
                  </a:lnTo>
                  <a:lnTo>
                    <a:pt x="99" y="138"/>
                  </a:lnTo>
                  <a:lnTo>
                    <a:pt x="99" y="140"/>
                  </a:lnTo>
                  <a:lnTo>
                    <a:pt x="102" y="140"/>
                  </a:lnTo>
                  <a:lnTo>
                    <a:pt x="104" y="140"/>
                  </a:lnTo>
                  <a:lnTo>
                    <a:pt x="102" y="140"/>
                  </a:lnTo>
                  <a:lnTo>
                    <a:pt x="104" y="138"/>
                  </a:lnTo>
                  <a:lnTo>
                    <a:pt x="104" y="140"/>
                  </a:lnTo>
                  <a:lnTo>
                    <a:pt x="107" y="140"/>
                  </a:lnTo>
                  <a:lnTo>
                    <a:pt x="109" y="140"/>
                  </a:lnTo>
                  <a:lnTo>
                    <a:pt x="109" y="142"/>
                  </a:lnTo>
                  <a:lnTo>
                    <a:pt x="107" y="142"/>
                  </a:lnTo>
                  <a:lnTo>
                    <a:pt x="107" y="145"/>
                  </a:lnTo>
                  <a:lnTo>
                    <a:pt x="109" y="145"/>
                  </a:lnTo>
                  <a:lnTo>
                    <a:pt x="109" y="147"/>
                  </a:lnTo>
                  <a:lnTo>
                    <a:pt x="109" y="145"/>
                  </a:lnTo>
                  <a:lnTo>
                    <a:pt x="109" y="147"/>
                  </a:lnTo>
                  <a:lnTo>
                    <a:pt x="111" y="147"/>
                  </a:lnTo>
                  <a:lnTo>
                    <a:pt x="114" y="147"/>
                  </a:lnTo>
                  <a:lnTo>
                    <a:pt x="116" y="147"/>
                  </a:lnTo>
                  <a:lnTo>
                    <a:pt x="116" y="149"/>
                  </a:lnTo>
                  <a:lnTo>
                    <a:pt x="118" y="149"/>
                  </a:lnTo>
                  <a:lnTo>
                    <a:pt x="116" y="149"/>
                  </a:lnTo>
                  <a:lnTo>
                    <a:pt x="118" y="149"/>
                  </a:lnTo>
                  <a:lnTo>
                    <a:pt x="118" y="152"/>
                  </a:lnTo>
                  <a:lnTo>
                    <a:pt x="118" y="154"/>
                  </a:lnTo>
                  <a:lnTo>
                    <a:pt x="121" y="154"/>
                  </a:lnTo>
                  <a:lnTo>
                    <a:pt x="123" y="154"/>
                  </a:lnTo>
                  <a:lnTo>
                    <a:pt x="126" y="154"/>
                  </a:lnTo>
                  <a:lnTo>
                    <a:pt x="126" y="157"/>
                  </a:lnTo>
                  <a:lnTo>
                    <a:pt x="128" y="157"/>
                  </a:lnTo>
                  <a:lnTo>
                    <a:pt x="130" y="157"/>
                  </a:lnTo>
                  <a:lnTo>
                    <a:pt x="130" y="159"/>
                  </a:lnTo>
                  <a:lnTo>
                    <a:pt x="133" y="159"/>
                  </a:lnTo>
                  <a:lnTo>
                    <a:pt x="133" y="161"/>
                  </a:lnTo>
                  <a:lnTo>
                    <a:pt x="133" y="164"/>
                  </a:lnTo>
                  <a:lnTo>
                    <a:pt x="130" y="164"/>
                  </a:lnTo>
                  <a:lnTo>
                    <a:pt x="130" y="166"/>
                  </a:lnTo>
                  <a:lnTo>
                    <a:pt x="130" y="168"/>
                  </a:lnTo>
                  <a:lnTo>
                    <a:pt x="130" y="171"/>
                  </a:lnTo>
                  <a:lnTo>
                    <a:pt x="130" y="173"/>
                  </a:lnTo>
                  <a:lnTo>
                    <a:pt x="133" y="173"/>
                  </a:lnTo>
                  <a:lnTo>
                    <a:pt x="130" y="173"/>
                  </a:lnTo>
                  <a:lnTo>
                    <a:pt x="130" y="176"/>
                  </a:lnTo>
                  <a:lnTo>
                    <a:pt x="133" y="176"/>
                  </a:lnTo>
                  <a:lnTo>
                    <a:pt x="133" y="178"/>
                  </a:lnTo>
                  <a:lnTo>
                    <a:pt x="133" y="180"/>
                  </a:lnTo>
                  <a:lnTo>
                    <a:pt x="133" y="183"/>
                  </a:lnTo>
                  <a:lnTo>
                    <a:pt x="133" y="185"/>
                  </a:lnTo>
                  <a:lnTo>
                    <a:pt x="130" y="185"/>
                  </a:lnTo>
                  <a:lnTo>
                    <a:pt x="133" y="185"/>
                  </a:lnTo>
                  <a:lnTo>
                    <a:pt x="130" y="185"/>
                  </a:lnTo>
                  <a:lnTo>
                    <a:pt x="130" y="183"/>
                  </a:lnTo>
                  <a:lnTo>
                    <a:pt x="130" y="185"/>
                  </a:lnTo>
                  <a:lnTo>
                    <a:pt x="128" y="183"/>
                  </a:lnTo>
                  <a:lnTo>
                    <a:pt x="128" y="180"/>
                  </a:lnTo>
                  <a:lnTo>
                    <a:pt x="128" y="183"/>
                  </a:lnTo>
                  <a:lnTo>
                    <a:pt x="128" y="180"/>
                  </a:lnTo>
                  <a:lnTo>
                    <a:pt x="128" y="178"/>
                  </a:lnTo>
                  <a:lnTo>
                    <a:pt x="126" y="178"/>
                  </a:lnTo>
                  <a:lnTo>
                    <a:pt x="123" y="17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8" name="Freeform 52279"/>
            <p:cNvSpPr>
              <a:spLocks noEditPoints="1"/>
            </p:cNvSpPr>
            <p:nvPr/>
          </p:nvSpPr>
          <p:spPr bwMode="auto">
            <a:xfrm>
              <a:off x="3041648" y="5383231"/>
              <a:ext cx="539750" cy="427038"/>
            </a:xfrm>
            <a:custGeom>
              <a:avLst/>
              <a:gdLst>
                <a:gd name="T0" fmla="*/ 136 w 340"/>
                <a:gd name="T1" fmla="*/ 248 h 269"/>
                <a:gd name="T2" fmla="*/ 193 w 340"/>
                <a:gd name="T3" fmla="*/ 238 h 269"/>
                <a:gd name="T4" fmla="*/ 254 w 340"/>
                <a:gd name="T5" fmla="*/ 233 h 269"/>
                <a:gd name="T6" fmla="*/ 259 w 340"/>
                <a:gd name="T7" fmla="*/ 221 h 269"/>
                <a:gd name="T8" fmla="*/ 271 w 340"/>
                <a:gd name="T9" fmla="*/ 205 h 269"/>
                <a:gd name="T10" fmla="*/ 276 w 340"/>
                <a:gd name="T11" fmla="*/ 205 h 269"/>
                <a:gd name="T12" fmla="*/ 117 w 340"/>
                <a:gd name="T13" fmla="*/ 207 h 269"/>
                <a:gd name="T14" fmla="*/ 202 w 340"/>
                <a:gd name="T15" fmla="*/ 198 h 269"/>
                <a:gd name="T16" fmla="*/ 264 w 340"/>
                <a:gd name="T17" fmla="*/ 195 h 269"/>
                <a:gd name="T18" fmla="*/ 254 w 340"/>
                <a:gd name="T19" fmla="*/ 191 h 269"/>
                <a:gd name="T20" fmla="*/ 276 w 340"/>
                <a:gd name="T21" fmla="*/ 188 h 269"/>
                <a:gd name="T22" fmla="*/ 228 w 340"/>
                <a:gd name="T23" fmla="*/ 188 h 269"/>
                <a:gd name="T24" fmla="*/ 254 w 340"/>
                <a:gd name="T25" fmla="*/ 186 h 269"/>
                <a:gd name="T26" fmla="*/ 167 w 340"/>
                <a:gd name="T27" fmla="*/ 183 h 269"/>
                <a:gd name="T28" fmla="*/ 167 w 340"/>
                <a:gd name="T29" fmla="*/ 183 h 269"/>
                <a:gd name="T30" fmla="*/ 197 w 340"/>
                <a:gd name="T31" fmla="*/ 188 h 269"/>
                <a:gd name="T32" fmla="*/ 148 w 340"/>
                <a:gd name="T33" fmla="*/ 179 h 269"/>
                <a:gd name="T34" fmla="*/ 205 w 340"/>
                <a:gd name="T35" fmla="*/ 176 h 269"/>
                <a:gd name="T36" fmla="*/ 250 w 340"/>
                <a:gd name="T37" fmla="*/ 181 h 269"/>
                <a:gd name="T38" fmla="*/ 219 w 340"/>
                <a:gd name="T39" fmla="*/ 176 h 269"/>
                <a:gd name="T40" fmla="*/ 219 w 340"/>
                <a:gd name="T41" fmla="*/ 174 h 269"/>
                <a:gd name="T42" fmla="*/ 188 w 340"/>
                <a:gd name="T43" fmla="*/ 172 h 269"/>
                <a:gd name="T44" fmla="*/ 176 w 340"/>
                <a:gd name="T45" fmla="*/ 174 h 269"/>
                <a:gd name="T46" fmla="*/ 250 w 340"/>
                <a:gd name="T47" fmla="*/ 174 h 269"/>
                <a:gd name="T48" fmla="*/ 193 w 340"/>
                <a:gd name="T49" fmla="*/ 167 h 269"/>
                <a:gd name="T50" fmla="*/ 247 w 340"/>
                <a:gd name="T51" fmla="*/ 164 h 269"/>
                <a:gd name="T52" fmla="*/ 200 w 340"/>
                <a:gd name="T53" fmla="*/ 176 h 269"/>
                <a:gd name="T54" fmla="*/ 167 w 340"/>
                <a:gd name="T55" fmla="*/ 164 h 269"/>
                <a:gd name="T56" fmla="*/ 124 w 340"/>
                <a:gd name="T57" fmla="*/ 162 h 269"/>
                <a:gd name="T58" fmla="*/ 131 w 340"/>
                <a:gd name="T59" fmla="*/ 157 h 269"/>
                <a:gd name="T60" fmla="*/ 238 w 340"/>
                <a:gd name="T61" fmla="*/ 160 h 269"/>
                <a:gd name="T62" fmla="*/ 195 w 340"/>
                <a:gd name="T63" fmla="*/ 155 h 269"/>
                <a:gd name="T64" fmla="*/ 169 w 340"/>
                <a:gd name="T65" fmla="*/ 155 h 269"/>
                <a:gd name="T66" fmla="*/ 197 w 340"/>
                <a:gd name="T67" fmla="*/ 150 h 269"/>
                <a:gd name="T68" fmla="*/ 183 w 340"/>
                <a:gd name="T69" fmla="*/ 150 h 269"/>
                <a:gd name="T70" fmla="*/ 233 w 340"/>
                <a:gd name="T71" fmla="*/ 145 h 269"/>
                <a:gd name="T72" fmla="*/ 235 w 340"/>
                <a:gd name="T73" fmla="*/ 145 h 269"/>
                <a:gd name="T74" fmla="*/ 164 w 340"/>
                <a:gd name="T75" fmla="*/ 141 h 269"/>
                <a:gd name="T76" fmla="*/ 231 w 340"/>
                <a:gd name="T77" fmla="*/ 143 h 269"/>
                <a:gd name="T78" fmla="*/ 157 w 340"/>
                <a:gd name="T79" fmla="*/ 141 h 269"/>
                <a:gd name="T80" fmla="*/ 133 w 340"/>
                <a:gd name="T81" fmla="*/ 138 h 269"/>
                <a:gd name="T82" fmla="*/ 252 w 340"/>
                <a:gd name="T83" fmla="*/ 141 h 269"/>
                <a:gd name="T84" fmla="*/ 129 w 340"/>
                <a:gd name="T85" fmla="*/ 136 h 269"/>
                <a:gd name="T86" fmla="*/ 41 w 340"/>
                <a:gd name="T87" fmla="*/ 136 h 269"/>
                <a:gd name="T88" fmla="*/ 186 w 340"/>
                <a:gd name="T89" fmla="*/ 138 h 269"/>
                <a:gd name="T90" fmla="*/ 176 w 340"/>
                <a:gd name="T91" fmla="*/ 129 h 269"/>
                <a:gd name="T92" fmla="*/ 159 w 340"/>
                <a:gd name="T93" fmla="*/ 126 h 269"/>
                <a:gd name="T94" fmla="*/ 55 w 340"/>
                <a:gd name="T95" fmla="*/ 110 h 269"/>
                <a:gd name="T96" fmla="*/ 46 w 340"/>
                <a:gd name="T97" fmla="*/ 115 h 269"/>
                <a:gd name="T98" fmla="*/ 226 w 340"/>
                <a:gd name="T99" fmla="*/ 105 h 269"/>
                <a:gd name="T100" fmla="*/ 50 w 340"/>
                <a:gd name="T101" fmla="*/ 98 h 269"/>
                <a:gd name="T102" fmla="*/ 169 w 340"/>
                <a:gd name="T103" fmla="*/ 91 h 269"/>
                <a:gd name="T104" fmla="*/ 169 w 340"/>
                <a:gd name="T105" fmla="*/ 93 h 269"/>
                <a:gd name="T106" fmla="*/ 157 w 340"/>
                <a:gd name="T107" fmla="*/ 77 h 269"/>
                <a:gd name="T108" fmla="*/ 145 w 340"/>
                <a:gd name="T109" fmla="*/ 79 h 269"/>
                <a:gd name="T110" fmla="*/ 152 w 340"/>
                <a:gd name="T111" fmla="*/ 72 h 269"/>
                <a:gd name="T112" fmla="*/ 150 w 340"/>
                <a:gd name="T113" fmla="*/ 69 h 269"/>
                <a:gd name="T114" fmla="*/ 157 w 340"/>
                <a:gd name="T115" fmla="*/ 67 h 269"/>
                <a:gd name="T116" fmla="*/ 0 w 340"/>
                <a:gd name="T117" fmla="*/ 43 h 269"/>
                <a:gd name="T118" fmla="*/ 207 w 340"/>
                <a:gd name="T119" fmla="*/ 17 h 269"/>
                <a:gd name="T120" fmla="*/ 174 w 340"/>
                <a:gd name="T121" fmla="*/ 1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0" h="269">
                  <a:moveTo>
                    <a:pt x="155" y="264"/>
                  </a:moveTo>
                  <a:lnTo>
                    <a:pt x="155" y="267"/>
                  </a:lnTo>
                  <a:lnTo>
                    <a:pt x="157" y="267"/>
                  </a:lnTo>
                  <a:lnTo>
                    <a:pt x="157" y="269"/>
                  </a:lnTo>
                  <a:lnTo>
                    <a:pt x="155" y="267"/>
                  </a:lnTo>
                  <a:lnTo>
                    <a:pt x="155" y="264"/>
                  </a:lnTo>
                  <a:close/>
                  <a:moveTo>
                    <a:pt x="209" y="264"/>
                  </a:moveTo>
                  <a:lnTo>
                    <a:pt x="209" y="267"/>
                  </a:lnTo>
                  <a:lnTo>
                    <a:pt x="209" y="264"/>
                  </a:lnTo>
                  <a:lnTo>
                    <a:pt x="207" y="264"/>
                  </a:lnTo>
                  <a:lnTo>
                    <a:pt x="209" y="264"/>
                  </a:lnTo>
                  <a:close/>
                  <a:moveTo>
                    <a:pt x="152" y="264"/>
                  </a:moveTo>
                  <a:lnTo>
                    <a:pt x="152" y="262"/>
                  </a:lnTo>
                  <a:lnTo>
                    <a:pt x="152" y="264"/>
                  </a:lnTo>
                  <a:close/>
                  <a:moveTo>
                    <a:pt x="223" y="262"/>
                  </a:moveTo>
                  <a:lnTo>
                    <a:pt x="223" y="264"/>
                  </a:lnTo>
                  <a:lnTo>
                    <a:pt x="223" y="262"/>
                  </a:lnTo>
                  <a:close/>
                  <a:moveTo>
                    <a:pt x="214" y="250"/>
                  </a:moveTo>
                  <a:lnTo>
                    <a:pt x="214" y="252"/>
                  </a:lnTo>
                  <a:lnTo>
                    <a:pt x="214" y="250"/>
                  </a:lnTo>
                  <a:close/>
                  <a:moveTo>
                    <a:pt x="138" y="248"/>
                  </a:moveTo>
                  <a:lnTo>
                    <a:pt x="136" y="248"/>
                  </a:lnTo>
                  <a:lnTo>
                    <a:pt x="138" y="248"/>
                  </a:lnTo>
                  <a:close/>
                  <a:moveTo>
                    <a:pt x="231" y="248"/>
                  </a:moveTo>
                  <a:lnTo>
                    <a:pt x="228" y="248"/>
                  </a:lnTo>
                  <a:lnTo>
                    <a:pt x="231" y="248"/>
                  </a:lnTo>
                  <a:close/>
                  <a:moveTo>
                    <a:pt x="223" y="243"/>
                  </a:moveTo>
                  <a:lnTo>
                    <a:pt x="223" y="245"/>
                  </a:lnTo>
                  <a:lnTo>
                    <a:pt x="223" y="243"/>
                  </a:lnTo>
                  <a:lnTo>
                    <a:pt x="223" y="245"/>
                  </a:lnTo>
                  <a:lnTo>
                    <a:pt x="223" y="243"/>
                  </a:lnTo>
                  <a:close/>
                  <a:moveTo>
                    <a:pt x="252" y="240"/>
                  </a:moveTo>
                  <a:lnTo>
                    <a:pt x="252" y="243"/>
                  </a:lnTo>
                  <a:lnTo>
                    <a:pt x="250" y="243"/>
                  </a:lnTo>
                  <a:lnTo>
                    <a:pt x="247" y="243"/>
                  </a:lnTo>
                  <a:lnTo>
                    <a:pt x="247" y="245"/>
                  </a:lnTo>
                  <a:lnTo>
                    <a:pt x="247" y="243"/>
                  </a:lnTo>
                  <a:lnTo>
                    <a:pt x="247" y="240"/>
                  </a:lnTo>
                  <a:lnTo>
                    <a:pt x="250" y="240"/>
                  </a:lnTo>
                  <a:lnTo>
                    <a:pt x="252" y="240"/>
                  </a:lnTo>
                  <a:close/>
                  <a:moveTo>
                    <a:pt x="193" y="240"/>
                  </a:moveTo>
                  <a:lnTo>
                    <a:pt x="190" y="240"/>
                  </a:lnTo>
                  <a:lnTo>
                    <a:pt x="193" y="240"/>
                  </a:lnTo>
                  <a:lnTo>
                    <a:pt x="193" y="238"/>
                  </a:lnTo>
                  <a:lnTo>
                    <a:pt x="193" y="240"/>
                  </a:lnTo>
                  <a:close/>
                  <a:moveTo>
                    <a:pt x="259" y="224"/>
                  </a:moveTo>
                  <a:lnTo>
                    <a:pt x="259" y="226"/>
                  </a:lnTo>
                  <a:lnTo>
                    <a:pt x="259" y="229"/>
                  </a:lnTo>
                  <a:lnTo>
                    <a:pt x="257" y="229"/>
                  </a:lnTo>
                  <a:lnTo>
                    <a:pt x="257" y="231"/>
                  </a:lnTo>
                  <a:lnTo>
                    <a:pt x="257" y="233"/>
                  </a:lnTo>
                  <a:lnTo>
                    <a:pt x="259" y="233"/>
                  </a:lnTo>
                  <a:lnTo>
                    <a:pt x="259" y="236"/>
                  </a:lnTo>
                  <a:lnTo>
                    <a:pt x="259" y="238"/>
                  </a:lnTo>
                  <a:lnTo>
                    <a:pt x="257" y="238"/>
                  </a:lnTo>
                  <a:lnTo>
                    <a:pt x="257" y="240"/>
                  </a:lnTo>
                  <a:lnTo>
                    <a:pt x="257" y="238"/>
                  </a:lnTo>
                  <a:lnTo>
                    <a:pt x="257" y="240"/>
                  </a:lnTo>
                  <a:lnTo>
                    <a:pt x="257" y="243"/>
                  </a:lnTo>
                  <a:lnTo>
                    <a:pt x="257" y="240"/>
                  </a:lnTo>
                  <a:lnTo>
                    <a:pt x="257" y="243"/>
                  </a:lnTo>
                  <a:lnTo>
                    <a:pt x="257" y="240"/>
                  </a:lnTo>
                  <a:lnTo>
                    <a:pt x="254" y="240"/>
                  </a:lnTo>
                  <a:lnTo>
                    <a:pt x="254" y="238"/>
                  </a:lnTo>
                  <a:lnTo>
                    <a:pt x="254" y="236"/>
                  </a:lnTo>
                  <a:lnTo>
                    <a:pt x="254" y="233"/>
                  </a:lnTo>
                  <a:lnTo>
                    <a:pt x="254" y="231"/>
                  </a:lnTo>
                  <a:lnTo>
                    <a:pt x="254" y="229"/>
                  </a:lnTo>
                  <a:lnTo>
                    <a:pt x="257" y="229"/>
                  </a:lnTo>
                  <a:lnTo>
                    <a:pt x="257" y="226"/>
                  </a:lnTo>
                  <a:lnTo>
                    <a:pt x="257" y="224"/>
                  </a:lnTo>
                  <a:lnTo>
                    <a:pt x="259" y="224"/>
                  </a:lnTo>
                  <a:close/>
                  <a:moveTo>
                    <a:pt x="245" y="221"/>
                  </a:moveTo>
                  <a:lnTo>
                    <a:pt x="245" y="219"/>
                  </a:lnTo>
                  <a:lnTo>
                    <a:pt x="245" y="221"/>
                  </a:lnTo>
                  <a:close/>
                  <a:moveTo>
                    <a:pt x="129" y="219"/>
                  </a:moveTo>
                  <a:lnTo>
                    <a:pt x="129" y="221"/>
                  </a:lnTo>
                  <a:lnTo>
                    <a:pt x="129" y="219"/>
                  </a:lnTo>
                  <a:lnTo>
                    <a:pt x="129" y="221"/>
                  </a:lnTo>
                  <a:lnTo>
                    <a:pt x="131" y="221"/>
                  </a:lnTo>
                  <a:lnTo>
                    <a:pt x="131" y="224"/>
                  </a:lnTo>
                  <a:lnTo>
                    <a:pt x="129" y="224"/>
                  </a:lnTo>
                  <a:lnTo>
                    <a:pt x="129" y="221"/>
                  </a:lnTo>
                  <a:lnTo>
                    <a:pt x="129" y="219"/>
                  </a:lnTo>
                  <a:close/>
                  <a:moveTo>
                    <a:pt x="259" y="219"/>
                  </a:moveTo>
                  <a:lnTo>
                    <a:pt x="259" y="221"/>
                  </a:lnTo>
                  <a:lnTo>
                    <a:pt x="259" y="219"/>
                  </a:lnTo>
                  <a:lnTo>
                    <a:pt x="259" y="221"/>
                  </a:lnTo>
                  <a:lnTo>
                    <a:pt x="259" y="224"/>
                  </a:lnTo>
                  <a:lnTo>
                    <a:pt x="259" y="221"/>
                  </a:lnTo>
                  <a:lnTo>
                    <a:pt x="257" y="221"/>
                  </a:lnTo>
                  <a:lnTo>
                    <a:pt x="259" y="221"/>
                  </a:lnTo>
                  <a:lnTo>
                    <a:pt x="259" y="219"/>
                  </a:lnTo>
                  <a:close/>
                  <a:moveTo>
                    <a:pt x="231" y="212"/>
                  </a:moveTo>
                  <a:lnTo>
                    <a:pt x="233" y="212"/>
                  </a:lnTo>
                  <a:lnTo>
                    <a:pt x="231" y="212"/>
                  </a:lnTo>
                  <a:close/>
                  <a:moveTo>
                    <a:pt x="337" y="212"/>
                  </a:moveTo>
                  <a:lnTo>
                    <a:pt x="337" y="210"/>
                  </a:lnTo>
                  <a:lnTo>
                    <a:pt x="340" y="210"/>
                  </a:lnTo>
                  <a:lnTo>
                    <a:pt x="337" y="210"/>
                  </a:lnTo>
                  <a:lnTo>
                    <a:pt x="337" y="212"/>
                  </a:lnTo>
                  <a:close/>
                  <a:moveTo>
                    <a:pt x="333" y="210"/>
                  </a:moveTo>
                  <a:lnTo>
                    <a:pt x="335" y="210"/>
                  </a:lnTo>
                  <a:lnTo>
                    <a:pt x="333" y="210"/>
                  </a:lnTo>
                  <a:close/>
                  <a:moveTo>
                    <a:pt x="337" y="210"/>
                  </a:moveTo>
                  <a:lnTo>
                    <a:pt x="335" y="210"/>
                  </a:lnTo>
                  <a:lnTo>
                    <a:pt x="337" y="210"/>
                  </a:lnTo>
                  <a:lnTo>
                    <a:pt x="337" y="207"/>
                  </a:lnTo>
                  <a:lnTo>
                    <a:pt x="337" y="210"/>
                  </a:lnTo>
                  <a:close/>
                  <a:moveTo>
                    <a:pt x="271" y="205"/>
                  </a:moveTo>
                  <a:lnTo>
                    <a:pt x="271" y="207"/>
                  </a:lnTo>
                  <a:lnTo>
                    <a:pt x="271" y="205"/>
                  </a:lnTo>
                  <a:lnTo>
                    <a:pt x="271" y="207"/>
                  </a:lnTo>
                  <a:lnTo>
                    <a:pt x="271" y="205"/>
                  </a:lnTo>
                  <a:lnTo>
                    <a:pt x="269" y="207"/>
                  </a:lnTo>
                  <a:lnTo>
                    <a:pt x="269" y="205"/>
                  </a:lnTo>
                  <a:lnTo>
                    <a:pt x="269" y="207"/>
                  </a:lnTo>
                  <a:lnTo>
                    <a:pt x="269" y="205"/>
                  </a:lnTo>
                  <a:lnTo>
                    <a:pt x="271" y="205"/>
                  </a:lnTo>
                  <a:close/>
                  <a:moveTo>
                    <a:pt x="121" y="202"/>
                  </a:moveTo>
                  <a:lnTo>
                    <a:pt x="121" y="205"/>
                  </a:lnTo>
                  <a:lnTo>
                    <a:pt x="121" y="202"/>
                  </a:lnTo>
                  <a:close/>
                  <a:moveTo>
                    <a:pt x="214" y="202"/>
                  </a:moveTo>
                  <a:lnTo>
                    <a:pt x="214" y="205"/>
                  </a:lnTo>
                  <a:lnTo>
                    <a:pt x="214" y="202"/>
                  </a:lnTo>
                  <a:close/>
                  <a:moveTo>
                    <a:pt x="212" y="202"/>
                  </a:moveTo>
                  <a:lnTo>
                    <a:pt x="214" y="202"/>
                  </a:lnTo>
                  <a:lnTo>
                    <a:pt x="214" y="205"/>
                  </a:lnTo>
                  <a:lnTo>
                    <a:pt x="212" y="205"/>
                  </a:lnTo>
                  <a:lnTo>
                    <a:pt x="212" y="202"/>
                  </a:lnTo>
                  <a:close/>
                  <a:moveTo>
                    <a:pt x="276" y="202"/>
                  </a:moveTo>
                  <a:lnTo>
                    <a:pt x="276" y="205"/>
                  </a:lnTo>
                  <a:lnTo>
                    <a:pt x="273" y="205"/>
                  </a:lnTo>
                  <a:lnTo>
                    <a:pt x="276" y="205"/>
                  </a:lnTo>
                  <a:lnTo>
                    <a:pt x="273" y="205"/>
                  </a:lnTo>
                  <a:lnTo>
                    <a:pt x="273" y="202"/>
                  </a:lnTo>
                  <a:lnTo>
                    <a:pt x="276" y="202"/>
                  </a:lnTo>
                  <a:close/>
                  <a:moveTo>
                    <a:pt x="240" y="200"/>
                  </a:moveTo>
                  <a:lnTo>
                    <a:pt x="242" y="200"/>
                  </a:lnTo>
                  <a:lnTo>
                    <a:pt x="240" y="200"/>
                  </a:lnTo>
                  <a:lnTo>
                    <a:pt x="240" y="202"/>
                  </a:lnTo>
                  <a:lnTo>
                    <a:pt x="240" y="200"/>
                  </a:lnTo>
                  <a:close/>
                  <a:moveTo>
                    <a:pt x="119" y="198"/>
                  </a:moveTo>
                  <a:lnTo>
                    <a:pt x="119" y="200"/>
                  </a:lnTo>
                  <a:lnTo>
                    <a:pt x="119" y="202"/>
                  </a:lnTo>
                  <a:lnTo>
                    <a:pt x="121" y="202"/>
                  </a:lnTo>
                  <a:lnTo>
                    <a:pt x="121" y="205"/>
                  </a:lnTo>
                  <a:lnTo>
                    <a:pt x="124" y="205"/>
                  </a:lnTo>
                  <a:lnTo>
                    <a:pt x="121" y="205"/>
                  </a:lnTo>
                  <a:lnTo>
                    <a:pt x="121" y="207"/>
                  </a:lnTo>
                  <a:lnTo>
                    <a:pt x="121" y="210"/>
                  </a:lnTo>
                  <a:lnTo>
                    <a:pt x="119" y="210"/>
                  </a:lnTo>
                  <a:lnTo>
                    <a:pt x="117" y="210"/>
                  </a:lnTo>
                  <a:lnTo>
                    <a:pt x="117" y="207"/>
                  </a:lnTo>
                  <a:lnTo>
                    <a:pt x="117" y="205"/>
                  </a:lnTo>
                  <a:lnTo>
                    <a:pt x="117" y="202"/>
                  </a:lnTo>
                  <a:lnTo>
                    <a:pt x="117" y="200"/>
                  </a:lnTo>
                  <a:lnTo>
                    <a:pt x="117" y="198"/>
                  </a:lnTo>
                  <a:lnTo>
                    <a:pt x="119" y="198"/>
                  </a:lnTo>
                  <a:close/>
                  <a:moveTo>
                    <a:pt x="212" y="200"/>
                  </a:moveTo>
                  <a:lnTo>
                    <a:pt x="214" y="200"/>
                  </a:lnTo>
                  <a:lnTo>
                    <a:pt x="212" y="200"/>
                  </a:lnTo>
                  <a:lnTo>
                    <a:pt x="209" y="200"/>
                  </a:lnTo>
                  <a:lnTo>
                    <a:pt x="209" y="198"/>
                  </a:lnTo>
                  <a:lnTo>
                    <a:pt x="212" y="198"/>
                  </a:lnTo>
                  <a:lnTo>
                    <a:pt x="212" y="200"/>
                  </a:lnTo>
                  <a:close/>
                  <a:moveTo>
                    <a:pt x="197" y="198"/>
                  </a:moveTo>
                  <a:lnTo>
                    <a:pt x="200" y="198"/>
                  </a:lnTo>
                  <a:lnTo>
                    <a:pt x="197" y="198"/>
                  </a:lnTo>
                  <a:close/>
                  <a:moveTo>
                    <a:pt x="197" y="195"/>
                  </a:moveTo>
                  <a:lnTo>
                    <a:pt x="197" y="198"/>
                  </a:lnTo>
                  <a:lnTo>
                    <a:pt x="195" y="198"/>
                  </a:lnTo>
                  <a:lnTo>
                    <a:pt x="197" y="195"/>
                  </a:lnTo>
                  <a:close/>
                  <a:moveTo>
                    <a:pt x="200" y="195"/>
                  </a:moveTo>
                  <a:lnTo>
                    <a:pt x="200" y="198"/>
                  </a:lnTo>
                  <a:lnTo>
                    <a:pt x="202" y="198"/>
                  </a:lnTo>
                  <a:lnTo>
                    <a:pt x="202" y="200"/>
                  </a:lnTo>
                  <a:lnTo>
                    <a:pt x="200" y="200"/>
                  </a:lnTo>
                  <a:lnTo>
                    <a:pt x="197" y="200"/>
                  </a:lnTo>
                  <a:lnTo>
                    <a:pt x="200" y="200"/>
                  </a:lnTo>
                  <a:lnTo>
                    <a:pt x="200" y="198"/>
                  </a:lnTo>
                  <a:lnTo>
                    <a:pt x="200" y="195"/>
                  </a:lnTo>
                  <a:lnTo>
                    <a:pt x="197" y="195"/>
                  </a:lnTo>
                  <a:lnTo>
                    <a:pt x="200" y="195"/>
                  </a:lnTo>
                  <a:close/>
                  <a:moveTo>
                    <a:pt x="264" y="195"/>
                  </a:moveTo>
                  <a:lnTo>
                    <a:pt x="264" y="198"/>
                  </a:lnTo>
                  <a:lnTo>
                    <a:pt x="266" y="198"/>
                  </a:lnTo>
                  <a:lnTo>
                    <a:pt x="264" y="198"/>
                  </a:lnTo>
                  <a:lnTo>
                    <a:pt x="264" y="200"/>
                  </a:lnTo>
                  <a:lnTo>
                    <a:pt x="264" y="198"/>
                  </a:lnTo>
                  <a:lnTo>
                    <a:pt x="264" y="200"/>
                  </a:lnTo>
                  <a:lnTo>
                    <a:pt x="264" y="198"/>
                  </a:lnTo>
                  <a:lnTo>
                    <a:pt x="264" y="200"/>
                  </a:lnTo>
                  <a:lnTo>
                    <a:pt x="264" y="198"/>
                  </a:lnTo>
                  <a:lnTo>
                    <a:pt x="264" y="195"/>
                  </a:lnTo>
                  <a:lnTo>
                    <a:pt x="261" y="198"/>
                  </a:lnTo>
                  <a:lnTo>
                    <a:pt x="261" y="195"/>
                  </a:lnTo>
                  <a:lnTo>
                    <a:pt x="264" y="195"/>
                  </a:lnTo>
                  <a:close/>
                  <a:moveTo>
                    <a:pt x="119" y="193"/>
                  </a:moveTo>
                  <a:lnTo>
                    <a:pt x="119" y="195"/>
                  </a:lnTo>
                  <a:lnTo>
                    <a:pt x="117" y="195"/>
                  </a:lnTo>
                  <a:lnTo>
                    <a:pt x="117" y="193"/>
                  </a:lnTo>
                  <a:lnTo>
                    <a:pt x="119" y="193"/>
                  </a:lnTo>
                  <a:close/>
                  <a:moveTo>
                    <a:pt x="233" y="193"/>
                  </a:moveTo>
                  <a:lnTo>
                    <a:pt x="233" y="191"/>
                  </a:lnTo>
                  <a:lnTo>
                    <a:pt x="233" y="193"/>
                  </a:lnTo>
                  <a:close/>
                  <a:moveTo>
                    <a:pt x="223" y="191"/>
                  </a:moveTo>
                  <a:lnTo>
                    <a:pt x="223" y="193"/>
                  </a:lnTo>
                  <a:lnTo>
                    <a:pt x="223" y="191"/>
                  </a:lnTo>
                  <a:close/>
                  <a:moveTo>
                    <a:pt x="252" y="191"/>
                  </a:moveTo>
                  <a:lnTo>
                    <a:pt x="252" y="188"/>
                  </a:lnTo>
                  <a:lnTo>
                    <a:pt x="252" y="191"/>
                  </a:lnTo>
                  <a:close/>
                  <a:moveTo>
                    <a:pt x="231" y="188"/>
                  </a:moveTo>
                  <a:lnTo>
                    <a:pt x="231" y="191"/>
                  </a:lnTo>
                  <a:lnTo>
                    <a:pt x="231" y="188"/>
                  </a:lnTo>
                  <a:close/>
                  <a:moveTo>
                    <a:pt x="257" y="188"/>
                  </a:moveTo>
                  <a:lnTo>
                    <a:pt x="259" y="188"/>
                  </a:lnTo>
                  <a:lnTo>
                    <a:pt x="259" y="191"/>
                  </a:lnTo>
                  <a:lnTo>
                    <a:pt x="257" y="191"/>
                  </a:lnTo>
                  <a:lnTo>
                    <a:pt x="254" y="191"/>
                  </a:lnTo>
                  <a:lnTo>
                    <a:pt x="257" y="191"/>
                  </a:lnTo>
                  <a:lnTo>
                    <a:pt x="254" y="191"/>
                  </a:lnTo>
                  <a:lnTo>
                    <a:pt x="257" y="191"/>
                  </a:lnTo>
                  <a:lnTo>
                    <a:pt x="254" y="188"/>
                  </a:lnTo>
                  <a:lnTo>
                    <a:pt x="257" y="188"/>
                  </a:lnTo>
                  <a:close/>
                  <a:moveTo>
                    <a:pt x="207" y="188"/>
                  </a:moveTo>
                  <a:lnTo>
                    <a:pt x="209" y="188"/>
                  </a:lnTo>
                  <a:lnTo>
                    <a:pt x="207" y="188"/>
                  </a:lnTo>
                  <a:close/>
                  <a:moveTo>
                    <a:pt x="278" y="188"/>
                  </a:moveTo>
                  <a:lnTo>
                    <a:pt x="280" y="188"/>
                  </a:lnTo>
                  <a:lnTo>
                    <a:pt x="280" y="191"/>
                  </a:lnTo>
                  <a:lnTo>
                    <a:pt x="280" y="193"/>
                  </a:lnTo>
                  <a:lnTo>
                    <a:pt x="278" y="193"/>
                  </a:lnTo>
                  <a:lnTo>
                    <a:pt x="278" y="191"/>
                  </a:lnTo>
                  <a:lnTo>
                    <a:pt x="278" y="193"/>
                  </a:lnTo>
                  <a:lnTo>
                    <a:pt x="278" y="191"/>
                  </a:lnTo>
                  <a:lnTo>
                    <a:pt x="280" y="191"/>
                  </a:lnTo>
                  <a:lnTo>
                    <a:pt x="278" y="191"/>
                  </a:lnTo>
                  <a:lnTo>
                    <a:pt x="280" y="191"/>
                  </a:lnTo>
                  <a:lnTo>
                    <a:pt x="278" y="191"/>
                  </a:lnTo>
                  <a:lnTo>
                    <a:pt x="276" y="191"/>
                  </a:lnTo>
                  <a:lnTo>
                    <a:pt x="276" y="188"/>
                  </a:lnTo>
                  <a:lnTo>
                    <a:pt x="278" y="188"/>
                  </a:lnTo>
                  <a:lnTo>
                    <a:pt x="276" y="188"/>
                  </a:lnTo>
                  <a:lnTo>
                    <a:pt x="278" y="188"/>
                  </a:lnTo>
                  <a:close/>
                  <a:moveTo>
                    <a:pt x="231" y="188"/>
                  </a:moveTo>
                  <a:lnTo>
                    <a:pt x="233" y="188"/>
                  </a:lnTo>
                  <a:lnTo>
                    <a:pt x="233" y="191"/>
                  </a:lnTo>
                  <a:lnTo>
                    <a:pt x="231" y="191"/>
                  </a:lnTo>
                  <a:lnTo>
                    <a:pt x="231" y="193"/>
                  </a:lnTo>
                  <a:lnTo>
                    <a:pt x="231" y="191"/>
                  </a:lnTo>
                  <a:lnTo>
                    <a:pt x="231" y="193"/>
                  </a:lnTo>
                  <a:lnTo>
                    <a:pt x="228" y="193"/>
                  </a:lnTo>
                  <a:lnTo>
                    <a:pt x="228" y="191"/>
                  </a:lnTo>
                  <a:lnTo>
                    <a:pt x="226" y="191"/>
                  </a:lnTo>
                  <a:lnTo>
                    <a:pt x="228" y="191"/>
                  </a:lnTo>
                  <a:lnTo>
                    <a:pt x="226" y="191"/>
                  </a:lnTo>
                  <a:lnTo>
                    <a:pt x="228" y="188"/>
                  </a:lnTo>
                  <a:lnTo>
                    <a:pt x="228" y="191"/>
                  </a:lnTo>
                  <a:lnTo>
                    <a:pt x="228" y="188"/>
                  </a:lnTo>
                  <a:lnTo>
                    <a:pt x="228" y="191"/>
                  </a:lnTo>
                  <a:lnTo>
                    <a:pt x="228" y="188"/>
                  </a:lnTo>
                  <a:lnTo>
                    <a:pt x="228" y="191"/>
                  </a:lnTo>
                  <a:lnTo>
                    <a:pt x="228" y="188"/>
                  </a:lnTo>
                  <a:lnTo>
                    <a:pt x="228" y="191"/>
                  </a:lnTo>
                  <a:lnTo>
                    <a:pt x="231" y="191"/>
                  </a:lnTo>
                  <a:lnTo>
                    <a:pt x="231" y="188"/>
                  </a:lnTo>
                  <a:lnTo>
                    <a:pt x="231" y="191"/>
                  </a:lnTo>
                  <a:lnTo>
                    <a:pt x="231" y="188"/>
                  </a:lnTo>
                  <a:lnTo>
                    <a:pt x="233" y="188"/>
                  </a:lnTo>
                  <a:lnTo>
                    <a:pt x="231" y="188"/>
                  </a:lnTo>
                  <a:close/>
                  <a:moveTo>
                    <a:pt x="181" y="186"/>
                  </a:moveTo>
                  <a:lnTo>
                    <a:pt x="183" y="188"/>
                  </a:lnTo>
                  <a:lnTo>
                    <a:pt x="183" y="191"/>
                  </a:lnTo>
                  <a:lnTo>
                    <a:pt x="183" y="188"/>
                  </a:lnTo>
                  <a:lnTo>
                    <a:pt x="181" y="188"/>
                  </a:lnTo>
                  <a:lnTo>
                    <a:pt x="181" y="186"/>
                  </a:lnTo>
                  <a:close/>
                  <a:moveTo>
                    <a:pt x="280" y="186"/>
                  </a:moveTo>
                  <a:lnTo>
                    <a:pt x="280" y="188"/>
                  </a:lnTo>
                  <a:lnTo>
                    <a:pt x="278" y="188"/>
                  </a:lnTo>
                  <a:lnTo>
                    <a:pt x="278" y="186"/>
                  </a:lnTo>
                  <a:lnTo>
                    <a:pt x="280" y="186"/>
                  </a:lnTo>
                  <a:close/>
                  <a:moveTo>
                    <a:pt x="257" y="186"/>
                  </a:moveTo>
                  <a:lnTo>
                    <a:pt x="254" y="186"/>
                  </a:lnTo>
                  <a:lnTo>
                    <a:pt x="254" y="188"/>
                  </a:lnTo>
                  <a:lnTo>
                    <a:pt x="254" y="186"/>
                  </a:lnTo>
                  <a:lnTo>
                    <a:pt x="257" y="186"/>
                  </a:lnTo>
                  <a:close/>
                  <a:moveTo>
                    <a:pt x="84" y="186"/>
                  </a:moveTo>
                  <a:lnTo>
                    <a:pt x="84" y="183"/>
                  </a:lnTo>
                  <a:lnTo>
                    <a:pt x="84" y="186"/>
                  </a:lnTo>
                  <a:close/>
                  <a:moveTo>
                    <a:pt x="190" y="183"/>
                  </a:moveTo>
                  <a:lnTo>
                    <a:pt x="190" y="186"/>
                  </a:lnTo>
                  <a:lnTo>
                    <a:pt x="188" y="186"/>
                  </a:lnTo>
                  <a:lnTo>
                    <a:pt x="188" y="188"/>
                  </a:lnTo>
                  <a:lnTo>
                    <a:pt x="188" y="186"/>
                  </a:lnTo>
                  <a:lnTo>
                    <a:pt x="190" y="183"/>
                  </a:lnTo>
                  <a:close/>
                  <a:moveTo>
                    <a:pt x="79" y="183"/>
                  </a:moveTo>
                  <a:lnTo>
                    <a:pt x="79" y="186"/>
                  </a:lnTo>
                  <a:lnTo>
                    <a:pt x="79" y="183"/>
                  </a:lnTo>
                  <a:lnTo>
                    <a:pt x="79" y="186"/>
                  </a:lnTo>
                  <a:lnTo>
                    <a:pt x="79" y="183"/>
                  </a:lnTo>
                  <a:lnTo>
                    <a:pt x="79" y="181"/>
                  </a:lnTo>
                  <a:lnTo>
                    <a:pt x="79" y="183"/>
                  </a:lnTo>
                  <a:close/>
                  <a:moveTo>
                    <a:pt x="79" y="183"/>
                  </a:moveTo>
                  <a:lnTo>
                    <a:pt x="79" y="181"/>
                  </a:lnTo>
                  <a:lnTo>
                    <a:pt x="79" y="183"/>
                  </a:lnTo>
                  <a:close/>
                  <a:moveTo>
                    <a:pt x="167" y="181"/>
                  </a:moveTo>
                  <a:lnTo>
                    <a:pt x="167" y="183"/>
                  </a:lnTo>
                  <a:lnTo>
                    <a:pt x="169" y="183"/>
                  </a:lnTo>
                  <a:lnTo>
                    <a:pt x="169" y="181"/>
                  </a:lnTo>
                  <a:lnTo>
                    <a:pt x="171" y="181"/>
                  </a:lnTo>
                  <a:lnTo>
                    <a:pt x="171" y="183"/>
                  </a:lnTo>
                  <a:lnTo>
                    <a:pt x="171" y="181"/>
                  </a:lnTo>
                  <a:lnTo>
                    <a:pt x="171" y="183"/>
                  </a:lnTo>
                  <a:lnTo>
                    <a:pt x="169" y="183"/>
                  </a:lnTo>
                  <a:lnTo>
                    <a:pt x="171" y="183"/>
                  </a:lnTo>
                  <a:lnTo>
                    <a:pt x="169" y="183"/>
                  </a:lnTo>
                  <a:lnTo>
                    <a:pt x="171" y="183"/>
                  </a:lnTo>
                  <a:lnTo>
                    <a:pt x="171" y="186"/>
                  </a:lnTo>
                  <a:lnTo>
                    <a:pt x="169" y="186"/>
                  </a:lnTo>
                  <a:lnTo>
                    <a:pt x="167" y="186"/>
                  </a:lnTo>
                  <a:lnTo>
                    <a:pt x="164" y="186"/>
                  </a:lnTo>
                  <a:lnTo>
                    <a:pt x="164" y="188"/>
                  </a:lnTo>
                  <a:lnTo>
                    <a:pt x="162" y="188"/>
                  </a:lnTo>
                  <a:lnTo>
                    <a:pt x="162" y="186"/>
                  </a:lnTo>
                  <a:lnTo>
                    <a:pt x="164" y="186"/>
                  </a:lnTo>
                  <a:lnTo>
                    <a:pt x="164" y="183"/>
                  </a:lnTo>
                  <a:lnTo>
                    <a:pt x="167" y="183"/>
                  </a:lnTo>
                  <a:lnTo>
                    <a:pt x="164" y="183"/>
                  </a:lnTo>
                  <a:lnTo>
                    <a:pt x="167" y="183"/>
                  </a:lnTo>
                  <a:lnTo>
                    <a:pt x="164" y="183"/>
                  </a:lnTo>
                  <a:lnTo>
                    <a:pt x="167" y="183"/>
                  </a:lnTo>
                  <a:lnTo>
                    <a:pt x="167" y="186"/>
                  </a:lnTo>
                  <a:lnTo>
                    <a:pt x="167" y="183"/>
                  </a:lnTo>
                  <a:lnTo>
                    <a:pt x="167" y="186"/>
                  </a:lnTo>
                  <a:lnTo>
                    <a:pt x="169" y="186"/>
                  </a:lnTo>
                  <a:lnTo>
                    <a:pt x="169" y="183"/>
                  </a:lnTo>
                  <a:lnTo>
                    <a:pt x="167" y="183"/>
                  </a:lnTo>
                  <a:lnTo>
                    <a:pt x="167" y="181"/>
                  </a:lnTo>
                  <a:close/>
                  <a:moveTo>
                    <a:pt x="174" y="181"/>
                  </a:moveTo>
                  <a:lnTo>
                    <a:pt x="174" y="183"/>
                  </a:lnTo>
                  <a:lnTo>
                    <a:pt x="174" y="181"/>
                  </a:lnTo>
                  <a:lnTo>
                    <a:pt x="171" y="181"/>
                  </a:lnTo>
                  <a:lnTo>
                    <a:pt x="174" y="181"/>
                  </a:lnTo>
                  <a:close/>
                  <a:moveTo>
                    <a:pt x="195" y="181"/>
                  </a:moveTo>
                  <a:lnTo>
                    <a:pt x="197" y="181"/>
                  </a:lnTo>
                  <a:lnTo>
                    <a:pt x="195" y="183"/>
                  </a:lnTo>
                  <a:lnTo>
                    <a:pt x="197" y="183"/>
                  </a:lnTo>
                  <a:lnTo>
                    <a:pt x="200" y="183"/>
                  </a:lnTo>
                  <a:lnTo>
                    <a:pt x="197" y="183"/>
                  </a:lnTo>
                  <a:lnTo>
                    <a:pt x="197" y="186"/>
                  </a:lnTo>
                  <a:lnTo>
                    <a:pt x="197" y="188"/>
                  </a:lnTo>
                  <a:lnTo>
                    <a:pt x="197" y="186"/>
                  </a:lnTo>
                  <a:lnTo>
                    <a:pt x="197" y="188"/>
                  </a:lnTo>
                  <a:lnTo>
                    <a:pt x="197" y="186"/>
                  </a:lnTo>
                  <a:lnTo>
                    <a:pt x="195" y="186"/>
                  </a:lnTo>
                  <a:lnTo>
                    <a:pt x="195" y="183"/>
                  </a:lnTo>
                  <a:lnTo>
                    <a:pt x="193" y="183"/>
                  </a:lnTo>
                  <a:lnTo>
                    <a:pt x="195" y="183"/>
                  </a:lnTo>
                  <a:lnTo>
                    <a:pt x="193" y="183"/>
                  </a:lnTo>
                  <a:lnTo>
                    <a:pt x="195" y="183"/>
                  </a:lnTo>
                  <a:lnTo>
                    <a:pt x="193" y="183"/>
                  </a:lnTo>
                  <a:lnTo>
                    <a:pt x="195" y="183"/>
                  </a:lnTo>
                  <a:lnTo>
                    <a:pt x="195" y="181"/>
                  </a:lnTo>
                  <a:close/>
                  <a:moveTo>
                    <a:pt x="76" y="181"/>
                  </a:moveTo>
                  <a:lnTo>
                    <a:pt x="76" y="183"/>
                  </a:lnTo>
                  <a:lnTo>
                    <a:pt x="76" y="181"/>
                  </a:lnTo>
                  <a:close/>
                  <a:moveTo>
                    <a:pt x="159" y="181"/>
                  </a:moveTo>
                  <a:lnTo>
                    <a:pt x="162" y="181"/>
                  </a:lnTo>
                  <a:lnTo>
                    <a:pt x="159" y="181"/>
                  </a:lnTo>
                  <a:close/>
                  <a:moveTo>
                    <a:pt x="209" y="181"/>
                  </a:moveTo>
                  <a:lnTo>
                    <a:pt x="209" y="179"/>
                  </a:lnTo>
                  <a:lnTo>
                    <a:pt x="209" y="181"/>
                  </a:lnTo>
                  <a:close/>
                  <a:moveTo>
                    <a:pt x="148" y="179"/>
                  </a:moveTo>
                  <a:lnTo>
                    <a:pt x="150" y="179"/>
                  </a:lnTo>
                  <a:lnTo>
                    <a:pt x="148" y="179"/>
                  </a:lnTo>
                  <a:close/>
                  <a:moveTo>
                    <a:pt x="171" y="179"/>
                  </a:moveTo>
                  <a:lnTo>
                    <a:pt x="171" y="181"/>
                  </a:lnTo>
                  <a:lnTo>
                    <a:pt x="169" y="181"/>
                  </a:lnTo>
                  <a:lnTo>
                    <a:pt x="169" y="179"/>
                  </a:lnTo>
                  <a:lnTo>
                    <a:pt x="171" y="179"/>
                  </a:lnTo>
                  <a:close/>
                  <a:moveTo>
                    <a:pt x="207" y="179"/>
                  </a:moveTo>
                  <a:lnTo>
                    <a:pt x="209" y="179"/>
                  </a:lnTo>
                  <a:lnTo>
                    <a:pt x="207" y="179"/>
                  </a:lnTo>
                  <a:close/>
                  <a:moveTo>
                    <a:pt x="200" y="176"/>
                  </a:moveTo>
                  <a:lnTo>
                    <a:pt x="202" y="176"/>
                  </a:lnTo>
                  <a:lnTo>
                    <a:pt x="202" y="179"/>
                  </a:lnTo>
                  <a:lnTo>
                    <a:pt x="200" y="179"/>
                  </a:lnTo>
                  <a:lnTo>
                    <a:pt x="200" y="176"/>
                  </a:lnTo>
                  <a:lnTo>
                    <a:pt x="202" y="176"/>
                  </a:lnTo>
                  <a:lnTo>
                    <a:pt x="200" y="176"/>
                  </a:lnTo>
                  <a:close/>
                  <a:moveTo>
                    <a:pt x="216" y="176"/>
                  </a:moveTo>
                  <a:lnTo>
                    <a:pt x="214" y="176"/>
                  </a:lnTo>
                  <a:lnTo>
                    <a:pt x="216" y="176"/>
                  </a:lnTo>
                  <a:close/>
                  <a:moveTo>
                    <a:pt x="202" y="176"/>
                  </a:moveTo>
                  <a:lnTo>
                    <a:pt x="205" y="176"/>
                  </a:lnTo>
                  <a:lnTo>
                    <a:pt x="202" y="176"/>
                  </a:lnTo>
                  <a:lnTo>
                    <a:pt x="202" y="179"/>
                  </a:lnTo>
                  <a:lnTo>
                    <a:pt x="202" y="176"/>
                  </a:lnTo>
                  <a:close/>
                  <a:moveTo>
                    <a:pt x="207" y="176"/>
                  </a:moveTo>
                  <a:lnTo>
                    <a:pt x="205" y="176"/>
                  </a:lnTo>
                  <a:lnTo>
                    <a:pt x="207" y="176"/>
                  </a:lnTo>
                  <a:close/>
                  <a:moveTo>
                    <a:pt x="261" y="176"/>
                  </a:moveTo>
                  <a:lnTo>
                    <a:pt x="264" y="176"/>
                  </a:lnTo>
                  <a:lnTo>
                    <a:pt x="264" y="179"/>
                  </a:lnTo>
                  <a:lnTo>
                    <a:pt x="261" y="179"/>
                  </a:lnTo>
                  <a:lnTo>
                    <a:pt x="259" y="179"/>
                  </a:lnTo>
                  <a:lnTo>
                    <a:pt x="257" y="179"/>
                  </a:lnTo>
                  <a:lnTo>
                    <a:pt x="257" y="181"/>
                  </a:lnTo>
                  <a:lnTo>
                    <a:pt x="254" y="181"/>
                  </a:lnTo>
                  <a:lnTo>
                    <a:pt x="252" y="181"/>
                  </a:lnTo>
                  <a:lnTo>
                    <a:pt x="252" y="183"/>
                  </a:lnTo>
                  <a:lnTo>
                    <a:pt x="250" y="183"/>
                  </a:lnTo>
                  <a:lnTo>
                    <a:pt x="252" y="183"/>
                  </a:lnTo>
                  <a:lnTo>
                    <a:pt x="250" y="183"/>
                  </a:lnTo>
                  <a:lnTo>
                    <a:pt x="250" y="186"/>
                  </a:lnTo>
                  <a:lnTo>
                    <a:pt x="250" y="183"/>
                  </a:lnTo>
                  <a:lnTo>
                    <a:pt x="250" y="181"/>
                  </a:lnTo>
                  <a:lnTo>
                    <a:pt x="252" y="181"/>
                  </a:lnTo>
                  <a:lnTo>
                    <a:pt x="252" y="179"/>
                  </a:lnTo>
                  <a:lnTo>
                    <a:pt x="254" y="179"/>
                  </a:lnTo>
                  <a:lnTo>
                    <a:pt x="254" y="176"/>
                  </a:lnTo>
                  <a:lnTo>
                    <a:pt x="257" y="176"/>
                  </a:lnTo>
                  <a:lnTo>
                    <a:pt x="259" y="176"/>
                  </a:lnTo>
                  <a:lnTo>
                    <a:pt x="261" y="176"/>
                  </a:lnTo>
                  <a:close/>
                  <a:moveTo>
                    <a:pt x="250" y="176"/>
                  </a:moveTo>
                  <a:lnTo>
                    <a:pt x="250" y="174"/>
                  </a:lnTo>
                  <a:lnTo>
                    <a:pt x="250" y="176"/>
                  </a:lnTo>
                  <a:close/>
                  <a:moveTo>
                    <a:pt x="205" y="176"/>
                  </a:moveTo>
                  <a:lnTo>
                    <a:pt x="205" y="174"/>
                  </a:lnTo>
                  <a:lnTo>
                    <a:pt x="205" y="176"/>
                  </a:lnTo>
                  <a:close/>
                  <a:moveTo>
                    <a:pt x="136" y="174"/>
                  </a:moveTo>
                  <a:lnTo>
                    <a:pt x="136" y="176"/>
                  </a:lnTo>
                  <a:lnTo>
                    <a:pt x="133" y="176"/>
                  </a:lnTo>
                  <a:lnTo>
                    <a:pt x="133" y="174"/>
                  </a:lnTo>
                  <a:lnTo>
                    <a:pt x="136" y="174"/>
                  </a:lnTo>
                  <a:close/>
                  <a:moveTo>
                    <a:pt x="219" y="174"/>
                  </a:moveTo>
                  <a:lnTo>
                    <a:pt x="219" y="176"/>
                  </a:lnTo>
                  <a:lnTo>
                    <a:pt x="221" y="176"/>
                  </a:lnTo>
                  <a:lnTo>
                    <a:pt x="219" y="176"/>
                  </a:lnTo>
                  <a:lnTo>
                    <a:pt x="216" y="176"/>
                  </a:lnTo>
                  <a:lnTo>
                    <a:pt x="216" y="179"/>
                  </a:lnTo>
                  <a:lnTo>
                    <a:pt x="214" y="179"/>
                  </a:lnTo>
                  <a:lnTo>
                    <a:pt x="214" y="181"/>
                  </a:lnTo>
                  <a:lnTo>
                    <a:pt x="212" y="181"/>
                  </a:lnTo>
                  <a:lnTo>
                    <a:pt x="209" y="181"/>
                  </a:lnTo>
                  <a:lnTo>
                    <a:pt x="212" y="181"/>
                  </a:lnTo>
                  <a:lnTo>
                    <a:pt x="212" y="179"/>
                  </a:lnTo>
                  <a:lnTo>
                    <a:pt x="212" y="181"/>
                  </a:lnTo>
                  <a:lnTo>
                    <a:pt x="212" y="179"/>
                  </a:lnTo>
                  <a:lnTo>
                    <a:pt x="212" y="181"/>
                  </a:lnTo>
                  <a:lnTo>
                    <a:pt x="212" y="179"/>
                  </a:lnTo>
                  <a:lnTo>
                    <a:pt x="212" y="181"/>
                  </a:lnTo>
                  <a:lnTo>
                    <a:pt x="212" y="179"/>
                  </a:lnTo>
                  <a:lnTo>
                    <a:pt x="212" y="181"/>
                  </a:lnTo>
                  <a:lnTo>
                    <a:pt x="214" y="179"/>
                  </a:lnTo>
                  <a:lnTo>
                    <a:pt x="214" y="176"/>
                  </a:lnTo>
                  <a:lnTo>
                    <a:pt x="216" y="176"/>
                  </a:lnTo>
                  <a:lnTo>
                    <a:pt x="219" y="176"/>
                  </a:lnTo>
                  <a:lnTo>
                    <a:pt x="216" y="176"/>
                  </a:lnTo>
                  <a:lnTo>
                    <a:pt x="216" y="174"/>
                  </a:lnTo>
                  <a:lnTo>
                    <a:pt x="219" y="174"/>
                  </a:lnTo>
                  <a:close/>
                  <a:moveTo>
                    <a:pt x="76" y="176"/>
                  </a:moveTo>
                  <a:lnTo>
                    <a:pt x="76" y="174"/>
                  </a:lnTo>
                  <a:lnTo>
                    <a:pt x="74" y="174"/>
                  </a:lnTo>
                  <a:lnTo>
                    <a:pt x="76" y="174"/>
                  </a:lnTo>
                  <a:lnTo>
                    <a:pt x="76" y="176"/>
                  </a:lnTo>
                  <a:close/>
                  <a:moveTo>
                    <a:pt x="205" y="174"/>
                  </a:moveTo>
                  <a:lnTo>
                    <a:pt x="207" y="174"/>
                  </a:lnTo>
                  <a:lnTo>
                    <a:pt x="205" y="174"/>
                  </a:lnTo>
                  <a:close/>
                  <a:moveTo>
                    <a:pt x="183" y="174"/>
                  </a:moveTo>
                  <a:lnTo>
                    <a:pt x="186" y="174"/>
                  </a:lnTo>
                  <a:lnTo>
                    <a:pt x="183" y="174"/>
                  </a:lnTo>
                  <a:close/>
                  <a:moveTo>
                    <a:pt x="257" y="174"/>
                  </a:moveTo>
                  <a:lnTo>
                    <a:pt x="254" y="174"/>
                  </a:lnTo>
                  <a:lnTo>
                    <a:pt x="257" y="174"/>
                  </a:lnTo>
                  <a:close/>
                  <a:moveTo>
                    <a:pt x="186" y="172"/>
                  </a:moveTo>
                  <a:lnTo>
                    <a:pt x="186" y="174"/>
                  </a:lnTo>
                  <a:lnTo>
                    <a:pt x="186" y="172"/>
                  </a:lnTo>
                  <a:lnTo>
                    <a:pt x="186" y="174"/>
                  </a:lnTo>
                  <a:lnTo>
                    <a:pt x="186" y="172"/>
                  </a:lnTo>
                  <a:close/>
                  <a:moveTo>
                    <a:pt x="190" y="172"/>
                  </a:moveTo>
                  <a:lnTo>
                    <a:pt x="190" y="174"/>
                  </a:lnTo>
                  <a:lnTo>
                    <a:pt x="188" y="172"/>
                  </a:lnTo>
                  <a:lnTo>
                    <a:pt x="190" y="172"/>
                  </a:lnTo>
                  <a:close/>
                  <a:moveTo>
                    <a:pt x="228" y="172"/>
                  </a:moveTo>
                  <a:lnTo>
                    <a:pt x="228" y="174"/>
                  </a:lnTo>
                  <a:lnTo>
                    <a:pt x="228" y="172"/>
                  </a:lnTo>
                  <a:close/>
                  <a:moveTo>
                    <a:pt x="247" y="172"/>
                  </a:moveTo>
                  <a:lnTo>
                    <a:pt x="250" y="172"/>
                  </a:lnTo>
                  <a:lnTo>
                    <a:pt x="247" y="172"/>
                  </a:lnTo>
                  <a:close/>
                  <a:moveTo>
                    <a:pt x="233" y="172"/>
                  </a:moveTo>
                  <a:lnTo>
                    <a:pt x="235" y="172"/>
                  </a:lnTo>
                  <a:lnTo>
                    <a:pt x="233" y="172"/>
                  </a:lnTo>
                  <a:lnTo>
                    <a:pt x="233" y="169"/>
                  </a:lnTo>
                  <a:lnTo>
                    <a:pt x="233" y="172"/>
                  </a:lnTo>
                  <a:close/>
                  <a:moveTo>
                    <a:pt x="174" y="169"/>
                  </a:moveTo>
                  <a:lnTo>
                    <a:pt x="176" y="169"/>
                  </a:lnTo>
                  <a:lnTo>
                    <a:pt x="176" y="172"/>
                  </a:lnTo>
                  <a:lnTo>
                    <a:pt x="176" y="169"/>
                  </a:lnTo>
                  <a:lnTo>
                    <a:pt x="176" y="172"/>
                  </a:lnTo>
                  <a:lnTo>
                    <a:pt x="176" y="174"/>
                  </a:lnTo>
                  <a:lnTo>
                    <a:pt x="178" y="174"/>
                  </a:lnTo>
                  <a:lnTo>
                    <a:pt x="176" y="174"/>
                  </a:lnTo>
                  <a:lnTo>
                    <a:pt x="176" y="176"/>
                  </a:lnTo>
                  <a:lnTo>
                    <a:pt x="176" y="174"/>
                  </a:lnTo>
                  <a:lnTo>
                    <a:pt x="174" y="174"/>
                  </a:lnTo>
                  <a:lnTo>
                    <a:pt x="174" y="172"/>
                  </a:lnTo>
                  <a:lnTo>
                    <a:pt x="174" y="169"/>
                  </a:lnTo>
                  <a:close/>
                  <a:moveTo>
                    <a:pt x="188" y="169"/>
                  </a:moveTo>
                  <a:lnTo>
                    <a:pt x="188" y="172"/>
                  </a:lnTo>
                  <a:lnTo>
                    <a:pt x="188" y="174"/>
                  </a:lnTo>
                  <a:lnTo>
                    <a:pt x="186" y="174"/>
                  </a:lnTo>
                  <a:lnTo>
                    <a:pt x="188" y="174"/>
                  </a:lnTo>
                  <a:lnTo>
                    <a:pt x="186" y="172"/>
                  </a:lnTo>
                  <a:lnTo>
                    <a:pt x="188" y="172"/>
                  </a:lnTo>
                  <a:lnTo>
                    <a:pt x="188" y="169"/>
                  </a:lnTo>
                  <a:close/>
                  <a:moveTo>
                    <a:pt x="247" y="169"/>
                  </a:moveTo>
                  <a:lnTo>
                    <a:pt x="250" y="169"/>
                  </a:lnTo>
                  <a:lnTo>
                    <a:pt x="252" y="169"/>
                  </a:lnTo>
                  <a:lnTo>
                    <a:pt x="250" y="169"/>
                  </a:lnTo>
                  <a:lnTo>
                    <a:pt x="252" y="172"/>
                  </a:lnTo>
                  <a:lnTo>
                    <a:pt x="252" y="174"/>
                  </a:lnTo>
                  <a:lnTo>
                    <a:pt x="254" y="174"/>
                  </a:lnTo>
                  <a:lnTo>
                    <a:pt x="252" y="174"/>
                  </a:lnTo>
                  <a:lnTo>
                    <a:pt x="250" y="174"/>
                  </a:lnTo>
                  <a:lnTo>
                    <a:pt x="252" y="174"/>
                  </a:lnTo>
                  <a:lnTo>
                    <a:pt x="250" y="174"/>
                  </a:lnTo>
                  <a:lnTo>
                    <a:pt x="247" y="174"/>
                  </a:lnTo>
                  <a:lnTo>
                    <a:pt x="250" y="174"/>
                  </a:lnTo>
                  <a:lnTo>
                    <a:pt x="250" y="172"/>
                  </a:lnTo>
                  <a:lnTo>
                    <a:pt x="250" y="169"/>
                  </a:lnTo>
                  <a:lnTo>
                    <a:pt x="247" y="169"/>
                  </a:lnTo>
                  <a:lnTo>
                    <a:pt x="250" y="169"/>
                  </a:lnTo>
                  <a:lnTo>
                    <a:pt x="247" y="169"/>
                  </a:lnTo>
                  <a:lnTo>
                    <a:pt x="247" y="167"/>
                  </a:lnTo>
                  <a:lnTo>
                    <a:pt x="247" y="169"/>
                  </a:lnTo>
                  <a:close/>
                  <a:moveTo>
                    <a:pt x="209" y="167"/>
                  </a:moveTo>
                  <a:lnTo>
                    <a:pt x="207" y="167"/>
                  </a:lnTo>
                  <a:lnTo>
                    <a:pt x="209" y="167"/>
                  </a:lnTo>
                  <a:close/>
                  <a:moveTo>
                    <a:pt x="214" y="164"/>
                  </a:moveTo>
                  <a:lnTo>
                    <a:pt x="212" y="167"/>
                  </a:lnTo>
                  <a:lnTo>
                    <a:pt x="214" y="167"/>
                  </a:lnTo>
                  <a:lnTo>
                    <a:pt x="212" y="167"/>
                  </a:lnTo>
                  <a:lnTo>
                    <a:pt x="212" y="164"/>
                  </a:lnTo>
                  <a:lnTo>
                    <a:pt x="212" y="167"/>
                  </a:lnTo>
                  <a:lnTo>
                    <a:pt x="212" y="164"/>
                  </a:lnTo>
                  <a:lnTo>
                    <a:pt x="214" y="164"/>
                  </a:lnTo>
                  <a:close/>
                  <a:moveTo>
                    <a:pt x="193" y="164"/>
                  </a:moveTo>
                  <a:lnTo>
                    <a:pt x="193" y="167"/>
                  </a:lnTo>
                  <a:lnTo>
                    <a:pt x="195" y="167"/>
                  </a:lnTo>
                  <a:lnTo>
                    <a:pt x="195" y="164"/>
                  </a:lnTo>
                  <a:lnTo>
                    <a:pt x="195" y="167"/>
                  </a:lnTo>
                  <a:lnTo>
                    <a:pt x="195" y="164"/>
                  </a:lnTo>
                  <a:lnTo>
                    <a:pt x="193" y="164"/>
                  </a:lnTo>
                  <a:lnTo>
                    <a:pt x="195" y="164"/>
                  </a:lnTo>
                  <a:lnTo>
                    <a:pt x="195" y="167"/>
                  </a:lnTo>
                  <a:lnTo>
                    <a:pt x="193" y="167"/>
                  </a:lnTo>
                  <a:lnTo>
                    <a:pt x="195" y="169"/>
                  </a:lnTo>
                  <a:lnTo>
                    <a:pt x="193" y="169"/>
                  </a:lnTo>
                  <a:lnTo>
                    <a:pt x="193" y="172"/>
                  </a:lnTo>
                  <a:lnTo>
                    <a:pt x="190" y="172"/>
                  </a:lnTo>
                  <a:lnTo>
                    <a:pt x="188" y="172"/>
                  </a:lnTo>
                  <a:lnTo>
                    <a:pt x="188" y="169"/>
                  </a:lnTo>
                  <a:lnTo>
                    <a:pt x="190" y="169"/>
                  </a:lnTo>
                  <a:lnTo>
                    <a:pt x="190" y="167"/>
                  </a:lnTo>
                  <a:lnTo>
                    <a:pt x="190" y="169"/>
                  </a:lnTo>
                  <a:lnTo>
                    <a:pt x="190" y="167"/>
                  </a:lnTo>
                  <a:lnTo>
                    <a:pt x="193" y="164"/>
                  </a:lnTo>
                  <a:close/>
                  <a:moveTo>
                    <a:pt x="245" y="162"/>
                  </a:moveTo>
                  <a:lnTo>
                    <a:pt x="247" y="162"/>
                  </a:lnTo>
                  <a:lnTo>
                    <a:pt x="247" y="164"/>
                  </a:lnTo>
                  <a:lnTo>
                    <a:pt x="245" y="164"/>
                  </a:lnTo>
                  <a:lnTo>
                    <a:pt x="247" y="164"/>
                  </a:lnTo>
                  <a:lnTo>
                    <a:pt x="247" y="167"/>
                  </a:lnTo>
                  <a:lnTo>
                    <a:pt x="247" y="164"/>
                  </a:lnTo>
                  <a:lnTo>
                    <a:pt x="247" y="167"/>
                  </a:lnTo>
                  <a:lnTo>
                    <a:pt x="245" y="167"/>
                  </a:lnTo>
                  <a:lnTo>
                    <a:pt x="247" y="167"/>
                  </a:lnTo>
                  <a:lnTo>
                    <a:pt x="245" y="167"/>
                  </a:lnTo>
                  <a:lnTo>
                    <a:pt x="245" y="164"/>
                  </a:lnTo>
                  <a:lnTo>
                    <a:pt x="242" y="164"/>
                  </a:lnTo>
                  <a:lnTo>
                    <a:pt x="245" y="164"/>
                  </a:lnTo>
                  <a:lnTo>
                    <a:pt x="245" y="162"/>
                  </a:lnTo>
                  <a:close/>
                  <a:moveTo>
                    <a:pt x="202" y="162"/>
                  </a:moveTo>
                  <a:lnTo>
                    <a:pt x="205" y="162"/>
                  </a:lnTo>
                  <a:lnTo>
                    <a:pt x="205" y="164"/>
                  </a:lnTo>
                  <a:lnTo>
                    <a:pt x="205" y="167"/>
                  </a:lnTo>
                  <a:lnTo>
                    <a:pt x="205" y="169"/>
                  </a:lnTo>
                  <a:lnTo>
                    <a:pt x="205" y="172"/>
                  </a:lnTo>
                  <a:lnTo>
                    <a:pt x="205" y="174"/>
                  </a:lnTo>
                  <a:lnTo>
                    <a:pt x="202" y="174"/>
                  </a:lnTo>
                  <a:lnTo>
                    <a:pt x="200" y="174"/>
                  </a:lnTo>
                  <a:lnTo>
                    <a:pt x="200" y="176"/>
                  </a:lnTo>
                  <a:lnTo>
                    <a:pt x="200" y="174"/>
                  </a:lnTo>
                  <a:lnTo>
                    <a:pt x="200" y="172"/>
                  </a:lnTo>
                  <a:lnTo>
                    <a:pt x="197" y="172"/>
                  </a:lnTo>
                  <a:lnTo>
                    <a:pt x="197" y="169"/>
                  </a:lnTo>
                  <a:lnTo>
                    <a:pt x="197" y="167"/>
                  </a:lnTo>
                  <a:lnTo>
                    <a:pt x="197" y="169"/>
                  </a:lnTo>
                  <a:lnTo>
                    <a:pt x="197" y="167"/>
                  </a:lnTo>
                  <a:lnTo>
                    <a:pt x="200" y="167"/>
                  </a:lnTo>
                  <a:lnTo>
                    <a:pt x="200" y="164"/>
                  </a:lnTo>
                  <a:lnTo>
                    <a:pt x="202" y="164"/>
                  </a:lnTo>
                  <a:lnTo>
                    <a:pt x="202" y="162"/>
                  </a:lnTo>
                  <a:close/>
                  <a:moveTo>
                    <a:pt x="169" y="162"/>
                  </a:moveTo>
                  <a:lnTo>
                    <a:pt x="169" y="164"/>
                  </a:lnTo>
                  <a:lnTo>
                    <a:pt x="169" y="162"/>
                  </a:lnTo>
                  <a:lnTo>
                    <a:pt x="169" y="164"/>
                  </a:lnTo>
                  <a:lnTo>
                    <a:pt x="171" y="164"/>
                  </a:lnTo>
                  <a:lnTo>
                    <a:pt x="169" y="164"/>
                  </a:lnTo>
                  <a:lnTo>
                    <a:pt x="169" y="167"/>
                  </a:lnTo>
                  <a:lnTo>
                    <a:pt x="169" y="164"/>
                  </a:lnTo>
                  <a:lnTo>
                    <a:pt x="169" y="167"/>
                  </a:lnTo>
                  <a:lnTo>
                    <a:pt x="167" y="167"/>
                  </a:lnTo>
                  <a:lnTo>
                    <a:pt x="167" y="164"/>
                  </a:lnTo>
                  <a:lnTo>
                    <a:pt x="167" y="167"/>
                  </a:lnTo>
                  <a:lnTo>
                    <a:pt x="167" y="164"/>
                  </a:lnTo>
                  <a:lnTo>
                    <a:pt x="167" y="167"/>
                  </a:lnTo>
                  <a:lnTo>
                    <a:pt x="167" y="164"/>
                  </a:lnTo>
                  <a:lnTo>
                    <a:pt x="167" y="162"/>
                  </a:lnTo>
                  <a:lnTo>
                    <a:pt x="167" y="164"/>
                  </a:lnTo>
                  <a:lnTo>
                    <a:pt x="167" y="162"/>
                  </a:lnTo>
                  <a:lnTo>
                    <a:pt x="169" y="162"/>
                  </a:lnTo>
                  <a:close/>
                  <a:moveTo>
                    <a:pt x="245" y="162"/>
                  </a:moveTo>
                  <a:lnTo>
                    <a:pt x="242" y="162"/>
                  </a:lnTo>
                  <a:lnTo>
                    <a:pt x="245" y="162"/>
                  </a:lnTo>
                  <a:close/>
                  <a:moveTo>
                    <a:pt x="126" y="162"/>
                  </a:moveTo>
                  <a:lnTo>
                    <a:pt x="124" y="162"/>
                  </a:lnTo>
                  <a:lnTo>
                    <a:pt x="126" y="162"/>
                  </a:lnTo>
                  <a:close/>
                  <a:moveTo>
                    <a:pt x="55" y="160"/>
                  </a:moveTo>
                  <a:lnTo>
                    <a:pt x="53" y="160"/>
                  </a:lnTo>
                  <a:lnTo>
                    <a:pt x="55" y="160"/>
                  </a:lnTo>
                  <a:close/>
                  <a:moveTo>
                    <a:pt x="174" y="160"/>
                  </a:moveTo>
                  <a:lnTo>
                    <a:pt x="171" y="160"/>
                  </a:lnTo>
                  <a:lnTo>
                    <a:pt x="174" y="160"/>
                  </a:lnTo>
                  <a:close/>
                  <a:moveTo>
                    <a:pt x="124" y="160"/>
                  </a:moveTo>
                  <a:lnTo>
                    <a:pt x="124" y="162"/>
                  </a:lnTo>
                  <a:lnTo>
                    <a:pt x="124" y="160"/>
                  </a:lnTo>
                  <a:lnTo>
                    <a:pt x="124" y="162"/>
                  </a:lnTo>
                  <a:lnTo>
                    <a:pt x="124" y="160"/>
                  </a:lnTo>
                  <a:lnTo>
                    <a:pt x="121" y="160"/>
                  </a:lnTo>
                  <a:lnTo>
                    <a:pt x="124" y="160"/>
                  </a:lnTo>
                  <a:close/>
                  <a:moveTo>
                    <a:pt x="254" y="157"/>
                  </a:moveTo>
                  <a:lnTo>
                    <a:pt x="254" y="160"/>
                  </a:lnTo>
                  <a:lnTo>
                    <a:pt x="254" y="157"/>
                  </a:lnTo>
                  <a:close/>
                  <a:moveTo>
                    <a:pt x="242" y="157"/>
                  </a:moveTo>
                  <a:lnTo>
                    <a:pt x="245" y="157"/>
                  </a:lnTo>
                  <a:lnTo>
                    <a:pt x="245" y="160"/>
                  </a:lnTo>
                  <a:lnTo>
                    <a:pt x="242" y="160"/>
                  </a:lnTo>
                  <a:lnTo>
                    <a:pt x="242" y="157"/>
                  </a:lnTo>
                  <a:lnTo>
                    <a:pt x="242" y="160"/>
                  </a:lnTo>
                  <a:lnTo>
                    <a:pt x="242" y="157"/>
                  </a:lnTo>
                  <a:lnTo>
                    <a:pt x="242" y="160"/>
                  </a:lnTo>
                  <a:lnTo>
                    <a:pt x="242" y="157"/>
                  </a:lnTo>
                  <a:close/>
                  <a:moveTo>
                    <a:pt x="131" y="157"/>
                  </a:moveTo>
                  <a:lnTo>
                    <a:pt x="129" y="157"/>
                  </a:lnTo>
                  <a:lnTo>
                    <a:pt x="131" y="157"/>
                  </a:lnTo>
                  <a:lnTo>
                    <a:pt x="131" y="155"/>
                  </a:lnTo>
                  <a:lnTo>
                    <a:pt x="131" y="157"/>
                  </a:lnTo>
                  <a:lnTo>
                    <a:pt x="131" y="155"/>
                  </a:lnTo>
                  <a:lnTo>
                    <a:pt x="131" y="157"/>
                  </a:lnTo>
                  <a:close/>
                  <a:moveTo>
                    <a:pt x="138" y="155"/>
                  </a:moveTo>
                  <a:lnTo>
                    <a:pt x="136" y="155"/>
                  </a:lnTo>
                  <a:lnTo>
                    <a:pt x="136" y="157"/>
                  </a:lnTo>
                  <a:lnTo>
                    <a:pt x="133" y="157"/>
                  </a:lnTo>
                  <a:lnTo>
                    <a:pt x="131" y="157"/>
                  </a:lnTo>
                  <a:lnTo>
                    <a:pt x="133" y="157"/>
                  </a:lnTo>
                  <a:lnTo>
                    <a:pt x="133" y="155"/>
                  </a:lnTo>
                  <a:lnTo>
                    <a:pt x="136" y="155"/>
                  </a:lnTo>
                  <a:lnTo>
                    <a:pt x="138" y="155"/>
                  </a:lnTo>
                  <a:close/>
                  <a:moveTo>
                    <a:pt x="238" y="155"/>
                  </a:moveTo>
                  <a:lnTo>
                    <a:pt x="238" y="157"/>
                  </a:lnTo>
                  <a:lnTo>
                    <a:pt x="238" y="155"/>
                  </a:lnTo>
                  <a:lnTo>
                    <a:pt x="238" y="157"/>
                  </a:lnTo>
                  <a:lnTo>
                    <a:pt x="238" y="155"/>
                  </a:lnTo>
                  <a:lnTo>
                    <a:pt x="238" y="157"/>
                  </a:lnTo>
                  <a:lnTo>
                    <a:pt x="235" y="157"/>
                  </a:lnTo>
                  <a:lnTo>
                    <a:pt x="238" y="157"/>
                  </a:lnTo>
                  <a:lnTo>
                    <a:pt x="238" y="160"/>
                  </a:lnTo>
                  <a:lnTo>
                    <a:pt x="235" y="160"/>
                  </a:lnTo>
                  <a:lnTo>
                    <a:pt x="238" y="160"/>
                  </a:lnTo>
                  <a:lnTo>
                    <a:pt x="235" y="160"/>
                  </a:lnTo>
                  <a:lnTo>
                    <a:pt x="235" y="157"/>
                  </a:lnTo>
                  <a:lnTo>
                    <a:pt x="235" y="160"/>
                  </a:lnTo>
                  <a:lnTo>
                    <a:pt x="235" y="157"/>
                  </a:lnTo>
                  <a:lnTo>
                    <a:pt x="235" y="155"/>
                  </a:lnTo>
                  <a:lnTo>
                    <a:pt x="238" y="155"/>
                  </a:lnTo>
                  <a:close/>
                  <a:moveTo>
                    <a:pt x="242" y="153"/>
                  </a:moveTo>
                  <a:lnTo>
                    <a:pt x="242" y="155"/>
                  </a:lnTo>
                  <a:lnTo>
                    <a:pt x="242" y="153"/>
                  </a:lnTo>
                  <a:lnTo>
                    <a:pt x="242" y="155"/>
                  </a:lnTo>
                  <a:lnTo>
                    <a:pt x="242" y="153"/>
                  </a:lnTo>
                  <a:close/>
                  <a:moveTo>
                    <a:pt x="195" y="153"/>
                  </a:moveTo>
                  <a:lnTo>
                    <a:pt x="195" y="155"/>
                  </a:lnTo>
                  <a:lnTo>
                    <a:pt x="195" y="153"/>
                  </a:lnTo>
                  <a:close/>
                  <a:moveTo>
                    <a:pt x="186" y="153"/>
                  </a:moveTo>
                  <a:lnTo>
                    <a:pt x="183" y="153"/>
                  </a:lnTo>
                  <a:lnTo>
                    <a:pt x="186" y="153"/>
                  </a:lnTo>
                  <a:close/>
                  <a:moveTo>
                    <a:pt x="193" y="153"/>
                  </a:moveTo>
                  <a:lnTo>
                    <a:pt x="193" y="155"/>
                  </a:lnTo>
                  <a:lnTo>
                    <a:pt x="193" y="153"/>
                  </a:lnTo>
                  <a:lnTo>
                    <a:pt x="193" y="155"/>
                  </a:lnTo>
                  <a:lnTo>
                    <a:pt x="195" y="155"/>
                  </a:lnTo>
                  <a:lnTo>
                    <a:pt x="193" y="155"/>
                  </a:lnTo>
                  <a:lnTo>
                    <a:pt x="193" y="153"/>
                  </a:lnTo>
                  <a:close/>
                  <a:moveTo>
                    <a:pt x="202" y="150"/>
                  </a:moveTo>
                  <a:lnTo>
                    <a:pt x="202" y="153"/>
                  </a:lnTo>
                  <a:lnTo>
                    <a:pt x="202" y="150"/>
                  </a:lnTo>
                  <a:lnTo>
                    <a:pt x="202" y="153"/>
                  </a:lnTo>
                  <a:lnTo>
                    <a:pt x="202" y="150"/>
                  </a:lnTo>
                  <a:close/>
                  <a:moveTo>
                    <a:pt x="252" y="150"/>
                  </a:moveTo>
                  <a:lnTo>
                    <a:pt x="250" y="150"/>
                  </a:lnTo>
                  <a:lnTo>
                    <a:pt x="250" y="153"/>
                  </a:lnTo>
                  <a:lnTo>
                    <a:pt x="250" y="150"/>
                  </a:lnTo>
                  <a:lnTo>
                    <a:pt x="250" y="153"/>
                  </a:lnTo>
                  <a:lnTo>
                    <a:pt x="250" y="150"/>
                  </a:lnTo>
                  <a:lnTo>
                    <a:pt x="250" y="153"/>
                  </a:lnTo>
                  <a:lnTo>
                    <a:pt x="250" y="150"/>
                  </a:lnTo>
                  <a:lnTo>
                    <a:pt x="250" y="153"/>
                  </a:lnTo>
                  <a:lnTo>
                    <a:pt x="250" y="150"/>
                  </a:lnTo>
                  <a:lnTo>
                    <a:pt x="252" y="150"/>
                  </a:lnTo>
                  <a:close/>
                  <a:moveTo>
                    <a:pt x="167" y="150"/>
                  </a:moveTo>
                  <a:lnTo>
                    <a:pt x="167" y="153"/>
                  </a:lnTo>
                  <a:lnTo>
                    <a:pt x="169" y="153"/>
                  </a:lnTo>
                  <a:lnTo>
                    <a:pt x="169" y="155"/>
                  </a:lnTo>
                  <a:lnTo>
                    <a:pt x="167" y="155"/>
                  </a:lnTo>
                  <a:lnTo>
                    <a:pt x="167" y="157"/>
                  </a:lnTo>
                  <a:lnTo>
                    <a:pt x="167" y="155"/>
                  </a:lnTo>
                  <a:lnTo>
                    <a:pt x="167" y="157"/>
                  </a:lnTo>
                  <a:lnTo>
                    <a:pt x="167" y="155"/>
                  </a:lnTo>
                  <a:lnTo>
                    <a:pt x="167" y="157"/>
                  </a:lnTo>
                  <a:lnTo>
                    <a:pt x="164" y="157"/>
                  </a:lnTo>
                  <a:lnTo>
                    <a:pt x="164" y="155"/>
                  </a:lnTo>
                  <a:lnTo>
                    <a:pt x="167" y="155"/>
                  </a:lnTo>
                  <a:lnTo>
                    <a:pt x="164" y="155"/>
                  </a:lnTo>
                  <a:lnTo>
                    <a:pt x="167" y="155"/>
                  </a:lnTo>
                  <a:lnTo>
                    <a:pt x="164" y="155"/>
                  </a:lnTo>
                  <a:lnTo>
                    <a:pt x="167" y="155"/>
                  </a:lnTo>
                  <a:lnTo>
                    <a:pt x="164" y="155"/>
                  </a:lnTo>
                  <a:lnTo>
                    <a:pt x="164" y="153"/>
                  </a:lnTo>
                  <a:lnTo>
                    <a:pt x="167" y="153"/>
                  </a:lnTo>
                  <a:lnTo>
                    <a:pt x="164" y="153"/>
                  </a:lnTo>
                  <a:lnTo>
                    <a:pt x="167" y="153"/>
                  </a:lnTo>
                  <a:lnTo>
                    <a:pt x="164" y="153"/>
                  </a:lnTo>
                  <a:lnTo>
                    <a:pt x="164" y="150"/>
                  </a:lnTo>
                  <a:lnTo>
                    <a:pt x="167" y="150"/>
                  </a:lnTo>
                  <a:close/>
                  <a:moveTo>
                    <a:pt x="197" y="150"/>
                  </a:moveTo>
                  <a:lnTo>
                    <a:pt x="200" y="150"/>
                  </a:lnTo>
                  <a:lnTo>
                    <a:pt x="200" y="153"/>
                  </a:lnTo>
                  <a:lnTo>
                    <a:pt x="197" y="153"/>
                  </a:lnTo>
                  <a:lnTo>
                    <a:pt x="195" y="153"/>
                  </a:lnTo>
                  <a:lnTo>
                    <a:pt x="197" y="153"/>
                  </a:lnTo>
                  <a:lnTo>
                    <a:pt x="195" y="150"/>
                  </a:lnTo>
                  <a:lnTo>
                    <a:pt x="197" y="150"/>
                  </a:lnTo>
                  <a:close/>
                  <a:moveTo>
                    <a:pt x="181" y="148"/>
                  </a:moveTo>
                  <a:lnTo>
                    <a:pt x="183" y="148"/>
                  </a:lnTo>
                  <a:lnTo>
                    <a:pt x="183" y="150"/>
                  </a:lnTo>
                  <a:lnTo>
                    <a:pt x="183" y="153"/>
                  </a:lnTo>
                  <a:lnTo>
                    <a:pt x="186" y="153"/>
                  </a:lnTo>
                  <a:lnTo>
                    <a:pt x="183" y="155"/>
                  </a:lnTo>
                  <a:lnTo>
                    <a:pt x="181" y="155"/>
                  </a:lnTo>
                  <a:lnTo>
                    <a:pt x="181" y="153"/>
                  </a:lnTo>
                  <a:lnTo>
                    <a:pt x="183" y="153"/>
                  </a:lnTo>
                  <a:lnTo>
                    <a:pt x="181" y="153"/>
                  </a:lnTo>
                  <a:lnTo>
                    <a:pt x="183" y="150"/>
                  </a:lnTo>
                  <a:lnTo>
                    <a:pt x="181" y="150"/>
                  </a:lnTo>
                  <a:lnTo>
                    <a:pt x="183" y="150"/>
                  </a:lnTo>
                  <a:lnTo>
                    <a:pt x="181" y="150"/>
                  </a:lnTo>
                  <a:lnTo>
                    <a:pt x="183" y="150"/>
                  </a:lnTo>
                  <a:lnTo>
                    <a:pt x="181" y="150"/>
                  </a:lnTo>
                  <a:lnTo>
                    <a:pt x="183" y="150"/>
                  </a:lnTo>
                  <a:lnTo>
                    <a:pt x="181" y="150"/>
                  </a:lnTo>
                  <a:lnTo>
                    <a:pt x="181" y="148"/>
                  </a:lnTo>
                  <a:close/>
                  <a:moveTo>
                    <a:pt x="114" y="148"/>
                  </a:moveTo>
                  <a:lnTo>
                    <a:pt x="114" y="150"/>
                  </a:lnTo>
                  <a:lnTo>
                    <a:pt x="114" y="148"/>
                  </a:lnTo>
                  <a:lnTo>
                    <a:pt x="114" y="150"/>
                  </a:lnTo>
                  <a:lnTo>
                    <a:pt x="114" y="148"/>
                  </a:lnTo>
                  <a:close/>
                  <a:moveTo>
                    <a:pt x="235" y="150"/>
                  </a:moveTo>
                  <a:lnTo>
                    <a:pt x="235" y="148"/>
                  </a:lnTo>
                  <a:lnTo>
                    <a:pt x="235" y="150"/>
                  </a:lnTo>
                  <a:close/>
                  <a:moveTo>
                    <a:pt x="136" y="148"/>
                  </a:moveTo>
                  <a:lnTo>
                    <a:pt x="136" y="150"/>
                  </a:lnTo>
                  <a:lnTo>
                    <a:pt x="136" y="148"/>
                  </a:lnTo>
                  <a:lnTo>
                    <a:pt x="136" y="150"/>
                  </a:lnTo>
                  <a:lnTo>
                    <a:pt x="133" y="150"/>
                  </a:lnTo>
                  <a:lnTo>
                    <a:pt x="133" y="148"/>
                  </a:lnTo>
                  <a:lnTo>
                    <a:pt x="136" y="148"/>
                  </a:lnTo>
                  <a:lnTo>
                    <a:pt x="136" y="145"/>
                  </a:lnTo>
                  <a:lnTo>
                    <a:pt x="136" y="148"/>
                  </a:lnTo>
                  <a:close/>
                  <a:moveTo>
                    <a:pt x="233" y="145"/>
                  </a:moveTo>
                  <a:lnTo>
                    <a:pt x="231" y="145"/>
                  </a:lnTo>
                  <a:lnTo>
                    <a:pt x="233" y="145"/>
                  </a:lnTo>
                  <a:close/>
                  <a:moveTo>
                    <a:pt x="238" y="145"/>
                  </a:moveTo>
                  <a:lnTo>
                    <a:pt x="235" y="145"/>
                  </a:lnTo>
                  <a:lnTo>
                    <a:pt x="238" y="145"/>
                  </a:lnTo>
                  <a:close/>
                  <a:moveTo>
                    <a:pt x="176" y="143"/>
                  </a:moveTo>
                  <a:lnTo>
                    <a:pt x="176" y="145"/>
                  </a:lnTo>
                  <a:lnTo>
                    <a:pt x="174" y="145"/>
                  </a:lnTo>
                  <a:lnTo>
                    <a:pt x="176" y="145"/>
                  </a:lnTo>
                  <a:lnTo>
                    <a:pt x="176" y="143"/>
                  </a:lnTo>
                  <a:close/>
                  <a:moveTo>
                    <a:pt x="235" y="143"/>
                  </a:moveTo>
                  <a:lnTo>
                    <a:pt x="235" y="145"/>
                  </a:lnTo>
                  <a:lnTo>
                    <a:pt x="235" y="148"/>
                  </a:lnTo>
                  <a:lnTo>
                    <a:pt x="235" y="145"/>
                  </a:lnTo>
                  <a:lnTo>
                    <a:pt x="235" y="148"/>
                  </a:lnTo>
                  <a:lnTo>
                    <a:pt x="233" y="148"/>
                  </a:lnTo>
                  <a:lnTo>
                    <a:pt x="233" y="145"/>
                  </a:lnTo>
                  <a:lnTo>
                    <a:pt x="235" y="145"/>
                  </a:lnTo>
                  <a:lnTo>
                    <a:pt x="233" y="145"/>
                  </a:lnTo>
                  <a:lnTo>
                    <a:pt x="235" y="145"/>
                  </a:lnTo>
                  <a:lnTo>
                    <a:pt x="233" y="145"/>
                  </a:lnTo>
                  <a:lnTo>
                    <a:pt x="235" y="145"/>
                  </a:lnTo>
                  <a:lnTo>
                    <a:pt x="235" y="143"/>
                  </a:lnTo>
                  <a:close/>
                  <a:moveTo>
                    <a:pt x="150" y="143"/>
                  </a:moveTo>
                  <a:lnTo>
                    <a:pt x="152" y="143"/>
                  </a:lnTo>
                  <a:lnTo>
                    <a:pt x="150" y="143"/>
                  </a:lnTo>
                  <a:close/>
                  <a:moveTo>
                    <a:pt x="186" y="141"/>
                  </a:moveTo>
                  <a:lnTo>
                    <a:pt x="186" y="143"/>
                  </a:lnTo>
                  <a:lnTo>
                    <a:pt x="186" y="141"/>
                  </a:lnTo>
                  <a:lnTo>
                    <a:pt x="188" y="141"/>
                  </a:lnTo>
                  <a:lnTo>
                    <a:pt x="188" y="143"/>
                  </a:lnTo>
                  <a:lnTo>
                    <a:pt x="190" y="143"/>
                  </a:lnTo>
                  <a:lnTo>
                    <a:pt x="193" y="143"/>
                  </a:lnTo>
                  <a:lnTo>
                    <a:pt x="193" y="145"/>
                  </a:lnTo>
                  <a:lnTo>
                    <a:pt x="193" y="143"/>
                  </a:lnTo>
                  <a:lnTo>
                    <a:pt x="193" y="145"/>
                  </a:lnTo>
                  <a:lnTo>
                    <a:pt x="193" y="148"/>
                  </a:lnTo>
                  <a:lnTo>
                    <a:pt x="190" y="148"/>
                  </a:lnTo>
                  <a:lnTo>
                    <a:pt x="188" y="148"/>
                  </a:lnTo>
                  <a:lnTo>
                    <a:pt x="188" y="145"/>
                  </a:lnTo>
                  <a:lnTo>
                    <a:pt x="188" y="143"/>
                  </a:lnTo>
                  <a:lnTo>
                    <a:pt x="186" y="143"/>
                  </a:lnTo>
                  <a:lnTo>
                    <a:pt x="186" y="141"/>
                  </a:lnTo>
                  <a:close/>
                  <a:moveTo>
                    <a:pt x="164" y="141"/>
                  </a:moveTo>
                  <a:lnTo>
                    <a:pt x="167" y="141"/>
                  </a:lnTo>
                  <a:lnTo>
                    <a:pt x="167" y="143"/>
                  </a:lnTo>
                  <a:lnTo>
                    <a:pt x="164" y="143"/>
                  </a:lnTo>
                  <a:lnTo>
                    <a:pt x="167" y="143"/>
                  </a:lnTo>
                  <a:lnTo>
                    <a:pt x="164" y="143"/>
                  </a:lnTo>
                  <a:lnTo>
                    <a:pt x="164" y="145"/>
                  </a:lnTo>
                  <a:lnTo>
                    <a:pt x="164" y="148"/>
                  </a:lnTo>
                  <a:lnTo>
                    <a:pt x="164" y="145"/>
                  </a:lnTo>
                  <a:lnTo>
                    <a:pt x="164" y="148"/>
                  </a:lnTo>
                  <a:lnTo>
                    <a:pt x="162" y="148"/>
                  </a:lnTo>
                  <a:lnTo>
                    <a:pt x="164" y="148"/>
                  </a:lnTo>
                  <a:lnTo>
                    <a:pt x="162" y="148"/>
                  </a:lnTo>
                  <a:lnTo>
                    <a:pt x="162" y="145"/>
                  </a:lnTo>
                  <a:lnTo>
                    <a:pt x="162" y="143"/>
                  </a:lnTo>
                  <a:lnTo>
                    <a:pt x="162" y="141"/>
                  </a:lnTo>
                  <a:lnTo>
                    <a:pt x="164" y="141"/>
                  </a:lnTo>
                  <a:lnTo>
                    <a:pt x="164" y="143"/>
                  </a:lnTo>
                  <a:lnTo>
                    <a:pt x="164" y="141"/>
                  </a:lnTo>
                  <a:lnTo>
                    <a:pt x="162" y="141"/>
                  </a:lnTo>
                  <a:lnTo>
                    <a:pt x="164" y="141"/>
                  </a:lnTo>
                  <a:close/>
                  <a:moveTo>
                    <a:pt x="231" y="141"/>
                  </a:moveTo>
                  <a:lnTo>
                    <a:pt x="231" y="143"/>
                  </a:lnTo>
                  <a:lnTo>
                    <a:pt x="228" y="143"/>
                  </a:lnTo>
                  <a:lnTo>
                    <a:pt x="228" y="145"/>
                  </a:lnTo>
                  <a:lnTo>
                    <a:pt x="226" y="145"/>
                  </a:lnTo>
                  <a:lnTo>
                    <a:pt x="223" y="145"/>
                  </a:lnTo>
                  <a:lnTo>
                    <a:pt x="223" y="148"/>
                  </a:lnTo>
                  <a:lnTo>
                    <a:pt x="223" y="145"/>
                  </a:lnTo>
                  <a:lnTo>
                    <a:pt x="223" y="148"/>
                  </a:lnTo>
                  <a:lnTo>
                    <a:pt x="223" y="145"/>
                  </a:lnTo>
                  <a:lnTo>
                    <a:pt x="221" y="148"/>
                  </a:lnTo>
                  <a:lnTo>
                    <a:pt x="219" y="148"/>
                  </a:lnTo>
                  <a:lnTo>
                    <a:pt x="216" y="148"/>
                  </a:lnTo>
                  <a:lnTo>
                    <a:pt x="219" y="148"/>
                  </a:lnTo>
                  <a:lnTo>
                    <a:pt x="216" y="148"/>
                  </a:lnTo>
                  <a:lnTo>
                    <a:pt x="219" y="148"/>
                  </a:lnTo>
                  <a:lnTo>
                    <a:pt x="219" y="145"/>
                  </a:lnTo>
                  <a:lnTo>
                    <a:pt x="221" y="143"/>
                  </a:lnTo>
                  <a:lnTo>
                    <a:pt x="223" y="143"/>
                  </a:lnTo>
                  <a:lnTo>
                    <a:pt x="226" y="143"/>
                  </a:lnTo>
                  <a:lnTo>
                    <a:pt x="228" y="141"/>
                  </a:lnTo>
                  <a:lnTo>
                    <a:pt x="231" y="141"/>
                  </a:lnTo>
                  <a:close/>
                  <a:moveTo>
                    <a:pt x="157" y="138"/>
                  </a:moveTo>
                  <a:lnTo>
                    <a:pt x="157" y="141"/>
                  </a:lnTo>
                  <a:lnTo>
                    <a:pt x="157" y="143"/>
                  </a:lnTo>
                  <a:lnTo>
                    <a:pt x="155" y="143"/>
                  </a:lnTo>
                  <a:lnTo>
                    <a:pt x="155" y="141"/>
                  </a:lnTo>
                  <a:lnTo>
                    <a:pt x="157" y="141"/>
                  </a:lnTo>
                  <a:lnTo>
                    <a:pt x="157" y="138"/>
                  </a:lnTo>
                  <a:close/>
                  <a:moveTo>
                    <a:pt x="136" y="136"/>
                  </a:moveTo>
                  <a:lnTo>
                    <a:pt x="136" y="138"/>
                  </a:lnTo>
                  <a:lnTo>
                    <a:pt x="136" y="136"/>
                  </a:lnTo>
                  <a:lnTo>
                    <a:pt x="136" y="138"/>
                  </a:lnTo>
                  <a:lnTo>
                    <a:pt x="136" y="136"/>
                  </a:lnTo>
                  <a:lnTo>
                    <a:pt x="136" y="138"/>
                  </a:lnTo>
                  <a:lnTo>
                    <a:pt x="136" y="136"/>
                  </a:lnTo>
                  <a:lnTo>
                    <a:pt x="138" y="136"/>
                  </a:lnTo>
                  <a:lnTo>
                    <a:pt x="138" y="138"/>
                  </a:lnTo>
                  <a:lnTo>
                    <a:pt x="138" y="136"/>
                  </a:lnTo>
                  <a:lnTo>
                    <a:pt x="138" y="138"/>
                  </a:lnTo>
                  <a:lnTo>
                    <a:pt x="136" y="138"/>
                  </a:lnTo>
                  <a:lnTo>
                    <a:pt x="136" y="141"/>
                  </a:lnTo>
                  <a:lnTo>
                    <a:pt x="133" y="141"/>
                  </a:lnTo>
                  <a:lnTo>
                    <a:pt x="136" y="141"/>
                  </a:lnTo>
                  <a:lnTo>
                    <a:pt x="136" y="138"/>
                  </a:lnTo>
                  <a:lnTo>
                    <a:pt x="133" y="138"/>
                  </a:lnTo>
                  <a:lnTo>
                    <a:pt x="133" y="136"/>
                  </a:lnTo>
                  <a:lnTo>
                    <a:pt x="136" y="138"/>
                  </a:lnTo>
                  <a:lnTo>
                    <a:pt x="136" y="136"/>
                  </a:lnTo>
                  <a:close/>
                  <a:moveTo>
                    <a:pt x="145" y="138"/>
                  </a:moveTo>
                  <a:lnTo>
                    <a:pt x="145" y="136"/>
                  </a:lnTo>
                  <a:lnTo>
                    <a:pt x="145" y="138"/>
                  </a:lnTo>
                  <a:close/>
                  <a:moveTo>
                    <a:pt x="242" y="136"/>
                  </a:moveTo>
                  <a:lnTo>
                    <a:pt x="245" y="136"/>
                  </a:lnTo>
                  <a:lnTo>
                    <a:pt x="247" y="136"/>
                  </a:lnTo>
                  <a:lnTo>
                    <a:pt x="250" y="138"/>
                  </a:lnTo>
                  <a:lnTo>
                    <a:pt x="250" y="136"/>
                  </a:lnTo>
                  <a:lnTo>
                    <a:pt x="250" y="138"/>
                  </a:lnTo>
                  <a:lnTo>
                    <a:pt x="250" y="136"/>
                  </a:lnTo>
                  <a:lnTo>
                    <a:pt x="252" y="136"/>
                  </a:lnTo>
                  <a:lnTo>
                    <a:pt x="250" y="136"/>
                  </a:lnTo>
                  <a:lnTo>
                    <a:pt x="252" y="136"/>
                  </a:lnTo>
                  <a:lnTo>
                    <a:pt x="254" y="136"/>
                  </a:lnTo>
                  <a:lnTo>
                    <a:pt x="254" y="138"/>
                  </a:lnTo>
                  <a:lnTo>
                    <a:pt x="252" y="138"/>
                  </a:lnTo>
                  <a:lnTo>
                    <a:pt x="254" y="138"/>
                  </a:lnTo>
                  <a:lnTo>
                    <a:pt x="254" y="141"/>
                  </a:lnTo>
                  <a:lnTo>
                    <a:pt x="252" y="141"/>
                  </a:lnTo>
                  <a:lnTo>
                    <a:pt x="250" y="141"/>
                  </a:lnTo>
                  <a:lnTo>
                    <a:pt x="247" y="141"/>
                  </a:lnTo>
                  <a:lnTo>
                    <a:pt x="247" y="143"/>
                  </a:lnTo>
                  <a:lnTo>
                    <a:pt x="245" y="143"/>
                  </a:lnTo>
                  <a:lnTo>
                    <a:pt x="245" y="141"/>
                  </a:lnTo>
                  <a:lnTo>
                    <a:pt x="242" y="141"/>
                  </a:lnTo>
                  <a:lnTo>
                    <a:pt x="240" y="141"/>
                  </a:lnTo>
                  <a:lnTo>
                    <a:pt x="238" y="141"/>
                  </a:lnTo>
                  <a:lnTo>
                    <a:pt x="240" y="141"/>
                  </a:lnTo>
                  <a:lnTo>
                    <a:pt x="238" y="141"/>
                  </a:lnTo>
                  <a:lnTo>
                    <a:pt x="238" y="138"/>
                  </a:lnTo>
                  <a:lnTo>
                    <a:pt x="240" y="138"/>
                  </a:lnTo>
                  <a:lnTo>
                    <a:pt x="240" y="136"/>
                  </a:lnTo>
                  <a:lnTo>
                    <a:pt x="242" y="136"/>
                  </a:lnTo>
                  <a:close/>
                  <a:moveTo>
                    <a:pt x="126" y="136"/>
                  </a:moveTo>
                  <a:lnTo>
                    <a:pt x="129" y="136"/>
                  </a:lnTo>
                  <a:lnTo>
                    <a:pt x="126" y="136"/>
                  </a:lnTo>
                  <a:lnTo>
                    <a:pt x="129" y="136"/>
                  </a:lnTo>
                  <a:lnTo>
                    <a:pt x="126" y="136"/>
                  </a:lnTo>
                  <a:close/>
                  <a:moveTo>
                    <a:pt x="129" y="136"/>
                  </a:moveTo>
                  <a:lnTo>
                    <a:pt x="129" y="134"/>
                  </a:lnTo>
                  <a:lnTo>
                    <a:pt x="129" y="136"/>
                  </a:lnTo>
                  <a:close/>
                  <a:moveTo>
                    <a:pt x="43" y="131"/>
                  </a:moveTo>
                  <a:lnTo>
                    <a:pt x="46" y="134"/>
                  </a:lnTo>
                  <a:lnTo>
                    <a:pt x="46" y="131"/>
                  </a:lnTo>
                  <a:lnTo>
                    <a:pt x="46" y="134"/>
                  </a:lnTo>
                  <a:lnTo>
                    <a:pt x="48" y="134"/>
                  </a:lnTo>
                  <a:lnTo>
                    <a:pt x="48" y="136"/>
                  </a:lnTo>
                  <a:lnTo>
                    <a:pt x="50" y="136"/>
                  </a:lnTo>
                  <a:lnTo>
                    <a:pt x="50" y="138"/>
                  </a:lnTo>
                  <a:lnTo>
                    <a:pt x="53" y="138"/>
                  </a:lnTo>
                  <a:lnTo>
                    <a:pt x="53" y="141"/>
                  </a:lnTo>
                  <a:lnTo>
                    <a:pt x="53" y="138"/>
                  </a:lnTo>
                  <a:lnTo>
                    <a:pt x="50" y="138"/>
                  </a:lnTo>
                  <a:lnTo>
                    <a:pt x="48" y="138"/>
                  </a:lnTo>
                  <a:lnTo>
                    <a:pt x="48" y="141"/>
                  </a:lnTo>
                  <a:lnTo>
                    <a:pt x="48" y="143"/>
                  </a:lnTo>
                  <a:lnTo>
                    <a:pt x="48" y="141"/>
                  </a:lnTo>
                  <a:lnTo>
                    <a:pt x="46" y="141"/>
                  </a:lnTo>
                  <a:lnTo>
                    <a:pt x="43" y="141"/>
                  </a:lnTo>
                  <a:lnTo>
                    <a:pt x="46" y="138"/>
                  </a:lnTo>
                  <a:lnTo>
                    <a:pt x="43" y="138"/>
                  </a:lnTo>
                  <a:lnTo>
                    <a:pt x="43" y="136"/>
                  </a:lnTo>
                  <a:lnTo>
                    <a:pt x="41" y="136"/>
                  </a:lnTo>
                  <a:lnTo>
                    <a:pt x="41" y="134"/>
                  </a:lnTo>
                  <a:lnTo>
                    <a:pt x="41" y="131"/>
                  </a:lnTo>
                  <a:lnTo>
                    <a:pt x="43" y="131"/>
                  </a:lnTo>
                  <a:lnTo>
                    <a:pt x="43" y="129"/>
                  </a:lnTo>
                  <a:lnTo>
                    <a:pt x="43" y="131"/>
                  </a:lnTo>
                  <a:close/>
                  <a:moveTo>
                    <a:pt x="169" y="129"/>
                  </a:moveTo>
                  <a:lnTo>
                    <a:pt x="169" y="131"/>
                  </a:lnTo>
                  <a:lnTo>
                    <a:pt x="169" y="129"/>
                  </a:lnTo>
                  <a:close/>
                  <a:moveTo>
                    <a:pt x="178" y="126"/>
                  </a:moveTo>
                  <a:lnTo>
                    <a:pt x="178" y="129"/>
                  </a:lnTo>
                  <a:lnTo>
                    <a:pt x="181" y="129"/>
                  </a:lnTo>
                  <a:lnTo>
                    <a:pt x="181" y="131"/>
                  </a:lnTo>
                  <a:lnTo>
                    <a:pt x="183" y="131"/>
                  </a:lnTo>
                  <a:lnTo>
                    <a:pt x="183" y="134"/>
                  </a:lnTo>
                  <a:lnTo>
                    <a:pt x="183" y="136"/>
                  </a:lnTo>
                  <a:lnTo>
                    <a:pt x="183" y="134"/>
                  </a:lnTo>
                  <a:lnTo>
                    <a:pt x="186" y="136"/>
                  </a:lnTo>
                  <a:lnTo>
                    <a:pt x="183" y="136"/>
                  </a:lnTo>
                  <a:lnTo>
                    <a:pt x="186" y="136"/>
                  </a:lnTo>
                  <a:lnTo>
                    <a:pt x="183" y="136"/>
                  </a:lnTo>
                  <a:lnTo>
                    <a:pt x="183" y="138"/>
                  </a:lnTo>
                  <a:lnTo>
                    <a:pt x="186" y="138"/>
                  </a:lnTo>
                  <a:lnTo>
                    <a:pt x="186" y="136"/>
                  </a:lnTo>
                  <a:lnTo>
                    <a:pt x="186" y="138"/>
                  </a:lnTo>
                  <a:lnTo>
                    <a:pt x="186" y="141"/>
                  </a:lnTo>
                  <a:lnTo>
                    <a:pt x="183" y="141"/>
                  </a:lnTo>
                  <a:lnTo>
                    <a:pt x="183" y="138"/>
                  </a:lnTo>
                  <a:lnTo>
                    <a:pt x="181" y="138"/>
                  </a:lnTo>
                  <a:lnTo>
                    <a:pt x="181" y="136"/>
                  </a:lnTo>
                  <a:lnTo>
                    <a:pt x="178" y="136"/>
                  </a:lnTo>
                  <a:lnTo>
                    <a:pt x="181" y="136"/>
                  </a:lnTo>
                  <a:lnTo>
                    <a:pt x="178" y="136"/>
                  </a:lnTo>
                  <a:lnTo>
                    <a:pt x="178" y="134"/>
                  </a:lnTo>
                  <a:lnTo>
                    <a:pt x="176" y="134"/>
                  </a:lnTo>
                  <a:lnTo>
                    <a:pt x="176" y="131"/>
                  </a:lnTo>
                  <a:lnTo>
                    <a:pt x="176" y="134"/>
                  </a:lnTo>
                  <a:lnTo>
                    <a:pt x="176" y="131"/>
                  </a:lnTo>
                  <a:lnTo>
                    <a:pt x="176" y="134"/>
                  </a:lnTo>
                  <a:lnTo>
                    <a:pt x="176" y="131"/>
                  </a:lnTo>
                  <a:lnTo>
                    <a:pt x="174" y="131"/>
                  </a:lnTo>
                  <a:lnTo>
                    <a:pt x="176" y="131"/>
                  </a:lnTo>
                  <a:lnTo>
                    <a:pt x="176" y="129"/>
                  </a:lnTo>
                  <a:lnTo>
                    <a:pt x="176" y="131"/>
                  </a:lnTo>
                  <a:lnTo>
                    <a:pt x="176" y="129"/>
                  </a:lnTo>
                  <a:lnTo>
                    <a:pt x="176" y="126"/>
                  </a:lnTo>
                  <a:lnTo>
                    <a:pt x="178" y="126"/>
                  </a:lnTo>
                  <a:close/>
                  <a:moveTo>
                    <a:pt x="136" y="126"/>
                  </a:moveTo>
                  <a:lnTo>
                    <a:pt x="138" y="126"/>
                  </a:lnTo>
                  <a:lnTo>
                    <a:pt x="138" y="129"/>
                  </a:lnTo>
                  <a:lnTo>
                    <a:pt x="136" y="129"/>
                  </a:lnTo>
                  <a:lnTo>
                    <a:pt x="138" y="129"/>
                  </a:lnTo>
                  <a:lnTo>
                    <a:pt x="136" y="129"/>
                  </a:lnTo>
                  <a:lnTo>
                    <a:pt x="138" y="129"/>
                  </a:lnTo>
                  <a:lnTo>
                    <a:pt x="138" y="131"/>
                  </a:lnTo>
                  <a:lnTo>
                    <a:pt x="136" y="131"/>
                  </a:lnTo>
                  <a:lnTo>
                    <a:pt x="133" y="134"/>
                  </a:lnTo>
                  <a:lnTo>
                    <a:pt x="133" y="131"/>
                  </a:lnTo>
                  <a:lnTo>
                    <a:pt x="136" y="131"/>
                  </a:lnTo>
                  <a:lnTo>
                    <a:pt x="136" y="129"/>
                  </a:lnTo>
                  <a:lnTo>
                    <a:pt x="133" y="129"/>
                  </a:lnTo>
                  <a:lnTo>
                    <a:pt x="136" y="129"/>
                  </a:lnTo>
                  <a:lnTo>
                    <a:pt x="136" y="126"/>
                  </a:lnTo>
                  <a:close/>
                  <a:moveTo>
                    <a:pt x="162" y="126"/>
                  </a:moveTo>
                  <a:lnTo>
                    <a:pt x="162" y="129"/>
                  </a:lnTo>
                  <a:lnTo>
                    <a:pt x="159" y="129"/>
                  </a:lnTo>
                  <a:lnTo>
                    <a:pt x="159" y="126"/>
                  </a:lnTo>
                  <a:lnTo>
                    <a:pt x="162" y="126"/>
                  </a:lnTo>
                  <a:close/>
                  <a:moveTo>
                    <a:pt x="119" y="119"/>
                  </a:moveTo>
                  <a:lnTo>
                    <a:pt x="117" y="119"/>
                  </a:lnTo>
                  <a:lnTo>
                    <a:pt x="119" y="119"/>
                  </a:lnTo>
                  <a:close/>
                  <a:moveTo>
                    <a:pt x="159" y="119"/>
                  </a:moveTo>
                  <a:lnTo>
                    <a:pt x="157" y="119"/>
                  </a:lnTo>
                  <a:lnTo>
                    <a:pt x="159" y="119"/>
                  </a:lnTo>
                  <a:close/>
                  <a:moveTo>
                    <a:pt x="155" y="117"/>
                  </a:moveTo>
                  <a:lnTo>
                    <a:pt x="157" y="117"/>
                  </a:lnTo>
                  <a:lnTo>
                    <a:pt x="155" y="117"/>
                  </a:lnTo>
                  <a:close/>
                  <a:moveTo>
                    <a:pt x="57" y="112"/>
                  </a:moveTo>
                  <a:lnTo>
                    <a:pt x="57" y="115"/>
                  </a:lnTo>
                  <a:lnTo>
                    <a:pt x="57" y="112"/>
                  </a:lnTo>
                  <a:close/>
                  <a:moveTo>
                    <a:pt x="55" y="112"/>
                  </a:moveTo>
                  <a:lnTo>
                    <a:pt x="55" y="110"/>
                  </a:lnTo>
                  <a:lnTo>
                    <a:pt x="55" y="112"/>
                  </a:lnTo>
                  <a:close/>
                  <a:moveTo>
                    <a:pt x="88" y="110"/>
                  </a:moveTo>
                  <a:lnTo>
                    <a:pt x="88" y="112"/>
                  </a:lnTo>
                  <a:lnTo>
                    <a:pt x="88" y="110"/>
                  </a:lnTo>
                  <a:close/>
                  <a:moveTo>
                    <a:pt x="57" y="107"/>
                  </a:moveTo>
                  <a:lnTo>
                    <a:pt x="57" y="110"/>
                  </a:lnTo>
                  <a:lnTo>
                    <a:pt x="55" y="110"/>
                  </a:lnTo>
                  <a:lnTo>
                    <a:pt x="55" y="107"/>
                  </a:lnTo>
                  <a:lnTo>
                    <a:pt x="57" y="107"/>
                  </a:lnTo>
                  <a:lnTo>
                    <a:pt x="55" y="107"/>
                  </a:lnTo>
                  <a:lnTo>
                    <a:pt x="57" y="107"/>
                  </a:lnTo>
                  <a:close/>
                  <a:moveTo>
                    <a:pt x="55" y="107"/>
                  </a:moveTo>
                  <a:lnTo>
                    <a:pt x="55" y="105"/>
                  </a:lnTo>
                  <a:lnTo>
                    <a:pt x="55" y="107"/>
                  </a:lnTo>
                  <a:close/>
                  <a:moveTo>
                    <a:pt x="55" y="105"/>
                  </a:moveTo>
                  <a:lnTo>
                    <a:pt x="53" y="105"/>
                  </a:lnTo>
                  <a:lnTo>
                    <a:pt x="55" y="105"/>
                  </a:lnTo>
                  <a:lnTo>
                    <a:pt x="53" y="105"/>
                  </a:lnTo>
                  <a:lnTo>
                    <a:pt x="55" y="105"/>
                  </a:lnTo>
                  <a:close/>
                  <a:moveTo>
                    <a:pt x="48" y="105"/>
                  </a:moveTo>
                  <a:lnTo>
                    <a:pt x="46" y="105"/>
                  </a:lnTo>
                  <a:lnTo>
                    <a:pt x="48" y="105"/>
                  </a:lnTo>
                  <a:close/>
                  <a:moveTo>
                    <a:pt x="41" y="105"/>
                  </a:moveTo>
                  <a:lnTo>
                    <a:pt x="43" y="105"/>
                  </a:lnTo>
                  <a:lnTo>
                    <a:pt x="43" y="107"/>
                  </a:lnTo>
                  <a:lnTo>
                    <a:pt x="43" y="110"/>
                  </a:lnTo>
                  <a:lnTo>
                    <a:pt x="46" y="110"/>
                  </a:lnTo>
                  <a:lnTo>
                    <a:pt x="46" y="112"/>
                  </a:lnTo>
                  <a:lnTo>
                    <a:pt x="46" y="115"/>
                  </a:lnTo>
                  <a:lnTo>
                    <a:pt x="46" y="112"/>
                  </a:lnTo>
                  <a:lnTo>
                    <a:pt x="43" y="112"/>
                  </a:lnTo>
                  <a:lnTo>
                    <a:pt x="43" y="115"/>
                  </a:lnTo>
                  <a:lnTo>
                    <a:pt x="43" y="112"/>
                  </a:lnTo>
                  <a:lnTo>
                    <a:pt x="43" y="110"/>
                  </a:lnTo>
                  <a:lnTo>
                    <a:pt x="41" y="110"/>
                  </a:lnTo>
                  <a:lnTo>
                    <a:pt x="41" y="107"/>
                  </a:lnTo>
                  <a:lnTo>
                    <a:pt x="41" y="105"/>
                  </a:lnTo>
                  <a:lnTo>
                    <a:pt x="43" y="105"/>
                  </a:lnTo>
                  <a:lnTo>
                    <a:pt x="41" y="105"/>
                  </a:lnTo>
                  <a:close/>
                  <a:moveTo>
                    <a:pt x="228" y="105"/>
                  </a:moveTo>
                  <a:lnTo>
                    <a:pt x="228" y="103"/>
                  </a:lnTo>
                  <a:lnTo>
                    <a:pt x="228" y="105"/>
                  </a:lnTo>
                  <a:close/>
                  <a:moveTo>
                    <a:pt x="223" y="103"/>
                  </a:moveTo>
                  <a:lnTo>
                    <a:pt x="226" y="103"/>
                  </a:lnTo>
                  <a:lnTo>
                    <a:pt x="228" y="103"/>
                  </a:lnTo>
                  <a:lnTo>
                    <a:pt x="228" y="105"/>
                  </a:lnTo>
                  <a:lnTo>
                    <a:pt x="226" y="105"/>
                  </a:lnTo>
                  <a:lnTo>
                    <a:pt x="226" y="103"/>
                  </a:lnTo>
                  <a:lnTo>
                    <a:pt x="226" y="105"/>
                  </a:lnTo>
                  <a:lnTo>
                    <a:pt x="226" y="103"/>
                  </a:lnTo>
                  <a:lnTo>
                    <a:pt x="226" y="105"/>
                  </a:lnTo>
                  <a:lnTo>
                    <a:pt x="226" y="103"/>
                  </a:lnTo>
                  <a:lnTo>
                    <a:pt x="223" y="103"/>
                  </a:lnTo>
                  <a:close/>
                  <a:moveTo>
                    <a:pt x="48" y="100"/>
                  </a:moveTo>
                  <a:lnTo>
                    <a:pt x="46" y="100"/>
                  </a:lnTo>
                  <a:lnTo>
                    <a:pt x="48" y="100"/>
                  </a:lnTo>
                  <a:close/>
                  <a:moveTo>
                    <a:pt x="50" y="100"/>
                  </a:moveTo>
                  <a:lnTo>
                    <a:pt x="50" y="103"/>
                  </a:lnTo>
                  <a:lnTo>
                    <a:pt x="50" y="100"/>
                  </a:lnTo>
                  <a:close/>
                  <a:moveTo>
                    <a:pt x="205" y="100"/>
                  </a:moveTo>
                  <a:lnTo>
                    <a:pt x="207" y="100"/>
                  </a:lnTo>
                  <a:lnTo>
                    <a:pt x="205" y="103"/>
                  </a:lnTo>
                  <a:lnTo>
                    <a:pt x="205" y="100"/>
                  </a:lnTo>
                  <a:lnTo>
                    <a:pt x="202" y="100"/>
                  </a:lnTo>
                  <a:lnTo>
                    <a:pt x="205" y="100"/>
                  </a:lnTo>
                  <a:close/>
                  <a:moveTo>
                    <a:pt x="53" y="98"/>
                  </a:moveTo>
                  <a:lnTo>
                    <a:pt x="50" y="98"/>
                  </a:lnTo>
                  <a:lnTo>
                    <a:pt x="50" y="100"/>
                  </a:lnTo>
                  <a:lnTo>
                    <a:pt x="48" y="100"/>
                  </a:lnTo>
                  <a:lnTo>
                    <a:pt x="50" y="100"/>
                  </a:lnTo>
                  <a:lnTo>
                    <a:pt x="48" y="100"/>
                  </a:lnTo>
                  <a:lnTo>
                    <a:pt x="50" y="100"/>
                  </a:lnTo>
                  <a:lnTo>
                    <a:pt x="50" y="98"/>
                  </a:lnTo>
                  <a:lnTo>
                    <a:pt x="53" y="98"/>
                  </a:lnTo>
                  <a:close/>
                  <a:moveTo>
                    <a:pt x="46" y="98"/>
                  </a:moveTo>
                  <a:lnTo>
                    <a:pt x="48" y="98"/>
                  </a:lnTo>
                  <a:lnTo>
                    <a:pt x="46" y="98"/>
                  </a:lnTo>
                  <a:lnTo>
                    <a:pt x="46" y="100"/>
                  </a:lnTo>
                  <a:lnTo>
                    <a:pt x="48" y="100"/>
                  </a:lnTo>
                  <a:lnTo>
                    <a:pt x="46" y="100"/>
                  </a:lnTo>
                  <a:lnTo>
                    <a:pt x="46" y="98"/>
                  </a:lnTo>
                  <a:lnTo>
                    <a:pt x="46" y="96"/>
                  </a:lnTo>
                  <a:lnTo>
                    <a:pt x="46" y="98"/>
                  </a:lnTo>
                  <a:close/>
                  <a:moveTo>
                    <a:pt x="121" y="98"/>
                  </a:moveTo>
                  <a:lnTo>
                    <a:pt x="121" y="96"/>
                  </a:lnTo>
                  <a:lnTo>
                    <a:pt x="124" y="96"/>
                  </a:lnTo>
                  <a:lnTo>
                    <a:pt x="124" y="98"/>
                  </a:lnTo>
                  <a:lnTo>
                    <a:pt x="121" y="98"/>
                  </a:lnTo>
                  <a:close/>
                  <a:moveTo>
                    <a:pt x="174" y="93"/>
                  </a:moveTo>
                  <a:lnTo>
                    <a:pt x="171" y="93"/>
                  </a:lnTo>
                  <a:lnTo>
                    <a:pt x="174" y="93"/>
                  </a:lnTo>
                  <a:close/>
                  <a:moveTo>
                    <a:pt x="167" y="88"/>
                  </a:moveTo>
                  <a:lnTo>
                    <a:pt x="167" y="91"/>
                  </a:lnTo>
                  <a:lnTo>
                    <a:pt x="167" y="88"/>
                  </a:lnTo>
                  <a:close/>
                  <a:moveTo>
                    <a:pt x="169" y="91"/>
                  </a:moveTo>
                  <a:lnTo>
                    <a:pt x="169" y="88"/>
                  </a:lnTo>
                  <a:lnTo>
                    <a:pt x="169" y="91"/>
                  </a:lnTo>
                  <a:close/>
                  <a:moveTo>
                    <a:pt x="164" y="88"/>
                  </a:moveTo>
                  <a:lnTo>
                    <a:pt x="164" y="91"/>
                  </a:lnTo>
                  <a:lnTo>
                    <a:pt x="164" y="88"/>
                  </a:lnTo>
                  <a:close/>
                  <a:moveTo>
                    <a:pt x="169" y="84"/>
                  </a:moveTo>
                  <a:lnTo>
                    <a:pt x="171" y="84"/>
                  </a:lnTo>
                  <a:lnTo>
                    <a:pt x="171" y="86"/>
                  </a:lnTo>
                  <a:lnTo>
                    <a:pt x="171" y="88"/>
                  </a:lnTo>
                  <a:lnTo>
                    <a:pt x="174" y="88"/>
                  </a:lnTo>
                  <a:lnTo>
                    <a:pt x="174" y="91"/>
                  </a:lnTo>
                  <a:lnTo>
                    <a:pt x="174" y="88"/>
                  </a:lnTo>
                  <a:lnTo>
                    <a:pt x="174" y="91"/>
                  </a:lnTo>
                  <a:lnTo>
                    <a:pt x="176" y="91"/>
                  </a:lnTo>
                  <a:lnTo>
                    <a:pt x="174" y="91"/>
                  </a:lnTo>
                  <a:lnTo>
                    <a:pt x="176" y="93"/>
                  </a:lnTo>
                  <a:lnTo>
                    <a:pt x="174" y="93"/>
                  </a:lnTo>
                  <a:lnTo>
                    <a:pt x="171" y="93"/>
                  </a:lnTo>
                  <a:lnTo>
                    <a:pt x="171" y="91"/>
                  </a:lnTo>
                  <a:lnTo>
                    <a:pt x="171" y="93"/>
                  </a:lnTo>
                  <a:lnTo>
                    <a:pt x="171" y="91"/>
                  </a:lnTo>
                  <a:lnTo>
                    <a:pt x="169" y="93"/>
                  </a:lnTo>
                  <a:lnTo>
                    <a:pt x="169" y="91"/>
                  </a:lnTo>
                  <a:lnTo>
                    <a:pt x="171" y="91"/>
                  </a:lnTo>
                  <a:lnTo>
                    <a:pt x="171" y="88"/>
                  </a:lnTo>
                  <a:lnTo>
                    <a:pt x="171" y="91"/>
                  </a:lnTo>
                  <a:lnTo>
                    <a:pt x="171" y="88"/>
                  </a:lnTo>
                  <a:lnTo>
                    <a:pt x="169" y="88"/>
                  </a:lnTo>
                  <a:lnTo>
                    <a:pt x="167" y="88"/>
                  </a:lnTo>
                  <a:lnTo>
                    <a:pt x="167" y="86"/>
                  </a:lnTo>
                  <a:lnTo>
                    <a:pt x="169" y="86"/>
                  </a:lnTo>
                  <a:lnTo>
                    <a:pt x="167" y="86"/>
                  </a:lnTo>
                  <a:lnTo>
                    <a:pt x="167" y="84"/>
                  </a:lnTo>
                  <a:lnTo>
                    <a:pt x="169" y="84"/>
                  </a:lnTo>
                  <a:close/>
                  <a:moveTo>
                    <a:pt x="131" y="81"/>
                  </a:moveTo>
                  <a:lnTo>
                    <a:pt x="131" y="79"/>
                  </a:lnTo>
                  <a:lnTo>
                    <a:pt x="131" y="81"/>
                  </a:lnTo>
                  <a:close/>
                  <a:moveTo>
                    <a:pt x="157" y="77"/>
                  </a:moveTo>
                  <a:lnTo>
                    <a:pt x="157" y="79"/>
                  </a:lnTo>
                  <a:lnTo>
                    <a:pt x="155" y="79"/>
                  </a:lnTo>
                  <a:lnTo>
                    <a:pt x="157" y="79"/>
                  </a:lnTo>
                  <a:lnTo>
                    <a:pt x="155" y="79"/>
                  </a:lnTo>
                  <a:lnTo>
                    <a:pt x="157" y="79"/>
                  </a:lnTo>
                  <a:lnTo>
                    <a:pt x="157" y="77"/>
                  </a:lnTo>
                  <a:lnTo>
                    <a:pt x="157" y="79"/>
                  </a:lnTo>
                  <a:lnTo>
                    <a:pt x="157" y="77"/>
                  </a:lnTo>
                  <a:close/>
                  <a:moveTo>
                    <a:pt x="136" y="77"/>
                  </a:moveTo>
                  <a:lnTo>
                    <a:pt x="136" y="74"/>
                  </a:lnTo>
                  <a:lnTo>
                    <a:pt x="136" y="77"/>
                  </a:lnTo>
                  <a:close/>
                  <a:moveTo>
                    <a:pt x="29" y="77"/>
                  </a:moveTo>
                  <a:lnTo>
                    <a:pt x="27" y="77"/>
                  </a:lnTo>
                  <a:lnTo>
                    <a:pt x="27" y="74"/>
                  </a:lnTo>
                  <a:lnTo>
                    <a:pt x="29" y="74"/>
                  </a:lnTo>
                  <a:lnTo>
                    <a:pt x="29" y="77"/>
                  </a:lnTo>
                  <a:close/>
                  <a:moveTo>
                    <a:pt x="121" y="74"/>
                  </a:moveTo>
                  <a:lnTo>
                    <a:pt x="121" y="77"/>
                  </a:lnTo>
                  <a:lnTo>
                    <a:pt x="121" y="74"/>
                  </a:lnTo>
                  <a:close/>
                  <a:moveTo>
                    <a:pt x="126" y="74"/>
                  </a:moveTo>
                  <a:lnTo>
                    <a:pt x="126" y="77"/>
                  </a:lnTo>
                  <a:lnTo>
                    <a:pt x="126" y="74"/>
                  </a:lnTo>
                  <a:close/>
                  <a:moveTo>
                    <a:pt x="140" y="72"/>
                  </a:moveTo>
                  <a:lnTo>
                    <a:pt x="140" y="74"/>
                  </a:lnTo>
                  <a:lnTo>
                    <a:pt x="143" y="74"/>
                  </a:lnTo>
                  <a:lnTo>
                    <a:pt x="143" y="77"/>
                  </a:lnTo>
                  <a:lnTo>
                    <a:pt x="145" y="77"/>
                  </a:lnTo>
                  <a:lnTo>
                    <a:pt x="145" y="79"/>
                  </a:lnTo>
                  <a:lnTo>
                    <a:pt x="143" y="79"/>
                  </a:lnTo>
                  <a:lnTo>
                    <a:pt x="140" y="79"/>
                  </a:lnTo>
                  <a:lnTo>
                    <a:pt x="140" y="77"/>
                  </a:lnTo>
                  <a:lnTo>
                    <a:pt x="140" y="74"/>
                  </a:lnTo>
                  <a:lnTo>
                    <a:pt x="138" y="74"/>
                  </a:lnTo>
                  <a:lnTo>
                    <a:pt x="138" y="72"/>
                  </a:lnTo>
                  <a:lnTo>
                    <a:pt x="140" y="72"/>
                  </a:lnTo>
                  <a:close/>
                  <a:moveTo>
                    <a:pt x="136" y="72"/>
                  </a:moveTo>
                  <a:lnTo>
                    <a:pt x="136" y="74"/>
                  </a:lnTo>
                  <a:lnTo>
                    <a:pt x="136" y="77"/>
                  </a:lnTo>
                  <a:lnTo>
                    <a:pt x="133" y="77"/>
                  </a:lnTo>
                  <a:lnTo>
                    <a:pt x="136" y="77"/>
                  </a:lnTo>
                  <a:lnTo>
                    <a:pt x="133" y="77"/>
                  </a:lnTo>
                  <a:lnTo>
                    <a:pt x="131" y="74"/>
                  </a:lnTo>
                  <a:lnTo>
                    <a:pt x="133" y="74"/>
                  </a:lnTo>
                  <a:lnTo>
                    <a:pt x="136" y="72"/>
                  </a:lnTo>
                  <a:close/>
                  <a:moveTo>
                    <a:pt x="214" y="72"/>
                  </a:moveTo>
                  <a:lnTo>
                    <a:pt x="214" y="74"/>
                  </a:lnTo>
                  <a:lnTo>
                    <a:pt x="214" y="72"/>
                  </a:lnTo>
                  <a:lnTo>
                    <a:pt x="212" y="72"/>
                  </a:lnTo>
                  <a:lnTo>
                    <a:pt x="214" y="72"/>
                  </a:lnTo>
                  <a:close/>
                  <a:moveTo>
                    <a:pt x="152" y="72"/>
                  </a:moveTo>
                  <a:lnTo>
                    <a:pt x="152" y="74"/>
                  </a:lnTo>
                  <a:lnTo>
                    <a:pt x="150" y="74"/>
                  </a:lnTo>
                  <a:lnTo>
                    <a:pt x="152" y="74"/>
                  </a:lnTo>
                  <a:lnTo>
                    <a:pt x="152" y="72"/>
                  </a:lnTo>
                  <a:lnTo>
                    <a:pt x="150" y="72"/>
                  </a:lnTo>
                  <a:lnTo>
                    <a:pt x="152" y="72"/>
                  </a:lnTo>
                  <a:close/>
                  <a:moveTo>
                    <a:pt x="24" y="72"/>
                  </a:moveTo>
                  <a:lnTo>
                    <a:pt x="27" y="72"/>
                  </a:lnTo>
                  <a:lnTo>
                    <a:pt x="27" y="74"/>
                  </a:lnTo>
                  <a:lnTo>
                    <a:pt x="24" y="74"/>
                  </a:lnTo>
                  <a:lnTo>
                    <a:pt x="24" y="72"/>
                  </a:lnTo>
                  <a:close/>
                  <a:moveTo>
                    <a:pt x="150" y="69"/>
                  </a:moveTo>
                  <a:lnTo>
                    <a:pt x="152" y="69"/>
                  </a:lnTo>
                  <a:lnTo>
                    <a:pt x="152" y="72"/>
                  </a:lnTo>
                  <a:lnTo>
                    <a:pt x="150" y="72"/>
                  </a:lnTo>
                  <a:lnTo>
                    <a:pt x="150" y="74"/>
                  </a:lnTo>
                  <a:lnTo>
                    <a:pt x="148" y="74"/>
                  </a:lnTo>
                  <a:lnTo>
                    <a:pt x="148" y="77"/>
                  </a:lnTo>
                  <a:lnTo>
                    <a:pt x="148" y="74"/>
                  </a:lnTo>
                  <a:lnTo>
                    <a:pt x="148" y="72"/>
                  </a:lnTo>
                  <a:lnTo>
                    <a:pt x="150" y="72"/>
                  </a:lnTo>
                  <a:lnTo>
                    <a:pt x="150" y="69"/>
                  </a:lnTo>
                  <a:close/>
                  <a:moveTo>
                    <a:pt x="233" y="69"/>
                  </a:moveTo>
                  <a:lnTo>
                    <a:pt x="233" y="67"/>
                  </a:lnTo>
                  <a:lnTo>
                    <a:pt x="233" y="69"/>
                  </a:lnTo>
                  <a:close/>
                  <a:moveTo>
                    <a:pt x="155" y="65"/>
                  </a:moveTo>
                  <a:lnTo>
                    <a:pt x="155" y="67"/>
                  </a:lnTo>
                  <a:lnTo>
                    <a:pt x="155" y="69"/>
                  </a:lnTo>
                  <a:lnTo>
                    <a:pt x="155" y="67"/>
                  </a:lnTo>
                  <a:lnTo>
                    <a:pt x="155" y="69"/>
                  </a:lnTo>
                  <a:lnTo>
                    <a:pt x="155" y="67"/>
                  </a:lnTo>
                  <a:lnTo>
                    <a:pt x="155" y="65"/>
                  </a:lnTo>
                  <a:close/>
                  <a:moveTo>
                    <a:pt x="164" y="65"/>
                  </a:moveTo>
                  <a:lnTo>
                    <a:pt x="164" y="67"/>
                  </a:lnTo>
                  <a:lnTo>
                    <a:pt x="162" y="67"/>
                  </a:lnTo>
                  <a:lnTo>
                    <a:pt x="162" y="65"/>
                  </a:lnTo>
                  <a:lnTo>
                    <a:pt x="164" y="65"/>
                  </a:lnTo>
                  <a:close/>
                  <a:moveTo>
                    <a:pt x="27" y="65"/>
                  </a:moveTo>
                  <a:lnTo>
                    <a:pt x="29" y="65"/>
                  </a:lnTo>
                  <a:lnTo>
                    <a:pt x="27" y="65"/>
                  </a:lnTo>
                  <a:close/>
                  <a:moveTo>
                    <a:pt x="159" y="62"/>
                  </a:moveTo>
                  <a:lnTo>
                    <a:pt x="159" y="65"/>
                  </a:lnTo>
                  <a:lnTo>
                    <a:pt x="157" y="65"/>
                  </a:lnTo>
                  <a:lnTo>
                    <a:pt x="157" y="67"/>
                  </a:lnTo>
                  <a:lnTo>
                    <a:pt x="157" y="65"/>
                  </a:lnTo>
                  <a:lnTo>
                    <a:pt x="157" y="62"/>
                  </a:lnTo>
                  <a:lnTo>
                    <a:pt x="159" y="62"/>
                  </a:lnTo>
                  <a:close/>
                  <a:moveTo>
                    <a:pt x="159" y="60"/>
                  </a:moveTo>
                  <a:lnTo>
                    <a:pt x="157" y="60"/>
                  </a:lnTo>
                  <a:lnTo>
                    <a:pt x="159" y="60"/>
                  </a:lnTo>
                  <a:close/>
                  <a:moveTo>
                    <a:pt x="186" y="58"/>
                  </a:moveTo>
                  <a:lnTo>
                    <a:pt x="188" y="58"/>
                  </a:lnTo>
                  <a:lnTo>
                    <a:pt x="188" y="60"/>
                  </a:lnTo>
                  <a:lnTo>
                    <a:pt x="186" y="60"/>
                  </a:lnTo>
                  <a:lnTo>
                    <a:pt x="188" y="60"/>
                  </a:lnTo>
                  <a:lnTo>
                    <a:pt x="186" y="60"/>
                  </a:lnTo>
                  <a:lnTo>
                    <a:pt x="186" y="62"/>
                  </a:lnTo>
                  <a:lnTo>
                    <a:pt x="186" y="60"/>
                  </a:lnTo>
                  <a:lnTo>
                    <a:pt x="186" y="58"/>
                  </a:lnTo>
                  <a:close/>
                  <a:moveTo>
                    <a:pt x="0" y="43"/>
                  </a:moveTo>
                  <a:lnTo>
                    <a:pt x="3" y="43"/>
                  </a:lnTo>
                  <a:lnTo>
                    <a:pt x="0" y="43"/>
                  </a:lnTo>
                  <a:lnTo>
                    <a:pt x="0" y="46"/>
                  </a:lnTo>
                  <a:lnTo>
                    <a:pt x="0" y="43"/>
                  </a:lnTo>
                  <a:lnTo>
                    <a:pt x="0" y="46"/>
                  </a:lnTo>
                  <a:lnTo>
                    <a:pt x="0" y="43"/>
                  </a:lnTo>
                  <a:lnTo>
                    <a:pt x="0" y="46"/>
                  </a:lnTo>
                  <a:lnTo>
                    <a:pt x="0" y="43"/>
                  </a:lnTo>
                  <a:close/>
                  <a:moveTo>
                    <a:pt x="8" y="43"/>
                  </a:moveTo>
                  <a:lnTo>
                    <a:pt x="5" y="43"/>
                  </a:lnTo>
                  <a:lnTo>
                    <a:pt x="5" y="41"/>
                  </a:lnTo>
                  <a:lnTo>
                    <a:pt x="8" y="41"/>
                  </a:lnTo>
                  <a:lnTo>
                    <a:pt x="8" y="43"/>
                  </a:lnTo>
                  <a:close/>
                  <a:moveTo>
                    <a:pt x="148" y="36"/>
                  </a:moveTo>
                  <a:lnTo>
                    <a:pt x="145" y="36"/>
                  </a:lnTo>
                  <a:lnTo>
                    <a:pt x="148" y="36"/>
                  </a:lnTo>
                  <a:close/>
                  <a:moveTo>
                    <a:pt x="145" y="27"/>
                  </a:moveTo>
                  <a:lnTo>
                    <a:pt x="145" y="29"/>
                  </a:lnTo>
                  <a:lnTo>
                    <a:pt x="145" y="27"/>
                  </a:lnTo>
                  <a:close/>
                  <a:moveTo>
                    <a:pt x="150" y="22"/>
                  </a:moveTo>
                  <a:lnTo>
                    <a:pt x="150" y="24"/>
                  </a:lnTo>
                  <a:lnTo>
                    <a:pt x="150" y="22"/>
                  </a:lnTo>
                  <a:lnTo>
                    <a:pt x="148" y="22"/>
                  </a:lnTo>
                  <a:lnTo>
                    <a:pt x="150" y="22"/>
                  </a:lnTo>
                  <a:close/>
                  <a:moveTo>
                    <a:pt x="205" y="15"/>
                  </a:moveTo>
                  <a:lnTo>
                    <a:pt x="207" y="15"/>
                  </a:lnTo>
                  <a:lnTo>
                    <a:pt x="209" y="17"/>
                  </a:lnTo>
                  <a:lnTo>
                    <a:pt x="207" y="17"/>
                  </a:lnTo>
                  <a:lnTo>
                    <a:pt x="207" y="19"/>
                  </a:lnTo>
                  <a:lnTo>
                    <a:pt x="205" y="19"/>
                  </a:lnTo>
                  <a:lnTo>
                    <a:pt x="202" y="19"/>
                  </a:lnTo>
                  <a:lnTo>
                    <a:pt x="202" y="17"/>
                  </a:lnTo>
                  <a:lnTo>
                    <a:pt x="200" y="17"/>
                  </a:lnTo>
                  <a:lnTo>
                    <a:pt x="200" y="15"/>
                  </a:lnTo>
                  <a:lnTo>
                    <a:pt x="202" y="15"/>
                  </a:lnTo>
                  <a:lnTo>
                    <a:pt x="205" y="15"/>
                  </a:lnTo>
                  <a:close/>
                  <a:moveTo>
                    <a:pt x="174" y="0"/>
                  </a:moveTo>
                  <a:lnTo>
                    <a:pt x="174" y="3"/>
                  </a:lnTo>
                  <a:lnTo>
                    <a:pt x="176" y="3"/>
                  </a:lnTo>
                  <a:lnTo>
                    <a:pt x="176" y="0"/>
                  </a:lnTo>
                  <a:lnTo>
                    <a:pt x="176" y="3"/>
                  </a:lnTo>
                  <a:lnTo>
                    <a:pt x="178" y="3"/>
                  </a:lnTo>
                  <a:lnTo>
                    <a:pt x="178" y="5"/>
                  </a:lnTo>
                  <a:lnTo>
                    <a:pt x="178" y="3"/>
                  </a:lnTo>
                  <a:lnTo>
                    <a:pt x="178" y="5"/>
                  </a:lnTo>
                  <a:lnTo>
                    <a:pt x="178" y="8"/>
                  </a:lnTo>
                  <a:lnTo>
                    <a:pt x="178" y="10"/>
                  </a:lnTo>
                  <a:lnTo>
                    <a:pt x="176" y="10"/>
                  </a:lnTo>
                  <a:lnTo>
                    <a:pt x="174" y="10"/>
                  </a:lnTo>
                  <a:lnTo>
                    <a:pt x="174" y="12"/>
                  </a:lnTo>
                  <a:lnTo>
                    <a:pt x="174" y="10"/>
                  </a:lnTo>
                  <a:lnTo>
                    <a:pt x="174" y="12"/>
                  </a:lnTo>
                  <a:lnTo>
                    <a:pt x="174" y="10"/>
                  </a:lnTo>
                  <a:lnTo>
                    <a:pt x="171" y="10"/>
                  </a:lnTo>
                  <a:lnTo>
                    <a:pt x="174" y="10"/>
                  </a:lnTo>
                  <a:lnTo>
                    <a:pt x="171" y="10"/>
                  </a:lnTo>
                  <a:lnTo>
                    <a:pt x="169" y="10"/>
                  </a:lnTo>
                  <a:lnTo>
                    <a:pt x="169" y="8"/>
                  </a:lnTo>
                  <a:lnTo>
                    <a:pt x="169" y="5"/>
                  </a:lnTo>
                  <a:lnTo>
                    <a:pt x="171" y="5"/>
                  </a:lnTo>
                  <a:lnTo>
                    <a:pt x="171" y="3"/>
                  </a:lnTo>
                  <a:lnTo>
                    <a:pt x="174" y="3"/>
                  </a:lnTo>
                  <a:lnTo>
                    <a:pt x="17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49" name="Freeform 52454"/>
            <p:cNvSpPr>
              <a:spLocks noEditPoints="1"/>
            </p:cNvSpPr>
            <p:nvPr/>
          </p:nvSpPr>
          <p:spPr bwMode="auto">
            <a:xfrm>
              <a:off x="3068634" y="5383231"/>
              <a:ext cx="414338" cy="393701"/>
            </a:xfrm>
            <a:custGeom>
              <a:avLst/>
              <a:gdLst>
                <a:gd name="T0" fmla="*/ 230 w 261"/>
                <a:gd name="T1" fmla="*/ 243 h 248"/>
                <a:gd name="T2" fmla="*/ 230 w 261"/>
                <a:gd name="T3" fmla="*/ 240 h 248"/>
                <a:gd name="T4" fmla="*/ 142 w 261"/>
                <a:gd name="T5" fmla="*/ 238 h 248"/>
                <a:gd name="T6" fmla="*/ 259 w 261"/>
                <a:gd name="T7" fmla="*/ 219 h 248"/>
                <a:gd name="T8" fmla="*/ 109 w 261"/>
                <a:gd name="T9" fmla="*/ 217 h 248"/>
                <a:gd name="T10" fmla="*/ 259 w 261"/>
                <a:gd name="T11" fmla="*/ 217 h 248"/>
                <a:gd name="T12" fmla="*/ 254 w 261"/>
                <a:gd name="T13" fmla="*/ 207 h 248"/>
                <a:gd name="T14" fmla="*/ 259 w 261"/>
                <a:gd name="T15" fmla="*/ 205 h 248"/>
                <a:gd name="T16" fmla="*/ 261 w 261"/>
                <a:gd name="T17" fmla="*/ 205 h 248"/>
                <a:gd name="T18" fmla="*/ 225 w 261"/>
                <a:gd name="T19" fmla="*/ 202 h 248"/>
                <a:gd name="T20" fmla="*/ 216 w 261"/>
                <a:gd name="T21" fmla="*/ 193 h 248"/>
                <a:gd name="T22" fmla="*/ 214 w 261"/>
                <a:gd name="T23" fmla="*/ 191 h 248"/>
                <a:gd name="T24" fmla="*/ 59 w 261"/>
                <a:gd name="T25" fmla="*/ 181 h 248"/>
                <a:gd name="T26" fmla="*/ 157 w 261"/>
                <a:gd name="T27" fmla="*/ 181 h 248"/>
                <a:gd name="T28" fmla="*/ 121 w 261"/>
                <a:gd name="T29" fmla="*/ 181 h 248"/>
                <a:gd name="T30" fmla="*/ 147 w 261"/>
                <a:gd name="T31" fmla="*/ 181 h 248"/>
                <a:gd name="T32" fmla="*/ 190 w 261"/>
                <a:gd name="T33" fmla="*/ 179 h 248"/>
                <a:gd name="T34" fmla="*/ 190 w 261"/>
                <a:gd name="T35" fmla="*/ 176 h 248"/>
                <a:gd name="T36" fmla="*/ 188 w 261"/>
                <a:gd name="T37" fmla="*/ 176 h 248"/>
                <a:gd name="T38" fmla="*/ 233 w 261"/>
                <a:gd name="T39" fmla="*/ 172 h 248"/>
                <a:gd name="T40" fmla="*/ 173 w 261"/>
                <a:gd name="T41" fmla="*/ 172 h 248"/>
                <a:gd name="T42" fmla="*/ 178 w 261"/>
                <a:gd name="T43" fmla="*/ 172 h 248"/>
                <a:gd name="T44" fmla="*/ 192 w 261"/>
                <a:gd name="T45" fmla="*/ 169 h 248"/>
                <a:gd name="T46" fmla="*/ 195 w 261"/>
                <a:gd name="T47" fmla="*/ 167 h 248"/>
                <a:gd name="T48" fmla="*/ 199 w 261"/>
                <a:gd name="T49" fmla="*/ 160 h 248"/>
                <a:gd name="T50" fmla="*/ 116 w 261"/>
                <a:gd name="T51" fmla="*/ 157 h 248"/>
                <a:gd name="T52" fmla="*/ 221 w 261"/>
                <a:gd name="T53" fmla="*/ 160 h 248"/>
                <a:gd name="T54" fmla="*/ 225 w 261"/>
                <a:gd name="T55" fmla="*/ 155 h 248"/>
                <a:gd name="T56" fmla="*/ 119 w 261"/>
                <a:gd name="T57" fmla="*/ 153 h 248"/>
                <a:gd name="T58" fmla="*/ 119 w 261"/>
                <a:gd name="T59" fmla="*/ 148 h 248"/>
                <a:gd name="T60" fmla="*/ 161 w 261"/>
                <a:gd name="T61" fmla="*/ 145 h 248"/>
                <a:gd name="T62" fmla="*/ 114 w 261"/>
                <a:gd name="T63" fmla="*/ 141 h 248"/>
                <a:gd name="T64" fmla="*/ 31 w 261"/>
                <a:gd name="T65" fmla="*/ 141 h 248"/>
                <a:gd name="T66" fmla="*/ 116 w 261"/>
                <a:gd name="T67" fmla="*/ 138 h 248"/>
                <a:gd name="T68" fmla="*/ 128 w 261"/>
                <a:gd name="T69" fmla="*/ 134 h 248"/>
                <a:gd name="T70" fmla="*/ 97 w 261"/>
                <a:gd name="T71" fmla="*/ 119 h 248"/>
                <a:gd name="T72" fmla="*/ 140 w 261"/>
                <a:gd name="T73" fmla="*/ 115 h 248"/>
                <a:gd name="T74" fmla="*/ 45 w 261"/>
                <a:gd name="T75" fmla="*/ 112 h 248"/>
                <a:gd name="T76" fmla="*/ 50 w 261"/>
                <a:gd name="T77" fmla="*/ 112 h 248"/>
                <a:gd name="T78" fmla="*/ 74 w 261"/>
                <a:gd name="T79" fmla="*/ 110 h 248"/>
                <a:gd name="T80" fmla="*/ 38 w 261"/>
                <a:gd name="T81" fmla="*/ 107 h 248"/>
                <a:gd name="T82" fmla="*/ 38 w 261"/>
                <a:gd name="T83" fmla="*/ 107 h 248"/>
                <a:gd name="T84" fmla="*/ 211 w 261"/>
                <a:gd name="T85" fmla="*/ 105 h 248"/>
                <a:gd name="T86" fmla="*/ 116 w 261"/>
                <a:gd name="T87" fmla="*/ 103 h 248"/>
                <a:gd name="T88" fmla="*/ 206 w 261"/>
                <a:gd name="T89" fmla="*/ 103 h 248"/>
                <a:gd name="T90" fmla="*/ 33 w 261"/>
                <a:gd name="T91" fmla="*/ 100 h 248"/>
                <a:gd name="T92" fmla="*/ 133 w 261"/>
                <a:gd name="T93" fmla="*/ 98 h 248"/>
                <a:gd name="T94" fmla="*/ 26 w 261"/>
                <a:gd name="T95" fmla="*/ 96 h 248"/>
                <a:gd name="T96" fmla="*/ 40 w 261"/>
                <a:gd name="T97" fmla="*/ 79 h 248"/>
                <a:gd name="T98" fmla="*/ 138 w 261"/>
                <a:gd name="T99" fmla="*/ 79 h 248"/>
                <a:gd name="T100" fmla="*/ 121 w 261"/>
                <a:gd name="T101" fmla="*/ 77 h 248"/>
                <a:gd name="T102" fmla="*/ 138 w 261"/>
                <a:gd name="T103" fmla="*/ 67 h 248"/>
                <a:gd name="T104" fmla="*/ 216 w 261"/>
                <a:gd name="T105" fmla="*/ 67 h 248"/>
                <a:gd name="T106" fmla="*/ 171 w 261"/>
                <a:gd name="T107" fmla="*/ 43 h 248"/>
                <a:gd name="T108" fmla="*/ 133 w 261"/>
                <a:gd name="T109" fmla="*/ 24 h 248"/>
                <a:gd name="T110" fmla="*/ 202 w 261"/>
                <a:gd name="T111" fmla="*/ 0 h 248"/>
                <a:gd name="T112" fmla="*/ 202 w 261"/>
                <a:gd name="T11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1" h="248">
                  <a:moveTo>
                    <a:pt x="195" y="248"/>
                  </a:moveTo>
                  <a:lnTo>
                    <a:pt x="192" y="248"/>
                  </a:lnTo>
                  <a:lnTo>
                    <a:pt x="195" y="248"/>
                  </a:lnTo>
                  <a:close/>
                  <a:moveTo>
                    <a:pt x="230" y="243"/>
                  </a:moveTo>
                  <a:lnTo>
                    <a:pt x="228" y="243"/>
                  </a:lnTo>
                  <a:lnTo>
                    <a:pt x="230" y="243"/>
                  </a:lnTo>
                  <a:close/>
                  <a:moveTo>
                    <a:pt x="233" y="240"/>
                  </a:moveTo>
                  <a:lnTo>
                    <a:pt x="230" y="240"/>
                  </a:lnTo>
                  <a:lnTo>
                    <a:pt x="233" y="240"/>
                  </a:lnTo>
                  <a:close/>
                  <a:moveTo>
                    <a:pt x="142" y="238"/>
                  </a:moveTo>
                  <a:lnTo>
                    <a:pt x="140" y="238"/>
                  </a:lnTo>
                  <a:lnTo>
                    <a:pt x="142" y="238"/>
                  </a:lnTo>
                  <a:close/>
                  <a:moveTo>
                    <a:pt x="237" y="233"/>
                  </a:moveTo>
                  <a:lnTo>
                    <a:pt x="235" y="233"/>
                  </a:lnTo>
                  <a:lnTo>
                    <a:pt x="237" y="233"/>
                  </a:lnTo>
                  <a:close/>
                  <a:moveTo>
                    <a:pt x="259" y="219"/>
                  </a:moveTo>
                  <a:lnTo>
                    <a:pt x="256" y="219"/>
                  </a:lnTo>
                  <a:lnTo>
                    <a:pt x="259" y="219"/>
                  </a:lnTo>
                  <a:close/>
                  <a:moveTo>
                    <a:pt x="112" y="217"/>
                  </a:moveTo>
                  <a:lnTo>
                    <a:pt x="109" y="217"/>
                  </a:lnTo>
                  <a:lnTo>
                    <a:pt x="112" y="217"/>
                  </a:lnTo>
                  <a:close/>
                  <a:moveTo>
                    <a:pt x="259" y="217"/>
                  </a:moveTo>
                  <a:lnTo>
                    <a:pt x="256" y="217"/>
                  </a:lnTo>
                  <a:lnTo>
                    <a:pt x="259" y="217"/>
                  </a:lnTo>
                  <a:close/>
                  <a:moveTo>
                    <a:pt x="259" y="210"/>
                  </a:moveTo>
                  <a:lnTo>
                    <a:pt x="256" y="210"/>
                  </a:lnTo>
                  <a:lnTo>
                    <a:pt x="259" y="210"/>
                  </a:lnTo>
                  <a:close/>
                  <a:moveTo>
                    <a:pt x="254" y="207"/>
                  </a:moveTo>
                  <a:lnTo>
                    <a:pt x="254" y="205"/>
                  </a:lnTo>
                  <a:lnTo>
                    <a:pt x="256" y="207"/>
                  </a:lnTo>
                  <a:lnTo>
                    <a:pt x="254" y="207"/>
                  </a:lnTo>
                  <a:close/>
                  <a:moveTo>
                    <a:pt x="259" y="205"/>
                  </a:moveTo>
                  <a:lnTo>
                    <a:pt x="256" y="205"/>
                  </a:lnTo>
                  <a:lnTo>
                    <a:pt x="259" y="205"/>
                  </a:lnTo>
                  <a:close/>
                  <a:moveTo>
                    <a:pt x="259" y="205"/>
                  </a:moveTo>
                  <a:lnTo>
                    <a:pt x="261" y="205"/>
                  </a:lnTo>
                  <a:lnTo>
                    <a:pt x="259" y="205"/>
                  </a:lnTo>
                  <a:close/>
                  <a:moveTo>
                    <a:pt x="225" y="202"/>
                  </a:moveTo>
                  <a:lnTo>
                    <a:pt x="225" y="200"/>
                  </a:lnTo>
                  <a:lnTo>
                    <a:pt x="225" y="202"/>
                  </a:lnTo>
                  <a:close/>
                  <a:moveTo>
                    <a:pt x="223" y="198"/>
                  </a:moveTo>
                  <a:lnTo>
                    <a:pt x="221" y="198"/>
                  </a:lnTo>
                  <a:lnTo>
                    <a:pt x="223" y="198"/>
                  </a:lnTo>
                  <a:close/>
                  <a:moveTo>
                    <a:pt x="216" y="193"/>
                  </a:moveTo>
                  <a:lnTo>
                    <a:pt x="216" y="191"/>
                  </a:lnTo>
                  <a:lnTo>
                    <a:pt x="216" y="193"/>
                  </a:lnTo>
                  <a:close/>
                  <a:moveTo>
                    <a:pt x="216" y="191"/>
                  </a:moveTo>
                  <a:lnTo>
                    <a:pt x="214" y="191"/>
                  </a:lnTo>
                  <a:lnTo>
                    <a:pt x="216" y="191"/>
                  </a:lnTo>
                  <a:close/>
                  <a:moveTo>
                    <a:pt x="59" y="181"/>
                  </a:moveTo>
                  <a:lnTo>
                    <a:pt x="59" y="183"/>
                  </a:lnTo>
                  <a:lnTo>
                    <a:pt x="59" y="181"/>
                  </a:lnTo>
                  <a:close/>
                  <a:moveTo>
                    <a:pt x="154" y="181"/>
                  </a:moveTo>
                  <a:lnTo>
                    <a:pt x="154" y="183"/>
                  </a:lnTo>
                  <a:lnTo>
                    <a:pt x="154" y="181"/>
                  </a:lnTo>
                  <a:close/>
                  <a:moveTo>
                    <a:pt x="157" y="181"/>
                  </a:moveTo>
                  <a:lnTo>
                    <a:pt x="154" y="181"/>
                  </a:lnTo>
                  <a:lnTo>
                    <a:pt x="157" y="181"/>
                  </a:lnTo>
                  <a:close/>
                  <a:moveTo>
                    <a:pt x="123" y="181"/>
                  </a:moveTo>
                  <a:lnTo>
                    <a:pt x="121" y="181"/>
                  </a:lnTo>
                  <a:lnTo>
                    <a:pt x="123" y="181"/>
                  </a:lnTo>
                  <a:close/>
                  <a:moveTo>
                    <a:pt x="147" y="181"/>
                  </a:moveTo>
                  <a:lnTo>
                    <a:pt x="150" y="181"/>
                  </a:lnTo>
                  <a:lnTo>
                    <a:pt x="147" y="181"/>
                  </a:lnTo>
                  <a:close/>
                  <a:moveTo>
                    <a:pt x="188" y="179"/>
                  </a:moveTo>
                  <a:lnTo>
                    <a:pt x="185" y="179"/>
                  </a:lnTo>
                  <a:lnTo>
                    <a:pt x="188" y="179"/>
                  </a:lnTo>
                  <a:close/>
                  <a:moveTo>
                    <a:pt x="190" y="179"/>
                  </a:moveTo>
                  <a:lnTo>
                    <a:pt x="190" y="176"/>
                  </a:lnTo>
                  <a:lnTo>
                    <a:pt x="190" y="179"/>
                  </a:lnTo>
                  <a:close/>
                  <a:moveTo>
                    <a:pt x="192" y="176"/>
                  </a:moveTo>
                  <a:lnTo>
                    <a:pt x="190" y="176"/>
                  </a:lnTo>
                  <a:lnTo>
                    <a:pt x="192" y="176"/>
                  </a:lnTo>
                  <a:close/>
                  <a:moveTo>
                    <a:pt x="188" y="176"/>
                  </a:moveTo>
                  <a:lnTo>
                    <a:pt x="188" y="174"/>
                  </a:lnTo>
                  <a:lnTo>
                    <a:pt x="188" y="176"/>
                  </a:lnTo>
                  <a:close/>
                  <a:moveTo>
                    <a:pt x="237" y="174"/>
                  </a:moveTo>
                  <a:lnTo>
                    <a:pt x="235" y="174"/>
                  </a:lnTo>
                  <a:lnTo>
                    <a:pt x="237" y="174"/>
                  </a:lnTo>
                  <a:close/>
                  <a:moveTo>
                    <a:pt x="233" y="172"/>
                  </a:moveTo>
                  <a:lnTo>
                    <a:pt x="230" y="172"/>
                  </a:lnTo>
                  <a:lnTo>
                    <a:pt x="233" y="172"/>
                  </a:lnTo>
                  <a:close/>
                  <a:moveTo>
                    <a:pt x="171" y="172"/>
                  </a:moveTo>
                  <a:lnTo>
                    <a:pt x="173" y="172"/>
                  </a:lnTo>
                  <a:lnTo>
                    <a:pt x="171" y="172"/>
                  </a:lnTo>
                  <a:close/>
                  <a:moveTo>
                    <a:pt x="178" y="172"/>
                  </a:moveTo>
                  <a:lnTo>
                    <a:pt x="176" y="172"/>
                  </a:lnTo>
                  <a:lnTo>
                    <a:pt x="178" y="172"/>
                  </a:lnTo>
                  <a:close/>
                  <a:moveTo>
                    <a:pt x="171" y="167"/>
                  </a:moveTo>
                  <a:lnTo>
                    <a:pt x="171" y="169"/>
                  </a:lnTo>
                  <a:lnTo>
                    <a:pt x="171" y="167"/>
                  </a:lnTo>
                  <a:close/>
                  <a:moveTo>
                    <a:pt x="192" y="169"/>
                  </a:moveTo>
                  <a:lnTo>
                    <a:pt x="192" y="167"/>
                  </a:lnTo>
                  <a:lnTo>
                    <a:pt x="192" y="169"/>
                  </a:lnTo>
                  <a:close/>
                  <a:moveTo>
                    <a:pt x="197" y="167"/>
                  </a:moveTo>
                  <a:lnTo>
                    <a:pt x="195" y="167"/>
                  </a:lnTo>
                  <a:lnTo>
                    <a:pt x="197" y="167"/>
                  </a:lnTo>
                  <a:close/>
                  <a:moveTo>
                    <a:pt x="199" y="160"/>
                  </a:moveTo>
                  <a:lnTo>
                    <a:pt x="199" y="162"/>
                  </a:lnTo>
                  <a:lnTo>
                    <a:pt x="199" y="160"/>
                  </a:lnTo>
                  <a:close/>
                  <a:moveTo>
                    <a:pt x="114" y="160"/>
                  </a:moveTo>
                  <a:lnTo>
                    <a:pt x="112" y="160"/>
                  </a:lnTo>
                  <a:lnTo>
                    <a:pt x="114" y="160"/>
                  </a:lnTo>
                  <a:close/>
                  <a:moveTo>
                    <a:pt x="116" y="157"/>
                  </a:moveTo>
                  <a:lnTo>
                    <a:pt x="114" y="157"/>
                  </a:lnTo>
                  <a:lnTo>
                    <a:pt x="116" y="157"/>
                  </a:lnTo>
                  <a:close/>
                  <a:moveTo>
                    <a:pt x="221" y="157"/>
                  </a:moveTo>
                  <a:lnTo>
                    <a:pt x="221" y="160"/>
                  </a:lnTo>
                  <a:lnTo>
                    <a:pt x="221" y="157"/>
                  </a:lnTo>
                  <a:close/>
                  <a:moveTo>
                    <a:pt x="225" y="155"/>
                  </a:moveTo>
                  <a:lnTo>
                    <a:pt x="228" y="155"/>
                  </a:lnTo>
                  <a:lnTo>
                    <a:pt x="225" y="155"/>
                  </a:lnTo>
                  <a:close/>
                  <a:moveTo>
                    <a:pt x="233" y="153"/>
                  </a:moveTo>
                  <a:lnTo>
                    <a:pt x="235" y="153"/>
                  </a:lnTo>
                  <a:lnTo>
                    <a:pt x="233" y="153"/>
                  </a:lnTo>
                  <a:close/>
                  <a:moveTo>
                    <a:pt x="119" y="153"/>
                  </a:moveTo>
                  <a:lnTo>
                    <a:pt x="121" y="153"/>
                  </a:lnTo>
                  <a:lnTo>
                    <a:pt x="119" y="153"/>
                  </a:lnTo>
                  <a:close/>
                  <a:moveTo>
                    <a:pt x="121" y="148"/>
                  </a:moveTo>
                  <a:lnTo>
                    <a:pt x="119" y="148"/>
                  </a:lnTo>
                  <a:lnTo>
                    <a:pt x="121" y="148"/>
                  </a:lnTo>
                  <a:close/>
                  <a:moveTo>
                    <a:pt x="161" y="145"/>
                  </a:moveTo>
                  <a:lnTo>
                    <a:pt x="159" y="145"/>
                  </a:lnTo>
                  <a:lnTo>
                    <a:pt x="161" y="145"/>
                  </a:lnTo>
                  <a:close/>
                  <a:moveTo>
                    <a:pt x="48" y="143"/>
                  </a:moveTo>
                  <a:lnTo>
                    <a:pt x="45" y="143"/>
                  </a:lnTo>
                  <a:lnTo>
                    <a:pt x="48" y="143"/>
                  </a:lnTo>
                  <a:close/>
                  <a:moveTo>
                    <a:pt x="114" y="141"/>
                  </a:moveTo>
                  <a:lnTo>
                    <a:pt x="112" y="141"/>
                  </a:lnTo>
                  <a:lnTo>
                    <a:pt x="114" y="141"/>
                  </a:lnTo>
                  <a:close/>
                  <a:moveTo>
                    <a:pt x="33" y="141"/>
                  </a:moveTo>
                  <a:lnTo>
                    <a:pt x="31" y="141"/>
                  </a:lnTo>
                  <a:lnTo>
                    <a:pt x="33" y="141"/>
                  </a:lnTo>
                  <a:close/>
                  <a:moveTo>
                    <a:pt x="116" y="138"/>
                  </a:moveTo>
                  <a:lnTo>
                    <a:pt x="114" y="138"/>
                  </a:lnTo>
                  <a:lnTo>
                    <a:pt x="116" y="138"/>
                  </a:lnTo>
                  <a:close/>
                  <a:moveTo>
                    <a:pt x="114" y="136"/>
                  </a:moveTo>
                  <a:lnTo>
                    <a:pt x="116" y="136"/>
                  </a:lnTo>
                  <a:lnTo>
                    <a:pt x="114" y="136"/>
                  </a:lnTo>
                  <a:close/>
                  <a:moveTo>
                    <a:pt x="128" y="134"/>
                  </a:moveTo>
                  <a:lnTo>
                    <a:pt x="126" y="134"/>
                  </a:lnTo>
                  <a:lnTo>
                    <a:pt x="128" y="134"/>
                  </a:lnTo>
                  <a:close/>
                  <a:moveTo>
                    <a:pt x="100" y="119"/>
                  </a:moveTo>
                  <a:lnTo>
                    <a:pt x="97" y="119"/>
                  </a:lnTo>
                  <a:lnTo>
                    <a:pt x="100" y="119"/>
                  </a:lnTo>
                  <a:close/>
                  <a:moveTo>
                    <a:pt x="140" y="115"/>
                  </a:moveTo>
                  <a:lnTo>
                    <a:pt x="138" y="115"/>
                  </a:lnTo>
                  <a:lnTo>
                    <a:pt x="140" y="115"/>
                  </a:lnTo>
                  <a:close/>
                  <a:moveTo>
                    <a:pt x="40" y="115"/>
                  </a:moveTo>
                  <a:lnTo>
                    <a:pt x="40" y="112"/>
                  </a:lnTo>
                  <a:lnTo>
                    <a:pt x="40" y="115"/>
                  </a:lnTo>
                  <a:close/>
                  <a:moveTo>
                    <a:pt x="45" y="112"/>
                  </a:moveTo>
                  <a:lnTo>
                    <a:pt x="43" y="112"/>
                  </a:lnTo>
                  <a:lnTo>
                    <a:pt x="45" y="112"/>
                  </a:lnTo>
                  <a:close/>
                  <a:moveTo>
                    <a:pt x="48" y="112"/>
                  </a:moveTo>
                  <a:lnTo>
                    <a:pt x="50" y="112"/>
                  </a:lnTo>
                  <a:lnTo>
                    <a:pt x="48" y="112"/>
                  </a:lnTo>
                  <a:close/>
                  <a:moveTo>
                    <a:pt x="74" y="110"/>
                  </a:moveTo>
                  <a:lnTo>
                    <a:pt x="74" y="112"/>
                  </a:lnTo>
                  <a:lnTo>
                    <a:pt x="74" y="110"/>
                  </a:lnTo>
                  <a:close/>
                  <a:moveTo>
                    <a:pt x="123" y="107"/>
                  </a:moveTo>
                  <a:lnTo>
                    <a:pt x="121" y="107"/>
                  </a:lnTo>
                  <a:lnTo>
                    <a:pt x="123" y="107"/>
                  </a:lnTo>
                  <a:close/>
                  <a:moveTo>
                    <a:pt x="38" y="107"/>
                  </a:moveTo>
                  <a:lnTo>
                    <a:pt x="38" y="105"/>
                  </a:lnTo>
                  <a:lnTo>
                    <a:pt x="38" y="107"/>
                  </a:lnTo>
                  <a:close/>
                  <a:moveTo>
                    <a:pt x="38" y="105"/>
                  </a:moveTo>
                  <a:lnTo>
                    <a:pt x="38" y="107"/>
                  </a:lnTo>
                  <a:lnTo>
                    <a:pt x="38" y="105"/>
                  </a:lnTo>
                  <a:close/>
                  <a:moveTo>
                    <a:pt x="211" y="105"/>
                  </a:moveTo>
                  <a:lnTo>
                    <a:pt x="209" y="105"/>
                  </a:lnTo>
                  <a:lnTo>
                    <a:pt x="211" y="105"/>
                  </a:lnTo>
                  <a:close/>
                  <a:moveTo>
                    <a:pt x="142" y="105"/>
                  </a:moveTo>
                  <a:lnTo>
                    <a:pt x="142" y="103"/>
                  </a:lnTo>
                  <a:lnTo>
                    <a:pt x="142" y="105"/>
                  </a:lnTo>
                  <a:close/>
                  <a:moveTo>
                    <a:pt x="116" y="103"/>
                  </a:moveTo>
                  <a:lnTo>
                    <a:pt x="114" y="103"/>
                  </a:lnTo>
                  <a:lnTo>
                    <a:pt x="116" y="103"/>
                  </a:lnTo>
                  <a:close/>
                  <a:moveTo>
                    <a:pt x="204" y="103"/>
                  </a:moveTo>
                  <a:lnTo>
                    <a:pt x="206" y="103"/>
                  </a:lnTo>
                  <a:lnTo>
                    <a:pt x="204" y="103"/>
                  </a:lnTo>
                  <a:close/>
                  <a:moveTo>
                    <a:pt x="33" y="100"/>
                  </a:moveTo>
                  <a:lnTo>
                    <a:pt x="36" y="100"/>
                  </a:lnTo>
                  <a:lnTo>
                    <a:pt x="33" y="100"/>
                  </a:lnTo>
                  <a:close/>
                  <a:moveTo>
                    <a:pt x="145" y="98"/>
                  </a:moveTo>
                  <a:lnTo>
                    <a:pt x="142" y="98"/>
                  </a:lnTo>
                  <a:lnTo>
                    <a:pt x="145" y="98"/>
                  </a:lnTo>
                  <a:close/>
                  <a:moveTo>
                    <a:pt x="133" y="98"/>
                  </a:moveTo>
                  <a:lnTo>
                    <a:pt x="133" y="96"/>
                  </a:lnTo>
                  <a:lnTo>
                    <a:pt x="133" y="98"/>
                  </a:lnTo>
                  <a:close/>
                  <a:moveTo>
                    <a:pt x="29" y="96"/>
                  </a:moveTo>
                  <a:lnTo>
                    <a:pt x="26" y="96"/>
                  </a:lnTo>
                  <a:lnTo>
                    <a:pt x="29" y="96"/>
                  </a:lnTo>
                  <a:close/>
                  <a:moveTo>
                    <a:pt x="40" y="79"/>
                  </a:moveTo>
                  <a:lnTo>
                    <a:pt x="38" y="81"/>
                  </a:lnTo>
                  <a:lnTo>
                    <a:pt x="40" y="79"/>
                  </a:lnTo>
                  <a:close/>
                  <a:moveTo>
                    <a:pt x="138" y="81"/>
                  </a:moveTo>
                  <a:lnTo>
                    <a:pt x="138" y="79"/>
                  </a:lnTo>
                  <a:lnTo>
                    <a:pt x="138" y="81"/>
                  </a:lnTo>
                  <a:close/>
                  <a:moveTo>
                    <a:pt x="138" y="79"/>
                  </a:moveTo>
                  <a:lnTo>
                    <a:pt x="138" y="77"/>
                  </a:lnTo>
                  <a:lnTo>
                    <a:pt x="138" y="79"/>
                  </a:lnTo>
                  <a:close/>
                  <a:moveTo>
                    <a:pt x="119" y="77"/>
                  </a:moveTo>
                  <a:lnTo>
                    <a:pt x="121" y="77"/>
                  </a:lnTo>
                  <a:lnTo>
                    <a:pt x="119" y="77"/>
                  </a:lnTo>
                  <a:close/>
                  <a:moveTo>
                    <a:pt x="138" y="69"/>
                  </a:moveTo>
                  <a:lnTo>
                    <a:pt x="135" y="69"/>
                  </a:lnTo>
                  <a:lnTo>
                    <a:pt x="138" y="67"/>
                  </a:lnTo>
                  <a:lnTo>
                    <a:pt x="138" y="69"/>
                  </a:lnTo>
                  <a:close/>
                  <a:moveTo>
                    <a:pt x="216" y="67"/>
                  </a:moveTo>
                  <a:lnTo>
                    <a:pt x="216" y="69"/>
                  </a:lnTo>
                  <a:lnTo>
                    <a:pt x="216" y="67"/>
                  </a:lnTo>
                  <a:close/>
                  <a:moveTo>
                    <a:pt x="0" y="65"/>
                  </a:moveTo>
                  <a:lnTo>
                    <a:pt x="0" y="62"/>
                  </a:lnTo>
                  <a:lnTo>
                    <a:pt x="0" y="65"/>
                  </a:lnTo>
                  <a:close/>
                  <a:moveTo>
                    <a:pt x="171" y="43"/>
                  </a:moveTo>
                  <a:lnTo>
                    <a:pt x="169" y="43"/>
                  </a:lnTo>
                  <a:lnTo>
                    <a:pt x="171" y="43"/>
                  </a:lnTo>
                  <a:close/>
                  <a:moveTo>
                    <a:pt x="135" y="24"/>
                  </a:moveTo>
                  <a:lnTo>
                    <a:pt x="133" y="24"/>
                  </a:lnTo>
                  <a:lnTo>
                    <a:pt x="135" y="22"/>
                  </a:lnTo>
                  <a:lnTo>
                    <a:pt x="135" y="24"/>
                  </a:lnTo>
                  <a:close/>
                  <a:moveTo>
                    <a:pt x="202" y="3"/>
                  </a:moveTo>
                  <a:lnTo>
                    <a:pt x="202" y="0"/>
                  </a:lnTo>
                  <a:lnTo>
                    <a:pt x="202" y="3"/>
                  </a:lnTo>
                  <a:close/>
                  <a:moveTo>
                    <a:pt x="202" y="0"/>
                  </a:moveTo>
                  <a:lnTo>
                    <a:pt x="202" y="3"/>
                  </a:lnTo>
                  <a:lnTo>
                    <a:pt x="20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0" name="Freeform 52455"/>
            <p:cNvSpPr>
              <a:spLocks noEditPoints="1"/>
            </p:cNvSpPr>
            <p:nvPr/>
          </p:nvSpPr>
          <p:spPr bwMode="auto">
            <a:xfrm>
              <a:off x="1885948" y="4719654"/>
              <a:ext cx="26988" cy="26988"/>
            </a:xfrm>
            <a:custGeom>
              <a:avLst/>
              <a:gdLst>
                <a:gd name="T0" fmla="*/ 10 w 17"/>
                <a:gd name="T1" fmla="*/ 15 h 17"/>
                <a:gd name="T2" fmla="*/ 10 w 17"/>
                <a:gd name="T3" fmla="*/ 15 h 17"/>
                <a:gd name="T4" fmla="*/ 12 w 17"/>
                <a:gd name="T5" fmla="*/ 15 h 17"/>
                <a:gd name="T6" fmla="*/ 12 w 17"/>
                <a:gd name="T7" fmla="*/ 15 h 17"/>
                <a:gd name="T8" fmla="*/ 12 w 17"/>
                <a:gd name="T9" fmla="*/ 17 h 17"/>
                <a:gd name="T10" fmla="*/ 10 w 17"/>
                <a:gd name="T11" fmla="*/ 17 h 17"/>
                <a:gd name="T12" fmla="*/ 10 w 17"/>
                <a:gd name="T13" fmla="*/ 15 h 17"/>
                <a:gd name="T14" fmla="*/ 10 w 17"/>
                <a:gd name="T15" fmla="*/ 15 h 17"/>
                <a:gd name="T16" fmla="*/ 10 w 17"/>
                <a:gd name="T17" fmla="*/ 15 h 17"/>
                <a:gd name="T18" fmla="*/ 10 w 17"/>
                <a:gd name="T19" fmla="*/ 15 h 17"/>
                <a:gd name="T20" fmla="*/ 7 w 17"/>
                <a:gd name="T21" fmla="*/ 12 h 17"/>
                <a:gd name="T22" fmla="*/ 7 w 17"/>
                <a:gd name="T23" fmla="*/ 12 h 17"/>
                <a:gd name="T24" fmla="*/ 5 w 17"/>
                <a:gd name="T25" fmla="*/ 12 h 17"/>
                <a:gd name="T26" fmla="*/ 5 w 17"/>
                <a:gd name="T27" fmla="*/ 12 h 17"/>
                <a:gd name="T28" fmla="*/ 7 w 17"/>
                <a:gd name="T29" fmla="*/ 12 h 17"/>
                <a:gd name="T30" fmla="*/ 7 w 17"/>
                <a:gd name="T31" fmla="*/ 12 h 17"/>
                <a:gd name="T32" fmla="*/ 5 w 17"/>
                <a:gd name="T33" fmla="*/ 12 h 17"/>
                <a:gd name="T34" fmla="*/ 5 w 17"/>
                <a:gd name="T35" fmla="*/ 12 h 17"/>
                <a:gd name="T36" fmla="*/ 5 w 17"/>
                <a:gd name="T37" fmla="*/ 15 h 17"/>
                <a:gd name="T38" fmla="*/ 5 w 17"/>
                <a:gd name="T39" fmla="*/ 15 h 17"/>
                <a:gd name="T40" fmla="*/ 5 w 17"/>
                <a:gd name="T41" fmla="*/ 15 h 17"/>
                <a:gd name="T42" fmla="*/ 5 w 17"/>
                <a:gd name="T43" fmla="*/ 15 h 17"/>
                <a:gd name="T44" fmla="*/ 5 w 17"/>
                <a:gd name="T45" fmla="*/ 17 h 17"/>
                <a:gd name="T46" fmla="*/ 5 w 17"/>
                <a:gd name="T47" fmla="*/ 15 h 17"/>
                <a:gd name="T48" fmla="*/ 5 w 17"/>
                <a:gd name="T49" fmla="*/ 15 h 17"/>
                <a:gd name="T50" fmla="*/ 2 w 17"/>
                <a:gd name="T51" fmla="*/ 17 h 17"/>
                <a:gd name="T52" fmla="*/ 2 w 17"/>
                <a:gd name="T53" fmla="*/ 17 h 17"/>
                <a:gd name="T54" fmla="*/ 2 w 17"/>
                <a:gd name="T55" fmla="*/ 15 h 17"/>
                <a:gd name="T56" fmla="*/ 0 w 17"/>
                <a:gd name="T57" fmla="*/ 15 h 17"/>
                <a:gd name="T58" fmla="*/ 0 w 17"/>
                <a:gd name="T59" fmla="*/ 15 h 17"/>
                <a:gd name="T60" fmla="*/ 0 w 17"/>
                <a:gd name="T61" fmla="*/ 15 h 17"/>
                <a:gd name="T62" fmla="*/ 2 w 17"/>
                <a:gd name="T63" fmla="*/ 15 h 17"/>
                <a:gd name="T64" fmla="*/ 2 w 17"/>
                <a:gd name="T65" fmla="*/ 15 h 17"/>
                <a:gd name="T66" fmla="*/ 2 w 17"/>
                <a:gd name="T67" fmla="*/ 15 h 17"/>
                <a:gd name="T68" fmla="*/ 2 w 17"/>
                <a:gd name="T69" fmla="*/ 15 h 17"/>
                <a:gd name="T70" fmla="*/ 2 w 17"/>
                <a:gd name="T71" fmla="*/ 15 h 17"/>
                <a:gd name="T72" fmla="*/ 2 w 17"/>
                <a:gd name="T73" fmla="*/ 12 h 17"/>
                <a:gd name="T74" fmla="*/ 2 w 17"/>
                <a:gd name="T75" fmla="*/ 12 h 17"/>
                <a:gd name="T76" fmla="*/ 2 w 17"/>
                <a:gd name="T77" fmla="*/ 12 h 17"/>
                <a:gd name="T78" fmla="*/ 5 w 17"/>
                <a:gd name="T79" fmla="*/ 12 h 17"/>
                <a:gd name="T80" fmla="*/ 5 w 17"/>
                <a:gd name="T81" fmla="*/ 12 h 17"/>
                <a:gd name="T82" fmla="*/ 5 w 17"/>
                <a:gd name="T83" fmla="*/ 12 h 17"/>
                <a:gd name="T84" fmla="*/ 5 w 17"/>
                <a:gd name="T85" fmla="*/ 12 h 17"/>
                <a:gd name="T86" fmla="*/ 5 w 17"/>
                <a:gd name="T87" fmla="*/ 12 h 17"/>
                <a:gd name="T88" fmla="*/ 17 w 17"/>
                <a:gd name="T89" fmla="*/ 0 h 17"/>
                <a:gd name="T90" fmla="*/ 17 w 17"/>
                <a:gd name="T91" fmla="*/ 0 h 17"/>
                <a:gd name="T92" fmla="*/ 17 w 17"/>
                <a:gd name="T93" fmla="*/ 3 h 17"/>
                <a:gd name="T94" fmla="*/ 17 w 17"/>
                <a:gd name="T95" fmla="*/ 3 h 17"/>
                <a:gd name="T96" fmla="*/ 14 w 17"/>
                <a:gd name="T97" fmla="*/ 3 h 17"/>
                <a:gd name="T98" fmla="*/ 14 w 17"/>
                <a:gd name="T99" fmla="*/ 3 h 17"/>
                <a:gd name="T100" fmla="*/ 14 w 17"/>
                <a:gd name="T101" fmla="*/ 3 h 17"/>
                <a:gd name="T102" fmla="*/ 17 w 17"/>
                <a:gd name="T103" fmla="*/ 0 h 17"/>
                <a:gd name="T104" fmla="*/ 17 w 17"/>
                <a:gd name="T105" fmla="*/ 0 h 17"/>
                <a:gd name="T106" fmla="*/ 17 w 17"/>
                <a:gd name="T107" fmla="*/ 0 h 17"/>
                <a:gd name="T108" fmla="*/ 17 w 17"/>
                <a:gd name="T109" fmla="*/ 0 h 17"/>
                <a:gd name="T110" fmla="*/ 14 w 17"/>
                <a:gd name="T111" fmla="*/ 0 h 17"/>
                <a:gd name="T112" fmla="*/ 14 w 17"/>
                <a:gd name="T11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 h="17">
                  <a:moveTo>
                    <a:pt x="10" y="15"/>
                  </a:moveTo>
                  <a:lnTo>
                    <a:pt x="10" y="15"/>
                  </a:lnTo>
                  <a:lnTo>
                    <a:pt x="10" y="15"/>
                  </a:lnTo>
                  <a:lnTo>
                    <a:pt x="10" y="15"/>
                  </a:lnTo>
                  <a:lnTo>
                    <a:pt x="10" y="15"/>
                  </a:lnTo>
                  <a:lnTo>
                    <a:pt x="10" y="15"/>
                  </a:lnTo>
                  <a:lnTo>
                    <a:pt x="10" y="15"/>
                  </a:lnTo>
                  <a:lnTo>
                    <a:pt x="10" y="15"/>
                  </a:lnTo>
                  <a:lnTo>
                    <a:pt x="10" y="15"/>
                  </a:lnTo>
                  <a:lnTo>
                    <a:pt x="10" y="15"/>
                  </a:lnTo>
                  <a:lnTo>
                    <a:pt x="10" y="15"/>
                  </a:lnTo>
                  <a:close/>
                  <a:moveTo>
                    <a:pt x="10" y="15"/>
                  </a:move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5"/>
                  </a:lnTo>
                  <a:lnTo>
                    <a:pt x="12" y="17"/>
                  </a:lnTo>
                  <a:lnTo>
                    <a:pt x="12" y="17"/>
                  </a:lnTo>
                  <a:lnTo>
                    <a:pt x="10" y="17"/>
                  </a:lnTo>
                  <a:lnTo>
                    <a:pt x="10" y="17"/>
                  </a:lnTo>
                  <a:lnTo>
                    <a:pt x="10" y="17"/>
                  </a:lnTo>
                  <a:lnTo>
                    <a:pt x="10" y="17"/>
                  </a:lnTo>
                  <a:lnTo>
                    <a:pt x="10" y="17"/>
                  </a:lnTo>
                  <a:lnTo>
                    <a:pt x="10" y="17"/>
                  </a:lnTo>
                  <a:lnTo>
                    <a:pt x="10" y="17"/>
                  </a:lnTo>
                  <a:lnTo>
                    <a:pt x="10" y="17"/>
                  </a:lnTo>
                  <a:lnTo>
                    <a:pt x="10" y="17"/>
                  </a:lnTo>
                  <a:lnTo>
                    <a:pt x="10" y="17"/>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2" y="15"/>
                  </a:lnTo>
                  <a:lnTo>
                    <a:pt x="12" y="15"/>
                  </a:lnTo>
                  <a:lnTo>
                    <a:pt x="10" y="15"/>
                  </a:lnTo>
                  <a:lnTo>
                    <a:pt x="12" y="15"/>
                  </a:lnTo>
                  <a:lnTo>
                    <a:pt x="10" y="15"/>
                  </a:lnTo>
                  <a:lnTo>
                    <a:pt x="10" y="15"/>
                  </a:lnTo>
                  <a:close/>
                  <a:moveTo>
                    <a:pt x="7" y="15"/>
                  </a:moveTo>
                  <a:lnTo>
                    <a:pt x="7" y="15"/>
                  </a:lnTo>
                  <a:lnTo>
                    <a:pt x="7" y="15"/>
                  </a:lnTo>
                  <a:lnTo>
                    <a:pt x="7" y="15"/>
                  </a:lnTo>
                  <a:lnTo>
                    <a:pt x="7" y="12"/>
                  </a:lnTo>
                  <a:lnTo>
                    <a:pt x="7" y="12"/>
                  </a:lnTo>
                  <a:lnTo>
                    <a:pt x="7" y="12"/>
                  </a:lnTo>
                  <a:lnTo>
                    <a:pt x="7" y="12"/>
                  </a:lnTo>
                  <a:lnTo>
                    <a:pt x="7" y="12"/>
                  </a:lnTo>
                  <a:lnTo>
                    <a:pt x="7" y="12"/>
                  </a:lnTo>
                  <a:lnTo>
                    <a:pt x="7" y="12"/>
                  </a:lnTo>
                  <a:lnTo>
                    <a:pt x="7" y="12"/>
                  </a:lnTo>
                  <a:lnTo>
                    <a:pt x="7" y="15"/>
                  </a:lnTo>
                  <a:lnTo>
                    <a:pt x="7" y="15"/>
                  </a:lnTo>
                  <a:lnTo>
                    <a:pt x="7" y="15"/>
                  </a:lnTo>
                  <a:close/>
                  <a:moveTo>
                    <a:pt x="5" y="12"/>
                  </a:moveTo>
                  <a:lnTo>
                    <a:pt x="5" y="12"/>
                  </a:lnTo>
                  <a:lnTo>
                    <a:pt x="5" y="12"/>
                  </a:lnTo>
                  <a:lnTo>
                    <a:pt x="5" y="12"/>
                  </a:lnTo>
                  <a:lnTo>
                    <a:pt x="5" y="12"/>
                  </a:lnTo>
                  <a:lnTo>
                    <a:pt x="5" y="12"/>
                  </a:lnTo>
                  <a:lnTo>
                    <a:pt x="5" y="12"/>
                  </a:lnTo>
                  <a:lnTo>
                    <a:pt x="5" y="12"/>
                  </a:lnTo>
                  <a:lnTo>
                    <a:pt x="5" y="12"/>
                  </a:lnTo>
                  <a:lnTo>
                    <a:pt x="5" y="12"/>
                  </a:lnTo>
                  <a:lnTo>
                    <a:pt x="5" y="12"/>
                  </a:lnTo>
                  <a:lnTo>
                    <a:pt x="5"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5" y="12"/>
                  </a:lnTo>
                  <a:lnTo>
                    <a:pt x="5" y="12"/>
                  </a:lnTo>
                  <a:lnTo>
                    <a:pt x="5" y="12"/>
                  </a:lnTo>
                  <a:lnTo>
                    <a:pt x="7" y="12"/>
                  </a:lnTo>
                  <a:lnTo>
                    <a:pt x="5" y="12"/>
                  </a:lnTo>
                  <a:lnTo>
                    <a:pt x="7" y="12"/>
                  </a:lnTo>
                  <a:lnTo>
                    <a:pt x="7" y="12"/>
                  </a:lnTo>
                  <a:lnTo>
                    <a:pt x="5" y="12"/>
                  </a:lnTo>
                  <a:lnTo>
                    <a:pt x="5" y="12"/>
                  </a:lnTo>
                  <a:lnTo>
                    <a:pt x="5" y="12"/>
                  </a:lnTo>
                  <a:lnTo>
                    <a:pt x="5" y="12"/>
                  </a:lnTo>
                  <a:lnTo>
                    <a:pt x="5" y="12"/>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5"/>
                  </a:lnTo>
                  <a:lnTo>
                    <a:pt x="5" y="17"/>
                  </a:lnTo>
                  <a:lnTo>
                    <a:pt x="5" y="17"/>
                  </a:lnTo>
                  <a:lnTo>
                    <a:pt x="5" y="17"/>
                  </a:lnTo>
                  <a:lnTo>
                    <a:pt x="5" y="17"/>
                  </a:lnTo>
                  <a:lnTo>
                    <a:pt x="5" y="17"/>
                  </a:lnTo>
                  <a:lnTo>
                    <a:pt x="5" y="15"/>
                  </a:lnTo>
                  <a:lnTo>
                    <a:pt x="5" y="15"/>
                  </a:lnTo>
                  <a:lnTo>
                    <a:pt x="5" y="15"/>
                  </a:lnTo>
                  <a:lnTo>
                    <a:pt x="5" y="15"/>
                  </a:lnTo>
                  <a:lnTo>
                    <a:pt x="5" y="15"/>
                  </a:lnTo>
                  <a:lnTo>
                    <a:pt x="5" y="17"/>
                  </a:lnTo>
                  <a:lnTo>
                    <a:pt x="5" y="17"/>
                  </a:lnTo>
                  <a:lnTo>
                    <a:pt x="5" y="17"/>
                  </a:lnTo>
                  <a:lnTo>
                    <a:pt x="5" y="17"/>
                  </a:lnTo>
                  <a:lnTo>
                    <a:pt x="5" y="15"/>
                  </a:lnTo>
                  <a:lnTo>
                    <a:pt x="5" y="15"/>
                  </a:lnTo>
                  <a:lnTo>
                    <a:pt x="5" y="15"/>
                  </a:lnTo>
                  <a:lnTo>
                    <a:pt x="5" y="15"/>
                  </a:lnTo>
                  <a:lnTo>
                    <a:pt x="5" y="15"/>
                  </a:lnTo>
                  <a:lnTo>
                    <a:pt x="2" y="17"/>
                  </a:lnTo>
                  <a:lnTo>
                    <a:pt x="2" y="17"/>
                  </a:lnTo>
                  <a:lnTo>
                    <a:pt x="2" y="17"/>
                  </a:lnTo>
                  <a:lnTo>
                    <a:pt x="2" y="17"/>
                  </a:lnTo>
                  <a:lnTo>
                    <a:pt x="2" y="17"/>
                  </a:lnTo>
                  <a:lnTo>
                    <a:pt x="2" y="17"/>
                  </a:lnTo>
                  <a:lnTo>
                    <a:pt x="2" y="17"/>
                  </a:lnTo>
                  <a:lnTo>
                    <a:pt x="2" y="17"/>
                  </a:lnTo>
                  <a:lnTo>
                    <a:pt x="2" y="17"/>
                  </a:lnTo>
                  <a:lnTo>
                    <a:pt x="2" y="17"/>
                  </a:lnTo>
                  <a:lnTo>
                    <a:pt x="2" y="17"/>
                  </a:lnTo>
                  <a:lnTo>
                    <a:pt x="2" y="15"/>
                  </a:lnTo>
                  <a:lnTo>
                    <a:pt x="2" y="15"/>
                  </a:lnTo>
                  <a:lnTo>
                    <a:pt x="2" y="15"/>
                  </a:lnTo>
                  <a:lnTo>
                    <a:pt x="2" y="15"/>
                  </a:lnTo>
                  <a:lnTo>
                    <a:pt x="2" y="15"/>
                  </a:lnTo>
                  <a:lnTo>
                    <a:pt x="2" y="15"/>
                  </a:lnTo>
                  <a:lnTo>
                    <a:pt x="2" y="15"/>
                  </a:lnTo>
                  <a:lnTo>
                    <a:pt x="2" y="15"/>
                  </a:lnTo>
                  <a:lnTo>
                    <a:pt x="2"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0" y="15"/>
                  </a:lnTo>
                  <a:lnTo>
                    <a:pt x="2" y="15"/>
                  </a:lnTo>
                  <a:lnTo>
                    <a:pt x="0" y="15"/>
                  </a:lnTo>
                  <a:lnTo>
                    <a:pt x="2" y="15"/>
                  </a:lnTo>
                  <a:lnTo>
                    <a:pt x="2" y="15"/>
                  </a:lnTo>
                  <a:lnTo>
                    <a:pt x="2" y="15"/>
                  </a:lnTo>
                  <a:lnTo>
                    <a:pt x="2" y="15"/>
                  </a:lnTo>
                  <a:lnTo>
                    <a:pt x="0" y="15"/>
                  </a:lnTo>
                  <a:lnTo>
                    <a:pt x="0" y="15"/>
                  </a:lnTo>
                  <a:lnTo>
                    <a:pt x="0"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5"/>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2"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lnTo>
                    <a:pt x="5" y="12"/>
                  </a:lnTo>
                  <a:close/>
                  <a:moveTo>
                    <a:pt x="17" y="0"/>
                  </a:move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4" y="3"/>
                  </a:lnTo>
                  <a:lnTo>
                    <a:pt x="14" y="3"/>
                  </a:lnTo>
                  <a:lnTo>
                    <a:pt x="14" y="3"/>
                  </a:lnTo>
                  <a:lnTo>
                    <a:pt x="14" y="3"/>
                  </a:lnTo>
                  <a:lnTo>
                    <a:pt x="14" y="3"/>
                  </a:lnTo>
                  <a:lnTo>
                    <a:pt x="14" y="3"/>
                  </a:lnTo>
                  <a:lnTo>
                    <a:pt x="14" y="3"/>
                  </a:lnTo>
                  <a:lnTo>
                    <a:pt x="14" y="3"/>
                  </a:lnTo>
                  <a:lnTo>
                    <a:pt x="14" y="3"/>
                  </a:lnTo>
                  <a:lnTo>
                    <a:pt x="14" y="3"/>
                  </a:lnTo>
                  <a:lnTo>
                    <a:pt x="14" y="3"/>
                  </a:lnTo>
                  <a:lnTo>
                    <a:pt x="14" y="3"/>
                  </a:lnTo>
                  <a:lnTo>
                    <a:pt x="14" y="3"/>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lnTo>
                    <a:pt x="17" y="0"/>
                  </a:lnTo>
                  <a:close/>
                  <a:moveTo>
                    <a:pt x="14" y="0"/>
                  </a:moveTo>
                  <a:lnTo>
                    <a:pt x="14" y="0"/>
                  </a:lnTo>
                  <a:lnTo>
                    <a:pt x="14" y="0"/>
                  </a:lnTo>
                  <a:lnTo>
                    <a:pt x="14" y="0"/>
                  </a:lnTo>
                  <a:lnTo>
                    <a:pt x="14" y="0"/>
                  </a:lnTo>
                  <a:lnTo>
                    <a:pt x="14" y="0"/>
                  </a:lnTo>
                  <a:lnTo>
                    <a:pt x="14" y="0"/>
                  </a:lnTo>
                  <a:lnTo>
                    <a:pt x="14" y="0"/>
                  </a:lnTo>
                  <a:lnTo>
                    <a:pt x="14" y="0"/>
                  </a:lnTo>
                  <a:lnTo>
                    <a:pt x="14" y="0"/>
                  </a:lnTo>
                  <a:lnTo>
                    <a:pt x="14" y="0"/>
                  </a:lnTo>
                  <a:lnTo>
                    <a:pt x="14" y="0"/>
                  </a:lnTo>
                  <a:lnTo>
                    <a:pt x="14" y="0"/>
                  </a:lnTo>
                  <a:lnTo>
                    <a:pt x="1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1" name="Freeform 52456"/>
            <p:cNvSpPr>
              <a:spLocks noEditPoints="1"/>
            </p:cNvSpPr>
            <p:nvPr/>
          </p:nvSpPr>
          <p:spPr bwMode="auto">
            <a:xfrm>
              <a:off x="1885948" y="4719654"/>
              <a:ext cx="26988" cy="26988"/>
            </a:xfrm>
            <a:custGeom>
              <a:avLst/>
              <a:gdLst>
                <a:gd name="T0" fmla="*/ 10 w 17"/>
                <a:gd name="T1" fmla="*/ 17 h 17"/>
                <a:gd name="T2" fmla="*/ 12 w 17"/>
                <a:gd name="T3" fmla="*/ 17 h 17"/>
                <a:gd name="T4" fmla="*/ 12 w 17"/>
                <a:gd name="T5" fmla="*/ 15 h 17"/>
                <a:gd name="T6" fmla="*/ 12 w 17"/>
                <a:gd name="T7" fmla="*/ 15 h 17"/>
                <a:gd name="T8" fmla="*/ 12 w 17"/>
                <a:gd name="T9" fmla="*/ 15 h 17"/>
                <a:gd name="T10" fmla="*/ 7 w 17"/>
                <a:gd name="T11" fmla="*/ 15 h 17"/>
                <a:gd name="T12" fmla="*/ 7 w 17"/>
                <a:gd name="T13" fmla="*/ 15 h 17"/>
                <a:gd name="T14" fmla="*/ 7 w 17"/>
                <a:gd name="T15" fmla="*/ 15 h 17"/>
                <a:gd name="T16" fmla="*/ 7 w 17"/>
                <a:gd name="T17" fmla="*/ 15 h 17"/>
                <a:gd name="T18" fmla="*/ 0 w 17"/>
                <a:gd name="T19" fmla="*/ 15 h 17"/>
                <a:gd name="T20" fmla="*/ 0 w 17"/>
                <a:gd name="T21" fmla="*/ 15 h 17"/>
                <a:gd name="T22" fmla="*/ 0 w 17"/>
                <a:gd name="T23" fmla="*/ 15 h 17"/>
                <a:gd name="T24" fmla="*/ 7 w 17"/>
                <a:gd name="T25" fmla="*/ 15 h 17"/>
                <a:gd name="T26" fmla="*/ 7 w 17"/>
                <a:gd name="T27" fmla="*/ 15 h 17"/>
                <a:gd name="T28" fmla="*/ 7 w 17"/>
                <a:gd name="T29" fmla="*/ 15 h 17"/>
                <a:gd name="T30" fmla="*/ 0 w 17"/>
                <a:gd name="T31" fmla="*/ 15 h 17"/>
                <a:gd name="T32" fmla="*/ 0 w 17"/>
                <a:gd name="T33" fmla="*/ 15 h 17"/>
                <a:gd name="T34" fmla="*/ 0 w 17"/>
                <a:gd name="T35" fmla="*/ 15 h 17"/>
                <a:gd name="T36" fmla="*/ 0 w 17"/>
                <a:gd name="T37" fmla="*/ 15 h 17"/>
                <a:gd name="T38" fmla="*/ 7 w 17"/>
                <a:gd name="T39" fmla="*/ 12 h 17"/>
                <a:gd name="T40" fmla="*/ 7 w 17"/>
                <a:gd name="T41" fmla="*/ 12 h 17"/>
                <a:gd name="T42" fmla="*/ 7 w 17"/>
                <a:gd name="T43" fmla="*/ 12 h 17"/>
                <a:gd name="T44" fmla="*/ 7 w 17"/>
                <a:gd name="T45" fmla="*/ 12 h 17"/>
                <a:gd name="T46" fmla="*/ 7 w 17"/>
                <a:gd name="T47" fmla="*/ 12 h 17"/>
                <a:gd name="T48" fmla="*/ 7 w 17"/>
                <a:gd name="T49" fmla="*/ 12 h 17"/>
                <a:gd name="T50" fmla="*/ 17 w 17"/>
                <a:gd name="T51" fmla="*/ 3 h 17"/>
                <a:gd name="T52" fmla="*/ 17 w 17"/>
                <a:gd name="T53" fmla="*/ 3 h 17"/>
                <a:gd name="T54" fmla="*/ 14 w 17"/>
                <a:gd name="T55" fmla="*/ 3 h 17"/>
                <a:gd name="T56" fmla="*/ 14 w 17"/>
                <a:gd name="T57" fmla="*/ 3 h 17"/>
                <a:gd name="T58" fmla="*/ 14 w 17"/>
                <a:gd name="T59" fmla="*/ 3 h 17"/>
                <a:gd name="T60" fmla="*/ 17 w 17"/>
                <a:gd name="T61" fmla="*/ 0 h 17"/>
                <a:gd name="T62" fmla="*/ 17 w 17"/>
                <a:gd name="T63" fmla="*/ 0 h 17"/>
                <a:gd name="T64" fmla="*/ 17 w 17"/>
                <a:gd name="T65" fmla="*/ 0 h 17"/>
                <a:gd name="T66" fmla="*/ 10 w 17"/>
                <a:gd name="T67" fmla="*/ 0 h 17"/>
                <a:gd name="T68" fmla="*/ 10 w 17"/>
                <a:gd name="T69" fmla="*/ 0 h 17"/>
                <a:gd name="T70" fmla="*/ 10 w 17"/>
                <a:gd name="T71" fmla="*/ 0 h 17"/>
                <a:gd name="T72" fmla="*/ 14 w 17"/>
                <a:gd name="T73" fmla="*/ 0 h 17"/>
                <a:gd name="T74" fmla="*/ 14 w 17"/>
                <a:gd name="T7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17">
                  <a:moveTo>
                    <a:pt x="12" y="17"/>
                  </a:moveTo>
                  <a:lnTo>
                    <a:pt x="10" y="17"/>
                  </a:lnTo>
                  <a:lnTo>
                    <a:pt x="10" y="17"/>
                  </a:lnTo>
                  <a:lnTo>
                    <a:pt x="12" y="17"/>
                  </a:lnTo>
                  <a:lnTo>
                    <a:pt x="12" y="17"/>
                  </a:lnTo>
                  <a:close/>
                  <a:moveTo>
                    <a:pt x="12" y="15"/>
                  </a:moveTo>
                  <a:lnTo>
                    <a:pt x="12" y="15"/>
                  </a:lnTo>
                  <a:lnTo>
                    <a:pt x="12" y="15"/>
                  </a:lnTo>
                  <a:lnTo>
                    <a:pt x="12" y="15"/>
                  </a:lnTo>
                  <a:lnTo>
                    <a:pt x="12" y="15"/>
                  </a:lnTo>
                  <a:close/>
                  <a:moveTo>
                    <a:pt x="7" y="15"/>
                  </a:moveTo>
                  <a:lnTo>
                    <a:pt x="7" y="15"/>
                  </a:lnTo>
                  <a:lnTo>
                    <a:pt x="7" y="15"/>
                  </a:lnTo>
                  <a:lnTo>
                    <a:pt x="7" y="15"/>
                  </a:lnTo>
                  <a:lnTo>
                    <a:pt x="7" y="15"/>
                  </a:lnTo>
                  <a:lnTo>
                    <a:pt x="7" y="15"/>
                  </a:lnTo>
                  <a:lnTo>
                    <a:pt x="7" y="15"/>
                  </a:lnTo>
                  <a:lnTo>
                    <a:pt x="7" y="15"/>
                  </a:lnTo>
                  <a:lnTo>
                    <a:pt x="7" y="15"/>
                  </a:lnTo>
                  <a:close/>
                  <a:moveTo>
                    <a:pt x="0" y="15"/>
                  </a:moveTo>
                  <a:lnTo>
                    <a:pt x="0" y="15"/>
                  </a:lnTo>
                  <a:lnTo>
                    <a:pt x="0" y="15"/>
                  </a:lnTo>
                  <a:lnTo>
                    <a:pt x="0" y="15"/>
                  </a:lnTo>
                  <a:lnTo>
                    <a:pt x="0" y="15"/>
                  </a:lnTo>
                  <a:close/>
                  <a:moveTo>
                    <a:pt x="7" y="15"/>
                  </a:moveTo>
                  <a:lnTo>
                    <a:pt x="7" y="15"/>
                  </a:lnTo>
                  <a:lnTo>
                    <a:pt x="7" y="15"/>
                  </a:lnTo>
                  <a:lnTo>
                    <a:pt x="7" y="15"/>
                  </a:lnTo>
                  <a:lnTo>
                    <a:pt x="7" y="15"/>
                  </a:lnTo>
                  <a:lnTo>
                    <a:pt x="7" y="15"/>
                  </a:lnTo>
                  <a:close/>
                  <a:moveTo>
                    <a:pt x="0" y="15"/>
                  </a:moveTo>
                  <a:lnTo>
                    <a:pt x="0" y="15"/>
                  </a:lnTo>
                  <a:lnTo>
                    <a:pt x="0" y="15"/>
                  </a:lnTo>
                  <a:lnTo>
                    <a:pt x="0" y="15"/>
                  </a:lnTo>
                  <a:lnTo>
                    <a:pt x="0" y="15"/>
                  </a:lnTo>
                  <a:lnTo>
                    <a:pt x="0" y="15"/>
                  </a:lnTo>
                  <a:lnTo>
                    <a:pt x="0" y="15"/>
                  </a:lnTo>
                  <a:lnTo>
                    <a:pt x="0" y="15"/>
                  </a:lnTo>
                  <a:close/>
                  <a:moveTo>
                    <a:pt x="7" y="12"/>
                  </a:moveTo>
                  <a:lnTo>
                    <a:pt x="7" y="12"/>
                  </a:lnTo>
                  <a:lnTo>
                    <a:pt x="7" y="12"/>
                  </a:lnTo>
                  <a:lnTo>
                    <a:pt x="7" y="12"/>
                  </a:lnTo>
                  <a:lnTo>
                    <a:pt x="7" y="12"/>
                  </a:lnTo>
                  <a:lnTo>
                    <a:pt x="7" y="12"/>
                  </a:lnTo>
                  <a:close/>
                  <a:moveTo>
                    <a:pt x="7" y="12"/>
                  </a:moveTo>
                  <a:lnTo>
                    <a:pt x="7" y="12"/>
                  </a:lnTo>
                  <a:lnTo>
                    <a:pt x="7" y="12"/>
                  </a:lnTo>
                  <a:lnTo>
                    <a:pt x="7" y="12"/>
                  </a:lnTo>
                  <a:lnTo>
                    <a:pt x="7" y="12"/>
                  </a:lnTo>
                  <a:lnTo>
                    <a:pt x="7" y="12"/>
                  </a:lnTo>
                  <a:close/>
                  <a:moveTo>
                    <a:pt x="17" y="3"/>
                  </a:moveTo>
                  <a:lnTo>
                    <a:pt x="17" y="3"/>
                  </a:lnTo>
                  <a:lnTo>
                    <a:pt x="17" y="3"/>
                  </a:lnTo>
                  <a:lnTo>
                    <a:pt x="17" y="3"/>
                  </a:lnTo>
                  <a:close/>
                  <a:moveTo>
                    <a:pt x="14" y="3"/>
                  </a:moveTo>
                  <a:lnTo>
                    <a:pt x="14" y="3"/>
                  </a:lnTo>
                  <a:lnTo>
                    <a:pt x="14" y="3"/>
                  </a:lnTo>
                  <a:lnTo>
                    <a:pt x="14" y="3"/>
                  </a:lnTo>
                  <a:lnTo>
                    <a:pt x="14" y="3"/>
                  </a:lnTo>
                  <a:lnTo>
                    <a:pt x="14" y="3"/>
                  </a:lnTo>
                  <a:lnTo>
                    <a:pt x="14" y="3"/>
                  </a:lnTo>
                  <a:close/>
                  <a:moveTo>
                    <a:pt x="17" y="0"/>
                  </a:moveTo>
                  <a:lnTo>
                    <a:pt x="17" y="0"/>
                  </a:lnTo>
                  <a:lnTo>
                    <a:pt x="17" y="0"/>
                  </a:lnTo>
                  <a:lnTo>
                    <a:pt x="17" y="0"/>
                  </a:lnTo>
                  <a:lnTo>
                    <a:pt x="17" y="0"/>
                  </a:lnTo>
                  <a:close/>
                  <a:moveTo>
                    <a:pt x="10" y="0"/>
                  </a:moveTo>
                  <a:lnTo>
                    <a:pt x="10" y="0"/>
                  </a:lnTo>
                  <a:lnTo>
                    <a:pt x="10" y="0"/>
                  </a:lnTo>
                  <a:lnTo>
                    <a:pt x="10" y="0"/>
                  </a:lnTo>
                  <a:lnTo>
                    <a:pt x="10" y="0"/>
                  </a:lnTo>
                  <a:lnTo>
                    <a:pt x="10" y="0"/>
                  </a:lnTo>
                  <a:close/>
                  <a:moveTo>
                    <a:pt x="14" y="0"/>
                  </a:moveTo>
                  <a:lnTo>
                    <a:pt x="14" y="0"/>
                  </a:lnTo>
                  <a:lnTo>
                    <a:pt x="14" y="0"/>
                  </a:lnTo>
                  <a:lnTo>
                    <a:pt x="14" y="0"/>
                  </a:lnTo>
                  <a:lnTo>
                    <a:pt x="1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2" name="Freeform 52457"/>
            <p:cNvSpPr>
              <a:spLocks/>
            </p:cNvSpPr>
            <p:nvPr/>
          </p:nvSpPr>
          <p:spPr bwMode="auto">
            <a:xfrm>
              <a:off x="2676523" y="5305443"/>
              <a:ext cx="4763" cy="0"/>
            </a:xfrm>
            <a:custGeom>
              <a:avLst/>
              <a:gdLst>
                <a:gd name="T0" fmla="*/ 3 w 3"/>
                <a:gd name="T1" fmla="*/ 3 w 3"/>
                <a:gd name="T2" fmla="*/ 0 w 3"/>
                <a:gd name="T3" fmla="*/ 0 w 3"/>
                <a:gd name="T4" fmla="*/ 3 w 3"/>
                <a:gd name="T5" fmla="*/ 3 w 3"/>
                <a:gd name="T6" fmla="*/ 3 w 3"/>
                <a:gd name="T7" fmla="*/ 3 w 3"/>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3">
                  <a:moveTo>
                    <a:pt x="3" y="0"/>
                  </a:moveTo>
                  <a:lnTo>
                    <a:pt x="3" y="0"/>
                  </a:lnTo>
                  <a:lnTo>
                    <a:pt x="0" y="0"/>
                  </a:lnTo>
                  <a:lnTo>
                    <a:pt x="0"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3" name="Freeform 52458"/>
            <p:cNvSpPr>
              <a:spLocks/>
            </p:cNvSpPr>
            <p:nvPr/>
          </p:nvSpPr>
          <p:spPr bwMode="auto">
            <a:xfrm>
              <a:off x="2868610" y="4806966"/>
              <a:ext cx="358775" cy="214313"/>
            </a:xfrm>
            <a:custGeom>
              <a:avLst/>
              <a:gdLst>
                <a:gd name="T0" fmla="*/ 188 w 226"/>
                <a:gd name="T1" fmla="*/ 12 h 135"/>
                <a:gd name="T2" fmla="*/ 200 w 226"/>
                <a:gd name="T3" fmla="*/ 12 h 135"/>
                <a:gd name="T4" fmla="*/ 207 w 226"/>
                <a:gd name="T5" fmla="*/ 17 h 135"/>
                <a:gd name="T6" fmla="*/ 214 w 226"/>
                <a:gd name="T7" fmla="*/ 21 h 135"/>
                <a:gd name="T8" fmla="*/ 223 w 226"/>
                <a:gd name="T9" fmla="*/ 24 h 135"/>
                <a:gd name="T10" fmla="*/ 221 w 226"/>
                <a:gd name="T11" fmla="*/ 33 h 135"/>
                <a:gd name="T12" fmla="*/ 214 w 226"/>
                <a:gd name="T13" fmla="*/ 40 h 135"/>
                <a:gd name="T14" fmla="*/ 202 w 226"/>
                <a:gd name="T15" fmla="*/ 45 h 135"/>
                <a:gd name="T16" fmla="*/ 197 w 226"/>
                <a:gd name="T17" fmla="*/ 52 h 135"/>
                <a:gd name="T18" fmla="*/ 193 w 226"/>
                <a:gd name="T19" fmla="*/ 62 h 135"/>
                <a:gd name="T20" fmla="*/ 185 w 226"/>
                <a:gd name="T21" fmla="*/ 74 h 135"/>
                <a:gd name="T22" fmla="*/ 183 w 226"/>
                <a:gd name="T23" fmla="*/ 83 h 135"/>
                <a:gd name="T24" fmla="*/ 178 w 226"/>
                <a:gd name="T25" fmla="*/ 90 h 135"/>
                <a:gd name="T26" fmla="*/ 176 w 226"/>
                <a:gd name="T27" fmla="*/ 95 h 135"/>
                <a:gd name="T28" fmla="*/ 174 w 226"/>
                <a:gd name="T29" fmla="*/ 102 h 135"/>
                <a:gd name="T30" fmla="*/ 164 w 226"/>
                <a:gd name="T31" fmla="*/ 112 h 135"/>
                <a:gd name="T32" fmla="*/ 152 w 226"/>
                <a:gd name="T33" fmla="*/ 116 h 135"/>
                <a:gd name="T34" fmla="*/ 143 w 226"/>
                <a:gd name="T35" fmla="*/ 116 h 135"/>
                <a:gd name="T36" fmla="*/ 126 w 226"/>
                <a:gd name="T37" fmla="*/ 116 h 135"/>
                <a:gd name="T38" fmla="*/ 117 w 226"/>
                <a:gd name="T39" fmla="*/ 116 h 135"/>
                <a:gd name="T40" fmla="*/ 105 w 226"/>
                <a:gd name="T41" fmla="*/ 124 h 135"/>
                <a:gd name="T42" fmla="*/ 98 w 226"/>
                <a:gd name="T43" fmla="*/ 126 h 135"/>
                <a:gd name="T44" fmla="*/ 90 w 226"/>
                <a:gd name="T45" fmla="*/ 131 h 135"/>
                <a:gd name="T46" fmla="*/ 81 w 226"/>
                <a:gd name="T47" fmla="*/ 133 h 135"/>
                <a:gd name="T48" fmla="*/ 69 w 226"/>
                <a:gd name="T49" fmla="*/ 133 h 135"/>
                <a:gd name="T50" fmla="*/ 62 w 226"/>
                <a:gd name="T51" fmla="*/ 133 h 135"/>
                <a:gd name="T52" fmla="*/ 53 w 226"/>
                <a:gd name="T53" fmla="*/ 131 h 135"/>
                <a:gd name="T54" fmla="*/ 43 w 226"/>
                <a:gd name="T55" fmla="*/ 126 h 135"/>
                <a:gd name="T56" fmla="*/ 36 w 226"/>
                <a:gd name="T57" fmla="*/ 116 h 135"/>
                <a:gd name="T58" fmla="*/ 26 w 226"/>
                <a:gd name="T59" fmla="*/ 109 h 135"/>
                <a:gd name="T60" fmla="*/ 24 w 226"/>
                <a:gd name="T61" fmla="*/ 105 h 135"/>
                <a:gd name="T62" fmla="*/ 17 w 226"/>
                <a:gd name="T63" fmla="*/ 100 h 135"/>
                <a:gd name="T64" fmla="*/ 12 w 226"/>
                <a:gd name="T65" fmla="*/ 93 h 135"/>
                <a:gd name="T66" fmla="*/ 7 w 226"/>
                <a:gd name="T67" fmla="*/ 83 h 135"/>
                <a:gd name="T68" fmla="*/ 5 w 226"/>
                <a:gd name="T69" fmla="*/ 78 h 135"/>
                <a:gd name="T70" fmla="*/ 7 w 226"/>
                <a:gd name="T71" fmla="*/ 78 h 135"/>
                <a:gd name="T72" fmla="*/ 15 w 226"/>
                <a:gd name="T73" fmla="*/ 74 h 135"/>
                <a:gd name="T74" fmla="*/ 12 w 226"/>
                <a:gd name="T75" fmla="*/ 69 h 135"/>
                <a:gd name="T76" fmla="*/ 15 w 226"/>
                <a:gd name="T77" fmla="*/ 57 h 135"/>
                <a:gd name="T78" fmla="*/ 19 w 226"/>
                <a:gd name="T79" fmla="*/ 50 h 135"/>
                <a:gd name="T80" fmla="*/ 12 w 226"/>
                <a:gd name="T81" fmla="*/ 43 h 135"/>
                <a:gd name="T82" fmla="*/ 22 w 226"/>
                <a:gd name="T83" fmla="*/ 45 h 135"/>
                <a:gd name="T84" fmla="*/ 34 w 226"/>
                <a:gd name="T85" fmla="*/ 43 h 135"/>
                <a:gd name="T86" fmla="*/ 34 w 226"/>
                <a:gd name="T87" fmla="*/ 33 h 135"/>
                <a:gd name="T88" fmla="*/ 43 w 226"/>
                <a:gd name="T89" fmla="*/ 33 h 135"/>
                <a:gd name="T90" fmla="*/ 53 w 226"/>
                <a:gd name="T91" fmla="*/ 40 h 135"/>
                <a:gd name="T92" fmla="*/ 69 w 226"/>
                <a:gd name="T93" fmla="*/ 40 h 135"/>
                <a:gd name="T94" fmla="*/ 86 w 226"/>
                <a:gd name="T95" fmla="*/ 40 h 135"/>
                <a:gd name="T96" fmla="*/ 88 w 226"/>
                <a:gd name="T97" fmla="*/ 36 h 135"/>
                <a:gd name="T98" fmla="*/ 93 w 226"/>
                <a:gd name="T99" fmla="*/ 26 h 135"/>
                <a:gd name="T100" fmla="*/ 109 w 226"/>
                <a:gd name="T101" fmla="*/ 24 h 135"/>
                <a:gd name="T102" fmla="*/ 114 w 226"/>
                <a:gd name="T103" fmla="*/ 21 h 135"/>
                <a:gd name="T104" fmla="*/ 124 w 226"/>
                <a:gd name="T105" fmla="*/ 19 h 135"/>
                <a:gd name="T106" fmla="*/ 131 w 226"/>
                <a:gd name="T107" fmla="*/ 21 h 135"/>
                <a:gd name="T108" fmla="*/ 140 w 226"/>
                <a:gd name="T109" fmla="*/ 14 h 135"/>
                <a:gd name="T110" fmla="*/ 147 w 226"/>
                <a:gd name="T111" fmla="*/ 2 h 135"/>
                <a:gd name="T112" fmla="*/ 157 w 226"/>
                <a:gd name="T113" fmla="*/ 0 h 135"/>
                <a:gd name="T114" fmla="*/ 169 w 226"/>
                <a:gd name="T115" fmla="*/ 5 h 135"/>
                <a:gd name="T116" fmla="*/ 176 w 226"/>
                <a:gd name="T1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135">
                  <a:moveTo>
                    <a:pt x="178" y="2"/>
                  </a:moveTo>
                  <a:lnTo>
                    <a:pt x="181" y="5"/>
                  </a:lnTo>
                  <a:lnTo>
                    <a:pt x="183" y="5"/>
                  </a:lnTo>
                  <a:lnTo>
                    <a:pt x="183" y="7"/>
                  </a:lnTo>
                  <a:lnTo>
                    <a:pt x="185" y="10"/>
                  </a:lnTo>
                  <a:lnTo>
                    <a:pt x="185" y="12"/>
                  </a:lnTo>
                  <a:lnTo>
                    <a:pt x="188" y="12"/>
                  </a:lnTo>
                  <a:lnTo>
                    <a:pt x="190" y="12"/>
                  </a:lnTo>
                  <a:lnTo>
                    <a:pt x="193" y="12"/>
                  </a:lnTo>
                  <a:lnTo>
                    <a:pt x="195" y="12"/>
                  </a:lnTo>
                  <a:lnTo>
                    <a:pt x="195" y="10"/>
                  </a:lnTo>
                  <a:lnTo>
                    <a:pt x="197" y="10"/>
                  </a:lnTo>
                  <a:lnTo>
                    <a:pt x="197" y="12"/>
                  </a:lnTo>
                  <a:lnTo>
                    <a:pt x="200" y="12"/>
                  </a:lnTo>
                  <a:lnTo>
                    <a:pt x="200" y="10"/>
                  </a:lnTo>
                  <a:lnTo>
                    <a:pt x="202" y="10"/>
                  </a:lnTo>
                  <a:lnTo>
                    <a:pt x="204" y="10"/>
                  </a:lnTo>
                  <a:lnTo>
                    <a:pt x="204" y="12"/>
                  </a:lnTo>
                  <a:lnTo>
                    <a:pt x="207" y="12"/>
                  </a:lnTo>
                  <a:lnTo>
                    <a:pt x="207" y="14"/>
                  </a:lnTo>
                  <a:lnTo>
                    <a:pt x="207" y="17"/>
                  </a:lnTo>
                  <a:lnTo>
                    <a:pt x="209" y="17"/>
                  </a:lnTo>
                  <a:lnTo>
                    <a:pt x="211" y="17"/>
                  </a:lnTo>
                  <a:lnTo>
                    <a:pt x="211" y="19"/>
                  </a:lnTo>
                  <a:lnTo>
                    <a:pt x="214" y="19"/>
                  </a:lnTo>
                  <a:lnTo>
                    <a:pt x="214" y="21"/>
                  </a:lnTo>
                  <a:lnTo>
                    <a:pt x="216" y="21"/>
                  </a:lnTo>
                  <a:lnTo>
                    <a:pt x="214" y="21"/>
                  </a:lnTo>
                  <a:lnTo>
                    <a:pt x="214" y="24"/>
                  </a:lnTo>
                  <a:lnTo>
                    <a:pt x="216" y="24"/>
                  </a:lnTo>
                  <a:lnTo>
                    <a:pt x="214" y="24"/>
                  </a:lnTo>
                  <a:lnTo>
                    <a:pt x="216" y="24"/>
                  </a:lnTo>
                  <a:lnTo>
                    <a:pt x="219" y="24"/>
                  </a:lnTo>
                  <a:lnTo>
                    <a:pt x="221" y="24"/>
                  </a:lnTo>
                  <a:lnTo>
                    <a:pt x="223" y="24"/>
                  </a:lnTo>
                  <a:lnTo>
                    <a:pt x="223" y="26"/>
                  </a:lnTo>
                  <a:lnTo>
                    <a:pt x="223" y="29"/>
                  </a:lnTo>
                  <a:lnTo>
                    <a:pt x="223" y="31"/>
                  </a:lnTo>
                  <a:lnTo>
                    <a:pt x="226" y="31"/>
                  </a:lnTo>
                  <a:lnTo>
                    <a:pt x="223" y="31"/>
                  </a:lnTo>
                  <a:lnTo>
                    <a:pt x="223" y="33"/>
                  </a:lnTo>
                  <a:lnTo>
                    <a:pt x="221" y="33"/>
                  </a:lnTo>
                  <a:lnTo>
                    <a:pt x="221" y="36"/>
                  </a:lnTo>
                  <a:lnTo>
                    <a:pt x="221" y="38"/>
                  </a:lnTo>
                  <a:lnTo>
                    <a:pt x="219" y="36"/>
                  </a:lnTo>
                  <a:lnTo>
                    <a:pt x="219" y="38"/>
                  </a:lnTo>
                  <a:lnTo>
                    <a:pt x="219" y="40"/>
                  </a:lnTo>
                  <a:lnTo>
                    <a:pt x="216" y="40"/>
                  </a:lnTo>
                  <a:lnTo>
                    <a:pt x="214" y="40"/>
                  </a:lnTo>
                  <a:lnTo>
                    <a:pt x="211" y="38"/>
                  </a:lnTo>
                  <a:lnTo>
                    <a:pt x="209" y="38"/>
                  </a:lnTo>
                  <a:lnTo>
                    <a:pt x="209" y="40"/>
                  </a:lnTo>
                  <a:lnTo>
                    <a:pt x="207" y="40"/>
                  </a:lnTo>
                  <a:lnTo>
                    <a:pt x="204" y="43"/>
                  </a:lnTo>
                  <a:lnTo>
                    <a:pt x="202" y="43"/>
                  </a:lnTo>
                  <a:lnTo>
                    <a:pt x="202" y="45"/>
                  </a:lnTo>
                  <a:lnTo>
                    <a:pt x="202" y="48"/>
                  </a:lnTo>
                  <a:lnTo>
                    <a:pt x="200" y="48"/>
                  </a:lnTo>
                  <a:lnTo>
                    <a:pt x="200" y="50"/>
                  </a:lnTo>
                  <a:lnTo>
                    <a:pt x="197" y="50"/>
                  </a:lnTo>
                  <a:lnTo>
                    <a:pt x="197" y="52"/>
                  </a:lnTo>
                  <a:lnTo>
                    <a:pt x="197" y="50"/>
                  </a:lnTo>
                  <a:lnTo>
                    <a:pt x="197" y="52"/>
                  </a:lnTo>
                  <a:lnTo>
                    <a:pt x="195" y="52"/>
                  </a:lnTo>
                  <a:lnTo>
                    <a:pt x="195" y="55"/>
                  </a:lnTo>
                  <a:lnTo>
                    <a:pt x="197" y="55"/>
                  </a:lnTo>
                  <a:lnTo>
                    <a:pt x="197" y="57"/>
                  </a:lnTo>
                  <a:lnTo>
                    <a:pt x="195" y="59"/>
                  </a:lnTo>
                  <a:lnTo>
                    <a:pt x="193" y="59"/>
                  </a:lnTo>
                  <a:lnTo>
                    <a:pt x="193" y="62"/>
                  </a:lnTo>
                  <a:lnTo>
                    <a:pt x="193" y="64"/>
                  </a:lnTo>
                  <a:lnTo>
                    <a:pt x="190" y="64"/>
                  </a:lnTo>
                  <a:lnTo>
                    <a:pt x="190" y="67"/>
                  </a:lnTo>
                  <a:lnTo>
                    <a:pt x="190" y="69"/>
                  </a:lnTo>
                  <a:lnTo>
                    <a:pt x="188" y="71"/>
                  </a:lnTo>
                  <a:lnTo>
                    <a:pt x="185" y="71"/>
                  </a:lnTo>
                  <a:lnTo>
                    <a:pt x="185" y="74"/>
                  </a:lnTo>
                  <a:lnTo>
                    <a:pt x="183" y="74"/>
                  </a:lnTo>
                  <a:lnTo>
                    <a:pt x="183" y="76"/>
                  </a:lnTo>
                  <a:lnTo>
                    <a:pt x="185" y="76"/>
                  </a:lnTo>
                  <a:lnTo>
                    <a:pt x="185" y="78"/>
                  </a:lnTo>
                  <a:lnTo>
                    <a:pt x="183" y="78"/>
                  </a:lnTo>
                  <a:lnTo>
                    <a:pt x="183" y="81"/>
                  </a:lnTo>
                  <a:lnTo>
                    <a:pt x="183" y="83"/>
                  </a:lnTo>
                  <a:lnTo>
                    <a:pt x="181" y="83"/>
                  </a:lnTo>
                  <a:lnTo>
                    <a:pt x="181" y="86"/>
                  </a:lnTo>
                  <a:lnTo>
                    <a:pt x="178" y="86"/>
                  </a:lnTo>
                  <a:lnTo>
                    <a:pt x="178" y="88"/>
                  </a:lnTo>
                  <a:lnTo>
                    <a:pt x="181" y="88"/>
                  </a:lnTo>
                  <a:lnTo>
                    <a:pt x="181" y="90"/>
                  </a:lnTo>
                  <a:lnTo>
                    <a:pt x="178" y="90"/>
                  </a:lnTo>
                  <a:lnTo>
                    <a:pt x="178" y="93"/>
                  </a:lnTo>
                  <a:lnTo>
                    <a:pt x="178" y="90"/>
                  </a:lnTo>
                  <a:lnTo>
                    <a:pt x="176" y="90"/>
                  </a:lnTo>
                  <a:lnTo>
                    <a:pt x="176" y="93"/>
                  </a:lnTo>
                  <a:lnTo>
                    <a:pt x="178" y="93"/>
                  </a:lnTo>
                  <a:lnTo>
                    <a:pt x="176" y="93"/>
                  </a:lnTo>
                  <a:lnTo>
                    <a:pt x="176" y="95"/>
                  </a:lnTo>
                  <a:lnTo>
                    <a:pt x="174" y="93"/>
                  </a:lnTo>
                  <a:lnTo>
                    <a:pt x="174" y="95"/>
                  </a:lnTo>
                  <a:lnTo>
                    <a:pt x="174" y="97"/>
                  </a:lnTo>
                  <a:lnTo>
                    <a:pt x="171" y="97"/>
                  </a:lnTo>
                  <a:lnTo>
                    <a:pt x="171" y="100"/>
                  </a:lnTo>
                  <a:lnTo>
                    <a:pt x="171" y="102"/>
                  </a:lnTo>
                  <a:lnTo>
                    <a:pt x="174" y="102"/>
                  </a:lnTo>
                  <a:lnTo>
                    <a:pt x="171" y="105"/>
                  </a:lnTo>
                  <a:lnTo>
                    <a:pt x="169" y="105"/>
                  </a:lnTo>
                  <a:lnTo>
                    <a:pt x="169" y="107"/>
                  </a:lnTo>
                  <a:lnTo>
                    <a:pt x="169" y="109"/>
                  </a:lnTo>
                  <a:lnTo>
                    <a:pt x="166" y="109"/>
                  </a:lnTo>
                  <a:lnTo>
                    <a:pt x="166" y="112"/>
                  </a:lnTo>
                  <a:lnTo>
                    <a:pt x="164" y="112"/>
                  </a:lnTo>
                  <a:lnTo>
                    <a:pt x="162" y="112"/>
                  </a:lnTo>
                  <a:lnTo>
                    <a:pt x="159" y="112"/>
                  </a:lnTo>
                  <a:lnTo>
                    <a:pt x="159" y="109"/>
                  </a:lnTo>
                  <a:lnTo>
                    <a:pt x="155" y="112"/>
                  </a:lnTo>
                  <a:lnTo>
                    <a:pt x="155" y="114"/>
                  </a:lnTo>
                  <a:lnTo>
                    <a:pt x="152" y="114"/>
                  </a:lnTo>
                  <a:lnTo>
                    <a:pt x="152" y="116"/>
                  </a:lnTo>
                  <a:lnTo>
                    <a:pt x="150" y="116"/>
                  </a:lnTo>
                  <a:lnTo>
                    <a:pt x="150" y="119"/>
                  </a:lnTo>
                  <a:lnTo>
                    <a:pt x="150" y="116"/>
                  </a:lnTo>
                  <a:lnTo>
                    <a:pt x="147" y="116"/>
                  </a:lnTo>
                  <a:lnTo>
                    <a:pt x="145" y="114"/>
                  </a:lnTo>
                  <a:lnTo>
                    <a:pt x="145" y="116"/>
                  </a:lnTo>
                  <a:lnTo>
                    <a:pt x="143" y="116"/>
                  </a:lnTo>
                  <a:lnTo>
                    <a:pt x="140" y="116"/>
                  </a:lnTo>
                  <a:lnTo>
                    <a:pt x="138" y="119"/>
                  </a:lnTo>
                  <a:lnTo>
                    <a:pt x="136" y="116"/>
                  </a:lnTo>
                  <a:lnTo>
                    <a:pt x="133" y="116"/>
                  </a:lnTo>
                  <a:lnTo>
                    <a:pt x="131" y="116"/>
                  </a:lnTo>
                  <a:lnTo>
                    <a:pt x="128" y="116"/>
                  </a:lnTo>
                  <a:lnTo>
                    <a:pt x="126" y="116"/>
                  </a:lnTo>
                  <a:lnTo>
                    <a:pt x="124" y="116"/>
                  </a:lnTo>
                  <a:lnTo>
                    <a:pt x="124" y="119"/>
                  </a:lnTo>
                  <a:lnTo>
                    <a:pt x="124" y="116"/>
                  </a:lnTo>
                  <a:lnTo>
                    <a:pt x="121" y="116"/>
                  </a:lnTo>
                  <a:lnTo>
                    <a:pt x="119" y="116"/>
                  </a:lnTo>
                  <a:lnTo>
                    <a:pt x="119" y="114"/>
                  </a:lnTo>
                  <a:lnTo>
                    <a:pt x="117" y="116"/>
                  </a:lnTo>
                  <a:lnTo>
                    <a:pt x="114" y="116"/>
                  </a:lnTo>
                  <a:lnTo>
                    <a:pt x="112" y="116"/>
                  </a:lnTo>
                  <a:lnTo>
                    <a:pt x="114" y="119"/>
                  </a:lnTo>
                  <a:lnTo>
                    <a:pt x="112" y="119"/>
                  </a:lnTo>
                  <a:lnTo>
                    <a:pt x="112" y="121"/>
                  </a:lnTo>
                  <a:lnTo>
                    <a:pt x="109" y="121"/>
                  </a:lnTo>
                  <a:lnTo>
                    <a:pt x="105" y="124"/>
                  </a:lnTo>
                  <a:lnTo>
                    <a:pt x="107" y="124"/>
                  </a:lnTo>
                  <a:lnTo>
                    <a:pt x="105" y="124"/>
                  </a:lnTo>
                  <a:lnTo>
                    <a:pt x="102" y="124"/>
                  </a:lnTo>
                  <a:lnTo>
                    <a:pt x="100" y="121"/>
                  </a:lnTo>
                  <a:lnTo>
                    <a:pt x="98" y="124"/>
                  </a:lnTo>
                  <a:lnTo>
                    <a:pt x="100" y="126"/>
                  </a:lnTo>
                  <a:lnTo>
                    <a:pt x="98" y="126"/>
                  </a:lnTo>
                  <a:lnTo>
                    <a:pt x="98" y="128"/>
                  </a:lnTo>
                  <a:lnTo>
                    <a:pt x="95" y="126"/>
                  </a:lnTo>
                  <a:lnTo>
                    <a:pt x="95" y="128"/>
                  </a:lnTo>
                  <a:lnTo>
                    <a:pt x="93" y="126"/>
                  </a:lnTo>
                  <a:lnTo>
                    <a:pt x="93" y="128"/>
                  </a:lnTo>
                  <a:lnTo>
                    <a:pt x="90" y="128"/>
                  </a:lnTo>
                  <a:lnTo>
                    <a:pt x="90" y="131"/>
                  </a:lnTo>
                  <a:lnTo>
                    <a:pt x="90" y="128"/>
                  </a:lnTo>
                  <a:lnTo>
                    <a:pt x="88" y="128"/>
                  </a:lnTo>
                  <a:lnTo>
                    <a:pt x="86" y="128"/>
                  </a:lnTo>
                  <a:lnTo>
                    <a:pt x="86" y="131"/>
                  </a:lnTo>
                  <a:lnTo>
                    <a:pt x="83" y="131"/>
                  </a:lnTo>
                  <a:lnTo>
                    <a:pt x="83" y="133"/>
                  </a:lnTo>
                  <a:lnTo>
                    <a:pt x="81" y="133"/>
                  </a:lnTo>
                  <a:lnTo>
                    <a:pt x="79" y="133"/>
                  </a:lnTo>
                  <a:lnTo>
                    <a:pt x="79" y="135"/>
                  </a:lnTo>
                  <a:lnTo>
                    <a:pt x="76" y="135"/>
                  </a:lnTo>
                  <a:lnTo>
                    <a:pt x="74" y="135"/>
                  </a:lnTo>
                  <a:lnTo>
                    <a:pt x="71" y="135"/>
                  </a:lnTo>
                  <a:lnTo>
                    <a:pt x="71" y="133"/>
                  </a:lnTo>
                  <a:lnTo>
                    <a:pt x="69" y="133"/>
                  </a:lnTo>
                  <a:lnTo>
                    <a:pt x="69" y="135"/>
                  </a:lnTo>
                  <a:lnTo>
                    <a:pt x="69" y="133"/>
                  </a:lnTo>
                  <a:lnTo>
                    <a:pt x="67" y="133"/>
                  </a:lnTo>
                  <a:lnTo>
                    <a:pt x="67" y="135"/>
                  </a:lnTo>
                  <a:lnTo>
                    <a:pt x="64" y="135"/>
                  </a:lnTo>
                  <a:lnTo>
                    <a:pt x="64" y="133"/>
                  </a:lnTo>
                  <a:lnTo>
                    <a:pt x="62" y="133"/>
                  </a:lnTo>
                  <a:lnTo>
                    <a:pt x="60" y="133"/>
                  </a:lnTo>
                  <a:lnTo>
                    <a:pt x="60" y="135"/>
                  </a:lnTo>
                  <a:lnTo>
                    <a:pt x="60" y="133"/>
                  </a:lnTo>
                  <a:lnTo>
                    <a:pt x="57" y="133"/>
                  </a:lnTo>
                  <a:lnTo>
                    <a:pt x="55" y="133"/>
                  </a:lnTo>
                  <a:lnTo>
                    <a:pt x="55" y="131"/>
                  </a:lnTo>
                  <a:lnTo>
                    <a:pt x="53" y="131"/>
                  </a:lnTo>
                  <a:lnTo>
                    <a:pt x="50" y="128"/>
                  </a:lnTo>
                  <a:lnTo>
                    <a:pt x="50" y="126"/>
                  </a:lnTo>
                  <a:lnTo>
                    <a:pt x="48" y="126"/>
                  </a:lnTo>
                  <a:lnTo>
                    <a:pt x="45" y="126"/>
                  </a:lnTo>
                  <a:lnTo>
                    <a:pt x="43" y="126"/>
                  </a:lnTo>
                  <a:lnTo>
                    <a:pt x="41" y="126"/>
                  </a:lnTo>
                  <a:lnTo>
                    <a:pt x="43" y="126"/>
                  </a:lnTo>
                  <a:lnTo>
                    <a:pt x="41" y="126"/>
                  </a:lnTo>
                  <a:lnTo>
                    <a:pt x="41" y="124"/>
                  </a:lnTo>
                  <a:lnTo>
                    <a:pt x="38" y="124"/>
                  </a:lnTo>
                  <a:lnTo>
                    <a:pt x="38" y="121"/>
                  </a:lnTo>
                  <a:lnTo>
                    <a:pt x="38" y="119"/>
                  </a:lnTo>
                  <a:lnTo>
                    <a:pt x="36" y="119"/>
                  </a:lnTo>
                  <a:lnTo>
                    <a:pt x="36" y="116"/>
                  </a:lnTo>
                  <a:lnTo>
                    <a:pt x="34" y="116"/>
                  </a:lnTo>
                  <a:lnTo>
                    <a:pt x="34" y="114"/>
                  </a:lnTo>
                  <a:lnTo>
                    <a:pt x="31" y="114"/>
                  </a:lnTo>
                  <a:lnTo>
                    <a:pt x="29" y="114"/>
                  </a:lnTo>
                  <a:lnTo>
                    <a:pt x="29" y="112"/>
                  </a:lnTo>
                  <a:lnTo>
                    <a:pt x="26" y="112"/>
                  </a:lnTo>
                  <a:lnTo>
                    <a:pt x="26" y="109"/>
                  </a:lnTo>
                  <a:lnTo>
                    <a:pt x="26" y="107"/>
                  </a:lnTo>
                  <a:lnTo>
                    <a:pt x="26" y="109"/>
                  </a:lnTo>
                  <a:lnTo>
                    <a:pt x="26" y="107"/>
                  </a:lnTo>
                  <a:lnTo>
                    <a:pt x="24" y="107"/>
                  </a:lnTo>
                  <a:lnTo>
                    <a:pt x="24" y="105"/>
                  </a:lnTo>
                  <a:lnTo>
                    <a:pt x="24" y="107"/>
                  </a:lnTo>
                  <a:lnTo>
                    <a:pt x="24" y="105"/>
                  </a:lnTo>
                  <a:lnTo>
                    <a:pt x="22" y="105"/>
                  </a:lnTo>
                  <a:lnTo>
                    <a:pt x="22" y="107"/>
                  </a:lnTo>
                  <a:lnTo>
                    <a:pt x="22" y="105"/>
                  </a:lnTo>
                  <a:lnTo>
                    <a:pt x="19" y="105"/>
                  </a:lnTo>
                  <a:lnTo>
                    <a:pt x="19" y="102"/>
                  </a:lnTo>
                  <a:lnTo>
                    <a:pt x="17" y="102"/>
                  </a:lnTo>
                  <a:lnTo>
                    <a:pt x="17" y="100"/>
                  </a:lnTo>
                  <a:lnTo>
                    <a:pt x="15" y="100"/>
                  </a:lnTo>
                  <a:lnTo>
                    <a:pt x="15" y="97"/>
                  </a:lnTo>
                  <a:lnTo>
                    <a:pt x="12" y="97"/>
                  </a:lnTo>
                  <a:lnTo>
                    <a:pt x="12" y="95"/>
                  </a:lnTo>
                  <a:lnTo>
                    <a:pt x="10" y="95"/>
                  </a:lnTo>
                  <a:lnTo>
                    <a:pt x="10" y="93"/>
                  </a:lnTo>
                  <a:lnTo>
                    <a:pt x="12" y="93"/>
                  </a:lnTo>
                  <a:lnTo>
                    <a:pt x="12" y="90"/>
                  </a:lnTo>
                  <a:lnTo>
                    <a:pt x="10" y="90"/>
                  </a:lnTo>
                  <a:lnTo>
                    <a:pt x="7" y="88"/>
                  </a:lnTo>
                  <a:lnTo>
                    <a:pt x="7" y="86"/>
                  </a:lnTo>
                  <a:lnTo>
                    <a:pt x="10" y="86"/>
                  </a:lnTo>
                  <a:lnTo>
                    <a:pt x="10" y="83"/>
                  </a:lnTo>
                  <a:lnTo>
                    <a:pt x="7" y="83"/>
                  </a:lnTo>
                  <a:lnTo>
                    <a:pt x="5" y="83"/>
                  </a:lnTo>
                  <a:lnTo>
                    <a:pt x="3" y="83"/>
                  </a:lnTo>
                  <a:lnTo>
                    <a:pt x="0" y="83"/>
                  </a:lnTo>
                  <a:lnTo>
                    <a:pt x="3" y="83"/>
                  </a:lnTo>
                  <a:lnTo>
                    <a:pt x="3" y="81"/>
                  </a:lnTo>
                  <a:lnTo>
                    <a:pt x="5" y="81"/>
                  </a:lnTo>
                  <a:lnTo>
                    <a:pt x="5" y="78"/>
                  </a:lnTo>
                  <a:lnTo>
                    <a:pt x="5" y="81"/>
                  </a:lnTo>
                  <a:lnTo>
                    <a:pt x="5" y="78"/>
                  </a:lnTo>
                  <a:lnTo>
                    <a:pt x="5" y="81"/>
                  </a:lnTo>
                  <a:lnTo>
                    <a:pt x="5" y="78"/>
                  </a:lnTo>
                  <a:lnTo>
                    <a:pt x="5" y="81"/>
                  </a:lnTo>
                  <a:lnTo>
                    <a:pt x="5" y="78"/>
                  </a:lnTo>
                  <a:lnTo>
                    <a:pt x="7" y="78"/>
                  </a:lnTo>
                  <a:lnTo>
                    <a:pt x="7" y="76"/>
                  </a:lnTo>
                  <a:lnTo>
                    <a:pt x="10" y="76"/>
                  </a:lnTo>
                  <a:lnTo>
                    <a:pt x="12" y="76"/>
                  </a:lnTo>
                  <a:lnTo>
                    <a:pt x="15" y="76"/>
                  </a:lnTo>
                  <a:lnTo>
                    <a:pt x="12" y="76"/>
                  </a:lnTo>
                  <a:lnTo>
                    <a:pt x="12" y="74"/>
                  </a:lnTo>
                  <a:lnTo>
                    <a:pt x="15" y="74"/>
                  </a:lnTo>
                  <a:lnTo>
                    <a:pt x="12" y="74"/>
                  </a:lnTo>
                  <a:lnTo>
                    <a:pt x="12" y="71"/>
                  </a:lnTo>
                  <a:lnTo>
                    <a:pt x="15" y="71"/>
                  </a:lnTo>
                  <a:lnTo>
                    <a:pt x="15" y="69"/>
                  </a:lnTo>
                  <a:lnTo>
                    <a:pt x="12" y="69"/>
                  </a:lnTo>
                  <a:lnTo>
                    <a:pt x="12" y="67"/>
                  </a:lnTo>
                  <a:lnTo>
                    <a:pt x="12" y="69"/>
                  </a:lnTo>
                  <a:lnTo>
                    <a:pt x="12" y="67"/>
                  </a:lnTo>
                  <a:lnTo>
                    <a:pt x="12" y="64"/>
                  </a:lnTo>
                  <a:lnTo>
                    <a:pt x="15" y="64"/>
                  </a:lnTo>
                  <a:lnTo>
                    <a:pt x="12" y="62"/>
                  </a:lnTo>
                  <a:lnTo>
                    <a:pt x="12" y="59"/>
                  </a:lnTo>
                  <a:lnTo>
                    <a:pt x="12" y="57"/>
                  </a:lnTo>
                  <a:lnTo>
                    <a:pt x="15" y="57"/>
                  </a:lnTo>
                  <a:lnTo>
                    <a:pt x="17" y="57"/>
                  </a:lnTo>
                  <a:lnTo>
                    <a:pt x="19" y="57"/>
                  </a:lnTo>
                  <a:lnTo>
                    <a:pt x="19" y="55"/>
                  </a:lnTo>
                  <a:lnTo>
                    <a:pt x="19" y="52"/>
                  </a:lnTo>
                  <a:lnTo>
                    <a:pt x="22" y="52"/>
                  </a:lnTo>
                  <a:lnTo>
                    <a:pt x="22" y="50"/>
                  </a:lnTo>
                  <a:lnTo>
                    <a:pt x="19" y="50"/>
                  </a:lnTo>
                  <a:lnTo>
                    <a:pt x="19" y="48"/>
                  </a:lnTo>
                  <a:lnTo>
                    <a:pt x="17" y="48"/>
                  </a:lnTo>
                  <a:lnTo>
                    <a:pt x="15" y="45"/>
                  </a:lnTo>
                  <a:lnTo>
                    <a:pt x="12" y="45"/>
                  </a:lnTo>
                  <a:lnTo>
                    <a:pt x="12" y="43"/>
                  </a:lnTo>
                  <a:lnTo>
                    <a:pt x="12" y="45"/>
                  </a:lnTo>
                  <a:lnTo>
                    <a:pt x="12" y="43"/>
                  </a:lnTo>
                  <a:lnTo>
                    <a:pt x="15" y="43"/>
                  </a:lnTo>
                  <a:lnTo>
                    <a:pt x="15" y="40"/>
                  </a:lnTo>
                  <a:lnTo>
                    <a:pt x="17" y="40"/>
                  </a:lnTo>
                  <a:lnTo>
                    <a:pt x="19" y="40"/>
                  </a:lnTo>
                  <a:lnTo>
                    <a:pt x="22" y="40"/>
                  </a:lnTo>
                  <a:lnTo>
                    <a:pt x="22" y="43"/>
                  </a:lnTo>
                  <a:lnTo>
                    <a:pt x="22" y="45"/>
                  </a:lnTo>
                  <a:lnTo>
                    <a:pt x="24" y="45"/>
                  </a:lnTo>
                  <a:lnTo>
                    <a:pt x="24" y="43"/>
                  </a:lnTo>
                  <a:lnTo>
                    <a:pt x="26" y="43"/>
                  </a:lnTo>
                  <a:lnTo>
                    <a:pt x="29" y="45"/>
                  </a:lnTo>
                  <a:lnTo>
                    <a:pt x="29" y="43"/>
                  </a:lnTo>
                  <a:lnTo>
                    <a:pt x="31" y="43"/>
                  </a:lnTo>
                  <a:lnTo>
                    <a:pt x="34" y="43"/>
                  </a:lnTo>
                  <a:lnTo>
                    <a:pt x="34" y="40"/>
                  </a:lnTo>
                  <a:lnTo>
                    <a:pt x="31" y="38"/>
                  </a:lnTo>
                  <a:lnTo>
                    <a:pt x="34" y="38"/>
                  </a:lnTo>
                  <a:lnTo>
                    <a:pt x="31" y="38"/>
                  </a:lnTo>
                  <a:lnTo>
                    <a:pt x="31" y="36"/>
                  </a:lnTo>
                  <a:lnTo>
                    <a:pt x="34" y="36"/>
                  </a:lnTo>
                  <a:lnTo>
                    <a:pt x="34" y="33"/>
                  </a:lnTo>
                  <a:lnTo>
                    <a:pt x="34" y="31"/>
                  </a:lnTo>
                  <a:lnTo>
                    <a:pt x="36" y="29"/>
                  </a:lnTo>
                  <a:lnTo>
                    <a:pt x="38" y="29"/>
                  </a:lnTo>
                  <a:lnTo>
                    <a:pt x="41" y="29"/>
                  </a:lnTo>
                  <a:lnTo>
                    <a:pt x="41" y="31"/>
                  </a:lnTo>
                  <a:lnTo>
                    <a:pt x="43" y="31"/>
                  </a:lnTo>
                  <a:lnTo>
                    <a:pt x="43" y="33"/>
                  </a:lnTo>
                  <a:lnTo>
                    <a:pt x="45" y="33"/>
                  </a:lnTo>
                  <a:lnTo>
                    <a:pt x="45" y="36"/>
                  </a:lnTo>
                  <a:lnTo>
                    <a:pt x="48" y="36"/>
                  </a:lnTo>
                  <a:lnTo>
                    <a:pt x="48" y="38"/>
                  </a:lnTo>
                  <a:lnTo>
                    <a:pt x="50" y="38"/>
                  </a:lnTo>
                  <a:lnTo>
                    <a:pt x="53" y="38"/>
                  </a:lnTo>
                  <a:lnTo>
                    <a:pt x="53" y="40"/>
                  </a:lnTo>
                  <a:lnTo>
                    <a:pt x="55" y="40"/>
                  </a:lnTo>
                  <a:lnTo>
                    <a:pt x="57" y="40"/>
                  </a:lnTo>
                  <a:lnTo>
                    <a:pt x="60" y="40"/>
                  </a:lnTo>
                  <a:lnTo>
                    <a:pt x="62" y="40"/>
                  </a:lnTo>
                  <a:lnTo>
                    <a:pt x="64" y="40"/>
                  </a:lnTo>
                  <a:lnTo>
                    <a:pt x="67" y="40"/>
                  </a:lnTo>
                  <a:lnTo>
                    <a:pt x="69" y="40"/>
                  </a:lnTo>
                  <a:lnTo>
                    <a:pt x="71" y="40"/>
                  </a:lnTo>
                  <a:lnTo>
                    <a:pt x="74" y="43"/>
                  </a:lnTo>
                  <a:lnTo>
                    <a:pt x="76" y="40"/>
                  </a:lnTo>
                  <a:lnTo>
                    <a:pt x="79" y="40"/>
                  </a:lnTo>
                  <a:lnTo>
                    <a:pt x="81" y="40"/>
                  </a:lnTo>
                  <a:lnTo>
                    <a:pt x="83" y="40"/>
                  </a:lnTo>
                  <a:lnTo>
                    <a:pt x="86" y="40"/>
                  </a:lnTo>
                  <a:lnTo>
                    <a:pt x="88" y="40"/>
                  </a:lnTo>
                  <a:lnTo>
                    <a:pt x="88" y="38"/>
                  </a:lnTo>
                  <a:lnTo>
                    <a:pt x="90" y="38"/>
                  </a:lnTo>
                  <a:lnTo>
                    <a:pt x="93" y="38"/>
                  </a:lnTo>
                  <a:lnTo>
                    <a:pt x="90" y="38"/>
                  </a:lnTo>
                  <a:lnTo>
                    <a:pt x="90" y="36"/>
                  </a:lnTo>
                  <a:lnTo>
                    <a:pt x="88" y="36"/>
                  </a:lnTo>
                  <a:lnTo>
                    <a:pt x="88" y="33"/>
                  </a:lnTo>
                  <a:lnTo>
                    <a:pt x="88" y="31"/>
                  </a:lnTo>
                  <a:lnTo>
                    <a:pt x="90" y="29"/>
                  </a:lnTo>
                  <a:lnTo>
                    <a:pt x="90" y="31"/>
                  </a:lnTo>
                  <a:lnTo>
                    <a:pt x="90" y="29"/>
                  </a:lnTo>
                  <a:lnTo>
                    <a:pt x="90" y="26"/>
                  </a:lnTo>
                  <a:lnTo>
                    <a:pt x="93" y="26"/>
                  </a:lnTo>
                  <a:lnTo>
                    <a:pt x="95" y="26"/>
                  </a:lnTo>
                  <a:lnTo>
                    <a:pt x="98" y="26"/>
                  </a:lnTo>
                  <a:lnTo>
                    <a:pt x="100" y="26"/>
                  </a:lnTo>
                  <a:lnTo>
                    <a:pt x="102" y="26"/>
                  </a:lnTo>
                  <a:lnTo>
                    <a:pt x="105" y="26"/>
                  </a:lnTo>
                  <a:lnTo>
                    <a:pt x="107" y="24"/>
                  </a:lnTo>
                  <a:lnTo>
                    <a:pt x="109" y="24"/>
                  </a:lnTo>
                  <a:lnTo>
                    <a:pt x="109" y="26"/>
                  </a:lnTo>
                  <a:lnTo>
                    <a:pt x="109" y="24"/>
                  </a:lnTo>
                  <a:lnTo>
                    <a:pt x="112" y="24"/>
                  </a:lnTo>
                  <a:lnTo>
                    <a:pt x="112" y="26"/>
                  </a:lnTo>
                  <a:lnTo>
                    <a:pt x="112" y="24"/>
                  </a:lnTo>
                  <a:lnTo>
                    <a:pt x="112" y="21"/>
                  </a:lnTo>
                  <a:lnTo>
                    <a:pt x="114" y="21"/>
                  </a:lnTo>
                  <a:lnTo>
                    <a:pt x="114" y="19"/>
                  </a:lnTo>
                  <a:lnTo>
                    <a:pt x="117" y="19"/>
                  </a:lnTo>
                  <a:lnTo>
                    <a:pt x="117" y="17"/>
                  </a:lnTo>
                  <a:lnTo>
                    <a:pt x="119" y="17"/>
                  </a:lnTo>
                  <a:lnTo>
                    <a:pt x="119" y="19"/>
                  </a:lnTo>
                  <a:lnTo>
                    <a:pt x="121" y="19"/>
                  </a:lnTo>
                  <a:lnTo>
                    <a:pt x="124" y="19"/>
                  </a:lnTo>
                  <a:lnTo>
                    <a:pt x="124" y="21"/>
                  </a:lnTo>
                  <a:lnTo>
                    <a:pt x="121" y="21"/>
                  </a:lnTo>
                  <a:lnTo>
                    <a:pt x="124" y="21"/>
                  </a:lnTo>
                  <a:lnTo>
                    <a:pt x="126" y="21"/>
                  </a:lnTo>
                  <a:lnTo>
                    <a:pt x="126" y="24"/>
                  </a:lnTo>
                  <a:lnTo>
                    <a:pt x="128" y="21"/>
                  </a:lnTo>
                  <a:lnTo>
                    <a:pt x="131" y="21"/>
                  </a:lnTo>
                  <a:lnTo>
                    <a:pt x="131" y="19"/>
                  </a:lnTo>
                  <a:lnTo>
                    <a:pt x="133" y="19"/>
                  </a:lnTo>
                  <a:lnTo>
                    <a:pt x="133" y="17"/>
                  </a:lnTo>
                  <a:lnTo>
                    <a:pt x="136" y="17"/>
                  </a:lnTo>
                  <a:lnTo>
                    <a:pt x="138" y="17"/>
                  </a:lnTo>
                  <a:lnTo>
                    <a:pt x="140" y="17"/>
                  </a:lnTo>
                  <a:lnTo>
                    <a:pt x="140" y="14"/>
                  </a:lnTo>
                  <a:lnTo>
                    <a:pt x="143" y="14"/>
                  </a:lnTo>
                  <a:lnTo>
                    <a:pt x="143" y="12"/>
                  </a:lnTo>
                  <a:lnTo>
                    <a:pt x="143" y="10"/>
                  </a:lnTo>
                  <a:lnTo>
                    <a:pt x="145" y="7"/>
                  </a:lnTo>
                  <a:lnTo>
                    <a:pt x="145" y="5"/>
                  </a:lnTo>
                  <a:lnTo>
                    <a:pt x="145" y="2"/>
                  </a:lnTo>
                  <a:lnTo>
                    <a:pt x="147" y="2"/>
                  </a:lnTo>
                  <a:lnTo>
                    <a:pt x="147" y="5"/>
                  </a:lnTo>
                  <a:lnTo>
                    <a:pt x="147" y="2"/>
                  </a:lnTo>
                  <a:lnTo>
                    <a:pt x="150" y="2"/>
                  </a:lnTo>
                  <a:lnTo>
                    <a:pt x="152" y="2"/>
                  </a:lnTo>
                  <a:lnTo>
                    <a:pt x="155" y="2"/>
                  </a:lnTo>
                  <a:lnTo>
                    <a:pt x="157" y="2"/>
                  </a:lnTo>
                  <a:lnTo>
                    <a:pt x="157" y="0"/>
                  </a:lnTo>
                  <a:lnTo>
                    <a:pt x="157" y="2"/>
                  </a:lnTo>
                  <a:lnTo>
                    <a:pt x="159" y="2"/>
                  </a:lnTo>
                  <a:lnTo>
                    <a:pt x="162" y="2"/>
                  </a:lnTo>
                  <a:lnTo>
                    <a:pt x="162" y="5"/>
                  </a:lnTo>
                  <a:lnTo>
                    <a:pt x="164" y="5"/>
                  </a:lnTo>
                  <a:lnTo>
                    <a:pt x="166" y="5"/>
                  </a:lnTo>
                  <a:lnTo>
                    <a:pt x="169" y="5"/>
                  </a:lnTo>
                  <a:lnTo>
                    <a:pt x="169" y="2"/>
                  </a:lnTo>
                  <a:lnTo>
                    <a:pt x="171" y="2"/>
                  </a:lnTo>
                  <a:lnTo>
                    <a:pt x="171" y="5"/>
                  </a:lnTo>
                  <a:lnTo>
                    <a:pt x="174" y="5"/>
                  </a:lnTo>
                  <a:lnTo>
                    <a:pt x="174" y="2"/>
                  </a:lnTo>
                  <a:lnTo>
                    <a:pt x="176" y="2"/>
                  </a:lnTo>
                  <a:lnTo>
                    <a:pt x="176" y="0"/>
                  </a:lnTo>
                  <a:lnTo>
                    <a:pt x="178" y="0"/>
                  </a:lnTo>
                  <a:lnTo>
                    <a:pt x="178"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4" name="Freeform 52459"/>
            <p:cNvSpPr>
              <a:spLocks/>
            </p:cNvSpPr>
            <p:nvPr/>
          </p:nvSpPr>
          <p:spPr bwMode="auto">
            <a:xfrm>
              <a:off x="741361" y="3324237"/>
              <a:ext cx="579437" cy="279401"/>
            </a:xfrm>
            <a:custGeom>
              <a:avLst/>
              <a:gdLst>
                <a:gd name="T0" fmla="*/ 204 w 365"/>
                <a:gd name="T1" fmla="*/ 164 h 176"/>
                <a:gd name="T2" fmla="*/ 171 w 365"/>
                <a:gd name="T3" fmla="*/ 171 h 176"/>
                <a:gd name="T4" fmla="*/ 137 w 365"/>
                <a:gd name="T5" fmla="*/ 152 h 176"/>
                <a:gd name="T6" fmla="*/ 140 w 365"/>
                <a:gd name="T7" fmla="*/ 143 h 176"/>
                <a:gd name="T8" fmla="*/ 121 w 365"/>
                <a:gd name="T9" fmla="*/ 155 h 176"/>
                <a:gd name="T10" fmla="*/ 130 w 365"/>
                <a:gd name="T11" fmla="*/ 138 h 176"/>
                <a:gd name="T12" fmla="*/ 107 w 365"/>
                <a:gd name="T13" fmla="*/ 150 h 176"/>
                <a:gd name="T14" fmla="*/ 61 w 365"/>
                <a:gd name="T15" fmla="*/ 152 h 176"/>
                <a:gd name="T16" fmla="*/ 85 w 365"/>
                <a:gd name="T17" fmla="*/ 141 h 176"/>
                <a:gd name="T18" fmla="*/ 90 w 365"/>
                <a:gd name="T19" fmla="*/ 129 h 176"/>
                <a:gd name="T20" fmla="*/ 83 w 365"/>
                <a:gd name="T21" fmla="*/ 124 h 176"/>
                <a:gd name="T22" fmla="*/ 90 w 365"/>
                <a:gd name="T23" fmla="*/ 114 h 176"/>
                <a:gd name="T24" fmla="*/ 95 w 365"/>
                <a:gd name="T25" fmla="*/ 110 h 176"/>
                <a:gd name="T26" fmla="*/ 76 w 365"/>
                <a:gd name="T27" fmla="*/ 114 h 176"/>
                <a:gd name="T28" fmla="*/ 73 w 365"/>
                <a:gd name="T29" fmla="*/ 107 h 176"/>
                <a:gd name="T30" fmla="*/ 61 w 365"/>
                <a:gd name="T31" fmla="*/ 100 h 176"/>
                <a:gd name="T32" fmla="*/ 16 w 365"/>
                <a:gd name="T33" fmla="*/ 95 h 176"/>
                <a:gd name="T34" fmla="*/ 50 w 365"/>
                <a:gd name="T35" fmla="*/ 86 h 176"/>
                <a:gd name="T36" fmla="*/ 59 w 365"/>
                <a:gd name="T37" fmla="*/ 81 h 176"/>
                <a:gd name="T38" fmla="*/ 83 w 365"/>
                <a:gd name="T39" fmla="*/ 86 h 176"/>
                <a:gd name="T40" fmla="*/ 69 w 365"/>
                <a:gd name="T41" fmla="*/ 79 h 176"/>
                <a:gd name="T42" fmla="*/ 80 w 365"/>
                <a:gd name="T43" fmla="*/ 67 h 176"/>
                <a:gd name="T44" fmla="*/ 73 w 365"/>
                <a:gd name="T45" fmla="*/ 60 h 176"/>
                <a:gd name="T46" fmla="*/ 64 w 365"/>
                <a:gd name="T47" fmla="*/ 57 h 176"/>
                <a:gd name="T48" fmla="*/ 57 w 365"/>
                <a:gd name="T49" fmla="*/ 55 h 176"/>
                <a:gd name="T50" fmla="*/ 21 w 365"/>
                <a:gd name="T51" fmla="*/ 62 h 176"/>
                <a:gd name="T52" fmla="*/ 23 w 365"/>
                <a:gd name="T53" fmla="*/ 57 h 176"/>
                <a:gd name="T54" fmla="*/ 26 w 365"/>
                <a:gd name="T55" fmla="*/ 46 h 176"/>
                <a:gd name="T56" fmla="*/ 33 w 365"/>
                <a:gd name="T57" fmla="*/ 43 h 176"/>
                <a:gd name="T58" fmla="*/ 28 w 365"/>
                <a:gd name="T59" fmla="*/ 34 h 176"/>
                <a:gd name="T60" fmla="*/ 38 w 365"/>
                <a:gd name="T61" fmla="*/ 24 h 176"/>
                <a:gd name="T62" fmla="*/ 52 w 365"/>
                <a:gd name="T63" fmla="*/ 31 h 176"/>
                <a:gd name="T64" fmla="*/ 66 w 365"/>
                <a:gd name="T65" fmla="*/ 31 h 176"/>
                <a:gd name="T66" fmla="*/ 73 w 365"/>
                <a:gd name="T67" fmla="*/ 36 h 176"/>
                <a:gd name="T68" fmla="*/ 69 w 365"/>
                <a:gd name="T69" fmla="*/ 15 h 176"/>
                <a:gd name="T70" fmla="*/ 50 w 365"/>
                <a:gd name="T71" fmla="*/ 12 h 176"/>
                <a:gd name="T72" fmla="*/ 69 w 365"/>
                <a:gd name="T73" fmla="*/ 7 h 176"/>
                <a:gd name="T74" fmla="*/ 90 w 365"/>
                <a:gd name="T75" fmla="*/ 19 h 176"/>
                <a:gd name="T76" fmla="*/ 104 w 365"/>
                <a:gd name="T77" fmla="*/ 31 h 176"/>
                <a:gd name="T78" fmla="*/ 97 w 365"/>
                <a:gd name="T79" fmla="*/ 50 h 176"/>
                <a:gd name="T80" fmla="*/ 114 w 365"/>
                <a:gd name="T81" fmla="*/ 79 h 176"/>
                <a:gd name="T82" fmla="*/ 130 w 365"/>
                <a:gd name="T83" fmla="*/ 53 h 176"/>
                <a:gd name="T84" fmla="*/ 142 w 365"/>
                <a:gd name="T85" fmla="*/ 48 h 176"/>
                <a:gd name="T86" fmla="*/ 149 w 365"/>
                <a:gd name="T87" fmla="*/ 29 h 176"/>
                <a:gd name="T88" fmla="*/ 171 w 365"/>
                <a:gd name="T89" fmla="*/ 29 h 176"/>
                <a:gd name="T90" fmla="*/ 192 w 365"/>
                <a:gd name="T91" fmla="*/ 29 h 176"/>
                <a:gd name="T92" fmla="*/ 209 w 365"/>
                <a:gd name="T93" fmla="*/ 34 h 176"/>
                <a:gd name="T94" fmla="*/ 237 w 365"/>
                <a:gd name="T95" fmla="*/ 26 h 176"/>
                <a:gd name="T96" fmla="*/ 268 w 365"/>
                <a:gd name="T97" fmla="*/ 12 h 176"/>
                <a:gd name="T98" fmla="*/ 280 w 365"/>
                <a:gd name="T99" fmla="*/ 3 h 176"/>
                <a:gd name="T100" fmla="*/ 301 w 365"/>
                <a:gd name="T101" fmla="*/ 22 h 176"/>
                <a:gd name="T102" fmla="*/ 315 w 365"/>
                <a:gd name="T103" fmla="*/ 17 h 176"/>
                <a:gd name="T104" fmla="*/ 318 w 365"/>
                <a:gd name="T105" fmla="*/ 43 h 176"/>
                <a:gd name="T106" fmla="*/ 330 w 365"/>
                <a:gd name="T107" fmla="*/ 57 h 176"/>
                <a:gd name="T108" fmla="*/ 325 w 365"/>
                <a:gd name="T109" fmla="*/ 76 h 176"/>
                <a:gd name="T110" fmla="*/ 337 w 365"/>
                <a:gd name="T111" fmla="*/ 55 h 176"/>
                <a:gd name="T112" fmla="*/ 356 w 365"/>
                <a:gd name="T113" fmla="*/ 67 h 176"/>
                <a:gd name="T114" fmla="*/ 356 w 365"/>
                <a:gd name="T115" fmla="*/ 79 h 176"/>
                <a:gd name="T116" fmla="*/ 344 w 365"/>
                <a:gd name="T117" fmla="*/ 86 h 176"/>
                <a:gd name="T118" fmla="*/ 351 w 365"/>
                <a:gd name="T119" fmla="*/ 98 h 176"/>
                <a:gd name="T120" fmla="*/ 330 w 365"/>
                <a:gd name="T121" fmla="*/ 110 h 176"/>
                <a:gd name="T122" fmla="*/ 308 w 365"/>
                <a:gd name="T123" fmla="*/ 129 h 176"/>
                <a:gd name="T124" fmla="*/ 287 w 365"/>
                <a:gd name="T125" fmla="*/ 13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5" h="176">
                  <a:moveTo>
                    <a:pt x="268" y="145"/>
                  </a:moveTo>
                  <a:lnTo>
                    <a:pt x="268" y="148"/>
                  </a:lnTo>
                  <a:lnTo>
                    <a:pt x="265" y="148"/>
                  </a:lnTo>
                  <a:lnTo>
                    <a:pt x="263" y="150"/>
                  </a:lnTo>
                  <a:lnTo>
                    <a:pt x="261" y="152"/>
                  </a:lnTo>
                  <a:lnTo>
                    <a:pt x="261" y="155"/>
                  </a:lnTo>
                  <a:lnTo>
                    <a:pt x="256" y="155"/>
                  </a:lnTo>
                  <a:lnTo>
                    <a:pt x="254" y="155"/>
                  </a:lnTo>
                  <a:lnTo>
                    <a:pt x="249" y="155"/>
                  </a:lnTo>
                  <a:lnTo>
                    <a:pt x="244" y="155"/>
                  </a:lnTo>
                  <a:lnTo>
                    <a:pt x="242" y="155"/>
                  </a:lnTo>
                  <a:lnTo>
                    <a:pt x="239" y="155"/>
                  </a:lnTo>
                  <a:lnTo>
                    <a:pt x="237" y="155"/>
                  </a:lnTo>
                  <a:lnTo>
                    <a:pt x="235" y="155"/>
                  </a:lnTo>
                  <a:lnTo>
                    <a:pt x="232" y="157"/>
                  </a:lnTo>
                  <a:lnTo>
                    <a:pt x="230" y="157"/>
                  </a:lnTo>
                  <a:lnTo>
                    <a:pt x="228" y="157"/>
                  </a:lnTo>
                  <a:lnTo>
                    <a:pt x="225" y="160"/>
                  </a:lnTo>
                  <a:lnTo>
                    <a:pt x="223" y="162"/>
                  </a:lnTo>
                  <a:lnTo>
                    <a:pt x="220" y="164"/>
                  </a:lnTo>
                  <a:lnTo>
                    <a:pt x="220" y="167"/>
                  </a:lnTo>
                  <a:lnTo>
                    <a:pt x="218" y="169"/>
                  </a:lnTo>
                  <a:lnTo>
                    <a:pt x="216" y="169"/>
                  </a:lnTo>
                  <a:lnTo>
                    <a:pt x="213" y="171"/>
                  </a:lnTo>
                  <a:lnTo>
                    <a:pt x="211" y="171"/>
                  </a:lnTo>
                  <a:lnTo>
                    <a:pt x="209" y="171"/>
                  </a:lnTo>
                  <a:lnTo>
                    <a:pt x="209" y="169"/>
                  </a:lnTo>
                  <a:lnTo>
                    <a:pt x="209" y="167"/>
                  </a:lnTo>
                  <a:lnTo>
                    <a:pt x="206" y="167"/>
                  </a:lnTo>
                  <a:lnTo>
                    <a:pt x="206" y="164"/>
                  </a:lnTo>
                  <a:lnTo>
                    <a:pt x="204" y="164"/>
                  </a:lnTo>
                  <a:lnTo>
                    <a:pt x="201" y="164"/>
                  </a:lnTo>
                  <a:lnTo>
                    <a:pt x="201" y="162"/>
                  </a:lnTo>
                  <a:lnTo>
                    <a:pt x="201" y="160"/>
                  </a:lnTo>
                  <a:lnTo>
                    <a:pt x="199" y="160"/>
                  </a:lnTo>
                  <a:lnTo>
                    <a:pt x="199" y="162"/>
                  </a:lnTo>
                  <a:lnTo>
                    <a:pt x="201" y="162"/>
                  </a:lnTo>
                  <a:lnTo>
                    <a:pt x="201" y="164"/>
                  </a:lnTo>
                  <a:lnTo>
                    <a:pt x="204" y="164"/>
                  </a:lnTo>
                  <a:lnTo>
                    <a:pt x="204" y="167"/>
                  </a:lnTo>
                  <a:lnTo>
                    <a:pt x="206" y="167"/>
                  </a:lnTo>
                  <a:lnTo>
                    <a:pt x="206" y="169"/>
                  </a:lnTo>
                  <a:lnTo>
                    <a:pt x="206" y="171"/>
                  </a:lnTo>
                  <a:lnTo>
                    <a:pt x="209" y="171"/>
                  </a:lnTo>
                  <a:lnTo>
                    <a:pt x="211" y="171"/>
                  </a:lnTo>
                  <a:lnTo>
                    <a:pt x="209" y="171"/>
                  </a:lnTo>
                  <a:lnTo>
                    <a:pt x="206" y="174"/>
                  </a:lnTo>
                  <a:lnTo>
                    <a:pt x="204" y="174"/>
                  </a:lnTo>
                  <a:lnTo>
                    <a:pt x="201" y="174"/>
                  </a:lnTo>
                  <a:lnTo>
                    <a:pt x="199" y="174"/>
                  </a:lnTo>
                  <a:lnTo>
                    <a:pt x="197" y="176"/>
                  </a:lnTo>
                  <a:lnTo>
                    <a:pt x="194" y="176"/>
                  </a:lnTo>
                  <a:lnTo>
                    <a:pt x="192" y="176"/>
                  </a:lnTo>
                  <a:lnTo>
                    <a:pt x="190" y="176"/>
                  </a:lnTo>
                  <a:lnTo>
                    <a:pt x="187" y="176"/>
                  </a:lnTo>
                  <a:lnTo>
                    <a:pt x="185" y="174"/>
                  </a:lnTo>
                  <a:lnTo>
                    <a:pt x="182" y="174"/>
                  </a:lnTo>
                  <a:lnTo>
                    <a:pt x="182" y="176"/>
                  </a:lnTo>
                  <a:lnTo>
                    <a:pt x="180" y="176"/>
                  </a:lnTo>
                  <a:lnTo>
                    <a:pt x="178" y="176"/>
                  </a:lnTo>
                  <a:lnTo>
                    <a:pt x="173" y="174"/>
                  </a:lnTo>
                  <a:lnTo>
                    <a:pt x="171" y="171"/>
                  </a:lnTo>
                  <a:lnTo>
                    <a:pt x="168" y="171"/>
                  </a:lnTo>
                  <a:lnTo>
                    <a:pt x="166" y="171"/>
                  </a:lnTo>
                  <a:lnTo>
                    <a:pt x="163" y="171"/>
                  </a:lnTo>
                  <a:lnTo>
                    <a:pt x="163" y="169"/>
                  </a:lnTo>
                  <a:lnTo>
                    <a:pt x="161" y="169"/>
                  </a:lnTo>
                  <a:lnTo>
                    <a:pt x="159" y="169"/>
                  </a:lnTo>
                  <a:lnTo>
                    <a:pt x="156" y="169"/>
                  </a:lnTo>
                  <a:lnTo>
                    <a:pt x="154" y="169"/>
                  </a:lnTo>
                  <a:lnTo>
                    <a:pt x="152" y="169"/>
                  </a:lnTo>
                  <a:lnTo>
                    <a:pt x="149" y="169"/>
                  </a:lnTo>
                  <a:lnTo>
                    <a:pt x="149" y="167"/>
                  </a:lnTo>
                  <a:lnTo>
                    <a:pt x="149" y="164"/>
                  </a:lnTo>
                  <a:lnTo>
                    <a:pt x="149" y="162"/>
                  </a:lnTo>
                  <a:lnTo>
                    <a:pt x="149" y="164"/>
                  </a:lnTo>
                  <a:lnTo>
                    <a:pt x="149" y="167"/>
                  </a:lnTo>
                  <a:lnTo>
                    <a:pt x="147" y="169"/>
                  </a:lnTo>
                  <a:lnTo>
                    <a:pt x="144" y="169"/>
                  </a:lnTo>
                  <a:lnTo>
                    <a:pt x="142" y="167"/>
                  </a:lnTo>
                  <a:lnTo>
                    <a:pt x="140" y="167"/>
                  </a:lnTo>
                  <a:lnTo>
                    <a:pt x="137" y="164"/>
                  </a:lnTo>
                  <a:lnTo>
                    <a:pt x="135" y="162"/>
                  </a:lnTo>
                  <a:lnTo>
                    <a:pt x="133" y="160"/>
                  </a:lnTo>
                  <a:lnTo>
                    <a:pt x="133" y="157"/>
                  </a:lnTo>
                  <a:lnTo>
                    <a:pt x="135" y="155"/>
                  </a:lnTo>
                  <a:lnTo>
                    <a:pt x="137" y="155"/>
                  </a:lnTo>
                  <a:lnTo>
                    <a:pt x="137" y="157"/>
                  </a:lnTo>
                  <a:lnTo>
                    <a:pt x="137" y="155"/>
                  </a:lnTo>
                  <a:lnTo>
                    <a:pt x="135" y="155"/>
                  </a:lnTo>
                  <a:lnTo>
                    <a:pt x="137" y="152"/>
                  </a:lnTo>
                  <a:lnTo>
                    <a:pt x="135" y="152"/>
                  </a:lnTo>
                  <a:lnTo>
                    <a:pt x="137" y="152"/>
                  </a:lnTo>
                  <a:lnTo>
                    <a:pt x="135" y="152"/>
                  </a:lnTo>
                  <a:lnTo>
                    <a:pt x="135" y="155"/>
                  </a:lnTo>
                  <a:lnTo>
                    <a:pt x="133" y="155"/>
                  </a:lnTo>
                  <a:lnTo>
                    <a:pt x="133" y="157"/>
                  </a:lnTo>
                  <a:lnTo>
                    <a:pt x="130" y="157"/>
                  </a:lnTo>
                  <a:lnTo>
                    <a:pt x="133" y="157"/>
                  </a:lnTo>
                  <a:lnTo>
                    <a:pt x="130" y="157"/>
                  </a:lnTo>
                  <a:lnTo>
                    <a:pt x="130" y="160"/>
                  </a:lnTo>
                  <a:lnTo>
                    <a:pt x="133" y="160"/>
                  </a:lnTo>
                  <a:lnTo>
                    <a:pt x="130" y="157"/>
                  </a:lnTo>
                  <a:lnTo>
                    <a:pt x="125" y="155"/>
                  </a:lnTo>
                  <a:lnTo>
                    <a:pt x="123" y="155"/>
                  </a:lnTo>
                  <a:lnTo>
                    <a:pt x="125" y="155"/>
                  </a:lnTo>
                  <a:lnTo>
                    <a:pt x="125" y="152"/>
                  </a:lnTo>
                  <a:lnTo>
                    <a:pt x="128" y="152"/>
                  </a:lnTo>
                  <a:lnTo>
                    <a:pt x="128" y="150"/>
                  </a:lnTo>
                  <a:lnTo>
                    <a:pt x="128" y="148"/>
                  </a:lnTo>
                  <a:lnTo>
                    <a:pt x="128" y="145"/>
                  </a:lnTo>
                  <a:lnTo>
                    <a:pt x="130" y="145"/>
                  </a:lnTo>
                  <a:lnTo>
                    <a:pt x="130" y="148"/>
                  </a:lnTo>
                  <a:lnTo>
                    <a:pt x="130" y="145"/>
                  </a:lnTo>
                  <a:lnTo>
                    <a:pt x="133" y="145"/>
                  </a:lnTo>
                  <a:lnTo>
                    <a:pt x="133" y="143"/>
                  </a:lnTo>
                  <a:lnTo>
                    <a:pt x="135" y="143"/>
                  </a:lnTo>
                  <a:lnTo>
                    <a:pt x="135" y="141"/>
                  </a:lnTo>
                  <a:lnTo>
                    <a:pt x="137" y="141"/>
                  </a:lnTo>
                  <a:lnTo>
                    <a:pt x="140" y="141"/>
                  </a:lnTo>
                  <a:lnTo>
                    <a:pt x="140" y="143"/>
                  </a:lnTo>
                  <a:lnTo>
                    <a:pt x="142" y="141"/>
                  </a:lnTo>
                  <a:lnTo>
                    <a:pt x="142" y="143"/>
                  </a:lnTo>
                  <a:lnTo>
                    <a:pt x="140" y="143"/>
                  </a:lnTo>
                  <a:lnTo>
                    <a:pt x="142" y="143"/>
                  </a:lnTo>
                  <a:lnTo>
                    <a:pt x="142" y="141"/>
                  </a:lnTo>
                  <a:lnTo>
                    <a:pt x="142" y="143"/>
                  </a:lnTo>
                  <a:lnTo>
                    <a:pt x="142" y="141"/>
                  </a:lnTo>
                  <a:lnTo>
                    <a:pt x="144" y="141"/>
                  </a:lnTo>
                  <a:lnTo>
                    <a:pt x="147" y="141"/>
                  </a:lnTo>
                  <a:lnTo>
                    <a:pt x="147" y="138"/>
                  </a:lnTo>
                  <a:lnTo>
                    <a:pt x="149" y="141"/>
                  </a:lnTo>
                  <a:lnTo>
                    <a:pt x="149" y="138"/>
                  </a:lnTo>
                  <a:lnTo>
                    <a:pt x="152" y="138"/>
                  </a:lnTo>
                  <a:lnTo>
                    <a:pt x="149" y="138"/>
                  </a:lnTo>
                  <a:lnTo>
                    <a:pt x="147" y="138"/>
                  </a:lnTo>
                  <a:lnTo>
                    <a:pt x="147" y="141"/>
                  </a:lnTo>
                  <a:lnTo>
                    <a:pt x="144" y="141"/>
                  </a:lnTo>
                  <a:lnTo>
                    <a:pt x="142" y="141"/>
                  </a:lnTo>
                  <a:lnTo>
                    <a:pt x="140" y="141"/>
                  </a:lnTo>
                  <a:lnTo>
                    <a:pt x="137" y="141"/>
                  </a:lnTo>
                  <a:lnTo>
                    <a:pt x="135" y="141"/>
                  </a:lnTo>
                  <a:lnTo>
                    <a:pt x="133" y="143"/>
                  </a:lnTo>
                  <a:lnTo>
                    <a:pt x="133" y="145"/>
                  </a:lnTo>
                  <a:lnTo>
                    <a:pt x="130" y="145"/>
                  </a:lnTo>
                  <a:lnTo>
                    <a:pt x="128" y="145"/>
                  </a:lnTo>
                  <a:lnTo>
                    <a:pt x="128" y="148"/>
                  </a:lnTo>
                  <a:lnTo>
                    <a:pt x="125" y="148"/>
                  </a:lnTo>
                  <a:lnTo>
                    <a:pt x="125" y="150"/>
                  </a:lnTo>
                  <a:lnTo>
                    <a:pt x="128" y="150"/>
                  </a:lnTo>
                  <a:lnTo>
                    <a:pt x="128" y="152"/>
                  </a:lnTo>
                  <a:lnTo>
                    <a:pt x="125" y="152"/>
                  </a:lnTo>
                  <a:lnTo>
                    <a:pt x="125" y="155"/>
                  </a:lnTo>
                  <a:lnTo>
                    <a:pt x="123" y="155"/>
                  </a:lnTo>
                  <a:lnTo>
                    <a:pt x="121" y="155"/>
                  </a:lnTo>
                  <a:lnTo>
                    <a:pt x="121" y="152"/>
                  </a:lnTo>
                  <a:lnTo>
                    <a:pt x="118" y="152"/>
                  </a:lnTo>
                  <a:lnTo>
                    <a:pt x="116" y="152"/>
                  </a:lnTo>
                  <a:lnTo>
                    <a:pt x="114" y="152"/>
                  </a:lnTo>
                  <a:lnTo>
                    <a:pt x="114" y="150"/>
                  </a:lnTo>
                  <a:lnTo>
                    <a:pt x="111" y="150"/>
                  </a:lnTo>
                  <a:lnTo>
                    <a:pt x="111" y="148"/>
                  </a:lnTo>
                  <a:lnTo>
                    <a:pt x="109" y="148"/>
                  </a:lnTo>
                  <a:lnTo>
                    <a:pt x="111" y="145"/>
                  </a:lnTo>
                  <a:lnTo>
                    <a:pt x="114" y="145"/>
                  </a:lnTo>
                  <a:lnTo>
                    <a:pt x="116" y="145"/>
                  </a:lnTo>
                  <a:lnTo>
                    <a:pt x="118" y="145"/>
                  </a:lnTo>
                  <a:lnTo>
                    <a:pt x="118" y="143"/>
                  </a:lnTo>
                  <a:lnTo>
                    <a:pt x="121" y="143"/>
                  </a:lnTo>
                  <a:lnTo>
                    <a:pt x="123" y="143"/>
                  </a:lnTo>
                  <a:lnTo>
                    <a:pt x="125" y="143"/>
                  </a:lnTo>
                  <a:lnTo>
                    <a:pt x="128" y="143"/>
                  </a:lnTo>
                  <a:lnTo>
                    <a:pt x="128" y="145"/>
                  </a:lnTo>
                  <a:lnTo>
                    <a:pt x="128" y="143"/>
                  </a:lnTo>
                  <a:lnTo>
                    <a:pt x="130" y="143"/>
                  </a:lnTo>
                  <a:lnTo>
                    <a:pt x="128" y="143"/>
                  </a:lnTo>
                  <a:lnTo>
                    <a:pt x="130" y="143"/>
                  </a:lnTo>
                  <a:lnTo>
                    <a:pt x="130" y="141"/>
                  </a:lnTo>
                  <a:lnTo>
                    <a:pt x="130" y="138"/>
                  </a:lnTo>
                  <a:lnTo>
                    <a:pt x="133" y="138"/>
                  </a:lnTo>
                  <a:lnTo>
                    <a:pt x="133" y="136"/>
                  </a:lnTo>
                  <a:lnTo>
                    <a:pt x="135" y="136"/>
                  </a:lnTo>
                  <a:lnTo>
                    <a:pt x="135" y="138"/>
                  </a:lnTo>
                  <a:lnTo>
                    <a:pt x="135" y="136"/>
                  </a:lnTo>
                  <a:lnTo>
                    <a:pt x="133" y="136"/>
                  </a:lnTo>
                  <a:lnTo>
                    <a:pt x="130" y="138"/>
                  </a:lnTo>
                  <a:lnTo>
                    <a:pt x="130" y="136"/>
                  </a:lnTo>
                  <a:lnTo>
                    <a:pt x="133" y="136"/>
                  </a:lnTo>
                  <a:lnTo>
                    <a:pt x="130" y="136"/>
                  </a:lnTo>
                  <a:lnTo>
                    <a:pt x="133" y="136"/>
                  </a:lnTo>
                  <a:lnTo>
                    <a:pt x="130" y="136"/>
                  </a:lnTo>
                  <a:lnTo>
                    <a:pt x="133" y="136"/>
                  </a:lnTo>
                  <a:lnTo>
                    <a:pt x="130" y="136"/>
                  </a:lnTo>
                  <a:lnTo>
                    <a:pt x="130" y="138"/>
                  </a:lnTo>
                  <a:lnTo>
                    <a:pt x="130" y="141"/>
                  </a:lnTo>
                  <a:lnTo>
                    <a:pt x="128" y="141"/>
                  </a:lnTo>
                  <a:lnTo>
                    <a:pt x="128" y="143"/>
                  </a:lnTo>
                  <a:lnTo>
                    <a:pt x="128" y="145"/>
                  </a:lnTo>
                  <a:lnTo>
                    <a:pt x="128" y="143"/>
                  </a:lnTo>
                  <a:lnTo>
                    <a:pt x="125" y="143"/>
                  </a:lnTo>
                  <a:lnTo>
                    <a:pt x="123" y="143"/>
                  </a:lnTo>
                  <a:lnTo>
                    <a:pt x="121" y="143"/>
                  </a:lnTo>
                  <a:lnTo>
                    <a:pt x="121" y="141"/>
                  </a:lnTo>
                  <a:lnTo>
                    <a:pt x="121" y="143"/>
                  </a:lnTo>
                  <a:lnTo>
                    <a:pt x="118" y="143"/>
                  </a:lnTo>
                  <a:lnTo>
                    <a:pt x="118" y="145"/>
                  </a:lnTo>
                  <a:lnTo>
                    <a:pt x="116" y="145"/>
                  </a:lnTo>
                  <a:lnTo>
                    <a:pt x="114" y="145"/>
                  </a:lnTo>
                  <a:lnTo>
                    <a:pt x="111" y="145"/>
                  </a:lnTo>
                  <a:lnTo>
                    <a:pt x="109" y="145"/>
                  </a:lnTo>
                  <a:lnTo>
                    <a:pt x="109" y="148"/>
                  </a:lnTo>
                  <a:lnTo>
                    <a:pt x="107" y="148"/>
                  </a:lnTo>
                  <a:lnTo>
                    <a:pt x="109" y="148"/>
                  </a:lnTo>
                  <a:lnTo>
                    <a:pt x="109" y="150"/>
                  </a:lnTo>
                  <a:lnTo>
                    <a:pt x="111" y="150"/>
                  </a:lnTo>
                  <a:lnTo>
                    <a:pt x="109" y="150"/>
                  </a:lnTo>
                  <a:lnTo>
                    <a:pt x="107" y="150"/>
                  </a:lnTo>
                  <a:lnTo>
                    <a:pt x="104" y="150"/>
                  </a:lnTo>
                  <a:lnTo>
                    <a:pt x="102" y="150"/>
                  </a:lnTo>
                  <a:lnTo>
                    <a:pt x="102" y="152"/>
                  </a:lnTo>
                  <a:lnTo>
                    <a:pt x="97" y="152"/>
                  </a:lnTo>
                  <a:lnTo>
                    <a:pt x="95" y="152"/>
                  </a:lnTo>
                  <a:lnTo>
                    <a:pt x="95" y="150"/>
                  </a:lnTo>
                  <a:lnTo>
                    <a:pt x="92" y="150"/>
                  </a:lnTo>
                  <a:lnTo>
                    <a:pt x="95" y="150"/>
                  </a:lnTo>
                  <a:lnTo>
                    <a:pt x="92" y="150"/>
                  </a:lnTo>
                  <a:lnTo>
                    <a:pt x="95" y="150"/>
                  </a:lnTo>
                  <a:lnTo>
                    <a:pt x="92" y="150"/>
                  </a:lnTo>
                  <a:lnTo>
                    <a:pt x="90" y="150"/>
                  </a:lnTo>
                  <a:lnTo>
                    <a:pt x="88" y="150"/>
                  </a:lnTo>
                  <a:lnTo>
                    <a:pt x="88" y="152"/>
                  </a:lnTo>
                  <a:lnTo>
                    <a:pt x="85" y="152"/>
                  </a:lnTo>
                  <a:lnTo>
                    <a:pt x="83" y="152"/>
                  </a:lnTo>
                  <a:lnTo>
                    <a:pt x="80" y="152"/>
                  </a:lnTo>
                  <a:lnTo>
                    <a:pt x="78" y="152"/>
                  </a:lnTo>
                  <a:lnTo>
                    <a:pt x="76" y="152"/>
                  </a:lnTo>
                  <a:lnTo>
                    <a:pt x="76" y="150"/>
                  </a:lnTo>
                  <a:lnTo>
                    <a:pt x="73" y="150"/>
                  </a:lnTo>
                  <a:lnTo>
                    <a:pt x="71" y="150"/>
                  </a:lnTo>
                  <a:lnTo>
                    <a:pt x="71" y="152"/>
                  </a:lnTo>
                  <a:lnTo>
                    <a:pt x="69" y="152"/>
                  </a:lnTo>
                  <a:lnTo>
                    <a:pt x="66" y="152"/>
                  </a:lnTo>
                  <a:lnTo>
                    <a:pt x="69" y="152"/>
                  </a:lnTo>
                  <a:lnTo>
                    <a:pt x="66" y="152"/>
                  </a:lnTo>
                  <a:lnTo>
                    <a:pt x="64" y="152"/>
                  </a:lnTo>
                  <a:lnTo>
                    <a:pt x="61" y="152"/>
                  </a:lnTo>
                  <a:lnTo>
                    <a:pt x="59" y="152"/>
                  </a:lnTo>
                  <a:lnTo>
                    <a:pt x="61" y="152"/>
                  </a:lnTo>
                  <a:lnTo>
                    <a:pt x="61" y="150"/>
                  </a:lnTo>
                  <a:lnTo>
                    <a:pt x="59" y="150"/>
                  </a:lnTo>
                  <a:lnTo>
                    <a:pt x="59" y="148"/>
                  </a:lnTo>
                  <a:lnTo>
                    <a:pt x="61" y="148"/>
                  </a:lnTo>
                  <a:lnTo>
                    <a:pt x="61" y="145"/>
                  </a:lnTo>
                  <a:lnTo>
                    <a:pt x="64" y="145"/>
                  </a:lnTo>
                  <a:lnTo>
                    <a:pt x="61" y="145"/>
                  </a:lnTo>
                  <a:lnTo>
                    <a:pt x="59" y="145"/>
                  </a:lnTo>
                  <a:lnTo>
                    <a:pt x="61" y="145"/>
                  </a:lnTo>
                  <a:lnTo>
                    <a:pt x="59" y="145"/>
                  </a:lnTo>
                  <a:lnTo>
                    <a:pt x="59" y="143"/>
                  </a:lnTo>
                  <a:lnTo>
                    <a:pt x="61" y="143"/>
                  </a:lnTo>
                  <a:lnTo>
                    <a:pt x="61" y="141"/>
                  </a:lnTo>
                  <a:lnTo>
                    <a:pt x="61" y="138"/>
                  </a:lnTo>
                  <a:lnTo>
                    <a:pt x="64" y="138"/>
                  </a:lnTo>
                  <a:lnTo>
                    <a:pt x="64" y="141"/>
                  </a:lnTo>
                  <a:lnTo>
                    <a:pt x="66" y="141"/>
                  </a:lnTo>
                  <a:lnTo>
                    <a:pt x="66" y="143"/>
                  </a:lnTo>
                  <a:lnTo>
                    <a:pt x="69" y="143"/>
                  </a:lnTo>
                  <a:lnTo>
                    <a:pt x="71" y="143"/>
                  </a:lnTo>
                  <a:lnTo>
                    <a:pt x="71" y="145"/>
                  </a:lnTo>
                  <a:lnTo>
                    <a:pt x="71" y="143"/>
                  </a:lnTo>
                  <a:lnTo>
                    <a:pt x="73" y="143"/>
                  </a:lnTo>
                  <a:lnTo>
                    <a:pt x="73" y="141"/>
                  </a:lnTo>
                  <a:lnTo>
                    <a:pt x="73" y="143"/>
                  </a:lnTo>
                  <a:lnTo>
                    <a:pt x="73" y="141"/>
                  </a:lnTo>
                  <a:lnTo>
                    <a:pt x="76" y="141"/>
                  </a:lnTo>
                  <a:lnTo>
                    <a:pt x="78" y="141"/>
                  </a:lnTo>
                  <a:lnTo>
                    <a:pt x="80" y="141"/>
                  </a:lnTo>
                  <a:lnTo>
                    <a:pt x="83" y="141"/>
                  </a:lnTo>
                  <a:lnTo>
                    <a:pt x="85" y="141"/>
                  </a:lnTo>
                  <a:lnTo>
                    <a:pt x="85" y="138"/>
                  </a:lnTo>
                  <a:lnTo>
                    <a:pt x="83" y="138"/>
                  </a:lnTo>
                  <a:lnTo>
                    <a:pt x="85" y="138"/>
                  </a:lnTo>
                  <a:lnTo>
                    <a:pt x="83" y="138"/>
                  </a:lnTo>
                  <a:lnTo>
                    <a:pt x="83" y="136"/>
                  </a:lnTo>
                  <a:lnTo>
                    <a:pt x="85" y="136"/>
                  </a:lnTo>
                  <a:lnTo>
                    <a:pt x="85" y="138"/>
                  </a:lnTo>
                  <a:lnTo>
                    <a:pt x="85" y="136"/>
                  </a:lnTo>
                  <a:lnTo>
                    <a:pt x="85" y="138"/>
                  </a:lnTo>
                  <a:lnTo>
                    <a:pt x="88" y="138"/>
                  </a:lnTo>
                  <a:lnTo>
                    <a:pt x="88" y="136"/>
                  </a:lnTo>
                  <a:lnTo>
                    <a:pt x="85" y="136"/>
                  </a:lnTo>
                  <a:lnTo>
                    <a:pt x="88" y="136"/>
                  </a:lnTo>
                  <a:lnTo>
                    <a:pt x="85" y="136"/>
                  </a:lnTo>
                  <a:lnTo>
                    <a:pt x="85" y="133"/>
                  </a:lnTo>
                  <a:lnTo>
                    <a:pt x="83" y="133"/>
                  </a:lnTo>
                  <a:lnTo>
                    <a:pt x="85" y="133"/>
                  </a:lnTo>
                  <a:lnTo>
                    <a:pt x="88" y="133"/>
                  </a:lnTo>
                  <a:lnTo>
                    <a:pt x="85" y="133"/>
                  </a:lnTo>
                  <a:lnTo>
                    <a:pt x="88" y="133"/>
                  </a:lnTo>
                  <a:lnTo>
                    <a:pt x="90" y="133"/>
                  </a:lnTo>
                  <a:lnTo>
                    <a:pt x="90" y="136"/>
                  </a:lnTo>
                  <a:lnTo>
                    <a:pt x="90" y="133"/>
                  </a:lnTo>
                  <a:lnTo>
                    <a:pt x="92" y="133"/>
                  </a:lnTo>
                  <a:lnTo>
                    <a:pt x="95" y="133"/>
                  </a:lnTo>
                  <a:lnTo>
                    <a:pt x="92" y="133"/>
                  </a:lnTo>
                  <a:lnTo>
                    <a:pt x="92" y="131"/>
                  </a:lnTo>
                  <a:lnTo>
                    <a:pt x="95" y="131"/>
                  </a:lnTo>
                  <a:lnTo>
                    <a:pt x="92" y="131"/>
                  </a:lnTo>
                  <a:lnTo>
                    <a:pt x="90" y="131"/>
                  </a:lnTo>
                  <a:lnTo>
                    <a:pt x="90" y="129"/>
                  </a:lnTo>
                  <a:lnTo>
                    <a:pt x="88" y="129"/>
                  </a:lnTo>
                  <a:lnTo>
                    <a:pt x="90" y="129"/>
                  </a:lnTo>
                  <a:lnTo>
                    <a:pt x="90" y="126"/>
                  </a:lnTo>
                  <a:lnTo>
                    <a:pt x="92" y="126"/>
                  </a:lnTo>
                  <a:lnTo>
                    <a:pt x="92" y="124"/>
                  </a:lnTo>
                  <a:lnTo>
                    <a:pt x="95" y="124"/>
                  </a:lnTo>
                  <a:lnTo>
                    <a:pt x="97" y="124"/>
                  </a:lnTo>
                  <a:lnTo>
                    <a:pt x="95" y="124"/>
                  </a:lnTo>
                  <a:lnTo>
                    <a:pt x="95" y="122"/>
                  </a:lnTo>
                  <a:lnTo>
                    <a:pt x="97" y="122"/>
                  </a:lnTo>
                  <a:lnTo>
                    <a:pt x="99" y="122"/>
                  </a:lnTo>
                  <a:lnTo>
                    <a:pt x="102" y="122"/>
                  </a:lnTo>
                  <a:lnTo>
                    <a:pt x="102" y="124"/>
                  </a:lnTo>
                  <a:lnTo>
                    <a:pt x="102" y="122"/>
                  </a:lnTo>
                  <a:lnTo>
                    <a:pt x="104" y="122"/>
                  </a:lnTo>
                  <a:lnTo>
                    <a:pt x="107" y="122"/>
                  </a:lnTo>
                  <a:lnTo>
                    <a:pt x="104" y="122"/>
                  </a:lnTo>
                  <a:lnTo>
                    <a:pt x="102" y="122"/>
                  </a:lnTo>
                  <a:lnTo>
                    <a:pt x="104" y="122"/>
                  </a:lnTo>
                  <a:lnTo>
                    <a:pt x="102" y="122"/>
                  </a:lnTo>
                  <a:lnTo>
                    <a:pt x="99" y="122"/>
                  </a:lnTo>
                  <a:lnTo>
                    <a:pt x="97" y="122"/>
                  </a:lnTo>
                  <a:lnTo>
                    <a:pt x="97" y="119"/>
                  </a:lnTo>
                  <a:lnTo>
                    <a:pt x="95" y="122"/>
                  </a:lnTo>
                  <a:lnTo>
                    <a:pt x="92" y="122"/>
                  </a:lnTo>
                  <a:lnTo>
                    <a:pt x="90" y="124"/>
                  </a:lnTo>
                  <a:lnTo>
                    <a:pt x="88" y="124"/>
                  </a:lnTo>
                  <a:lnTo>
                    <a:pt x="88" y="126"/>
                  </a:lnTo>
                  <a:lnTo>
                    <a:pt x="85" y="126"/>
                  </a:lnTo>
                  <a:lnTo>
                    <a:pt x="83" y="126"/>
                  </a:lnTo>
                  <a:lnTo>
                    <a:pt x="83" y="124"/>
                  </a:lnTo>
                  <a:lnTo>
                    <a:pt x="80" y="124"/>
                  </a:lnTo>
                  <a:lnTo>
                    <a:pt x="80" y="126"/>
                  </a:lnTo>
                  <a:lnTo>
                    <a:pt x="80" y="124"/>
                  </a:lnTo>
                  <a:lnTo>
                    <a:pt x="83" y="124"/>
                  </a:lnTo>
                  <a:lnTo>
                    <a:pt x="83" y="122"/>
                  </a:lnTo>
                  <a:lnTo>
                    <a:pt x="83" y="124"/>
                  </a:lnTo>
                  <a:lnTo>
                    <a:pt x="85" y="124"/>
                  </a:lnTo>
                  <a:lnTo>
                    <a:pt x="85" y="122"/>
                  </a:lnTo>
                  <a:lnTo>
                    <a:pt x="88" y="122"/>
                  </a:lnTo>
                  <a:lnTo>
                    <a:pt x="90" y="122"/>
                  </a:lnTo>
                  <a:lnTo>
                    <a:pt x="88" y="122"/>
                  </a:lnTo>
                  <a:lnTo>
                    <a:pt x="90" y="122"/>
                  </a:lnTo>
                  <a:lnTo>
                    <a:pt x="88" y="122"/>
                  </a:lnTo>
                  <a:lnTo>
                    <a:pt x="88" y="119"/>
                  </a:lnTo>
                  <a:lnTo>
                    <a:pt x="88" y="122"/>
                  </a:lnTo>
                  <a:lnTo>
                    <a:pt x="85" y="122"/>
                  </a:lnTo>
                  <a:lnTo>
                    <a:pt x="88" y="119"/>
                  </a:lnTo>
                  <a:lnTo>
                    <a:pt x="85" y="119"/>
                  </a:lnTo>
                  <a:lnTo>
                    <a:pt x="85" y="122"/>
                  </a:lnTo>
                  <a:lnTo>
                    <a:pt x="83" y="122"/>
                  </a:lnTo>
                  <a:lnTo>
                    <a:pt x="83" y="119"/>
                  </a:lnTo>
                  <a:lnTo>
                    <a:pt x="83" y="117"/>
                  </a:lnTo>
                  <a:lnTo>
                    <a:pt x="85" y="117"/>
                  </a:lnTo>
                  <a:lnTo>
                    <a:pt x="85" y="119"/>
                  </a:lnTo>
                  <a:lnTo>
                    <a:pt x="83" y="119"/>
                  </a:lnTo>
                  <a:lnTo>
                    <a:pt x="85" y="119"/>
                  </a:lnTo>
                  <a:lnTo>
                    <a:pt x="85" y="117"/>
                  </a:lnTo>
                  <a:lnTo>
                    <a:pt x="85" y="114"/>
                  </a:lnTo>
                  <a:lnTo>
                    <a:pt x="88" y="114"/>
                  </a:lnTo>
                  <a:lnTo>
                    <a:pt x="88" y="112"/>
                  </a:lnTo>
                  <a:lnTo>
                    <a:pt x="90" y="114"/>
                  </a:lnTo>
                  <a:lnTo>
                    <a:pt x="90" y="112"/>
                  </a:lnTo>
                  <a:lnTo>
                    <a:pt x="92" y="112"/>
                  </a:lnTo>
                  <a:lnTo>
                    <a:pt x="90" y="112"/>
                  </a:lnTo>
                  <a:lnTo>
                    <a:pt x="92" y="112"/>
                  </a:lnTo>
                  <a:lnTo>
                    <a:pt x="92" y="110"/>
                  </a:lnTo>
                  <a:lnTo>
                    <a:pt x="95" y="110"/>
                  </a:lnTo>
                  <a:lnTo>
                    <a:pt x="95" y="107"/>
                  </a:lnTo>
                  <a:lnTo>
                    <a:pt x="97" y="107"/>
                  </a:lnTo>
                  <a:lnTo>
                    <a:pt x="99" y="107"/>
                  </a:lnTo>
                  <a:lnTo>
                    <a:pt x="102" y="107"/>
                  </a:lnTo>
                  <a:lnTo>
                    <a:pt x="102" y="105"/>
                  </a:lnTo>
                  <a:lnTo>
                    <a:pt x="102" y="107"/>
                  </a:lnTo>
                  <a:lnTo>
                    <a:pt x="99" y="107"/>
                  </a:lnTo>
                  <a:lnTo>
                    <a:pt x="97" y="107"/>
                  </a:lnTo>
                  <a:lnTo>
                    <a:pt x="99" y="107"/>
                  </a:lnTo>
                  <a:lnTo>
                    <a:pt x="97" y="105"/>
                  </a:lnTo>
                  <a:lnTo>
                    <a:pt x="99" y="105"/>
                  </a:lnTo>
                  <a:lnTo>
                    <a:pt x="99" y="107"/>
                  </a:lnTo>
                  <a:lnTo>
                    <a:pt x="97" y="107"/>
                  </a:lnTo>
                  <a:lnTo>
                    <a:pt x="97" y="105"/>
                  </a:lnTo>
                  <a:lnTo>
                    <a:pt x="97" y="107"/>
                  </a:lnTo>
                  <a:lnTo>
                    <a:pt x="95" y="107"/>
                  </a:lnTo>
                  <a:lnTo>
                    <a:pt x="95" y="105"/>
                  </a:lnTo>
                  <a:lnTo>
                    <a:pt x="97" y="105"/>
                  </a:lnTo>
                  <a:lnTo>
                    <a:pt x="95" y="105"/>
                  </a:lnTo>
                  <a:lnTo>
                    <a:pt x="97" y="105"/>
                  </a:lnTo>
                  <a:lnTo>
                    <a:pt x="95" y="105"/>
                  </a:lnTo>
                  <a:lnTo>
                    <a:pt x="97" y="105"/>
                  </a:lnTo>
                  <a:lnTo>
                    <a:pt x="95" y="105"/>
                  </a:lnTo>
                  <a:lnTo>
                    <a:pt x="95" y="107"/>
                  </a:lnTo>
                  <a:lnTo>
                    <a:pt x="95" y="110"/>
                  </a:lnTo>
                  <a:lnTo>
                    <a:pt x="92" y="110"/>
                  </a:lnTo>
                  <a:lnTo>
                    <a:pt x="90" y="110"/>
                  </a:lnTo>
                  <a:lnTo>
                    <a:pt x="88" y="110"/>
                  </a:lnTo>
                  <a:lnTo>
                    <a:pt x="88" y="112"/>
                  </a:lnTo>
                  <a:lnTo>
                    <a:pt x="90" y="112"/>
                  </a:lnTo>
                  <a:lnTo>
                    <a:pt x="88" y="112"/>
                  </a:lnTo>
                  <a:lnTo>
                    <a:pt x="85" y="112"/>
                  </a:lnTo>
                  <a:lnTo>
                    <a:pt x="85" y="114"/>
                  </a:lnTo>
                  <a:lnTo>
                    <a:pt x="85" y="112"/>
                  </a:lnTo>
                  <a:lnTo>
                    <a:pt x="83" y="114"/>
                  </a:lnTo>
                  <a:lnTo>
                    <a:pt x="83" y="112"/>
                  </a:lnTo>
                  <a:lnTo>
                    <a:pt x="83" y="114"/>
                  </a:lnTo>
                  <a:lnTo>
                    <a:pt x="83" y="112"/>
                  </a:lnTo>
                  <a:lnTo>
                    <a:pt x="83" y="110"/>
                  </a:lnTo>
                  <a:lnTo>
                    <a:pt x="85" y="110"/>
                  </a:lnTo>
                  <a:lnTo>
                    <a:pt x="83" y="110"/>
                  </a:lnTo>
                  <a:lnTo>
                    <a:pt x="83" y="112"/>
                  </a:lnTo>
                  <a:lnTo>
                    <a:pt x="83" y="114"/>
                  </a:lnTo>
                  <a:lnTo>
                    <a:pt x="83" y="117"/>
                  </a:lnTo>
                  <a:lnTo>
                    <a:pt x="80" y="117"/>
                  </a:lnTo>
                  <a:lnTo>
                    <a:pt x="83" y="117"/>
                  </a:lnTo>
                  <a:lnTo>
                    <a:pt x="80" y="117"/>
                  </a:lnTo>
                  <a:lnTo>
                    <a:pt x="78" y="117"/>
                  </a:lnTo>
                  <a:lnTo>
                    <a:pt x="80" y="117"/>
                  </a:lnTo>
                  <a:lnTo>
                    <a:pt x="78" y="117"/>
                  </a:lnTo>
                  <a:lnTo>
                    <a:pt x="78" y="114"/>
                  </a:lnTo>
                  <a:lnTo>
                    <a:pt x="76" y="114"/>
                  </a:lnTo>
                  <a:lnTo>
                    <a:pt x="78" y="114"/>
                  </a:lnTo>
                  <a:lnTo>
                    <a:pt x="76" y="114"/>
                  </a:lnTo>
                  <a:lnTo>
                    <a:pt x="78" y="114"/>
                  </a:lnTo>
                  <a:lnTo>
                    <a:pt x="76" y="114"/>
                  </a:lnTo>
                  <a:lnTo>
                    <a:pt x="78" y="114"/>
                  </a:lnTo>
                  <a:lnTo>
                    <a:pt x="78" y="117"/>
                  </a:lnTo>
                  <a:lnTo>
                    <a:pt x="76" y="114"/>
                  </a:lnTo>
                  <a:lnTo>
                    <a:pt x="76" y="117"/>
                  </a:lnTo>
                  <a:lnTo>
                    <a:pt x="76" y="114"/>
                  </a:lnTo>
                  <a:lnTo>
                    <a:pt x="76" y="112"/>
                  </a:lnTo>
                  <a:lnTo>
                    <a:pt x="76" y="114"/>
                  </a:lnTo>
                  <a:lnTo>
                    <a:pt x="76" y="112"/>
                  </a:lnTo>
                  <a:lnTo>
                    <a:pt x="76" y="114"/>
                  </a:lnTo>
                  <a:lnTo>
                    <a:pt x="78" y="112"/>
                  </a:lnTo>
                  <a:lnTo>
                    <a:pt x="76" y="112"/>
                  </a:lnTo>
                  <a:lnTo>
                    <a:pt x="78" y="112"/>
                  </a:lnTo>
                  <a:lnTo>
                    <a:pt x="76" y="112"/>
                  </a:lnTo>
                  <a:lnTo>
                    <a:pt x="78" y="112"/>
                  </a:lnTo>
                  <a:lnTo>
                    <a:pt x="76" y="112"/>
                  </a:lnTo>
                  <a:lnTo>
                    <a:pt x="76" y="110"/>
                  </a:lnTo>
                  <a:lnTo>
                    <a:pt x="73" y="112"/>
                  </a:lnTo>
                  <a:lnTo>
                    <a:pt x="73" y="110"/>
                  </a:lnTo>
                  <a:lnTo>
                    <a:pt x="73" y="107"/>
                  </a:lnTo>
                  <a:lnTo>
                    <a:pt x="71" y="107"/>
                  </a:lnTo>
                  <a:lnTo>
                    <a:pt x="71" y="105"/>
                  </a:lnTo>
                  <a:lnTo>
                    <a:pt x="69" y="105"/>
                  </a:lnTo>
                  <a:lnTo>
                    <a:pt x="71" y="105"/>
                  </a:lnTo>
                  <a:lnTo>
                    <a:pt x="69" y="105"/>
                  </a:lnTo>
                  <a:lnTo>
                    <a:pt x="71" y="105"/>
                  </a:lnTo>
                  <a:lnTo>
                    <a:pt x="71" y="107"/>
                  </a:lnTo>
                  <a:lnTo>
                    <a:pt x="73" y="107"/>
                  </a:lnTo>
                  <a:lnTo>
                    <a:pt x="73" y="105"/>
                  </a:lnTo>
                  <a:lnTo>
                    <a:pt x="73" y="107"/>
                  </a:lnTo>
                  <a:lnTo>
                    <a:pt x="73" y="105"/>
                  </a:lnTo>
                  <a:lnTo>
                    <a:pt x="73" y="107"/>
                  </a:lnTo>
                  <a:lnTo>
                    <a:pt x="73" y="105"/>
                  </a:lnTo>
                  <a:lnTo>
                    <a:pt x="73" y="103"/>
                  </a:lnTo>
                  <a:lnTo>
                    <a:pt x="73" y="105"/>
                  </a:lnTo>
                  <a:lnTo>
                    <a:pt x="71" y="105"/>
                  </a:lnTo>
                  <a:lnTo>
                    <a:pt x="71" y="103"/>
                  </a:lnTo>
                  <a:lnTo>
                    <a:pt x="73" y="103"/>
                  </a:lnTo>
                  <a:lnTo>
                    <a:pt x="71" y="103"/>
                  </a:lnTo>
                  <a:lnTo>
                    <a:pt x="73" y="103"/>
                  </a:lnTo>
                  <a:lnTo>
                    <a:pt x="73" y="100"/>
                  </a:lnTo>
                  <a:lnTo>
                    <a:pt x="71" y="100"/>
                  </a:lnTo>
                  <a:lnTo>
                    <a:pt x="69" y="100"/>
                  </a:lnTo>
                  <a:lnTo>
                    <a:pt x="71" y="100"/>
                  </a:lnTo>
                  <a:lnTo>
                    <a:pt x="71" y="98"/>
                  </a:lnTo>
                  <a:lnTo>
                    <a:pt x="69" y="98"/>
                  </a:lnTo>
                  <a:lnTo>
                    <a:pt x="71" y="98"/>
                  </a:lnTo>
                  <a:lnTo>
                    <a:pt x="69" y="98"/>
                  </a:lnTo>
                  <a:lnTo>
                    <a:pt x="66" y="98"/>
                  </a:lnTo>
                  <a:lnTo>
                    <a:pt x="64" y="98"/>
                  </a:lnTo>
                  <a:lnTo>
                    <a:pt x="66" y="100"/>
                  </a:lnTo>
                  <a:lnTo>
                    <a:pt x="64" y="100"/>
                  </a:lnTo>
                  <a:lnTo>
                    <a:pt x="61" y="100"/>
                  </a:lnTo>
                  <a:lnTo>
                    <a:pt x="64" y="100"/>
                  </a:lnTo>
                  <a:lnTo>
                    <a:pt x="64" y="98"/>
                  </a:lnTo>
                  <a:lnTo>
                    <a:pt x="61" y="98"/>
                  </a:lnTo>
                  <a:lnTo>
                    <a:pt x="64" y="98"/>
                  </a:lnTo>
                  <a:lnTo>
                    <a:pt x="61" y="98"/>
                  </a:lnTo>
                  <a:lnTo>
                    <a:pt x="64" y="98"/>
                  </a:lnTo>
                  <a:lnTo>
                    <a:pt x="61" y="98"/>
                  </a:lnTo>
                  <a:lnTo>
                    <a:pt x="59" y="98"/>
                  </a:lnTo>
                  <a:lnTo>
                    <a:pt x="61" y="98"/>
                  </a:lnTo>
                  <a:lnTo>
                    <a:pt x="61" y="100"/>
                  </a:lnTo>
                  <a:lnTo>
                    <a:pt x="59" y="98"/>
                  </a:lnTo>
                  <a:lnTo>
                    <a:pt x="57" y="98"/>
                  </a:lnTo>
                  <a:lnTo>
                    <a:pt x="54" y="98"/>
                  </a:lnTo>
                  <a:lnTo>
                    <a:pt x="52" y="98"/>
                  </a:lnTo>
                  <a:lnTo>
                    <a:pt x="50" y="98"/>
                  </a:lnTo>
                  <a:lnTo>
                    <a:pt x="47" y="98"/>
                  </a:lnTo>
                  <a:lnTo>
                    <a:pt x="45" y="98"/>
                  </a:lnTo>
                  <a:lnTo>
                    <a:pt x="42" y="98"/>
                  </a:lnTo>
                  <a:lnTo>
                    <a:pt x="42" y="95"/>
                  </a:lnTo>
                  <a:lnTo>
                    <a:pt x="40" y="95"/>
                  </a:lnTo>
                  <a:lnTo>
                    <a:pt x="38" y="95"/>
                  </a:lnTo>
                  <a:lnTo>
                    <a:pt x="40" y="95"/>
                  </a:lnTo>
                  <a:lnTo>
                    <a:pt x="38" y="95"/>
                  </a:lnTo>
                  <a:lnTo>
                    <a:pt x="38" y="98"/>
                  </a:lnTo>
                  <a:lnTo>
                    <a:pt x="35" y="98"/>
                  </a:lnTo>
                  <a:lnTo>
                    <a:pt x="33" y="98"/>
                  </a:lnTo>
                  <a:lnTo>
                    <a:pt x="35" y="98"/>
                  </a:lnTo>
                  <a:lnTo>
                    <a:pt x="33" y="98"/>
                  </a:lnTo>
                  <a:lnTo>
                    <a:pt x="35" y="98"/>
                  </a:lnTo>
                  <a:lnTo>
                    <a:pt x="33" y="98"/>
                  </a:lnTo>
                  <a:lnTo>
                    <a:pt x="31" y="98"/>
                  </a:lnTo>
                  <a:lnTo>
                    <a:pt x="31" y="100"/>
                  </a:lnTo>
                  <a:lnTo>
                    <a:pt x="31" y="103"/>
                  </a:lnTo>
                  <a:lnTo>
                    <a:pt x="28" y="100"/>
                  </a:lnTo>
                  <a:lnTo>
                    <a:pt x="26" y="103"/>
                  </a:lnTo>
                  <a:lnTo>
                    <a:pt x="23" y="103"/>
                  </a:lnTo>
                  <a:lnTo>
                    <a:pt x="23" y="100"/>
                  </a:lnTo>
                  <a:lnTo>
                    <a:pt x="21" y="100"/>
                  </a:lnTo>
                  <a:lnTo>
                    <a:pt x="19" y="98"/>
                  </a:lnTo>
                  <a:lnTo>
                    <a:pt x="19" y="95"/>
                  </a:lnTo>
                  <a:lnTo>
                    <a:pt x="16" y="95"/>
                  </a:lnTo>
                  <a:lnTo>
                    <a:pt x="16" y="93"/>
                  </a:lnTo>
                  <a:lnTo>
                    <a:pt x="19" y="93"/>
                  </a:lnTo>
                  <a:lnTo>
                    <a:pt x="21" y="93"/>
                  </a:lnTo>
                  <a:lnTo>
                    <a:pt x="21" y="91"/>
                  </a:lnTo>
                  <a:lnTo>
                    <a:pt x="23" y="91"/>
                  </a:lnTo>
                  <a:lnTo>
                    <a:pt x="26" y="91"/>
                  </a:lnTo>
                  <a:lnTo>
                    <a:pt x="26" y="93"/>
                  </a:lnTo>
                  <a:lnTo>
                    <a:pt x="28" y="93"/>
                  </a:lnTo>
                  <a:lnTo>
                    <a:pt x="31" y="93"/>
                  </a:lnTo>
                  <a:lnTo>
                    <a:pt x="31" y="91"/>
                  </a:lnTo>
                  <a:lnTo>
                    <a:pt x="33" y="91"/>
                  </a:lnTo>
                  <a:lnTo>
                    <a:pt x="35" y="91"/>
                  </a:lnTo>
                  <a:lnTo>
                    <a:pt x="35" y="88"/>
                  </a:lnTo>
                  <a:lnTo>
                    <a:pt x="35" y="91"/>
                  </a:lnTo>
                  <a:lnTo>
                    <a:pt x="38" y="91"/>
                  </a:lnTo>
                  <a:lnTo>
                    <a:pt x="40" y="91"/>
                  </a:lnTo>
                  <a:lnTo>
                    <a:pt x="38" y="91"/>
                  </a:lnTo>
                  <a:lnTo>
                    <a:pt x="38" y="88"/>
                  </a:lnTo>
                  <a:lnTo>
                    <a:pt x="40" y="88"/>
                  </a:lnTo>
                  <a:lnTo>
                    <a:pt x="40" y="91"/>
                  </a:lnTo>
                  <a:lnTo>
                    <a:pt x="40" y="88"/>
                  </a:lnTo>
                  <a:lnTo>
                    <a:pt x="40" y="91"/>
                  </a:lnTo>
                  <a:lnTo>
                    <a:pt x="40" y="88"/>
                  </a:lnTo>
                  <a:lnTo>
                    <a:pt x="42" y="91"/>
                  </a:lnTo>
                  <a:lnTo>
                    <a:pt x="40" y="91"/>
                  </a:lnTo>
                  <a:lnTo>
                    <a:pt x="42" y="91"/>
                  </a:lnTo>
                  <a:lnTo>
                    <a:pt x="45" y="91"/>
                  </a:lnTo>
                  <a:lnTo>
                    <a:pt x="45" y="88"/>
                  </a:lnTo>
                  <a:lnTo>
                    <a:pt x="45" y="86"/>
                  </a:lnTo>
                  <a:lnTo>
                    <a:pt x="47" y="86"/>
                  </a:lnTo>
                  <a:lnTo>
                    <a:pt x="50" y="86"/>
                  </a:lnTo>
                  <a:lnTo>
                    <a:pt x="47" y="86"/>
                  </a:lnTo>
                  <a:lnTo>
                    <a:pt x="47" y="88"/>
                  </a:lnTo>
                  <a:lnTo>
                    <a:pt x="45" y="91"/>
                  </a:lnTo>
                  <a:lnTo>
                    <a:pt x="47" y="91"/>
                  </a:lnTo>
                  <a:lnTo>
                    <a:pt x="50" y="91"/>
                  </a:lnTo>
                  <a:lnTo>
                    <a:pt x="47" y="91"/>
                  </a:lnTo>
                  <a:lnTo>
                    <a:pt x="47" y="88"/>
                  </a:lnTo>
                  <a:lnTo>
                    <a:pt x="50" y="88"/>
                  </a:lnTo>
                  <a:lnTo>
                    <a:pt x="52" y="88"/>
                  </a:lnTo>
                  <a:lnTo>
                    <a:pt x="52" y="91"/>
                  </a:lnTo>
                  <a:lnTo>
                    <a:pt x="50" y="91"/>
                  </a:lnTo>
                  <a:lnTo>
                    <a:pt x="52" y="91"/>
                  </a:lnTo>
                  <a:lnTo>
                    <a:pt x="50" y="91"/>
                  </a:lnTo>
                  <a:lnTo>
                    <a:pt x="52" y="91"/>
                  </a:lnTo>
                  <a:lnTo>
                    <a:pt x="52" y="88"/>
                  </a:lnTo>
                  <a:lnTo>
                    <a:pt x="50" y="88"/>
                  </a:lnTo>
                  <a:lnTo>
                    <a:pt x="50" y="86"/>
                  </a:lnTo>
                  <a:lnTo>
                    <a:pt x="52" y="86"/>
                  </a:lnTo>
                  <a:lnTo>
                    <a:pt x="54" y="86"/>
                  </a:lnTo>
                  <a:lnTo>
                    <a:pt x="54" y="88"/>
                  </a:lnTo>
                  <a:lnTo>
                    <a:pt x="54" y="86"/>
                  </a:lnTo>
                  <a:lnTo>
                    <a:pt x="57" y="86"/>
                  </a:lnTo>
                  <a:lnTo>
                    <a:pt x="59" y="86"/>
                  </a:lnTo>
                  <a:lnTo>
                    <a:pt x="57" y="86"/>
                  </a:lnTo>
                  <a:lnTo>
                    <a:pt x="54" y="86"/>
                  </a:lnTo>
                  <a:lnTo>
                    <a:pt x="57" y="86"/>
                  </a:lnTo>
                  <a:lnTo>
                    <a:pt x="57" y="84"/>
                  </a:lnTo>
                  <a:lnTo>
                    <a:pt x="57" y="86"/>
                  </a:lnTo>
                  <a:lnTo>
                    <a:pt x="57" y="84"/>
                  </a:lnTo>
                  <a:lnTo>
                    <a:pt x="59" y="84"/>
                  </a:lnTo>
                  <a:lnTo>
                    <a:pt x="59" y="81"/>
                  </a:lnTo>
                  <a:lnTo>
                    <a:pt x="61" y="81"/>
                  </a:lnTo>
                  <a:lnTo>
                    <a:pt x="61" y="84"/>
                  </a:lnTo>
                  <a:lnTo>
                    <a:pt x="59" y="84"/>
                  </a:lnTo>
                  <a:lnTo>
                    <a:pt x="61" y="84"/>
                  </a:lnTo>
                  <a:lnTo>
                    <a:pt x="61" y="86"/>
                  </a:lnTo>
                  <a:lnTo>
                    <a:pt x="59" y="86"/>
                  </a:lnTo>
                  <a:lnTo>
                    <a:pt x="61" y="86"/>
                  </a:lnTo>
                  <a:lnTo>
                    <a:pt x="64" y="86"/>
                  </a:lnTo>
                  <a:lnTo>
                    <a:pt x="64" y="88"/>
                  </a:lnTo>
                  <a:lnTo>
                    <a:pt x="66" y="88"/>
                  </a:lnTo>
                  <a:lnTo>
                    <a:pt x="64" y="88"/>
                  </a:lnTo>
                  <a:lnTo>
                    <a:pt x="64" y="86"/>
                  </a:lnTo>
                  <a:lnTo>
                    <a:pt x="66" y="86"/>
                  </a:lnTo>
                  <a:lnTo>
                    <a:pt x="66" y="84"/>
                  </a:lnTo>
                  <a:lnTo>
                    <a:pt x="69" y="84"/>
                  </a:lnTo>
                  <a:lnTo>
                    <a:pt x="71" y="84"/>
                  </a:lnTo>
                  <a:lnTo>
                    <a:pt x="73" y="84"/>
                  </a:lnTo>
                  <a:lnTo>
                    <a:pt x="76" y="84"/>
                  </a:lnTo>
                  <a:lnTo>
                    <a:pt x="78" y="84"/>
                  </a:lnTo>
                  <a:lnTo>
                    <a:pt x="76" y="84"/>
                  </a:lnTo>
                  <a:lnTo>
                    <a:pt x="78" y="86"/>
                  </a:lnTo>
                  <a:lnTo>
                    <a:pt x="80" y="86"/>
                  </a:lnTo>
                  <a:lnTo>
                    <a:pt x="78" y="86"/>
                  </a:lnTo>
                  <a:lnTo>
                    <a:pt x="80" y="86"/>
                  </a:lnTo>
                  <a:lnTo>
                    <a:pt x="80" y="84"/>
                  </a:lnTo>
                  <a:lnTo>
                    <a:pt x="80" y="86"/>
                  </a:lnTo>
                  <a:lnTo>
                    <a:pt x="80" y="84"/>
                  </a:lnTo>
                  <a:lnTo>
                    <a:pt x="80" y="86"/>
                  </a:lnTo>
                  <a:lnTo>
                    <a:pt x="80" y="84"/>
                  </a:lnTo>
                  <a:lnTo>
                    <a:pt x="83" y="84"/>
                  </a:lnTo>
                  <a:lnTo>
                    <a:pt x="83" y="86"/>
                  </a:lnTo>
                  <a:lnTo>
                    <a:pt x="85" y="86"/>
                  </a:lnTo>
                  <a:lnTo>
                    <a:pt x="88" y="86"/>
                  </a:lnTo>
                  <a:lnTo>
                    <a:pt x="90" y="86"/>
                  </a:lnTo>
                  <a:lnTo>
                    <a:pt x="92" y="86"/>
                  </a:lnTo>
                  <a:lnTo>
                    <a:pt x="92" y="84"/>
                  </a:lnTo>
                  <a:lnTo>
                    <a:pt x="90" y="84"/>
                  </a:lnTo>
                  <a:lnTo>
                    <a:pt x="90" y="81"/>
                  </a:lnTo>
                  <a:lnTo>
                    <a:pt x="92" y="81"/>
                  </a:lnTo>
                  <a:lnTo>
                    <a:pt x="92" y="79"/>
                  </a:lnTo>
                  <a:lnTo>
                    <a:pt x="95" y="79"/>
                  </a:lnTo>
                  <a:lnTo>
                    <a:pt x="95" y="76"/>
                  </a:lnTo>
                  <a:lnTo>
                    <a:pt x="92" y="76"/>
                  </a:lnTo>
                  <a:lnTo>
                    <a:pt x="92" y="74"/>
                  </a:lnTo>
                  <a:lnTo>
                    <a:pt x="92" y="76"/>
                  </a:lnTo>
                  <a:lnTo>
                    <a:pt x="90" y="74"/>
                  </a:lnTo>
                  <a:lnTo>
                    <a:pt x="90" y="76"/>
                  </a:lnTo>
                  <a:lnTo>
                    <a:pt x="90" y="79"/>
                  </a:lnTo>
                  <a:lnTo>
                    <a:pt x="88" y="79"/>
                  </a:lnTo>
                  <a:lnTo>
                    <a:pt x="85" y="79"/>
                  </a:lnTo>
                  <a:lnTo>
                    <a:pt x="85" y="81"/>
                  </a:lnTo>
                  <a:lnTo>
                    <a:pt x="83" y="81"/>
                  </a:lnTo>
                  <a:lnTo>
                    <a:pt x="80" y="81"/>
                  </a:lnTo>
                  <a:lnTo>
                    <a:pt x="80" y="79"/>
                  </a:lnTo>
                  <a:lnTo>
                    <a:pt x="78" y="81"/>
                  </a:lnTo>
                  <a:lnTo>
                    <a:pt x="78" y="79"/>
                  </a:lnTo>
                  <a:lnTo>
                    <a:pt x="76" y="79"/>
                  </a:lnTo>
                  <a:lnTo>
                    <a:pt x="73" y="79"/>
                  </a:lnTo>
                  <a:lnTo>
                    <a:pt x="71" y="79"/>
                  </a:lnTo>
                  <a:lnTo>
                    <a:pt x="71" y="76"/>
                  </a:lnTo>
                  <a:lnTo>
                    <a:pt x="71" y="79"/>
                  </a:lnTo>
                  <a:lnTo>
                    <a:pt x="69" y="79"/>
                  </a:lnTo>
                  <a:lnTo>
                    <a:pt x="71" y="79"/>
                  </a:lnTo>
                  <a:lnTo>
                    <a:pt x="69" y="79"/>
                  </a:lnTo>
                  <a:lnTo>
                    <a:pt x="66" y="79"/>
                  </a:lnTo>
                  <a:lnTo>
                    <a:pt x="66" y="76"/>
                  </a:lnTo>
                  <a:lnTo>
                    <a:pt x="66" y="79"/>
                  </a:lnTo>
                  <a:lnTo>
                    <a:pt x="66" y="76"/>
                  </a:lnTo>
                  <a:lnTo>
                    <a:pt x="69" y="76"/>
                  </a:lnTo>
                  <a:lnTo>
                    <a:pt x="66" y="76"/>
                  </a:lnTo>
                  <a:lnTo>
                    <a:pt x="69" y="76"/>
                  </a:lnTo>
                  <a:lnTo>
                    <a:pt x="66" y="76"/>
                  </a:lnTo>
                  <a:lnTo>
                    <a:pt x="64" y="76"/>
                  </a:lnTo>
                  <a:lnTo>
                    <a:pt x="66" y="76"/>
                  </a:lnTo>
                  <a:lnTo>
                    <a:pt x="69" y="76"/>
                  </a:lnTo>
                  <a:lnTo>
                    <a:pt x="66" y="76"/>
                  </a:lnTo>
                  <a:lnTo>
                    <a:pt x="69" y="74"/>
                  </a:lnTo>
                  <a:lnTo>
                    <a:pt x="66" y="74"/>
                  </a:lnTo>
                  <a:lnTo>
                    <a:pt x="69" y="74"/>
                  </a:lnTo>
                  <a:lnTo>
                    <a:pt x="71" y="74"/>
                  </a:lnTo>
                  <a:lnTo>
                    <a:pt x="71" y="72"/>
                  </a:lnTo>
                  <a:lnTo>
                    <a:pt x="71" y="74"/>
                  </a:lnTo>
                  <a:lnTo>
                    <a:pt x="71" y="72"/>
                  </a:lnTo>
                  <a:lnTo>
                    <a:pt x="73" y="72"/>
                  </a:lnTo>
                  <a:lnTo>
                    <a:pt x="71" y="72"/>
                  </a:lnTo>
                  <a:lnTo>
                    <a:pt x="73" y="72"/>
                  </a:lnTo>
                  <a:lnTo>
                    <a:pt x="71" y="72"/>
                  </a:lnTo>
                  <a:lnTo>
                    <a:pt x="73" y="72"/>
                  </a:lnTo>
                  <a:lnTo>
                    <a:pt x="73" y="69"/>
                  </a:lnTo>
                  <a:lnTo>
                    <a:pt x="76" y="69"/>
                  </a:lnTo>
                  <a:lnTo>
                    <a:pt x="78" y="69"/>
                  </a:lnTo>
                  <a:lnTo>
                    <a:pt x="80" y="69"/>
                  </a:lnTo>
                  <a:lnTo>
                    <a:pt x="80" y="67"/>
                  </a:lnTo>
                  <a:lnTo>
                    <a:pt x="83" y="67"/>
                  </a:lnTo>
                  <a:lnTo>
                    <a:pt x="83" y="65"/>
                  </a:lnTo>
                  <a:lnTo>
                    <a:pt x="85" y="65"/>
                  </a:lnTo>
                  <a:lnTo>
                    <a:pt x="88" y="65"/>
                  </a:lnTo>
                  <a:lnTo>
                    <a:pt x="85" y="65"/>
                  </a:lnTo>
                  <a:lnTo>
                    <a:pt x="88" y="65"/>
                  </a:lnTo>
                  <a:lnTo>
                    <a:pt x="88" y="62"/>
                  </a:lnTo>
                  <a:lnTo>
                    <a:pt x="88" y="65"/>
                  </a:lnTo>
                  <a:lnTo>
                    <a:pt x="90" y="65"/>
                  </a:lnTo>
                  <a:lnTo>
                    <a:pt x="92" y="62"/>
                  </a:lnTo>
                  <a:lnTo>
                    <a:pt x="95" y="62"/>
                  </a:lnTo>
                  <a:lnTo>
                    <a:pt x="92" y="62"/>
                  </a:lnTo>
                  <a:lnTo>
                    <a:pt x="90" y="62"/>
                  </a:lnTo>
                  <a:lnTo>
                    <a:pt x="88" y="62"/>
                  </a:lnTo>
                  <a:lnTo>
                    <a:pt x="85" y="62"/>
                  </a:lnTo>
                  <a:lnTo>
                    <a:pt x="88" y="62"/>
                  </a:lnTo>
                  <a:lnTo>
                    <a:pt x="85" y="62"/>
                  </a:lnTo>
                  <a:lnTo>
                    <a:pt x="88" y="62"/>
                  </a:lnTo>
                  <a:lnTo>
                    <a:pt x="88" y="60"/>
                  </a:lnTo>
                  <a:lnTo>
                    <a:pt x="85" y="60"/>
                  </a:lnTo>
                  <a:lnTo>
                    <a:pt x="85" y="57"/>
                  </a:lnTo>
                  <a:lnTo>
                    <a:pt x="83" y="57"/>
                  </a:lnTo>
                  <a:lnTo>
                    <a:pt x="83" y="60"/>
                  </a:lnTo>
                  <a:lnTo>
                    <a:pt x="83" y="57"/>
                  </a:lnTo>
                  <a:lnTo>
                    <a:pt x="80" y="57"/>
                  </a:lnTo>
                  <a:lnTo>
                    <a:pt x="80" y="60"/>
                  </a:lnTo>
                  <a:lnTo>
                    <a:pt x="78" y="60"/>
                  </a:lnTo>
                  <a:lnTo>
                    <a:pt x="78" y="62"/>
                  </a:lnTo>
                  <a:lnTo>
                    <a:pt x="76" y="62"/>
                  </a:lnTo>
                  <a:lnTo>
                    <a:pt x="73" y="62"/>
                  </a:lnTo>
                  <a:lnTo>
                    <a:pt x="73" y="60"/>
                  </a:lnTo>
                  <a:lnTo>
                    <a:pt x="71" y="60"/>
                  </a:lnTo>
                  <a:lnTo>
                    <a:pt x="73" y="57"/>
                  </a:lnTo>
                  <a:lnTo>
                    <a:pt x="76" y="57"/>
                  </a:lnTo>
                  <a:lnTo>
                    <a:pt x="78" y="57"/>
                  </a:lnTo>
                  <a:lnTo>
                    <a:pt x="78" y="55"/>
                  </a:lnTo>
                  <a:lnTo>
                    <a:pt x="80" y="55"/>
                  </a:lnTo>
                  <a:lnTo>
                    <a:pt x="78" y="55"/>
                  </a:lnTo>
                  <a:lnTo>
                    <a:pt x="80" y="55"/>
                  </a:lnTo>
                  <a:lnTo>
                    <a:pt x="80" y="53"/>
                  </a:lnTo>
                  <a:lnTo>
                    <a:pt x="78" y="55"/>
                  </a:lnTo>
                  <a:lnTo>
                    <a:pt x="78" y="57"/>
                  </a:lnTo>
                  <a:lnTo>
                    <a:pt x="76" y="57"/>
                  </a:lnTo>
                  <a:lnTo>
                    <a:pt x="73" y="57"/>
                  </a:lnTo>
                  <a:lnTo>
                    <a:pt x="73" y="55"/>
                  </a:lnTo>
                  <a:lnTo>
                    <a:pt x="76" y="55"/>
                  </a:lnTo>
                  <a:lnTo>
                    <a:pt x="73" y="55"/>
                  </a:lnTo>
                  <a:lnTo>
                    <a:pt x="73" y="57"/>
                  </a:lnTo>
                  <a:lnTo>
                    <a:pt x="71" y="57"/>
                  </a:lnTo>
                  <a:lnTo>
                    <a:pt x="71" y="55"/>
                  </a:lnTo>
                  <a:lnTo>
                    <a:pt x="71" y="57"/>
                  </a:lnTo>
                  <a:lnTo>
                    <a:pt x="69" y="57"/>
                  </a:lnTo>
                  <a:lnTo>
                    <a:pt x="69" y="55"/>
                  </a:lnTo>
                  <a:lnTo>
                    <a:pt x="69" y="53"/>
                  </a:lnTo>
                  <a:lnTo>
                    <a:pt x="66" y="53"/>
                  </a:lnTo>
                  <a:lnTo>
                    <a:pt x="69" y="53"/>
                  </a:lnTo>
                  <a:lnTo>
                    <a:pt x="66" y="53"/>
                  </a:lnTo>
                  <a:lnTo>
                    <a:pt x="66" y="50"/>
                  </a:lnTo>
                  <a:lnTo>
                    <a:pt x="66" y="53"/>
                  </a:lnTo>
                  <a:lnTo>
                    <a:pt x="66" y="55"/>
                  </a:lnTo>
                  <a:lnTo>
                    <a:pt x="66" y="57"/>
                  </a:lnTo>
                  <a:lnTo>
                    <a:pt x="64" y="57"/>
                  </a:lnTo>
                  <a:lnTo>
                    <a:pt x="66" y="57"/>
                  </a:lnTo>
                  <a:lnTo>
                    <a:pt x="64" y="57"/>
                  </a:lnTo>
                  <a:lnTo>
                    <a:pt x="64" y="55"/>
                  </a:lnTo>
                  <a:lnTo>
                    <a:pt x="64" y="53"/>
                  </a:lnTo>
                  <a:lnTo>
                    <a:pt x="64" y="55"/>
                  </a:lnTo>
                  <a:lnTo>
                    <a:pt x="64" y="57"/>
                  </a:lnTo>
                  <a:lnTo>
                    <a:pt x="61" y="57"/>
                  </a:lnTo>
                  <a:lnTo>
                    <a:pt x="61" y="55"/>
                  </a:lnTo>
                  <a:lnTo>
                    <a:pt x="61" y="53"/>
                  </a:lnTo>
                  <a:lnTo>
                    <a:pt x="61" y="50"/>
                  </a:lnTo>
                  <a:lnTo>
                    <a:pt x="61" y="53"/>
                  </a:lnTo>
                  <a:lnTo>
                    <a:pt x="59" y="53"/>
                  </a:lnTo>
                  <a:lnTo>
                    <a:pt x="59" y="50"/>
                  </a:lnTo>
                  <a:lnTo>
                    <a:pt x="59" y="53"/>
                  </a:lnTo>
                  <a:lnTo>
                    <a:pt x="59" y="50"/>
                  </a:lnTo>
                  <a:lnTo>
                    <a:pt x="59" y="53"/>
                  </a:lnTo>
                  <a:lnTo>
                    <a:pt x="59" y="55"/>
                  </a:lnTo>
                  <a:lnTo>
                    <a:pt x="61" y="57"/>
                  </a:lnTo>
                  <a:lnTo>
                    <a:pt x="61" y="60"/>
                  </a:lnTo>
                  <a:lnTo>
                    <a:pt x="61" y="57"/>
                  </a:lnTo>
                  <a:lnTo>
                    <a:pt x="59" y="57"/>
                  </a:lnTo>
                  <a:lnTo>
                    <a:pt x="57" y="57"/>
                  </a:lnTo>
                  <a:lnTo>
                    <a:pt x="54" y="57"/>
                  </a:lnTo>
                  <a:lnTo>
                    <a:pt x="57" y="57"/>
                  </a:lnTo>
                  <a:lnTo>
                    <a:pt x="54" y="57"/>
                  </a:lnTo>
                  <a:lnTo>
                    <a:pt x="57" y="55"/>
                  </a:lnTo>
                  <a:lnTo>
                    <a:pt x="59" y="53"/>
                  </a:lnTo>
                  <a:lnTo>
                    <a:pt x="57" y="53"/>
                  </a:lnTo>
                  <a:lnTo>
                    <a:pt x="57" y="50"/>
                  </a:lnTo>
                  <a:lnTo>
                    <a:pt x="57" y="53"/>
                  </a:lnTo>
                  <a:lnTo>
                    <a:pt x="57" y="55"/>
                  </a:lnTo>
                  <a:lnTo>
                    <a:pt x="54" y="55"/>
                  </a:lnTo>
                  <a:lnTo>
                    <a:pt x="54" y="53"/>
                  </a:lnTo>
                  <a:lnTo>
                    <a:pt x="52" y="53"/>
                  </a:lnTo>
                  <a:lnTo>
                    <a:pt x="52" y="55"/>
                  </a:lnTo>
                  <a:lnTo>
                    <a:pt x="52" y="57"/>
                  </a:lnTo>
                  <a:lnTo>
                    <a:pt x="50" y="57"/>
                  </a:lnTo>
                  <a:lnTo>
                    <a:pt x="50" y="55"/>
                  </a:lnTo>
                  <a:lnTo>
                    <a:pt x="47" y="55"/>
                  </a:lnTo>
                  <a:lnTo>
                    <a:pt x="47" y="53"/>
                  </a:lnTo>
                  <a:lnTo>
                    <a:pt x="47" y="55"/>
                  </a:lnTo>
                  <a:lnTo>
                    <a:pt x="45" y="55"/>
                  </a:lnTo>
                  <a:lnTo>
                    <a:pt x="45" y="57"/>
                  </a:lnTo>
                  <a:lnTo>
                    <a:pt x="45" y="60"/>
                  </a:lnTo>
                  <a:lnTo>
                    <a:pt x="42" y="60"/>
                  </a:lnTo>
                  <a:lnTo>
                    <a:pt x="40" y="60"/>
                  </a:lnTo>
                  <a:lnTo>
                    <a:pt x="40" y="57"/>
                  </a:lnTo>
                  <a:lnTo>
                    <a:pt x="38" y="57"/>
                  </a:lnTo>
                  <a:lnTo>
                    <a:pt x="38" y="60"/>
                  </a:lnTo>
                  <a:lnTo>
                    <a:pt x="35" y="60"/>
                  </a:lnTo>
                  <a:lnTo>
                    <a:pt x="33" y="60"/>
                  </a:lnTo>
                  <a:lnTo>
                    <a:pt x="31" y="60"/>
                  </a:lnTo>
                  <a:lnTo>
                    <a:pt x="31" y="62"/>
                  </a:lnTo>
                  <a:lnTo>
                    <a:pt x="28" y="62"/>
                  </a:lnTo>
                  <a:lnTo>
                    <a:pt x="28" y="65"/>
                  </a:lnTo>
                  <a:lnTo>
                    <a:pt x="26" y="62"/>
                  </a:lnTo>
                  <a:lnTo>
                    <a:pt x="26" y="65"/>
                  </a:lnTo>
                  <a:lnTo>
                    <a:pt x="23" y="65"/>
                  </a:lnTo>
                  <a:lnTo>
                    <a:pt x="21" y="65"/>
                  </a:lnTo>
                  <a:lnTo>
                    <a:pt x="19" y="65"/>
                  </a:lnTo>
                  <a:lnTo>
                    <a:pt x="19" y="62"/>
                  </a:lnTo>
                  <a:lnTo>
                    <a:pt x="21" y="62"/>
                  </a:lnTo>
                  <a:lnTo>
                    <a:pt x="21" y="60"/>
                  </a:lnTo>
                  <a:lnTo>
                    <a:pt x="19" y="60"/>
                  </a:lnTo>
                  <a:lnTo>
                    <a:pt x="21" y="60"/>
                  </a:lnTo>
                  <a:lnTo>
                    <a:pt x="19" y="60"/>
                  </a:lnTo>
                  <a:lnTo>
                    <a:pt x="19" y="62"/>
                  </a:lnTo>
                  <a:lnTo>
                    <a:pt x="16" y="60"/>
                  </a:lnTo>
                  <a:lnTo>
                    <a:pt x="14" y="60"/>
                  </a:lnTo>
                  <a:lnTo>
                    <a:pt x="12" y="60"/>
                  </a:lnTo>
                  <a:lnTo>
                    <a:pt x="12" y="57"/>
                  </a:lnTo>
                  <a:lnTo>
                    <a:pt x="9" y="57"/>
                  </a:lnTo>
                  <a:lnTo>
                    <a:pt x="9" y="60"/>
                  </a:lnTo>
                  <a:lnTo>
                    <a:pt x="7" y="60"/>
                  </a:lnTo>
                  <a:lnTo>
                    <a:pt x="4" y="60"/>
                  </a:lnTo>
                  <a:lnTo>
                    <a:pt x="2" y="60"/>
                  </a:lnTo>
                  <a:lnTo>
                    <a:pt x="0" y="60"/>
                  </a:lnTo>
                  <a:lnTo>
                    <a:pt x="0" y="57"/>
                  </a:lnTo>
                  <a:lnTo>
                    <a:pt x="2" y="57"/>
                  </a:lnTo>
                  <a:lnTo>
                    <a:pt x="4" y="55"/>
                  </a:lnTo>
                  <a:lnTo>
                    <a:pt x="7" y="55"/>
                  </a:lnTo>
                  <a:lnTo>
                    <a:pt x="7" y="53"/>
                  </a:lnTo>
                  <a:lnTo>
                    <a:pt x="7" y="50"/>
                  </a:lnTo>
                  <a:lnTo>
                    <a:pt x="9" y="50"/>
                  </a:lnTo>
                  <a:lnTo>
                    <a:pt x="12" y="50"/>
                  </a:lnTo>
                  <a:lnTo>
                    <a:pt x="12" y="53"/>
                  </a:lnTo>
                  <a:lnTo>
                    <a:pt x="14" y="53"/>
                  </a:lnTo>
                  <a:lnTo>
                    <a:pt x="14" y="55"/>
                  </a:lnTo>
                  <a:lnTo>
                    <a:pt x="16" y="55"/>
                  </a:lnTo>
                  <a:lnTo>
                    <a:pt x="19" y="55"/>
                  </a:lnTo>
                  <a:lnTo>
                    <a:pt x="21" y="55"/>
                  </a:lnTo>
                  <a:lnTo>
                    <a:pt x="21" y="57"/>
                  </a:lnTo>
                  <a:lnTo>
                    <a:pt x="23" y="57"/>
                  </a:lnTo>
                  <a:lnTo>
                    <a:pt x="26" y="57"/>
                  </a:lnTo>
                  <a:lnTo>
                    <a:pt x="23" y="57"/>
                  </a:lnTo>
                  <a:lnTo>
                    <a:pt x="21" y="55"/>
                  </a:lnTo>
                  <a:lnTo>
                    <a:pt x="19" y="55"/>
                  </a:lnTo>
                  <a:lnTo>
                    <a:pt x="19" y="53"/>
                  </a:lnTo>
                  <a:lnTo>
                    <a:pt x="16" y="53"/>
                  </a:lnTo>
                  <a:lnTo>
                    <a:pt x="16" y="50"/>
                  </a:lnTo>
                  <a:lnTo>
                    <a:pt x="19" y="50"/>
                  </a:lnTo>
                  <a:lnTo>
                    <a:pt x="21" y="50"/>
                  </a:lnTo>
                  <a:lnTo>
                    <a:pt x="21" y="53"/>
                  </a:lnTo>
                  <a:lnTo>
                    <a:pt x="23" y="53"/>
                  </a:lnTo>
                  <a:lnTo>
                    <a:pt x="26" y="53"/>
                  </a:lnTo>
                  <a:lnTo>
                    <a:pt x="23" y="53"/>
                  </a:lnTo>
                  <a:lnTo>
                    <a:pt x="23" y="50"/>
                  </a:lnTo>
                  <a:lnTo>
                    <a:pt x="23" y="53"/>
                  </a:lnTo>
                  <a:lnTo>
                    <a:pt x="23" y="50"/>
                  </a:lnTo>
                  <a:lnTo>
                    <a:pt x="21" y="50"/>
                  </a:lnTo>
                  <a:lnTo>
                    <a:pt x="19" y="50"/>
                  </a:lnTo>
                  <a:lnTo>
                    <a:pt x="19" y="48"/>
                  </a:lnTo>
                  <a:lnTo>
                    <a:pt x="16" y="48"/>
                  </a:lnTo>
                  <a:lnTo>
                    <a:pt x="16" y="46"/>
                  </a:lnTo>
                  <a:lnTo>
                    <a:pt x="14" y="46"/>
                  </a:lnTo>
                  <a:lnTo>
                    <a:pt x="14" y="43"/>
                  </a:lnTo>
                  <a:lnTo>
                    <a:pt x="14" y="41"/>
                  </a:lnTo>
                  <a:lnTo>
                    <a:pt x="16" y="41"/>
                  </a:lnTo>
                  <a:lnTo>
                    <a:pt x="19" y="41"/>
                  </a:lnTo>
                  <a:lnTo>
                    <a:pt x="19" y="43"/>
                  </a:lnTo>
                  <a:lnTo>
                    <a:pt x="21" y="43"/>
                  </a:lnTo>
                  <a:lnTo>
                    <a:pt x="23" y="43"/>
                  </a:lnTo>
                  <a:lnTo>
                    <a:pt x="23" y="46"/>
                  </a:lnTo>
                  <a:lnTo>
                    <a:pt x="26" y="46"/>
                  </a:lnTo>
                  <a:lnTo>
                    <a:pt x="28" y="46"/>
                  </a:lnTo>
                  <a:lnTo>
                    <a:pt x="31" y="48"/>
                  </a:lnTo>
                  <a:lnTo>
                    <a:pt x="33" y="48"/>
                  </a:lnTo>
                  <a:lnTo>
                    <a:pt x="33" y="50"/>
                  </a:lnTo>
                  <a:lnTo>
                    <a:pt x="33" y="53"/>
                  </a:lnTo>
                  <a:lnTo>
                    <a:pt x="35" y="50"/>
                  </a:lnTo>
                  <a:lnTo>
                    <a:pt x="35" y="53"/>
                  </a:lnTo>
                  <a:lnTo>
                    <a:pt x="35" y="50"/>
                  </a:lnTo>
                  <a:lnTo>
                    <a:pt x="38" y="50"/>
                  </a:lnTo>
                  <a:lnTo>
                    <a:pt x="38" y="53"/>
                  </a:lnTo>
                  <a:lnTo>
                    <a:pt x="38" y="50"/>
                  </a:lnTo>
                  <a:lnTo>
                    <a:pt x="40" y="50"/>
                  </a:lnTo>
                  <a:lnTo>
                    <a:pt x="38" y="50"/>
                  </a:lnTo>
                  <a:lnTo>
                    <a:pt x="40" y="50"/>
                  </a:lnTo>
                  <a:lnTo>
                    <a:pt x="42" y="48"/>
                  </a:lnTo>
                  <a:lnTo>
                    <a:pt x="40" y="48"/>
                  </a:lnTo>
                  <a:lnTo>
                    <a:pt x="38" y="48"/>
                  </a:lnTo>
                  <a:lnTo>
                    <a:pt x="35" y="48"/>
                  </a:lnTo>
                  <a:lnTo>
                    <a:pt x="33" y="46"/>
                  </a:lnTo>
                  <a:lnTo>
                    <a:pt x="35" y="46"/>
                  </a:lnTo>
                  <a:lnTo>
                    <a:pt x="38" y="46"/>
                  </a:lnTo>
                  <a:lnTo>
                    <a:pt x="40" y="46"/>
                  </a:lnTo>
                  <a:lnTo>
                    <a:pt x="42" y="46"/>
                  </a:lnTo>
                  <a:lnTo>
                    <a:pt x="45" y="46"/>
                  </a:lnTo>
                  <a:lnTo>
                    <a:pt x="42" y="43"/>
                  </a:lnTo>
                  <a:lnTo>
                    <a:pt x="45" y="43"/>
                  </a:lnTo>
                  <a:lnTo>
                    <a:pt x="42" y="43"/>
                  </a:lnTo>
                  <a:lnTo>
                    <a:pt x="40" y="43"/>
                  </a:lnTo>
                  <a:lnTo>
                    <a:pt x="38" y="43"/>
                  </a:lnTo>
                  <a:lnTo>
                    <a:pt x="35" y="43"/>
                  </a:lnTo>
                  <a:lnTo>
                    <a:pt x="33" y="43"/>
                  </a:lnTo>
                  <a:lnTo>
                    <a:pt x="31" y="43"/>
                  </a:lnTo>
                  <a:lnTo>
                    <a:pt x="28" y="43"/>
                  </a:lnTo>
                  <a:lnTo>
                    <a:pt x="26" y="43"/>
                  </a:lnTo>
                  <a:lnTo>
                    <a:pt x="26" y="41"/>
                  </a:lnTo>
                  <a:lnTo>
                    <a:pt x="23" y="41"/>
                  </a:lnTo>
                  <a:lnTo>
                    <a:pt x="23" y="38"/>
                  </a:lnTo>
                  <a:lnTo>
                    <a:pt x="23" y="36"/>
                  </a:lnTo>
                  <a:lnTo>
                    <a:pt x="23" y="34"/>
                  </a:lnTo>
                  <a:lnTo>
                    <a:pt x="26" y="34"/>
                  </a:lnTo>
                  <a:lnTo>
                    <a:pt x="26" y="36"/>
                  </a:lnTo>
                  <a:lnTo>
                    <a:pt x="28" y="36"/>
                  </a:lnTo>
                  <a:lnTo>
                    <a:pt x="31" y="36"/>
                  </a:lnTo>
                  <a:lnTo>
                    <a:pt x="33" y="38"/>
                  </a:lnTo>
                  <a:lnTo>
                    <a:pt x="33" y="36"/>
                  </a:lnTo>
                  <a:lnTo>
                    <a:pt x="35" y="36"/>
                  </a:lnTo>
                  <a:lnTo>
                    <a:pt x="35" y="38"/>
                  </a:lnTo>
                  <a:lnTo>
                    <a:pt x="38" y="38"/>
                  </a:lnTo>
                  <a:lnTo>
                    <a:pt x="40" y="38"/>
                  </a:lnTo>
                  <a:lnTo>
                    <a:pt x="42" y="38"/>
                  </a:lnTo>
                  <a:lnTo>
                    <a:pt x="45" y="38"/>
                  </a:lnTo>
                  <a:lnTo>
                    <a:pt x="45" y="41"/>
                  </a:lnTo>
                  <a:lnTo>
                    <a:pt x="45" y="38"/>
                  </a:lnTo>
                  <a:lnTo>
                    <a:pt x="42" y="38"/>
                  </a:lnTo>
                  <a:lnTo>
                    <a:pt x="40" y="38"/>
                  </a:lnTo>
                  <a:lnTo>
                    <a:pt x="38" y="38"/>
                  </a:lnTo>
                  <a:lnTo>
                    <a:pt x="38" y="36"/>
                  </a:lnTo>
                  <a:lnTo>
                    <a:pt x="35" y="36"/>
                  </a:lnTo>
                  <a:lnTo>
                    <a:pt x="33" y="36"/>
                  </a:lnTo>
                  <a:lnTo>
                    <a:pt x="31" y="36"/>
                  </a:lnTo>
                  <a:lnTo>
                    <a:pt x="31" y="34"/>
                  </a:lnTo>
                  <a:lnTo>
                    <a:pt x="28" y="34"/>
                  </a:lnTo>
                  <a:lnTo>
                    <a:pt x="28" y="31"/>
                  </a:lnTo>
                  <a:lnTo>
                    <a:pt x="26" y="31"/>
                  </a:lnTo>
                  <a:lnTo>
                    <a:pt x="23" y="29"/>
                  </a:lnTo>
                  <a:lnTo>
                    <a:pt x="23" y="26"/>
                  </a:lnTo>
                  <a:lnTo>
                    <a:pt x="26" y="26"/>
                  </a:lnTo>
                  <a:lnTo>
                    <a:pt x="28" y="26"/>
                  </a:lnTo>
                  <a:lnTo>
                    <a:pt x="31" y="26"/>
                  </a:lnTo>
                  <a:lnTo>
                    <a:pt x="31" y="29"/>
                  </a:lnTo>
                  <a:lnTo>
                    <a:pt x="33" y="29"/>
                  </a:lnTo>
                  <a:lnTo>
                    <a:pt x="35" y="29"/>
                  </a:lnTo>
                  <a:lnTo>
                    <a:pt x="38" y="29"/>
                  </a:lnTo>
                  <a:lnTo>
                    <a:pt x="38" y="31"/>
                  </a:lnTo>
                  <a:lnTo>
                    <a:pt x="40" y="31"/>
                  </a:lnTo>
                  <a:lnTo>
                    <a:pt x="38" y="31"/>
                  </a:lnTo>
                  <a:lnTo>
                    <a:pt x="38" y="29"/>
                  </a:lnTo>
                  <a:lnTo>
                    <a:pt x="35" y="29"/>
                  </a:lnTo>
                  <a:lnTo>
                    <a:pt x="35" y="26"/>
                  </a:lnTo>
                  <a:lnTo>
                    <a:pt x="35" y="29"/>
                  </a:lnTo>
                  <a:lnTo>
                    <a:pt x="35" y="26"/>
                  </a:lnTo>
                  <a:lnTo>
                    <a:pt x="33" y="26"/>
                  </a:lnTo>
                  <a:lnTo>
                    <a:pt x="31" y="26"/>
                  </a:lnTo>
                  <a:lnTo>
                    <a:pt x="31" y="24"/>
                  </a:lnTo>
                  <a:lnTo>
                    <a:pt x="28" y="24"/>
                  </a:lnTo>
                  <a:lnTo>
                    <a:pt x="31" y="24"/>
                  </a:lnTo>
                  <a:lnTo>
                    <a:pt x="33" y="24"/>
                  </a:lnTo>
                  <a:lnTo>
                    <a:pt x="33" y="22"/>
                  </a:lnTo>
                  <a:lnTo>
                    <a:pt x="35" y="24"/>
                  </a:lnTo>
                  <a:lnTo>
                    <a:pt x="38" y="24"/>
                  </a:lnTo>
                  <a:lnTo>
                    <a:pt x="38" y="26"/>
                  </a:lnTo>
                  <a:lnTo>
                    <a:pt x="40" y="26"/>
                  </a:lnTo>
                  <a:lnTo>
                    <a:pt x="38" y="24"/>
                  </a:lnTo>
                  <a:lnTo>
                    <a:pt x="35" y="24"/>
                  </a:lnTo>
                  <a:lnTo>
                    <a:pt x="35" y="22"/>
                  </a:lnTo>
                  <a:lnTo>
                    <a:pt x="33" y="22"/>
                  </a:lnTo>
                  <a:lnTo>
                    <a:pt x="31" y="22"/>
                  </a:lnTo>
                  <a:lnTo>
                    <a:pt x="33" y="22"/>
                  </a:lnTo>
                  <a:lnTo>
                    <a:pt x="33" y="19"/>
                  </a:lnTo>
                  <a:lnTo>
                    <a:pt x="35" y="19"/>
                  </a:lnTo>
                  <a:lnTo>
                    <a:pt x="38" y="19"/>
                  </a:lnTo>
                  <a:lnTo>
                    <a:pt x="40" y="19"/>
                  </a:lnTo>
                  <a:lnTo>
                    <a:pt x="42" y="19"/>
                  </a:lnTo>
                  <a:lnTo>
                    <a:pt x="42" y="22"/>
                  </a:lnTo>
                  <a:lnTo>
                    <a:pt x="45" y="22"/>
                  </a:lnTo>
                  <a:lnTo>
                    <a:pt x="47" y="22"/>
                  </a:lnTo>
                  <a:lnTo>
                    <a:pt x="47" y="24"/>
                  </a:lnTo>
                  <a:lnTo>
                    <a:pt x="47" y="26"/>
                  </a:lnTo>
                  <a:lnTo>
                    <a:pt x="45" y="26"/>
                  </a:lnTo>
                  <a:lnTo>
                    <a:pt x="45" y="29"/>
                  </a:lnTo>
                  <a:lnTo>
                    <a:pt x="47" y="29"/>
                  </a:lnTo>
                  <a:lnTo>
                    <a:pt x="47" y="26"/>
                  </a:lnTo>
                  <a:lnTo>
                    <a:pt x="50" y="26"/>
                  </a:lnTo>
                  <a:lnTo>
                    <a:pt x="50" y="24"/>
                  </a:lnTo>
                  <a:lnTo>
                    <a:pt x="52" y="24"/>
                  </a:lnTo>
                  <a:lnTo>
                    <a:pt x="52" y="26"/>
                  </a:lnTo>
                  <a:lnTo>
                    <a:pt x="52" y="29"/>
                  </a:lnTo>
                  <a:lnTo>
                    <a:pt x="50" y="31"/>
                  </a:lnTo>
                  <a:lnTo>
                    <a:pt x="47" y="31"/>
                  </a:lnTo>
                  <a:lnTo>
                    <a:pt x="47" y="34"/>
                  </a:lnTo>
                  <a:lnTo>
                    <a:pt x="50" y="34"/>
                  </a:lnTo>
                  <a:lnTo>
                    <a:pt x="47" y="31"/>
                  </a:lnTo>
                  <a:lnTo>
                    <a:pt x="50" y="31"/>
                  </a:lnTo>
                  <a:lnTo>
                    <a:pt x="52" y="31"/>
                  </a:lnTo>
                  <a:lnTo>
                    <a:pt x="52" y="29"/>
                  </a:lnTo>
                  <a:lnTo>
                    <a:pt x="52" y="26"/>
                  </a:lnTo>
                  <a:lnTo>
                    <a:pt x="54" y="26"/>
                  </a:lnTo>
                  <a:lnTo>
                    <a:pt x="54" y="29"/>
                  </a:lnTo>
                  <a:lnTo>
                    <a:pt x="54" y="31"/>
                  </a:lnTo>
                  <a:lnTo>
                    <a:pt x="54" y="29"/>
                  </a:lnTo>
                  <a:lnTo>
                    <a:pt x="57" y="29"/>
                  </a:lnTo>
                  <a:lnTo>
                    <a:pt x="57" y="31"/>
                  </a:lnTo>
                  <a:lnTo>
                    <a:pt x="54" y="31"/>
                  </a:lnTo>
                  <a:lnTo>
                    <a:pt x="54" y="34"/>
                  </a:lnTo>
                  <a:lnTo>
                    <a:pt x="52" y="34"/>
                  </a:lnTo>
                  <a:lnTo>
                    <a:pt x="52" y="36"/>
                  </a:lnTo>
                  <a:lnTo>
                    <a:pt x="52" y="34"/>
                  </a:lnTo>
                  <a:lnTo>
                    <a:pt x="54" y="34"/>
                  </a:lnTo>
                  <a:lnTo>
                    <a:pt x="57" y="31"/>
                  </a:lnTo>
                  <a:lnTo>
                    <a:pt x="57" y="34"/>
                  </a:lnTo>
                  <a:lnTo>
                    <a:pt x="57" y="36"/>
                  </a:lnTo>
                  <a:lnTo>
                    <a:pt x="57" y="34"/>
                  </a:lnTo>
                  <a:lnTo>
                    <a:pt x="59" y="34"/>
                  </a:lnTo>
                  <a:lnTo>
                    <a:pt x="59" y="31"/>
                  </a:lnTo>
                  <a:lnTo>
                    <a:pt x="59" y="29"/>
                  </a:lnTo>
                  <a:lnTo>
                    <a:pt x="59" y="26"/>
                  </a:lnTo>
                  <a:lnTo>
                    <a:pt x="59" y="29"/>
                  </a:lnTo>
                  <a:lnTo>
                    <a:pt x="61" y="29"/>
                  </a:lnTo>
                  <a:lnTo>
                    <a:pt x="61" y="26"/>
                  </a:lnTo>
                  <a:lnTo>
                    <a:pt x="61" y="29"/>
                  </a:lnTo>
                  <a:lnTo>
                    <a:pt x="61" y="26"/>
                  </a:lnTo>
                  <a:lnTo>
                    <a:pt x="61" y="29"/>
                  </a:lnTo>
                  <a:lnTo>
                    <a:pt x="64" y="29"/>
                  </a:lnTo>
                  <a:lnTo>
                    <a:pt x="64" y="31"/>
                  </a:lnTo>
                  <a:lnTo>
                    <a:pt x="66" y="31"/>
                  </a:lnTo>
                  <a:lnTo>
                    <a:pt x="64" y="34"/>
                  </a:lnTo>
                  <a:lnTo>
                    <a:pt x="66" y="34"/>
                  </a:lnTo>
                  <a:lnTo>
                    <a:pt x="64" y="34"/>
                  </a:lnTo>
                  <a:lnTo>
                    <a:pt x="66" y="34"/>
                  </a:lnTo>
                  <a:lnTo>
                    <a:pt x="64" y="36"/>
                  </a:lnTo>
                  <a:lnTo>
                    <a:pt x="64" y="38"/>
                  </a:lnTo>
                  <a:lnTo>
                    <a:pt x="64" y="41"/>
                  </a:lnTo>
                  <a:lnTo>
                    <a:pt x="61" y="41"/>
                  </a:lnTo>
                  <a:lnTo>
                    <a:pt x="64" y="41"/>
                  </a:lnTo>
                  <a:lnTo>
                    <a:pt x="64" y="38"/>
                  </a:lnTo>
                  <a:lnTo>
                    <a:pt x="64" y="36"/>
                  </a:lnTo>
                  <a:lnTo>
                    <a:pt x="66" y="36"/>
                  </a:lnTo>
                  <a:lnTo>
                    <a:pt x="66" y="34"/>
                  </a:lnTo>
                  <a:lnTo>
                    <a:pt x="66" y="31"/>
                  </a:lnTo>
                  <a:lnTo>
                    <a:pt x="69" y="31"/>
                  </a:lnTo>
                  <a:lnTo>
                    <a:pt x="69" y="34"/>
                  </a:lnTo>
                  <a:lnTo>
                    <a:pt x="69" y="36"/>
                  </a:lnTo>
                  <a:lnTo>
                    <a:pt x="71" y="36"/>
                  </a:lnTo>
                  <a:lnTo>
                    <a:pt x="71" y="34"/>
                  </a:lnTo>
                  <a:lnTo>
                    <a:pt x="71" y="36"/>
                  </a:lnTo>
                  <a:lnTo>
                    <a:pt x="71" y="38"/>
                  </a:lnTo>
                  <a:lnTo>
                    <a:pt x="69" y="38"/>
                  </a:lnTo>
                  <a:lnTo>
                    <a:pt x="69" y="41"/>
                  </a:lnTo>
                  <a:lnTo>
                    <a:pt x="66" y="41"/>
                  </a:lnTo>
                  <a:lnTo>
                    <a:pt x="66" y="43"/>
                  </a:lnTo>
                  <a:lnTo>
                    <a:pt x="66" y="41"/>
                  </a:lnTo>
                  <a:lnTo>
                    <a:pt x="69" y="41"/>
                  </a:lnTo>
                  <a:lnTo>
                    <a:pt x="71" y="41"/>
                  </a:lnTo>
                  <a:lnTo>
                    <a:pt x="71" y="38"/>
                  </a:lnTo>
                  <a:lnTo>
                    <a:pt x="71" y="36"/>
                  </a:lnTo>
                  <a:lnTo>
                    <a:pt x="73" y="36"/>
                  </a:lnTo>
                  <a:lnTo>
                    <a:pt x="73" y="34"/>
                  </a:lnTo>
                  <a:lnTo>
                    <a:pt x="71" y="34"/>
                  </a:lnTo>
                  <a:lnTo>
                    <a:pt x="71" y="31"/>
                  </a:lnTo>
                  <a:lnTo>
                    <a:pt x="71" y="29"/>
                  </a:lnTo>
                  <a:lnTo>
                    <a:pt x="69" y="29"/>
                  </a:lnTo>
                  <a:lnTo>
                    <a:pt x="71" y="29"/>
                  </a:lnTo>
                  <a:lnTo>
                    <a:pt x="69" y="29"/>
                  </a:lnTo>
                  <a:lnTo>
                    <a:pt x="69" y="26"/>
                  </a:lnTo>
                  <a:lnTo>
                    <a:pt x="71" y="26"/>
                  </a:lnTo>
                  <a:lnTo>
                    <a:pt x="71" y="24"/>
                  </a:lnTo>
                  <a:lnTo>
                    <a:pt x="71" y="26"/>
                  </a:lnTo>
                  <a:lnTo>
                    <a:pt x="69" y="26"/>
                  </a:lnTo>
                  <a:lnTo>
                    <a:pt x="66" y="26"/>
                  </a:lnTo>
                  <a:lnTo>
                    <a:pt x="66" y="24"/>
                  </a:lnTo>
                  <a:lnTo>
                    <a:pt x="64" y="24"/>
                  </a:lnTo>
                  <a:lnTo>
                    <a:pt x="61" y="24"/>
                  </a:lnTo>
                  <a:lnTo>
                    <a:pt x="61" y="22"/>
                  </a:lnTo>
                  <a:lnTo>
                    <a:pt x="59" y="22"/>
                  </a:lnTo>
                  <a:lnTo>
                    <a:pt x="57" y="22"/>
                  </a:lnTo>
                  <a:lnTo>
                    <a:pt x="54" y="22"/>
                  </a:lnTo>
                  <a:lnTo>
                    <a:pt x="54" y="19"/>
                  </a:lnTo>
                  <a:lnTo>
                    <a:pt x="52" y="19"/>
                  </a:lnTo>
                  <a:lnTo>
                    <a:pt x="52" y="17"/>
                  </a:lnTo>
                  <a:lnTo>
                    <a:pt x="54" y="17"/>
                  </a:lnTo>
                  <a:lnTo>
                    <a:pt x="57" y="15"/>
                  </a:lnTo>
                  <a:lnTo>
                    <a:pt x="59" y="15"/>
                  </a:lnTo>
                  <a:lnTo>
                    <a:pt x="61" y="17"/>
                  </a:lnTo>
                  <a:lnTo>
                    <a:pt x="64" y="17"/>
                  </a:lnTo>
                  <a:lnTo>
                    <a:pt x="66" y="17"/>
                  </a:lnTo>
                  <a:lnTo>
                    <a:pt x="69" y="17"/>
                  </a:lnTo>
                  <a:lnTo>
                    <a:pt x="69" y="15"/>
                  </a:lnTo>
                  <a:lnTo>
                    <a:pt x="71" y="17"/>
                  </a:lnTo>
                  <a:lnTo>
                    <a:pt x="71" y="15"/>
                  </a:lnTo>
                  <a:lnTo>
                    <a:pt x="73" y="15"/>
                  </a:lnTo>
                  <a:lnTo>
                    <a:pt x="71" y="15"/>
                  </a:lnTo>
                  <a:lnTo>
                    <a:pt x="69" y="15"/>
                  </a:lnTo>
                  <a:lnTo>
                    <a:pt x="66" y="15"/>
                  </a:lnTo>
                  <a:lnTo>
                    <a:pt x="69" y="15"/>
                  </a:lnTo>
                  <a:lnTo>
                    <a:pt x="69" y="12"/>
                  </a:lnTo>
                  <a:lnTo>
                    <a:pt x="66" y="12"/>
                  </a:lnTo>
                  <a:lnTo>
                    <a:pt x="66" y="15"/>
                  </a:lnTo>
                  <a:lnTo>
                    <a:pt x="64" y="15"/>
                  </a:lnTo>
                  <a:lnTo>
                    <a:pt x="61" y="15"/>
                  </a:lnTo>
                  <a:lnTo>
                    <a:pt x="61" y="12"/>
                  </a:lnTo>
                  <a:lnTo>
                    <a:pt x="61" y="10"/>
                  </a:lnTo>
                  <a:lnTo>
                    <a:pt x="64" y="10"/>
                  </a:lnTo>
                  <a:lnTo>
                    <a:pt x="61" y="10"/>
                  </a:lnTo>
                  <a:lnTo>
                    <a:pt x="61" y="12"/>
                  </a:lnTo>
                  <a:lnTo>
                    <a:pt x="59" y="12"/>
                  </a:lnTo>
                  <a:lnTo>
                    <a:pt x="57" y="12"/>
                  </a:lnTo>
                  <a:lnTo>
                    <a:pt x="57" y="10"/>
                  </a:lnTo>
                  <a:lnTo>
                    <a:pt x="59" y="10"/>
                  </a:lnTo>
                  <a:lnTo>
                    <a:pt x="57" y="10"/>
                  </a:lnTo>
                  <a:lnTo>
                    <a:pt x="57" y="12"/>
                  </a:lnTo>
                  <a:lnTo>
                    <a:pt x="54" y="12"/>
                  </a:lnTo>
                  <a:lnTo>
                    <a:pt x="52" y="12"/>
                  </a:lnTo>
                  <a:lnTo>
                    <a:pt x="52" y="15"/>
                  </a:lnTo>
                  <a:lnTo>
                    <a:pt x="52" y="12"/>
                  </a:lnTo>
                  <a:lnTo>
                    <a:pt x="52" y="15"/>
                  </a:lnTo>
                  <a:lnTo>
                    <a:pt x="52" y="12"/>
                  </a:lnTo>
                  <a:lnTo>
                    <a:pt x="50" y="15"/>
                  </a:lnTo>
                  <a:lnTo>
                    <a:pt x="50" y="12"/>
                  </a:lnTo>
                  <a:lnTo>
                    <a:pt x="47" y="12"/>
                  </a:lnTo>
                  <a:lnTo>
                    <a:pt x="45" y="10"/>
                  </a:lnTo>
                  <a:lnTo>
                    <a:pt x="47" y="10"/>
                  </a:lnTo>
                  <a:lnTo>
                    <a:pt x="50" y="10"/>
                  </a:lnTo>
                  <a:lnTo>
                    <a:pt x="50" y="7"/>
                  </a:lnTo>
                  <a:lnTo>
                    <a:pt x="47" y="7"/>
                  </a:lnTo>
                  <a:lnTo>
                    <a:pt x="47" y="5"/>
                  </a:lnTo>
                  <a:lnTo>
                    <a:pt x="50" y="5"/>
                  </a:lnTo>
                  <a:lnTo>
                    <a:pt x="50" y="7"/>
                  </a:lnTo>
                  <a:lnTo>
                    <a:pt x="52" y="7"/>
                  </a:lnTo>
                  <a:lnTo>
                    <a:pt x="50" y="7"/>
                  </a:lnTo>
                  <a:lnTo>
                    <a:pt x="50" y="5"/>
                  </a:lnTo>
                  <a:lnTo>
                    <a:pt x="52" y="5"/>
                  </a:lnTo>
                  <a:lnTo>
                    <a:pt x="54" y="5"/>
                  </a:lnTo>
                  <a:lnTo>
                    <a:pt x="54" y="7"/>
                  </a:lnTo>
                  <a:lnTo>
                    <a:pt x="57" y="7"/>
                  </a:lnTo>
                  <a:lnTo>
                    <a:pt x="57" y="5"/>
                  </a:lnTo>
                  <a:lnTo>
                    <a:pt x="54" y="5"/>
                  </a:lnTo>
                  <a:lnTo>
                    <a:pt x="52" y="5"/>
                  </a:lnTo>
                  <a:lnTo>
                    <a:pt x="52" y="3"/>
                  </a:lnTo>
                  <a:lnTo>
                    <a:pt x="54" y="3"/>
                  </a:lnTo>
                  <a:lnTo>
                    <a:pt x="57" y="5"/>
                  </a:lnTo>
                  <a:lnTo>
                    <a:pt x="59" y="5"/>
                  </a:lnTo>
                  <a:lnTo>
                    <a:pt x="61" y="7"/>
                  </a:lnTo>
                  <a:lnTo>
                    <a:pt x="64" y="7"/>
                  </a:lnTo>
                  <a:lnTo>
                    <a:pt x="64" y="5"/>
                  </a:lnTo>
                  <a:lnTo>
                    <a:pt x="64" y="3"/>
                  </a:lnTo>
                  <a:lnTo>
                    <a:pt x="66" y="3"/>
                  </a:lnTo>
                  <a:lnTo>
                    <a:pt x="66" y="5"/>
                  </a:lnTo>
                  <a:lnTo>
                    <a:pt x="69" y="5"/>
                  </a:lnTo>
                  <a:lnTo>
                    <a:pt x="69" y="7"/>
                  </a:lnTo>
                  <a:lnTo>
                    <a:pt x="69" y="5"/>
                  </a:lnTo>
                  <a:lnTo>
                    <a:pt x="69" y="3"/>
                  </a:lnTo>
                  <a:lnTo>
                    <a:pt x="71" y="5"/>
                  </a:lnTo>
                  <a:lnTo>
                    <a:pt x="71" y="7"/>
                  </a:lnTo>
                  <a:lnTo>
                    <a:pt x="73" y="7"/>
                  </a:lnTo>
                  <a:lnTo>
                    <a:pt x="73" y="10"/>
                  </a:lnTo>
                  <a:lnTo>
                    <a:pt x="76" y="10"/>
                  </a:lnTo>
                  <a:lnTo>
                    <a:pt x="76" y="12"/>
                  </a:lnTo>
                  <a:lnTo>
                    <a:pt x="78" y="10"/>
                  </a:lnTo>
                  <a:lnTo>
                    <a:pt x="78" y="12"/>
                  </a:lnTo>
                  <a:lnTo>
                    <a:pt x="76" y="12"/>
                  </a:lnTo>
                  <a:lnTo>
                    <a:pt x="78" y="12"/>
                  </a:lnTo>
                  <a:lnTo>
                    <a:pt x="78" y="15"/>
                  </a:lnTo>
                  <a:lnTo>
                    <a:pt x="76" y="15"/>
                  </a:lnTo>
                  <a:lnTo>
                    <a:pt x="78" y="15"/>
                  </a:lnTo>
                  <a:lnTo>
                    <a:pt x="80" y="15"/>
                  </a:lnTo>
                  <a:lnTo>
                    <a:pt x="78" y="17"/>
                  </a:lnTo>
                  <a:lnTo>
                    <a:pt x="80" y="17"/>
                  </a:lnTo>
                  <a:lnTo>
                    <a:pt x="80" y="15"/>
                  </a:lnTo>
                  <a:lnTo>
                    <a:pt x="83" y="15"/>
                  </a:lnTo>
                  <a:lnTo>
                    <a:pt x="80" y="15"/>
                  </a:lnTo>
                  <a:lnTo>
                    <a:pt x="83" y="17"/>
                  </a:lnTo>
                  <a:lnTo>
                    <a:pt x="83" y="15"/>
                  </a:lnTo>
                  <a:lnTo>
                    <a:pt x="85" y="15"/>
                  </a:lnTo>
                  <a:lnTo>
                    <a:pt x="85" y="17"/>
                  </a:lnTo>
                  <a:lnTo>
                    <a:pt x="88" y="17"/>
                  </a:lnTo>
                  <a:lnTo>
                    <a:pt x="85" y="17"/>
                  </a:lnTo>
                  <a:lnTo>
                    <a:pt x="85" y="19"/>
                  </a:lnTo>
                  <a:lnTo>
                    <a:pt x="88" y="17"/>
                  </a:lnTo>
                  <a:lnTo>
                    <a:pt x="88" y="19"/>
                  </a:lnTo>
                  <a:lnTo>
                    <a:pt x="90" y="19"/>
                  </a:lnTo>
                  <a:lnTo>
                    <a:pt x="92" y="19"/>
                  </a:lnTo>
                  <a:lnTo>
                    <a:pt x="92" y="22"/>
                  </a:lnTo>
                  <a:lnTo>
                    <a:pt x="95" y="22"/>
                  </a:lnTo>
                  <a:lnTo>
                    <a:pt x="92" y="22"/>
                  </a:lnTo>
                  <a:lnTo>
                    <a:pt x="92" y="24"/>
                  </a:lnTo>
                  <a:lnTo>
                    <a:pt x="95" y="24"/>
                  </a:lnTo>
                  <a:lnTo>
                    <a:pt x="92" y="24"/>
                  </a:lnTo>
                  <a:lnTo>
                    <a:pt x="92" y="26"/>
                  </a:lnTo>
                  <a:lnTo>
                    <a:pt x="95" y="26"/>
                  </a:lnTo>
                  <a:lnTo>
                    <a:pt x="97" y="26"/>
                  </a:lnTo>
                  <a:lnTo>
                    <a:pt x="97" y="29"/>
                  </a:lnTo>
                  <a:lnTo>
                    <a:pt x="95" y="29"/>
                  </a:lnTo>
                  <a:lnTo>
                    <a:pt x="97" y="29"/>
                  </a:lnTo>
                  <a:lnTo>
                    <a:pt x="97" y="26"/>
                  </a:lnTo>
                  <a:lnTo>
                    <a:pt x="99" y="26"/>
                  </a:lnTo>
                  <a:lnTo>
                    <a:pt x="102" y="26"/>
                  </a:lnTo>
                  <a:lnTo>
                    <a:pt x="102" y="29"/>
                  </a:lnTo>
                  <a:lnTo>
                    <a:pt x="99" y="29"/>
                  </a:lnTo>
                  <a:lnTo>
                    <a:pt x="99" y="26"/>
                  </a:lnTo>
                  <a:lnTo>
                    <a:pt x="99" y="29"/>
                  </a:lnTo>
                  <a:lnTo>
                    <a:pt x="102" y="29"/>
                  </a:lnTo>
                  <a:lnTo>
                    <a:pt x="104" y="29"/>
                  </a:lnTo>
                  <a:lnTo>
                    <a:pt x="107" y="29"/>
                  </a:lnTo>
                  <a:lnTo>
                    <a:pt x="107" y="31"/>
                  </a:lnTo>
                  <a:lnTo>
                    <a:pt x="104" y="31"/>
                  </a:lnTo>
                  <a:lnTo>
                    <a:pt x="102" y="31"/>
                  </a:lnTo>
                  <a:lnTo>
                    <a:pt x="99" y="31"/>
                  </a:lnTo>
                  <a:lnTo>
                    <a:pt x="97" y="34"/>
                  </a:lnTo>
                  <a:lnTo>
                    <a:pt x="99" y="34"/>
                  </a:lnTo>
                  <a:lnTo>
                    <a:pt x="102" y="34"/>
                  </a:lnTo>
                  <a:lnTo>
                    <a:pt x="104" y="31"/>
                  </a:lnTo>
                  <a:lnTo>
                    <a:pt x="104" y="34"/>
                  </a:lnTo>
                  <a:lnTo>
                    <a:pt x="102" y="34"/>
                  </a:lnTo>
                  <a:lnTo>
                    <a:pt x="104" y="34"/>
                  </a:lnTo>
                  <a:lnTo>
                    <a:pt x="107" y="34"/>
                  </a:lnTo>
                  <a:lnTo>
                    <a:pt x="109" y="34"/>
                  </a:lnTo>
                  <a:lnTo>
                    <a:pt x="109" y="36"/>
                  </a:lnTo>
                  <a:lnTo>
                    <a:pt x="107" y="38"/>
                  </a:lnTo>
                  <a:lnTo>
                    <a:pt x="109" y="38"/>
                  </a:lnTo>
                  <a:lnTo>
                    <a:pt x="107" y="38"/>
                  </a:lnTo>
                  <a:lnTo>
                    <a:pt x="109" y="41"/>
                  </a:lnTo>
                  <a:lnTo>
                    <a:pt x="107" y="41"/>
                  </a:lnTo>
                  <a:lnTo>
                    <a:pt x="104" y="43"/>
                  </a:lnTo>
                  <a:lnTo>
                    <a:pt x="102" y="43"/>
                  </a:lnTo>
                  <a:lnTo>
                    <a:pt x="104" y="43"/>
                  </a:lnTo>
                  <a:lnTo>
                    <a:pt x="104" y="46"/>
                  </a:lnTo>
                  <a:lnTo>
                    <a:pt x="107" y="46"/>
                  </a:lnTo>
                  <a:lnTo>
                    <a:pt x="104" y="46"/>
                  </a:lnTo>
                  <a:lnTo>
                    <a:pt x="104" y="48"/>
                  </a:lnTo>
                  <a:lnTo>
                    <a:pt x="102" y="48"/>
                  </a:lnTo>
                  <a:lnTo>
                    <a:pt x="104" y="48"/>
                  </a:lnTo>
                  <a:lnTo>
                    <a:pt x="102" y="48"/>
                  </a:lnTo>
                  <a:lnTo>
                    <a:pt x="99" y="48"/>
                  </a:lnTo>
                  <a:lnTo>
                    <a:pt x="97" y="48"/>
                  </a:lnTo>
                  <a:lnTo>
                    <a:pt x="97" y="46"/>
                  </a:lnTo>
                  <a:lnTo>
                    <a:pt x="95" y="46"/>
                  </a:lnTo>
                  <a:lnTo>
                    <a:pt x="95" y="43"/>
                  </a:lnTo>
                  <a:lnTo>
                    <a:pt x="92" y="43"/>
                  </a:lnTo>
                  <a:lnTo>
                    <a:pt x="95" y="46"/>
                  </a:lnTo>
                  <a:lnTo>
                    <a:pt x="95" y="48"/>
                  </a:lnTo>
                  <a:lnTo>
                    <a:pt x="95" y="50"/>
                  </a:lnTo>
                  <a:lnTo>
                    <a:pt x="97" y="50"/>
                  </a:lnTo>
                  <a:lnTo>
                    <a:pt x="99" y="50"/>
                  </a:lnTo>
                  <a:lnTo>
                    <a:pt x="102" y="50"/>
                  </a:lnTo>
                  <a:lnTo>
                    <a:pt x="104" y="50"/>
                  </a:lnTo>
                  <a:lnTo>
                    <a:pt x="104" y="53"/>
                  </a:lnTo>
                  <a:lnTo>
                    <a:pt x="102" y="53"/>
                  </a:lnTo>
                  <a:lnTo>
                    <a:pt x="102" y="55"/>
                  </a:lnTo>
                  <a:lnTo>
                    <a:pt x="104" y="55"/>
                  </a:lnTo>
                  <a:lnTo>
                    <a:pt x="104" y="53"/>
                  </a:lnTo>
                  <a:lnTo>
                    <a:pt x="107" y="53"/>
                  </a:lnTo>
                  <a:lnTo>
                    <a:pt x="107" y="55"/>
                  </a:lnTo>
                  <a:lnTo>
                    <a:pt x="107" y="57"/>
                  </a:lnTo>
                  <a:lnTo>
                    <a:pt x="104" y="60"/>
                  </a:lnTo>
                  <a:lnTo>
                    <a:pt x="102" y="60"/>
                  </a:lnTo>
                  <a:lnTo>
                    <a:pt x="102" y="62"/>
                  </a:lnTo>
                  <a:lnTo>
                    <a:pt x="104" y="62"/>
                  </a:lnTo>
                  <a:lnTo>
                    <a:pt x="107" y="60"/>
                  </a:lnTo>
                  <a:lnTo>
                    <a:pt x="109" y="60"/>
                  </a:lnTo>
                  <a:lnTo>
                    <a:pt x="109" y="62"/>
                  </a:lnTo>
                  <a:lnTo>
                    <a:pt x="111" y="62"/>
                  </a:lnTo>
                  <a:lnTo>
                    <a:pt x="109" y="62"/>
                  </a:lnTo>
                  <a:lnTo>
                    <a:pt x="111" y="62"/>
                  </a:lnTo>
                  <a:lnTo>
                    <a:pt x="111" y="65"/>
                  </a:lnTo>
                  <a:lnTo>
                    <a:pt x="111" y="67"/>
                  </a:lnTo>
                  <a:lnTo>
                    <a:pt x="111" y="69"/>
                  </a:lnTo>
                  <a:lnTo>
                    <a:pt x="111" y="72"/>
                  </a:lnTo>
                  <a:lnTo>
                    <a:pt x="114" y="72"/>
                  </a:lnTo>
                  <a:lnTo>
                    <a:pt x="114" y="74"/>
                  </a:lnTo>
                  <a:lnTo>
                    <a:pt x="114" y="76"/>
                  </a:lnTo>
                  <a:lnTo>
                    <a:pt x="114" y="79"/>
                  </a:lnTo>
                  <a:lnTo>
                    <a:pt x="116" y="79"/>
                  </a:lnTo>
                  <a:lnTo>
                    <a:pt x="114" y="79"/>
                  </a:lnTo>
                  <a:lnTo>
                    <a:pt x="116" y="79"/>
                  </a:lnTo>
                  <a:lnTo>
                    <a:pt x="116" y="76"/>
                  </a:lnTo>
                  <a:lnTo>
                    <a:pt x="114" y="74"/>
                  </a:lnTo>
                  <a:lnTo>
                    <a:pt x="114" y="72"/>
                  </a:lnTo>
                  <a:lnTo>
                    <a:pt x="114" y="69"/>
                  </a:lnTo>
                  <a:lnTo>
                    <a:pt x="116" y="69"/>
                  </a:lnTo>
                  <a:lnTo>
                    <a:pt x="116" y="67"/>
                  </a:lnTo>
                  <a:lnTo>
                    <a:pt x="114" y="67"/>
                  </a:lnTo>
                  <a:lnTo>
                    <a:pt x="116" y="67"/>
                  </a:lnTo>
                  <a:lnTo>
                    <a:pt x="114" y="67"/>
                  </a:lnTo>
                  <a:lnTo>
                    <a:pt x="114" y="65"/>
                  </a:lnTo>
                  <a:lnTo>
                    <a:pt x="114" y="62"/>
                  </a:lnTo>
                  <a:lnTo>
                    <a:pt x="116" y="62"/>
                  </a:lnTo>
                  <a:lnTo>
                    <a:pt x="116" y="65"/>
                  </a:lnTo>
                  <a:lnTo>
                    <a:pt x="118" y="65"/>
                  </a:lnTo>
                  <a:lnTo>
                    <a:pt x="118" y="67"/>
                  </a:lnTo>
                  <a:lnTo>
                    <a:pt x="121" y="67"/>
                  </a:lnTo>
                  <a:lnTo>
                    <a:pt x="118" y="65"/>
                  </a:lnTo>
                  <a:lnTo>
                    <a:pt x="118" y="62"/>
                  </a:lnTo>
                  <a:lnTo>
                    <a:pt x="118" y="60"/>
                  </a:lnTo>
                  <a:lnTo>
                    <a:pt x="118" y="57"/>
                  </a:lnTo>
                  <a:lnTo>
                    <a:pt x="118" y="55"/>
                  </a:lnTo>
                  <a:lnTo>
                    <a:pt x="121" y="53"/>
                  </a:lnTo>
                  <a:lnTo>
                    <a:pt x="123" y="53"/>
                  </a:lnTo>
                  <a:lnTo>
                    <a:pt x="123" y="50"/>
                  </a:lnTo>
                  <a:lnTo>
                    <a:pt x="125" y="50"/>
                  </a:lnTo>
                  <a:lnTo>
                    <a:pt x="125" y="48"/>
                  </a:lnTo>
                  <a:lnTo>
                    <a:pt x="128" y="48"/>
                  </a:lnTo>
                  <a:lnTo>
                    <a:pt x="130" y="48"/>
                  </a:lnTo>
                  <a:lnTo>
                    <a:pt x="130" y="50"/>
                  </a:lnTo>
                  <a:lnTo>
                    <a:pt x="130" y="53"/>
                  </a:lnTo>
                  <a:lnTo>
                    <a:pt x="128" y="55"/>
                  </a:lnTo>
                  <a:lnTo>
                    <a:pt x="128" y="57"/>
                  </a:lnTo>
                  <a:lnTo>
                    <a:pt x="130" y="57"/>
                  </a:lnTo>
                  <a:lnTo>
                    <a:pt x="130" y="55"/>
                  </a:lnTo>
                  <a:lnTo>
                    <a:pt x="133" y="55"/>
                  </a:lnTo>
                  <a:lnTo>
                    <a:pt x="130" y="55"/>
                  </a:lnTo>
                  <a:lnTo>
                    <a:pt x="130" y="57"/>
                  </a:lnTo>
                  <a:lnTo>
                    <a:pt x="133" y="57"/>
                  </a:lnTo>
                  <a:lnTo>
                    <a:pt x="133" y="60"/>
                  </a:lnTo>
                  <a:lnTo>
                    <a:pt x="135" y="60"/>
                  </a:lnTo>
                  <a:lnTo>
                    <a:pt x="135" y="57"/>
                  </a:lnTo>
                  <a:lnTo>
                    <a:pt x="137" y="57"/>
                  </a:lnTo>
                  <a:lnTo>
                    <a:pt x="135" y="55"/>
                  </a:lnTo>
                  <a:lnTo>
                    <a:pt x="133" y="55"/>
                  </a:lnTo>
                  <a:lnTo>
                    <a:pt x="135" y="55"/>
                  </a:lnTo>
                  <a:lnTo>
                    <a:pt x="133" y="55"/>
                  </a:lnTo>
                  <a:lnTo>
                    <a:pt x="133" y="53"/>
                  </a:lnTo>
                  <a:lnTo>
                    <a:pt x="133" y="55"/>
                  </a:lnTo>
                  <a:lnTo>
                    <a:pt x="135" y="55"/>
                  </a:lnTo>
                  <a:lnTo>
                    <a:pt x="135" y="53"/>
                  </a:lnTo>
                  <a:lnTo>
                    <a:pt x="133" y="53"/>
                  </a:lnTo>
                  <a:lnTo>
                    <a:pt x="135" y="53"/>
                  </a:lnTo>
                  <a:lnTo>
                    <a:pt x="137" y="53"/>
                  </a:lnTo>
                  <a:lnTo>
                    <a:pt x="137" y="55"/>
                  </a:lnTo>
                  <a:lnTo>
                    <a:pt x="137" y="53"/>
                  </a:lnTo>
                  <a:lnTo>
                    <a:pt x="137" y="55"/>
                  </a:lnTo>
                  <a:lnTo>
                    <a:pt x="137" y="53"/>
                  </a:lnTo>
                  <a:lnTo>
                    <a:pt x="140" y="53"/>
                  </a:lnTo>
                  <a:lnTo>
                    <a:pt x="140" y="50"/>
                  </a:lnTo>
                  <a:lnTo>
                    <a:pt x="140" y="48"/>
                  </a:lnTo>
                  <a:lnTo>
                    <a:pt x="142" y="48"/>
                  </a:lnTo>
                  <a:lnTo>
                    <a:pt x="142" y="46"/>
                  </a:lnTo>
                  <a:lnTo>
                    <a:pt x="142" y="43"/>
                  </a:lnTo>
                  <a:lnTo>
                    <a:pt x="140" y="43"/>
                  </a:lnTo>
                  <a:lnTo>
                    <a:pt x="142" y="43"/>
                  </a:lnTo>
                  <a:lnTo>
                    <a:pt x="140" y="43"/>
                  </a:lnTo>
                  <a:lnTo>
                    <a:pt x="142" y="43"/>
                  </a:lnTo>
                  <a:lnTo>
                    <a:pt x="140" y="43"/>
                  </a:lnTo>
                  <a:lnTo>
                    <a:pt x="140" y="41"/>
                  </a:lnTo>
                  <a:lnTo>
                    <a:pt x="140" y="38"/>
                  </a:lnTo>
                  <a:lnTo>
                    <a:pt x="140" y="36"/>
                  </a:lnTo>
                  <a:lnTo>
                    <a:pt x="137" y="36"/>
                  </a:lnTo>
                  <a:lnTo>
                    <a:pt x="137" y="34"/>
                  </a:lnTo>
                  <a:lnTo>
                    <a:pt x="137" y="31"/>
                  </a:lnTo>
                  <a:lnTo>
                    <a:pt x="137" y="29"/>
                  </a:lnTo>
                  <a:lnTo>
                    <a:pt x="135" y="29"/>
                  </a:lnTo>
                  <a:lnTo>
                    <a:pt x="137" y="29"/>
                  </a:lnTo>
                  <a:lnTo>
                    <a:pt x="137" y="26"/>
                  </a:lnTo>
                  <a:lnTo>
                    <a:pt x="137" y="24"/>
                  </a:lnTo>
                  <a:lnTo>
                    <a:pt x="137" y="26"/>
                  </a:lnTo>
                  <a:lnTo>
                    <a:pt x="137" y="24"/>
                  </a:lnTo>
                  <a:lnTo>
                    <a:pt x="137" y="26"/>
                  </a:lnTo>
                  <a:lnTo>
                    <a:pt x="140" y="26"/>
                  </a:lnTo>
                  <a:lnTo>
                    <a:pt x="137" y="26"/>
                  </a:lnTo>
                  <a:lnTo>
                    <a:pt x="140" y="26"/>
                  </a:lnTo>
                  <a:lnTo>
                    <a:pt x="140" y="24"/>
                  </a:lnTo>
                  <a:lnTo>
                    <a:pt x="142" y="24"/>
                  </a:lnTo>
                  <a:lnTo>
                    <a:pt x="144" y="24"/>
                  </a:lnTo>
                  <a:lnTo>
                    <a:pt x="147" y="24"/>
                  </a:lnTo>
                  <a:lnTo>
                    <a:pt x="147" y="26"/>
                  </a:lnTo>
                  <a:lnTo>
                    <a:pt x="149" y="26"/>
                  </a:lnTo>
                  <a:lnTo>
                    <a:pt x="149" y="29"/>
                  </a:lnTo>
                  <a:lnTo>
                    <a:pt x="152" y="29"/>
                  </a:lnTo>
                  <a:lnTo>
                    <a:pt x="152" y="31"/>
                  </a:lnTo>
                  <a:lnTo>
                    <a:pt x="154" y="31"/>
                  </a:lnTo>
                  <a:lnTo>
                    <a:pt x="152" y="31"/>
                  </a:lnTo>
                  <a:lnTo>
                    <a:pt x="152" y="34"/>
                  </a:lnTo>
                  <a:lnTo>
                    <a:pt x="154" y="34"/>
                  </a:lnTo>
                  <a:lnTo>
                    <a:pt x="154" y="36"/>
                  </a:lnTo>
                  <a:lnTo>
                    <a:pt x="156" y="36"/>
                  </a:lnTo>
                  <a:lnTo>
                    <a:pt x="159" y="36"/>
                  </a:lnTo>
                  <a:lnTo>
                    <a:pt x="159" y="38"/>
                  </a:lnTo>
                  <a:lnTo>
                    <a:pt x="161" y="38"/>
                  </a:lnTo>
                  <a:lnTo>
                    <a:pt x="161" y="41"/>
                  </a:lnTo>
                  <a:lnTo>
                    <a:pt x="161" y="43"/>
                  </a:lnTo>
                  <a:lnTo>
                    <a:pt x="161" y="46"/>
                  </a:lnTo>
                  <a:lnTo>
                    <a:pt x="163" y="46"/>
                  </a:lnTo>
                  <a:lnTo>
                    <a:pt x="166" y="46"/>
                  </a:lnTo>
                  <a:lnTo>
                    <a:pt x="166" y="43"/>
                  </a:lnTo>
                  <a:lnTo>
                    <a:pt x="166" y="46"/>
                  </a:lnTo>
                  <a:lnTo>
                    <a:pt x="168" y="46"/>
                  </a:lnTo>
                  <a:lnTo>
                    <a:pt x="171" y="46"/>
                  </a:lnTo>
                  <a:lnTo>
                    <a:pt x="171" y="43"/>
                  </a:lnTo>
                  <a:lnTo>
                    <a:pt x="171" y="41"/>
                  </a:lnTo>
                  <a:lnTo>
                    <a:pt x="171" y="38"/>
                  </a:lnTo>
                  <a:lnTo>
                    <a:pt x="171" y="36"/>
                  </a:lnTo>
                  <a:lnTo>
                    <a:pt x="168" y="36"/>
                  </a:lnTo>
                  <a:lnTo>
                    <a:pt x="168" y="34"/>
                  </a:lnTo>
                  <a:lnTo>
                    <a:pt x="171" y="34"/>
                  </a:lnTo>
                  <a:lnTo>
                    <a:pt x="171" y="31"/>
                  </a:lnTo>
                  <a:lnTo>
                    <a:pt x="168" y="31"/>
                  </a:lnTo>
                  <a:lnTo>
                    <a:pt x="171" y="31"/>
                  </a:lnTo>
                  <a:lnTo>
                    <a:pt x="171" y="29"/>
                  </a:lnTo>
                  <a:lnTo>
                    <a:pt x="168" y="29"/>
                  </a:lnTo>
                  <a:lnTo>
                    <a:pt x="168" y="26"/>
                  </a:lnTo>
                  <a:lnTo>
                    <a:pt x="171" y="26"/>
                  </a:lnTo>
                  <a:lnTo>
                    <a:pt x="173" y="26"/>
                  </a:lnTo>
                  <a:lnTo>
                    <a:pt x="175" y="26"/>
                  </a:lnTo>
                  <a:lnTo>
                    <a:pt x="178" y="26"/>
                  </a:lnTo>
                  <a:lnTo>
                    <a:pt x="180" y="26"/>
                  </a:lnTo>
                  <a:lnTo>
                    <a:pt x="178" y="26"/>
                  </a:lnTo>
                  <a:lnTo>
                    <a:pt x="180" y="26"/>
                  </a:lnTo>
                  <a:lnTo>
                    <a:pt x="180" y="24"/>
                  </a:lnTo>
                  <a:lnTo>
                    <a:pt x="180" y="22"/>
                  </a:lnTo>
                  <a:lnTo>
                    <a:pt x="182" y="22"/>
                  </a:lnTo>
                  <a:lnTo>
                    <a:pt x="182" y="19"/>
                  </a:lnTo>
                  <a:lnTo>
                    <a:pt x="185" y="19"/>
                  </a:lnTo>
                  <a:lnTo>
                    <a:pt x="187" y="19"/>
                  </a:lnTo>
                  <a:lnTo>
                    <a:pt x="187" y="22"/>
                  </a:lnTo>
                  <a:lnTo>
                    <a:pt x="185" y="22"/>
                  </a:lnTo>
                  <a:lnTo>
                    <a:pt x="187" y="22"/>
                  </a:lnTo>
                  <a:lnTo>
                    <a:pt x="187" y="19"/>
                  </a:lnTo>
                  <a:lnTo>
                    <a:pt x="190" y="19"/>
                  </a:lnTo>
                  <a:lnTo>
                    <a:pt x="187" y="19"/>
                  </a:lnTo>
                  <a:lnTo>
                    <a:pt x="190" y="19"/>
                  </a:lnTo>
                  <a:lnTo>
                    <a:pt x="192" y="19"/>
                  </a:lnTo>
                  <a:lnTo>
                    <a:pt x="192" y="22"/>
                  </a:lnTo>
                  <a:lnTo>
                    <a:pt x="190" y="22"/>
                  </a:lnTo>
                  <a:lnTo>
                    <a:pt x="192" y="22"/>
                  </a:lnTo>
                  <a:lnTo>
                    <a:pt x="194" y="22"/>
                  </a:lnTo>
                  <a:lnTo>
                    <a:pt x="197" y="24"/>
                  </a:lnTo>
                  <a:lnTo>
                    <a:pt x="194" y="24"/>
                  </a:lnTo>
                  <a:lnTo>
                    <a:pt x="194" y="26"/>
                  </a:lnTo>
                  <a:lnTo>
                    <a:pt x="192" y="29"/>
                  </a:lnTo>
                  <a:lnTo>
                    <a:pt x="194" y="29"/>
                  </a:lnTo>
                  <a:lnTo>
                    <a:pt x="194" y="26"/>
                  </a:lnTo>
                  <a:lnTo>
                    <a:pt x="197" y="26"/>
                  </a:lnTo>
                  <a:lnTo>
                    <a:pt x="197" y="24"/>
                  </a:lnTo>
                  <a:lnTo>
                    <a:pt x="199" y="26"/>
                  </a:lnTo>
                  <a:lnTo>
                    <a:pt x="199" y="29"/>
                  </a:lnTo>
                  <a:lnTo>
                    <a:pt x="199" y="31"/>
                  </a:lnTo>
                  <a:lnTo>
                    <a:pt x="199" y="34"/>
                  </a:lnTo>
                  <a:lnTo>
                    <a:pt x="201" y="31"/>
                  </a:lnTo>
                  <a:lnTo>
                    <a:pt x="201" y="34"/>
                  </a:lnTo>
                  <a:lnTo>
                    <a:pt x="204" y="34"/>
                  </a:lnTo>
                  <a:lnTo>
                    <a:pt x="206" y="34"/>
                  </a:lnTo>
                  <a:lnTo>
                    <a:pt x="206" y="36"/>
                  </a:lnTo>
                  <a:lnTo>
                    <a:pt x="209" y="36"/>
                  </a:lnTo>
                  <a:lnTo>
                    <a:pt x="209" y="38"/>
                  </a:lnTo>
                  <a:lnTo>
                    <a:pt x="211" y="38"/>
                  </a:lnTo>
                  <a:lnTo>
                    <a:pt x="211" y="41"/>
                  </a:lnTo>
                  <a:lnTo>
                    <a:pt x="211" y="43"/>
                  </a:lnTo>
                  <a:lnTo>
                    <a:pt x="211" y="46"/>
                  </a:lnTo>
                  <a:lnTo>
                    <a:pt x="213" y="48"/>
                  </a:lnTo>
                  <a:lnTo>
                    <a:pt x="213" y="50"/>
                  </a:lnTo>
                  <a:lnTo>
                    <a:pt x="216" y="50"/>
                  </a:lnTo>
                  <a:lnTo>
                    <a:pt x="216" y="48"/>
                  </a:lnTo>
                  <a:lnTo>
                    <a:pt x="213" y="46"/>
                  </a:lnTo>
                  <a:lnTo>
                    <a:pt x="213" y="43"/>
                  </a:lnTo>
                  <a:lnTo>
                    <a:pt x="213" y="41"/>
                  </a:lnTo>
                  <a:lnTo>
                    <a:pt x="213" y="38"/>
                  </a:lnTo>
                  <a:lnTo>
                    <a:pt x="213" y="36"/>
                  </a:lnTo>
                  <a:lnTo>
                    <a:pt x="211" y="36"/>
                  </a:lnTo>
                  <a:lnTo>
                    <a:pt x="209" y="36"/>
                  </a:lnTo>
                  <a:lnTo>
                    <a:pt x="209" y="34"/>
                  </a:lnTo>
                  <a:lnTo>
                    <a:pt x="211" y="34"/>
                  </a:lnTo>
                  <a:lnTo>
                    <a:pt x="209" y="31"/>
                  </a:lnTo>
                  <a:lnTo>
                    <a:pt x="209" y="29"/>
                  </a:lnTo>
                  <a:lnTo>
                    <a:pt x="206" y="29"/>
                  </a:lnTo>
                  <a:lnTo>
                    <a:pt x="206" y="26"/>
                  </a:lnTo>
                  <a:lnTo>
                    <a:pt x="206" y="24"/>
                  </a:lnTo>
                  <a:lnTo>
                    <a:pt x="206" y="22"/>
                  </a:lnTo>
                  <a:lnTo>
                    <a:pt x="209" y="19"/>
                  </a:lnTo>
                  <a:lnTo>
                    <a:pt x="209" y="22"/>
                  </a:lnTo>
                  <a:lnTo>
                    <a:pt x="211" y="22"/>
                  </a:lnTo>
                  <a:lnTo>
                    <a:pt x="213" y="22"/>
                  </a:lnTo>
                  <a:lnTo>
                    <a:pt x="216" y="22"/>
                  </a:lnTo>
                  <a:lnTo>
                    <a:pt x="218" y="22"/>
                  </a:lnTo>
                  <a:lnTo>
                    <a:pt x="220" y="22"/>
                  </a:lnTo>
                  <a:lnTo>
                    <a:pt x="220" y="24"/>
                  </a:lnTo>
                  <a:lnTo>
                    <a:pt x="223" y="24"/>
                  </a:lnTo>
                  <a:lnTo>
                    <a:pt x="223" y="26"/>
                  </a:lnTo>
                  <a:lnTo>
                    <a:pt x="225" y="26"/>
                  </a:lnTo>
                  <a:lnTo>
                    <a:pt x="225" y="29"/>
                  </a:lnTo>
                  <a:lnTo>
                    <a:pt x="228" y="29"/>
                  </a:lnTo>
                  <a:lnTo>
                    <a:pt x="228" y="31"/>
                  </a:lnTo>
                  <a:lnTo>
                    <a:pt x="230" y="31"/>
                  </a:lnTo>
                  <a:lnTo>
                    <a:pt x="230" y="34"/>
                  </a:lnTo>
                  <a:lnTo>
                    <a:pt x="230" y="31"/>
                  </a:lnTo>
                  <a:lnTo>
                    <a:pt x="232" y="31"/>
                  </a:lnTo>
                  <a:lnTo>
                    <a:pt x="235" y="31"/>
                  </a:lnTo>
                  <a:lnTo>
                    <a:pt x="237" y="31"/>
                  </a:lnTo>
                  <a:lnTo>
                    <a:pt x="237" y="29"/>
                  </a:lnTo>
                  <a:lnTo>
                    <a:pt x="237" y="26"/>
                  </a:lnTo>
                  <a:lnTo>
                    <a:pt x="237" y="29"/>
                  </a:lnTo>
                  <a:lnTo>
                    <a:pt x="237" y="26"/>
                  </a:lnTo>
                  <a:lnTo>
                    <a:pt x="237" y="24"/>
                  </a:lnTo>
                  <a:lnTo>
                    <a:pt x="239" y="24"/>
                  </a:lnTo>
                  <a:lnTo>
                    <a:pt x="242" y="24"/>
                  </a:lnTo>
                  <a:lnTo>
                    <a:pt x="239" y="24"/>
                  </a:lnTo>
                  <a:lnTo>
                    <a:pt x="242" y="22"/>
                  </a:lnTo>
                  <a:lnTo>
                    <a:pt x="239" y="22"/>
                  </a:lnTo>
                  <a:lnTo>
                    <a:pt x="242" y="22"/>
                  </a:lnTo>
                  <a:lnTo>
                    <a:pt x="242" y="19"/>
                  </a:lnTo>
                  <a:lnTo>
                    <a:pt x="244" y="19"/>
                  </a:lnTo>
                  <a:lnTo>
                    <a:pt x="247" y="19"/>
                  </a:lnTo>
                  <a:lnTo>
                    <a:pt x="249" y="19"/>
                  </a:lnTo>
                  <a:lnTo>
                    <a:pt x="249" y="22"/>
                  </a:lnTo>
                  <a:lnTo>
                    <a:pt x="251" y="22"/>
                  </a:lnTo>
                  <a:lnTo>
                    <a:pt x="251" y="24"/>
                  </a:lnTo>
                  <a:lnTo>
                    <a:pt x="254" y="24"/>
                  </a:lnTo>
                  <a:lnTo>
                    <a:pt x="256" y="22"/>
                  </a:lnTo>
                  <a:lnTo>
                    <a:pt x="256" y="24"/>
                  </a:lnTo>
                  <a:lnTo>
                    <a:pt x="258" y="24"/>
                  </a:lnTo>
                  <a:lnTo>
                    <a:pt x="258" y="22"/>
                  </a:lnTo>
                  <a:lnTo>
                    <a:pt x="261" y="24"/>
                  </a:lnTo>
                  <a:lnTo>
                    <a:pt x="261" y="26"/>
                  </a:lnTo>
                  <a:lnTo>
                    <a:pt x="263" y="26"/>
                  </a:lnTo>
                  <a:lnTo>
                    <a:pt x="263" y="24"/>
                  </a:lnTo>
                  <a:lnTo>
                    <a:pt x="261" y="24"/>
                  </a:lnTo>
                  <a:lnTo>
                    <a:pt x="261" y="22"/>
                  </a:lnTo>
                  <a:lnTo>
                    <a:pt x="263" y="22"/>
                  </a:lnTo>
                  <a:lnTo>
                    <a:pt x="263" y="19"/>
                  </a:lnTo>
                  <a:lnTo>
                    <a:pt x="265" y="19"/>
                  </a:lnTo>
                  <a:lnTo>
                    <a:pt x="268" y="17"/>
                  </a:lnTo>
                  <a:lnTo>
                    <a:pt x="268" y="15"/>
                  </a:lnTo>
                  <a:lnTo>
                    <a:pt x="268" y="12"/>
                  </a:lnTo>
                  <a:lnTo>
                    <a:pt x="265" y="12"/>
                  </a:lnTo>
                  <a:lnTo>
                    <a:pt x="268" y="12"/>
                  </a:lnTo>
                  <a:lnTo>
                    <a:pt x="265" y="12"/>
                  </a:lnTo>
                  <a:lnTo>
                    <a:pt x="265" y="10"/>
                  </a:lnTo>
                  <a:lnTo>
                    <a:pt x="265" y="7"/>
                  </a:lnTo>
                  <a:lnTo>
                    <a:pt x="265" y="5"/>
                  </a:lnTo>
                  <a:lnTo>
                    <a:pt x="263" y="5"/>
                  </a:lnTo>
                  <a:lnTo>
                    <a:pt x="265" y="5"/>
                  </a:lnTo>
                  <a:lnTo>
                    <a:pt x="263" y="3"/>
                  </a:lnTo>
                  <a:lnTo>
                    <a:pt x="263" y="0"/>
                  </a:lnTo>
                  <a:lnTo>
                    <a:pt x="265" y="3"/>
                  </a:lnTo>
                  <a:lnTo>
                    <a:pt x="265" y="0"/>
                  </a:lnTo>
                  <a:lnTo>
                    <a:pt x="268" y="0"/>
                  </a:lnTo>
                  <a:lnTo>
                    <a:pt x="268" y="3"/>
                  </a:lnTo>
                  <a:lnTo>
                    <a:pt x="268" y="0"/>
                  </a:lnTo>
                  <a:lnTo>
                    <a:pt x="270" y="0"/>
                  </a:lnTo>
                  <a:lnTo>
                    <a:pt x="270" y="3"/>
                  </a:lnTo>
                  <a:lnTo>
                    <a:pt x="273" y="3"/>
                  </a:lnTo>
                  <a:lnTo>
                    <a:pt x="275" y="3"/>
                  </a:lnTo>
                  <a:lnTo>
                    <a:pt x="273" y="3"/>
                  </a:lnTo>
                  <a:lnTo>
                    <a:pt x="275" y="3"/>
                  </a:lnTo>
                  <a:lnTo>
                    <a:pt x="275" y="0"/>
                  </a:lnTo>
                  <a:lnTo>
                    <a:pt x="273" y="0"/>
                  </a:lnTo>
                  <a:lnTo>
                    <a:pt x="275" y="0"/>
                  </a:lnTo>
                  <a:lnTo>
                    <a:pt x="275" y="3"/>
                  </a:lnTo>
                  <a:lnTo>
                    <a:pt x="275" y="0"/>
                  </a:lnTo>
                  <a:lnTo>
                    <a:pt x="277" y="0"/>
                  </a:lnTo>
                  <a:lnTo>
                    <a:pt x="280" y="0"/>
                  </a:lnTo>
                  <a:lnTo>
                    <a:pt x="282" y="0"/>
                  </a:lnTo>
                  <a:lnTo>
                    <a:pt x="280" y="0"/>
                  </a:lnTo>
                  <a:lnTo>
                    <a:pt x="280" y="3"/>
                  </a:lnTo>
                  <a:lnTo>
                    <a:pt x="282" y="3"/>
                  </a:lnTo>
                  <a:lnTo>
                    <a:pt x="282" y="0"/>
                  </a:lnTo>
                  <a:lnTo>
                    <a:pt x="284" y="0"/>
                  </a:lnTo>
                  <a:lnTo>
                    <a:pt x="284" y="3"/>
                  </a:lnTo>
                  <a:lnTo>
                    <a:pt x="282" y="3"/>
                  </a:lnTo>
                  <a:lnTo>
                    <a:pt x="284" y="3"/>
                  </a:lnTo>
                  <a:lnTo>
                    <a:pt x="287" y="3"/>
                  </a:lnTo>
                  <a:lnTo>
                    <a:pt x="284" y="3"/>
                  </a:lnTo>
                  <a:lnTo>
                    <a:pt x="284" y="5"/>
                  </a:lnTo>
                  <a:lnTo>
                    <a:pt x="284" y="7"/>
                  </a:lnTo>
                  <a:lnTo>
                    <a:pt x="284" y="5"/>
                  </a:lnTo>
                  <a:lnTo>
                    <a:pt x="287" y="5"/>
                  </a:lnTo>
                  <a:lnTo>
                    <a:pt x="287" y="7"/>
                  </a:lnTo>
                  <a:lnTo>
                    <a:pt x="287" y="5"/>
                  </a:lnTo>
                  <a:lnTo>
                    <a:pt x="287" y="7"/>
                  </a:lnTo>
                  <a:lnTo>
                    <a:pt x="289" y="7"/>
                  </a:lnTo>
                  <a:lnTo>
                    <a:pt x="292" y="7"/>
                  </a:lnTo>
                  <a:lnTo>
                    <a:pt x="292" y="10"/>
                  </a:lnTo>
                  <a:lnTo>
                    <a:pt x="294" y="10"/>
                  </a:lnTo>
                  <a:lnTo>
                    <a:pt x="292" y="12"/>
                  </a:lnTo>
                  <a:lnTo>
                    <a:pt x="292" y="15"/>
                  </a:lnTo>
                  <a:lnTo>
                    <a:pt x="289" y="15"/>
                  </a:lnTo>
                  <a:lnTo>
                    <a:pt x="292" y="15"/>
                  </a:lnTo>
                  <a:lnTo>
                    <a:pt x="292" y="17"/>
                  </a:lnTo>
                  <a:lnTo>
                    <a:pt x="294" y="17"/>
                  </a:lnTo>
                  <a:lnTo>
                    <a:pt x="296" y="17"/>
                  </a:lnTo>
                  <a:lnTo>
                    <a:pt x="296" y="19"/>
                  </a:lnTo>
                  <a:lnTo>
                    <a:pt x="299" y="17"/>
                  </a:lnTo>
                  <a:lnTo>
                    <a:pt x="299" y="19"/>
                  </a:lnTo>
                  <a:lnTo>
                    <a:pt x="301" y="19"/>
                  </a:lnTo>
                  <a:lnTo>
                    <a:pt x="301" y="22"/>
                  </a:lnTo>
                  <a:lnTo>
                    <a:pt x="303" y="22"/>
                  </a:lnTo>
                  <a:lnTo>
                    <a:pt x="301" y="22"/>
                  </a:lnTo>
                  <a:lnTo>
                    <a:pt x="303" y="22"/>
                  </a:lnTo>
                  <a:lnTo>
                    <a:pt x="303" y="19"/>
                  </a:lnTo>
                  <a:lnTo>
                    <a:pt x="303" y="17"/>
                  </a:lnTo>
                  <a:lnTo>
                    <a:pt x="303" y="15"/>
                  </a:lnTo>
                  <a:lnTo>
                    <a:pt x="306" y="15"/>
                  </a:lnTo>
                  <a:lnTo>
                    <a:pt x="306" y="17"/>
                  </a:lnTo>
                  <a:lnTo>
                    <a:pt x="308" y="17"/>
                  </a:lnTo>
                  <a:lnTo>
                    <a:pt x="311" y="15"/>
                  </a:lnTo>
                  <a:lnTo>
                    <a:pt x="313" y="15"/>
                  </a:lnTo>
                  <a:lnTo>
                    <a:pt x="311" y="15"/>
                  </a:lnTo>
                  <a:lnTo>
                    <a:pt x="313" y="15"/>
                  </a:lnTo>
                  <a:lnTo>
                    <a:pt x="313" y="12"/>
                  </a:lnTo>
                  <a:lnTo>
                    <a:pt x="315" y="12"/>
                  </a:lnTo>
                  <a:lnTo>
                    <a:pt x="315" y="10"/>
                  </a:lnTo>
                  <a:lnTo>
                    <a:pt x="318" y="10"/>
                  </a:lnTo>
                  <a:lnTo>
                    <a:pt x="320" y="10"/>
                  </a:lnTo>
                  <a:lnTo>
                    <a:pt x="320" y="7"/>
                  </a:lnTo>
                  <a:lnTo>
                    <a:pt x="320" y="10"/>
                  </a:lnTo>
                  <a:lnTo>
                    <a:pt x="322" y="10"/>
                  </a:lnTo>
                  <a:lnTo>
                    <a:pt x="325" y="10"/>
                  </a:lnTo>
                  <a:lnTo>
                    <a:pt x="327" y="10"/>
                  </a:lnTo>
                  <a:lnTo>
                    <a:pt x="330" y="10"/>
                  </a:lnTo>
                  <a:lnTo>
                    <a:pt x="327" y="10"/>
                  </a:lnTo>
                  <a:lnTo>
                    <a:pt x="325" y="10"/>
                  </a:lnTo>
                  <a:lnTo>
                    <a:pt x="322" y="12"/>
                  </a:lnTo>
                  <a:lnTo>
                    <a:pt x="320" y="12"/>
                  </a:lnTo>
                  <a:lnTo>
                    <a:pt x="318" y="15"/>
                  </a:lnTo>
                  <a:lnTo>
                    <a:pt x="315" y="15"/>
                  </a:lnTo>
                  <a:lnTo>
                    <a:pt x="315" y="17"/>
                  </a:lnTo>
                  <a:lnTo>
                    <a:pt x="318" y="17"/>
                  </a:lnTo>
                  <a:lnTo>
                    <a:pt x="318" y="19"/>
                  </a:lnTo>
                  <a:lnTo>
                    <a:pt x="315" y="19"/>
                  </a:lnTo>
                  <a:lnTo>
                    <a:pt x="315" y="22"/>
                  </a:lnTo>
                  <a:lnTo>
                    <a:pt x="313" y="22"/>
                  </a:lnTo>
                  <a:lnTo>
                    <a:pt x="311" y="22"/>
                  </a:lnTo>
                  <a:lnTo>
                    <a:pt x="311" y="24"/>
                  </a:lnTo>
                  <a:lnTo>
                    <a:pt x="308" y="24"/>
                  </a:lnTo>
                  <a:lnTo>
                    <a:pt x="311" y="24"/>
                  </a:lnTo>
                  <a:lnTo>
                    <a:pt x="313" y="24"/>
                  </a:lnTo>
                  <a:lnTo>
                    <a:pt x="313" y="26"/>
                  </a:lnTo>
                  <a:lnTo>
                    <a:pt x="313" y="29"/>
                  </a:lnTo>
                  <a:lnTo>
                    <a:pt x="315" y="29"/>
                  </a:lnTo>
                  <a:lnTo>
                    <a:pt x="318" y="29"/>
                  </a:lnTo>
                  <a:lnTo>
                    <a:pt x="320" y="29"/>
                  </a:lnTo>
                  <a:lnTo>
                    <a:pt x="322" y="29"/>
                  </a:lnTo>
                  <a:lnTo>
                    <a:pt x="322" y="26"/>
                  </a:lnTo>
                  <a:lnTo>
                    <a:pt x="325" y="26"/>
                  </a:lnTo>
                  <a:lnTo>
                    <a:pt x="325" y="29"/>
                  </a:lnTo>
                  <a:lnTo>
                    <a:pt x="327" y="29"/>
                  </a:lnTo>
                  <a:lnTo>
                    <a:pt x="327" y="31"/>
                  </a:lnTo>
                  <a:lnTo>
                    <a:pt x="327" y="34"/>
                  </a:lnTo>
                  <a:lnTo>
                    <a:pt x="327" y="36"/>
                  </a:lnTo>
                  <a:lnTo>
                    <a:pt x="325" y="38"/>
                  </a:lnTo>
                  <a:lnTo>
                    <a:pt x="322" y="38"/>
                  </a:lnTo>
                  <a:lnTo>
                    <a:pt x="322" y="41"/>
                  </a:lnTo>
                  <a:lnTo>
                    <a:pt x="320" y="41"/>
                  </a:lnTo>
                  <a:lnTo>
                    <a:pt x="320" y="43"/>
                  </a:lnTo>
                  <a:lnTo>
                    <a:pt x="322" y="43"/>
                  </a:lnTo>
                  <a:lnTo>
                    <a:pt x="320" y="43"/>
                  </a:lnTo>
                  <a:lnTo>
                    <a:pt x="318" y="43"/>
                  </a:lnTo>
                  <a:lnTo>
                    <a:pt x="318" y="46"/>
                  </a:lnTo>
                  <a:lnTo>
                    <a:pt x="320" y="46"/>
                  </a:lnTo>
                  <a:lnTo>
                    <a:pt x="318" y="46"/>
                  </a:lnTo>
                  <a:lnTo>
                    <a:pt x="320" y="46"/>
                  </a:lnTo>
                  <a:lnTo>
                    <a:pt x="320" y="43"/>
                  </a:lnTo>
                  <a:lnTo>
                    <a:pt x="322" y="43"/>
                  </a:lnTo>
                  <a:lnTo>
                    <a:pt x="320" y="43"/>
                  </a:lnTo>
                  <a:lnTo>
                    <a:pt x="320" y="46"/>
                  </a:lnTo>
                  <a:lnTo>
                    <a:pt x="322" y="46"/>
                  </a:lnTo>
                  <a:lnTo>
                    <a:pt x="325" y="46"/>
                  </a:lnTo>
                  <a:lnTo>
                    <a:pt x="325" y="43"/>
                  </a:lnTo>
                  <a:lnTo>
                    <a:pt x="325" y="46"/>
                  </a:lnTo>
                  <a:lnTo>
                    <a:pt x="327" y="46"/>
                  </a:lnTo>
                  <a:lnTo>
                    <a:pt x="327" y="43"/>
                  </a:lnTo>
                  <a:lnTo>
                    <a:pt x="330" y="43"/>
                  </a:lnTo>
                  <a:lnTo>
                    <a:pt x="332" y="43"/>
                  </a:lnTo>
                  <a:lnTo>
                    <a:pt x="334" y="43"/>
                  </a:lnTo>
                  <a:lnTo>
                    <a:pt x="337" y="43"/>
                  </a:lnTo>
                  <a:lnTo>
                    <a:pt x="337" y="46"/>
                  </a:lnTo>
                  <a:lnTo>
                    <a:pt x="334" y="46"/>
                  </a:lnTo>
                  <a:lnTo>
                    <a:pt x="337" y="48"/>
                  </a:lnTo>
                  <a:lnTo>
                    <a:pt x="337" y="50"/>
                  </a:lnTo>
                  <a:lnTo>
                    <a:pt x="334" y="53"/>
                  </a:lnTo>
                  <a:lnTo>
                    <a:pt x="332" y="53"/>
                  </a:lnTo>
                  <a:lnTo>
                    <a:pt x="332" y="55"/>
                  </a:lnTo>
                  <a:lnTo>
                    <a:pt x="332" y="57"/>
                  </a:lnTo>
                  <a:lnTo>
                    <a:pt x="330" y="57"/>
                  </a:lnTo>
                  <a:lnTo>
                    <a:pt x="330" y="60"/>
                  </a:lnTo>
                  <a:lnTo>
                    <a:pt x="330" y="62"/>
                  </a:lnTo>
                  <a:lnTo>
                    <a:pt x="330" y="60"/>
                  </a:lnTo>
                  <a:lnTo>
                    <a:pt x="330" y="57"/>
                  </a:lnTo>
                  <a:lnTo>
                    <a:pt x="332" y="57"/>
                  </a:lnTo>
                  <a:lnTo>
                    <a:pt x="332" y="55"/>
                  </a:lnTo>
                  <a:lnTo>
                    <a:pt x="334" y="55"/>
                  </a:lnTo>
                  <a:lnTo>
                    <a:pt x="334" y="53"/>
                  </a:lnTo>
                  <a:lnTo>
                    <a:pt x="337" y="53"/>
                  </a:lnTo>
                  <a:lnTo>
                    <a:pt x="337" y="50"/>
                  </a:lnTo>
                  <a:lnTo>
                    <a:pt x="339" y="50"/>
                  </a:lnTo>
                  <a:lnTo>
                    <a:pt x="341" y="50"/>
                  </a:lnTo>
                  <a:lnTo>
                    <a:pt x="341" y="53"/>
                  </a:lnTo>
                  <a:lnTo>
                    <a:pt x="339" y="53"/>
                  </a:lnTo>
                  <a:lnTo>
                    <a:pt x="341" y="53"/>
                  </a:lnTo>
                  <a:lnTo>
                    <a:pt x="339" y="53"/>
                  </a:lnTo>
                  <a:lnTo>
                    <a:pt x="339" y="55"/>
                  </a:lnTo>
                  <a:lnTo>
                    <a:pt x="337" y="55"/>
                  </a:lnTo>
                  <a:lnTo>
                    <a:pt x="337" y="57"/>
                  </a:lnTo>
                  <a:lnTo>
                    <a:pt x="337" y="60"/>
                  </a:lnTo>
                  <a:lnTo>
                    <a:pt x="334" y="60"/>
                  </a:lnTo>
                  <a:lnTo>
                    <a:pt x="337" y="62"/>
                  </a:lnTo>
                  <a:lnTo>
                    <a:pt x="334" y="62"/>
                  </a:lnTo>
                  <a:lnTo>
                    <a:pt x="337" y="62"/>
                  </a:lnTo>
                  <a:lnTo>
                    <a:pt x="334" y="62"/>
                  </a:lnTo>
                  <a:lnTo>
                    <a:pt x="334" y="65"/>
                  </a:lnTo>
                  <a:lnTo>
                    <a:pt x="334" y="67"/>
                  </a:lnTo>
                  <a:lnTo>
                    <a:pt x="334" y="69"/>
                  </a:lnTo>
                  <a:lnTo>
                    <a:pt x="334" y="72"/>
                  </a:lnTo>
                  <a:lnTo>
                    <a:pt x="332" y="72"/>
                  </a:lnTo>
                  <a:lnTo>
                    <a:pt x="332" y="74"/>
                  </a:lnTo>
                  <a:lnTo>
                    <a:pt x="330" y="74"/>
                  </a:lnTo>
                  <a:lnTo>
                    <a:pt x="330" y="76"/>
                  </a:lnTo>
                  <a:lnTo>
                    <a:pt x="327" y="76"/>
                  </a:lnTo>
                  <a:lnTo>
                    <a:pt x="325" y="76"/>
                  </a:lnTo>
                  <a:lnTo>
                    <a:pt x="325" y="79"/>
                  </a:lnTo>
                  <a:lnTo>
                    <a:pt x="322" y="79"/>
                  </a:lnTo>
                  <a:lnTo>
                    <a:pt x="322" y="81"/>
                  </a:lnTo>
                  <a:lnTo>
                    <a:pt x="320" y="81"/>
                  </a:lnTo>
                  <a:lnTo>
                    <a:pt x="320" y="84"/>
                  </a:lnTo>
                  <a:lnTo>
                    <a:pt x="318" y="84"/>
                  </a:lnTo>
                  <a:lnTo>
                    <a:pt x="318" y="86"/>
                  </a:lnTo>
                  <a:lnTo>
                    <a:pt x="315" y="86"/>
                  </a:lnTo>
                  <a:lnTo>
                    <a:pt x="318" y="86"/>
                  </a:lnTo>
                  <a:lnTo>
                    <a:pt x="318" y="84"/>
                  </a:lnTo>
                  <a:lnTo>
                    <a:pt x="320" y="84"/>
                  </a:lnTo>
                  <a:lnTo>
                    <a:pt x="322" y="84"/>
                  </a:lnTo>
                  <a:lnTo>
                    <a:pt x="322" y="81"/>
                  </a:lnTo>
                  <a:lnTo>
                    <a:pt x="325" y="81"/>
                  </a:lnTo>
                  <a:lnTo>
                    <a:pt x="325" y="79"/>
                  </a:lnTo>
                  <a:lnTo>
                    <a:pt x="327" y="79"/>
                  </a:lnTo>
                  <a:lnTo>
                    <a:pt x="327" y="76"/>
                  </a:lnTo>
                  <a:lnTo>
                    <a:pt x="330" y="76"/>
                  </a:lnTo>
                  <a:lnTo>
                    <a:pt x="330" y="74"/>
                  </a:lnTo>
                  <a:lnTo>
                    <a:pt x="332" y="74"/>
                  </a:lnTo>
                  <a:lnTo>
                    <a:pt x="332" y="72"/>
                  </a:lnTo>
                  <a:lnTo>
                    <a:pt x="334" y="72"/>
                  </a:lnTo>
                  <a:lnTo>
                    <a:pt x="334" y="69"/>
                  </a:lnTo>
                  <a:lnTo>
                    <a:pt x="334" y="67"/>
                  </a:lnTo>
                  <a:lnTo>
                    <a:pt x="337" y="67"/>
                  </a:lnTo>
                  <a:lnTo>
                    <a:pt x="334" y="67"/>
                  </a:lnTo>
                  <a:lnTo>
                    <a:pt x="337" y="65"/>
                  </a:lnTo>
                  <a:lnTo>
                    <a:pt x="337" y="62"/>
                  </a:lnTo>
                  <a:lnTo>
                    <a:pt x="337" y="60"/>
                  </a:lnTo>
                  <a:lnTo>
                    <a:pt x="337" y="57"/>
                  </a:lnTo>
                  <a:lnTo>
                    <a:pt x="337" y="55"/>
                  </a:lnTo>
                  <a:lnTo>
                    <a:pt x="339" y="55"/>
                  </a:lnTo>
                  <a:lnTo>
                    <a:pt x="339" y="53"/>
                  </a:lnTo>
                  <a:lnTo>
                    <a:pt x="341" y="53"/>
                  </a:lnTo>
                  <a:lnTo>
                    <a:pt x="339" y="53"/>
                  </a:lnTo>
                  <a:lnTo>
                    <a:pt x="341" y="53"/>
                  </a:lnTo>
                  <a:lnTo>
                    <a:pt x="344" y="53"/>
                  </a:lnTo>
                  <a:lnTo>
                    <a:pt x="346" y="53"/>
                  </a:lnTo>
                  <a:lnTo>
                    <a:pt x="346" y="55"/>
                  </a:lnTo>
                  <a:lnTo>
                    <a:pt x="349" y="55"/>
                  </a:lnTo>
                  <a:lnTo>
                    <a:pt x="349" y="53"/>
                  </a:lnTo>
                  <a:lnTo>
                    <a:pt x="351" y="53"/>
                  </a:lnTo>
                  <a:lnTo>
                    <a:pt x="353" y="53"/>
                  </a:lnTo>
                  <a:lnTo>
                    <a:pt x="353" y="55"/>
                  </a:lnTo>
                  <a:lnTo>
                    <a:pt x="351" y="55"/>
                  </a:lnTo>
                  <a:lnTo>
                    <a:pt x="353" y="55"/>
                  </a:lnTo>
                  <a:lnTo>
                    <a:pt x="353" y="57"/>
                  </a:lnTo>
                  <a:lnTo>
                    <a:pt x="356" y="57"/>
                  </a:lnTo>
                  <a:lnTo>
                    <a:pt x="356" y="55"/>
                  </a:lnTo>
                  <a:lnTo>
                    <a:pt x="358" y="55"/>
                  </a:lnTo>
                  <a:lnTo>
                    <a:pt x="358" y="57"/>
                  </a:lnTo>
                  <a:lnTo>
                    <a:pt x="360" y="57"/>
                  </a:lnTo>
                  <a:lnTo>
                    <a:pt x="360" y="60"/>
                  </a:lnTo>
                  <a:lnTo>
                    <a:pt x="360" y="62"/>
                  </a:lnTo>
                  <a:lnTo>
                    <a:pt x="360" y="65"/>
                  </a:lnTo>
                  <a:lnTo>
                    <a:pt x="358" y="65"/>
                  </a:lnTo>
                  <a:lnTo>
                    <a:pt x="360" y="65"/>
                  </a:lnTo>
                  <a:lnTo>
                    <a:pt x="358" y="65"/>
                  </a:lnTo>
                  <a:lnTo>
                    <a:pt x="358" y="67"/>
                  </a:lnTo>
                  <a:lnTo>
                    <a:pt x="356" y="67"/>
                  </a:lnTo>
                  <a:lnTo>
                    <a:pt x="353" y="67"/>
                  </a:lnTo>
                  <a:lnTo>
                    <a:pt x="356" y="67"/>
                  </a:lnTo>
                  <a:lnTo>
                    <a:pt x="358" y="67"/>
                  </a:lnTo>
                  <a:lnTo>
                    <a:pt x="358" y="69"/>
                  </a:lnTo>
                  <a:lnTo>
                    <a:pt x="356" y="69"/>
                  </a:lnTo>
                  <a:lnTo>
                    <a:pt x="353" y="69"/>
                  </a:lnTo>
                  <a:lnTo>
                    <a:pt x="351" y="69"/>
                  </a:lnTo>
                  <a:lnTo>
                    <a:pt x="351" y="72"/>
                  </a:lnTo>
                  <a:lnTo>
                    <a:pt x="349" y="72"/>
                  </a:lnTo>
                  <a:lnTo>
                    <a:pt x="351" y="72"/>
                  </a:lnTo>
                  <a:lnTo>
                    <a:pt x="353" y="72"/>
                  </a:lnTo>
                  <a:lnTo>
                    <a:pt x="353" y="69"/>
                  </a:lnTo>
                  <a:lnTo>
                    <a:pt x="356" y="72"/>
                  </a:lnTo>
                  <a:lnTo>
                    <a:pt x="358" y="72"/>
                  </a:lnTo>
                  <a:lnTo>
                    <a:pt x="358" y="69"/>
                  </a:lnTo>
                  <a:lnTo>
                    <a:pt x="360" y="72"/>
                  </a:lnTo>
                  <a:lnTo>
                    <a:pt x="363" y="72"/>
                  </a:lnTo>
                  <a:lnTo>
                    <a:pt x="360" y="72"/>
                  </a:lnTo>
                  <a:lnTo>
                    <a:pt x="360" y="74"/>
                  </a:lnTo>
                  <a:lnTo>
                    <a:pt x="358" y="74"/>
                  </a:lnTo>
                  <a:lnTo>
                    <a:pt x="356" y="76"/>
                  </a:lnTo>
                  <a:lnTo>
                    <a:pt x="353" y="76"/>
                  </a:lnTo>
                  <a:lnTo>
                    <a:pt x="351" y="74"/>
                  </a:lnTo>
                  <a:lnTo>
                    <a:pt x="351" y="76"/>
                  </a:lnTo>
                  <a:lnTo>
                    <a:pt x="349" y="76"/>
                  </a:lnTo>
                  <a:lnTo>
                    <a:pt x="351" y="76"/>
                  </a:lnTo>
                  <a:lnTo>
                    <a:pt x="353" y="76"/>
                  </a:lnTo>
                  <a:lnTo>
                    <a:pt x="356" y="76"/>
                  </a:lnTo>
                  <a:lnTo>
                    <a:pt x="358" y="76"/>
                  </a:lnTo>
                  <a:lnTo>
                    <a:pt x="360" y="76"/>
                  </a:lnTo>
                  <a:lnTo>
                    <a:pt x="360" y="79"/>
                  </a:lnTo>
                  <a:lnTo>
                    <a:pt x="358" y="79"/>
                  </a:lnTo>
                  <a:lnTo>
                    <a:pt x="356" y="79"/>
                  </a:lnTo>
                  <a:lnTo>
                    <a:pt x="358" y="79"/>
                  </a:lnTo>
                  <a:lnTo>
                    <a:pt x="360" y="79"/>
                  </a:lnTo>
                  <a:lnTo>
                    <a:pt x="358" y="81"/>
                  </a:lnTo>
                  <a:lnTo>
                    <a:pt x="360" y="81"/>
                  </a:lnTo>
                  <a:lnTo>
                    <a:pt x="363" y="79"/>
                  </a:lnTo>
                  <a:lnTo>
                    <a:pt x="363" y="76"/>
                  </a:lnTo>
                  <a:lnTo>
                    <a:pt x="365" y="76"/>
                  </a:lnTo>
                  <a:lnTo>
                    <a:pt x="365" y="79"/>
                  </a:lnTo>
                  <a:lnTo>
                    <a:pt x="363" y="79"/>
                  </a:lnTo>
                  <a:lnTo>
                    <a:pt x="363" y="81"/>
                  </a:lnTo>
                  <a:lnTo>
                    <a:pt x="365" y="81"/>
                  </a:lnTo>
                  <a:lnTo>
                    <a:pt x="365" y="84"/>
                  </a:lnTo>
                  <a:lnTo>
                    <a:pt x="363" y="84"/>
                  </a:lnTo>
                  <a:lnTo>
                    <a:pt x="363" y="86"/>
                  </a:lnTo>
                  <a:lnTo>
                    <a:pt x="360" y="84"/>
                  </a:lnTo>
                  <a:lnTo>
                    <a:pt x="360" y="86"/>
                  </a:lnTo>
                  <a:lnTo>
                    <a:pt x="360" y="88"/>
                  </a:lnTo>
                  <a:lnTo>
                    <a:pt x="358" y="88"/>
                  </a:lnTo>
                  <a:lnTo>
                    <a:pt x="356" y="88"/>
                  </a:lnTo>
                  <a:lnTo>
                    <a:pt x="356" y="86"/>
                  </a:lnTo>
                  <a:lnTo>
                    <a:pt x="353" y="86"/>
                  </a:lnTo>
                  <a:lnTo>
                    <a:pt x="351" y="84"/>
                  </a:lnTo>
                  <a:lnTo>
                    <a:pt x="349" y="84"/>
                  </a:lnTo>
                  <a:lnTo>
                    <a:pt x="346" y="84"/>
                  </a:lnTo>
                  <a:lnTo>
                    <a:pt x="349" y="84"/>
                  </a:lnTo>
                  <a:lnTo>
                    <a:pt x="346" y="84"/>
                  </a:lnTo>
                  <a:lnTo>
                    <a:pt x="344" y="86"/>
                  </a:lnTo>
                  <a:lnTo>
                    <a:pt x="341" y="86"/>
                  </a:lnTo>
                  <a:lnTo>
                    <a:pt x="339" y="86"/>
                  </a:lnTo>
                  <a:lnTo>
                    <a:pt x="341" y="86"/>
                  </a:lnTo>
                  <a:lnTo>
                    <a:pt x="344" y="86"/>
                  </a:lnTo>
                  <a:lnTo>
                    <a:pt x="346" y="86"/>
                  </a:lnTo>
                  <a:lnTo>
                    <a:pt x="349" y="86"/>
                  </a:lnTo>
                  <a:lnTo>
                    <a:pt x="351" y="86"/>
                  </a:lnTo>
                  <a:lnTo>
                    <a:pt x="351" y="88"/>
                  </a:lnTo>
                  <a:lnTo>
                    <a:pt x="353" y="88"/>
                  </a:lnTo>
                  <a:lnTo>
                    <a:pt x="351" y="88"/>
                  </a:lnTo>
                  <a:lnTo>
                    <a:pt x="353" y="88"/>
                  </a:lnTo>
                  <a:lnTo>
                    <a:pt x="356" y="91"/>
                  </a:lnTo>
                  <a:lnTo>
                    <a:pt x="358" y="91"/>
                  </a:lnTo>
                  <a:lnTo>
                    <a:pt x="356" y="91"/>
                  </a:lnTo>
                  <a:lnTo>
                    <a:pt x="356" y="93"/>
                  </a:lnTo>
                  <a:lnTo>
                    <a:pt x="356" y="91"/>
                  </a:lnTo>
                  <a:lnTo>
                    <a:pt x="356" y="93"/>
                  </a:lnTo>
                  <a:lnTo>
                    <a:pt x="356" y="91"/>
                  </a:lnTo>
                  <a:lnTo>
                    <a:pt x="353" y="91"/>
                  </a:lnTo>
                  <a:lnTo>
                    <a:pt x="351" y="91"/>
                  </a:lnTo>
                  <a:lnTo>
                    <a:pt x="349" y="91"/>
                  </a:lnTo>
                  <a:lnTo>
                    <a:pt x="346" y="91"/>
                  </a:lnTo>
                  <a:lnTo>
                    <a:pt x="349" y="93"/>
                  </a:lnTo>
                  <a:lnTo>
                    <a:pt x="351" y="93"/>
                  </a:lnTo>
                  <a:lnTo>
                    <a:pt x="353" y="93"/>
                  </a:lnTo>
                  <a:lnTo>
                    <a:pt x="356" y="93"/>
                  </a:lnTo>
                  <a:lnTo>
                    <a:pt x="356" y="95"/>
                  </a:lnTo>
                  <a:lnTo>
                    <a:pt x="353" y="95"/>
                  </a:lnTo>
                  <a:lnTo>
                    <a:pt x="353" y="98"/>
                  </a:lnTo>
                  <a:lnTo>
                    <a:pt x="353" y="95"/>
                  </a:lnTo>
                  <a:lnTo>
                    <a:pt x="351" y="95"/>
                  </a:lnTo>
                  <a:lnTo>
                    <a:pt x="349" y="95"/>
                  </a:lnTo>
                  <a:lnTo>
                    <a:pt x="351" y="98"/>
                  </a:lnTo>
                  <a:lnTo>
                    <a:pt x="353" y="98"/>
                  </a:lnTo>
                  <a:lnTo>
                    <a:pt x="351" y="98"/>
                  </a:lnTo>
                  <a:lnTo>
                    <a:pt x="349" y="98"/>
                  </a:lnTo>
                  <a:lnTo>
                    <a:pt x="346" y="98"/>
                  </a:lnTo>
                  <a:lnTo>
                    <a:pt x="346" y="100"/>
                  </a:lnTo>
                  <a:lnTo>
                    <a:pt x="349" y="100"/>
                  </a:lnTo>
                  <a:lnTo>
                    <a:pt x="349" y="103"/>
                  </a:lnTo>
                  <a:lnTo>
                    <a:pt x="346" y="103"/>
                  </a:lnTo>
                  <a:lnTo>
                    <a:pt x="344" y="103"/>
                  </a:lnTo>
                  <a:lnTo>
                    <a:pt x="341" y="105"/>
                  </a:lnTo>
                  <a:lnTo>
                    <a:pt x="339" y="105"/>
                  </a:lnTo>
                  <a:lnTo>
                    <a:pt x="339" y="103"/>
                  </a:lnTo>
                  <a:lnTo>
                    <a:pt x="337" y="103"/>
                  </a:lnTo>
                  <a:lnTo>
                    <a:pt x="337" y="100"/>
                  </a:lnTo>
                  <a:lnTo>
                    <a:pt x="334" y="100"/>
                  </a:lnTo>
                  <a:lnTo>
                    <a:pt x="334" y="98"/>
                  </a:lnTo>
                  <a:lnTo>
                    <a:pt x="332" y="98"/>
                  </a:lnTo>
                  <a:lnTo>
                    <a:pt x="332" y="100"/>
                  </a:lnTo>
                  <a:lnTo>
                    <a:pt x="334" y="100"/>
                  </a:lnTo>
                  <a:lnTo>
                    <a:pt x="334" y="103"/>
                  </a:lnTo>
                  <a:lnTo>
                    <a:pt x="337" y="105"/>
                  </a:lnTo>
                  <a:lnTo>
                    <a:pt x="339" y="105"/>
                  </a:lnTo>
                  <a:lnTo>
                    <a:pt x="339" y="107"/>
                  </a:lnTo>
                  <a:lnTo>
                    <a:pt x="337" y="107"/>
                  </a:lnTo>
                  <a:lnTo>
                    <a:pt x="337" y="105"/>
                  </a:lnTo>
                  <a:lnTo>
                    <a:pt x="337" y="107"/>
                  </a:lnTo>
                  <a:lnTo>
                    <a:pt x="334" y="105"/>
                  </a:lnTo>
                  <a:lnTo>
                    <a:pt x="332" y="105"/>
                  </a:lnTo>
                  <a:lnTo>
                    <a:pt x="332" y="107"/>
                  </a:lnTo>
                  <a:lnTo>
                    <a:pt x="334" y="107"/>
                  </a:lnTo>
                  <a:lnTo>
                    <a:pt x="334" y="110"/>
                  </a:lnTo>
                  <a:lnTo>
                    <a:pt x="332" y="110"/>
                  </a:lnTo>
                  <a:lnTo>
                    <a:pt x="330" y="110"/>
                  </a:lnTo>
                  <a:lnTo>
                    <a:pt x="330" y="112"/>
                  </a:lnTo>
                  <a:lnTo>
                    <a:pt x="332" y="112"/>
                  </a:lnTo>
                  <a:lnTo>
                    <a:pt x="332" y="114"/>
                  </a:lnTo>
                  <a:lnTo>
                    <a:pt x="332" y="117"/>
                  </a:lnTo>
                  <a:lnTo>
                    <a:pt x="332" y="119"/>
                  </a:lnTo>
                  <a:lnTo>
                    <a:pt x="330" y="119"/>
                  </a:lnTo>
                  <a:lnTo>
                    <a:pt x="327" y="119"/>
                  </a:lnTo>
                  <a:lnTo>
                    <a:pt x="325" y="119"/>
                  </a:lnTo>
                  <a:lnTo>
                    <a:pt x="327" y="119"/>
                  </a:lnTo>
                  <a:lnTo>
                    <a:pt x="325" y="119"/>
                  </a:lnTo>
                  <a:lnTo>
                    <a:pt x="325" y="122"/>
                  </a:lnTo>
                  <a:lnTo>
                    <a:pt x="322" y="122"/>
                  </a:lnTo>
                  <a:lnTo>
                    <a:pt x="320" y="122"/>
                  </a:lnTo>
                  <a:lnTo>
                    <a:pt x="320" y="124"/>
                  </a:lnTo>
                  <a:lnTo>
                    <a:pt x="318" y="124"/>
                  </a:lnTo>
                  <a:lnTo>
                    <a:pt x="315" y="126"/>
                  </a:lnTo>
                  <a:lnTo>
                    <a:pt x="318" y="126"/>
                  </a:lnTo>
                  <a:lnTo>
                    <a:pt x="318" y="129"/>
                  </a:lnTo>
                  <a:lnTo>
                    <a:pt x="315" y="129"/>
                  </a:lnTo>
                  <a:lnTo>
                    <a:pt x="318" y="129"/>
                  </a:lnTo>
                  <a:lnTo>
                    <a:pt x="315" y="129"/>
                  </a:lnTo>
                  <a:lnTo>
                    <a:pt x="311" y="129"/>
                  </a:lnTo>
                  <a:lnTo>
                    <a:pt x="308" y="129"/>
                  </a:lnTo>
                  <a:lnTo>
                    <a:pt x="311" y="129"/>
                  </a:lnTo>
                  <a:lnTo>
                    <a:pt x="313" y="129"/>
                  </a:lnTo>
                  <a:lnTo>
                    <a:pt x="315" y="129"/>
                  </a:lnTo>
                  <a:lnTo>
                    <a:pt x="313" y="129"/>
                  </a:lnTo>
                  <a:lnTo>
                    <a:pt x="313" y="126"/>
                  </a:lnTo>
                  <a:lnTo>
                    <a:pt x="311" y="126"/>
                  </a:lnTo>
                  <a:lnTo>
                    <a:pt x="308" y="126"/>
                  </a:lnTo>
                  <a:lnTo>
                    <a:pt x="308" y="129"/>
                  </a:lnTo>
                  <a:lnTo>
                    <a:pt x="308" y="126"/>
                  </a:lnTo>
                  <a:lnTo>
                    <a:pt x="306" y="126"/>
                  </a:lnTo>
                  <a:lnTo>
                    <a:pt x="303" y="126"/>
                  </a:lnTo>
                  <a:lnTo>
                    <a:pt x="303" y="124"/>
                  </a:lnTo>
                  <a:lnTo>
                    <a:pt x="303" y="122"/>
                  </a:lnTo>
                  <a:lnTo>
                    <a:pt x="303" y="119"/>
                  </a:lnTo>
                  <a:lnTo>
                    <a:pt x="301" y="119"/>
                  </a:lnTo>
                  <a:lnTo>
                    <a:pt x="303" y="119"/>
                  </a:lnTo>
                  <a:lnTo>
                    <a:pt x="303" y="122"/>
                  </a:lnTo>
                  <a:lnTo>
                    <a:pt x="303" y="124"/>
                  </a:lnTo>
                  <a:lnTo>
                    <a:pt x="303" y="126"/>
                  </a:lnTo>
                  <a:lnTo>
                    <a:pt x="303" y="129"/>
                  </a:lnTo>
                  <a:lnTo>
                    <a:pt x="303" y="126"/>
                  </a:lnTo>
                  <a:lnTo>
                    <a:pt x="301" y="126"/>
                  </a:lnTo>
                  <a:lnTo>
                    <a:pt x="301" y="129"/>
                  </a:lnTo>
                  <a:lnTo>
                    <a:pt x="301" y="126"/>
                  </a:lnTo>
                  <a:lnTo>
                    <a:pt x="301" y="129"/>
                  </a:lnTo>
                  <a:lnTo>
                    <a:pt x="299" y="129"/>
                  </a:lnTo>
                  <a:lnTo>
                    <a:pt x="301" y="129"/>
                  </a:lnTo>
                  <a:lnTo>
                    <a:pt x="303" y="129"/>
                  </a:lnTo>
                  <a:lnTo>
                    <a:pt x="306" y="129"/>
                  </a:lnTo>
                  <a:lnTo>
                    <a:pt x="308" y="129"/>
                  </a:lnTo>
                  <a:lnTo>
                    <a:pt x="306" y="129"/>
                  </a:lnTo>
                  <a:lnTo>
                    <a:pt x="301" y="129"/>
                  </a:lnTo>
                  <a:lnTo>
                    <a:pt x="299" y="129"/>
                  </a:lnTo>
                  <a:lnTo>
                    <a:pt x="299" y="131"/>
                  </a:lnTo>
                  <a:lnTo>
                    <a:pt x="296" y="131"/>
                  </a:lnTo>
                  <a:lnTo>
                    <a:pt x="294" y="131"/>
                  </a:lnTo>
                  <a:lnTo>
                    <a:pt x="292" y="131"/>
                  </a:lnTo>
                  <a:lnTo>
                    <a:pt x="292" y="133"/>
                  </a:lnTo>
                  <a:lnTo>
                    <a:pt x="287" y="133"/>
                  </a:lnTo>
                  <a:lnTo>
                    <a:pt x="284" y="133"/>
                  </a:lnTo>
                  <a:lnTo>
                    <a:pt x="284" y="136"/>
                  </a:lnTo>
                  <a:lnTo>
                    <a:pt x="282" y="136"/>
                  </a:lnTo>
                  <a:lnTo>
                    <a:pt x="280" y="138"/>
                  </a:lnTo>
                  <a:lnTo>
                    <a:pt x="277" y="138"/>
                  </a:lnTo>
                  <a:lnTo>
                    <a:pt x="275" y="141"/>
                  </a:lnTo>
                  <a:lnTo>
                    <a:pt x="273" y="143"/>
                  </a:lnTo>
                  <a:lnTo>
                    <a:pt x="270" y="143"/>
                  </a:lnTo>
                  <a:lnTo>
                    <a:pt x="268" y="14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5" name="Freeform 52462"/>
            <p:cNvSpPr>
              <a:spLocks noEditPoints="1"/>
            </p:cNvSpPr>
            <p:nvPr/>
          </p:nvSpPr>
          <p:spPr bwMode="auto">
            <a:xfrm>
              <a:off x="820736" y="3321062"/>
              <a:ext cx="466725" cy="282577"/>
            </a:xfrm>
            <a:custGeom>
              <a:avLst/>
              <a:gdLst>
                <a:gd name="T0" fmla="*/ 92 w 294"/>
                <a:gd name="T1" fmla="*/ 178 h 178"/>
                <a:gd name="T2" fmla="*/ 92 w 294"/>
                <a:gd name="T3" fmla="*/ 173 h 178"/>
                <a:gd name="T4" fmla="*/ 85 w 294"/>
                <a:gd name="T5" fmla="*/ 157 h 178"/>
                <a:gd name="T6" fmla="*/ 87 w 294"/>
                <a:gd name="T7" fmla="*/ 143 h 178"/>
                <a:gd name="T8" fmla="*/ 83 w 294"/>
                <a:gd name="T9" fmla="*/ 145 h 178"/>
                <a:gd name="T10" fmla="*/ 97 w 294"/>
                <a:gd name="T11" fmla="*/ 140 h 178"/>
                <a:gd name="T12" fmla="*/ 40 w 294"/>
                <a:gd name="T13" fmla="*/ 135 h 178"/>
                <a:gd name="T14" fmla="*/ 42 w 294"/>
                <a:gd name="T15" fmla="*/ 135 h 178"/>
                <a:gd name="T16" fmla="*/ 42 w 294"/>
                <a:gd name="T17" fmla="*/ 133 h 178"/>
                <a:gd name="T18" fmla="*/ 253 w 294"/>
                <a:gd name="T19" fmla="*/ 131 h 178"/>
                <a:gd name="T20" fmla="*/ 270 w 294"/>
                <a:gd name="T21" fmla="*/ 124 h 178"/>
                <a:gd name="T22" fmla="*/ 268 w 294"/>
                <a:gd name="T23" fmla="*/ 128 h 178"/>
                <a:gd name="T24" fmla="*/ 277 w 294"/>
                <a:gd name="T25" fmla="*/ 121 h 178"/>
                <a:gd name="T26" fmla="*/ 26 w 294"/>
                <a:gd name="T27" fmla="*/ 119 h 178"/>
                <a:gd name="T28" fmla="*/ 26 w 294"/>
                <a:gd name="T29" fmla="*/ 119 h 178"/>
                <a:gd name="T30" fmla="*/ 23 w 294"/>
                <a:gd name="T31" fmla="*/ 116 h 178"/>
                <a:gd name="T32" fmla="*/ 280 w 294"/>
                <a:gd name="T33" fmla="*/ 114 h 178"/>
                <a:gd name="T34" fmla="*/ 280 w 294"/>
                <a:gd name="T35" fmla="*/ 114 h 178"/>
                <a:gd name="T36" fmla="*/ 291 w 294"/>
                <a:gd name="T37" fmla="*/ 112 h 178"/>
                <a:gd name="T38" fmla="*/ 21 w 294"/>
                <a:gd name="T39" fmla="*/ 102 h 178"/>
                <a:gd name="T40" fmla="*/ 16 w 294"/>
                <a:gd name="T41" fmla="*/ 102 h 178"/>
                <a:gd name="T42" fmla="*/ 2 w 294"/>
                <a:gd name="T43" fmla="*/ 88 h 178"/>
                <a:gd name="T44" fmla="*/ 2 w 294"/>
                <a:gd name="T45" fmla="*/ 88 h 178"/>
                <a:gd name="T46" fmla="*/ 19 w 294"/>
                <a:gd name="T47" fmla="*/ 86 h 178"/>
                <a:gd name="T48" fmla="*/ 11 w 294"/>
                <a:gd name="T49" fmla="*/ 83 h 178"/>
                <a:gd name="T50" fmla="*/ 9 w 294"/>
                <a:gd name="T51" fmla="*/ 86 h 178"/>
                <a:gd name="T52" fmla="*/ 21 w 294"/>
                <a:gd name="T53" fmla="*/ 83 h 178"/>
                <a:gd name="T54" fmla="*/ 19 w 294"/>
                <a:gd name="T55" fmla="*/ 86 h 178"/>
                <a:gd name="T56" fmla="*/ 19 w 294"/>
                <a:gd name="T57" fmla="*/ 83 h 178"/>
                <a:gd name="T58" fmla="*/ 19 w 294"/>
                <a:gd name="T59" fmla="*/ 83 h 178"/>
                <a:gd name="T60" fmla="*/ 21 w 294"/>
                <a:gd name="T61" fmla="*/ 83 h 178"/>
                <a:gd name="T62" fmla="*/ 19 w 294"/>
                <a:gd name="T63" fmla="*/ 81 h 178"/>
                <a:gd name="T64" fmla="*/ 19 w 294"/>
                <a:gd name="T65" fmla="*/ 81 h 178"/>
                <a:gd name="T66" fmla="*/ 16 w 294"/>
                <a:gd name="T67" fmla="*/ 81 h 178"/>
                <a:gd name="T68" fmla="*/ 11 w 294"/>
                <a:gd name="T69" fmla="*/ 81 h 178"/>
                <a:gd name="T70" fmla="*/ 21 w 294"/>
                <a:gd name="T71" fmla="*/ 81 h 178"/>
                <a:gd name="T72" fmla="*/ 14 w 294"/>
                <a:gd name="T73" fmla="*/ 81 h 178"/>
                <a:gd name="T74" fmla="*/ 14 w 294"/>
                <a:gd name="T75" fmla="*/ 81 h 178"/>
                <a:gd name="T76" fmla="*/ 16 w 294"/>
                <a:gd name="T77" fmla="*/ 81 h 178"/>
                <a:gd name="T78" fmla="*/ 11 w 294"/>
                <a:gd name="T79" fmla="*/ 81 h 178"/>
                <a:gd name="T80" fmla="*/ 19 w 294"/>
                <a:gd name="T81" fmla="*/ 74 h 178"/>
                <a:gd name="T82" fmla="*/ 7 w 294"/>
                <a:gd name="T83" fmla="*/ 67 h 178"/>
                <a:gd name="T84" fmla="*/ 14 w 294"/>
                <a:gd name="T85" fmla="*/ 64 h 178"/>
                <a:gd name="T86" fmla="*/ 14 w 294"/>
                <a:gd name="T87" fmla="*/ 62 h 178"/>
                <a:gd name="T88" fmla="*/ 30 w 294"/>
                <a:gd name="T89" fmla="*/ 62 h 178"/>
                <a:gd name="T90" fmla="*/ 9 w 294"/>
                <a:gd name="T91" fmla="*/ 59 h 178"/>
                <a:gd name="T92" fmla="*/ 7 w 294"/>
                <a:gd name="T93" fmla="*/ 57 h 178"/>
                <a:gd name="T94" fmla="*/ 116 w 294"/>
                <a:gd name="T95" fmla="*/ 33 h 178"/>
                <a:gd name="T96" fmla="*/ 116 w 294"/>
                <a:gd name="T97" fmla="*/ 33 h 178"/>
                <a:gd name="T98" fmla="*/ 151 w 294"/>
                <a:gd name="T99" fmla="*/ 31 h 178"/>
                <a:gd name="T100" fmla="*/ 14 w 294"/>
                <a:gd name="T101" fmla="*/ 26 h 178"/>
                <a:gd name="T102" fmla="*/ 14 w 294"/>
                <a:gd name="T103" fmla="*/ 26 h 178"/>
                <a:gd name="T104" fmla="*/ 166 w 294"/>
                <a:gd name="T105" fmla="*/ 2 h 178"/>
                <a:gd name="T106" fmla="*/ 166 w 294"/>
                <a:gd name="T107" fmla="*/ 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178">
                  <a:moveTo>
                    <a:pt x="92" y="176"/>
                  </a:moveTo>
                  <a:lnTo>
                    <a:pt x="92" y="178"/>
                  </a:lnTo>
                  <a:lnTo>
                    <a:pt x="90" y="178"/>
                  </a:lnTo>
                  <a:lnTo>
                    <a:pt x="92" y="178"/>
                  </a:lnTo>
                  <a:lnTo>
                    <a:pt x="90" y="178"/>
                  </a:lnTo>
                  <a:lnTo>
                    <a:pt x="90" y="176"/>
                  </a:lnTo>
                  <a:lnTo>
                    <a:pt x="92" y="176"/>
                  </a:lnTo>
                  <a:lnTo>
                    <a:pt x="92" y="173"/>
                  </a:lnTo>
                  <a:lnTo>
                    <a:pt x="92" y="176"/>
                  </a:lnTo>
                  <a:close/>
                  <a:moveTo>
                    <a:pt x="85" y="157"/>
                  </a:moveTo>
                  <a:lnTo>
                    <a:pt x="87" y="157"/>
                  </a:lnTo>
                  <a:lnTo>
                    <a:pt x="85" y="157"/>
                  </a:lnTo>
                  <a:close/>
                  <a:moveTo>
                    <a:pt x="92" y="143"/>
                  </a:moveTo>
                  <a:lnTo>
                    <a:pt x="92" y="145"/>
                  </a:lnTo>
                  <a:lnTo>
                    <a:pt x="92" y="143"/>
                  </a:lnTo>
                  <a:close/>
                  <a:moveTo>
                    <a:pt x="87" y="143"/>
                  </a:moveTo>
                  <a:lnTo>
                    <a:pt x="85" y="143"/>
                  </a:lnTo>
                  <a:lnTo>
                    <a:pt x="85" y="145"/>
                  </a:lnTo>
                  <a:lnTo>
                    <a:pt x="85" y="143"/>
                  </a:lnTo>
                  <a:lnTo>
                    <a:pt x="83" y="145"/>
                  </a:lnTo>
                  <a:lnTo>
                    <a:pt x="85" y="143"/>
                  </a:lnTo>
                  <a:lnTo>
                    <a:pt x="87" y="143"/>
                  </a:lnTo>
                  <a:close/>
                  <a:moveTo>
                    <a:pt x="97" y="143"/>
                  </a:moveTo>
                  <a:lnTo>
                    <a:pt x="97" y="140"/>
                  </a:lnTo>
                  <a:lnTo>
                    <a:pt x="97" y="143"/>
                  </a:lnTo>
                  <a:close/>
                  <a:moveTo>
                    <a:pt x="40" y="135"/>
                  </a:moveTo>
                  <a:lnTo>
                    <a:pt x="42" y="135"/>
                  </a:lnTo>
                  <a:lnTo>
                    <a:pt x="40" y="135"/>
                  </a:lnTo>
                  <a:close/>
                  <a:moveTo>
                    <a:pt x="40" y="135"/>
                  </a:moveTo>
                  <a:lnTo>
                    <a:pt x="38" y="135"/>
                  </a:lnTo>
                  <a:lnTo>
                    <a:pt x="40" y="135"/>
                  </a:lnTo>
                  <a:close/>
                  <a:moveTo>
                    <a:pt x="42" y="135"/>
                  </a:moveTo>
                  <a:lnTo>
                    <a:pt x="40" y="135"/>
                  </a:lnTo>
                  <a:lnTo>
                    <a:pt x="42" y="135"/>
                  </a:lnTo>
                  <a:lnTo>
                    <a:pt x="40" y="133"/>
                  </a:lnTo>
                  <a:lnTo>
                    <a:pt x="42" y="133"/>
                  </a:lnTo>
                  <a:lnTo>
                    <a:pt x="42" y="135"/>
                  </a:lnTo>
                  <a:close/>
                  <a:moveTo>
                    <a:pt x="253" y="131"/>
                  </a:moveTo>
                  <a:lnTo>
                    <a:pt x="251" y="131"/>
                  </a:lnTo>
                  <a:lnTo>
                    <a:pt x="253" y="131"/>
                  </a:lnTo>
                  <a:close/>
                  <a:moveTo>
                    <a:pt x="268" y="128"/>
                  </a:moveTo>
                  <a:lnTo>
                    <a:pt x="268" y="126"/>
                  </a:lnTo>
                  <a:lnTo>
                    <a:pt x="270" y="126"/>
                  </a:lnTo>
                  <a:lnTo>
                    <a:pt x="270" y="124"/>
                  </a:lnTo>
                  <a:lnTo>
                    <a:pt x="272" y="124"/>
                  </a:lnTo>
                  <a:lnTo>
                    <a:pt x="270" y="126"/>
                  </a:lnTo>
                  <a:lnTo>
                    <a:pt x="268" y="126"/>
                  </a:lnTo>
                  <a:lnTo>
                    <a:pt x="268" y="128"/>
                  </a:lnTo>
                  <a:close/>
                  <a:moveTo>
                    <a:pt x="272" y="124"/>
                  </a:moveTo>
                  <a:lnTo>
                    <a:pt x="275" y="124"/>
                  </a:lnTo>
                  <a:lnTo>
                    <a:pt x="280" y="121"/>
                  </a:lnTo>
                  <a:lnTo>
                    <a:pt x="277" y="121"/>
                  </a:lnTo>
                  <a:lnTo>
                    <a:pt x="275" y="124"/>
                  </a:lnTo>
                  <a:lnTo>
                    <a:pt x="272" y="124"/>
                  </a:lnTo>
                  <a:close/>
                  <a:moveTo>
                    <a:pt x="28" y="119"/>
                  </a:moveTo>
                  <a:lnTo>
                    <a:pt x="26" y="119"/>
                  </a:lnTo>
                  <a:lnTo>
                    <a:pt x="28" y="119"/>
                  </a:lnTo>
                  <a:lnTo>
                    <a:pt x="28" y="116"/>
                  </a:lnTo>
                  <a:lnTo>
                    <a:pt x="28" y="119"/>
                  </a:lnTo>
                  <a:close/>
                  <a:moveTo>
                    <a:pt x="26" y="119"/>
                  </a:moveTo>
                  <a:lnTo>
                    <a:pt x="26" y="116"/>
                  </a:lnTo>
                  <a:lnTo>
                    <a:pt x="26" y="119"/>
                  </a:lnTo>
                  <a:close/>
                  <a:moveTo>
                    <a:pt x="23" y="114"/>
                  </a:moveTo>
                  <a:lnTo>
                    <a:pt x="23" y="116"/>
                  </a:lnTo>
                  <a:lnTo>
                    <a:pt x="21" y="116"/>
                  </a:lnTo>
                  <a:lnTo>
                    <a:pt x="21" y="114"/>
                  </a:lnTo>
                  <a:lnTo>
                    <a:pt x="23" y="114"/>
                  </a:lnTo>
                  <a:close/>
                  <a:moveTo>
                    <a:pt x="280" y="114"/>
                  </a:moveTo>
                  <a:lnTo>
                    <a:pt x="282" y="114"/>
                  </a:lnTo>
                  <a:lnTo>
                    <a:pt x="280" y="114"/>
                  </a:lnTo>
                  <a:lnTo>
                    <a:pt x="280" y="112"/>
                  </a:lnTo>
                  <a:lnTo>
                    <a:pt x="280" y="114"/>
                  </a:lnTo>
                  <a:close/>
                  <a:moveTo>
                    <a:pt x="280" y="114"/>
                  </a:moveTo>
                  <a:lnTo>
                    <a:pt x="280" y="112"/>
                  </a:lnTo>
                  <a:lnTo>
                    <a:pt x="280" y="114"/>
                  </a:lnTo>
                  <a:close/>
                  <a:moveTo>
                    <a:pt x="291" y="112"/>
                  </a:moveTo>
                  <a:lnTo>
                    <a:pt x="294" y="112"/>
                  </a:lnTo>
                  <a:lnTo>
                    <a:pt x="291" y="112"/>
                  </a:lnTo>
                  <a:close/>
                  <a:moveTo>
                    <a:pt x="21" y="105"/>
                  </a:moveTo>
                  <a:lnTo>
                    <a:pt x="21" y="102"/>
                  </a:lnTo>
                  <a:lnTo>
                    <a:pt x="19" y="102"/>
                  </a:lnTo>
                  <a:lnTo>
                    <a:pt x="21" y="105"/>
                  </a:lnTo>
                  <a:close/>
                  <a:moveTo>
                    <a:pt x="19" y="102"/>
                  </a:moveTo>
                  <a:lnTo>
                    <a:pt x="16" y="102"/>
                  </a:lnTo>
                  <a:lnTo>
                    <a:pt x="16" y="100"/>
                  </a:lnTo>
                  <a:lnTo>
                    <a:pt x="16" y="102"/>
                  </a:lnTo>
                  <a:lnTo>
                    <a:pt x="19" y="102"/>
                  </a:lnTo>
                  <a:close/>
                  <a:moveTo>
                    <a:pt x="2" y="88"/>
                  </a:moveTo>
                  <a:lnTo>
                    <a:pt x="0" y="88"/>
                  </a:lnTo>
                  <a:lnTo>
                    <a:pt x="2" y="88"/>
                  </a:lnTo>
                  <a:lnTo>
                    <a:pt x="0" y="88"/>
                  </a:lnTo>
                  <a:lnTo>
                    <a:pt x="2" y="88"/>
                  </a:lnTo>
                  <a:close/>
                  <a:moveTo>
                    <a:pt x="7" y="88"/>
                  </a:moveTo>
                  <a:lnTo>
                    <a:pt x="4" y="88"/>
                  </a:lnTo>
                  <a:lnTo>
                    <a:pt x="7" y="88"/>
                  </a:lnTo>
                  <a:close/>
                  <a:moveTo>
                    <a:pt x="19" y="86"/>
                  </a:moveTo>
                  <a:lnTo>
                    <a:pt x="16" y="86"/>
                  </a:lnTo>
                  <a:lnTo>
                    <a:pt x="19" y="86"/>
                  </a:lnTo>
                  <a:close/>
                  <a:moveTo>
                    <a:pt x="11" y="86"/>
                  </a:moveTo>
                  <a:lnTo>
                    <a:pt x="11" y="83"/>
                  </a:lnTo>
                  <a:lnTo>
                    <a:pt x="11" y="86"/>
                  </a:lnTo>
                  <a:close/>
                  <a:moveTo>
                    <a:pt x="9" y="86"/>
                  </a:moveTo>
                  <a:lnTo>
                    <a:pt x="9" y="83"/>
                  </a:lnTo>
                  <a:lnTo>
                    <a:pt x="9" y="86"/>
                  </a:lnTo>
                  <a:close/>
                  <a:moveTo>
                    <a:pt x="19" y="83"/>
                  </a:moveTo>
                  <a:lnTo>
                    <a:pt x="21" y="83"/>
                  </a:lnTo>
                  <a:lnTo>
                    <a:pt x="19" y="83"/>
                  </a:lnTo>
                  <a:lnTo>
                    <a:pt x="21" y="83"/>
                  </a:lnTo>
                  <a:lnTo>
                    <a:pt x="21" y="86"/>
                  </a:lnTo>
                  <a:lnTo>
                    <a:pt x="19" y="86"/>
                  </a:lnTo>
                  <a:lnTo>
                    <a:pt x="21" y="86"/>
                  </a:lnTo>
                  <a:lnTo>
                    <a:pt x="19" y="86"/>
                  </a:lnTo>
                  <a:lnTo>
                    <a:pt x="16" y="86"/>
                  </a:lnTo>
                  <a:lnTo>
                    <a:pt x="16" y="83"/>
                  </a:lnTo>
                  <a:lnTo>
                    <a:pt x="19" y="83"/>
                  </a:lnTo>
                  <a:close/>
                  <a:moveTo>
                    <a:pt x="19" y="83"/>
                  </a:moveTo>
                  <a:lnTo>
                    <a:pt x="16" y="83"/>
                  </a:lnTo>
                  <a:lnTo>
                    <a:pt x="19" y="83"/>
                  </a:lnTo>
                  <a:lnTo>
                    <a:pt x="16" y="83"/>
                  </a:lnTo>
                  <a:lnTo>
                    <a:pt x="19" y="83"/>
                  </a:lnTo>
                  <a:close/>
                  <a:moveTo>
                    <a:pt x="19" y="83"/>
                  </a:moveTo>
                  <a:lnTo>
                    <a:pt x="21" y="83"/>
                  </a:lnTo>
                  <a:lnTo>
                    <a:pt x="19" y="83"/>
                  </a:lnTo>
                  <a:lnTo>
                    <a:pt x="21" y="83"/>
                  </a:lnTo>
                  <a:lnTo>
                    <a:pt x="19" y="83"/>
                  </a:lnTo>
                  <a:lnTo>
                    <a:pt x="21" y="83"/>
                  </a:lnTo>
                  <a:lnTo>
                    <a:pt x="19" y="83"/>
                  </a:lnTo>
                  <a:close/>
                  <a:moveTo>
                    <a:pt x="19" y="81"/>
                  </a:moveTo>
                  <a:lnTo>
                    <a:pt x="19" y="83"/>
                  </a:lnTo>
                  <a:lnTo>
                    <a:pt x="19" y="81"/>
                  </a:lnTo>
                  <a:lnTo>
                    <a:pt x="19" y="83"/>
                  </a:lnTo>
                  <a:lnTo>
                    <a:pt x="19" y="81"/>
                  </a:lnTo>
                  <a:close/>
                  <a:moveTo>
                    <a:pt x="14" y="81"/>
                  </a:moveTo>
                  <a:lnTo>
                    <a:pt x="14" y="83"/>
                  </a:lnTo>
                  <a:lnTo>
                    <a:pt x="14" y="81"/>
                  </a:lnTo>
                  <a:close/>
                  <a:moveTo>
                    <a:pt x="16" y="81"/>
                  </a:moveTo>
                  <a:lnTo>
                    <a:pt x="14" y="81"/>
                  </a:lnTo>
                  <a:lnTo>
                    <a:pt x="16" y="81"/>
                  </a:lnTo>
                  <a:close/>
                  <a:moveTo>
                    <a:pt x="9" y="81"/>
                  </a:moveTo>
                  <a:lnTo>
                    <a:pt x="11" y="81"/>
                  </a:lnTo>
                  <a:lnTo>
                    <a:pt x="9" y="81"/>
                  </a:lnTo>
                  <a:close/>
                  <a:moveTo>
                    <a:pt x="21" y="81"/>
                  </a:moveTo>
                  <a:lnTo>
                    <a:pt x="19" y="81"/>
                  </a:lnTo>
                  <a:lnTo>
                    <a:pt x="21" y="81"/>
                  </a:lnTo>
                  <a:close/>
                  <a:moveTo>
                    <a:pt x="16" y="81"/>
                  </a:moveTo>
                  <a:lnTo>
                    <a:pt x="19" y="81"/>
                  </a:lnTo>
                  <a:lnTo>
                    <a:pt x="16" y="81"/>
                  </a:lnTo>
                  <a:lnTo>
                    <a:pt x="14" y="81"/>
                  </a:lnTo>
                  <a:lnTo>
                    <a:pt x="16" y="81"/>
                  </a:lnTo>
                  <a:close/>
                  <a:moveTo>
                    <a:pt x="14" y="81"/>
                  </a:moveTo>
                  <a:lnTo>
                    <a:pt x="11" y="81"/>
                  </a:lnTo>
                  <a:lnTo>
                    <a:pt x="14" y="81"/>
                  </a:lnTo>
                  <a:lnTo>
                    <a:pt x="11" y="81"/>
                  </a:lnTo>
                  <a:lnTo>
                    <a:pt x="14" y="81"/>
                  </a:lnTo>
                  <a:close/>
                  <a:moveTo>
                    <a:pt x="19" y="81"/>
                  </a:moveTo>
                  <a:lnTo>
                    <a:pt x="16" y="81"/>
                  </a:lnTo>
                  <a:lnTo>
                    <a:pt x="19" y="81"/>
                  </a:lnTo>
                  <a:close/>
                  <a:moveTo>
                    <a:pt x="14" y="78"/>
                  </a:moveTo>
                  <a:lnTo>
                    <a:pt x="14" y="81"/>
                  </a:lnTo>
                  <a:lnTo>
                    <a:pt x="11" y="81"/>
                  </a:lnTo>
                  <a:lnTo>
                    <a:pt x="11" y="78"/>
                  </a:lnTo>
                  <a:lnTo>
                    <a:pt x="14" y="78"/>
                  </a:lnTo>
                  <a:close/>
                  <a:moveTo>
                    <a:pt x="21" y="74"/>
                  </a:moveTo>
                  <a:lnTo>
                    <a:pt x="19" y="74"/>
                  </a:lnTo>
                  <a:lnTo>
                    <a:pt x="21" y="74"/>
                  </a:lnTo>
                  <a:close/>
                  <a:moveTo>
                    <a:pt x="7" y="67"/>
                  </a:moveTo>
                  <a:lnTo>
                    <a:pt x="7" y="69"/>
                  </a:lnTo>
                  <a:lnTo>
                    <a:pt x="7" y="67"/>
                  </a:lnTo>
                  <a:close/>
                  <a:moveTo>
                    <a:pt x="4" y="67"/>
                  </a:moveTo>
                  <a:lnTo>
                    <a:pt x="4" y="69"/>
                  </a:lnTo>
                  <a:lnTo>
                    <a:pt x="4" y="67"/>
                  </a:lnTo>
                  <a:close/>
                  <a:moveTo>
                    <a:pt x="14" y="64"/>
                  </a:moveTo>
                  <a:lnTo>
                    <a:pt x="11" y="64"/>
                  </a:lnTo>
                  <a:lnTo>
                    <a:pt x="14" y="64"/>
                  </a:lnTo>
                  <a:close/>
                  <a:moveTo>
                    <a:pt x="14" y="64"/>
                  </a:moveTo>
                  <a:lnTo>
                    <a:pt x="14" y="62"/>
                  </a:lnTo>
                  <a:lnTo>
                    <a:pt x="14" y="64"/>
                  </a:lnTo>
                  <a:close/>
                  <a:moveTo>
                    <a:pt x="30" y="62"/>
                  </a:moveTo>
                  <a:lnTo>
                    <a:pt x="30" y="64"/>
                  </a:lnTo>
                  <a:lnTo>
                    <a:pt x="30" y="62"/>
                  </a:lnTo>
                  <a:lnTo>
                    <a:pt x="30" y="64"/>
                  </a:lnTo>
                  <a:lnTo>
                    <a:pt x="30" y="62"/>
                  </a:lnTo>
                  <a:close/>
                  <a:moveTo>
                    <a:pt x="7" y="59"/>
                  </a:moveTo>
                  <a:lnTo>
                    <a:pt x="9" y="59"/>
                  </a:lnTo>
                  <a:lnTo>
                    <a:pt x="7" y="59"/>
                  </a:lnTo>
                  <a:close/>
                  <a:moveTo>
                    <a:pt x="7" y="57"/>
                  </a:moveTo>
                  <a:lnTo>
                    <a:pt x="4" y="57"/>
                  </a:lnTo>
                  <a:lnTo>
                    <a:pt x="7" y="57"/>
                  </a:lnTo>
                  <a:close/>
                  <a:moveTo>
                    <a:pt x="289" y="52"/>
                  </a:moveTo>
                  <a:lnTo>
                    <a:pt x="287" y="52"/>
                  </a:lnTo>
                  <a:lnTo>
                    <a:pt x="289" y="52"/>
                  </a:lnTo>
                  <a:close/>
                  <a:moveTo>
                    <a:pt x="116" y="33"/>
                  </a:moveTo>
                  <a:lnTo>
                    <a:pt x="118" y="33"/>
                  </a:lnTo>
                  <a:lnTo>
                    <a:pt x="118" y="36"/>
                  </a:lnTo>
                  <a:lnTo>
                    <a:pt x="116" y="36"/>
                  </a:lnTo>
                  <a:lnTo>
                    <a:pt x="116" y="33"/>
                  </a:lnTo>
                  <a:close/>
                  <a:moveTo>
                    <a:pt x="151" y="31"/>
                  </a:moveTo>
                  <a:lnTo>
                    <a:pt x="154" y="31"/>
                  </a:lnTo>
                  <a:lnTo>
                    <a:pt x="154" y="33"/>
                  </a:lnTo>
                  <a:lnTo>
                    <a:pt x="151" y="31"/>
                  </a:lnTo>
                  <a:close/>
                  <a:moveTo>
                    <a:pt x="116" y="33"/>
                  </a:moveTo>
                  <a:lnTo>
                    <a:pt x="116" y="31"/>
                  </a:lnTo>
                  <a:lnTo>
                    <a:pt x="116" y="33"/>
                  </a:lnTo>
                  <a:close/>
                  <a:moveTo>
                    <a:pt x="14" y="26"/>
                  </a:moveTo>
                  <a:lnTo>
                    <a:pt x="11" y="26"/>
                  </a:lnTo>
                  <a:lnTo>
                    <a:pt x="14" y="26"/>
                  </a:lnTo>
                  <a:lnTo>
                    <a:pt x="11" y="26"/>
                  </a:lnTo>
                  <a:lnTo>
                    <a:pt x="14" y="26"/>
                  </a:lnTo>
                  <a:close/>
                  <a:moveTo>
                    <a:pt x="170" y="24"/>
                  </a:moveTo>
                  <a:lnTo>
                    <a:pt x="173" y="24"/>
                  </a:lnTo>
                  <a:lnTo>
                    <a:pt x="170" y="24"/>
                  </a:lnTo>
                  <a:close/>
                  <a:moveTo>
                    <a:pt x="166" y="2"/>
                  </a:moveTo>
                  <a:lnTo>
                    <a:pt x="166" y="0"/>
                  </a:lnTo>
                  <a:lnTo>
                    <a:pt x="166" y="2"/>
                  </a:lnTo>
                  <a:lnTo>
                    <a:pt x="168" y="2"/>
                  </a:lnTo>
                  <a:lnTo>
                    <a:pt x="16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6" name="Freeform 52463"/>
            <p:cNvSpPr>
              <a:spLocks noEditPoints="1"/>
            </p:cNvSpPr>
            <p:nvPr/>
          </p:nvSpPr>
          <p:spPr bwMode="auto">
            <a:xfrm>
              <a:off x="801686" y="3332174"/>
              <a:ext cx="519113" cy="260351"/>
            </a:xfrm>
            <a:custGeom>
              <a:avLst/>
              <a:gdLst>
                <a:gd name="T0" fmla="*/ 87 w 327"/>
                <a:gd name="T1" fmla="*/ 147 h 164"/>
                <a:gd name="T2" fmla="*/ 76 w 327"/>
                <a:gd name="T3" fmla="*/ 145 h 164"/>
                <a:gd name="T4" fmla="*/ 95 w 327"/>
                <a:gd name="T5" fmla="*/ 138 h 164"/>
                <a:gd name="T6" fmla="*/ 83 w 327"/>
                <a:gd name="T7" fmla="*/ 138 h 164"/>
                <a:gd name="T8" fmla="*/ 102 w 327"/>
                <a:gd name="T9" fmla="*/ 136 h 164"/>
                <a:gd name="T10" fmla="*/ 95 w 327"/>
                <a:gd name="T11" fmla="*/ 131 h 164"/>
                <a:gd name="T12" fmla="*/ 47 w 327"/>
                <a:gd name="T13" fmla="*/ 112 h 164"/>
                <a:gd name="T14" fmla="*/ 38 w 327"/>
                <a:gd name="T15" fmla="*/ 107 h 164"/>
                <a:gd name="T16" fmla="*/ 306 w 327"/>
                <a:gd name="T17" fmla="*/ 105 h 164"/>
                <a:gd name="T18" fmla="*/ 35 w 327"/>
                <a:gd name="T19" fmla="*/ 105 h 164"/>
                <a:gd name="T20" fmla="*/ 35 w 327"/>
                <a:gd name="T21" fmla="*/ 100 h 164"/>
                <a:gd name="T22" fmla="*/ 23 w 327"/>
                <a:gd name="T23" fmla="*/ 93 h 164"/>
                <a:gd name="T24" fmla="*/ 327 w 327"/>
                <a:gd name="T25" fmla="*/ 83 h 164"/>
                <a:gd name="T26" fmla="*/ 16 w 327"/>
                <a:gd name="T27" fmla="*/ 81 h 164"/>
                <a:gd name="T28" fmla="*/ 19 w 327"/>
                <a:gd name="T29" fmla="*/ 81 h 164"/>
                <a:gd name="T30" fmla="*/ 23 w 327"/>
                <a:gd name="T31" fmla="*/ 79 h 164"/>
                <a:gd name="T32" fmla="*/ 23 w 327"/>
                <a:gd name="T33" fmla="*/ 81 h 164"/>
                <a:gd name="T34" fmla="*/ 31 w 327"/>
                <a:gd name="T35" fmla="*/ 79 h 164"/>
                <a:gd name="T36" fmla="*/ 21 w 327"/>
                <a:gd name="T37" fmla="*/ 79 h 164"/>
                <a:gd name="T38" fmla="*/ 35 w 327"/>
                <a:gd name="T39" fmla="*/ 79 h 164"/>
                <a:gd name="T40" fmla="*/ 35 w 327"/>
                <a:gd name="T41" fmla="*/ 76 h 164"/>
                <a:gd name="T42" fmla="*/ 28 w 327"/>
                <a:gd name="T43" fmla="*/ 76 h 164"/>
                <a:gd name="T44" fmla="*/ 33 w 327"/>
                <a:gd name="T45" fmla="*/ 79 h 164"/>
                <a:gd name="T46" fmla="*/ 33 w 327"/>
                <a:gd name="T47" fmla="*/ 76 h 164"/>
                <a:gd name="T48" fmla="*/ 31 w 327"/>
                <a:gd name="T49" fmla="*/ 76 h 164"/>
                <a:gd name="T50" fmla="*/ 31 w 327"/>
                <a:gd name="T51" fmla="*/ 76 h 164"/>
                <a:gd name="T52" fmla="*/ 23 w 327"/>
                <a:gd name="T53" fmla="*/ 74 h 164"/>
                <a:gd name="T54" fmla="*/ 28 w 327"/>
                <a:gd name="T55" fmla="*/ 74 h 164"/>
                <a:gd name="T56" fmla="*/ 28 w 327"/>
                <a:gd name="T57" fmla="*/ 74 h 164"/>
                <a:gd name="T58" fmla="*/ 31 w 327"/>
                <a:gd name="T59" fmla="*/ 69 h 164"/>
                <a:gd name="T60" fmla="*/ 31 w 327"/>
                <a:gd name="T61" fmla="*/ 69 h 164"/>
                <a:gd name="T62" fmla="*/ 28 w 327"/>
                <a:gd name="T63" fmla="*/ 67 h 164"/>
                <a:gd name="T64" fmla="*/ 40 w 327"/>
                <a:gd name="T65" fmla="*/ 62 h 164"/>
                <a:gd name="T66" fmla="*/ 38 w 327"/>
                <a:gd name="T67" fmla="*/ 62 h 164"/>
                <a:gd name="T68" fmla="*/ 40 w 327"/>
                <a:gd name="T69" fmla="*/ 62 h 164"/>
                <a:gd name="T70" fmla="*/ 19 w 327"/>
                <a:gd name="T71" fmla="*/ 62 h 164"/>
                <a:gd name="T72" fmla="*/ 16 w 327"/>
                <a:gd name="T73" fmla="*/ 60 h 164"/>
                <a:gd name="T74" fmla="*/ 38 w 327"/>
                <a:gd name="T75" fmla="*/ 57 h 164"/>
                <a:gd name="T76" fmla="*/ 35 w 327"/>
                <a:gd name="T77" fmla="*/ 57 h 164"/>
                <a:gd name="T78" fmla="*/ 26 w 327"/>
                <a:gd name="T79" fmla="*/ 57 h 164"/>
                <a:gd name="T80" fmla="*/ 35 w 327"/>
                <a:gd name="T81" fmla="*/ 55 h 164"/>
                <a:gd name="T82" fmla="*/ 31 w 327"/>
                <a:gd name="T83" fmla="*/ 55 h 164"/>
                <a:gd name="T84" fmla="*/ 21 w 327"/>
                <a:gd name="T85" fmla="*/ 52 h 164"/>
                <a:gd name="T86" fmla="*/ 21 w 327"/>
                <a:gd name="T87" fmla="*/ 52 h 164"/>
                <a:gd name="T88" fmla="*/ 21 w 327"/>
                <a:gd name="T89" fmla="*/ 55 h 164"/>
                <a:gd name="T90" fmla="*/ 26 w 327"/>
                <a:gd name="T91" fmla="*/ 52 h 164"/>
                <a:gd name="T92" fmla="*/ 40 w 327"/>
                <a:gd name="T93" fmla="*/ 50 h 164"/>
                <a:gd name="T94" fmla="*/ 97 w 327"/>
                <a:gd name="T95" fmla="*/ 50 h 164"/>
                <a:gd name="T96" fmla="*/ 95 w 327"/>
                <a:gd name="T97" fmla="*/ 48 h 164"/>
                <a:gd name="T98" fmla="*/ 301 w 327"/>
                <a:gd name="T99" fmla="*/ 45 h 164"/>
                <a:gd name="T100" fmla="*/ 59 w 327"/>
                <a:gd name="T101" fmla="*/ 43 h 164"/>
                <a:gd name="T102" fmla="*/ 301 w 327"/>
                <a:gd name="T103" fmla="*/ 38 h 164"/>
                <a:gd name="T104" fmla="*/ 19 w 327"/>
                <a:gd name="T105" fmla="*/ 24 h 164"/>
                <a:gd name="T106" fmla="*/ 209 w 327"/>
                <a:gd name="T107" fmla="*/ 10 h 164"/>
                <a:gd name="T108" fmla="*/ 12 w 327"/>
                <a:gd name="T10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7" h="164">
                  <a:moveTo>
                    <a:pt x="168" y="164"/>
                  </a:moveTo>
                  <a:lnTo>
                    <a:pt x="168" y="162"/>
                  </a:lnTo>
                  <a:lnTo>
                    <a:pt x="168" y="164"/>
                  </a:lnTo>
                  <a:close/>
                  <a:moveTo>
                    <a:pt x="87" y="147"/>
                  </a:moveTo>
                  <a:lnTo>
                    <a:pt x="90" y="147"/>
                  </a:lnTo>
                  <a:lnTo>
                    <a:pt x="87" y="147"/>
                  </a:lnTo>
                  <a:close/>
                  <a:moveTo>
                    <a:pt x="76" y="145"/>
                  </a:moveTo>
                  <a:lnTo>
                    <a:pt x="76" y="147"/>
                  </a:lnTo>
                  <a:lnTo>
                    <a:pt x="76" y="145"/>
                  </a:lnTo>
                  <a:close/>
                  <a:moveTo>
                    <a:pt x="76" y="145"/>
                  </a:moveTo>
                  <a:lnTo>
                    <a:pt x="76" y="147"/>
                  </a:lnTo>
                  <a:lnTo>
                    <a:pt x="76" y="145"/>
                  </a:lnTo>
                  <a:close/>
                  <a:moveTo>
                    <a:pt x="95" y="140"/>
                  </a:moveTo>
                  <a:lnTo>
                    <a:pt x="92" y="140"/>
                  </a:lnTo>
                  <a:lnTo>
                    <a:pt x="95" y="140"/>
                  </a:lnTo>
                  <a:close/>
                  <a:moveTo>
                    <a:pt x="95" y="138"/>
                  </a:moveTo>
                  <a:lnTo>
                    <a:pt x="95" y="140"/>
                  </a:lnTo>
                  <a:lnTo>
                    <a:pt x="95" y="138"/>
                  </a:lnTo>
                  <a:close/>
                  <a:moveTo>
                    <a:pt x="85" y="138"/>
                  </a:moveTo>
                  <a:lnTo>
                    <a:pt x="87" y="138"/>
                  </a:lnTo>
                  <a:lnTo>
                    <a:pt x="85" y="138"/>
                  </a:lnTo>
                  <a:close/>
                  <a:moveTo>
                    <a:pt x="83" y="138"/>
                  </a:moveTo>
                  <a:lnTo>
                    <a:pt x="85" y="138"/>
                  </a:lnTo>
                  <a:lnTo>
                    <a:pt x="83" y="138"/>
                  </a:lnTo>
                  <a:close/>
                  <a:moveTo>
                    <a:pt x="97" y="136"/>
                  </a:moveTo>
                  <a:lnTo>
                    <a:pt x="97" y="138"/>
                  </a:lnTo>
                  <a:lnTo>
                    <a:pt x="97" y="136"/>
                  </a:lnTo>
                  <a:close/>
                  <a:moveTo>
                    <a:pt x="102" y="136"/>
                  </a:moveTo>
                  <a:lnTo>
                    <a:pt x="99" y="136"/>
                  </a:lnTo>
                  <a:lnTo>
                    <a:pt x="102" y="136"/>
                  </a:lnTo>
                  <a:close/>
                  <a:moveTo>
                    <a:pt x="92" y="133"/>
                  </a:moveTo>
                  <a:lnTo>
                    <a:pt x="92" y="136"/>
                  </a:lnTo>
                  <a:lnTo>
                    <a:pt x="92" y="133"/>
                  </a:lnTo>
                  <a:close/>
                  <a:moveTo>
                    <a:pt x="95" y="131"/>
                  </a:moveTo>
                  <a:lnTo>
                    <a:pt x="97" y="131"/>
                  </a:lnTo>
                  <a:lnTo>
                    <a:pt x="95" y="131"/>
                  </a:lnTo>
                  <a:close/>
                  <a:moveTo>
                    <a:pt x="47" y="117"/>
                  </a:moveTo>
                  <a:lnTo>
                    <a:pt x="50" y="117"/>
                  </a:lnTo>
                  <a:lnTo>
                    <a:pt x="47" y="117"/>
                  </a:lnTo>
                  <a:close/>
                  <a:moveTo>
                    <a:pt x="47" y="112"/>
                  </a:moveTo>
                  <a:lnTo>
                    <a:pt x="45" y="112"/>
                  </a:lnTo>
                  <a:lnTo>
                    <a:pt x="47" y="112"/>
                  </a:lnTo>
                  <a:close/>
                  <a:moveTo>
                    <a:pt x="40" y="109"/>
                  </a:moveTo>
                  <a:lnTo>
                    <a:pt x="40" y="112"/>
                  </a:lnTo>
                  <a:lnTo>
                    <a:pt x="40" y="109"/>
                  </a:lnTo>
                  <a:close/>
                  <a:moveTo>
                    <a:pt x="38" y="107"/>
                  </a:moveTo>
                  <a:lnTo>
                    <a:pt x="38" y="109"/>
                  </a:lnTo>
                  <a:lnTo>
                    <a:pt x="38" y="107"/>
                  </a:lnTo>
                  <a:close/>
                  <a:moveTo>
                    <a:pt x="35" y="105"/>
                  </a:moveTo>
                  <a:lnTo>
                    <a:pt x="33" y="105"/>
                  </a:lnTo>
                  <a:lnTo>
                    <a:pt x="35" y="105"/>
                  </a:lnTo>
                  <a:close/>
                  <a:moveTo>
                    <a:pt x="306" y="105"/>
                  </a:moveTo>
                  <a:lnTo>
                    <a:pt x="303" y="105"/>
                  </a:lnTo>
                  <a:lnTo>
                    <a:pt x="306" y="105"/>
                  </a:lnTo>
                  <a:close/>
                  <a:moveTo>
                    <a:pt x="33" y="105"/>
                  </a:moveTo>
                  <a:lnTo>
                    <a:pt x="35" y="105"/>
                  </a:lnTo>
                  <a:lnTo>
                    <a:pt x="33" y="105"/>
                  </a:lnTo>
                  <a:close/>
                  <a:moveTo>
                    <a:pt x="35" y="105"/>
                  </a:moveTo>
                  <a:lnTo>
                    <a:pt x="35" y="102"/>
                  </a:lnTo>
                  <a:lnTo>
                    <a:pt x="35" y="105"/>
                  </a:lnTo>
                  <a:close/>
                  <a:moveTo>
                    <a:pt x="303" y="102"/>
                  </a:moveTo>
                  <a:lnTo>
                    <a:pt x="301" y="102"/>
                  </a:lnTo>
                  <a:lnTo>
                    <a:pt x="303" y="102"/>
                  </a:lnTo>
                  <a:close/>
                  <a:moveTo>
                    <a:pt x="35" y="100"/>
                  </a:moveTo>
                  <a:lnTo>
                    <a:pt x="33" y="100"/>
                  </a:lnTo>
                  <a:lnTo>
                    <a:pt x="35" y="100"/>
                  </a:lnTo>
                  <a:close/>
                  <a:moveTo>
                    <a:pt x="35" y="95"/>
                  </a:moveTo>
                  <a:lnTo>
                    <a:pt x="35" y="98"/>
                  </a:lnTo>
                  <a:lnTo>
                    <a:pt x="35" y="95"/>
                  </a:lnTo>
                  <a:close/>
                  <a:moveTo>
                    <a:pt x="23" y="93"/>
                  </a:moveTo>
                  <a:lnTo>
                    <a:pt x="23" y="95"/>
                  </a:lnTo>
                  <a:lnTo>
                    <a:pt x="23" y="93"/>
                  </a:lnTo>
                  <a:close/>
                  <a:moveTo>
                    <a:pt x="31" y="95"/>
                  </a:moveTo>
                  <a:lnTo>
                    <a:pt x="28" y="95"/>
                  </a:lnTo>
                  <a:lnTo>
                    <a:pt x="28" y="93"/>
                  </a:lnTo>
                  <a:lnTo>
                    <a:pt x="31" y="93"/>
                  </a:lnTo>
                  <a:lnTo>
                    <a:pt x="31" y="95"/>
                  </a:lnTo>
                  <a:close/>
                  <a:moveTo>
                    <a:pt x="327" y="83"/>
                  </a:moveTo>
                  <a:lnTo>
                    <a:pt x="325" y="83"/>
                  </a:lnTo>
                  <a:lnTo>
                    <a:pt x="327" y="83"/>
                  </a:lnTo>
                  <a:close/>
                  <a:moveTo>
                    <a:pt x="4" y="83"/>
                  </a:moveTo>
                  <a:lnTo>
                    <a:pt x="2" y="83"/>
                  </a:lnTo>
                  <a:lnTo>
                    <a:pt x="4" y="83"/>
                  </a:lnTo>
                  <a:close/>
                  <a:moveTo>
                    <a:pt x="16" y="81"/>
                  </a:moveTo>
                  <a:lnTo>
                    <a:pt x="14" y="81"/>
                  </a:lnTo>
                  <a:lnTo>
                    <a:pt x="16" y="81"/>
                  </a:lnTo>
                  <a:close/>
                  <a:moveTo>
                    <a:pt x="54" y="81"/>
                  </a:moveTo>
                  <a:lnTo>
                    <a:pt x="52" y="81"/>
                  </a:lnTo>
                  <a:lnTo>
                    <a:pt x="54" y="81"/>
                  </a:lnTo>
                  <a:close/>
                  <a:moveTo>
                    <a:pt x="19" y="81"/>
                  </a:moveTo>
                  <a:lnTo>
                    <a:pt x="16" y="81"/>
                  </a:lnTo>
                  <a:lnTo>
                    <a:pt x="19" y="81"/>
                  </a:lnTo>
                  <a:close/>
                  <a:moveTo>
                    <a:pt x="280" y="81"/>
                  </a:moveTo>
                  <a:lnTo>
                    <a:pt x="280" y="79"/>
                  </a:lnTo>
                  <a:lnTo>
                    <a:pt x="280" y="81"/>
                  </a:lnTo>
                  <a:close/>
                  <a:moveTo>
                    <a:pt x="23" y="79"/>
                  </a:moveTo>
                  <a:lnTo>
                    <a:pt x="23" y="81"/>
                  </a:lnTo>
                  <a:lnTo>
                    <a:pt x="23" y="79"/>
                  </a:lnTo>
                  <a:close/>
                  <a:moveTo>
                    <a:pt x="26" y="79"/>
                  </a:moveTo>
                  <a:lnTo>
                    <a:pt x="23" y="79"/>
                  </a:lnTo>
                  <a:lnTo>
                    <a:pt x="26" y="79"/>
                  </a:lnTo>
                  <a:close/>
                  <a:moveTo>
                    <a:pt x="23" y="81"/>
                  </a:moveTo>
                  <a:lnTo>
                    <a:pt x="23" y="79"/>
                  </a:lnTo>
                  <a:lnTo>
                    <a:pt x="23" y="81"/>
                  </a:lnTo>
                  <a:close/>
                  <a:moveTo>
                    <a:pt x="28" y="79"/>
                  </a:moveTo>
                  <a:lnTo>
                    <a:pt x="26" y="79"/>
                  </a:lnTo>
                  <a:lnTo>
                    <a:pt x="28" y="79"/>
                  </a:lnTo>
                  <a:close/>
                  <a:moveTo>
                    <a:pt x="31" y="79"/>
                  </a:moveTo>
                  <a:lnTo>
                    <a:pt x="28" y="79"/>
                  </a:lnTo>
                  <a:lnTo>
                    <a:pt x="31" y="79"/>
                  </a:lnTo>
                  <a:close/>
                  <a:moveTo>
                    <a:pt x="28" y="79"/>
                  </a:moveTo>
                  <a:lnTo>
                    <a:pt x="26" y="79"/>
                  </a:lnTo>
                  <a:lnTo>
                    <a:pt x="28" y="79"/>
                  </a:lnTo>
                  <a:close/>
                  <a:moveTo>
                    <a:pt x="21" y="79"/>
                  </a:moveTo>
                  <a:lnTo>
                    <a:pt x="19" y="79"/>
                  </a:lnTo>
                  <a:lnTo>
                    <a:pt x="21" y="79"/>
                  </a:lnTo>
                  <a:close/>
                  <a:moveTo>
                    <a:pt x="26" y="79"/>
                  </a:moveTo>
                  <a:lnTo>
                    <a:pt x="23" y="79"/>
                  </a:lnTo>
                  <a:lnTo>
                    <a:pt x="26" y="79"/>
                  </a:lnTo>
                  <a:close/>
                  <a:moveTo>
                    <a:pt x="35" y="79"/>
                  </a:moveTo>
                  <a:lnTo>
                    <a:pt x="33" y="79"/>
                  </a:lnTo>
                  <a:lnTo>
                    <a:pt x="35" y="79"/>
                  </a:lnTo>
                  <a:close/>
                  <a:moveTo>
                    <a:pt x="33" y="79"/>
                  </a:moveTo>
                  <a:lnTo>
                    <a:pt x="33" y="76"/>
                  </a:lnTo>
                  <a:lnTo>
                    <a:pt x="33" y="79"/>
                  </a:lnTo>
                  <a:close/>
                  <a:moveTo>
                    <a:pt x="35" y="76"/>
                  </a:moveTo>
                  <a:lnTo>
                    <a:pt x="35" y="79"/>
                  </a:lnTo>
                  <a:lnTo>
                    <a:pt x="33" y="76"/>
                  </a:lnTo>
                  <a:lnTo>
                    <a:pt x="35" y="76"/>
                  </a:lnTo>
                  <a:close/>
                  <a:moveTo>
                    <a:pt x="28" y="76"/>
                  </a:moveTo>
                  <a:lnTo>
                    <a:pt x="28" y="79"/>
                  </a:lnTo>
                  <a:lnTo>
                    <a:pt x="28" y="76"/>
                  </a:lnTo>
                  <a:lnTo>
                    <a:pt x="28" y="79"/>
                  </a:lnTo>
                  <a:lnTo>
                    <a:pt x="28" y="76"/>
                  </a:lnTo>
                  <a:lnTo>
                    <a:pt x="28" y="79"/>
                  </a:lnTo>
                  <a:lnTo>
                    <a:pt x="28" y="76"/>
                  </a:lnTo>
                  <a:close/>
                  <a:moveTo>
                    <a:pt x="33" y="76"/>
                  </a:moveTo>
                  <a:lnTo>
                    <a:pt x="33" y="79"/>
                  </a:lnTo>
                  <a:lnTo>
                    <a:pt x="33" y="76"/>
                  </a:lnTo>
                  <a:close/>
                  <a:moveTo>
                    <a:pt x="33" y="76"/>
                  </a:moveTo>
                  <a:lnTo>
                    <a:pt x="31" y="76"/>
                  </a:lnTo>
                  <a:lnTo>
                    <a:pt x="33" y="76"/>
                  </a:lnTo>
                  <a:close/>
                  <a:moveTo>
                    <a:pt x="35" y="76"/>
                  </a:moveTo>
                  <a:lnTo>
                    <a:pt x="33" y="76"/>
                  </a:lnTo>
                  <a:lnTo>
                    <a:pt x="35" y="76"/>
                  </a:lnTo>
                  <a:close/>
                  <a:moveTo>
                    <a:pt x="14" y="76"/>
                  </a:moveTo>
                  <a:lnTo>
                    <a:pt x="12" y="76"/>
                  </a:lnTo>
                  <a:lnTo>
                    <a:pt x="14" y="76"/>
                  </a:lnTo>
                  <a:close/>
                  <a:moveTo>
                    <a:pt x="33" y="76"/>
                  </a:moveTo>
                  <a:lnTo>
                    <a:pt x="31" y="76"/>
                  </a:lnTo>
                  <a:lnTo>
                    <a:pt x="33" y="76"/>
                  </a:lnTo>
                  <a:close/>
                  <a:moveTo>
                    <a:pt x="19" y="76"/>
                  </a:moveTo>
                  <a:lnTo>
                    <a:pt x="21" y="76"/>
                  </a:lnTo>
                  <a:lnTo>
                    <a:pt x="19" y="76"/>
                  </a:lnTo>
                  <a:close/>
                  <a:moveTo>
                    <a:pt x="33" y="76"/>
                  </a:moveTo>
                  <a:lnTo>
                    <a:pt x="31" y="76"/>
                  </a:lnTo>
                  <a:lnTo>
                    <a:pt x="33" y="76"/>
                  </a:lnTo>
                  <a:close/>
                  <a:moveTo>
                    <a:pt x="42" y="76"/>
                  </a:moveTo>
                  <a:lnTo>
                    <a:pt x="40" y="76"/>
                  </a:lnTo>
                  <a:lnTo>
                    <a:pt x="42" y="76"/>
                  </a:lnTo>
                  <a:close/>
                  <a:moveTo>
                    <a:pt x="23" y="76"/>
                  </a:moveTo>
                  <a:lnTo>
                    <a:pt x="23" y="74"/>
                  </a:lnTo>
                  <a:lnTo>
                    <a:pt x="23" y="76"/>
                  </a:lnTo>
                  <a:close/>
                  <a:moveTo>
                    <a:pt x="38" y="76"/>
                  </a:moveTo>
                  <a:lnTo>
                    <a:pt x="38" y="74"/>
                  </a:lnTo>
                  <a:lnTo>
                    <a:pt x="38" y="76"/>
                  </a:lnTo>
                  <a:close/>
                  <a:moveTo>
                    <a:pt x="31" y="74"/>
                  </a:moveTo>
                  <a:lnTo>
                    <a:pt x="28" y="74"/>
                  </a:lnTo>
                  <a:lnTo>
                    <a:pt x="31" y="74"/>
                  </a:lnTo>
                  <a:close/>
                  <a:moveTo>
                    <a:pt x="31" y="74"/>
                  </a:moveTo>
                  <a:lnTo>
                    <a:pt x="28" y="74"/>
                  </a:lnTo>
                  <a:lnTo>
                    <a:pt x="31" y="74"/>
                  </a:lnTo>
                  <a:close/>
                  <a:moveTo>
                    <a:pt x="28" y="71"/>
                  </a:moveTo>
                  <a:lnTo>
                    <a:pt x="28" y="74"/>
                  </a:lnTo>
                  <a:lnTo>
                    <a:pt x="28" y="71"/>
                  </a:lnTo>
                  <a:close/>
                  <a:moveTo>
                    <a:pt x="31" y="69"/>
                  </a:moveTo>
                  <a:lnTo>
                    <a:pt x="31" y="67"/>
                  </a:lnTo>
                  <a:lnTo>
                    <a:pt x="31" y="69"/>
                  </a:lnTo>
                  <a:close/>
                  <a:moveTo>
                    <a:pt x="33" y="69"/>
                  </a:moveTo>
                  <a:lnTo>
                    <a:pt x="31" y="69"/>
                  </a:lnTo>
                  <a:lnTo>
                    <a:pt x="33" y="69"/>
                  </a:lnTo>
                  <a:lnTo>
                    <a:pt x="33" y="67"/>
                  </a:lnTo>
                  <a:lnTo>
                    <a:pt x="33" y="69"/>
                  </a:lnTo>
                  <a:close/>
                  <a:moveTo>
                    <a:pt x="31" y="69"/>
                  </a:moveTo>
                  <a:lnTo>
                    <a:pt x="31" y="67"/>
                  </a:lnTo>
                  <a:lnTo>
                    <a:pt x="31" y="69"/>
                  </a:lnTo>
                  <a:close/>
                  <a:moveTo>
                    <a:pt x="33" y="67"/>
                  </a:moveTo>
                  <a:lnTo>
                    <a:pt x="31" y="67"/>
                  </a:lnTo>
                  <a:lnTo>
                    <a:pt x="33" y="67"/>
                  </a:lnTo>
                  <a:close/>
                  <a:moveTo>
                    <a:pt x="28" y="67"/>
                  </a:moveTo>
                  <a:lnTo>
                    <a:pt x="26" y="67"/>
                  </a:lnTo>
                  <a:lnTo>
                    <a:pt x="28" y="67"/>
                  </a:lnTo>
                  <a:close/>
                  <a:moveTo>
                    <a:pt x="38" y="62"/>
                  </a:moveTo>
                  <a:lnTo>
                    <a:pt x="38" y="64"/>
                  </a:lnTo>
                  <a:lnTo>
                    <a:pt x="38" y="62"/>
                  </a:lnTo>
                  <a:close/>
                  <a:moveTo>
                    <a:pt x="42" y="62"/>
                  </a:moveTo>
                  <a:lnTo>
                    <a:pt x="40" y="64"/>
                  </a:lnTo>
                  <a:lnTo>
                    <a:pt x="40" y="62"/>
                  </a:lnTo>
                  <a:lnTo>
                    <a:pt x="42" y="62"/>
                  </a:lnTo>
                  <a:close/>
                  <a:moveTo>
                    <a:pt x="42" y="62"/>
                  </a:moveTo>
                  <a:lnTo>
                    <a:pt x="40" y="62"/>
                  </a:lnTo>
                  <a:lnTo>
                    <a:pt x="42" y="62"/>
                  </a:lnTo>
                  <a:close/>
                  <a:moveTo>
                    <a:pt x="40" y="62"/>
                  </a:moveTo>
                  <a:lnTo>
                    <a:pt x="38" y="62"/>
                  </a:lnTo>
                  <a:lnTo>
                    <a:pt x="40" y="62"/>
                  </a:lnTo>
                  <a:close/>
                  <a:moveTo>
                    <a:pt x="38" y="62"/>
                  </a:moveTo>
                  <a:lnTo>
                    <a:pt x="38" y="60"/>
                  </a:lnTo>
                  <a:lnTo>
                    <a:pt x="38" y="62"/>
                  </a:lnTo>
                  <a:close/>
                  <a:moveTo>
                    <a:pt x="40" y="60"/>
                  </a:moveTo>
                  <a:lnTo>
                    <a:pt x="40" y="62"/>
                  </a:lnTo>
                  <a:lnTo>
                    <a:pt x="40" y="60"/>
                  </a:lnTo>
                  <a:close/>
                  <a:moveTo>
                    <a:pt x="38" y="60"/>
                  </a:moveTo>
                  <a:lnTo>
                    <a:pt x="38" y="62"/>
                  </a:lnTo>
                  <a:lnTo>
                    <a:pt x="38" y="60"/>
                  </a:lnTo>
                  <a:close/>
                  <a:moveTo>
                    <a:pt x="19" y="60"/>
                  </a:moveTo>
                  <a:lnTo>
                    <a:pt x="19" y="62"/>
                  </a:lnTo>
                  <a:lnTo>
                    <a:pt x="19" y="60"/>
                  </a:lnTo>
                  <a:close/>
                  <a:moveTo>
                    <a:pt x="21" y="60"/>
                  </a:moveTo>
                  <a:lnTo>
                    <a:pt x="19" y="60"/>
                  </a:lnTo>
                  <a:lnTo>
                    <a:pt x="21" y="60"/>
                  </a:lnTo>
                  <a:close/>
                  <a:moveTo>
                    <a:pt x="14" y="60"/>
                  </a:moveTo>
                  <a:lnTo>
                    <a:pt x="16" y="60"/>
                  </a:lnTo>
                  <a:lnTo>
                    <a:pt x="14" y="60"/>
                  </a:lnTo>
                  <a:close/>
                  <a:moveTo>
                    <a:pt x="21" y="57"/>
                  </a:moveTo>
                  <a:lnTo>
                    <a:pt x="21" y="60"/>
                  </a:lnTo>
                  <a:lnTo>
                    <a:pt x="21" y="57"/>
                  </a:lnTo>
                  <a:close/>
                  <a:moveTo>
                    <a:pt x="40" y="57"/>
                  </a:moveTo>
                  <a:lnTo>
                    <a:pt x="38" y="57"/>
                  </a:lnTo>
                  <a:lnTo>
                    <a:pt x="40" y="57"/>
                  </a:lnTo>
                  <a:close/>
                  <a:moveTo>
                    <a:pt x="14" y="57"/>
                  </a:moveTo>
                  <a:lnTo>
                    <a:pt x="12" y="57"/>
                  </a:lnTo>
                  <a:lnTo>
                    <a:pt x="14" y="57"/>
                  </a:lnTo>
                  <a:close/>
                  <a:moveTo>
                    <a:pt x="38" y="57"/>
                  </a:moveTo>
                  <a:lnTo>
                    <a:pt x="35" y="57"/>
                  </a:lnTo>
                  <a:lnTo>
                    <a:pt x="38" y="57"/>
                  </a:lnTo>
                  <a:close/>
                  <a:moveTo>
                    <a:pt x="52" y="57"/>
                  </a:moveTo>
                  <a:lnTo>
                    <a:pt x="50" y="57"/>
                  </a:lnTo>
                  <a:lnTo>
                    <a:pt x="52" y="57"/>
                  </a:lnTo>
                  <a:close/>
                  <a:moveTo>
                    <a:pt x="23" y="57"/>
                  </a:moveTo>
                  <a:lnTo>
                    <a:pt x="26" y="57"/>
                  </a:lnTo>
                  <a:lnTo>
                    <a:pt x="23" y="57"/>
                  </a:lnTo>
                  <a:close/>
                  <a:moveTo>
                    <a:pt x="35" y="57"/>
                  </a:moveTo>
                  <a:lnTo>
                    <a:pt x="35" y="55"/>
                  </a:lnTo>
                  <a:lnTo>
                    <a:pt x="35" y="57"/>
                  </a:lnTo>
                  <a:close/>
                  <a:moveTo>
                    <a:pt x="35" y="57"/>
                  </a:moveTo>
                  <a:lnTo>
                    <a:pt x="35" y="55"/>
                  </a:lnTo>
                  <a:lnTo>
                    <a:pt x="35" y="57"/>
                  </a:lnTo>
                  <a:close/>
                  <a:moveTo>
                    <a:pt x="50" y="55"/>
                  </a:moveTo>
                  <a:lnTo>
                    <a:pt x="47" y="55"/>
                  </a:lnTo>
                  <a:lnTo>
                    <a:pt x="50" y="55"/>
                  </a:lnTo>
                  <a:close/>
                  <a:moveTo>
                    <a:pt x="33" y="55"/>
                  </a:moveTo>
                  <a:lnTo>
                    <a:pt x="31" y="55"/>
                  </a:lnTo>
                  <a:lnTo>
                    <a:pt x="33" y="55"/>
                  </a:lnTo>
                  <a:close/>
                  <a:moveTo>
                    <a:pt x="35" y="55"/>
                  </a:moveTo>
                  <a:lnTo>
                    <a:pt x="33" y="55"/>
                  </a:lnTo>
                  <a:lnTo>
                    <a:pt x="35" y="55"/>
                  </a:lnTo>
                  <a:close/>
                  <a:moveTo>
                    <a:pt x="21" y="55"/>
                  </a:moveTo>
                  <a:lnTo>
                    <a:pt x="21" y="52"/>
                  </a:lnTo>
                  <a:lnTo>
                    <a:pt x="21" y="55"/>
                  </a:lnTo>
                  <a:close/>
                  <a:moveTo>
                    <a:pt x="33" y="55"/>
                  </a:moveTo>
                  <a:lnTo>
                    <a:pt x="33" y="52"/>
                  </a:lnTo>
                  <a:lnTo>
                    <a:pt x="33" y="55"/>
                  </a:lnTo>
                  <a:close/>
                  <a:moveTo>
                    <a:pt x="21" y="55"/>
                  </a:moveTo>
                  <a:lnTo>
                    <a:pt x="21" y="52"/>
                  </a:lnTo>
                  <a:lnTo>
                    <a:pt x="21" y="55"/>
                  </a:lnTo>
                  <a:close/>
                  <a:moveTo>
                    <a:pt x="47" y="52"/>
                  </a:moveTo>
                  <a:lnTo>
                    <a:pt x="47" y="55"/>
                  </a:lnTo>
                  <a:lnTo>
                    <a:pt x="47" y="52"/>
                  </a:lnTo>
                  <a:close/>
                  <a:moveTo>
                    <a:pt x="21" y="52"/>
                  </a:moveTo>
                  <a:lnTo>
                    <a:pt x="21" y="55"/>
                  </a:lnTo>
                  <a:lnTo>
                    <a:pt x="21" y="52"/>
                  </a:lnTo>
                  <a:close/>
                  <a:moveTo>
                    <a:pt x="35" y="52"/>
                  </a:moveTo>
                  <a:lnTo>
                    <a:pt x="33" y="52"/>
                  </a:lnTo>
                  <a:lnTo>
                    <a:pt x="35" y="52"/>
                  </a:lnTo>
                  <a:close/>
                  <a:moveTo>
                    <a:pt x="28" y="52"/>
                  </a:moveTo>
                  <a:lnTo>
                    <a:pt x="26" y="52"/>
                  </a:lnTo>
                  <a:lnTo>
                    <a:pt x="28" y="52"/>
                  </a:lnTo>
                  <a:close/>
                  <a:moveTo>
                    <a:pt x="16" y="52"/>
                  </a:moveTo>
                  <a:lnTo>
                    <a:pt x="16" y="50"/>
                  </a:lnTo>
                  <a:lnTo>
                    <a:pt x="16" y="52"/>
                  </a:lnTo>
                  <a:close/>
                  <a:moveTo>
                    <a:pt x="42" y="50"/>
                  </a:moveTo>
                  <a:lnTo>
                    <a:pt x="40" y="50"/>
                  </a:lnTo>
                  <a:lnTo>
                    <a:pt x="42" y="50"/>
                  </a:lnTo>
                  <a:close/>
                  <a:moveTo>
                    <a:pt x="92" y="50"/>
                  </a:moveTo>
                  <a:lnTo>
                    <a:pt x="92" y="48"/>
                  </a:lnTo>
                  <a:lnTo>
                    <a:pt x="92" y="50"/>
                  </a:lnTo>
                  <a:close/>
                  <a:moveTo>
                    <a:pt x="97" y="48"/>
                  </a:moveTo>
                  <a:lnTo>
                    <a:pt x="97" y="50"/>
                  </a:lnTo>
                  <a:lnTo>
                    <a:pt x="97" y="48"/>
                  </a:lnTo>
                  <a:close/>
                  <a:moveTo>
                    <a:pt x="97" y="48"/>
                  </a:moveTo>
                  <a:lnTo>
                    <a:pt x="95" y="50"/>
                  </a:lnTo>
                  <a:lnTo>
                    <a:pt x="95" y="48"/>
                  </a:lnTo>
                  <a:lnTo>
                    <a:pt x="97" y="48"/>
                  </a:lnTo>
                  <a:close/>
                  <a:moveTo>
                    <a:pt x="95" y="48"/>
                  </a:moveTo>
                  <a:lnTo>
                    <a:pt x="97" y="48"/>
                  </a:lnTo>
                  <a:lnTo>
                    <a:pt x="95" y="48"/>
                  </a:lnTo>
                  <a:close/>
                  <a:moveTo>
                    <a:pt x="99" y="48"/>
                  </a:moveTo>
                  <a:lnTo>
                    <a:pt x="97" y="48"/>
                  </a:lnTo>
                  <a:lnTo>
                    <a:pt x="99" y="48"/>
                  </a:lnTo>
                  <a:close/>
                  <a:moveTo>
                    <a:pt x="301" y="45"/>
                  </a:moveTo>
                  <a:lnTo>
                    <a:pt x="299" y="45"/>
                  </a:lnTo>
                  <a:lnTo>
                    <a:pt x="301" y="45"/>
                  </a:lnTo>
                  <a:close/>
                  <a:moveTo>
                    <a:pt x="59" y="45"/>
                  </a:moveTo>
                  <a:lnTo>
                    <a:pt x="57" y="45"/>
                  </a:lnTo>
                  <a:lnTo>
                    <a:pt x="59" y="45"/>
                  </a:lnTo>
                  <a:close/>
                  <a:moveTo>
                    <a:pt x="59" y="43"/>
                  </a:moveTo>
                  <a:lnTo>
                    <a:pt x="59" y="41"/>
                  </a:lnTo>
                  <a:lnTo>
                    <a:pt x="59" y="43"/>
                  </a:lnTo>
                  <a:close/>
                  <a:moveTo>
                    <a:pt x="66" y="38"/>
                  </a:moveTo>
                  <a:lnTo>
                    <a:pt x="64" y="38"/>
                  </a:lnTo>
                  <a:lnTo>
                    <a:pt x="66" y="38"/>
                  </a:lnTo>
                  <a:close/>
                  <a:moveTo>
                    <a:pt x="301" y="38"/>
                  </a:moveTo>
                  <a:lnTo>
                    <a:pt x="299" y="38"/>
                  </a:lnTo>
                  <a:lnTo>
                    <a:pt x="301" y="38"/>
                  </a:lnTo>
                  <a:close/>
                  <a:moveTo>
                    <a:pt x="2" y="26"/>
                  </a:moveTo>
                  <a:lnTo>
                    <a:pt x="0" y="26"/>
                  </a:lnTo>
                  <a:lnTo>
                    <a:pt x="2" y="26"/>
                  </a:lnTo>
                  <a:close/>
                  <a:moveTo>
                    <a:pt x="19" y="24"/>
                  </a:moveTo>
                  <a:lnTo>
                    <a:pt x="19" y="26"/>
                  </a:lnTo>
                  <a:lnTo>
                    <a:pt x="19" y="24"/>
                  </a:lnTo>
                  <a:close/>
                  <a:moveTo>
                    <a:pt x="140" y="21"/>
                  </a:moveTo>
                  <a:lnTo>
                    <a:pt x="142" y="21"/>
                  </a:lnTo>
                  <a:lnTo>
                    <a:pt x="140" y="21"/>
                  </a:lnTo>
                  <a:close/>
                  <a:moveTo>
                    <a:pt x="209" y="10"/>
                  </a:moveTo>
                  <a:lnTo>
                    <a:pt x="206" y="10"/>
                  </a:lnTo>
                  <a:lnTo>
                    <a:pt x="206" y="7"/>
                  </a:lnTo>
                  <a:lnTo>
                    <a:pt x="209" y="7"/>
                  </a:lnTo>
                  <a:lnTo>
                    <a:pt x="209" y="10"/>
                  </a:lnTo>
                  <a:close/>
                  <a:moveTo>
                    <a:pt x="12" y="2"/>
                  </a:moveTo>
                  <a:lnTo>
                    <a:pt x="12" y="0"/>
                  </a:lnTo>
                  <a:lnTo>
                    <a:pt x="12"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7" name="Freeform 52464"/>
            <p:cNvSpPr>
              <a:spLocks/>
            </p:cNvSpPr>
            <p:nvPr/>
          </p:nvSpPr>
          <p:spPr bwMode="auto">
            <a:xfrm>
              <a:off x="1479548" y="4275153"/>
              <a:ext cx="233363" cy="312739"/>
            </a:xfrm>
            <a:custGeom>
              <a:avLst/>
              <a:gdLst>
                <a:gd name="T0" fmla="*/ 69 w 147"/>
                <a:gd name="T1" fmla="*/ 176 h 197"/>
                <a:gd name="T2" fmla="*/ 66 w 147"/>
                <a:gd name="T3" fmla="*/ 183 h 197"/>
                <a:gd name="T4" fmla="*/ 59 w 147"/>
                <a:gd name="T5" fmla="*/ 188 h 197"/>
                <a:gd name="T6" fmla="*/ 42 w 147"/>
                <a:gd name="T7" fmla="*/ 190 h 197"/>
                <a:gd name="T8" fmla="*/ 35 w 147"/>
                <a:gd name="T9" fmla="*/ 192 h 197"/>
                <a:gd name="T10" fmla="*/ 24 w 147"/>
                <a:gd name="T11" fmla="*/ 195 h 197"/>
                <a:gd name="T12" fmla="*/ 21 w 147"/>
                <a:gd name="T13" fmla="*/ 190 h 197"/>
                <a:gd name="T14" fmla="*/ 9 w 147"/>
                <a:gd name="T15" fmla="*/ 190 h 197"/>
                <a:gd name="T16" fmla="*/ 21 w 147"/>
                <a:gd name="T17" fmla="*/ 183 h 197"/>
                <a:gd name="T18" fmla="*/ 16 w 147"/>
                <a:gd name="T19" fmla="*/ 181 h 197"/>
                <a:gd name="T20" fmla="*/ 5 w 147"/>
                <a:gd name="T21" fmla="*/ 178 h 197"/>
                <a:gd name="T22" fmla="*/ 24 w 147"/>
                <a:gd name="T23" fmla="*/ 164 h 197"/>
                <a:gd name="T24" fmla="*/ 0 w 147"/>
                <a:gd name="T25" fmla="*/ 159 h 197"/>
                <a:gd name="T26" fmla="*/ 14 w 147"/>
                <a:gd name="T27" fmla="*/ 157 h 197"/>
                <a:gd name="T28" fmla="*/ 19 w 147"/>
                <a:gd name="T29" fmla="*/ 150 h 197"/>
                <a:gd name="T30" fmla="*/ 33 w 147"/>
                <a:gd name="T31" fmla="*/ 143 h 197"/>
                <a:gd name="T32" fmla="*/ 54 w 147"/>
                <a:gd name="T33" fmla="*/ 135 h 197"/>
                <a:gd name="T34" fmla="*/ 38 w 147"/>
                <a:gd name="T35" fmla="*/ 140 h 197"/>
                <a:gd name="T36" fmla="*/ 19 w 147"/>
                <a:gd name="T37" fmla="*/ 140 h 197"/>
                <a:gd name="T38" fmla="*/ 35 w 147"/>
                <a:gd name="T39" fmla="*/ 124 h 197"/>
                <a:gd name="T40" fmla="*/ 50 w 147"/>
                <a:gd name="T41" fmla="*/ 114 h 197"/>
                <a:gd name="T42" fmla="*/ 45 w 147"/>
                <a:gd name="T43" fmla="*/ 107 h 197"/>
                <a:gd name="T44" fmla="*/ 28 w 147"/>
                <a:gd name="T45" fmla="*/ 105 h 197"/>
                <a:gd name="T46" fmla="*/ 21 w 147"/>
                <a:gd name="T47" fmla="*/ 107 h 197"/>
                <a:gd name="T48" fmla="*/ 12 w 147"/>
                <a:gd name="T49" fmla="*/ 100 h 197"/>
                <a:gd name="T50" fmla="*/ 14 w 147"/>
                <a:gd name="T51" fmla="*/ 93 h 197"/>
                <a:gd name="T52" fmla="*/ 16 w 147"/>
                <a:gd name="T53" fmla="*/ 86 h 197"/>
                <a:gd name="T54" fmla="*/ 31 w 147"/>
                <a:gd name="T55" fmla="*/ 76 h 197"/>
                <a:gd name="T56" fmla="*/ 7 w 147"/>
                <a:gd name="T57" fmla="*/ 71 h 197"/>
                <a:gd name="T58" fmla="*/ 21 w 147"/>
                <a:gd name="T59" fmla="*/ 74 h 197"/>
                <a:gd name="T60" fmla="*/ 19 w 147"/>
                <a:gd name="T61" fmla="*/ 67 h 197"/>
                <a:gd name="T62" fmla="*/ 12 w 147"/>
                <a:gd name="T63" fmla="*/ 62 h 197"/>
                <a:gd name="T64" fmla="*/ 19 w 147"/>
                <a:gd name="T65" fmla="*/ 59 h 197"/>
                <a:gd name="T66" fmla="*/ 28 w 147"/>
                <a:gd name="T67" fmla="*/ 55 h 197"/>
                <a:gd name="T68" fmla="*/ 45 w 147"/>
                <a:gd name="T69" fmla="*/ 62 h 197"/>
                <a:gd name="T70" fmla="*/ 64 w 147"/>
                <a:gd name="T71" fmla="*/ 59 h 197"/>
                <a:gd name="T72" fmla="*/ 61 w 147"/>
                <a:gd name="T73" fmla="*/ 50 h 197"/>
                <a:gd name="T74" fmla="*/ 78 w 147"/>
                <a:gd name="T75" fmla="*/ 40 h 197"/>
                <a:gd name="T76" fmla="*/ 69 w 147"/>
                <a:gd name="T77" fmla="*/ 40 h 197"/>
                <a:gd name="T78" fmla="*/ 61 w 147"/>
                <a:gd name="T79" fmla="*/ 38 h 197"/>
                <a:gd name="T80" fmla="*/ 64 w 147"/>
                <a:gd name="T81" fmla="*/ 29 h 197"/>
                <a:gd name="T82" fmla="*/ 66 w 147"/>
                <a:gd name="T83" fmla="*/ 26 h 197"/>
                <a:gd name="T84" fmla="*/ 71 w 147"/>
                <a:gd name="T85" fmla="*/ 17 h 197"/>
                <a:gd name="T86" fmla="*/ 85 w 147"/>
                <a:gd name="T87" fmla="*/ 12 h 197"/>
                <a:gd name="T88" fmla="*/ 90 w 147"/>
                <a:gd name="T89" fmla="*/ 12 h 197"/>
                <a:gd name="T90" fmla="*/ 90 w 147"/>
                <a:gd name="T91" fmla="*/ 7 h 197"/>
                <a:gd name="T92" fmla="*/ 97 w 147"/>
                <a:gd name="T93" fmla="*/ 19 h 197"/>
                <a:gd name="T94" fmla="*/ 104 w 147"/>
                <a:gd name="T95" fmla="*/ 5 h 197"/>
                <a:gd name="T96" fmla="*/ 116 w 147"/>
                <a:gd name="T97" fmla="*/ 7 h 197"/>
                <a:gd name="T98" fmla="*/ 97 w 147"/>
                <a:gd name="T99" fmla="*/ 33 h 197"/>
                <a:gd name="T100" fmla="*/ 78 w 147"/>
                <a:gd name="T101" fmla="*/ 45 h 197"/>
                <a:gd name="T102" fmla="*/ 102 w 147"/>
                <a:gd name="T103" fmla="*/ 62 h 197"/>
                <a:gd name="T104" fmla="*/ 123 w 147"/>
                <a:gd name="T105" fmla="*/ 62 h 197"/>
                <a:gd name="T106" fmla="*/ 145 w 147"/>
                <a:gd name="T107" fmla="*/ 71 h 197"/>
                <a:gd name="T108" fmla="*/ 140 w 147"/>
                <a:gd name="T109" fmla="*/ 86 h 197"/>
                <a:gd name="T110" fmla="*/ 145 w 147"/>
                <a:gd name="T111" fmla="*/ 107 h 197"/>
                <a:gd name="T112" fmla="*/ 140 w 147"/>
                <a:gd name="T113" fmla="*/ 135 h 197"/>
                <a:gd name="T114" fmla="*/ 133 w 147"/>
                <a:gd name="T115" fmla="*/ 154 h 197"/>
                <a:gd name="T116" fmla="*/ 118 w 147"/>
                <a:gd name="T117" fmla="*/ 159 h 197"/>
                <a:gd name="T118" fmla="*/ 114 w 147"/>
                <a:gd name="T119" fmla="*/ 157 h 197"/>
                <a:gd name="T120" fmla="*/ 111 w 147"/>
                <a:gd name="T121" fmla="*/ 164 h 197"/>
                <a:gd name="T122" fmla="*/ 95 w 147"/>
                <a:gd name="T123" fmla="*/ 166 h 197"/>
                <a:gd name="T124" fmla="*/ 83 w 147"/>
                <a:gd name="T125" fmla="*/ 1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97">
                  <a:moveTo>
                    <a:pt x="76" y="178"/>
                  </a:moveTo>
                  <a:lnTo>
                    <a:pt x="73" y="178"/>
                  </a:lnTo>
                  <a:lnTo>
                    <a:pt x="76" y="178"/>
                  </a:lnTo>
                  <a:lnTo>
                    <a:pt x="76" y="176"/>
                  </a:lnTo>
                  <a:lnTo>
                    <a:pt x="73" y="176"/>
                  </a:lnTo>
                  <a:lnTo>
                    <a:pt x="76" y="176"/>
                  </a:lnTo>
                  <a:lnTo>
                    <a:pt x="73" y="176"/>
                  </a:lnTo>
                  <a:lnTo>
                    <a:pt x="71" y="176"/>
                  </a:lnTo>
                  <a:lnTo>
                    <a:pt x="73" y="176"/>
                  </a:lnTo>
                  <a:lnTo>
                    <a:pt x="71" y="176"/>
                  </a:lnTo>
                  <a:lnTo>
                    <a:pt x="73" y="176"/>
                  </a:lnTo>
                  <a:lnTo>
                    <a:pt x="71" y="178"/>
                  </a:lnTo>
                  <a:lnTo>
                    <a:pt x="71" y="176"/>
                  </a:lnTo>
                  <a:lnTo>
                    <a:pt x="71" y="173"/>
                  </a:lnTo>
                  <a:lnTo>
                    <a:pt x="71" y="176"/>
                  </a:lnTo>
                  <a:lnTo>
                    <a:pt x="71" y="173"/>
                  </a:lnTo>
                  <a:lnTo>
                    <a:pt x="71" y="176"/>
                  </a:lnTo>
                  <a:lnTo>
                    <a:pt x="71" y="173"/>
                  </a:lnTo>
                  <a:lnTo>
                    <a:pt x="71" y="176"/>
                  </a:lnTo>
                  <a:lnTo>
                    <a:pt x="69" y="176"/>
                  </a:lnTo>
                  <a:lnTo>
                    <a:pt x="69" y="173"/>
                  </a:lnTo>
                  <a:lnTo>
                    <a:pt x="69" y="176"/>
                  </a:lnTo>
                  <a:lnTo>
                    <a:pt x="66" y="176"/>
                  </a:lnTo>
                  <a:lnTo>
                    <a:pt x="69" y="176"/>
                  </a:lnTo>
                  <a:lnTo>
                    <a:pt x="66" y="176"/>
                  </a:lnTo>
                  <a:lnTo>
                    <a:pt x="69" y="176"/>
                  </a:lnTo>
                  <a:lnTo>
                    <a:pt x="71" y="176"/>
                  </a:lnTo>
                  <a:lnTo>
                    <a:pt x="71" y="178"/>
                  </a:lnTo>
                  <a:lnTo>
                    <a:pt x="69" y="178"/>
                  </a:lnTo>
                  <a:lnTo>
                    <a:pt x="71" y="178"/>
                  </a:lnTo>
                  <a:lnTo>
                    <a:pt x="71" y="181"/>
                  </a:lnTo>
                  <a:lnTo>
                    <a:pt x="71" y="178"/>
                  </a:lnTo>
                  <a:lnTo>
                    <a:pt x="71" y="181"/>
                  </a:lnTo>
                  <a:lnTo>
                    <a:pt x="71" y="178"/>
                  </a:lnTo>
                  <a:lnTo>
                    <a:pt x="71" y="181"/>
                  </a:lnTo>
                  <a:lnTo>
                    <a:pt x="69" y="178"/>
                  </a:lnTo>
                  <a:lnTo>
                    <a:pt x="71" y="181"/>
                  </a:lnTo>
                  <a:lnTo>
                    <a:pt x="71" y="178"/>
                  </a:lnTo>
                  <a:lnTo>
                    <a:pt x="71" y="181"/>
                  </a:lnTo>
                  <a:lnTo>
                    <a:pt x="71" y="183"/>
                  </a:lnTo>
                  <a:lnTo>
                    <a:pt x="69" y="183"/>
                  </a:lnTo>
                  <a:lnTo>
                    <a:pt x="69" y="185"/>
                  </a:lnTo>
                  <a:lnTo>
                    <a:pt x="66" y="185"/>
                  </a:lnTo>
                  <a:lnTo>
                    <a:pt x="66" y="183"/>
                  </a:lnTo>
                  <a:lnTo>
                    <a:pt x="64" y="183"/>
                  </a:lnTo>
                  <a:lnTo>
                    <a:pt x="66" y="185"/>
                  </a:lnTo>
                  <a:lnTo>
                    <a:pt x="66" y="183"/>
                  </a:lnTo>
                  <a:lnTo>
                    <a:pt x="66" y="185"/>
                  </a:lnTo>
                  <a:lnTo>
                    <a:pt x="64" y="185"/>
                  </a:lnTo>
                  <a:lnTo>
                    <a:pt x="61" y="185"/>
                  </a:lnTo>
                  <a:lnTo>
                    <a:pt x="64" y="185"/>
                  </a:lnTo>
                  <a:lnTo>
                    <a:pt x="61" y="185"/>
                  </a:lnTo>
                  <a:lnTo>
                    <a:pt x="61" y="183"/>
                  </a:lnTo>
                  <a:lnTo>
                    <a:pt x="59" y="183"/>
                  </a:lnTo>
                  <a:lnTo>
                    <a:pt x="61" y="183"/>
                  </a:lnTo>
                  <a:lnTo>
                    <a:pt x="61" y="185"/>
                  </a:lnTo>
                  <a:lnTo>
                    <a:pt x="64" y="185"/>
                  </a:lnTo>
                  <a:lnTo>
                    <a:pt x="64" y="188"/>
                  </a:lnTo>
                  <a:lnTo>
                    <a:pt x="64" y="190"/>
                  </a:lnTo>
                  <a:lnTo>
                    <a:pt x="64" y="188"/>
                  </a:lnTo>
                  <a:lnTo>
                    <a:pt x="61" y="188"/>
                  </a:lnTo>
                  <a:lnTo>
                    <a:pt x="59" y="188"/>
                  </a:lnTo>
                  <a:lnTo>
                    <a:pt x="57" y="188"/>
                  </a:lnTo>
                  <a:lnTo>
                    <a:pt x="59" y="188"/>
                  </a:lnTo>
                  <a:lnTo>
                    <a:pt x="57" y="188"/>
                  </a:lnTo>
                  <a:lnTo>
                    <a:pt x="59" y="188"/>
                  </a:lnTo>
                  <a:lnTo>
                    <a:pt x="59" y="190"/>
                  </a:lnTo>
                  <a:lnTo>
                    <a:pt x="57" y="190"/>
                  </a:lnTo>
                  <a:lnTo>
                    <a:pt x="59" y="190"/>
                  </a:lnTo>
                  <a:lnTo>
                    <a:pt x="57" y="190"/>
                  </a:lnTo>
                  <a:lnTo>
                    <a:pt x="59" y="190"/>
                  </a:lnTo>
                  <a:lnTo>
                    <a:pt x="57" y="190"/>
                  </a:lnTo>
                  <a:lnTo>
                    <a:pt x="59" y="190"/>
                  </a:lnTo>
                  <a:lnTo>
                    <a:pt x="57" y="190"/>
                  </a:lnTo>
                  <a:lnTo>
                    <a:pt x="54" y="190"/>
                  </a:lnTo>
                  <a:lnTo>
                    <a:pt x="52" y="190"/>
                  </a:lnTo>
                  <a:lnTo>
                    <a:pt x="52" y="188"/>
                  </a:lnTo>
                  <a:lnTo>
                    <a:pt x="52" y="190"/>
                  </a:lnTo>
                  <a:lnTo>
                    <a:pt x="52" y="192"/>
                  </a:lnTo>
                  <a:lnTo>
                    <a:pt x="50" y="192"/>
                  </a:lnTo>
                  <a:lnTo>
                    <a:pt x="47" y="192"/>
                  </a:lnTo>
                  <a:lnTo>
                    <a:pt x="47" y="190"/>
                  </a:lnTo>
                  <a:lnTo>
                    <a:pt x="47" y="192"/>
                  </a:lnTo>
                  <a:lnTo>
                    <a:pt x="47" y="190"/>
                  </a:lnTo>
                  <a:lnTo>
                    <a:pt x="47" y="192"/>
                  </a:lnTo>
                  <a:lnTo>
                    <a:pt x="45" y="192"/>
                  </a:lnTo>
                  <a:lnTo>
                    <a:pt x="42" y="192"/>
                  </a:lnTo>
                  <a:lnTo>
                    <a:pt x="42" y="190"/>
                  </a:lnTo>
                  <a:lnTo>
                    <a:pt x="42" y="192"/>
                  </a:lnTo>
                  <a:lnTo>
                    <a:pt x="45" y="192"/>
                  </a:lnTo>
                  <a:lnTo>
                    <a:pt x="42" y="192"/>
                  </a:lnTo>
                  <a:lnTo>
                    <a:pt x="45" y="192"/>
                  </a:lnTo>
                  <a:lnTo>
                    <a:pt x="42" y="192"/>
                  </a:lnTo>
                  <a:lnTo>
                    <a:pt x="42" y="195"/>
                  </a:lnTo>
                  <a:lnTo>
                    <a:pt x="42" y="192"/>
                  </a:lnTo>
                  <a:lnTo>
                    <a:pt x="42" y="195"/>
                  </a:lnTo>
                  <a:lnTo>
                    <a:pt x="40" y="195"/>
                  </a:lnTo>
                  <a:lnTo>
                    <a:pt x="38" y="195"/>
                  </a:lnTo>
                  <a:lnTo>
                    <a:pt x="38" y="197"/>
                  </a:lnTo>
                  <a:lnTo>
                    <a:pt x="35" y="195"/>
                  </a:lnTo>
                  <a:lnTo>
                    <a:pt x="35" y="197"/>
                  </a:lnTo>
                  <a:lnTo>
                    <a:pt x="35" y="195"/>
                  </a:lnTo>
                  <a:lnTo>
                    <a:pt x="35" y="192"/>
                  </a:lnTo>
                  <a:lnTo>
                    <a:pt x="38" y="192"/>
                  </a:lnTo>
                  <a:lnTo>
                    <a:pt x="35" y="192"/>
                  </a:lnTo>
                  <a:lnTo>
                    <a:pt x="35" y="195"/>
                  </a:lnTo>
                  <a:lnTo>
                    <a:pt x="33" y="195"/>
                  </a:lnTo>
                  <a:lnTo>
                    <a:pt x="35" y="195"/>
                  </a:lnTo>
                  <a:lnTo>
                    <a:pt x="33" y="195"/>
                  </a:lnTo>
                  <a:lnTo>
                    <a:pt x="35" y="192"/>
                  </a:lnTo>
                  <a:lnTo>
                    <a:pt x="33" y="192"/>
                  </a:lnTo>
                  <a:lnTo>
                    <a:pt x="35" y="192"/>
                  </a:lnTo>
                  <a:lnTo>
                    <a:pt x="33" y="192"/>
                  </a:lnTo>
                  <a:lnTo>
                    <a:pt x="35" y="192"/>
                  </a:lnTo>
                  <a:lnTo>
                    <a:pt x="33" y="192"/>
                  </a:lnTo>
                  <a:lnTo>
                    <a:pt x="31" y="192"/>
                  </a:lnTo>
                  <a:lnTo>
                    <a:pt x="31" y="195"/>
                  </a:lnTo>
                  <a:lnTo>
                    <a:pt x="31" y="192"/>
                  </a:lnTo>
                  <a:lnTo>
                    <a:pt x="31" y="195"/>
                  </a:lnTo>
                  <a:lnTo>
                    <a:pt x="28" y="195"/>
                  </a:lnTo>
                  <a:lnTo>
                    <a:pt x="26" y="195"/>
                  </a:lnTo>
                  <a:lnTo>
                    <a:pt x="26" y="192"/>
                  </a:lnTo>
                  <a:lnTo>
                    <a:pt x="26" y="195"/>
                  </a:lnTo>
                  <a:lnTo>
                    <a:pt x="24" y="195"/>
                  </a:lnTo>
                  <a:lnTo>
                    <a:pt x="26" y="195"/>
                  </a:lnTo>
                  <a:lnTo>
                    <a:pt x="24" y="195"/>
                  </a:lnTo>
                  <a:lnTo>
                    <a:pt x="24" y="197"/>
                  </a:lnTo>
                  <a:lnTo>
                    <a:pt x="24" y="195"/>
                  </a:lnTo>
                  <a:lnTo>
                    <a:pt x="26" y="195"/>
                  </a:lnTo>
                  <a:lnTo>
                    <a:pt x="24" y="195"/>
                  </a:lnTo>
                  <a:lnTo>
                    <a:pt x="24" y="197"/>
                  </a:lnTo>
                  <a:lnTo>
                    <a:pt x="24" y="195"/>
                  </a:lnTo>
                  <a:lnTo>
                    <a:pt x="21" y="197"/>
                  </a:lnTo>
                  <a:lnTo>
                    <a:pt x="21" y="195"/>
                  </a:lnTo>
                  <a:lnTo>
                    <a:pt x="24" y="195"/>
                  </a:lnTo>
                  <a:lnTo>
                    <a:pt x="24" y="192"/>
                  </a:lnTo>
                  <a:lnTo>
                    <a:pt x="26" y="192"/>
                  </a:lnTo>
                  <a:lnTo>
                    <a:pt x="26" y="190"/>
                  </a:lnTo>
                  <a:lnTo>
                    <a:pt x="28" y="190"/>
                  </a:lnTo>
                  <a:lnTo>
                    <a:pt x="31" y="190"/>
                  </a:lnTo>
                  <a:lnTo>
                    <a:pt x="31" y="188"/>
                  </a:lnTo>
                  <a:lnTo>
                    <a:pt x="31" y="190"/>
                  </a:lnTo>
                  <a:lnTo>
                    <a:pt x="28" y="190"/>
                  </a:lnTo>
                  <a:lnTo>
                    <a:pt x="31" y="190"/>
                  </a:lnTo>
                  <a:lnTo>
                    <a:pt x="28" y="190"/>
                  </a:lnTo>
                  <a:lnTo>
                    <a:pt x="26" y="190"/>
                  </a:lnTo>
                  <a:lnTo>
                    <a:pt x="28" y="190"/>
                  </a:lnTo>
                  <a:lnTo>
                    <a:pt x="26" y="190"/>
                  </a:lnTo>
                  <a:lnTo>
                    <a:pt x="24" y="190"/>
                  </a:lnTo>
                  <a:lnTo>
                    <a:pt x="24" y="192"/>
                  </a:lnTo>
                  <a:lnTo>
                    <a:pt x="21" y="192"/>
                  </a:lnTo>
                  <a:lnTo>
                    <a:pt x="19" y="192"/>
                  </a:lnTo>
                  <a:lnTo>
                    <a:pt x="21" y="192"/>
                  </a:lnTo>
                  <a:lnTo>
                    <a:pt x="21" y="190"/>
                  </a:lnTo>
                  <a:lnTo>
                    <a:pt x="24" y="190"/>
                  </a:lnTo>
                  <a:lnTo>
                    <a:pt x="26" y="190"/>
                  </a:lnTo>
                  <a:lnTo>
                    <a:pt x="26" y="188"/>
                  </a:lnTo>
                  <a:lnTo>
                    <a:pt x="28" y="188"/>
                  </a:lnTo>
                  <a:lnTo>
                    <a:pt x="31" y="188"/>
                  </a:lnTo>
                  <a:lnTo>
                    <a:pt x="31" y="185"/>
                  </a:lnTo>
                  <a:lnTo>
                    <a:pt x="33" y="185"/>
                  </a:lnTo>
                  <a:lnTo>
                    <a:pt x="33" y="183"/>
                  </a:lnTo>
                  <a:lnTo>
                    <a:pt x="31" y="183"/>
                  </a:lnTo>
                  <a:lnTo>
                    <a:pt x="28" y="185"/>
                  </a:lnTo>
                  <a:lnTo>
                    <a:pt x="26" y="185"/>
                  </a:lnTo>
                  <a:lnTo>
                    <a:pt x="24" y="185"/>
                  </a:lnTo>
                  <a:lnTo>
                    <a:pt x="24" y="188"/>
                  </a:lnTo>
                  <a:lnTo>
                    <a:pt x="21" y="188"/>
                  </a:lnTo>
                  <a:lnTo>
                    <a:pt x="19" y="188"/>
                  </a:lnTo>
                  <a:lnTo>
                    <a:pt x="16" y="188"/>
                  </a:lnTo>
                  <a:lnTo>
                    <a:pt x="16" y="190"/>
                  </a:lnTo>
                  <a:lnTo>
                    <a:pt x="16" y="188"/>
                  </a:lnTo>
                  <a:lnTo>
                    <a:pt x="16" y="190"/>
                  </a:lnTo>
                  <a:lnTo>
                    <a:pt x="14" y="190"/>
                  </a:lnTo>
                  <a:lnTo>
                    <a:pt x="12" y="190"/>
                  </a:lnTo>
                  <a:lnTo>
                    <a:pt x="9" y="190"/>
                  </a:lnTo>
                  <a:lnTo>
                    <a:pt x="9" y="188"/>
                  </a:lnTo>
                  <a:lnTo>
                    <a:pt x="12" y="188"/>
                  </a:lnTo>
                  <a:lnTo>
                    <a:pt x="12" y="190"/>
                  </a:lnTo>
                  <a:lnTo>
                    <a:pt x="12" y="188"/>
                  </a:lnTo>
                  <a:lnTo>
                    <a:pt x="14" y="188"/>
                  </a:lnTo>
                  <a:lnTo>
                    <a:pt x="12" y="188"/>
                  </a:lnTo>
                  <a:lnTo>
                    <a:pt x="14" y="188"/>
                  </a:lnTo>
                  <a:lnTo>
                    <a:pt x="12" y="188"/>
                  </a:lnTo>
                  <a:lnTo>
                    <a:pt x="12" y="185"/>
                  </a:lnTo>
                  <a:lnTo>
                    <a:pt x="14" y="185"/>
                  </a:lnTo>
                  <a:lnTo>
                    <a:pt x="16" y="185"/>
                  </a:lnTo>
                  <a:lnTo>
                    <a:pt x="16" y="183"/>
                  </a:lnTo>
                  <a:lnTo>
                    <a:pt x="16" y="185"/>
                  </a:lnTo>
                  <a:lnTo>
                    <a:pt x="16" y="183"/>
                  </a:lnTo>
                  <a:lnTo>
                    <a:pt x="14" y="183"/>
                  </a:lnTo>
                  <a:lnTo>
                    <a:pt x="16" y="183"/>
                  </a:lnTo>
                  <a:lnTo>
                    <a:pt x="19" y="183"/>
                  </a:lnTo>
                  <a:lnTo>
                    <a:pt x="16" y="183"/>
                  </a:lnTo>
                  <a:lnTo>
                    <a:pt x="19" y="183"/>
                  </a:lnTo>
                  <a:lnTo>
                    <a:pt x="19" y="181"/>
                  </a:lnTo>
                  <a:lnTo>
                    <a:pt x="19" y="183"/>
                  </a:lnTo>
                  <a:lnTo>
                    <a:pt x="21" y="183"/>
                  </a:lnTo>
                  <a:lnTo>
                    <a:pt x="19" y="181"/>
                  </a:lnTo>
                  <a:lnTo>
                    <a:pt x="21" y="181"/>
                  </a:lnTo>
                  <a:lnTo>
                    <a:pt x="24" y="181"/>
                  </a:lnTo>
                  <a:lnTo>
                    <a:pt x="21" y="181"/>
                  </a:lnTo>
                  <a:lnTo>
                    <a:pt x="24" y="181"/>
                  </a:lnTo>
                  <a:lnTo>
                    <a:pt x="21" y="178"/>
                  </a:lnTo>
                  <a:lnTo>
                    <a:pt x="24" y="178"/>
                  </a:lnTo>
                  <a:lnTo>
                    <a:pt x="26" y="178"/>
                  </a:lnTo>
                  <a:lnTo>
                    <a:pt x="28" y="178"/>
                  </a:lnTo>
                  <a:lnTo>
                    <a:pt x="28" y="176"/>
                  </a:lnTo>
                  <a:lnTo>
                    <a:pt x="31" y="176"/>
                  </a:lnTo>
                  <a:lnTo>
                    <a:pt x="28" y="176"/>
                  </a:lnTo>
                  <a:lnTo>
                    <a:pt x="26" y="176"/>
                  </a:lnTo>
                  <a:lnTo>
                    <a:pt x="24" y="176"/>
                  </a:lnTo>
                  <a:lnTo>
                    <a:pt x="24" y="178"/>
                  </a:lnTo>
                  <a:lnTo>
                    <a:pt x="21" y="178"/>
                  </a:lnTo>
                  <a:lnTo>
                    <a:pt x="19" y="181"/>
                  </a:lnTo>
                  <a:lnTo>
                    <a:pt x="19" y="178"/>
                  </a:lnTo>
                  <a:lnTo>
                    <a:pt x="19" y="181"/>
                  </a:lnTo>
                  <a:lnTo>
                    <a:pt x="19" y="178"/>
                  </a:lnTo>
                  <a:lnTo>
                    <a:pt x="19" y="181"/>
                  </a:lnTo>
                  <a:lnTo>
                    <a:pt x="16" y="181"/>
                  </a:lnTo>
                  <a:lnTo>
                    <a:pt x="14" y="181"/>
                  </a:lnTo>
                  <a:lnTo>
                    <a:pt x="12" y="183"/>
                  </a:lnTo>
                  <a:lnTo>
                    <a:pt x="12" y="181"/>
                  </a:lnTo>
                  <a:lnTo>
                    <a:pt x="12" y="183"/>
                  </a:lnTo>
                  <a:lnTo>
                    <a:pt x="9" y="183"/>
                  </a:lnTo>
                  <a:lnTo>
                    <a:pt x="12" y="181"/>
                  </a:lnTo>
                  <a:lnTo>
                    <a:pt x="9" y="181"/>
                  </a:lnTo>
                  <a:lnTo>
                    <a:pt x="9" y="183"/>
                  </a:lnTo>
                  <a:lnTo>
                    <a:pt x="9" y="181"/>
                  </a:lnTo>
                  <a:lnTo>
                    <a:pt x="9" y="183"/>
                  </a:lnTo>
                  <a:lnTo>
                    <a:pt x="9" y="181"/>
                  </a:lnTo>
                  <a:lnTo>
                    <a:pt x="7" y="181"/>
                  </a:lnTo>
                  <a:lnTo>
                    <a:pt x="9" y="181"/>
                  </a:lnTo>
                  <a:lnTo>
                    <a:pt x="9" y="178"/>
                  </a:lnTo>
                  <a:lnTo>
                    <a:pt x="9" y="176"/>
                  </a:lnTo>
                  <a:lnTo>
                    <a:pt x="9" y="178"/>
                  </a:lnTo>
                  <a:lnTo>
                    <a:pt x="7" y="178"/>
                  </a:lnTo>
                  <a:lnTo>
                    <a:pt x="7" y="181"/>
                  </a:lnTo>
                  <a:lnTo>
                    <a:pt x="5" y="181"/>
                  </a:lnTo>
                  <a:lnTo>
                    <a:pt x="2" y="181"/>
                  </a:lnTo>
                  <a:lnTo>
                    <a:pt x="5" y="181"/>
                  </a:lnTo>
                  <a:lnTo>
                    <a:pt x="5" y="178"/>
                  </a:lnTo>
                  <a:lnTo>
                    <a:pt x="2" y="178"/>
                  </a:lnTo>
                  <a:lnTo>
                    <a:pt x="2" y="176"/>
                  </a:lnTo>
                  <a:lnTo>
                    <a:pt x="5" y="176"/>
                  </a:lnTo>
                  <a:lnTo>
                    <a:pt x="7" y="173"/>
                  </a:lnTo>
                  <a:lnTo>
                    <a:pt x="7" y="171"/>
                  </a:lnTo>
                  <a:lnTo>
                    <a:pt x="9" y="171"/>
                  </a:lnTo>
                  <a:lnTo>
                    <a:pt x="7" y="171"/>
                  </a:lnTo>
                  <a:lnTo>
                    <a:pt x="7" y="173"/>
                  </a:lnTo>
                  <a:lnTo>
                    <a:pt x="5" y="173"/>
                  </a:lnTo>
                  <a:lnTo>
                    <a:pt x="7" y="173"/>
                  </a:lnTo>
                  <a:lnTo>
                    <a:pt x="5" y="173"/>
                  </a:lnTo>
                  <a:lnTo>
                    <a:pt x="5" y="171"/>
                  </a:lnTo>
                  <a:lnTo>
                    <a:pt x="7" y="171"/>
                  </a:lnTo>
                  <a:lnTo>
                    <a:pt x="9" y="169"/>
                  </a:lnTo>
                  <a:lnTo>
                    <a:pt x="12" y="169"/>
                  </a:lnTo>
                  <a:lnTo>
                    <a:pt x="14" y="169"/>
                  </a:lnTo>
                  <a:lnTo>
                    <a:pt x="16" y="166"/>
                  </a:lnTo>
                  <a:lnTo>
                    <a:pt x="19" y="166"/>
                  </a:lnTo>
                  <a:lnTo>
                    <a:pt x="16" y="166"/>
                  </a:lnTo>
                  <a:lnTo>
                    <a:pt x="19" y="164"/>
                  </a:lnTo>
                  <a:lnTo>
                    <a:pt x="21" y="164"/>
                  </a:lnTo>
                  <a:lnTo>
                    <a:pt x="24" y="164"/>
                  </a:lnTo>
                  <a:lnTo>
                    <a:pt x="21" y="164"/>
                  </a:lnTo>
                  <a:lnTo>
                    <a:pt x="21" y="162"/>
                  </a:lnTo>
                  <a:lnTo>
                    <a:pt x="24" y="162"/>
                  </a:lnTo>
                  <a:lnTo>
                    <a:pt x="21" y="162"/>
                  </a:lnTo>
                  <a:lnTo>
                    <a:pt x="19" y="162"/>
                  </a:lnTo>
                  <a:lnTo>
                    <a:pt x="16" y="162"/>
                  </a:lnTo>
                  <a:lnTo>
                    <a:pt x="16" y="164"/>
                  </a:lnTo>
                  <a:lnTo>
                    <a:pt x="14" y="164"/>
                  </a:lnTo>
                  <a:lnTo>
                    <a:pt x="12" y="164"/>
                  </a:lnTo>
                  <a:lnTo>
                    <a:pt x="9" y="164"/>
                  </a:lnTo>
                  <a:lnTo>
                    <a:pt x="7" y="164"/>
                  </a:lnTo>
                  <a:lnTo>
                    <a:pt x="9" y="164"/>
                  </a:lnTo>
                  <a:lnTo>
                    <a:pt x="7" y="164"/>
                  </a:lnTo>
                  <a:lnTo>
                    <a:pt x="5" y="164"/>
                  </a:lnTo>
                  <a:lnTo>
                    <a:pt x="7" y="164"/>
                  </a:lnTo>
                  <a:lnTo>
                    <a:pt x="5" y="164"/>
                  </a:lnTo>
                  <a:lnTo>
                    <a:pt x="2" y="164"/>
                  </a:lnTo>
                  <a:lnTo>
                    <a:pt x="5" y="164"/>
                  </a:lnTo>
                  <a:lnTo>
                    <a:pt x="2" y="164"/>
                  </a:lnTo>
                  <a:lnTo>
                    <a:pt x="0" y="164"/>
                  </a:lnTo>
                  <a:lnTo>
                    <a:pt x="0" y="162"/>
                  </a:lnTo>
                  <a:lnTo>
                    <a:pt x="0" y="159"/>
                  </a:lnTo>
                  <a:lnTo>
                    <a:pt x="2" y="159"/>
                  </a:lnTo>
                  <a:lnTo>
                    <a:pt x="2" y="162"/>
                  </a:lnTo>
                  <a:lnTo>
                    <a:pt x="2" y="159"/>
                  </a:lnTo>
                  <a:lnTo>
                    <a:pt x="5" y="159"/>
                  </a:lnTo>
                  <a:lnTo>
                    <a:pt x="5" y="157"/>
                  </a:lnTo>
                  <a:lnTo>
                    <a:pt x="5" y="159"/>
                  </a:lnTo>
                  <a:lnTo>
                    <a:pt x="5" y="157"/>
                  </a:lnTo>
                  <a:lnTo>
                    <a:pt x="7" y="157"/>
                  </a:lnTo>
                  <a:lnTo>
                    <a:pt x="9" y="157"/>
                  </a:lnTo>
                  <a:lnTo>
                    <a:pt x="9" y="154"/>
                  </a:lnTo>
                  <a:lnTo>
                    <a:pt x="9" y="157"/>
                  </a:lnTo>
                  <a:lnTo>
                    <a:pt x="9" y="159"/>
                  </a:lnTo>
                  <a:lnTo>
                    <a:pt x="9" y="157"/>
                  </a:lnTo>
                  <a:lnTo>
                    <a:pt x="9" y="159"/>
                  </a:lnTo>
                  <a:lnTo>
                    <a:pt x="12" y="157"/>
                  </a:lnTo>
                  <a:lnTo>
                    <a:pt x="9" y="157"/>
                  </a:lnTo>
                  <a:lnTo>
                    <a:pt x="12" y="157"/>
                  </a:lnTo>
                  <a:lnTo>
                    <a:pt x="9" y="157"/>
                  </a:lnTo>
                  <a:lnTo>
                    <a:pt x="12" y="157"/>
                  </a:lnTo>
                  <a:lnTo>
                    <a:pt x="14" y="157"/>
                  </a:lnTo>
                  <a:lnTo>
                    <a:pt x="14" y="154"/>
                  </a:lnTo>
                  <a:lnTo>
                    <a:pt x="14" y="157"/>
                  </a:lnTo>
                  <a:lnTo>
                    <a:pt x="16" y="157"/>
                  </a:lnTo>
                  <a:lnTo>
                    <a:pt x="16" y="159"/>
                  </a:lnTo>
                  <a:lnTo>
                    <a:pt x="19" y="159"/>
                  </a:lnTo>
                  <a:lnTo>
                    <a:pt x="21" y="157"/>
                  </a:lnTo>
                  <a:lnTo>
                    <a:pt x="24" y="157"/>
                  </a:lnTo>
                  <a:lnTo>
                    <a:pt x="21" y="157"/>
                  </a:lnTo>
                  <a:lnTo>
                    <a:pt x="19" y="157"/>
                  </a:lnTo>
                  <a:lnTo>
                    <a:pt x="19" y="154"/>
                  </a:lnTo>
                  <a:lnTo>
                    <a:pt x="19" y="157"/>
                  </a:lnTo>
                  <a:lnTo>
                    <a:pt x="19" y="154"/>
                  </a:lnTo>
                  <a:lnTo>
                    <a:pt x="21" y="154"/>
                  </a:lnTo>
                  <a:lnTo>
                    <a:pt x="19" y="154"/>
                  </a:lnTo>
                  <a:lnTo>
                    <a:pt x="21" y="154"/>
                  </a:lnTo>
                  <a:lnTo>
                    <a:pt x="21" y="152"/>
                  </a:lnTo>
                  <a:lnTo>
                    <a:pt x="21" y="150"/>
                  </a:lnTo>
                  <a:lnTo>
                    <a:pt x="19" y="150"/>
                  </a:lnTo>
                  <a:lnTo>
                    <a:pt x="16" y="150"/>
                  </a:lnTo>
                  <a:lnTo>
                    <a:pt x="19" y="150"/>
                  </a:lnTo>
                  <a:lnTo>
                    <a:pt x="19" y="147"/>
                  </a:lnTo>
                  <a:lnTo>
                    <a:pt x="19" y="150"/>
                  </a:lnTo>
                  <a:lnTo>
                    <a:pt x="19" y="147"/>
                  </a:lnTo>
                  <a:lnTo>
                    <a:pt x="19" y="150"/>
                  </a:lnTo>
                  <a:lnTo>
                    <a:pt x="21" y="150"/>
                  </a:lnTo>
                  <a:lnTo>
                    <a:pt x="21" y="147"/>
                  </a:lnTo>
                  <a:lnTo>
                    <a:pt x="24" y="147"/>
                  </a:lnTo>
                  <a:lnTo>
                    <a:pt x="24" y="145"/>
                  </a:lnTo>
                  <a:lnTo>
                    <a:pt x="26" y="147"/>
                  </a:lnTo>
                  <a:lnTo>
                    <a:pt x="26" y="145"/>
                  </a:lnTo>
                  <a:lnTo>
                    <a:pt x="26" y="147"/>
                  </a:lnTo>
                  <a:lnTo>
                    <a:pt x="28" y="147"/>
                  </a:lnTo>
                  <a:lnTo>
                    <a:pt x="26" y="147"/>
                  </a:lnTo>
                  <a:lnTo>
                    <a:pt x="26" y="145"/>
                  </a:lnTo>
                  <a:lnTo>
                    <a:pt x="26" y="147"/>
                  </a:lnTo>
                  <a:lnTo>
                    <a:pt x="26" y="145"/>
                  </a:lnTo>
                  <a:lnTo>
                    <a:pt x="26" y="143"/>
                  </a:lnTo>
                  <a:lnTo>
                    <a:pt x="28" y="140"/>
                  </a:lnTo>
                  <a:lnTo>
                    <a:pt x="28" y="143"/>
                  </a:lnTo>
                  <a:lnTo>
                    <a:pt x="31" y="143"/>
                  </a:lnTo>
                  <a:lnTo>
                    <a:pt x="31" y="140"/>
                  </a:lnTo>
                  <a:lnTo>
                    <a:pt x="33" y="143"/>
                  </a:lnTo>
                  <a:lnTo>
                    <a:pt x="31" y="143"/>
                  </a:lnTo>
                  <a:lnTo>
                    <a:pt x="33" y="143"/>
                  </a:lnTo>
                  <a:lnTo>
                    <a:pt x="31" y="143"/>
                  </a:lnTo>
                  <a:lnTo>
                    <a:pt x="33" y="143"/>
                  </a:lnTo>
                  <a:lnTo>
                    <a:pt x="33" y="140"/>
                  </a:lnTo>
                  <a:lnTo>
                    <a:pt x="35" y="140"/>
                  </a:lnTo>
                  <a:lnTo>
                    <a:pt x="35" y="143"/>
                  </a:lnTo>
                  <a:lnTo>
                    <a:pt x="38" y="143"/>
                  </a:lnTo>
                  <a:lnTo>
                    <a:pt x="38" y="140"/>
                  </a:lnTo>
                  <a:lnTo>
                    <a:pt x="40" y="140"/>
                  </a:lnTo>
                  <a:lnTo>
                    <a:pt x="42" y="140"/>
                  </a:lnTo>
                  <a:lnTo>
                    <a:pt x="40" y="140"/>
                  </a:lnTo>
                  <a:lnTo>
                    <a:pt x="42" y="140"/>
                  </a:lnTo>
                  <a:lnTo>
                    <a:pt x="45" y="140"/>
                  </a:lnTo>
                  <a:lnTo>
                    <a:pt x="45" y="138"/>
                  </a:lnTo>
                  <a:lnTo>
                    <a:pt x="47" y="138"/>
                  </a:lnTo>
                  <a:lnTo>
                    <a:pt x="47" y="140"/>
                  </a:lnTo>
                  <a:lnTo>
                    <a:pt x="47" y="138"/>
                  </a:lnTo>
                  <a:lnTo>
                    <a:pt x="47" y="140"/>
                  </a:lnTo>
                  <a:lnTo>
                    <a:pt x="47" y="138"/>
                  </a:lnTo>
                  <a:lnTo>
                    <a:pt x="47" y="140"/>
                  </a:lnTo>
                  <a:lnTo>
                    <a:pt x="47" y="138"/>
                  </a:lnTo>
                  <a:lnTo>
                    <a:pt x="50" y="138"/>
                  </a:lnTo>
                  <a:lnTo>
                    <a:pt x="52" y="138"/>
                  </a:lnTo>
                  <a:lnTo>
                    <a:pt x="54" y="138"/>
                  </a:lnTo>
                  <a:lnTo>
                    <a:pt x="54" y="135"/>
                  </a:lnTo>
                  <a:lnTo>
                    <a:pt x="54" y="138"/>
                  </a:lnTo>
                  <a:lnTo>
                    <a:pt x="57" y="135"/>
                  </a:lnTo>
                  <a:lnTo>
                    <a:pt x="57" y="138"/>
                  </a:lnTo>
                  <a:lnTo>
                    <a:pt x="59" y="138"/>
                  </a:lnTo>
                  <a:lnTo>
                    <a:pt x="57" y="138"/>
                  </a:lnTo>
                  <a:lnTo>
                    <a:pt x="57" y="135"/>
                  </a:lnTo>
                  <a:lnTo>
                    <a:pt x="54" y="135"/>
                  </a:lnTo>
                  <a:lnTo>
                    <a:pt x="52" y="135"/>
                  </a:lnTo>
                  <a:lnTo>
                    <a:pt x="50" y="135"/>
                  </a:lnTo>
                  <a:lnTo>
                    <a:pt x="50" y="133"/>
                  </a:lnTo>
                  <a:lnTo>
                    <a:pt x="50" y="131"/>
                  </a:lnTo>
                  <a:lnTo>
                    <a:pt x="50" y="133"/>
                  </a:lnTo>
                  <a:lnTo>
                    <a:pt x="47" y="133"/>
                  </a:lnTo>
                  <a:lnTo>
                    <a:pt x="47" y="135"/>
                  </a:lnTo>
                  <a:lnTo>
                    <a:pt x="45" y="135"/>
                  </a:lnTo>
                  <a:lnTo>
                    <a:pt x="45" y="138"/>
                  </a:lnTo>
                  <a:lnTo>
                    <a:pt x="45" y="135"/>
                  </a:lnTo>
                  <a:lnTo>
                    <a:pt x="45" y="138"/>
                  </a:lnTo>
                  <a:lnTo>
                    <a:pt x="42" y="138"/>
                  </a:lnTo>
                  <a:lnTo>
                    <a:pt x="42" y="140"/>
                  </a:lnTo>
                  <a:lnTo>
                    <a:pt x="40" y="140"/>
                  </a:lnTo>
                  <a:lnTo>
                    <a:pt x="38" y="140"/>
                  </a:lnTo>
                  <a:lnTo>
                    <a:pt x="38" y="138"/>
                  </a:lnTo>
                  <a:lnTo>
                    <a:pt x="40" y="138"/>
                  </a:lnTo>
                  <a:lnTo>
                    <a:pt x="38" y="138"/>
                  </a:lnTo>
                  <a:lnTo>
                    <a:pt x="38" y="140"/>
                  </a:lnTo>
                  <a:lnTo>
                    <a:pt x="35" y="140"/>
                  </a:lnTo>
                  <a:lnTo>
                    <a:pt x="33" y="140"/>
                  </a:lnTo>
                  <a:lnTo>
                    <a:pt x="31" y="140"/>
                  </a:lnTo>
                  <a:lnTo>
                    <a:pt x="31" y="138"/>
                  </a:lnTo>
                  <a:lnTo>
                    <a:pt x="28" y="138"/>
                  </a:lnTo>
                  <a:lnTo>
                    <a:pt x="31" y="138"/>
                  </a:lnTo>
                  <a:lnTo>
                    <a:pt x="28" y="138"/>
                  </a:lnTo>
                  <a:lnTo>
                    <a:pt x="28" y="140"/>
                  </a:lnTo>
                  <a:lnTo>
                    <a:pt x="26" y="140"/>
                  </a:lnTo>
                  <a:lnTo>
                    <a:pt x="24" y="140"/>
                  </a:lnTo>
                  <a:lnTo>
                    <a:pt x="26" y="140"/>
                  </a:lnTo>
                  <a:lnTo>
                    <a:pt x="24" y="140"/>
                  </a:lnTo>
                  <a:lnTo>
                    <a:pt x="24" y="143"/>
                  </a:lnTo>
                  <a:lnTo>
                    <a:pt x="21" y="143"/>
                  </a:lnTo>
                  <a:lnTo>
                    <a:pt x="19" y="143"/>
                  </a:lnTo>
                  <a:lnTo>
                    <a:pt x="16" y="143"/>
                  </a:lnTo>
                  <a:lnTo>
                    <a:pt x="19" y="143"/>
                  </a:lnTo>
                  <a:lnTo>
                    <a:pt x="19" y="140"/>
                  </a:lnTo>
                  <a:lnTo>
                    <a:pt x="21" y="140"/>
                  </a:lnTo>
                  <a:lnTo>
                    <a:pt x="21" y="138"/>
                  </a:lnTo>
                  <a:lnTo>
                    <a:pt x="24" y="138"/>
                  </a:lnTo>
                  <a:lnTo>
                    <a:pt x="26" y="138"/>
                  </a:lnTo>
                  <a:lnTo>
                    <a:pt x="26" y="135"/>
                  </a:lnTo>
                  <a:lnTo>
                    <a:pt x="28" y="135"/>
                  </a:lnTo>
                  <a:lnTo>
                    <a:pt x="28" y="133"/>
                  </a:lnTo>
                  <a:lnTo>
                    <a:pt x="26" y="133"/>
                  </a:lnTo>
                  <a:lnTo>
                    <a:pt x="28" y="133"/>
                  </a:lnTo>
                  <a:lnTo>
                    <a:pt x="31" y="133"/>
                  </a:lnTo>
                  <a:lnTo>
                    <a:pt x="31" y="131"/>
                  </a:lnTo>
                  <a:lnTo>
                    <a:pt x="33" y="131"/>
                  </a:lnTo>
                  <a:lnTo>
                    <a:pt x="31" y="131"/>
                  </a:lnTo>
                  <a:lnTo>
                    <a:pt x="33" y="131"/>
                  </a:lnTo>
                  <a:lnTo>
                    <a:pt x="31" y="131"/>
                  </a:lnTo>
                  <a:lnTo>
                    <a:pt x="33" y="131"/>
                  </a:lnTo>
                  <a:lnTo>
                    <a:pt x="31" y="131"/>
                  </a:lnTo>
                  <a:lnTo>
                    <a:pt x="33" y="131"/>
                  </a:lnTo>
                  <a:lnTo>
                    <a:pt x="33" y="128"/>
                  </a:lnTo>
                  <a:lnTo>
                    <a:pt x="33" y="126"/>
                  </a:lnTo>
                  <a:lnTo>
                    <a:pt x="35" y="126"/>
                  </a:lnTo>
                  <a:lnTo>
                    <a:pt x="35" y="124"/>
                  </a:lnTo>
                  <a:lnTo>
                    <a:pt x="33" y="124"/>
                  </a:lnTo>
                  <a:lnTo>
                    <a:pt x="33" y="121"/>
                  </a:lnTo>
                  <a:lnTo>
                    <a:pt x="35" y="121"/>
                  </a:lnTo>
                  <a:lnTo>
                    <a:pt x="35" y="119"/>
                  </a:lnTo>
                  <a:lnTo>
                    <a:pt x="35" y="116"/>
                  </a:lnTo>
                  <a:lnTo>
                    <a:pt x="38" y="116"/>
                  </a:lnTo>
                  <a:lnTo>
                    <a:pt x="38" y="114"/>
                  </a:lnTo>
                  <a:lnTo>
                    <a:pt x="40" y="114"/>
                  </a:lnTo>
                  <a:lnTo>
                    <a:pt x="40" y="112"/>
                  </a:lnTo>
                  <a:lnTo>
                    <a:pt x="40" y="114"/>
                  </a:lnTo>
                  <a:lnTo>
                    <a:pt x="42" y="114"/>
                  </a:lnTo>
                  <a:lnTo>
                    <a:pt x="45" y="114"/>
                  </a:lnTo>
                  <a:lnTo>
                    <a:pt x="42" y="114"/>
                  </a:lnTo>
                  <a:lnTo>
                    <a:pt x="42" y="112"/>
                  </a:lnTo>
                  <a:lnTo>
                    <a:pt x="45" y="112"/>
                  </a:lnTo>
                  <a:lnTo>
                    <a:pt x="47" y="112"/>
                  </a:lnTo>
                  <a:lnTo>
                    <a:pt x="47" y="114"/>
                  </a:lnTo>
                  <a:lnTo>
                    <a:pt x="47" y="112"/>
                  </a:lnTo>
                  <a:lnTo>
                    <a:pt x="45" y="112"/>
                  </a:lnTo>
                  <a:lnTo>
                    <a:pt x="47" y="112"/>
                  </a:lnTo>
                  <a:lnTo>
                    <a:pt x="50" y="112"/>
                  </a:lnTo>
                  <a:lnTo>
                    <a:pt x="50" y="114"/>
                  </a:lnTo>
                  <a:lnTo>
                    <a:pt x="50" y="112"/>
                  </a:lnTo>
                  <a:lnTo>
                    <a:pt x="50" y="109"/>
                  </a:lnTo>
                  <a:lnTo>
                    <a:pt x="52" y="109"/>
                  </a:lnTo>
                  <a:lnTo>
                    <a:pt x="50" y="109"/>
                  </a:lnTo>
                  <a:lnTo>
                    <a:pt x="52" y="109"/>
                  </a:lnTo>
                  <a:lnTo>
                    <a:pt x="50" y="109"/>
                  </a:lnTo>
                  <a:lnTo>
                    <a:pt x="47" y="109"/>
                  </a:lnTo>
                  <a:lnTo>
                    <a:pt x="50" y="109"/>
                  </a:lnTo>
                  <a:lnTo>
                    <a:pt x="47" y="109"/>
                  </a:lnTo>
                  <a:lnTo>
                    <a:pt x="50" y="109"/>
                  </a:lnTo>
                  <a:lnTo>
                    <a:pt x="47" y="109"/>
                  </a:lnTo>
                  <a:lnTo>
                    <a:pt x="50" y="109"/>
                  </a:lnTo>
                  <a:lnTo>
                    <a:pt x="50" y="107"/>
                  </a:lnTo>
                  <a:lnTo>
                    <a:pt x="50" y="109"/>
                  </a:lnTo>
                  <a:lnTo>
                    <a:pt x="50" y="107"/>
                  </a:lnTo>
                  <a:lnTo>
                    <a:pt x="50" y="109"/>
                  </a:lnTo>
                  <a:lnTo>
                    <a:pt x="47" y="107"/>
                  </a:lnTo>
                  <a:lnTo>
                    <a:pt x="50" y="107"/>
                  </a:lnTo>
                  <a:lnTo>
                    <a:pt x="47" y="107"/>
                  </a:lnTo>
                  <a:lnTo>
                    <a:pt x="45" y="107"/>
                  </a:lnTo>
                  <a:lnTo>
                    <a:pt x="45" y="109"/>
                  </a:lnTo>
                  <a:lnTo>
                    <a:pt x="45" y="107"/>
                  </a:lnTo>
                  <a:lnTo>
                    <a:pt x="42" y="107"/>
                  </a:lnTo>
                  <a:lnTo>
                    <a:pt x="42" y="109"/>
                  </a:lnTo>
                  <a:lnTo>
                    <a:pt x="42" y="107"/>
                  </a:lnTo>
                  <a:lnTo>
                    <a:pt x="40" y="107"/>
                  </a:lnTo>
                  <a:lnTo>
                    <a:pt x="40" y="109"/>
                  </a:lnTo>
                  <a:lnTo>
                    <a:pt x="40" y="107"/>
                  </a:lnTo>
                  <a:lnTo>
                    <a:pt x="40" y="109"/>
                  </a:lnTo>
                  <a:lnTo>
                    <a:pt x="38" y="109"/>
                  </a:lnTo>
                  <a:lnTo>
                    <a:pt x="35" y="109"/>
                  </a:lnTo>
                  <a:lnTo>
                    <a:pt x="33" y="109"/>
                  </a:lnTo>
                  <a:lnTo>
                    <a:pt x="31" y="109"/>
                  </a:lnTo>
                  <a:lnTo>
                    <a:pt x="31" y="107"/>
                  </a:lnTo>
                  <a:lnTo>
                    <a:pt x="28" y="107"/>
                  </a:lnTo>
                  <a:lnTo>
                    <a:pt x="31" y="107"/>
                  </a:lnTo>
                  <a:lnTo>
                    <a:pt x="28" y="107"/>
                  </a:lnTo>
                  <a:lnTo>
                    <a:pt x="31" y="107"/>
                  </a:lnTo>
                  <a:lnTo>
                    <a:pt x="28" y="107"/>
                  </a:lnTo>
                  <a:lnTo>
                    <a:pt x="28" y="109"/>
                  </a:lnTo>
                  <a:lnTo>
                    <a:pt x="28" y="107"/>
                  </a:lnTo>
                  <a:lnTo>
                    <a:pt x="28" y="105"/>
                  </a:lnTo>
                  <a:lnTo>
                    <a:pt x="28" y="107"/>
                  </a:lnTo>
                  <a:lnTo>
                    <a:pt x="28" y="105"/>
                  </a:lnTo>
                  <a:lnTo>
                    <a:pt x="28" y="102"/>
                  </a:lnTo>
                  <a:lnTo>
                    <a:pt x="31" y="105"/>
                  </a:lnTo>
                  <a:lnTo>
                    <a:pt x="31" y="102"/>
                  </a:lnTo>
                  <a:lnTo>
                    <a:pt x="28" y="102"/>
                  </a:lnTo>
                  <a:lnTo>
                    <a:pt x="31" y="102"/>
                  </a:lnTo>
                  <a:lnTo>
                    <a:pt x="28" y="102"/>
                  </a:lnTo>
                  <a:lnTo>
                    <a:pt x="28" y="105"/>
                  </a:lnTo>
                  <a:lnTo>
                    <a:pt x="26" y="105"/>
                  </a:lnTo>
                  <a:lnTo>
                    <a:pt x="26" y="102"/>
                  </a:lnTo>
                  <a:lnTo>
                    <a:pt x="28" y="102"/>
                  </a:lnTo>
                  <a:lnTo>
                    <a:pt x="26" y="102"/>
                  </a:lnTo>
                  <a:lnTo>
                    <a:pt x="28" y="102"/>
                  </a:lnTo>
                  <a:lnTo>
                    <a:pt x="26" y="102"/>
                  </a:lnTo>
                  <a:lnTo>
                    <a:pt x="28" y="102"/>
                  </a:lnTo>
                  <a:lnTo>
                    <a:pt x="26" y="102"/>
                  </a:lnTo>
                  <a:lnTo>
                    <a:pt x="24" y="102"/>
                  </a:lnTo>
                  <a:lnTo>
                    <a:pt x="24" y="105"/>
                  </a:lnTo>
                  <a:lnTo>
                    <a:pt x="24" y="102"/>
                  </a:lnTo>
                  <a:lnTo>
                    <a:pt x="24" y="105"/>
                  </a:lnTo>
                  <a:lnTo>
                    <a:pt x="24" y="107"/>
                  </a:lnTo>
                  <a:lnTo>
                    <a:pt x="21" y="105"/>
                  </a:lnTo>
                  <a:lnTo>
                    <a:pt x="21" y="107"/>
                  </a:lnTo>
                  <a:lnTo>
                    <a:pt x="19" y="107"/>
                  </a:lnTo>
                  <a:lnTo>
                    <a:pt x="19" y="105"/>
                  </a:lnTo>
                  <a:lnTo>
                    <a:pt x="21" y="105"/>
                  </a:lnTo>
                  <a:lnTo>
                    <a:pt x="19" y="105"/>
                  </a:lnTo>
                  <a:lnTo>
                    <a:pt x="19" y="102"/>
                  </a:lnTo>
                  <a:lnTo>
                    <a:pt x="19" y="105"/>
                  </a:lnTo>
                  <a:lnTo>
                    <a:pt x="19" y="102"/>
                  </a:lnTo>
                  <a:lnTo>
                    <a:pt x="21" y="102"/>
                  </a:lnTo>
                  <a:lnTo>
                    <a:pt x="21" y="100"/>
                  </a:lnTo>
                  <a:lnTo>
                    <a:pt x="19" y="100"/>
                  </a:lnTo>
                  <a:lnTo>
                    <a:pt x="19" y="102"/>
                  </a:lnTo>
                  <a:lnTo>
                    <a:pt x="19" y="100"/>
                  </a:lnTo>
                  <a:lnTo>
                    <a:pt x="21" y="100"/>
                  </a:lnTo>
                  <a:lnTo>
                    <a:pt x="19" y="100"/>
                  </a:lnTo>
                  <a:lnTo>
                    <a:pt x="19" y="102"/>
                  </a:lnTo>
                  <a:lnTo>
                    <a:pt x="19" y="100"/>
                  </a:lnTo>
                  <a:lnTo>
                    <a:pt x="16" y="102"/>
                  </a:lnTo>
                  <a:lnTo>
                    <a:pt x="14" y="102"/>
                  </a:lnTo>
                  <a:lnTo>
                    <a:pt x="14" y="100"/>
                  </a:lnTo>
                  <a:lnTo>
                    <a:pt x="12" y="100"/>
                  </a:lnTo>
                  <a:lnTo>
                    <a:pt x="9" y="100"/>
                  </a:lnTo>
                  <a:lnTo>
                    <a:pt x="12" y="100"/>
                  </a:lnTo>
                  <a:lnTo>
                    <a:pt x="9" y="100"/>
                  </a:lnTo>
                  <a:lnTo>
                    <a:pt x="9" y="97"/>
                  </a:lnTo>
                  <a:lnTo>
                    <a:pt x="9" y="100"/>
                  </a:lnTo>
                  <a:lnTo>
                    <a:pt x="9" y="97"/>
                  </a:lnTo>
                  <a:lnTo>
                    <a:pt x="9" y="100"/>
                  </a:lnTo>
                  <a:lnTo>
                    <a:pt x="9" y="97"/>
                  </a:lnTo>
                  <a:lnTo>
                    <a:pt x="12" y="97"/>
                  </a:lnTo>
                  <a:lnTo>
                    <a:pt x="14" y="97"/>
                  </a:lnTo>
                  <a:lnTo>
                    <a:pt x="12" y="97"/>
                  </a:lnTo>
                  <a:lnTo>
                    <a:pt x="12" y="95"/>
                  </a:lnTo>
                  <a:lnTo>
                    <a:pt x="12" y="97"/>
                  </a:lnTo>
                  <a:lnTo>
                    <a:pt x="12" y="95"/>
                  </a:lnTo>
                  <a:lnTo>
                    <a:pt x="14" y="97"/>
                  </a:lnTo>
                  <a:lnTo>
                    <a:pt x="14" y="95"/>
                  </a:lnTo>
                  <a:lnTo>
                    <a:pt x="12" y="95"/>
                  </a:lnTo>
                  <a:lnTo>
                    <a:pt x="9" y="95"/>
                  </a:lnTo>
                  <a:lnTo>
                    <a:pt x="12" y="95"/>
                  </a:lnTo>
                  <a:lnTo>
                    <a:pt x="9" y="95"/>
                  </a:lnTo>
                  <a:lnTo>
                    <a:pt x="12" y="95"/>
                  </a:lnTo>
                  <a:lnTo>
                    <a:pt x="9" y="93"/>
                  </a:lnTo>
                  <a:lnTo>
                    <a:pt x="12" y="93"/>
                  </a:lnTo>
                  <a:lnTo>
                    <a:pt x="14" y="93"/>
                  </a:lnTo>
                  <a:lnTo>
                    <a:pt x="16" y="93"/>
                  </a:lnTo>
                  <a:lnTo>
                    <a:pt x="14" y="93"/>
                  </a:lnTo>
                  <a:lnTo>
                    <a:pt x="16" y="93"/>
                  </a:lnTo>
                  <a:lnTo>
                    <a:pt x="14" y="93"/>
                  </a:lnTo>
                  <a:lnTo>
                    <a:pt x="16" y="93"/>
                  </a:lnTo>
                  <a:lnTo>
                    <a:pt x="14" y="93"/>
                  </a:lnTo>
                  <a:lnTo>
                    <a:pt x="14" y="90"/>
                  </a:lnTo>
                  <a:lnTo>
                    <a:pt x="16" y="90"/>
                  </a:lnTo>
                  <a:lnTo>
                    <a:pt x="19" y="90"/>
                  </a:lnTo>
                  <a:lnTo>
                    <a:pt x="21" y="90"/>
                  </a:lnTo>
                  <a:lnTo>
                    <a:pt x="19" y="90"/>
                  </a:lnTo>
                  <a:lnTo>
                    <a:pt x="19" y="88"/>
                  </a:lnTo>
                  <a:lnTo>
                    <a:pt x="19" y="90"/>
                  </a:lnTo>
                  <a:lnTo>
                    <a:pt x="21" y="90"/>
                  </a:lnTo>
                  <a:lnTo>
                    <a:pt x="24" y="90"/>
                  </a:lnTo>
                  <a:lnTo>
                    <a:pt x="26" y="90"/>
                  </a:lnTo>
                  <a:lnTo>
                    <a:pt x="24" y="90"/>
                  </a:lnTo>
                  <a:lnTo>
                    <a:pt x="21" y="90"/>
                  </a:lnTo>
                  <a:lnTo>
                    <a:pt x="19" y="90"/>
                  </a:lnTo>
                  <a:lnTo>
                    <a:pt x="19" y="88"/>
                  </a:lnTo>
                  <a:lnTo>
                    <a:pt x="19" y="86"/>
                  </a:lnTo>
                  <a:lnTo>
                    <a:pt x="16" y="86"/>
                  </a:lnTo>
                  <a:lnTo>
                    <a:pt x="19" y="86"/>
                  </a:lnTo>
                  <a:lnTo>
                    <a:pt x="19" y="83"/>
                  </a:lnTo>
                  <a:lnTo>
                    <a:pt x="19" y="81"/>
                  </a:lnTo>
                  <a:lnTo>
                    <a:pt x="21" y="81"/>
                  </a:lnTo>
                  <a:lnTo>
                    <a:pt x="24" y="81"/>
                  </a:lnTo>
                  <a:lnTo>
                    <a:pt x="26" y="81"/>
                  </a:lnTo>
                  <a:lnTo>
                    <a:pt x="28" y="81"/>
                  </a:lnTo>
                  <a:lnTo>
                    <a:pt x="31" y="81"/>
                  </a:lnTo>
                  <a:lnTo>
                    <a:pt x="28" y="81"/>
                  </a:lnTo>
                  <a:lnTo>
                    <a:pt x="31" y="81"/>
                  </a:lnTo>
                  <a:lnTo>
                    <a:pt x="28" y="81"/>
                  </a:lnTo>
                  <a:lnTo>
                    <a:pt x="28" y="78"/>
                  </a:lnTo>
                  <a:lnTo>
                    <a:pt x="28" y="81"/>
                  </a:lnTo>
                  <a:lnTo>
                    <a:pt x="28" y="78"/>
                  </a:lnTo>
                  <a:lnTo>
                    <a:pt x="31" y="78"/>
                  </a:lnTo>
                  <a:lnTo>
                    <a:pt x="28" y="78"/>
                  </a:lnTo>
                  <a:lnTo>
                    <a:pt x="28" y="76"/>
                  </a:lnTo>
                  <a:lnTo>
                    <a:pt x="31" y="76"/>
                  </a:lnTo>
                  <a:lnTo>
                    <a:pt x="28" y="76"/>
                  </a:lnTo>
                  <a:lnTo>
                    <a:pt x="31" y="76"/>
                  </a:lnTo>
                  <a:lnTo>
                    <a:pt x="28" y="76"/>
                  </a:lnTo>
                  <a:lnTo>
                    <a:pt x="31" y="76"/>
                  </a:lnTo>
                  <a:lnTo>
                    <a:pt x="28" y="76"/>
                  </a:lnTo>
                  <a:lnTo>
                    <a:pt x="26" y="76"/>
                  </a:lnTo>
                  <a:lnTo>
                    <a:pt x="28" y="76"/>
                  </a:lnTo>
                  <a:lnTo>
                    <a:pt x="26" y="76"/>
                  </a:lnTo>
                  <a:lnTo>
                    <a:pt x="24" y="76"/>
                  </a:lnTo>
                  <a:lnTo>
                    <a:pt x="21" y="76"/>
                  </a:lnTo>
                  <a:lnTo>
                    <a:pt x="19" y="76"/>
                  </a:lnTo>
                  <a:lnTo>
                    <a:pt x="19" y="78"/>
                  </a:lnTo>
                  <a:lnTo>
                    <a:pt x="19" y="76"/>
                  </a:lnTo>
                  <a:lnTo>
                    <a:pt x="16" y="76"/>
                  </a:lnTo>
                  <a:lnTo>
                    <a:pt x="16" y="74"/>
                  </a:lnTo>
                  <a:lnTo>
                    <a:pt x="19" y="74"/>
                  </a:lnTo>
                  <a:lnTo>
                    <a:pt x="16" y="74"/>
                  </a:lnTo>
                  <a:lnTo>
                    <a:pt x="16" y="76"/>
                  </a:lnTo>
                  <a:lnTo>
                    <a:pt x="16" y="74"/>
                  </a:lnTo>
                  <a:lnTo>
                    <a:pt x="16" y="76"/>
                  </a:lnTo>
                  <a:lnTo>
                    <a:pt x="14" y="76"/>
                  </a:lnTo>
                  <a:lnTo>
                    <a:pt x="14" y="74"/>
                  </a:lnTo>
                  <a:lnTo>
                    <a:pt x="14" y="71"/>
                  </a:lnTo>
                  <a:lnTo>
                    <a:pt x="12" y="71"/>
                  </a:lnTo>
                  <a:lnTo>
                    <a:pt x="9" y="71"/>
                  </a:lnTo>
                  <a:lnTo>
                    <a:pt x="7" y="71"/>
                  </a:lnTo>
                  <a:lnTo>
                    <a:pt x="9" y="71"/>
                  </a:lnTo>
                  <a:lnTo>
                    <a:pt x="9" y="69"/>
                  </a:lnTo>
                  <a:lnTo>
                    <a:pt x="9" y="71"/>
                  </a:lnTo>
                  <a:lnTo>
                    <a:pt x="12" y="71"/>
                  </a:lnTo>
                  <a:lnTo>
                    <a:pt x="12" y="69"/>
                  </a:lnTo>
                  <a:lnTo>
                    <a:pt x="14" y="69"/>
                  </a:lnTo>
                  <a:lnTo>
                    <a:pt x="16" y="69"/>
                  </a:lnTo>
                  <a:lnTo>
                    <a:pt x="16" y="71"/>
                  </a:lnTo>
                  <a:lnTo>
                    <a:pt x="16" y="74"/>
                  </a:lnTo>
                  <a:lnTo>
                    <a:pt x="16" y="71"/>
                  </a:lnTo>
                  <a:lnTo>
                    <a:pt x="19" y="71"/>
                  </a:lnTo>
                  <a:lnTo>
                    <a:pt x="16" y="74"/>
                  </a:lnTo>
                  <a:lnTo>
                    <a:pt x="19" y="74"/>
                  </a:lnTo>
                  <a:lnTo>
                    <a:pt x="16" y="74"/>
                  </a:lnTo>
                  <a:lnTo>
                    <a:pt x="19" y="74"/>
                  </a:lnTo>
                  <a:lnTo>
                    <a:pt x="19" y="71"/>
                  </a:lnTo>
                  <a:lnTo>
                    <a:pt x="19" y="74"/>
                  </a:lnTo>
                  <a:lnTo>
                    <a:pt x="19" y="71"/>
                  </a:lnTo>
                  <a:lnTo>
                    <a:pt x="19" y="74"/>
                  </a:lnTo>
                  <a:lnTo>
                    <a:pt x="19" y="71"/>
                  </a:lnTo>
                  <a:lnTo>
                    <a:pt x="21" y="71"/>
                  </a:lnTo>
                  <a:lnTo>
                    <a:pt x="21" y="74"/>
                  </a:lnTo>
                  <a:lnTo>
                    <a:pt x="21" y="71"/>
                  </a:lnTo>
                  <a:lnTo>
                    <a:pt x="21" y="74"/>
                  </a:lnTo>
                  <a:lnTo>
                    <a:pt x="21" y="71"/>
                  </a:lnTo>
                  <a:lnTo>
                    <a:pt x="21" y="74"/>
                  </a:lnTo>
                  <a:lnTo>
                    <a:pt x="21" y="71"/>
                  </a:lnTo>
                  <a:lnTo>
                    <a:pt x="19" y="71"/>
                  </a:lnTo>
                  <a:lnTo>
                    <a:pt x="21" y="71"/>
                  </a:lnTo>
                  <a:lnTo>
                    <a:pt x="19" y="71"/>
                  </a:lnTo>
                  <a:lnTo>
                    <a:pt x="21" y="71"/>
                  </a:lnTo>
                  <a:lnTo>
                    <a:pt x="19" y="71"/>
                  </a:lnTo>
                  <a:lnTo>
                    <a:pt x="21" y="71"/>
                  </a:lnTo>
                  <a:lnTo>
                    <a:pt x="19" y="71"/>
                  </a:lnTo>
                  <a:lnTo>
                    <a:pt x="21" y="71"/>
                  </a:lnTo>
                  <a:lnTo>
                    <a:pt x="19" y="71"/>
                  </a:lnTo>
                  <a:lnTo>
                    <a:pt x="19" y="69"/>
                  </a:lnTo>
                  <a:lnTo>
                    <a:pt x="19" y="71"/>
                  </a:lnTo>
                  <a:lnTo>
                    <a:pt x="16" y="71"/>
                  </a:lnTo>
                  <a:lnTo>
                    <a:pt x="19" y="71"/>
                  </a:lnTo>
                  <a:lnTo>
                    <a:pt x="19" y="69"/>
                  </a:lnTo>
                  <a:lnTo>
                    <a:pt x="19" y="67"/>
                  </a:lnTo>
                  <a:lnTo>
                    <a:pt x="21" y="67"/>
                  </a:lnTo>
                  <a:lnTo>
                    <a:pt x="19" y="67"/>
                  </a:lnTo>
                  <a:lnTo>
                    <a:pt x="21" y="67"/>
                  </a:lnTo>
                  <a:lnTo>
                    <a:pt x="19" y="67"/>
                  </a:lnTo>
                  <a:lnTo>
                    <a:pt x="21" y="67"/>
                  </a:lnTo>
                  <a:lnTo>
                    <a:pt x="19" y="64"/>
                  </a:lnTo>
                  <a:lnTo>
                    <a:pt x="21" y="64"/>
                  </a:lnTo>
                  <a:lnTo>
                    <a:pt x="19" y="64"/>
                  </a:lnTo>
                  <a:lnTo>
                    <a:pt x="19" y="67"/>
                  </a:lnTo>
                  <a:lnTo>
                    <a:pt x="16" y="67"/>
                  </a:lnTo>
                  <a:lnTo>
                    <a:pt x="16" y="64"/>
                  </a:lnTo>
                  <a:lnTo>
                    <a:pt x="14" y="64"/>
                  </a:lnTo>
                  <a:lnTo>
                    <a:pt x="16" y="64"/>
                  </a:lnTo>
                  <a:lnTo>
                    <a:pt x="19" y="64"/>
                  </a:lnTo>
                  <a:lnTo>
                    <a:pt x="16" y="64"/>
                  </a:lnTo>
                  <a:lnTo>
                    <a:pt x="16" y="62"/>
                  </a:lnTo>
                  <a:lnTo>
                    <a:pt x="16" y="59"/>
                  </a:lnTo>
                  <a:lnTo>
                    <a:pt x="16" y="62"/>
                  </a:lnTo>
                  <a:lnTo>
                    <a:pt x="16" y="59"/>
                  </a:lnTo>
                  <a:lnTo>
                    <a:pt x="14" y="59"/>
                  </a:lnTo>
                  <a:lnTo>
                    <a:pt x="14" y="62"/>
                  </a:lnTo>
                  <a:lnTo>
                    <a:pt x="14" y="59"/>
                  </a:lnTo>
                  <a:lnTo>
                    <a:pt x="14" y="62"/>
                  </a:lnTo>
                  <a:lnTo>
                    <a:pt x="12" y="62"/>
                  </a:lnTo>
                  <a:lnTo>
                    <a:pt x="14" y="62"/>
                  </a:lnTo>
                  <a:lnTo>
                    <a:pt x="14" y="64"/>
                  </a:lnTo>
                  <a:lnTo>
                    <a:pt x="12" y="64"/>
                  </a:lnTo>
                  <a:lnTo>
                    <a:pt x="14" y="64"/>
                  </a:lnTo>
                  <a:lnTo>
                    <a:pt x="12" y="64"/>
                  </a:lnTo>
                  <a:lnTo>
                    <a:pt x="14" y="64"/>
                  </a:lnTo>
                  <a:lnTo>
                    <a:pt x="14" y="67"/>
                  </a:lnTo>
                  <a:lnTo>
                    <a:pt x="12" y="67"/>
                  </a:lnTo>
                  <a:lnTo>
                    <a:pt x="12" y="64"/>
                  </a:lnTo>
                  <a:lnTo>
                    <a:pt x="12" y="62"/>
                  </a:lnTo>
                  <a:lnTo>
                    <a:pt x="12" y="59"/>
                  </a:lnTo>
                  <a:lnTo>
                    <a:pt x="14" y="59"/>
                  </a:lnTo>
                  <a:lnTo>
                    <a:pt x="12" y="59"/>
                  </a:lnTo>
                  <a:lnTo>
                    <a:pt x="12" y="57"/>
                  </a:lnTo>
                  <a:lnTo>
                    <a:pt x="12" y="59"/>
                  </a:lnTo>
                  <a:lnTo>
                    <a:pt x="12" y="57"/>
                  </a:lnTo>
                  <a:lnTo>
                    <a:pt x="14" y="57"/>
                  </a:lnTo>
                  <a:lnTo>
                    <a:pt x="14" y="55"/>
                  </a:lnTo>
                  <a:lnTo>
                    <a:pt x="16" y="55"/>
                  </a:lnTo>
                  <a:lnTo>
                    <a:pt x="16" y="57"/>
                  </a:lnTo>
                  <a:lnTo>
                    <a:pt x="19" y="57"/>
                  </a:lnTo>
                  <a:lnTo>
                    <a:pt x="19" y="59"/>
                  </a:lnTo>
                  <a:lnTo>
                    <a:pt x="16" y="59"/>
                  </a:lnTo>
                  <a:lnTo>
                    <a:pt x="19" y="59"/>
                  </a:lnTo>
                  <a:lnTo>
                    <a:pt x="21" y="59"/>
                  </a:lnTo>
                  <a:lnTo>
                    <a:pt x="19" y="59"/>
                  </a:lnTo>
                  <a:lnTo>
                    <a:pt x="19" y="57"/>
                  </a:lnTo>
                  <a:lnTo>
                    <a:pt x="21" y="57"/>
                  </a:lnTo>
                  <a:lnTo>
                    <a:pt x="24" y="57"/>
                  </a:lnTo>
                  <a:lnTo>
                    <a:pt x="21" y="57"/>
                  </a:lnTo>
                  <a:lnTo>
                    <a:pt x="21" y="55"/>
                  </a:lnTo>
                  <a:lnTo>
                    <a:pt x="21" y="57"/>
                  </a:lnTo>
                  <a:lnTo>
                    <a:pt x="24" y="57"/>
                  </a:lnTo>
                  <a:lnTo>
                    <a:pt x="21" y="55"/>
                  </a:lnTo>
                  <a:lnTo>
                    <a:pt x="19" y="55"/>
                  </a:lnTo>
                  <a:lnTo>
                    <a:pt x="21" y="55"/>
                  </a:lnTo>
                  <a:lnTo>
                    <a:pt x="21" y="52"/>
                  </a:lnTo>
                  <a:lnTo>
                    <a:pt x="24" y="52"/>
                  </a:lnTo>
                  <a:lnTo>
                    <a:pt x="21" y="52"/>
                  </a:lnTo>
                  <a:lnTo>
                    <a:pt x="21" y="55"/>
                  </a:lnTo>
                  <a:lnTo>
                    <a:pt x="24" y="52"/>
                  </a:lnTo>
                  <a:lnTo>
                    <a:pt x="24" y="55"/>
                  </a:lnTo>
                  <a:lnTo>
                    <a:pt x="26" y="55"/>
                  </a:lnTo>
                  <a:lnTo>
                    <a:pt x="28" y="55"/>
                  </a:lnTo>
                  <a:lnTo>
                    <a:pt x="31" y="55"/>
                  </a:lnTo>
                  <a:lnTo>
                    <a:pt x="28" y="55"/>
                  </a:lnTo>
                  <a:lnTo>
                    <a:pt x="31" y="55"/>
                  </a:lnTo>
                  <a:lnTo>
                    <a:pt x="33" y="55"/>
                  </a:lnTo>
                  <a:lnTo>
                    <a:pt x="35" y="55"/>
                  </a:lnTo>
                  <a:lnTo>
                    <a:pt x="38" y="55"/>
                  </a:lnTo>
                  <a:lnTo>
                    <a:pt x="35" y="55"/>
                  </a:lnTo>
                  <a:lnTo>
                    <a:pt x="38" y="55"/>
                  </a:lnTo>
                  <a:lnTo>
                    <a:pt x="40" y="55"/>
                  </a:lnTo>
                  <a:lnTo>
                    <a:pt x="40" y="57"/>
                  </a:lnTo>
                  <a:lnTo>
                    <a:pt x="40" y="55"/>
                  </a:lnTo>
                  <a:lnTo>
                    <a:pt x="40" y="57"/>
                  </a:lnTo>
                  <a:lnTo>
                    <a:pt x="40" y="59"/>
                  </a:lnTo>
                  <a:lnTo>
                    <a:pt x="40" y="57"/>
                  </a:lnTo>
                  <a:lnTo>
                    <a:pt x="42" y="57"/>
                  </a:lnTo>
                  <a:lnTo>
                    <a:pt x="42" y="59"/>
                  </a:lnTo>
                  <a:lnTo>
                    <a:pt x="40" y="59"/>
                  </a:lnTo>
                  <a:lnTo>
                    <a:pt x="42" y="59"/>
                  </a:lnTo>
                  <a:lnTo>
                    <a:pt x="42" y="62"/>
                  </a:lnTo>
                  <a:lnTo>
                    <a:pt x="42" y="64"/>
                  </a:lnTo>
                  <a:lnTo>
                    <a:pt x="42" y="62"/>
                  </a:lnTo>
                  <a:lnTo>
                    <a:pt x="45" y="62"/>
                  </a:lnTo>
                  <a:lnTo>
                    <a:pt x="45" y="59"/>
                  </a:lnTo>
                  <a:lnTo>
                    <a:pt x="42" y="59"/>
                  </a:lnTo>
                  <a:lnTo>
                    <a:pt x="45" y="59"/>
                  </a:lnTo>
                  <a:lnTo>
                    <a:pt x="45" y="57"/>
                  </a:lnTo>
                  <a:lnTo>
                    <a:pt x="47" y="57"/>
                  </a:lnTo>
                  <a:lnTo>
                    <a:pt x="45" y="57"/>
                  </a:lnTo>
                  <a:lnTo>
                    <a:pt x="47" y="57"/>
                  </a:lnTo>
                  <a:lnTo>
                    <a:pt x="47" y="55"/>
                  </a:lnTo>
                  <a:lnTo>
                    <a:pt x="45" y="55"/>
                  </a:lnTo>
                  <a:lnTo>
                    <a:pt x="47" y="55"/>
                  </a:lnTo>
                  <a:lnTo>
                    <a:pt x="50" y="55"/>
                  </a:lnTo>
                  <a:lnTo>
                    <a:pt x="50" y="57"/>
                  </a:lnTo>
                  <a:lnTo>
                    <a:pt x="52" y="57"/>
                  </a:lnTo>
                  <a:lnTo>
                    <a:pt x="54" y="57"/>
                  </a:lnTo>
                  <a:lnTo>
                    <a:pt x="57" y="57"/>
                  </a:lnTo>
                  <a:lnTo>
                    <a:pt x="59" y="57"/>
                  </a:lnTo>
                  <a:lnTo>
                    <a:pt x="61" y="57"/>
                  </a:lnTo>
                  <a:lnTo>
                    <a:pt x="59" y="57"/>
                  </a:lnTo>
                  <a:lnTo>
                    <a:pt x="61" y="57"/>
                  </a:lnTo>
                  <a:lnTo>
                    <a:pt x="59" y="59"/>
                  </a:lnTo>
                  <a:lnTo>
                    <a:pt x="61" y="59"/>
                  </a:lnTo>
                  <a:lnTo>
                    <a:pt x="64" y="59"/>
                  </a:lnTo>
                  <a:lnTo>
                    <a:pt x="61" y="59"/>
                  </a:lnTo>
                  <a:lnTo>
                    <a:pt x="61" y="57"/>
                  </a:lnTo>
                  <a:lnTo>
                    <a:pt x="61" y="55"/>
                  </a:lnTo>
                  <a:lnTo>
                    <a:pt x="61" y="57"/>
                  </a:lnTo>
                  <a:lnTo>
                    <a:pt x="64" y="57"/>
                  </a:lnTo>
                  <a:lnTo>
                    <a:pt x="66" y="57"/>
                  </a:lnTo>
                  <a:lnTo>
                    <a:pt x="64" y="57"/>
                  </a:lnTo>
                  <a:lnTo>
                    <a:pt x="66" y="57"/>
                  </a:lnTo>
                  <a:lnTo>
                    <a:pt x="64" y="57"/>
                  </a:lnTo>
                  <a:lnTo>
                    <a:pt x="64" y="55"/>
                  </a:lnTo>
                  <a:lnTo>
                    <a:pt x="61" y="55"/>
                  </a:lnTo>
                  <a:lnTo>
                    <a:pt x="64" y="55"/>
                  </a:lnTo>
                  <a:lnTo>
                    <a:pt x="64" y="52"/>
                  </a:lnTo>
                  <a:lnTo>
                    <a:pt x="61" y="52"/>
                  </a:lnTo>
                  <a:lnTo>
                    <a:pt x="61" y="55"/>
                  </a:lnTo>
                  <a:lnTo>
                    <a:pt x="59" y="52"/>
                  </a:lnTo>
                  <a:lnTo>
                    <a:pt x="59" y="55"/>
                  </a:lnTo>
                  <a:lnTo>
                    <a:pt x="59" y="52"/>
                  </a:lnTo>
                  <a:lnTo>
                    <a:pt x="61" y="52"/>
                  </a:lnTo>
                  <a:lnTo>
                    <a:pt x="61" y="50"/>
                  </a:lnTo>
                  <a:lnTo>
                    <a:pt x="64" y="50"/>
                  </a:lnTo>
                  <a:lnTo>
                    <a:pt x="61" y="50"/>
                  </a:lnTo>
                  <a:lnTo>
                    <a:pt x="64" y="50"/>
                  </a:lnTo>
                  <a:lnTo>
                    <a:pt x="64" y="48"/>
                  </a:lnTo>
                  <a:lnTo>
                    <a:pt x="66" y="48"/>
                  </a:lnTo>
                  <a:lnTo>
                    <a:pt x="64" y="48"/>
                  </a:lnTo>
                  <a:lnTo>
                    <a:pt x="66" y="48"/>
                  </a:lnTo>
                  <a:lnTo>
                    <a:pt x="69" y="48"/>
                  </a:lnTo>
                  <a:lnTo>
                    <a:pt x="71" y="48"/>
                  </a:lnTo>
                  <a:lnTo>
                    <a:pt x="71" y="45"/>
                  </a:lnTo>
                  <a:lnTo>
                    <a:pt x="73" y="45"/>
                  </a:lnTo>
                  <a:lnTo>
                    <a:pt x="71" y="45"/>
                  </a:lnTo>
                  <a:lnTo>
                    <a:pt x="71" y="43"/>
                  </a:lnTo>
                  <a:lnTo>
                    <a:pt x="73" y="43"/>
                  </a:lnTo>
                  <a:lnTo>
                    <a:pt x="73" y="40"/>
                  </a:lnTo>
                  <a:lnTo>
                    <a:pt x="76" y="40"/>
                  </a:lnTo>
                  <a:lnTo>
                    <a:pt x="76" y="38"/>
                  </a:lnTo>
                  <a:lnTo>
                    <a:pt x="76" y="40"/>
                  </a:lnTo>
                  <a:lnTo>
                    <a:pt x="76" y="38"/>
                  </a:lnTo>
                  <a:lnTo>
                    <a:pt x="76" y="40"/>
                  </a:lnTo>
                  <a:lnTo>
                    <a:pt x="76" y="38"/>
                  </a:lnTo>
                  <a:lnTo>
                    <a:pt x="78" y="38"/>
                  </a:lnTo>
                  <a:lnTo>
                    <a:pt x="76" y="40"/>
                  </a:lnTo>
                  <a:lnTo>
                    <a:pt x="78" y="40"/>
                  </a:lnTo>
                  <a:lnTo>
                    <a:pt x="76" y="40"/>
                  </a:lnTo>
                  <a:lnTo>
                    <a:pt x="78" y="40"/>
                  </a:lnTo>
                  <a:lnTo>
                    <a:pt x="78" y="38"/>
                  </a:lnTo>
                  <a:lnTo>
                    <a:pt x="78" y="40"/>
                  </a:lnTo>
                  <a:lnTo>
                    <a:pt x="78" y="38"/>
                  </a:lnTo>
                  <a:lnTo>
                    <a:pt x="76" y="38"/>
                  </a:lnTo>
                  <a:lnTo>
                    <a:pt x="78" y="38"/>
                  </a:lnTo>
                  <a:lnTo>
                    <a:pt x="76" y="38"/>
                  </a:lnTo>
                  <a:lnTo>
                    <a:pt x="78" y="38"/>
                  </a:lnTo>
                  <a:lnTo>
                    <a:pt x="76" y="38"/>
                  </a:lnTo>
                  <a:lnTo>
                    <a:pt x="78" y="38"/>
                  </a:lnTo>
                  <a:lnTo>
                    <a:pt x="76" y="38"/>
                  </a:lnTo>
                  <a:lnTo>
                    <a:pt x="73" y="38"/>
                  </a:lnTo>
                  <a:lnTo>
                    <a:pt x="73" y="40"/>
                  </a:lnTo>
                  <a:lnTo>
                    <a:pt x="71" y="40"/>
                  </a:lnTo>
                  <a:lnTo>
                    <a:pt x="71" y="38"/>
                  </a:lnTo>
                  <a:lnTo>
                    <a:pt x="69" y="38"/>
                  </a:lnTo>
                  <a:lnTo>
                    <a:pt x="69" y="40"/>
                  </a:lnTo>
                  <a:lnTo>
                    <a:pt x="66" y="40"/>
                  </a:lnTo>
                  <a:lnTo>
                    <a:pt x="66" y="43"/>
                  </a:lnTo>
                  <a:lnTo>
                    <a:pt x="66" y="40"/>
                  </a:lnTo>
                  <a:lnTo>
                    <a:pt x="69" y="40"/>
                  </a:lnTo>
                  <a:lnTo>
                    <a:pt x="69" y="38"/>
                  </a:lnTo>
                  <a:lnTo>
                    <a:pt x="69" y="40"/>
                  </a:lnTo>
                  <a:lnTo>
                    <a:pt x="69" y="38"/>
                  </a:lnTo>
                  <a:lnTo>
                    <a:pt x="66" y="38"/>
                  </a:lnTo>
                  <a:lnTo>
                    <a:pt x="66" y="40"/>
                  </a:lnTo>
                  <a:lnTo>
                    <a:pt x="66" y="38"/>
                  </a:lnTo>
                  <a:lnTo>
                    <a:pt x="66" y="40"/>
                  </a:lnTo>
                  <a:lnTo>
                    <a:pt x="66" y="38"/>
                  </a:lnTo>
                  <a:lnTo>
                    <a:pt x="66" y="40"/>
                  </a:lnTo>
                  <a:lnTo>
                    <a:pt x="64" y="40"/>
                  </a:lnTo>
                  <a:lnTo>
                    <a:pt x="66" y="40"/>
                  </a:lnTo>
                  <a:lnTo>
                    <a:pt x="64" y="40"/>
                  </a:lnTo>
                  <a:lnTo>
                    <a:pt x="64" y="38"/>
                  </a:lnTo>
                  <a:lnTo>
                    <a:pt x="66" y="38"/>
                  </a:lnTo>
                  <a:lnTo>
                    <a:pt x="64" y="38"/>
                  </a:lnTo>
                  <a:lnTo>
                    <a:pt x="66" y="38"/>
                  </a:lnTo>
                  <a:lnTo>
                    <a:pt x="64" y="38"/>
                  </a:lnTo>
                  <a:lnTo>
                    <a:pt x="64" y="40"/>
                  </a:lnTo>
                  <a:lnTo>
                    <a:pt x="64" y="38"/>
                  </a:lnTo>
                  <a:lnTo>
                    <a:pt x="61" y="38"/>
                  </a:lnTo>
                  <a:lnTo>
                    <a:pt x="61" y="40"/>
                  </a:lnTo>
                  <a:lnTo>
                    <a:pt x="61" y="38"/>
                  </a:lnTo>
                  <a:lnTo>
                    <a:pt x="59" y="38"/>
                  </a:lnTo>
                  <a:lnTo>
                    <a:pt x="61" y="38"/>
                  </a:lnTo>
                  <a:lnTo>
                    <a:pt x="59" y="38"/>
                  </a:lnTo>
                  <a:lnTo>
                    <a:pt x="57" y="38"/>
                  </a:lnTo>
                  <a:lnTo>
                    <a:pt x="54" y="38"/>
                  </a:lnTo>
                  <a:lnTo>
                    <a:pt x="54" y="36"/>
                  </a:lnTo>
                  <a:lnTo>
                    <a:pt x="54" y="38"/>
                  </a:lnTo>
                  <a:lnTo>
                    <a:pt x="54" y="36"/>
                  </a:lnTo>
                  <a:lnTo>
                    <a:pt x="57" y="36"/>
                  </a:lnTo>
                  <a:lnTo>
                    <a:pt x="57" y="33"/>
                  </a:lnTo>
                  <a:lnTo>
                    <a:pt x="57" y="36"/>
                  </a:lnTo>
                  <a:lnTo>
                    <a:pt x="57" y="33"/>
                  </a:lnTo>
                  <a:lnTo>
                    <a:pt x="59" y="33"/>
                  </a:lnTo>
                  <a:lnTo>
                    <a:pt x="59" y="31"/>
                  </a:lnTo>
                  <a:lnTo>
                    <a:pt x="61" y="31"/>
                  </a:lnTo>
                  <a:lnTo>
                    <a:pt x="64" y="31"/>
                  </a:lnTo>
                  <a:lnTo>
                    <a:pt x="66" y="33"/>
                  </a:lnTo>
                  <a:lnTo>
                    <a:pt x="66" y="31"/>
                  </a:lnTo>
                  <a:lnTo>
                    <a:pt x="64" y="31"/>
                  </a:lnTo>
                  <a:lnTo>
                    <a:pt x="66" y="31"/>
                  </a:lnTo>
                  <a:lnTo>
                    <a:pt x="64" y="31"/>
                  </a:lnTo>
                  <a:lnTo>
                    <a:pt x="64" y="29"/>
                  </a:lnTo>
                  <a:lnTo>
                    <a:pt x="61" y="29"/>
                  </a:lnTo>
                  <a:lnTo>
                    <a:pt x="64" y="29"/>
                  </a:lnTo>
                  <a:lnTo>
                    <a:pt x="66" y="29"/>
                  </a:lnTo>
                  <a:lnTo>
                    <a:pt x="69" y="29"/>
                  </a:lnTo>
                  <a:lnTo>
                    <a:pt x="69" y="26"/>
                  </a:lnTo>
                  <a:lnTo>
                    <a:pt x="69" y="29"/>
                  </a:lnTo>
                  <a:lnTo>
                    <a:pt x="71" y="29"/>
                  </a:lnTo>
                  <a:lnTo>
                    <a:pt x="71" y="26"/>
                  </a:lnTo>
                  <a:lnTo>
                    <a:pt x="73" y="26"/>
                  </a:lnTo>
                  <a:lnTo>
                    <a:pt x="71" y="26"/>
                  </a:lnTo>
                  <a:lnTo>
                    <a:pt x="71" y="29"/>
                  </a:lnTo>
                  <a:lnTo>
                    <a:pt x="69" y="29"/>
                  </a:lnTo>
                  <a:lnTo>
                    <a:pt x="69" y="26"/>
                  </a:lnTo>
                  <a:lnTo>
                    <a:pt x="69" y="29"/>
                  </a:lnTo>
                  <a:lnTo>
                    <a:pt x="69" y="26"/>
                  </a:lnTo>
                  <a:lnTo>
                    <a:pt x="71" y="26"/>
                  </a:lnTo>
                  <a:lnTo>
                    <a:pt x="69" y="26"/>
                  </a:lnTo>
                  <a:lnTo>
                    <a:pt x="69" y="24"/>
                  </a:lnTo>
                  <a:lnTo>
                    <a:pt x="69" y="26"/>
                  </a:lnTo>
                  <a:lnTo>
                    <a:pt x="69" y="24"/>
                  </a:lnTo>
                  <a:lnTo>
                    <a:pt x="69" y="26"/>
                  </a:lnTo>
                  <a:lnTo>
                    <a:pt x="66" y="26"/>
                  </a:lnTo>
                  <a:lnTo>
                    <a:pt x="66" y="24"/>
                  </a:lnTo>
                  <a:lnTo>
                    <a:pt x="69" y="24"/>
                  </a:lnTo>
                  <a:lnTo>
                    <a:pt x="69" y="21"/>
                  </a:lnTo>
                  <a:lnTo>
                    <a:pt x="66" y="21"/>
                  </a:lnTo>
                  <a:lnTo>
                    <a:pt x="66" y="19"/>
                  </a:lnTo>
                  <a:lnTo>
                    <a:pt x="66" y="21"/>
                  </a:lnTo>
                  <a:lnTo>
                    <a:pt x="66" y="19"/>
                  </a:lnTo>
                  <a:lnTo>
                    <a:pt x="69" y="19"/>
                  </a:lnTo>
                  <a:lnTo>
                    <a:pt x="66" y="19"/>
                  </a:lnTo>
                  <a:lnTo>
                    <a:pt x="66" y="17"/>
                  </a:lnTo>
                  <a:lnTo>
                    <a:pt x="66" y="19"/>
                  </a:lnTo>
                  <a:lnTo>
                    <a:pt x="69" y="19"/>
                  </a:lnTo>
                  <a:lnTo>
                    <a:pt x="69" y="17"/>
                  </a:lnTo>
                  <a:lnTo>
                    <a:pt x="69" y="19"/>
                  </a:lnTo>
                  <a:lnTo>
                    <a:pt x="69" y="17"/>
                  </a:lnTo>
                  <a:lnTo>
                    <a:pt x="69" y="19"/>
                  </a:lnTo>
                  <a:lnTo>
                    <a:pt x="69" y="17"/>
                  </a:lnTo>
                  <a:lnTo>
                    <a:pt x="71" y="17"/>
                  </a:lnTo>
                  <a:lnTo>
                    <a:pt x="71" y="19"/>
                  </a:lnTo>
                  <a:lnTo>
                    <a:pt x="71" y="17"/>
                  </a:lnTo>
                  <a:lnTo>
                    <a:pt x="71" y="19"/>
                  </a:lnTo>
                  <a:lnTo>
                    <a:pt x="71" y="17"/>
                  </a:lnTo>
                  <a:lnTo>
                    <a:pt x="71" y="14"/>
                  </a:lnTo>
                  <a:lnTo>
                    <a:pt x="71" y="12"/>
                  </a:lnTo>
                  <a:lnTo>
                    <a:pt x="73" y="12"/>
                  </a:lnTo>
                  <a:lnTo>
                    <a:pt x="76" y="12"/>
                  </a:lnTo>
                  <a:lnTo>
                    <a:pt x="76" y="14"/>
                  </a:lnTo>
                  <a:lnTo>
                    <a:pt x="76" y="12"/>
                  </a:lnTo>
                  <a:lnTo>
                    <a:pt x="78" y="12"/>
                  </a:lnTo>
                  <a:lnTo>
                    <a:pt x="76" y="12"/>
                  </a:lnTo>
                  <a:lnTo>
                    <a:pt x="78" y="12"/>
                  </a:lnTo>
                  <a:lnTo>
                    <a:pt x="80" y="12"/>
                  </a:lnTo>
                  <a:lnTo>
                    <a:pt x="80" y="10"/>
                  </a:lnTo>
                  <a:lnTo>
                    <a:pt x="83" y="10"/>
                  </a:lnTo>
                  <a:lnTo>
                    <a:pt x="80" y="10"/>
                  </a:lnTo>
                  <a:lnTo>
                    <a:pt x="83" y="10"/>
                  </a:lnTo>
                  <a:lnTo>
                    <a:pt x="83" y="12"/>
                  </a:lnTo>
                  <a:lnTo>
                    <a:pt x="83" y="10"/>
                  </a:lnTo>
                  <a:lnTo>
                    <a:pt x="85" y="10"/>
                  </a:lnTo>
                  <a:lnTo>
                    <a:pt x="85" y="12"/>
                  </a:lnTo>
                  <a:lnTo>
                    <a:pt x="83" y="12"/>
                  </a:lnTo>
                  <a:lnTo>
                    <a:pt x="85" y="12"/>
                  </a:lnTo>
                  <a:lnTo>
                    <a:pt x="85" y="14"/>
                  </a:lnTo>
                  <a:lnTo>
                    <a:pt x="85" y="12"/>
                  </a:lnTo>
                  <a:lnTo>
                    <a:pt x="88" y="12"/>
                  </a:lnTo>
                  <a:lnTo>
                    <a:pt x="88" y="10"/>
                  </a:lnTo>
                  <a:lnTo>
                    <a:pt x="85" y="10"/>
                  </a:lnTo>
                  <a:lnTo>
                    <a:pt x="85" y="7"/>
                  </a:lnTo>
                  <a:lnTo>
                    <a:pt x="85" y="10"/>
                  </a:lnTo>
                  <a:lnTo>
                    <a:pt x="85" y="7"/>
                  </a:lnTo>
                  <a:lnTo>
                    <a:pt x="85" y="10"/>
                  </a:lnTo>
                  <a:lnTo>
                    <a:pt x="85" y="7"/>
                  </a:lnTo>
                  <a:lnTo>
                    <a:pt x="88" y="7"/>
                  </a:lnTo>
                  <a:lnTo>
                    <a:pt x="88" y="10"/>
                  </a:lnTo>
                  <a:lnTo>
                    <a:pt x="88" y="7"/>
                  </a:lnTo>
                  <a:lnTo>
                    <a:pt x="88" y="10"/>
                  </a:lnTo>
                  <a:lnTo>
                    <a:pt x="88" y="12"/>
                  </a:lnTo>
                  <a:lnTo>
                    <a:pt x="88" y="10"/>
                  </a:lnTo>
                  <a:lnTo>
                    <a:pt x="88" y="12"/>
                  </a:lnTo>
                  <a:lnTo>
                    <a:pt x="88" y="10"/>
                  </a:lnTo>
                  <a:lnTo>
                    <a:pt x="90" y="10"/>
                  </a:lnTo>
                  <a:lnTo>
                    <a:pt x="90" y="12"/>
                  </a:lnTo>
                  <a:lnTo>
                    <a:pt x="90" y="10"/>
                  </a:lnTo>
                  <a:lnTo>
                    <a:pt x="90" y="12"/>
                  </a:lnTo>
                  <a:lnTo>
                    <a:pt x="92" y="12"/>
                  </a:lnTo>
                  <a:lnTo>
                    <a:pt x="90" y="12"/>
                  </a:lnTo>
                  <a:lnTo>
                    <a:pt x="90" y="14"/>
                  </a:lnTo>
                  <a:lnTo>
                    <a:pt x="92" y="14"/>
                  </a:lnTo>
                  <a:lnTo>
                    <a:pt x="90" y="14"/>
                  </a:lnTo>
                  <a:lnTo>
                    <a:pt x="92" y="14"/>
                  </a:lnTo>
                  <a:lnTo>
                    <a:pt x="90" y="14"/>
                  </a:lnTo>
                  <a:lnTo>
                    <a:pt x="92" y="14"/>
                  </a:lnTo>
                  <a:lnTo>
                    <a:pt x="92" y="12"/>
                  </a:lnTo>
                  <a:lnTo>
                    <a:pt x="92" y="10"/>
                  </a:lnTo>
                  <a:lnTo>
                    <a:pt x="92" y="12"/>
                  </a:lnTo>
                  <a:lnTo>
                    <a:pt x="92" y="10"/>
                  </a:lnTo>
                  <a:lnTo>
                    <a:pt x="92" y="12"/>
                  </a:lnTo>
                  <a:lnTo>
                    <a:pt x="90" y="12"/>
                  </a:lnTo>
                  <a:lnTo>
                    <a:pt x="90" y="10"/>
                  </a:lnTo>
                  <a:lnTo>
                    <a:pt x="90" y="7"/>
                  </a:lnTo>
                  <a:lnTo>
                    <a:pt x="90" y="10"/>
                  </a:lnTo>
                  <a:lnTo>
                    <a:pt x="90" y="12"/>
                  </a:lnTo>
                  <a:lnTo>
                    <a:pt x="90" y="10"/>
                  </a:lnTo>
                  <a:lnTo>
                    <a:pt x="88" y="10"/>
                  </a:lnTo>
                  <a:lnTo>
                    <a:pt x="88" y="7"/>
                  </a:lnTo>
                  <a:lnTo>
                    <a:pt x="90" y="7"/>
                  </a:lnTo>
                  <a:lnTo>
                    <a:pt x="92" y="7"/>
                  </a:lnTo>
                  <a:lnTo>
                    <a:pt x="90" y="7"/>
                  </a:lnTo>
                  <a:lnTo>
                    <a:pt x="92" y="7"/>
                  </a:lnTo>
                  <a:lnTo>
                    <a:pt x="92" y="5"/>
                  </a:lnTo>
                  <a:lnTo>
                    <a:pt x="92" y="7"/>
                  </a:lnTo>
                  <a:lnTo>
                    <a:pt x="95" y="7"/>
                  </a:lnTo>
                  <a:lnTo>
                    <a:pt x="95" y="10"/>
                  </a:lnTo>
                  <a:lnTo>
                    <a:pt x="92" y="10"/>
                  </a:lnTo>
                  <a:lnTo>
                    <a:pt x="95" y="10"/>
                  </a:lnTo>
                  <a:lnTo>
                    <a:pt x="95" y="12"/>
                  </a:lnTo>
                  <a:lnTo>
                    <a:pt x="97" y="12"/>
                  </a:lnTo>
                  <a:lnTo>
                    <a:pt x="97" y="14"/>
                  </a:lnTo>
                  <a:lnTo>
                    <a:pt x="95" y="14"/>
                  </a:lnTo>
                  <a:lnTo>
                    <a:pt x="95" y="17"/>
                  </a:lnTo>
                  <a:lnTo>
                    <a:pt x="92" y="17"/>
                  </a:lnTo>
                  <a:lnTo>
                    <a:pt x="92" y="19"/>
                  </a:lnTo>
                  <a:lnTo>
                    <a:pt x="92" y="17"/>
                  </a:lnTo>
                  <a:lnTo>
                    <a:pt x="95" y="17"/>
                  </a:lnTo>
                  <a:lnTo>
                    <a:pt x="95" y="19"/>
                  </a:lnTo>
                  <a:lnTo>
                    <a:pt x="92" y="19"/>
                  </a:lnTo>
                  <a:lnTo>
                    <a:pt x="92" y="21"/>
                  </a:lnTo>
                  <a:lnTo>
                    <a:pt x="95" y="21"/>
                  </a:lnTo>
                  <a:lnTo>
                    <a:pt x="95" y="19"/>
                  </a:lnTo>
                  <a:lnTo>
                    <a:pt x="97" y="19"/>
                  </a:lnTo>
                  <a:lnTo>
                    <a:pt x="97" y="17"/>
                  </a:lnTo>
                  <a:lnTo>
                    <a:pt x="99" y="17"/>
                  </a:lnTo>
                  <a:lnTo>
                    <a:pt x="97" y="17"/>
                  </a:lnTo>
                  <a:lnTo>
                    <a:pt x="99" y="17"/>
                  </a:lnTo>
                  <a:lnTo>
                    <a:pt x="99" y="14"/>
                  </a:lnTo>
                  <a:lnTo>
                    <a:pt x="97" y="17"/>
                  </a:lnTo>
                  <a:lnTo>
                    <a:pt x="97" y="14"/>
                  </a:lnTo>
                  <a:lnTo>
                    <a:pt x="99" y="14"/>
                  </a:lnTo>
                  <a:lnTo>
                    <a:pt x="99" y="12"/>
                  </a:lnTo>
                  <a:lnTo>
                    <a:pt x="97" y="12"/>
                  </a:lnTo>
                  <a:lnTo>
                    <a:pt x="97" y="10"/>
                  </a:lnTo>
                  <a:lnTo>
                    <a:pt x="95" y="10"/>
                  </a:lnTo>
                  <a:lnTo>
                    <a:pt x="97" y="10"/>
                  </a:lnTo>
                  <a:lnTo>
                    <a:pt x="95" y="10"/>
                  </a:lnTo>
                  <a:lnTo>
                    <a:pt x="97" y="10"/>
                  </a:lnTo>
                  <a:lnTo>
                    <a:pt x="97" y="7"/>
                  </a:lnTo>
                  <a:lnTo>
                    <a:pt x="97" y="5"/>
                  </a:lnTo>
                  <a:lnTo>
                    <a:pt x="99" y="5"/>
                  </a:lnTo>
                  <a:lnTo>
                    <a:pt x="102" y="5"/>
                  </a:lnTo>
                  <a:lnTo>
                    <a:pt x="104" y="5"/>
                  </a:lnTo>
                  <a:lnTo>
                    <a:pt x="102" y="5"/>
                  </a:lnTo>
                  <a:lnTo>
                    <a:pt x="104" y="5"/>
                  </a:lnTo>
                  <a:lnTo>
                    <a:pt x="107" y="5"/>
                  </a:lnTo>
                  <a:lnTo>
                    <a:pt x="104" y="5"/>
                  </a:lnTo>
                  <a:lnTo>
                    <a:pt x="107" y="5"/>
                  </a:lnTo>
                  <a:lnTo>
                    <a:pt x="104" y="5"/>
                  </a:lnTo>
                  <a:lnTo>
                    <a:pt x="102" y="5"/>
                  </a:lnTo>
                  <a:lnTo>
                    <a:pt x="102" y="2"/>
                  </a:lnTo>
                  <a:lnTo>
                    <a:pt x="102" y="0"/>
                  </a:lnTo>
                  <a:lnTo>
                    <a:pt x="104" y="0"/>
                  </a:lnTo>
                  <a:lnTo>
                    <a:pt x="104" y="2"/>
                  </a:lnTo>
                  <a:lnTo>
                    <a:pt x="104" y="0"/>
                  </a:lnTo>
                  <a:lnTo>
                    <a:pt x="104" y="2"/>
                  </a:lnTo>
                  <a:lnTo>
                    <a:pt x="104" y="0"/>
                  </a:lnTo>
                  <a:lnTo>
                    <a:pt x="104" y="2"/>
                  </a:lnTo>
                  <a:lnTo>
                    <a:pt x="107" y="2"/>
                  </a:lnTo>
                  <a:lnTo>
                    <a:pt x="109" y="2"/>
                  </a:lnTo>
                  <a:lnTo>
                    <a:pt x="109" y="5"/>
                  </a:lnTo>
                  <a:lnTo>
                    <a:pt x="111" y="5"/>
                  </a:lnTo>
                  <a:lnTo>
                    <a:pt x="111" y="7"/>
                  </a:lnTo>
                  <a:lnTo>
                    <a:pt x="111" y="5"/>
                  </a:lnTo>
                  <a:lnTo>
                    <a:pt x="114" y="5"/>
                  </a:lnTo>
                  <a:lnTo>
                    <a:pt x="114" y="7"/>
                  </a:lnTo>
                  <a:lnTo>
                    <a:pt x="116" y="7"/>
                  </a:lnTo>
                  <a:lnTo>
                    <a:pt x="116" y="10"/>
                  </a:lnTo>
                  <a:lnTo>
                    <a:pt x="114" y="10"/>
                  </a:lnTo>
                  <a:lnTo>
                    <a:pt x="111" y="10"/>
                  </a:lnTo>
                  <a:lnTo>
                    <a:pt x="111" y="12"/>
                  </a:lnTo>
                  <a:lnTo>
                    <a:pt x="109" y="12"/>
                  </a:lnTo>
                  <a:lnTo>
                    <a:pt x="109" y="14"/>
                  </a:lnTo>
                  <a:lnTo>
                    <a:pt x="107" y="14"/>
                  </a:lnTo>
                  <a:lnTo>
                    <a:pt x="107" y="17"/>
                  </a:lnTo>
                  <a:lnTo>
                    <a:pt x="104" y="17"/>
                  </a:lnTo>
                  <a:lnTo>
                    <a:pt x="102" y="17"/>
                  </a:lnTo>
                  <a:lnTo>
                    <a:pt x="102" y="19"/>
                  </a:lnTo>
                  <a:lnTo>
                    <a:pt x="99" y="21"/>
                  </a:lnTo>
                  <a:lnTo>
                    <a:pt x="102" y="21"/>
                  </a:lnTo>
                  <a:lnTo>
                    <a:pt x="99" y="21"/>
                  </a:lnTo>
                  <a:lnTo>
                    <a:pt x="102" y="24"/>
                  </a:lnTo>
                  <a:lnTo>
                    <a:pt x="99" y="24"/>
                  </a:lnTo>
                  <a:lnTo>
                    <a:pt x="99" y="26"/>
                  </a:lnTo>
                  <a:lnTo>
                    <a:pt x="99" y="29"/>
                  </a:lnTo>
                  <a:lnTo>
                    <a:pt x="97" y="29"/>
                  </a:lnTo>
                  <a:lnTo>
                    <a:pt x="97" y="31"/>
                  </a:lnTo>
                  <a:lnTo>
                    <a:pt x="95" y="31"/>
                  </a:lnTo>
                  <a:lnTo>
                    <a:pt x="97" y="33"/>
                  </a:lnTo>
                  <a:lnTo>
                    <a:pt x="95" y="33"/>
                  </a:lnTo>
                  <a:lnTo>
                    <a:pt x="92" y="33"/>
                  </a:lnTo>
                  <a:lnTo>
                    <a:pt x="90" y="33"/>
                  </a:lnTo>
                  <a:lnTo>
                    <a:pt x="90" y="36"/>
                  </a:lnTo>
                  <a:lnTo>
                    <a:pt x="88" y="36"/>
                  </a:lnTo>
                  <a:lnTo>
                    <a:pt x="88" y="33"/>
                  </a:lnTo>
                  <a:lnTo>
                    <a:pt x="85" y="33"/>
                  </a:lnTo>
                  <a:lnTo>
                    <a:pt x="85" y="36"/>
                  </a:lnTo>
                  <a:lnTo>
                    <a:pt x="83" y="36"/>
                  </a:lnTo>
                  <a:lnTo>
                    <a:pt x="85" y="36"/>
                  </a:lnTo>
                  <a:lnTo>
                    <a:pt x="83" y="36"/>
                  </a:lnTo>
                  <a:lnTo>
                    <a:pt x="85" y="38"/>
                  </a:lnTo>
                  <a:lnTo>
                    <a:pt x="88" y="38"/>
                  </a:lnTo>
                  <a:lnTo>
                    <a:pt x="90" y="38"/>
                  </a:lnTo>
                  <a:lnTo>
                    <a:pt x="90" y="40"/>
                  </a:lnTo>
                  <a:lnTo>
                    <a:pt x="88" y="40"/>
                  </a:lnTo>
                  <a:lnTo>
                    <a:pt x="88" y="43"/>
                  </a:lnTo>
                  <a:lnTo>
                    <a:pt x="85" y="43"/>
                  </a:lnTo>
                  <a:lnTo>
                    <a:pt x="83" y="43"/>
                  </a:lnTo>
                  <a:lnTo>
                    <a:pt x="80" y="43"/>
                  </a:lnTo>
                  <a:lnTo>
                    <a:pt x="80" y="45"/>
                  </a:lnTo>
                  <a:lnTo>
                    <a:pt x="78" y="45"/>
                  </a:lnTo>
                  <a:lnTo>
                    <a:pt x="78" y="48"/>
                  </a:lnTo>
                  <a:lnTo>
                    <a:pt x="76" y="48"/>
                  </a:lnTo>
                  <a:lnTo>
                    <a:pt x="78" y="50"/>
                  </a:lnTo>
                  <a:lnTo>
                    <a:pt x="78" y="52"/>
                  </a:lnTo>
                  <a:lnTo>
                    <a:pt x="80" y="52"/>
                  </a:lnTo>
                  <a:lnTo>
                    <a:pt x="83" y="55"/>
                  </a:lnTo>
                  <a:lnTo>
                    <a:pt x="85" y="55"/>
                  </a:lnTo>
                  <a:lnTo>
                    <a:pt x="85" y="57"/>
                  </a:lnTo>
                  <a:lnTo>
                    <a:pt x="85" y="59"/>
                  </a:lnTo>
                  <a:lnTo>
                    <a:pt x="88" y="59"/>
                  </a:lnTo>
                  <a:lnTo>
                    <a:pt x="90" y="59"/>
                  </a:lnTo>
                  <a:lnTo>
                    <a:pt x="92" y="59"/>
                  </a:lnTo>
                  <a:lnTo>
                    <a:pt x="92" y="62"/>
                  </a:lnTo>
                  <a:lnTo>
                    <a:pt x="95" y="62"/>
                  </a:lnTo>
                  <a:lnTo>
                    <a:pt x="95" y="64"/>
                  </a:lnTo>
                  <a:lnTo>
                    <a:pt x="97" y="64"/>
                  </a:lnTo>
                  <a:lnTo>
                    <a:pt x="99" y="64"/>
                  </a:lnTo>
                  <a:lnTo>
                    <a:pt x="99" y="62"/>
                  </a:lnTo>
                  <a:lnTo>
                    <a:pt x="99" y="64"/>
                  </a:lnTo>
                  <a:lnTo>
                    <a:pt x="102" y="64"/>
                  </a:lnTo>
                  <a:lnTo>
                    <a:pt x="104" y="64"/>
                  </a:lnTo>
                  <a:lnTo>
                    <a:pt x="102" y="62"/>
                  </a:lnTo>
                  <a:lnTo>
                    <a:pt x="104" y="62"/>
                  </a:lnTo>
                  <a:lnTo>
                    <a:pt x="104" y="64"/>
                  </a:lnTo>
                  <a:lnTo>
                    <a:pt x="104" y="62"/>
                  </a:lnTo>
                  <a:lnTo>
                    <a:pt x="107" y="62"/>
                  </a:lnTo>
                  <a:lnTo>
                    <a:pt x="107" y="59"/>
                  </a:lnTo>
                  <a:lnTo>
                    <a:pt x="109" y="59"/>
                  </a:lnTo>
                  <a:lnTo>
                    <a:pt x="109" y="57"/>
                  </a:lnTo>
                  <a:lnTo>
                    <a:pt x="109" y="55"/>
                  </a:lnTo>
                  <a:lnTo>
                    <a:pt x="107" y="55"/>
                  </a:lnTo>
                  <a:lnTo>
                    <a:pt x="109" y="55"/>
                  </a:lnTo>
                  <a:lnTo>
                    <a:pt x="109" y="52"/>
                  </a:lnTo>
                  <a:lnTo>
                    <a:pt x="111" y="52"/>
                  </a:lnTo>
                  <a:lnTo>
                    <a:pt x="111" y="50"/>
                  </a:lnTo>
                  <a:lnTo>
                    <a:pt x="114" y="50"/>
                  </a:lnTo>
                  <a:lnTo>
                    <a:pt x="116" y="50"/>
                  </a:lnTo>
                  <a:lnTo>
                    <a:pt x="116" y="52"/>
                  </a:lnTo>
                  <a:lnTo>
                    <a:pt x="118" y="52"/>
                  </a:lnTo>
                  <a:lnTo>
                    <a:pt x="118" y="55"/>
                  </a:lnTo>
                  <a:lnTo>
                    <a:pt x="118" y="57"/>
                  </a:lnTo>
                  <a:lnTo>
                    <a:pt x="121" y="59"/>
                  </a:lnTo>
                  <a:lnTo>
                    <a:pt x="123" y="59"/>
                  </a:lnTo>
                  <a:lnTo>
                    <a:pt x="123" y="62"/>
                  </a:lnTo>
                  <a:lnTo>
                    <a:pt x="123" y="59"/>
                  </a:lnTo>
                  <a:lnTo>
                    <a:pt x="126" y="59"/>
                  </a:lnTo>
                  <a:lnTo>
                    <a:pt x="126" y="62"/>
                  </a:lnTo>
                  <a:lnTo>
                    <a:pt x="126" y="64"/>
                  </a:lnTo>
                  <a:lnTo>
                    <a:pt x="126" y="67"/>
                  </a:lnTo>
                  <a:lnTo>
                    <a:pt x="126" y="69"/>
                  </a:lnTo>
                  <a:lnTo>
                    <a:pt x="128" y="69"/>
                  </a:lnTo>
                  <a:lnTo>
                    <a:pt x="128" y="67"/>
                  </a:lnTo>
                  <a:lnTo>
                    <a:pt x="128" y="69"/>
                  </a:lnTo>
                  <a:lnTo>
                    <a:pt x="128" y="67"/>
                  </a:lnTo>
                  <a:lnTo>
                    <a:pt x="130" y="67"/>
                  </a:lnTo>
                  <a:lnTo>
                    <a:pt x="133" y="67"/>
                  </a:lnTo>
                  <a:lnTo>
                    <a:pt x="135" y="67"/>
                  </a:lnTo>
                  <a:lnTo>
                    <a:pt x="135" y="64"/>
                  </a:lnTo>
                  <a:lnTo>
                    <a:pt x="135" y="67"/>
                  </a:lnTo>
                  <a:lnTo>
                    <a:pt x="137" y="67"/>
                  </a:lnTo>
                  <a:lnTo>
                    <a:pt x="137" y="64"/>
                  </a:lnTo>
                  <a:lnTo>
                    <a:pt x="137" y="67"/>
                  </a:lnTo>
                  <a:lnTo>
                    <a:pt x="140" y="67"/>
                  </a:lnTo>
                  <a:lnTo>
                    <a:pt x="140" y="69"/>
                  </a:lnTo>
                  <a:lnTo>
                    <a:pt x="142" y="69"/>
                  </a:lnTo>
                  <a:lnTo>
                    <a:pt x="145" y="71"/>
                  </a:lnTo>
                  <a:lnTo>
                    <a:pt x="142" y="71"/>
                  </a:lnTo>
                  <a:lnTo>
                    <a:pt x="140" y="71"/>
                  </a:lnTo>
                  <a:lnTo>
                    <a:pt x="137" y="71"/>
                  </a:lnTo>
                  <a:lnTo>
                    <a:pt x="137" y="69"/>
                  </a:lnTo>
                  <a:lnTo>
                    <a:pt x="135" y="69"/>
                  </a:lnTo>
                  <a:lnTo>
                    <a:pt x="133" y="69"/>
                  </a:lnTo>
                  <a:lnTo>
                    <a:pt x="135" y="69"/>
                  </a:lnTo>
                  <a:lnTo>
                    <a:pt x="135" y="71"/>
                  </a:lnTo>
                  <a:lnTo>
                    <a:pt x="135" y="74"/>
                  </a:lnTo>
                  <a:lnTo>
                    <a:pt x="135" y="76"/>
                  </a:lnTo>
                  <a:lnTo>
                    <a:pt x="137" y="76"/>
                  </a:lnTo>
                  <a:lnTo>
                    <a:pt x="140" y="76"/>
                  </a:lnTo>
                  <a:lnTo>
                    <a:pt x="140" y="78"/>
                  </a:lnTo>
                  <a:lnTo>
                    <a:pt x="137" y="78"/>
                  </a:lnTo>
                  <a:lnTo>
                    <a:pt x="137" y="81"/>
                  </a:lnTo>
                  <a:lnTo>
                    <a:pt x="140" y="81"/>
                  </a:lnTo>
                  <a:lnTo>
                    <a:pt x="140" y="83"/>
                  </a:lnTo>
                  <a:lnTo>
                    <a:pt x="137" y="83"/>
                  </a:lnTo>
                  <a:lnTo>
                    <a:pt x="137" y="86"/>
                  </a:lnTo>
                  <a:lnTo>
                    <a:pt x="137" y="83"/>
                  </a:lnTo>
                  <a:lnTo>
                    <a:pt x="140" y="83"/>
                  </a:lnTo>
                  <a:lnTo>
                    <a:pt x="140" y="86"/>
                  </a:lnTo>
                  <a:lnTo>
                    <a:pt x="140" y="88"/>
                  </a:lnTo>
                  <a:lnTo>
                    <a:pt x="140" y="90"/>
                  </a:lnTo>
                  <a:lnTo>
                    <a:pt x="142" y="90"/>
                  </a:lnTo>
                  <a:lnTo>
                    <a:pt x="145" y="90"/>
                  </a:lnTo>
                  <a:lnTo>
                    <a:pt x="145" y="93"/>
                  </a:lnTo>
                  <a:lnTo>
                    <a:pt x="145" y="95"/>
                  </a:lnTo>
                  <a:lnTo>
                    <a:pt x="142" y="95"/>
                  </a:lnTo>
                  <a:lnTo>
                    <a:pt x="145" y="95"/>
                  </a:lnTo>
                  <a:lnTo>
                    <a:pt x="142" y="97"/>
                  </a:lnTo>
                  <a:lnTo>
                    <a:pt x="140" y="97"/>
                  </a:lnTo>
                  <a:lnTo>
                    <a:pt x="142" y="97"/>
                  </a:lnTo>
                  <a:lnTo>
                    <a:pt x="142" y="100"/>
                  </a:lnTo>
                  <a:lnTo>
                    <a:pt x="145" y="100"/>
                  </a:lnTo>
                  <a:lnTo>
                    <a:pt x="145" y="102"/>
                  </a:lnTo>
                  <a:lnTo>
                    <a:pt x="142" y="100"/>
                  </a:lnTo>
                  <a:lnTo>
                    <a:pt x="142" y="102"/>
                  </a:lnTo>
                  <a:lnTo>
                    <a:pt x="140" y="102"/>
                  </a:lnTo>
                  <a:lnTo>
                    <a:pt x="142" y="102"/>
                  </a:lnTo>
                  <a:lnTo>
                    <a:pt x="140" y="105"/>
                  </a:lnTo>
                  <a:lnTo>
                    <a:pt x="142" y="105"/>
                  </a:lnTo>
                  <a:lnTo>
                    <a:pt x="142" y="107"/>
                  </a:lnTo>
                  <a:lnTo>
                    <a:pt x="145" y="107"/>
                  </a:lnTo>
                  <a:lnTo>
                    <a:pt x="142" y="107"/>
                  </a:lnTo>
                  <a:lnTo>
                    <a:pt x="142" y="109"/>
                  </a:lnTo>
                  <a:lnTo>
                    <a:pt x="145" y="109"/>
                  </a:lnTo>
                  <a:lnTo>
                    <a:pt x="145" y="112"/>
                  </a:lnTo>
                  <a:lnTo>
                    <a:pt x="145" y="114"/>
                  </a:lnTo>
                  <a:lnTo>
                    <a:pt x="145" y="116"/>
                  </a:lnTo>
                  <a:lnTo>
                    <a:pt x="147" y="116"/>
                  </a:lnTo>
                  <a:lnTo>
                    <a:pt x="145" y="116"/>
                  </a:lnTo>
                  <a:lnTo>
                    <a:pt x="145" y="119"/>
                  </a:lnTo>
                  <a:lnTo>
                    <a:pt x="145" y="121"/>
                  </a:lnTo>
                  <a:lnTo>
                    <a:pt x="147" y="121"/>
                  </a:lnTo>
                  <a:lnTo>
                    <a:pt x="147" y="124"/>
                  </a:lnTo>
                  <a:lnTo>
                    <a:pt x="145" y="124"/>
                  </a:lnTo>
                  <a:lnTo>
                    <a:pt x="145" y="126"/>
                  </a:lnTo>
                  <a:lnTo>
                    <a:pt x="147" y="126"/>
                  </a:lnTo>
                  <a:lnTo>
                    <a:pt x="145" y="126"/>
                  </a:lnTo>
                  <a:lnTo>
                    <a:pt x="145" y="128"/>
                  </a:lnTo>
                  <a:lnTo>
                    <a:pt x="142" y="128"/>
                  </a:lnTo>
                  <a:lnTo>
                    <a:pt x="142" y="131"/>
                  </a:lnTo>
                  <a:lnTo>
                    <a:pt x="142" y="133"/>
                  </a:lnTo>
                  <a:lnTo>
                    <a:pt x="142" y="135"/>
                  </a:lnTo>
                  <a:lnTo>
                    <a:pt x="140" y="135"/>
                  </a:lnTo>
                  <a:lnTo>
                    <a:pt x="140" y="138"/>
                  </a:lnTo>
                  <a:lnTo>
                    <a:pt x="140" y="140"/>
                  </a:lnTo>
                  <a:lnTo>
                    <a:pt x="140" y="143"/>
                  </a:lnTo>
                  <a:lnTo>
                    <a:pt x="140" y="145"/>
                  </a:lnTo>
                  <a:lnTo>
                    <a:pt x="137" y="145"/>
                  </a:lnTo>
                  <a:lnTo>
                    <a:pt x="137" y="147"/>
                  </a:lnTo>
                  <a:lnTo>
                    <a:pt x="135" y="150"/>
                  </a:lnTo>
                  <a:lnTo>
                    <a:pt x="135" y="152"/>
                  </a:lnTo>
                  <a:lnTo>
                    <a:pt x="133" y="152"/>
                  </a:lnTo>
                  <a:lnTo>
                    <a:pt x="130" y="152"/>
                  </a:lnTo>
                  <a:lnTo>
                    <a:pt x="133" y="152"/>
                  </a:lnTo>
                  <a:lnTo>
                    <a:pt x="130" y="152"/>
                  </a:lnTo>
                  <a:lnTo>
                    <a:pt x="133" y="152"/>
                  </a:lnTo>
                  <a:lnTo>
                    <a:pt x="130" y="152"/>
                  </a:lnTo>
                  <a:lnTo>
                    <a:pt x="133" y="152"/>
                  </a:lnTo>
                  <a:lnTo>
                    <a:pt x="130" y="152"/>
                  </a:lnTo>
                  <a:lnTo>
                    <a:pt x="128" y="152"/>
                  </a:lnTo>
                  <a:lnTo>
                    <a:pt x="128" y="150"/>
                  </a:lnTo>
                  <a:lnTo>
                    <a:pt x="128" y="152"/>
                  </a:lnTo>
                  <a:lnTo>
                    <a:pt x="130" y="152"/>
                  </a:lnTo>
                  <a:lnTo>
                    <a:pt x="133" y="152"/>
                  </a:lnTo>
                  <a:lnTo>
                    <a:pt x="133" y="154"/>
                  </a:lnTo>
                  <a:lnTo>
                    <a:pt x="135" y="154"/>
                  </a:lnTo>
                  <a:lnTo>
                    <a:pt x="135" y="157"/>
                  </a:lnTo>
                  <a:lnTo>
                    <a:pt x="137" y="157"/>
                  </a:lnTo>
                  <a:lnTo>
                    <a:pt x="137" y="159"/>
                  </a:lnTo>
                  <a:lnTo>
                    <a:pt x="135" y="159"/>
                  </a:lnTo>
                  <a:lnTo>
                    <a:pt x="135" y="162"/>
                  </a:lnTo>
                  <a:lnTo>
                    <a:pt x="133" y="162"/>
                  </a:lnTo>
                  <a:lnTo>
                    <a:pt x="130" y="162"/>
                  </a:lnTo>
                  <a:lnTo>
                    <a:pt x="128" y="162"/>
                  </a:lnTo>
                  <a:lnTo>
                    <a:pt x="126" y="162"/>
                  </a:lnTo>
                  <a:lnTo>
                    <a:pt x="126" y="159"/>
                  </a:lnTo>
                  <a:lnTo>
                    <a:pt x="123" y="159"/>
                  </a:lnTo>
                  <a:lnTo>
                    <a:pt x="126" y="159"/>
                  </a:lnTo>
                  <a:lnTo>
                    <a:pt x="123" y="159"/>
                  </a:lnTo>
                  <a:lnTo>
                    <a:pt x="121" y="159"/>
                  </a:lnTo>
                  <a:lnTo>
                    <a:pt x="121" y="157"/>
                  </a:lnTo>
                  <a:lnTo>
                    <a:pt x="123" y="157"/>
                  </a:lnTo>
                  <a:lnTo>
                    <a:pt x="121" y="157"/>
                  </a:lnTo>
                  <a:lnTo>
                    <a:pt x="121" y="159"/>
                  </a:lnTo>
                  <a:lnTo>
                    <a:pt x="118" y="159"/>
                  </a:lnTo>
                  <a:lnTo>
                    <a:pt x="121" y="159"/>
                  </a:lnTo>
                  <a:lnTo>
                    <a:pt x="118" y="159"/>
                  </a:lnTo>
                  <a:lnTo>
                    <a:pt x="118" y="162"/>
                  </a:lnTo>
                  <a:lnTo>
                    <a:pt x="121" y="159"/>
                  </a:lnTo>
                  <a:lnTo>
                    <a:pt x="121" y="162"/>
                  </a:lnTo>
                  <a:lnTo>
                    <a:pt x="118" y="162"/>
                  </a:lnTo>
                  <a:lnTo>
                    <a:pt x="121" y="162"/>
                  </a:lnTo>
                  <a:lnTo>
                    <a:pt x="118" y="162"/>
                  </a:lnTo>
                  <a:lnTo>
                    <a:pt x="116" y="162"/>
                  </a:lnTo>
                  <a:lnTo>
                    <a:pt x="116" y="164"/>
                  </a:lnTo>
                  <a:lnTo>
                    <a:pt x="116" y="162"/>
                  </a:lnTo>
                  <a:lnTo>
                    <a:pt x="118" y="162"/>
                  </a:lnTo>
                  <a:lnTo>
                    <a:pt x="116" y="162"/>
                  </a:lnTo>
                  <a:lnTo>
                    <a:pt x="116" y="159"/>
                  </a:lnTo>
                  <a:lnTo>
                    <a:pt x="116" y="157"/>
                  </a:lnTo>
                  <a:lnTo>
                    <a:pt x="114" y="157"/>
                  </a:lnTo>
                  <a:lnTo>
                    <a:pt x="114" y="154"/>
                  </a:lnTo>
                  <a:lnTo>
                    <a:pt x="114" y="152"/>
                  </a:lnTo>
                  <a:lnTo>
                    <a:pt x="116" y="152"/>
                  </a:lnTo>
                  <a:lnTo>
                    <a:pt x="116" y="150"/>
                  </a:lnTo>
                  <a:lnTo>
                    <a:pt x="116" y="152"/>
                  </a:lnTo>
                  <a:lnTo>
                    <a:pt x="114" y="152"/>
                  </a:lnTo>
                  <a:lnTo>
                    <a:pt x="114" y="154"/>
                  </a:lnTo>
                  <a:lnTo>
                    <a:pt x="114" y="157"/>
                  </a:lnTo>
                  <a:lnTo>
                    <a:pt x="111" y="157"/>
                  </a:lnTo>
                  <a:lnTo>
                    <a:pt x="109" y="157"/>
                  </a:lnTo>
                  <a:lnTo>
                    <a:pt x="107" y="157"/>
                  </a:lnTo>
                  <a:lnTo>
                    <a:pt x="104" y="157"/>
                  </a:lnTo>
                  <a:lnTo>
                    <a:pt x="104" y="154"/>
                  </a:lnTo>
                  <a:lnTo>
                    <a:pt x="104" y="157"/>
                  </a:lnTo>
                  <a:lnTo>
                    <a:pt x="107" y="157"/>
                  </a:lnTo>
                  <a:lnTo>
                    <a:pt x="109" y="157"/>
                  </a:lnTo>
                  <a:lnTo>
                    <a:pt x="111" y="157"/>
                  </a:lnTo>
                  <a:lnTo>
                    <a:pt x="114" y="157"/>
                  </a:lnTo>
                  <a:lnTo>
                    <a:pt x="116" y="157"/>
                  </a:lnTo>
                  <a:lnTo>
                    <a:pt x="116" y="159"/>
                  </a:lnTo>
                  <a:lnTo>
                    <a:pt x="114" y="159"/>
                  </a:lnTo>
                  <a:lnTo>
                    <a:pt x="116" y="159"/>
                  </a:lnTo>
                  <a:lnTo>
                    <a:pt x="114" y="159"/>
                  </a:lnTo>
                  <a:lnTo>
                    <a:pt x="114" y="162"/>
                  </a:lnTo>
                  <a:lnTo>
                    <a:pt x="116" y="162"/>
                  </a:lnTo>
                  <a:lnTo>
                    <a:pt x="114" y="162"/>
                  </a:lnTo>
                  <a:lnTo>
                    <a:pt x="116" y="162"/>
                  </a:lnTo>
                  <a:lnTo>
                    <a:pt x="114" y="162"/>
                  </a:lnTo>
                  <a:lnTo>
                    <a:pt x="114" y="164"/>
                  </a:lnTo>
                  <a:lnTo>
                    <a:pt x="111" y="164"/>
                  </a:lnTo>
                  <a:lnTo>
                    <a:pt x="111" y="162"/>
                  </a:lnTo>
                  <a:lnTo>
                    <a:pt x="109" y="162"/>
                  </a:lnTo>
                  <a:lnTo>
                    <a:pt x="111" y="162"/>
                  </a:lnTo>
                  <a:lnTo>
                    <a:pt x="109" y="162"/>
                  </a:lnTo>
                  <a:lnTo>
                    <a:pt x="109" y="164"/>
                  </a:lnTo>
                  <a:lnTo>
                    <a:pt x="107" y="164"/>
                  </a:lnTo>
                  <a:lnTo>
                    <a:pt x="104" y="164"/>
                  </a:lnTo>
                  <a:lnTo>
                    <a:pt x="102" y="164"/>
                  </a:lnTo>
                  <a:lnTo>
                    <a:pt x="99" y="164"/>
                  </a:lnTo>
                  <a:lnTo>
                    <a:pt x="97" y="164"/>
                  </a:lnTo>
                  <a:lnTo>
                    <a:pt x="97" y="166"/>
                  </a:lnTo>
                  <a:lnTo>
                    <a:pt x="95" y="166"/>
                  </a:lnTo>
                  <a:lnTo>
                    <a:pt x="97" y="166"/>
                  </a:lnTo>
                  <a:lnTo>
                    <a:pt x="95" y="166"/>
                  </a:lnTo>
                  <a:lnTo>
                    <a:pt x="95" y="164"/>
                  </a:lnTo>
                  <a:lnTo>
                    <a:pt x="95" y="166"/>
                  </a:lnTo>
                  <a:lnTo>
                    <a:pt x="95" y="164"/>
                  </a:lnTo>
                  <a:lnTo>
                    <a:pt x="92" y="164"/>
                  </a:lnTo>
                  <a:lnTo>
                    <a:pt x="92" y="166"/>
                  </a:lnTo>
                  <a:lnTo>
                    <a:pt x="95" y="166"/>
                  </a:lnTo>
                  <a:lnTo>
                    <a:pt x="92" y="166"/>
                  </a:lnTo>
                  <a:lnTo>
                    <a:pt x="95" y="166"/>
                  </a:lnTo>
                  <a:lnTo>
                    <a:pt x="97" y="166"/>
                  </a:lnTo>
                  <a:lnTo>
                    <a:pt x="97" y="169"/>
                  </a:lnTo>
                  <a:lnTo>
                    <a:pt x="95" y="169"/>
                  </a:lnTo>
                  <a:lnTo>
                    <a:pt x="95" y="171"/>
                  </a:lnTo>
                  <a:lnTo>
                    <a:pt x="92" y="171"/>
                  </a:lnTo>
                  <a:lnTo>
                    <a:pt x="90" y="171"/>
                  </a:lnTo>
                  <a:lnTo>
                    <a:pt x="90" y="173"/>
                  </a:lnTo>
                  <a:lnTo>
                    <a:pt x="88" y="173"/>
                  </a:lnTo>
                  <a:lnTo>
                    <a:pt x="88" y="171"/>
                  </a:lnTo>
                  <a:lnTo>
                    <a:pt x="88" y="173"/>
                  </a:lnTo>
                  <a:lnTo>
                    <a:pt x="88" y="171"/>
                  </a:lnTo>
                  <a:lnTo>
                    <a:pt x="85" y="171"/>
                  </a:lnTo>
                  <a:lnTo>
                    <a:pt x="88" y="171"/>
                  </a:lnTo>
                  <a:lnTo>
                    <a:pt x="85" y="171"/>
                  </a:lnTo>
                  <a:lnTo>
                    <a:pt x="85" y="169"/>
                  </a:lnTo>
                  <a:lnTo>
                    <a:pt x="85" y="166"/>
                  </a:lnTo>
                  <a:lnTo>
                    <a:pt x="85" y="169"/>
                  </a:lnTo>
                  <a:lnTo>
                    <a:pt x="85" y="171"/>
                  </a:lnTo>
                  <a:lnTo>
                    <a:pt x="85" y="173"/>
                  </a:lnTo>
                  <a:lnTo>
                    <a:pt x="83" y="173"/>
                  </a:lnTo>
                  <a:lnTo>
                    <a:pt x="83" y="176"/>
                  </a:lnTo>
                  <a:lnTo>
                    <a:pt x="83" y="173"/>
                  </a:lnTo>
                  <a:lnTo>
                    <a:pt x="85" y="173"/>
                  </a:lnTo>
                  <a:lnTo>
                    <a:pt x="85" y="176"/>
                  </a:lnTo>
                  <a:lnTo>
                    <a:pt x="83" y="176"/>
                  </a:lnTo>
                  <a:lnTo>
                    <a:pt x="80" y="176"/>
                  </a:lnTo>
                  <a:lnTo>
                    <a:pt x="80" y="178"/>
                  </a:lnTo>
                  <a:lnTo>
                    <a:pt x="78" y="178"/>
                  </a:lnTo>
                  <a:lnTo>
                    <a:pt x="78" y="181"/>
                  </a:lnTo>
                  <a:lnTo>
                    <a:pt x="78" y="178"/>
                  </a:lnTo>
                  <a:lnTo>
                    <a:pt x="76" y="181"/>
                  </a:lnTo>
                  <a:lnTo>
                    <a:pt x="73" y="181"/>
                  </a:lnTo>
                  <a:lnTo>
                    <a:pt x="73" y="178"/>
                  </a:lnTo>
                  <a:lnTo>
                    <a:pt x="76" y="17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8" name="Freeform 52467"/>
            <p:cNvSpPr>
              <a:spLocks noEditPoints="1"/>
            </p:cNvSpPr>
            <p:nvPr/>
          </p:nvSpPr>
          <p:spPr bwMode="auto">
            <a:xfrm>
              <a:off x="1471610" y="4283090"/>
              <a:ext cx="241300" cy="309565"/>
            </a:xfrm>
            <a:custGeom>
              <a:avLst/>
              <a:gdLst>
                <a:gd name="T0" fmla="*/ 38 w 152"/>
                <a:gd name="T1" fmla="*/ 192 h 195"/>
                <a:gd name="T2" fmla="*/ 40 w 152"/>
                <a:gd name="T3" fmla="*/ 192 h 195"/>
                <a:gd name="T4" fmla="*/ 40 w 152"/>
                <a:gd name="T5" fmla="*/ 190 h 195"/>
                <a:gd name="T6" fmla="*/ 38 w 152"/>
                <a:gd name="T7" fmla="*/ 187 h 195"/>
                <a:gd name="T8" fmla="*/ 26 w 152"/>
                <a:gd name="T9" fmla="*/ 183 h 195"/>
                <a:gd name="T10" fmla="*/ 24 w 152"/>
                <a:gd name="T11" fmla="*/ 183 h 195"/>
                <a:gd name="T12" fmla="*/ 19 w 152"/>
                <a:gd name="T13" fmla="*/ 180 h 195"/>
                <a:gd name="T14" fmla="*/ 7 w 152"/>
                <a:gd name="T15" fmla="*/ 171 h 195"/>
                <a:gd name="T16" fmla="*/ 7 w 152"/>
                <a:gd name="T17" fmla="*/ 168 h 195"/>
                <a:gd name="T18" fmla="*/ 2 w 152"/>
                <a:gd name="T19" fmla="*/ 159 h 195"/>
                <a:gd name="T20" fmla="*/ 131 w 152"/>
                <a:gd name="T21" fmla="*/ 159 h 195"/>
                <a:gd name="T22" fmla="*/ 116 w 152"/>
                <a:gd name="T23" fmla="*/ 152 h 195"/>
                <a:gd name="T24" fmla="*/ 50 w 152"/>
                <a:gd name="T25" fmla="*/ 130 h 195"/>
                <a:gd name="T26" fmla="*/ 52 w 152"/>
                <a:gd name="T27" fmla="*/ 133 h 195"/>
                <a:gd name="T28" fmla="*/ 52 w 152"/>
                <a:gd name="T29" fmla="*/ 130 h 195"/>
                <a:gd name="T30" fmla="*/ 52 w 152"/>
                <a:gd name="T31" fmla="*/ 130 h 195"/>
                <a:gd name="T32" fmla="*/ 36 w 152"/>
                <a:gd name="T33" fmla="*/ 114 h 195"/>
                <a:gd name="T34" fmla="*/ 36 w 152"/>
                <a:gd name="T35" fmla="*/ 111 h 195"/>
                <a:gd name="T36" fmla="*/ 26 w 152"/>
                <a:gd name="T37" fmla="*/ 109 h 195"/>
                <a:gd name="T38" fmla="*/ 29 w 152"/>
                <a:gd name="T39" fmla="*/ 107 h 195"/>
                <a:gd name="T40" fmla="*/ 31 w 152"/>
                <a:gd name="T41" fmla="*/ 111 h 195"/>
                <a:gd name="T42" fmla="*/ 26 w 152"/>
                <a:gd name="T43" fmla="*/ 109 h 195"/>
                <a:gd name="T44" fmla="*/ 52 w 152"/>
                <a:gd name="T45" fmla="*/ 104 h 195"/>
                <a:gd name="T46" fmla="*/ 26 w 152"/>
                <a:gd name="T47" fmla="*/ 102 h 195"/>
                <a:gd name="T48" fmla="*/ 31 w 152"/>
                <a:gd name="T49" fmla="*/ 100 h 195"/>
                <a:gd name="T50" fmla="*/ 31 w 152"/>
                <a:gd name="T51" fmla="*/ 102 h 195"/>
                <a:gd name="T52" fmla="*/ 29 w 152"/>
                <a:gd name="T53" fmla="*/ 102 h 195"/>
                <a:gd name="T54" fmla="*/ 29 w 152"/>
                <a:gd name="T55" fmla="*/ 102 h 195"/>
                <a:gd name="T56" fmla="*/ 31 w 152"/>
                <a:gd name="T57" fmla="*/ 100 h 195"/>
                <a:gd name="T58" fmla="*/ 12 w 152"/>
                <a:gd name="T59" fmla="*/ 95 h 195"/>
                <a:gd name="T60" fmla="*/ 17 w 152"/>
                <a:gd name="T61" fmla="*/ 90 h 195"/>
                <a:gd name="T62" fmla="*/ 14 w 152"/>
                <a:gd name="T63" fmla="*/ 90 h 195"/>
                <a:gd name="T64" fmla="*/ 19 w 152"/>
                <a:gd name="T65" fmla="*/ 85 h 195"/>
                <a:gd name="T66" fmla="*/ 21 w 152"/>
                <a:gd name="T67" fmla="*/ 85 h 195"/>
                <a:gd name="T68" fmla="*/ 17 w 152"/>
                <a:gd name="T69" fmla="*/ 83 h 195"/>
                <a:gd name="T70" fmla="*/ 12 w 152"/>
                <a:gd name="T71" fmla="*/ 85 h 195"/>
                <a:gd name="T72" fmla="*/ 12 w 152"/>
                <a:gd name="T73" fmla="*/ 83 h 195"/>
                <a:gd name="T74" fmla="*/ 21 w 152"/>
                <a:gd name="T75" fmla="*/ 83 h 195"/>
                <a:gd name="T76" fmla="*/ 14 w 152"/>
                <a:gd name="T77" fmla="*/ 81 h 195"/>
                <a:gd name="T78" fmla="*/ 19 w 152"/>
                <a:gd name="T79" fmla="*/ 78 h 195"/>
                <a:gd name="T80" fmla="*/ 21 w 152"/>
                <a:gd name="T81" fmla="*/ 76 h 195"/>
                <a:gd name="T82" fmla="*/ 33 w 152"/>
                <a:gd name="T83" fmla="*/ 73 h 195"/>
                <a:gd name="T84" fmla="*/ 33 w 152"/>
                <a:gd name="T85" fmla="*/ 73 h 195"/>
                <a:gd name="T86" fmla="*/ 21 w 152"/>
                <a:gd name="T87" fmla="*/ 71 h 195"/>
                <a:gd name="T88" fmla="*/ 14 w 152"/>
                <a:gd name="T89" fmla="*/ 59 h 195"/>
                <a:gd name="T90" fmla="*/ 14 w 152"/>
                <a:gd name="T91" fmla="*/ 59 h 195"/>
                <a:gd name="T92" fmla="*/ 14 w 152"/>
                <a:gd name="T93" fmla="*/ 57 h 195"/>
                <a:gd name="T94" fmla="*/ 64 w 152"/>
                <a:gd name="T95" fmla="*/ 45 h 195"/>
                <a:gd name="T96" fmla="*/ 59 w 152"/>
                <a:gd name="T97" fmla="*/ 31 h 195"/>
                <a:gd name="T98" fmla="*/ 71 w 152"/>
                <a:gd name="T99" fmla="*/ 16 h 195"/>
                <a:gd name="T100" fmla="*/ 66 w 152"/>
                <a:gd name="T101" fmla="*/ 14 h 195"/>
                <a:gd name="T102" fmla="*/ 74 w 152"/>
                <a:gd name="T103" fmla="*/ 12 h 195"/>
                <a:gd name="T104" fmla="*/ 76 w 152"/>
                <a:gd name="T105" fmla="*/ 9 h 195"/>
                <a:gd name="T106" fmla="*/ 76 w 152"/>
                <a:gd name="T107" fmla="*/ 9 h 195"/>
                <a:gd name="T108" fmla="*/ 81 w 152"/>
                <a:gd name="T109" fmla="*/ 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95">
                  <a:moveTo>
                    <a:pt x="38" y="192"/>
                  </a:moveTo>
                  <a:lnTo>
                    <a:pt x="36" y="192"/>
                  </a:lnTo>
                  <a:lnTo>
                    <a:pt x="36" y="195"/>
                  </a:lnTo>
                  <a:lnTo>
                    <a:pt x="36" y="192"/>
                  </a:lnTo>
                  <a:lnTo>
                    <a:pt x="38" y="192"/>
                  </a:lnTo>
                  <a:close/>
                  <a:moveTo>
                    <a:pt x="38" y="190"/>
                  </a:moveTo>
                  <a:lnTo>
                    <a:pt x="36" y="190"/>
                  </a:lnTo>
                  <a:lnTo>
                    <a:pt x="38" y="190"/>
                  </a:lnTo>
                  <a:close/>
                  <a:moveTo>
                    <a:pt x="40" y="190"/>
                  </a:moveTo>
                  <a:lnTo>
                    <a:pt x="40" y="192"/>
                  </a:lnTo>
                  <a:lnTo>
                    <a:pt x="38" y="192"/>
                  </a:lnTo>
                  <a:lnTo>
                    <a:pt x="38" y="190"/>
                  </a:lnTo>
                  <a:lnTo>
                    <a:pt x="40" y="190"/>
                  </a:lnTo>
                  <a:lnTo>
                    <a:pt x="38" y="190"/>
                  </a:lnTo>
                  <a:lnTo>
                    <a:pt x="40" y="190"/>
                  </a:lnTo>
                  <a:close/>
                  <a:moveTo>
                    <a:pt x="36" y="190"/>
                  </a:moveTo>
                  <a:lnTo>
                    <a:pt x="33" y="190"/>
                  </a:lnTo>
                  <a:lnTo>
                    <a:pt x="36" y="190"/>
                  </a:lnTo>
                  <a:close/>
                  <a:moveTo>
                    <a:pt x="38" y="190"/>
                  </a:moveTo>
                  <a:lnTo>
                    <a:pt x="38" y="187"/>
                  </a:lnTo>
                  <a:lnTo>
                    <a:pt x="38" y="190"/>
                  </a:lnTo>
                  <a:close/>
                  <a:moveTo>
                    <a:pt x="14" y="185"/>
                  </a:moveTo>
                  <a:lnTo>
                    <a:pt x="12" y="185"/>
                  </a:lnTo>
                  <a:lnTo>
                    <a:pt x="14" y="185"/>
                  </a:lnTo>
                  <a:close/>
                  <a:moveTo>
                    <a:pt x="26" y="183"/>
                  </a:moveTo>
                  <a:lnTo>
                    <a:pt x="24" y="183"/>
                  </a:lnTo>
                  <a:lnTo>
                    <a:pt x="24" y="185"/>
                  </a:lnTo>
                  <a:lnTo>
                    <a:pt x="24" y="183"/>
                  </a:lnTo>
                  <a:lnTo>
                    <a:pt x="24" y="185"/>
                  </a:lnTo>
                  <a:lnTo>
                    <a:pt x="24" y="183"/>
                  </a:lnTo>
                  <a:lnTo>
                    <a:pt x="26" y="183"/>
                  </a:lnTo>
                  <a:close/>
                  <a:moveTo>
                    <a:pt x="38" y="180"/>
                  </a:moveTo>
                  <a:lnTo>
                    <a:pt x="36" y="180"/>
                  </a:lnTo>
                  <a:lnTo>
                    <a:pt x="38" y="180"/>
                  </a:lnTo>
                  <a:close/>
                  <a:moveTo>
                    <a:pt x="19" y="180"/>
                  </a:moveTo>
                  <a:lnTo>
                    <a:pt x="19" y="178"/>
                  </a:lnTo>
                  <a:lnTo>
                    <a:pt x="19" y="180"/>
                  </a:lnTo>
                  <a:close/>
                  <a:moveTo>
                    <a:pt x="10" y="168"/>
                  </a:moveTo>
                  <a:lnTo>
                    <a:pt x="10" y="171"/>
                  </a:lnTo>
                  <a:lnTo>
                    <a:pt x="7" y="171"/>
                  </a:lnTo>
                  <a:lnTo>
                    <a:pt x="5" y="171"/>
                  </a:lnTo>
                  <a:lnTo>
                    <a:pt x="7" y="171"/>
                  </a:lnTo>
                  <a:lnTo>
                    <a:pt x="7" y="168"/>
                  </a:lnTo>
                  <a:lnTo>
                    <a:pt x="10" y="168"/>
                  </a:lnTo>
                  <a:lnTo>
                    <a:pt x="7" y="168"/>
                  </a:lnTo>
                  <a:lnTo>
                    <a:pt x="10" y="168"/>
                  </a:lnTo>
                  <a:close/>
                  <a:moveTo>
                    <a:pt x="0" y="164"/>
                  </a:moveTo>
                  <a:lnTo>
                    <a:pt x="0" y="161"/>
                  </a:lnTo>
                  <a:lnTo>
                    <a:pt x="0" y="164"/>
                  </a:lnTo>
                  <a:close/>
                  <a:moveTo>
                    <a:pt x="2" y="159"/>
                  </a:moveTo>
                  <a:lnTo>
                    <a:pt x="2" y="161"/>
                  </a:lnTo>
                  <a:lnTo>
                    <a:pt x="0" y="161"/>
                  </a:lnTo>
                  <a:lnTo>
                    <a:pt x="2" y="161"/>
                  </a:lnTo>
                  <a:lnTo>
                    <a:pt x="2" y="159"/>
                  </a:lnTo>
                  <a:close/>
                  <a:moveTo>
                    <a:pt x="131" y="159"/>
                  </a:moveTo>
                  <a:lnTo>
                    <a:pt x="133" y="159"/>
                  </a:lnTo>
                  <a:lnTo>
                    <a:pt x="131" y="159"/>
                  </a:lnTo>
                  <a:close/>
                  <a:moveTo>
                    <a:pt x="116" y="152"/>
                  </a:moveTo>
                  <a:lnTo>
                    <a:pt x="119" y="152"/>
                  </a:lnTo>
                  <a:lnTo>
                    <a:pt x="116" y="152"/>
                  </a:lnTo>
                  <a:close/>
                  <a:moveTo>
                    <a:pt x="50" y="133"/>
                  </a:moveTo>
                  <a:lnTo>
                    <a:pt x="50" y="130"/>
                  </a:lnTo>
                  <a:lnTo>
                    <a:pt x="50" y="133"/>
                  </a:lnTo>
                  <a:close/>
                  <a:moveTo>
                    <a:pt x="50" y="133"/>
                  </a:moveTo>
                  <a:lnTo>
                    <a:pt x="50" y="130"/>
                  </a:lnTo>
                  <a:lnTo>
                    <a:pt x="50" y="133"/>
                  </a:lnTo>
                  <a:close/>
                  <a:moveTo>
                    <a:pt x="52" y="130"/>
                  </a:moveTo>
                  <a:lnTo>
                    <a:pt x="52" y="133"/>
                  </a:lnTo>
                  <a:lnTo>
                    <a:pt x="52" y="130"/>
                  </a:lnTo>
                  <a:close/>
                  <a:moveTo>
                    <a:pt x="52" y="133"/>
                  </a:moveTo>
                  <a:lnTo>
                    <a:pt x="50" y="133"/>
                  </a:lnTo>
                  <a:lnTo>
                    <a:pt x="52" y="133"/>
                  </a:lnTo>
                  <a:lnTo>
                    <a:pt x="52" y="130"/>
                  </a:lnTo>
                  <a:lnTo>
                    <a:pt x="52" y="133"/>
                  </a:lnTo>
                  <a:close/>
                  <a:moveTo>
                    <a:pt x="52" y="130"/>
                  </a:moveTo>
                  <a:lnTo>
                    <a:pt x="50" y="130"/>
                  </a:lnTo>
                  <a:lnTo>
                    <a:pt x="52" y="130"/>
                  </a:lnTo>
                  <a:close/>
                  <a:moveTo>
                    <a:pt x="52" y="130"/>
                  </a:moveTo>
                  <a:lnTo>
                    <a:pt x="52" y="128"/>
                  </a:lnTo>
                  <a:lnTo>
                    <a:pt x="52" y="130"/>
                  </a:lnTo>
                  <a:close/>
                  <a:moveTo>
                    <a:pt x="36" y="123"/>
                  </a:moveTo>
                  <a:lnTo>
                    <a:pt x="36" y="126"/>
                  </a:lnTo>
                  <a:lnTo>
                    <a:pt x="36" y="123"/>
                  </a:lnTo>
                  <a:close/>
                  <a:moveTo>
                    <a:pt x="36" y="111"/>
                  </a:moveTo>
                  <a:lnTo>
                    <a:pt x="36" y="114"/>
                  </a:lnTo>
                  <a:lnTo>
                    <a:pt x="36" y="111"/>
                  </a:lnTo>
                  <a:close/>
                  <a:moveTo>
                    <a:pt x="33" y="109"/>
                  </a:moveTo>
                  <a:lnTo>
                    <a:pt x="36" y="111"/>
                  </a:lnTo>
                  <a:lnTo>
                    <a:pt x="33" y="111"/>
                  </a:lnTo>
                  <a:lnTo>
                    <a:pt x="36" y="111"/>
                  </a:lnTo>
                  <a:lnTo>
                    <a:pt x="33" y="111"/>
                  </a:lnTo>
                  <a:lnTo>
                    <a:pt x="33" y="109"/>
                  </a:lnTo>
                  <a:close/>
                  <a:moveTo>
                    <a:pt x="26" y="109"/>
                  </a:moveTo>
                  <a:lnTo>
                    <a:pt x="24" y="109"/>
                  </a:lnTo>
                  <a:lnTo>
                    <a:pt x="26" y="109"/>
                  </a:lnTo>
                  <a:close/>
                  <a:moveTo>
                    <a:pt x="26" y="109"/>
                  </a:moveTo>
                  <a:lnTo>
                    <a:pt x="29" y="109"/>
                  </a:lnTo>
                  <a:lnTo>
                    <a:pt x="29" y="107"/>
                  </a:lnTo>
                  <a:lnTo>
                    <a:pt x="29" y="109"/>
                  </a:lnTo>
                  <a:lnTo>
                    <a:pt x="29" y="107"/>
                  </a:lnTo>
                  <a:lnTo>
                    <a:pt x="29" y="109"/>
                  </a:lnTo>
                  <a:lnTo>
                    <a:pt x="31" y="109"/>
                  </a:lnTo>
                  <a:lnTo>
                    <a:pt x="33" y="109"/>
                  </a:lnTo>
                  <a:lnTo>
                    <a:pt x="33" y="111"/>
                  </a:lnTo>
                  <a:lnTo>
                    <a:pt x="31" y="111"/>
                  </a:lnTo>
                  <a:lnTo>
                    <a:pt x="31" y="109"/>
                  </a:lnTo>
                  <a:lnTo>
                    <a:pt x="29" y="109"/>
                  </a:lnTo>
                  <a:lnTo>
                    <a:pt x="26" y="109"/>
                  </a:lnTo>
                  <a:lnTo>
                    <a:pt x="26" y="107"/>
                  </a:lnTo>
                  <a:lnTo>
                    <a:pt x="26" y="109"/>
                  </a:lnTo>
                  <a:close/>
                  <a:moveTo>
                    <a:pt x="52" y="104"/>
                  </a:moveTo>
                  <a:lnTo>
                    <a:pt x="55" y="104"/>
                  </a:lnTo>
                  <a:lnTo>
                    <a:pt x="55" y="107"/>
                  </a:lnTo>
                  <a:lnTo>
                    <a:pt x="52" y="107"/>
                  </a:lnTo>
                  <a:lnTo>
                    <a:pt x="52" y="104"/>
                  </a:lnTo>
                  <a:close/>
                  <a:moveTo>
                    <a:pt x="29" y="102"/>
                  </a:moveTo>
                  <a:lnTo>
                    <a:pt x="31" y="102"/>
                  </a:lnTo>
                  <a:lnTo>
                    <a:pt x="29" y="102"/>
                  </a:lnTo>
                  <a:close/>
                  <a:moveTo>
                    <a:pt x="26" y="100"/>
                  </a:moveTo>
                  <a:lnTo>
                    <a:pt x="26" y="102"/>
                  </a:lnTo>
                  <a:lnTo>
                    <a:pt x="26" y="100"/>
                  </a:lnTo>
                  <a:close/>
                  <a:moveTo>
                    <a:pt x="24" y="100"/>
                  </a:moveTo>
                  <a:lnTo>
                    <a:pt x="21" y="100"/>
                  </a:lnTo>
                  <a:lnTo>
                    <a:pt x="24" y="100"/>
                  </a:lnTo>
                  <a:close/>
                  <a:moveTo>
                    <a:pt x="31" y="100"/>
                  </a:moveTo>
                  <a:lnTo>
                    <a:pt x="33" y="100"/>
                  </a:lnTo>
                  <a:lnTo>
                    <a:pt x="33" y="102"/>
                  </a:lnTo>
                  <a:lnTo>
                    <a:pt x="33" y="100"/>
                  </a:lnTo>
                  <a:lnTo>
                    <a:pt x="31" y="100"/>
                  </a:lnTo>
                  <a:lnTo>
                    <a:pt x="31" y="102"/>
                  </a:lnTo>
                  <a:lnTo>
                    <a:pt x="31" y="104"/>
                  </a:lnTo>
                  <a:lnTo>
                    <a:pt x="29" y="104"/>
                  </a:lnTo>
                  <a:lnTo>
                    <a:pt x="29" y="102"/>
                  </a:lnTo>
                  <a:lnTo>
                    <a:pt x="29" y="104"/>
                  </a:lnTo>
                  <a:lnTo>
                    <a:pt x="29" y="102"/>
                  </a:lnTo>
                  <a:lnTo>
                    <a:pt x="29" y="104"/>
                  </a:lnTo>
                  <a:lnTo>
                    <a:pt x="31" y="102"/>
                  </a:lnTo>
                  <a:lnTo>
                    <a:pt x="29" y="102"/>
                  </a:lnTo>
                  <a:lnTo>
                    <a:pt x="31" y="102"/>
                  </a:lnTo>
                  <a:lnTo>
                    <a:pt x="29" y="102"/>
                  </a:lnTo>
                  <a:lnTo>
                    <a:pt x="31" y="102"/>
                  </a:lnTo>
                  <a:lnTo>
                    <a:pt x="29" y="100"/>
                  </a:lnTo>
                  <a:lnTo>
                    <a:pt x="31" y="100"/>
                  </a:lnTo>
                  <a:lnTo>
                    <a:pt x="33" y="100"/>
                  </a:lnTo>
                  <a:lnTo>
                    <a:pt x="31" y="100"/>
                  </a:lnTo>
                  <a:close/>
                  <a:moveTo>
                    <a:pt x="21" y="97"/>
                  </a:moveTo>
                  <a:lnTo>
                    <a:pt x="24" y="97"/>
                  </a:lnTo>
                  <a:lnTo>
                    <a:pt x="21" y="97"/>
                  </a:lnTo>
                  <a:close/>
                  <a:moveTo>
                    <a:pt x="14" y="95"/>
                  </a:moveTo>
                  <a:lnTo>
                    <a:pt x="12" y="95"/>
                  </a:lnTo>
                  <a:lnTo>
                    <a:pt x="14" y="95"/>
                  </a:lnTo>
                  <a:close/>
                  <a:moveTo>
                    <a:pt x="152" y="90"/>
                  </a:moveTo>
                  <a:lnTo>
                    <a:pt x="152" y="92"/>
                  </a:lnTo>
                  <a:lnTo>
                    <a:pt x="152" y="90"/>
                  </a:lnTo>
                  <a:close/>
                  <a:moveTo>
                    <a:pt x="17" y="90"/>
                  </a:moveTo>
                  <a:lnTo>
                    <a:pt x="14" y="90"/>
                  </a:lnTo>
                  <a:lnTo>
                    <a:pt x="17" y="90"/>
                  </a:lnTo>
                  <a:close/>
                  <a:moveTo>
                    <a:pt x="14" y="90"/>
                  </a:moveTo>
                  <a:lnTo>
                    <a:pt x="12" y="90"/>
                  </a:lnTo>
                  <a:lnTo>
                    <a:pt x="14" y="90"/>
                  </a:lnTo>
                  <a:close/>
                  <a:moveTo>
                    <a:pt x="14" y="88"/>
                  </a:moveTo>
                  <a:lnTo>
                    <a:pt x="14" y="90"/>
                  </a:lnTo>
                  <a:lnTo>
                    <a:pt x="14" y="88"/>
                  </a:lnTo>
                  <a:close/>
                  <a:moveTo>
                    <a:pt x="19" y="88"/>
                  </a:moveTo>
                  <a:lnTo>
                    <a:pt x="19" y="85"/>
                  </a:lnTo>
                  <a:lnTo>
                    <a:pt x="19" y="88"/>
                  </a:lnTo>
                  <a:close/>
                  <a:moveTo>
                    <a:pt x="10" y="85"/>
                  </a:moveTo>
                  <a:lnTo>
                    <a:pt x="12" y="85"/>
                  </a:lnTo>
                  <a:lnTo>
                    <a:pt x="10" y="85"/>
                  </a:lnTo>
                  <a:close/>
                  <a:moveTo>
                    <a:pt x="21" y="85"/>
                  </a:moveTo>
                  <a:lnTo>
                    <a:pt x="19" y="85"/>
                  </a:lnTo>
                  <a:lnTo>
                    <a:pt x="19" y="83"/>
                  </a:lnTo>
                  <a:lnTo>
                    <a:pt x="19" y="85"/>
                  </a:lnTo>
                  <a:lnTo>
                    <a:pt x="21" y="85"/>
                  </a:lnTo>
                  <a:close/>
                  <a:moveTo>
                    <a:pt x="17" y="83"/>
                  </a:moveTo>
                  <a:lnTo>
                    <a:pt x="14" y="83"/>
                  </a:lnTo>
                  <a:lnTo>
                    <a:pt x="17" y="83"/>
                  </a:lnTo>
                  <a:close/>
                  <a:moveTo>
                    <a:pt x="14" y="83"/>
                  </a:moveTo>
                  <a:lnTo>
                    <a:pt x="14" y="85"/>
                  </a:lnTo>
                  <a:lnTo>
                    <a:pt x="12" y="85"/>
                  </a:lnTo>
                  <a:lnTo>
                    <a:pt x="14" y="85"/>
                  </a:lnTo>
                  <a:lnTo>
                    <a:pt x="12" y="85"/>
                  </a:lnTo>
                  <a:lnTo>
                    <a:pt x="12" y="83"/>
                  </a:lnTo>
                  <a:lnTo>
                    <a:pt x="12" y="85"/>
                  </a:lnTo>
                  <a:lnTo>
                    <a:pt x="12" y="83"/>
                  </a:lnTo>
                  <a:lnTo>
                    <a:pt x="14" y="83"/>
                  </a:lnTo>
                  <a:lnTo>
                    <a:pt x="12" y="83"/>
                  </a:lnTo>
                  <a:lnTo>
                    <a:pt x="14" y="83"/>
                  </a:lnTo>
                  <a:close/>
                  <a:moveTo>
                    <a:pt x="24" y="83"/>
                  </a:moveTo>
                  <a:lnTo>
                    <a:pt x="21" y="83"/>
                  </a:lnTo>
                  <a:lnTo>
                    <a:pt x="24" y="83"/>
                  </a:lnTo>
                  <a:lnTo>
                    <a:pt x="21" y="83"/>
                  </a:lnTo>
                  <a:lnTo>
                    <a:pt x="24" y="83"/>
                  </a:lnTo>
                  <a:close/>
                  <a:moveTo>
                    <a:pt x="17" y="81"/>
                  </a:moveTo>
                  <a:lnTo>
                    <a:pt x="14" y="81"/>
                  </a:lnTo>
                  <a:lnTo>
                    <a:pt x="17" y="81"/>
                  </a:lnTo>
                  <a:lnTo>
                    <a:pt x="14" y="81"/>
                  </a:lnTo>
                  <a:lnTo>
                    <a:pt x="17" y="81"/>
                  </a:lnTo>
                  <a:close/>
                  <a:moveTo>
                    <a:pt x="19" y="81"/>
                  </a:moveTo>
                  <a:lnTo>
                    <a:pt x="19" y="78"/>
                  </a:lnTo>
                  <a:lnTo>
                    <a:pt x="19" y="81"/>
                  </a:lnTo>
                  <a:close/>
                  <a:moveTo>
                    <a:pt x="31" y="76"/>
                  </a:moveTo>
                  <a:lnTo>
                    <a:pt x="31" y="73"/>
                  </a:lnTo>
                  <a:lnTo>
                    <a:pt x="31" y="76"/>
                  </a:lnTo>
                  <a:close/>
                  <a:moveTo>
                    <a:pt x="21" y="76"/>
                  </a:moveTo>
                  <a:lnTo>
                    <a:pt x="19" y="76"/>
                  </a:lnTo>
                  <a:lnTo>
                    <a:pt x="19" y="73"/>
                  </a:lnTo>
                  <a:lnTo>
                    <a:pt x="21" y="73"/>
                  </a:lnTo>
                  <a:lnTo>
                    <a:pt x="21" y="76"/>
                  </a:lnTo>
                  <a:close/>
                  <a:moveTo>
                    <a:pt x="33" y="73"/>
                  </a:moveTo>
                  <a:lnTo>
                    <a:pt x="31" y="73"/>
                  </a:lnTo>
                  <a:lnTo>
                    <a:pt x="33" y="73"/>
                  </a:lnTo>
                  <a:close/>
                  <a:moveTo>
                    <a:pt x="33" y="73"/>
                  </a:moveTo>
                  <a:lnTo>
                    <a:pt x="31" y="73"/>
                  </a:lnTo>
                  <a:lnTo>
                    <a:pt x="33" y="73"/>
                  </a:lnTo>
                  <a:close/>
                  <a:moveTo>
                    <a:pt x="33" y="73"/>
                  </a:moveTo>
                  <a:lnTo>
                    <a:pt x="31" y="73"/>
                  </a:lnTo>
                  <a:lnTo>
                    <a:pt x="33" y="73"/>
                  </a:lnTo>
                  <a:close/>
                  <a:moveTo>
                    <a:pt x="21" y="73"/>
                  </a:moveTo>
                  <a:lnTo>
                    <a:pt x="21" y="71"/>
                  </a:lnTo>
                  <a:lnTo>
                    <a:pt x="21" y="73"/>
                  </a:lnTo>
                  <a:close/>
                  <a:moveTo>
                    <a:pt x="14" y="62"/>
                  </a:moveTo>
                  <a:lnTo>
                    <a:pt x="17" y="62"/>
                  </a:lnTo>
                  <a:lnTo>
                    <a:pt x="14" y="62"/>
                  </a:lnTo>
                  <a:close/>
                  <a:moveTo>
                    <a:pt x="14" y="59"/>
                  </a:moveTo>
                  <a:lnTo>
                    <a:pt x="12" y="59"/>
                  </a:lnTo>
                  <a:lnTo>
                    <a:pt x="14" y="59"/>
                  </a:lnTo>
                  <a:close/>
                  <a:moveTo>
                    <a:pt x="14" y="59"/>
                  </a:moveTo>
                  <a:lnTo>
                    <a:pt x="12" y="59"/>
                  </a:lnTo>
                  <a:lnTo>
                    <a:pt x="14" y="59"/>
                  </a:lnTo>
                  <a:lnTo>
                    <a:pt x="12" y="59"/>
                  </a:lnTo>
                  <a:lnTo>
                    <a:pt x="14" y="59"/>
                  </a:lnTo>
                  <a:lnTo>
                    <a:pt x="12" y="59"/>
                  </a:lnTo>
                  <a:lnTo>
                    <a:pt x="12" y="57"/>
                  </a:lnTo>
                  <a:lnTo>
                    <a:pt x="14" y="57"/>
                  </a:lnTo>
                  <a:lnTo>
                    <a:pt x="14" y="59"/>
                  </a:lnTo>
                  <a:close/>
                  <a:moveTo>
                    <a:pt x="66" y="50"/>
                  </a:moveTo>
                  <a:lnTo>
                    <a:pt x="66" y="52"/>
                  </a:lnTo>
                  <a:lnTo>
                    <a:pt x="66" y="50"/>
                  </a:lnTo>
                  <a:close/>
                  <a:moveTo>
                    <a:pt x="64" y="45"/>
                  </a:moveTo>
                  <a:lnTo>
                    <a:pt x="64" y="43"/>
                  </a:lnTo>
                  <a:lnTo>
                    <a:pt x="64" y="45"/>
                  </a:lnTo>
                  <a:close/>
                  <a:moveTo>
                    <a:pt x="59" y="31"/>
                  </a:moveTo>
                  <a:lnTo>
                    <a:pt x="59" y="33"/>
                  </a:lnTo>
                  <a:lnTo>
                    <a:pt x="59" y="31"/>
                  </a:lnTo>
                  <a:close/>
                  <a:moveTo>
                    <a:pt x="71" y="16"/>
                  </a:moveTo>
                  <a:lnTo>
                    <a:pt x="71" y="19"/>
                  </a:lnTo>
                  <a:lnTo>
                    <a:pt x="71" y="16"/>
                  </a:lnTo>
                  <a:close/>
                  <a:moveTo>
                    <a:pt x="71" y="14"/>
                  </a:moveTo>
                  <a:lnTo>
                    <a:pt x="71" y="16"/>
                  </a:lnTo>
                  <a:lnTo>
                    <a:pt x="71" y="14"/>
                  </a:lnTo>
                  <a:close/>
                  <a:moveTo>
                    <a:pt x="69" y="14"/>
                  </a:moveTo>
                  <a:lnTo>
                    <a:pt x="69" y="16"/>
                  </a:lnTo>
                  <a:lnTo>
                    <a:pt x="66" y="16"/>
                  </a:lnTo>
                  <a:lnTo>
                    <a:pt x="66" y="14"/>
                  </a:lnTo>
                  <a:lnTo>
                    <a:pt x="69" y="14"/>
                  </a:lnTo>
                  <a:lnTo>
                    <a:pt x="66" y="14"/>
                  </a:lnTo>
                  <a:lnTo>
                    <a:pt x="69" y="14"/>
                  </a:lnTo>
                  <a:close/>
                  <a:moveTo>
                    <a:pt x="76" y="12"/>
                  </a:moveTo>
                  <a:lnTo>
                    <a:pt x="74" y="12"/>
                  </a:lnTo>
                  <a:lnTo>
                    <a:pt x="76" y="12"/>
                  </a:lnTo>
                  <a:close/>
                  <a:moveTo>
                    <a:pt x="74" y="12"/>
                  </a:moveTo>
                  <a:lnTo>
                    <a:pt x="74" y="9"/>
                  </a:lnTo>
                  <a:lnTo>
                    <a:pt x="74" y="12"/>
                  </a:lnTo>
                  <a:close/>
                  <a:moveTo>
                    <a:pt x="76" y="9"/>
                  </a:moveTo>
                  <a:lnTo>
                    <a:pt x="74" y="9"/>
                  </a:lnTo>
                  <a:lnTo>
                    <a:pt x="76" y="9"/>
                  </a:lnTo>
                  <a:close/>
                  <a:moveTo>
                    <a:pt x="76" y="9"/>
                  </a:moveTo>
                  <a:lnTo>
                    <a:pt x="74" y="9"/>
                  </a:lnTo>
                  <a:lnTo>
                    <a:pt x="76" y="9"/>
                  </a:lnTo>
                  <a:close/>
                  <a:moveTo>
                    <a:pt x="81" y="7"/>
                  </a:moveTo>
                  <a:lnTo>
                    <a:pt x="81" y="5"/>
                  </a:lnTo>
                  <a:lnTo>
                    <a:pt x="81" y="7"/>
                  </a:lnTo>
                  <a:close/>
                  <a:moveTo>
                    <a:pt x="78" y="2"/>
                  </a:moveTo>
                  <a:lnTo>
                    <a:pt x="81" y="2"/>
                  </a:lnTo>
                  <a:lnTo>
                    <a:pt x="78" y="2"/>
                  </a:lnTo>
                  <a:lnTo>
                    <a:pt x="78" y="0"/>
                  </a:lnTo>
                  <a:lnTo>
                    <a:pt x="78"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59" name="Freeform 52468"/>
            <p:cNvSpPr>
              <a:spLocks noEditPoints="1"/>
            </p:cNvSpPr>
            <p:nvPr/>
          </p:nvSpPr>
          <p:spPr bwMode="auto">
            <a:xfrm>
              <a:off x="1490660" y="4275153"/>
              <a:ext cx="153988" cy="312739"/>
            </a:xfrm>
            <a:custGeom>
              <a:avLst/>
              <a:gdLst>
                <a:gd name="T0" fmla="*/ 31 w 97"/>
                <a:gd name="T1" fmla="*/ 197 h 197"/>
                <a:gd name="T2" fmla="*/ 33 w 97"/>
                <a:gd name="T3" fmla="*/ 197 h 197"/>
                <a:gd name="T4" fmla="*/ 38 w 97"/>
                <a:gd name="T5" fmla="*/ 192 h 197"/>
                <a:gd name="T6" fmla="*/ 26 w 97"/>
                <a:gd name="T7" fmla="*/ 192 h 197"/>
                <a:gd name="T8" fmla="*/ 0 w 97"/>
                <a:gd name="T9" fmla="*/ 181 h 197"/>
                <a:gd name="T10" fmla="*/ 7 w 97"/>
                <a:gd name="T11" fmla="*/ 152 h 197"/>
                <a:gd name="T12" fmla="*/ 38 w 97"/>
                <a:gd name="T13" fmla="*/ 135 h 197"/>
                <a:gd name="T14" fmla="*/ 40 w 97"/>
                <a:gd name="T15" fmla="*/ 135 h 197"/>
                <a:gd name="T16" fmla="*/ 38 w 97"/>
                <a:gd name="T17" fmla="*/ 135 h 197"/>
                <a:gd name="T18" fmla="*/ 40 w 97"/>
                <a:gd name="T19" fmla="*/ 135 h 197"/>
                <a:gd name="T20" fmla="*/ 40 w 97"/>
                <a:gd name="T21" fmla="*/ 133 h 197"/>
                <a:gd name="T22" fmla="*/ 12 w 97"/>
                <a:gd name="T23" fmla="*/ 112 h 197"/>
                <a:gd name="T24" fmla="*/ 12 w 97"/>
                <a:gd name="T25" fmla="*/ 107 h 197"/>
                <a:gd name="T26" fmla="*/ 21 w 97"/>
                <a:gd name="T27" fmla="*/ 107 h 197"/>
                <a:gd name="T28" fmla="*/ 12 w 97"/>
                <a:gd name="T29" fmla="*/ 107 h 197"/>
                <a:gd name="T30" fmla="*/ 17 w 97"/>
                <a:gd name="T31" fmla="*/ 107 h 197"/>
                <a:gd name="T32" fmla="*/ 9 w 97"/>
                <a:gd name="T33" fmla="*/ 102 h 197"/>
                <a:gd name="T34" fmla="*/ 14 w 97"/>
                <a:gd name="T35" fmla="*/ 100 h 197"/>
                <a:gd name="T36" fmla="*/ 2 w 97"/>
                <a:gd name="T37" fmla="*/ 100 h 197"/>
                <a:gd name="T38" fmla="*/ 2 w 97"/>
                <a:gd name="T39" fmla="*/ 100 h 197"/>
                <a:gd name="T40" fmla="*/ 5 w 97"/>
                <a:gd name="T41" fmla="*/ 97 h 197"/>
                <a:gd name="T42" fmla="*/ 5 w 97"/>
                <a:gd name="T43" fmla="*/ 90 h 197"/>
                <a:gd name="T44" fmla="*/ 9 w 97"/>
                <a:gd name="T45" fmla="*/ 90 h 197"/>
                <a:gd name="T46" fmla="*/ 12 w 97"/>
                <a:gd name="T47" fmla="*/ 88 h 197"/>
                <a:gd name="T48" fmla="*/ 19 w 97"/>
                <a:gd name="T49" fmla="*/ 81 h 197"/>
                <a:gd name="T50" fmla="*/ 19 w 97"/>
                <a:gd name="T51" fmla="*/ 81 h 197"/>
                <a:gd name="T52" fmla="*/ 19 w 97"/>
                <a:gd name="T53" fmla="*/ 81 h 197"/>
                <a:gd name="T54" fmla="*/ 19 w 97"/>
                <a:gd name="T55" fmla="*/ 78 h 197"/>
                <a:gd name="T56" fmla="*/ 21 w 97"/>
                <a:gd name="T57" fmla="*/ 76 h 197"/>
                <a:gd name="T58" fmla="*/ 19 w 97"/>
                <a:gd name="T59" fmla="*/ 76 h 197"/>
                <a:gd name="T60" fmla="*/ 19 w 97"/>
                <a:gd name="T61" fmla="*/ 76 h 197"/>
                <a:gd name="T62" fmla="*/ 0 w 97"/>
                <a:gd name="T63" fmla="*/ 76 h 197"/>
                <a:gd name="T64" fmla="*/ 17 w 97"/>
                <a:gd name="T65" fmla="*/ 76 h 197"/>
                <a:gd name="T66" fmla="*/ 19 w 97"/>
                <a:gd name="T67" fmla="*/ 76 h 197"/>
                <a:gd name="T68" fmla="*/ 19 w 97"/>
                <a:gd name="T69" fmla="*/ 76 h 197"/>
                <a:gd name="T70" fmla="*/ 17 w 97"/>
                <a:gd name="T71" fmla="*/ 76 h 197"/>
                <a:gd name="T72" fmla="*/ 17 w 97"/>
                <a:gd name="T73" fmla="*/ 76 h 197"/>
                <a:gd name="T74" fmla="*/ 5 w 97"/>
                <a:gd name="T75" fmla="*/ 74 h 197"/>
                <a:gd name="T76" fmla="*/ 12 w 97"/>
                <a:gd name="T77" fmla="*/ 71 h 197"/>
                <a:gd name="T78" fmla="*/ 2 w 97"/>
                <a:gd name="T79" fmla="*/ 67 h 197"/>
                <a:gd name="T80" fmla="*/ 35 w 97"/>
                <a:gd name="T81" fmla="*/ 59 h 197"/>
                <a:gd name="T82" fmla="*/ 2 w 97"/>
                <a:gd name="T83" fmla="*/ 59 h 197"/>
                <a:gd name="T84" fmla="*/ 17 w 97"/>
                <a:gd name="T85" fmla="*/ 52 h 197"/>
                <a:gd name="T86" fmla="*/ 54 w 97"/>
                <a:gd name="T87" fmla="*/ 52 h 197"/>
                <a:gd name="T88" fmla="*/ 69 w 97"/>
                <a:gd name="T89" fmla="*/ 38 h 197"/>
                <a:gd name="T90" fmla="*/ 54 w 97"/>
                <a:gd name="T91" fmla="*/ 29 h 197"/>
                <a:gd name="T92" fmla="*/ 59 w 97"/>
                <a:gd name="T93" fmla="*/ 26 h 197"/>
                <a:gd name="T94" fmla="*/ 57 w 97"/>
                <a:gd name="T95" fmla="*/ 24 h 197"/>
                <a:gd name="T96" fmla="*/ 62 w 97"/>
                <a:gd name="T97" fmla="*/ 24 h 197"/>
                <a:gd name="T98" fmla="*/ 59 w 97"/>
                <a:gd name="T99" fmla="*/ 17 h 197"/>
                <a:gd name="T100" fmla="*/ 97 w 97"/>
                <a:gd name="T101" fmla="*/ 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 h="197">
                  <a:moveTo>
                    <a:pt x="31" y="197"/>
                  </a:moveTo>
                  <a:lnTo>
                    <a:pt x="28" y="197"/>
                  </a:lnTo>
                  <a:lnTo>
                    <a:pt x="31" y="197"/>
                  </a:lnTo>
                  <a:close/>
                  <a:moveTo>
                    <a:pt x="33" y="197"/>
                  </a:moveTo>
                  <a:lnTo>
                    <a:pt x="33" y="195"/>
                  </a:lnTo>
                  <a:lnTo>
                    <a:pt x="33" y="197"/>
                  </a:lnTo>
                  <a:close/>
                  <a:moveTo>
                    <a:pt x="38" y="195"/>
                  </a:moveTo>
                  <a:lnTo>
                    <a:pt x="35" y="195"/>
                  </a:lnTo>
                  <a:lnTo>
                    <a:pt x="38" y="192"/>
                  </a:lnTo>
                  <a:lnTo>
                    <a:pt x="38" y="195"/>
                  </a:lnTo>
                  <a:close/>
                  <a:moveTo>
                    <a:pt x="28" y="192"/>
                  </a:moveTo>
                  <a:lnTo>
                    <a:pt x="26" y="192"/>
                  </a:lnTo>
                  <a:lnTo>
                    <a:pt x="28" y="192"/>
                  </a:lnTo>
                  <a:close/>
                  <a:moveTo>
                    <a:pt x="0" y="178"/>
                  </a:moveTo>
                  <a:lnTo>
                    <a:pt x="0" y="181"/>
                  </a:lnTo>
                  <a:lnTo>
                    <a:pt x="0" y="178"/>
                  </a:lnTo>
                  <a:close/>
                  <a:moveTo>
                    <a:pt x="7" y="154"/>
                  </a:moveTo>
                  <a:lnTo>
                    <a:pt x="7" y="152"/>
                  </a:lnTo>
                  <a:lnTo>
                    <a:pt x="7" y="154"/>
                  </a:lnTo>
                  <a:close/>
                  <a:moveTo>
                    <a:pt x="38" y="138"/>
                  </a:moveTo>
                  <a:lnTo>
                    <a:pt x="38" y="135"/>
                  </a:lnTo>
                  <a:lnTo>
                    <a:pt x="38" y="138"/>
                  </a:lnTo>
                  <a:close/>
                  <a:moveTo>
                    <a:pt x="40" y="138"/>
                  </a:moveTo>
                  <a:lnTo>
                    <a:pt x="40" y="135"/>
                  </a:lnTo>
                  <a:lnTo>
                    <a:pt x="40" y="138"/>
                  </a:lnTo>
                  <a:close/>
                  <a:moveTo>
                    <a:pt x="40" y="135"/>
                  </a:moveTo>
                  <a:lnTo>
                    <a:pt x="38" y="135"/>
                  </a:lnTo>
                  <a:lnTo>
                    <a:pt x="40" y="135"/>
                  </a:lnTo>
                  <a:close/>
                  <a:moveTo>
                    <a:pt x="43" y="135"/>
                  </a:moveTo>
                  <a:lnTo>
                    <a:pt x="40" y="135"/>
                  </a:lnTo>
                  <a:lnTo>
                    <a:pt x="43" y="135"/>
                  </a:lnTo>
                  <a:close/>
                  <a:moveTo>
                    <a:pt x="43" y="133"/>
                  </a:moveTo>
                  <a:lnTo>
                    <a:pt x="40" y="133"/>
                  </a:lnTo>
                  <a:lnTo>
                    <a:pt x="43" y="133"/>
                  </a:lnTo>
                  <a:close/>
                  <a:moveTo>
                    <a:pt x="12" y="114"/>
                  </a:moveTo>
                  <a:lnTo>
                    <a:pt x="12" y="112"/>
                  </a:lnTo>
                  <a:lnTo>
                    <a:pt x="12" y="114"/>
                  </a:lnTo>
                  <a:close/>
                  <a:moveTo>
                    <a:pt x="14" y="107"/>
                  </a:moveTo>
                  <a:lnTo>
                    <a:pt x="12" y="107"/>
                  </a:lnTo>
                  <a:lnTo>
                    <a:pt x="14" y="107"/>
                  </a:lnTo>
                  <a:close/>
                  <a:moveTo>
                    <a:pt x="24" y="107"/>
                  </a:moveTo>
                  <a:lnTo>
                    <a:pt x="21" y="107"/>
                  </a:lnTo>
                  <a:lnTo>
                    <a:pt x="24" y="107"/>
                  </a:lnTo>
                  <a:close/>
                  <a:moveTo>
                    <a:pt x="14" y="107"/>
                  </a:moveTo>
                  <a:lnTo>
                    <a:pt x="12" y="107"/>
                  </a:lnTo>
                  <a:lnTo>
                    <a:pt x="14" y="107"/>
                  </a:lnTo>
                  <a:close/>
                  <a:moveTo>
                    <a:pt x="17" y="105"/>
                  </a:moveTo>
                  <a:lnTo>
                    <a:pt x="17" y="107"/>
                  </a:lnTo>
                  <a:lnTo>
                    <a:pt x="17" y="105"/>
                  </a:lnTo>
                  <a:close/>
                  <a:moveTo>
                    <a:pt x="9" y="105"/>
                  </a:moveTo>
                  <a:lnTo>
                    <a:pt x="9" y="102"/>
                  </a:lnTo>
                  <a:lnTo>
                    <a:pt x="9" y="105"/>
                  </a:lnTo>
                  <a:close/>
                  <a:moveTo>
                    <a:pt x="14" y="102"/>
                  </a:moveTo>
                  <a:lnTo>
                    <a:pt x="14" y="100"/>
                  </a:lnTo>
                  <a:lnTo>
                    <a:pt x="14" y="102"/>
                  </a:lnTo>
                  <a:close/>
                  <a:moveTo>
                    <a:pt x="5" y="100"/>
                  </a:moveTo>
                  <a:lnTo>
                    <a:pt x="2" y="100"/>
                  </a:lnTo>
                  <a:lnTo>
                    <a:pt x="5" y="100"/>
                  </a:lnTo>
                  <a:close/>
                  <a:moveTo>
                    <a:pt x="5" y="100"/>
                  </a:moveTo>
                  <a:lnTo>
                    <a:pt x="2" y="100"/>
                  </a:lnTo>
                  <a:lnTo>
                    <a:pt x="5" y="100"/>
                  </a:lnTo>
                  <a:close/>
                  <a:moveTo>
                    <a:pt x="7" y="97"/>
                  </a:moveTo>
                  <a:lnTo>
                    <a:pt x="5" y="97"/>
                  </a:lnTo>
                  <a:lnTo>
                    <a:pt x="7" y="97"/>
                  </a:lnTo>
                  <a:close/>
                  <a:moveTo>
                    <a:pt x="7" y="90"/>
                  </a:moveTo>
                  <a:lnTo>
                    <a:pt x="5" y="90"/>
                  </a:lnTo>
                  <a:lnTo>
                    <a:pt x="7" y="90"/>
                  </a:lnTo>
                  <a:close/>
                  <a:moveTo>
                    <a:pt x="12" y="90"/>
                  </a:moveTo>
                  <a:lnTo>
                    <a:pt x="9" y="90"/>
                  </a:lnTo>
                  <a:lnTo>
                    <a:pt x="12" y="90"/>
                  </a:lnTo>
                  <a:close/>
                  <a:moveTo>
                    <a:pt x="12" y="90"/>
                  </a:moveTo>
                  <a:lnTo>
                    <a:pt x="12" y="88"/>
                  </a:lnTo>
                  <a:lnTo>
                    <a:pt x="12" y="90"/>
                  </a:lnTo>
                  <a:close/>
                  <a:moveTo>
                    <a:pt x="21" y="81"/>
                  </a:moveTo>
                  <a:lnTo>
                    <a:pt x="19" y="81"/>
                  </a:lnTo>
                  <a:lnTo>
                    <a:pt x="21" y="81"/>
                  </a:lnTo>
                  <a:close/>
                  <a:moveTo>
                    <a:pt x="21" y="81"/>
                  </a:moveTo>
                  <a:lnTo>
                    <a:pt x="19" y="81"/>
                  </a:lnTo>
                  <a:lnTo>
                    <a:pt x="21" y="81"/>
                  </a:lnTo>
                  <a:close/>
                  <a:moveTo>
                    <a:pt x="21" y="81"/>
                  </a:moveTo>
                  <a:lnTo>
                    <a:pt x="19" y="81"/>
                  </a:lnTo>
                  <a:lnTo>
                    <a:pt x="21" y="81"/>
                  </a:lnTo>
                  <a:close/>
                  <a:moveTo>
                    <a:pt x="21" y="78"/>
                  </a:moveTo>
                  <a:lnTo>
                    <a:pt x="19" y="78"/>
                  </a:lnTo>
                  <a:lnTo>
                    <a:pt x="21" y="78"/>
                  </a:lnTo>
                  <a:close/>
                  <a:moveTo>
                    <a:pt x="21" y="78"/>
                  </a:moveTo>
                  <a:lnTo>
                    <a:pt x="21" y="76"/>
                  </a:lnTo>
                  <a:lnTo>
                    <a:pt x="21" y="78"/>
                  </a:lnTo>
                  <a:close/>
                  <a:moveTo>
                    <a:pt x="21" y="76"/>
                  </a:moveTo>
                  <a:lnTo>
                    <a:pt x="19" y="76"/>
                  </a:lnTo>
                  <a:lnTo>
                    <a:pt x="21" y="76"/>
                  </a:lnTo>
                  <a:close/>
                  <a:moveTo>
                    <a:pt x="21" y="76"/>
                  </a:moveTo>
                  <a:lnTo>
                    <a:pt x="19" y="76"/>
                  </a:lnTo>
                  <a:lnTo>
                    <a:pt x="21" y="76"/>
                  </a:lnTo>
                  <a:close/>
                  <a:moveTo>
                    <a:pt x="2" y="76"/>
                  </a:moveTo>
                  <a:lnTo>
                    <a:pt x="0" y="76"/>
                  </a:lnTo>
                  <a:lnTo>
                    <a:pt x="2" y="76"/>
                  </a:lnTo>
                  <a:close/>
                  <a:moveTo>
                    <a:pt x="19" y="76"/>
                  </a:moveTo>
                  <a:lnTo>
                    <a:pt x="17" y="76"/>
                  </a:lnTo>
                  <a:lnTo>
                    <a:pt x="19" y="76"/>
                  </a:lnTo>
                  <a:close/>
                  <a:moveTo>
                    <a:pt x="17" y="76"/>
                  </a:moveTo>
                  <a:lnTo>
                    <a:pt x="19" y="76"/>
                  </a:lnTo>
                  <a:lnTo>
                    <a:pt x="17" y="76"/>
                  </a:lnTo>
                  <a:close/>
                  <a:moveTo>
                    <a:pt x="21" y="76"/>
                  </a:moveTo>
                  <a:lnTo>
                    <a:pt x="19" y="76"/>
                  </a:lnTo>
                  <a:lnTo>
                    <a:pt x="21" y="76"/>
                  </a:lnTo>
                  <a:close/>
                  <a:moveTo>
                    <a:pt x="19" y="76"/>
                  </a:moveTo>
                  <a:lnTo>
                    <a:pt x="17" y="76"/>
                  </a:lnTo>
                  <a:lnTo>
                    <a:pt x="19" y="76"/>
                  </a:lnTo>
                  <a:close/>
                  <a:moveTo>
                    <a:pt x="19" y="76"/>
                  </a:moveTo>
                  <a:lnTo>
                    <a:pt x="17" y="76"/>
                  </a:lnTo>
                  <a:lnTo>
                    <a:pt x="19" y="76"/>
                  </a:lnTo>
                  <a:close/>
                  <a:moveTo>
                    <a:pt x="5" y="71"/>
                  </a:moveTo>
                  <a:lnTo>
                    <a:pt x="5" y="74"/>
                  </a:lnTo>
                  <a:lnTo>
                    <a:pt x="5" y="71"/>
                  </a:lnTo>
                  <a:close/>
                  <a:moveTo>
                    <a:pt x="14" y="71"/>
                  </a:moveTo>
                  <a:lnTo>
                    <a:pt x="12" y="71"/>
                  </a:lnTo>
                  <a:lnTo>
                    <a:pt x="14" y="71"/>
                  </a:lnTo>
                  <a:close/>
                  <a:moveTo>
                    <a:pt x="5" y="67"/>
                  </a:moveTo>
                  <a:lnTo>
                    <a:pt x="2" y="67"/>
                  </a:lnTo>
                  <a:lnTo>
                    <a:pt x="5" y="67"/>
                  </a:lnTo>
                  <a:close/>
                  <a:moveTo>
                    <a:pt x="35" y="62"/>
                  </a:moveTo>
                  <a:lnTo>
                    <a:pt x="35" y="59"/>
                  </a:lnTo>
                  <a:lnTo>
                    <a:pt x="35" y="62"/>
                  </a:lnTo>
                  <a:close/>
                  <a:moveTo>
                    <a:pt x="5" y="59"/>
                  </a:moveTo>
                  <a:lnTo>
                    <a:pt x="2" y="59"/>
                  </a:lnTo>
                  <a:lnTo>
                    <a:pt x="5" y="59"/>
                  </a:lnTo>
                  <a:close/>
                  <a:moveTo>
                    <a:pt x="17" y="55"/>
                  </a:moveTo>
                  <a:lnTo>
                    <a:pt x="17" y="52"/>
                  </a:lnTo>
                  <a:lnTo>
                    <a:pt x="17" y="55"/>
                  </a:lnTo>
                  <a:close/>
                  <a:moveTo>
                    <a:pt x="52" y="52"/>
                  </a:moveTo>
                  <a:lnTo>
                    <a:pt x="54" y="52"/>
                  </a:lnTo>
                  <a:lnTo>
                    <a:pt x="52" y="52"/>
                  </a:lnTo>
                  <a:close/>
                  <a:moveTo>
                    <a:pt x="69" y="40"/>
                  </a:moveTo>
                  <a:lnTo>
                    <a:pt x="69" y="38"/>
                  </a:lnTo>
                  <a:lnTo>
                    <a:pt x="69" y="40"/>
                  </a:lnTo>
                  <a:close/>
                  <a:moveTo>
                    <a:pt x="57" y="29"/>
                  </a:moveTo>
                  <a:lnTo>
                    <a:pt x="54" y="29"/>
                  </a:lnTo>
                  <a:lnTo>
                    <a:pt x="57" y="29"/>
                  </a:lnTo>
                  <a:close/>
                  <a:moveTo>
                    <a:pt x="62" y="26"/>
                  </a:moveTo>
                  <a:lnTo>
                    <a:pt x="59" y="26"/>
                  </a:lnTo>
                  <a:lnTo>
                    <a:pt x="62" y="26"/>
                  </a:lnTo>
                  <a:close/>
                  <a:moveTo>
                    <a:pt x="59" y="24"/>
                  </a:moveTo>
                  <a:lnTo>
                    <a:pt x="57" y="24"/>
                  </a:lnTo>
                  <a:lnTo>
                    <a:pt x="59" y="24"/>
                  </a:lnTo>
                  <a:close/>
                  <a:moveTo>
                    <a:pt x="62" y="21"/>
                  </a:moveTo>
                  <a:lnTo>
                    <a:pt x="62" y="24"/>
                  </a:lnTo>
                  <a:lnTo>
                    <a:pt x="62" y="21"/>
                  </a:lnTo>
                  <a:close/>
                  <a:moveTo>
                    <a:pt x="62" y="17"/>
                  </a:moveTo>
                  <a:lnTo>
                    <a:pt x="59" y="17"/>
                  </a:lnTo>
                  <a:lnTo>
                    <a:pt x="62" y="17"/>
                  </a:lnTo>
                  <a:close/>
                  <a:moveTo>
                    <a:pt x="97" y="0"/>
                  </a:moveTo>
                  <a:lnTo>
                    <a:pt x="97" y="2"/>
                  </a:lnTo>
                  <a:lnTo>
                    <a:pt x="97"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0" name="Freeform 52469"/>
            <p:cNvSpPr>
              <a:spLocks/>
            </p:cNvSpPr>
            <p:nvPr/>
          </p:nvSpPr>
          <p:spPr bwMode="auto">
            <a:xfrm>
              <a:off x="1776411" y="4354528"/>
              <a:ext cx="26988" cy="26988"/>
            </a:xfrm>
            <a:custGeom>
              <a:avLst/>
              <a:gdLst>
                <a:gd name="T0" fmla="*/ 14 w 17"/>
                <a:gd name="T1" fmla="*/ 5 h 17"/>
                <a:gd name="T2" fmla="*/ 17 w 17"/>
                <a:gd name="T3" fmla="*/ 5 h 17"/>
                <a:gd name="T4" fmla="*/ 14 w 17"/>
                <a:gd name="T5" fmla="*/ 7 h 17"/>
                <a:gd name="T6" fmla="*/ 14 w 17"/>
                <a:gd name="T7" fmla="*/ 7 h 17"/>
                <a:gd name="T8" fmla="*/ 14 w 17"/>
                <a:gd name="T9" fmla="*/ 7 h 17"/>
                <a:gd name="T10" fmla="*/ 14 w 17"/>
                <a:gd name="T11" fmla="*/ 7 h 17"/>
                <a:gd name="T12" fmla="*/ 14 w 17"/>
                <a:gd name="T13" fmla="*/ 9 h 17"/>
                <a:gd name="T14" fmla="*/ 12 w 17"/>
                <a:gd name="T15" fmla="*/ 9 h 17"/>
                <a:gd name="T16" fmla="*/ 12 w 17"/>
                <a:gd name="T17" fmla="*/ 9 h 17"/>
                <a:gd name="T18" fmla="*/ 12 w 17"/>
                <a:gd name="T19" fmla="*/ 12 h 17"/>
                <a:gd name="T20" fmla="*/ 12 w 17"/>
                <a:gd name="T21" fmla="*/ 12 h 17"/>
                <a:gd name="T22" fmla="*/ 10 w 17"/>
                <a:gd name="T23" fmla="*/ 12 h 17"/>
                <a:gd name="T24" fmla="*/ 10 w 17"/>
                <a:gd name="T25" fmla="*/ 12 h 17"/>
                <a:gd name="T26" fmla="*/ 10 w 17"/>
                <a:gd name="T27" fmla="*/ 12 h 17"/>
                <a:gd name="T28" fmla="*/ 10 w 17"/>
                <a:gd name="T29" fmla="*/ 14 h 17"/>
                <a:gd name="T30" fmla="*/ 10 w 17"/>
                <a:gd name="T31" fmla="*/ 14 h 17"/>
                <a:gd name="T32" fmla="*/ 7 w 17"/>
                <a:gd name="T33" fmla="*/ 14 h 17"/>
                <a:gd name="T34" fmla="*/ 7 w 17"/>
                <a:gd name="T35" fmla="*/ 14 h 17"/>
                <a:gd name="T36" fmla="*/ 7 w 17"/>
                <a:gd name="T37" fmla="*/ 14 h 17"/>
                <a:gd name="T38" fmla="*/ 7 w 17"/>
                <a:gd name="T39" fmla="*/ 17 h 17"/>
                <a:gd name="T40" fmla="*/ 5 w 17"/>
                <a:gd name="T41" fmla="*/ 17 h 17"/>
                <a:gd name="T42" fmla="*/ 5 w 17"/>
                <a:gd name="T43" fmla="*/ 17 h 17"/>
                <a:gd name="T44" fmla="*/ 5 w 17"/>
                <a:gd name="T45" fmla="*/ 17 h 17"/>
                <a:gd name="T46" fmla="*/ 5 w 17"/>
                <a:gd name="T47" fmla="*/ 17 h 17"/>
                <a:gd name="T48" fmla="*/ 5 w 17"/>
                <a:gd name="T49" fmla="*/ 17 h 17"/>
                <a:gd name="T50" fmla="*/ 5 w 17"/>
                <a:gd name="T51" fmla="*/ 17 h 17"/>
                <a:gd name="T52" fmla="*/ 5 w 17"/>
                <a:gd name="T53" fmla="*/ 17 h 17"/>
                <a:gd name="T54" fmla="*/ 3 w 17"/>
                <a:gd name="T55" fmla="*/ 17 h 17"/>
                <a:gd name="T56" fmla="*/ 3 w 17"/>
                <a:gd name="T57" fmla="*/ 17 h 17"/>
                <a:gd name="T58" fmla="*/ 3 w 17"/>
                <a:gd name="T59" fmla="*/ 17 h 17"/>
                <a:gd name="T60" fmla="*/ 3 w 17"/>
                <a:gd name="T61" fmla="*/ 17 h 17"/>
                <a:gd name="T62" fmla="*/ 3 w 17"/>
                <a:gd name="T63" fmla="*/ 17 h 17"/>
                <a:gd name="T64" fmla="*/ 3 w 17"/>
                <a:gd name="T65" fmla="*/ 17 h 17"/>
                <a:gd name="T66" fmla="*/ 0 w 17"/>
                <a:gd name="T67" fmla="*/ 17 h 17"/>
                <a:gd name="T68" fmla="*/ 0 w 17"/>
                <a:gd name="T69" fmla="*/ 17 h 17"/>
                <a:gd name="T70" fmla="*/ 0 w 17"/>
                <a:gd name="T71" fmla="*/ 17 h 17"/>
                <a:gd name="T72" fmla="*/ 0 w 17"/>
                <a:gd name="T73" fmla="*/ 17 h 17"/>
                <a:gd name="T74" fmla="*/ 0 w 17"/>
                <a:gd name="T75" fmla="*/ 17 h 17"/>
                <a:gd name="T76" fmla="*/ 0 w 17"/>
                <a:gd name="T77" fmla="*/ 17 h 17"/>
                <a:gd name="T78" fmla="*/ 0 w 17"/>
                <a:gd name="T79" fmla="*/ 17 h 17"/>
                <a:gd name="T80" fmla="*/ 0 w 17"/>
                <a:gd name="T81" fmla="*/ 17 h 17"/>
                <a:gd name="T82" fmla="*/ 0 w 17"/>
                <a:gd name="T83" fmla="*/ 14 h 17"/>
                <a:gd name="T84" fmla="*/ 3 w 17"/>
                <a:gd name="T85" fmla="*/ 14 h 17"/>
                <a:gd name="T86" fmla="*/ 3 w 17"/>
                <a:gd name="T87" fmla="*/ 14 h 17"/>
                <a:gd name="T88" fmla="*/ 0 w 17"/>
                <a:gd name="T89" fmla="*/ 12 h 17"/>
                <a:gd name="T90" fmla="*/ 3 w 17"/>
                <a:gd name="T91" fmla="*/ 12 h 17"/>
                <a:gd name="T92" fmla="*/ 3 w 17"/>
                <a:gd name="T93" fmla="*/ 9 h 17"/>
                <a:gd name="T94" fmla="*/ 3 w 17"/>
                <a:gd name="T95" fmla="*/ 9 h 17"/>
                <a:gd name="T96" fmla="*/ 3 w 17"/>
                <a:gd name="T97" fmla="*/ 9 h 17"/>
                <a:gd name="T98" fmla="*/ 5 w 17"/>
                <a:gd name="T99" fmla="*/ 7 h 17"/>
                <a:gd name="T100" fmla="*/ 7 w 17"/>
                <a:gd name="T101" fmla="*/ 5 h 17"/>
                <a:gd name="T102" fmla="*/ 7 w 17"/>
                <a:gd name="T103" fmla="*/ 2 h 17"/>
                <a:gd name="T104" fmla="*/ 10 w 17"/>
                <a:gd name="T105" fmla="*/ 2 h 17"/>
                <a:gd name="T106" fmla="*/ 12 w 17"/>
                <a:gd name="T107" fmla="*/ 0 h 17"/>
                <a:gd name="T108" fmla="*/ 14 w 17"/>
                <a:gd name="T109" fmla="*/ 0 h 17"/>
                <a:gd name="T110" fmla="*/ 14 w 17"/>
                <a:gd name="T111" fmla="*/ 2 h 17"/>
                <a:gd name="T112" fmla="*/ 14 w 17"/>
                <a:gd name="T113"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 h="17">
                  <a:moveTo>
                    <a:pt x="14" y="5"/>
                  </a:moveTo>
                  <a:lnTo>
                    <a:pt x="14" y="5"/>
                  </a:lnTo>
                  <a:lnTo>
                    <a:pt x="14" y="5"/>
                  </a:lnTo>
                  <a:lnTo>
                    <a:pt x="14" y="5"/>
                  </a:lnTo>
                  <a:lnTo>
                    <a:pt x="14" y="5"/>
                  </a:lnTo>
                  <a:lnTo>
                    <a:pt x="14" y="5"/>
                  </a:lnTo>
                  <a:lnTo>
                    <a:pt x="17" y="5"/>
                  </a:lnTo>
                  <a:lnTo>
                    <a:pt x="17" y="5"/>
                  </a:lnTo>
                  <a:lnTo>
                    <a:pt x="14" y="5"/>
                  </a:lnTo>
                  <a:lnTo>
                    <a:pt x="14" y="5"/>
                  </a:lnTo>
                  <a:lnTo>
                    <a:pt x="14" y="5"/>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9"/>
                  </a:lnTo>
                  <a:lnTo>
                    <a:pt x="14" y="9"/>
                  </a:lnTo>
                  <a:lnTo>
                    <a:pt x="14" y="9"/>
                  </a:lnTo>
                  <a:lnTo>
                    <a:pt x="12" y="9"/>
                  </a:lnTo>
                  <a:lnTo>
                    <a:pt x="12" y="9"/>
                  </a:lnTo>
                  <a:lnTo>
                    <a:pt x="12" y="9"/>
                  </a:lnTo>
                  <a:lnTo>
                    <a:pt x="12" y="9"/>
                  </a:lnTo>
                  <a:lnTo>
                    <a:pt x="12" y="9"/>
                  </a:lnTo>
                  <a:lnTo>
                    <a:pt x="12" y="9"/>
                  </a:lnTo>
                  <a:lnTo>
                    <a:pt x="12" y="9"/>
                  </a:lnTo>
                  <a:lnTo>
                    <a:pt x="12" y="9"/>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0" y="12"/>
                  </a:lnTo>
                  <a:lnTo>
                    <a:pt x="10" y="12"/>
                  </a:lnTo>
                  <a:lnTo>
                    <a:pt x="10" y="12"/>
                  </a:lnTo>
                  <a:lnTo>
                    <a:pt x="10" y="12"/>
                  </a:lnTo>
                  <a:lnTo>
                    <a:pt x="10" y="12"/>
                  </a:lnTo>
                  <a:lnTo>
                    <a:pt x="10" y="12"/>
                  </a:lnTo>
                  <a:lnTo>
                    <a:pt x="10" y="12"/>
                  </a:lnTo>
                  <a:lnTo>
                    <a:pt x="10" y="12"/>
                  </a:lnTo>
                  <a:lnTo>
                    <a:pt x="10" y="12"/>
                  </a:lnTo>
                  <a:lnTo>
                    <a:pt x="10" y="14"/>
                  </a:lnTo>
                  <a:lnTo>
                    <a:pt x="10" y="14"/>
                  </a:lnTo>
                  <a:lnTo>
                    <a:pt x="10" y="14"/>
                  </a:lnTo>
                  <a:lnTo>
                    <a:pt x="10" y="14"/>
                  </a:lnTo>
                  <a:lnTo>
                    <a:pt x="10" y="14"/>
                  </a:lnTo>
                  <a:lnTo>
                    <a:pt x="10" y="14"/>
                  </a:lnTo>
                  <a:lnTo>
                    <a:pt x="10" y="14"/>
                  </a:lnTo>
                  <a:lnTo>
                    <a:pt x="10" y="14"/>
                  </a:lnTo>
                  <a:lnTo>
                    <a:pt x="10" y="14"/>
                  </a:lnTo>
                  <a:lnTo>
                    <a:pt x="7" y="14"/>
                  </a:lnTo>
                  <a:lnTo>
                    <a:pt x="7" y="14"/>
                  </a:lnTo>
                  <a:lnTo>
                    <a:pt x="7" y="14"/>
                  </a:lnTo>
                  <a:lnTo>
                    <a:pt x="7" y="14"/>
                  </a:lnTo>
                  <a:lnTo>
                    <a:pt x="7" y="14"/>
                  </a:lnTo>
                  <a:lnTo>
                    <a:pt x="7" y="14"/>
                  </a:lnTo>
                  <a:lnTo>
                    <a:pt x="7" y="14"/>
                  </a:lnTo>
                  <a:lnTo>
                    <a:pt x="7" y="14"/>
                  </a:lnTo>
                  <a:lnTo>
                    <a:pt x="7" y="14"/>
                  </a:lnTo>
                  <a:lnTo>
                    <a:pt x="7" y="14"/>
                  </a:lnTo>
                  <a:lnTo>
                    <a:pt x="7" y="14"/>
                  </a:lnTo>
                  <a:lnTo>
                    <a:pt x="7" y="17"/>
                  </a:lnTo>
                  <a:lnTo>
                    <a:pt x="7" y="17"/>
                  </a:lnTo>
                  <a:lnTo>
                    <a:pt x="7" y="17"/>
                  </a:lnTo>
                  <a:lnTo>
                    <a:pt x="7"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5"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4"/>
                  </a:lnTo>
                  <a:lnTo>
                    <a:pt x="0" y="14"/>
                  </a:lnTo>
                  <a:lnTo>
                    <a:pt x="0" y="14"/>
                  </a:lnTo>
                  <a:lnTo>
                    <a:pt x="0" y="14"/>
                  </a:lnTo>
                  <a:lnTo>
                    <a:pt x="0" y="14"/>
                  </a:lnTo>
                  <a:lnTo>
                    <a:pt x="0" y="14"/>
                  </a:lnTo>
                  <a:lnTo>
                    <a:pt x="3" y="14"/>
                  </a:lnTo>
                  <a:lnTo>
                    <a:pt x="3" y="14"/>
                  </a:lnTo>
                  <a:lnTo>
                    <a:pt x="3" y="14"/>
                  </a:lnTo>
                  <a:lnTo>
                    <a:pt x="3" y="14"/>
                  </a:lnTo>
                  <a:lnTo>
                    <a:pt x="3" y="14"/>
                  </a:lnTo>
                  <a:lnTo>
                    <a:pt x="3" y="14"/>
                  </a:lnTo>
                  <a:lnTo>
                    <a:pt x="3" y="12"/>
                  </a:lnTo>
                  <a:lnTo>
                    <a:pt x="3" y="12"/>
                  </a:lnTo>
                  <a:lnTo>
                    <a:pt x="0" y="12"/>
                  </a:lnTo>
                  <a:lnTo>
                    <a:pt x="0" y="12"/>
                  </a:lnTo>
                  <a:lnTo>
                    <a:pt x="3" y="12"/>
                  </a:lnTo>
                  <a:lnTo>
                    <a:pt x="3" y="12"/>
                  </a:lnTo>
                  <a:lnTo>
                    <a:pt x="3" y="12"/>
                  </a:lnTo>
                  <a:lnTo>
                    <a:pt x="3" y="9"/>
                  </a:lnTo>
                  <a:lnTo>
                    <a:pt x="3" y="9"/>
                  </a:lnTo>
                  <a:lnTo>
                    <a:pt x="3" y="9"/>
                  </a:lnTo>
                  <a:lnTo>
                    <a:pt x="3" y="9"/>
                  </a:lnTo>
                  <a:lnTo>
                    <a:pt x="3" y="9"/>
                  </a:lnTo>
                  <a:lnTo>
                    <a:pt x="3" y="9"/>
                  </a:lnTo>
                  <a:lnTo>
                    <a:pt x="3" y="9"/>
                  </a:lnTo>
                  <a:lnTo>
                    <a:pt x="3" y="9"/>
                  </a:lnTo>
                  <a:lnTo>
                    <a:pt x="3" y="9"/>
                  </a:lnTo>
                  <a:lnTo>
                    <a:pt x="3" y="9"/>
                  </a:lnTo>
                  <a:lnTo>
                    <a:pt x="3" y="9"/>
                  </a:lnTo>
                  <a:lnTo>
                    <a:pt x="3" y="9"/>
                  </a:lnTo>
                  <a:lnTo>
                    <a:pt x="3" y="9"/>
                  </a:lnTo>
                  <a:lnTo>
                    <a:pt x="3" y="9"/>
                  </a:lnTo>
                  <a:lnTo>
                    <a:pt x="5" y="9"/>
                  </a:lnTo>
                  <a:lnTo>
                    <a:pt x="5" y="7"/>
                  </a:lnTo>
                  <a:lnTo>
                    <a:pt x="5" y="7"/>
                  </a:lnTo>
                  <a:lnTo>
                    <a:pt x="5" y="7"/>
                  </a:lnTo>
                  <a:lnTo>
                    <a:pt x="5" y="7"/>
                  </a:lnTo>
                  <a:lnTo>
                    <a:pt x="7" y="5"/>
                  </a:lnTo>
                  <a:lnTo>
                    <a:pt x="7" y="5"/>
                  </a:lnTo>
                  <a:lnTo>
                    <a:pt x="7" y="5"/>
                  </a:lnTo>
                  <a:lnTo>
                    <a:pt x="7" y="5"/>
                  </a:lnTo>
                  <a:lnTo>
                    <a:pt x="7" y="2"/>
                  </a:lnTo>
                  <a:lnTo>
                    <a:pt x="7" y="2"/>
                  </a:lnTo>
                  <a:lnTo>
                    <a:pt x="7" y="2"/>
                  </a:lnTo>
                  <a:lnTo>
                    <a:pt x="7" y="2"/>
                  </a:lnTo>
                  <a:lnTo>
                    <a:pt x="10" y="2"/>
                  </a:lnTo>
                  <a:lnTo>
                    <a:pt x="10" y="0"/>
                  </a:lnTo>
                  <a:lnTo>
                    <a:pt x="10" y="0"/>
                  </a:lnTo>
                  <a:lnTo>
                    <a:pt x="12" y="0"/>
                  </a:lnTo>
                  <a:lnTo>
                    <a:pt x="12" y="0"/>
                  </a:lnTo>
                  <a:lnTo>
                    <a:pt x="12" y="0"/>
                  </a:lnTo>
                  <a:lnTo>
                    <a:pt x="14" y="0"/>
                  </a:lnTo>
                  <a:lnTo>
                    <a:pt x="14" y="0"/>
                  </a:lnTo>
                  <a:lnTo>
                    <a:pt x="14" y="0"/>
                  </a:lnTo>
                  <a:lnTo>
                    <a:pt x="14" y="0"/>
                  </a:lnTo>
                  <a:lnTo>
                    <a:pt x="14" y="0"/>
                  </a:lnTo>
                  <a:lnTo>
                    <a:pt x="14" y="2"/>
                  </a:lnTo>
                  <a:lnTo>
                    <a:pt x="14" y="2"/>
                  </a:lnTo>
                  <a:lnTo>
                    <a:pt x="12" y="2"/>
                  </a:lnTo>
                  <a:lnTo>
                    <a:pt x="12" y="2"/>
                  </a:lnTo>
                  <a:lnTo>
                    <a:pt x="14" y="5"/>
                  </a:lnTo>
                  <a:lnTo>
                    <a:pt x="14" y="5"/>
                  </a:lnTo>
                  <a:lnTo>
                    <a:pt x="14" y="5"/>
                  </a:lnTo>
                  <a:lnTo>
                    <a:pt x="14" y="5"/>
                  </a:lnTo>
                  <a:lnTo>
                    <a:pt x="14" y="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1" name="Freeform 52470"/>
            <p:cNvSpPr>
              <a:spLocks/>
            </p:cNvSpPr>
            <p:nvPr/>
          </p:nvSpPr>
          <p:spPr bwMode="auto">
            <a:xfrm>
              <a:off x="1773235" y="4381515"/>
              <a:ext cx="3175" cy="3175"/>
            </a:xfrm>
            <a:custGeom>
              <a:avLst/>
              <a:gdLst>
                <a:gd name="T0" fmla="*/ 2 w 2"/>
                <a:gd name="T1" fmla="*/ 0 h 2"/>
                <a:gd name="T2" fmla="*/ 2 w 2"/>
                <a:gd name="T3" fmla="*/ 2 h 2"/>
                <a:gd name="T4" fmla="*/ 2 w 2"/>
                <a:gd name="T5" fmla="*/ 2 h 2"/>
                <a:gd name="T6" fmla="*/ 0 w 2"/>
                <a:gd name="T7" fmla="*/ 2 h 2"/>
                <a:gd name="T8" fmla="*/ 0 w 2"/>
                <a:gd name="T9" fmla="*/ 2 h 2"/>
                <a:gd name="T10" fmla="*/ 0 w 2"/>
                <a:gd name="T11" fmla="*/ 0 h 2"/>
                <a:gd name="T12" fmla="*/ 0 w 2"/>
                <a:gd name="T13" fmla="*/ 0 h 2"/>
                <a:gd name="T14" fmla="*/ 0 w 2"/>
                <a:gd name="T15" fmla="*/ 0 h 2"/>
                <a:gd name="T16" fmla="*/ 2 w 2"/>
                <a:gd name="T17" fmla="*/ 0 h 2"/>
                <a:gd name="T18" fmla="*/ 2 w 2"/>
                <a:gd name="T19" fmla="*/ 0 h 2"/>
                <a:gd name="T20" fmla="*/ 2 w 2"/>
                <a:gd name="T21" fmla="*/ 0 h 2"/>
                <a:gd name="T22" fmla="*/ 2 w 2"/>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2" y="0"/>
                  </a:moveTo>
                  <a:lnTo>
                    <a:pt x="2" y="2"/>
                  </a:lnTo>
                  <a:lnTo>
                    <a:pt x="2" y="2"/>
                  </a:lnTo>
                  <a:lnTo>
                    <a:pt x="0" y="2"/>
                  </a:lnTo>
                  <a:lnTo>
                    <a:pt x="0" y="2"/>
                  </a:lnTo>
                  <a:lnTo>
                    <a:pt x="0" y="0"/>
                  </a:lnTo>
                  <a:lnTo>
                    <a:pt x="0" y="0"/>
                  </a:lnTo>
                  <a:lnTo>
                    <a:pt x="0" y="0"/>
                  </a:lnTo>
                  <a:lnTo>
                    <a:pt x="2" y="0"/>
                  </a:lnTo>
                  <a:lnTo>
                    <a:pt x="2" y="0"/>
                  </a:lnTo>
                  <a:lnTo>
                    <a:pt x="2"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2" name="Freeform 52471"/>
            <p:cNvSpPr>
              <a:spLocks noEditPoints="1"/>
            </p:cNvSpPr>
            <p:nvPr/>
          </p:nvSpPr>
          <p:spPr bwMode="auto">
            <a:xfrm>
              <a:off x="2374898" y="4919679"/>
              <a:ext cx="622299" cy="762002"/>
            </a:xfrm>
            <a:custGeom>
              <a:avLst/>
              <a:gdLst>
                <a:gd name="T0" fmla="*/ 278 w 392"/>
                <a:gd name="T1" fmla="*/ 445 h 480"/>
                <a:gd name="T2" fmla="*/ 285 w 392"/>
                <a:gd name="T3" fmla="*/ 461 h 480"/>
                <a:gd name="T4" fmla="*/ 259 w 392"/>
                <a:gd name="T5" fmla="*/ 473 h 480"/>
                <a:gd name="T6" fmla="*/ 224 w 392"/>
                <a:gd name="T7" fmla="*/ 449 h 480"/>
                <a:gd name="T8" fmla="*/ 193 w 392"/>
                <a:gd name="T9" fmla="*/ 421 h 480"/>
                <a:gd name="T10" fmla="*/ 214 w 392"/>
                <a:gd name="T11" fmla="*/ 411 h 480"/>
                <a:gd name="T12" fmla="*/ 243 w 392"/>
                <a:gd name="T13" fmla="*/ 418 h 480"/>
                <a:gd name="T14" fmla="*/ 285 w 392"/>
                <a:gd name="T15" fmla="*/ 409 h 480"/>
                <a:gd name="T16" fmla="*/ 98 w 392"/>
                <a:gd name="T17" fmla="*/ 285 h 480"/>
                <a:gd name="T18" fmla="*/ 100 w 392"/>
                <a:gd name="T19" fmla="*/ 297 h 480"/>
                <a:gd name="T20" fmla="*/ 100 w 392"/>
                <a:gd name="T21" fmla="*/ 338 h 480"/>
                <a:gd name="T22" fmla="*/ 86 w 392"/>
                <a:gd name="T23" fmla="*/ 364 h 480"/>
                <a:gd name="T24" fmla="*/ 72 w 392"/>
                <a:gd name="T25" fmla="*/ 378 h 480"/>
                <a:gd name="T26" fmla="*/ 57 w 392"/>
                <a:gd name="T27" fmla="*/ 357 h 480"/>
                <a:gd name="T28" fmla="*/ 60 w 392"/>
                <a:gd name="T29" fmla="*/ 335 h 480"/>
                <a:gd name="T30" fmla="*/ 53 w 392"/>
                <a:gd name="T31" fmla="*/ 302 h 480"/>
                <a:gd name="T32" fmla="*/ 57 w 392"/>
                <a:gd name="T33" fmla="*/ 290 h 480"/>
                <a:gd name="T34" fmla="*/ 183 w 392"/>
                <a:gd name="T35" fmla="*/ 86 h 480"/>
                <a:gd name="T36" fmla="*/ 209 w 392"/>
                <a:gd name="T37" fmla="*/ 69 h 480"/>
                <a:gd name="T38" fmla="*/ 193 w 392"/>
                <a:gd name="T39" fmla="*/ 76 h 480"/>
                <a:gd name="T40" fmla="*/ 188 w 392"/>
                <a:gd name="T41" fmla="*/ 79 h 480"/>
                <a:gd name="T42" fmla="*/ 183 w 392"/>
                <a:gd name="T43" fmla="*/ 91 h 480"/>
                <a:gd name="T44" fmla="*/ 190 w 392"/>
                <a:gd name="T45" fmla="*/ 98 h 480"/>
                <a:gd name="T46" fmla="*/ 188 w 392"/>
                <a:gd name="T47" fmla="*/ 110 h 480"/>
                <a:gd name="T48" fmla="*/ 193 w 392"/>
                <a:gd name="T49" fmla="*/ 140 h 480"/>
                <a:gd name="T50" fmla="*/ 235 w 392"/>
                <a:gd name="T51" fmla="*/ 181 h 480"/>
                <a:gd name="T52" fmla="*/ 266 w 392"/>
                <a:gd name="T53" fmla="*/ 233 h 480"/>
                <a:gd name="T54" fmla="*/ 314 w 392"/>
                <a:gd name="T55" fmla="*/ 245 h 480"/>
                <a:gd name="T56" fmla="*/ 318 w 392"/>
                <a:gd name="T57" fmla="*/ 269 h 480"/>
                <a:gd name="T58" fmla="*/ 356 w 392"/>
                <a:gd name="T59" fmla="*/ 290 h 480"/>
                <a:gd name="T60" fmla="*/ 387 w 392"/>
                <a:gd name="T61" fmla="*/ 314 h 480"/>
                <a:gd name="T62" fmla="*/ 375 w 392"/>
                <a:gd name="T63" fmla="*/ 326 h 480"/>
                <a:gd name="T64" fmla="*/ 345 w 392"/>
                <a:gd name="T65" fmla="*/ 307 h 480"/>
                <a:gd name="T66" fmla="*/ 335 w 392"/>
                <a:gd name="T67" fmla="*/ 347 h 480"/>
                <a:gd name="T68" fmla="*/ 337 w 392"/>
                <a:gd name="T69" fmla="*/ 378 h 480"/>
                <a:gd name="T70" fmla="*/ 309 w 392"/>
                <a:gd name="T71" fmla="*/ 423 h 480"/>
                <a:gd name="T72" fmla="*/ 307 w 392"/>
                <a:gd name="T73" fmla="*/ 397 h 480"/>
                <a:gd name="T74" fmla="*/ 309 w 392"/>
                <a:gd name="T75" fmla="*/ 357 h 480"/>
                <a:gd name="T76" fmla="*/ 285 w 392"/>
                <a:gd name="T77" fmla="*/ 328 h 480"/>
                <a:gd name="T78" fmla="*/ 254 w 392"/>
                <a:gd name="T79" fmla="*/ 302 h 480"/>
                <a:gd name="T80" fmla="*/ 240 w 392"/>
                <a:gd name="T81" fmla="*/ 283 h 480"/>
                <a:gd name="T82" fmla="*/ 205 w 392"/>
                <a:gd name="T83" fmla="*/ 266 h 480"/>
                <a:gd name="T84" fmla="*/ 171 w 392"/>
                <a:gd name="T85" fmla="*/ 238 h 480"/>
                <a:gd name="T86" fmla="*/ 148 w 392"/>
                <a:gd name="T87" fmla="*/ 209 h 480"/>
                <a:gd name="T88" fmla="*/ 121 w 392"/>
                <a:gd name="T89" fmla="*/ 171 h 480"/>
                <a:gd name="T90" fmla="*/ 105 w 392"/>
                <a:gd name="T91" fmla="*/ 143 h 480"/>
                <a:gd name="T92" fmla="*/ 84 w 392"/>
                <a:gd name="T93" fmla="*/ 129 h 480"/>
                <a:gd name="T94" fmla="*/ 62 w 392"/>
                <a:gd name="T95" fmla="*/ 131 h 480"/>
                <a:gd name="T96" fmla="*/ 29 w 392"/>
                <a:gd name="T97" fmla="*/ 157 h 480"/>
                <a:gd name="T98" fmla="*/ 10 w 392"/>
                <a:gd name="T99" fmla="*/ 133 h 480"/>
                <a:gd name="T100" fmla="*/ 0 w 392"/>
                <a:gd name="T101" fmla="*/ 93 h 480"/>
                <a:gd name="T102" fmla="*/ 5 w 392"/>
                <a:gd name="T103" fmla="*/ 67 h 480"/>
                <a:gd name="T104" fmla="*/ 41 w 392"/>
                <a:gd name="T105" fmla="*/ 57 h 480"/>
                <a:gd name="T106" fmla="*/ 65 w 392"/>
                <a:gd name="T107" fmla="*/ 48 h 480"/>
                <a:gd name="T108" fmla="*/ 84 w 392"/>
                <a:gd name="T109" fmla="*/ 43 h 480"/>
                <a:gd name="T110" fmla="*/ 110 w 392"/>
                <a:gd name="T111" fmla="*/ 36 h 480"/>
                <a:gd name="T112" fmla="*/ 124 w 392"/>
                <a:gd name="T113" fmla="*/ 22 h 480"/>
                <a:gd name="T114" fmla="*/ 159 w 392"/>
                <a:gd name="T115" fmla="*/ 5 h 480"/>
                <a:gd name="T116" fmla="*/ 186 w 392"/>
                <a:gd name="T117" fmla="*/ 12 h 480"/>
                <a:gd name="T118" fmla="*/ 228 w 392"/>
                <a:gd name="T119" fmla="*/ 31 h 480"/>
                <a:gd name="T120" fmla="*/ 228 w 392"/>
                <a:gd name="T121" fmla="*/ 62 h 480"/>
                <a:gd name="T122" fmla="*/ 228 w 392"/>
                <a:gd name="T123" fmla="*/ 6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2" h="480">
                  <a:moveTo>
                    <a:pt x="295" y="407"/>
                  </a:moveTo>
                  <a:lnTo>
                    <a:pt x="297" y="407"/>
                  </a:lnTo>
                  <a:lnTo>
                    <a:pt x="295" y="407"/>
                  </a:lnTo>
                  <a:lnTo>
                    <a:pt x="295" y="409"/>
                  </a:lnTo>
                  <a:lnTo>
                    <a:pt x="295" y="411"/>
                  </a:lnTo>
                  <a:lnTo>
                    <a:pt x="292" y="411"/>
                  </a:lnTo>
                  <a:lnTo>
                    <a:pt x="292" y="414"/>
                  </a:lnTo>
                  <a:lnTo>
                    <a:pt x="292" y="416"/>
                  </a:lnTo>
                  <a:lnTo>
                    <a:pt x="290" y="416"/>
                  </a:lnTo>
                  <a:lnTo>
                    <a:pt x="290" y="418"/>
                  </a:lnTo>
                  <a:lnTo>
                    <a:pt x="290" y="421"/>
                  </a:lnTo>
                  <a:lnTo>
                    <a:pt x="288" y="421"/>
                  </a:lnTo>
                  <a:lnTo>
                    <a:pt x="288" y="423"/>
                  </a:lnTo>
                  <a:lnTo>
                    <a:pt x="285" y="423"/>
                  </a:lnTo>
                  <a:lnTo>
                    <a:pt x="285" y="426"/>
                  </a:lnTo>
                  <a:lnTo>
                    <a:pt x="285" y="428"/>
                  </a:lnTo>
                  <a:lnTo>
                    <a:pt x="285" y="426"/>
                  </a:lnTo>
                  <a:lnTo>
                    <a:pt x="285" y="428"/>
                  </a:lnTo>
                  <a:lnTo>
                    <a:pt x="283" y="428"/>
                  </a:lnTo>
                  <a:lnTo>
                    <a:pt x="283" y="430"/>
                  </a:lnTo>
                  <a:lnTo>
                    <a:pt x="283" y="433"/>
                  </a:lnTo>
                  <a:lnTo>
                    <a:pt x="283" y="435"/>
                  </a:lnTo>
                  <a:lnTo>
                    <a:pt x="280" y="435"/>
                  </a:lnTo>
                  <a:lnTo>
                    <a:pt x="280" y="437"/>
                  </a:lnTo>
                  <a:lnTo>
                    <a:pt x="280" y="440"/>
                  </a:lnTo>
                  <a:lnTo>
                    <a:pt x="278" y="440"/>
                  </a:lnTo>
                  <a:lnTo>
                    <a:pt x="278" y="442"/>
                  </a:lnTo>
                  <a:lnTo>
                    <a:pt x="278" y="445"/>
                  </a:lnTo>
                  <a:lnTo>
                    <a:pt x="278" y="447"/>
                  </a:lnTo>
                  <a:lnTo>
                    <a:pt x="278" y="449"/>
                  </a:lnTo>
                  <a:lnTo>
                    <a:pt x="280" y="449"/>
                  </a:lnTo>
                  <a:lnTo>
                    <a:pt x="280" y="452"/>
                  </a:lnTo>
                  <a:lnTo>
                    <a:pt x="280" y="449"/>
                  </a:lnTo>
                  <a:lnTo>
                    <a:pt x="280" y="452"/>
                  </a:lnTo>
                  <a:lnTo>
                    <a:pt x="283" y="452"/>
                  </a:lnTo>
                  <a:lnTo>
                    <a:pt x="283" y="449"/>
                  </a:lnTo>
                  <a:lnTo>
                    <a:pt x="283" y="452"/>
                  </a:lnTo>
                  <a:lnTo>
                    <a:pt x="285" y="452"/>
                  </a:lnTo>
                  <a:lnTo>
                    <a:pt x="283" y="452"/>
                  </a:lnTo>
                  <a:lnTo>
                    <a:pt x="283" y="454"/>
                  </a:lnTo>
                  <a:lnTo>
                    <a:pt x="283" y="452"/>
                  </a:lnTo>
                  <a:lnTo>
                    <a:pt x="283" y="454"/>
                  </a:lnTo>
                  <a:lnTo>
                    <a:pt x="283" y="452"/>
                  </a:lnTo>
                  <a:lnTo>
                    <a:pt x="283" y="454"/>
                  </a:lnTo>
                  <a:lnTo>
                    <a:pt x="280" y="454"/>
                  </a:lnTo>
                  <a:lnTo>
                    <a:pt x="283" y="454"/>
                  </a:lnTo>
                  <a:lnTo>
                    <a:pt x="280" y="454"/>
                  </a:lnTo>
                  <a:lnTo>
                    <a:pt x="283" y="454"/>
                  </a:lnTo>
                  <a:lnTo>
                    <a:pt x="280" y="454"/>
                  </a:lnTo>
                  <a:lnTo>
                    <a:pt x="283" y="454"/>
                  </a:lnTo>
                  <a:lnTo>
                    <a:pt x="283" y="456"/>
                  </a:lnTo>
                  <a:lnTo>
                    <a:pt x="283" y="454"/>
                  </a:lnTo>
                  <a:lnTo>
                    <a:pt x="283" y="456"/>
                  </a:lnTo>
                  <a:lnTo>
                    <a:pt x="283" y="459"/>
                  </a:lnTo>
                  <a:lnTo>
                    <a:pt x="285" y="459"/>
                  </a:lnTo>
                  <a:lnTo>
                    <a:pt x="285" y="461"/>
                  </a:lnTo>
                  <a:lnTo>
                    <a:pt x="285" y="464"/>
                  </a:lnTo>
                  <a:lnTo>
                    <a:pt x="288" y="464"/>
                  </a:lnTo>
                  <a:lnTo>
                    <a:pt x="285" y="464"/>
                  </a:lnTo>
                  <a:lnTo>
                    <a:pt x="283" y="464"/>
                  </a:lnTo>
                  <a:lnTo>
                    <a:pt x="283" y="466"/>
                  </a:lnTo>
                  <a:lnTo>
                    <a:pt x="280" y="466"/>
                  </a:lnTo>
                  <a:lnTo>
                    <a:pt x="280" y="468"/>
                  </a:lnTo>
                  <a:lnTo>
                    <a:pt x="280" y="471"/>
                  </a:lnTo>
                  <a:lnTo>
                    <a:pt x="278" y="471"/>
                  </a:lnTo>
                  <a:lnTo>
                    <a:pt x="278" y="473"/>
                  </a:lnTo>
                  <a:lnTo>
                    <a:pt x="278" y="475"/>
                  </a:lnTo>
                  <a:lnTo>
                    <a:pt x="280" y="475"/>
                  </a:lnTo>
                  <a:lnTo>
                    <a:pt x="280" y="478"/>
                  </a:lnTo>
                  <a:lnTo>
                    <a:pt x="278" y="478"/>
                  </a:lnTo>
                  <a:lnTo>
                    <a:pt x="278" y="480"/>
                  </a:lnTo>
                  <a:lnTo>
                    <a:pt x="278" y="478"/>
                  </a:lnTo>
                  <a:lnTo>
                    <a:pt x="276" y="478"/>
                  </a:lnTo>
                  <a:lnTo>
                    <a:pt x="276" y="475"/>
                  </a:lnTo>
                  <a:lnTo>
                    <a:pt x="276" y="478"/>
                  </a:lnTo>
                  <a:lnTo>
                    <a:pt x="273" y="478"/>
                  </a:lnTo>
                  <a:lnTo>
                    <a:pt x="273" y="475"/>
                  </a:lnTo>
                  <a:lnTo>
                    <a:pt x="271" y="475"/>
                  </a:lnTo>
                  <a:lnTo>
                    <a:pt x="269" y="475"/>
                  </a:lnTo>
                  <a:lnTo>
                    <a:pt x="266" y="475"/>
                  </a:lnTo>
                  <a:lnTo>
                    <a:pt x="264" y="475"/>
                  </a:lnTo>
                  <a:lnTo>
                    <a:pt x="264" y="473"/>
                  </a:lnTo>
                  <a:lnTo>
                    <a:pt x="261" y="473"/>
                  </a:lnTo>
                  <a:lnTo>
                    <a:pt x="259" y="473"/>
                  </a:lnTo>
                  <a:lnTo>
                    <a:pt x="259" y="471"/>
                  </a:lnTo>
                  <a:lnTo>
                    <a:pt x="257" y="471"/>
                  </a:lnTo>
                  <a:lnTo>
                    <a:pt x="257" y="468"/>
                  </a:lnTo>
                  <a:lnTo>
                    <a:pt x="257" y="466"/>
                  </a:lnTo>
                  <a:lnTo>
                    <a:pt x="254" y="466"/>
                  </a:lnTo>
                  <a:lnTo>
                    <a:pt x="254" y="464"/>
                  </a:lnTo>
                  <a:lnTo>
                    <a:pt x="252" y="461"/>
                  </a:lnTo>
                  <a:lnTo>
                    <a:pt x="250" y="461"/>
                  </a:lnTo>
                  <a:lnTo>
                    <a:pt x="250" y="459"/>
                  </a:lnTo>
                  <a:lnTo>
                    <a:pt x="247" y="459"/>
                  </a:lnTo>
                  <a:lnTo>
                    <a:pt x="245" y="459"/>
                  </a:lnTo>
                  <a:lnTo>
                    <a:pt x="243" y="459"/>
                  </a:lnTo>
                  <a:lnTo>
                    <a:pt x="240" y="459"/>
                  </a:lnTo>
                  <a:lnTo>
                    <a:pt x="238" y="459"/>
                  </a:lnTo>
                  <a:lnTo>
                    <a:pt x="238" y="456"/>
                  </a:lnTo>
                  <a:lnTo>
                    <a:pt x="235" y="456"/>
                  </a:lnTo>
                  <a:lnTo>
                    <a:pt x="233" y="456"/>
                  </a:lnTo>
                  <a:lnTo>
                    <a:pt x="233" y="454"/>
                  </a:lnTo>
                  <a:lnTo>
                    <a:pt x="231" y="454"/>
                  </a:lnTo>
                  <a:lnTo>
                    <a:pt x="231" y="452"/>
                  </a:lnTo>
                  <a:lnTo>
                    <a:pt x="228" y="452"/>
                  </a:lnTo>
                  <a:lnTo>
                    <a:pt x="226" y="452"/>
                  </a:lnTo>
                  <a:lnTo>
                    <a:pt x="228" y="452"/>
                  </a:lnTo>
                  <a:lnTo>
                    <a:pt x="226" y="452"/>
                  </a:lnTo>
                  <a:lnTo>
                    <a:pt x="226" y="449"/>
                  </a:lnTo>
                  <a:lnTo>
                    <a:pt x="226" y="452"/>
                  </a:lnTo>
                  <a:lnTo>
                    <a:pt x="226" y="449"/>
                  </a:lnTo>
                  <a:lnTo>
                    <a:pt x="224" y="449"/>
                  </a:lnTo>
                  <a:lnTo>
                    <a:pt x="221" y="449"/>
                  </a:lnTo>
                  <a:lnTo>
                    <a:pt x="221" y="447"/>
                  </a:lnTo>
                  <a:lnTo>
                    <a:pt x="219" y="447"/>
                  </a:lnTo>
                  <a:lnTo>
                    <a:pt x="219" y="445"/>
                  </a:lnTo>
                  <a:lnTo>
                    <a:pt x="216" y="445"/>
                  </a:lnTo>
                  <a:lnTo>
                    <a:pt x="216" y="442"/>
                  </a:lnTo>
                  <a:lnTo>
                    <a:pt x="214" y="442"/>
                  </a:lnTo>
                  <a:lnTo>
                    <a:pt x="212" y="442"/>
                  </a:lnTo>
                  <a:lnTo>
                    <a:pt x="212" y="440"/>
                  </a:lnTo>
                  <a:lnTo>
                    <a:pt x="212" y="442"/>
                  </a:lnTo>
                  <a:lnTo>
                    <a:pt x="209" y="442"/>
                  </a:lnTo>
                  <a:lnTo>
                    <a:pt x="209" y="440"/>
                  </a:lnTo>
                  <a:lnTo>
                    <a:pt x="209" y="437"/>
                  </a:lnTo>
                  <a:lnTo>
                    <a:pt x="207" y="437"/>
                  </a:lnTo>
                  <a:lnTo>
                    <a:pt x="205" y="437"/>
                  </a:lnTo>
                  <a:lnTo>
                    <a:pt x="202" y="437"/>
                  </a:lnTo>
                  <a:lnTo>
                    <a:pt x="200" y="437"/>
                  </a:lnTo>
                  <a:lnTo>
                    <a:pt x="197" y="437"/>
                  </a:lnTo>
                  <a:lnTo>
                    <a:pt x="197" y="435"/>
                  </a:lnTo>
                  <a:lnTo>
                    <a:pt x="195" y="435"/>
                  </a:lnTo>
                  <a:lnTo>
                    <a:pt x="193" y="435"/>
                  </a:lnTo>
                  <a:lnTo>
                    <a:pt x="193" y="433"/>
                  </a:lnTo>
                  <a:lnTo>
                    <a:pt x="193" y="430"/>
                  </a:lnTo>
                  <a:lnTo>
                    <a:pt x="190" y="428"/>
                  </a:lnTo>
                  <a:lnTo>
                    <a:pt x="193" y="428"/>
                  </a:lnTo>
                  <a:lnTo>
                    <a:pt x="193" y="426"/>
                  </a:lnTo>
                  <a:lnTo>
                    <a:pt x="193" y="423"/>
                  </a:lnTo>
                  <a:lnTo>
                    <a:pt x="193" y="421"/>
                  </a:lnTo>
                  <a:lnTo>
                    <a:pt x="193" y="423"/>
                  </a:lnTo>
                  <a:lnTo>
                    <a:pt x="193" y="421"/>
                  </a:lnTo>
                  <a:lnTo>
                    <a:pt x="193" y="418"/>
                  </a:lnTo>
                  <a:lnTo>
                    <a:pt x="193" y="421"/>
                  </a:lnTo>
                  <a:lnTo>
                    <a:pt x="193" y="418"/>
                  </a:lnTo>
                  <a:lnTo>
                    <a:pt x="193" y="421"/>
                  </a:lnTo>
                  <a:lnTo>
                    <a:pt x="195" y="418"/>
                  </a:lnTo>
                  <a:lnTo>
                    <a:pt x="193" y="418"/>
                  </a:lnTo>
                  <a:lnTo>
                    <a:pt x="195" y="418"/>
                  </a:lnTo>
                  <a:lnTo>
                    <a:pt x="193" y="418"/>
                  </a:lnTo>
                  <a:lnTo>
                    <a:pt x="195" y="418"/>
                  </a:lnTo>
                  <a:lnTo>
                    <a:pt x="195" y="416"/>
                  </a:lnTo>
                  <a:lnTo>
                    <a:pt x="197" y="416"/>
                  </a:lnTo>
                  <a:lnTo>
                    <a:pt x="197" y="414"/>
                  </a:lnTo>
                  <a:lnTo>
                    <a:pt x="200" y="414"/>
                  </a:lnTo>
                  <a:lnTo>
                    <a:pt x="200" y="411"/>
                  </a:lnTo>
                  <a:lnTo>
                    <a:pt x="202" y="411"/>
                  </a:lnTo>
                  <a:lnTo>
                    <a:pt x="202" y="414"/>
                  </a:lnTo>
                  <a:lnTo>
                    <a:pt x="202" y="416"/>
                  </a:lnTo>
                  <a:lnTo>
                    <a:pt x="205" y="416"/>
                  </a:lnTo>
                  <a:lnTo>
                    <a:pt x="205" y="418"/>
                  </a:lnTo>
                  <a:lnTo>
                    <a:pt x="207" y="418"/>
                  </a:lnTo>
                  <a:lnTo>
                    <a:pt x="209" y="418"/>
                  </a:lnTo>
                  <a:lnTo>
                    <a:pt x="209" y="416"/>
                  </a:lnTo>
                  <a:lnTo>
                    <a:pt x="212" y="416"/>
                  </a:lnTo>
                  <a:lnTo>
                    <a:pt x="212" y="414"/>
                  </a:lnTo>
                  <a:lnTo>
                    <a:pt x="212" y="411"/>
                  </a:lnTo>
                  <a:lnTo>
                    <a:pt x="214" y="411"/>
                  </a:lnTo>
                  <a:lnTo>
                    <a:pt x="216" y="411"/>
                  </a:lnTo>
                  <a:lnTo>
                    <a:pt x="219" y="411"/>
                  </a:lnTo>
                  <a:lnTo>
                    <a:pt x="219" y="409"/>
                  </a:lnTo>
                  <a:lnTo>
                    <a:pt x="216" y="409"/>
                  </a:lnTo>
                  <a:lnTo>
                    <a:pt x="219" y="409"/>
                  </a:lnTo>
                  <a:lnTo>
                    <a:pt x="219" y="411"/>
                  </a:lnTo>
                  <a:lnTo>
                    <a:pt x="219" y="409"/>
                  </a:lnTo>
                  <a:lnTo>
                    <a:pt x="221" y="409"/>
                  </a:lnTo>
                  <a:lnTo>
                    <a:pt x="221" y="411"/>
                  </a:lnTo>
                  <a:lnTo>
                    <a:pt x="221" y="414"/>
                  </a:lnTo>
                  <a:lnTo>
                    <a:pt x="224" y="414"/>
                  </a:lnTo>
                  <a:lnTo>
                    <a:pt x="226" y="414"/>
                  </a:lnTo>
                  <a:lnTo>
                    <a:pt x="228" y="414"/>
                  </a:lnTo>
                  <a:lnTo>
                    <a:pt x="228" y="416"/>
                  </a:lnTo>
                  <a:lnTo>
                    <a:pt x="228" y="418"/>
                  </a:lnTo>
                  <a:lnTo>
                    <a:pt x="231" y="418"/>
                  </a:lnTo>
                  <a:lnTo>
                    <a:pt x="233" y="418"/>
                  </a:lnTo>
                  <a:lnTo>
                    <a:pt x="233" y="421"/>
                  </a:lnTo>
                  <a:lnTo>
                    <a:pt x="235" y="421"/>
                  </a:lnTo>
                  <a:lnTo>
                    <a:pt x="235" y="418"/>
                  </a:lnTo>
                  <a:lnTo>
                    <a:pt x="235" y="421"/>
                  </a:lnTo>
                  <a:lnTo>
                    <a:pt x="238" y="421"/>
                  </a:lnTo>
                  <a:lnTo>
                    <a:pt x="238" y="418"/>
                  </a:lnTo>
                  <a:lnTo>
                    <a:pt x="240" y="418"/>
                  </a:lnTo>
                  <a:lnTo>
                    <a:pt x="243" y="418"/>
                  </a:lnTo>
                  <a:lnTo>
                    <a:pt x="243" y="416"/>
                  </a:lnTo>
                  <a:lnTo>
                    <a:pt x="245" y="416"/>
                  </a:lnTo>
                  <a:lnTo>
                    <a:pt x="243" y="418"/>
                  </a:lnTo>
                  <a:lnTo>
                    <a:pt x="245" y="418"/>
                  </a:lnTo>
                  <a:lnTo>
                    <a:pt x="247" y="418"/>
                  </a:lnTo>
                  <a:lnTo>
                    <a:pt x="250" y="418"/>
                  </a:lnTo>
                  <a:lnTo>
                    <a:pt x="252" y="418"/>
                  </a:lnTo>
                  <a:lnTo>
                    <a:pt x="254" y="418"/>
                  </a:lnTo>
                  <a:lnTo>
                    <a:pt x="257" y="418"/>
                  </a:lnTo>
                  <a:lnTo>
                    <a:pt x="257" y="416"/>
                  </a:lnTo>
                  <a:lnTo>
                    <a:pt x="257" y="418"/>
                  </a:lnTo>
                  <a:lnTo>
                    <a:pt x="259" y="418"/>
                  </a:lnTo>
                  <a:lnTo>
                    <a:pt x="259" y="416"/>
                  </a:lnTo>
                  <a:lnTo>
                    <a:pt x="261" y="416"/>
                  </a:lnTo>
                  <a:lnTo>
                    <a:pt x="264" y="416"/>
                  </a:lnTo>
                  <a:lnTo>
                    <a:pt x="264" y="414"/>
                  </a:lnTo>
                  <a:lnTo>
                    <a:pt x="266" y="414"/>
                  </a:lnTo>
                  <a:lnTo>
                    <a:pt x="266" y="411"/>
                  </a:lnTo>
                  <a:lnTo>
                    <a:pt x="269" y="411"/>
                  </a:lnTo>
                  <a:lnTo>
                    <a:pt x="271" y="411"/>
                  </a:lnTo>
                  <a:lnTo>
                    <a:pt x="273" y="411"/>
                  </a:lnTo>
                  <a:lnTo>
                    <a:pt x="276" y="411"/>
                  </a:lnTo>
                  <a:lnTo>
                    <a:pt x="278" y="411"/>
                  </a:lnTo>
                  <a:lnTo>
                    <a:pt x="278" y="414"/>
                  </a:lnTo>
                  <a:lnTo>
                    <a:pt x="280" y="414"/>
                  </a:lnTo>
                  <a:lnTo>
                    <a:pt x="280" y="411"/>
                  </a:lnTo>
                  <a:lnTo>
                    <a:pt x="283" y="411"/>
                  </a:lnTo>
                  <a:lnTo>
                    <a:pt x="283" y="409"/>
                  </a:lnTo>
                  <a:lnTo>
                    <a:pt x="283" y="407"/>
                  </a:lnTo>
                  <a:lnTo>
                    <a:pt x="283" y="409"/>
                  </a:lnTo>
                  <a:lnTo>
                    <a:pt x="285" y="409"/>
                  </a:lnTo>
                  <a:lnTo>
                    <a:pt x="288" y="409"/>
                  </a:lnTo>
                  <a:lnTo>
                    <a:pt x="290" y="409"/>
                  </a:lnTo>
                  <a:lnTo>
                    <a:pt x="290" y="407"/>
                  </a:lnTo>
                  <a:lnTo>
                    <a:pt x="292" y="407"/>
                  </a:lnTo>
                  <a:lnTo>
                    <a:pt x="295" y="407"/>
                  </a:lnTo>
                  <a:close/>
                  <a:moveTo>
                    <a:pt x="86" y="273"/>
                  </a:moveTo>
                  <a:lnTo>
                    <a:pt x="86" y="276"/>
                  </a:lnTo>
                  <a:lnTo>
                    <a:pt x="88" y="276"/>
                  </a:lnTo>
                  <a:lnTo>
                    <a:pt x="88" y="273"/>
                  </a:lnTo>
                  <a:lnTo>
                    <a:pt x="88" y="276"/>
                  </a:lnTo>
                  <a:lnTo>
                    <a:pt x="88" y="273"/>
                  </a:lnTo>
                  <a:lnTo>
                    <a:pt x="91" y="273"/>
                  </a:lnTo>
                  <a:lnTo>
                    <a:pt x="91" y="276"/>
                  </a:lnTo>
                  <a:lnTo>
                    <a:pt x="93" y="276"/>
                  </a:lnTo>
                  <a:lnTo>
                    <a:pt x="93" y="278"/>
                  </a:lnTo>
                  <a:lnTo>
                    <a:pt x="91" y="278"/>
                  </a:lnTo>
                  <a:lnTo>
                    <a:pt x="93" y="278"/>
                  </a:lnTo>
                  <a:lnTo>
                    <a:pt x="93" y="281"/>
                  </a:lnTo>
                  <a:lnTo>
                    <a:pt x="93" y="278"/>
                  </a:lnTo>
                  <a:lnTo>
                    <a:pt x="95" y="278"/>
                  </a:lnTo>
                  <a:lnTo>
                    <a:pt x="95" y="276"/>
                  </a:lnTo>
                  <a:lnTo>
                    <a:pt x="95" y="278"/>
                  </a:lnTo>
                  <a:lnTo>
                    <a:pt x="95" y="281"/>
                  </a:lnTo>
                  <a:lnTo>
                    <a:pt x="95" y="283"/>
                  </a:lnTo>
                  <a:lnTo>
                    <a:pt x="98" y="283"/>
                  </a:lnTo>
                  <a:lnTo>
                    <a:pt x="100" y="283"/>
                  </a:lnTo>
                  <a:lnTo>
                    <a:pt x="100" y="285"/>
                  </a:lnTo>
                  <a:lnTo>
                    <a:pt x="98" y="285"/>
                  </a:lnTo>
                  <a:lnTo>
                    <a:pt x="98" y="283"/>
                  </a:lnTo>
                  <a:lnTo>
                    <a:pt x="98" y="285"/>
                  </a:lnTo>
                  <a:lnTo>
                    <a:pt x="95" y="285"/>
                  </a:lnTo>
                  <a:lnTo>
                    <a:pt x="95" y="288"/>
                  </a:lnTo>
                  <a:lnTo>
                    <a:pt x="98" y="288"/>
                  </a:lnTo>
                  <a:lnTo>
                    <a:pt x="95" y="288"/>
                  </a:lnTo>
                  <a:lnTo>
                    <a:pt x="93" y="288"/>
                  </a:lnTo>
                  <a:lnTo>
                    <a:pt x="95" y="288"/>
                  </a:lnTo>
                  <a:lnTo>
                    <a:pt x="93" y="288"/>
                  </a:lnTo>
                  <a:lnTo>
                    <a:pt x="95" y="288"/>
                  </a:lnTo>
                  <a:lnTo>
                    <a:pt x="98" y="288"/>
                  </a:lnTo>
                  <a:lnTo>
                    <a:pt x="95" y="288"/>
                  </a:lnTo>
                  <a:lnTo>
                    <a:pt x="98" y="288"/>
                  </a:lnTo>
                  <a:lnTo>
                    <a:pt x="95" y="288"/>
                  </a:lnTo>
                  <a:lnTo>
                    <a:pt x="98" y="288"/>
                  </a:lnTo>
                  <a:lnTo>
                    <a:pt x="100" y="288"/>
                  </a:lnTo>
                  <a:lnTo>
                    <a:pt x="98" y="288"/>
                  </a:lnTo>
                  <a:lnTo>
                    <a:pt x="98" y="290"/>
                  </a:lnTo>
                  <a:lnTo>
                    <a:pt x="100" y="290"/>
                  </a:lnTo>
                  <a:lnTo>
                    <a:pt x="103" y="290"/>
                  </a:lnTo>
                  <a:lnTo>
                    <a:pt x="103" y="292"/>
                  </a:lnTo>
                  <a:lnTo>
                    <a:pt x="100" y="292"/>
                  </a:lnTo>
                  <a:lnTo>
                    <a:pt x="100" y="290"/>
                  </a:lnTo>
                  <a:lnTo>
                    <a:pt x="100" y="292"/>
                  </a:lnTo>
                  <a:lnTo>
                    <a:pt x="100" y="290"/>
                  </a:lnTo>
                  <a:lnTo>
                    <a:pt x="100" y="292"/>
                  </a:lnTo>
                  <a:lnTo>
                    <a:pt x="100" y="295"/>
                  </a:lnTo>
                  <a:lnTo>
                    <a:pt x="100" y="297"/>
                  </a:lnTo>
                  <a:lnTo>
                    <a:pt x="103" y="297"/>
                  </a:lnTo>
                  <a:lnTo>
                    <a:pt x="100" y="297"/>
                  </a:lnTo>
                  <a:lnTo>
                    <a:pt x="103" y="297"/>
                  </a:lnTo>
                  <a:lnTo>
                    <a:pt x="103" y="300"/>
                  </a:lnTo>
                  <a:lnTo>
                    <a:pt x="103" y="302"/>
                  </a:lnTo>
                  <a:lnTo>
                    <a:pt x="103" y="304"/>
                  </a:lnTo>
                  <a:lnTo>
                    <a:pt x="105" y="304"/>
                  </a:lnTo>
                  <a:lnTo>
                    <a:pt x="105" y="307"/>
                  </a:lnTo>
                  <a:lnTo>
                    <a:pt x="105" y="309"/>
                  </a:lnTo>
                  <a:lnTo>
                    <a:pt x="103" y="309"/>
                  </a:lnTo>
                  <a:lnTo>
                    <a:pt x="103" y="311"/>
                  </a:lnTo>
                  <a:lnTo>
                    <a:pt x="100" y="311"/>
                  </a:lnTo>
                  <a:lnTo>
                    <a:pt x="103" y="311"/>
                  </a:lnTo>
                  <a:lnTo>
                    <a:pt x="100" y="314"/>
                  </a:lnTo>
                  <a:lnTo>
                    <a:pt x="100" y="316"/>
                  </a:lnTo>
                  <a:lnTo>
                    <a:pt x="98" y="316"/>
                  </a:lnTo>
                  <a:lnTo>
                    <a:pt x="98" y="319"/>
                  </a:lnTo>
                  <a:lnTo>
                    <a:pt x="98" y="321"/>
                  </a:lnTo>
                  <a:lnTo>
                    <a:pt x="100" y="321"/>
                  </a:lnTo>
                  <a:lnTo>
                    <a:pt x="100" y="323"/>
                  </a:lnTo>
                  <a:lnTo>
                    <a:pt x="100" y="326"/>
                  </a:lnTo>
                  <a:lnTo>
                    <a:pt x="103" y="326"/>
                  </a:lnTo>
                  <a:lnTo>
                    <a:pt x="103" y="328"/>
                  </a:lnTo>
                  <a:lnTo>
                    <a:pt x="100" y="328"/>
                  </a:lnTo>
                  <a:lnTo>
                    <a:pt x="100" y="331"/>
                  </a:lnTo>
                  <a:lnTo>
                    <a:pt x="100" y="333"/>
                  </a:lnTo>
                  <a:lnTo>
                    <a:pt x="100" y="335"/>
                  </a:lnTo>
                  <a:lnTo>
                    <a:pt x="100" y="338"/>
                  </a:lnTo>
                  <a:lnTo>
                    <a:pt x="100" y="340"/>
                  </a:lnTo>
                  <a:lnTo>
                    <a:pt x="100" y="342"/>
                  </a:lnTo>
                  <a:lnTo>
                    <a:pt x="100" y="345"/>
                  </a:lnTo>
                  <a:lnTo>
                    <a:pt x="100" y="347"/>
                  </a:lnTo>
                  <a:lnTo>
                    <a:pt x="100" y="350"/>
                  </a:lnTo>
                  <a:lnTo>
                    <a:pt x="98" y="350"/>
                  </a:lnTo>
                  <a:lnTo>
                    <a:pt x="98" y="352"/>
                  </a:lnTo>
                  <a:lnTo>
                    <a:pt x="98" y="354"/>
                  </a:lnTo>
                  <a:lnTo>
                    <a:pt x="100" y="354"/>
                  </a:lnTo>
                  <a:lnTo>
                    <a:pt x="98" y="354"/>
                  </a:lnTo>
                  <a:lnTo>
                    <a:pt x="98" y="357"/>
                  </a:lnTo>
                  <a:lnTo>
                    <a:pt x="98" y="359"/>
                  </a:lnTo>
                  <a:lnTo>
                    <a:pt x="98" y="361"/>
                  </a:lnTo>
                  <a:lnTo>
                    <a:pt x="95" y="364"/>
                  </a:lnTo>
                  <a:lnTo>
                    <a:pt x="95" y="366"/>
                  </a:lnTo>
                  <a:lnTo>
                    <a:pt x="98" y="366"/>
                  </a:lnTo>
                  <a:lnTo>
                    <a:pt x="95" y="366"/>
                  </a:lnTo>
                  <a:lnTo>
                    <a:pt x="95" y="369"/>
                  </a:lnTo>
                  <a:lnTo>
                    <a:pt x="95" y="371"/>
                  </a:lnTo>
                  <a:lnTo>
                    <a:pt x="95" y="369"/>
                  </a:lnTo>
                  <a:lnTo>
                    <a:pt x="93" y="369"/>
                  </a:lnTo>
                  <a:lnTo>
                    <a:pt x="95" y="369"/>
                  </a:lnTo>
                  <a:lnTo>
                    <a:pt x="93" y="369"/>
                  </a:lnTo>
                  <a:lnTo>
                    <a:pt x="91" y="369"/>
                  </a:lnTo>
                  <a:lnTo>
                    <a:pt x="91" y="366"/>
                  </a:lnTo>
                  <a:lnTo>
                    <a:pt x="88" y="366"/>
                  </a:lnTo>
                  <a:lnTo>
                    <a:pt x="88" y="364"/>
                  </a:lnTo>
                  <a:lnTo>
                    <a:pt x="86" y="364"/>
                  </a:lnTo>
                  <a:lnTo>
                    <a:pt x="84" y="364"/>
                  </a:lnTo>
                  <a:lnTo>
                    <a:pt x="84" y="366"/>
                  </a:lnTo>
                  <a:lnTo>
                    <a:pt x="81" y="366"/>
                  </a:lnTo>
                  <a:lnTo>
                    <a:pt x="81" y="364"/>
                  </a:lnTo>
                  <a:lnTo>
                    <a:pt x="79" y="364"/>
                  </a:lnTo>
                  <a:lnTo>
                    <a:pt x="79" y="361"/>
                  </a:lnTo>
                  <a:lnTo>
                    <a:pt x="79" y="364"/>
                  </a:lnTo>
                  <a:lnTo>
                    <a:pt x="79" y="361"/>
                  </a:lnTo>
                  <a:lnTo>
                    <a:pt x="79" y="364"/>
                  </a:lnTo>
                  <a:lnTo>
                    <a:pt x="81" y="364"/>
                  </a:lnTo>
                  <a:lnTo>
                    <a:pt x="79" y="364"/>
                  </a:lnTo>
                  <a:lnTo>
                    <a:pt x="81" y="364"/>
                  </a:lnTo>
                  <a:lnTo>
                    <a:pt x="81" y="366"/>
                  </a:lnTo>
                  <a:lnTo>
                    <a:pt x="81" y="364"/>
                  </a:lnTo>
                  <a:lnTo>
                    <a:pt x="79" y="364"/>
                  </a:lnTo>
                  <a:lnTo>
                    <a:pt x="81" y="364"/>
                  </a:lnTo>
                  <a:lnTo>
                    <a:pt x="81" y="366"/>
                  </a:lnTo>
                  <a:lnTo>
                    <a:pt x="79" y="366"/>
                  </a:lnTo>
                  <a:lnTo>
                    <a:pt x="79" y="369"/>
                  </a:lnTo>
                  <a:lnTo>
                    <a:pt x="79" y="371"/>
                  </a:lnTo>
                  <a:lnTo>
                    <a:pt x="79" y="373"/>
                  </a:lnTo>
                  <a:lnTo>
                    <a:pt x="79" y="376"/>
                  </a:lnTo>
                  <a:lnTo>
                    <a:pt x="76" y="376"/>
                  </a:lnTo>
                  <a:lnTo>
                    <a:pt x="76" y="378"/>
                  </a:lnTo>
                  <a:lnTo>
                    <a:pt x="74" y="378"/>
                  </a:lnTo>
                  <a:lnTo>
                    <a:pt x="74" y="380"/>
                  </a:lnTo>
                  <a:lnTo>
                    <a:pt x="72" y="380"/>
                  </a:lnTo>
                  <a:lnTo>
                    <a:pt x="72" y="378"/>
                  </a:lnTo>
                  <a:lnTo>
                    <a:pt x="72" y="380"/>
                  </a:lnTo>
                  <a:lnTo>
                    <a:pt x="72" y="378"/>
                  </a:lnTo>
                  <a:lnTo>
                    <a:pt x="72" y="380"/>
                  </a:lnTo>
                  <a:lnTo>
                    <a:pt x="72" y="378"/>
                  </a:lnTo>
                  <a:lnTo>
                    <a:pt x="69" y="378"/>
                  </a:lnTo>
                  <a:lnTo>
                    <a:pt x="67" y="378"/>
                  </a:lnTo>
                  <a:lnTo>
                    <a:pt x="67" y="380"/>
                  </a:lnTo>
                  <a:lnTo>
                    <a:pt x="65" y="380"/>
                  </a:lnTo>
                  <a:lnTo>
                    <a:pt x="67" y="380"/>
                  </a:lnTo>
                  <a:lnTo>
                    <a:pt x="67" y="378"/>
                  </a:lnTo>
                  <a:lnTo>
                    <a:pt x="65" y="378"/>
                  </a:lnTo>
                  <a:lnTo>
                    <a:pt x="65" y="376"/>
                  </a:lnTo>
                  <a:lnTo>
                    <a:pt x="62" y="373"/>
                  </a:lnTo>
                  <a:lnTo>
                    <a:pt x="65" y="373"/>
                  </a:lnTo>
                  <a:lnTo>
                    <a:pt x="62" y="373"/>
                  </a:lnTo>
                  <a:lnTo>
                    <a:pt x="62" y="371"/>
                  </a:lnTo>
                  <a:lnTo>
                    <a:pt x="62" y="373"/>
                  </a:lnTo>
                  <a:lnTo>
                    <a:pt x="62" y="371"/>
                  </a:lnTo>
                  <a:lnTo>
                    <a:pt x="60" y="371"/>
                  </a:lnTo>
                  <a:lnTo>
                    <a:pt x="60" y="369"/>
                  </a:lnTo>
                  <a:lnTo>
                    <a:pt x="60" y="366"/>
                  </a:lnTo>
                  <a:lnTo>
                    <a:pt x="57" y="366"/>
                  </a:lnTo>
                  <a:lnTo>
                    <a:pt x="57" y="364"/>
                  </a:lnTo>
                  <a:lnTo>
                    <a:pt x="57" y="361"/>
                  </a:lnTo>
                  <a:lnTo>
                    <a:pt x="60" y="361"/>
                  </a:lnTo>
                  <a:lnTo>
                    <a:pt x="60" y="359"/>
                  </a:lnTo>
                  <a:lnTo>
                    <a:pt x="57" y="359"/>
                  </a:lnTo>
                  <a:lnTo>
                    <a:pt x="57" y="357"/>
                  </a:lnTo>
                  <a:lnTo>
                    <a:pt x="57" y="354"/>
                  </a:lnTo>
                  <a:lnTo>
                    <a:pt x="57" y="352"/>
                  </a:lnTo>
                  <a:lnTo>
                    <a:pt x="60" y="352"/>
                  </a:lnTo>
                  <a:lnTo>
                    <a:pt x="60" y="350"/>
                  </a:lnTo>
                  <a:lnTo>
                    <a:pt x="60" y="347"/>
                  </a:lnTo>
                  <a:lnTo>
                    <a:pt x="60" y="345"/>
                  </a:lnTo>
                  <a:lnTo>
                    <a:pt x="60" y="342"/>
                  </a:lnTo>
                  <a:lnTo>
                    <a:pt x="60" y="340"/>
                  </a:lnTo>
                  <a:lnTo>
                    <a:pt x="60" y="342"/>
                  </a:lnTo>
                  <a:lnTo>
                    <a:pt x="62" y="342"/>
                  </a:lnTo>
                  <a:lnTo>
                    <a:pt x="62" y="340"/>
                  </a:lnTo>
                  <a:lnTo>
                    <a:pt x="62" y="338"/>
                  </a:lnTo>
                  <a:lnTo>
                    <a:pt x="62" y="335"/>
                  </a:lnTo>
                  <a:lnTo>
                    <a:pt x="65" y="335"/>
                  </a:lnTo>
                  <a:lnTo>
                    <a:pt x="62" y="335"/>
                  </a:lnTo>
                  <a:lnTo>
                    <a:pt x="62" y="333"/>
                  </a:lnTo>
                  <a:lnTo>
                    <a:pt x="60" y="333"/>
                  </a:lnTo>
                  <a:lnTo>
                    <a:pt x="62" y="333"/>
                  </a:lnTo>
                  <a:lnTo>
                    <a:pt x="62" y="331"/>
                  </a:lnTo>
                  <a:lnTo>
                    <a:pt x="60" y="331"/>
                  </a:lnTo>
                  <a:lnTo>
                    <a:pt x="60" y="333"/>
                  </a:lnTo>
                  <a:lnTo>
                    <a:pt x="62" y="333"/>
                  </a:lnTo>
                  <a:lnTo>
                    <a:pt x="60" y="333"/>
                  </a:lnTo>
                  <a:lnTo>
                    <a:pt x="60" y="335"/>
                  </a:lnTo>
                  <a:lnTo>
                    <a:pt x="60" y="333"/>
                  </a:lnTo>
                  <a:lnTo>
                    <a:pt x="60" y="335"/>
                  </a:lnTo>
                  <a:lnTo>
                    <a:pt x="60" y="333"/>
                  </a:lnTo>
                  <a:lnTo>
                    <a:pt x="60" y="335"/>
                  </a:lnTo>
                  <a:lnTo>
                    <a:pt x="57" y="333"/>
                  </a:lnTo>
                  <a:lnTo>
                    <a:pt x="57" y="331"/>
                  </a:lnTo>
                  <a:lnTo>
                    <a:pt x="57" y="328"/>
                  </a:lnTo>
                  <a:lnTo>
                    <a:pt x="57" y="326"/>
                  </a:lnTo>
                  <a:lnTo>
                    <a:pt x="57" y="328"/>
                  </a:lnTo>
                  <a:lnTo>
                    <a:pt x="60" y="328"/>
                  </a:lnTo>
                  <a:lnTo>
                    <a:pt x="60" y="326"/>
                  </a:lnTo>
                  <a:lnTo>
                    <a:pt x="60" y="328"/>
                  </a:lnTo>
                  <a:lnTo>
                    <a:pt x="60" y="326"/>
                  </a:lnTo>
                  <a:lnTo>
                    <a:pt x="60" y="323"/>
                  </a:lnTo>
                  <a:lnTo>
                    <a:pt x="60" y="321"/>
                  </a:lnTo>
                  <a:lnTo>
                    <a:pt x="60" y="319"/>
                  </a:lnTo>
                  <a:lnTo>
                    <a:pt x="60" y="316"/>
                  </a:lnTo>
                  <a:lnTo>
                    <a:pt x="60" y="314"/>
                  </a:lnTo>
                  <a:lnTo>
                    <a:pt x="57" y="314"/>
                  </a:lnTo>
                  <a:lnTo>
                    <a:pt x="57" y="311"/>
                  </a:lnTo>
                  <a:lnTo>
                    <a:pt x="57" y="309"/>
                  </a:lnTo>
                  <a:lnTo>
                    <a:pt x="57" y="307"/>
                  </a:lnTo>
                  <a:lnTo>
                    <a:pt x="55" y="307"/>
                  </a:lnTo>
                  <a:lnTo>
                    <a:pt x="55" y="304"/>
                  </a:lnTo>
                  <a:lnTo>
                    <a:pt x="55" y="302"/>
                  </a:lnTo>
                  <a:lnTo>
                    <a:pt x="53" y="302"/>
                  </a:lnTo>
                  <a:lnTo>
                    <a:pt x="53" y="304"/>
                  </a:lnTo>
                  <a:lnTo>
                    <a:pt x="50" y="304"/>
                  </a:lnTo>
                  <a:lnTo>
                    <a:pt x="50" y="302"/>
                  </a:lnTo>
                  <a:lnTo>
                    <a:pt x="53" y="302"/>
                  </a:lnTo>
                  <a:lnTo>
                    <a:pt x="50" y="302"/>
                  </a:lnTo>
                  <a:lnTo>
                    <a:pt x="53" y="302"/>
                  </a:lnTo>
                  <a:lnTo>
                    <a:pt x="50" y="302"/>
                  </a:lnTo>
                  <a:lnTo>
                    <a:pt x="50" y="304"/>
                  </a:lnTo>
                  <a:lnTo>
                    <a:pt x="50" y="302"/>
                  </a:lnTo>
                  <a:lnTo>
                    <a:pt x="50" y="300"/>
                  </a:lnTo>
                  <a:lnTo>
                    <a:pt x="50" y="297"/>
                  </a:lnTo>
                  <a:lnTo>
                    <a:pt x="48" y="297"/>
                  </a:lnTo>
                  <a:lnTo>
                    <a:pt x="50" y="295"/>
                  </a:lnTo>
                  <a:lnTo>
                    <a:pt x="48" y="295"/>
                  </a:lnTo>
                  <a:lnTo>
                    <a:pt x="50" y="295"/>
                  </a:lnTo>
                  <a:lnTo>
                    <a:pt x="50" y="292"/>
                  </a:lnTo>
                  <a:lnTo>
                    <a:pt x="50" y="290"/>
                  </a:lnTo>
                  <a:lnTo>
                    <a:pt x="53" y="290"/>
                  </a:lnTo>
                  <a:lnTo>
                    <a:pt x="53" y="288"/>
                  </a:lnTo>
                  <a:lnTo>
                    <a:pt x="50" y="288"/>
                  </a:lnTo>
                  <a:lnTo>
                    <a:pt x="50" y="285"/>
                  </a:lnTo>
                  <a:lnTo>
                    <a:pt x="53" y="285"/>
                  </a:lnTo>
                  <a:lnTo>
                    <a:pt x="53" y="288"/>
                  </a:lnTo>
                  <a:lnTo>
                    <a:pt x="53" y="290"/>
                  </a:lnTo>
                  <a:lnTo>
                    <a:pt x="55" y="290"/>
                  </a:lnTo>
                  <a:lnTo>
                    <a:pt x="53" y="290"/>
                  </a:lnTo>
                  <a:lnTo>
                    <a:pt x="55" y="290"/>
                  </a:lnTo>
                  <a:lnTo>
                    <a:pt x="57" y="290"/>
                  </a:lnTo>
                  <a:lnTo>
                    <a:pt x="55" y="290"/>
                  </a:lnTo>
                  <a:lnTo>
                    <a:pt x="57" y="290"/>
                  </a:lnTo>
                  <a:lnTo>
                    <a:pt x="57" y="292"/>
                  </a:lnTo>
                  <a:lnTo>
                    <a:pt x="57" y="290"/>
                  </a:lnTo>
                  <a:lnTo>
                    <a:pt x="57" y="292"/>
                  </a:lnTo>
                  <a:lnTo>
                    <a:pt x="57" y="290"/>
                  </a:lnTo>
                  <a:lnTo>
                    <a:pt x="60" y="292"/>
                  </a:lnTo>
                  <a:lnTo>
                    <a:pt x="62" y="292"/>
                  </a:lnTo>
                  <a:lnTo>
                    <a:pt x="65" y="290"/>
                  </a:lnTo>
                  <a:lnTo>
                    <a:pt x="67" y="290"/>
                  </a:lnTo>
                  <a:lnTo>
                    <a:pt x="67" y="288"/>
                  </a:lnTo>
                  <a:lnTo>
                    <a:pt x="69" y="288"/>
                  </a:lnTo>
                  <a:lnTo>
                    <a:pt x="72" y="288"/>
                  </a:lnTo>
                  <a:lnTo>
                    <a:pt x="72" y="285"/>
                  </a:lnTo>
                  <a:lnTo>
                    <a:pt x="74" y="285"/>
                  </a:lnTo>
                  <a:lnTo>
                    <a:pt x="74" y="283"/>
                  </a:lnTo>
                  <a:lnTo>
                    <a:pt x="76" y="283"/>
                  </a:lnTo>
                  <a:lnTo>
                    <a:pt x="76" y="281"/>
                  </a:lnTo>
                  <a:lnTo>
                    <a:pt x="76" y="278"/>
                  </a:lnTo>
                  <a:lnTo>
                    <a:pt x="76" y="281"/>
                  </a:lnTo>
                  <a:lnTo>
                    <a:pt x="76" y="278"/>
                  </a:lnTo>
                  <a:lnTo>
                    <a:pt x="79" y="278"/>
                  </a:lnTo>
                  <a:lnTo>
                    <a:pt x="81" y="278"/>
                  </a:lnTo>
                  <a:lnTo>
                    <a:pt x="81" y="276"/>
                  </a:lnTo>
                  <a:lnTo>
                    <a:pt x="84" y="276"/>
                  </a:lnTo>
                  <a:lnTo>
                    <a:pt x="84" y="273"/>
                  </a:lnTo>
                  <a:lnTo>
                    <a:pt x="81" y="273"/>
                  </a:lnTo>
                  <a:lnTo>
                    <a:pt x="84" y="273"/>
                  </a:lnTo>
                  <a:lnTo>
                    <a:pt x="86" y="273"/>
                  </a:lnTo>
                  <a:lnTo>
                    <a:pt x="86" y="271"/>
                  </a:lnTo>
                  <a:lnTo>
                    <a:pt x="86" y="273"/>
                  </a:lnTo>
                  <a:close/>
                  <a:moveTo>
                    <a:pt x="183" y="86"/>
                  </a:moveTo>
                  <a:lnTo>
                    <a:pt x="183" y="83"/>
                  </a:lnTo>
                  <a:lnTo>
                    <a:pt x="183" y="86"/>
                  </a:lnTo>
                  <a:close/>
                  <a:moveTo>
                    <a:pt x="224" y="67"/>
                  </a:moveTo>
                  <a:lnTo>
                    <a:pt x="226" y="67"/>
                  </a:lnTo>
                  <a:lnTo>
                    <a:pt x="224" y="67"/>
                  </a:lnTo>
                  <a:lnTo>
                    <a:pt x="224" y="69"/>
                  </a:lnTo>
                  <a:lnTo>
                    <a:pt x="221" y="69"/>
                  </a:lnTo>
                  <a:lnTo>
                    <a:pt x="221" y="67"/>
                  </a:lnTo>
                  <a:lnTo>
                    <a:pt x="221" y="64"/>
                  </a:lnTo>
                  <a:lnTo>
                    <a:pt x="219" y="64"/>
                  </a:lnTo>
                  <a:lnTo>
                    <a:pt x="216" y="64"/>
                  </a:lnTo>
                  <a:lnTo>
                    <a:pt x="219" y="64"/>
                  </a:lnTo>
                  <a:lnTo>
                    <a:pt x="219" y="62"/>
                  </a:lnTo>
                  <a:lnTo>
                    <a:pt x="216" y="62"/>
                  </a:lnTo>
                  <a:lnTo>
                    <a:pt x="219" y="62"/>
                  </a:lnTo>
                  <a:lnTo>
                    <a:pt x="219" y="64"/>
                  </a:lnTo>
                  <a:lnTo>
                    <a:pt x="216" y="64"/>
                  </a:lnTo>
                  <a:lnTo>
                    <a:pt x="214" y="64"/>
                  </a:lnTo>
                  <a:lnTo>
                    <a:pt x="214" y="67"/>
                  </a:lnTo>
                  <a:lnTo>
                    <a:pt x="214" y="64"/>
                  </a:lnTo>
                  <a:lnTo>
                    <a:pt x="214" y="67"/>
                  </a:lnTo>
                  <a:lnTo>
                    <a:pt x="214" y="64"/>
                  </a:lnTo>
                  <a:lnTo>
                    <a:pt x="212" y="64"/>
                  </a:lnTo>
                  <a:lnTo>
                    <a:pt x="212" y="67"/>
                  </a:lnTo>
                  <a:lnTo>
                    <a:pt x="214" y="67"/>
                  </a:lnTo>
                  <a:lnTo>
                    <a:pt x="214" y="69"/>
                  </a:lnTo>
                  <a:lnTo>
                    <a:pt x="212" y="69"/>
                  </a:lnTo>
                  <a:lnTo>
                    <a:pt x="214" y="69"/>
                  </a:lnTo>
                  <a:lnTo>
                    <a:pt x="212" y="69"/>
                  </a:lnTo>
                  <a:lnTo>
                    <a:pt x="209" y="69"/>
                  </a:lnTo>
                  <a:lnTo>
                    <a:pt x="209" y="72"/>
                  </a:lnTo>
                  <a:lnTo>
                    <a:pt x="209" y="69"/>
                  </a:lnTo>
                  <a:lnTo>
                    <a:pt x="209" y="72"/>
                  </a:lnTo>
                  <a:lnTo>
                    <a:pt x="209" y="69"/>
                  </a:lnTo>
                  <a:lnTo>
                    <a:pt x="209" y="72"/>
                  </a:lnTo>
                  <a:lnTo>
                    <a:pt x="207" y="72"/>
                  </a:lnTo>
                  <a:lnTo>
                    <a:pt x="207" y="69"/>
                  </a:lnTo>
                  <a:lnTo>
                    <a:pt x="205" y="69"/>
                  </a:lnTo>
                  <a:lnTo>
                    <a:pt x="205" y="67"/>
                  </a:lnTo>
                  <a:lnTo>
                    <a:pt x="205" y="69"/>
                  </a:lnTo>
                  <a:lnTo>
                    <a:pt x="207" y="69"/>
                  </a:lnTo>
                  <a:lnTo>
                    <a:pt x="207" y="72"/>
                  </a:lnTo>
                  <a:lnTo>
                    <a:pt x="205" y="72"/>
                  </a:lnTo>
                  <a:lnTo>
                    <a:pt x="202" y="74"/>
                  </a:lnTo>
                  <a:lnTo>
                    <a:pt x="200" y="74"/>
                  </a:lnTo>
                  <a:lnTo>
                    <a:pt x="202" y="74"/>
                  </a:lnTo>
                  <a:lnTo>
                    <a:pt x="200" y="74"/>
                  </a:lnTo>
                  <a:lnTo>
                    <a:pt x="200" y="76"/>
                  </a:lnTo>
                  <a:lnTo>
                    <a:pt x="197" y="76"/>
                  </a:lnTo>
                  <a:lnTo>
                    <a:pt x="195" y="76"/>
                  </a:lnTo>
                  <a:lnTo>
                    <a:pt x="193" y="79"/>
                  </a:lnTo>
                  <a:lnTo>
                    <a:pt x="190" y="79"/>
                  </a:lnTo>
                  <a:lnTo>
                    <a:pt x="190" y="81"/>
                  </a:lnTo>
                  <a:lnTo>
                    <a:pt x="190" y="79"/>
                  </a:lnTo>
                  <a:lnTo>
                    <a:pt x="193" y="79"/>
                  </a:lnTo>
                  <a:lnTo>
                    <a:pt x="193" y="76"/>
                  </a:lnTo>
                  <a:lnTo>
                    <a:pt x="195" y="76"/>
                  </a:lnTo>
                  <a:lnTo>
                    <a:pt x="193" y="76"/>
                  </a:lnTo>
                  <a:lnTo>
                    <a:pt x="193" y="79"/>
                  </a:lnTo>
                  <a:lnTo>
                    <a:pt x="195" y="76"/>
                  </a:lnTo>
                  <a:lnTo>
                    <a:pt x="197" y="76"/>
                  </a:lnTo>
                  <a:lnTo>
                    <a:pt x="195" y="76"/>
                  </a:lnTo>
                  <a:lnTo>
                    <a:pt x="197" y="76"/>
                  </a:lnTo>
                  <a:lnTo>
                    <a:pt x="197" y="74"/>
                  </a:lnTo>
                  <a:lnTo>
                    <a:pt x="195" y="74"/>
                  </a:lnTo>
                  <a:lnTo>
                    <a:pt x="195" y="76"/>
                  </a:lnTo>
                  <a:lnTo>
                    <a:pt x="195" y="74"/>
                  </a:lnTo>
                  <a:lnTo>
                    <a:pt x="195" y="76"/>
                  </a:lnTo>
                  <a:lnTo>
                    <a:pt x="195" y="74"/>
                  </a:lnTo>
                  <a:lnTo>
                    <a:pt x="195" y="76"/>
                  </a:lnTo>
                  <a:lnTo>
                    <a:pt x="195" y="74"/>
                  </a:lnTo>
                  <a:lnTo>
                    <a:pt x="195" y="76"/>
                  </a:lnTo>
                  <a:lnTo>
                    <a:pt x="195" y="74"/>
                  </a:lnTo>
                  <a:lnTo>
                    <a:pt x="193" y="74"/>
                  </a:lnTo>
                  <a:lnTo>
                    <a:pt x="190" y="74"/>
                  </a:lnTo>
                  <a:lnTo>
                    <a:pt x="190" y="76"/>
                  </a:lnTo>
                  <a:lnTo>
                    <a:pt x="190" y="74"/>
                  </a:lnTo>
                  <a:lnTo>
                    <a:pt x="190" y="76"/>
                  </a:lnTo>
                  <a:lnTo>
                    <a:pt x="188" y="76"/>
                  </a:lnTo>
                  <a:lnTo>
                    <a:pt x="186" y="76"/>
                  </a:lnTo>
                  <a:lnTo>
                    <a:pt x="186" y="79"/>
                  </a:lnTo>
                  <a:lnTo>
                    <a:pt x="186" y="76"/>
                  </a:lnTo>
                  <a:lnTo>
                    <a:pt x="186" y="79"/>
                  </a:lnTo>
                  <a:lnTo>
                    <a:pt x="186" y="76"/>
                  </a:lnTo>
                  <a:lnTo>
                    <a:pt x="186" y="79"/>
                  </a:lnTo>
                  <a:lnTo>
                    <a:pt x="188" y="79"/>
                  </a:lnTo>
                  <a:lnTo>
                    <a:pt x="188" y="81"/>
                  </a:lnTo>
                  <a:lnTo>
                    <a:pt x="188" y="79"/>
                  </a:lnTo>
                  <a:lnTo>
                    <a:pt x="186" y="79"/>
                  </a:lnTo>
                  <a:lnTo>
                    <a:pt x="188" y="79"/>
                  </a:lnTo>
                  <a:lnTo>
                    <a:pt x="186" y="79"/>
                  </a:lnTo>
                  <a:lnTo>
                    <a:pt x="188" y="79"/>
                  </a:lnTo>
                  <a:lnTo>
                    <a:pt x="186" y="79"/>
                  </a:lnTo>
                  <a:lnTo>
                    <a:pt x="183" y="79"/>
                  </a:lnTo>
                  <a:lnTo>
                    <a:pt x="186" y="79"/>
                  </a:lnTo>
                  <a:lnTo>
                    <a:pt x="183" y="79"/>
                  </a:lnTo>
                  <a:lnTo>
                    <a:pt x="186" y="79"/>
                  </a:lnTo>
                  <a:lnTo>
                    <a:pt x="186" y="81"/>
                  </a:lnTo>
                  <a:lnTo>
                    <a:pt x="183" y="81"/>
                  </a:lnTo>
                  <a:lnTo>
                    <a:pt x="183" y="83"/>
                  </a:lnTo>
                  <a:lnTo>
                    <a:pt x="181" y="83"/>
                  </a:lnTo>
                  <a:lnTo>
                    <a:pt x="183" y="81"/>
                  </a:lnTo>
                  <a:lnTo>
                    <a:pt x="181" y="81"/>
                  </a:lnTo>
                  <a:lnTo>
                    <a:pt x="181" y="83"/>
                  </a:lnTo>
                  <a:lnTo>
                    <a:pt x="183" y="83"/>
                  </a:lnTo>
                  <a:lnTo>
                    <a:pt x="183" y="86"/>
                  </a:lnTo>
                  <a:lnTo>
                    <a:pt x="181" y="86"/>
                  </a:lnTo>
                  <a:lnTo>
                    <a:pt x="181" y="88"/>
                  </a:lnTo>
                  <a:lnTo>
                    <a:pt x="183" y="88"/>
                  </a:lnTo>
                  <a:lnTo>
                    <a:pt x="181" y="88"/>
                  </a:lnTo>
                  <a:lnTo>
                    <a:pt x="183" y="88"/>
                  </a:lnTo>
                  <a:lnTo>
                    <a:pt x="183" y="86"/>
                  </a:lnTo>
                  <a:lnTo>
                    <a:pt x="183" y="88"/>
                  </a:lnTo>
                  <a:lnTo>
                    <a:pt x="183" y="91"/>
                  </a:lnTo>
                  <a:lnTo>
                    <a:pt x="186" y="91"/>
                  </a:lnTo>
                  <a:lnTo>
                    <a:pt x="188" y="91"/>
                  </a:lnTo>
                  <a:lnTo>
                    <a:pt x="188" y="93"/>
                  </a:lnTo>
                  <a:lnTo>
                    <a:pt x="188" y="95"/>
                  </a:lnTo>
                  <a:lnTo>
                    <a:pt x="188" y="93"/>
                  </a:lnTo>
                  <a:lnTo>
                    <a:pt x="186" y="93"/>
                  </a:lnTo>
                  <a:lnTo>
                    <a:pt x="186" y="95"/>
                  </a:lnTo>
                  <a:lnTo>
                    <a:pt x="188" y="95"/>
                  </a:lnTo>
                  <a:lnTo>
                    <a:pt x="188" y="98"/>
                  </a:lnTo>
                  <a:lnTo>
                    <a:pt x="188" y="95"/>
                  </a:lnTo>
                  <a:lnTo>
                    <a:pt x="188" y="98"/>
                  </a:lnTo>
                  <a:lnTo>
                    <a:pt x="188" y="95"/>
                  </a:lnTo>
                  <a:lnTo>
                    <a:pt x="188" y="98"/>
                  </a:lnTo>
                  <a:lnTo>
                    <a:pt x="190" y="98"/>
                  </a:lnTo>
                  <a:lnTo>
                    <a:pt x="188" y="98"/>
                  </a:lnTo>
                  <a:lnTo>
                    <a:pt x="188" y="100"/>
                  </a:lnTo>
                  <a:lnTo>
                    <a:pt x="190" y="100"/>
                  </a:lnTo>
                  <a:lnTo>
                    <a:pt x="190" y="98"/>
                  </a:lnTo>
                  <a:lnTo>
                    <a:pt x="190" y="100"/>
                  </a:lnTo>
                  <a:lnTo>
                    <a:pt x="190" y="98"/>
                  </a:lnTo>
                  <a:lnTo>
                    <a:pt x="190" y="100"/>
                  </a:lnTo>
                  <a:lnTo>
                    <a:pt x="190" y="98"/>
                  </a:lnTo>
                  <a:lnTo>
                    <a:pt x="190" y="100"/>
                  </a:lnTo>
                  <a:lnTo>
                    <a:pt x="190" y="98"/>
                  </a:lnTo>
                  <a:lnTo>
                    <a:pt x="190" y="100"/>
                  </a:lnTo>
                  <a:lnTo>
                    <a:pt x="190" y="98"/>
                  </a:lnTo>
                  <a:lnTo>
                    <a:pt x="190" y="100"/>
                  </a:lnTo>
                  <a:lnTo>
                    <a:pt x="190" y="98"/>
                  </a:lnTo>
                  <a:lnTo>
                    <a:pt x="190" y="100"/>
                  </a:lnTo>
                  <a:lnTo>
                    <a:pt x="190" y="98"/>
                  </a:lnTo>
                  <a:lnTo>
                    <a:pt x="190" y="100"/>
                  </a:lnTo>
                  <a:lnTo>
                    <a:pt x="193" y="100"/>
                  </a:lnTo>
                  <a:lnTo>
                    <a:pt x="193" y="102"/>
                  </a:lnTo>
                  <a:lnTo>
                    <a:pt x="190" y="102"/>
                  </a:lnTo>
                  <a:lnTo>
                    <a:pt x="188" y="102"/>
                  </a:lnTo>
                  <a:lnTo>
                    <a:pt x="186" y="102"/>
                  </a:lnTo>
                  <a:lnTo>
                    <a:pt x="186" y="100"/>
                  </a:lnTo>
                  <a:lnTo>
                    <a:pt x="183" y="100"/>
                  </a:lnTo>
                  <a:lnTo>
                    <a:pt x="183" y="98"/>
                  </a:lnTo>
                  <a:lnTo>
                    <a:pt x="181" y="98"/>
                  </a:lnTo>
                  <a:lnTo>
                    <a:pt x="178" y="98"/>
                  </a:lnTo>
                  <a:lnTo>
                    <a:pt x="178" y="100"/>
                  </a:lnTo>
                  <a:lnTo>
                    <a:pt x="178" y="98"/>
                  </a:lnTo>
                  <a:lnTo>
                    <a:pt x="181" y="98"/>
                  </a:lnTo>
                  <a:lnTo>
                    <a:pt x="181" y="100"/>
                  </a:lnTo>
                  <a:lnTo>
                    <a:pt x="181" y="98"/>
                  </a:lnTo>
                  <a:lnTo>
                    <a:pt x="183" y="98"/>
                  </a:lnTo>
                  <a:lnTo>
                    <a:pt x="183" y="100"/>
                  </a:lnTo>
                  <a:lnTo>
                    <a:pt x="186" y="100"/>
                  </a:lnTo>
                  <a:lnTo>
                    <a:pt x="186" y="102"/>
                  </a:lnTo>
                  <a:lnTo>
                    <a:pt x="188" y="102"/>
                  </a:lnTo>
                  <a:lnTo>
                    <a:pt x="188" y="105"/>
                  </a:lnTo>
                  <a:lnTo>
                    <a:pt x="188" y="107"/>
                  </a:lnTo>
                  <a:lnTo>
                    <a:pt x="190" y="107"/>
                  </a:lnTo>
                  <a:lnTo>
                    <a:pt x="190" y="110"/>
                  </a:lnTo>
                  <a:lnTo>
                    <a:pt x="188" y="110"/>
                  </a:lnTo>
                  <a:lnTo>
                    <a:pt x="188" y="107"/>
                  </a:lnTo>
                  <a:lnTo>
                    <a:pt x="188" y="110"/>
                  </a:lnTo>
                  <a:lnTo>
                    <a:pt x="190" y="110"/>
                  </a:lnTo>
                  <a:lnTo>
                    <a:pt x="188" y="110"/>
                  </a:lnTo>
                  <a:lnTo>
                    <a:pt x="190" y="110"/>
                  </a:lnTo>
                  <a:lnTo>
                    <a:pt x="188" y="110"/>
                  </a:lnTo>
                  <a:lnTo>
                    <a:pt x="188" y="107"/>
                  </a:lnTo>
                  <a:lnTo>
                    <a:pt x="186" y="107"/>
                  </a:lnTo>
                  <a:lnTo>
                    <a:pt x="186" y="110"/>
                  </a:lnTo>
                  <a:lnTo>
                    <a:pt x="186" y="107"/>
                  </a:lnTo>
                  <a:lnTo>
                    <a:pt x="186" y="110"/>
                  </a:lnTo>
                  <a:lnTo>
                    <a:pt x="186" y="107"/>
                  </a:lnTo>
                  <a:lnTo>
                    <a:pt x="186" y="110"/>
                  </a:lnTo>
                  <a:lnTo>
                    <a:pt x="186" y="112"/>
                  </a:lnTo>
                  <a:lnTo>
                    <a:pt x="186" y="114"/>
                  </a:lnTo>
                  <a:lnTo>
                    <a:pt x="186" y="117"/>
                  </a:lnTo>
                  <a:lnTo>
                    <a:pt x="186" y="119"/>
                  </a:lnTo>
                  <a:lnTo>
                    <a:pt x="186" y="121"/>
                  </a:lnTo>
                  <a:lnTo>
                    <a:pt x="186" y="124"/>
                  </a:lnTo>
                  <a:lnTo>
                    <a:pt x="186" y="126"/>
                  </a:lnTo>
                  <a:lnTo>
                    <a:pt x="188" y="129"/>
                  </a:lnTo>
                  <a:lnTo>
                    <a:pt x="188" y="131"/>
                  </a:lnTo>
                  <a:lnTo>
                    <a:pt x="188" y="133"/>
                  </a:lnTo>
                  <a:lnTo>
                    <a:pt x="188" y="136"/>
                  </a:lnTo>
                  <a:lnTo>
                    <a:pt x="190" y="136"/>
                  </a:lnTo>
                  <a:lnTo>
                    <a:pt x="190" y="138"/>
                  </a:lnTo>
                  <a:lnTo>
                    <a:pt x="193" y="138"/>
                  </a:lnTo>
                  <a:lnTo>
                    <a:pt x="193" y="140"/>
                  </a:lnTo>
                  <a:lnTo>
                    <a:pt x="195" y="143"/>
                  </a:lnTo>
                  <a:lnTo>
                    <a:pt x="197" y="145"/>
                  </a:lnTo>
                  <a:lnTo>
                    <a:pt x="200" y="148"/>
                  </a:lnTo>
                  <a:lnTo>
                    <a:pt x="202" y="148"/>
                  </a:lnTo>
                  <a:lnTo>
                    <a:pt x="205" y="150"/>
                  </a:lnTo>
                  <a:lnTo>
                    <a:pt x="207" y="150"/>
                  </a:lnTo>
                  <a:lnTo>
                    <a:pt x="207" y="152"/>
                  </a:lnTo>
                  <a:lnTo>
                    <a:pt x="209" y="152"/>
                  </a:lnTo>
                  <a:lnTo>
                    <a:pt x="212" y="155"/>
                  </a:lnTo>
                  <a:lnTo>
                    <a:pt x="214" y="155"/>
                  </a:lnTo>
                  <a:lnTo>
                    <a:pt x="214" y="157"/>
                  </a:lnTo>
                  <a:lnTo>
                    <a:pt x="216" y="157"/>
                  </a:lnTo>
                  <a:lnTo>
                    <a:pt x="216" y="159"/>
                  </a:lnTo>
                  <a:lnTo>
                    <a:pt x="219" y="162"/>
                  </a:lnTo>
                  <a:lnTo>
                    <a:pt x="221" y="162"/>
                  </a:lnTo>
                  <a:lnTo>
                    <a:pt x="224" y="162"/>
                  </a:lnTo>
                  <a:lnTo>
                    <a:pt x="224" y="164"/>
                  </a:lnTo>
                  <a:lnTo>
                    <a:pt x="226" y="164"/>
                  </a:lnTo>
                  <a:lnTo>
                    <a:pt x="228" y="164"/>
                  </a:lnTo>
                  <a:lnTo>
                    <a:pt x="228" y="167"/>
                  </a:lnTo>
                  <a:lnTo>
                    <a:pt x="231" y="167"/>
                  </a:lnTo>
                  <a:lnTo>
                    <a:pt x="231" y="169"/>
                  </a:lnTo>
                  <a:lnTo>
                    <a:pt x="231" y="171"/>
                  </a:lnTo>
                  <a:lnTo>
                    <a:pt x="231" y="174"/>
                  </a:lnTo>
                  <a:lnTo>
                    <a:pt x="233" y="176"/>
                  </a:lnTo>
                  <a:lnTo>
                    <a:pt x="233" y="178"/>
                  </a:lnTo>
                  <a:lnTo>
                    <a:pt x="235" y="178"/>
                  </a:lnTo>
                  <a:lnTo>
                    <a:pt x="235" y="181"/>
                  </a:lnTo>
                  <a:lnTo>
                    <a:pt x="235" y="183"/>
                  </a:lnTo>
                  <a:lnTo>
                    <a:pt x="235" y="186"/>
                  </a:lnTo>
                  <a:lnTo>
                    <a:pt x="238" y="188"/>
                  </a:lnTo>
                  <a:lnTo>
                    <a:pt x="238" y="190"/>
                  </a:lnTo>
                  <a:lnTo>
                    <a:pt x="238" y="193"/>
                  </a:lnTo>
                  <a:lnTo>
                    <a:pt x="238" y="195"/>
                  </a:lnTo>
                  <a:lnTo>
                    <a:pt x="240" y="195"/>
                  </a:lnTo>
                  <a:lnTo>
                    <a:pt x="238" y="195"/>
                  </a:lnTo>
                  <a:lnTo>
                    <a:pt x="240" y="197"/>
                  </a:lnTo>
                  <a:lnTo>
                    <a:pt x="240" y="200"/>
                  </a:lnTo>
                  <a:lnTo>
                    <a:pt x="243" y="205"/>
                  </a:lnTo>
                  <a:lnTo>
                    <a:pt x="243" y="207"/>
                  </a:lnTo>
                  <a:lnTo>
                    <a:pt x="245" y="209"/>
                  </a:lnTo>
                  <a:lnTo>
                    <a:pt x="245" y="212"/>
                  </a:lnTo>
                  <a:lnTo>
                    <a:pt x="247" y="212"/>
                  </a:lnTo>
                  <a:lnTo>
                    <a:pt x="247" y="214"/>
                  </a:lnTo>
                  <a:lnTo>
                    <a:pt x="250" y="216"/>
                  </a:lnTo>
                  <a:lnTo>
                    <a:pt x="250" y="219"/>
                  </a:lnTo>
                  <a:lnTo>
                    <a:pt x="252" y="219"/>
                  </a:lnTo>
                  <a:lnTo>
                    <a:pt x="254" y="221"/>
                  </a:lnTo>
                  <a:lnTo>
                    <a:pt x="257" y="221"/>
                  </a:lnTo>
                  <a:lnTo>
                    <a:pt x="257" y="224"/>
                  </a:lnTo>
                  <a:lnTo>
                    <a:pt x="259" y="226"/>
                  </a:lnTo>
                  <a:lnTo>
                    <a:pt x="261" y="228"/>
                  </a:lnTo>
                  <a:lnTo>
                    <a:pt x="264" y="228"/>
                  </a:lnTo>
                  <a:lnTo>
                    <a:pt x="264" y="231"/>
                  </a:lnTo>
                  <a:lnTo>
                    <a:pt x="266" y="231"/>
                  </a:lnTo>
                  <a:lnTo>
                    <a:pt x="266" y="233"/>
                  </a:lnTo>
                  <a:lnTo>
                    <a:pt x="266" y="235"/>
                  </a:lnTo>
                  <a:lnTo>
                    <a:pt x="269" y="235"/>
                  </a:lnTo>
                  <a:lnTo>
                    <a:pt x="271" y="235"/>
                  </a:lnTo>
                  <a:lnTo>
                    <a:pt x="271" y="238"/>
                  </a:lnTo>
                  <a:lnTo>
                    <a:pt x="273" y="238"/>
                  </a:lnTo>
                  <a:lnTo>
                    <a:pt x="276" y="238"/>
                  </a:lnTo>
                  <a:lnTo>
                    <a:pt x="276" y="240"/>
                  </a:lnTo>
                  <a:lnTo>
                    <a:pt x="278" y="240"/>
                  </a:lnTo>
                  <a:lnTo>
                    <a:pt x="280" y="243"/>
                  </a:lnTo>
                  <a:lnTo>
                    <a:pt x="283" y="243"/>
                  </a:lnTo>
                  <a:lnTo>
                    <a:pt x="285" y="243"/>
                  </a:lnTo>
                  <a:lnTo>
                    <a:pt x="288" y="243"/>
                  </a:lnTo>
                  <a:lnTo>
                    <a:pt x="290" y="243"/>
                  </a:lnTo>
                  <a:lnTo>
                    <a:pt x="292" y="243"/>
                  </a:lnTo>
                  <a:lnTo>
                    <a:pt x="295" y="243"/>
                  </a:lnTo>
                  <a:lnTo>
                    <a:pt x="297" y="243"/>
                  </a:lnTo>
                  <a:lnTo>
                    <a:pt x="299" y="243"/>
                  </a:lnTo>
                  <a:lnTo>
                    <a:pt x="302" y="243"/>
                  </a:lnTo>
                  <a:lnTo>
                    <a:pt x="304" y="243"/>
                  </a:lnTo>
                  <a:lnTo>
                    <a:pt x="307" y="243"/>
                  </a:lnTo>
                  <a:lnTo>
                    <a:pt x="307" y="240"/>
                  </a:lnTo>
                  <a:lnTo>
                    <a:pt x="309" y="240"/>
                  </a:lnTo>
                  <a:lnTo>
                    <a:pt x="311" y="240"/>
                  </a:lnTo>
                  <a:lnTo>
                    <a:pt x="311" y="243"/>
                  </a:lnTo>
                  <a:lnTo>
                    <a:pt x="314" y="243"/>
                  </a:lnTo>
                  <a:lnTo>
                    <a:pt x="314" y="245"/>
                  </a:lnTo>
                  <a:lnTo>
                    <a:pt x="316" y="245"/>
                  </a:lnTo>
                  <a:lnTo>
                    <a:pt x="314" y="245"/>
                  </a:lnTo>
                  <a:lnTo>
                    <a:pt x="316" y="245"/>
                  </a:lnTo>
                  <a:lnTo>
                    <a:pt x="314" y="245"/>
                  </a:lnTo>
                  <a:lnTo>
                    <a:pt x="314" y="247"/>
                  </a:lnTo>
                  <a:lnTo>
                    <a:pt x="316" y="247"/>
                  </a:lnTo>
                  <a:lnTo>
                    <a:pt x="314" y="247"/>
                  </a:lnTo>
                  <a:lnTo>
                    <a:pt x="316" y="247"/>
                  </a:lnTo>
                  <a:lnTo>
                    <a:pt x="314" y="247"/>
                  </a:lnTo>
                  <a:lnTo>
                    <a:pt x="314" y="250"/>
                  </a:lnTo>
                  <a:lnTo>
                    <a:pt x="311" y="250"/>
                  </a:lnTo>
                  <a:lnTo>
                    <a:pt x="311" y="252"/>
                  </a:lnTo>
                  <a:lnTo>
                    <a:pt x="309" y="252"/>
                  </a:lnTo>
                  <a:lnTo>
                    <a:pt x="309" y="254"/>
                  </a:lnTo>
                  <a:lnTo>
                    <a:pt x="307" y="254"/>
                  </a:lnTo>
                  <a:lnTo>
                    <a:pt x="307" y="257"/>
                  </a:lnTo>
                  <a:lnTo>
                    <a:pt x="307" y="254"/>
                  </a:lnTo>
                  <a:lnTo>
                    <a:pt x="307" y="257"/>
                  </a:lnTo>
                  <a:lnTo>
                    <a:pt x="307" y="254"/>
                  </a:lnTo>
                  <a:lnTo>
                    <a:pt x="307" y="257"/>
                  </a:lnTo>
                  <a:lnTo>
                    <a:pt x="304" y="257"/>
                  </a:lnTo>
                  <a:lnTo>
                    <a:pt x="304" y="259"/>
                  </a:lnTo>
                  <a:lnTo>
                    <a:pt x="307" y="259"/>
                  </a:lnTo>
                  <a:lnTo>
                    <a:pt x="307" y="262"/>
                  </a:lnTo>
                  <a:lnTo>
                    <a:pt x="307" y="264"/>
                  </a:lnTo>
                  <a:lnTo>
                    <a:pt x="309" y="264"/>
                  </a:lnTo>
                  <a:lnTo>
                    <a:pt x="311" y="266"/>
                  </a:lnTo>
                  <a:lnTo>
                    <a:pt x="314" y="266"/>
                  </a:lnTo>
                  <a:lnTo>
                    <a:pt x="316" y="269"/>
                  </a:lnTo>
                  <a:lnTo>
                    <a:pt x="318" y="269"/>
                  </a:lnTo>
                  <a:lnTo>
                    <a:pt x="321" y="269"/>
                  </a:lnTo>
                  <a:lnTo>
                    <a:pt x="321" y="271"/>
                  </a:lnTo>
                  <a:lnTo>
                    <a:pt x="323" y="271"/>
                  </a:lnTo>
                  <a:lnTo>
                    <a:pt x="323" y="273"/>
                  </a:lnTo>
                  <a:lnTo>
                    <a:pt x="326" y="271"/>
                  </a:lnTo>
                  <a:lnTo>
                    <a:pt x="326" y="273"/>
                  </a:lnTo>
                  <a:lnTo>
                    <a:pt x="328" y="273"/>
                  </a:lnTo>
                  <a:lnTo>
                    <a:pt x="328" y="276"/>
                  </a:lnTo>
                  <a:lnTo>
                    <a:pt x="330" y="276"/>
                  </a:lnTo>
                  <a:lnTo>
                    <a:pt x="333" y="276"/>
                  </a:lnTo>
                  <a:lnTo>
                    <a:pt x="335" y="276"/>
                  </a:lnTo>
                  <a:lnTo>
                    <a:pt x="335" y="278"/>
                  </a:lnTo>
                  <a:lnTo>
                    <a:pt x="337" y="278"/>
                  </a:lnTo>
                  <a:lnTo>
                    <a:pt x="340" y="278"/>
                  </a:lnTo>
                  <a:lnTo>
                    <a:pt x="340" y="281"/>
                  </a:lnTo>
                  <a:lnTo>
                    <a:pt x="342" y="281"/>
                  </a:lnTo>
                  <a:lnTo>
                    <a:pt x="345" y="281"/>
                  </a:lnTo>
                  <a:lnTo>
                    <a:pt x="345" y="283"/>
                  </a:lnTo>
                  <a:lnTo>
                    <a:pt x="347" y="283"/>
                  </a:lnTo>
                  <a:lnTo>
                    <a:pt x="349" y="283"/>
                  </a:lnTo>
                  <a:lnTo>
                    <a:pt x="349" y="285"/>
                  </a:lnTo>
                  <a:lnTo>
                    <a:pt x="349" y="283"/>
                  </a:lnTo>
                  <a:lnTo>
                    <a:pt x="349" y="285"/>
                  </a:lnTo>
                  <a:lnTo>
                    <a:pt x="352" y="285"/>
                  </a:lnTo>
                  <a:lnTo>
                    <a:pt x="352" y="288"/>
                  </a:lnTo>
                  <a:lnTo>
                    <a:pt x="354" y="288"/>
                  </a:lnTo>
                  <a:lnTo>
                    <a:pt x="354" y="290"/>
                  </a:lnTo>
                  <a:lnTo>
                    <a:pt x="356" y="290"/>
                  </a:lnTo>
                  <a:lnTo>
                    <a:pt x="356" y="292"/>
                  </a:lnTo>
                  <a:lnTo>
                    <a:pt x="359" y="292"/>
                  </a:lnTo>
                  <a:lnTo>
                    <a:pt x="361" y="292"/>
                  </a:lnTo>
                  <a:lnTo>
                    <a:pt x="361" y="295"/>
                  </a:lnTo>
                  <a:lnTo>
                    <a:pt x="364" y="295"/>
                  </a:lnTo>
                  <a:lnTo>
                    <a:pt x="366" y="295"/>
                  </a:lnTo>
                  <a:lnTo>
                    <a:pt x="366" y="297"/>
                  </a:lnTo>
                  <a:lnTo>
                    <a:pt x="368" y="297"/>
                  </a:lnTo>
                  <a:lnTo>
                    <a:pt x="371" y="297"/>
                  </a:lnTo>
                  <a:lnTo>
                    <a:pt x="371" y="300"/>
                  </a:lnTo>
                  <a:lnTo>
                    <a:pt x="373" y="297"/>
                  </a:lnTo>
                  <a:lnTo>
                    <a:pt x="373" y="300"/>
                  </a:lnTo>
                  <a:lnTo>
                    <a:pt x="373" y="297"/>
                  </a:lnTo>
                  <a:lnTo>
                    <a:pt x="373" y="300"/>
                  </a:lnTo>
                  <a:lnTo>
                    <a:pt x="375" y="300"/>
                  </a:lnTo>
                  <a:lnTo>
                    <a:pt x="375" y="302"/>
                  </a:lnTo>
                  <a:lnTo>
                    <a:pt x="375" y="304"/>
                  </a:lnTo>
                  <a:lnTo>
                    <a:pt x="378" y="304"/>
                  </a:lnTo>
                  <a:lnTo>
                    <a:pt x="378" y="307"/>
                  </a:lnTo>
                  <a:lnTo>
                    <a:pt x="380" y="307"/>
                  </a:lnTo>
                  <a:lnTo>
                    <a:pt x="380" y="309"/>
                  </a:lnTo>
                  <a:lnTo>
                    <a:pt x="382" y="309"/>
                  </a:lnTo>
                  <a:lnTo>
                    <a:pt x="382" y="311"/>
                  </a:lnTo>
                  <a:lnTo>
                    <a:pt x="385" y="311"/>
                  </a:lnTo>
                  <a:lnTo>
                    <a:pt x="385" y="314"/>
                  </a:lnTo>
                  <a:lnTo>
                    <a:pt x="385" y="311"/>
                  </a:lnTo>
                  <a:lnTo>
                    <a:pt x="385" y="314"/>
                  </a:lnTo>
                  <a:lnTo>
                    <a:pt x="387" y="314"/>
                  </a:lnTo>
                  <a:lnTo>
                    <a:pt x="387" y="316"/>
                  </a:lnTo>
                  <a:lnTo>
                    <a:pt x="390" y="316"/>
                  </a:lnTo>
                  <a:lnTo>
                    <a:pt x="390" y="319"/>
                  </a:lnTo>
                  <a:lnTo>
                    <a:pt x="390" y="321"/>
                  </a:lnTo>
                  <a:lnTo>
                    <a:pt x="390" y="323"/>
                  </a:lnTo>
                  <a:lnTo>
                    <a:pt x="392" y="323"/>
                  </a:lnTo>
                  <a:lnTo>
                    <a:pt x="390" y="323"/>
                  </a:lnTo>
                  <a:lnTo>
                    <a:pt x="392" y="323"/>
                  </a:lnTo>
                  <a:lnTo>
                    <a:pt x="392" y="326"/>
                  </a:lnTo>
                  <a:lnTo>
                    <a:pt x="390" y="326"/>
                  </a:lnTo>
                  <a:lnTo>
                    <a:pt x="390" y="328"/>
                  </a:lnTo>
                  <a:lnTo>
                    <a:pt x="387" y="331"/>
                  </a:lnTo>
                  <a:lnTo>
                    <a:pt x="387" y="333"/>
                  </a:lnTo>
                  <a:lnTo>
                    <a:pt x="387" y="335"/>
                  </a:lnTo>
                  <a:lnTo>
                    <a:pt x="387" y="338"/>
                  </a:lnTo>
                  <a:lnTo>
                    <a:pt x="385" y="338"/>
                  </a:lnTo>
                  <a:lnTo>
                    <a:pt x="382" y="338"/>
                  </a:lnTo>
                  <a:lnTo>
                    <a:pt x="380" y="338"/>
                  </a:lnTo>
                  <a:lnTo>
                    <a:pt x="380" y="335"/>
                  </a:lnTo>
                  <a:lnTo>
                    <a:pt x="378" y="335"/>
                  </a:lnTo>
                  <a:lnTo>
                    <a:pt x="378" y="333"/>
                  </a:lnTo>
                  <a:lnTo>
                    <a:pt x="375" y="333"/>
                  </a:lnTo>
                  <a:lnTo>
                    <a:pt x="375" y="331"/>
                  </a:lnTo>
                  <a:lnTo>
                    <a:pt x="375" y="328"/>
                  </a:lnTo>
                  <a:lnTo>
                    <a:pt x="375" y="331"/>
                  </a:lnTo>
                  <a:lnTo>
                    <a:pt x="375" y="328"/>
                  </a:lnTo>
                  <a:lnTo>
                    <a:pt x="373" y="326"/>
                  </a:lnTo>
                  <a:lnTo>
                    <a:pt x="375" y="326"/>
                  </a:lnTo>
                  <a:lnTo>
                    <a:pt x="375" y="323"/>
                  </a:lnTo>
                  <a:lnTo>
                    <a:pt x="373" y="323"/>
                  </a:lnTo>
                  <a:lnTo>
                    <a:pt x="373" y="321"/>
                  </a:lnTo>
                  <a:lnTo>
                    <a:pt x="371" y="321"/>
                  </a:lnTo>
                  <a:lnTo>
                    <a:pt x="373" y="321"/>
                  </a:lnTo>
                  <a:lnTo>
                    <a:pt x="371" y="319"/>
                  </a:lnTo>
                  <a:lnTo>
                    <a:pt x="373" y="319"/>
                  </a:lnTo>
                  <a:lnTo>
                    <a:pt x="371" y="319"/>
                  </a:lnTo>
                  <a:lnTo>
                    <a:pt x="371" y="316"/>
                  </a:lnTo>
                  <a:lnTo>
                    <a:pt x="368" y="316"/>
                  </a:lnTo>
                  <a:lnTo>
                    <a:pt x="366" y="316"/>
                  </a:lnTo>
                  <a:lnTo>
                    <a:pt x="364" y="316"/>
                  </a:lnTo>
                  <a:lnTo>
                    <a:pt x="361" y="316"/>
                  </a:lnTo>
                  <a:lnTo>
                    <a:pt x="359" y="316"/>
                  </a:lnTo>
                  <a:lnTo>
                    <a:pt x="356" y="316"/>
                  </a:lnTo>
                  <a:lnTo>
                    <a:pt x="356" y="314"/>
                  </a:lnTo>
                  <a:lnTo>
                    <a:pt x="354" y="314"/>
                  </a:lnTo>
                  <a:lnTo>
                    <a:pt x="352" y="314"/>
                  </a:lnTo>
                  <a:lnTo>
                    <a:pt x="352" y="311"/>
                  </a:lnTo>
                  <a:lnTo>
                    <a:pt x="349" y="311"/>
                  </a:lnTo>
                  <a:lnTo>
                    <a:pt x="349" y="309"/>
                  </a:lnTo>
                  <a:lnTo>
                    <a:pt x="349" y="307"/>
                  </a:lnTo>
                  <a:lnTo>
                    <a:pt x="352" y="307"/>
                  </a:lnTo>
                  <a:lnTo>
                    <a:pt x="352" y="309"/>
                  </a:lnTo>
                  <a:lnTo>
                    <a:pt x="352" y="307"/>
                  </a:lnTo>
                  <a:lnTo>
                    <a:pt x="349" y="307"/>
                  </a:lnTo>
                  <a:lnTo>
                    <a:pt x="347" y="307"/>
                  </a:lnTo>
                  <a:lnTo>
                    <a:pt x="345" y="307"/>
                  </a:lnTo>
                  <a:lnTo>
                    <a:pt x="342" y="307"/>
                  </a:lnTo>
                  <a:lnTo>
                    <a:pt x="340" y="309"/>
                  </a:lnTo>
                  <a:lnTo>
                    <a:pt x="337" y="309"/>
                  </a:lnTo>
                  <a:lnTo>
                    <a:pt x="337" y="311"/>
                  </a:lnTo>
                  <a:lnTo>
                    <a:pt x="337" y="314"/>
                  </a:lnTo>
                  <a:lnTo>
                    <a:pt x="335" y="314"/>
                  </a:lnTo>
                  <a:lnTo>
                    <a:pt x="335" y="316"/>
                  </a:lnTo>
                  <a:lnTo>
                    <a:pt x="333" y="319"/>
                  </a:lnTo>
                  <a:lnTo>
                    <a:pt x="333" y="321"/>
                  </a:lnTo>
                  <a:lnTo>
                    <a:pt x="333" y="319"/>
                  </a:lnTo>
                  <a:lnTo>
                    <a:pt x="333" y="321"/>
                  </a:lnTo>
                  <a:lnTo>
                    <a:pt x="330" y="323"/>
                  </a:lnTo>
                  <a:lnTo>
                    <a:pt x="328" y="326"/>
                  </a:lnTo>
                  <a:lnTo>
                    <a:pt x="328" y="328"/>
                  </a:lnTo>
                  <a:lnTo>
                    <a:pt x="328" y="331"/>
                  </a:lnTo>
                  <a:lnTo>
                    <a:pt x="330" y="331"/>
                  </a:lnTo>
                  <a:lnTo>
                    <a:pt x="328" y="331"/>
                  </a:lnTo>
                  <a:lnTo>
                    <a:pt x="328" y="333"/>
                  </a:lnTo>
                  <a:lnTo>
                    <a:pt x="326" y="335"/>
                  </a:lnTo>
                  <a:lnTo>
                    <a:pt x="326" y="338"/>
                  </a:lnTo>
                  <a:lnTo>
                    <a:pt x="326" y="340"/>
                  </a:lnTo>
                  <a:lnTo>
                    <a:pt x="326" y="342"/>
                  </a:lnTo>
                  <a:lnTo>
                    <a:pt x="326" y="345"/>
                  </a:lnTo>
                  <a:lnTo>
                    <a:pt x="328" y="345"/>
                  </a:lnTo>
                  <a:lnTo>
                    <a:pt x="328" y="347"/>
                  </a:lnTo>
                  <a:lnTo>
                    <a:pt x="330" y="347"/>
                  </a:lnTo>
                  <a:lnTo>
                    <a:pt x="333" y="347"/>
                  </a:lnTo>
                  <a:lnTo>
                    <a:pt x="335" y="347"/>
                  </a:lnTo>
                  <a:lnTo>
                    <a:pt x="335" y="350"/>
                  </a:lnTo>
                  <a:lnTo>
                    <a:pt x="337" y="350"/>
                  </a:lnTo>
                  <a:lnTo>
                    <a:pt x="337" y="352"/>
                  </a:lnTo>
                  <a:lnTo>
                    <a:pt x="340" y="352"/>
                  </a:lnTo>
                  <a:lnTo>
                    <a:pt x="342" y="352"/>
                  </a:lnTo>
                  <a:lnTo>
                    <a:pt x="342" y="354"/>
                  </a:lnTo>
                  <a:lnTo>
                    <a:pt x="345" y="354"/>
                  </a:lnTo>
                  <a:lnTo>
                    <a:pt x="345" y="357"/>
                  </a:lnTo>
                  <a:lnTo>
                    <a:pt x="347" y="357"/>
                  </a:lnTo>
                  <a:lnTo>
                    <a:pt x="347" y="359"/>
                  </a:lnTo>
                  <a:lnTo>
                    <a:pt x="345" y="359"/>
                  </a:lnTo>
                  <a:lnTo>
                    <a:pt x="345" y="361"/>
                  </a:lnTo>
                  <a:lnTo>
                    <a:pt x="345" y="364"/>
                  </a:lnTo>
                  <a:lnTo>
                    <a:pt x="347" y="364"/>
                  </a:lnTo>
                  <a:lnTo>
                    <a:pt x="347" y="366"/>
                  </a:lnTo>
                  <a:lnTo>
                    <a:pt x="345" y="366"/>
                  </a:lnTo>
                  <a:lnTo>
                    <a:pt x="345" y="369"/>
                  </a:lnTo>
                  <a:lnTo>
                    <a:pt x="345" y="371"/>
                  </a:lnTo>
                  <a:lnTo>
                    <a:pt x="347" y="371"/>
                  </a:lnTo>
                  <a:lnTo>
                    <a:pt x="347" y="373"/>
                  </a:lnTo>
                  <a:lnTo>
                    <a:pt x="349" y="373"/>
                  </a:lnTo>
                  <a:lnTo>
                    <a:pt x="347" y="373"/>
                  </a:lnTo>
                  <a:lnTo>
                    <a:pt x="347" y="376"/>
                  </a:lnTo>
                  <a:lnTo>
                    <a:pt x="347" y="378"/>
                  </a:lnTo>
                  <a:lnTo>
                    <a:pt x="345" y="378"/>
                  </a:lnTo>
                  <a:lnTo>
                    <a:pt x="342" y="378"/>
                  </a:lnTo>
                  <a:lnTo>
                    <a:pt x="340" y="378"/>
                  </a:lnTo>
                  <a:lnTo>
                    <a:pt x="337" y="378"/>
                  </a:lnTo>
                  <a:lnTo>
                    <a:pt x="335" y="378"/>
                  </a:lnTo>
                  <a:lnTo>
                    <a:pt x="333" y="380"/>
                  </a:lnTo>
                  <a:lnTo>
                    <a:pt x="330" y="380"/>
                  </a:lnTo>
                  <a:lnTo>
                    <a:pt x="330" y="383"/>
                  </a:lnTo>
                  <a:lnTo>
                    <a:pt x="328" y="383"/>
                  </a:lnTo>
                  <a:lnTo>
                    <a:pt x="328" y="385"/>
                  </a:lnTo>
                  <a:lnTo>
                    <a:pt x="326" y="388"/>
                  </a:lnTo>
                  <a:lnTo>
                    <a:pt x="328" y="388"/>
                  </a:lnTo>
                  <a:lnTo>
                    <a:pt x="328" y="390"/>
                  </a:lnTo>
                  <a:lnTo>
                    <a:pt x="328" y="392"/>
                  </a:lnTo>
                  <a:lnTo>
                    <a:pt x="328" y="395"/>
                  </a:lnTo>
                  <a:lnTo>
                    <a:pt x="328" y="397"/>
                  </a:lnTo>
                  <a:lnTo>
                    <a:pt x="328" y="399"/>
                  </a:lnTo>
                  <a:lnTo>
                    <a:pt x="326" y="402"/>
                  </a:lnTo>
                  <a:lnTo>
                    <a:pt x="323" y="404"/>
                  </a:lnTo>
                  <a:lnTo>
                    <a:pt x="321" y="404"/>
                  </a:lnTo>
                  <a:lnTo>
                    <a:pt x="321" y="407"/>
                  </a:lnTo>
                  <a:lnTo>
                    <a:pt x="318" y="407"/>
                  </a:lnTo>
                  <a:lnTo>
                    <a:pt x="318" y="409"/>
                  </a:lnTo>
                  <a:lnTo>
                    <a:pt x="316" y="409"/>
                  </a:lnTo>
                  <a:lnTo>
                    <a:pt x="316" y="411"/>
                  </a:lnTo>
                  <a:lnTo>
                    <a:pt x="314" y="411"/>
                  </a:lnTo>
                  <a:lnTo>
                    <a:pt x="314" y="414"/>
                  </a:lnTo>
                  <a:lnTo>
                    <a:pt x="314" y="416"/>
                  </a:lnTo>
                  <a:lnTo>
                    <a:pt x="314" y="418"/>
                  </a:lnTo>
                  <a:lnTo>
                    <a:pt x="311" y="421"/>
                  </a:lnTo>
                  <a:lnTo>
                    <a:pt x="311" y="423"/>
                  </a:lnTo>
                  <a:lnTo>
                    <a:pt x="309" y="423"/>
                  </a:lnTo>
                  <a:lnTo>
                    <a:pt x="307" y="423"/>
                  </a:lnTo>
                  <a:lnTo>
                    <a:pt x="304" y="423"/>
                  </a:lnTo>
                  <a:lnTo>
                    <a:pt x="302" y="423"/>
                  </a:lnTo>
                  <a:lnTo>
                    <a:pt x="299" y="423"/>
                  </a:lnTo>
                  <a:lnTo>
                    <a:pt x="299" y="421"/>
                  </a:lnTo>
                  <a:lnTo>
                    <a:pt x="297" y="421"/>
                  </a:lnTo>
                  <a:lnTo>
                    <a:pt x="297" y="418"/>
                  </a:lnTo>
                  <a:lnTo>
                    <a:pt x="297" y="416"/>
                  </a:lnTo>
                  <a:lnTo>
                    <a:pt x="297" y="414"/>
                  </a:lnTo>
                  <a:lnTo>
                    <a:pt x="297" y="411"/>
                  </a:lnTo>
                  <a:lnTo>
                    <a:pt x="297" y="409"/>
                  </a:lnTo>
                  <a:lnTo>
                    <a:pt x="299" y="409"/>
                  </a:lnTo>
                  <a:lnTo>
                    <a:pt x="299" y="407"/>
                  </a:lnTo>
                  <a:lnTo>
                    <a:pt x="299" y="409"/>
                  </a:lnTo>
                  <a:lnTo>
                    <a:pt x="299" y="407"/>
                  </a:lnTo>
                  <a:lnTo>
                    <a:pt x="302" y="407"/>
                  </a:lnTo>
                  <a:lnTo>
                    <a:pt x="302" y="404"/>
                  </a:lnTo>
                  <a:lnTo>
                    <a:pt x="304" y="404"/>
                  </a:lnTo>
                  <a:lnTo>
                    <a:pt x="302" y="404"/>
                  </a:lnTo>
                  <a:lnTo>
                    <a:pt x="304" y="402"/>
                  </a:lnTo>
                  <a:lnTo>
                    <a:pt x="304" y="399"/>
                  </a:lnTo>
                  <a:lnTo>
                    <a:pt x="307" y="399"/>
                  </a:lnTo>
                  <a:lnTo>
                    <a:pt x="304" y="399"/>
                  </a:lnTo>
                  <a:lnTo>
                    <a:pt x="307" y="399"/>
                  </a:lnTo>
                  <a:lnTo>
                    <a:pt x="307" y="397"/>
                  </a:lnTo>
                  <a:lnTo>
                    <a:pt x="307" y="399"/>
                  </a:lnTo>
                  <a:lnTo>
                    <a:pt x="304" y="399"/>
                  </a:lnTo>
                  <a:lnTo>
                    <a:pt x="307" y="397"/>
                  </a:lnTo>
                  <a:lnTo>
                    <a:pt x="307" y="395"/>
                  </a:lnTo>
                  <a:lnTo>
                    <a:pt x="304" y="395"/>
                  </a:lnTo>
                  <a:lnTo>
                    <a:pt x="304" y="392"/>
                  </a:lnTo>
                  <a:lnTo>
                    <a:pt x="302" y="392"/>
                  </a:lnTo>
                  <a:lnTo>
                    <a:pt x="302" y="390"/>
                  </a:lnTo>
                  <a:lnTo>
                    <a:pt x="304" y="390"/>
                  </a:lnTo>
                  <a:lnTo>
                    <a:pt x="304" y="388"/>
                  </a:lnTo>
                  <a:lnTo>
                    <a:pt x="307" y="388"/>
                  </a:lnTo>
                  <a:lnTo>
                    <a:pt x="309" y="388"/>
                  </a:lnTo>
                  <a:lnTo>
                    <a:pt x="311" y="388"/>
                  </a:lnTo>
                  <a:lnTo>
                    <a:pt x="314" y="388"/>
                  </a:lnTo>
                  <a:lnTo>
                    <a:pt x="314" y="385"/>
                  </a:lnTo>
                  <a:lnTo>
                    <a:pt x="316" y="385"/>
                  </a:lnTo>
                  <a:lnTo>
                    <a:pt x="316" y="383"/>
                  </a:lnTo>
                  <a:lnTo>
                    <a:pt x="316" y="380"/>
                  </a:lnTo>
                  <a:lnTo>
                    <a:pt x="316" y="378"/>
                  </a:lnTo>
                  <a:lnTo>
                    <a:pt x="314" y="378"/>
                  </a:lnTo>
                  <a:lnTo>
                    <a:pt x="314" y="376"/>
                  </a:lnTo>
                  <a:lnTo>
                    <a:pt x="314" y="373"/>
                  </a:lnTo>
                  <a:lnTo>
                    <a:pt x="311" y="373"/>
                  </a:lnTo>
                  <a:lnTo>
                    <a:pt x="311" y="371"/>
                  </a:lnTo>
                  <a:lnTo>
                    <a:pt x="311" y="369"/>
                  </a:lnTo>
                  <a:lnTo>
                    <a:pt x="311" y="366"/>
                  </a:lnTo>
                  <a:lnTo>
                    <a:pt x="311" y="364"/>
                  </a:lnTo>
                  <a:lnTo>
                    <a:pt x="311" y="361"/>
                  </a:lnTo>
                  <a:lnTo>
                    <a:pt x="309" y="361"/>
                  </a:lnTo>
                  <a:lnTo>
                    <a:pt x="309" y="359"/>
                  </a:lnTo>
                  <a:lnTo>
                    <a:pt x="309" y="357"/>
                  </a:lnTo>
                  <a:lnTo>
                    <a:pt x="309" y="354"/>
                  </a:lnTo>
                  <a:lnTo>
                    <a:pt x="307" y="354"/>
                  </a:lnTo>
                  <a:lnTo>
                    <a:pt x="307" y="352"/>
                  </a:lnTo>
                  <a:lnTo>
                    <a:pt x="307" y="350"/>
                  </a:lnTo>
                  <a:lnTo>
                    <a:pt x="304" y="350"/>
                  </a:lnTo>
                  <a:lnTo>
                    <a:pt x="304" y="347"/>
                  </a:lnTo>
                  <a:lnTo>
                    <a:pt x="304" y="345"/>
                  </a:lnTo>
                  <a:lnTo>
                    <a:pt x="302" y="345"/>
                  </a:lnTo>
                  <a:lnTo>
                    <a:pt x="302" y="342"/>
                  </a:lnTo>
                  <a:lnTo>
                    <a:pt x="302" y="340"/>
                  </a:lnTo>
                  <a:lnTo>
                    <a:pt x="302" y="338"/>
                  </a:lnTo>
                  <a:lnTo>
                    <a:pt x="302" y="335"/>
                  </a:lnTo>
                  <a:lnTo>
                    <a:pt x="302" y="333"/>
                  </a:lnTo>
                  <a:lnTo>
                    <a:pt x="299" y="333"/>
                  </a:lnTo>
                  <a:lnTo>
                    <a:pt x="299" y="331"/>
                  </a:lnTo>
                  <a:lnTo>
                    <a:pt x="299" y="328"/>
                  </a:lnTo>
                  <a:lnTo>
                    <a:pt x="297" y="328"/>
                  </a:lnTo>
                  <a:lnTo>
                    <a:pt x="297" y="326"/>
                  </a:lnTo>
                  <a:lnTo>
                    <a:pt x="295" y="326"/>
                  </a:lnTo>
                  <a:lnTo>
                    <a:pt x="292" y="326"/>
                  </a:lnTo>
                  <a:lnTo>
                    <a:pt x="292" y="328"/>
                  </a:lnTo>
                  <a:lnTo>
                    <a:pt x="290" y="328"/>
                  </a:lnTo>
                  <a:lnTo>
                    <a:pt x="290" y="331"/>
                  </a:lnTo>
                  <a:lnTo>
                    <a:pt x="288" y="331"/>
                  </a:lnTo>
                  <a:lnTo>
                    <a:pt x="288" y="328"/>
                  </a:lnTo>
                  <a:lnTo>
                    <a:pt x="288" y="331"/>
                  </a:lnTo>
                  <a:lnTo>
                    <a:pt x="288" y="328"/>
                  </a:lnTo>
                  <a:lnTo>
                    <a:pt x="285" y="328"/>
                  </a:lnTo>
                  <a:lnTo>
                    <a:pt x="285" y="326"/>
                  </a:lnTo>
                  <a:lnTo>
                    <a:pt x="283" y="326"/>
                  </a:lnTo>
                  <a:lnTo>
                    <a:pt x="283" y="323"/>
                  </a:lnTo>
                  <a:lnTo>
                    <a:pt x="280" y="323"/>
                  </a:lnTo>
                  <a:lnTo>
                    <a:pt x="280" y="321"/>
                  </a:lnTo>
                  <a:lnTo>
                    <a:pt x="278" y="321"/>
                  </a:lnTo>
                  <a:lnTo>
                    <a:pt x="276" y="321"/>
                  </a:lnTo>
                  <a:lnTo>
                    <a:pt x="276" y="319"/>
                  </a:lnTo>
                  <a:lnTo>
                    <a:pt x="273" y="319"/>
                  </a:lnTo>
                  <a:lnTo>
                    <a:pt x="273" y="316"/>
                  </a:lnTo>
                  <a:lnTo>
                    <a:pt x="273" y="314"/>
                  </a:lnTo>
                  <a:lnTo>
                    <a:pt x="276" y="314"/>
                  </a:lnTo>
                  <a:lnTo>
                    <a:pt x="276" y="311"/>
                  </a:lnTo>
                  <a:lnTo>
                    <a:pt x="276" y="309"/>
                  </a:lnTo>
                  <a:lnTo>
                    <a:pt x="273" y="307"/>
                  </a:lnTo>
                  <a:lnTo>
                    <a:pt x="273" y="304"/>
                  </a:lnTo>
                  <a:lnTo>
                    <a:pt x="271" y="304"/>
                  </a:lnTo>
                  <a:lnTo>
                    <a:pt x="271" y="302"/>
                  </a:lnTo>
                  <a:lnTo>
                    <a:pt x="269" y="300"/>
                  </a:lnTo>
                  <a:lnTo>
                    <a:pt x="266" y="300"/>
                  </a:lnTo>
                  <a:lnTo>
                    <a:pt x="269" y="300"/>
                  </a:lnTo>
                  <a:lnTo>
                    <a:pt x="266" y="300"/>
                  </a:lnTo>
                  <a:lnTo>
                    <a:pt x="264" y="300"/>
                  </a:lnTo>
                  <a:lnTo>
                    <a:pt x="261" y="300"/>
                  </a:lnTo>
                  <a:lnTo>
                    <a:pt x="261" y="302"/>
                  </a:lnTo>
                  <a:lnTo>
                    <a:pt x="259" y="302"/>
                  </a:lnTo>
                  <a:lnTo>
                    <a:pt x="257" y="302"/>
                  </a:lnTo>
                  <a:lnTo>
                    <a:pt x="254" y="302"/>
                  </a:lnTo>
                  <a:lnTo>
                    <a:pt x="254" y="304"/>
                  </a:lnTo>
                  <a:lnTo>
                    <a:pt x="254" y="302"/>
                  </a:lnTo>
                  <a:lnTo>
                    <a:pt x="254" y="304"/>
                  </a:lnTo>
                  <a:lnTo>
                    <a:pt x="252" y="302"/>
                  </a:lnTo>
                  <a:lnTo>
                    <a:pt x="254" y="302"/>
                  </a:lnTo>
                  <a:lnTo>
                    <a:pt x="252" y="302"/>
                  </a:lnTo>
                  <a:lnTo>
                    <a:pt x="254" y="302"/>
                  </a:lnTo>
                  <a:lnTo>
                    <a:pt x="254" y="300"/>
                  </a:lnTo>
                  <a:lnTo>
                    <a:pt x="257" y="300"/>
                  </a:lnTo>
                  <a:lnTo>
                    <a:pt x="257" y="297"/>
                  </a:lnTo>
                  <a:lnTo>
                    <a:pt x="259" y="297"/>
                  </a:lnTo>
                  <a:lnTo>
                    <a:pt x="257" y="295"/>
                  </a:lnTo>
                  <a:lnTo>
                    <a:pt x="254" y="295"/>
                  </a:lnTo>
                  <a:lnTo>
                    <a:pt x="254" y="292"/>
                  </a:lnTo>
                  <a:lnTo>
                    <a:pt x="252" y="292"/>
                  </a:lnTo>
                  <a:lnTo>
                    <a:pt x="252" y="290"/>
                  </a:lnTo>
                  <a:lnTo>
                    <a:pt x="252" y="292"/>
                  </a:lnTo>
                  <a:lnTo>
                    <a:pt x="252" y="290"/>
                  </a:lnTo>
                  <a:lnTo>
                    <a:pt x="252" y="292"/>
                  </a:lnTo>
                  <a:lnTo>
                    <a:pt x="250" y="292"/>
                  </a:lnTo>
                  <a:lnTo>
                    <a:pt x="247" y="292"/>
                  </a:lnTo>
                  <a:lnTo>
                    <a:pt x="245" y="292"/>
                  </a:lnTo>
                  <a:lnTo>
                    <a:pt x="245" y="295"/>
                  </a:lnTo>
                  <a:lnTo>
                    <a:pt x="245" y="292"/>
                  </a:lnTo>
                  <a:lnTo>
                    <a:pt x="245" y="290"/>
                  </a:lnTo>
                  <a:lnTo>
                    <a:pt x="243" y="288"/>
                  </a:lnTo>
                  <a:lnTo>
                    <a:pt x="243" y="285"/>
                  </a:lnTo>
                  <a:lnTo>
                    <a:pt x="240" y="283"/>
                  </a:lnTo>
                  <a:lnTo>
                    <a:pt x="240" y="281"/>
                  </a:lnTo>
                  <a:lnTo>
                    <a:pt x="238" y="278"/>
                  </a:lnTo>
                  <a:lnTo>
                    <a:pt x="238" y="276"/>
                  </a:lnTo>
                  <a:lnTo>
                    <a:pt x="235" y="276"/>
                  </a:lnTo>
                  <a:lnTo>
                    <a:pt x="235" y="273"/>
                  </a:lnTo>
                  <a:lnTo>
                    <a:pt x="233" y="273"/>
                  </a:lnTo>
                  <a:lnTo>
                    <a:pt x="231" y="273"/>
                  </a:lnTo>
                  <a:lnTo>
                    <a:pt x="231" y="271"/>
                  </a:lnTo>
                  <a:lnTo>
                    <a:pt x="231" y="273"/>
                  </a:lnTo>
                  <a:lnTo>
                    <a:pt x="231" y="271"/>
                  </a:lnTo>
                  <a:lnTo>
                    <a:pt x="231" y="273"/>
                  </a:lnTo>
                  <a:lnTo>
                    <a:pt x="228" y="273"/>
                  </a:lnTo>
                  <a:lnTo>
                    <a:pt x="228" y="276"/>
                  </a:lnTo>
                  <a:lnTo>
                    <a:pt x="228" y="273"/>
                  </a:lnTo>
                  <a:lnTo>
                    <a:pt x="226" y="273"/>
                  </a:lnTo>
                  <a:lnTo>
                    <a:pt x="224" y="273"/>
                  </a:lnTo>
                  <a:lnTo>
                    <a:pt x="224" y="271"/>
                  </a:lnTo>
                  <a:lnTo>
                    <a:pt x="221" y="271"/>
                  </a:lnTo>
                  <a:lnTo>
                    <a:pt x="219" y="271"/>
                  </a:lnTo>
                  <a:lnTo>
                    <a:pt x="216" y="271"/>
                  </a:lnTo>
                  <a:lnTo>
                    <a:pt x="214" y="271"/>
                  </a:lnTo>
                  <a:lnTo>
                    <a:pt x="214" y="273"/>
                  </a:lnTo>
                  <a:lnTo>
                    <a:pt x="212" y="273"/>
                  </a:lnTo>
                  <a:lnTo>
                    <a:pt x="212" y="271"/>
                  </a:lnTo>
                  <a:lnTo>
                    <a:pt x="209" y="271"/>
                  </a:lnTo>
                  <a:lnTo>
                    <a:pt x="209" y="269"/>
                  </a:lnTo>
                  <a:lnTo>
                    <a:pt x="207" y="266"/>
                  </a:lnTo>
                  <a:lnTo>
                    <a:pt x="205" y="266"/>
                  </a:lnTo>
                  <a:lnTo>
                    <a:pt x="205" y="264"/>
                  </a:lnTo>
                  <a:lnTo>
                    <a:pt x="202" y="266"/>
                  </a:lnTo>
                  <a:lnTo>
                    <a:pt x="202" y="264"/>
                  </a:lnTo>
                  <a:lnTo>
                    <a:pt x="202" y="266"/>
                  </a:lnTo>
                  <a:lnTo>
                    <a:pt x="202" y="264"/>
                  </a:lnTo>
                  <a:lnTo>
                    <a:pt x="200" y="264"/>
                  </a:lnTo>
                  <a:lnTo>
                    <a:pt x="197" y="264"/>
                  </a:lnTo>
                  <a:lnTo>
                    <a:pt x="197" y="262"/>
                  </a:lnTo>
                  <a:lnTo>
                    <a:pt x="195" y="262"/>
                  </a:lnTo>
                  <a:lnTo>
                    <a:pt x="195" y="259"/>
                  </a:lnTo>
                  <a:lnTo>
                    <a:pt x="193" y="257"/>
                  </a:lnTo>
                  <a:lnTo>
                    <a:pt x="190" y="254"/>
                  </a:lnTo>
                  <a:lnTo>
                    <a:pt x="190" y="252"/>
                  </a:lnTo>
                  <a:lnTo>
                    <a:pt x="188" y="252"/>
                  </a:lnTo>
                  <a:lnTo>
                    <a:pt x="186" y="252"/>
                  </a:lnTo>
                  <a:lnTo>
                    <a:pt x="186" y="250"/>
                  </a:lnTo>
                  <a:lnTo>
                    <a:pt x="183" y="250"/>
                  </a:lnTo>
                  <a:lnTo>
                    <a:pt x="186" y="250"/>
                  </a:lnTo>
                  <a:lnTo>
                    <a:pt x="183" y="250"/>
                  </a:lnTo>
                  <a:lnTo>
                    <a:pt x="183" y="247"/>
                  </a:lnTo>
                  <a:lnTo>
                    <a:pt x="183" y="245"/>
                  </a:lnTo>
                  <a:lnTo>
                    <a:pt x="181" y="243"/>
                  </a:lnTo>
                  <a:lnTo>
                    <a:pt x="181" y="240"/>
                  </a:lnTo>
                  <a:lnTo>
                    <a:pt x="178" y="240"/>
                  </a:lnTo>
                  <a:lnTo>
                    <a:pt x="176" y="238"/>
                  </a:lnTo>
                  <a:lnTo>
                    <a:pt x="174" y="238"/>
                  </a:lnTo>
                  <a:lnTo>
                    <a:pt x="174" y="235"/>
                  </a:lnTo>
                  <a:lnTo>
                    <a:pt x="171" y="238"/>
                  </a:lnTo>
                  <a:lnTo>
                    <a:pt x="171" y="235"/>
                  </a:lnTo>
                  <a:lnTo>
                    <a:pt x="169" y="235"/>
                  </a:lnTo>
                  <a:lnTo>
                    <a:pt x="169" y="233"/>
                  </a:lnTo>
                  <a:lnTo>
                    <a:pt x="169" y="231"/>
                  </a:lnTo>
                  <a:lnTo>
                    <a:pt x="167" y="231"/>
                  </a:lnTo>
                  <a:lnTo>
                    <a:pt x="167" y="228"/>
                  </a:lnTo>
                  <a:lnTo>
                    <a:pt x="167" y="226"/>
                  </a:lnTo>
                  <a:lnTo>
                    <a:pt x="164" y="226"/>
                  </a:lnTo>
                  <a:lnTo>
                    <a:pt x="164" y="224"/>
                  </a:lnTo>
                  <a:lnTo>
                    <a:pt x="162" y="224"/>
                  </a:lnTo>
                  <a:lnTo>
                    <a:pt x="159" y="221"/>
                  </a:lnTo>
                  <a:lnTo>
                    <a:pt x="157" y="221"/>
                  </a:lnTo>
                  <a:lnTo>
                    <a:pt x="155" y="219"/>
                  </a:lnTo>
                  <a:lnTo>
                    <a:pt x="152" y="219"/>
                  </a:lnTo>
                  <a:lnTo>
                    <a:pt x="150" y="219"/>
                  </a:lnTo>
                  <a:lnTo>
                    <a:pt x="150" y="221"/>
                  </a:lnTo>
                  <a:lnTo>
                    <a:pt x="148" y="221"/>
                  </a:lnTo>
                  <a:lnTo>
                    <a:pt x="148" y="219"/>
                  </a:lnTo>
                  <a:lnTo>
                    <a:pt x="150" y="219"/>
                  </a:lnTo>
                  <a:lnTo>
                    <a:pt x="150" y="216"/>
                  </a:lnTo>
                  <a:lnTo>
                    <a:pt x="150" y="214"/>
                  </a:lnTo>
                  <a:lnTo>
                    <a:pt x="150" y="212"/>
                  </a:lnTo>
                  <a:lnTo>
                    <a:pt x="148" y="212"/>
                  </a:lnTo>
                  <a:lnTo>
                    <a:pt x="148" y="214"/>
                  </a:lnTo>
                  <a:lnTo>
                    <a:pt x="148" y="212"/>
                  </a:lnTo>
                  <a:lnTo>
                    <a:pt x="148" y="209"/>
                  </a:lnTo>
                  <a:lnTo>
                    <a:pt x="145" y="209"/>
                  </a:lnTo>
                  <a:lnTo>
                    <a:pt x="148" y="209"/>
                  </a:lnTo>
                  <a:lnTo>
                    <a:pt x="145" y="209"/>
                  </a:lnTo>
                  <a:lnTo>
                    <a:pt x="145" y="207"/>
                  </a:lnTo>
                  <a:lnTo>
                    <a:pt x="143" y="207"/>
                  </a:lnTo>
                  <a:lnTo>
                    <a:pt x="143" y="205"/>
                  </a:lnTo>
                  <a:lnTo>
                    <a:pt x="140" y="205"/>
                  </a:lnTo>
                  <a:lnTo>
                    <a:pt x="140" y="202"/>
                  </a:lnTo>
                  <a:lnTo>
                    <a:pt x="138" y="202"/>
                  </a:lnTo>
                  <a:lnTo>
                    <a:pt x="136" y="202"/>
                  </a:lnTo>
                  <a:lnTo>
                    <a:pt x="136" y="200"/>
                  </a:lnTo>
                  <a:lnTo>
                    <a:pt x="136" y="197"/>
                  </a:lnTo>
                  <a:lnTo>
                    <a:pt x="136" y="195"/>
                  </a:lnTo>
                  <a:lnTo>
                    <a:pt x="133" y="195"/>
                  </a:lnTo>
                  <a:lnTo>
                    <a:pt x="131" y="195"/>
                  </a:lnTo>
                  <a:lnTo>
                    <a:pt x="129" y="195"/>
                  </a:lnTo>
                  <a:lnTo>
                    <a:pt x="126" y="195"/>
                  </a:lnTo>
                  <a:lnTo>
                    <a:pt x="126" y="193"/>
                  </a:lnTo>
                  <a:lnTo>
                    <a:pt x="129" y="193"/>
                  </a:lnTo>
                  <a:lnTo>
                    <a:pt x="129" y="190"/>
                  </a:lnTo>
                  <a:lnTo>
                    <a:pt x="129" y="188"/>
                  </a:lnTo>
                  <a:lnTo>
                    <a:pt x="129" y="186"/>
                  </a:lnTo>
                  <a:lnTo>
                    <a:pt x="129" y="183"/>
                  </a:lnTo>
                  <a:lnTo>
                    <a:pt x="129" y="181"/>
                  </a:lnTo>
                  <a:lnTo>
                    <a:pt x="126" y="178"/>
                  </a:lnTo>
                  <a:lnTo>
                    <a:pt x="126" y="176"/>
                  </a:lnTo>
                  <a:lnTo>
                    <a:pt x="124" y="176"/>
                  </a:lnTo>
                  <a:lnTo>
                    <a:pt x="124" y="174"/>
                  </a:lnTo>
                  <a:lnTo>
                    <a:pt x="124" y="171"/>
                  </a:lnTo>
                  <a:lnTo>
                    <a:pt x="121" y="171"/>
                  </a:lnTo>
                  <a:lnTo>
                    <a:pt x="121" y="169"/>
                  </a:lnTo>
                  <a:lnTo>
                    <a:pt x="121" y="167"/>
                  </a:lnTo>
                  <a:lnTo>
                    <a:pt x="121" y="169"/>
                  </a:lnTo>
                  <a:lnTo>
                    <a:pt x="121" y="167"/>
                  </a:lnTo>
                  <a:lnTo>
                    <a:pt x="121" y="169"/>
                  </a:lnTo>
                  <a:lnTo>
                    <a:pt x="119" y="169"/>
                  </a:lnTo>
                  <a:lnTo>
                    <a:pt x="119" y="167"/>
                  </a:lnTo>
                  <a:lnTo>
                    <a:pt x="121" y="167"/>
                  </a:lnTo>
                  <a:lnTo>
                    <a:pt x="121" y="164"/>
                  </a:lnTo>
                  <a:lnTo>
                    <a:pt x="121" y="167"/>
                  </a:lnTo>
                  <a:lnTo>
                    <a:pt x="121" y="164"/>
                  </a:lnTo>
                  <a:lnTo>
                    <a:pt x="119" y="164"/>
                  </a:lnTo>
                  <a:lnTo>
                    <a:pt x="119" y="162"/>
                  </a:lnTo>
                  <a:lnTo>
                    <a:pt x="119" y="159"/>
                  </a:lnTo>
                  <a:lnTo>
                    <a:pt x="119" y="157"/>
                  </a:lnTo>
                  <a:lnTo>
                    <a:pt x="119" y="155"/>
                  </a:lnTo>
                  <a:lnTo>
                    <a:pt x="119" y="152"/>
                  </a:lnTo>
                  <a:lnTo>
                    <a:pt x="117" y="150"/>
                  </a:lnTo>
                  <a:lnTo>
                    <a:pt x="117" y="148"/>
                  </a:lnTo>
                  <a:lnTo>
                    <a:pt x="114" y="148"/>
                  </a:lnTo>
                  <a:lnTo>
                    <a:pt x="114" y="145"/>
                  </a:lnTo>
                  <a:lnTo>
                    <a:pt x="112" y="145"/>
                  </a:lnTo>
                  <a:lnTo>
                    <a:pt x="112" y="143"/>
                  </a:lnTo>
                  <a:lnTo>
                    <a:pt x="110" y="143"/>
                  </a:lnTo>
                  <a:lnTo>
                    <a:pt x="110" y="145"/>
                  </a:lnTo>
                  <a:lnTo>
                    <a:pt x="110" y="143"/>
                  </a:lnTo>
                  <a:lnTo>
                    <a:pt x="107" y="143"/>
                  </a:lnTo>
                  <a:lnTo>
                    <a:pt x="105" y="143"/>
                  </a:lnTo>
                  <a:lnTo>
                    <a:pt x="105" y="140"/>
                  </a:lnTo>
                  <a:lnTo>
                    <a:pt x="105" y="143"/>
                  </a:lnTo>
                  <a:lnTo>
                    <a:pt x="105" y="140"/>
                  </a:lnTo>
                  <a:lnTo>
                    <a:pt x="105" y="143"/>
                  </a:lnTo>
                  <a:lnTo>
                    <a:pt x="105" y="145"/>
                  </a:lnTo>
                  <a:lnTo>
                    <a:pt x="105" y="143"/>
                  </a:lnTo>
                  <a:lnTo>
                    <a:pt x="103" y="143"/>
                  </a:lnTo>
                  <a:lnTo>
                    <a:pt x="103" y="140"/>
                  </a:lnTo>
                  <a:lnTo>
                    <a:pt x="100" y="140"/>
                  </a:lnTo>
                  <a:lnTo>
                    <a:pt x="98" y="140"/>
                  </a:lnTo>
                  <a:lnTo>
                    <a:pt x="98" y="138"/>
                  </a:lnTo>
                  <a:lnTo>
                    <a:pt x="95" y="138"/>
                  </a:lnTo>
                  <a:lnTo>
                    <a:pt x="95" y="136"/>
                  </a:lnTo>
                  <a:lnTo>
                    <a:pt x="93" y="136"/>
                  </a:lnTo>
                  <a:lnTo>
                    <a:pt x="93" y="133"/>
                  </a:lnTo>
                  <a:lnTo>
                    <a:pt x="91" y="133"/>
                  </a:lnTo>
                  <a:lnTo>
                    <a:pt x="91" y="136"/>
                  </a:lnTo>
                  <a:lnTo>
                    <a:pt x="91" y="133"/>
                  </a:lnTo>
                  <a:lnTo>
                    <a:pt x="88" y="131"/>
                  </a:lnTo>
                  <a:lnTo>
                    <a:pt x="86" y="131"/>
                  </a:lnTo>
                  <a:lnTo>
                    <a:pt x="84" y="131"/>
                  </a:lnTo>
                  <a:lnTo>
                    <a:pt x="86" y="131"/>
                  </a:lnTo>
                  <a:lnTo>
                    <a:pt x="84" y="131"/>
                  </a:lnTo>
                  <a:lnTo>
                    <a:pt x="84" y="133"/>
                  </a:lnTo>
                  <a:lnTo>
                    <a:pt x="86" y="133"/>
                  </a:lnTo>
                  <a:lnTo>
                    <a:pt x="84" y="133"/>
                  </a:lnTo>
                  <a:lnTo>
                    <a:pt x="84" y="131"/>
                  </a:lnTo>
                  <a:lnTo>
                    <a:pt x="84" y="129"/>
                  </a:lnTo>
                  <a:lnTo>
                    <a:pt x="81" y="129"/>
                  </a:lnTo>
                  <a:lnTo>
                    <a:pt x="79" y="129"/>
                  </a:lnTo>
                  <a:lnTo>
                    <a:pt x="76" y="129"/>
                  </a:lnTo>
                  <a:lnTo>
                    <a:pt x="74" y="129"/>
                  </a:lnTo>
                  <a:lnTo>
                    <a:pt x="76" y="129"/>
                  </a:lnTo>
                  <a:lnTo>
                    <a:pt x="74" y="129"/>
                  </a:lnTo>
                  <a:lnTo>
                    <a:pt x="76" y="129"/>
                  </a:lnTo>
                  <a:lnTo>
                    <a:pt x="74" y="129"/>
                  </a:lnTo>
                  <a:lnTo>
                    <a:pt x="74" y="126"/>
                  </a:lnTo>
                  <a:lnTo>
                    <a:pt x="74" y="129"/>
                  </a:lnTo>
                  <a:lnTo>
                    <a:pt x="74" y="126"/>
                  </a:lnTo>
                  <a:lnTo>
                    <a:pt x="74" y="129"/>
                  </a:lnTo>
                  <a:lnTo>
                    <a:pt x="74" y="126"/>
                  </a:lnTo>
                  <a:lnTo>
                    <a:pt x="74" y="129"/>
                  </a:lnTo>
                  <a:lnTo>
                    <a:pt x="74" y="126"/>
                  </a:lnTo>
                  <a:lnTo>
                    <a:pt x="74" y="129"/>
                  </a:lnTo>
                  <a:lnTo>
                    <a:pt x="74" y="126"/>
                  </a:lnTo>
                  <a:lnTo>
                    <a:pt x="72" y="126"/>
                  </a:lnTo>
                  <a:lnTo>
                    <a:pt x="69" y="126"/>
                  </a:lnTo>
                  <a:lnTo>
                    <a:pt x="72" y="126"/>
                  </a:lnTo>
                  <a:lnTo>
                    <a:pt x="69" y="126"/>
                  </a:lnTo>
                  <a:lnTo>
                    <a:pt x="67" y="126"/>
                  </a:lnTo>
                  <a:lnTo>
                    <a:pt x="67" y="129"/>
                  </a:lnTo>
                  <a:lnTo>
                    <a:pt x="65" y="129"/>
                  </a:lnTo>
                  <a:lnTo>
                    <a:pt x="65" y="131"/>
                  </a:lnTo>
                  <a:lnTo>
                    <a:pt x="62" y="131"/>
                  </a:lnTo>
                  <a:lnTo>
                    <a:pt x="65" y="131"/>
                  </a:lnTo>
                  <a:lnTo>
                    <a:pt x="62" y="131"/>
                  </a:lnTo>
                  <a:lnTo>
                    <a:pt x="60" y="131"/>
                  </a:lnTo>
                  <a:lnTo>
                    <a:pt x="62" y="131"/>
                  </a:lnTo>
                  <a:lnTo>
                    <a:pt x="60" y="133"/>
                  </a:lnTo>
                  <a:lnTo>
                    <a:pt x="60" y="136"/>
                  </a:lnTo>
                  <a:lnTo>
                    <a:pt x="57" y="136"/>
                  </a:lnTo>
                  <a:lnTo>
                    <a:pt x="57" y="138"/>
                  </a:lnTo>
                  <a:lnTo>
                    <a:pt x="60" y="138"/>
                  </a:lnTo>
                  <a:lnTo>
                    <a:pt x="57" y="138"/>
                  </a:lnTo>
                  <a:lnTo>
                    <a:pt x="55" y="138"/>
                  </a:lnTo>
                  <a:lnTo>
                    <a:pt x="53" y="140"/>
                  </a:lnTo>
                  <a:lnTo>
                    <a:pt x="53" y="143"/>
                  </a:lnTo>
                  <a:lnTo>
                    <a:pt x="53" y="145"/>
                  </a:lnTo>
                  <a:lnTo>
                    <a:pt x="50" y="145"/>
                  </a:lnTo>
                  <a:lnTo>
                    <a:pt x="50" y="148"/>
                  </a:lnTo>
                  <a:lnTo>
                    <a:pt x="50" y="150"/>
                  </a:lnTo>
                  <a:lnTo>
                    <a:pt x="48" y="150"/>
                  </a:lnTo>
                  <a:lnTo>
                    <a:pt x="48" y="152"/>
                  </a:lnTo>
                  <a:lnTo>
                    <a:pt x="46" y="152"/>
                  </a:lnTo>
                  <a:lnTo>
                    <a:pt x="43" y="152"/>
                  </a:lnTo>
                  <a:lnTo>
                    <a:pt x="41" y="155"/>
                  </a:lnTo>
                  <a:lnTo>
                    <a:pt x="38" y="155"/>
                  </a:lnTo>
                  <a:lnTo>
                    <a:pt x="36" y="155"/>
                  </a:lnTo>
                  <a:lnTo>
                    <a:pt x="34" y="155"/>
                  </a:lnTo>
                  <a:lnTo>
                    <a:pt x="34" y="157"/>
                  </a:lnTo>
                  <a:lnTo>
                    <a:pt x="31" y="157"/>
                  </a:lnTo>
                  <a:lnTo>
                    <a:pt x="31" y="155"/>
                  </a:lnTo>
                  <a:lnTo>
                    <a:pt x="31" y="157"/>
                  </a:lnTo>
                  <a:lnTo>
                    <a:pt x="29" y="157"/>
                  </a:lnTo>
                  <a:lnTo>
                    <a:pt x="29" y="155"/>
                  </a:lnTo>
                  <a:lnTo>
                    <a:pt x="29" y="152"/>
                  </a:lnTo>
                  <a:lnTo>
                    <a:pt x="31" y="150"/>
                  </a:lnTo>
                  <a:lnTo>
                    <a:pt x="29" y="150"/>
                  </a:lnTo>
                  <a:lnTo>
                    <a:pt x="31" y="150"/>
                  </a:lnTo>
                  <a:lnTo>
                    <a:pt x="31" y="148"/>
                  </a:lnTo>
                  <a:lnTo>
                    <a:pt x="34" y="148"/>
                  </a:lnTo>
                  <a:lnTo>
                    <a:pt x="34" y="145"/>
                  </a:lnTo>
                  <a:lnTo>
                    <a:pt x="36" y="143"/>
                  </a:lnTo>
                  <a:lnTo>
                    <a:pt x="34" y="143"/>
                  </a:lnTo>
                  <a:lnTo>
                    <a:pt x="34" y="140"/>
                  </a:lnTo>
                  <a:lnTo>
                    <a:pt x="34" y="138"/>
                  </a:lnTo>
                  <a:lnTo>
                    <a:pt x="31" y="138"/>
                  </a:lnTo>
                  <a:lnTo>
                    <a:pt x="31" y="140"/>
                  </a:lnTo>
                  <a:lnTo>
                    <a:pt x="31" y="138"/>
                  </a:lnTo>
                  <a:lnTo>
                    <a:pt x="29" y="140"/>
                  </a:lnTo>
                  <a:lnTo>
                    <a:pt x="27" y="140"/>
                  </a:lnTo>
                  <a:lnTo>
                    <a:pt x="24" y="140"/>
                  </a:lnTo>
                  <a:lnTo>
                    <a:pt x="22" y="140"/>
                  </a:lnTo>
                  <a:lnTo>
                    <a:pt x="19" y="140"/>
                  </a:lnTo>
                  <a:lnTo>
                    <a:pt x="19" y="138"/>
                  </a:lnTo>
                  <a:lnTo>
                    <a:pt x="17" y="138"/>
                  </a:lnTo>
                  <a:lnTo>
                    <a:pt x="17" y="136"/>
                  </a:lnTo>
                  <a:lnTo>
                    <a:pt x="17" y="138"/>
                  </a:lnTo>
                  <a:lnTo>
                    <a:pt x="15" y="136"/>
                  </a:lnTo>
                  <a:lnTo>
                    <a:pt x="12" y="136"/>
                  </a:lnTo>
                  <a:lnTo>
                    <a:pt x="12" y="133"/>
                  </a:lnTo>
                  <a:lnTo>
                    <a:pt x="10" y="133"/>
                  </a:lnTo>
                  <a:lnTo>
                    <a:pt x="10" y="131"/>
                  </a:lnTo>
                  <a:lnTo>
                    <a:pt x="8" y="129"/>
                  </a:lnTo>
                  <a:lnTo>
                    <a:pt x="8" y="126"/>
                  </a:lnTo>
                  <a:lnTo>
                    <a:pt x="10" y="126"/>
                  </a:lnTo>
                  <a:lnTo>
                    <a:pt x="8" y="124"/>
                  </a:lnTo>
                  <a:lnTo>
                    <a:pt x="8" y="121"/>
                  </a:lnTo>
                  <a:lnTo>
                    <a:pt x="10" y="119"/>
                  </a:lnTo>
                  <a:lnTo>
                    <a:pt x="8" y="119"/>
                  </a:lnTo>
                  <a:lnTo>
                    <a:pt x="10" y="119"/>
                  </a:lnTo>
                  <a:lnTo>
                    <a:pt x="10" y="117"/>
                  </a:lnTo>
                  <a:lnTo>
                    <a:pt x="10" y="114"/>
                  </a:lnTo>
                  <a:lnTo>
                    <a:pt x="12" y="114"/>
                  </a:lnTo>
                  <a:lnTo>
                    <a:pt x="15" y="114"/>
                  </a:lnTo>
                  <a:lnTo>
                    <a:pt x="15" y="112"/>
                  </a:lnTo>
                  <a:lnTo>
                    <a:pt x="12" y="112"/>
                  </a:lnTo>
                  <a:lnTo>
                    <a:pt x="12" y="110"/>
                  </a:lnTo>
                  <a:lnTo>
                    <a:pt x="12" y="107"/>
                  </a:lnTo>
                  <a:lnTo>
                    <a:pt x="10" y="107"/>
                  </a:lnTo>
                  <a:lnTo>
                    <a:pt x="8" y="107"/>
                  </a:lnTo>
                  <a:lnTo>
                    <a:pt x="5" y="107"/>
                  </a:lnTo>
                  <a:lnTo>
                    <a:pt x="5" y="105"/>
                  </a:lnTo>
                  <a:lnTo>
                    <a:pt x="3" y="105"/>
                  </a:lnTo>
                  <a:lnTo>
                    <a:pt x="3" y="102"/>
                  </a:lnTo>
                  <a:lnTo>
                    <a:pt x="3" y="100"/>
                  </a:lnTo>
                  <a:lnTo>
                    <a:pt x="3" y="98"/>
                  </a:lnTo>
                  <a:lnTo>
                    <a:pt x="0" y="98"/>
                  </a:lnTo>
                  <a:lnTo>
                    <a:pt x="0" y="95"/>
                  </a:lnTo>
                  <a:lnTo>
                    <a:pt x="0" y="93"/>
                  </a:lnTo>
                  <a:lnTo>
                    <a:pt x="3" y="93"/>
                  </a:lnTo>
                  <a:lnTo>
                    <a:pt x="5" y="93"/>
                  </a:lnTo>
                  <a:lnTo>
                    <a:pt x="8" y="93"/>
                  </a:lnTo>
                  <a:lnTo>
                    <a:pt x="10" y="91"/>
                  </a:lnTo>
                  <a:lnTo>
                    <a:pt x="12" y="91"/>
                  </a:lnTo>
                  <a:lnTo>
                    <a:pt x="12" y="88"/>
                  </a:lnTo>
                  <a:lnTo>
                    <a:pt x="15" y="91"/>
                  </a:lnTo>
                  <a:lnTo>
                    <a:pt x="15" y="88"/>
                  </a:lnTo>
                  <a:lnTo>
                    <a:pt x="17" y="88"/>
                  </a:lnTo>
                  <a:lnTo>
                    <a:pt x="17" y="86"/>
                  </a:lnTo>
                  <a:lnTo>
                    <a:pt x="15" y="86"/>
                  </a:lnTo>
                  <a:lnTo>
                    <a:pt x="15" y="83"/>
                  </a:lnTo>
                  <a:lnTo>
                    <a:pt x="17" y="83"/>
                  </a:lnTo>
                  <a:lnTo>
                    <a:pt x="17" y="81"/>
                  </a:lnTo>
                  <a:lnTo>
                    <a:pt x="17" y="79"/>
                  </a:lnTo>
                  <a:lnTo>
                    <a:pt x="15" y="79"/>
                  </a:lnTo>
                  <a:lnTo>
                    <a:pt x="12" y="79"/>
                  </a:lnTo>
                  <a:lnTo>
                    <a:pt x="12" y="76"/>
                  </a:lnTo>
                  <a:lnTo>
                    <a:pt x="15" y="76"/>
                  </a:lnTo>
                  <a:lnTo>
                    <a:pt x="12" y="76"/>
                  </a:lnTo>
                  <a:lnTo>
                    <a:pt x="12" y="74"/>
                  </a:lnTo>
                  <a:lnTo>
                    <a:pt x="10" y="72"/>
                  </a:lnTo>
                  <a:lnTo>
                    <a:pt x="12" y="72"/>
                  </a:lnTo>
                  <a:lnTo>
                    <a:pt x="12" y="69"/>
                  </a:lnTo>
                  <a:lnTo>
                    <a:pt x="10" y="69"/>
                  </a:lnTo>
                  <a:lnTo>
                    <a:pt x="8" y="69"/>
                  </a:lnTo>
                  <a:lnTo>
                    <a:pt x="8" y="67"/>
                  </a:lnTo>
                  <a:lnTo>
                    <a:pt x="5" y="67"/>
                  </a:lnTo>
                  <a:lnTo>
                    <a:pt x="5" y="64"/>
                  </a:lnTo>
                  <a:lnTo>
                    <a:pt x="5" y="62"/>
                  </a:lnTo>
                  <a:lnTo>
                    <a:pt x="5" y="60"/>
                  </a:lnTo>
                  <a:lnTo>
                    <a:pt x="8" y="60"/>
                  </a:lnTo>
                  <a:lnTo>
                    <a:pt x="10" y="60"/>
                  </a:lnTo>
                  <a:lnTo>
                    <a:pt x="12" y="60"/>
                  </a:lnTo>
                  <a:lnTo>
                    <a:pt x="12" y="57"/>
                  </a:lnTo>
                  <a:lnTo>
                    <a:pt x="15" y="57"/>
                  </a:lnTo>
                  <a:lnTo>
                    <a:pt x="15" y="60"/>
                  </a:lnTo>
                  <a:lnTo>
                    <a:pt x="17" y="60"/>
                  </a:lnTo>
                  <a:lnTo>
                    <a:pt x="19" y="60"/>
                  </a:lnTo>
                  <a:lnTo>
                    <a:pt x="17" y="60"/>
                  </a:lnTo>
                  <a:lnTo>
                    <a:pt x="19" y="60"/>
                  </a:lnTo>
                  <a:lnTo>
                    <a:pt x="19" y="57"/>
                  </a:lnTo>
                  <a:lnTo>
                    <a:pt x="22" y="57"/>
                  </a:lnTo>
                  <a:lnTo>
                    <a:pt x="24" y="57"/>
                  </a:lnTo>
                  <a:lnTo>
                    <a:pt x="27" y="57"/>
                  </a:lnTo>
                  <a:lnTo>
                    <a:pt x="27" y="55"/>
                  </a:lnTo>
                  <a:lnTo>
                    <a:pt x="29" y="55"/>
                  </a:lnTo>
                  <a:lnTo>
                    <a:pt x="29" y="53"/>
                  </a:lnTo>
                  <a:lnTo>
                    <a:pt x="31" y="53"/>
                  </a:lnTo>
                  <a:lnTo>
                    <a:pt x="31" y="55"/>
                  </a:lnTo>
                  <a:lnTo>
                    <a:pt x="34" y="55"/>
                  </a:lnTo>
                  <a:lnTo>
                    <a:pt x="36" y="55"/>
                  </a:lnTo>
                  <a:lnTo>
                    <a:pt x="36" y="57"/>
                  </a:lnTo>
                  <a:lnTo>
                    <a:pt x="36" y="55"/>
                  </a:lnTo>
                  <a:lnTo>
                    <a:pt x="38" y="57"/>
                  </a:lnTo>
                  <a:lnTo>
                    <a:pt x="41" y="57"/>
                  </a:lnTo>
                  <a:lnTo>
                    <a:pt x="41" y="55"/>
                  </a:lnTo>
                  <a:lnTo>
                    <a:pt x="41" y="53"/>
                  </a:lnTo>
                  <a:lnTo>
                    <a:pt x="43" y="53"/>
                  </a:lnTo>
                  <a:lnTo>
                    <a:pt x="46" y="53"/>
                  </a:lnTo>
                  <a:lnTo>
                    <a:pt x="46" y="50"/>
                  </a:lnTo>
                  <a:lnTo>
                    <a:pt x="46" y="48"/>
                  </a:lnTo>
                  <a:lnTo>
                    <a:pt x="48" y="48"/>
                  </a:lnTo>
                  <a:lnTo>
                    <a:pt x="48" y="45"/>
                  </a:lnTo>
                  <a:lnTo>
                    <a:pt x="50" y="45"/>
                  </a:lnTo>
                  <a:lnTo>
                    <a:pt x="50" y="43"/>
                  </a:lnTo>
                  <a:lnTo>
                    <a:pt x="48" y="43"/>
                  </a:lnTo>
                  <a:lnTo>
                    <a:pt x="48" y="41"/>
                  </a:lnTo>
                  <a:lnTo>
                    <a:pt x="48" y="38"/>
                  </a:lnTo>
                  <a:lnTo>
                    <a:pt x="50" y="38"/>
                  </a:lnTo>
                  <a:lnTo>
                    <a:pt x="53" y="38"/>
                  </a:lnTo>
                  <a:lnTo>
                    <a:pt x="53" y="36"/>
                  </a:lnTo>
                  <a:lnTo>
                    <a:pt x="55" y="36"/>
                  </a:lnTo>
                  <a:lnTo>
                    <a:pt x="55" y="34"/>
                  </a:lnTo>
                  <a:lnTo>
                    <a:pt x="57" y="31"/>
                  </a:lnTo>
                  <a:lnTo>
                    <a:pt x="60" y="31"/>
                  </a:lnTo>
                  <a:lnTo>
                    <a:pt x="60" y="34"/>
                  </a:lnTo>
                  <a:lnTo>
                    <a:pt x="60" y="36"/>
                  </a:lnTo>
                  <a:lnTo>
                    <a:pt x="60" y="38"/>
                  </a:lnTo>
                  <a:lnTo>
                    <a:pt x="60" y="41"/>
                  </a:lnTo>
                  <a:lnTo>
                    <a:pt x="60" y="43"/>
                  </a:lnTo>
                  <a:lnTo>
                    <a:pt x="62" y="43"/>
                  </a:lnTo>
                  <a:lnTo>
                    <a:pt x="65" y="45"/>
                  </a:lnTo>
                  <a:lnTo>
                    <a:pt x="65" y="48"/>
                  </a:lnTo>
                  <a:lnTo>
                    <a:pt x="67" y="48"/>
                  </a:lnTo>
                  <a:lnTo>
                    <a:pt x="69" y="48"/>
                  </a:lnTo>
                  <a:lnTo>
                    <a:pt x="72" y="48"/>
                  </a:lnTo>
                  <a:lnTo>
                    <a:pt x="72" y="50"/>
                  </a:lnTo>
                  <a:lnTo>
                    <a:pt x="74" y="50"/>
                  </a:lnTo>
                  <a:lnTo>
                    <a:pt x="72" y="50"/>
                  </a:lnTo>
                  <a:lnTo>
                    <a:pt x="72" y="53"/>
                  </a:lnTo>
                  <a:lnTo>
                    <a:pt x="72" y="55"/>
                  </a:lnTo>
                  <a:lnTo>
                    <a:pt x="74" y="55"/>
                  </a:lnTo>
                  <a:lnTo>
                    <a:pt x="74" y="57"/>
                  </a:lnTo>
                  <a:lnTo>
                    <a:pt x="76" y="57"/>
                  </a:lnTo>
                  <a:lnTo>
                    <a:pt x="76" y="60"/>
                  </a:lnTo>
                  <a:lnTo>
                    <a:pt x="74" y="60"/>
                  </a:lnTo>
                  <a:lnTo>
                    <a:pt x="76" y="60"/>
                  </a:lnTo>
                  <a:lnTo>
                    <a:pt x="76" y="62"/>
                  </a:lnTo>
                  <a:lnTo>
                    <a:pt x="79" y="62"/>
                  </a:lnTo>
                  <a:lnTo>
                    <a:pt x="79" y="60"/>
                  </a:lnTo>
                  <a:lnTo>
                    <a:pt x="81" y="57"/>
                  </a:lnTo>
                  <a:lnTo>
                    <a:pt x="79" y="57"/>
                  </a:lnTo>
                  <a:lnTo>
                    <a:pt x="79" y="55"/>
                  </a:lnTo>
                  <a:lnTo>
                    <a:pt x="76" y="55"/>
                  </a:lnTo>
                  <a:lnTo>
                    <a:pt x="79" y="53"/>
                  </a:lnTo>
                  <a:lnTo>
                    <a:pt x="79" y="50"/>
                  </a:lnTo>
                  <a:lnTo>
                    <a:pt x="81" y="50"/>
                  </a:lnTo>
                  <a:lnTo>
                    <a:pt x="81" y="48"/>
                  </a:lnTo>
                  <a:lnTo>
                    <a:pt x="81" y="45"/>
                  </a:lnTo>
                  <a:lnTo>
                    <a:pt x="84" y="45"/>
                  </a:lnTo>
                  <a:lnTo>
                    <a:pt x="84" y="43"/>
                  </a:lnTo>
                  <a:lnTo>
                    <a:pt x="86" y="43"/>
                  </a:lnTo>
                  <a:lnTo>
                    <a:pt x="86" y="41"/>
                  </a:lnTo>
                  <a:lnTo>
                    <a:pt x="86" y="38"/>
                  </a:lnTo>
                  <a:lnTo>
                    <a:pt x="88" y="38"/>
                  </a:lnTo>
                  <a:lnTo>
                    <a:pt x="88" y="36"/>
                  </a:lnTo>
                  <a:lnTo>
                    <a:pt x="86" y="36"/>
                  </a:lnTo>
                  <a:lnTo>
                    <a:pt x="86" y="34"/>
                  </a:lnTo>
                  <a:lnTo>
                    <a:pt x="86" y="31"/>
                  </a:lnTo>
                  <a:lnTo>
                    <a:pt x="86" y="29"/>
                  </a:lnTo>
                  <a:lnTo>
                    <a:pt x="88" y="29"/>
                  </a:lnTo>
                  <a:lnTo>
                    <a:pt x="91" y="29"/>
                  </a:lnTo>
                  <a:lnTo>
                    <a:pt x="91" y="31"/>
                  </a:lnTo>
                  <a:lnTo>
                    <a:pt x="91" y="29"/>
                  </a:lnTo>
                  <a:lnTo>
                    <a:pt x="93" y="29"/>
                  </a:lnTo>
                  <a:lnTo>
                    <a:pt x="93" y="31"/>
                  </a:lnTo>
                  <a:lnTo>
                    <a:pt x="93" y="34"/>
                  </a:lnTo>
                  <a:lnTo>
                    <a:pt x="93" y="36"/>
                  </a:lnTo>
                  <a:lnTo>
                    <a:pt x="95" y="36"/>
                  </a:lnTo>
                  <a:lnTo>
                    <a:pt x="95" y="38"/>
                  </a:lnTo>
                  <a:lnTo>
                    <a:pt x="98" y="38"/>
                  </a:lnTo>
                  <a:lnTo>
                    <a:pt x="100" y="38"/>
                  </a:lnTo>
                  <a:lnTo>
                    <a:pt x="103" y="38"/>
                  </a:lnTo>
                  <a:lnTo>
                    <a:pt x="100" y="38"/>
                  </a:lnTo>
                  <a:lnTo>
                    <a:pt x="103" y="38"/>
                  </a:lnTo>
                  <a:lnTo>
                    <a:pt x="103" y="36"/>
                  </a:lnTo>
                  <a:lnTo>
                    <a:pt x="105" y="36"/>
                  </a:lnTo>
                  <a:lnTo>
                    <a:pt x="107" y="36"/>
                  </a:lnTo>
                  <a:lnTo>
                    <a:pt x="110" y="36"/>
                  </a:lnTo>
                  <a:lnTo>
                    <a:pt x="110" y="38"/>
                  </a:lnTo>
                  <a:lnTo>
                    <a:pt x="110" y="41"/>
                  </a:lnTo>
                  <a:lnTo>
                    <a:pt x="112" y="41"/>
                  </a:lnTo>
                  <a:lnTo>
                    <a:pt x="112" y="43"/>
                  </a:lnTo>
                  <a:lnTo>
                    <a:pt x="114" y="43"/>
                  </a:lnTo>
                  <a:lnTo>
                    <a:pt x="117" y="41"/>
                  </a:lnTo>
                  <a:lnTo>
                    <a:pt x="117" y="38"/>
                  </a:lnTo>
                  <a:lnTo>
                    <a:pt x="114" y="38"/>
                  </a:lnTo>
                  <a:lnTo>
                    <a:pt x="114" y="36"/>
                  </a:lnTo>
                  <a:lnTo>
                    <a:pt x="114" y="34"/>
                  </a:lnTo>
                  <a:lnTo>
                    <a:pt x="117" y="34"/>
                  </a:lnTo>
                  <a:lnTo>
                    <a:pt x="114" y="34"/>
                  </a:lnTo>
                  <a:lnTo>
                    <a:pt x="112" y="31"/>
                  </a:lnTo>
                  <a:lnTo>
                    <a:pt x="112" y="29"/>
                  </a:lnTo>
                  <a:lnTo>
                    <a:pt x="112" y="26"/>
                  </a:lnTo>
                  <a:lnTo>
                    <a:pt x="114" y="26"/>
                  </a:lnTo>
                  <a:lnTo>
                    <a:pt x="114" y="24"/>
                  </a:lnTo>
                  <a:lnTo>
                    <a:pt x="117" y="24"/>
                  </a:lnTo>
                  <a:lnTo>
                    <a:pt x="119" y="24"/>
                  </a:lnTo>
                  <a:lnTo>
                    <a:pt x="119" y="22"/>
                  </a:lnTo>
                  <a:lnTo>
                    <a:pt x="119" y="24"/>
                  </a:lnTo>
                  <a:lnTo>
                    <a:pt x="119" y="26"/>
                  </a:lnTo>
                  <a:lnTo>
                    <a:pt x="121" y="26"/>
                  </a:lnTo>
                  <a:lnTo>
                    <a:pt x="124" y="26"/>
                  </a:lnTo>
                  <a:lnTo>
                    <a:pt x="126" y="26"/>
                  </a:lnTo>
                  <a:lnTo>
                    <a:pt x="126" y="24"/>
                  </a:lnTo>
                  <a:lnTo>
                    <a:pt x="126" y="22"/>
                  </a:lnTo>
                  <a:lnTo>
                    <a:pt x="124" y="22"/>
                  </a:lnTo>
                  <a:lnTo>
                    <a:pt x="124" y="19"/>
                  </a:lnTo>
                  <a:lnTo>
                    <a:pt x="124" y="17"/>
                  </a:lnTo>
                  <a:lnTo>
                    <a:pt x="126" y="17"/>
                  </a:lnTo>
                  <a:lnTo>
                    <a:pt x="124" y="17"/>
                  </a:lnTo>
                  <a:lnTo>
                    <a:pt x="124" y="15"/>
                  </a:lnTo>
                  <a:lnTo>
                    <a:pt x="126" y="15"/>
                  </a:lnTo>
                  <a:lnTo>
                    <a:pt x="126" y="12"/>
                  </a:lnTo>
                  <a:lnTo>
                    <a:pt x="129" y="12"/>
                  </a:lnTo>
                  <a:lnTo>
                    <a:pt x="131" y="12"/>
                  </a:lnTo>
                  <a:lnTo>
                    <a:pt x="133" y="12"/>
                  </a:lnTo>
                  <a:lnTo>
                    <a:pt x="136" y="15"/>
                  </a:lnTo>
                  <a:lnTo>
                    <a:pt x="136" y="17"/>
                  </a:lnTo>
                  <a:lnTo>
                    <a:pt x="136" y="15"/>
                  </a:lnTo>
                  <a:lnTo>
                    <a:pt x="138" y="17"/>
                  </a:lnTo>
                  <a:lnTo>
                    <a:pt x="140" y="17"/>
                  </a:lnTo>
                  <a:lnTo>
                    <a:pt x="143" y="17"/>
                  </a:lnTo>
                  <a:lnTo>
                    <a:pt x="145" y="17"/>
                  </a:lnTo>
                  <a:lnTo>
                    <a:pt x="145" y="15"/>
                  </a:lnTo>
                  <a:lnTo>
                    <a:pt x="145" y="12"/>
                  </a:lnTo>
                  <a:lnTo>
                    <a:pt x="148" y="12"/>
                  </a:lnTo>
                  <a:lnTo>
                    <a:pt x="148" y="10"/>
                  </a:lnTo>
                  <a:lnTo>
                    <a:pt x="150" y="7"/>
                  </a:lnTo>
                  <a:lnTo>
                    <a:pt x="152" y="7"/>
                  </a:lnTo>
                  <a:lnTo>
                    <a:pt x="155" y="7"/>
                  </a:lnTo>
                  <a:lnTo>
                    <a:pt x="155" y="5"/>
                  </a:lnTo>
                  <a:lnTo>
                    <a:pt x="157" y="7"/>
                  </a:lnTo>
                  <a:lnTo>
                    <a:pt x="159" y="7"/>
                  </a:lnTo>
                  <a:lnTo>
                    <a:pt x="159" y="5"/>
                  </a:lnTo>
                  <a:lnTo>
                    <a:pt x="162" y="5"/>
                  </a:lnTo>
                  <a:lnTo>
                    <a:pt x="162" y="7"/>
                  </a:lnTo>
                  <a:lnTo>
                    <a:pt x="162" y="5"/>
                  </a:lnTo>
                  <a:lnTo>
                    <a:pt x="164" y="5"/>
                  </a:lnTo>
                  <a:lnTo>
                    <a:pt x="167" y="5"/>
                  </a:lnTo>
                  <a:lnTo>
                    <a:pt x="167" y="7"/>
                  </a:lnTo>
                  <a:lnTo>
                    <a:pt x="169" y="7"/>
                  </a:lnTo>
                  <a:lnTo>
                    <a:pt x="169" y="5"/>
                  </a:lnTo>
                  <a:lnTo>
                    <a:pt x="171" y="5"/>
                  </a:lnTo>
                  <a:lnTo>
                    <a:pt x="174" y="5"/>
                  </a:lnTo>
                  <a:lnTo>
                    <a:pt x="176" y="3"/>
                  </a:lnTo>
                  <a:lnTo>
                    <a:pt x="178" y="3"/>
                  </a:lnTo>
                  <a:lnTo>
                    <a:pt x="181" y="3"/>
                  </a:lnTo>
                  <a:lnTo>
                    <a:pt x="183" y="0"/>
                  </a:lnTo>
                  <a:lnTo>
                    <a:pt x="183" y="3"/>
                  </a:lnTo>
                  <a:lnTo>
                    <a:pt x="186" y="3"/>
                  </a:lnTo>
                  <a:lnTo>
                    <a:pt x="183" y="3"/>
                  </a:lnTo>
                  <a:lnTo>
                    <a:pt x="183" y="5"/>
                  </a:lnTo>
                  <a:lnTo>
                    <a:pt x="181" y="5"/>
                  </a:lnTo>
                  <a:lnTo>
                    <a:pt x="181" y="7"/>
                  </a:lnTo>
                  <a:lnTo>
                    <a:pt x="183" y="7"/>
                  </a:lnTo>
                  <a:lnTo>
                    <a:pt x="183" y="10"/>
                  </a:lnTo>
                  <a:lnTo>
                    <a:pt x="181" y="10"/>
                  </a:lnTo>
                  <a:lnTo>
                    <a:pt x="183" y="10"/>
                  </a:lnTo>
                  <a:lnTo>
                    <a:pt x="183" y="12"/>
                  </a:lnTo>
                  <a:lnTo>
                    <a:pt x="186" y="12"/>
                  </a:lnTo>
                  <a:lnTo>
                    <a:pt x="186" y="10"/>
                  </a:lnTo>
                  <a:lnTo>
                    <a:pt x="186" y="12"/>
                  </a:lnTo>
                  <a:lnTo>
                    <a:pt x="186" y="15"/>
                  </a:lnTo>
                  <a:lnTo>
                    <a:pt x="186" y="17"/>
                  </a:lnTo>
                  <a:lnTo>
                    <a:pt x="188" y="17"/>
                  </a:lnTo>
                  <a:lnTo>
                    <a:pt x="190" y="19"/>
                  </a:lnTo>
                  <a:lnTo>
                    <a:pt x="193" y="19"/>
                  </a:lnTo>
                  <a:lnTo>
                    <a:pt x="193" y="22"/>
                  </a:lnTo>
                  <a:lnTo>
                    <a:pt x="195" y="22"/>
                  </a:lnTo>
                  <a:lnTo>
                    <a:pt x="197" y="22"/>
                  </a:lnTo>
                  <a:lnTo>
                    <a:pt x="200" y="22"/>
                  </a:lnTo>
                  <a:lnTo>
                    <a:pt x="202" y="22"/>
                  </a:lnTo>
                  <a:lnTo>
                    <a:pt x="202" y="24"/>
                  </a:lnTo>
                  <a:lnTo>
                    <a:pt x="205" y="24"/>
                  </a:lnTo>
                  <a:lnTo>
                    <a:pt x="207" y="24"/>
                  </a:lnTo>
                  <a:lnTo>
                    <a:pt x="209" y="24"/>
                  </a:lnTo>
                  <a:lnTo>
                    <a:pt x="212" y="24"/>
                  </a:lnTo>
                  <a:lnTo>
                    <a:pt x="214" y="24"/>
                  </a:lnTo>
                  <a:lnTo>
                    <a:pt x="216" y="26"/>
                  </a:lnTo>
                  <a:lnTo>
                    <a:pt x="219" y="26"/>
                  </a:lnTo>
                  <a:lnTo>
                    <a:pt x="221" y="26"/>
                  </a:lnTo>
                  <a:lnTo>
                    <a:pt x="224" y="26"/>
                  </a:lnTo>
                  <a:lnTo>
                    <a:pt x="226" y="26"/>
                  </a:lnTo>
                  <a:lnTo>
                    <a:pt x="228" y="26"/>
                  </a:lnTo>
                  <a:lnTo>
                    <a:pt x="231" y="26"/>
                  </a:lnTo>
                  <a:lnTo>
                    <a:pt x="231" y="29"/>
                  </a:lnTo>
                  <a:lnTo>
                    <a:pt x="233" y="29"/>
                  </a:lnTo>
                  <a:lnTo>
                    <a:pt x="233" y="31"/>
                  </a:lnTo>
                  <a:lnTo>
                    <a:pt x="231" y="31"/>
                  </a:lnTo>
                  <a:lnTo>
                    <a:pt x="228" y="31"/>
                  </a:lnTo>
                  <a:lnTo>
                    <a:pt x="228" y="34"/>
                  </a:lnTo>
                  <a:lnTo>
                    <a:pt x="226" y="36"/>
                  </a:lnTo>
                  <a:lnTo>
                    <a:pt x="224" y="36"/>
                  </a:lnTo>
                  <a:lnTo>
                    <a:pt x="224" y="38"/>
                  </a:lnTo>
                  <a:lnTo>
                    <a:pt x="221" y="38"/>
                  </a:lnTo>
                  <a:lnTo>
                    <a:pt x="224" y="38"/>
                  </a:lnTo>
                  <a:lnTo>
                    <a:pt x="224" y="41"/>
                  </a:lnTo>
                  <a:lnTo>
                    <a:pt x="224" y="43"/>
                  </a:lnTo>
                  <a:lnTo>
                    <a:pt x="226" y="43"/>
                  </a:lnTo>
                  <a:lnTo>
                    <a:pt x="224" y="43"/>
                  </a:lnTo>
                  <a:lnTo>
                    <a:pt x="226" y="43"/>
                  </a:lnTo>
                  <a:lnTo>
                    <a:pt x="228" y="43"/>
                  </a:lnTo>
                  <a:lnTo>
                    <a:pt x="231" y="43"/>
                  </a:lnTo>
                  <a:lnTo>
                    <a:pt x="231" y="45"/>
                  </a:lnTo>
                  <a:lnTo>
                    <a:pt x="231" y="48"/>
                  </a:lnTo>
                  <a:lnTo>
                    <a:pt x="228" y="48"/>
                  </a:lnTo>
                  <a:lnTo>
                    <a:pt x="228" y="50"/>
                  </a:lnTo>
                  <a:lnTo>
                    <a:pt x="226" y="50"/>
                  </a:lnTo>
                  <a:lnTo>
                    <a:pt x="226" y="53"/>
                  </a:lnTo>
                  <a:lnTo>
                    <a:pt x="226" y="55"/>
                  </a:lnTo>
                  <a:lnTo>
                    <a:pt x="228" y="55"/>
                  </a:lnTo>
                  <a:lnTo>
                    <a:pt x="228" y="53"/>
                  </a:lnTo>
                  <a:lnTo>
                    <a:pt x="231" y="53"/>
                  </a:lnTo>
                  <a:lnTo>
                    <a:pt x="231" y="55"/>
                  </a:lnTo>
                  <a:lnTo>
                    <a:pt x="231" y="57"/>
                  </a:lnTo>
                  <a:lnTo>
                    <a:pt x="228" y="57"/>
                  </a:lnTo>
                  <a:lnTo>
                    <a:pt x="228" y="60"/>
                  </a:lnTo>
                  <a:lnTo>
                    <a:pt x="228" y="62"/>
                  </a:lnTo>
                  <a:lnTo>
                    <a:pt x="231" y="62"/>
                  </a:lnTo>
                  <a:lnTo>
                    <a:pt x="233" y="62"/>
                  </a:lnTo>
                  <a:lnTo>
                    <a:pt x="233" y="64"/>
                  </a:lnTo>
                  <a:lnTo>
                    <a:pt x="235" y="64"/>
                  </a:lnTo>
                  <a:lnTo>
                    <a:pt x="235" y="67"/>
                  </a:lnTo>
                  <a:lnTo>
                    <a:pt x="238" y="67"/>
                  </a:lnTo>
                  <a:lnTo>
                    <a:pt x="238" y="69"/>
                  </a:lnTo>
                  <a:lnTo>
                    <a:pt x="240" y="69"/>
                  </a:lnTo>
                  <a:lnTo>
                    <a:pt x="240" y="72"/>
                  </a:lnTo>
                  <a:lnTo>
                    <a:pt x="238" y="72"/>
                  </a:lnTo>
                  <a:lnTo>
                    <a:pt x="235" y="72"/>
                  </a:lnTo>
                  <a:lnTo>
                    <a:pt x="233" y="72"/>
                  </a:lnTo>
                  <a:lnTo>
                    <a:pt x="235" y="72"/>
                  </a:lnTo>
                  <a:lnTo>
                    <a:pt x="235" y="69"/>
                  </a:lnTo>
                  <a:lnTo>
                    <a:pt x="233" y="69"/>
                  </a:lnTo>
                  <a:lnTo>
                    <a:pt x="235" y="69"/>
                  </a:lnTo>
                  <a:lnTo>
                    <a:pt x="235" y="67"/>
                  </a:lnTo>
                  <a:lnTo>
                    <a:pt x="233" y="67"/>
                  </a:lnTo>
                  <a:lnTo>
                    <a:pt x="233" y="64"/>
                  </a:lnTo>
                  <a:lnTo>
                    <a:pt x="231" y="64"/>
                  </a:lnTo>
                  <a:lnTo>
                    <a:pt x="228" y="64"/>
                  </a:lnTo>
                  <a:lnTo>
                    <a:pt x="228" y="62"/>
                  </a:lnTo>
                  <a:lnTo>
                    <a:pt x="228" y="64"/>
                  </a:lnTo>
                  <a:lnTo>
                    <a:pt x="228" y="62"/>
                  </a:lnTo>
                  <a:lnTo>
                    <a:pt x="228" y="64"/>
                  </a:lnTo>
                  <a:lnTo>
                    <a:pt x="226" y="64"/>
                  </a:lnTo>
                  <a:lnTo>
                    <a:pt x="228" y="64"/>
                  </a:lnTo>
                  <a:lnTo>
                    <a:pt x="228" y="67"/>
                  </a:lnTo>
                  <a:lnTo>
                    <a:pt x="226" y="64"/>
                  </a:lnTo>
                  <a:lnTo>
                    <a:pt x="228" y="64"/>
                  </a:lnTo>
                  <a:lnTo>
                    <a:pt x="228" y="67"/>
                  </a:lnTo>
                  <a:lnTo>
                    <a:pt x="226" y="67"/>
                  </a:lnTo>
                  <a:lnTo>
                    <a:pt x="224" y="67"/>
                  </a:lnTo>
                  <a:close/>
                  <a:moveTo>
                    <a:pt x="224" y="67"/>
                  </a:moveTo>
                  <a:lnTo>
                    <a:pt x="221" y="67"/>
                  </a:lnTo>
                  <a:lnTo>
                    <a:pt x="224" y="67"/>
                  </a:lnTo>
                  <a:close/>
                  <a:moveTo>
                    <a:pt x="190" y="148"/>
                  </a:moveTo>
                  <a:lnTo>
                    <a:pt x="190" y="150"/>
                  </a:lnTo>
                  <a:lnTo>
                    <a:pt x="193" y="150"/>
                  </a:lnTo>
                  <a:lnTo>
                    <a:pt x="193" y="148"/>
                  </a:lnTo>
                  <a:lnTo>
                    <a:pt x="190" y="148"/>
                  </a:lnTo>
                  <a:close/>
                  <a:moveTo>
                    <a:pt x="190" y="243"/>
                  </a:moveTo>
                  <a:lnTo>
                    <a:pt x="193" y="243"/>
                  </a:lnTo>
                  <a:lnTo>
                    <a:pt x="190" y="24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3" name="Freeform 52480"/>
            <p:cNvSpPr>
              <a:spLocks noEditPoints="1"/>
            </p:cNvSpPr>
            <p:nvPr/>
          </p:nvSpPr>
          <p:spPr bwMode="auto">
            <a:xfrm>
              <a:off x="2459035" y="5021281"/>
              <a:ext cx="508000" cy="739777"/>
            </a:xfrm>
            <a:custGeom>
              <a:avLst/>
              <a:gdLst>
                <a:gd name="T0" fmla="*/ 142 w 320"/>
                <a:gd name="T1" fmla="*/ 464 h 466"/>
                <a:gd name="T2" fmla="*/ 125 w 320"/>
                <a:gd name="T3" fmla="*/ 409 h 466"/>
                <a:gd name="T4" fmla="*/ 123 w 320"/>
                <a:gd name="T5" fmla="*/ 407 h 466"/>
                <a:gd name="T6" fmla="*/ 135 w 320"/>
                <a:gd name="T7" fmla="*/ 357 h 466"/>
                <a:gd name="T8" fmla="*/ 135 w 320"/>
                <a:gd name="T9" fmla="*/ 357 h 466"/>
                <a:gd name="T10" fmla="*/ 220 w 320"/>
                <a:gd name="T11" fmla="*/ 335 h 466"/>
                <a:gd name="T12" fmla="*/ 220 w 320"/>
                <a:gd name="T13" fmla="*/ 333 h 466"/>
                <a:gd name="T14" fmla="*/ 216 w 320"/>
                <a:gd name="T15" fmla="*/ 328 h 466"/>
                <a:gd name="T16" fmla="*/ 208 w 320"/>
                <a:gd name="T17" fmla="*/ 328 h 466"/>
                <a:gd name="T18" fmla="*/ 161 w 320"/>
                <a:gd name="T19" fmla="*/ 324 h 466"/>
                <a:gd name="T20" fmla="*/ 4 w 320"/>
                <a:gd name="T21" fmla="*/ 307 h 466"/>
                <a:gd name="T22" fmla="*/ 4 w 320"/>
                <a:gd name="T23" fmla="*/ 312 h 466"/>
                <a:gd name="T24" fmla="*/ 2 w 320"/>
                <a:gd name="T25" fmla="*/ 302 h 466"/>
                <a:gd name="T26" fmla="*/ 2 w 320"/>
                <a:gd name="T27" fmla="*/ 302 h 466"/>
                <a:gd name="T28" fmla="*/ 197 w 320"/>
                <a:gd name="T29" fmla="*/ 240 h 466"/>
                <a:gd name="T30" fmla="*/ 185 w 320"/>
                <a:gd name="T31" fmla="*/ 233 h 466"/>
                <a:gd name="T32" fmla="*/ 171 w 320"/>
                <a:gd name="T33" fmla="*/ 231 h 466"/>
                <a:gd name="T34" fmla="*/ 47 w 320"/>
                <a:gd name="T35" fmla="*/ 224 h 466"/>
                <a:gd name="T36" fmla="*/ 154 w 320"/>
                <a:gd name="T37" fmla="*/ 226 h 466"/>
                <a:gd name="T38" fmla="*/ 45 w 320"/>
                <a:gd name="T39" fmla="*/ 217 h 466"/>
                <a:gd name="T40" fmla="*/ 0 w 320"/>
                <a:gd name="T41" fmla="*/ 221 h 466"/>
                <a:gd name="T42" fmla="*/ 0 w 320"/>
                <a:gd name="T43" fmla="*/ 217 h 466"/>
                <a:gd name="T44" fmla="*/ 38 w 320"/>
                <a:gd name="T45" fmla="*/ 212 h 466"/>
                <a:gd name="T46" fmla="*/ 33 w 320"/>
                <a:gd name="T47" fmla="*/ 209 h 466"/>
                <a:gd name="T48" fmla="*/ 40 w 320"/>
                <a:gd name="T49" fmla="*/ 209 h 466"/>
                <a:gd name="T50" fmla="*/ 38 w 320"/>
                <a:gd name="T51" fmla="*/ 207 h 466"/>
                <a:gd name="T52" fmla="*/ 38 w 320"/>
                <a:gd name="T53" fmla="*/ 209 h 466"/>
                <a:gd name="T54" fmla="*/ 38 w 320"/>
                <a:gd name="T55" fmla="*/ 207 h 466"/>
                <a:gd name="T56" fmla="*/ 35 w 320"/>
                <a:gd name="T57" fmla="*/ 205 h 466"/>
                <a:gd name="T58" fmla="*/ 95 w 320"/>
                <a:gd name="T59" fmla="*/ 162 h 466"/>
                <a:gd name="T60" fmla="*/ 66 w 320"/>
                <a:gd name="T61" fmla="*/ 160 h 466"/>
                <a:gd name="T62" fmla="*/ 87 w 320"/>
                <a:gd name="T63" fmla="*/ 160 h 466"/>
                <a:gd name="T64" fmla="*/ 59 w 320"/>
                <a:gd name="T65" fmla="*/ 145 h 466"/>
                <a:gd name="T66" fmla="*/ 73 w 320"/>
                <a:gd name="T67" fmla="*/ 136 h 466"/>
                <a:gd name="T68" fmla="*/ 71 w 320"/>
                <a:gd name="T69" fmla="*/ 141 h 466"/>
                <a:gd name="T70" fmla="*/ 66 w 320"/>
                <a:gd name="T71" fmla="*/ 141 h 466"/>
                <a:gd name="T72" fmla="*/ 64 w 320"/>
                <a:gd name="T73" fmla="*/ 138 h 466"/>
                <a:gd name="T74" fmla="*/ 71 w 320"/>
                <a:gd name="T75" fmla="*/ 136 h 466"/>
                <a:gd name="T76" fmla="*/ 50 w 320"/>
                <a:gd name="T77" fmla="*/ 126 h 466"/>
                <a:gd name="T78" fmla="*/ 54 w 320"/>
                <a:gd name="T79" fmla="*/ 110 h 466"/>
                <a:gd name="T80" fmla="*/ 52 w 320"/>
                <a:gd name="T81" fmla="*/ 81 h 466"/>
                <a:gd name="T82" fmla="*/ 140 w 320"/>
                <a:gd name="T83" fmla="*/ 41 h 466"/>
                <a:gd name="T84" fmla="*/ 137 w 320"/>
                <a:gd name="T85" fmla="*/ 43 h 466"/>
                <a:gd name="T86" fmla="*/ 133 w 320"/>
                <a:gd name="T87" fmla="*/ 38 h 466"/>
                <a:gd name="T88" fmla="*/ 140 w 320"/>
                <a:gd name="T89" fmla="*/ 38 h 466"/>
                <a:gd name="T90" fmla="*/ 140 w 320"/>
                <a:gd name="T91" fmla="*/ 38 h 466"/>
                <a:gd name="T92" fmla="*/ 140 w 320"/>
                <a:gd name="T93" fmla="*/ 38 h 466"/>
                <a:gd name="T94" fmla="*/ 137 w 320"/>
                <a:gd name="T95" fmla="*/ 34 h 466"/>
                <a:gd name="T96" fmla="*/ 133 w 320"/>
                <a:gd name="T97" fmla="*/ 24 h 466"/>
                <a:gd name="T98" fmla="*/ 133 w 320"/>
                <a:gd name="T99" fmla="*/ 24 h 466"/>
                <a:gd name="T100" fmla="*/ 135 w 320"/>
                <a:gd name="T101" fmla="*/ 22 h 466"/>
                <a:gd name="T102" fmla="*/ 133 w 320"/>
                <a:gd name="T103" fmla="*/ 17 h 466"/>
                <a:gd name="T104" fmla="*/ 133 w 320"/>
                <a:gd name="T105" fmla="*/ 17 h 466"/>
                <a:gd name="T106" fmla="*/ 137 w 320"/>
                <a:gd name="T107" fmla="*/ 15 h 466"/>
                <a:gd name="T108" fmla="*/ 137 w 320"/>
                <a:gd name="T109" fmla="*/ 15 h 466"/>
                <a:gd name="T110" fmla="*/ 137 w 320"/>
                <a:gd name="T111" fmla="*/ 15 h 466"/>
                <a:gd name="T112" fmla="*/ 137 w 320"/>
                <a:gd name="T113" fmla="*/ 15 h 466"/>
                <a:gd name="T114" fmla="*/ 166 w 320"/>
                <a:gd name="T115" fmla="*/ 3 h 466"/>
                <a:gd name="T116" fmla="*/ 163 w 320"/>
                <a:gd name="T117" fmla="*/ 3 h 466"/>
                <a:gd name="T118" fmla="*/ 166 w 320"/>
                <a:gd name="T119" fmla="*/ 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466">
                  <a:moveTo>
                    <a:pt x="142" y="464"/>
                  </a:moveTo>
                  <a:lnTo>
                    <a:pt x="144" y="464"/>
                  </a:lnTo>
                  <a:lnTo>
                    <a:pt x="144" y="466"/>
                  </a:lnTo>
                  <a:lnTo>
                    <a:pt x="142" y="466"/>
                  </a:lnTo>
                  <a:lnTo>
                    <a:pt x="140" y="464"/>
                  </a:lnTo>
                  <a:lnTo>
                    <a:pt x="142" y="464"/>
                  </a:lnTo>
                  <a:close/>
                  <a:moveTo>
                    <a:pt x="152" y="449"/>
                  </a:moveTo>
                  <a:lnTo>
                    <a:pt x="154" y="449"/>
                  </a:lnTo>
                  <a:lnTo>
                    <a:pt x="152" y="449"/>
                  </a:lnTo>
                  <a:close/>
                  <a:moveTo>
                    <a:pt x="123" y="407"/>
                  </a:moveTo>
                  <a:lnTo>
                    <a:pt x="125" y="407"/>
                  </a:lnTo>
                  <a:lnTo>
                    <a:pt x="125" y="409"/>
                  </a:lnTo>
                  <a:lnTo>
                    <a:pt x="125" y="411"/>
                  </a:lnTo>
                  <a:lnTo>
                    <a:pt x="123" y="411"/>
                  </a:lnTo>
                  <a:lnTo>
                    <a:pt x="123" y="409"/>
                  </a:lnTo>
                  <a:lnTo>
                    <a:pt x="121" y="409"/>
                  </a:lnTo>
                  <a:lnTo>
                    <a:pt x="121" y="407"/>
                  </a:lnTo>
                  <a:lnTo>
                    <a:pt x="123" y="407"/>
                  </a:lnTo>
                  <a:close/>
                  <a:moveTo>
                    <a:pt x="137" y="359"/>
                  </a:moveTo>
                  <a:lnTo>
                    <a:pt x="137" y="362"/>
                  </a:lnTo>
                  <a:lnTo>
                    <a:pt x="140" y="362"/>
                  </a:lnTo>
                  <a:lnTo>
                    <a:pt x="137" y="362"/>
                  </a:lnTo>
                  <a:lnTo>
                    <a:pt x="137" y="359"/>
                  </a:lnTo>
                  <a:close/>
                  <a:moveTo>
                    <a:pt x="135" y="357"/>
                  </a:moveTo>
                  <a:lnTo>
                    <a:pt x="135" y="359"/>
                  </a:lnTo>
                  <a:lnTo>
                    <a:pt x="135" y="357"/>
                  </a:lnTo>
                  <a:lnTo>
                    <a:pt x="135" y="359"/>
                  </a:lnTo>
                  <a:lnTo>
                    <a:pt x="133" y="359"/>
                  </a:lnTo>
                  <a:lnTo>
                    <a:pt x="133" y="357"/>
                  </a:lnTo>
                  <a:lnTo>
                    <a:pt x="135" y="357"/>
                  </a:lnTo>
                  <a:close/>
                  <a:moveTo>
                    <a:pt x="125" y="354"/>
                  </a:moveTo>
                  <a:lnTo>
                    <a:pt x="125" y="357"/>
                  </a:lnTo>
                  <a:lnTo>
                    <a:pt x="128" y="357"/>
                  </a:lnTo>
                  <a:lnTo>
                    <a:pt x="125" y="357"/>
                  </a:lnTo>
                  <a:lnTo>
                    <a:pt x="125" y="354"/>
                  </a:lnTo>
                  <a:close/>
                  <a:moveTo>
                    <a:pt x="220" y="335"/>
                  </a:moveTo>
                  <a:lnTo>
                    <a:pt x="223" y="335"/>
                  </a:lnTo>
                  <a:lnTo>
                    <a:pt x="223" y="338"/>
                  </a:lnTo>
                  <a:lnTo>
                    <a:pt x="220" y="338"/>
                  </a:lnTo>
                  <a:lnTo>
                    <a:pt x="220" y="335"/>
                  </a:lnTo>
                  <a:close/>
                  <a:moveTo>
                    <a:pt x="220" y="331"/>
                  </a:moveTo>
                  <a:lnTo>
                    <a:pt x="220" y="333"/>
                  </a:lnTo>
                  <a:lnTo>
                    <a:pt x="223" y="333"/>
                  </a:lnTo>
                  <a:lnTo>
                    <a:pt x="220" y="333"/>
                  </a:lnTo>
                  <a:lnTo>
                    <a:pt x="220" y="335"/>
                  </a:lnTo>
                  <a:lnTo>
                    <a:pt x="220" y="333"/>
                  </a:lnTo>
                  <a:lnTo>
                    <a:pt x="220" y="331"/>
                  </a:lnTo>
                  <a:close/>
                  <a:moveTo>
                    <a:pt x="216" y="328"/>
                  </a:moveTo>
                  <a:lnTo>
                    <a:pt x="218" y="328"/>
                  </a:lnTo>
                  <a:lnTo>
                    <a:pt x="218" y="331"/>
                  </a:lnTo>
                  <a:lnTo>
                    <a:pt x="216" y="331"/>
                  </a:lnTo>
                  <a:lnTo>
                    <a:pt x="216" y="328"/>
                  </a:lnTo>
                  <a:close/>
                  <a:moveTo>
                    <a:pt x="208" y="331"/>
                  </a:moveTo>
                  <a:lnTo>
                    <a:pt x="208" y="328"/>
                  </a:lnTo>
                  <a:lnTo>
                    <a:pt x="208" y="331"/>
                  </a:lnTo>
                  <a:close/>
                  <a:moveTo>
                    <a:pt x="225" y="326"/>
                  </a:moveTo>
                  <a:lnTo>
                    <a:pt x="225" y="328"/>
                  </a:lnTo>
                  <a:lnTo>
                    <a:pt x="225" y="326"/>
                  </a:lnTo>
                  <a:close/>
                  <a:moveTo>
                    <a:pt x="163" y="324"/>
                  </a:moveTo>
                  <a:lnTo>
                    <a:pt x="161" y="324"/>
                  </a:lnTo>
                  <a:lnTo>
                    <a:pt x="163" y="324"/>
                  </a:lnTo>
                  <a:close/>
                  <a:moveTo>
                    <a:pt x="230" y="319"/>
                  </a:moveTo>
                  <a:lnTo>
                    <a:pt x="230" y="321"/>
                  </a:lnTo>
                  <a:lnTo>
                    <a:pt x="230" y="319"/>
                  </a:lnTo>
                  <a:close/>
                  <a:moveTo>
                    <a:pt x="4" y="305"/>
                  </a:moveTo>
                  <a:lnTo>
                    <a:pt x="4" y="307"/>
                  </a:lnTo>
                  <a:lnTo>
                    <a:pt x="4" y="305"/>
                  </a:lnTo>
                  <a:lnTo>
                    <a:pt x="7" y="305"/>
                  </a:lnTo>
                  <a:lnTo>
                    <a:pt x="7" y="307"/>
                  </a:lnTo>
                  <a:lnTo>
                    <a:pt x="7" y="309"/>
                  </a:lnTo>
                  <a:lnTo>
                    <a:pt x="7" y="312"/>
                  </a:lnTo>
                  <a:lnTo>
                    <a:pt x="4" y="312"/>
                  </a:lnTo>
                  <a:lnTo>
                    <a:pt x="4" y="309"/>
                  </a:lnTo>
                  <a:lnTo>
                    <a:pt x="4" y="307"/>
                  </a:lnTo>
                  <a:lnTo>
                    <a:pt x="2" y="307"/>
                  </a:lnTo>
                  <a:lnTo>
                    <a:pt x="4" y="307"/>
                  </a:lnTo>
                  <a:lnTo>
                    <a:pt x="4" y="305"/>
                  </a:lnTo>
                  <a:close/>
                  <a:moveTo>
                    <a:pt x="2" y="302"/>
                  </a:moveTo>
                  <a:lnTo>
                    <a:pt x="2" y="305"/>
                  </a:lnTo>
                  <a:lnTo>
                    <a:pt x="2" y="307"/>
                  </a:lnTo>
                  <a:lnTo>
                    <a:pt x="0" y="307"/>
                  </a:lnTo>
                  <a:lnTo>
                    <a:pt x="0" y="305"/>
                  </a:lnTo>
                  <a:lnTo>
                    <a:pt x="0" y="302"/>
                  </a:lnTo>
                  <a:lnTo>
                    <a:pt x="2" y="302"/>
                  </a:lnTo>
                  <a:close/>
                  <a:moveTo>
                    <a:pt x="320" y="264"/>
                  </a:moveTo>
                  <a:lnTo>
                    <a:pt x="320" y="262"/>
                  </a:lnTo>
                  <a:lnTo>
                    <a:pt x="320" y="264"/>
                  </a:lnTo>
                  <a:close/>
                  <a:moveTo>
                    <a:pt x="197" y="240"/>
                  </a:moveTo>
                  <a:lnTo>
                    <a:pt x="199" y="240"/>
                  </a:lnTo>
                  <a:lnTo>
                    <a:pt x="197" y="240"/>
                  </a:lnTo>
                  <a:close/>
                  <a:moveTo>
                    <a:pt x="185" y="231"/>
                  </a:moveTo>
                  <a:lnTo>
                    <a:pt x="187" y="231"/>
                  </a:lnTo>
                  <a:lnTo>
                    <a:pt x="187" y="233"/>
                  </a:lnTo>
                  <a:lnTo>
                    <a:pt x="190" y="233"/>
                  </a:lnTo>
                  <a:lnTo>
                    <a:pt x="187" y="233"/>
                  </a:lnTo>
                  <a:lnTo>
                    <a:pt x="185" y="233"/>
                  </a:lnTo>
                  <a:lnTo>
                    <a:pt x="185" y="231"/>
                  </a:lnTo>
                  <a:close/>
                  <a:moveTo>
                    <a:pt x="190" y="231"/>
                  </a:moveTo>
                  <a:lnTo>
                    <a:pt x="192" y="231"/>
                  </a:lnTo>
                  <a:lnTo>
                    <a:pt x="190" y="231"/>
                  </a:lnTo>
                  <a:close/>
                  <a:moveTo>
                    <a:pt x="171" y="228"/>
                  </a:moveTo>
                  <a:lnTo>
                    <a:pt x="171" y="231"/>
                  </a:lnTo>
                  <a:lnTo>
                    <a:pt x="171" y="228"/>
                  </a:lnTo>
                  <a:close/>
                  <a:moveTo>
                    <a:pt x="50" y="226"/>
                  </a:moveTo>
                  <a:lnTo>
                    <a:pt x="47" y="226"/>
                  </a:lnTo>
                  <a:lnTo>
                    <a:pt x="50" y="226"/>
                  </a:lnTo>
                  <a:close/>
                  <a:moveTo>
                    <a:pt x="50" y="224"/>
                  </a:moveTo>
                  <a:lnTo>
                    <a:pt x="47" y="224"/>
                  </a:lnTo>
                  <a:lnTo>
                    <a:pt x="47" y="226"/>
                  </a:lnTo>
                  <a:lnTo>
                    <a:pt x="47" y="224"/>
                  </a:lnTo>
                  <a:lnTo>
                    <a:pt x="50" y="224"/>
                  </a:lnTo>
                  <a:close/>
                  <a:moveTo>
                    <a:pt x="156" y="224"/>
                  </a:moveTo>
                  <a:lnTo>
                    <a:pt x="156" y="226"/>
                  </a:lnTo>
                  <a:lnTo>
                    <a:pt x="154" y="226"/>
                  </a:lnTo>
                  <a:lnTo>
                    <a:pt x="154" y="224"/>
                  </a:lnTo>
                  <a:lnTo>
                    <a:pt x="156" y="224"/>
                  </a:lnTo>
                  <a:close/>
                  <a:moveTo>
                    <a:pt x="152" y="221"/>
                  </a:moveTo>
                  <a:lnTo>
                    <a:pt x="152" y="224"/>
                  </a:lnTo>
                  <a:lnTo>
                    <a:pt x="152" y="221"/>
                  </a:lnTo>
                  <a:close/>
                  <a:moveTo>
                    <a:pt x="45" y="217"/>
                  </a:moveTo>
                  <a:lnTo>
                    <a:pt x="42" y="217"/>
                  </a:lnTo>
                  <a:lnTo>
                    <a:pt x="45" y="217"/>
                  </a:lnTo>
                  <a:lnTo>
                    <a:pt x="42" y="217"/>
                  </a:lnTo>
                  <a:lnTo>
                    <a:pt x="45" y="217"/>
                  </a:lnTo>
                  <a:close/>
                  <a:moveTo>
                    <a:pt x="0" y="219"/>
                  </a:moveTo>
                  <a:lnTo>
                    <a:pt x="0" y="221"/>
                  </a:lnTo>
                  <a:lnTo>
                    <a:pt x="0" y="219"/>
                  </a:lnTo>
                  <a:lnTo>
                    <a:pt x="0" y="221"/>
                  </a:lnTo>
                  <a:lnTo>
                    <a:pt x="0" y="219"/>
                  </a:lnTo>
                  <a:lnTo>
                    <a:pt x="0" y="217"/>
                  </a:lnTo>
                  <a:lnTo>
                    <a:pt x="2" y="217"/>
                  </a:lnTo>
                  <a:lnTo>
                    <a:pt x="0" y="217"/>
                  </a:lnTo>
                  <a:lnTo>
                    <a:pt x="0" y="214"/>
                  </a:lnTo>
                  <a:lnTo>
                    <a:pt x="2" y="214"/>
                  </a:lnTo>
                  <a:lnTo>
                    <a:pt x="2" y="217"/>
                  </a:lnTo>
                  <a:lnTo>
                    <a:pt x="0" y="217"/>
                  </a:lnTo>
                  <a:lnTo>
                    <a:pt x="0" y="219"/>
                  </a:lnTo>
                  <a:close/>
                  <a:moveTo>
                    <a:pt x="38" y="212"/>
                  </a:moveTo>
                  <a:lnTo>
                    <a:pt x="38" y="209"/>
                  </a:lnTo>
                  <a:lnTo>
                    <a:pt x="38" y="212"/>
                  </a:lnTo>
                  <a:close/>
                  <a:moveTo>
                    <a:pt x="33" y="212"/>
                  </a:moveTo>
                  <a:lnTo>
                    <a:pt x="33" y="209"/>
                  </a:lnTo>
                  <a:lnTo>
                    <a:pt x="35" y="209"/>
                  </a:lnTo>
                  <a:lnTo>
                    <a:pt x="33" y="209"/>
                  </a:lnTo>
                  <a:lnTo>
                    <a:pt x="35" y="209"/>
                  </a:lnTo>
                  <a:lnTo>
                    <a:pt x="35" y="212"/>
                  </a:lnTo>
                  <a:lnTo>
                    <a:pt x="33" y="212"/>
                  </a:lnTo>
                  <a:close/>
                  <a:moveTo>
                    <a:pt x="40" y="209"/>
                  </a:moveTo>
                  <a:lnTo>
                    <a:pt x="40" y="212"/>
                  </a:lnTo>
                  <a:lnTo>
                    <a:pt x="40" y="209"/>
                  </a:lnTo>
                  <a:lnTo>
                    <a:pt x="40" y="212"/>
                  </a:lnTo>
                  <a:lnTo>
                    <a:pt x="40" y="209"/>
                  </a:lnTo>
                  <a:close/>
                  <a:moveTo>
                    <a:pt x="35" y="209"/>
                  </a:moveTo>
                  <a:lnTo>
                    <a:pt x="38" y="209"/>
                  </a:lnTo>
                  <a:lnTo>
                    <a:pt x="35" y="209"/>
                  </a:lnTo>
                  <a:close/>
                  <a:moveTo>
                    <a:pt x="38" y="207"/>
                  </a:moveTo>
                  <a:lnTo>
                    <a:pt x="40" y="207"/>
                  </a:lnTo>
                  <a:lnTo>
                    <a:pt x="38" y="207"/>
                  </a:lnTo>
                  <a:lnTo>
                    <a:pt x="40" y="209"/>
                  </a:lnTo>
                  <a:lnTo>
                    <a:pt x="38" y="209"/>
                  </a:lnTo>
                  <a:lnTo>
                    <a:pt x="40" y="209"/>
                  </a:lnTo>
                  <a:lnTo>
                    <a:pt x="38" y="209"/>
                  </a:lnTo>
                  <a:lnTo>
                    <a:pt x="38" y="207"/>
                  </a:lnTo>
                  <a:lnTo>
                    <a:pt x="38" y="209"/>
                  </a:lnTo>
                  <a:lnTo>
                    <a:pt x="38" y="207"/>
                  </a:lnTo>
                  <a:close/>
                  <a:moveTo>
                    <a:pt x="38" y="207"/>
                  </a:moveTo>
                  <a:lnTo>
                    <a:pt x="35" y="207"/>
                  </a:lnTo>
                  <a:lnTo>
                    <a:pt x="38" y="207"/>
                  </a:lnTo>
                  <a:lnTo>
                    <a:pt x="35" y="207"/>
                  </a:lnTo>
                  <a:lnTo>
                    <a:pt x="38" y="207"/>
                  </a:lnTo>
                  <a:close/>
                  <a:moveTo>
                    <a:pt x="35" y="207"/>
                  </a:moveTo>
                  <a:lnTo>
                    <a:pt x="38" y="207"/>
                  </a:lnTo>
                  <a:lnTo>
                    <a:pt x="35" y="207"/>
                  </a:lnTo>
                  <a:lnTo>
                    <a:pt x="35" y="205"/>
                  </a:lnTo>
                  <a:lnTo>
                    <a:pt x="35" y="207"/>
                  </a:lnTo>
                  <a:close/>
                  <a:moveTo>
                    <a:pt x="38" y="205"/>
                  </a:moveTo>
                  <a:lnTo>
                    <a:pt x="38" y="207"/>
                  </a:lnTo>
                  <a:lnTo>
                    <a:pt x="38" y="205"/>
                  </a:lnTo>
                  <a:close/>
                  <a:moveTo>
                    <a:pt x="95" y="164"/>
                  </a:moveTo>
                  <a:lnTo>
                    <a:pt x="95" y="162"/>
                  </a:lnTo>
                  <a:lnTo>
                    <a:pt x="92" y="162"/>
                  </a:lnTo>
                  <a:lnTo>
                    <a:pt x="95" y="162"/>
                  </a:lnTo>
                  <a:lnTo>
                    <a:pt x="95" y="164"/>
                  </a:lnTo>
                  <a:close/>
                  <a:moveTo>
                    <a:pt x="68" y="157"/>
                  </a:moveTo>
                  <a:lnTo>
                    <a:pt x="68" y="160"/>
                  </a:lnTo>
                  <a:lnTo>
                    <a:pt x="66" y="160"/>
                  </a:lnTo>
                  <a:lnTo>
                    <a:pt x="66" y="157"/>
                  </a:lnTo>
                  <a:lnTo>
                    <a:pt x="68" y="157"/>
                  </a:lnTo>
                  <a:close/>
                  <a:moveTo>
                    <a:pt x="87" y="157"/>
                  </a:moveTo>
                  <a:lnTo>
                    <a:pt x="87" y="160"/>
                  </a:lnTo>
                  <a:lnTo>
                    <a:pt x="90" y="160"/>
                  </a:lnTo>
                  <a:lnTo>
                    <a:pt x="87" y="160"/>
                  </a:lnTo>
                  <a:lnTo>
                    <a:pt x="85" y="160"/>
                  </a:lnTo>
                  <a:lnTo>
                    <a:pt x="85" y="157"/>
                  </a:lnTo>
                  <a:lnTo>
                    <a:pt x="87" y="157"/>
                  </a:lnTo>
                  <a:close/>
                  <a:moveTo>
                    <a:pt x="61" y="148"/>
                  </a:moveTo>
                  <a:lnTo>
                    <a:pt x="59" y="148"/>
                  </a:lnTo>
                  <a:lnTo>
                    <a:pt x="59" y="145"/>
                  </a:lnTo>
                  <a:lnTo>
                    <a:pt x="61" y="145"/>
                  </a:lnTo>
                  <a:lnTo>
                    <a:pt x="61" y="148"/>
                  </a:lnTo>
                  <a:close/>
                  <a:moveTo>
                    <a:pt x="76" y="136"/>
                  </a:moveTo>
                  <a:lnTo>
                    <a:pt x="76" y="133"/>
                  </a:lnTo>
                  <a:lnTo>
                    <a:pt x="76" y="136"/>
                  </a:lnTo>
                  <a:close/>
                  <a:moveTo>
                    <a:pt x="73" y="136"/>
                  </a:moveTo>
                  <a:lnTo>
                    <a:pt x="73" y="133"/>
                  </a:lnTo>
                  <a:lnTo>
                    <a:pt x="73" y="136"/>
                  </a:lnTo>
                  <a:close/>
                  <a:moveTo>
                    <a:pt x="73" y="136"/>
                  </a:moveTo>
                  <a:lnTo>
                    <a:pt x="73" y="138"/>
                  </a:lnTo>
                  <a:lnTo>
                    <a:pt x="71" y="138"/>
                  </a:lnTo>
                  <a:lnTo>
                    <a:pt x="71" y="141"/>
                  </a:lnTo>
                  <a:lnTo>
                    <a:pt x="73" y="141"/>
                  </a:lnTo>
                  <a:lnTo>
                    <a:pt x="73" y="143"/>
                  </a:lnTo>
                  <a:lnTo>
                    <a:pt x="71" y="143"/>
                  </a:lnTo>
                  <a:lnTo>
                    <a:pt x="68" y="143"/>
                  </a:lnTo>
                  <a:lnTo>
                    <a:pt x="68" y="141"/>
                  </a:lnTo>
                  <a:lnTo>
                    <a:pt x="66" y="141"/>
                  </a:lnTo>
                  <a:lnTo>
                    <a:pt x="64" y="141"/>
                  </a:lnTo>
                  <a:lnTo>
                    <a:pt x="61" y="141"/>
                  </a:lnTo>
                  <a:lnTo>
                    <a:pt x="61" y="138"/>
                  </a:lnTo>
                  <a:lnTo>
                    <a:pt x="61" y="136"/>
                  </a:lnTo>
                  <a:lnTo>
                    <a:pt x="64" y="136"/>
                  </a:lnTo>
                  <a:lnTo>
                    <a:pt x="64" y="138"/>
                  </a:lnTo>
                  <a:lnTo>
                    <a:pt x="66" y="138"/>
                  </a:lnTo>
                  <a:lnTo>
                    <a:pt x="66" y="136"/>
                  </a:lnTo>
                  <a:lnTo>
                    <a:pt x="68" y="136"/>
                  </a:lnTo>
                  <a:lnTo>
                    <a:pt x="68" y="138"/>
                  </a:lnTo>
                  <a:lnTo>
                    <a:pt x="68" y="136"/>
                  </a:lnTo>
                  <a:lnTo>
                    <a:pt x="71" y="136"/>
                  </a:lnTo>
                  <a:lnTo>
                    <a:pt x="71" y="133"/>
                  </a:lnTo>
                  <a:lnTo>
                    <a:pt x="73" y="133"/>
                  </a:lnTo>
                  <a:lnTo>
                    <a:pt x="73" y="136"/>
                  </a:lnTo>
                  <a:close/>
                  <a:moveTo>
                    <a:pt x="52" y="129"/>
                  </a:moveTo>
                  <a:lnTo>
                    <a:pt x="50" y="129"/>
                  </a:lnTo>
                  <a:lnTo>
                    <a:pt x="50" y="126"/>
                  </a:lnTo>
                  <a:lnTo>
                    <a:pt x="52" y="126"/>
                  </a:lnTo>
                  <a:lnTo>
                    <a:pt x="52" y="124"/>
                  </a:lnTo>
                  <a:lnTo>
                    <a:pt x="52" y="126"/>
                  </a:lnTo>
                  <a:lnTo>
                    <a:pt x="52" y="129"/>
                  </a:lnTo>
                  <a:close/>
                  <a:moveTo>
                    <a:pt x="54" y="107"/>
                  </a:moveTo>
                  <a:lnTo>
                    <a:pt x="54" y="110"/>
                  </a:lnTo>
                  <a:lnTo>
                    <a:pt x="54" y="107"/>
                  </a:lnTo>
                  <a:close/>
                  <a:moveTo>
                    <a:pt x="52" y="81"/>
                  </a:moveTo>
                  <a:lnTo>
                    <a:pt x="52" y="79"/>
                  </a:lnTo>
                  <a:lnTo>
                    <a:pt x="52" y="81"/>
                  </a:lnTo>
                  <a:lnTo>
                    <a:pt x="52" y="79"/>
                  </a:lnTo>
                  <a:lnTo>
                    <a:pt x="52" y="81"/>
                  </a:lnTo>
                  <a:close/>
                  <a:moveTo>
                    <a:pt x="140" y="38"/>
                  </a:moveTo>
                  <a:lnTo>
                    <a:pt x="142" y="38"/>
                  </a:lnTo>
                  <a:lnTo>
                    <a:pt x="140" y="38"/>
                  </a:lnTo>
                  <a:close/>
                  <a:moveTo>
                    <a:pt x="137" y="38"/>
                  </a:moveTo>
                  <a:lnTo>
                    <a:pt x="137" y="41"/>
                  </a:lnTo>
                  <a:lnTo>
                    <a:pt x="140" y="41"/>
                  </a:lnTo>
                  <a:lnTo>
                    <a:pt x="140" y="43"/>
                  </a:lnTo>
                  <a:lnTo>
                    <a:pt x="140" y="41"/>
                  </a:lnTo>
                  <a:lnTo>
                    <a:pt x="140" y="43"/>
                  </a:lnTo>
                  <a:lnTo>
                    <a:pt x="137" y="43"/>
                  </a:lnTo>
                  <a:lnTo>
                    <a:pt x="137" y="41"/>
                  </a:lnTo>
                  <a:lnTo>
                    <a:pt x="137" y="43"/>
                  </a:lnTo>
                  <a:lnTo>
                    <a:pt x="137" y="46"/>
                  </a:lnTo>
                  <a:lnTo>
                    <a:pt x="137" y="43"/>
                  </a:lnTo>
                  <a:lnTo>
                    <a:pt x="135" y="43"/>
                  </a:lnTo>
                  <a:lnTo>
                    <a:pt x="135" y="41"/>
                  </a:lnTo>
                  <a:lnTo>
                    <a:pt x="135" y="38"/>
                  </a:lnTo>
                  <a:lnTo>
                    <a:pt x="133" y="38"/>
                  </a:lnTo>
                  <a:lnTo>
                    <a:pt x="135" y="38"/>
                  </a:lnTo>
                  <a:lnTo>
                    <a:pt x="137" y="38"/>
                  </a:lnTo>
                  <a:close/>
                  <a:moveTo>
                    <a:pt x="142" y="38"/>
                  </a:moveTo>
                  <a:lnTo>
                    <a:pt x="140" y="38"/>
                  </a:lnTo>
                  <a:lnTo>
                    <a:pt x="140" y="41"/>
                  </a:lnTo>
                  <a:lnTo>
                    <a:pt x="140" y="38"/>
                  </a:lnTo>
                  <a:lnTo>
                    <a:pt x="140" y="41"/>
                  </a:lnTo>
                  <a:lnTo>
                    <a:pt x="137" y="41"/>
                  </a:lnTo>
                  <a:lnTo>
                    <a:pt x="137" y="38"/>
                  </a:lnTo>
                  <a:lnTo>
                    <a:pt x="140" y="38"/>
                  </a:lnTo>
                  <a:lnTo>
                    <a:pt x="137" y="38"/>
                  </a:lnTo>
                  <a:lnTo>
                    <a:pt x="140" y="38"/>
                  </a:lnTo>
                  <a:lnTo>
                    <a:pt x="142" y="38"/>
                  </a:lnTo>
                  <a:close/>
                  <a:moveTo>
                    <a:pt x="140" y="36"/>
                  </a:moveTo>
                  <a:lnTo>
                    <a:pt x="142" y="36"/>
                  </a:lnTo>
                  <a:lnTo>
                    <a:pt x="140" y="36"/>
                  </a:lnTo>
                  <a:lnTo>
                    <a:pt x="142" y="36"/>
                  </a:lnTo>
                  <a:lnTo>
                    <a:pt x="140" y="38"/>
                  </a:lnTo>
                  <a:lnTo>
                    <a:pt x="140" y="36"/>
                  </a:lnTo>
                  <a:close/>
                  <a:moveTo>
                    <a:pt x="137" y="34"/>
                  </a:moveTo>
                  <a:lnTo>
                    <a:pt x="135" y="34"/>
                  </a:lnTo>
                  <a:lnTo>
                    <a:pt x="137" y="34"/>
                  </a:lnTo>
                  <a:lnTo>
                    <a:pt x="135" y="34"/>
                  </a:lnTo>
                  <a:lnTo>
                    <a:pt x="137" y="34"/>
                  </a:lnTo>
                  <a:close/>
                  <a:moveTo>
                    <a:pt x="133" y="27"/>
                  </a:moveTo>
                  <a:lnTo>
                    <a:pt x="133" y="24"/>
                  </a:lnTo>
                  <a:lnTo>
                    <a:pt x="133" y="27"/>
                  </a:lnTo>
                  <a:close/>
                  <a:moveTo>
                    <a:pt x="133" y="24"/>
                  </a:moveTo>
                  <a:lnTo>
                    <a:pt x="135" y="24"/>
                  </a:lnTo>
                  <a:lnTo>
                    <a:pt x="133" y="24"/>
                  </a:lnTo>
                  <a:lnTo>
                    <a:pt x="133" y="27"/>
                  </a:lnTo>
                  <a:lnTo>
                    <a:pt x="135" y="27"/>
                  </a:lnTo>
                  <a:lnTo>
                    <a:pt x="133" y="27"/>
                  </a:lnTo>
                  <a:lnTo>
                    <a:pt x="133" y="24"/>
                  </a:lnTo>
                  <a:close/>
                  <a:moveTo>
                    <a:pt x="135" y="24"/>
                  </a:moveTo>
                  <a:lnTo>
                    <a:pt x="133" y="24"/>
                  </a:lnTo>
                  <a:lnTo>
                    <a:pt x="135" y="24"/>
                  </a:lnTo>
                  <a:close/>
                  <a:moveTo>
                    <a:pt x="130" y="22"/>
                  </a:moveTo>
                  <a:lnTo>
                    <a:pt x="130" y="24"/>
                  </a:lnTo>
                  <a:lnTo>
                    <a:pt x="130" y="22"/>
                  </a:lnTo>
                  <a:close/>
                  <a:moveTo>
                    <a:pt x="135" y="19"/>
                  </a:moveTo>
                  <a:lnTo>
                    <a:pt x="135" y="22"/>
                  </a:lnTo>
                  <a:lnTo>
                    <a:pt x="133" y="22"/>
                  </a:lnTo>
                  <a:lnTo>
                    <a:pt x="133" y="24"/>
                  </a:lnTo>
                  <a:lnTo>
                    <a:pt x="133" y="22"/>
                  </a:lnTo>
                  <a:lnTo>
                    <a:pt x="135" y="22"/>
                  </a:lnTo>
                  <a:lnTo>
                    <a:pt x="135" y="19"/>
                  </a:lnTo>
                  <a:close/>
                  <a:moveTo>
                    <a:pt x="133" y="17"/>
                  </a:moveTo>
                  <a:lnTo>
                    <a:pt x="133" y="19"/>
                  </a:lnTo>
                  <a:lnTo>
                    <a:pt x="130" y="19"/>
                  </a:lnTo>
                  <a:lnTo>
                    <a:pt x="130" y="17"/>
                  </a:lnTo>
                  <a:lnTo>
                    <a:pt x="130" y="19"/>
                  </a:lnTo>
                  <a:lnTo>
                    <a:pt x="130" y="17"/>
                  </a:lnTo>
                  <a:lnTo>
                    <a:pt x="133" y="17"/>
                  </a:lnTo>
                  <a:close/>
                  <a:moveTo>
                    <a:pt x="135" y="15"/>
                  </a:moveTo>
                  <a:lnTo>
                    <a:pt x="135" y="17"/>
                  </a:lnTo>
                  <a:lnTo>
                    <a:pt x="135" y="15"/>
                  </a:lnTo>
                  <a:close/>
                  <a:moveTo>
                    <a:pt x="137" y="15"/>
                  </a:moveTo>
                  <a:lnTo>
                    <a:pt x="137" y="17"/>
                  </a:lnTo>
                  <a:lnTo>
                    <a:pt x="137" y="15"/>
                  </a:lnTo>
                  <a:lnTo>
                    <a:pt x="137" y="17"/>
                  </a:lnTo>
                  <a:lnTo>
                    <a:pt x="135" y="17"/>
                  </a:lnTo>
                  <a:lnTo>
                    <a:pt x="135" y="19"/>
                  </a:lnTo>
                  <a:lnTo>
                    <a:pt x="135" y="17"/>
                  </a:lnTo>
                  <a:lnTo>
                    <a:pt x="135" y="15"/>
                  </a:lnTo>
                  <a:lnTo>
                    <a:pt x="137" y="15"/>
                  </a:lnTo>
                  <a:close/>
                  <a:moveTo>
                    <a:pt x="137" y="15"/>
                  </a:moveTo>
                  <a:lnTo>
                    <a:pt x="135" y="15"/>
                  </a:lnTo>
                  <a:lnTo>
                    <a:pt x="137" y="15"/>
                  </a:lnTo>
                  <a:lnTo>
                    <a:pt x="135" y="15"/>
                  </a:lnTo>
                  <a:lnTo>
                    <a:pt x="137" y="15"/>
                  </a:lnTo>
                  <a:close/>
                  <a:moveTo>
                    <a:pt x="137" y="15"/>
                  </a:moveTo>
                  <a:lnTo>
                    <a:pt x="135" y="15"/>
                  </a:lnTo>
                  <a:lnTo>
                    <a:pt x="137" y="15"/>
                  </a:lnTo>
                  <a:close/>
                  <a:moveTo>
                    <a:pt x="137" y="12"/>
                  </a:moveTo>
                  <a:lnTo>
                    <a:pt x="140" y="12"/>
                  </a:lnTo>
                  <a:lnTo>
                    <a:pt x="137" y="12"/>
                  </a:lnTo>
                  <a:lnTo>
                    <a:pt x="137" y="15"/>
                  </a:lnTo>
                  <a:lnTo>
                    <a:pt x="137" y="12"/>
                  </a:lnTo>
                  <a:close/>
                  <a:moveTo>
                    <a:pt x="140" y="12"/>
                  </a:moveTo>
                  <a:lnTo>
                    <a:pt x="137" y="12"/>
                  </a:lnTo>
                  <a:lnTo>
                    <a:pt x="140" y="12"/>
                  </a:lnTo>
                  <a:close/>
                  <a:moveTo>
                    <a:pt x="168" y="3"/>
                  </a:moveTo>
                  <a:lnTo>
                    <a:pt x="166" y="3"/>
                  </a:lnTo>
                  <a:lnTo>
                    <a:pt x="168" y="3"/>
                  </a:lnTo>
                  <a:close/>
                  <a:moveTo>
                    <a:pt x="163" y="3"/>
                  </a:moveTo>
                  <a:lnTo>
                    <a:pt x="161" y="3"/>
                  </a:lnTo>
                  <a:lnTo>
                    <a:pt x="163" y="3"/>
                  </a:lnTo>
                  <a:close/>
                  <a:moveTo>
                    <a:pt x="166" y="3"/>
                  </a:moveTo>
                  <a:lnTo>
                    <a:pt x="163" y="3"/>
                  </a:lnTo>
                  <a:lnTo>
                    <a:pt x="166" y="3"/>
                  </a:lnTo>
                  <a:close/>
                  <a:moveTo>
                    <a:pt x="166" y="0"/>
                  </a:moveTo>
                  <a:lnTo>
                    <a:pt x="168" y="0"/>
                  </a:lnTo>
                  <a:lnTo>
                    <a:pt x="166" y="3"/>
                  </a:lnTo>
                  <a:lnTo>
                    <a:pt x="168" y="3"/>
                  </a:lnTo>
                  <a:lnTo>
                    <a:pt x="166" y="3"/>
                  </a:lnTo>
                  <a:lnTo>
                    <a:pt x="16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4" name="Freeform 52481"/>
            <p:cNvSpPr>
              <a:spLocks noEditPoints="1"/>
            </p:cNvSpPr>
            <p:nvPr/>
          </p:nvSpPr>
          <p:spPr bwMode="auto">
            <a:xfrm>
              <a:off x="2511423" y="5021281"/>
              <a:ext cx="452438" cy="622303"/>
            </a:xfrm>
            <a:custGeom>
              <a:avLst/>
              <a:gdLst>
                <a:gd name="T0" fmla="*/ 197 w 285"/>
                <a:gd name="T1" fmla="*/ 392 h 392"/>
                <a:gd name="T2" fmla="*/ 107 w 285"/>
                <a:gd name="T3" fmla="*/ 362 h 392"/>
                <a:gd name="T4" fmla="*/ 107 w 285"/>
                <a:gd name="T5" fmla="*/ 362 h 392"/>
                <a:gd name="T6" fmla="*/ 104 w 285"/>
                <a:gd name="T7" fmla="*/ 359 h 392"/>
                <a:gd name="T8" fmla="*/ 194 w 285"/>
                <a:gd name="T9" fmla="*/ 326 h 392"/>
                <a:gd name="T10" fmla="*/ 194 w 285"/>
                <a:gd name="T11" fmla="*/ 326 h 392"/>
                <a:gd name="T12" fmla="*/ 192 w 285"/>
                <a:gd name="T13" fmla="*/ 326 h 392"/>
                <a:gd name="T14" fmla="*/ 285 w 285"/>
                <a:gd name="T15" fmla="*/ 255 h 392"/>
                <a:gd name="T16" fmla="*/ 285 w 285"/>
                <a:gd name="T17" fmla="*/ 255 h 392"/>
                <a:gd name="T18" fmla="*/ 138 w 285"/>
                <a:gd name="T19" fmla="*/ 228 h 392"/>
                <a:gd name="T20" fmla="*/ 14 w 285"/>
                <a:gd name="T21" fmla="*/ 221 h 392"/>
                <a:gd name="T22" fmla="*/ 14 w 285"/>
                <a:gd name="T23" fmla="*/ 221 h 392"/>
                <a:gd name="T24" fmla="*/ 9 w 285"/>
                <a:gd name="T25" fmla="*/ 219 h 392"/>
                <a:gd name="T26" fmla="*/ 9 w 285"/>
                <a:gd name="T27" fmla="*/ 212 h 392"/>
                <a:gd name="T28" fmla="*/ 9 w 285"/>
                <a:gd name="T29" fmla="*/ 212 h 392"/>
                <a:gd name="T30" fmla="*/ 0 w 285"/>
                <a:gd name="T31" fmla="*/ 209 h 392"/>
                <a:gd name="T32" fmla="*/ 100 w 285"/>
                <a:gd name="T33" fmla="*/ 46 h 392"/>
                <a:gd name="T34" fmla="*/ 100 w 285"/>
                <a:gd name="T35" fmla="*/ 46 h 392"/>
                <a:gd name="T36" fmla="*/ 104 w 285"/>
                <a:gd name="T37" fmla="*/ 46 h 392"/>
                <a:gd name="T38" fmla="*/ 104 w 285"/>
                <a:gd name="T39" fmla="*/ 43 h 392"/>
                <a:gd name="T40" fmla="*/ 104 w 285"/>
                <a:gd name="T41" fmla="*/ 43 h 392"/>
                <a:gd name="T42" fmla="*/ 100 w 285"/>
                <a:gd name="T43" fmla="*/ 36 h 392"/>
                <a:gd name="T44" fmla="*/ 109 w 285"/>
                <a:gd name="T45" fmla="*/ 36 h 392"/>
                <a:gd name="T46" fmla="*/ 109 w 285"/>
                <a:gd name="T47" fmla="*/ 36 h 392"/>
                <a:gd name="T48" fmla="*/ 97 w 285"/>
                <a:gd name="T49" fmla="*/ 36 h 392"/>
                <a:gd name="T50" fmla="*/ 102 w 285"/>
                <a:gd name="T51" fmla="*/ 34 h 392"/>
                <a:gd name="T52" fmla="*/ 102 w 285"/>
                <a:gd name="T53" fmla="*/ 34 h 392"/>
                <a:gd name="T54" fmla="*/ 100 w 285"/>
                <a:gd name="T55" fmla="*/ 31 h 392"/>
                <a:gd name="T56" fmla="*/ 102 w 285"/>
                <a:gd name="T57" fmla="*/ 31 h 392"/>
                <a:gd name="T58" fmla="*/ 102 w 285"/>
                <a:gd name="T59" fmla="*/ 31 h 392"/>
                <a:gd name="T60" fmla="*/ 97 w 285"/>
                <a:gd name="T61" fmla="*/ 24 h 392"/>
                <a:gd name="T62" fmla="*/ 95 w 285"/>
                <a:gd name="T63" fmla="*/ 24 h 392"/>
                <a:gd name="T64" fmla="*/ 95 w 285"/>
                <a:gd name="T65" fmla="*/ 22 h 392"/>
                <a:gd name="T66" fmla="*/ 95 w 285"/>
                <a:gd name="T67" fmla="*/ 24 h 392"/>
                <a:gd name="T68" fmla="*/ 97 w 285"/>
                <a:gd name="T69" fmla="*/ 17 h 392"/>
                <a:gd name="T70" fmla="*/ 102 w 285"/>
                <a:gd name="T71" fmla="*/ 15 h 392"/>
                <a:gd name="T72" fmla="*/ 102 w 285"/>
                <a:gd name="T73" fmla="*/ 15 h 392"/>
                <a:gd name="T74" fmla="*/ 102 w 285"/>
                <a:gd name="T75" fmla="*/ 15 h 392"/>
                <a:gd name="T76" fmla="*/ 104 w 285"/>
                <a:gd name="T77" fmla="*/ 15 h 392"/>
                <a:gd name="T78" fmla="*/ 104 w 285"/>
                <a:gd name="T79" fmla="*/ 15 h 392"/>
                <a:gd name="T80" fmla="*/ 102 w 285"/>
                <a:gd name="T81" fmla="*/ 15 h 392"/>
                <a:gd name="T82" fmla="*/ 104 w 285"/>
                <a:gd name="T83" fmla="*/ 15 h 392"/>
                <a:gd name="T84" fmla="*/ 104 w 285"/>
                <a:gd name="T85" fmla="*/ 15 h 392"/>
                <a:gd name="T86" fmla="*/ 104 w 285"/>
                <a:gd name="T87" fmla="*/ 12 h 392"/>
                <a:gd name="T88" fmla="*/ 107 w 285"/>
                <a:gd name="T89" fmla="*/ 12 h 392"/>
                <a:gd name="T90" fmla="*/ 107 w 285"/>
                <a:gd name="T91" fmla="*/ 12 h 392"/>
                <a:gd name="T92" fmla="*/ 107 w 285"/>
                <a:gd name="T93" fmla="*/ 12 h 392"/>
                <a:gd name="T94" fmla="*/ 104 w 285"/>
                <a:gd name="T95" fmla="*/ 15 h 392"/>
                <a:gd name="T96" fmla="*/ 107 w 285"/>
                <a:gd name="T97" fmla="*/ 12 h 392"/>
                <a:gd name="T98" fmla="*/ 107 w 285"/>
                <a:gd name="T99" fmla="*/ 12 h 392"/>
                <a:gd name="T100" fmla="*/ 109 w 285"/>
                <a:gd name="T101" fmla="*/ 12 h 392"/>
                <a:gd name="T102" fmla="*/ 109 w 285"/>
                <a:gd name="T103" fmla="*/ 12 h 392"/>
                <a:gd name="T104" fmla="*/ 107 w 285"/>
                <a:gd name="T105" fmla="*/ 12 h 392"/>
                <a:gd name="T106" fmla="*/ 107 w 285"/>
                <a:gd name="T107" fmla="*/ 12 h 392"/>
                <a:gd name="T108" fmla="*/ 107 w 285"/>
                <a:gd name="T109" fmla="*/ 10 h 392"/>
                <a:gd name="T110" fmla="*/ 130 w 285"/>
                <a:gd name="T111" fmla="*/ 3 h 392"/>
                <a:gd name="T112" fmla="*/ 130 w 285"/>
                <a:gd name="T113"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392">
                  <a:moveTo>
                    <a:pt x="197" y="390"/>
                  </a:moveTo>
                  <a:lnTo>
                    <a:pt x="197" y="392"/>
                  </a:lnTo>
                  <a:lnTo>
                    <a:pt x="197" y="390"/>
                  </a:lnTo>
                  <a:close/>
                  <a:moveTo>
                    <a:pt x="107" y="362"/>
                  </a:moveTo>
                  <a:lnTo>
                    <a:pt x="107" y="359"/>
                  </a:lnTo>
                  <a:lnTo>
                    <a:pt x="107" y="362"/>
                  </a:lnTo>
                  <a:close/>
                  <a:moveTo>
                    <a:pt x="107" y="359"/>
                  </a:moveTo>
                  <a:lnTo>
                    <a:pt x="104" y="359"/>
                  </a:lnTo>
                  <a:lnTo>
                    <a:pt x="107" y="359"/>
                  </a:lnTo>
                  <a:close/>
                  <a:moveTo>
                    <a:pt x="194" y="326"/>
                  </a:moveTo>
                  <a:lnTo>
                    <a:pt x="192" y="326"/>
                  </a:lnTo>
                  <a:lnTo>
                    <a:pt x="194" y="326"/>
                  </a:lnTo>
                  <a:close/>
                  <a:moveTo>
                    <a:pt x="194" y="326"/>
                  </a:moveTo>
                  <a:lnTo>
                    <a:pt x="192" y="326"/>
                  </a:lnTo>
                  <a:lnTo>
                    <a:pt x="194" y="326"/>
                  </a:lnTo>
                  <a:close/>
                  <a:moveTo>
                    <a:pt x="285" y="255"/>
                  </a:moveTo>
                  <a:lnTo>
                    <a:pt x="285" y="252"/>
                  </a:lnTo>
                  <a:lnTo>
                    <a:pt x="285" y="255"/>
                  </a:lnTo>
                  <a:close/>
                  <a:moveTo>
                    <a:pt x="140" y="228"/>
                  </a:moveTo>
                  <a:lnTo>
                    <a:pt x="138" y="228"/>
                  </a:lnTo>
                  <a:lnTo>
                    <a:pt x="140" y="228"/>
                  </a:lnTo>
                  <a:close/>
                  <a:moveTo>
                    <a:pt x="14" y="221"/>
                  </a:moveTo>
                  <a:lnTo>
                    <a:pt x="12" y="221"/>
                  </a:lnTo>
                  <a:lnTo>
                    <a:pt x="14" y="221"/>
                  </a:lnTo>
                  <a:close/>
                  <a:moveTo>
                    <a:pt x="12" y="219"/>
                  </a:moveTo>
                  <a:lnTo>
                    <a:pt x="9" y="219"/>
                  </a:lnTo>
                  <a:lnTo>
                    <a:pt x="12" y="219"/>
                  </a:lnTo>
                  <a:close/>
                  <a:moveTo>
                    <a:pt x="9" y="212"/>
                  </a:moveTo>
                  <a:lnTo>
                    <a:pt x="7" y="212"/>
                  </a:lnTo>
                  <a:lnTo>
                    <a:pt x="9" y="212"/>
                  </a:lnTo>
                  <a:close/>
                  <a:moveTo>
                    <a:pt x="0" y="207"/>
                  </a:moveTo>
                  <a:lnTo>
                    <a:pt x="0" y="209"/>
                  </a:lnTo>
                  <a:lnTo>
                    <a:pt x="0" y="207"/>
                  </a:lnTo>
                  <a:close/>
                  <a:moveTo>
                    <a:pt x="100" y="46"/>
                  </a:moveTo>
                  <a:lnTo>
                    <a:pt x="102" y="46"/>
                  </a:lnTo>
                  <a:lnTo>
                    <a:pt x="100" y="46"/>
                  </a:lnTo>
                  <a:close/>
                  <a:moveTo>
                    <a:pt x="104" y="43"/>
                  </a:moveTo>
                  <a:lnTo>
                    <a:pt x="104" y="46"/>
                  </a:lnTo>
                  <a:lnTo>
                    <a:pt x="104" y="43"/>
                  </a:lnTo>
                  <a:close/>
                  <a:moveTo>
                    <a:pt x="104" y="43"/>
                  </a:moveTo>
                  <a:lnTo>
                    <a:pt x="107" y="43"/>
                  </a:lnTo>
                  <a:lnTo>
                    <a:pt x="104" y="43"/>
                  </a:lnTo>
                  <a:close/>
                  <a:moveTo>
                    <a:pt x="100" y="38"/>
                  </a:moveTo>
                  <a:lnTo>
                    <a:pt x="100" y="36"/>
                  </a:lnTo>
                  <a:lnTo>
                    <a:pt x="100" y="38"/>
                  </a:lnTo>
                  <a:close/>
                  <a:moveTo>
                    <a:pt x="109" y="36"/>
                  </a:moveTo>
                  <a:lnTo>
                    <a:pt x="107" y="36"/>
                  </a:lnTo>
                  <a:lnTo>
                    <a:pt x="109" y="36"/>
                  </a:lnTo>
                  <a:close/>
                  <a:moveTo>
                    <a:pt x="100" y="36"/>
                  </a:moveTo>
                  <a:lnTo>
                    <a:pt x="97" y="36"/>
                  </a:lnTo>
                  <a:lnTo>
                    <a:pt x="100" y="36"/>
                  </a:lnTo>
                  <a:close/>
                  <a:moveTo>
                    <a:pt x="102" y="34"/>
                  </a:moveTo>
                  <a:lnTo>
                    <a:pt x="102" y="31"/>
                  </a:lnTo>
                  <a:lnTo>
                    <a:pt x="102" y="34"/>
                  </a:lnTo>
                  <a:close/>
                  <a:moveTo>
                    <a:pt x="102" y="31"/>
                  </a:moveTo>
                  <a:lnTo>
                    <a:pt x="100" y="31"/>
                  </a:lnTo>
                  <a:lnTo>
                    <a:pt x="102" y="31"/>
                  </a:lnTo>
                  <a:close/>
                  <a:moveTo>
                    <a:pt x="102" y="31"/>
                  </a:moveTo>
                  <a:lnTo>
                    <a:pt x="100" y="31"/>
                  </a:lnTo>
                  <a:lnTo>
                    <a:pt x="102" y="31"/>
                  </a:lnTo>
                  <a:close/>
                  <a:moveTo>
                    <a:pt x="100" y="24"/>
                  </a:moveTo>
                  <a:lnTo>
                    <a:pt x="97" y="24"/>
                  </a:lnTo>
                  <a:lnTo>
                    <a:pt x="100" y="24"/>
                  </a:lnTo>
                  <a:close/>
                  <a:moveTo>
                    <a:pt x="95" y="24"/>
                  </a:moveTo>
                  <a:lnTo>
                    <a:pt x="97" y="22"/>
                  </a:lnTo>
                  <a:lnTo>
                    <a:pt x="95" y="22"/>
                  </a:lnTo>
                  <a:lnTo>
                    <a:pt x="97" y="22"/>
                  </a:lnTo>
                  <a:lnTo>
                    <a:pt x="95" y="24"/>
                  </a:lnTo>
                  <a:close/>
                  <a:moveTo>
                    <a:pt x="97" y="19"/>
                  </a:moveTo>
                  <a:lnTo>
                    <a:pt x="97" y="17"/>
                  </a:lnTo>
                  <a:lnTo>
                    <a:pt x="97" y="19"/>
                  </a:lnTo>
                  <a:close/>
                  <a:moveTo>
                    <a:pt x="102" y="15"/>
                  </a:moveTo>
                  <a:lnTo>
                    <a:pt x="100" y="15"/>
                  </a:lnTo>
                  <a:lnTo>
                    <a:pt x="102" y="15"/>
                  </a:lnTo>
                  <a:close/>
                  <a:moveTo>
                    <a:pt x="100" y="15"/>
                  </a:moveTo>
                  <a:lnTo>
                    <a:pt x="102" y="15"/>
                  </a:lnTo>
                  <a:lnTo>
                    <a:pt x="100" y="15"/>
                  </a:lnTo>
                  <a:close/>
                  <a:moveTo>
                    <a:pt x="104" y="15"/>
                  </a:moveTo>
                  <a:lnTo>
                    <a:pt x="102" y="15"/>
                  </a:lnTo>
                  <a:lnTo>
                    <a:pt x="104" y="15"/>
                  </a:lnTo>
                  <a:close/>
                  <a:moveTo>
                    <a:pt x="104" y="15"/>
                  </a:moveTo>
                  <a:lnTo>
                    <a:pt x="102" y="15"/>
                  </a:lnTo>
                  <a:lnTo>
                    <a:pt x="104" y="15"/>
                  </a:lnTo>
                  <a:close/>
                  <a:moveTo>
                    <a:pt x="104" y="15"/>
                  </a:moveTo>
                  <a:lnTo>
                    <a:pt x="104" y="12"/>
                  </a:lnTo>
                  <a:lnTo>
                    <a:pt x="104" y="15"/>
                  </a:lnTo>
                  <a:close/>
                  <a:moveTo>
                    <a:pt x="104" y="15"/>
                  </a:moveTo>
                  <a:lnTo>
                    <a:pt x="104" y="12"/>
                  </a:lnTo>
                  <a:lnTo>
                    <a:pt x="104" y="15"/>
                  </a:lnTo>
                  <a:close/>
                  <a:moveTo>
                    <a:pt x="107" y="12"/>
                  </a:moveTo>
                  <a:lnTo>
                    <a:pt x="107" y="15"/>
                  </a:lnTo>
                  <a:lnTo>
                    <a:pt x="107" y="12"/>
                  </a:lnTo>
                  <a:lnTo>
                    <a:pt x="107" y="15"/>
                  </a:lnTo>
                  <a:lnTo>
                    <a:pt x="107" y="12"/>
                  </a:lnTo>
                  <a:close/>
                  <a:moveTo>
                    <a:pt x="104" y="12"/>
                  </a:moveTo>
                  <a:lnTo>
                    <a:pt x="104" y="15"/>
                  </a:lnTo>
                  <a:lnTo>
                    <a:pt x="104" y="12"/>
                  </a:lnTo>
                  <a:close/>
                  <a:moveTo>
                    <a:pt x="107" y="12"/>
                  </a:moveTo>
                  <a:lnTo>
                    <a:pt x="104" y="12"/>
                  </a:lnTo>
                  <a:lnTo>
                    <a:pt x="107" y="12"/>
                  </a:lnTo>
                  <a:close/>
                  <a:moveTo>
                    <a:pt x="109" y="10"/>
                  </a:moveTo>
                  <a:lnTo>
                    <a:pt x="109" y="12"/>
                  </a:lnTo>
                  <a:lnTo>
                    <a:pt x="109" y="10"/>
                  </a:lnTo>
                  <a:lnTo>
                    <a:pt x="109" y="12"/>
                  </a:lnTo>
                  <a:lnTo>
                    <a:pt x="109" y="10"/>
                  </a:lnTo>
                  <a:close/>
                  <a:moveTo>
                    <a:pt x="107" y="12"/>
                  </a:moveTo>
                  <a:lnTo>
                    <a:pt x="107" y="10"/>
                  </a:lnTo>
                  <a:lnTo>
                    <a:pt x="107" y="12"/>
                  </a:lnTo>
                  <a:close/>
                  <a:moveTo>
                    <a:pt x="107" y="12"/>
                  </a:moveTo>
                  <a:lnTo>
                    <a:pt x="107" y="10"/>
                  </a:lnTo>
                  <a:lnTo>
                    <a:pt x="107" y="12"/>
                  </a:lnTo>
                  <a:close/>
                  <a:moveTo>
                    <a:pt x="130" y="3"/>
                  </a:moveTo>
                  <a:lnTo>
                    <a:pt x="128" y="3"/>
                  </a:lnTo>
                  <a:lnTo>
                    <a:pt x="130" y="0"/>
                  </a:lnTo>
                  <a:lnTo>
                    <a:pt x="130"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5" name="Freeform 52483"/>
            <p:cNvSpPr>
              <a:spLocks/>
            </p:cNvSpPr>
            <p:nvPr/>
          </p:nvSpPr>
          <p:spPr bwMode="auto">
            <a:xfrm>
              <a:off x="1908174" y="4757754"/>
              <a:ext cx="11113" cy="7938"/>
            </a:xfrm>
            <a:custGeom>
              <a:avLst/>
              <a:gdLst>
                <a:gd name="T0" fmla="*/ 3 w 7"/>
                <a:gd name="T1" fmla="*/ 0 h 5"/>
                <a:gd name="T2" fmla="*/ 5 w 7"/>
                <a:gd name="T3" fmla="*/ 0 h 5"/>
                <a:gd name="T4" fmla="*/ 5 w 7"/>
                <a:gd name="T5" fmla="*/ 0 h 5"/>
                <a:gd name="T6" fmla="*/ 5 w 7"/>
                <a:gd name="T7" fmla="*/ 0 h 5"/>
                <a:gd name="T8" fmla="*/ 5 w 7"/>
                <a:gd name="T9" fmla="*/ 0 h 5"/>
                <a:gd name="T10" fmla="*/ 5 w 7"/>
                <a:gd name="T11" fmla="*/ 0 h 5"/>
                <a:gd name="T12" fmla="*/ 5 w 7"/>
                <a:gd name="T13" fmla="*/ 0 h 5"/>
                <a:gd name="T14" fmla="*/ 7 w 7"/>
                <a:gd name="T15" fmla="*/ 0 h 5"/>
                <a:gd name="T16" fmla="*/ 7 w 7"/>
                <a:gd name="T17" fmla="*/ 0 h 5"/>
                <a:gd name="T18" fmla="*/ 7 w 7"/>
                <a:gd name="T19" fmla="*/ 0 h 5"/>
                <a:gd name="T20" fmla="*/ 7 w 7"/>
                <a:gd name="T21" fmla="*/ 0 h 5"/>
                <a:gd name="T22" fmla="*/ 7 w 7"/>
                <a:gd name="T23" fmla="*/ 0 h 5"/>
                <a:gd name="T24" fmla="*/ 7 w 7"/>
                <a:gd name="T25" fmla="*/ 0 h 5"/>
                <a:gd name="T26" fmla="*/ 7 w 7"/>
                <a:gd name="T27" fmla="*/ 3 h 5"/>
                <a:gd name="T28" fmla="*/ 7 w 7"/>
                <a:gd name="T29" fmla="*/ 3 h 5"/>
                <a:gd name="T30" fmla="*/ 7 w 7"/>
                <a:gd name="T31" fmla="*/ 3 h 5"/>
                <a:gd name="T32" fmla="*/ 7 w 7"/>
                <a:gd name="T33" fmla="*/ 3 h 5"/>
                <a:gd name="T34" fmla="*/ 7 w 7"/>
                <a:gd name="T35" fmla="*/ 3 h 5"/>
                <a:gd name="T36" fmla="*/ 7 w 7"/>
                <a:gd name="T37" fmla="*/ 3 h 5"/>
                <a:gd name="T38" fmla="*/ 7 w 7"/>
                <a:gd name="T39" fmla="*/ 5 h 5"/>
                <a:gd name="T40" fmla="*/ 7 w 7"/>
                <a:gd name="T41" fmla="*/ 5 h 5"/>
                <a:gd name="T42" fmla="*/ 7 w 7"/>
                <a:gd name="T43" fmla="*/ 5 h 5"/>
                <a:gd name="T44" fmla="*/ 7 w 7"/>
                <a:gd name="T45" fmla="*/ 5 h 5"/>
                <a:gd name="T46" fmla="*/ 5 w 7"/>
                <a:gd name="T47" fmla="*/ 5 h 5"/>
                <a:gd name="T48" fmla="*/ 5 w 7"/>
                <a:gd name="T49" fmla="*/ 3 h 5"/>
                <a:gd name="T50" fmla="*/ 5 w 7"/>
                <a:gd name="T51" fmla="*/ 5 h 5"/>
                <a:gd name="T52" fmla="*/ 5 w 7"/>
                <a:gd name="T53" fmla="*/ 5 h 5"/>
                <a:gd name="T54" fmla="*/ 5 w 7"/>
                <a:gd name="T55" fmla="*/ 5 h 5"/>
                <a:gd name="T56" fmla="*/ 5 w 7"/>
                <a:gd name="T57" fmla="*/ 5 h 5"/>
                <a:gd name="T58" fmla="*/ 5 w 7"/>
                <a:gd name="T59" fmla="*/ 5 h 5"/>
                <a:gd name="T60" fmla="*/ 5 w 7"/>
                <a:gd name="T61" fmla="*/ 3 h 5"/>
                <a:gd name="T62" fmla="*/ 5 w 7"/>
                <a:gd name="T63" fmla="*/ 3 h 5"/>
                <a:gd name="T64" fmla="*/ 3 w 7"/>
                <a:gd name="T65" fmla="*/ 3 h 5"/>
                <a:gd name="T66" fmla="*/ 3 w 7"/>
                <a:gd name="T67" fmla="*/ 3 h 5"/>
                <a:gd name="T68" fmla="*/ 3 w 7"/>
                <a:gd name="T69" fmla="*/ 3 h 5"/>
                <a:gd name="T70" fmla="*/ 3 w 7"/>
                <a:gd name="T71" fmla="*/ 5 h 5"/>
                <a:gd name="T72" fmla="*/ 3 w 7"/>
                <a:gd name="T73" fmla="*/ 5 h 5"/>
                <a:gd name="T74" fmla="*/ 3 w 7"/>
                <a:gd name="T75" fmla="*/ 5 h 5"/>
                <a:gd name="T76" fmla="*/ 3 w 7"/>
                <a:gd name="T77" fmla="*/ 5 h 5"/>
                <a:gd name="T78" fmla="*/ 3 w 7"/>
                <a:gd name="T79" fmla="*/ 3 h 5"/>
                <a:gd name="T80" fmla="*/ 3 w 7"/>
                <a:gd name="T81" fmla="*/ 3 h 5"/>
                <a:gd name="T82" fmla="*/ 3 w 7"/>
                <a:gd name="T83" fmla="*/ 3 h 5"/>
                <a:gd name="T84" fmla="*/ 3 w 7"/>
                <a:gd name="T85" fmla="*/ 3 h 5"/>
                <a:gd name="T86" fmla="*/ 3 w 7"/>
                <a:gd name="T87" fmla="*/ 3 h 5"/>
                <a:gd name="T88" fmla="*/ 0 w 7"/>
                <a:gd name="T89" fmla="*/ 5 h 5"/>
                <a:gd name="T90" fmla="*/ 0 w 7"/>
                <a:gd name="T91" fmla="*/ 3 h 5"/>
                <a:gd name="T92" fmla="*/ 0 w 7"/>
                <a:gd name="T93" fmla="*/ 3 h 5"/>
                <a:gd name="T94" fmla="*/ 0 w 7"/>
                <a:gd name="T95" fmla="*/ 3 h 5"/>
                <a:gd name="T96" fmla="*/ 3 w 7"/>
                <a:gd name="T97" fmla="*/ 3 h 5"/>
                <a:gd name="T98" fmla="*/ 0 w 7"/>
                <a:gd name="T99" fmla="*/ 3 h 5"/>
                <a:gd name="T100" fmla="*/ 0 w 7"/>
                <a:gd name="T101" fmla="*/ 0 h 5"/>
                <a:gd name="T102" fmla="*/ 0 w 7"/>
                <a:gd name="T103" fmla="*/ 0 h 5"/>
                <a:gd name="T104" fmla="*/ 0 w 7"/>
                <a:gd name="T105" fmla="*/ 0 h 5"/>
                <a:gd name="T106" fmla="*/ 0 w 7"/>
                <a:gd name="T107" fmla="*/ 0 h 5"/>
                <a:gd name="T108" fmla="*/ 0 w 7"/>
                <a:gd name="T109" fmla="*/ 0 h 5"/>
                <a:gd name="T110" fmla="*/ 3 w 7"/>
                <a:gd name="T111" fmla="*/ 0 h 5"/>
                <a:gd name="T112" fmla="*/ 3 w 7"/>
                <a:gd name="T113" fmla="*/ 0 h 5"/>
                <a:gd name="T114" fmla="*/ 3 w 7"/>
                <a:gd name="T115" fmla="*/ 0 h 5"/>
                <a:gd name="T116" fmla="*/ 3 w 7"/>
                <a:gd name="T117" fmla="*/ 0 h 5"/>
                <a:gd name="T118" fmla="*/ 3 w 7"/>
                <a:gd name="T119" fmla="*/ 0 h 5"/>
                <a:gd name="T120" fmla="*/ 3 w 7"/>
                <a:gd name="T1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 h="5">
                  <a:moveTo>
                    <a:pt x="3" y="0"/>
                  </a:moveTo>
                  <a:lnTo>
                    <a:pt x="3" y="0"/>
                  </a:lnTo>
                  <a:lnTo>
                    <a:pt x="3"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3"/>
                  </a:lnTo>
                  <a:lnTo>
                    <a:pt x="7" y="0"/>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5"/>
                  </a:lnTo>
                  <a:lnTo>
                    <a:pt x="7" y="5"/>
                  </a:lnTo>
                  <a:lnTo>
                    <a:pt x="7" y="5"/>
                  </a:lnTo>
                  <a:lnTo>
                    <a:pt x="7" y="5"/>
                  </a:lnTo>
                  <a:lnTo>
                    <a:pt x="7" y="5"/>
                  </a:lnTo>
                  <a:lnTo>
                    <a:pt x="7" y="5"/>
                  </a:lnTo>
                  <a:lnTo>
                    <a:pt x="7" y="5"/>
                  </a:lnTo>
                  <a:lnTo>
                    <a:pt x="7" y="5"/>
                  </a:lnTo>
                  <a:lnTo>
                    <a:pt x="7" y="5"/>
                  </a:lnTo>
                  <a:lnTo>
                    <a:pt x="7" y="5"/>
                  </a:lnTo>
                  <a:lnTo>
                    <a:pt x="7" y="5"/>
                  </a:lnTo>
                  <a:lnTo>
                    <a:pt x="5" y="5"/>
                  </a:lnTo>
                  <a:lnTo>
                    <a:pt x="5" y="5"/>
                  </a:lnTo>
                  <a:lnTo>
                    <a:pt x="5" y="5"/>
                  </a:lnTo>
                  <a:lnTo>
                    <a:pt x="5" y="3"/>
                  </a:lnTo>
                  <a:lnTo>
                    <a:pt x="5" y="3"/>
                  </a:lnTo>
                  <a:lnTo>
                    <a:pt x="5" y="3"/>
                  </a:lnTo>
                  <a:lnTo>
                    <a:pt x="5" y="3"/>
                  </a:lnTo>
                  <a:lnTo>
                    <a:pt x="5" y="3"/>
                  </a:lnTo>
                  <a:lnTo>
                    <a:pt x="5" y="5"/>
                  </a:lnTo>
                  <a:lnTo>
                    <a:pt x="5" y="5"/>
                  </a:lnTo>
                  <a:lnTo>
                    <a:pt x="5" y="5"/>
                  </a:lnTo>
                  <a:lnTo>
                    <a:pt x="5" y="5"/>
                  </a:lnTo>
                  <a:lnTo>
                    <a:pt x="5" y="5"/>
                  </a:lnTo>
                  <a:lnTo>
                    <a:pt x="5" y="5"/>
                  </a:lnTo>
                  <a:lnTo>
                    <a:pt x="5" y="5"/>
                  </a:lnTo>
                  <a:lnTo>
                    <a:pt x="5" y="5"/>
                  </a:lnTo>
                  <a:lnTo>
                    <a:pt x="5" y="5"/>
                  </a:lnTo>
                  <a:lnTo>
                    <a:pt x="5" y="5"/>
                  </a:lnTo>
                  <a:lnTo>
                    <a:pt x="5" y="5"/>
                  </a:lnTo>
                  <a:lnTo>
                    <a:pt x="5" y="5"/>
                  </a:lnTo>
                  <a:lnTo>
                    <a:pt x="5" y="5"/>
                  </a:lnTo>
                  <a:lnTo>
                    <a:pt x="5" y="3"/>
                  </a:lnTo>
                  <a:lnTo>
                    <a:pt x="5" y="3"/>
                  </a:lnTo>
                  <a:lnTo>
                    <a:pt x="5" y="3"/>
                  </a:lnTo>
                  <a:lnTo>
                    <a:pt x="5" y="3"/>
                  </a:lnTo>
                  <a:lnTo>
                    <a:pt x="5" y="3"/>
                  </a:lnTo>
                  <a:lnTo>
                    <a:pt x="5" y="3"/>
                  </a:lnTo>
                  <a:lnTo>
                    <a:pt x="5" y="3"/>
                  </a:lnTo>
                  <a:lnTo>
                    <a:pt x="5" y="3"/>
                  </a:lnTo>
                  <a:lnTo>
                    <a:pt x="3" y="3"/>
                  </a:lnTo>
                  <a:lnTo>
                    <a:pt x="3" y="3"/>
                  </a:lnTo>
                  <a:lnTo>
                    <a:pt x="3" y="3"/>
                  </a:lnTo>
                  <a:lnTo>
                    <a:pt x="3" y="3"/>
                  </a:lnTo>
                  <a:lnTo>
                    <a:pt x="3" y="3"/>
                  </a:lnTo>
                  <a:lnTo>
                    <a:pt x="3" y="3"/>
                  </a:lnTo>
                  <a:lnTo>
                    <a:pt x="3" y="3"/>
                  </a:lnTo>
                  <a:lnTo>
                    <a:pt x="3" y="3"/>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0" y="5"/>
                  </a:lnTo>
                  <a:lnTo>
                    <a:pt x="0" y="3"/>
                  </a:lnTo>
                  <a:lnTo>
                    <a:pt x="0" y="3"/>
                  </a:lnTo>
                  <a:lnTo>
                    <a:pt x="0" y="3"/>
                  </a:lnTo>
                  <a:lnTo>
                    <a:pt x="0" y="3"/>
                  </a:lnTo>
                  <a:lnTo>
                    <a:pt x="0" y="3"/>
                  </a:lnTo>
                  <a:lnTo>
                    <a:pt x="0" y="3"/>
                  </a:lnTo>
                  <a:lnTo>
                    <a:pt x="0" y="3"/>
                  </a:lnTo>
                  <a:lnTo>
                    <a:pt x="0" y="3"/>
                  </a:lnTo>
                  <a:lnTo>
                    <a:pt x="0" y="3"/>
                  </a:lnTo>
                  <a:lnTo>
                    <a:pt x="0" y="3"/>
                  </a:lnTo>
                  <a:lnTo>
                    <a:pt x="0" y="3"/>
                  </a:lnTo>
                  <a:lnTo>
                    <a:pt x="3" y="3"/>
                  </a:lnTo>
                  <a:lnTo>
                    <a:pt x="0" y="3"/>
                  </a:lnTo>
                  <a:lnTo>
                    <a:pt x="0" y="3"/>
                  </a:lnTo>
                  <a:lnTo>
                    <a:pt x="0" y="3"/>
                  </a:lnTo>
                  <a:lnTo>
                    <a:pt x="0" y="3"/>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6" name="Freeform 52484"/>
            <p:cNvSpPr>
              <a:spLocks noEditPoints="1"/>
            </p:cNvSpPr>
            <p:nvPr/>
          </p:nvSpPr>
          <p:spPr bwMode="auto">
            <a:xfrm>
              <a:off x="1912935" y="4754579"/>
              <a:ext cx="14288" cy="11113"/>
            </a:xfrm>
            <a:custGeom>
              <a:avLst/>
              <a:gdLst>
                <a:gd name="T0" fmla="*/ 4 w 9"/>
                <a:gd name="T1" fmla="*/ 7 h 7"/>
                <a:gd name="T2" fmla="*/ 4 w 9"/>
                <a:gd name="T3" fmla="*/ 7 h 7"/>
                <a:gd name="T4" fmla="*/ 4 w 9"/>
                <a:gd name="T5" fmla="*/ 7 h 7"/>
                <a:gd name="T6" fmla="*/ 4 w 9"/>
                <a:gd name="T7" fmla="*/ 7 h 7"/>
                <a:gd name="T8" fmla="*/ 4 w 9"/>
                <a:gd name="T9" fmla="*/ 7 h 7"/>
                <a:gd name="T10" fmla="*/ 2 w 9"/>
                <a:gd name="T11" fmla="*/ 7 h 7"/>
                <a:gd name="T12" fmla="*/ 2 w 9"/>
                <a:gd name="T13" fmla="*/ 7 h 7"/>
                <a:gd name="T14" fmla="*/ 2 w 9"/>
                <a:gd name="T15" fmla="*/ 7 h 7"/>
                <a:gd name="T16" fmla="*/ 2 w 9"/>
                <a:gd name="T17" fmla="*/ 7 h 7"/>
                <a:gd name="T18" fmla="*/ 2 w 9"/>
                <a:gd name="T19" fmla="*/ 7 h 7"/>
                <a:gd name="T20" fmla="*/ 2 w 9"/>
                <a:gd name="T21" fmla="*/ 5 h 7"/>
                <a:gd name="T22" fmla="*/ 2 w 9"/>
                <a:gd name="T23" fmla="*/ 5 h 7"/>
                <a:gd name="T24" fmla="*/ 2 w 9"/>
                <a:gd name="T25" fmla="*/ 5 h 7"/>
                <a:gd name="T26" fmla="*/ 2 w 9"/>
                <a:gd name="T27" fmla="*/ 5 h 7"/>
                <a:gd name="T28" fmla="*/ 2 w 9"/>
                <a:gd name="T29" fmla="*/ 5 h 7"/>
                <a:gd name="T30" fmla="*/ 2 w 9"/>
                <a:gd name="T31" fmla="*/ 5 h 7"/>
                <a:gd name="T32" fmla="*/ 2 w 9"/>
                <a:gd name="T33" fmla="*/ 5 h 7"/>
                <a:gd name="T34" fmla="*/ 0 w 9"/>
                <a:gd name="T35" fmla="*/ 5 h 7"/>
                <a:gd name="T36" fmla="*/ 0 w 9"/>
                <a:gd name="T37" fmla="*/ 5 h 7"/>
                <a:gd name="T38" fmla="*/ 0 w 9"/>
                <a:gd name="T39" fmla="*/ 5 h 7"/>
                <a:gd name="T40" fmla="*/ 0 w 9"/>
                <a:gd name="T41" fmla="*/ 5 h 7"/>
                <a:gd name="T42" fmla="*/ 0 w 9"/>
                <a:gd name="T43" fmla="*/ 5 h 7"/>
                <a:gd name="T44" fmla="*/ 9 w 9"/>
                <a:gd name="T45" fmla="*/ 0 h 7"/>
                <a:gd name="T46" fmla="*/ 9 w 9"/>
                <a:gd name="T47" fmla="*/ 0 h 7"/>
                <a:gd name="T48" fmla="*/ 9 w 9"/>
                <a:gd name="T49" fmla="*/ 0 h 7"/>
                <a:gd name="T50" fmla="*/ 9 w 9"/>
                <a:gd name="T51" fmla="*/ 0 h 7"/>
                <a:gd name="T52" fmla="*/ 9 w 9"/>
                <a:gd name="T53" fmla="*/ 0 h 7"/>
                <a:gd name="T54" fmla="*/ 9 w 9"/>
                <a:gd name="T55" fmla="*/ 0 h 7"/>
                <a:gd name="T56" fmla="*/ 9 w 9"/>
                <a:gd name="T57" fmla="*/ 0 h 7"/>
                <a:gd name="T58" fmla="*/ 9 w 9"/>
                <a:gd name="T59" fmla="*/ 0 h 7"/>
                <a:gd name="T60" fmla="*/ 9 w 9"/>
                <a:gd name="T6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 h="7">
                  <a:moveTo>
                    <a:pt x="4" y="7"/>
                  </a:moveTo>
                  <a:lnTo>
                    <a:pt x="4" y="7"/>
                  </a:lnTo>
                  <a:lnTo>
                    <a:pt x="4" y="7"/>
                  </a:lnTo>
                  <a:lnTo>
                    <a:pt x="4" y="7"/>
                  </a:lnTo>
                  <a:lnTo>
                    <a:pt x="4" y="7"/>
                  </a:lnTo>
                  <a:close/>
                  <a:moveTo>
                    <a:pt x="2" y="7"/>
                  </a:moveTo>
                  <a:lnTo>
                    <a:pt x="2" y="7"/>
                  </a:lnTo>
                  <a:lnTo>
                    <a:pt x="2" y="7"/>
                  </a:lnTo>
                  <a:lnTo>
                    <a:pt x="2" y="7"/>
                  </a:lnTo>
                  <a:lnTo>
                    <a:pt x="2" y="7"/>
                  </a:lnTo>
                  <a:close/>
                  <a:moveTo>
                    <a:pt x="2" y="5"/>
                  </a:moveTo>
                  <a:lnTo>
                    <a:pt x="2" y="5"/>
                  </a:lnTo>
                  <a:lnTo>
                    <a:pt x="2" y="5"/>
                  </a:lnTo>
                  <a:lnTo>
                    <a:pt x="2" y="5"/>
                  </a:lnTo>
                  <a:lnTo>
                    <a:pt x="2" y="5"/>
                  </a:lnTo>
                  <a:lnTo>
                    <a:pt x="2" y="5"/>
                  </a:lnTo>
                  <a:lnTo>
                    <a:pt x="2" y="5"/>
                  </a:lnTo>
                  <a:close/>
                  <a:moveTo>
                    <a:pt x="0" y="5"/>
                  </a:moveTo>
                  <a:lnTo>
                    <a:pt x="0" y="5"/>
                  </a:lnTo>
                  <a:lnTo>
                    <a:pt x="0" y="5"/>
                  </a:lnTo>
                  <a:lnTo>
                    <a:pt x="0" y="5"/>
                  </a:lnTo>
                  <a:lnTo>
                    <a:pt x="0" y="5"/>
                  </a:lnTo>
                  <a:close/>
                  <a:moveTo>
                    <a:pt x="9" y="0"/>
                  </a:moveTo>
                  <a:lnTo>
                    <a:pt x="9" y="0"/>
                  </a:lnTo>
                  <a:lnTo>
                    <a:pt x="9" y="0"/>
                  </a:lnTo>
                  <a:lnTo>
                    <a:pt x="9" y="0"/>
                  </a:lnTo>
                  <a:close/>
                  <a:moveTo>
                    <a:pt x="9" y="0"/>
                  </a:moveTo>
                  <a:lnTo>
                    <a:pt x="9" y="0"/>
                  </a:lnTo>
                  <a:lnTo>
                    <a:pt x="9" y="0"/>
                  </a:lnTo>
                  <a:lnTo>
                    <a:pt x="9" y="0"/>
                  </a:lnTo>
                  <a:lnTo>
                    <a:pt x="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7" name="Freeform 52485"/>
            <p:cNvSpPr>
              <a:spLocks/>
            </p:cNvSpPr>
            <p:nvPr/>
          </p:nvSpPr>
          <p:spPr bwMode="auto">
            <a:xfrm>
              <a:off x="3125784" y="4056076"/>
              <a:ext cx="379413" cy="196850"/>
            </a:xfrm>
            <a:custGeom>
              <a:avLst/>
              <a:gdLst>
                <a:gd name="T0" fmla="*/ 2 w 239"/>
                <a:gd name="T1" fmla="*/ 67 h 124"/>
                <a:gd name="T2" fmla="*/ 12 w 239"/>
                <a:gd name="T3" fmla="*/ 55 h 124"/>
                <a:gd name="T4" fmla="*/ 16 w 239"/>
                <a:gd name="T5" fmla="*/ 41 h 124"/>
                <a:gd name="T6" fmla="*/ 19 w 239"/>
                <a:gd name="T7" fmla="*/ 38 h 124"/>
                <a:gd name="T8" fmla="*/ 19 w 239"/>
                <a:gd name="T9" fmla="*/ 38 h 124"/>
                <a:gd name="T10" fmla="*/ 21 w 239"/>
                <a:gd name="T11" fmla="*/ 29 h 124"/>
                <a:gd name="T12" fmla="*/ 35 w 239"/>
                <a:gd name="T13" fmla="*/ 24 h 124"/>
                <a:gd name="T14" fmla="*/ 52 w 239"/>
                <a:gd name="T15" fmla="*/ 17 h 124"/>
                <a:gd name="T16" fmla="*/ 61 w 239"/>
                <a:gd name="T17" fmla="*/ 29 h 124"/>
                <a:gd name="T18" fmla="*/ 71 w 239"/>
                <a:gd name="T19" fmla="*/ 41 h 124"/>
                <a:gd name="T20" fmla="*/ 80 w 239"/>
                <a:gd name="T21" fmla="*/ 53 h 124"/>
                <a:gd name="T22" fmla="*/ 95 w 239"/>
                <a:gd name="T23" fmla="*/ 57 h 124"/>
                <a:gd name="T24" fmla="*/ 87 w 239"/>
                <a:gd name="T25" fmla="*/ 62 h 124"/>
                <a:gd name="T26" fmla="*/ 87 w 239"/>
                <a:gd name="T27" fmla="*/ 62 h 124"/>
                <a:gd name="T28" fmla="*/ 102 w 239"/>
                <a:gd name="T29" fmla="*/ 55 h 124"/>
                <a:gd name="T30" fmla="*/ 106 w 239"/>
                <a:gd name="T31" fmla="*/ 64 h 124"/>
                <a:gd name="T32" fmla="*/ 106 w 239"/>
                <a:gd name="T33" fmla="*/ 60 h 124"/>
                <a:gd name="T34" fmla="*/ 102 w 239"/>
                <a:gd name="T35" fmla="*/ 55 h 124"/>
                <a:gd name="T36" fmla="*/ 109 w 239"/>
                <a:gd name="T37" fmla="*/ 48 h 124"/>
                <a:gd name="T38" fmla="*/ 111 w 239"/>
                <a:gd name="T39" fmla="*/ 34 h 124"/>
                <a:gd name="T40" fmla="*/ 111 w 239"/>
                <a:gd name="T41" fmla="*/ 15 h 124"/>
                <a:gd name="T42" fmla="*/ 118 w 239"/>
                <a:gd name="T43" fmla="*/ 7 h 124"/>
                <a:gd name="T44" fmla="*/ 133 w 239"/>
                <a:gd name="T45" fmla="*/ 3 h 124"/>
                <a:gd name="T46" fmla="*/ 144 w 239"/>
                <a:gd name="T47" fmla="*/ 0 h 124"/>
                <a:gd name="T48" fmla="*/ 156 w 239"/>
                <a:gd name="T49" fmla="*/ 10 h 124"/>
                <a:gd name="T50" fmla="*/ 166 w 239"/>
                <a:gd name="T51" fmla="*/ 12 h 124"/>
                <a:gd name="T52" fmla="*/ 170 w 239"/>
                <a:gd name="T53" fmla="*/ 19 h 124"/>
                <a:gd name="T54" fmla="*/ 178 w 239"/>
                <a:gd name="T55" fmla="*/ 26 h 124"/>
                <a:gd name="T56" fmla="*/ 192 w 239"/>
                <a:gd name="T57" fmla="*/ 26 h 124"/>
                <a:gd name="T58" fmla="*/ 201 w 239"/>
                <a:gd name="T59" fmla="*/ 26 h 124"/>
                <a:gd name="T60" fmla="*/ 216 w 239"/>
                <a:gd name="T61" fmla="*/ 29 h 124"/>
                <a:gd name="T62" fmla="*/ 225 w 239"/>
                <a:gd name="T63" fmla="*/ 38 h 124"/>
                <a:gd name="T64" fmla="*/ 223 w 239"/>
                <a:gd name="T65" fmla="*/ 53 h 124"/>
                <a:gd name="T66" fmla="*/ 223 w 239"/>
                <a:gd name="T67" fmla="*/ 62 h 124"/>
                <a:gd name="T68" fmla="*/ 230 w 239"/>
                <a:gd name="T69" fmla="*/ 64 h 124"/>
                <a:gd name="T70" fmla="*/ 232 w 239"/>
                <a:gd name="T71" fmla="*/ 76 h 124"/>
                <a:gd name="T72" fmla="*/ 237 w 239"/>
                <a:gd name="T73" fmla="*/ 83 h 124"/>
                <a:gd name="T74" fmla="*/ 239 w 239"/>
                <a:gd name="T75" fmla="*/ 95 h 124"/>
                <a:gd name="T76" fmla="*/ 230 w 239"/>
                <a:gd name="T77" fmla="*/ 105 h 124"/>
                <a:gd name="T78" fmla="*/ 218 w 239"/>
                <a:gd name="T79" fmla="*/ 112 h 124"/>
                <a:gd name="T80" fmla="*/ 208 w 239"/>
                <a:gd name="T81" fmla="*/ 119 h 124"/>
                <a:gd name="T82" fmla="*/ 197 w 239"/>
                <a:gd name="T83" fmla="*/ 119 h 124"/>
                <a:gd name="T84" fmla="*/ 187 w 239"/>
                <a:gd name="T85" fmla="*/ 124 h 124"/>
                <a:gd name="T86" fmla="*/ 173 w 239"/>
                <a:gd name="T87" fmla="*/ 114 h 124"/>
                <a:gd name="T88" fmla="*/ 161 w 239"/>
                <a:gd name="T89" fmla="*/ 107 h 124"/>
                <a:gd name="T90" fmla="*/ 152 w 239"/>
                <a:gd name="T91" fmla="*/ 100 h 124"/>
                <a:gd name="T92" fmla="*/ 140 w 239"/>
                <a:gd name="T93" fmla="*/ 98 h 124"/>
                <a:gd name="T94" fmla="*/ 133 w 239"/>
                <a:gd name="T95" fmla="*/ 91 h 124"/>
                <a:gd name="T96" fmla="*/ 130 w 239"/>
                <a:gd name="T97" fmla="*/ 83 h 124"/>
                <a:gd name="T98" fmla="*/ 121 w 239"/>
                <a:gd name="T99" fmla="*/ 88 h 124"/>
                <a:gd name="T100" fmla="*/ 109 w 239"/>
                <a:gd name="T101" fmla="*/ 91 h 124"/>
                <a:gd name="T102" fmla="*/ 102 w 239"/>
                <a:gd name="T103" fmla="*/ 91 h 124"/>
                <a:gd name="T104" fmla="*/ 85 w 239"/>
                <a:gd name="T105" fmla="*/ 88 h 124"/>
                <a:gd name="T106" fmla="*/ 73 w 239"/>
                <a:gd name="T107" fmla="*/ 91 h 124"/>
                <a:gd name="T108" fmla="*/ 61 w 239"/>
                <a:gd name="T109" fmla="*/ 88 h 124"/>
                <a:gd name="T110" fmla="*/ 45 w 239"/>
                <a:gd name="T111" fmla="*/ 86 h 124"/>
                <a:gd name="T112" fmla="*/ 28 w 239"/>
                <a:gd name="T113" fmla="*/ 88 h 124"/>
                <a:gd name="T114" fmla="*/ 14 w 239"/>
                <a:gd name="T115" fmla="*/ 95 h 124"/>
                <a:gd name="T116" fmla="*/ 7 w 239"/>
                <a:gd name="T117" fmla="*/ 100 h 124"/>
                <a:gd name="T118" fmla="*/ 0 w 239"/>
                <a:gd name="T119" fmla="*/ 9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9" h="124">
                  <a:moveTo>
                    <a:pt x="2" y="79"/>
                  </a:moveTo>
                  <a:lnTo>
                    <a:pt x="0" y="79"/>
                  </a:lnTo>
                  <a:lnTo>
                    <a:pt x="0" y="76"/>
                  </a:lnTo>
                  <a:lnTo>
                    <a:pt x="2" y="76"/>
                  </a:lnTo>
                  <a:lnTo>
                    <a:pt x="2" y="74"/>
                  </a:lnTo>
                  <a:lnTo>
                    <a:pt x="2" y="72"/>
                  </a:lnTo>
                  <a:lnTo>
                    <a:pt x="2" y="69"/>
                  </a:lnTo>
                  <a:lnTo>
                    <a:pt x="2" y="67"/>
                  </a:lnTo>
                  <a:lnTo>
                    <a:pt x="2" y="64"/>
                  </a:lnTo>
                  <a:lnTo>
                    <a:pt x="4" y="64"/>
                  </a:lnTo>
                  <a:lnTo>
                    <a:pt x="4" y="62"/>
                  </a:lnTo>
                  <a:lnTo>
                    <a:pt x="7" y="62"/>
                  </a:lnTo>
                  <a:lnTo>
                    <a:pt x="9" y="60"/>
                  </a:lnTo>
                  <a:lnTo>
                    <a:pt x="9" y="57"/>
                  </a:lnTo>
                  <a:lnTo>
                    <a:pt x="12" y="57"/>
                  </a:lnTo>
                  <a:lnTo>
                    <a:pt x="12" y="55"/>
                  </a:lnTo>
                  <a:lnTo>
                    <a:pt x="14" y="55"/>
                  </a:lnTo>
                  <a:lnTo>
                    <a:pt x="14" y="53"/>
                  </a:lnTo>
                  <a:lnTo>
                    <a:pt x="14" y="50"/>
                  </a:lnTo>
                  <a:lnTo>
                    <a:pt x="14" y="48"/>
                  </a:lnTo>
                  <a:lnTo>
                    <a:pt x="14" y="45"/>
                  </a:lnTo>
                  <a:lnTo>
                    <a:pt x="14" y="43"/>
                  </a:lnTo>
                  <a:lnTo>
                    <a:pt x="14" y="41"/>
                  </a:lnTo>
                  <a:lnTo>
                    <a:pt x="16" y="41"/>
                  </a:lnTo>
                  <a:lnTo>
                    <a:pt x="16" y="38"/>
                  </a:lnTo>
                  <a:lnTo>
                    <a:pt x="16" y="36"/>
                  </a:lnTo>
                  <a:lnTo>
                    <a:pt x="19" y="36"/>
                  </a:lnTo>
                  <a:lnTo>
                    <a:pt x="19" y="34"/>
                  </a:lnTo>
                  <a:lnTo>
                    <a:pt x="19" y="36"/>
                  </a:lnTo>
                  <a:lnTo>
                    <a:pt x="21" y="36"/>
                  </a:lnTo>
                  <a:lnTo>
                    <a:pt x="19" y="36"/>
                  </a:lnTo>
                  <a:lnTo>
                    <a:pt x="19" y="38"/>
                  </a:lnTo>
                  <a:lnTo>
                    <a:pt x="21" y="38"/>
                  </a:lnTo>
                  <a:lnTo>
                    <a:pt x="19" y="38"/>
                  </a:lnTo>
                  <a:lnTo>
                    <a:pt x="19" y="41"/>
                  </a:lnTo>
                  <a:lnTo>
                    <a:pt x="21" y="41"/>
                  </a:lnTo>
                  <a:lnTo>
                    <a:pt x="21" y="43"/>
                  </a:lnTo>
                  <a:lnTo>
                    <a:pt x="21" y="41"/>
                  </a:lnTo>
                  <a:lnTo>
                    <a:pt x="19" y="41"/>
                  </a:lnTo>
                  <a:lnTo>
                    <a:pt x="19" y="38"/>
                  </a:lnTo>
                  <a:lnTo>
                    <a:pt x="21" y="38"/>
                  </a:lnTo>
                  <a:lnTo>
                    <a:pt x="19" y="36"/>
                  </a:lnTo>
                  <a:lnTo>
                    <a:pt x="21" y="36"/>
                  </a:lnTo>
                  <a:lnTo>
                    <a:pt x="19" y="36"/>
                  </a:lnTo>
                  <a:lnTo>
                    <a:pt x="19" y="34"/>
                  </a:lnTo>
                  <a:lnTo>
                    <a:pt x="21" y="34"/>
                  </a:lnTo>
                  <a:lnTo>
                    <a:pt x="21" y="31"/>
                  </a:lnTo>
                  <a:lnTo>
                    <a:pt x="21" y="29"/>
                  </a:lnTo>
                  <a:lnTo>
                    <a:pt x="23" y="29"/>
                  </a:lnTo>
                  <a:lnTo>
                    <a:pt x="23" y="26"/>
                  </a:lnTo>
                  <a:lnTo>
                    <a:pt x="26" y="26"/>
                  </a:lnTo>
                  <a:lnTo>
                    <a:pt x="26" y="24"/>
                  </a:lnTo>
                  <a:lnTo>
                    <a:pt x="28" y="24"/>
                  </a:lnTo>
                  <a:lnTo>
                    <a:pt x="31" y="24"/>
                  </a:lnTo>
                  <a:lnTo>
                    <a:pt x="33" y="24"/>
                  </a:lnTo>
                  <a:lnTo>
                    <a:pt x="35" y="24"/>
                  </a:lnTo>
                  <a:lnTo>
                    <a:pt x="38" y="22"/>
                  </a:lnTo>
                  <a:lnTo>
                    <a:pt x="40" y="22"/>
                  </a:lnTo>
                  <a:lnTo>
                    <a:pt x="42" y="19"/>
                  </a:lnTo>
                  <a:lnTo>
                    <a:pt x="45" y="19"/>
                  </a:lnTo>
                  <a:lnTo>
                    <a:pt x="49" y="17"/>
                  </a:lnTo>
                  <a:lnTo>
                    <a:pt x="52" y="17"/>
                  </a:lnTo>
                  <a:lnTo>
                    <a:pt x="54" y="17"/>
                  </a:lnTo>
                  <a:lnTo>
                    <a:pt x="52" y="17"/>
                  </a:lnTo>
                  <a:lnTo>
                    <a:pt x="52" y="19"/>
                  </a:lnTo>
                  <a:lnTo>
                    <a:pt x="52" y="22"/>
                  </a:lnTo>
                  <a:lnTo>
                    <a:pt x="54" y="24"/>
                  </a:lnTo>
                  <a:lnTo>
                    <a:pt x="54" y="26"/>
                  </a:lnTo>
                  <a:lnTo>
                    <a:pt x="57" y="26"/>
                  </a:lnTo>
                  <a:lnTo>
                    <a:pt x="57" y="29"/>
                  </a:lnTo>
                  <a:lnTo>
                    <a:pt x="59" y="29"/>
                  </a:lnTo>
                  <a:lnTo>
                    <a:pt x="61" y="29"/>
                  </a:lnTo>
                  <a:lnTo>
                    <a:pt x="61" y="31"/>
                  </a:lnTo>
                  <a:lnTo>
                    <a:pt x="64" y="31"/>
                  </a:lnTo>
                  <a:lnTo>
                    <a:pt x="64" y="34"/>
                  </a:lnTo>
                  <a:lnTo>
                    <a:pt x="66" y="36"/>
                  </a:lnTo>
                  <a:lnTo>
                    <a:pt x="68" y="36"/>
                  </a:lnTo>
                  <a:lnTo>
                    <a:pt x="71" y="36"/>
                  </a:lnTo>
                  <a:lnTo>
                    <a:pt x="71" y="38"/>
                  </a:lnTo>
                  <a:lnTo>
                    <a:pt x="71" y="41"/>
                  </a:lnTo>
                  <a:lnTo>
                    <a:pt x="73" y="43"/>
                  </a:lnTo>
                  <a:lnTo>
                    <a:pt x="73" y="45"/>
                  </a:lnTo>
                  <a:lnTo>
                    <a:pt x="73" y="48"/>
                  </a:lnTo>
                  <a:lnTo>
                    <a:pt x="73" y="50"/>
                  </a:lnTo>
                  <a:lnTo>
                    <a:pt x="76" y="50"/>
                  </a:lnTo>
                  <a:lnTo>
                    <a:pt x="76" y="53"/>
                  </a:lnTo>
                  <a:lnTo>
                    <a:pt x="78" y="53"/>
                  </a:lnTo>
                  <a:lnTo>
                    <a:pt x="80" y="53"/>
                  </a:lnTo>
                  <a:lnTo>
                    <a:pt x="80" y="55"/>
                  </a:lnTo>
                  <a:lnTo>
                    <a:pt x="83" y="55"/>
                  </a:lnTo>
                  <a:lnTo>
                    <a:pt x="83" y="57"/>
                  </a:lnTo>
                  <a:lnTo>
                    <a:pt x="85" y="57"/>
                  </a:lnTo>
                  <a:lnTo>
                    <a:pt x="87" y="57"/>
                  </a:lnTo>
                  <a:lnTo>
                    <a:pt x="90" y="57"/>
                  </a:lnTo>
                  <a:lnTo>
                    <a:pt x="92" y="57"/>
                  </a:lnTo>
                  <a:lnTo>
                    <a:pt x="95" y="57"/>
                  </a:lnTo>
                  <a:lnTo>
                    <a:pt x="97" y="55"/>
                  </a:lnTo>
                  <a:lnTo>
                    <a:pt x="97" y="57"/>
                  </a:lnTo>
                  <a:lnTo>
                    <a:pt x="95" y="57"/>
                  </a:lnTo>
                  <a:lnTo>
                    <a:pt x="92" y="57"/>
                  </a:lnTo>
                  <a:lnTo>
                    <a:pt x="90" y="57"/>
                  </a:lnTo>
                  <a:lnTo>
                    <a:pt x="90" y="60"/>
                  </a:lnTo>
                  <a:lnTo>
                    <a:pt x="87" y="60"/>
                  </a:lnTo>
                  <a:lnTo>
                    <a:pt x="87" y="62"/>
                  </a:lnTo>
                  <a:lnTo>
                    <a:pt x="85" y="62"/>
                  </a:lnTo>
                  <a:lnTo>
                    <a:pt x="87" y="62"/>
                  </a:lnTo>
                  <a:lnTo>
                    <a:pt x="85" y="62"/>
                  </a:lnTo>
                  <a:lnTo>
                    <a:pt x="85" y="64"/>
                  </a:lnTo>
                  <a:lnTo>
                    <a:pt x="85" y="67"/>
                  </a:lnTo>
                  <a:lnTo>
                    <a:pt x="87" y="67"/>
                  </a:lnTo>
                  <a:lnTo>
                    <a:pt x="85" y="64"/>
                  </a:lnTo>
                  <a:lnTo>
                    <a:pt x="87" y="62"/>
                  </a:lnTo>
                  <a:lnTo>
                    <a:pt x="87" y="60"/>
                  </a:lnTo>
                  <a:lnTo>
                    <a:pt x="90" y="60"/>
                  </a:lnTo>
                  <a:lnTo>
                    <a:pt x="92" y="57"/>
                  </a:lnTo>
                  <a:lnTo>
                    <a:pt x="95" y="57"/>
                  </a:lnTo>
                  <a:lnTo>
                    <a:pt x="97" y="57"/>
                  </a:lnTo>
                  <a:lnTo>
                    <a:pt x="97" y="55"/>
                  </a:lnTo>
                  <a:lnTo>
                    <a:pt x="99" y="55"/>
                  </a:lnTo>
                  <a:lnTo>
                    <a:pt x="102" y="55"/>
                  </a:lnTo>
                  <a:lnTo>
                    <a:pt x="99" y="55"/>
                  </a:lnTo>
                  <a:lnTo>
                    <a:pt x="102" y="53"/>
                  </a:lnTo>
                  <a:lnTo>
                    <a:pt x="102" y="55"/>
                  </a:lnTo>
                  <a:lnTo>
                    <a:pt x="102" y="57"/>
                  </a:lnTo>
                  <a:lnTo>
                    <a:pt x="102" y="60"/>
                  </a:lnTo>
                  <a:lnTo>
                    <a:pt x="104" y="60"/>
                  </a:lnTo>
                  <a:lnTo>
                    <a:pt x="106" y="62"/>
                  </a:lnTo>
                  <a:lnTo>
                    <a:pt x="106" y="64"/>
                  </a:lnTo>
                  <a:lnTo>
                    <a:pt x="109" y="64"/>
                  </a:lnTo>
                  <a:lnTo>
                    <a:pt x="106" y="64"/>
                  </a:lnTo>
                  <a:lnTo>
                    <a:pt x="106" y="62"/>
                  </a:lnTo>
                  <a:lnTo>
                    <a:pt x="109" y="62"/>
                  </a:lnTo>
                  <a:lnTo>
                    <a:pt x="109" y="64"/>
                  </a:lnTo>
                  <a:lnTo>
                    <a:pt x="109" y="62"/>
                  </a:lnTo>
                  <a:lnTo>
                    <a:pt x="106" y="62"/>
                  </a:lnTo>
                  <a:lnTo>
                    <a:pt x="106" y="60"/>
                  </a:lnTo>
                  <a:lnTo>
                    <a:pt x="104" y="60"/>
                  </a:lnTo>
                  <a:lnTo>
                    <a:pt x="102" y="57"/>
                  </a:lnTo>
                  <a:lnTo>
                    <a:pt x="104" y="57"/>
                  </a:lnTo>
                  <a:lnTo>
                    <a:pt x="104" y="55"/>
                  </a:lnTo>
                  <a:lnTo>
                    <a:pt x="102" y="57"/>
                  </a:lnTo>
                  <a:lnTo>
                    <a:pt x="102" y="55"/>
                  </a:lnTo>
                  <a:lnTo>
                    <a:pt x="104" y="55"/>
                  </a:lnTo>
                  <a:lnTo>
                    <a:pt x="102" y="55"/>
                  </a:lnTo>
                  <a:lnTo>
                    <a:pt x="102" y="53"/>
                  </a:lnTo>
                  <a:lnTo>
                    <a:pt x="99" y="53"/>
                  </a:lnTo>
                  <a:lnTo>
                    <a:pt x="102" y="53"/>
                  </a:lnTo>
                  <a:lnTo>
                    <a:pt x="104" y="53"/>
                  </a:lnTo>
                  <a:lnTo>
                    <a:pt x="104" y="50"/>
                  </a:lnTo>
                  <a:lnTo>
                    <a:pt x="106" y="50"/>
                  </a:lnTo>
                  <a:lnTo>
                    <a:pt x="106" y="48"/>
                  </a:lnTo>
                  <a:lnTo>
                    <a:pt x="109" y="48"/>
                  </a:lnTo>
                  <a:lnTo>
                    <a:pt x="109" y="45"/>
                  </a:lnTo>
                  <a:lnTo>
                    <a:pt x="111" y="45"/>
                  </a:lnTo>
                  <a:lnTo>
                    <a:pt x="111" y="43"/>
                  </a:lnTo>
                  <a:lnTo>
                    <a:pt x="114" y="43"/>
                  </a:lnTo>
                  <a:lnTo>
                    <a:pt x="114" y="41"/>
                  </a:lnTo>
                  <a:lnTo>
                    <a:pt x="114" y="38"/>
                  </a:lnTo>
                  <a:lnTo>
                    <a:pt x="114" y="36"/>
                  </a:lnTo>
                  <a:lnTo>
                    <a:pt x="111" y="34"/>
                  </a:lnTo>
                  <a:lnTo>
                    <a:pt x="111" y="31"/>
                  </a:lnTo>
                  <a:lnTo>
                    <a:pt x="111" y="29"/>
                  </a:lnTo>
                  <a:lnTo>
                    <a:pt x="111" y="26"/>
                  </a:lnTo>
                  <a:lnTo>
                    <a:pt x="111" y="24"/>
                  </a:lnTo>
                  <a:lnTo>
                    <a:pt x="111" y="22"/>
                  </a:lnTo>
                  <a:lnTo>
                    <a:pt x="111" y="19"/>
                  </a:lnTo>
                  <a:lnTo>
                    <a:pt x="111" y="17"/>
                  </a:lnTo>
                  <a:lnTo>
                    <a:pt x="111" y="15"/>
                  </a:lnTo>
                  <a:lnTo>
                    <a:pt x="111" y="12"/>
                  </a:lnTo>
                  <a:lnTo>
                    <a:pt x="111" y="10"/>
                  </a:lnTo>
                  <a:lnTo>
                    <a:pt x="114" y="10"/>
                  </a:lnTo>
                  <a:lnTo>
                    <a:pt x="114" y="7"/>
                  </a:lnTo>
                  <a:lnTo>
                    <a:pt x="116" y="7"/>
                  </a:lnTo>
                  <a:lnTo>
                    <a:pt x="118" y="7"/>
                  </a:lnTo>
                  <a:lnTo>
                    <a:pt x="118" y="5"/>
                  </a:lnTo>
                  <a:lnTo>
                    <a:pt x="118" y="7"/>
                  </a:lnTo>
                  <a:lnTo>
                    <a:pt x="121" y="7"/>
                  </a:lnTo>
                  <a:lnTo>
                    <a:pt x="121" y="5"/>
                  </a:lnTo>
                  <a:lnTo>
                    <a:pt x="123" y="7"/>
                  </a:lnTo>
                  <a:lnTo>
                    <a:pt x="123" y="5"/>
                  </a:lnTo>
                  <a:lnTo>
                    <a:pt x="125" y="5"/>
                  </a:lnTo>
                  <a:lnTo>
                    <a:pt x="128" y="5"/>
                  </a:lnTo>
                  <a:lnTo>
                    <a:pt x="130" y="3"/>
                  </a:lnTo>
                  <a:lnTo>
                    <a:pt x="133" y="3"/>
                  </a:lnTo>
                  <a:lnTo>
                    <a:pt x="135" y="0"/>
                  </a:lnTo>
                  <a:lnTo>
                    <a:pt x="137" y="0"/>
                  </a:lnTo>
                  <a:lnTo>
                    <a:pt x="140" y="0"/>
                  </a:lnTo>
                  <a:lnTo>
                    <a:pt x="140" y="3"/>
                  </a:lnTo>
                  <a:lnTo>
                    <a:pt x="142" y="5"/>
                  </a:lnTo>
                  <a:lnTo>
                    <a:pt x="142" y="3"/>
                  </a:lnTo>
                  <a:lnTo>
                    <a:pt x="142" y="0"/>
                  </a:lnTo>
                  <a:lnTo>
                    <a:pt x="144" y="0"/>
                  </a:lnTo>
                  <a:lnTo>
                    <a:pt x="144" y="3"/>
                  </a:lnTo>
                  <a:lnTo>
                    <a:pt x="147" y="3"/>
                  </a:lnTo>
                  <a:lnTo>
                    <a:pt x="147" y="5"/>
                  </a:lnTo>
                  <a:lnTo>
                    <a:pt x="149" y="5"/>
                  </a:lnTo>
                  <a:lnTo>
                    <a:pt x="152" y="5"/>
                  </a:lnTo>
                  <a:lnTo>
                    <a:pt x="152" y="7"/>
                  </a:lnTo>
                  <a:lnTo>
                    <a:pt x="154" y="7"/>
                  </a:lnTo>
                  <a:lnTo>
                    <a:pt x="156" y="10"/>
                  </a:lnTo>
                  <a:lnTo>
                    <a:pt x="156" y="7"/>
                  </a:lnTo>
                  <a:lnTo>
                    <a:pt x="159" y="10"/>
                  </a:lnTo>
                  <a:lnTo>
                    <a:pt x="159" y="12"/>
                  </a:lnTo>
                  <a:lnTo>
                    <a:pt x="161" y="12"/>
                  </a:lnTo>
                  <a:lnTo>
                    <a:pt x="161" y="10"/>
                  </a:lnTo>
                  <a:lnTo>
                    <a:pt x="161" y="12"/>
                  </a:lnTo>
                  <a:lnTo>
                    <a:pt x="163" y="12"/>
                  </a:lnTo>
                  <a:lnTo>
                    <a:pt x="166" y="12"/>
                  </a:lnTo>
                  <a:lnTo>
                    <a:pt x="168" y="12"/>
                  </a:lnTo>
                  <a:lnTo>
                    <a:pt x="166" y="15"/>
                  </a:lnTo>
                  <a:lnTo>
                    <a:pt x="166" y="17"/>
                  </a:lnTo>
                  <a:lnTo>
                    <a:pt x="168" y="17"/>
                  </a:lnTo>
                  <a:lnTo>
                    <a:pt x="170" y="17"/>
                  </a:lnTo>
                  <a:lnTo>
                    <a:pt x="170" y="19"/>
                  </a:lnTo>
                  <a:lnTo>
                    <a:pt x="173" y="19"/>
                  </a:lnTo>
                  <a:lnTo>
                    <a:pt x="170" y="19"/>
                  </a:lnTo>
                  <a:lnTo>
                    <a:pt x="173" y="19"/>
                  </a:lnTo>
                  <a:lnTo>
                    <a:pt x="173" y="22"/>
                  </a:lnTo>
                  <a:lnTo>
                    <a:pt x="173" y="24"/>
                  </a:lnTo>
                  <a:lnTo>
                    <a:pt x="175" y="24"/>
                  </a:lnTo>
                  <a:lnTo>
                    <a:pt x="175" y="26"/>
                  </a:lnTo>
                  <a:lnTo>
                    <a:pt x="175" y="24"/>
                  </a:lnTo>
                  <a:lnTo>
                    <a:pt x="175" y="26"/>
                  </a:lnTo>
                  <a:lnTo>
                    <a:pt x="178" y="26"/>
                  </a:lnTo>
                  <a:lnTo>
                    <a:pt x="180" y="26"/>
                  </a:lnTo>
                  <a:lnTo>
                    <a:pt x="182" y="26"/>
                  </a:lnTo>
                  <a:lnTo>
                    <a:pt x="182" y="29"/>
                  </a:lnTo>
                  <a:lnTo>
                    <a:pt x="185" y="29"/>
                  </a:lnTo>
                  <a:lnTo>
                    <a:pt x="187" y="29"/>
                  </a:lnTo>
                  <a:lnTo>
                    <a:pt x="187" y="26"/>
                  </a:lnTo>
                  <a:lnTo>
                    <a:pt x="189" y="26"/>
                  </a:lnTo>
                  <a:lnTo>
                    <a:pt x="192" y="26"/>
                  </a:lnTo>
                  <a:lnTo>
                    <a:pt x="189" y="26"/>
                  </a:lnTo>
                  <a:lnTo>
                    <a:pt x="192" y="26"/>
                  </a:lnTo>
                  <a:lnTo>
                    <a:pt x="194" y="24"/>
                  </a:lnTo>
                  <a:lnTo>
                    <a:pt x="197" y="22"/>
                  </a:lnTo>
                  <a:lnTo>
                    <a:pt x="197" y="24"/>
                  </a:lnTo>
                  <a:lnTo>
                    <a:pt x="199" y="24"/>
                  </a:lnTo>
                  <a:lnTo>
                    <a:pt x="199" y="26"/>
                  </a:lnTo>
                  <a:lnTo>
                    <a:pt x="201" y="26"/>
                  </a:lnTo>
                  <a:lnTo>
                    <a:pt x="204" y="26"/>
                  </a:lnTo>
                  <a:lnTo>
                    <a:pt x="206" y="26"/>
                  </a:lnTo>
                  <a:lnTo>
                    <a:pt x="208" y="29"/>
                  </a:lnTo>
                  <a:lnTo>
                    <a:pt x="211" y="29"/>
                  </a:lnTo>
                  <a:lnTo>
                    <a:pt x="213" y="29"/>
                  </a:lnTo>
                  <a:lnTo>
                    <a:pt x="216" y="29"/>
                  </a:lnTo>
                  <a:lnTo>
                    <a:pt x="218" y="29"/>
                  </a:lnTo>
                  <a:lnTo>
                    <a:pt x="216" y="29"/>
                  </a:lnTo>
                  <a:lnTo>
                    <a:pt x="216" y="31"/>
                  </a:lnTo>
                  <a:lnTo>
                    <a:pt x="216" y="34"/>
                  </a:lnTo>
                  <a:lnTo>
                    <a:pt x="218" y="34"/>
                  </a:lnTo>
                  <a:lnTo>
                    <a:pt x="218" y="36"/>
                  </a:lnTo>
                  <a:lnTo>
                    <a:pt x="220" y="36"/>
                  </a:lnTo>
                  <a:lnTo>
                    <a:pt x="223" y="36"/>
                  </a:lnTo>
                  <a:lnTo>
                    <a:pt x="223" y="38"/>
                  </a:lnTo>
                  <a:lnTo>
                    <a:pt x="225" y="38"/>
                  </a:lnTo>
                  <a:lnTo>
                    <a:pt x="227" y="41"/>
                  </a:lnTo>
                  <a:lnTo>
                    <a:pt x="227" y="43"/>
                  </a:lnTo>
                  <a:lnTo>
                    <a:pt x="225" y="43"/>
                  </a:lnTo>
                  <a:lnTo>
                    <a:pt x="225" y="45"/>
                  </a:lnTo>
                  <a:lnTo>
                    <a:pt x="225" y="48"/>
                  </a:lnTo>
                  <a:lnTo>
                    <a:pt x="223" y="48"/>
                  </a:lnTo>
                  <a:lnTo>
                    <a:pt x="223" y="50"/>
                  </a:lnTo>
                  <a:lnTo>
                    <a:pt x="223" y="53"/>
                  </a:lnTo>
                  <a:lnTo>
                    <a:pt x="223" y="55"/>
                  </a:lnTo>
                  <a:lnTo>
                    <a:pt x="223" y="57"/>
                  </a:lnTo>
                  <a:lnTo>
                    <a:pt x="223" y="60"/>
                  </a:lnTo>
                  <a:lnTo>
                    <a:pt x="220" y="60"/>
                  </a:lnTo>
                  <a:lnTo>
                    <a:pt x="220" y="62"/>
                  </a:lnTo>
                  <a:lnTo>
                    <a:pt x="220" y="64"/>
                  </a:lnTo>
                  <a:lnTo>
                    <a:pt x="223" y="64"/>
                  </a:lnTo>
                  <a:lnTo>
                    <a:pt x="223" y="62"/>
                  </a:lnTo>
                  <a:lnTo>
                    <a:pt x="223" y="64"/>
                  </a:lnTo>
                  <a:lnTo>
                    <a:pt x="223" y="62"/>
                  </a:lnTo>
                  <a:lnTo>
                    <a:pt x="225" y="62"/>
                  </a:lnTo>
                  <a:lnTo>
                    <a:pt x="227" y="62"/>
                  </a:lnTo>
                  <a:lnTo>
                    <a:pt x="227" y="64"/>
                  </a:lnTo>
                  <a:lnTo>
                    <a:pt x="230" y="64"/>
                  </a:lnTo>
                  <a:lnTo>
                    <a:pt x="230" y="67"/>
                  </a:lnTo>
                  <a:lnTo>
                    <a:pt x="230" y="64"/>
                  </a:lnTo>
                  <a:lnTo>
                    <a:pt x="230" y="67"/>
                  </a:lnTo>
                  <a:lnTo>
                    <a:pt x="227" y="67"/>
                  </a:lnTo>
                  <a:lnTo>
                    <a:pt x="227" y="69"/>
                  </a:lnTo>
                  <a:lnTo>
                    <a:pt x="230" y="69"/>
                  </a:lnTo>
                  <a:lnTo>
                    <a:pt x="230" y="72"/>
                  </a:lnTo>
                  <a:lnTo>
                    <a:pt x="232" y="72"/>
                  </a:lnTo>
                  <a:lnTo>
                    <a:pt x="232" y="74"/>
                  </a:lnTo>
                  <a:lnTo>
                    <a:pt x="232" y="76"/>
                  </a:lnTo>
                  <a:lnTo>
                    <a:pt x="235" y="76"/>
                  </a:lnTo>
                  <a:lnTo>
                    <a:pt x="237" y="76"/>
                  </a:lnTo>
                  <a:lnTo>
                    <a:pt x="237" y="79"/>
                  </a:lnTo>
                  <a:lnTo>
                    <a:pt x="235" y="79"/>
                  </a:lnTo>
                  <a:lnTo>
                    <a:pt x="235" y="81"/>
                  </a:lnTo>
                  <a:lnTo>
                    <a:pt x="237" y="81"/>
                  </a:lnTo>
                  <a:lnTo>
                    <a:pt x="235" y="81"/>
                  </a:lnTo>
                  <a:lnTo>
                    <a:pt x="237" y="83"/>
                  </a:lnTo>
                  <a:lnTo>
                    <a:pt x="237" y="86"/>
                  </a:lnTo>
                  <a:lnTo>
                    <a:pt x="237" y="88"/>
                  </a:lnTo>
                  <a:lnTo>
                    <a:pt x="237" y="91"/>
                  </a:lnTo>
                  <a:lnTo>
                    <a:pt x="239" y="91"/>
                  </a:lnTo>
                  <a:lnTo>
                    <a:pt x="239" y="93"/>
                  </a:lnTo>
                  <a:lnTo>
                    <a:pt x="239" y="95"/>
                  </a:lnTo>
                  <a:lnTo>
                    <a:pt x="237" y="95"/>
                  </a:lnTo>
                  <a:lnTo>
                    <a:pt x="239" y="95"/>
                  </a:lnTo>
                  <a:lnTo>
                    <a:pt x="237" y="95"/>
                  </a:lnTo>
                  <a:lnTo>
                    <a:pt x="237" y="98"/>
                  </a:lnTo>
                  <a:lnTo>
                    <a:pt x="235" y="98"/>
                  </a:lnTo>
                  <a:lnTo>
                    <a:pt x="235" y="100"/>
                  </a:lnTo>
                  <a:lnTo>
                    <a:pt x="232" y="100"/>
                  </a:lnTo>
                  <a:lnTo>
                    <a:pt x="230" y="100"/>
                  </a:lnTo>
                  <a:lnTo>
                    <a:pt x="230" y="102"/>
                  </a:lnTo>
                  <a:lnTo>
                    <a:pt x="230" y="105"/>
                  </a:lnTo>
                  <a:lnTo>
                    <a:pt x="227" y="105"/>
                  </a:lnTo>
                  <a:lnTo>
                    <a:pt x="225" y="105"/>
                  </a:lnTo>
                  <a:lnTo>
                    <a:pt x="225" y="107"/>
                  </a:lnTo>
                  <a:lnTo>
                    <a:pt x="223" y="107"/>
                  </a:lnTo>
                  <a:lnTo>
                    <a:pt x="223" y="110"/>
                  </a:lnTo>
                  <a:lnTo>
                    <a:pt x="220" y="110"/>
                  </a:lnTo>
                  <a:lnTo>
                    <a:pt x="220" y="112"/>
                  </a:lnTo>
                  <a:lnTo>
                    <a:pt x="218" y="112"/>
                  </a:lnTo>
                  <a:lnTo>
                    <a:pt x="220" y="114"/>
                  </a:lnTo>
                  <a:lnTo>
                    <a:pt x="218" y="117"/>
                  </a:lnTo>
                  <a:lnTo>
                    <a:pt x="218" y="119"/>
                  </a:lnTo>
                  <a:lnTo>
                    <a:pt x="216" y="119"/>
                  </a:lnTo>
                  <a:lnTo>
                    <a:pt x="213" y="117"/>
                  </a:lnTo>
                  <a:lnTo>
                    <a:pt x="211" y="117"/>
                  </a:lnTo>
                  <a:lnTo>
                    <a:pt x="208" y="117"/>
                  </a:lnTo>
                  <a:lnTo>
                    <a:pt x="208" y="119"/>
                  </a:lnTo>
                  <a:lnTo>
                    <a:pt x="206" y="117"/>
                  </a:lnTo>
                  <a:lnTo>
                    <a:pt x="204" y="117"/>
                  </a:lnTo>
                  <a:lnTo>
                    <a:pt x="204" y="114"/>
                  </a:lnTo>
                  <a:lnTo>
                    <a:pt x="201" y="114"/>
                  </a:lnTo>
                  <a:lnTo>
                    <a:pt x="201" y="117"/>
                  </a:lnTo>
                  <a:lnTo>
                    <a:pt x="199" y="117"/>
                  </a:lnTo>
                  <a:lnTo>
                    <a:pt x="197" y="117"/>
                  </a:lnTo>
                  <a:lnTo>
                    <a:pt x="197" y="119"/>
                  </a:lnTo>
                  <a:lnTo>
                    <a:pt x="194" y="119"/>
                  </a:lnTo>
                  <a:lnTo>
                    <a:pt x="194" y="121"/>
                  </a:lnTo>
                  <a:lnTo>
                    <a:pt x="192" y="121"/>
                  </a:lnTo>
                  <a:lnTo>
                    <a:pt x="192" y="124"/>
                  </a:lnTo>
                  <a:lnTo>
                    <a:pt x="189" y="124"/>
                  </a:lnTo>
                  <a:lnTo>
                    <a:pt x="189" y="121"/>
                  </a:lnTo>
                  <a:lnTo>
                    <a:pt x="187" y="121"/>
                  </a:lnTo>
                  <a:lnTo>
                    <a:pt x="187" y="124"/>
                  </a:lnTo>
                  <a:lnTo>
                    <a:pt x="185" y="124"/>
                  </a:lnTo>
                  <a:lnTo>
                    <a:pt x="182" y="124"/>
                  </a:lnTo>
                  <a:lnTo>
                    <a:pt x="180" y="121"/>
                  </a:lnTo>
                  <a:lnTo>
                    <a:pt x="178" y="121"/>
                  </a:lnTo>
                  <a:lnTo>
                    <a:pt x="178" y="119"/>
                  </a:lnTo>
                  <a:lnTo>
                    <a:pt x="175" y="119"/>
                  </a:lnTo>
                  <a:lnTo>
                    <a:pt x="173" y="117"/>
                  </a:lnTo>
                  <a:lnTo>
                    <a:pt x="173" y="114"/>
                  </a:lnTo>
                  <a:lnTo>
                    <a:pt x="170" y="114"/>
                  </a:lnTo>
                  <a:lnTo>
                    <a:pt x="170" y="112"/>
                  </a:lnTo>
                  <a:lnTo>
                    <a:pt x="168" y="112"/>
                  </a:lnTo>
                  <a:lnTo>
                    <a:pt x="168" y="110"/>
                  </a:lnTo>
                  <a:lnTo>
                    <a:pt x="166" y="110"/>
                  </a:lnTo>
                  <a:lnTo>
                    <a:pt x="166" y="107"/>
                  </a:lnTo>
                  <a:lnTo>
                    <a:pt x="163" y="107"/>
                  </a:lnTo>
                  <a:lnTo>
                    <a:pt x="161" y="107"/>
                  </a:lnTo>
                  <a:lnTo>
                    <a:pt x="161" y="105"/>
                  </a:lnTo>
                  <a:lnTo>
                    <a:pt x="159" y="105"/>
                  </a:lnTo>
                  <a:lnTo>
                    <a:pt x="156" y="102"/>
                  </a:lnTo>
                  <a:lnTo>
                    <a:pt x="154" y="102"/>
                  </a:lnTo>
                  <a:lnTo>
                    <a:pt x="156" y="102"/>
                  </a:lnTo>
                  <a:lnTo>
                    <a:pt x="156" y="100"/>
                  </a:lnTo>
                  <a:lnTo>
                    <a:pt x="154" y="100"/>
                  </a:lnTo>
                  <a:lnTo>
                    <a:pt x="152" y="100"/>
                  </a:lnTo>
                  <a:lnTo>
                    <a:pt x="152" y="98"/>
                  </a:lnTo>
                  <a:lnTo>
                    <a:pt x="149" y="98"/>
                  </a:lnTo>
                  <a:lnTo>
                    <a:pt x="149" y="100"/>
                  </a:lnTo>
                  <a:lnTo>
                    <a:pt x="147" y="100"/>
                  </a:lnTo>
                  <a:lnTo>
                    <a:pt x="144" y="100"/>
                  </a:lnTo>
                  <a:lnTo>
                    <a:pt x="142" y="100"/>
                  </a:lnTo>
                  <a:lnTo>
                    <a:pt x="142" y="98"/>
                  </a:lnTo>
                  <a:lnTo>
                    <a:pt x="140" y="98"/>
                  </a:lnTo>
                  <a:lnTo>
                    <a:pt x="137" y="98"/>
                  </a:lnTo>
                  <a:lnTo>
                    <a:pt x="135" y="98"/>
                  </a:lnTo>
                  <a:lnTo>
                    <a:pt x="135" y="95"/>
                  </a:lnTo>
                  <a:lnTo>
                    <a:pt x="135" y="93"/>
                  </a:lnTo>
                  <a:lnTo>
                    <a:pt x="133" y="93"/>
                  </a:lnTo>
                  <a:lnTo>
                    <a:pt x="133" y="91"/>
                  </a:lnTo>
                  <a:lnTo>
                    <a:pt x="130" y="91"/>
                  </a:lnTo>
                  <a:lnTo>
                    <a:pt x="133" y="91"/>
                  </a:lnTo>
                  <a:lnTo>
                    <a:pt x="130" y="91"/>
                  </a:lnTo>
                  <a:lnTo>
                    <a:pt x="133" y="91"/>
                  </a:lnTo>
                  <a:lnTo>
                    <a:pt x="130" y="91"/>
                  </a:lnTo>
                  <a:lnTo>
                    <a:pt x="130" y="88"/>
                  </a:lnTo>
                  <a:lnTo>
                    <a:pt x="133" y="88"/>
                  </a:lnTo>
                  <a:lnTo>
                    <a:pt x="130" y="88"/>
                  </a:lnTo>
                  <a:lnTo>
                    <a:pt x="130" y="86"/>
                  </a:lnTo>
                  <a:lnTo>
                    <a:pt x="130" y="83"/>
                  </a:lnTo>
                  <a:lnTo>
                    <a:pt x="128" y="83"/>
                  </a:lnTo>
                  <a:lnTo>
                    <a:pt x="128" y="86"/>
                  </a:lnTo>
                  <a:lnTo>
                    <a:pt x="125" y="86"/>
                  </a:lnTo>
                  <a:lnTo>
                    <a:pt x="123" y="86"/>
                  </a:lnTo>
                  <a:lnTo>
                    <a:pt x="123" y="88"/>
                  </a:lnTo>
                  <a:lnTo>
                    <a:pt x="121" y="88"/>
                  </a:lnTo>
                  <a:lnTo>
                    <a:pt x="121" y="91"/>
                  </a:lnTo>
                  <a:lnTo>
                    <a:pt x="121" y="88"/>
                  </a:lnTo>
                  <a:lnTo>
                    <a:pt x="121" y="91"/>
                  </a:lnTo>
                  <a:lnTo>
                    <a:pt x="118" y="91"/>
                  </a:lnTo>
                  <a:lnTo>
                    <a:pt x="118" y="93"/>
                  </a:lnTo>
                  <a:lnTo>
                    <a:pt x="116" y="93"/>
                  </a:lnTo>
                  <a:lnTo>
                    <a:pt x="114" y="93"/>
                  </a:lnTo>
                  <a:lnTo>
                    <a:pt x="111" y="93"/>
                  </a:lnTo>
                  <a:lnTo>
                    <a:pt x="111" y="91"/>
                  </a:lnTo>
                  <a:lnTo>
                    <a:pt x="109" y="91"/>
                  </a:lnTo>
                  <a:lnTo>
                    <a:pt x="109" y="93"/>
                  </a:lnTo>
                  <a:lnTo>
                    <a:pt x="106" y="93"/>
                  </a:lnTo>
                  <a:lnTo>
                    <a:pt x="104" y="95"/>
                  </a:lnTo>
                  <a:lnTo>
                    <a:pt x="104" y="93"/>
                  </a:lnTo>
                  <a:lnTo>
                    <a:pt x="104" y="95"/>
                  </a:lnTo>
                  <a:lnTo>
                    <a:pt x="104" y="93"/>
                  </a:lnTo>
                  <a:lnTo>
                    <a:pt x="102" y="93"/>
                  </a:lnTo>
                  <a:lnTo>
                    <a:pt x="102" y="91"/>
                  </a:lnTo>
                  <a:lnTo>
                    <a:pt x="99" y="91"/>
                  </a:lnTo>
                  <a:lnTo>
                    <a:pt x="97" y="91"/>
                  </a:lnTo>
                  <a:lnTo>
                    <a:pt x="95" y="91"/>
                  </a:lnTo>
                  <a:lnTo>
                    <a:pt x="92" y="91"/>
                  </a:lnTo>
                  <a:lnTo>
                    <a:pt x="92" y="88"/>
                  </a:lnTo>
                  <a:lnTo>
                    <a:pt x="90" y="88"/>
                  </a:lnTo>
                  <a:lnTo>
                    <a:pt x="87" y="88"/>
                  </a:lnTo>
                  <a:lnTo>
                    <a:pt x="85" y="88"/>
                  </a:lnTo>
                  <a:lnTo>
                    <a:pt x="85" y="91"/>
                  </a:lnTo>
                  <a:lnTo>
                    <a:pt x="83" y="91"/>
                  </a:lnTo>
                  <a:lnTo>
                    <a:pt x="83" y="88"/>
                  </a:lnTo>
                  <a:lnTo>
                    <a:pt x="80" y="88"/>
                  </a:lnTo>
                  <a:lnTo>
                    <a:pt x="76" y="88"/>
                  </a:lnTo>
                  <a:lnTo>
                    <a:pt x="73" y="88"/>
                  </a:lnTo>
                  <a:lnTo>
                    <a:pt x="71" y="88"/>
                  </a:lnTo>
                  <a:lnTo>
                    <a:pt x="73" y="91"/>
                  </a:lnTo>
                  <a:lnTo>
                    <a:pt x="71" y="91"/>
                  </a:lnTo>
                  <a:lnTo>
                    <a:pt x="68" y="91"/>
                  </a:lnTo>
                  <a:lnTo>
                    <a:pt x="66" y="91"/>
                  </a:lnTo>
                  <a:lnTo>
                    <a:pt x="66" y="88"/>
                  </a:lnTo>
                  <a:lnTo>
                    <a:pt x="66" y="86"/>
                  </a:lnTo>
                  <a:lnTo>
                    <a:pt x="64" y="86"/>
                  </a:lnTo>
                  <a:lnTo>
                    <a:pt x="64" y="88"/>
                  </a:lnTo>
                  <a:lnTo>
                    <a:pt x="61" y="88"/>
                  </a:lnTo>
                  <a:lnTo>
                    <a:pt x="59" y="88"/>
                  </a:lnTo>
                  <a:lnTo>
                    <a:pt x="57" y="88"/>
                  </a:lnTo>
                  <a:lnTo>
                    <a:pt x="54" y="88"/>
                  </a:lnTo>
                  <a:lnTo>
                    <a:pt x="52" y="88"/>
                  </a:lnTo>
                  <a:lnTo>
                    <a:pt x="52" y="86"/>
                  </a:lnTo>
                  <a:lnTo>
                    <a:pt x="49" y="86"/>
                  </a:lnTo>
                  <a:lnTo>
                    <a:pt x="47" y="86"/>
                  </a:lnTo>
                  <a:lnTo>
                    <a:pt x="45" y="86"/>
                  </a:lnTo>
                  <a:lnTo>
                    <a:pt x="42" y="86"/>
                  </a:lnTo>
                  <a:lnTo>
                    <a:pt x="40" y="86"/>
                  </a:lnTo>
                  <a:lnTo>
                    <a:pt x="38" y="86"/>
                  </a:lnTo>
                  <a:lnTo>
                    <a:pt x="35" y="86"/>
                  </a:lnTo>
                  <a:lnTo>
                    <a:pt x="33" y="86"/>
                  </a:lnTo>
                  <a:lnTo>
                    <a:pt x="33" y="88"/>
                  </a:lnTo>
                  <a:lnTo>
                    <a:pt x="31" y="88"/>
                  </a:lnTo>
                  <a:lnTo>
                    <a:pt x="28" y="88"/>
                  </a:lnTo>
                  <a:lnTo>
                    <a:pt x="26" y="91"/>
                  </a:lnTo>
                  <a:lnTo>
                    <a:pt x="23" y="91"/>
                  </a:lnTo>
                  <a:lnTo>
                    <a:pt x="21" y="91"/>
                  </a:lnTo>
                  <a:lnTo>
                    <a:pt x="19" y="91"/>
                  </a:lnTo>
                  <a:lnTo>
                    <a:pt x="19" y="93"/>
                  </a:lnTo>
                  <a:lnTo>
                    <a:pt x="16" y="93"/>
                  </a:lnTo>
                  <a:lnTo>
                    <a:pt x="16" y="95"/>
                  </a:lnTo>
                  <a:lnTo>
                    <a:pt x="14" y="95"/>
                  </a:lnTo>
                  <a:lnTo>
                    <a:pt x="12" y="95"/>
                  </a:lnTo>
                  <a:lnTo>
                    <a:pt x="12" y="98"/>
                  </a:lnTo>
                  <a:lnTo>
                    <a:pt x="9" y="98"/>
                  </a:lnTo>
                  <a:lnTo>
                    <a:pt x="7" y="100"/>
                  </a:lnTo>
                  <a:lnTo>
                    <a:pt x="9" y="100"/>
                  </a:lnTo>
                  <a:lnTo>
                    <a:pt x="7" y="100"/>
                  </a:lnTo>
                  <a:lnTo>
                    <a:pt x="9" y="100"/>
                  </a:lnTo>
                  <a:lnTo>
                    <a:pt x="7" y="100"/>
                  </a:lnTo>
                  <a:lnTo>
                    <a:pt x="7" y="102"/>
                  </a:lnTo>
                  <a:lnTo>
                    <a:pt x="4" y="102"/>
                  </a:lnTo>
                  <a:lnTo>
                    <a:pt x="2" y="102"/>
                  </a:lnTo>
                  <a:lnTo>
                    <a:pt x="2" y="100"/>
                  </a:lnTo>
                  <a:lnTo>
                    <a:pt x="0" y="98"/>
                  </a:lnTo>
                  <a:lnTo>
                    <a:pt x="0" y="95"/>
                  </a:lnTo>
                  <a:lnTo>
                    <a:pt x="0" y="93"/>
                  </a:lnTo>
                  <a:lnTo>
                    <a:pt x="0" y="91"/>
                  </a:lnTo>
                  <a:lnTo>
                    <a:pt x="0" y="88"/>
                  </a:lnTo>
                  <a:lnTo>
                    <a:pt x="0" y="86"/>
                  </a:lnTo>
                  <a:lnTo>
                    <a:pt x="0" y="83"/>
                  </a:lnTo>
                  <a:lnTo>
                    <a:pt x="0" y="81"/>
                  </a:lnTo>
                  <a:lnTo>
                    <a:pt x="0" y="79"/>
                  </a:lnTo>
                  <a:lnTo>
                    <a:pt x="2" y="79"/>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8" name="Freeform 52486"/>
            <p:cNvSpPr>
              <a:spLocks noEditPoints="1"/>
            </p:cNvSpPr>
            <p:nvPr/>
          </p:nvSpPr>
          <p:spPr bwMode="auto">
            <a:xfrm>
              <a:off x="3279773" y="4140213"/>
              <a:ext cx="11113" cy="11113"/>
            </a:xfrm>
            <a:custGeom>
              <a:avLst/>
              <a:gdLst>
                <a:gd name="T0" fmla="*/ 7 w 7"/>
                <a:gd name="T1" fmla="*/ 7 h 7"/>
                <a:gd name="T2" fmla="*/ 7 w 7"/>
                <a:gd name="T3" fmla="*/ 7 h 7"/>
                <a:gd name="T4" fmla="*/ 7 w 7"/>
                <a:gd name="T5" fmla="*/ 7 h 7"/>
                <a:gd name="T6" fmla="*/ 7 w 7"/>
                <a:gd name="T7" fmla="*/ 7 h 7"/>
                <a:gd name="T8" fmla="*/ 7 w 7"/>
                <a:gd name="T9" fmla="*/ 7 h 7"/>
                <a:gd name="T10" fmla="*/ 7 w 7"/>
                <a:gd name="T11" fmla="*/ 7 h 7"/>
                <a:gd name="T12" fmla="*/ 5 w 7"/>
                <a:gd name="T13" fmla="*/ 7 h 7"/>
                <a:gd name="T14" fmla="*/ 7 w 7"/>
                <a:gd name="T15" fmla="*/ 7 h 7"/>
                <a:gd name="T16" fmla="*/ 7 w 7"/>
                <a:gd name="T17" fmla="*/ 7 h 7"/>
                <a:gd name="T18" fmla="*/ 7 w 7"/>
                <a:gd name="T19" fmla="*/ 7 h 7"/>
                <a:gd name="T20" fmla="*/ 7 w 7"/>
                <a:gd name="T21" fmla="*/ 7 h 7"/>
                <a:gd name="T22" fmla="*/ 7 w 7"/>
                <a:gd name="T23" fmla="*/ 7 h 7"/>
                <a:gd name="T24" fmla="*/ 5 w 7"/>
                <a:gd name="T25" fmla="*/ 0 h 7"/>
                <a:gd name="T26" fmla="*/ 5 w 7"/>
                <a:gd name="T27" fmla="*/ 0 h 7"/>
                <a:gd name="T28" fmla="*/ 5 w 7"/>
                <a:gd name="T29" fmla="*/ 0 h 7"/>
                <a:gd name="T30" fmla="*/ 5 w 7"/>
                <a:gd name="T31" fmla="*/ 0 h 7"/>
                <a:gd name="T32" fmla="*/ 5 w 7"/>
                <a:gd name="T33" fmla="*/ 0 h 7"/>
                <a:gd name="T34" fmla="*/ 5 w 7"/>
                <a:gd name="T35" fmla="*/ 0 h 7"/>
                <a:gd name="T36" fmla="*/ 5 w 7"/>
                <a:gd name="T37" fmla="*/ 0 h 7"/>
                <a:gd name="T38" fmla="*/ 5 w 7"/>
                <a:gd name="T39" fmla="*/ 0 h 7"/>
                <a:gd name="T40" fmla="*/ 5 w 7"/>
                <a:gd name="T41" fmla="*/ 0 h 7"/>
                <a:gd name="T42" fmla="*/ 2 w 7"/>
                <a:gd name="T43" fmla="*/ 0 h 7"/>
                <a:gd name="T44" fmla="*/ 2 w 7"/>
                <a:gd name="T45" fmla="*/ 0 h 7"/>
                <a:gd name="T46" fmla="*/ 2 w 7"/>
                <a:gd name="T47" fmla="*/ 0 h 7"/>
                <a:gd name="T48" fmla="*/ 2 w 7"/>
                <a:gd name="T49" fmla="*/ 0 h 7"/>
                <a:gd name="T50" fmla="*/ 2 w 7"/>
                <a:gd name="T51" fmla="*/ 0 h 7"/>
                <a:gd name="T52" fmla="*/ 2 w 7"/>
                <a:gd name="T53" fmla="*/ 0 h 7"/>
                <a:gd name="T54" fmla="*/ 2 w 7"/>
                <a:gd name="T55" fmla="*/ 0 h 7"/>
                <a:gd name="T56" fmla="*/ 2 w 7"/>
                <a:gd name="T57" fmla="*/ 0 h 7"/>
                <a:gd name="T58" fmla="*/ 2 w 7"/>
                <a:gd name="T59" fmla="*/ 0 h 7"/>
                <a:gd name="T60" fmla="*/ 2 w 7"/>
                <a:gd name="T61" fmla="*/ 0 h 7"/>
                <a:gd name="T62" fmla="*/ 5 w 7"/>
                <a:gd name="T63" fmla="*/ 0 h 7"/>
                <a:gd name="T64" fmla="*/ 5 w 7"/>
                <a:gd name="T65" fmla="*/ 0 h 7"/>
                <a:gd name="T66" fmla="*/ 5 w 7"/>
                <a:gd name="T67" fmla="*/ 0 h 7"/>
                <a:gd name="T68" fmla="*/ 5 w 7"/>
                <a:gd name="T69" fmla="*/ 0 h 7"/>
                <a:gd name="T70" fmla="*/ 5 w 7"/>
                <a:gd name="T71" fmla="*/ 0 h 7"/>
                <a:gd name="T72" fmla="*/ 2 w 7"/>
                <a:gd name="T73" fmla="*/ 2 h 7"/>
                <a:gd name="T74" fmla="*/ 2 w 7"/>
                <a:gd name="T75" fmla="*/ 2 h 7"/>
                <a:gd name="T76" fmla="*/ 2 w 7"/>
                <a:gd name="T77" fmla="*/ 2 h 7"/>
                <a:gd name="T78" fmla="*/ 2 w 7"/>
                <a:gd name="T79" fmla="*/ 2 h 7"/>
                <a:gd name="T80" fmla="*/ 2 w 7"/>
                <a:gd name="T81" fmla="*/ 2 h 7"/>
                <a:gd name="T82" fmla="*/ 2 w 7"/>
                <a:gd name="T83" fmla="*/ 2 h 7"/>
                <a:gd name="T84" fmla="*/ 2 w 7"/>
                <a:gd name="T85" fmla="*/ 2 h 7"/>
                <a:gd name="T86" fmla="*/ 2 w 7"/>
                <a:gd name="T87" fmla="*/ 2 h 7"/>
                <a:gd name="T88" fmla="*/ 2 w 7"/>
                <a:gd name="T89" fmla="*/ 2 h 7"/>
                <a:gd name="T90" fmla="*/ 2 w 7"/>
                <a:gd name="T91" fmla="*/ 2 h 7"/>
                <a:gd name="T92" fmla="*/ 0 w 7"/>
                <a:gd name="T93" fmla="*/ 2 h 7"/>
                <a:gd name="T94" fmla="*/ 0 w 7"/>
                <a:gd name="T95" fmla="*/ 2 h 7"/>
                <a:gd name="T96" fmla="*/ 0 w 7"/>
                <a:gd name="T97" fmla="*/ 2 h 7"/>
                <a:gd name="T98" fmla="*/ 0 w 7"/>
                <a:gd name="T99" fmla="*/ 2 h 7"/>
                <a:gd name="T100" fmla="*/ 0 w 7"/>
                <a:gd name="T101" fmla="*/ 2 h 7"/>
                <a:gd name="T102" fmla="*/ 0 w 7"/>
                <a:gd name="T103" fmla="*/ 2 h 7"/>
                <a:gd name="T104" fmla="*/ 0 w 7"/>
                <a:gd name="T105" fmla="*/ 2 h 7"/>
                <a:gd name="T106" fmla="*/ 2 w 7"/>
                <a:gd name="T107" fmla="*/ 2 h 7"/>
                <a:gd name="T108" fmla="*/ 2 w 7"/>
                <a:gd name="T109" fmla="*/ 2 h 7"/>
                <a:gd name="T110" fmla="*/ 2 w 7"/>
                <a:gd name="T111" fmla="*/ 0 h 7"/>
                <a:gd name="T112" fmla="*/ 2 w 7"/>
                <a:gd name="T113" fmla="*/ 0 h 7"/>
                <a:gd name="T114" fmla="*/ 2 w 7"/>
                <a:gd name="T115" fmla="*/ 0 h 7"/>
                <a:gd name="T116" fmla="*/ 2 w 7"/>
                <a:gd name="T117" fmla="*/ 0 h 7"/>
                <a:gd name="T118" fmla="*/ 2 w 7"/>
                <a:gd name="T119" fmla="*/ 0 h 7"/>
                <a:gd name="T120" fmla="*/ 2 w 7"/>
                <a:gd name="T1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 h="7">
                  <a:moveTo>
                    <a:pt x="7" y="7"/>
                  </a:moveTo>
                  <a:lnTo>
                    <a:pt x="7" y="7"/>
                  </a:lnTo>
                  <a:lnTo>
                    <a:pt x="7" y="7"/>
                  </a:lnTo>
                  <a:lnTo>
                    <a:pt x="7" y="7"/>
                  </a:lnTo>
                  <a:lnTo>
                    <a:pt x="7" y="7"/>
                  </a:lnTo>
                  <a:lnTo>
                    <a:pt x="7" y="7"/>
                  </a:lnTo>
                  <a:lnTo>
                    <a:pt x="5" y="7"/>
                  </a:lnTo>
                  <a:lnTo>
                    <a:pt x="7" y="7"/>
                  </a:lnTo>
                  <a:lnTo>
                    <a:pt x="7" y="7"/>
                  </a:lnTo>
                  <a:lnTo>
                    <a:pt x="7" y="7"/>
                  </a:lnTo>
                  <a:lnTo>
                    <a:pt x="7" y="7"/>
                  </a:lnTo>
                  <a:lnTo>
                    <a:pt x="7" y="7"/>
                  </a:lnTo>
                  <a:close/>
                  <a:moveTo>
                    <a:pt x="5" y="0"/>
                  </a:moveTo>
                  <a:lnTo>
                    <a:pt x="5" y="0"/>
                  </a:lnTo>
                  <a:lnTo>
                    <a:pt x="5" y="0"/>
                  </a:lnTo>
                  <a:lnTo>
                    <a:pt x="5" y="0"/>
                  </a:lnTo>
                  <a:lnTo>
                    <a:pt x="5" y="0"/>
                  </a:lnTo>
                  <a:lnTo>
                    <a:pt x="5" y="0"/>
                  </a:lnTo>
                  <a:lnTo>
                    <a:pt x="5" y="0"/>
                  </a:lnTo>
                  <a:lnTo>
                    <a:pt x="5" y="0"/>
                  </a:lnTo>
                  <a:lnTo>
                    <a:pt x="5" y="0"/>
                  </a:lnTo>
                  <a:close/>
                  <a:moveTo>
                    <a:pt x="2" y="0"/>
                  </a:moveTo>
                  <a:lnTo>
                    <a:pt x="2" y="0"/>
                  </a:lnTo>
                  <a:lnTo>
                    <a:pt x="2" y="0"/>
                  </a:lnTo>
                  <a:lnTo>
                    <a:pt x="2" y="0"/>
                  </a:lnTo>
                  <a:lnTo>
                    <a:pt x="2" y="0"/>
                  </a:lnTo>
                  <a:lnTo>
                    <a:pt x="2" y="0"/>
                  </a:lnTo>
                  <a:lnTo>
                    <a:pt x="2" y="0"/>
                  </a:lnTo>
                  <a:lnTo>
                    <a:pt x="2" y="0"/>
                  </a:lnTo>
                  <a:lnTo>
                    <a:pt x="2" y="0"/>
                  </a:lnTo>
                  <a:lnTo>
                    <a:pt x="2" y="0"/>
                  </a:lnTo>
                  <a:lnTo>
                    <a:pt x="5" y="0"/>
                  </a:lnTo>
                  <a:lnTo>
                    <a:pt x="5" y="0"/>
                  </a:lnTo>
                  <a:lnTo>
                    <a:pt x="5" y="0"/>
                  </a:lnTo>
                  <a:lnTo>
                    <a:pt x="5" y="0"/>
                  </a:lnTo>
                  <a:lnTo>
                    <a:pt x="5" y="0"/>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2" y="2"/>
                  </a:lnTo>
                  <a:lnTo>
                    <a:pt x="2" y="2"/>
                  </a:lnTo>
                  <a:lnTo>
                    <a:pt x="2" y="0"/>
                  </a:lnTo>
                  <a:lnTo>
                    <a:pt x="2" y="0"/>
                  </a:lnTo>
                  <a:lnTo>
                    <a:pt x="2" y="0"/>
                  </a:lnTo>
                  <a:lnTo>
                    <a:pt x="2" y="0"/>
                  </a:lnTo>
                  <a:lnTo>
                    <a:pt x="2"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69" name="Freeform 52487"/>
            <p:cNvSpPr>
              <a:spLocks/>
            </p:cNvSpPr>
            <p:nvPr/>
          </p:nvSpPr>
          <p:spPr bwMode="auto">
            <a:xfrm>
              <a:off x="2522535" y="4908567"/>
              <a:ext cx="7938" cy="15875"/>
            </a:xfrm>
            <a:custGeom>
              <a:avLst/>
              <a:gdLst>
                <a:gd name="T0" fmla="*/ 5 w 5"/>
                <a:gd name="T1" fmla="*/ 10 h 10"/>
                <a:gd name="T2" fmla="*/ 5 w 5"/>
                <a:gd name="T3" fmla="*/ 10 h 10"/>
                <a:gd name="T4" fmla="*/ 2 w 5"/>
                <a:gd name="T5" fmla="*/ 10 h 10"/>
                <a:gd name="T6" fmla="*/ 2 w 5"/>
                <a:gd name="T7" fmla="*/ 10 h 10"/>
                <a:gd name="T8" fmla="*/ 2 w 5"/>
                <a:gd name="T9" fmla="*/ 10 h 10"/>
                <a:gd name="T10" fmla="*/ 2 w 5"/>
                <a:gd name="T11" fmla="*/ 10 h 10"/>
                <a:gd name="T12" fmla="*/ 0 w 5"/>
                <a:gd name="T13" fmla="*/ 10 h 10"/>
                <a:gd name="T14" fmla="*/ 0 w 5"/>
                <a:gd name="T15" fmla="*/ 10 h 10"/>
                <a:gd name="T16" fmla="*/ 2 w 5"/>
                <a:gd name="T17" fmla="*/ 10 h 10"/>
                <a:gd name="T18" fmla="*/ 2 w 5"/>
                <a:gd name="T19" fmla="*/ 7 h 10"/>
                <a:gd name="T20" fmla="*/ 2 w 5"/>
                <a:gd name="T21" fmla="*/ 7 h 10"/>
                <a:gd name="T22" fmla="*/ 2 w 5"/>
                <a:gd name="T23" fmla="*/ 7 h 10"/>
                <a:gd name="T24" fmla="*/ 2 w 5"/>
                <a:gd name="T25" fmla="*/ 7 h 10"/>
                <a:gd name="T26" fmla="*/ 0 w 5"/>
                <a:gd name="T27" fmla="*/ 5 h 10"/>
                <a:gd name="T28" fmla="*/ 0 w 5"/>
                <a:gd name="T29" fmla="*/ 5 h 10"/>
                <a:gd name="T30" fmla="*/ 0 w 5"/>
                <a:gd name="T31" fmla="*/ 3 h 10"/>
                <a:gd name="T32" fmla="*/ 2 w 5"/>
                <a:gd name="T33" fmla="*/ 3 h 10"/>
                <a:gd name="T34" fmla="*/ 2 w 5"/>
                <a:gd name="T35" fmla="*/ 0 h 10"/>
                <a:gd name="T36" fmla="*/ 2 w 5"/>
                <a:gd name="T37" fmla="*/ 0 h 10"/>
                <a:gd name="T38" fmla="*/ 2 w 5"/>
                <a:gd name="T39" fmla="*/ 0 h 10"/>
                <a:gd name="T40" fmla="*/ 2 w 5"/>
                <a:gd name="T41" fmla="*/ 0 h 10"/>
                <a:gd name="T42" fmla="*/ 2 w 5"/>
                <a:gd name="T43" fmla="*/ 0 h 10"/>
                <a:gd name="T44" fmla="*/ 2 w 5"/>
                <a:gd name="T45" fmla="*/ 3 h 10"/>
                <a:gd name="T46" fmla="*/ 5 w 5"/>
                <a:gd name="T47" fmla="*/ 3 h 10"/>
                <a:gd name="T48" fmla="*/ 5 w 5"/>
                <a:gd name="T49" fmla="*/ 3 h 10"/>
                <a:gd name="T50" fmla="*/ 5 w 5"/>
                <a:gd name="T51" fmla="*/ 5 h 10"/>
                <a:gd name="T52" fmla="*/ 2 w 5"/>
                <a:gd name="T53" fmla="*/ 5 h 10"/>
                <a:gd name="T54" fmla="*/ 5 w 5"/>
                <a:gd name="T55" fmla="*/ 5 h 10"/>
                <a:gd name="T56" fmla="*/ 5 w 5"/>
                <a:gd name="T57" fmla="*/ 5 h 10"/>
                <a:gd name="T58" fmla="*/ 5 w 5"/>
                <a:gd name="T59" fmla="*/ 5 h 10"/>
                <a:gd name="T60" fmla="*/ 5 w 5"/>
                <a:gd name="T61" fmla="*/ 5 h 10"/>
                <a:gd name="T62" fmla="*/ 5 w 5"/>
                <a:gd name="T63" fmla="*/ 7 h 10"/>
                <a:gd name="T64" fmla="*/ 5 w 5"/>
                <a:gd name="T65" fmla="*/ 7 h 10"/>
                <a:gd name="T66" fmla="*/ 5 w 5"/>
                <a:gd name="T67" fmla="*/ 7 h 10"/>
                <a:gd name="T68" fmla="*/ 5 w 5"/>
                <a:gd name="T69" fmla="*/ 7 h 10"/>
                <a:gd name="T70" fmla="*/ 5 w 5"/>
                <a:gd name="T71" fmla="*/ 10 h 10"/>
                <a:gd name="T72" fmla="*/ 5 w 5"/>
                <a:gd name="T73" fmla="*/ 10 h 10"/>
                <a:gd name="T74" fmla="*/ 5 w 5"/>
                <a:gd name="T7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 h="10">
                  <a:moveTo>
                    <a:pt x="5" y="10"/>
                  </a:moveTo>
                  <a:lnTo>
                    <a:pt x="5" y="10"/>
                  </a:lnTo>
                  <a:lnTo>
                    <a:pt x="5" y="10"/>
                  </a:lnTo>
                  <a:lnTo>
                    <a:pt x="5" y="10"/>
                  </a:lnTo>
                  <a:lnTo>
                    <a:pt x="2" y="10"/>
                  </a:lnTo>
                  <a:lnTo>
                    <a:pt x="2" y="10"/>
                  </a:lnTo>
                  <a:lnTo>
                    <a:pt x="2" y="10"/>
                  </a:lnTo>
                  <a:lnTo>
                    <a:pt x="2" y="10"/>
                  </a:lnTo>
                  <a:lnTo>
                    <a:pt x="2" y="10"/>
                  </a:lnTo>
                  <a:lnTo>
                    <a:pt x="2" y="10"/>
                  </a:lnTo>
                  <a:lnTo>
                    <a:pt x="2" y="10"/>
                  </a:lnTo>
                  <a:lnTo>
                    <a:pt x="2" y="10"/>
                  </a:lnTo>
                  <a:lnTo>
                    <a:pt x="0" y="10"/>
                  </a:lnTo>
                  <a:lnTo>
                    <a:pt x="0" y="10"/>
                  </a:lnTo>
                  <a:lnTo>
                    <a:pt x="0" y="10"/>
                  </a:lnTo>
                  <a:lnTo>
                    <a:pt x="0" y="10"/>
                  </a:lnTo>
                  <a:lnTo>
                    <a:pt x="0" y="10"/>
                  </a:lnTo>
                  <a:lnTo>
                    <a:pt x="2" y="10"/>
                  </a:lnTo>
                  <a:lnTo>
                    <a:pt x="2" y="7"/>
                  </a:lnTo>
                  <a:lnTo>
                    <a:pt x="2" y="7"/>
                  </a:lnTo>
                  <a:lnTo>
                    <a:pt x="2" y="7"/>
                  </a:lnTo>
                  <a:lnTo>
                    <a:pt x="2" y="7"/>
                  </a:lnTo>
                  <a:lnTo>
                    <a:pt x="2" y="7"/>
                  </a:lnTo>
                  <a:lnTo>
                    <a:pt x="2" y="7"/>
                  </a:lnTo>
                  <a:lnTo>
                    <a:pt x="2" y="7"/>
                  </a:lnTo>
                  <a:lnTo>
                    <a:pt x="2" y="7"/>
                  </a:lnTo>
                  <a:lnTo>
                    <a:pt x="2" y="5"/>
                  </a:lnTo>
                  <a:lnTo>
                    <a:pt x="0" y="5"/>
                  </a:lnTo>
                  <a:lnTo>
                    <a:pt x="0" y="5"/>
                  </a:lnTo>
                  <a:lnTo>
                    <a:pt x="0" y="5"/>
                  </a:lnTo>
                  <a:lnTo>
                    <a:pt x="0" y="3"/>
                  </a:lnTo>
                  <a:lnTo>
                    <a:pt x="0" y="3"/>
                  </a:lnTo>
                  <a:lnTo>
                    <a:pt x="0" y="3"/>
                  </a:lnTo>
                  <a:lnTo>
                    <a:pt x="2" y="3"/>
                  </a:lnTo>
                  <a:lnTo>
                    <a:pt x="2" y="0"/>
                  </a:lnTo>
                  <a:lnTo>
                    <a:pt x="2" y="0"/>
                  </a:lnTo>
                  <a:lnTo>
                    <a:pt x="2" y="0"/>
                  </a:lnTo>
                  <a:lnTo>
                    <a:pt x="2" y="0"/>
                  </a:lnTo>
                  <a:lnTo>
                    <a:pt x="2" y="0"/>
                  </a:lnTo>
                  <a:lnTo>
                    <a:pt x="2" y="0"/>
                  </a:lnTo>
                  <a:lnTo>
                    <a:pt x="2" y="0"/>
                  </a:lnTo>
                  <a:lnTo>
                    <a:pt x="2" y="0"/>
                  </a:lnTo>
                  <a:lnTo>
                    <a:pt x="2" y="0"/>
                  </a:lnTo>
                  <a:lnTo>
                    <a:pt x="2" y="0"/>
                  </a:lnTo>
                  <a:lnTo>
                    <a:pt x="2" y="3"/>
                  </a:lnTo>
                  <a:lnTo>
                    <a:pt x="2" y="3"/>
                  </a:lnTo>
                  <a:lnTo>
                    <a:pt x="5" y="3"/>
                  </a:lnTo>
                  <a:lnTo>
                    <a:pt x="5" y="3"/>
                  </a:lnTo>
                  <a:lnTo>
                    <a:pt x="5" y="3"/>
                  </a:lnTo>
                  <a:lnTo>
                    <a:pt x="5" y="3"/>
                  </a:lnTo>
                  <a:lnTo>
                    <a:pt x="5" y="3"/>
                  </a:lnTo>
                  <a:lnTo>
                    <a:pt x="5" y="5"/>
                  </a:lnTo>
                  <a:lnTo>
                    <a:pt x="2" y="5"/>
                  </a:lnTo>
                  <a:lnTo>
                    <a:pt x="2" y="5"/>
                  </a:lnTo>
                  <a:lnTo>
                    <a:pt x="5" y="5"/>
                  </a:lnTo>
                  <a:lnTo>
                    <a:pt x="5" y="5"/>
                  </a:lnTo>
                  <a:lnTo>
                    <a:pt x="5" y="5"/>
                  </a:lnTo>
                  <a:lnTo>
                    <a:pt x="5" y="5"/>
                  </a:lnTo>
                  <a:lnTo>
                    <a:pt x="5" y="5"/>
                  </a:lnTo>
                  <a:lnTo>
                    <a:pt x="5" y="5"/>
                  </a:lnTo>
                  <a:lnTo>
                    <a:pt x="5" y="5"/>
                  </a:lnTo>
                  <a:lnTo>
                    <a:pt x="5" y="5"/>
                  </a:lnTo>
                  <a:lnTo>
                    <a:pt x="5" y="7"/>
                  </a:lnTo>
                  <a:lnTo>
                    <a:pt x="5" y="7"/>
                  </a:lnTo>
                  <a:lnTo>
                    <a:pt x="5" y="7"/>
                  </a:lnTo>
                  <a:lnTo>
                    <a:pt x="5" y="7"/>
                  </a:lnTo>
                  <a:lnTo>
                    <a:pt x="5" y="7"/>
                  </a:lnTo>
                  <a:lnTo>
                    <a:pt x="5" y="7"/>
                  </a:lnTo>
                  <a:lnTo>
                    <a:pt x="5" y="7"/>
                  </a:lnTo>
                  <a:lnTo>
                    <a:pt x="5" y="7"/>
                  </a:lnTo>
                  <a:lnTo>
                    <a:pt x="5" y="10"/>
                  </a:lnTo>
                  <a:lnTo>
                    <a:pt x="5" y="10"/>
                  </a:lnTo>
                  <a:lnTo>
                    <a:pt x="5" y="10"/>
                  </a:lnTo>
                  <a:lnTo>
                    <a:pt x="5" y="10"/>
                  </a:lnTo>
                  <a:lnTo>
                    <a:pt x="5" y="10"/>
                  </a:lnTo>
                  <a:lnTo>
                    <a:pt x="5" y="1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0" name="Freeform 52488"/>
            <p:cNvSpPr>
              <a:spLocks noEditPoints="1"/>
            </p:cNvSpPr>
            <p:nvPr/>
          </p:nvSpPr>
          <p:spPr bwMode="auto">
            <a:xfrm>
              <a:off x="3125784" y="4187840"/>
              <a:ext cx="304799" cy="207965"/>
            </a:xfrm>
            <a:custGeom>
              <a:avLst/>
              <a:gdLst>
                <a:gd name="T0" fmla="*/ 0 w 192"/>
                <a:gd name="T1" fmla="*/ 57 h 131"/>
                <a:gd name="T2" fmla="*/ 4 w 192"/>
                <a:gd name="T3" fmla="*/ 41 h 131"/>
                <a:gd name="T4" fmla="*/ 4 w 192"/>
                <a:gd name="T5" fmla="*/ 53 h 131"/>
                <a:gd name="T6" fmla="*/ 130 w 192"/>
                <a:gd name="T7" fmla="*/ 8 h 131"/>
                <a:gd name="T8" fmla="*/ 135 w 192"/>
                <a:gd name="T9" fmla="*/ 10 h 131"/>
                <a:gd name="T10" fmla="*/ 144 w 192"/>
                <a:gd name="T11" fmla="*/ 17 h 131"/>
                <a:gd name="T12" fmla="*/ 156 w 192"/>
                <a:gd name="T13" fmla="*/ 17 h 131"/>
                <a:gd name="T14" fmla="*/ 163 w 192"/>
                <a:gd name="T15" fmla="*/ 24 h 131"/>
                <a:gd name="T16" fmla="*/ 173 w 192"/>
                <a:gd name="T17" fmla="*/ 31 h 131"/>
                <a:gd name="T18" fmla="*/ 185 w 192"/>
                <a:gd name="T19" fmla="*/ 41 h 131"/>
                <a:gd name="T20" fmla="*/ 182 w 192"/>
                <a:gd name="T21" fmla="*/ 50 h 131"/>
                <a:gd name="T22" fmla="*/ 182 w 192"/>
                <a:gd name="T23" fmla="*/ 55 h 131"/>
                <a:gd name="T24" fmla="*/ 185 w 192"/>
                <a:gd name="T25" fmla="*/ 57 h 131"/>
                <a:gd name="T26" fmla="*/ 192 w 192"/>
                <a:gd name="T27" fmla="*/ 60 h 131"/>
                <a:gd name="T28" fmla="*/ 185 w 192"/>
                <a:gd name="T29" fmla="*/ 67 h 131"/>
                <a:gd name="T30" fmla="*/ 173 w 192"/>
                <a:gd name="T31" fmla="*/ 69 h 131"/>
                <a:gd name="T32" fmla="*/ 168 w 192"/>
                <a:gd name="T33" fmla="*/ 79 h 131"/>
                <a:gd name="T34" fmla="*/ 159 w 192"/>
                <a:gd name="T35" fmla="*/ 81 h 131"/>
                <a:gd name="T36" fmla="*/ 156 w 192"/>
                <a:gd name="T37" fmla="*/ 95 h 131"/>
                <a:gd name="T38" fmla="*/ 152 w 192"/>
                <a:gd name="T39" fmla="*/ 103 h 131"/>
                <a:gd name="T40" fmla="*/ 152 w 192"/>
                <a:gd name="T41" fmla="*/ 110 h 131"/>
                <a:gd name="T42" fmla="*/ 159 w 192"/>
                <a:gd name="T43" fmla="*/ 114 h 131"/>
                <a:gd name="T44" fmla="*/ 152 w 192"/>
                <a:gd name="T45" fmla="*/ 117 h 131"/>
                <a:gd name="T46" fmla="*/ 152 w 192"/>
                <a:gd name="T47" fmla="*/ 112 h 131"/>
                <a:gd name="T48" fmla="*/ 140 w 192"/>
                <a:gd name="T49" fmla="*/ 112 h 131"/>
                <a:gd name="T50" fmla="*/ 133 w 192"/>
                <a:gd name="T51" fmla="*/ 117 h 131"/>
                <a:gd name="T52" fmla="*/ 125 w 192"/>
                <a:gd name="T53" fmla="*/ 124 h 131"/>
                <a:gd name="T54" fmla="*/ 121 w 192"/>
                <a:gd name="T55" fmla="*/ 126 h 131"/>
                <a:gd name="T56" fmla="*/ 111 w 192"/>
                <a:gd name="T57" fmla="*/ 129 h 131"/>
                <a:gd name="T58" fmla="*/ 104 w 192"/>
                <a:gd name="T59" fmla="*/ 129 h 131"/>
                <a:gd name="T60" fmla="*/ 95 w 192"/>
                <a:gd name="T61" fmla="*/ 129 h 131"/>
                <a:gd name="T62" fmla="*/ 83 w 192"/>
                <a:gd name="T63" fmla="*/ 126 h 131"/>
                <a:gd name="T64" fmla="*/ 78 w 192"/>
                <a:gd name="T65" fmla="*/ 114 h 131"/>
                <a:gd name="T66" fmla="*/ 68 w 192"/>
                <a:gd name="T67" fmla="*/ 107 h 131"/>
                <a:gd name="T68" fmla="*/ 57 w 192"/>
                <a:gd name="T69" fmla="*/ 103 h 131"/>
                <a:gd name="T70" fmla="*/ 57 w 192"/>
                <a:gd name="T71" fmla="*/ 91 h 131"/>
                <a:gd name="T72" fmla="*/ 64 w 192"/>
                <a:gd name="T73" fmla="*/ 84 h 131"/>
                <a:gd name="T74" fmla="*/ 57 w 192"/>
                <a:gd name="T75" fmla="*/ 76 h 131"/>
                <a:gd name="T76" fmla="*/ 45 w 192"/>
                <a:gd name="T77" fmla="*/ 72 h 131"/>
                <a:gd name="T78" fmla="*/ 33 w 192"/>
                <a:gd name="T79" fmla="*/ 72 h 131"/>
                <a:gd name="T80" fmla="*/ 21 w 192"/>
                <a:gd name="T81" fmla="*/ 67 h 131"/>
                <a:gd name="T82" fmla="*/ 14 w 192"/>
                <a:gd name="T83" fmla="*/ 57 h 131"/>
                <a:gd name="T84" fmla="*/ 9 w 192"/>
                <a:gd name="T85" fmla="*/ 55 h 131"/>
                <a:gd name="T86" fmla="*/ 4 w 192"/>
                <a:gd name="T87" fmla="*/ 41 h 131"/>
                <a:gd name="T88" fmla="*/ 2 w 192"/>
                <a:gd name="T89" fmla="*/ 36 h 131"/>
                <a:gd name="T90" fmla="*/ 2 w 192"/>
                <a:gd name="T91" fmla="*/ 19 h 131"/>
                <a:gd name="T92" fmla="*/ 7 w 192"/>
                <a:gd name="T93" fmla="*/ 17 h 131"/>
                <a:gd name="T94" fmla="*/ 19 w 192"/>
                <a:gd name="T95" fmla="*/ 10 h 131"/>
                <a:gd name="T96" fmla="*/ 33 w 192"/>
                <a:gd name="T97" fmla="*/ 5 h 131"/>
                <a:gd name="T98" fmla="*/ 47 w 192"/>
                <a:gd name="T99" fmla="*/ 3 h 131"/>
                <a:gd name="T100" fmla="*/ 61 w 192"/>
                <a:gd name="T101" fmla="*/ 5 h 131"/>
                <a:gd name="T102" fmla="*/ 71 w 192"/>
                <a:gd name="T103" fmla="*/ 8 h 131"/>
                <a:gd name="T104" fmla="*/ 83 w 192"/>
                <a:gd name="T105" fmla="*/ 8 h 131"/>
                <a:gd name="T106" fmla="*/ 95 w 192"/>
                <a:gd name="T107" fmla="*/ 8 h 131"/>
                <a:gd name="T108" fmla="*/ 104 w 192"/>
                <a:gd name="T109" fmla="*/ 10 h 131"/>
                <a:gd name="T110" fmla="*/ 114 w 192"/>
                <a:gd name="T111" fmla="*/ 10 h 131"/>
                <a:gd name="T112" fmla="*/ 121 w 192"/>
                <a:gd name="T113"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 h="131">
                  <a:moveTo>
                    <a:pt x="4" y="53"/>
                  </a:moveTo>
                  <a:lnTo>
                    <a:pt x="4" y="55"/>
                  </a:lnTo>
                  <a:lnTo>
                    <a:pt x="2" y="55"/>
                  </a:lnTo>
                  <a:lnTo>
                    <a:pt x="2" y="57"/>
                  </a:lnTo>
                  <a:lnTo>
                    <a:pt x="2" y="60"/>
                  </a:lnTo>
                  <a:lnTo>
                    <a:pt x="0" y="60"/>
                  </a:lnTo>
                  <a:lnTo>
                    <a:pt x="0" y="57"/>
                  </a:lnTo>
                  <a:lnTo>
                    <a:pt x="2" y="55"/>
                  </a:lnTo>
                  <a:lnTo>
                    <a:pt x="2" y="53"/>
                  </a:lnTo>
                  <a:lnTo>
                    <a:pt x="4" y="50"/>
                  </a:lnTo>
                  <a:lnTo>
                    <a:pt x="4" y="48"/>
                  </a:lnTo>
                  <a:lnTo>
                    <a:pt x="4" y="46"/>
                  </a:lnTo>
                  <a:lnTo>
                    <a:pt x="4" y="43"/>
                  </a:lnTo>
                  <a:lnTo>
                    <a:pt x="4" y="41"/>
                  </a:lnTo>
                  <a:lnTo>
                    <a:pt x="4" y="38"/>
                  </a:lnTo>
                  <a:lnTo>
                    <a:pt x="4" y="41"/>
                  </a:lnTo>
                  <a:lnTo>
                    <a:pt x="4" y="43"/>
                  </a:lnTo>
                  <a:lnTo>
                    <a:pt x="4" y="46"/>
                  </a:lnTo>
                  <a:lnTo>
                    <a:pt x="4" y="48"/>
                  </a:lnTo>
                  <a:lnTo>
                    <a:pt x="4" y="50"/>
                  </a:lnTo>
                  <a:lnTo>
                    <a:pt x="4" y="53"/>
                  </a:lnTo>
                  <a:close/>
                  <a:moveTo>
                    <a:pt x="128" y="0"/>
                  </a:moveTo>
                  <a:lnTo>
                    <a:pt x="130" y="0"/>
                  </a:lnTo>
                  <a:lnTo>
                    <a:pt x="130" y="3"/>
                  </a:lnTo>
                  <a:lnTo>
                    <a:pt x="130" y="5"/>
                  </a:lnTo>
                  <a:lnTo>
                    <a:pt x="133" y="5"/>
                  </a:lnTo>
                  <a:lnTo>
                    <a:pt x="130" y="5"/>
                  </a:lnTo>
                  <a:lnTo>
                    <a:pt x="130" y="8"/>
                  </a:lnTo>
                  <a:lnTo>
                    <a:pt x="133" y="8"/>
                  </a:lnTo>
                  <a:lnTo>
                    <a:pt x="130" y="8"/>
                  </a:lnTo>
                  <a:lnTo>
                    <a:pt x="133" y="8"/>
                  </a:lnTo>
                  <a:lnTo>
                    <a:pt x="130" y="8"/>
                  </a:lnTo>
                  <a:lnTo>
                    <a:pt x="133" y="8"/>
                  </a:lnTo>
                  <a:lnTo>
                    <a:pt x="133" y="10"/>
                  </a:lnTo>
                  <a:lnTo>
                    <a:pt x="135" y="10"/>
                  </a:lnTo>
                  <a:lnTo>
                    <a:pt x="135" y="12"/>
                  </a:lnTo>
                  <a:lnTo>
                    <a:pt x="135" y="15"/>
                  </a:lnTo>
                  <a:lnTo>
                    <a:pt x="137" y="15"/>
                  </a:lnTo>
                  <a:lnTo>
                    <a:pt x="140" y="15"/>
                  </a:lnTo>
                  <a:lnTo>
                    <a:pt x="142" y="15"/>
                  </a:lnTo>
                  <a:lnTo>
                    <a:pt x="142" y="17"/>
                  </a:lnTo>
                  <a:lnTo>
                    <a:pt x="144" y="17"/>
                  </a:lnTo>
                  <a:lnTo>
                    <a:pt x="147" y="17"/>
                  </a:lnTo>
                  <a:lnTo>
                    <a:pt x="149" y="17"/>
                  </a:lnTo>
                  <a:lnTo>
                    <a:pt x="149" y="15"/>
                  </a:lnTo>
                  <a:lnTo>
                    <a:pt x="152" y="15"/>
                  </a:lnTo>
                  <a:lnTo>
                    <a:pt x="152" y="17"/>
                  </a:lnTo>
                  <a:lnTo>
                    <a:pt x="154" y="17"/>
                  </a:lnTo>
                  <a:lnTo>
                    <a:pt x="156" y="17"/>
                  </a:lnTo>
                  <a:lnTo>
                    <a:pt x="156" y="19"/>
                  </a:lnTo>
                  <a:lnTo>
                    <a:pt x="154" y="19"/>
                  </a:lnTo>
                  <a:lnTo>
                    <a:pt x="156" y="19"/>
                  </a:lnTo>
                  <a:lnTo>
                    <a:pt x="159" y="22"/>
                  </a:lnTo>
                  <a:lnTo>
                    <a:pt x="161" y="22"/>
                  </a:lnTo>
                  <a:lnTo>
                    <a:pt x="161" y="24"/>
                  </a:lnTo>
                  <a:lnTo>
                    <a:pt x="163" y="24"/>
                  </a:lnTo>
                  <a:lnTo>
                    <a:pt x="166" y="24"/>
                  </a:lnTo>
                  <a:lnTo>
                    <a:pt x="166" y="27"/>
                  </a:lnTo>
                  <a:lnTo>
                    <a:pt x="168" y="27"/>
                  </a:lnTo>
                  <a:lnTo>
                    <a:pt x="168" y="29"/>
                  </a:lnTo>
                  <a:lnTo>
                    <a:pt x="170" y="29"/>
                  </a:lnTo>
                  <a:lnTo>
                    <a:pt x="170" y="31"/>
                  </a:lnTo>
                  <a:lnTo>
                    <a:pt x="173" y="31"/>
                  </a:lnTo>
                  <a:lnTo>
                    <a:pt x="173" y="34"/>
                  </a:lnTo>
                  <a:lnTo>
                    <a:pt x="175" y="36"/>
                  </a:lnTo>
                  <a:lnTo>
                    <a:pt x="178" y="36"/>
                  </a:lnTo>
                  <a:lnTo>
                    <a:pt x="178" y="38"/>
                  </a:lnTo>
                  <a:lnTo>
                    <a:pt x="180" y="38"/>
                  </a:lnTo>
                  <a:lnTo>
                    <a:pt x="182" y="41"/>
                  </a:lnTo>
                  <a:lnTo>
                    <a:pt x="185" y="41"/>
                  </a:lnTo>
                  <a:lnTo>
                    <a:pt x="187" y="41"/>
                  </a:lnTo>
                  <a:lnTo>
                    <a:pt x="187" y="43"/>
                  </a:lnTo>
                  <a:lnTo>
                    <a:pt x="187" y="46"/>
                  </a:lnTo>
                  <a:lnTo>
                    <a:pt x="185" y="46"/>
                  </a:lnTo>
                  <a:lnTo>
                    <a:pt x="185" y="48"/>
                  </a:lnTo>
                  <a:lnTo>
                    <a:pt x="182" y="48"/>
                  </a:lnTo>
                  <a:lnTo>
                    <a:pt x="182" y="50"/>
                  </a:lnTo>
                  <a:lnTo>
                    <a:pt x="185" y="50"/>
                  </a:lnTo>
                  <a:lnTo>
                    <a:pt x="185" y="53"/>
                  </a:lnTo>
                  <a:lnTo>
                    <a:pt x="182" y="53"/>
                  </a:lnTo>
                  <a:lnTo>
                    <a:pt x="185" y="53"/>
                  </a:lnTo>
                  <a:lnTo>
                    <a:pt x="182" y="53"/>
                  </a:lnTo>
                  <a:lnTo>
                    <a:pt x="185" y="55"/>
                  </a:lnTo>
                  <a:lnTo>
                    <a:pt x="182" y="55"/>
                  </a:lnTo>
                  <a:lnTo>
                    <a:pt x="185" y="55"/>
                  </a:lnTo>
                  <a:lnTo>
                    <a:pt x="182" y="55"/>
                  </a:lnTo>
                  <a:lnTo>
                    <a:pt x="180" y="57"/>
                  </a:lnTo>
                  <a:lnTo>
                    <a:pt x="182" y="57"/>
                  </a:lnTo>
                  <a:lnTo>
                    <a:pt x="185" y="57"/>
                  </a:lnTo>
                  <a:lnTo>
                    <a:pt x="185" y="60"/>
                  </a:lnTo>
                  <a:lnTo>
                    <a:pt x="185" y="57"/>
                  </a:lnTo>
                  <a:lnTo>
                    <a:pt x="185" y="60"/>
                  </a:lnTo>
                  <a:lnTo>
                    <a:pt x="185" y="57"/>
                  </a:lnTo>
                  <a:lnTo>
                    <a:pt x="185" y="60"/>
                  </a:lnTo>
                  <a:lnTo>
                    <a:pt x="185" y="57"/>
                  </a:lnTo>
                  <a:lnTo>
                    <a:pt x="187" y="57"/>
                  </a:lnTo>
                  <a:lnTo>
                    <a:pt x="189" y="57"/>
                  </a:lnTo>
                  <a:lnTo>
                    <a:pt x="192" y="60"/>
                  </a:lnTo>
                  <a:lnTo>
                    <a:pt x="192" y="62"/>
                  </a:lnTo>
                  <a:lnTo>
                    <a:pt x="189" y="62"/>
                  </a:lnTo>
                  <a:lnTo>
                    <a:pt x="189" y="65"/>
                  </a:lnTo>
                  <a:lnTo>
                    <a:pt x="187" y="65"/>
                  </a:lnTo>
                  <a:lnTo>
                    <a:pt x="189" y="67"/>
                  </a:lnTo>
                  <a:lnTo>
                    <a:pt x="187" y="67"/>
                  </a:lnTo>
                  <a:lnTo>
                    <a:pt x="185" y="67"/>
                  </a:lnTo>
                  <a:lnTo>
                    <a:pt x="182" y="67"/>
                  </a:lnTo>
                  <a:lnTo>
                    <a:pt x="180" y="69"/>
                  </a:lnTo>
                  <a:lnTo>
                    <a:pt x="180" y="67"/>
                  </a:lnTo>
                  <a:lnTo>
                    <a:pt x="178" y="67"/>
                  </a:lnTo>
                  <a:lnTo>
                    <a:pt x="175" y="67"/>
                  </a:lnTo>
                  <a:lnTo>
                    <a:pt x="175" y="69"/>
                  </a:lnTo>
                  <a:lnTo>
                    <a:pt x="173" y="69"/>
                  </a:lnTo>
                  <a:lnTo>
                    <a:pt x="175" y="72"/>
                  </a:lnTo>
                  <a:lnTo>
                    <a:pt x="173" y="72"/>
                  </a:lnTo>
                  <a:lnTo>
                    <a:pt x="173" y="74"/>
                  </a:lnTo>
                  <a:lnTo>
                    <a:pt x="173" y="76"/>
                  </a:lnTo>
                  <a:lnTo>
                    <a:pt x="170" y="76"/>
                  </a:lnTo>
                  <a:lnTo>
                    <a:pt x="168" y="76"/>
                  </a:lnTo>
                  <a:lnTo>
                    <a:pt x="168" y="79"/>
                  </a:lnTo>
                  <a:lnTo>
                    <a:pt x="166" y="79"/>
                  </a:lnTo>
                  <a:lnTo>
                    <a:pt x="166" y="76"/>
                  </a:lnTo>
                  <a:lnTo>
                    <a:pt x="163" y="76"/>
                  </a:lnTo>
                  <a:lnTo>
                    <a:pt x="163" y="79"/>
                  </a:lnTo>
                  <a:lnTo>
                    <a:pt x="161" y="79"/>
                  </a:lnTo>
                  <a:lnTo>
                    <a:pt x="161" y="81"/>
                  </a:lnTo>
                  <a:lnTo>
                    <a:pt x="159" y="81"/>
                  </a:lnTo>
                  <a:lnTo>
                    <a:pt x="159" y="84"/>
                  </a:lnTo>
                  <a:lnTo>
                    <a:pt x="156" y="84"/>
                  </a:lnTo>
                  <a:lnTo>
                    <a:pt x="156" y="86"/>
                  </a:lnTo>
                  <a:lnTo>
                    <a:pt x="156" y="88"/>
                  </a:lnTo>
                  <a:lnTo>
                    <a:pt x="156" y="91"/>
                  </a:lnTo>
                  <a:lnTo>
                    <a:pt x="156" y="93"/>
                  </a:lnTo>
                  <a:lnTo>
                    <a:pt x="156" y="95"/>
                  </a:lnTo>
                  <a:lnTo>
                    <a:pt x="159" y="95"/>
                  </a:lnTo>
                  <a:lnTo>
                    <a:pt x="156" y="95"/>
                  </a:lnTo>
                  <a:lnTo>
                    <a:pt x="156" y="98"/>
                  </a:lnTo>
                  <a:lnTo>
                    <a:pt x="154" y="98"/>
                  </a:lnTo>
                  <a:lnTo>
                    <a:pt x="154" y="100"/>
                  </a:lnTo>
                  <a:lnTo>
                    <a:pt x="154" y="103"/>
                  </a:lnTo>
                  <a:lnTo>
                    <a:pt x="152" y="103"/>
                  </a:lnTo>
                  <a:lnTo>
                    <a:pt x="154" y="103"/>
                  </a:lnTo>
                  <a:lnTo>
                    <a:pt x="154" y="105"/>
                  </a:lnTo>
                  <a:lnTo>
                    <a:pt x="152" y="105"/>
                  </a:lnTo>
                  <a:lnTo>
                    <a:pt x="152" y="107"/>
                  </a:lnTo>
                  <a:lnTo>
                    <a:pt x="149" y="107"/>
                  </a:lnTo>
                  <a:lnTo>
                    <a:pt x="149" y="110"/>
                  </a:lnTo>
                  <a:lnTo>
                    <a:pt x="152" y="110"/>
                  </a:lnTo>
                  <a:lnTo>
                    <a:pt x="154" y="110"/>
                  </a:lnTo>
                  <a:lnTo>
                    <a:pt x="156" y="110"/>
                  </a:lnTo>
                  <a:lnTo>
                    <a:pt x="156" y="112"/>
                  </a:lnTo>
                  <a:lnTo>
                    <a:pt x="159" y="112"/>
                  </a:lnTo>
                  <a:lnTo>
                    <a:pt x="159" y="114"/>
                  </a:lnTo>
                  <a:lnTo>
                    <a:pt x="156" y="114"/>
                  </a:lnTo>
                  <a:lnTo>
                    <a:pt x="159" y="114"/>
                  </a:lnTo>
                  <a:lnTo>
                    <a:pt x="159" y="117"/>
                  </a:lnTo>
                  <a:lnTo>
                    <a:pt x="156" y="117"/>
                  </a:lnTo>
                  <a:lnTo>
                    <a:pt x="154" y="117"/>
                  </a:lnTo>
                  <a:lnTo>
                    <a:pt x="156" y="117"/>
                  </a:lnTo>
                  <a:lnTo>
                    <a:pt x="154" y="119"/>
                  </a:lnTo>
                  <a:lnTo>
                    <a:pt x="152" y="119"/>
                  </a:lnTo>
                  <a:lnTo>
                    <a:pt x="152" y="117"/>
                  </a:lnTo>
                  <a:lnTo>
                    <a:pt x="152" y="119"/>
                  </a:lnTo>
                  <a:lnTo>
                    <a:pt x="152" y="117"/>
                  </a:lnTo>
                  <a:lnTo>
                    <a:pt x="149" y="117"/>
                  </a:lnTo>
                  <a:lnTo>
                    <a:pt x="152" y="114"/>
                  </a:lnTo>
                  <a:lnTo>
                    <a:pt x="149" y="114"/>
                  </a:lnTo>
                  <a:lnTo>
                    <a:pt x="152" y="114"/>
                  </a:lnTo>
                  <a:lnTo>
                    <a:pt x="152" y="112"/>
                  </a:lnTo>
                  <a:lnTo>
                    <a:pt x="149" y="112"/>
                  </a:lnTo>
                  <a:lnTo>
                    <a:pt x="149" y="110"/>
                  </a:lnTo>
                  <a:lnTo>
                    <a:pt x="147" y="110"/>
                  </a:lnTo>
                  <a:lnTo>
                    <a:pt x="147" y="112"/>
                  </a:lnTo>
                  <a:lnTo>
                    <a:pt x="144" y="112"/>
                  </a:lnTo>
                  <a:lnTo>
                    <a:pt x="142" y="112"/>
                  </a:lnTo>
                  <a:lnTo>
                    <a:pt x="140" y="112"/>
                  </a:lnTo>
                  <a:lnTo>
                    <a:pt x="140" y="114"/>
                  </a:lnTo>
                  <a:lnTo>
                    <a:pt x="137" y="114"/>
                  </a:lnTo>
                  <a:lnTo>
                    <a:pt x="137" y="117"/>
                  </a:lnTo>
                  <a:lnTo>
                    <a:pt x="135" y="117"/>
                  </a:lnTo>
                  <a:lnTo>
                    <a:pt x="135" y="119"/>
                  </a:lnTo>
                  <a:lnTo>
                    <a:pt x="133" y="119"/>
                  </a:lnTo>
                  <a:lnTo>
                    <a:pt x="133" y="117"/>
                  </a:lnTo>
                  <a:lnTo>
                    <a:pt x="130" y="117"/>
                  </a:lnTo>
                  <a:lnTo>
                    <a:pt x="128" y="117"/>
                  </a:lnTo>
                  <a:lnTo>
                    <a:pt x="125" y="119"/>
                  </a:lnTo>
                  <a:lnTo>
                    <a:pt x="128" y="119"/>
                  </a:lnTo>
                  <a:lnTo>
                    <a:pt x="125" y="119"/>
                  </a:lnTo>
                  <a:lnTo>
                    <a:pt x="125" y="122"/>
                  </a:lnTo>
                  <a:lnTo>
                    <a:pt x="125" y="124"/>
                  </a:lnTo>
                  <a:lnTo>
                    <a:pt x="128" y="124"/>
                  </a:lnTo>
                  <a:lnTo>
                    <a:pt x="128" y="126"/>
                  </a:lnTo>
                  <a:lnTo>
                    <a:pt x="125" y="126"/>
                  </a:lnTo>
                  <a:lnTo>
                    <a:pt x="123" y="126"/>
                  </a:lnTo>
                  <a:lnTo>
                    <a:pt x="123" y="124"/>
                  </a:lnTo>
                  <a:lnTo>
                    <a:pt x="121" y="124"/>
                  </a:lnTo>
                  <a:lnTo>
                    <a:pt x="121" y="126"/>
                  </a:lnTo>
                  <a:lnTo>
                    <a:pt x="118" y="126"/>
                  </a:lnTo>
                  <a:lnTo>
                    <a:pt x="116" y="126"/>
                  </a:lnTo>
                  <a:lnTo>
                    <a:pt x="116" y="129"/>
                  </a:lnTo>
                  <a:lnTo>
                    <a:pt x="114" y="129"/>
                  </a:lnTo>
                  <a:lnTo>
                    <a:pt x="114" y="131"/>
                  </a:lnTo>
                  <a:lnTo>
                    <a:pt x="111" y="131"/>
                  </a:lnTo>
                  <a:lnTo>
                    <a:pt x="111" y="129"/>
                  </a:lnTo>
                  <a:lnTo>
                    <a:pt x="111" y="131"/>
                  </a:lnTo>
                  <a:lnTo>
                    <a:pt x="109" y="131"/>
                  </a:lnTo>
                  <a:lnTo>
                    <a:pt x="109" y="129"/>
                  </a:lnTo>
                  <a:lnTo>
                    <a:pt x="106" y="129"/>
                  </a:lnTo>
                  <a:lnTo>
                    <a:pt x="106" y="126"/>
                  </a:lnTo>
                  <a:lnTo>
                    <a:pt x="104" y="126"/>
                  </a:lnTo>
                  <a:lnTo>
                    <a:pt x="104" y="129"/>
                  </a:lnTo>
                  <a:lnTo>
                    <a:pt x="102" y="129"/>
                  </a:lnTo>
                  <a:lnTo>
                    <a:pt x="99" y="129"/>
                  </a:lnTo>
                  <a:lnTo>
                    <a:pt x="97" y="126"/>
                  </a:lnTo>
                  <a:lnTo>
                    <a:pt x="97" y="129"/>
                  </a:lnTo>
                  <a:lnTo>
                    <a:pt x="95" y="129"/>
                  </a:lnTo>
                  <a:lnTo>
                    <a:pt x="92" y="129"/>
                  </a:lnTo>
                  <a:lnTo>
                    <a:pt x="95" y="129"/>
                  </a:lnTo>
                  <a:lnTo>
                    <a:pt x="92" y="131"/>
                  </a:lnTo>
                  <a:lnTo>
                    <a:pt x="92" y="129"/>
                  </a:lnTo>
                  <a:lnTo>
                    <a:pt x="90" y="129"/>
                  </a:lnTo>
                  <a:lnTo>
                    <a:pt x="87" y="129"/>
                  </a:lnTo>
                  <a:lnTo>
                    <a:pt x="85" y="129"/>
                  </a:lnTo>
                  <a:lnTo>
                    <a:pt x="83" y="129"/>
                  </a:lnTo>
                  <a:lnTo>
                    <a:pt x="83" y="126"/>
                  </a:lnTo>
                  <a:lnTo>
                    <a:pt x="83" y="124"/>
                  </a:lnTo>
                  <a:lnTo>
                    <a:pt x="83" y="122"/>
                  </a:lnTo>
                  <a:lnTo>
                    <a:pt x="83" y="119"/>
                  </a:lnTo>
                  <a:lnTo>
                    <a:pt x="83" y="117"/>
                  </a:lnTo>
                  <a:lnTo>
                    <a:pt x="80" y="117"/>
                  </a:lnTo>
                  <a:lnTo>
                    <a:pt x="80" y="114"/>
                  </a:lnTo>
                  <a:lnTo>
                    <a:pt x="78" y="114"/>
                  </a:lnTo>
                  <a:lnTo>
                    <a:pt x="78" y="112"/>
                  </a:lnTo>
                  <a:lnTo>
                    <a:pt x="76" y="112"/>
                  </a:lnTo>
                  <a:lnTo>
                    <a:pt x="73" y="112"/>
                  </a:lnTo>
                  <a:lnTo>
                    <a:pt x="73" y="110"/>
                  </a:lnTo>
                  <a:lnTo>
                    <a:pt x="71" y="110"/>
                  </a:lnTo>
                  <a:lnTo>
                    <a:pt x="68" y="110"/>
                  </a:lnTo>
                  <a:lnTo>
                    <a:pt x="68" y="107"/>
                  </a:lnTo>
                  <a:lnTo>
                    <a:pt x="66" y="107"/>
                  </a:lnTo>
                  <a:lnTo>
                    <a:pt x="66" y="105"/>
                  </a:lnTo>
                  <a:lnTo>
                    <a:pt x="64" y="105"/>
                  </a:lnTo>
                  <a:lnTo>
                    <a:pt x="61" y="105"/>
                  </a:lnTo>
                  <a:lnTo>
                    <a:pt x="59" y="107"/>
                  </a:lnTo>
                  <a:lnTo>
                    <a:pt x="59" y="105"/>
                  </a:lnTo>
                  <a:lnTo>
                    <a:pt x="57" y="103"/>
                  </a:lnTo>
                  <a:lnTo>
                    <a:pt x="57" y="100"/>
                  </a:lnTo>
                  <a:lnTo>
                    <a:pt x="57" y="98"/>
                  </a:lnTo>
                  <a:lnTo>
                    <a:pt x="57" y="95"/>
                  </a:lnTo>
                  <a:lnTo>
                    <a:pt x="57" y="93"/>
                  </a:lnTo>
                  <a:lnTo>
                    <a:pt x="59" y="93"/>
                  </a:lnTo>
                  <a:lnTo>
                    <a:pt x="57" y="93"/>
                  </a:lnTo>
                  <a:lnTo>
                    <a:pt x="57" y="91"/>
                  </a:lnTo>
                  <a:lnTo>
                    <a:pt x="59" y="91"/>
                  </a:lnTo>
                  <a:lnTo>
                    <a:pt x="57" y="91"/>
                  </a:lnTo>
                  <a:lnTo>
                    <a:pt x="57" y="88"/>
                  </a:lnTo>
                  <a:lnTo>
                    <a:pt x="59" y="88"/>
                  </a:lnTo>
                  <a:lnTo>
                    <a:pt x="61" y="86"/>
                  </a:lnTo>
                  <a:lnTo>
                    <a:pt x="61" y="84"/>
                  </a:lnTo>
                  <a:lnTo>
                    <a:pt x="64" y="84"/>
                  </a:lnTo>
                  <a:lnTo>
                    <a:pt x="61" y="84"/>
                  </a:lnTo>
                  <a:lnTo>
                    <a:pt x="61" y="81"/>
                  </a:lnTo>
                  <a:lnTo>
                    <a:pt x="61" y="79"/>
                  </a:lnTo>
                  <a:lnTo>
                    <a:pt x="59" y="79"/>
                  </a:lnTo>
                  <a:lnTo>
                    <a:pt x="57" y="76"/>
                  </a:lnTo>
                  <a:lnTo>
                    <a:pt x="54" y="76"/>
                  </a:lnTo>
                  <a:lnTo>
                    <a:pt x="57" y="76"/>
                  </a:lnTo>
                  <a:lnTo>
                    <a:pt x="54" y="76"/>
                  </a:lnTo>
                  <a:lnTo>
                    <a:pt x="54" y="74"/>
                  </a:lnTo>
                  <a:lnTo>
                    <a:pt x="52" y="74"/>
                  </a:lnTo>
                  <a:lnTo>
                    <a:pt x="52" y="72"/>
                  </a:lnTo>
                  <a:lnTo>
                    <a:pt x="49" y="72"/>
                  </a:lnTo>
                  <a:lnTo>
                    <a:pt x="47" y="72"/>
                  </a:lnTo>
                  <a:lnTo>
                    <a:pt x="45" y="72"/>
                  </a:lnTo>
                  <a:lnTo>
                    <a:pt x="42" y="72"/>
                  </a:lnTo>
                  <a:lnTo>
                    <a:pt x="40" y="72"/>
                  </a:lnTo>
                  <a:lnTo>
                    <a:pt x="38" y="72"/>
                  </a:lnTo>
                  <a:lnTo>
                    <a:pt x="38" y="74"/>
                  </a:lnTo>
                  <a:lnTo>
                    <a:pt x="35" y="74"/>
                  </a:lnTo>
                  <a:lnTo>
                    <a:pt x="35" y="72"/>
                  </a:lnTo>
                  <a:lnTo>
                    <a:pt x="33" y="72"/>
                  </a:lnTo>
                  <a:lnTo>
                    <a:pt x="31" y="72"/>
                  </a:lnTo>
                  <a:lnTo>
                    <a:pt x="31" y="69"/>
                  </a:lnTo>
                  <a:lnTo>
                    <a:pt x="28" y="69"/>
                  </a:lnTo>
                  <a:lnTo>
                    <a:pt x="26" y="69"/>
                  </a:lnTo>
                  <a:lnTo>
                    <a:pt x="23" y="69"/>
                  </a:lnTo>
                  <a:lnTo>
                    <a:pt x="23" y="67"/>
                  </a:lnTo>
                  <a:lnTo>
                    <a:pt x="21" y="67"/>
                  </a:lnTo>
                  <a:lnTo>
                    <a:pt x="21" y="65"/>
                  </a:lnTo>
                  <a:lnTo>
                    <a:pt x="19" y="65"/>
                  </a:lnTo>
                  <a:lnTo>
                    <a:pt x="16" y="65"/>
                  </a:lnTo>
                  <a:lnTo>
                    <a:pt x="16" y="62"/>
                  </a:lnTo>
                  <a:lnTo>
                    <a:pt x="14" y="62"/>
                  </a:lnTo>
                  <a:lnTo>
                    <a:pt x="14" y="60"/>
                  </a:lnTo>
                  <a:lnTo>
                    <a:pt x="14" y="57"/>
                  </a:lnTo>
                  <a:lnTo>
                    <a:pt x="12" y="57"/>
                  </a:lnTo>
                  <a:lnTo>
                    <a:pt x="12" y="55"/>
                  </a:lnTo>
                  <a:lnTo>
                    <a:pt x="12" y="57"/>
                  </a:lnTo>
                  <a:lnTo>
                    <a:pt x="9" y="57"/>
                  </a:lnTo>
                  <a:lnTo>
                    <a:pt x="7" y="57"/>
                  </a:lnTo>
                  <a:lnTo>
                    <a:pt x="7" y="55"/>
                  </a:lnTo>
                  <a:lnTo>
                    <a:pt x="9" y="55"/>
                  </a:lnTo>
                  <a:lnTo>
                    <a:pt x="9" y="53"/>
                  </a:lnTo>
                  <a:lnTo>
                    <a:pt x="9" y="50"/>
                  </a:lnTo>
                  <a:lnTo>
                    <a:pt x="7" y="48"/>
                  </a:lnTo>
                  <a:lnTo>
                    <a:pt x="7" y="46"/>
                  </a:lnTo>
                  <a:lnTo>
                    <a:pt x="7" y="43"/>
                  </a:lnTo>
                  <a:lnTo>
                    <a:pt x="4" y="43"/>
                  </a:lnTo>
                  <a:lnTo>
                    <a:pt x="4" y="41"/>
                  </a:lnTo>
                  <a:lnTo>
                    <a:pt x="7" y="43"/>
                  </a:lnTo>
                  <a:lnTo>
                    <a:pt x="7" y="41"/>
                  </a:lnTo>
                  <a:lnTo>
                    <a:pt x="4" y="41"/>
                  </a:lnTo>
                  <a:lnTo>
                    <a:pt x="4" y="38"/>
                  </a:lnTo>
                  <a:lnTo>
                    <a:pt x="2" y="38"/>
                  </a:lnTo>
                  <a:lnTo>
                    <a:pt x="4" y="38"/>
                  </a:lnTo>
                  <a:lnTo>
                    <a:pt x="2" y="36"/>
                  </a:lnTo>
                  <a:lnTo>
                    <a:pt x="2" y="34"/>
                  </a:lnTo>
                  <a:lnTo>
                    <a:pt x="2" y="31"/>
                  </a:lnTo>
                  <a:lnTo>
                    <a:pt x="2" y="29"/>
                  </a:lnTo>
                  <a:lnTo>
                    <a:pt x="2" y="27"/>
                  </a:lnTo>
                  <a:lnTo>
                    <a:pt x="2" y="24"/>
                  </a:lnTo>
                  <a:lnTo>
                    <a:pt x="2" y="22"/>
                  </a:lnTo>
                  <a:lnTo>
                    <a:pt x="2" y="19"/>
                  </a:lnTo>
                  <a:lnTo>
                    <a:pt x="4" y="19"/>
                  </a:lnTo>
                  <a:lnTo>
                    <a:pt x="7" y="19"/>
                  </a:lnTo>
                  <a:lnTo>
                    <a:pt x="7" y="17"/>
                  </a:lnTo>
                  <a:lnTo>
                    <a:pt x="9" y="17"/>
                  </a:lnTo>
                  <a:lnTo>
                    <a:pt x="7" y="17"/>
                  </a:lnTo>
                  <a:lnTo>
                    <a:pt x="9" y="17"/>
                  </a:lnTo>
                  <a:lnTo>
                    <a:pt x="7" y="17"/>
                  </a:lnTo>
                  <a:lnTo>
                    <a:pt x="9" y="15"/>
                  </a:lnTo>
                  <a:lnTo>
                    <a:pt x="12" y="15"/>
                  </a:lnTo>
                  <a:lnTo>
                    <a:pt x="12" y="12"/>
                  </a:lnTo>
                  <a:lnTo>
                    <a:pt x="14" y="12"/>
                  </a:lnTo>
                  <a:lnTo>
                    <a:pt x="16" y="12"/>
                  </a:lnTo>
                  <a:lnTo>
                    <a:pt x="16" y="10"/>
                  </a:lnTo>
                  <a:lnTo>
                    <a:pt x="19" y="10"/>
                  </a:lnTo>
                  <a:lnTo>
                    <a:pt x="19" y="8"/>
                  </a:lnTo>
                  <a:lnTo>
                    <a:pt x="21" y="8"/>
                  </a:lnTo>
                  <a:lnTo>
                    <a:pt x="23" y="8"/>
                  </a:lnTo>
                  <a:lnTo>
                    <a:pt x="26" y="8"/>
                  </a:lnTo>
                  <a:lnTo>
                    <a:pt x="28" y="5"/>
                  </a:lnTo>
                  <a:lnTo>
                    <a:pt x="31" y="5"/>
                  </a:lnTo>
                  <a:lnTo>
                    <a:pt x="33" y="5"/>
                  </a:lnTo>
                  <a:lnTo>
                    <a:pt x="33" y="3"/>
                  </a:lnTo>
                  <a:lnTo>
                    <a:pt x="35" y="3"/>
                  </a:lnTo>
                  <a:lnTo>
                    <a:pt x="38" y="3"/>
                  </a:lnTo>
                  <a:lnTo>
                    <a:pt x="40" y="3"/>
                  </a:lnTo>
                  <a:lnTo>
                    <a:pt x="42" y="3"/>
                  </a:lnTo>
                  <a:lnTo>
                    <a:pt x="45" y="3"/>
                  </a:lnTo>
                  <a:lnTo>
                    <a:pt x="47" y="3"/>
                  </a:lnTo>
                  <a:lnTo>
                    <a:pt x="49" y="3"/>
                  </a:lnTo>
                  <a:lnTo>
                    <a:pt x="52" y="3"/>
                  </a:lnTo>
                  <a:lnTo>
                    <a:pt x="52" y="5"/>
                  </a:lnTo>
                  <a:lnTo>
                    <a:pt x="54" y="5"/>
                  </a:lnTo>
                  <a:lnTo>
                    <a:pt x="57" y="5"/>
                  </a:lnTo>
                  <a:lnTo>
                    <a:pt x="59" y="5"/>
                  </a:lnTo>
                  <a:lnTo>
                    <a:pt x="61" y="5"/>
                  </a:lnTo>
                  <a:lnTo>
                    <a:pt x="64" y="5"/>
                  </a:lnTo>
                  <a:lnTo>
                    <a:pt x="64" y="3"/>
                  </a:lnTo>
                  <a:lnTo>
                    <a:pt x="66" y="3"/>
                  </a:lnTo>
                  <a:lnTo>
                    <a:pt x="66" y="5"/>
                  </a:lnTo>
                  <a:lnTo>
                    <a:pt x="66" y="8"/>
                  </a:lnTo>
                  <a:lnTo>
                    <a:pt x="68" y="8"/>
                  </a:lnTo>
                  <a:lnTo>
                    <a:pt x="71" y="8"/>
                  </a:lnTo>
                  <a:lnTo>
                    <a:pt x="73" y="8"/>
                  </a:lnTo>
                  <a:lnTo>
                    <a:pt x="71" y="5"/>
                  </a:lnTo>
                  <a:lnTo>
                    <a:pt x="73" y="5"/>
                  </a:lnTo>
                  <a:lnTo>
                    <a:pt x="76" y="5"/>
                  </a:lnTo>
                  <a:lnTo>
                    <a:pt x="80" y="5"/>
                  </a:lnTo>
                  <a:lnTo>
                    <a:pt x="83" y="5"/>
                  </a:lnTo>
                  <a:lnTo>
                    <a:pt x="83" y="8"/>
                  </a:lnTo>
                  <a:lnTo>
                    <a:pt x="85" y="8"/>
                  </a:lnTo>
                  <a:lnTo>
                    <a:pt x="85" y="5"/>
                  </a:lnTo>
                  <a:lnTo>
                    <a:pt x="87" y="5"/>
                  </a:lnTo>
                  <a:lnTo>
                    <a:pt x="90" y="5"/>
                  </a:lnTo>
                  <a:lnTo>
                    <a:pt x="92" y="5"/>
                  </a:lnTo>
                  <a:lnTo>
                    <a:pt x="92" y="8"/>
                  </a:lnTo>
                  <a:lnTo>
                    <a:pt x="95" y="8"/>
                  </a:lnTo>
                  <a:lnTo>
                    <a:pt x="97" y="8"/>
                  </a:lnTo>
                  <a:lnTo>
                    <a:pt x="99" y="8"/>
                  </a:lnTo>
                  <a:lnTo>
                    <a:pt x="102" y="8"/>
                  </a:lnTo>
                  <a:lnTo>
                    <a:pt x="102" y="10"/>
                  </a:lnTo>
                  <a:lnTo>
                    <a:pt x="104" y="10"/>
                  </a:lnTo>
                  <a:lnTo>
                    <a:pt x="104" y="12"/>
                  </a:lnTo>
                  <a:lnTo>
                    <a:pt x="104" y="10"/>
                  </a:lnTo>
                  <a:lnTo>
                    <a:pt x="104" y="12"/>
                  </a:lnTo>
                  <a:lnTo>
                    <a:pt x="106" y="10"/>
                  </a:lnTo>
                  <a:lnTo>
                    <a:pt x="109" y="10"/>
                  </a:lnTo>
                  <a:lnTo>
                    <a:pt x="109" y="8"/>
                  </a:lnTo>
                  <a:lnTo>
                    <a:pt x="111" y="8"/>
                  </a:lnTo>
                  <a:lnTo>
                    <a:pt x="111" y="10"/>
                  </a:lnTo>
                  <a:lnTo>
                    <a:pt x="114" y="10"/>
                  </a:lnTo>
                  <a:lnTo>
                    <a:pt x="116" y="10"/>
                  </a:lnTo>
                  <a:lnTo>
                    <a:pt x="118" y="10"/>
                  </a:lnTo>
                  <a:lnTo>
                    <a:pt x="118" y="8"/>
                  </a:lnTo>
                  <a:lnTo>
                    <a:pt x="121" y="8"/>
                  </a:lnTo>
                  <a:lnTo>
                    <a:pt x="121" y="5"/>
                  </a:lnTo>
                  <a:lnTo>
                    <a:pt x="121" y="8"/>
                  </a:lnTo>
                  <a:lnTo>
                    <a:pt x="121" y="5"/>
                  </a:lnTo>
                  <a:lnTo>
                    <a:pt x="123" y="5"/>
                  </a:lnTo>
                  <a:lnTo>
                    <a:pt x="123" y="3"/>
                  </a:lnTo>
                  <a:lnTo>
                    <a:pt x="125" y="3"/>
                  </a:lnTo>
                  <a:lnTo>
                    <a:pt x="128" y="3"/>
                  </a:lnTo>
                  <a:lnTo>
                    <a:pt x="12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1" name="Freeform 52489"/>
            <p:cNvSpPr>
              <a:spLocks noEditPoints="1"/>
            </p:cNvSpPr>
            <p:nvPr/>
          </p:nvSpPr>
          <p:spPr bwMode="auto">
            <a:xfrm>
              <a:off x="3140073" y="4278328"/>
              <a:ext cx="7938" cy="7938"/>
            </a:xfrm>
            <a:custGeom>
              <a:avLst/>
              <a:gdLst>
                <a:gd name="T0" fmla="*/ 0 w 5"/>
                <a:gd name="T1" fmla="*/ 5 h 5"/>
                <a:gd name="T2" fmla="*/ 0 w 5"/>
                <a:gd name="T3" fmla="*/ 5 h 5"/>
                <a:gd name="T4" fmla="*/ 3 w 5"/>
                <a:gd name="T5" fmla="*/ 5 h 5"/>
                <a:gd name="T6" fmla="*/ 0 w 5"/>
                <a:gd name="T7" fmla="*/ 5 h 5"/>
                <a:gd name="T8" fmla="*/ 0 w 5"/>
                <a:gd name="T9" fmla="*/ 5 h 5"/>
                <a:gd name="T10" fmla="*/ 0 w 5"/>
                <a:gd name="T11" fmla="*/ 5 h 5"/>
                <a:gd name="T12" fmla="*/ 0 w 5"/>
                <a:gd name="T13" fmla="*/ 5 h 5"/>
                <a:gd name="T14" fmla="*/ 0 w 5"/>
                <a:gd name="T15" fmla="*/ 5 h 5"/>
                <a:gd name="T16" fmla="*/ 0 w 5"/>
                <a:gd name="T17" fmla="*/ 5 h 5"/>
                <a:gd name="T18" fmla="*/ 0 w 5"/>
                <a:gd name="T19" fmla="*/ 5 h 5"/>
                <a:gd name="T20" fmla="*/ 0 w 5"/>
                <a:gd name="T21" fmla="*/ 3 h 5"/>
                <a:gd name="T22" fmla="*/ 0 w 5"/>
                <a:gd name="T23" fmla="*/ 3 h 5"/>
                <a:gd name="T24" fmla="*/ 0 w 5"/>
                <a:gd name="T25" fmla="*/ 3 h 5"/>
                <a:gd name="T26" fmla="*/ 0 w 5"/>
                <a:gd name="T27" fmla="*/ 3 h 5"/>
                <a:gd name="T28" fmla="*/ 0 w 5"/>
                <a:gd name="T29" fmla="*/ 3 h 5"/>
                <a:gd name="T30" fmla="*/ 0 w 5"/>
                <a:gd name="T31" fmla="*/ 3 h 5"/>
                <a:gd name="T32" fmla="*/ 0 w 5"/>
                <a:gd name="T33" fmla="*/ 3 h 5"/>
                <a:gd name="T34" fmla="*/ 5 w 5"/>
                <a:gd name="T35" fmla="*/ 0 h 5"/>
                <a:gd name="T36" fmla="*/ 5 w 5"/>
                <a:gd name="T37" fmla="*/ 0 h 5"/>
                <a:gd name="T38" fmla="*/ 5 w 5"/>
                <a:gd name="T39" fmla="*/ 3 h 5"/>
                <a:gd name="T40" fmla="*/ 5 w 5"/>
                <a:gd name="T41" fmla="*/ 3 h 5"/>
                <a:gd name="T42" fmla="*/ 5 w 5"/>
                <a:gd name="T43" fmla="*/ 3 h 5"/>
                <a:gd name="T44" fmla="*/ 5 w 5"/>
                <a:gd name="T45" fmla="*/ 3 h 5"/>
                <a:gd name="T46" fmla="*/ 3 w 5"/>
                <a:gd name="T47" fmla="*/ 3 h 5"/>
                <a:gd name="T48" fmla="*/ 3 w 5"/>
                <a:gd name="T49" fmla="*/ 3 h 5"/>
                <a:gd name="T50" fmla="*/ 3 w 5"/>
                <a:gd name="T51" fmla="*/ 5 h 5"/>
                <a:gd name="T52" fmla="*/ 3 w 5"/>
                <a:gd name="T53" fmla="*/ 5 h 5"/>
                <a:gd name="T54" fmla="*/ 3 w 5"/>
                <a:gd name="T55" fmla="*/ 5 h 5"/>
                <a:gd name="T56" fmla="*/ 0 w 5"/>
                <a:gd name="T57" fmla="*/ 3 h 5"/>
                <a:gd name="T58" fmla="*/ 0 w 5"/>
                <a:gd name="T59" fmla="*/ 3 h 5"/>
                <a:gd name="T60" fmla="*/ 0 w 5"/>
                <a:gd name="T61" fmla="*/ 3 h 5"/>
                <a:gd name="T62" fmla="*/ 0 w 5"/>
                <a:gd name="T63" fmla="*/ 3 h 5"/>
                <a:gd name="T64" fmla="*/ 0 w 5"/>
                <a:gd name="T65" fmla="*/ 3 h 5"/>
                <a:gd name="T66" fmla="*/ 0 w 5"/>
                <a:gd name="T67" fmla="*/ 3 h 5"/>
                <a:gd name="T68" fmla="*/ 0 w 5"/>
                <a:gd name="T69" fmla="*/ 3 h 5"/>
                <a:gd name="T70" fmla="*/ 0 w 5"/>
                <a:gd name="T71" fmla="*/ 3 h 5"/>
                <a:gd name="T72" fmla="*/ 0 w 5"/>
                <a:gd name="T73" fmla="*/ 3 h 5"/>
                <a:gd name="T74" fmla="*/ 0 w 5"/>
                <a:gd name="T75" fmla="*/ 3 h 5"/>
                <a:gd name="T76" fmla="*/ 0 w 5"/>
                <a:gd name="T77" fmla="*/ 3 h 5"/>
                <a:gd name="T78" fmla="*/ 0 w 5"/>
                <a:gd name="T79" fmla="*/ 0 h 5"/>
                <a:gd name="T80" fmla="*/ 0 w 5"/>
                <a:gd name="T81" fmla="*/ 0 h 5"/>
                <a:gd name="T82" fmla="*/ 0 w 5"/>
                <a:gd name="T83" fmla="*/ 0 h 5"/>
                <a:gd name="T84" fmla="*/ 0 w 5"/>
                <a:gd name="T85" fmla="*/ 0 h 5"/>
                <a:gd name="T86" fmla="*/ 0 w 5"/>
                <a:gd name="T87" fmla="*/ 0 h 5"/>
                <a:gd name="T88" fmla="*/ 0 w 5"/>
                <a:gd name="T89" fmla="*/ 0 h 5"/>
                <a:gd name="T90" fmla="*/ 3 w 5"/>
                <a:gd name="T91" fmla="*/ 0 h 5"/>
                <a:gd name="T92" fmla="*/ 3 w 5"/>
                <a:gd name="T9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 h="5">
                  <a:moveTo>
                    <a:pt x="0" y="3"/>
                  </a:moveTo>
                  <a:lnTo>
                    <a:pt x="0" y="5"/>
                  </a:lnTo>
                  <a:lnTo>
                    <a:pt x="0" y="5"/>
                  </a:lnTo>
                  <a:lnTo>
                    <a:pt x="0" y="5"/>
                  </a:lnTo>
                  <a:lnTo>
                    <a:pt x="3" y="5"/>
                  </a:lnTo>
                  <a:lnTo>
                    <a:pt x="3"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3"/>
                  </a:lnTo>
                  <a:lnTo>
                    <a:pt x="0" y="3"/>
                  </a:lnTo>
                  <a:lnTo>
                    <a:pt x="0" y="3"/>
                  </a:lnTo>
                  <a:close/>
                  <a:moveTo>
                    <a:pt x="0" y="3"/>
                  </a:moveTo>
                  <a:lnTo>
                    <a:pt x="0" y="5"/>
                  </a:lnTo>
                  <a:lnTo>
                    <a:pt x="0" y="3"/>
                  </a:lnTo>
                  <a:lnTo>
                    <a:pt x="0" y="3"/>
                  </a:lnTo>
                  <a:lnTo>
                    <a:pt x="0" y="3"/>
                  </a:lnTo>
                  <a:lnTo>
                    <a:pt x="0" y="3"/>
                  </a:lnTo>
                  <a:lnTo>
                    <a:pt x="0" y="3"/>
                  </a:lnTo>
                  <a:lnTo>
                    <a:pt x="0" y="3"/>
                  </a:lnTo>
                  <a:lnTo>
                    <a:pt x="0" y="3"/>
                  </a:lnTo>
                  <a:lnTo>
                    <a:pt x="0" y="3"/>
                  </a:lnTo>
                  <a:lnTo>
                    <a:pt x="0" y="3"/>
                  </a:lnTo>
                  <a:close/>
                  <a:moveTo>
                    <a:pt x="3" y="0"/>
                  </a:moveTo>
                  <a:lnTo>
                    <a:pt x="5" y="0"/>
                  </a:lnTo>
                  <a:lnTo>
                    <a:pt x="5" y="0"/>
                  </a:lnTo>
                  <a:lnTo>
                    <a:pt x="5" y="0"/>
                  </a:lnTo>
                  <a:lnTo>
                    <a:pt x="5" y="0"/>
                  </a:lnTo>
                  <a:lnTo>
                    <a:pt x="5" y="3"/>
                  </a:lnTo>
                  <a:lnTo>
                    <a:pt x="5" y="3"/>
                  </a:lnTo>
                  <a:lnTo>
                    <a:pt x="5" y="3"/>
                  </a:lnTo>
                  <a:lnTo>
                    <a:pt x="5" y="3"/>
                  </a:lnTo>
                  <a:lnTo>
                    <a:pt x="5" y="3"/>
                  </a:lnTo>
                  <a:lnTo>
                    <a:pt x="5" y="3"/>
                  </a:lnTo>
                  <a:lnTo>
                    <a:pt x="5" y="3"/>
                  </a:lnTo>
                  <a:lnTo>
                    <a:pt x="3" y="3"/>
                  </a:lnTo>
                  <a:lnTo>
                    <a:pt x="3" y="3"/>
                  </a:lnTo>
                  <a:lnTo>
                    <a:pt x="3" y="3"/>
                  </a:lnTo>
                  <a:lnTo>
                    <a:pt x="3" y="3"/>
                  </a:lnTo>
                  <a:lnTo>
                    <a:pt x="3" y="5"/>
                  </a:lnTo>
                  <a:lnTo>
                    <a:pt x="3" y="5"/>
                  </a:lnTo>
                  <a:lnTo>
                    <a:pt x="3" y="5"/>
                  </a:lnTo>
                  <a:lnTo>
                    <a:pt x="3" y="5"/>
                  </a:lnTo>
                  <a:lnTo>
                    <a:pt x="3" y="5"/>
                  </a:lnTo>
                  <a:lnTo>
                    <a:pt x="3" y="5"/>
                  </a:lnTo>
                  <a:lnTo>
                    <a:pt x="0" y="5"/>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2" name="Freeform 52490"/>
            <p:cNvSpPr>
              <a:spLocks/>
            </p:cNvSpPr>
            <p:nvPr/>
          </p:nvSpPr>
          <p:spPr bwMode="auto">
            <a:xfrm>
              <a:off x="3132135" y="425292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3" name="Freeform 52491"/>
            <p:cNvSpPr>
              <a:spLocks/>
            </p:cNvSpPr>
            <p:nvPr/>
          </p:nvSpPr>
          <p:spPr bwMode="auto">
            <a:xfrm>
              <a:off x="2327273" y="4686317"/>
              <a:ext cx="41275" cy="57150"/>
            </a:xfrm>
            <a:custGeom>
              <a:avLst/>
              <a:gdLst>
                <a:gd name="T0" fmla="*/ 12 w 26"/>
                <a:gd name="T1" fmla="*/ 0 h 36"/>
                <a:gd name="T2" fmla="*/ 14 w 26"/>
                <a:gd name="T3" fmla="*/ 2 h 36"/>
                <a:gd name="T4" fmla="*/ 14 w 26"/>
                <a:gd name="T5" fmla="*/ 5 h 36"/>
                <a:gd name="T6" fmla="*/ 12 w 26"/>
                <a:gd name="T7" fmla="*/ 5 h 36"/>
                <a:gd name="T8" fmla="*/ 12 w 26"/>
                <a:gd name="T9" fmla="*/ 5 h 36"/>
                <a:gd name="T10" fmla="*/ 14 w 26"/>
                <a:gd name="T11" fmla="*/ 7 h 36"/>
                <a:gd name="T12" fmla="*/ 14 w 26"/>
                <a:gd name="T13" fmla="*/ 7 h 36"/>
                <a:gd name="T14" fmla="*/ 14 w 26"/>
                <a:gd name="T15" fmla="*/ 9 h 36"/>
                <a:gd name="T16" fmla="*/ 14 w 26"/>
                <a:gd name="T17" fmla="*/ 12 h 36"/>
                <a:gd name="T18" fmla="*/ 14 w 26"/>
                <a:gd name="T19" fmla="*/ 9 h 36"/>
                <a:gd name="T20" fmla="*/ 16 w 26"/>
                <a:gd name="T21" fmla="*/ 12 h 36"/>
                <a:gd name="T22" fmla="*/ 16 w 26"/>
                <a:gd name="T23" fmla="*/ 12 h 36"/>
                <a:gd name="T24" fmla="*/ 16 w 26"/>
                <a:gd name="T25" fmla="*/ 14 h 36"/>
                <a:gd name="T26" fmla="*/ 19 w 26"/>
                <a:gd name="T27" fmla="*/ 14 h 36"/>
                <a:gd name="T28" fmla="*/ 19 w 26"/>
                <a:gd name="T29" fmla="*/ 14 h 36"/>
                <a:gd name="T30" fmla="*/ 19 w 26"/>
                <a:gd name="T31" fmla="*/ 17 h 36"/>
                <a:gd name="T32" fmla="*/ 21 w 26"/>
                <a:gd name="T33" fmla="*/ 17 h 36"/>
                <a:gd name="T34" fmla="*/ 23 w 26"/>
                <a:gd name="T35" fmla="*/ 19 h 36"/>
                <a:gd name="T36" fmla="*/ 23 w 26"/>
                <a:gd name="T37" fmla="*/ 17 h 36"/>
                <a:gd name="T38" fmla="*/ 26 w 26"/>
                <a:gd name="T39" fmla="*/ 19 h 36"/>
                <a:gd name="T40" fmla="*/ 26 w 26"/>
                <a:gd name="T41" fmla="*/ 19 h 36"/>
                <a:gd name="T42" fmla="*/ 26 w 26"/>
                <a:gd name="T43" fmla="*/ 19 h 36"/>
                <a:gd name="T44" fmla="*/ 26 w 26"/>
                <a:gd name="T45" fmla="*/ 21 h 36"/>
                <a:gd name="T46" fmla="*/ 26 w 26"/>
                <a:gd name="T47" fmla="*/ 21 h 36"/>
                <a:gd name="T48" fmla="*/ 23 w 26"/>
                <a:gd name="T49" fmla="*/ 24 h 36"/>
                <a:gd name="T50" fmla="*/ 23 w 26"/>
                <a:gd name="T51" fmla="*/ 26 h 36"/>
                <a:gd name="T52" fmla="*/ 21 w 26"/>
                <a:gd name="T53" fmla="*/ 28 h 36"/>
                <a:gd name="T54" fmla="*/ 21 w 26"/>
                <a:gd name="T55" fmla="*/ 28 h 36"/>
                <a:gd name="T56" fmla="*/ 21 w 26"/>
                <a:gd name="T57" fmla="*/ 31 h 36"/>
                <a:gd name="T58" fmla="*/ 21 w 26"/>
                <a:gd name="T59" fmla="*/ 36 h 36"/>
                <a:gd name="T60" fmla="*/ 19 w 26"/>
                <a:gd name="T61" fmla="*/ 33 h 36"/>
                <a:gd name="T62" fmla="*/ 16 w 26"/>
                <a:gd name="T63" fmla="*/ 33 h 36"/>
                <a:gd name="T64" fmla="*/ 14 w 26"/>
                <a:gd name="T65" fmla="*/ 33 h 36"/>
                <a:gd name="T66" fmla="*/ 12 w 26"/>
                <a:gd name="T67" fmla="*/ 36 h 36"/>
                <a:gd name="T68" fmla="*/ 9 w 26"/>
                <a:gd name="T69" fmla="*/ 36 h 36"/>
                <a:gd name="T70" fmla="*/ 9 w 26"/>
                <a:gd name="T71" fmla="*/ 36 h 36"/>
                <a:gd name="T72" fmla="*/ 7 w 26"/>
                <a:gd name="T73" fmla="*/ 33 h 36"/>
                <a:gd name="T74" fmla="*/ 4 w 26"/>
                <a:gd name="T75" fmla="*/ 33 h 36"/>
                <a:gd name="T76" fmla="*/ 4 w 26"/>
                <a:gd name="T77" fmla="*/ 33 h 36"/>
                <a:gd name="T78" fmla="*/ 4 w 26"/>
                <a:gd name="T79" fmla="*/ 31 h 36"/>
                <a:gd name="T80" fmla="*/ 4 w 26"/>
                <a:gd name="T81" fmla="*/ 31 h 36"/>
                <a:gd name="T82" fmla="*/ 4 w 26"/>
                <a:gd name="T83" fmla="*/ 28 h 36"/>
                <a:gd name="T84" fmla="*/ 4 w 26"/>
                <a:gd name="T85" fmla="*/ 28 h 36"/>
                <a:gd name="T86" fmla="*/ 4 w 26"/>
                <a:gd name="T87" fmla="*/ 26 h 36"/>
                <a:gd name="T88" fmla="*/ 4 w 26"/>
                <a:gd name="T89" fmla="*/ 24 h 36"/>
                <a:gd name="T90" fmla="*/ 4 w 26"/>
                <a:gd name="T91" fmla="*/ 24 h 36"/>
                <a:gd name="T92" fmla="*/ 4 w 26"/>
                <a:gd name="T93" fmla="*/ 21 h 36"/>
                <a:gd name="T94" fmla="*/ 2 w 26"/>
                <a:gd name="T95" fmla="*/ 19 h 36"/>
                <a:gd name="T96" fmla="*/ 2 w 26"/>
                <a:gd name="T97" fmla="*/ 19 h 36"/>
                <a:gd name="T98" fmla="*/ 0 w 26"/>
                <a:gd name="T99" fmla="*/ 17 h 36"/>
                <a:gd name="T100" fmla="*/ 0 w 26"/>
                <a:gd name="T101" fmla="*/ 17 h 36"/>
                <a:gd name="T102" fmla="*/ 0 w 26"/>
                <a:gd name="T103" fmla="*/ 17 h 36"/>
                <a:gd name="T104" fmla="*/ 2 w 26"/>
                <a:gd name="T105" fmla="*/ 14 h 36"/>
                <a:gd name="T106" fmla="*/ 2 w 26"/>
                <a:gd name="T107" fmla="*/ 14 h 36"/>
                <a:gd name="T108" fmla="*/ 2 w 26"/>
                <a:gd name="T109" fmla="*/ 12 h 36"/>
                <a:gd name="T110" fmla="*/ 2 w 26"/>
                <a:gd name="T111" fmla="*/ 9 h 36"/>
                <a:gd name="T112" fmla="*/ 4 w 26"/>
                <a:gd name="T113" fmla="*/ 9 h 36"/>
                <a:gd name="T114" fmla="*/ 4 w 26"/>
                <a:gd name="T115" fmla="*/ 7 h 36"/>
                <a:gd name="T116" fmla="*/ 4 w 26"/>
                <a:gd name="T117" fmla="*/ 5 h 36"/>
                <a:gd name="T118" fmla="*/ 4 w 26"/>
                <a:gd name="T119" fmla="*/ 2 h 36"/>
                <a:gd name="T120" fmla="*/ 7 w 26"/>
                <a:gd name="T121" fmla="*/ 0 h 36"/>
                <a:gd name="T122" fmla="*/ 9 w 26"/>
                <a:gd name="T1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36">
                  <a:moveTo>
                    <a:pt x="9" y="0"/>
                  </a:moveTo>
                  <a:lnTo>
                    <a:pt x="9" y="0"/>
                  </a:lnTo>
                  <a:lnTo>
                    <a:pt x="12" y="0"/>
                  </a:lnTo>
                  <a:lnTo>
                    <a:pt x="12" y="0"/>
                  </a:lnTo>
                  <a:lnTo>
                    <a:pt x="12" y="0"/>
                  </a:lnTo>
                  <a:lnTo>
                    <a:pt x="12" y="0"/>
                  </a:lnTo>
                  <a:lnTo>
                    <a:pt x="12" y="0"/>
                  </a:lnTo>
                  <a:lnTo>
                    <a:pt x="12" y="0"/>
                  </a:lnTo>
                  <a:lnTo>
                    <a:pt x="12" y="2"/>
                  </a:lnTo>
                  <a:lnTo>
                    <a:pt x="12" y="2"/>
                  </a:lnTo>
                  <a:lnTo>
                    <a:pt x="12" y="2"/>
                  </a:lnTo>
                  <a:lnTo>
                    <a:pt x="14" y="2"/>
                  </a:lnTo>
                  <a:lnTo>
                    <a:pt x="14" y="2"/>
                  </a:lnTo>
                  <a:lnTo>
                    <a:pt x="14" y="2"/>
                  </a:lnTo>
                  <a:lnTo>
                    <a:pt x="14" y="2"/>
                  </a:lnTo>
                  <a:lnTo>
                    <a:pt x="14" y="2"/>
                  </a:lnTo>
                  <a:lnTo>
                    <a:pt x="14" y="2"/>
                  </a:lnTo>
                  <a:lnTo>
                    <a:pt x="14" y="2"/>
                  </a:lnTo>
                  <a:lnTo>
                    <a:pt x="14" y="2"/>
                  </a:lnTo>
                  <a:lnTo>
                    <a:pt x="14" y="2"/>
                  </a:lnTo>
                  <a:lnTo>
                    <a:pt x="14" y="2"/>
                  </a:lnTo>
                  <a:lnTo>
                    <a:pt x="14" y="2"/>
                  </a:lnTo>
                  <a:lnTo>
                    <a:pt x="14" y="5"/>
                  </a:lnTo>
                  <a:lnTo>
                    <a:pt x="14" y="5"/>
                  </a:lnTo>
                  <a:lnTo>
                    <a:pt x="14" y="5"/>
                  </a:lnTo>
                  <a:lnTo>
                    <a:pt x="14" y="5"/>
                  </a:lnTo>
                  <a:lnTo>
                    <a:pt x="14" y="5"/>
                  </a:lnTo>
                  <a:lnTo>
                    <a:pt x="14" y="5"/>
                  </a:lnTo>
                  <a:lnTo>
                    <a:pt x="14" y="5"/>
                  </a:lnTo>
                  <a:lnTo>
                    <a:pt x="14" y="5"/>
                  </a:lnTo>
                  <a:lnTo>
                    <a:pt x="12" y="5"/>
                  </a:lnTo>
                  <a:lnTo>
                    <a:pt x="12" y="5"/>
                  </a:lnTo>
                  <a:lnTo>
                    <a:pt x="14" y="5"/>
                  </a:lnTo>
                  <a:lnTo>
                    <a:pt x="12" y="5"/>
                  </a:lnTo>
                  <a:lnTo>
                    <a:pt x="12" y="5"/>
                  </a:lnTo>
                  <a:lnTo>
                    <a:pt x="14" y="5"/>
                  </a:lnTo>
                  <a:lnTo>
                    <a:pt x="14" y="5"/>
                  </a:lnTo>
                  <a:lnTo>
                    <a:pt x="14" y="5"/>
                  </a:lnTo>
                  <a:lnTo>
                    <a:pt x="12" y="5"/>
                  </a:lnTo>
                  <a:lnTo>
                    <a:pt x="12" y="5"/>
                  </a:lnTo>
                  <a:lnTo>
                    <a:pt x="12" y="5"/>
                  </a:lnTo>
                  <a:lnTo>
                    <a:pt x="12" y="7"/>
                  </a:lnTo>
                  <a:lnTo>
                    <a:pt x="12" y="7"/>
                  </a:lnTo>
                  <a:lnTo>
                    <a:pt x="12" y="5"/>
                  </a:lnTo>
                  <a:lnTo>
                    <a:pt x="14" y="5"/>
                  </a:lnTo>
                  <a:lnTo>
                    <a:pt x="14" y="7"/>
                  </a:lnTo>
                  <a:lnTo>
                    <a:pt x="14" y="7"/>
                  </a:lnTo>
                  <a:lnTo>
                    <a:pt x="14" y="7"/>
                  </a:lnTo>
                  <a:lnTo>
                    <a:pt x="14" y="7"/>
                  </a:lnTo>
                  <a:lnTo>
                    <a:pt x="14" y="7"/>
                  </a:lnTo>
                  <a:lnTo>
                    <a:pt x="14" y="7"/>
                  </a:lnTo>
                  <a:lnTo>
                    <a:pt x="14" y="7"/>
                  </a:lnTo>
                  <a:lnTo>
                    <a:pt x="14" y="7"/>
                  </a:lnTo>
                  <a:lnTo>
                    <a:pt x="14" y="7"/>
                  </a:lnTo>
                  <a:lnTo>
                    <a:pt x="14" y="7"/>
                  </a:lnTo>
                  <a:lnTo>
                    <a:pt x="14" y="7"/>
                  </a:lnTo>
                  <a:lnTo>
                    <a:pt x="14" y="9"/>
                  </a:lnTo>
                  <a:lnTo>
                    <a:pt x="14" y="9"/>
                  </a:lnTo>
                  <a:lnTo>
                    <a:pt x="14" y="9"/>
                  </a:lnTo>
                  <a:lnTo>
                    <a:pt x="14" y="9"/>
                  </a:lnTo>
                  <a:lnTo>
                    <a:pt x="14" y="9"/>
                  </a:lnTo>
                  <a:lnTo>
                    <a:pt x="14" y="9"/>
                  </a:lnTo>
                  <a:lnTo>
                    <a:pt x="14" y="9"/>
                  </a:lnTo>
                  <a:lnTo>
                    <a:pt x="14" y="9"/>
                  </a:lnTo>
                  <a:lnTo>
                    <a:pt x="14" y="9"/>
                  </a:lnTo>
                  <a:lnTo>
                    <a:pt x="14" y="9"/>
                  </a:lnTo>
                  <a:lnTo>
                    <a:pt x="14" y="9"/>
                  </a:lnTo>
                  <a:lnTo>
                    <a:pt x="14" y="9"/>
                  </a:lnTo>
                  <a:lnTo>
                    <a:pt x="14" y="9"/>
                  </a:lnTo>
                  <a:lnTo>
                    <a:pt x="14" y="9"/>
                  </a:lnTo>
                  <a:lnTo>
                    <a:pt x="14" y="12"/>
                  </a:lnTo>
                  <a:lnTo>
                    <a:pt x="14" y="12"/>
                  </a:lnTo>
                  <a:lnTo>
                    <a:pt x="14" y="12"/>
                  </a:lnTo>
                  <a:lnTo>
                    <a:pt x="14" y="12"/>
                  </a:lnTo>
                  <a:lnTo>
                    <a:pt x="14" y="12"/>
                  </a:lnTo>
                  <a:lnTo>
                    <a:pt x="14" y="12"/>
                  </a:lnTo>
                  <a:lnTo>
                    <a:pt x="14" y="12"/>
                  </a:lnTo>
                  <a:lnTo>
                    <a:pt x="14" y="9"/>
                  </a:lnTo>
                  <a:lnTo>
                    <a:pt x="14" y="9"/>
                  </a:lnTo>
                  <a:lnTo>
                    <a:pt x="14" y="9"/>
                  </a:lnTo>
                  <a:lnTo>
                    <a:pt x="14" y="9"/>
                  </a:lnTo>
                  <a:lnTo>
                    <a:pt x="14" y="9"/>
                  </a:lnTo>
                  <a:lnTo>
                    <a:pt x="14" y="9"/>
                  </a:lnTo>
                  <a:lnTo>
                    <a:pt x="14" y="9"/>
                  </a:lnTo>
                  <a:lnTo>
                    <a:pt x="16" y="9"/>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2"/>
                  </a:lnTo>
                  <a:lnTo>
                    <a:pt x="16" y="14"/>
                  </a:lnTo>
                  <a:lnTo>
                    <a:pt x="16" y="14"/>
                  </a:lnTo>
                  <a:lnTo>
                    <a:pt x="16" y="14"/>
                  </a:lnTo>
                  <a:lnTo>
                    <a:pt x="16" y="14"/>
                  </a:lnTo>
                  <a:lnTo>
                    <a:pt x="16" y="14"/>
                  </a:lnTo>
                  <a:lnTo>
                    <a:pt x="16" y="14"/>
                  </a:lnTo>
                  <a:lnTo>
                    <a:pt x="16" y="14"/>
                  </a:lnTo>
                  <a:lnTo>
                    <a:pt x="16" y="14"/>
                  </a:lnTo>
                  <a:lnTo>
                    <a:pt x="16" y="14"/>
                  </a:lnTo>
                  <a:lnTo>
                    <a:pt x="16" y="14"/>
                  </a:lnTo>
                  <a:lnTo>
                    <a:pt x="16" y="14"/>
                  </a:lnTo>
                  <a:lnTo>
                    <a:pt x="16"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7"/>
                  </a:lnTo>
                  <a:lnTo>
                    <a:pt x="19" y="17"/>
                  </a:lnTo>
                  <a:lnTo>
                    <a:pt x="19" y="17"/>
                  </a:lnTo>
                  <a:lnTo>
                    <a:pt x="19" y="17"/>
                  </a:lnTo>
                  <a:lnTo>
                    <a:pt x="19" y="17"/>
                  </a:lnTo>
                  <a:lnTo>
                    <a:pt x="19" y="17"/>
                  </a:lnTo>
                  <a:lnTo>
                    <a:pt x="19" y="17"/>
                  </a:lnTo>
                  <a:lnTo>
                    <a:pt x="21" y="17"/>
                  </a:lnTo>
                  <a:lnTo>
                    <a:pt x="21" y="17"/>
                  </a:lnTo>
                  <a:lnTo>
                    <a:pt x="21" y="17"/>
                  </a:lnTo>
                  <a:lnTo>
                    <a:pt x="21" y="17"/>
                  </a:lnTo>
                  <a:lnTo>
                    <a:pt x="21" y="17"/>
                  </a:lnTo>
                  <a:lnTo>
                    <a:pt x="21" y="17"/>
                  </a:lnTo>
                  <a:lnTo>
                    <a:pt x="21" y="17"/>
                  </a:lnTo>
                  <a:lnTo>
                    <a:pt x="21" y="17"/>
                  </a:lnTo>
                  <a:lnTo>
                    <a:pt x="21" y="17"/>
                  </a:lnTo>
                  <a:lnTo>
                    <a:pt x="21" y="17"/>
                  </a:lnTo>
                  <a:lnTo>
                    <a:pt x="21" y="17"/>
                  </a:lnTo>
                  <a:lnTo>
                    <a:pt x="23" y="17"/>
                  </a:lnTo>
                  <a:lnTo>
                    <a:pt x="23" y="17"/>
                  </a:lnTo>
                  <a:lnTo>
                    <a:pt x="23" y="19"/>
                  </a:lnTo>
                  <a:lnTo>
                    <a:pt x="23" y="19"/>
                  </a:lnTo>
                  <a:lnTo>
                    <a:pt x="23" y="19"/>
                  </a:lnTo>
                  <a:lnTo>
                    <a:pt x="23" y="17"/>
                  </a:lnTo>
                  <a:lnTo>
                    <a:pt x="23" y="17"/>
                  </a:lnTo>
                  <a:lnTo>
                    <a:pt x="23" y="19"/>
                  </a:lnTo>
                  <a:lnTo>
                    <a:pt x="23" y="19"/>
                  </a:lnTo>
                  <a:lnTo>
                    <a:pt x="23" y="17"/>
                  </a:lnTo>
                  <a:lnTo>
                    <a:pt x="23" y="17"/>
                  </a:lnTo>
                  <a:lnTo>
                    <a:pt x="26" y="17"/>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19"/>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1"/>
                  </a:lnTo>
                  <a:lnTo>
                    <a:pt x="26" y="24"/>
                  </a:lnTo>
                  <a:lnTo>
                    <a:pt x="26" y="24"/>
                  </a:lnTo>
                  <a:lnTo>
                    <a:pt x="26" y="24"/>
                  </a:lnTo>
                  <a:lnTo>
                    <a:pt x="23" y="24"/>
                  </a:lnTo>
                  <a:lnTo>
                    <a:pt x="23" y="24"/>
                  </a:lnTo>
                  <a:lnTo>
                    <a:pt x="23" y="24"/>
                  </a:lnTo>
                  <a:lnTo>
                    <a:pt x="23" y="24"/>
                  </a:lnTo>
                  <a:lnTo>
                    <a:pt x="23" y="24"/>
                  </a:lnTo>
                  <a:lnTo>
                    <a:pt x="23" y="24"/>
                  </a:lnTo>
                  <a:lnTo>
                    <a:pt x="23" y="26"/>
                  </a:lnTo>
                  <a:lnTo>
                    <a:pt x="23" y="26"/>
                  </a:lnTo>
                  <a:lnTo>
                    <a:pt x="23" y="26"/>
                  </a:lnTo>
                  <a:lnTo>
                    <a:pt x="23" y="26"/>
                  </a:lnTo>
                  <a:lnTo>
                    <a:pt x="23" y="26"/>
                  </a:lnTo>
                  <a:lnTo>
                    <a:pt x="23" y="26"/>
                  </a:lnTo>
                  <a:lnTo>
                    <a:pt x="23" y="26"/>
                  </a:lnTo>
                  <a:lnTo>
                    <a:pt x="23" y="26"/>
                  </a:lnTo>
                  <a:lnTo>
                    <a:pt x="23" y="28"/>
                  </a:lnTo>
                  <a:lnTo>
                    <a:pt x="23"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28"/>
                  </a:lnTo>
                  <a:lnTo>
                    <a:pt x="21" y="31"/>
                  </a:lnTo>
                  <a:lnTo>
                    <a:pt x="21" y="31"/>
                  </a:lnTo>
                  <a:lnTo>
                    <a:pt x="21" y="31"/>
                  </a:lnTo>
                  <a:lnTo>
                    <a:pt x="21" y="31"/>
                  </a:lnTo>
                  <a:lnTo>
                    <a:pt x="21" y="31"/>
                  </a:lnTo>
                  <a:lnTo>
                    <a:pt x="21" y="31"/>
                  </a:lnTo>
                  <a:lnTo>
                    <a:pt x="21" y="31"/>
                  </a:lnTo>
                  <a:lnTo>
                    <a:pt x="21" y="33"/>
                  </a:lnTo>
                  <a:lnTo>
                    <a:pt x="21" y="33"/>
                  </a:lnTo>
                  <a:lnTo>
                    <a:pt x="21" y="33"/>
                  </a:lnTo>
                  <a:lnTo>
                    <a:pt x="21" y="36"/>
                  </a:lnTo>
                  <a:lnTo>
                    <a:pt x="21" y="36"/>
                  </a:lnTo>
                  <a:lnTo>
                    <a:pt x="21" y="36"/>
                  </a:lnTo>
                  <a:lnTo>
                    <a:pt x="21" y="36"/>
                  </a:lnTo>
                  <a:lnTo>
                    <a:pt x="21" y="36"/>
                  </a:lnTo>
                  <a:lnTo>
                    <a:pt x="19" y="36"/>
                  </a:lnTo>
                  <a:lnTo>
                    <a:pt x="19" y="33"/>
                  </a:lnTo>
                  <a:lnTo>
                    <a:pt x="19" y="33"/>
                  </a:lnTo>
                  <a:lnTo>
                    <a:pt x="19" y="33"/>
                  </a:lnTo>
                  <a:lnTo>
                    <a:pt x="19" y="33"/>
                  </a:lnTo>
                  <a:lnTo>
                    <a:pt x="19" y="33"/>
                  </a:lnTo>
                  <a:lnTo>
                    <a:pt x="19" y="33"/>
                  </a:lnTo>
                  <a:lnTo>
                    <a:pt x="19" y="33"/>
                  </a:lnTo>
                  <a:lnTo>
                    <a:pt x="19" y="33"/>
                  </a:lnTo>
                  <a:lnTo>
                    <a:pt x="16" y="33"/>
                  </a:lnTo>
                  <a:lnTo>
                    <a:pt x="16" y="33"/>
                  </a:lnTo>
                  <a:lnTo>
                    <a:pt x="16" y="33"/>
                  </a:lnTo>
                  <a:lnTo>
                    <a:pt x="16" y="33"/>
                  </a:lnTo>
                  <a:lnTo>
                    <a:pt x="14" y="33"/>
                  </a:lnTo>
                  <a:lnTo>
                    <a:pt x="14" y="33"/>
                  </a:lnTo>
                  <a:lnTo>
                    <a:pt x="14" y="33"/>
                  </a:lnTo>
                  <a:lnTo>
                    <a:pt x="14" y="33"/>
                  </a:lnTo>
                  <a:lnTo>
                    <a:pt x="14" y="33"/>
                  </a:lnTo>
                  <a:lnTo>
                    <a:pt x="14" y="33"/>
                  </a:lnTo>
                  <a:lnTo>
                    <a:pt x="14" y="33"/>
                  </a:lnTo>
                  <a:lnTo>
                    <a:pt x="14" y="33"/>
                  </a:lnTo>
                  <a:lnTo>
                    <a:pt x="14" y="33"/>
                  </a:lnTo>
                  <a:lnTo>
                    <a:pt x="14" y="33"/>
                  </a:lnTo>
                  <a:lnTo>
                    <a:pt x="14" y="33"/>
                  </a:lnTo>
                  <a:lnTo>
                    <a:pt x="14" y="33"/>
                  </a:lnTo>
                  <a:lnTo>
                    <a:pt x="14" y="33"/>
                  </a:lnTo>
                  <a:lnTo>
                    <a:pt x="12" y="33"/>
                  </a:lnTo>
                  <a:lnTo>
                    <a:pt x="12" y="36"/>
                  </a:lnTo>
                  <a:lnTo>
                    <a:pt x="12" y="36"/>
                  </a:lnTo>
                  <a:lnTo>
                    <a:pt x="12" y="36"/>
                  </a:lnTo>
                  <a:lnTo>
                    <a:pt x="12" y="36"/>
                  </a:lnTo>
                  <a:lnTo>
                    <a:pt x="12" y="36"/>
                  </a:lnTo>
                  <a:lnTo>
                    <a:pt x="12" y="36"/>
                  </a:lnTo>
                  <a:lnTo>
                    <a:pt x="12" y="36"/>
                  </a:lnTo>
                  <a:lnTo>
                    <a:pt x="12" y="36"/>
                  </a:lnTo>
                  <a:lnTo>
                    <a:pt x="9" y="36"/>
                  </a:lnTo>
                  <a:lnTo>
                    <a:pt x="9" y="36"/>
                  </a:lnTo>
                  <a:lnTo>
                    <a:pt x="9" y="36"/>
                  </a:lnTo>
                  <a:lnTo>
                    <a:pt x="9" y="36"/>
                  </a:lnTo>
                  <a:lnTo>
                    <a:pt x="9" y="36"/>
                  </a:lnTo>
                  <a:lnTo>
                    <a:pt x="9" y="36"/>
                  </a:lnTo>
                  <a:lnTo>
                    <a:pt x="9" y="36"/>
                  </a:lnTo>
                  <a:lnTo>
                    <a:pt x="9" y="36"/>
                  </a:lnTo>
                  <a:lnTo>
                    <a:pt x="9" y="36"/>
                  </a:lnTo>
                  <a:lnTo>
                    <a:pt x="9" y="36"/>
                  </a:lnTo>
                  <a:lnTo>
                    <a:pt x="9" y="36"/>
                  </a:lnTo>
                  <a:lnTo>
                    <a:pt x="9" y="36"/>
                  </a:lnTo>
                  <a:lnTo>
                    <a:pt x="9" y="36"/>
                  </a:lnTo>
                  <a:lnTo>
                    <a:pt x="9" y="36"/>
                  </a:lnTo>
                  <a:lnTo>
                    <a:pt x="7" y="36"/>
                  </a:lnTo>
                  <a:lnTo>
                    <a:pt x="7" y="36"/>
                  </a:lnTo>
                  <a:lnTo>
                    <a:pt x="7" y="33"/>
                  </a:lnTo>
                  <a:lnTo>
                    <a:pt x="7" y="33"/>
                  </a:lnTo>
                  <a:lnTo>
                    <a:pt x="7" y="33"/>
                  </a:lnTo>
                  <a:lnTo>
                    <a:pt x="7" y="33"/>
                  </a:lnTo>
                  <a:lnTo>
                    <a:pt x="7" y="33"/>
                  </a:lnTo>
                  <a:lnTo>
                    <a:pt x="7" y="33"/>
                  </a:lnTo>
                  <a:lnTo>
                    <a:pt x="7" y="33"/>
                  </a:lnTo>
                  <a:lnTo>
                    <a:pt x="4" y="33"/>
                  </a:lnTo>
                  <a:lnTo>
                    <a:pt x="4" y="33"/>
                  </a:lnTo>
                  <a:lnTo>
                    <a:pt x="4" y="33"/>
                  </a:lnTo>
                  <a:lnTo>
                    <a:pt x="4" y="33"/>
                  </a:lnTo>
                  <a:lnTo>
                    <a:pt x="4" y="33"/>
                  </a:lnTo>
                  <a:lnTo>
                    <a:pt x="4" y="33"/>
                  </a:lnTo>
                  <a:lnTo>
                    <a:pt x="4" y="33"/>
                  </a:lnTo>
                  <a:lnTo>
                    <a:pt x="4" y="33"/>
                  </a:lnTo>
                  <a:lnTo>
                    <a:pt x="4" y="33"/>
                  </a:lnTo>
                  <a:lnTo>
                    <a:pt x="4" y="33"/>
                  </a:lnTo>
                  <a:lnTo>
                    <a:pt x="4" y="33"/>
                  </a:lnTo>
                  <a:lnTo>
                    <a:pt x="4" y="33"/>
                  </a:lnTo>
                  <a:lnTo>
                    <a:pt x="4" y="33"/>
                  </a:lnTo>
                  <a:lnTo>
                    <a:pt x="4" y="31"/>
                  </a:lnTo>
                  <a:lnTo>
                    <a:pt x="4" y="31"/>
                  </a:lnTo>
                  <a:lnTo>
                    <a:pt x="4" y="31"/>
                  </a:lnTo>
                  <a:lnTo>
                    <a:pt x="4" y="31"/>
                  </a:lnTo>
                  <a:lnTo>
                    <a:pt x="4" y="31"/>
                  </a:lnTo>
                  <a:lnTo>
                    <a:pt x="4" y="31"/>
                  </a:lnTo>
                  <a:lnTo>
                    <a:pt x="2" y="31"/>
                  </a:lnTo>
                  <a:lnTo>
                    <a:pt x="2" y="31"/>
                  </a:lnTo>
                  <a:lnTo>
                    <a:pt x="2" y="31"/>
                  </a:lnTo>
                  <a:lnTo>
                    <a:pt x="2" y="31"/>
                  </a:lnTo>
                  <a:lnTo>
                    <a:pt x="4" y="31"/>
                  </a:lnTo>
                  <a:lnTo>
                    <a:pt x="4" y="31"/>
                  </a:lnTo>
                  <a:lnTo>
                    <a:pt x="4" y="31"/>
                  </a:lnTo>
                  <a:lnTo>
                    <a:pt x="4" y="31"/>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6"/>
                  </a:lnTo>
                  <a:lnTo>
                    <a:pt x="4" y="26"/>
                  </a:lnTo>
                  <a:lnTo>
                    <a:pt x="4" y="26"/>
                  </a:lnTo>
                  <a:lnTo>
                    <a:pt x="4" y="26"/>
                  </a:lnTo>
                  <a:lnTo>
                    <a:pt x="4" y="26"/>
                  </a:lnTo>
                  <a:lnTo>
                    <a:pt x="4" y="26"/>
                  </a:lnTo>
                  <a:lnTo>
                    <a:pt x="4" y="26"/>
                  </a:lnTo>
                  <a:lnTo>
                    <a:pt x="7" y="26"/>
                  </a:lnTo>
                  <a:lnTo>
                    <a:pt x="7" y="26"/>
                  </a:lnTo>
                  <a:lnTo>
                    <a:pt x="4" y="26"/>
                  </a:lnTo>
                  <a:lnTo>
                    <a:pt x="7" y="26"/>
                  </a:lnTo>
                  <a:lnTo>
                    <a:pt x="7" y="26"/>
                  </a:lnTo>
                  <a:lnTo>
                    <a:pt x="7" y="26"/>
                  </a:lnTo>
                  <a:lnTo>
                    <a:pt x="4" y="26"/>
                  </a:lnTo>
                  <a:lnTo>
                    <a:pt x="4" y="24"/>
                  </a:lnTo>
                  <a:lnTo>
                    <a:pt x="4" y="24"/>
                  </a:lnTo>
                  <a:lnTo>
                    <a:pt x="4" y="24"/>
                  </a:lnTo>
                  <a:lnTo>
                    <a:pt x="4" y="24"/>
                  </a:lnTo>
                  <a:lnTo>
                    <a:pt x="4" y="24"/>
                  </a:lnTo>
                  <a:lnTo>
                    <a:pt x="4" y="24"/>
                  </a:lnTo>
                  <a:lnTo>
                    <a:pt x="4" y="24"/>
                  </a:lnTo>
                  <a:lnTo>
                    <a:pt x="4" y="24"/>
                  </a:lnTo>
                  <a:lnTo>
                    <a:pt x="4" y="24"/>
                  </a:lnTo>
                  <a:lnTo>
                    <a:pt x="4" y="24"/>
                  </a:lnTo>
                  <a:lnTo>
                    <a:pt x="4" y="24"/>
                  </a:lnTo>
                  <a:lnTo>
                    <a:pt x="4" y="24"/>
                  </a:lnTo>
                  <a:lnTo>
                    <a:pt x="4" y="24"/>
                  </a:lnTo>
                  <a:lnTo>
                    <a:pt x="4" y="24"/>
                  </a:lnTo>
                  <a:lnTo>
                    <a:pt x="4" y="21"/>
                  </a:lnTo>
                  <a:lnTo>
                    <a:pt x="4" y="21"/>
                  </a:lnTo>
                  <a:lnTo>
                    <a:pt x="4" y="21"/>
                  </a:lnTo>
                  <a:lnTo>
                    <a:pt x="2" y="21"/>
                  </a:lnTo>
                  <a:lnTo>
                    <a:pt x="2" y="21"/>
                  </a:lnTo>
                  <a:lnTo>
                    <a:pt x="4" y="21"/>
                  </a:lnTo>
                  <a:lnTo>
                    <a:pt x="2" y="21"/>
                  </a:lnTo>
                  <a:lnTo>
                    <a:pt x="2" y="21"/>
                  </a:lnTo>
                  <a:lnTo>
                    <a:pt x="2" y="21"/>
                  </a:lnTo>
                  <a:lnTo>
                    <a:pt x="2" y="21"/>
                  </a:lnTo>
                  <a:lnTo>
                    <a:pt x="2" y="19"/>
                  </a:lnTo>
                  <a:lnTo>
                    <a:pt x="2" y="19"/>
                  </a:lnTo>
                  <a:lnTo>
                    <a:pt x="2" y="19"/>
                  </a:lnTo>
                  <a:lnTo>
                    <a:pt x="2" y="19"/>
                  </a:lnTo>
                  <a:lnTo>
                    <a:pt x="2" y="19"/>
                  </a:lnTo>
                  <a:lnTo>
                    <a:pt x="2" y="19"/>
                  </a:lnTo>
                  <a:lnTo>
                    <a:pt x="2" y="19"/>
                  </a:lnTo>
                  <a:lnTo>
                    <a:pt x="2" y="19"/>
                  </a:lnTo>
                  <a:lnTo>
                    <a:pt x="2" y="19"/>
                  </a:lnTo>
                  <a:lnTo>
                    <a:pt x="2" y="19"/>
                  </a:lnTo>
                  <a:lnTo>
                    <a:pt x="2" y="19"/>
                  </a:lnTo>
                  <a:lnTo>
                    <a:pt x="2" y="19"/>
                  </a:lnTo>
                  <a:lnTo>
                    <a:pt x="2" y="19"/>
                  </a:lnTo>
                  <a:lnTo>
                    <a:pt x="0" y="19"/>
                  </a:lnTo>
                  <a:lnTo>
                    <a:pt x="0" y="19"/>
                  </a:lnTo>
                  <a:lnTo>
                    <a:pt x="0" y="19"/>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7"/>
                  </a:lnTo>
                  <a:lnTo>
                    <a:pt x="0" y="14"/>
                  </a:lnTo>
                  <a:lnTo>
                    <a:pt x="0" y="14"/>
                  </a:lnTo>
                  <a:lnTo>
                    <a:pt x="0" y="14"/>
                  </a:lnTo>
                  <a:lnTo>
                    <a:pt x="0" y="14"/>
                  </a:lnTo>
                  <a:lnTo>
                    <a:pt x="0" y="14"/>
                  </a:lnTo>
                  <a:lnTo>
                    <a:pt x="2" y="14"/>
                  </a:lnTo>
                  <a:lnTo>
                    <a:pt x="2" y="14"/>
                  </a:lnTo>
                  <a:lnTo>
                    <a:pt x="2" y="14"/>
                  </a:lnTo>
                  <a:lnTo>
                    <a:pt x="2" y="14"/>
                  </a:lnTo>
                  <a:lnTo>
                    <a:pt x="2" y="14"/>
                  </a:lnTo>
                  <a:lnTo>
                    <a:pt x="2" y="14"/>
                  </a:lnTo>
                  <a:lnTo>
                    <a:pt x="2" y="14"/>
                  </a:lnTo>
                  <a:lnTo>
                    <a:pt x="2" y="14"/>
                  </a:lnTo>
                  <a:lnTo>
                    <a:pt x="2" y="14"/>
                  </a:lnTo>
                  <a:lnTo>
                    <a:pt x="2" y="14"/>
                  </a:lnTo>
                  <a:lnTo>
                    <a:pt x="2" y="14"/>
                  </a:lnTo>
                  <a:lnTo>
                    <a:pt x="0" y="14"/>
                  </a:lnTo>
                  <a:lnTo>
                    <a:pt x="0" y="14"/>
                  </a:lnTo>
                  <a:lnTo>
                    <a:pt x="0" y="14"/>
                  </a:lnTo>
                  <a:lnTo>
                    <a:pt x="0" y="14"/>
                  </a:lnTo>
                  <a:lnTo>
                    <a:pt x="0" y="14"/>
                  </a:lnTo>
                  <a:lnTo>
                    <a:pt x="0" y="14"/>
                  </a:lnTo>
                  <a:lnTo>
                    <a:pt x="0" y="12"/>
                  </a:lnTo>
                  <a:lnTo>
                    <a:pt x="2" y="12"/>
                  </a:lnTo>
                  <a:lnTo>
                    <a:pt x="2" y="12"/>
                  </a:lnTo>
                  <a:lnTo>
                    <a:pt x="2" y="12"/>
                  </a:lnTo>
                  <a:lnTo>
                    <a:pt x="2" y="12"/>
                  </a:lnTo>
                  <a:lnTo>
                    <a:pt x="2" y="12"/>
                  </a:lnTo>
                  <a:lnTo>
                    <a:pt x="2" y="12"/>
                  </a:lnTo>
                  <a:lnTo>
                    <a:pt x="2" y="9"/>
                  </a:lnTo>
                  <a:lnTo>
                    <a:pt x="2" y="9"/>
                  </a:lnTo>
                  <a:lnTo>
                    <a:pt x="2" y="9"/>
                  </a:lnTo>
                  <a:lnTo>
                    <a:pt x="2" y="9"/>
                  </a:lnTo>
                  <a:lnTo>
                    <a:pt x="2" y="9"/>
                  </a:lnTo>
                  <a:lnTo>
                    <a:pt x="2" y="9"/>
                  </a:lnTo>
                  <a:lnTo>
                    <a:pt x="2" y="9"/>
                  </a:lnTo>
                  <a:lnTo>
                    <a:pt x="2" y="9"/>
                  </a:lnTo>
                  <a:lnTo>
                    <a:pt x="2" y="9"/>
                  </a:lnTo>
                  <a:lnTo>
                    <a:pt x="4" y="9"/>
                  </a:lnTo>
                  <a:lnTo>
                    <a:pt x="4" y="9"/>
                  </a:lnTo>
                  <a:lnTo>
                    <a:pt x="2" y="9"/>
                  </a:lnTo>
                  <a:lnTo>
                    <a:pt x="2" y="9"/>
                  </a:lnTo>
                  <a:lnTo>
                    <a:pt x="2" y="9"/>
                  </a:lnTo>
                  <a:lnTo>
                    <a:pt x="2" y="7"/>
                  </a:lnTo>
                  <a:lnTo>
                    <a:pt x="2" y="7"/>
                  </a:lnTo>
                  <a:lnTo>
                    <a:pt x="4" y="7"/>
                  </a:lnTo>
                  <a:lnTo>
                    <a:pt x="4" y="7"/>
                  </a:lnTo>
                  <a:lnTo>
                    <a:pt x="4" y="7"/>
                  </a:lnTo>
                  <a:lnTo>
                    <a:pt x="4" y="7"/>
                  </a:lnTo>
                  <a:lnTo>
                    <a:pt x="4" y="7"/>
                  </a:lnTo>
                  <a:lnTo>
                    <a:pt x="4" y="7"/>
                  </a:lnTo>
                  <a:lnTo>
                    <a:pt x="4" y="7"/>
                  </a:lnTo>
                  <a:lnTo>
                    <a:pt x="4" y="5"/>
                  </a:lnTo>
                  <a:lnTo>
                    <a:pt x="4" y="5"/>
                  </a:lnTo>
                  <a:lnTo>
                    <a:pt x="4" y="5"/>
                  </a:lnTo>
                  <a:lnTo>
                    <a:pt x="4" y="5"/>
                  </a:lnTo>
                  <a:lnTo>
                    <a:pt x="4" y="5"/>
                  </a:lnTo>
                  <a:lnTo>
                    <a:pt x="4" y="5"/>
                  </a:lnTo>
                  <a:lnTo>
                    <a:pt x="4" y="5"/>
                  </a:lnTo>
                  <a:lnTo>
                    <a:pt x="4" y="5"/>
                  </a:lnTo>
                  <a:lnTo>
                    <a:pt x="4" y="5"/>
                  </a:lnTo>
                  <a:lnTo>
                    <a:pt x="4" y="5"/>
                  </a:lnTo>
                  <a:lnTo>
                    <a:pt x="4" y="2"/>
                  </a:lnTo>
                  <a:lnTo>
                    <a:pt x="4" y="2"/>
                  </a:lnTo>
                  <a:lnTo>
                    <a:pt x="7" y="2"/>
                  </a:lnTo>
                  <a:lnTo>
                    <a:pt x="7" y="2"/>
                  </a:lnTo>
                  <a:lnTo>
                    <a:pt x="7" y="2"/>
                  </a:lnTo>
                  <a:lnTo>
                    <a:pt x="7" y="2"/>
                  </a:lnTo>
                  <a:lnTo>
                    <a:pt x="7" y="2"/>
                  </a:lnTo>
                  <a:lnTo>
                    <a:pt x="7" y="0"/>
                  </a:lnTo>
                  <a:lnTo>
                    <a:pt x="7" y="0"/>
                  </a:lnTo>
                  <a:lnTo>
                    <a:pt x="7" y="0"/>
                  </a:lnTo>
                  <a:lnTo>
                    <a:pt x="7" y="0"/>
                  </a:lnTo>
                  <a:lnTo>
                    <a:pt x="7" y="0"/>
                  </a:lnTo>
                  <a:lnTo>
                    <a:pt x="9" y="0"/>
                  </a:lnTo>
                  <a:lnTo>
                    <a:pt x="9" y="0"/>
                  </a:lnTo>
                  <a:lnTo>
                    <a:pt x="9" y="0"/>
                  </a:lnTo>
                  <a:lnTo>
                    <a:pt x="9" y="0"/>
                  </a:lnTo>
                  <a:lnTo>
                    <a:pt x="9" y="0"/>
                  </a:lnTo>
                  <a:lnTo>
                    <a:pt x="9" y="0"/>
                  </a:lnTo>
                  <a:lnTo>
                    <a:pt x="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4" name="Freeform 52492"/>
            <p:cNvSpPr>
              <a:spLocks noEditPoints="1"/>
            </p:cNvSpPr>
            <p:nvPr/>
          </p:nvSpPr>
          <p:spPr bwMode="auto">
            <a:xfrm>
              <a:off x="2771773" y="5719783"/>
              <a:ext cx="17463" cy="19050"/>
            </a:xfrm>
            <a:custGeom>
              <a:avLst/>
              <a:gdLst>
                <a:gd name="T0" fmla="*/ 4 w 11"/>
                <a:gd name="T1" fmla="*/ 5 h 12"/>
                <a:gd name="T2" fmla="*/ 4 w 11"/>
                <a:gd name="T3" fmla="*/ 5 h 12"/>
                <a:gd name="T4" fmla="*/ 7 w 11"/>
                <a:gd name="T5" fmla="*/ 5 h 12"/>
                <a:gd name="T6" fmla="*/ 4 w 11"/>
                <a:gd name="T7" fmla="*/ 7 h 12"/>
                <a:gd name="T8" fmla="*/ 7 w 11"/>
                <a:gd name="T9" fmla="*/ 5 h 12"/>
                <a:gd name="T10" fmla="*/ 7 w 11"/>
                <a:gd name="T11" fmla="*/ 5 h 12"/>
                <a:gd name="T12" fmla="*/ 7 w 11"/>
                <a:gd name="T13" fmla="*/ 5 h 12"/>
                <a:gd name="T14" fmla="*/ 7 w 11"/>
                <a:gd name="T15" fmla="*/ 7 h 12"/>
                <a:gd name="T16" fmla="*/ 9 w 11"/>
                <a:gd name="T17" fmla="*/ 7 h 12"/>
                <a:gd name="T18" fmla="*/ 9 w 11"/>
                <a:gd name="T19" fmla="*/ 7 h 12"/>
                <a:gd name="T20" fmla="*/ 9 w 11"/>
                <a:gd name="T21" fmla="*/ 7 h 12"/>
                <a:gd name="T22" fmla="*/ 9 w 11"/>
                <a:gd name="T23" fmla="*/ 7 h 12"/>
                <a:gd name="T24" fmla="*/ 9 w 11"/>
                <a:gd name="T25" fmla="*/ 7 h 12"/>
                <a:gd name="T26" fmla="*/ 9 w 11"/>
                <a:gd name="T27" fmla="*/ 9 h 12"/>
                <a:gd name="T28" fmla="*/ 9 w 11"/>
                <a:gd name="T29" fmla="*/ 9 h 12"/>
                <a:gd name="T30" fmla="*/ 9 w 11"/>
                <a:gd name="T31" fmla="*/ 7 h 12"/>
                <a:gd name="T32" fmla="*/ 11 w 11"/>
                <a:gd name="T33" fmla="*/ 9 h 12"/>
                <a:gd name="T34" fmla="*/ 11 w 11"/>
                <a:gd name="T35" fmla="*/ 9 h 12"/>
                <a:gd name="T36" fmla="*/ 11 w 11"/>
                <a:gd name="T37" fmla="*/ 9 h 12"/>
                <a:gd name="T38" fmla="*/ 11 w 11"/>
                <a:gd name="T39" fmla="*/ 12 h 12"/>
                <a:gd name="T40" fmla="*/ 11 w 11"/>
                <a:gd name="T41" fmla="*/ 12 h 12"/>
                <a:gd name="T42" fmla="*/ 11 w 11"/>
                <a:gd name="T43" fmla="*/ 12 h 12"/>
                <a:gd name="T44" fmla="*/ 11 w 11"/>
                <a:gd name="T45" fmla="*/ 12 h 12"/>
                <a:gd name="T46" fmla="*/ 9 w 11"/>
                <a:gd name="T47" fmla="*/ 12 h 12"/>
                <a:gd name="T48" fmla="*/ 11 w 11"/>
                <a:gd name="T49" fmla="*/ 12 h 12"/>
                <a:gd name="T50" fmla="*/ 11 w 11"/>
                <a:gd name="T51" fmla="*/ 12 h 12"/>
                <a:gd name="T52" fmla="*/ 9 w 11"/>
                <a:gd name="T53" fmla="*/ 12 h 12"/>
                <a:gd name="T54" fmla="*/ 7 w 11"/>
                <a:gd name="T55" fmla="*/ 12 h 12"/>
                <a:gd name="T56" fmla="*/ 7 w 11"/>
                <a:gd name="T57" fmla="*/ 12 h 12"/>
                <a:gd name="T58" fmla="*/ 4 w 11"/>
                <a:gd name="T59" fmla="*/ 9 h 12"/>
                <a:gd name="T60" fmla="*/ 4 w 11"/>
                <a:gd name="T61" fmla="*/ 9 h 12"/>
                <a:gd name="T62" fmla="*/ 4 w 11"/>
                <a:gd name="T63" fmla="*/ 7 h 12"/>
                <a:gd name="T64" fmla="*/ 4 w 11"/>
                <a:gd name="T65" fmla="*/ 7 h 12"/>
                <a:gd name="T66" fmla="*/ 4 w 11"/>
                <a:gd name="T67" fmla="*/ 7 h 12"/>
                <a:gd name="T68" fmla="*/ 4 w 11"/>
                <a:gd name="T69" fmla="*/ 5 h 12"/>
                <a:gd name="T70" fmla="*/ 4 w 11"/>
                <a:gd name="T71" fmla="*/ 5 h 12"/>
                <a:gd name="T72" fmla="*/ 4 w 11"/>
                <a:gd name="T73" fmla="*/ 5 h 12"/>
                <a:gd name="T74" fmla="*/ 4 w 11"/>
                <a:gd name="T75" fmla="*/ 5 h 12"/>
                <a:gd name="T76" fmla="*/ 4 w 11"/>
                <a:gd name="T77" fmla="*/ 5 h 12"/>
                <a:gd name="T78" fmla="*/ 4 w 11"/>
                <a:gd name="T79" fmla="*/ 5 h 12"/>
                <a:gd name="T80" fmla="*/ 4 w 11"/>
                <a:gd name="T81" fmla="*/ 2 h 12"/>
                <a:gd name="T82" fmla="*/ 4 w 11"/>
                <a:gd name="T83" fmla="*/ 2 h 12"/>
                <a:gd name="T84" fmla="*/ 4 w 11"/>
                <a:gd name="T85" fmla="*/ 2 h 12"/>
                <a:gd name="T86" fmla="*/ 2 w 11"/>
                <a:gd name="T87" fmla="*/ 0 h 12"/>
                <a:gd name="T88" fmla="*/ 2 w 11"/>
                <a:gd name="T89" fmla="*/ 0 h 12"/>
                <a:gd name="T90" fmla="*/ 2 w 11"/>
                <a:gd name="T91" fmla="*/ 0 h 12"/>
                <a:gd name="T92" fmla="*/ 2 w 11"/>
                <a:gd name="T93" fmla="*/ 2 h 12"/>
                <a:gd name="T94" fmla="*/ 4 w 11"/>
                <a:gd name="T95" fmla="*/ 2 h 12"/>
                <a:gd name="T96" fmla="*/ 2 w 11"/>
                <a:gd name="T97" fmla="*/ 2 h 12"/>
                <a:gd name="T98" fmla="*/ 2 w 11"/>
                <a:gd name="T99" fmla="*/ 2 h 12"/>
                <a:gd name="T100" fmla="*/ 0 w 11"/>
                <a:gd name="T101" fmla="*/ 2 h 12"/>
                <a:gd name="T102" fmla="*/ 0 w 11"/>
                <a:gd name="T103" fmla="*/ 2 h 12"/>
                <a:gd name="T104" fmla="*/ 0 w 11"/>
                <a:gd name="T105" fmla="*/ 2 h 12"/>
                <a:gd name="T106" fmla="*/ 0 w 11"/>
                <a:gd name="T107" fmla="*/ 0 h 12"/>
                <a:gd name="T108" fmla="*/ 0 w 11"/>
                <a:gd name="T10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 h="12">
                  <a:moveTo>
                    <a:pt x="4" y="5"/>
                  </a:move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7" y="5"/>
                  </a:lnTo>
                  <a:lnTo>
                    <a:pt x="7" y="5"/>
                  </a:lnTo>
                  <a:lnTo>
                    <a:pt x="7" y="5"/>
                  </a:lnTo>
                  <a:lnTo>
                    <a:pt x="7" y="5"/>
                  </a:lnTo>
                  <a:lnTo>
                    <a:pt x="7" y="5"/>
                  </a:lnTo>
                  <a:lnTo>
                    <a:pt x="7" y="5"/>
                  </a:lnTo>
                  <a:lnTo>
                    <a:pt x="4" y="5"/>
                  </a:lnTo>
                  <a:lnTo>
                    <a:pt x="4" y="5"/>
                  </a:lnTo>
                  <a:lnTo>
                    <a:pt x="4" y="5"/>
                  </a:lnTo>
                  <a:lnTo>
                    <a:pt x="4" y="7"/>
                  </a:lnTo>
                  <a:lnTo>
                    <a:pt x="4" y="7"/>
                  </a:lnTo>
                  <a:lnTo>
                    <a:pt x="4" y="7"/>
                  </a:lnTo>
                  <a:lnTo>
                    <a:pt x="7" y="5"/>
                  </a:lnTo>
                  <a:lnTo>
                    <a:pt x="7" y="5"/>
                  </a:lnTo>
                  <a:lnTo>
                    <a:pt x="7" y="5"/>
                  </a:lnTo>
                  <a:lnTo>
                    <a:pt x="7" y="5"/>
                  </a:lnTo>
                  <a:lnTo>
                    <a:pt x="7" y="5"/>
                  </a:lnTo>
                  <a:lnTo>
                    <a:pt x="7" y="5"/>
                  </a:lnTo>
                  <a:lnTo>
                    <a:pt x="7" y="5"/>
                  </a:lnTo>
                  <a:lnTo>
                    <a:pt x="7" y="5"/>
                  </a:lnTo>
                  <a:lnTo>
                    <a:pt x="7" y="5"/>
                  </a:lnTo>
                  <a:lnTo>
                    <a:pt x="7" y="5"/>
                  </a:lnTo>
                  <a:lnTo>
                    <a:pt x="7" y="5"/>
                  </a:lnTo>
                  <a:lnTo>
                    <a:pt x="7" y="5"/>
                  </a:lnTo>
                  <a:lnTo>
                    <a:pt x="7" y="5"/>
                  </a:lnTo>
                  <a:lnTo>
                    <a:pt x="7" y="7"/>
                  </a:lnTo>
                  <a:lnTo>
                    <a:pt x="7" y="7"/>
                  </a:lnTo>
                  <a:lnTo>
                    <a:pt x="7" y="5"/>
                  </a:lnTo>
                  <a:lnTo>
                    <a:pt x="7" y="5"/>
                  </a:lnTo>
                  <a:lnTo>
                    <a:pt x="7" y="5"/>
                  </a:lnTo>
                  <a:lnTo>
                    <a:pt x="7" y="5"/>
                  </a:lnTo>
                  <a:lnTo>
                    <a:pt x="7" y="5"/>
                  </a:lnTo>
                  <a:lnTo>
                    <a:pt x="7" y="7"/>
                  </a:lnTo>
                  <a:lnTo>
                    <a:pt x="7" y="7"/>
                  </a:lnTo>
                  <a:lnTo>
                    <a:pt x="7" y="7"/>
                  </a:lnTo>
                  <a:lnTo>
                    <a:pt x="7" y="7"/>
                  </a:lnTo>
                  <a:lnTo>
                    <a:pt x="7" y="7"/>
                  </a:lnTo>
                  <a:lnTo>
                    <a:pt x="7" y="7"/>
                  </a:lnTo>
                  <a:lnTo>
                    <a:pt x="7" y="7"/>
                  </a:lnTo>
                  <a:lnTo>
                    <a:pt x="7"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9"/>
                  </a:lnTo>
                  <a:lnTo>
                    <a:pt x="9" y="7"/>
                  </a:lnTo>
                  <a:lnTo>
                    <a:pt x="9" y="7"/>
                  </a:lnTo>
                  <a:lnTo>
                    <a:pt x="9" y="7"/>
                  </a:lnTo>
                  <a:lnTo>
                    <a:pt x="9" y="7"/>
                  </a:lnTo>
                  <a:lnTo>
                    <a:pt x="9" y="7"/>
                  </a:lnTo>
                  <a:lnTo>
                    <a:pt x="9" y="9"/>
                  </a:lnTo>
                  <a:lnTo>
                    <a:pt x="9" y="9"/>
                  </a:lnTo>
                  <a:lnTo>
                    <a:pt x="9" y="9"/>
                  </a:lnTo>
                  <a:lnTo>
                    <a:pt x="9" y="9"/>
                  </a:lnTo>
                  <a:lnTo>
                    <a:pt x="9" y="9"/>
                  </a:lnTo>
                  <a:lnTo>
                    <a:pt x="9" y="9"/>
                  </a:lnTo>
                  <a:lnTo>
                    <a:pt x="9" y="9"/>
                  </a:lnTo>
                  <a:lnTo>
                    <a:pt x="9" y="9"/>
                  </a:lnTo>
                  <a:lnTo>
                    <a:pt x="9" y="9"/>
                  </a:lnTo>
                  <a:lnTo>
                    <a:pt x="9" y="9"/>
                  </a:lnTo>
                  <a:lnTo>
                    <a:pt x="9" y="9"/>
                  </a:lnTo>
                  <a:lnTo>
                    <a:pt x="9" y="9"/>
                  </a:lnTo>
                  <a:lnTo>
                    <a:pt x="9" y="9"/>
                  </a:lnTo>
                  <a:lnTo>
                    <a:pt x="9" y="9"/>
                  </a:lnTo>
                  <a:lnTo>
                    <a:pt x="9" y="7"/>
                  </a:lnTo>
                  <a:lnTo>
                    <a:pt x="9" y="7"/>
                  </a:lnTo>
                  <a:lnTo>
                    <a:pt x="9" y="7"/>
                  </a:lnTo>
                  <a:lnTo>
                    <a:pt x="9" y="7"/>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9"/>
                  </a:lnTo>
                  <a:lnTo>
                    <a:pt x="11" y="12"/>
                  </a:lnTo>
                  <a:lnTo>
                    <a:pt x="11" y="12"/>
                  </a:lnTo>
                  <a:lnTo>
                    <a:pt x="11" y="9"/>
                  </a:lnTo>
                  <a:lnTo>
                    <a:pt x="11" y="9"/>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9" y="12"/>
                  </a:lnTo>
                  <a:lnTo>
                    <a:pt x="9" y="12"/>
                  </a:lnTo>
                  <a:lnTo>
                    <a:pt x="9" y="12"/>
                  </a:lnTo>
                  <a:lnTo>
                    <a:pt x="9" y="12"/>
                  </a:lnTo>
                  <a:lnTo>
                    <a:pt x="9" y="12"/>
                  </a:lnTo>
                  <a:lnTo>
                    <a:pt x="9" y="12"/>
                  </a:lnTo>
                  <a:lnTo>
                    <a:pt x="9" y="12"/>
                  </a:lnTo>
                  <a:lnTo>
                    <a:pt x="9" y="12"/>
                  </a:lnTo>
                  <a:lnTo>
                    <a:pt x="11" y="12"/>
                  </a:lnTo>
                  <a:lnTo>
                    <a:pt x="11" y="12"/>
                  </a:lnTo>
                  <a:lnTo>
                    <a:pt x="11" y="12"/>
                  </a:lnTo>
                  <a:lnTo>
                    <a:pt x="11" y="12"/>
                  </a:lnTo>
                  <a:lnTo>
                    <a:pt x="11" y="12"/>
                  </a:lnTo>
                  <a:lnTo>
                    <a:pt x="11" y="12"/>
                  </a:lnTo>
                  <a:lnTo>
                    <a:pt x="11" y="12"/>
                  </a:lnTo>
                  <a:lnTo>
                    <a:pt x="11" y="12"/>
                  </a:lnTo>
                  <a:lnTo>
                    <a:pt x="11" y="12"/>
                  </a:lnTo>
                  <a:lnTo>
                    <a:pt x="11" y="12"/>
                  </a:lnTo>
                  <a:lnTo>
                    <a:pt x="11" y="12"/>
                  </a:lnTo>
                  <a:lnTo>
                    <a:pt x="9" y="12"/>
                  </a:lnTo>
                  <a:lnTo>
                    <a:pt x="9" y="12"/>
                  </a:lnTo>
                  <a:lnTo>
                    <a:pt x="9" y="12"/>
                  </a:lnTo>
                  <a:lnTo>
                    <a:pt x="9" y="12"/>
                  </a:lnTo>
                  <a:lnTo>
                    <a:pt x="9" y="12"/>
                  </a:lnTo>
                  <a:lnTo>
                    <a:pt x="9"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4" y="9"/>
                  </a:lnTo>
                  <a:lnTo>
                    <a:pt x="4" y="9"/>
                  </a:lnTo>
                  <a:lnTo>
                    <a:pt x="4" y="9"/>
                  </a:lnTo>
                  <a:lnTo>
                    <a:pt x="4" y="9"/>
                  </a:lnTo>
                  <a:lnTo>
                    <a:pt x="4" y="9"/>
                  </a:lnTo>
                  <a:lnTo>
                    <a:pt x="4" y="9"/>
                  </a:lnTo>
                  <a:lnTo>
                    <a:pt x="4" y="9"/>
                  </a:lnTo>
                  <a:lnTo>
                    <a:pt x="4" y="9"/>
                  </a:lnTo>
                  <a:lnTo>
                    <a:pt x="4" y="9"/>
                  </a:lnTo>
                  <a:lnTo>
                    <a:pt x="4" y="9"/>
                  </a:lnTo>
                  <a:lnTo>
                    <a:pt x="4" y="9"/>
                  </a:lnTo>
                  <a:lnTo>
                    <a:pt x="4" y="9"/>
                  </a:lnTo>
                  <a:lnTo>
                    <a:pt x="4" y="9"/>
                  </a:lnTo>
                  <a:lnTo>
                    <a:pt x="4" y="9"/>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7"/>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2"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close/>
                  <a:moveTo>
                    <a:pt x="4" y="2"/>
                  </a:moveTo>
                  <a:lnTo>
                    <a:pt x="4" y="2"/>
                  </a:lnTo>
                  <a:lnTo>
                    <a:pt x="4" y="2"/>
                  </a:lnTo>
                  <a:lnTo>
                    <a:pt x="4" y="2"/>
                  </a:lnTo>
                  <a:lnTo>
                    <a:pt x="4" y="2"/>
                  </a:lnTo>
                  <a:lnTo>
                    <a:pt x="4" y="2"/>
                  </a:lnTo>
                  <a:lnTo>
                    <a:pt x="4" y="2"/>
                  </a:lnTo>
                  <a:lnTo>
                    <a:pt x="4" y="2"/>
                  </a:lnTo>
                  <a:lnTo>
                    <a:pt x="4" y="2"/>
                  </a:lnTo>
                  <a:lnTo>
                    <a:pt x="4" y="2"/>
                  </a:lnTo>
                  <a:lnTo>
                    <a:pt x="4" y="2"/>
                  </a:lnTo>
                  <a:lnTo>
                    <a:pt x="4" y="2"/>
                  </a:lnTo>
                  <a:lnTo>
                    <a:pt x="2" y="2"/>
                  </a:lnTo>
                  <a:lnTo>
                    <a:pt x="4" y="2"/>
                  </a:lnTo>
                  <a:lnTo>
                    <a:pt x="4" y="2"/>
                  </a:lnTo>
                  <a:lnTo>
                    <a:pt x="4" y="2"/>
                  </a:lnTo>
                  <a:lnTo>
                    <a:pt x="4" y="2"/>
                  </a:lnTo>
                  <a:lnTo>
                    <a:pt x="4" y="2"/>
                  </a:lnTo>
                  <a:lnTo>
                    <a:pt x="4" y="2"/>
                  </a:lnTo>
                  <a:lnTo>
                    <a:pt x="4" y="2"/>
                  </a:lnTo>
                  <a:lnTo>
                    <a:pt x="4" y="2"/>
                  </a:lnTo>
                  <a:lnTo>
                    <a:pt x="4" y="2"/>
                  </a:lnTo>
                  <a:close/>
                  <a:moveTo>
                    <a:pt x="0" y="0"/>
                  </a:move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4" y="2"/>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5" name="Freeform 52493"/>
            <p:cNvSpPr>
              <a:spLocks noEditPoints="1"/>
            </p:cNvSpPr>
            <p:nvPr/>
          </p:nvSpPr>
          <p:spPr bwMode="auto">
            <a:xfrm>
              <a:off x="2774948" y="5722956"/>
              <a:ext cx="7938" cy="19050"/>
            </a:xfrm>
            <a:custGeom>
              <a:avLst/>
              <a:gdLst>
                <a:gd name="T0" fmla="*/ 5 w 5"/>
                <a:gd name="T1" fmla="*/ 12 h 12"/>
                <a:gd name="T2" fmla="*/ 5 w 5"/>
                <a:gd name="T3" fmla="*/ 12 h 12"/>
                <a:gd name="T4" fmla="*/ 5 w 5"/>
                <a:gd name="T5" fmla="*/ 12 h 12"/>
                <a:gd name="T6" fmla="*/ 5 w 5"/>
                <a:gd name="T7" fmla="*/ 10 h 12"/>
                <a:gd name="T8" fmla="*/ 5 w 5"/>
                <a:gd name="T9" fmla="*/ 10 h 12"/>
                <a:gd name="T10" fmla="*/ 5 w 5"/>
                <a:gd name="T11" fmla="*/ 10 h 12"/>
                <a:gd name="T12" fmla="*/ 5 w 5"/>
                <a:gd name="T13" fmla="*/ 12 h 12"/>
                <a:gd name="T14" fmla="*/ 5 w 5"/>
                <a:gd name="T15" fmla="*/ 3 h 12"/>
                <a:gd name="T16" fmla="*/ 5 w 5"/>
                <a:gd name="T17" fmla="*/ 3 h 12"/>
                <a:gd name="T18" fmla="*/ 5 w 5"/>
                <a:gd name="T19" fmla="*/ 3 h 12"/>
                <a:gd name="T20" fmla="*/ 5 w 5"/>
                <a:gd name="T21" fmla="*/ 3 h 12"/>
                <a:gd name="T22" fmla="*/ 5 w 5"/>
                <a:gd name="T23" fmla="*/ 3 h 12"/>
                <a:gd name="T24" fmla="*/ 5 w 5"/>
                <a:gd name="T25" fmla="*/ 3 h 12"/>
                <a:gd name="T26" fmla="*/ 5 w 5"/>
                <a:gd name="T27" fmla="*/ 3 h 12"/>
                <a:gd name="T28" fmla="*/ 2 w 5"/>
                <a:gd name="T29" fmla="*/ 0 h 12"/>
                <a:gd name="T30" fmla="*/ 2 w 5"/>
                <a:gd name="T31" fmla="*/ 0 h 12"/>
                <a:gd name="T32" fmla="*/ 0 w 5"/>
                <a:gd name="T33" fmla="*/ 0 h 12"/>
                <a:gd name="T34" fmla="*/ 0 w 5"/>
                <a:gd name="T35" fmla="*/ 0 h 12"/>
                <a:gd name="T36" fmla="*/ 0 w 5"/>
                <a:gd name="T37" fmla="*/ 0 h 12"/>
                <a:gd name="T38" fmla="*/ 0 w 5"/>
                <a:gd name="T39" fmla="*/ 0 h 12"/>
                <a:gd name="T40" fmla="*/ 0 w 5"/>
                <a:gd name="T41" fmla="*/ 0 h 12"/>
                <a:gd name="T42" fmla="*/ 0 w 5"/>
                <a:gd name="T43" fmla="*/ 0 h 12"/>
                <a:gd name="T44" fmla="*/ 2 w 5"/>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 h="12">
                  <a:moveTo>
                    <a:pt x="5" y="12"/>
                  </a:moveTo>
                  <a:lnTo>
                    <a:pt x="5" y="12"/>
                  </a:lnTo>
                  <a:lnTo>
                    <a:pt x="5" y="12"/>
                  </a:lnTo>
                  <a:lnTo>
                    <a:pt x="5" y="10"/>
                  </a:lnTo>
                  <a:lnTo>
                    <a:pt x="5" y="10"/>
                  </a:lnTo>
                  <a:lnTo>
                    <a:pt x="5" y="10"/>
                  </a:lnTo>
                  <a:lnTo>
                    <a:pt x="5" y="12"/>
                  </a:lnTo>
                  <a:close/>
                  <a:moveTo>
                    <a:pt x="5" y="3"/>
                  </a:moveTo>
                  <a:lnTo>
                    <a:pt x="5" y="3"/>
                  </a:lnTo>
                  <a:lnTo>
                    <a:pt x="5" y="3"/>
                  </a:lnTo>
                  <a:lnTo>
                    <a:pt x="5" y="3"/>
                  </a:lnTo>
                  <a:lnTo>
                    <a:pt x="5" y="3"/>
                  </a:lnTo>
                  <a:lnTo>
                    <a:pt x="5" y="3"/>
                  </a:lnTo>
                  <a:lnTo>
                    <a:pt x="5" y="3"/>
                  </a:lnTo>
                  <a:close/>
                  <a:moveTo>
                    <a:pt x="2" y="0"/>
                  </a:moveTo>
                  <a:lnTo>
                    <a:pt x="2" y="0"/>
                  </a:lnTo>
                  <a:lnTo>
                    <a:pt x="0" y="0"/>
                  </a:lnTo>
                  <a:lnTo>
                    <a:pt x="0" y="0"/>
                  </a:lnTo>
                  <a:lnTo>
                    <a:pt x="0" y="0"/>
                  </a:lnTo>
                  <a:lnTo>
                    <a:pt x="0" y="0"/>
                  </a:lnTo>
                  <a:lnTo>
                    <a:pt x="0" y="0"/>
                  </a:lnTo>
                  <a:lnTo>
                    <a:pt x="0"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6" name="Freeform 52494"/>
            <p:cNvSpPr>
              <a:spLocks/>
            </p:cNvSpPr>
            <p:nvPr/>
          </p:nvSpPr>
          <p:spPr bwMode="auto">
            <a:xfrm>
              <a:off x="3419473" y="4814905"/>
              <a:ext cx="187325" cy="230188"/>
            </a:xfrm>
            <a:custGeom>
              <a:avLst/>
              <a:gdLst>
                <a:gd name="T0" fmla="*/ 45 w 118"/>
                <a:gd name="T1" fmla="*/ 7 h 145"/>
                <a:gd name="T2" fmla="*/ 52 w 118"/>
                <a:gd name="T3" fmla="*/ 12 h 145"/>
                <a:gd name="T4" fmla="*/ 59 w 118"/>
                <a:gd name="T5" fmla="*/ 12 h 145"/>
                <a:gd name="T6" fmla="*/ 61 w 118"/>
                <a:gd name="T7" fmla="*/ 19 h 145"/>
                <a:gd name="T8" fmla="*/ 61 w 118"/>
                <a:gd name="T9" fmla="*/ 19 h 145"/>
                <a:gd name="T10" fmla="*/ 71 w 118"/>
                <a:gd name="T11" fmla="*/ 16 h 145"/>
                <a:gd name="T12" fmla="*/ 78 w 118"/>
                <a:gd name="T13" fmla="*/ 26 h 145"/>
                <a:gd name="T14" fmla="*/ 88 w 118"/>
                <a:gd name="T15" fmla="*/ 28 h 145"/>
                <a:gd name="T16" fmla="*/ 85 w 118"/>
                <a:gd name="T17" fmla="*/ 38 h 145"/>
                <a:gd name="T18" fmla="*/ 88 w 118"/>
                <a:gd name="T19" fmla="*/ 43 h 145"/>
                <a:gd name="T20" fmla="*/ 88 w 118"/>
                <a:gd name="T21" fmla="*/ 50 h 145"/>
                <a:gd name="T22" fmla="*/ 95 w 118"/>
                <a:gd name="T23" fmla="*/ 57 h 145"/>
                <a:gd name="T24" fmla="*/ 97 w 118"/>
                <a:gd name="T25" fmla="*/ 66 h 145"/>
                <a:gd name="T26" fmla="*/ 99 w 118"/>
                <a:gd name="T27" fmla="*/ 71 h 145"/>
                <a:gd name="T28" fmla="*/ 106 w 118"/>
                <a:gd name="T29" fmla="*/ 78 h 145"/>
                <a:gd name="T30" fmla="*/ 111 w 118"/>
                <a:gd name="T31" fmla="*/ 88 h 145"/>
                <a:gd name="T32" fmla="*/ 114 w 118"/>
                <a:gd name="T33" fmla="*/ 97 h 145"/>
                <a:gd name="T34" fmla="*/ 116 w 118"/>
                <a:gd name="T35" fmla="*/ 97 h 145"/>
                <a:gd name="T36" fmla="*/ 111 w 118"/>
                <a:gd name="T37" fmla="*/ 100 h 145"/>
                <a:gd name="T38" fmla="*/ 104 w 118"/>
                <a:gd name="T39" fmla="*/ 97 h 145"/>
                <a:gd name="T40" fmla="*/ 97 w 118"/>
                <a:gd name="T41" fmla="*/ 97 h 145"/>
                <a:gd name="T42" fmla="*/ 90 w 118"/>
                <a:gd name="T43" fmla="*/ 100 h 145"/>
                <a:gd name="T44" fmla="*/ 88 w 118"/>
                <a:gd name="T45" fmla="*/ 92 h 145"/>
                <a:gd name="T46" fmla="*/ 80 w 118"/>
                <a:gd name="T47" fmla="*/ 97 h 145"/>
                <a:gd name="T48" fmla="*/ 78 w 118"/>
                <a:gd name="T49" fmla="*/ 114 h 145"/>
                <a:gd name="T50" fmla="*/ 69 w 118"/>
                <a:gd name="T51" fmla="*/ 128 h 145"/>
                <a:gd name="T52" fmla="*/ 64 w 118"/>
                <a:gd name="T53" fmla="*/ 135 h 145"/>
                <a:gd name="T54" fmla="*/ 54 w 118"/>
                <a:gd name="T55" fmla="*/ 142 h 145"/>
                <a:gd name="T56" fmla="*/ 50 w 118"/>
                <a:gd name="T57" fmla="*/ 140 h 145"/>
                <a:gd name="T58" fmla="*/ 52 w 118"/>
                <a:gd name="T59" fmla="*/ 130 h 145"/>
                <a:gd name="T60" fmla="*/ 50 w 118"/>
                <a:gd name="T61" fmla="*/ 119 h 145"/>
                <a:gd name="T62" fmla="*/ 50 w 118"/>
                <a:gd name="T63" fmla="*/ 111 h 145"/>
                <a:gd name="T64" fmla="*/ 50 w 118"/>
                <a:gd name="T65" fmla="*/ 107 h 145"/>
                <a:gd name="T66" fmla="*/ 52 w 118"/>
                <a:gd name="T67" fmla="*/ 107 h 145"/>
                <a:gd name="T68" fmla="*/ 54 w 118"/>
                <a:gd name="T69" fmla="*/ 102 h 145"/>
                <a:gd name="T70" fmla="*/ 54 w 118"/>
                <a:gd name="T71" fmla="*/ 100 h 145"/>
                <a:gd name="T72" fmla="*/ 54 w 118"/>
                <a:gd name="T73" fmla="*/ 88 h 145"/>
                <a:gd name="T74" fmla="*/ 52 w 118"/>
                <a:gd name="T75" fmla="*/ 83 h 145"/>
                <a:gd name="T76" fmla="*/ 50 w 118"/>
                <a:gd name="T77" fmla="*/ 73 h 145"/>
                <a:gd name="T78" fmla="*/ 45 w 118"/>
                <a:gd name="T79" fmla="*/ 69 h 145"/>
                <a:gd name="T80" fmla="*/ 40 w 118"/>
                <a:gd name="T81" fmla="*/ 66 h 145"/>
                <a:gd name="T82" fmla="*/ 38 w 118"/>
                <a:gd name="T83" fmla="*/ 62 h 145"/>
                <a:gd name="T84" fmla="*/ 33 w 118"/>
                <a:gd name="T85" fmla="*/ 54 h 145"/>
                <a:gd name="T86" fmla="*/ 31 w 118"/>
                <a:gd name="T87" fmla="*/ 50 h 145"/>
                <a:gd name="T88" fmla="*/ 28 w 118"/>
                <a:gd name="T89" fmla="*/ 47 h 145"/>
                <a:gd name="T90" fmla="*/ 21 w 118"/>
                <a:gd name="T91" fmla="*/ 38 h 145"/>
                <a:gd name="T92" fmla="*/ 19 w 118"/>
                <a:gd name="T93" fmla="*/ 28 h 145"/>
                <a:gd name="T94" fmla="*/ 14 w 118"/>
                <a:gd name="T95" fmla="*/ 21 h 145"/>
                <a:gd name="T96" fmla="*/ 12 w 118"/>
                <a:gd name="T97" fmla="*/ 16 h 145"/>
                <a:gd name="T98" fmla="*/ 4 w 118"/>
                <a:gd name="T99" fmla="*/ 12 h 145"/>
                <a:gd name="T100" fmla="*/ 7 w 118"/>
                <a:gd name="T101" fmla="*/ 9 h 145"/>
                <a:gd name="T102" fmla="*/ 14 w 118"/>
                <a:gd name="T103" fmla="*/ 7 h 145"/>
                <a:gd name="T104" fmla="*/ 19 w 118"/>
                <a:gd name="T105" fmla="*/ 5 h 145"/>
                <a:gd name="T106" fmla="*/ 23 w 118"/>
                <a:gd name="T107" fmla="*/ 2 h 145"/>
                <a:gd name="T108" fmla="*/ 33 w 118"/>
                <a:gd name="T10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145">
                  <a:moveTo>
                    <a:pt x="35" y="2"/>
                  </a:moveTo>
                  <a:lnTo>
                    <a:pt x="38" y="2"/>
                  </a:lnTo>
                  <a:lnTo>
                    <a:pt x="40" y="2"/>
                  </a:lnTo>
                  <a:lnTo>
                    <a:pt x="40" y="5"/>
                  </a:lnTo>
                  <a:lnTo>
                    <a:pt x="42" y="5"/>
                  </a:lnTo>
                  <a:lnTo>
                    <a:pt x="42" y="7"/>
                  </a:lnTo>
                  <a:lnTo>
                    <a:pt x="45" y="7"/>
                  </a:lnTo>
                  <a:lnTo>
                    <a:pt x="45" y="9"/>
                  </a:lnTo>
                  <a:lnTo>
                    <a:pt x="47" y="9"/>
                  </a:lnTo>
                  <a:lnTo>
                    <a:pt x="50" y="9"/>
                  </a:lnTo>
                  <a:lnTo>
                    <a:pt x="50" y="12"/>
                  </a:lnTo>
                  <a:lnTo>
                    <a:pt x="50" y="14"/>
                  </a:lnTo>
                  <a:lnTo>
                    <a:pt x="50" y="12"/>
                  </a:lnTo>
                  <a:lnTo>
                    <a:pt x="52" y="12"/>
                  </a:lnTo>
                  <a:lnTo>
                    <a:pt x="52" y="14"/>
                  </a:lnTo>
                  <a:lnTo>
                    <a:pt x="54" y="14"/>
                  </a:lnTo>
                  <a:lnTo>
                    <a:pt x="57" y="14"/>
                  </a:lnTo>
                  <a:lnTo>
                    <a:pt x="57" y="12"/>
                  </a:lnTo>
                  <a:lnTo>
                    <a:pt x="57" y="14"/>
                  </a:lnTo>
                  <a:lnTo>
                    <a:pt x="57" y="12"/>
                  </a:lnTo>
                  <a:lnTo>
                    <a:pt x="59" y="12"/>
                  </a:lnTo>
                  <a:lnTo>
                    <a:pt x="59" y="14"/>
                  </a:lnTo>
                  <a:lnTo>
                    <a:pt x="57" y="16"/>
                  </a:lnTo>
                  <a:lnTo>
                    <a:pt x="57" y="19"/>
                  </a:lnTo>
                  <a:lnTo>
                    <a:pt x="57" y="16"/>
                  </a:lnTo>
                  <a:lnTo>
                    <a:pt x="59" y="16"/>
                  </a:lnTo>
                  <a:lnTo>
                    <a:pt x="61" y="16"/>
                  </a:lnTo>
                  <a:lnTo>
                    <a:pt x="61" y="19"/>
                  </a:lnTo>
                  <a:lnTo>
                    <a:pt x="59" y="19"/>
                  </a:lnTo>
                  <a:lnTo>
                    <a:pt x="61" y="19"/>
                  </a:lnTo>
                  <a:lnTo>
                    <a:pt x="61" y="21"/>
                  </a:lnTo>
                  <a:lnTo>
                    <a:pt x="64" y="21"/>
                  </a:lnTo>
                  <a:lnTo>
                    <a:pt x="61" y="21"/>
                  </a:lnTo>
                  <a:lnTo>
                    <a:pt x="64" y="19"/>
                  </a:lnTo>
                  <a:lnTo>
                    <a:pt x="61" y="19"/>
                  </a:lnTo>
                  <a:lnTo>
                    <a:pt x="64" y="19"/>
                  </a:lnTo>
                  <a:lnTo>
                    <a:pt x="64" y="16"/>
                  </a:lnTo>
                  <a:lnTo>
                    <a:pt x="66" y="16"/>
                  </a:lnTo>
                  <a:lnTo>
                    <a:pt x="69" y="16"/>
                  </a:lnTo>
                  <a:lnTo>
                    <a:pt x="69" y="19"/>
                  </a:lnTo>
                  <a:lnTo>
                    <a:pt x="71" y="19"/>
                  </a:lnTo>
                  <a:lnTo>
                    <a:pt x="71" y="16"/>
                  </a:lnTo>
                  <a:lnTo>
                    <a:pt x="71" y="19"/>
                  </a:lnTo>
                  <a:lnTo>
                    <a:pt x="73" y="19"/>
                  </a:lnTo>
                  <a:lnTo>
                    <a:pt x="76" y="19"/>
                  </a:lnTo>
                  <a:lnTo>
                    <a:pt x="73" y="21"/>
                  </a:lnTo>
                  <a:lnTo>
                    <a:pt x="73" y="24"/>
                  </a:lnTo>
                  <a:lnTo>
                    <a:pt x="76" y="24"/>
                  </a:lnTo>
                  <a:lnTo>
                    <a:pt x="78" y="26"/>
                  </a:lnTo>
                  <a:lnTo>
                    <a:pt x="80" y="26"/>
                  </a:lnTo>
                  <a:lnTo>
                    <a:pt x="83" y="26"/>
                  </a:lnTo>
                  <a:lnTo>
                    <a:pt x="83" y="24"/>
                  </a:lnTo>
                  <a:lnTo>
                    <a:pt x="85" y="24"/>
                  </a:lnTo>
                  <a:lnTo>
                    <a:pt x="85" y="26"/>
                  </a:lnTo>
                  <a:lnTo>
                    <a:pt x="85" y="31"/>
                  </a:lnTo>
                  <a:lnTo>
                    <a:pt x="88" y="28"/>
                  </a:lnTo>
                  <a:lnTo>
                    <a:pt x="88" y="31"/>
                  </a:lnTo>
                  <a:lnTo>
                    <a:pt x="85" y="31"/>
                  </a:lnTo>
                  <a:lnTo>
                    <a:pt x="85" y="33"/>
                  </a:lnTo>
                  <a:lnTo>
                    <a:pt x="88" y="33"/>
                  </a:lnTo>
                  <a:lnTo>
                    <a:pt x="88" y="35"/>
                  </a:lnTo>
                  <a:lnTo>
                    <a:pt x="88" y="38"/>
                  </a:lnTo>
                  <a:lnTo>
                    <a:pt x="85" y="38"/>
                  </a:lnTo>
                  <a:lnTo>
                    <a:pt x="88" y="38"/>
                  </a:lnTo>
                  <a:lnTo>
                    <a:pt x="88" y="40"/>
                  </a:lnTo>
                  <a:lnTo>
                    <a:pt x="85" y="40"/>
                  </a:lnTo>
                  <a:lnTo>
                    <a:pt x="88" y="40"/>
                  </a:lnTo>
                  <a:lnTo>
                    <a:pt x="88" y="43"/>
                  </a:lnTo>
                  <a:lnTo>
                    <a:pt x="85" y="43"/>
                  </a:lnTo>
                  <a:lnTo>
                    <a:pt x="88" y="43"/>
                  </a:lnTo>
                  <a:lnTo>
                    <a:pt x="85" y="43"/>
                  </a:lnTo>
                  <a:lnTo>
                    <a:pt x="85" y="45"/>
                  </a:lnTo>
                  <a:lnTo>
                    <a:pt x="83" y="45"/>
                  </a:lnTo>
                  <a:lnTo>
                    <a:pt x="85" y="47"/>
                  </a:lnTo>
                  <a:lnTo>
                    <a:pt x="85" y="50"/>
                  </a:lnTo>
                  <a:lnTo>
                    <a:pt x="85" y="52"/>
                  </a:lnTo>
                  <a:lnTo>
                    <a:pt x="88" y="50"/>
                  </a:lnTo>
                  <a:lnTo>
                    <a:pt x="88" y="52"/>
                  </a:lnTo>
                  <a:lnTo>
                    <a:pt x="90" y="52"/>
                  </a:lnTo>
                  <a:lnTo>
                    <a:pt x="90" y="50"/>
                  </a:lnTo>
                  <a:lnTo>
                    <a:pt x="90" y="54"/>
                  </a:lnTo>
                  <a:lnTo>
                    <a:pt x="92" y="54"/>
                  </a:lnTo>
                  <a:lnTo>
                    <a:pt x="92" y="57"/>
                  </a:lnTo>
                  <a:lnTo>
                    <a:pt x="95" y="57"/>
                  </a:lnTo>
                  <a:lnTo>
                    <a:pt x="95" y="54"/>
                  </a:lnTo>
                  <a:lnTo>
                    <a:pt x="97" y="54"/>
                  </a:lnTo>
                  <a:lnTo>
                    <a:pt x="99" y="54"/>
                  </a:lnTo>
                  <a:lnTo>
                    <a:pt x="99" y="59"/>
                  </a:lnTo>
                  <a:lnTo>
                    <a:pt x="97" y="59"/>
                  </a:lnTo>
                  <a:lnTo>
                    <a:pt x="99" y="66"/>
                  </a:lnTo>
                  <a:lnTo>
                    <a:pt x="97" y="66"/>
                  </a:lnTo>
                  <a:lnTo>
                    <a:pt x="95" y="66"/>
                  </a:lnTo>
                  <a:lnTo>
                    <a:pt x="97" y="66"/>
                  </a:lnTo>
                  <a:lnTo>
                    <a:pt x="97" y="69"/>
                  </a:lnTo>
                  <a:lnTo>
                    <a:pt x="97" y="66"/>
                  </a:lnTo>
                  <a:lnTo>
                    <a:pt x="99" y="66"/>
                  </a:lnTo>
                  <a:lnTo>
                    <a:pt x="99" y="69"/>
                  </a:lnTo>
                  <a:lnTo>
                    <a:pt x="99" y="71"/>
                  </a:lnTo>
                  <a:lnTo>
                    <a:pt x="99" y="73"/>
                  </a:lnTo>
                  <a:lnTo>
                    <a:pt x="97" y="73"/>
                  </a:lnTo>
                  <a:lnTo>
                    <a:pt x="99" y="73"/>
                  </a:lnTo>
                  <a:lnTo>
                    <a:pt x="102" y="76"/>
                  </a:lnTo>
                  <a:lnTo>
                    <a:pt x="104" y="76"/>
                  </a:lnTo>
                  <a:lnTo>
                    <a:pt x="104" y="78"/>
                  </a:lnTo>
                  <a:lnTo>
                    <a:pt x="106" y="78"/>
                  </a:lnTo>
                  <a:lnTo>
                    <a:pt x="109" y="78"/>
                  </a:lnTo>
                  <a:lnTo>
                    <a:pt x="109" y="81"/>
                  </a:lnTo>
                  <a:lnTo>
                    <a:pt x="111" y="78"/>
                  </a:lnTo>
                  <a:lnTo>
                    <a:pt x="111" y="81"/>
                  </a:lnTo>
                  <a:lnTo>
                    <a:pt x="111" y="83"/>
                  </a:lnTo>
                  <a:lnTo>
                    <a:pt x="111" y="85"/>
                  </a:lnTo>
                  <a:lnTo>
                    <a:pt x="111" y="88"/>
                  </a:lnTo>
                  <a:lnTo>
                    <a:pt x="111" y="90"/>
                  </a:lnTo>
                  <a:lnTo>
                    <a:pt x="111" y="92"/>
                  </a:lnTo>
                  <a:lnTo>
                    <a:pt x="109" y="92"/>
                  </a:lnTo>
                  <a:lnTo>
                    <a:pt x="109" y="95"/>
                  </a:lnTo>
                  <a:lnTo>
                    <a:pt x="111" y="95"/>
                  </a:lnTo>
                  <a:lnTo>
                    <a:pt x="111" y="97"/>
                  </a:lnTo>
                  <a:lnTo>
                    <a:pt x="114" y="97"/>
                  </a:lnTo>
                  <a:lnTo>
                    <a:pt x="111" y="97"/>
                  </a:lnTo>
                  <a:lnTo>
                    <a:pt x="114" y="97"/>
                  </a:lnTo>
                  <a:lnTo>
                    <a:pt x="114" y="100"/>
                  </a:lnTo>
                  <a:lnTo>
                    <a:pt x="116" y="100"/>
                  </a:lnTo>
                  <a:lnTo>
                    <a:pt x="116" y="97"/>
                  </a:lnTo>
                  <a:lnTo>
                    <a:pt x="116" y="100"/>
                  </a:lnTo>
                  <a:lnTo>
                    <a:pt x="116" y="97"/>
                  </a:lnTo>
                  <a:lnTo>
                    <a:pt x="116" y="100"/>
                  </a:lnTo>
                  <a:lnTo>
                    <a:pt x="118" y="100"/>
                  </a:lnTo>
                  <a:lnTo>
                    <a:pt x="116" y="102"/>
                  </a:lnTo>
                  <a:lnTo>
                    <a:pt x="116" y="100"/>
                  </a:lnTo>
                  <a:lnTo>
                    <a:pt x="114" y="100"/>
                  </a:lnTo>
                  <a:lnTo>
                    <a:pt x="114" y="102"/>
                  </a:lnTo>
                  <a:lnTo>
                    <a:pt x="111" y="100"/>
                  </a:lnTo>
                  <a:lnTo>
                    <a:pt x="111" y="102"/>
                  </a:lnTo>
                  <a:lnTo>
                    <a:pt x="111" y="100"/>
                  </a:lnTo>
                  <a:lnTo>
                    <a:pt x="109" y="102"/>
                  </a:lnTo>
                  <a:lnTo>
                    <a:pt x="106" y="100"/>
                  </a:lnTo>
                  <a:lnTo>
                    <a:pt x="104" y="100"/>
                  </a:lnTo>
                  <a:lnTo>
                    <a:pt x="106" y="100"/>
                  </a:lnTo>
                  <a:lnTo>
                    <a:pt x="104" y="97"/>
                  </a:lnTo>
                  <a:lnTo>
                    <a:pt x="102" y="100"/>
                  </a:lnTo>
                  <a:lnTo>
                    <a:pt x="102" y="97"/>
                  </a:lnTo>
                  <a:lnTo>
                    <a:pt x="102" y="102"/>
                  </a:lnTo>
                  <a:lnTo>
                    <a:pt x="99" y="102"/>
                  </a:lnTo>
                  <a:lnTo>
                    <a:pt x="97" y="100"/>
                  </a:lnTo>
                  <a:lnTo>
                    <a:pt x="95" y="97"/>
                  </a:lnTo>
                  <a:lnTo>
                    <a:pt x="97" y="97"/>
                  </a:lnTo>
                  <a:lnTo>
                    <a:pt x="95" y="95"/>
                  </a:lnTo>
                  <a:lnTo>
                    <a:pt x="92" y="97"/>
                  </a:lnTo>
                  <a:lnTo>
                    <a:pt x="92" y="100"/>
                  </a:lnTo>
                  <a:lnTo>
                    <a:pt x="92" y="97"/>
                  </a:lnTo>
                  <a:lnTo>
                    <a:pt x="90" y="95"/>
                  </a:lnTo>
                  <a:lnTo>
                    <a:pt x="90" y="97"/>
                  </a:lnTo>
                  <a:lnTo>
                    <a:pt x="90" y="100"/>
                  </a:lnTo>
                  <a:lnTo>
                    <a:pt x="88" y="100"/>
                  </a:lnTo>
                  <a:lnTo>
                    <a:pt x="88" y="102"/>
                  </a:lnTo>
                  <a:lnTo>
                    <a:pt x="85" y="100"/>
                  </a:lnTo>
                  <a:lnTo>
                    <a:pt x="88" y="100"/>
                  </a:lnTo>
                  <a:lnTo>
                    <a:pt x="88" y="97"/>
                  </a:lnTo>
                  <a:lnTo>
                    <a:pt x="88" y="95"/>
                  </a:lnTo>
                  <a:lnTo>
                    <a:pt x="88" y="92"/>
                  </a:lnTo>
                  <a:lnTo>
                    <a:pt x="85" y="92"/>
                  </a:lnTo>
                  <a:lnTo>
                    <a:pt x="85" y="95"/>
                  </a:lnTo>
                  <a:lnTo>
                    <a:pt x="83" y="95"/>
                  </a:lnTo>
                  <a:lnTo>
                    <a:pt x="80" y="95"/>
                  </a:lnTo>
                  <a:lnTo>
                    <a:pt x="78" y="95"/>
                  </a:lnTo>
                  <a:lnTo>
                    <a:pt x="78" y="97"/>
                  </a:lnTo>
                  <a:lnTo>
                    <a:pt x="80" y="97"/>
                  </a:lnTo>
                  <a:lnTo>
                    <a:pt x="78" y="97"/>
                  </a:lnTo>
                  <a:lnTo>
                    <a:pt x="78" y="100"/>
                  </a:lnTo>
                  <a:lnTo>
                    <a:pt x="78" y="102"/>
                  </a:lnTo>
                  <a:lnTo>
                    <a:pt x="78" y="104"/>
                  </a:lnTo>
                  <a:lnTo>
                    <a:pt x="78" y="107"/>
                  </a:lnTo>
                  <a:lnTo>
                    <a:pt x="80" y="109"/>
                  </a:lnTo>
                  <a:lnTo>
                    <a:pt x="78" y="114"/>
                  </a:lnTo>
                  <a:lnTo>
                    <a:pt x="80" y="116"/>
                  </a:lnTo>
                  <a:lnTo>
                    <a:pt x="78" y="119"/>
                  </a:lnTo>
                  <a:lnTo>
                    <a:pt x="73" y="119"/>
                  </a:lnTo>
                  <a:lnTo>
                    <a:pt x="71" y="121"/>
                  </a:lnTo>
                  <a:lnTo>
                    <a:pt x="71" y="123"/>
                  </a:lnTo>
                  <a:lnTo>
                    <a:pt x="73" y="126"/>
                  </a:lnTo>
                  <a:lnTo>
                    <a:pt x="69" y="128"/>
                  </a:lnTo>
                  <a:lnTo>
                    <a:pt x="66" y="130"/>
                  </a:lnTo>
                  <a:lnTo>
                    <a:pt x="64" y="133"/>
                  </a:lnTo>
                  <a:lnTo>
                    <a:pt x="64" y="130"/>
                  </a:lnTo>
                  <a:lnTo>
                    <a:pt x="64" y="133"/>
                  </a:lnTo>
                  <a:lnTo>
                    <a:pt x="61" y="133"/>
                  </a:lnTo>
                  <a:lnTo>
                    <a:pt x="61" y="135"/>
                  </a:lnTo>
                  <a:lnTo>
                    <a:pt x="64" y="135"/>
                  </a:lnTo>
                  <a:lnTo>
                    <a:pt x="64" y="138"/>
                  </a:lnTo>
                  <a:lnTo>
                    <a:pt x="61" y="140"/>
                  </a:lnTo>
                  <a:lnTo>
                    <a:pt x="64" y="142"/>
                  </a:lnTo>
                  <a:lnTo>
                    <a:pt x="61" y="142"/>
                  </a:lnTo>
                  <a:lnTo>
                    <a:pt x="59" y="142"/>
                  </a:lnTo>
                  <a:lnTo>
                    <a:pt x="57" y="140"/>
                  </a:lnTo>
                  <a:lnTo>
                    <a:pt x="54" y="142"/>
                  </a:lnTo>
                  <a:lnTo>
                    <a:pt x="54" y="145"/>
                  </a:lnTo>
                  <a:lnTo>
                    <a:pt x="52" y="145"/>
                  </a:lnTo>
                  <a:lnTo>
                    <a:pt x="52" y="142"/>
                  </a:lnTo>
                  <a:lnTo>
                    <a:pt x="52" y="140"/>
                  </a:lnTo>
                  <a:lnTo>
                    <a:pt x="52" y="138"/>
                  </a:lnTo>
                  <a:lnTo>
                    <a:pt x="52" y="140"/>
                  </a:lnTo>
                  <a:lnTo>
                    <a:pt x="50" y="140"/>
                  </a:lnTo>
                  <a:lnTo>
                    <a:pt x="50" y="138"/>
                  </a:lnTo>
                  <a:lnTo>
                    <a:pt x="50" y="135"/>
                  </a:lnTo>
                  <a:lnTo>
                    <a:pt x="50" y="138"/>
                  </a:lnTo>
                  <a:lnTo>
                    <a:pt x="52" y="138"/>
                  </a:lnTo>
                  <a:lnTo>
                    <a:pt x="52" y="135"/>
                  </a:lnTo>
                  <a:lnTo>
                    <a:pt x="52" y="133"/>
                  </a:lnTo>
                  <a:lnTo>
                    <a:pt x="52" y="130"/>
                  </a:lnTo>
                  <a:lnTo>
                    <a:pt x="52" y="128"/>
                  </a:lnTo>
                  <a:lnTo>
                    <a:pt x="52" y="130"/>
                  </a:lnTo>
                  <a:lnTo>
                    <a:pt x="50" y="128"/>
                  </a:lnTo>
                  <a:lnTo>
                    <a:pt x="50" y="126"/>
                  </a:lnTo>
                  <a:lnTo>
                    <a:pt x="50" y="123"/>
                  </a:lnTo>
                  <a:lnTo>
                    <a:pt x="50" y="121"/>
                  </a:lnTo>
                  <a:lnTo>
                    <a:pt x="50" y="119"/>
                  </a:lnTo>
                  <a:lnTo>
                    <a:pt x="50" y="116"/>
                  </a:lnTo>
                  <a:lnTo>
                    <a:pt x="50" y="114"/>
                  </a:lnTo>
                  <a:lnTo>
                    <a:pt x="52" y="114"/>
                  </a:lnTo>
                  <a:lnTo>
                    <a:pt x="50" y="114"/>
                  </a:lnTo>
                  <a:lnTo>
                    <a:pt x="50" y="111"/>
                  </a:lnTo>
                  <a:lnTo>
                    <a:pt x="52" y="111"/>
                  </a:lnTo>
                  <a:lnTo>
                    <a:pt x="50" y="111"/>
                  </a:lnTo>
                  <a:lnTo>
                    <a:pt x="52" y="111"/>
                  </a:lnTo>
                  <a:lnTo>
                    <a:pt x="50" y="111"/>
                  </a:lnTo>
                  <a:lnTo>
                    <a:pt x="50" y="109"/>
                  </a:lnTo>
                  <a:lnTo>
                    <a:pt x="52" y="111"/>
                  </a:lnTo>
                  <a:lnTo>
                    <a:pt x="52" y="109"/>
                  </a:lnTo>
                  <a:lnTo>
                    <a:pt x="50" y="109"/>
                  </a:lnTo>
                  <a:lnTo>
                    <a:pt x="50" y="107"/>
                  </a:lnTo>
                  <a:lnTo>
                    <a:pt x="52" y="107"/>
                  </a:lnTo>
                  <a:lnTo>
                    <a:pt x="50" y="107"/>
                  </a:lnTo>
                  <a:lnTo>
                    <a:pt x="52" y="107"/>
                  </a:lnTo>
                  <a:lnTo>
                    <a:pt x="52" y="104"/>
                  </a:lnTo>
                  <a:lnTo>
                    <a:pt x="52" y="107"/>
                  </a:lnTo>
                  <a:lnTo>
                    <a:pt x="52" y="104"/>
                  </a:lnTo>
                  <a:lnTo>
                    <a:pt x="52" y="107"/>
                  </a:lnTo>
                  <a:lnTo>
                    <a:pt x="52" y="104"/>
                  </a:lnTo>
                  <a:lnTo>
                    <a:pt x="54" y="104"/>
                  </a:lnTo>
                  <a:lnTo>
                    <a:pt x="52" y="104"/>
                  </a:lnTo>
                  <a:lnTo>
                    <a:pt x="52" y="102"/>
                  </a:lnTo>
                  <a:lnTo>
                    <a:pt x="52" y="104"/>
                  </a:lnTo>
                  <a:lnTo>
                    <a:pt x="52" y="102"/>
                  </a:lnTo>
                  <a:lnTo>
                    <a:pt x="54" y="102"/>
                  </a:lnTo>
                  <a:lnTo>
                    <a:pt x="52" y="102"/>
                  </a:lnTo>
                  <a:lnTo>
                    <a:pt x="54" y="102"/>
                  </a:lnTo>
                  <a:lnTo>
                    <a:pt x="52" y="102"/>
                  </a:lnTo>
                  <a:lnTo>
                    <a:pt x="54" y="102"/>
                  </a:lnTo>
                  <a:lnTo>
                    <a:pt x="52" y="102"/>
                  </a:lnTo>
                  <a:lnTo>
                    <a:pt x="54" y="102"/>
                  </a:lnTo>
                  <a:lnTo>
                    <a:pt x="54" y="100"/>
                  </a:lnTo>
                  <a:lnTo>
                    <a:pt x="54" y="97"/>
                  </a:lnTo>
                  <a:lnTo>
                    <a:pt x="54" y="95"/>
                  </a:lnTo>
                  <a:lnTo>
                    <a:pt x="54" y="92"/>
                  </a:lnTo>
                  <a:lnTo>
                    <a:pt x="54" y="95"/>
                  </a:lnTo>
                  <a:lnTo>
                    <a:pt x="54" y="92"/>
                  </a:lnTo>
                  <a:lnTo>
                    <a:pt x="54" y="90"/>
                  </a:lnTo>
                  <a:lnTo>
                    <a:pt x="54" y="88"/>
                  </a:lnTo>
                  <a:lnTo>
                    <a:pt x="54" y="85"/>
                  </a:lnTo>
                  <a:lnTo>
                    <a:pt x="54" y="88"/>
                  </a:lnTo>
                  <a:lnTo>
                    <a:pt x="54" y="85"/>
                  </a:lnTo>
                  <a:lnTo>
                    <a:pt x="52" y="85"/>
                  </a:lnTo>
                  <a:lnTo>
                    <a:pt x="54" y="85"/>
                  </a:lnTo>
                  <a:lnTo>
                    <a:pt x="52" y="85"/>
                  </a:lnTo>
                  <a:lnTo>
                    <a:pt x="52" y="83"/>
                  </a:lnTo>
                  <a:lnTo>
                    <a:pt x="52" y="81"/>
                  </a:lnTo>
                  <a:lnTo>
                    <a:pt x="52" y="83"/>
                  </a:lnTo>
                  <a:lnTo>
                    <a:pt x="52" y="81"/>
                  </a:lnTo>
                  <a:lnTo>
                    <a:pt x="50" y="81"/>
                  </a:lnTo>
                  <a:lnTo>
                    <a:pt x="50" y="78"/>
                  </a:lnTo>
                  <a:lnTo>
                    <a:pt x="50" y="76"/>
                  </a:lnTo>
                  <a:lnTo>
                    <a:pt x="50" y="73"/>
                  </a:lnTo>
                  <a:lnTo>
                    <a:pt x="50" y="76"/>
                  </a:lnTo>
                  <a:lnTo>
                    <a:pt x="50" y="73"/>
                  </a:lnTo>
                  <a:lnTo>
                    <a:pt x="50" y="71"/>
                  </a:lnTo>
                  <a:lnTo>
                    <a:pt x="47" y="71"/>
                  </a:lnTo>
                  <a:lnTo>
                    <a:pt x="47" y="69"/>
                  </a:lnTo>
                  <a:lnTo>
                    <a:pt x="45" y="71"/>
                  </a:lnTo>
                  <a:lnTo>
                    <a:pt x="45" y="69"/>
                  </a:lnTo>
                  <a:lnTo>
                    <a:pt x="42" y="69"/>
                  </a:lnTo>
                  <a:lnTo>
                    <a:pt x="42" y="66"/>
                  </a:lnTo>
                  <a:lnTo>
                    <a:pt x="40" y="66"/>
                  </a:lnTo>
                  <a:lnTo>
                    <a:pt x="42" y="66"/>
                  </a:lnTo>
                  <a:lnTo>
                    <a:pt x="40" y="66"/>
                  </a:lnTo>
                  <a:lnTo>
                    <a:pt x="40" y="64"/>
                  </a:lnTo>
                  <a:lnTo>
                    <a:pt x="40" y="66"/>
                  </a:lnTo>
                  <a:lnTo>
                    <a:pt x="40" y="64"/>
                  </a:lnTo>
                  <a:lnTo>
                    <a:pt x="40" y="62"/>
                  </a:lnTo>
                  <a:lnTo>
                    <a:pt x="38" y="62"/>
                  </a:lnTo>
                  <a:lnTo>
                    <a:pt x="40" y="62"/>
                  </a:lnTo>
                  <a:lnTo>
                    <a:pt x="38" y="62"/>
                  </a:lnTo>
                  <a:lnTo>
                    <a:pt x="38" y="59"/>
                  </a:lnTo>
                  <a:lnTo>
                    <a:pt x="38" y="62"/>
                  </a:lnTo>
                  <a:lnTo>
                    <a:pt x="38" y="59"/>
                  </a:lnTo>
                  <a:lnTo>
                    <a:pt x="38" y="57"/>
                  </a:lnTo>
                  <a:lnTo>
                    <a:pt x="35" y="57"/>
                  </a:lnTo>
                  <a:lnTo>
                    <a:pt x="35" y="59"/>
                  </a:lnTo>
                  <a:lnTo>
                    <a:pt x="35" y="57"/>
                  </a:lnTo>
                  <a:lnTo>
                    <a:pt x="33" y="57"/>
                  </a:lnTo>
                  <a:lnTo>
                    <a:pt x="33" y="54"/>
                  </a:lnTo>
                  <a:lnTo>
                    <a:pt x="33" y="52"/>
                  </a:lnTo>
                  <a:lnTo>
                    <a:pt x="31" y="52"/>
                  </a:lnTo>
                  <a:lnTo>
                    <a:pt x="33" y="52"/>
                  </a:lnTo>
                  <a:lnTo>
                    <a:pt x="33" y="50"/>
                  </a:lnTo>
                  <a:lnTo>
                    <a:pt x="31" y="50"/>
                  </a:lnTo>
                  <a:lnTo>
                    <a:pt x="33" y="50"/>
                  </a:lnTo>
                  <a:lnTo>
                    <a:pt x="31" y="50"/>
                  </a:lnTo>
                  <a:lnTo>
                    <a:pt x="31" y="47"/>
                  </a:lnTo>
                  <a:lnTo>
                    <a:pt x="31" y="50"/>
                  </a:lnTo>
                  <a:lnTo>
                    <a:pt x="31" y="47"/>
                  </a:lnTo>
                  <a:lnTo>
                    <a:pt x="31" y="50"/>
                  </a:lnTo>
                  <a:lnTo>
                    <a:pt x="31" y="47"/>
                  </a:lnTo>
                  <a:lnTo>
                    <a:pt x="28" y="50"/>
                  </a:lnTo>
                  <a:lnTo>
                    <a:pt x="28" y="47"/>
                  </a:lnTo>
                  <a:lnTo>
                    <a:pt x="28" y="45"/>
                  </a:lnTo>
                  <a:lnTo>
                    <a:pt x="26" y="45"/>
                  </a:lnTo>
                  <a:lnTo>
                    <a:pt x="26" y="43"/>
                  </a:lnTo>
                  <a:lnTo>
                    <a:pt x="23" y="43"/>
                  </a:lnTo>
                  <a:lnTo>
                    <a:pt x="23" y="40"/>
                  </a:lnTo>
                  <a:lnTo>
                    <a:pt x="23" y="38"/>
                  </a:lnTo>
                  <a:lnTo>
                    <a:pt x="21" y="38"/>
                  </a:lnTo>
                  <a:lnTo>
                    <a:pt x="23" y="38"/>
                  </a:lnTo>
                  <a:lnTo>
                    <a:pt x="23" y="35"/>
                  </a:lnTo>
                  <a:lnTo>
                    <a:pt x="21" y="35"/>
                  </a:lnTo>
                  <a:lnTo>
                    <a:pt x="21" y="33"/>
                  </a:lnTo>
                  <a:lnTo>
                    <a:pt x="21" y="31"/>
                  </a:lnTo>
                  <a:lnTo>
                    <a:pt x="21" y="28"/>
                  </a:lnTo>
                  <a:lnTo>
                    <a:pt x="19" y="28"/>
                  </a:lnTo>
                  <a:lnTo>
                    <a:pt x="19" y="26"/>
                  </a:lnTo>
                  <a:lnTo>
                    <a:pt x="19" y="24"/>
                  </a:lnTo>
                  <a:lnTo>
                    <a:pt x="16" y="24"/>
                  </a:lnTo>
                  <a:lnTo>
                    <a:pt x="19" y="24"/>
                  </a:lnTo>
                  <a:lnTo>
                    <a:pt x="16" y="24"/>
                  </a:lnTo>
                  <a:lnTo>
                    <a:pt x="16" y="21"/>
                  </a:lnTo>
                  <a:lnTo>
                    <a:pt x="14" y="21"/>
                  </a:lnTo>
                  <a:lnTo>
                    <a:pt x="14" y="19"/>
                  </a:lnTo>
                  <a:lnTo>
                    <a:pt x="14" y="16"/>
                  </a:lnTo>
                  <a:lnTo>
                    <a:pt x="14" y="19"/>
                  </a:lnTo>
                  <a:lnTo>
                    <a:pt x="12" y="19"/>
                  </a:lnTo>
                  <a:lnTo>
                    <a:pt x="12" y="16"/>
                  </a:lnTo>
                  <a:lnTo>
                    <a:pt x="14" y="16"/>
                  </a:lnTo>
                  <a:lnTo>
                    <a:pt x="12" y="16"/>
                  </a:lnTo>
                  <a:lnTo>
                    <a:pt x="12" y="14"/>
                  </a:lnTo>
                  <a:lnTo>
                    <a:pt x="12" y="16"/>
                  </a:lnTo>
                  <a:lnTo>
                    <a:pt x="9" y="16"/>
                  </a:lnTo>
                  <a:lnTo>
                    <a:pt x="9" y="14"/>
                  </a:lnTo>
                  <a:lnTo>
                    <a:pt x="7" y="14"/>
                  </a:lnTo>
                  <a:lnTo>
                    <a:pt x="7" y="12"/>
                  </a:lnTo>
                  <a:lnTo>
                    <a:pt x="4" y="12"/>
                  </a:lnTo>
                  <a:lnTo>
                    <a:pt x="2" y="12"/>
                  </a:lnTo>
                  <a:lnTo>
                    <a:pt x="0" y="12"/>
                  </a:lnTo>
                  <a:lnTo>
                    <a:pt x="2" y="9"/>
                  </a:lnTo>
                  <a:lnTo>
                    <a:pt x="2" y="7"/>
                  </a:lnTo>
                  <a:lnTo>
                    <a:pt x="4" y="7"/>
                  </a:lnTo>
                  <a:lnTo>
                    <a:pt x="4" y="9"/>
                  </a:lnTo>
                  <a:lnTo>
                    <a:pt x="7" y="9"/>
                  </a:lnTo>
                  <a:lnTo>
                    <a:pt x="7" y="7"/>
                  </a:lnTo>
                  <a:lnTo>
                    <a:pt x="4" y="7"/>
                  </a:lnTo>
                  <a:lnTo>
                    <a:pt x="4" y="5"/>
                  </a:lnTo>
                  <a:lnTo>
                    <a:pt x="7" y="5"/>
                  </a:lnTo>
                  <a:lnTo>
                    <a:pt x="9" y="5"/>
                  </a:lnTo>
                  <a:lnTo>
                    <a:pt x="12" y="7"/>
                  </a:lnTo>
                  <a:lnTo>
                    <a:pt x="14" y="7"/>
                  </a:lnTo>
                  <a:lnTo>
                    <a:pt x="14" y="5"/>
                  </a:lnTo>
                  <a:lnTo>
                    <a:pt x="16" y="5"/>
                  </a:lnTo>
                  <a:lnTo>
                    <a:pt x="16" y="2"/>
                  </a:lnTo>
                  <a:lnTo>
                    <a:pt x="16" y="5"/>
                  </a:lnTo>
                  <a:lnTo>
                    <a:pt x="16" y="7"/>
                  </a:lnTo>
                  <a:lnTo>
                    <a:pt x="19" y="7"/>
                  </a:lnTo>
                  <a:lnTo>
                    <a:pt x="19" y="5"/>
                  </a:lnTo>
                  <a:lnTo>
                    <a:pt x="19" y="7"/>
                  </a:lnTo>
                  <a:lnTo>
                    <a:pt x="19" y="5"/>
                  </a:lnTo>
                  <a:lnTo>
                    <a:pt x="21" y="5"/>
                  </a:lnTo>
                  <a:lnTo>
                    <a:pt x="21" y="7"/>
                  </a:lnTo>
                  <a:lnTo>
                    <a:pt x="23" y="7"/>
                  </a:lnTo>
                  <a:lnTo>
                    <a:pt x="23" y="5"/>
                  </a:lnTo>
                  <a:lnTo>
                    <a:pt x="23" y="2"/>
                  </a:lnTo>
                  <a:lnTo>
                    <a:pt x="26" y="2"/>
                  </a:lnTo>
                  <a:lnTo>
                    <a:pt x="26" y="5"/>
                  </a:lnTo>
                  <a:lnTo>
                    <a:pt x="28" y="5"/>
                  </a:lnTo>
                  <a:lnTo>
                    <a:pt x="28" y="2"/>
                  </a:lnTo>
                  <a:lnTo>
                    <a:pt x="31" y="2"/>
                  </a:lnTo>
                  <a:lnTo>
                    <a:pt x="33" y="2"/>
                  </a:lnTo>
                  <a:lnTo>
                    <a:pt x="33" y="0"/>
                  </a:lnTo>
                  <a:lnTo>
                    <a:pt x="33" y="2"/>
                  </a:lnTo>
                  <a:lnTo>
                    <a:pt x="35"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7" name="Freeform 52495"/>
            <p:cNvSpPr>
              <a:spLocks/>
            </p:cNvSpPr>
            <p:nvPr/>
          </p:nvSpPr>
          <p:spPr bwMode="auto">
            <a:xfrm>
              <a:off x="2412998" y="5168918"/>
              <a:ext cx="4763" cy="3175"/>
            </a:xfrm>
            <a:custGeom>
              <a:avLst/>
              <a:gdLst>
                <a:gd name="T0" fmla="*/ 3 w 3"/>
                <a:gd name="T1" fmla="*/ 0 h 2"/>
                <a:gd name="T2" fmla="*/ 3 w 3"/>
                <a:gd name="T3" fmla="*/ 0 h 2"/>
                <a:gd name="T4" fmla="*/ 3 w 3"/>
                <a:gd name="T5" fmla="*/ 0 h 2"/>
                <a:gd name="T6" fmla="*/ 3 w 3"/>
                <a:gd name="T7" fmla="*/ 0 h 2"/>
                <a:gd name="T8" fmla="*/ 3 w 3"/>
                <a:gd name="T9" fmla="*/ 2 h 2"/>
                <a:gd name="T10" fmla="*/ 3 w 3"/>
                <a:gd name="T11" fmla="*/ 2 h 2"/>
                <a:gd name="T12" fmla="*/ 3 w 3"/>
                <a:gd name="T13" fmla="*/ 2 h 2"/>
                <a:gd name="T14" fmla="*/ 3 w 3"/>
                <a:gd name="T15" fmla="*/ 2 h 2"/>
                <a:gd name="T16" fmla="*/ 3 w 3"/>
                <a:gd name="T17" fmla="*/ 2 h 2"/>
                <a:gd name="T18" fmla="*/ 3 w 3"/>
                <a:gd name="T19" fmla="*/ 2 h 2"/>
                <a:gd name="T20" fmla="*/ 3 w 3"/>
                <a:gd name="T21" fmla="*/ 2 h 2"/>
                <a:gd name="T22" fmla="*/ 3 w 3"/>
                <a:gd name="T23" fmla="*/ 2 h 2"/>
                <a:gd name="T24" fmla="*/ 0 w 3"/>
                <a:gd name="T25" fmla="*/ 2 h 2"/>
                <a:gd name="T26" fmla="*/ 0 w 3"/>
                <a:gd name="T27" fmla="*/ 2 h 2"/>
                <a:gd name="T28" fmla="*/ 0 w 3"/>
                <a:gd name="T29" fmla="*/ 2 h 2"/>
                <a:gd name="T30" fmla="*/ 0 w 3"/>
                <a:gd name="T31" fmla="*/ 2 h 2"/>
                <a:gd name="T32" fmla="*/ 3 w 3"/>
                <a:gd name="T33" fmla="*/ 0 h 2"/>
                <a:gd name="T34" fmla="*/ 3 w 3"/>
                <a:gd name="T35" fmla="*/ 0 h 2"/>
                <a:gd name="T36" fmla="*/ 3 w 3"/>
                <a:gd name="T37" fmla="*/ 0 h 2"/>
                <a:gd name="T38" fmla="*/ 3 w 3"/>
                <a:gd name="T39" fmla="*/ 0 h 2"/>
                <a:gd name="T40" fmla="*/ 3 w 3"/>
                <a:gd name="T41" fmla="*/ 0 h 2"/>
                <a:gd name="T42" fmla="*/ 3 w 3"/>
                <a:gd name="T43" fmla="*/ 0 h 2"/>
                <a:gd name="T44" fmla="*/ 3 w 3"/>
                <a:gd name="T45" fmla="*/ 0 h 2"/>
                <a:gd name="T46" fmla="*/ 3 w 3"/>
                <a:gd name="T47" fmla="*/ 0 h 2"/>
                <a:gd name="T48" fmla="*/ 3 w 3"/>
                <a:gd name="T49" fmla="*/ 0 h 2"/>
                <a:gd name="T50" fmla="*/ 3 w 3"/>
                <a:gd name="T5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2">
                  <a:moveTo>
                    <a:pt x="3" y="0"/>
                  </a:moveTo>
                  <a:lnTo>
                    <a:pt x="3" y="0"/>
                  </a:lnTo>
                  <a:lnTo>
                    <a:pt x="3" y="0"/>
                  </a:lnTo>
                  <a:lnTo>
                    <a:pt x="3" y="0"/>
                  </a:lnTo>
                  <a:lnTo>
                    <a:pt x="3" y="2"/>
                  </a:lnTo>
                  <a:lnTo>
                    <a:pt x="3" y="2"/>
                  </a:lnTo>
                  <a:lnTo>
                    <a:pt x="3" y="2"/>
                  </a:lnTo>
                  <a:lnTo>
                    <a:pt x="3" y="2"/>
                  </a:lnTo>
                  <a:lnTo>
                    <a:pt x="3" y="2"/>
                  </a:lnTo>
                  <a:lnTo>
                    <a:pt x="3" y="2"/>
                  </a:lnTo>
                  <a:lnTo>
                    <a:pt x="3" y="2"/>
                  </a:lnTo>
                  <a:lnTo>
                    <a:pt x="3" y="2"/>
                  </a:lnTo>
                  <a:lnTo>
                    <a:pt x="0" y="2"/>
                  </a:lnTo>
                  <a:lnTo>
                    <a:pt x="0" y="2"/>
                  </a:lnTo>
                  <a:lnTo>
                    <a:pt x="0" y="2"/>
                  </a:lnTo>
                  <a:lnTo>
                    <a:pt x="0" y="2"/>
                  </a:lnTo>
                  <a:lnTo>
                    <a:pt x="3" y="0"/>
                  </a:lnTo>
                  <a:lnTo>
                    <a:pt x="3" y="0"/>
                  </a:lnTo>
                  <a:lnTo>
                    <a:pt x="3" y="0"/>
                  </a:lnTo>
                  <a:lnTo>
                    <a:pt x="3" y="0"/>
                  </a:ln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8" name="Freeform 52496"/>
            <p:cNvSpPr>
              <a:spLocks/>
            </p:cNvSpPr>
            <p:nvPr/>
          </p:nvSpPr>
          <p:spPr bwMode="auto">
            <a:xfrm>
              <a:off x="2994022" y="5184793"/>
              <a:ext cx="96838" cy="123825"/>
            </a:xfrm>
            <a:custGeom>
              <a:avLst/>
              <a:gdLst>
                <a:gd name="T0" fmla="*/ 28 w 61"/>
                <a:gd name="T1" fmla="*/ 4 h 78"/>
                <a:gd name="T2" fmla="*/ 33 w 61"/>
                <a:gd name="T3" fmla="*/ 7 h 78"/>
                <a:gd name="T4" fmla="*/ 35 w 61"/>
                <a:gd name="T5" fmla="*/ 14 h 78"/>
                <a:gd name="T6" fmla="*/ 40 w 61"/>
                <a:gd name="T7" fmla="*/ 16 h 78"/>
                <a:gd name="T8" fmla="*/ 45 w 61"/>
                <a:gd name="T9" fmla="*/ 19 h 78"/>
                <a:gd name="T10" fmla="*/ 49 w 61"/>
                <a:gd name="T11" fmla="*/ 21 h 78"/>
                <a:gd name="T12" fmla="*/ 52 w 61"/>
                <a:gd name="T13" fmla="*/ 26 h 78"/>
                <a:gd name="T14" fmla="*/ 57 w 61"/>
                <a:gd name="T15" fmla="*/ 28 h 78"/>
                <a:gd name="T16" fmla="*/ 61 w 61"/>
                <a:gd name="T17" fmla="*/ 33 h 78"/>
                <a:gd name="T18" fmla="*/ 57 w 61"/>
                <a:gd name="T19" fmla="*/ 38 h 78"/>
                <a:gd name="T20" fmla="*/ 52 w 61"/>
                <a:gd name="T21" fmla="*/ 35 h 78"/>
                <a:gd name="T22" fmla="*/ 52 w 61"/>
                <a:gd name="T23" fmla="*/ 40 h 78"/>
                <a:gd name="T24" fmla="*/ 54 w 61"/>
                <a:gd name="T25" fmla="*/ 47 h 78"/>
                <a:gd name="T26" fmla="*/ 49 w 61"/>
                <a:gd name="T27" fmla="*/ 47 h 78"/>
                <a:gd name="T28" fmla="*/ 45 w 61"/>
                <a:gd name="T29" fmla="*/ 49 h 78"/>
                <a:gd name="T30" fmla="*/ 42 w 61"/>
                <a:gd name="T31" fmla="*/ 45 h 78"/>
                <a:gd name="T32" fmla="*/ 42 w 61"/>
                <a:gd name="T33" fmla="*/ 42 h 78"/>
                <a:gd name="T34" fmla="*/ 38 w 61"/>
                <a:gd name="T35" fmla="*/ 47 h 78"/>
                <a:gd name="T36" fmla="*/ 35 w 61"/>
                <a:gd name="T37" fmla="*/ 52 h 78"/>
                <a:gd name="T38" fmla="*/ 30 w 61"/>
                <a:gd name="T39" fmla="*/ 54 h 78"/>
                <a:gd name="T40" fmla="*/ 28 w 61"/>
                <a:gd name="T41" fmla="*/ 61 h 78"/>
                <a:gd name="T42" fmla="*/ 30 w 61"/>
                <a:gd name="T43" fmla="*/ 66 h 78"/>
                <a:gd name="T44" fmla="*/ 30 w 61"/>
                <a:gd name="T45" fmla="*/ 73 h 78"/>
                <a:gd name="T46" fmla="*/ 28 w 61"/>
                <a:gd name="T47" fmla="*/ 76 h 78"/>
                <a:gd name="T48" fmla="*/ 28 w 61"/>
                <a:gd name="T49" fmla="*/ 78 h 78"/>
                <a:gd name="T50" fmla="*/ 23 w 61"/>
                <a:gd name="T51" fmla="*/ 76 h 78"/>
                <a:gd name="T52" fmla="*/ 23 w 61"/>
                <a:gd name="T53" fmla="*/ 73 h 78"/>
                <a:gd name="T54" fmla="*/ 23 w 61"/>
                <a:gd name="T55" fmla="*/ 71 h 78"/>
                <a:gd name="T56" fmla="*/ 21 w 61"/>
                <a:gd name="T57" fmla="*/ 71 h 78"/>
                <a:gd name="T58" fmla="*/ 23 w 61"/>
                <a:gd name="T59" fmla="*/ 71 h 78"/>
                <a:gd name="T60" fmla="*/ 21 w 61"/>
                <a:gd name="T61" fmla="*/ 66 h 78"/>
                <a:gd name="T62" fmla="*/ 19 w 61"/>
                <a:gd name="T63" fmla="*/ 66 h 78"/>
                <a:gd name="T64" fmla="*/ 16 w 61"/>
                <a:gd name="T65" fmla="*/ 61 h 78"/>
                <a:gd name="T66" fmla="*/ 11 w 61"/>
                <a:gd name="T67" fmla="*/ 59 h 78"/>
                <a:gd name="T68" fmla="*/ 7 w 61"/>
                <a:gd name="T69" fmla="*/ 57 h 78"/>
                <a:gd name="T70" fmla="*/ 7 w 61"/>
                <a:gd name="T71" fmla="*/ 54 h 78"/>
                <a:gd name="T72" fmla="*/ 4 w 61"/>
                <a:gd name="T73" fmla="*/ 52 h 78"/>
                <a:gd name="T74" fmla="*/ 9 w 61"/>
                <a:gd name="T75" fmla="*/ 54 h 78"/>
                <a:gd name="T76" fmla="*/ 7 w 61"/>
                <a:gd name="T77" fmla="*/ 52 h 78"/>
                <a:gd name="T78" fmla="*/ 9 w 61"/>
                <a:gd name="T79" fmla="*/ 52 h 78"/>
                <a:gd name="T80" fmla="*/ 7 w 61"/>
                <a:gd name="T81" fmla="*/ 47 h 78"/>
                <a:gd name="T82" fmla="*/ 4 w 61"/>
                <a:gd name="T83" fmla="*/ 52 h 78"/>
                <a:gd name="T84" fmla="*/ 2 w 61"/>
                <a:gd name="T85" fmla="*/ 52 h 78"/>
                <a:gd name="T86" fmla="*/ 0 w 61"/>
                <a:gd name="T87" fmla="*/ 52 h 78"/>
                <a:gd name="T88" fmla="*/ 2 w 61"/>
                <a:gd name="T89" fmla="*/ 42 h 78"/>
                <a:gd name="T90" fmla="*/ 2 w 61"/>
                <a:gd name="T91" fmla="*/ 40 h 78"/>
                <a:gd name="T92" fmla="*/ 0 w 61"/>
                <a:gd name="T93" fmla="*/ 35 h 78"/>
                <a:gd name="T94" fmla="*/ 2 w 61"/>
                <a:gd name="T95" fmla="*/ 28 h 78"/>
                <a:gd name="T96" fmla="*/ 7 w 61"/>
                <a:gd name="T97" fmla="*/ 23 h 78"/>
                <a:gd name="T98" fmla="*/ 7 w 61"/>
                <a:gd name="T99" fmla="*/ 16 h 78"/>
                <a:gd name="T100" fmla="*/ 11 w 61"/>
                <a:gd name="T101" fmla="*/ 11 h 78"/>
                <a:gd name="T102" fmla="*/ 16 w 61"/>
                <a:gd name="T103" fmla="*/ 9 h 78"/>
                <a:gd name="T104" fmla="*/ 19 w 61"/>
                <a:gd name="T105" fmla="*/ 14 h 78"/>
                <a:gd name="T106" fmla="*/ 21 w 61"/>
                <a:gd name="T107" fmla="*/ 9 h 78"/>
                <a:gd name="T108" fmla="*/ 19 w 61"/>
                <a:gd name="T109" fmla="*/ 4 h 78"/>
                <a:gd name="T110" fmla="*/ 16 w 61"/>
                <a:gd name="T111" fmla="*/ 0 h 78"/>
                <a:gd name="T112" fmla="*/ 21 w 61"/>
                <a:gd name="T113"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78">
                  <a:moveTo>
                    <a:pt x="26" y="2"/>
                  </a:moveTo>
                  <a:lnTo>
                    <a:pt x="26" y="4"/>
                  </a:lnTo>
                  <a:lnTo>
                    <a:pt x="28" y="4"/>
                  </a:lnTo>
                  <a:lnTo>
                    <a:pt x="28" y="7"/>
                  </a:lnTo>
                  <a:lnTo>
                    <a:pt x="30" y="7"/>
                  </a:lnTo>
                  <a:lnTo>
                    <a:pt x="33" y="7"/>
                  </a:lnTo>
                  <a:lnTo>
                    <a:pt x="33" y="9"/>
                  </a:lnTo>
                  <a:lnTo>
                    <a:pt x="35" y="11"/>
                  </a:lnTo>
                  <a:lnTo>
                    <a:pt x="35" y="14"/>
                  </a:lnTo>
                  <a:lnTo>
                    <a:pt x="38" y="14"/>
                  </a:lnTo>
                  <a:lnTo>
                    <a:pt x="38" y="16"/>
                  </a:lnTo>
                  <a:lnTo>
                    <a:pt x="40" y="16"/>
                  </a:lnTo>
                  <a:lnTo>
                    <a:pt x="40" y="19"/>
                  </a:lnTo>
                  <a:lnTo>
                    <a:pt x="42" y="19"/>
                  </a:lnTo>
                  <a:lnTo>
                    <a:pt x="45" y="19"/>
                  </a:lnTo>
                  <a:lnTo>
                    <a:pt x="47" y="19"/>
                  </a:lnTo>
                  <a:lnTo>
                    <a:pt x="49" y="19"/>
                  </a:lnTo>
                  <a:lnTo>
                    <a:pt x="49" y="21"/>
                  </a:lnTo>
                  <a:lnTo>
                    <a:pt x="49" y="23"/>
                  </a:lnTo>
                  <a:lnTo>
                    <a:pt x="52" y="23"/>
                  </a:lnTo>
                  <a:lnTo>
                    <a:pt x="52" y="26"/>
                  </a:lnTo>
                  <a:lnTo>
                    <a:pt x="54" y="28"/>
                  </a:lnTo>
                  <a:lnTo>
                    <a:pt x="57" y="26"/>
                  </a:lnTo>
                  <a:lnTo>
                    <a:pt x="57" y="28"/>
                  </a:lnTo>
                  <a:lnTo>
                    <a:pt x="59" y="28"/>
                  </a:lnTo>
                  <a:lnTo>
                    <a:pt x="61" y="30"/>
                  </a:lnTo>
                  <a:lnTo>
                    <a:pt x="61" y="33"/>
                  </a:lnTo>
                  <a:lnTo>
                    <a:pt x="59" y="35"/>
                  </a:lnTo>
                  <a:lnTo>
                    <a:pt x="59" y="38"/>
                  </a:lnTo>
                  <a:lnTo>
                    <a:pt x="57" y="38"/>
                  </a:lnTo>
                  <a:lnTo>
                    <a:pt x="54" y="38"/>
                  </a:lnTo>
                  <a:lnTo>
                    <a:pt x="54" y="35"/>
                  </a:lnTo>
                  <a:lnTo>
                    <a:pt x="52" y="35"/>
                  </a:lnTo>
                  <a:lnTo>
                    <a:pt x="49" y="38"/>
                  </a:lnTo>
                  <a:lnTo>
                    <a:pt x="49" y="40"/>
                  </a:lnTo>
                  <a:lnTo>
                    <a:pt x="52" y="40"/>
                  </a:lnTo>
                  <a:lnTo>
                    <a:pt x="52" y="42"/>
                  </a:lnTo>
                  <a:lnTo>
                    <a:pt x="54" y="45"/>
                  </a:lnTo>
                  <a:lnTo>
                    <a:pt x="54" y="47"/>
                  </a:lnTo>
                  <a:lnTo>
                    <a:pt x="52" y="45"/>
                  </a:lnTo>
                  <a:lnTo>
                    <a:pt x="52" y="47"/>
                  </a:lnTo>
                  <a:lnTo>
                    <a:pt x="49" y="47"/>
                  </a:lnTo>
                  <a:lnTo>
                    <a:pt x="47" y="47"/>
                  </a:lnTo>
                  <a:lnTo>
                    <a:pt x="47" y="49"/>
                  </a:lnTo>
                  <a:lnTo>
                    <a:pt x="45" y="49"/>
                  </a:lnTo>
                  <a:lnTo>
                    <a:pt x="42" y="49"/>
                  </a:lnTo>
                  <a:lnTo>
                    <a:pt x="42" y="47"/>
                  </a:lnTo>
                  <a:lnTo>
                    <a:pt x="42" y="45"/>
                  </a:lnTo>
                  <a:lnTo>
                    <a:pt x="42" y="42"/>
                  </a:lnTo>
                  <a:lnTo>
                    <a:pt x="42" y="40"/>
                  </a:lnTo>
                  <a:lnTo>
                    <a:pt x="42" y="42"/>
                  </a:lnTo>
                  <a:lnTo>
                    <a:pt x="40" y="42"/>
                  </a:lnTo>
                  <a:lnTo>
                    <a:pt x="38" y="45"/>
                  </a:lnTo>
                  <a:lnTo>
                    <a:pt x="38" y="47"/>
                  </a:lnTo>
                  <a:lnTo>
                    <a:pt x="35" y="47"/>
                  </a:lnTo>
                  <a:lnTo>
                    <a:pt x="35" y="49"/>
                  </a:lnTo>
                  <a:lnTo>
                    <a:pt x="35" y="52"/>
                  </a:lnTo>
                  <a:lnTo>
                    <a:pt x="33" y="52"/>
                  </a:lnTo>
                  <a:lnTo>
                    <a:pt x="33" y="54"/>
                  </a:lnTo>
                  <a:lnTo>
                    <a:pt x="30" y="54"/>
                  </a:lnTo>
                  <a:lnTo>
                    <a:pt x="30" y="57"/>
                  </a:lnTo>
                  <a:lnTo>
                    <a:pt x="30" y="59"/>
                  </a:lnTo>
                  <a:lnTo>
                    <a:pt x="28" y="61"/>
                  </a:lnTo>
                  <a:lnTo>
                    <a:pt x="26" y="64"/>
                  </a:lnTo>
                  <a:lnTo>
                    <a:pt x="28" y="64"/>
                  </a:lnTo>
                  <a:lnTo>
                    <a:pt x="30" y="66"/>
                  </a:lnTo>
                  <a:lnTo>
                    <a:pt x="30" y="68"/>
                  </a:lnTo>
                  <a:lnTo>
                    <a:pt x="30" y="71"/>
                  </a:lnTo>
                  <a:lnTo>
                    <a:pt x="30" y="73"/>
                  </a:lnTo>
                  <a:lnTo>
                    <a:pt x="28" y="73"/>
                  </a:lnTo>
                  <a:lnTo>
                    <a:pt x="30" y="76"/>
                  </a:lnTo>
                  <a:lnTo>
                    <a:pt x="28" y="76"/>
                  </a:lnTo>
                  <a:lnTo>
                    <a:pt x="30" y="76"/>
                  </a:lnTo>
                  <a:lnTo>
                    <a:pt x="30" y="78"/>
                  </a:lnTo>
                  <a:lnTo>
                    <a:pt x="28" y="78"/>
                  </a:lnTo>
                  <a:lnTo>
                    <a:pt x="28" y="76"/>
                  </a:lnTo>
                  <a:lnTo>
                    <a:pt x="26" y="76"/>
                  </a:lnTo>
                  <a:lnTo>
                    <a:pt x="23" y="76"/>
                  </a:lnTo>
                  <a:lnTo>
                    <a:pt x="23" y="73"/>
                  </a:lnTo>
                  <a:lnTo>
                    <a:pt x="21" y="73"/>
                  </a:lnTo>
                  <a:lnTo>
                    <a:pt x="23" y="73"/>
                  </a:lnTo>
                  <a:lnTo>
                    <a:pt x="23" y="71"/>
                  </a:lnTo>
                  <a:lnTo>
                    <a:pt x="21" y="71"/>
                  </a:lnTo>
                  <a:lnTo>
                    <a:pt x="23" y="71"/>
                  </a:lnTo>
                  <a:lnTo>
                    <a:pt x="21" y="71"/>
                  </a:lnTo>
                  <a:lnTo>
                    <a:pt x="23" y="71"/>
                  </a:lnTo>
                  <a:lnTo>
                    <a:pt x="21" y="71"/>
                  </a:lnTo>
                  <a:lnTo>
                    <a:pt x="23" y="71"/>
                  </a:lnTo>
                  <a:lnTo>
                    <a:pt x="21" y="71"/>
                  </a:lnTo>
                  <a:lnTo>
                    <a:pt x="23" y="71"/>
                  </a:lnTo>
                  <a:lnTo>
                    <a:pt x="23" y="68"/>
                  </a:lnTo>
                  <a:lnTo>
                    <a:pt x="21" y="68"/>
                  </a:lnTo>
                  <a:lnTo>
                    <a:pt x="21" y="66"/>
                  </a:lnTo>
                  <a:lnTo>
                    <a:pt x="21" y="68"/>
                  </a:lnTo>
                  <a:lnTo>
                    <a:pt x="21" y="66"/>
                  </a:lnTo>
                  <a:lnTo>
                    <a:pt x="19" y="66"/>
                  </a:lnTo>
                  <a:lnTo>
                    <a:pt x="19" y="64"/>
                  </a:lnTo>
                  <a:lnTo>
                    <a:pt x="16" y="64"/>
                  </a:lnTo>
                  <a:lnTo>
                    <a:pt x="16" y="61"/>
                  </a:lnTo>
                  <a:lnTo>
                    <a:pt x="14" y="61"/>
                  </a:lnTo>
                  <a:lnTo>
                    <a:pt x="14" y="59"/>
                  </a:lnTo>
                  <a:lnTo>
                    <a:pt x="11" y="59"/>
                  </a:lnTo>
                  <a:lnTo>
                    <a:pt x="9" y="59"/>
                  </a:lnTo>
                  <a:lnTo>
                    <a:pt x="9" y="57"/>
                  </a:lnTo>
                  <a:lnTo>
                    <a:pt x="7" y="57"/>
                  </a:lnTo>
                  <a:lnTo>
                    <a:pt x="9" y="57"/>
                  </a:lnTo>
                  <a:lnTo>
                    <a:pt x="7" y="57"/>
                  </a:lnTo>
                  <a:lnTo>
                    <a:pt x="7" y="54"/>
                  </a:lnTo>
                  <a:lnTo>
                    <a:pt x="4" y="54"/>
                  </a:lnTo>
                  <a:lnTo>
                    <a:pt x="2" y="52"/>
                  </a:lnTo>
                  <a:lnTo>
                    <a:pt x="4" y="52"/>
                  </a:lnTo>
                  <a:lnTo>
                    <a:pt x="7" y="52"/>
                  </a:lnTo>
                  <a:lnTo>
                    <a:pt x="7" y="54"/>
                  </a:lnTo>
                  <a:lnTo>
                    <a:pt x="9" y="54"/>
                  </a:lnTo>
                  <a:lnTo>
                    <a:pt x="7" y="52"/>
                  </a:lnTo>
                  <a:lnTo>
                    <a:pt x="9" y="52"/>
                  </a:lnTo>
                  <a:lnTo>
                    <a:pt x="7" y="52"/>
                  </a:lnTo>
                  <a:lnTo>
                    <a:pt x="7" y="49"/>
                  </a:lnTo>
                  <a:lnTo>
                    <a:pt x="9" y="49"/>
                  </a:lnTo>
                  <a:lnTo>
                    <a:pt x="9" y="52"/>
                  </a:lnTo>
                  <a:lnTo>
                    <a:pt x="9" y="49"/>
                  </a:lnTo>
                  <a:lnTo>
                    <a:pt x="7" y="49"/>
                  </a:lnTo>
                  <a:lnTo>
                    <a:pt x="7" y="47"/>
                  </a:lnTo>
                  <a:lnTo>
                    <a:pt x="7" y="49"/>
                  </a:lnTo>
                  <a:lnTo>
                    <a:pt x="7" y="52"/>
                  </a:lnTo>
                  <a:lnTo>
                    <a:pt x="4" y="52"/>
                  </a:lnTo>
                  <a:lnTo>
                    <a:pt x="4" y="49"/>
                  </a:lnTo>
                  <a:lnTo>
                    <a:pt x="2" y="49"/>
                  </a:lnTo>
                  <a:lnTo>
                    <a:pt x="2" y="52"/>
                  </a:lnTo>
                  <a:lnTo>
                    <a:pt x="2" y="49"/>
                  </a:lnTo>
                  <a:lnTo>
                    <a:pt x="2" y="52"/>
                  </a:lnTo>
                  <a:lnTo>
                    <a:pt x="0" y="52"/>
                  </a:lnTo>
                  <a:lnTo>
                    <a:pt x="0" y="49"/>
                  </a:lnTo>
                  <a:lnTo>
                    <a:pt x="0" y="45"/>
                  </a:lnTo>
                  <a:lnTo>
                    <a:pt x="2" y="42"/>
                  </a:lnTo>
                  <a:lnTo>
                    <a:pt x="4" y="42"/>
                  </a:lnTo>
                  <a:lnTo>
                    <a:pt x="4" y="40"/>
                  </a:lnTo>
                  <a:lnTo>
                    <a:pt x="2" y="40"/>
                  </a:lnTo>
                  <a:lnTo>
                    <a:pt x="2" y="38"/>
                  </a:lnTo>
                  <a:lnTo>
                    <a:pt x="0" y="38"/>
                  </a:lnTo>
                  <a:lnTo>
                    <a:pt x="0" y="35"/>
                  </a:lnTo>
                  <a:lnTo>
                    <a:pt x="0" y="33"/>
                  </a:lnTo>
                  <a:lnTo>
                    <a:pt x="2" y="30"/>
                  </a:lnTo>
                  <a:lnTo>
                    <a:pt x="2" y="28"/>
                  </a:lnTo>
                  <a:lnTo>
                    <a:pt x="2" y="26"/>
                  </a:lnTo>
                  <a:lnTo>
                    <a:pt x="4" y="23"/>
                  </a:lnTo>
                  <a:lnTo>
                    <a:pt x="7" y="23"/>
                  </a:lnTo>
                  <a:lnTo>
                    <a:pt x="7" y="21"/>
                  </a:lnTo>
                  <a:lnTo>
                    <a:pt x="7" y="19"/>
                  </a:lnTo>
                  <a:lnTo>
                    <a:pt x="7" y="16"/>
                  </a:lnTo>
                  <a:lnTo>
                    <a:pt x="7" y="14"/>
                  </a:lnTo>
                  <a:lnTo>
                    <a:pt x="9" y="11"/>
                  </a:lnTo>
                  <a:lnTo>
                    <a:pt x="11" y="11"/>
                  </a:lnTo>
                  <a:lnTo>
                    <a:pt x="11" y="9"/>
                  </a:lnTo>
                  <a:lnTo>
                    <a:pt x="14" y="9"/>
                  </a:lnTo>
                  <a:lnTo>
                    <a:pt x="16" y="9"/>
                  </a:lnTo>
                  <a:lnTo>
                    <a:pt x="16" y="11"/>
                  </a:lnTo>
                  <a:lnTo>
                    <a:pt x="16" y="14"/>
                  </a:lnTo>
                  <a:lnTo>
                    <a:pt x="19" y="14"/>
                  </a:lnTo>
                  <a:lnTo>
                    <a:pt x="19" y="11"/>
                  </a:lnTo>
                  <a:lnTo>
                    <a:pt x="21" y="11"/>
                  </a:lnTo>
                  <a:lnTo>
                    <a:pt x="21" y="9"/>
                  </a:lnTo>
                  <a:lnTo>
                    <a:pt x="19" y="9"/>
                  </a:lnTo>
                  <a:lnTo>
                    <a:pt x="19" y="7"/>
                  </a:lnTo>
                  <a:lnTo>
                    <a:pt x="19" y="4"/>
                  </a:lnTo>
                  <a:lnTo>
                    <a:pt x="16" y="4"/>
                  </a:lnTo>
                  <a:lnTo>
                    <a:pt x="16" y="2"/>
                  </a:lnTo>
                  <a:lnTo>
                    <a:pt x="16" y="0"/>
                  </a:lnTo>
                  <a:lnTo>
                    <a:pt x="19" y="0"/>
                  </a:lnTo>
                  <a:lnTo>
                    <a:pt x="19" y="2"/>
                  </a:lnTo>
                  <a:lnTo>
                    <a:pt x="21" y="2"/>
                  </a:lnTo>
                  <a:lnTo>
                    <a:pt x="23" y="2"/>
                  </a:lnTo>
                  <a:lnTo>
                    <a:pt x="26"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79" name="Freeform 52497"/>
            <p:cNvSpPr>
              <a:spLocks/>
            </p:cNvSpPr>
            <p:nvPr/>
          </p:nvSpPr>
          <p:spPr bwMode="auto">
            <a:xfrm>
              <a:off x="3011485" y="5278455"/>
              <a:ext cx="4763" cy="0"/>
            </a:xfrm>
            <a:custGeom>
              <a:avLst/>
              <a:gdLst>
                <a:gd name="T0" fmla="*/ 3 w 3"/>
                <a:gd name="T1" fmla="*/ 3 w 3"/>
                <a:gd name="T2" fmla="*/ 0 w 3"/>
                <a:gd name="T3" fmla="*/ 0 w 3"/>
                <a:gd name="T4" fmla="*/ 0 w 3"/>
                <a:gd name="T5" fmla="*/ 0 w 3"/>
                <a:gd name="T6" fmla="*/ 0 w 3"/>
                <a:gd name="T7" fmla="*/ 3 w 3"/>
                <a:gd name="T8"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3" y="0"/>
                  </a:moveTo>
                  <a:lnTo>
                    <a:pt x="3" y="0"/>
                  </a:lnTo>
                  <a:lnTo>
                    <a:pt x="0" y="0"/>
                  </a:lnTo>
                  <a:lnTo>
                    <a:pt x="0" y="0"/>
                  </a:lnTo>
                  <a:lnTo>
                    <a:pt x="0" y="0"/>
                  </a:lnTo>
                  <a:lnTo>
                    <a:pt x="0" y="0"/>
                  </a:lnTo>
                  <a:lnTo>
                    <a:pt x="0"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0" name="Freeform 52498"/>
            <p:cNvSpPr>
              <a:spLocks noEditPoints="1"/>
            </p:cNvSpPr>
            <p:nvPr/>
          </p:nvSpPr>
          <p:spPr bwMode="auto">
            <a:xfrm>
              <a:off x="2997198" y="5267344"/>
              <a:ext cx="30163" cy="30163"/>
            </a:xfrm>
            <a:custGeom>
              <a:avLst/>
              <a:gdLst>
                <a:gd name="T0" fmla="*/ 19 w 19"/>
                <a:gd name="T1" fmla="*/ 19 h 19"/>
                <a:gd name="T2" fmla="*/ 19 w 19"/>
                <a:gd name="T3" fmla="*/ 19 h 19"/>
                <a:gd name="T4" fmla="*/ 19 w 19"/>
                <a:gd name="T5" fmla="*/ 19 h 19"/>
                <a:gd name="T6" fmla="*/ 19 w 19"/>
                <a:gd name="T7" fmla="*/ 19 h 19"/>
                <a:gd name="T8" fmla="*/ 19 w 19"/>
                <a:gd name="T9" fmla="*/ 19 h 19"/>
                <a:gd name="T10" fmla="*/ 19 w 19"/>
                <a:gd name="T11" fmla="*/ 19 h 19"/>
                <a:gd name="T12" fmla="*/ 0 w 19"/>
                <a:gd name="T13" fmla="*/ 2 h 19"/>
                <a:gd name="T14" fmla="*/ 0 w 19"/>
                <a:gd name="T15" fmla="*/ 2 h 19"/>
                <a:gd name="T16" fmla="*/ 0 w 19"/>
                <a:gd name="T17" fmla="*/ 2 h 19"/>
                <a:gd name="T18" fmla="*/ 0 w 19"/>
                <a:gd name="T19" fmla="*/ 2 h 19"/>
                <a:gd name="T20" fmla="*/ 0 w 19"/>
                <a:gd name="T21" fmla="*/ 2 h 19"/>
                <a:gd name="T22" fmla="*/ 5 w 19"/>
                <a:gd name="T23" fmla="*/ 0 h 19"/>
                <a:gd name="T24" fmla="*/ 5 w 19"/>
                <a:gd name="T25" fmla="*/ 0 h 19"/>
                <a:gd name="T26" fmla="*/ 5 w 19"/>
                <a:gd name="T27" fmla="*/ 0 h 19"/>
                <a:gd name="T28" fmla="*/ 5 w 19"/>
                <a:gd name="T29" fmla="*/ 0 h 19"/>
                <a:gd name="T30" fmla="*/ 5 w 19"/>
                <a:gd name="T31" fmla="*/ 0 h 19"/>
                <a:gd name="T32" fmla="*/ 5 w 19"/>
                <a:gd name="T33" fmla="*/ 0 h 19"/>
                <a:gd name="T34" fmla="*/ 5 w 19"/>
                <a:gd name="T35" fmla="*/ 0 h 19"/>
                <a:gd name="T36" fmla="*/ 5 w 19"/>
                <a:gd name="T37" fmla="*/ 0 h 19"/>
                <a:gd name="T38" fmla="*/ 5 w 19"/>
                <a:gd name="T39" fmla="*/ 0 h 19"/>
                <a:gd name="T40" fmla="*/ 5 w 19"/>
                <a:gd name="T41" fmla="*/ 0 h 19"/>
                <a:gd name="T42" fmla="*/ 5 w 19"/>
                <a:gd name="T4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9"/>
                  </a:moveTo>
                  <a:lnTo>
                    <a:pt x="19" y="19"/>
                  </a:lnTo>
                  <a:lnTo>
                    <a:pt x="19" y="19"/>
                  </a:lnTo>
                  <a:lnTo>
                    <a:pt x="19" y="19"/>
                  </a:lnTo>
                  <a:lnTo>
                    <a:pt x="19" y="19"/>
                  </a:lnTo>
                  <a:lnTo>
                    <a:pt x="19" y="19"/>
                  </a:lnTo>
                  <a:close/>
                  <a:moveTo>
                    <a:pt x="0" y="2"/>
                  </a:moveTo>
                  <a:lnTo>
                    <a:pt x="0" y="2"/>
                  </a:lnTo>
                  <a:lnTo>
                    <a:pt x="0" y="2"/>
                  </a:lnTo>
                  <a:lnTo>
                    <a:pt x="0" y="2"/>
                  </a:lnTo>
                  <a:lnTo>
                    <a:pt x="0" y="2"/>
                  </a:lnTo>
                  <a:close/>
                  <a:moveTo>
                    <a:pt x="5" y="0"/>
                  </a:moveTo>
                  <a:lnTo>
                    <a:pt x="5" y="0"/>
                  </a:lnTo>
                  <a:lnTo>
                    <a:pt x="5" y="0"/>
                  </a:lnTo>
                  <a:lnTo>
                    <a:pt x="5" y="0"/>
                  </a:lnTo>
                  <a:lnTo>
                    <a:pt x="5" y="0"/>
                  </a:lnTo>
                  <a:lnTo>
                    <a:pt x="5" y="0"/>
                  </a:lnTo>
                  <a:lnTo>
                    <a:pt x="5" y="0"/>
                  </a:lnTo>
                  <a:lnTo>
                    <a:pt x="5" y="0"/>
                  </a:lnTo>
                  <a:lnTo>
                    <a:pt x="5" y="0"/>
                  </a:lnTo>
                  <a:lnTo>
                    <a:pt x="5" y="0"/>
                  </a:lnTo>
                  <a:lnTo>
                    <a:pt x="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1" name="Freeform 52499"/>
            <p:cNvSpPr>
              <a:spLocks noEditPoints="1"/>
            </p:cNvSpPr>
            <p:nvPr/>
          </p:nvSpPr>
          <p:spPr bwMode="auto">
            <a:xfrm>
              <a:off x="2201860" y="4429140"/>
              <a:ext cx="203200" cy="211138"/>
            </a:xfrm>
            <a:custGeom>
              <a:avLst/>
              <a:gdLst>
                <a:gd name="T0" fmla="*/ 17 w 128"/>
                <a:gd name="T1" fmla="*/ 105 h 133"/>
                <a:gd name="T2" fmla="*/ 26 w 128"/>
                <a:gd name="T3" fmla="*/ 105 h 133"/>
                <a:gd name="T4" fmla="*/ 19 w 128"/>
                <a:gd name="T5" fmla="*/ 112 h 133"/>
                <a:gd name="T6" fmla="*/ 0 w 128"/>
                <a:gd name="T7" fmla="*/ 105 h 133"/>
                <a:gd name="T8" fmla="*/ 29 w 128"/>
                <a:gd name="T9" fmla="*/ 103 h 133"/>
                <a:gd name="T10" fmla="*/ 50 w 128"/>
                <a:gd name="T11" fmla="*/ 84 h 133"/>
                <a:gd name="T12" fmla="*/ 50 w 128"/>
                <a:gd name="T13" fmla="*/ 84 h 133"/>
                <a:gd name="T14" fmla="*/ 29 w 128"/>
                <a:gd name="T15" fmla="*/ 103 h 133"/>
                <a:gd name="T16" fmla="*/ 12 w 128"/>
                <a:gd name="T17" fmla="*/ 100 h 133"/>
                <a:gd name="T18" fmla="*/ 12 w 128"/>
                <a:gd name="T19" fmla="*/ 93 h 133"/>
                <a:gd name="T20" fmla="*/ 12 w 128"/>
                <a:gd name="T21" fmla="*/ 98 h 133"/>
                <a:gd name="T22" fmla="*/ 24 w 128"/>
                <a:gd name="T23" fmla="*/ 100 h 133"/>
                <a:gd name="T24" fmla="*/ 26 w 128"/>
                <a:gd name="T25" fmla="*/ 93 h 133"/>
                <a:gd name="T26" fmla="*/ 24 w 128"/>
                <a:gd name="T27" fmla="*/ 91 h 133"/>
                <a:gd name="T28" fmla="*/ 17 w 128"/>
                <a:gd name="T29" fmla="*/ 86 h 133"/>
                <a:gd name="T30" fmla="*/ 24 w 128"/>
                <a:gd name="T31" fmla="*/ 74 h 133"/>
                <a:gd name="T32" fmla="*/ 34 w 128"/>
                <a:gd name="T33" fmla="*/ 81 h 133"/>
                <a:gd name="T34" fmla="*/ 34 w 128"/>
                <a:gd name="T35" fmla="*/ 88 h 133"/>
                <a:gd name="T36" fmla="*/ 67 w 128"/>
                <a:gd name="T37" fmla="*/ 74 h 133"/>
                <a:gd name="T38" fmla="*/ 55 w 128"/>
                <a:gd name="T39" fmla="*/ 81 h 133"/>
                <a:gd name="T40" fmla="*/ 53 w 128"/>
                <a:gd name="T41" fmla="*/ 74 h 133"/>
                <a:gd name="T42" fmla="*/ 36 w 128"/>
                <a:gd name="T43" fmla="*/ 88 h 133"/>
                <a:gd name="T44" fmla="*/ 50 w 128"/>
                <a:gd name="T45" fmla="*/ 86 h 133"/>
                <a:gd name="T46" fmla="*/ 60 w 128"/>
                <a:gd name="T47" fmla="*/ 84 h 133"/>
                <a:gd name="T48" fmla="*/ 62 w 128"/>
                <a:gd name="T49" fmla="*/ 81 h 133"/>
                <a:gd name="T50" fmla="*/ 60 w 128"/>
                <a:gd name="T51" fmla="*/ 72 h 133"/>
                <a:gd name="T52" fmla="*/ 41 w 128"/>
                <a:gd name="T53" fmla="*/ 76 h 133"/>
                <a:gd name="T54" fmla="*/ 34 w 128"/>
                <a:gd name="T55" fmla="*/ 79 h 133"/>
                <a:gd name="T56" fmla="*/ 26 w 128"/>
                <a:gd name="T57" fmla="*/ 74 h 133"/>
                <a:gd name="T58" fmla="*/ 43 w 128"/>
                <a:gd name="T59" fmla="*/ 50 h 133"/>
                <a:gd name="T60" fmla="*/ 50 w 128"/>
                <a:gd name="T61" fmla="*/ 53 h 133"/>
                <a:gd name="T62" fmla="*/ 62 w 128"/>
                <a:gd name="T63" fmla="*/ 53 h 133"/>
                <a:gd name="T64" fmla="*/ 69 w 128"/>
                <a:gd name="T65" fmla="*/ 46 h 133"/>
                <a:gd name="T66" fmla="*/ 79 w 128"/>
                <a:gd name="T67" fmla="*/ 31 h 133"/>
                <a:gd name="T68" fmla="*/ 67 w 128"/>
                <a:gd name="T69" fmla="*/ 24 h 133"/>
                <a:gd name="T70" fmla="*/ 57 w 128"/>
                <a:gd name="T71" fmla="*/ 29 h 133"/>
                <a:gd name="T72" fmla="*/ 60 w 128"/>
                <a:gd name="T73" fmla="*/ 43 h 133"/>
                <a:gd name="T74" fmla="*/ 57 w 128"/>
                <a:gd name="T75" fmla="*/ 50 h 133"/>
                <a:gd name="T76" fmla="*/ 50 w 128"/>
                <a:gd name="T77" fmla="*/ 53 h 133"/>
                <a:gd name="T78" fmla="*/ 43 w 128"/>
                <a:gd name="T79" fmla="*/ 38 h 133"/>
                <a:gd name="T80" fmla="*/ 50 w 128"/>
                <a:gd name="T81" fmla="*/ 29 h 133"/>
                <a:gd name="T82" fmla="*/ 69 w 128"/>
                <a:gd name="T83" fmla="*/ 15 h 133"/>
                <a:gd name="T84" fmla="*/ 86 w 128"/>
                <a:gd name="T85" fmla="*/ 3 h 133"/>
                <a:gd name="T86" fmla="*/ 114 w 128"/>
                <a:gd name="T87" fmla="*/ 0 h 133"/>
                <a:gd name="T88" fmla="*/ 126 w 128"/>
                <a:gd name="T89" fmla="*/ 10 h 133"/>
                <a:gd name="T90" fmla="*/ 124 w 128"/>
                <a:gd name="T91" fmla="*/ 31 h 133"/>
                <a:gd name="T92" fmla="*/ 112 w 128"/>
                <a:gd name="T93" fmla="*/ 48 h 133"/>
                <a:gd name="T94" fmla="*/ 121 w 128"/>
                <a:gd name="T95" fmla="*/ 62 h 133"/>
                <a:gd name="T96" fmla="*/ 114 w 128"/>
                <a:gd name="T97" fmla="*/ 76 h 133"/>
                <a:gd name="T98" fmla="*/ 100 w 128"/>
                <a:gd name="T99" fmla="*/ 81 h 133"/>
                <a:gd name="T100" fmla="*/ 86 w 128"/>
                <a:gd name="T101" fmla="*/ 84 h 133"/>
                <a:gd name="T102" fmla="*/ 95 w 128"/>
                <a:gd name="T103" fmla="*/ 100 h 133"/>
                <a:gd name="T104" fmla="*/ 91 w 128"/>
                <a:gd name="T105" fmla="*/ 117 h 133"/>
                <a:gd name="T106" fmla="*/ 88 w 128"/>
                <a:gd name="T107" fmla="*/ 126 h 133"/>
                <a:gd name="T108" fmla="*/ 79 w 128"/>
                <a:gd name="T109" fmla="*/ 131 h 133"/>
                <a:gd name="T110" fmla="*/ 83 w 128"/>
                <a:gd name="T111" fmla="*/ 117 h 133"/>
                <a:gd name="T112" fmla="*/ 67 w 128"/>
                <a:gd name="T113" fmla="*/ 107 h 133"/>
                <a:gd name="T114" fmla="*/ 53 w 128"/>
                <a:gd name="T115" fmla="*/ 103 h 133"/>
                <a:gd name="T116" fmla="*/ 43 w 128"/>
                <a:gd name="T117" fmla="*/ 100 h 133"/>
                <a:gd name="T118" fmla="*/ 34 w 128"/>
                <a:gd name="T119" fmla="*/ 103 h 133"/>
                <a:gd name="T120" fmla="*/ 34 w 128"/>
                <a:gd name="T121" fmla="*/ 8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33">
                  <a:moveTo>
                    <a:pt x="17" y="105"/>
                  </a:moveTo>
                  <a:lnTo>
                    <a:pt x="17" y="107"/>
                  </a:lnTo>
                  <a:lnTo>
                    <a:pt x="17" y="105"/>
                  </a:lnTo>
                  <a:lnTo>
                    <a:pt x="15" y="105"/>
                  </a:lnTo>
                  <a:lnTo>
                    <a:pt x="17" y="107"/>
                  </a:lnTo>
                  <a:lnTo>
                    <a:pt x="17" y="110"/>
                  </a:lnTo>
                  <a:lnTo>
                    <a:pt x="15" y="110"/>
                  </a:lnTo>
                  <a:lnTo>
                    <a:pt x="15" y="112"/>
                  </a:lnTo>
                  <a:lnTo>
                    <a:pt x="15" y="110"/>
                  </a:lnTo>
                  <a:lnTo>
                    <a:pt x="17" y="110"/>
                  </a:lnTo>
                  <a:lnTo>
                    <a:pt x="17" y="107"/>
                  </a:lnTo>
                  <a:lnTo>
                    <a:pt x="17" y="105"/>
                  </a:lnTo>
                  <a:lnTo>
                    <a:pt x="15" y="105"/>
                  </a:lnTo>
                  <a:lnTo>
                    <a:pt x="17" y="105"/>
                  </a:lnTo>
                  <a:lnTo>
                    <a:pt x="19" y="105"/>
                  </a:lnTo>
                  <a:lnTo>
                    <a:pt x="19" y="103"/>
                  </a:lnTo>
                  <a:lnTo>
                    <a:pt x="22" y="103"/>
                  </a:lnTo>
                  <a:lnTo>
                    <a:pt x="24" y="103"/>
                  </a:lnTo>
                  <a:lnTo>
                    <a:pt x="24" y="105"/>
                  </a:lnTo>
                  <a:lnTo>
                    <a:pt x="26" y="105"/>
                  </a:lnTo>
                  <a:lnTo>
                    <a:pt x="29" y="105"/>
                  </a:lnTo>
                  <a:lnTo>
                    <a:pt x="26" y="105"/>
                  </a:lnTo>
                  <a:lnTo>
                    <a:pt x="26" y="103"/>
                  </a:lnTo>
                  <a:lnTo>
                    <a:pt x="26" y="105"/>
                  </a:lnTo>
                  <a:lnTo>
                    <a:pt x="29" y="105"/>
                  </a:lnTo>
                  <a:lnTo>
                    <a:pt x="26" y="105"/>
                  </a:lnTo>
                  <a:lnTo>
                    <a:pt x="29" y="105"/>
                  </a:lnTo>
                  <a:lnTo>
                    <a:pt x="29" y="103"/>
                  </a:lnTo>
                  <a:lnTo>
                    <a:pt x="29" y="105"/>
                  </a:lnTo>
                  <a:lnTo>
                    <a:pt x="26" y="107"/>
                  </a:lnTo>
                  <a:lnTo>
                    <a:pt x="24" y="110"/>
                  </a:lnTo>
                  <a:lnTo>
                    <a:pt x="22" y="110"/>
                  </a:lnTo>
                  <a:lnTo>
                    <a:pt x="22" y="112"/>
                  </a:lnTo>
                  <a:lnTo>
                    <a:pt x="19" y="112"/>
                  </a:lnTo>
                  <a:lnTo>
                    <a:pt x="17" y="112"/>
                  </a:lnTo>
                  <a:lnTo>
                    <a:pt x="19" y="112"/>
                  </a:lnTo>
                  <a:lnTo>
                    <a:pt x="17" y="112"/>
                  </a:lnTo>
                  <a:lnTo>
                    <a:pt x="15" y="112"/>
                  </a:lnTo>
                  <a:lnTo>
                    <a:pt x="15" y="110"/>
                  </a:lnTo>
                  <a:lnTo>
                    <a:pt x="12" y="110"/>
                  </a:lnTo>
                  <a:lnTo>
                    <a:pt x="12" y="107"/>
                  </a:lnTo>
                  <a:lnTo>
                    <a:pt x="10" y="107"/>
                  </a:lnTo>
                  <a:lnTo>
                    <a:pt x="7" y="107"/>
                  </a:lnTo>
                  <a:lnTo>
                    <a:pt x="5" y="107"/>
                  </a:lnTo>
                  <a:lnTo>
                    <a:pt x="5" y="110"/>
                  </a:lnTo>
                  <a:lnTo>
                    <a:pt x="3" y="110"/>
                  </a:lnTo>
                  <a:lnTo>
                    <a:pt x="0" y="107"/>
                  </a:lnTo>
                  <a:lnTo>
                    <a:pt x="0" y="105"/>
                  </a:lnTo>
                  <a:lnTo>
                    <a:pt x="0" y="103"/>
                  </a:lnTo>
                  <a:lnTo>
                    <a:pt x="3" y="103"/>
                  </a:lnTo>
                  <a:lnTo>
                    <a:pt x="5" y="103"/>
                  </a:lnTo>
                  <a:lnTo>
                    <a:pt x="7" y="103"/>
                  </a:lnTo>
                  <a:lnTo>
                    <a:pt x="10" y="103"/>
                  </a:lnTo>
                  <a:lnTo>
                    <a:pt x="12" y="105"/>
                  </a:lnTo>
                  <a:lnTo>
                    <a:pt x="15" y="105"/>
                  </a:lnTo>
                  <a:lnTo>
                    <a:pt x="17" y="105"/>
                  </a:lnTo>
                  <a:close/>
                  <a:moveTo>
                    <a:pt x="31" y="103"/>
                  </a:moveTo>
                  <a:lnTo>
                    <a:pt x="29" y="103"/>
                  </a:lnTo>
                  <a:lnTo>
                    <a:pt x="29" y="100"/>
                  </a:lnTo>
                  <a:lnTo>
                    <a:pt x="29" y="103"/>
                  </a:lnTo>
                  <a:lnTo>
                    <a:pt x="31" y="103"/>
                  </a:lnTo>
                  <a:close/>
                  <a:moveTo>
                    <a:pt x="50" y="84"/>
                  </a:moveTo>
                  <a:lnTo>
                    <a:pt x="50" y="86"/>
                  </a:lnTo>
                  <a:lnTo>
                    <a:pt x="48" y="86"/>
                  </a:lnTo>
                  <a:lnTo>
                    <a:pt x="45" y="86"/>
                  </a:lnTo>
                  <a:lnTo>
                    <a:pt x="48" y="86"/>
                  </a:lnTo>
                  <a:lnTo>
                    <a:pt x="48" y="84"/>
                  </a:lnTo>
                  <a:lnTo>
                    <a:pt x="48" y="86"/>
                  </a:lnTo>
                  <a:lnTo>
                    <a:pt x="45" y="86"/>
                  </a:lnTo>
                  <a:lnTo>
                    <a:pt x="45" y="84"/>
                  </a:lnTo>
                  <a:lnTo>
                    <a:pt x="48" y="84"/>
                  </a:lnTo>
                  <a:lnTo>
                    <a:pt x="50" y="84"/>
                  </a:lnTo>
                  <a:lnTo>
                    <a:pt x="50" y="81"/>
                  </a:lnTo>
                  <a:lnTo>
                    <a:pt x="53" y="81"/>
                  </a:lnTo>
                  <a:lnTo>
                    <a:pt x="55" y="81"/>
                  </a:lnTo>
                  <a:lnTo>
                    <a:pt x="55" y="84"/>
                  </a:lnTo>
                  <a:lnTo>
                    <a:pt x="57" y="84"/>
                  </a:lnTo>
                  <a:lnTo>
                    <a:pt x="60" y="84"/>
                  </a:lnTo>
                  <a:lnTo>
                    <a:pt x="60" y="86"/>
                  </a:lnTo>
                  <a:lnTo>
                    <a:pt x="57" y="86"/>
                  </a:lnTo>
                  <a:lnTo>
                    <a:pt x="55" y="86"/>
                  </a:lnTo>
                  <a:lnTo>
                    <a:pt x="53" y="86"/>
                  </a:lnTo>
                  <a:lnTo>
                    <a:pt x="50" y="86"/>
                  </a:lnTo>
                  <a:lnTo>
                    <a:pt x="50" y="84"/>
                  </a:lnTo>
                  <a:close/>
                  <a:moveTo>
                    <a:pt x="26" y="88"/>
                  </a:moveTo>
                  <a:lnTo>
                    <a:pt x="26" y="91"/>
                  </a:lnTo>
                  <a:lnTo>
                    <a:pt x="29" y="91"/>
                  </a:lnTo>
                  <a:lnTo>
                    <a:pt x="26" y="91"/>
                  </a:lnTo>
                  <a:lnTo>
                    <a:pt x="29" y="91"/>
                  </a:lnTo>
                  <a:lnTo>
                    <a:pt x="29" y="93"/>
                  </a:lnTo>
                  <a:lnTo>
                    <a:pt x="29" y="95"/>
                  </a:lnTo>
                  <a:lnTo>
                    <a:pt x="29" y="98"/>
                  </a:lnTo>
                  <a:lnTo>
                    <a:pt x="26" y="98"/>
                  </a:lnTo>
                  <a:lnTo>
                    <a:pt x="29" y="98"/>
                  </a:lnTo>
                  <a:lnTo>
                    <a:pt x="29" y="100"/>
                  </a:lnTo>
                  <a:lnTo>
                    <a:pt x="29" y="103"/>
                  </a:lnTo>
                  <a:lnTo>
                    <a:pt x="26" y="103"/>
                  </a:lnTo>
                  <a:lnTo>
                    <a:pt x="24" y="103"/>
                  </a:lnTo>
                  <a:lnTo>
                    <a:pt x="24" y="100"/>
                  </a:lnTo>
                  <a:lnTo>
                    <a:pt x="22" y="100"/>
                  </a:lnTo>
                  <a:lnTo>
                    <a:pt x="19" y="100"/>
                  </a:lnTo>
                  <a:lnTo>
                    <a:pt x="19" y="103"/>
                  </a:lnTo>
                  <a:lnTo>
                    <a:pt x="17" y="103"/>
                  </a:lnTo>
                  <a:lnTo>
                    <a:pt x="15" y="103"/>
                  </a:lnTo>
                  <a:lnTo>
                    <a:pt x="12" y="103"/>
                  </a:lnTo>
                  <a:lnTo>
                    <a:pt x="12" y="100"/>
                  </a:lnTo>
                  <a:lnTo>
                    <a:pt x="12" y="98"/>
                  </a:lnTo>
                  <a:lnTo>
                    <a:pt x="12" y="100"/>
                  </a:lnTo>
                  <a:lnTo>
                    <a:pt x="10" y="100"/>
                  </a:lnTo>
                  <a:lnTo>
                    <a:pt x="7" y="100"/>
                  </a:lnTo>
                  <a:lnTo>
                    <a:pt x="5" y="98"/>
                  </a:lnTo>
                  <a:lnTo>
                    <a:pt x="3" y="98"/>
                  </a:lnTo>
                  <a:lnTo>
                    <a:pt x="3" y="95"/>
                  </a:lnTo>
                  <a:lnTo>
                    <a:pt x="5" y="95"/>
                  </a:lnTo>
                  <a:lnTo>
                    <a:pt x="5" y="93"/>
                  </a:lnTo>
                  <a:lnTo>
                    <a:pt x="7" y="93"/>
                  </a:lnTo>
                  <a:lnTo>
                    <a:pt x="10" y="93"/>
                  </a:lnTo>
                  <a:lnTo>
                    <a:pt x="12" y="93"/>
                  </a:lnTo>
                  <a:lnTo>
                    <a:pt x="15" y="93"/>
                  </a:lnTo>
                  <a:lnTo>
                    <a:pt x="12" y="93"/>
                  </a:lnTo>
                  <a:lnTo>
                    <a:pt x="15" y="93"/>
                  </a:lnTo>
                  <a:lnTo>
                    <a:pt x="17" y="93"/>
                  </a:lnTo>
                  <a:lnTo>
                    <a:pt x="19" y="93"/>
                  </a:lnTo>
                  <a:lnTo>
                    <a:pt x="19" y="95"/>
                  </a:lnTo>
                  <a:lnTo>
                    <a:pt x="17" y="95"/>
                  </a:lnTo>
                  <a:lnTo>
                    <a:pt x="15" y="95"/>
                  </a:lnTo>
                  <a:lnTo>
                    <a:pt x="12" y="95"/>
                  </a:lnTo>
                  <a:lnTo>
                    <a:pt x="10" y="95"/>
                  </a:lnTo>
                  <a:lnTo>
                    <a:pt x="10" y="93"/>
                  </a:lnTo>
                  <a:lnTo>
                    <a:pt x="10" y="95"/>
                  </a:lnTo>
                  <a:lnTo>
                    <a:pt x="12" y="95"/>
                  </a:lnTo>
                  <a:lnTo>
                    <a:pt x="12" y="98"/>
                  </a:lnTo>
                  <a:lnTo>
                    <a:pt x="12" y="95"/>
                  </a:lnTo>
                  <a:lnTo>
                    <a:pt x="15" y="95"/>
                  </a:lnTo>
                  <a:lnTo>
                    <a:pt x="17" y="95"/>
                  </a:lnTo>
                  <a:lnTo>
                    <a:pt x="19" y="95"/>
                  </a:lnTo>
                  <a:lnTo>
                    <a:pt x="22" y="95"/>
                  </a:lnTo>
                  <a:lnTo>
                    <a:pt x="22" y="98"/>
                  </a:lnTo>
                  <a:lnTo>
                    <a:pt x="22" y="100"/>
                  </a:lnTo>
                  <a:lnTo>
                    <a:pt x="22" y="98"/>
                  </a:lnTo>
                  <a:lnTo>
                    <a:pt x="22" y="95"/>
                  </a:lnTo>
                  <a:lnTo>
                    <a:pt x="22" y="98"/>
                  </a:lnTo>
                  <a:lnTo>
                    <a:pt x="24" y="98"/>
                  </a:lnTo>
                  <a:lnTo>
                    <a:pt x="24" y="100"/>
                  </a:lnTo>
                  <a:lnTo>
                    <a:pt x="26" y="100"/>
                  </a:lnTo>
                  <a:lnTo>
                    <a:pt x="29" y="100"/>
                  </a:lnTo>
                  <a:lnTo>
                    <a:pt x="29" y="98"/>
                  </a:lnTo>
                  <a:lnTo>
                    <a:pt x="26" y="98"/>
                  </a:lnTo>
                  <a:lnTo>
                    <a:pt x="26" y="95"/>
                  </a:lnTo>
                  <a:lnTo>
                    <a:pt x="24" y="95"/>
                  </a:lnTo>
                  <a:lnTo>
                    <a:pt x="22" y="95"/>
                  </a:lnTo>
                  <a:lnTo>
                    <a:pt x="22" y="93"/>
                  </a:lnTo>
                  <a:lnTo>
                    <a:pt x="24" y="93"/>
                  </a:lnTo>
                  <a:lnTo>
                    <a:pt x="26" y="93"/>
                  </a:lnTo>
                  <a:lnTo>
                    <a:pt x="26" y="91"/>
                  </a:lnTo>
                  <a:lnTo>
                    <a:pt x="26" y="93"/>
                  </a:lnTo>
                  <a:lnTo>
                    <a:pt x="26" y="91"/>
                  </a:lnTo>
                  <a:lnTo>
                    <a:pt x="26" y="93"/>
                  </a:lnTo>
                  <a:lnTo>
                    <a:pt x="26" y="91"/>
                  </a:lnTo>
                  <a:lnTo>
                    <a:pt x="26" y="93"/>
                  </a:lnTo>
                  <a:lnTo>
                    <a:pt x="26" y="91"/>
                  </a:lnTo>
                  <a:lnTo>
                    <a:pt x="24" y="91"/>
                  </a:lnTo>
                  <a:lnTo>
                    <a:pt x="26" y="91"/>
                  </a:lnTo>
                  <a:lnTo>
                    <a:pt x="29" y="91"/>
                  </a:lnTo>
                  <a:lnTo>
                    <a:pt x="26" y="91"/>
                  </a:lnTo>
                  <a:lnTo>
                    <a:pt x="26" y="88"/>
                  </a:lnTo>
                  <a:lnTo>
                    <a:pt x="24" y="88"/>
                  </a:lnTo>
                  <a:lnTo>
                    <a:pt x="24" y="91"/>
                  </a:lnTo>
                  <a:lnTo>
                    <a:pt x="22" y="91"/>
                  </a:lnTo>
                  <a:lnTo>
                    <a:pt x="22" y="93"/>
                  </a:lnTo>
                  <a:lnTo>
                    <a:pt x="19" y="91"/>
                  </a:lnTo>
                  <a:lnTo>
                    <a:pt x="17" y="91"/>
                  </a:lnTo>
                  <a:lnTo>
                    <a:pt x="17" y="88"/>
                  </a:lnTo>
                  <a:lnTo>
                    <a:pt x="15" y="88"/>
                  </a:lnTo>
                  <a:lnTo>
                    <a:pt x="17" y="88"/>
                  </a:lnTo>
                  <a:lnTo>
                    <a:pt x="15" y="88"/>
                  </a:lnTo>
                  <a:lnTo>
                    <a:pt x="12" y="88"/>
                  </a:lnTo>
                  <a:lnTo>
                    <a:pt x="12" y="86"/>
                  </a:lnTo>
                  <a:lnTo>
                    <a:pt x="15" y="86"/>
                  </a:lnTo>
                  <a:lnTo>
                    <a:pt x="17" y="86"/>
                  </a:lnTo>
                  <a:lnTo>
                    <a:pt x="17" y="84"/>
                  </a:lnTo>
                  <a:lnTo>
                    <a:pt x="17" y="81"/>
                  </a:lnTo>
                  <a:lnTo>
                    <a:pt x="19" y="81"/>
                  </a:lnTo>
                  <a:lnTo>
                    <a:pt x="22" y="81"/>
                  </a:lnTo>
                  <a:lnTo>
                    <a:pt x="24" y="81"/>
                  </a:lnTo>
                  <a:lnTo>
                    <a:pt x="24" y="79"/>
                  </a:lnTo>
                  <a:lnTo>
                    <a:pt x="22" y="79"/>
                  </a:lnTo>
                  <a:lnTo>
                    <a:pt x="24" y="79"/>
                  </a:lnTo>
                  <a:lnTo>
                    <a:pt x="24" y="76"/>
                  </a:lnTo>
                  <a:lnTo>
                    <a:pt x="22" y="76"/>
                  </a:lnTo>
                  <a:lnTo>
                    <a:pt x="22" y="74"/>
                  </a:lnTo>
                  <a:lnTo>
                    <a:pt x="24" y="74"/>
                  </a:lnTo>
                  <a:lnTo>
                    <a:pt x="22" y="74"/>
                  </a:lnTo>
                  <a:lnTo>
                    <a:pt x="24" y="74"/>
                  </a:lnTo>
                  <a:lnTo>
                    <a:pt x="24" y="76"/>
                  </a:lnTo>
                  <a:lnTo>
                    <a:pt x="22" y="76"/>
                  </a:lnTo>
                  <a:lnTo>
                    <a:pt x="24" y="76"/>
                  </a:lnTo>
                  <a:lnTo>
                    <a:pt x="26" y="76"/>
                  </a:lnTo>
                  <a:lnTo>
                    <a:pt x="29" y="79"/>
                  </a:lnTo>
                  <a:lnTo>
                    <a:pt x="31" y="79"/>
                  </a:lnTo>
                  <a:lnTo>
                    <a:pt x="34" y="79"/>
                  </a:lnTo>
                  <a:lnTo>
                    <a:pt x="34" y="81"/>
                  </a:lnTo>
                  <a:lnTo>
                    <a:pt x="36" y="81"/>
                  </a:lnTo>
                  <a:lnTo>
                    <a:pt x="34" y="81"/>
                  </a:lnTo>
                  <a:lnTo>
                    <a:pt x="31" y="81"/>
                  </a:lnTo>
                  <a:lnTo>
                    <a:pt x="31" y="84"/>
                  </a:lnTo>
                  <a:lnTo>
                    <a:pt x="29" y="84"/>
                  </a:lnTo>
                  <a:lnTo>
                    <a:pt x="26" y="81"/>
                  </a:lnTo>
                  <a:lnTo>
                    <a:pt x="24" y="81"/>
                  </a:lnTo>
                  <a:lnTo>
                    <a:pt x="24" y="84"/>
                  </a:lnTo>
                  <a:lnTo>
                    <a:pt x="26" y="84"/>
                  </a:lnTo>
                  <a:lnTo>
                    <a:pt x="29" y="84"/>
                  </a:lnTo>
                  <a:lnTo>
                    <a:pt x="29" y="86"/>
                  </a:lnTo>
                  <a:lnTo>
                    <a:pt x="31" y="86"/>
                  </a:lnTo>
                  <a:lnTo>
                    <a:pt x="31" y="88"/>
                  </a:lnTo>
                  <a:lnTo>
                    <a:pt x="34" y="88"/>
                  </a:lnTo>
                  <a:lnTo>
                    <a:pt x="34" y="86"/>
                  </a:lnTo>
                  <a:lnTo>
                    <a:pt x="36" y="88"/>
                  </a:lnTo>
                  <a:lnTo>
                    <a:pt x="34" y="88"/>
                  </a:lnTo>
                  <a:lnTo>
                    <a:pt x="31" y="91"/>
                  </a:lnTo>
                  <a:lnTo>
                    <a:pt x="29" y="91"/>
                  </a:lnTo>
                  <a:lnTo>
                    <a:pt x="29" y="88"/>
                  </a:lnTo>
                  <a:lnTo>
                    <a:pt x="26" y="88"/>
                  </a:lnTo>
                  <a:close/>
                  <a:moveTo>
                    <a:pt x="60" y="72"/>
                  </a:moveTo>
                  <a:lnTo>
                    <a:pt x="60" y="74"/>
                  </a:lnTo>
                  <a:lnTo>
                    <a:pt x="62" y="74"/>
                  </a:lnTo>
                  <a:lnTo>
                    <a:pt x="64" y="74"/>
                  </a:lnTo>
                  <a:lnTo>
                    <a:pt x="67" y="74"/>
                  </a:lnTo>
                  <a:lnTo>
                    <a:pt x="67" y="76"/>
                  </a:lnTo>
                  <a:lnTo>
                    <a:pt x="69" y="76"/>
                  </a:lnTo>
                  <a:lnTo>
                    <a:pt x="69" y="79"/>
                  </a:lnTo>
                  <a:lnTo>
                    <a:pt x="69" y="81"/>
                  </a:lnTo>
                  <a:lnTo>
                    <a:pt x="67" y="81"/>
                  </a:lnTo>
                  <a:lnTo>
                    <a:pt x="67" y="84"/>
                  </a:lnTo>
                  <a:lnTo>
                    <a:pt x="67" y="81"/>
                  </a:lnTo>
                  <a:lnTo>
                    <a:pt x="64" y="81"/>
                  </a:lnTo>
                  <a:lnTo>
                    <a:pt x="62" y="81"/>
                  </a:lnTo>
                  <a:lnTo>
                    <a:pt x="60" y="81"/>
                  </a:lnTo>
                  <a:lnTo>
                    <a:pt x="57" y="81"/>
                  </a:lnTo>
                  <a:lnTo>
                    <a:pt x="55" y="81"/>
                  </a:lnTo>
                  <a:lnTo>
                    <a:pt x="53" y="81"/>
                  </a:lnTo>
                  <a:lnTo>
                    <a:pt x="50" y="81"/>
                  </a:lnTo>
                  <a:lnTo>
                    <a:pt x="48" y="81"/>
                  </a:lnTo>
                  <a:lnTo>
                    <a:pt x="45" y="81"/>
                  </a:lnTo>
                  <a:lnTo>
                    <a:pt x="43" y="81"/>
                  </a:lnTo>
                  <a:lnTo>
                    <a:pt x="43" y="79"/>
                  </a:lnTo>
                  <a:lnTo>
                    <a:pt x="45" y="79"/>
                  </a:lnTo>
                  <a:lnTo>
                    <a:pt x="45" y="76"/>
                  </a:lnTo>
                  <a:lnTo>
                    <a:pt x="48" y="76"/>
                  </a:lnTo>
                  <a:lnTo>
                    <a:pt x="50" y="76"/>
                  </a:lnTo>
                  <a:lnTo>
                    <a:pt x="53" y="76"/>
                  </a:lnTo>
                  <a:lnTo>
                    <a:pt x="53" y="74"/>
                  </a:lnTo>
                  <a:lnTo>
                    <a:pt x="55" y="74"/>
                  </a:lnTo>
                  <a:lnTo>
                    <a:pt x="57" y="74"/>
                  </a:lnTo>
                  <a:lnTo>
                    <a:pt x="57" y="72"/>
                  </a:lnTo>
                  <a:lnTo>
                    <a:pt x="57" y="74"/>
                  </a:lnTo>
                  <a:lnTo>
                    <a:pt x="57" y="72"/>
                  </a:lnTo>
                  <a:lnTo>
                    <a:pt x="60" y="72"/>
                  </a:lnTo>
                  <a:close/>
                  <a:moveTo>
                    <a:pt x="67" y="41"/>
                  </a:moveTo>
                  <a:lnTo>
                    <a:pt x="67" y="38"/>
                  </a:lnTo>
                  <a:lnTo>
                    <a:pt x="64" y="38"/>
                  </a:lnTo>
                  <a:lnTo>
                    <a:pt x="67" y="38"/>
                  </a:lnTo>
                  <a:lnTo>
                    <a:pt x="67" y="41"/>
                  </a:lnTo>
                  <a:close/>
                  <a:moveTo>
                    <a:pt x="36" y="88"/>
                  </a:moveTo>
                  <a:lnTo>
                    <a:pt x="34" y="88"/>
                  </a:lnTo>
                  <a:lnTo>
                    <a:pt x="36" y="88"/>
                  </a:lnTo>
                  <a:lnTo>
                    <a:pt x="38" y="88"/>
                  </a:lnTo>
                  <a:lnTo>
                    <a:pt x="41" y="88"/>
                  </a:lnTo>
                  <a:lnTo>
                    <a:pt x="43" y="88"/>
                  </a:lnTo>
                  <a:lnTo>
                    <a:pt x="41" y="88"/>
                  </a:lnTo>
                  <a:lnTo>
                    <a:pt x="43" y="88"/>
                  </a:lnTo>
                  <a:lnTo>
                    <a:pt x="43" y="86"/>
                  </a:lnTo>
                  <a:lnTo>
                    <a:pt x="45" y="86"/>
                  </a:lnTo>
                  <a:lnTo>
                    <a:pt x="48" y="86"/>
                  </a:lnTo>
                  <a:lnTo>
                    <a:pt x="48" y="88"/>
                  </a:lnTo>
                  <a:lnTo>
                    <a:pt x="50" y="86"/>
                  </a:lnTo>
                  <a:lnTo>
                    <a:pt x="50" y="88"/>
                  </a:lnTo>
                  <a:lnTo>
                    <a:pt x="50" y="86"/>
                  </a:lnTo>
                  <a:lnTo>
                    <a:pt x="53" y="86"/>
                  </a:lnTo>
                  <a:lnTo>
                    <a:pt x="55" y="86"/>
                  </a:lnTo>
                  <a:lnTo>
                    <a:pt x="55" y="88"/>
                  </a:lnTo>
                  <a:lnTo>
                    <a:pt x="57" y="86"/>
                  </a:lnTo>
                  <a:lnTo>
                    <a:pt x="60" y="86"/>
                  </a:lnTo>
                  <a:lnTo>
                    <a:pt x="62" y="86"/>
                  </a:lnTo>
                  <a:lnTo>
                    <a:pt x="64" y="86"/>
                  </a:lnTo>
                  <a:lnTo>
                    <a:pt x="62" y="86"/>
                  </a:lnTo>
                  <a:lnTo>
                    <a:pt x="60" y="86"/>
                  </a:lnTo>
                  <a:lnTo>
                    <a:pt x="60" y="84"/>
                  </a:lnTo>
                  <a:lnTo>
                    <a:pt x="60" y="86"/>
                  </a:lnTo>
                  <a:lnTo>
                    <a:pt x="62" y="86"/>
                  </a:lnTo>
                  <a:lnTo>
                    <a:pt x="60" y="84"/>
                  </a:lnTo>
                  <a:lnTo>
                    <a:pt x="60" y="86"/>
                  </a:lnTo>
                  <a:lnTo>
                    <a:pt x="60" y="84"/>
                  </a:lnTo>
                  <a:lnTo>
                    <a:pt x="57" y="84"/>
                  </a:lnTo>
                  <a:lnTo>
                    <a:pt x="60" y="84"/>
                  </a:lnTo>
                  <a:lnTo>
                    <a:pt x="57" y="84"/>
                  </a:lnTo>
                  <a:lnTo>
                    <a:pt x="55" y="81"/>
                  </a:lnTo>
                  <a:lnTo>
                    <a:pt x="57" y="81"/>
                  </a:lnTo>
                  <a:lnTo>
                    <a:pt x="60" y="81"/>
                  </a:lnTo>
                  <a:lnTo>
                    <a:pt x="62" y="81"/>
                  </a:lnTo>
                  <a:lnTo>
                    <a:pt x="64" y="81"/>
                  </a:lnTo>
                  <a:lnTo>
                    <a:pt x="67" y="84"/>
                  </a:lnTo>
                  <a:lnTo>
                    <a:pt x="67" y="81"/>
                  </a:lnTo>
                  <a:lnTo>
                    <a:pt x="69" y="81"/>
                  </a:lnTo>
                  <a:lnTo>
                    <a:pt x="69" y="79"/>
                  </a:lnTo>
                  <a:lnTo>
                    <a:pt x="69" y="76"/>
                  </a:lnTo>
                  <a:lnTo>
                    <a:pt x="67" y="76"/>
                  </a:lnTo>
                  <a:lnTo>
                    <a:pt x="67" y="74"/>
                  </a:lnTo>
                  <a:lnTo>
                    <a:pt x="64" y="74"/>
                  </a:lnTo>
                  <a:lnTo>
                    <a:pt x="62" y="74"/>
                  </a:lnTo>
                  <a:lnTo>
                    <a:pt x="60" y="74"/>
                  </a:lnTo>
                  <a:lnTo>
                    <a:pt x="60" y="72"/>
                  </a:lnTo>
                  <a:lnTo>
                    <a:pt x="57" y="72"/>
                  </a:lnTo>
                  <a:lnTo>
                    <a:pt x="57" y="74"/>
                  </a:lnTo>
                  <a:lnTo>
                    <a:pt x="55" y="74"/>
                  </a:lnTo>
                  <a:lnTo>
                    <a:pt x="53" y="74"/>
                  </a:lnTo>
                  <a:lnTo>
                    <a:pt x="53" y="76"/>
                  </a:lnTo>
                  <a:lnTo>
                    <a:pt x="50" y="76"/>
                  </a:lnTo>
                  <a:lnTo>
                    <a:pt x="48" y="76"/>
                  </a:lnTo>
                  <a:lnTo>
                    <a:pt x="45" y="76"/>
                  </a:lnTo>
                  <a:lnTo>
                    <a:pt x="45" y="79"/>
                  </a:lnTo>
                  <a:lnTo>
                    <a:pt x="43" y="79"/>
                  </a:lnTo>
                  <a:lnTo>
                    <a:pt x="41" y="79"/>
                  </a:lnTo>
                  <a:lnTo>
                    <a:pt x="41" y="76"/>
                  </a:lnTo>
                  <a:lnTo>
                    <a:pt x="41" y="79"/>
                  </a:lnTo>
                  <a:lnTo>
                    <a:pt x="41" y="76"/>
                  </a:lnTo>
                  <a:lnTo>
                    <a:pt x="38" y="79"/>
                  </a:lnTo>
                  <a:lnTo>
                    <a:pt x="38" y="76"/>
                  </a:lnTo>
                  <a:lnTo>
                    <a:pt x="38" y="79"/>
                  </a:lnTo>
                  <a:lnTo>
                    <a:pt x="36" y="76"/>
                  </a:lnTo>
                  <a:lnTo>
                    <a:pt x="36" y="79"/>
                  </a:lnTo>
                  <a:lnTo>
                    <a:pt x="36" y="76"/>
                  </a:lnTo>
                  <a:lnTo>
                    <a:pt x="36" y="79"/>
                  </a:lnTo>
                  <a:lnTo>
                    <a:pt x="36" y="76"/>
                  </a:lnTo>
                  <a:lnTo>
                    <a:pt x="34" y="76"/>
                  </a:lnTo>
                  <a:lnTo>
                    <a:pt x="34" y="79"/>
                  </a:lnTo>
                  <a:lnTo>
                    <a:pt x="36" y="79"/>
                  </a:lnTo>
                  <a:lnTo>
                    <a:pt x="34" y="79"/>
                  </a:lnTo>
                  <a:lnTo>
                    <a:pt x="34" y="76"/>
                  </a:lnTo>
                  <a:lnTo>
                    <a:pt x="34" y="79"/>
                  </a:lnTo>
                  <a:lnTo>
                    <a:pt x="34" y="76"/>
                  </a:lnTo>
                  <a:lnTo>
                    <a:pt x="34" y="79"/>
                  </a:lnTo>
                  <a:lnTo>
                    <a:pt x="31" y="79"/>
                  </a:lnTo>
                  <a:lnTo>
                    <a:pt x="31" y="76"/>
                  </a:lnTo>
                  <a:lnTo>
                    <a:pt x="29" y="76"/>
                  </a:lnTo>
                  <a:lnTo>
                    <a:pt x="26" y="74"/>
                  </a:lnTo>
                  <a:lnTo>
                    <a:pt x="24" y="74"/>
                  </a:lnTo>
                  <a:lnTo>
                    <a:pt x="26" y="74"/>
                  </a:lnTo>
                  <a:lnTo>
                    <a:pt x="26" y="72"/>
                  </a:lnTo>
                  <a:lnTo>
                    <a:pt x="29" y="69"/>
                  </a:lnTo>
                  <a:lnTo>
                    <a:pt x="31" y="67"/>
                  </a:lnTo>
                  <a:lnTo>
                    <a:pt x="34" y="65"/>
                  </a:lnTo>
                  <a:lnTo>
                    <a:pt x="34" y="62"/>
                  </a:lnTo>
                  <a:lnTo>
                    <a:pt x="36" y="62"/>
                  </a:lnTo>
                  <a:lnTo>
                    <a:pt x="36" y="60"/>
                  </a:lnTo>
                  <a:lnTo>
                    <a:pt x="38" y="57"/>
                  </a:lnTo>
                  <a:lnTo>
                    <a:pt x="38" y="55"/>
                  </a:lnTo>
                  <a:lnTo>
                    <a:pt x="41" y="53"/>
                  </a:lnTo>
                  <a:lnTo>
                    <a:pt x="41" y="50"/>
                  </a:lnTo>
                  <a:lnTo>
                    <a:pt x="43" y="50"/>
                  </a:lnTo>
                  <a:lnTo>
                    <a:pt x="45" y="50"/>
                  </a:lnTo>
                  <a:lnTo>
                    <a:pt x="45" y="53"/>
                  </a:lnTo>
                  <a:lnTo>
                    <a:pt x="48" y="53"/>
                  </a:lnTo>
                  <a:lnTo>
                    <a:pt x="50" y="53"/>
                  </a:lnTo>
                  <a:lnTo>
                    <a:pt x="48" y="53"/>
                  </a:lnTo>
                  <a:lnTo>
                    <a:pt x="50" y="53"/>
                  </a:lnTo>
                  <a:lnTo>
                    <a:pt x="48" y="53"/>
                  </a:lnTo>
                  <a:lnTo>
                    <a:pt x="50" y="53"/>
                  </a:lnTo>
                  <a:lnTo>
                    <a:pt x="48" y="53"/>
                  </a:lnTo>
                  <a:lnTo>
                    <a:pt x="50" y="53"/>
                  </a:lnTo>
                  <a:lnTo>
                    <a:pt x="48" y="53"/>
                  </a:lnTo>
                  <a:lnTo>
                    <a:pt x="50" y="53"/>
                  </a:lnTo>
                  <a:lnTo>
                    <a:pt x="50" y="55"/>
                  </a:lnTo>
                  <a:lnTo>
                    <a:pt x="53" y="55"/>
                  </a:lnTo>
                  <a:lnTo>
                    <a:pt x="55" y="55"/>
                  </a:lnTo>
                  <a:lnTo>
                    <a:pt x="55" y="57"/>
                  </a:lnTo>
                  <a:lnTo>
                    <a:pt x="55" y="55"/>
                  </a:lnTo>
                  <a:lnTo>
                    <a:pt x="57" y="57"/>
                  </a:lnTo>
                  <a:lnTo>
                    <a:pt x="57" y="55"/>
                  </a:lnTo>
                  <a:lnTo>
                    <a:pt x="57" y="57"/>
                  </a:lnTo>
                  <a:lnTo>
                    <a:pt x="60" y="57"/>
                  </a:lnTo>
                  <a:lnTo>
                    <a:pt x="60" y="55"/>
                  </a:lnTo>
                  <a:lnTo>
                    <a:pt x="60" y="53"/>
                  </a:lnTo>
                  <a:lnTo>
                    <a:pt x="62" y="53"/>
                  </a:lnTo>
                  <a:lnTo>
                    <a:pt x="62" y="50"/>
                  </a:lnTo>
                  <a:lnTo>
                    <a:pt x="64" y="50"/>
                  </a:lnTo>
                  <a:lnTo>
                    <a:pt x="67" y="48"/>
                  </a:lnTo>
                  <a:lnTo>
                    <a:pt x="69" y="48"/>
                  </a:lnTo>
                  <a:lnTo>
                    <a:pt x="69" y="46"/>
                  </a:lnTo>
                  <a:lnTo>
                    <a:pt x="69" y="43"/>
                  </a:lnTo>
                  <a:lnTo>
                    <a:pt x="67" y="41"/>
                  </a:lnTo>
                  <a:lnTo>
                    <a:pt x="69" y="41"/>
                  </a:lnTo>
                  <a:lnTo>
                    <a:pt x="69" y="43"/>
                  </a:lnTo>
                  <a:lnTo>
                    <a:pt x="69" y="46"/>
                  </a:lnTo>
                  <a:lnTo>
                    <a:pt x="69" y="48"/>
                  </a:lnTo>
                  <a:lnTo>
                    <a:pt x="69" y="46"/>
                  </a:lnTo>
                  <a:lnTo>
                    <a:pt x="72" y="46"/>
                  </a:lnTo>
                  <a:lnTo>
                    <a:pt x="72" y="43"/>
                  </a:lnTo>
                  <a:lnTo>
                    <a:pt x="74" y="43"/>
                  </a:lnTo>
                  <a:lnTo>
                    <a:pt x="76" y="43"/>
                  </a:lnTo>
                  <a:lnTo>
                    <a:pt x="76" y="41"/>
                  </a:lnTo>
                  <a:lnTo>
                    <a:pt x="74" y="41"/>
                  </a:lnTo>
                  <a:lnTo>
                    <a:pt x="74" y="38"/>
                  </a:lnTo>
                  <a:lnTo>
                    <a:pt x="74" y="36"/>
                  </a:lnTo>
                  <a:lnTo>
                    <a:pt x="74" y="34"/>
                  </a:lnTo>
                  <a:lnTo>
                    <a:pt x="76" y="34"/>
                  </a:lnTo>
                  <a:lnTo>
                    <a:pt x="76" y="31"/>
                  </a:lnTo>
                  <a:lnTo>
                    <a:pt x="79" y="31"/>
                  </a:lnTo>
                  <a:lnTo>
                    <a:pt x="76" y="31"/>
                  </a:lnTo>
                  <a:lnTo>
                    <a:pt x="74" y="31"/>
                  </a:lnTo>
                  <a:lnTo>
                    <a:pt x="72" y="31"/>
                  </a:lnTo>
                  <a:lnTo>
                    <a:pt x="69" y="31"/>
                  </a:lnTo>
                  <a:lnTo>
                    <a:pt x="67" y="31"/>
                  </a:lnTo>
                  <a:lnTo>
                    <a:pt x="67" y="29"/>
                  </a:lnTo>
                  <a:lnTo>
                    <a:pt x="69" y="29"/>
                  </a:lnTo>
                  <a:lnTo>
                    <a:pt x="69" y="27"/>
                  </a:lnTo>
                  <a:lnTo>
                    <a:pt x="67" y="27"/>
                  </a:lnTo>
                  <a:lnTo>
                    <a:pt x="69" y="27"/>
                  </a:lnTo>
                  <a:lnTo>
                    <a:pt x="69" y="24"/>
                  </a:lnTo>
                  <a:lnTo>
                    <a:pt x="67" y="24"/>
                  </a:lnTo>
                  <a:lnTo>
                    <a:pt x="67" y="22"/>
                  </a:lnTo>
                  <a:lnTo>
                    <a:pt x="69" y="22"/>
                  </a:lnTo>
                  <a:lnTo>
                    <a:pt x="67" y="22"/>
                  </a:lnTo>
                  <a:lnTo>
                    <a:pt x="69" y="22"/>
                  </a:lnTo>
                  <a:lnTo>
                    <a:pt x="67" y="22"/>
                  </a:lnTo>
                  <a:lnTo>
                    <a:pt x="67" y="19"/>
                  </a:lnTo>
                  <a:lnTo>
                    <a:pt x="64" y="19"/>
                  </a:lnTo>
                  <a:lnTo>
                    <a:pt x="62" y="22"/>
                  </a:lnTo>
                  <a:lnTo>
                    <a:pt x="57" y="27"/>
                  </a:lnTo>
                  <a:lnTo>
                    <a:pt x="55" y="27"/>
                  </a:lnTo>
                  <a:lnTo>
                    <a:pt x="57" y="27"/>
                  </a:lnTo>
                  <a:lnTo>
                    <a:pt x="57" y="29"/>
                  </a:lnTo>
                  <a:lnTo>
                    <a:pt x="60" y="31"/>
                  </a:lnTo>
                  <a:lnTo>
                    <a:pt x="57" y="31"/>
                  </a:lnTo>
                  <a:lnTo>
                    <a:pt x="57" y="34"/>
                  </a:lnTo>
                  <a:lnTo>
                    <a:pt x="60" y="34"/>
                  </a:lnTo>
                  <a:lnTo>
                    <a:pt x="60" y="36"/>
                  </a:lnTo>
                  <a:lnTo>
                    <a:pt x="62" y="36"/>
                  </a:lnTo>
                  <a:lnTo>
                    <a:pt x="64" y="36"/>
                  </a:lnTo>
                  <a:lnTo>
                    <a:pt x="64" y="38"/>
                  </a:lnTo>
                  <a:lnTo>
                    <a:pt x="62" y="38"/>
                  </a:lnTo>
                  <a:lnTo>
                    <a:pt x="62" y="41"/>
                  </a:lnTo>
                  <a:lnTo>
                    <a:pt x="60" y="41"/>
                  </a:lnTo>
                  <a:lnTo>
                    <a:pt x="60" y="43"/>
                  </a:lnTo>
                  <a:lnTo>
                    <a:pt x="60" y="41"/>
                  </a:lnTo>
                  <a:lnTo>
                    <a:pt x="57" y="41"/>
                  </a:lnTo>
                  <a:lnTo>
                    <a:pt x="55" y="41"/>
                  </a:lnTo>
                  <a:lnTo>
                    <a:pt x="55" y="43"/>
                  </a:lnTo>
                  <a:lnTo>
                    <a:pt x="55" y="46"/>
                  </a:lnTo>
                  <a:lnTo>
                    <a:pt x="57" y="46"/>
                  </a:lnTo>
                  <a:lnTo>
                    <a:pt x="57" y="48"/>
                  </a:lnTo>
                  <a:lnTo>
                    <a:pt x="57" y="50"/>
                  </a:lnTo>
                  <a:lnTo>
                    <a:pt x="55" y="50"/>
                  </a:lnTo>
                  <a:lnTo>
                    <a:pt x="57" y="50"/>
                  </a:lnTo>
                  <a:lnTo>
                    <a:pt x="57" y="48"/>
                  </a:lnTo>
                  <a:lnTo>
                    <a:pt x="57" y="50"/>
                  </a:lnTo>
                  <a:lnTo>
                    <a:pt x="60" y="50"/>
                  </a:lnTo>
                  <a:lnTo>
                    <a:pt x="57" y="50"/>
                  </a:lnTo>
                  <a:lnTo>
                    <a:pt x="57" y="53"/>
                  </a:lnTo>
                  <a:lnTo>
                    <a:pt x="57" y="50"/>
                  </a:lnTo>
                  <a:lnTo>
                    <a:pt x="57" y="53"/>
                  </a:lnTo>
                  <a:lnTo>
                    <a:pt x="55" y="53"/>
                  </a:lnTo>
                  <a:lnTo>
                    <a:pt x="55" y="55"/>
                  </a:lnTo>
                  <a:lnTo>
                    <a:pt x="53" y="55"/>
                  </a:lnTo>
                  <a:lnTo>
                    <a:pt x="53" y="53"/>
                  </a:lnTo>
                  <a:lnTo>
                    <a:pt x="53" y="55"/>
                  </a:lnTo>
                  <a:lnTo>
                    <a:pt x="53" y="53"/>
                  </a:lnTo>
                  <a:lnTo>
                    <a:pt x="50" y="53"/>
                  </a:lnTo>
                  <a:lnTo>
                    <a:pt x="48" y="53"/>
                  </a:lnTo>
                  <a:lnTo>
                    <a:pt x="45" y="53"/>
                  </a:lnTo>
                  <a:lnTo>
                    <a:pt x="45" y="50"/>
                  </a:lnTo>
                  <a:lnTo>
                    <a:pt x="43" y="50"/>
                  </a:lnTo>
                  <a:lnTo>
                    <a:pt x="41" y="50"/>
                  </a:lnTo>
                  <a:lnTo>
                    <a:pt x="43" y="50"/>
                  </a:lnTo>
                  <a:lnTo>
                    <a:pt x="41" y="50"/>
                  </a:lnTo>
                  <a:lnTo>
                    <a:pt x="41" y="48"/>
                  </a:lnTo>
                  <a:lnTo>
                    <a:pt x="41" y="46"/>
                  </a:lnTo>
                  <a:lnTo>
                    <a:pt x="43" y="43"/>
                  </a:lnTo>
                  <a:lnTo>
                    <a:pt x="43" y="41"/>
                  </a:lnTo>
                  <a:lnTo>
                    <a:pt x="43" y="38"/>
                  </a:lnTo>
                  <a:lnTo>
                    <a:pt x="43" y="36"/>
                  </a:lnTo>
                  <a:lnTo>
                    <a:pt x="43" y="34"/>
                  </a:lnTo>
                  <a:lnTo>
                    <a:pt x="45" y="31"/>
                  </a:lnTo>
                  <a:lnTo>
                    <a:pt x="45" y="29"/>
                  </a:lnTo>
                  <a:lnTo>
                    <a:pt x="45" y="27"/>
                  </a:lnTo>
                  <a:lnTo>
                    <a:pt x="45" y="24"/>
                  </a:lnTo>
                  <a:lnTo>
                    <a:pt x="48" y="24"/>
                  </a:lnTo>
                  <a:lnTo>
                    <a:pt x="48" y="27"/>
                  </a:lnTo>
                  <a:lnTo>
                    <a:pt x="48" y="24"/>
                  </a:lnTo>
                  <a:lnTo>
                    <a:pt x="48" y="27"/>
                  </a:lnTo>
                  <a:lnTo>
                    <a:pt x="48" y="29"/>
                  </a:lnTo>
                  <a:lnTo>
                    <a:pt x="50" y="29"/>
                  </a:lnTo>
                  <a:lnTo>
                    <a:pt x="53" y="29"/>
                  </a:lnTo>
                  <a:lnTo>
                    <a:pt x="53" y="27"/>
                  </a:lnTo>
                  <a:lnTo>
                    <a:pt x="55" y="27"/>
                  </a:lnTo>
                  <a:lnTo>
                    <a:pt x="57" y="27"/>
                  </a:lnTo>
                  <a:lnTo>
                    <a:pt x="55" y="27"/>
                  </a:lnTo>
                  <a:lnTo>
                    <a:pt x="57" y="27"/>
                  </a:lnTo>
                  <a:lnTo>
                    <a:pt x="62" y="22"/>
                  </a:lnTo>
                  <a:lnTo>
                    <a:pt x="64" y="19"/>
                  </a:lnTo>
                  <a:lnTo>
                    <a:pt x="67" y="19"/>
                  </a:lnTo>
                  <a:lnTo>
                    <a:pt x="67" y="17"/>
                  </a:lnTo>
                  <a:lnTo>
                    <a:pt x="69" y="17"/>
                  </a:lnTo>
                  <a:lnTo>
                    <a:pt x="69" y="15"/>
                  </a:lnTo>
                  <a:lnTo>
                    <a:pt x="69" y="12"/>
                  </a:lnTo>
                  <a:lnTo>
                    <a:pt x="72" y="12"/>
                  </a:lnTo>
                  <a:lnTo>
                    <a:pt x="72" y="10"/>
                  </a:lnTo>
                  <a:lnTo>
                    <a:pt x="74" y="10"/>
                  </a:lnTo>
                  <a:lnTo>
                    <a:pt x="74" y="8"/>
                  </a:lnTo>
                  <a:lnTo>
                    <a:pt x="76" y="8"/>
                  </a:lnTo>
                  <a:lnTo>
                    <a:pt x="79" y="8"/>
                  </a:lnTo>
                  <a:lnTo>
                    <a:pt x="79" y="5"/>
                  </a:lnTo>
                  <a:lnTo>
                    <a:pt x="81" y="5"/>
                  </a:lnTo>
                  <a:lnTo>
                    <a:pt x="83" y="5"/>
                  </a:lnTo>
                  <a:lnTo>
                    <a:pt x="83" y="3"/>
                  </a:lnTo>
                  <a:lnTo>
                    <a:pt x="86" y="3"/>
                  </a:lnTo>
                  <a:lnTo>
                    <a:pt x="88" y="3"/>
                  </a:lnTo>
                  <a:lnTo>
                    <a:pt x="91" y="3"/>
                  </a:lnTo>
                  <a:lnTo>
                    <a:pt x="93" y="3"/>
                  </a:lnTo>
                  <a:lnTo>
                    <a:pt x="95" y="3"/>
                  </a:lnTo>
                  <a:lnTo>
                    <a:pt x="98" y="3"/>
                  </a:lnTo>
                  <a:lnTo>
                    <a:pt x="100" y="3"/>
                  </a:lnTo>
                  <a:lnTo>
                    <a:pt x="102" y="3"/>
                  </a:lnTo>
                  <a:lnTo>
                    <a:pt x="105" y="3"/>
                  </a:lnTo>
                  <a:lnTo>
                    <a:pt x="107" y="0"/>
                  </a:lnTo>
                  <a:lnTo>
                    <a:pt x="109" y="0"/>
                  </a:lnTo>
                  <a:lnTo>
                    <a:pt x="112" y="0"/>
                  </a:lnTo>
                  <a:lnTo>
                    <a:pt x="114" y="0"/>
                  </a:lnTo>
                  <a:lnTo>
                    <a:pt x="117" y="0"/>
                  </a:lnTo>
                  <a:lnTo>
                    <a:pt x="114" y="0"/>
                  </a:lnTo>
                  <a:lnTo>
                    <a:pt x="117" y="0"/>
                  </a:lnTo>
                  <a:lnTo>
                    <a:pt x="117" y="3"/>
                  </a:lnTo>
                  <a:lnTo>
                    <a:pt x="117" y="5"/>
                  </a:lnTo>
                  <a:lnTo>
                    <a:pt x="119" y="8"/>
                  </a:lnTo>
                  <a:lnTo>
                    <a:pt x="121" y="8"/>
                  </a:lnTo>
                  <a:lnTo>
                    <a:pt x="124" y="8"/>
                  </a:lnTo>
                  <a:lnTo>
                    <a:pt x="124" y="10"/>
                  </a:lnTo>
                  <a:lnTo>
                    <a:pt x="126" y="10"/>
                  </a:lnTo>
                  <a:lnTo>
                    <a:pt x="126" y="12"/>
                  </a:lnTo>
                  <a:lnTo>
                    <a:pt x="126" y="10"/>
                  </a:lnTo>
                  <a:lnTo>
                    <a:pt x="126" y="12"/>
                  </a:lnTo>
                  <a:lnTo>
                    <a:pt x="128" y="12"/>
                  </a:lnTo>
                  <a:lnTo>
                    <a:pt x="128" y="15"/>
                  </a:lnTo>
                  <a:lnTo>
                    <a:pt x="126" y="15"/>
                  </a:lnTo>
                  <a:lnTo>
                    <a:pt x="126" y="17"/>
                  </a:lnTo>
                  <a:lnTo>
                    <a:pt x="128" y="17"/>
                  </a:lnTo>
                  <a:lnTo>
                    <a:pt x="126" y="19"/>
                  </a:lnTo>
                  <a:lnTo>
                    <a:pt x="128" y="22"/>
                  </a:lnTo>
                  <a:lnTo>
                    <a:pt x="128" y="24"/>
                  </a:lnTo>
                  <a:lnTo>
                    <a:pt x="126" y="27"/>
                  </a:lnTo>
                  <a:lnTo>
                    <a:pt x="124" y="29"/>
                  </a:lnTo>
                  <a:lnTo>
                    <a:pt x="124" y="31"/>
                  </a:lnTo>
                  <a:lnTo>
                    <a:pt x="124" y="34"/>
                  </a:lnTo>
                  <a:lnTo>
                    <a:pt x="124" y="38"/>
                  </a:lnTo>
                  <a:lnTo>
                    <a:pt x="121" y="41"/>
                  </a:lnTo>
                  <a:lnTo>
                    <a:pt x="119" y="41"/>
                  </a:lnTo>
                  <a:lnTo>
                    <a:pt x="117" y="41"/>
                  </a:lnTo>
                  <a:lnTo>
                    <a:pt x="114" y="41"/>
                  </a:lnTo>
                  <a:lnTo>
                    <a:pt x="112" y="41"/>
                  </a:lnTo>
                  <a:lnTo>
                    <a:pt x="112" y="43"/>
                  </a:lnTo>
                  <a:lnTo>
                    <a:pt x="114" y="46"/>
                  </a:lnTo>
                  <a:lnTo>
                    <a:pt x="112" y="46"/>
                  </a:lnTo>
                  <a:lnTo>
                    <a:pt x="109" y="46"/>
                  </a:lnTo>
                  <a:lnTo>
                    <a:pt x="112" y="48"/>
                  </a:lnTo>
                  <a:lnTo>
                    <a:pt x="112" y="50"/>
                  </a:lnTo>
                  <a:lnTo>
                    <a:pt x="114" y="50"/>
                  </a:lnTo>
                  <a:lnTo>
                    <a:pt x="117" y="50"/>
                  </a:lnTo>
                  <a:lnTo>
                    <a:pt x="119" y="50"/>
                  </a:lnTo>
                  <a:lnTo>
                    <a:pt x="121" y="50"/>
                  </a:lnTo>
                  <a:lnTo>
                    <a:pt x="121" y="53"/>
                  </a:lnTo>
                  <a:lnTo>
                    <a:pt x="124" y="53"/>
                  </a:lnTo>
                  <a:lnTo>
                    <a:pt x="124" y="55"/>
                  </a:lnTo>
                  <a:lnTo>
                    <a:pt x="121" y="57"/>
                  </a:lnTo>
                  <a:lnTo>
                    <a:pt x="121" y="60"/>
                  </a:lnTo>
                  <a:lnTo>
                    <a:pt x="124" y="62"/>
                  </a:lnTo>
                  <a:lnTo>
                    <a:pt x="121" y="62"/>
                  </a:lnTo>
                  <a:lnTo>
                    <a:pt x="119" y="62"/>
                  </a:lnTo>
                  <a:lnTo>
                    <a:pt x="119" y="65"/>
                  </a:lnTo>
                  <a:lnTo>
                    <a:pt x="117" y="65"/>
                  </a:lnTo>
                  <a:lnTo>
                    <a:pt x="117" y="67"/>
                  </a:lnTo>
                  <a:lnTo>
                    <a:pt x="114" y="67"/>
                  </a:lnTo>
                  <a:lnTo>
                    <a:pt x="112" y="67"/>
                  </a:lnTo>
                  <a:lnTo>
                    <a:pt x="112" y="69"/>
                  </a:lnTo>
                  <a:lnTo>
                    <a:pt x="109" y="69"/>
                  </a:lnTo>
                  <a:lnTo>
                    <a:pt x="109" y="72"/>
                  </a:lnTo>
                  <a:lnTo>
                    <a:pt x="112" y="72"/>
                  </a:lnTo>
                  <a:lnTo>
                    <a:pt x="114" y="74"/>
                  </a:lnTo>
                  <a:lnTo>
                    <a:pt x="114" y="76"/>
                  </a:lnTo>
                  <a:lnTo>
                    <a:pt x="112" y="76"/>
                  </a:lnTo>
                  <a:lnTo>
                    <a:pt x="112" y="79"/>
                  </a:lnTo>
                  <a:lnTo>
                    <a:pt x="112" y="76"/>
                  </a:lnTo>
                  <a:lnTo>
                    <a:pt x="109" y="76"/>
                  </a:lnTo>
                  <a:lnTo>
                    <a:pt x="109" y="79"/>
                  </a:lnTo>
                  <a:lnTo>
                    <a:pt x="107" y="79"/>
                  </a:lnTo>
                  <a:lnTo>
                    <a:pt x="105" y="79"/>
                  </a:lnTo>
                  <a:lnTo>
                    <a:pt x="102" y="79"/>
                  </a:lnTo>
                  <a:lnTo>
                    <a:pt x="100" y="79"/>
                  </a:lnTo>
                  <a:lnTo>
                    <a:pt x="100" y="81"/>
                  </a:lnTo>
                  <a:lnTo>
                    <a:pt x="102" y="81"/>
                  </a:lnTo>
                  <a:lnTo>
                    <a:pt x="100" y="81"/>
                  </a:lnTo>
                  <a:lnTo>
                    <a:pt x="98" y="81"/>
                  </a:lnTo>
                  <a:lnTo>
                    <a:pt x="98" y="79"/>
                  </a:lnTo>
                  <a:lnTo>
                    <a:pt x="95" y="79"/>
                  </a:lnTo>
                  <a:lnTo>
                    <a:pt x="93" y="79"/>
                  </a:lnTo>
                  <a:lnTo>
                    <a:pt x="91" y="79"/>
                  </a:lnTo>
                  <a:lnTo>
                    <a:pt x="93" y="79"/>
                  </a:lnTo>
                  <a:lnTo>
                    <a:pt x="93" y="81"/>
                  </a:lnTo>
                  <a:lnTo>
                    <a:pt x="91" y="81"/>
                  </a:lnTo>
                  <a:lnTo>
                    <a:pt x="91" y="79"/>
                  </a:lnTo>
                  <a:lnTo>
                    <a:pt x="88" y="81"/>
                  </a:lnTo>
                  <a:lnTo>
                    <a:pt x="86" y="81"/>
                  </a:lnTo>
                  <a:lnTo>
                    <a:pt x="86" y="84"/>
                  </a:lnTo>
                  <a:lnTo>
                    <a:pt x="88" y="84"/>
                  </a:lnTo>
                  <a:lnTo>
                    <a:pt x="86" y="86"/>
                  </a:lnTo>
                  <a:lnTo>
                    <a:pt x="88" y="86"/>
                  </a:lnTo>
                  <a:lnTo>
                    <a:pt x="88" y="88"/>
                  </a:lnTo>
                  <a:lnTo>
                    <a:pt x="91" y="88"/>
                  </a:lnTo>
                  <a:lnTo>
                    <a:pt x="91" y="91"/>
                  </a:lnTo>
                  <a:lnTo>
                    <a:pt x="91" y="93"/>
                  </a:lnTo>
                  <a:lnTo>
                    <a:pt x="93" y="93"/>
                  </a:lnTo>
                  <a:lnTo>
                    <a:pt x="93" y="95"/>
                  </a:lnTo>
                  <a:lnTo>
                    <a:pt x="95" y="95"/>
                  </a:lnTo>
                  <a:lnTo>
                    <a:pt x="95" y="98"/>
                  </a:lnTo>
                  <a:lnTo>
                    <a:pt x="95" y="100"/>
                  </a:lnTo>
                  <a:lnTo>
                    <a:pt x="95" y="103"/>
                  </a:lnTo>
                  <a:lnTo>
                    <a:pt x="95" y="105"/>
                  </a:lnTo>
                  <a:lnTo>
                    <a:pt x="93" y="105"/>
                  </a:lnTo>
                  <a:lnTo>
                    <a:pt x="93" y="107"/>
                  </a:lnTo>
                  <a:lnTo>
                    <a:pt x="93" y="110"/>
                  </a:lnTo>
                  <a:lnTo>
                    <a:pt x="91" y="110"/>
                  </a:lnTo>
                  <a:lnTo>
                    <a:pt x="91" y="112"/>
                  </a:lnTo>
                  <a:lnTo>
                    <a:pt x="91" y="114"/>
                  </a:lnTo>
                  <a:lnTo>
                    <a:pt x="93" y="112"/>
                  </a:lnTo>
                  <a:lnTo>
                    <a:pt x="93" y="114"/>
                  </a:lnTo>
                  <a:lnTo>
                    <a:pt x="91" y="114"/>
                  </a:lnTo>
                  <a:lnTo>
                    <a:pt x="91" y="117"/>
                  </a:lnTo>
                  <a:lnTo>
                    <a:pt x="88" y="117"/>
                  </a:lnTo>
                  <a:lnTo>
                    <a:pt x="88" y="119"/>
                  </a:lnTo>
                  <a:lnTo>
                    <a:pt x="86" y="119"/>
                  </a:lnTo>
                  <a:lnTo>
                    <a:pt x="83" y="119"/>
                  </a:lnTo>
                  <a:lnTo>
                    <a:pt x="83" y="122"/>
                  </a:lnTo>
                  <a:lnTo>
                    <a:pt x="86" y="122"/>
                  </a:lnTo>
                  <a:lnTo>
                    <a:pt x="83" y="122"/>
                  </a:lnTo>
                  <a:lnTo>
                    <a:pt x="83" y="124"/>
                  </a:lnTo>
                  <a:lnTo>
                    <a:pt x="86" y="124"/>
                  </a:lnTo>
                  <a:lnTo>
                    <a:pt x="86" y="122"/>
                  </a:lnTo>
                  <a:lnTo>
                    <a:pt x="88" y="124"/>
                  </a:lnTo>
                  <a:lnTo>
                    <a:pt x="88" y="126"/>
                  </a:lnTo>
                  <a:lnTo>
                    <a:pt x="91" y="126"/>
                  </a:lnTo>
                  <a:lnTo>
                    <a:pt x="91" y="129"/>
                  </a:lnTo>
                  <a:lnTo>
                    <a:pt x="88" y="129"/>
                  </a:lnTo>
                  <a:lnTo>
                    <a:pt x="88" y="131"/>
                  </a:lnTo>
                  <a:lnTo>
                    <a:pt x="88" y="133"/>
                  </a:lnTo>
                  <a:lnTo>
                    <a:pt x="86" y="133"/>
                  </a:lnTo>
                  <a:lnTo>
                    <a:pt x="83" y="133"/>
                  </a:lnTo>
                  <a:lnTo>
                    <a:pt x="81" y="133"/>
                  </a:lnTo>
                  <a:lnTo>
                    <a:pt x="79" y="133"/>
                  </a:lnTo>
                  <a:lnTo>
                    <a:pt x="76" y="133"/>
                  </a:lnTo>
                  <a:lnTo>
                    <a:pt x="79" y="133"/>
                  </a:lnTo>
                  <a:lnTo>
                    <a:pt x="79" y="131"/>
                  </a:lnTo>
                  <a:lnTo>
                    <a:pt x="76" y="131"/>
                  </a:lnTo>
                  <a:lnTo>
                    <a:pt x="76" y="129"/>
                  </a:lnTo>
                  <a:lnTo>
                    <a:pt x="76" y="126"/>
                  </a:lnTo>
                  <a:lnTo>
                    <a:pt x="79" y="126"/>
                  </a:lnTo>
                  <a:lnTo>
                    <a:pt x="79" y="124"/>
                  </a:lnTo>
                  <a:lnTo>
                    <a:pt x="79" y="122"/>
                  </a:lnTo>
                  <a:lnTo>
                    <a:pt x="81" y="122"/>
                  </a:lnTo>
                  <a:lnTo>
                    <a:pt x="79" y="122"/>
                  </a:lnTo>
                  <a:lnTo>
                    <a:pt x="79" y="119"/>
                  </a:lnTo>
                  <a:lnTo>
                    <a:pt x="81" y="119"/>
                  </a:lnTo>
                  <a:lnTo>
                    <a:pt x="81" y="117"/>
                  </a:lnTo>
                  <a:lnTo>
                    <a:pt x="83" y="117"/>
                  </a:lnTo>
                  <a:lnTo>
                    <a:pt x="81" y="117"/>
                  </a:lnTo>
                  <a:lnTo>
                    <a:pt x="83" y="114"/>
                  </a:lnTo>
                  <a:lnTo>
                    <a:pt x="81" y="114"/>
                  </a:lnTo>
                  <a:lnTo>
                    <a:pt x="81" y="112"/>
                  </a:lnTo>
                  <a:lnTo>
                    <a:pt x="79" y="112"/>
                  </a:lnTo>
                  <a:lnTo>
                    <a:pt x="76" y="112"/>
                  </a:lnTo>
                  <a:lnTo>
                    <a:pt x="74" y="112"/>
                  </a:lnTo>
                  <a:lnTo>
                    <a:pt x="74" y="110"/>
                  </a:lnTo>
                  <a:lnTo>
                    <a:pt x="72" y="107"/>
                  </a:lnTo>
                  <a:lnTo>
                    <a:pt x="69" y="107"/>
                  </a:lnTo>
                  <a:lnTo>
                    <a:pt x="69" y="110"/>
                  </a:lnTo>
                  <a:lnTo>
                    <a:pt x="67" y="107"/>
                  </a:lnTo>
                  <a:lnTo>
                    <a:pt x="67" y="110"/>
                  </a:lnTo>
                  <a:lnTo>
                    <a:pt x="64" y="110"/>
                  </a:lnTo>
                  <a:lnTo>
                    <a:pt x="62" y="110"/>
                  </a:lnTo>
                  <a:lnTo>
                    <a:pt x="62" y="107"/>
                  </a:lnTo>
                  <a:lnTo>
                    <a:pt x="60" y="107"/>
                  </a:lnTo>
                  <a:lnTo>
                    <a:pt x="60" y="105"/>
                  </a:lnTo>
                  <a:lnTo>
                    <a:pt x="57" y="103"/>
                  </a:lnTo>
                  <a:lnTo>
                    <a:pt x="57" y="100"/>
                  </a:lnTo>
                  <a:lnTo>
                    <a:pt x="57" y="98"/>
                  </a:lnTo>
                  <a:lnTo>
                    <a:pt x="55" y="98"/>
                  </a:lnTo>
                  <a:lnTo>
                    <a:pt x="55" y="100"/>
                  </a:lnTo>
                  <a:lnTo>
                    <a:pt x="53" y="103"/>
                  </a:lnTo>
                  <a:lnTo>
                    <a:pt x="50" y="103"/>
                  </a:lnTo>
                  <a:lnTo>
                    <a:pt x="48" y="103"/>
                  </a:lnTo>
                  <a:lnTo>
                    <a:pt x="48" y="100"/>
                  </a:lnTo>
                  <a:lnTo>
                    <a:pt x="50" y="103"/>
                  </a:lnTo>
                  <a:lnTo>
                    <a:pt x="50" y="100"/>
                  </a:lnTo>
                  <a:lnTo>
                    <a:pt x="48" y="100"/>
                  </a:lnTo>
                  <a:lnTo>
                    <a:pt x="50" y="100"/>
                  </a:lnTo>
                  <a:lnTo>
                    <a:pt x="50" y="98"/>
                  </a:lnTo>
                  <a:lnTo>
                    <a:pt x="48" y="98"/>
                  </a:lnTo>
                  <a:lnTo>
                    <a:pt x="45" y="98"/>
                  </a:lnTo>
                  <a:lnTo>
                    <a:pt x="45" y="100"/>
                  </a:lnTo>
                  <a:lnTo>
                    <a:pt x="43" y="100"/>
                  </a:lnTo>
                  <a:lnTo>
                    <a:pt x="41" y="100"/>
                  </a:lnTo>
                  <a:lnTo>
                    <a:pt x="38" y="100"/>
                  </a:lnTo>
                  <a:lnTo>
                    <a:pt x="41" y="98"/>
                  </a:lnTo>
                  <a:lnTo>
                    <a:pt x="38" y="98"/>
                  </a:lnTo>
                  <a:lnTo>
                    <a:pt x="36" y="98"/>
                  </a:lnTo>
                  <a:lnTo>
                    <a:pt x="36" y="100"/>
                  </a:lnTo>
                  <a:lnTo>
                    <a:pt x="34" y="100"/>
                  </a:lnTo>
                  <a:lnTo>
                    <a:pt x="34" y="103"/>
                  </a:lnTo>
                  <a:lnTo>
                    <a:pt x="36" y="103"/>
                  </a:lnTo>
                  <a:lnTo>
                    <a:pt x="36" y="105"/>
                  </a:lnTo>
                  <a:lnTo>
                    <a:pt x="34" y="105"/>
                  </a:lnTo>
                  <a:lnTo>
                    <a:pt x="34" y="103"/>
                  </a:lnTo>
                  <a:lnTo>
                    <a:pt x="31" y="103"/>
                  </a:lnTo>
                  <a:lnTo>
                    <a:pt x="29" y="103"/>
                  </a:lnTo>
                  <a:lnTo>
                    <a:pt x="29" y="100"/>
                  </a:lnTo>
                  <a:lnTo>
                    <a:pt x="29" y="98"/>
                  </a:lnTo>
                  <a:lnTo>
                    <a:pt x="31" y="98"/>
                  </a:lnTo>
                  <a:lnTo>
                    <a:pt x="29" y="98"/>
                  </a:lnTo>
                  <a:lnTo>
                    <a:pt x="29" y="95"/>
                  </a:lnTo>
                  <a:lnTo>
                    <a:pt x="29" y="93"/>
                  </a:lnTo>
                  <a:lnTo>
                    <a:pt x="29" y="91"/>
                  </a:lnTo>
                  <a:lnTo>
                    <a:pt x="31" y="91"/>
                  </a:lnTo>
                  <a:lnTo>
                    <a:pt x="34" y="91"/>
                  </a:lnTo>
                  <a:lnTo>
                    <a:pt x="34" y="88"/>
                  </a:lnTo>
                  <a:lnTo>
                    <a:pt x="36" y="8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2" name="Freeform 52500"/>
            <p:cNvSpPr>
              <a:spLocks noEditPoints="1"/>
            </p:cNvSpPr>
            <p:nvPr/>
          </p:nvSpPr>
          <p:spPr bwMode="auto">
            <a:xfrm>
              <a:off x="2217735" y="4422791"/>
              <a:ext cx="150813" cy="150814"/>
            </a:xfrm>
            <a:custGeom>
              <a:avLst/>
              <a:gdLst>
                <a:gd name="T0" fmla="*/ 2 w 95"/>
                <a:gd name="T1" fmla="*/ 95 h 95"/>
                <a:gd name="T2" fmla="*/ 35 w 95"/>
                <a:gd name="T3" fmla="*/ 90 h 95"/>
                <a:gd name="T4" fmla="*/ 21 w 95"/>
                <a:gd name="T5" fmla="*/ 90 h 95"/>
                <a:gd name="T6" fmla="*/ 38 w 95"/>
                <a:gd name="T7" fmla="*/ 90 h 95"/>
                <a:gd name="T8" fmla="*/ 35 w 95"/>
                <a:gd name="T9" fmla="*/ 85 h 95"/>
                <a:gd name="T10" fmla="*/ 40 w 95"/>
                <a:gd name="T11" fmla="*/ 88 h 95"/>
                <a:gd name="T12" fmla="*/ 35 w 95"/>
                <a:gd name="T13" fmla="*/ 90 h 95"/>
                <a:gd name="T14" fmla="*/ 33 w 95"/>
                <a:gd name="T15" fmla="*/ 85 h 95"/>
                <a:gd name="T16" fmla="*/ 28 w 95"/>
                <a:gd name="T17" fmla="*/ 85 h 95"/>
                <a:gd name="T18" fmla="*/ 33 w 95"/>
                <a:gd name="T19" fmla="*/ 88 h 95"/>
                <a:gd name="T20" fmla="*/ 31 w 95"/>
                <a:gd name="T21" fmla="*/ 92 h 95"/>
                <a:gd name="T22" fmla="*/ 26 w 95"/>
                <a:gd name="T23" fmla="*/ 90 h 95"/>
                <a:gd name="T24" fmla="*/ 21 w 95"/>
                <a:gd name="T25" fmla="*/ 88 h 95"/>
                <a:gd name="T26" fmla="*/ 21 w 95"/>
                <a:gd name="T27" fmla="*/ 85 h 95"/>
                <a:gd name="T28" fmla="*/ 28 w 95"/>
                <a:gd name="T29" fmla="*/ 80 h 95"/>
                <a:gd name="T30" fmla="*/ 31 w 95"/>
                <a:gd name="T31" fmla="*/ 83 h 95"/>
                <a:gd name="T32" fmla="*/ 33 w 95"/>
                <a:gd name="T33" fmla="*/ 88 h 95"/>
                <a:gd name="T34" fmla="*/ 31 w 95"/>
                <a:gd name="T35" fmla="*/ 88 h 95"/>
                <a:gd name="T36" fmla="*/ 31 w 95"/>
                <a:gd name="T37" fmla="*/ 85 h 95"/>
                <a:gd name="T38" fmla="*/ 24 w 95"/>
                <a:gd name="T39" fmla="*/ 85 h 95"/>
                <a:gd name="T40" fmla="*/ 28 w 95"/>
                <a:gd name="T41" fmla="*/ 83 h 95"/>
                <a:gd name="T42" fmla="*/ 21 w 95"/>
                <a:gd name="T43" fmla="*/ 83 h 95"/>
                <a:gd name="T44" fmla="*/ 19 w 95"/>
                <a:gd name="T45" fmla="*/ 83 h 95"/>
                <a:gd name="T46" fmla="*/ 16 w 95"/>
                <a:gd name="T47" fmla="*/ 78 h 95"/>
                <a:gd name="T48" fmla="*/ 16 w 95"/>
                <a:gd name="T49" fmla="*/ 80 h 95"/>
                <a:gd name="T50" fmla="*/ 16 w 95"/>
                <a:gd name="T51" fmla="*/ 78 h 95"/>
                <a:gd name="T52" fmla="*/ 16 w 95"/>
                <a:gd name="T53" fmla="*/ 80 h 95"/>
                <a:gd name="T54" fmla="*/ 19 w 95"/>
                <a:gd name="T55" fmla="*/ 80 h 95"/>
                <a:gd name="T56" fmla="*/ 16 w 95"/>
                <a:gd name="T57" fmla="*/ 78 h 95"/>
                <a:gd name="T58" fmla="*/ 43 w 95"/>
                <a:gd name="T59" fmla="*/ 59 h 95"/>
                <a:gd name="T60" fmla="*/ 31 w 95"/>
                <a:gd name="T61" fmla="*/ 54 h 95"/>
                <a:gd name="T62" fmla="*/ 35 w 95"/>
                <a:gd name="T63" fmla="*/ 28 h 95"/>
                <a:gd name="T64" fmla="*/ 43 w 95"/>
                <a:gd name="T65" fmla="*/ 21 h 95"/>
                <a:gd name="T66" fmla="*/ 43 w 95"/>
                <a:gd name="T67" fmla="*/ 23 h 95"/>
                <a:gd name="T68" fmla="*/ 38 w 95"/>
                <a:gd name="T69" fmla="*/ 26 h 95"/>
                <a:gd name="T70" fmla="*/ 35 w 95"/>
                <a:gd name="T71" fmla="*/ 26 h 95"/>
                <a:gd name="T72" fmla="*/ 35 w 95"/>
                <a:gd name="T73" fmla="*/ 26 h 95"/>
                <a:gd name="T74" fmla="*/ 38 w 95"/>
                <a:gd name="T75" fmla="*/ 19 h 95"/>
                <a:gd name="T76" fmla="*/ 54 w 95"/>
                <a:gd name="T77" fmla="*/ 14 h 95"/>
                <a:gd name="T78" fmla="*/ 47 w 95"/>
                <a:gd name="T79" fmla="*/ 14 h 95"/>
                <a:gd name="T80" fmla="*/ 47 w 95"/>
                <a:gd name="T81" fmla="*/ 12 h 95"/>
                <a:gd name="T82" fmla="*/ 45 w 95"/>
                <a:gd name="T83" fmla="*/ 16 h 95"/>
                <a:gd name="T84" fmla="*/ 43 w 95"/>
                <a:gd name="T85" fmla="*/ 14 h 95"/>
                <a:gd name="T86" fmla="*/ 47 w 95"/>
                <a:gd name="T87" fmla="*/ 12 h 95"/>
                <a:gd name="T88" fmla="*/ 62 w 95"/>
                <a:gd name="T89" fmla="*/ 7 h 95"/>
                <a:gd name="T90" fmla="*/ 59 w 95"/>
                <a:gd name="T91" fmla="*/ 7 h 95"/>
                <a:gd name="T92" fmla="*/ 57 w 95"/>
                <a:gd name="T93" fmla="*/ 7 h 95"/>
                <a:gd name="T94" fmla="*/ 52 w 95"/>
                <a:gd name="T95" fmla="*/ 9 h 95"/>
                <a:gd name="T96" fmla="*/ 54 w 95"/>
                <a:gd name="T97" fmla="*/ 7 h 95"/>
                <a:gd name="T98" fmla="*/ 59 w 95"/>
                <a:gd name="T99" fmla="*/ 4 h 95"/>
                <a:gd name="T100" fmla="*/ 66 w 95"/>
                <a:gd name="T101" fmla="*/ 4 h 95"/>
                <a:gd name="T102" fmla="*/ 73 w 95"/>
                <a:gd name="T103" fmla="*/ 4 h 95"/>
                <a:gd name="T104" fmla="*/ 76 w 95"/>
                <a:gd name="T105" fmla="*/ 4 h 95"/>
                <a:gd name="T106" fmla="*/ 71 w 95"/>
                <a:gd name="T107" fmla="*/ 7 h 95"/>
                <a:gd name="T108" fmla="*/ 69 w 95"/>
                <a:gd name="T109" fmla="*/ 7 h 95"/>
                <a:gd name="T110" fmla="*/ 64 w 95"/>
                <a:gd name="T111" fmla="*/ 4 h 95"/>
                <a:gd name="T112" fmla="*/ 78 w 95"/>
                <a:gd name="T113" fmla="*/ 4 h 95"/>
                <a:gd name="T114" fmla="*/ 88 w 95"/>
                <a:gd name="T115" fmla="*/ 2 h 95"/>
                <a:gd name="T116" fmla="*/ 83 w 95"/>
                <a:gd name="T117" fmla="*/ 2 h 95"/>
                <a:gd name="T118" fmla="*/ 90 w 95"/>
                <a:gd name="T119" fmla="*/ 2 h 95"/>
                <a:gd name="T120" fmla="*/ 92 w 95"/>
                <a:gd name="T121"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95">
                  <a:moveTo>
                    <a:pt x="2" y="95"/>
                  </a:moveTo>
                  <a:lnTo>
                    <a:pt x="0" y="95"/>
                  </a:lnTo>
                  <a:lnTo>
                    <a:pt x="2" y="95"/>
                  </a:lnTo>
                  <a:lnTo>
                    <a:pt x="0" y="95"/>
                  </a:lnTo>
                  <a:lnTo>
                    <a:pt x="2" y="95"/>
                  </a:lnTo>
                  <a:close/>
                  <a:moveTo>
                    <a:pt x="35" y="90"/>
                  </a:moveTo>
                  <a:lnTo>
                    <a:pt x="38" y="90"/>
                  </a:lnTo>
                  <a:lnTo>
                    <a:pt x="35" y="90"/>
                  </a:lnTo>
                  <a:close/>
                  <a:moveTo>
                    <a:pt x="21" y="90"/>
                  </a:moveTo>
                  <a:lnTo>
                    <a:pt x="24" y="90"/>
                  </a:lnTo>
                  <a:lnTo>
                    <a:pt x="21" y="90"/>
                  </a:lnTo>
                  <a:close/>
                  <a:moveTo>
                    <a:pt x="38" y="90"/>
                  </a:moveTo>
                  <a:lnTo>
                    <a:pt x="40" y="90"/>
                  </a:lnTo>
                  <a:lnTo>
                    <a:pt x="38" y="90"/>
                  </a:lnTo>
                  <a:close/>
                  <a:moveTo>
                    <a:pt x="35" y="85"/>
                  </a:moveTo>
                  <a:lnTo>
                    <a:pt x="38" y="85"/>
                  </a:lnTo>
                  <a:lnTo>
                    <a:pt x="40" y="85"/>
                  </a:lnTo>
                  <a:lnTo>
                    <a:pt x="40" y="88"/>
                  </a:lnTo>
                  <a:lnTo>
                    <a:pt x="38" y="88"/>
                  </a:lnTo>
                  <a:lnTo>
                    <a:pt x="35" y="88"/>
                  </a:lnTo>
                  <a:lnTo>
                    <a:pt x="35" y="90"/>
                  </a:lnTo>
                  <a:lnTo>
                    <a:pt x="33" y="90"/>
                  </a:lnTo>
                  <a:lnTo>
                    <a:pt x="33" y="88"/>
                  </a:lnTo>
                  <a:lnTo>
                    <a:pt x="33" y="85"/>
                  </a:lnTo>
                  <a:lnTo>
                    <a:pt x="35" y="85"/>
                  </a:lnTo>
                  <a:close/>
                  <a:moveTo>
                    <a:pt x="26" y="85"/>
                  </a:moveTo>
                  <a:lnTo>
                    <a:pt x="28" y="85"/>
                  </a:lnTo>
                  <a:lnTo>
                    <a:pt x="31" y="85"/>
                  </a:lnTo>
                  <a:lnTo>
                    <a:pt x="31" y="88"/>
                  </a:lnTo>
                  <a:lnTo>
                    <a:pt x="33" y="88"/>
                  </a:lnTo>
                  <a:lnTo>
                    <a:pt x="33" y="90"/>
                  </a:lnTo>
                  <a:lnTo>
                    <a:pt x="31" y="90"/>
                  </a:lnTo>
                  <a:lnTo>
                    <a:pt x="31" y="92"/>
                  </a:lnTo>
                  <a:lnTo>
                    <a:pt x="28" y="92"/>
                  </a:lnTo>
                  <a:lnTo>
                    <a:pt x="28" y="90"/>
                  </a:lnTo>
                  <a:lnTo>
                    <a:pt x="26" y="90"/>
                  </a:lnTo>
                  <a:lnTo>
                    <a:pt x="24" y="90"/>
                  </a:lnTo>
                  <a:lnTo>
                    <a:pt x="21" y="90"/>
                  </a:lnTo>
                  <a:lnTo>
                    <a:pt x="21" y="88"/>
                  </a:lnTo>
                  <a:lnTo>
                    <a:pt x="19" y="88"/>
                  </a:lnTo>
                  <a:lnTo>
                    <a:pt x="21" y="88"/>
                  </a:lnTo>
                  <a:lnTo>
                    <a:pt x="21" y="85"/>
                  </a:lnTo>
                  <a:lnTo>
                    <a:pt x="24" y="85"/>
                  </a:lnTo>
                  <a:lnTo>
                    <a:pt x="26" y="85"/>
                  </a:lnTo>
                  <a:close/>
                  <a:moveTo>
                    <a:pt x="28" y="80"/>
                  </a:moveTo>
                  <a:lnTo>
                    <a:pt x="28" y="83"/>
                  </a:lnTo>
                  <a:lnTo>
                    <a:pt x="31" y="80"/>
                  </a:lnTo>
                  <a:lnTo>
                    <a:pt x="31" y="83"/>
                  </a:lnTo>
                  <a:lnTo>
                    <a:pt x="33" y="83"/>
                  </a:lnTo>
                  <a:lnTo>
                    <a:pt x="33" y="85"/>
                  </a:lnTo>
                  <a:lnTo>
                    <a:pt x="33" y="88"/>
                  </a:lnTo>
                  <a:lnTo>
                    <a:pt x="33" y="85"/>
                  </a:lnTo>
                  <a:lnTo>
                    <a:pt x="33" y="88"/>
                  </a:lnTo>
                  <a:lnTo>
                    <a:pt x="31" y="88"/>
                  </a:lnTo>
                  <a:lnTo>
                    <a:pt x="31" y="85"/>
                  </a:lnTo>
                  <a:lnTo>
                    <a:pt x="31" y="88"/>
                  </a:lnTo>
                  <a:lnTo>
                    <a:pt x="31" y="85"/>
                  </a:lnTo>
                  <a:lnTo>
                    <a:pt x="28" y="85"/>
                  </a:lnTo>
                  <a:lnTo>
                    <a:pt x="26" y="85"/>
                  </a:lnTo>
                  <a:lnTo>
                    <a:pt x="24" y="85"/>
                  </a:lnTo>
                  <a:lnTo>
                    <a:pt x="24" y="83"/>
                  </a:lnTo>
                  <a:lnTo>
                    <a:pt x="26" y="83"/>
                  </a:lnTo>
                  <a:lnTo>
                    <a:pt x="28" y="83"/>
                  </a:lnTo>
                  <a:lnTo>
                    <a:pt x="28" y="80"/>
                  </a:lnTo>
                  <a:close/>
                  <a:moveTo>
                    <a:pt x="19" y="80"/>
                  </a:moveTo>
                  <a:lnTo>
                    <a:pt x="21" y="83"/>
                  </a:lnTo>
                  <a:lnTo>
                    <a:pt x="24" y="83"/>
                  </a:lnTo>
                  <a:lnTo>
                    <a:pt x="21" y="83"/>
                  </a:lnTo>
                  <a:lnTo>
                    <a:pt x="19" y="83"/>
                  </a:lnTo>
                  <a:lnTo>
                    <a:pt x="19" y="80"/>
                  </a:lnTo>
                  <a:lnTo>
                    <a:pt x="16" y="80"/>
                  </a:lnTo>
                  <a:lnTo>
                    <a:pt x="16" y="78"/>
                  </a:lnTo>
                  <a:lnTo>
                    <a:pt x="14" y="78"/>
                  </a:lnTo>
                  <a:lnTo>
                    <a:pt x="16" y="78"/>
                  </a:lnTo>
                  <a:lnTo>
                    <a:pt x="16" y="80"/>
                  </a:lnTo>
                  <a:lnTo>
                    <a:pt x="14" y="80"/>
                  </a:lnTo>
                  <a:lnTo>
                    <a:pt x="14" y="78"/>
                  </a:lnTo>
                  <a:lnTo>
                    <a:pt x="16" y="78"/>
                  </a:lnTo>
                  <a:lnTo>
                    <a:pt x="16" y="80"/>
                  </a:lnTo>
                  <a:lnTo>
                    <a:pt x="16" y="78"/>
                  </a:lnTo>
                  <a:lnTo>
                    <a:pt x="16" y="80"/>
                  </a:lnTo>
                  <a:lnTo>
                    <a:pt x="19" y="80"/>
                  </a:lnTo>
                  <a:lnTo>
                    <a:pt x="19" y="83"/>
                  </a:lnTo>
                  <a:lnTo>
                    <a:pt x="19" y="80"/>
                  </a:lnTo>
                  <a:close/>
                  <a:moveTo>
                    <a:pt x="19" y="80"/>
                  </a:moveTo>
                  <a:lnTo>
                    <a:pt x="16" y="80"/>
                  </a:lnTo>
                  <a:lnTo>
                    <a:pt x="16" y="78"/>
                  </a:lnTo>
                  <a:lnTo>
                    <a:pt x="19" y="80"/>
                  </a:lnTo>
                  <a:close/>
                  <a:moveTo>
                    <a:pt x="45" y="59"/>
                  </a:moveTo>
                  <a:lnTo>
                    <a:pt x="43" y="59"/>
                  </a:lnTo>
                  <a:lnTo>
                    <a:pt x="45" y="59"/>
                  </a:lnTo>
                  <a:close/>
                  <a:moveTo>
                    <a:pt x="28" y="54"/>
                  </a:moveTo>
                  <a:lnTo>
                    <a:pt x="31" y="54"/>
                  </a:lnTo>
                  <a:lnTo>
                    <a:pt x="28" y="54"/>
                  </a:lnTo>
                  <a:close/>
                  <a:moveTo>
                    <a:pt x="33" y="28"/>
                  </a:moveTo>
                  <a:lnTo>
                    <a:pt x="35" y="28"/>
                  </a:lnTo>
                  <a:lnTo>
                    <a:pt x="33" y="28"/>
                  </a:lnTo>
                  <a:close/>
                  <a:moveTo>
                    <a:pt x="40" y="19"/>
                  </a:moveTo>
                  <a:lnTo>
                    <a:pt x="43" y="21"/>
                  </a:lnTo>
                  <a:lnTo>
                    <a:pt x="40" y="21"/>
                  </a:lnTo>
                  <a:lnTo>
                    <a:pt x="40" y="23"/>
                  </a:lnTo>
                  <a:lnTo>
                    <a:pt x="43" y="23"/>
                  </a:lnTo>
                  <a:lnTo>
                    <a:pt x="40" y="23"/>
                  </a:lnTo>
                  <a:lnTo>
                    <a:pt x="40" y="26"/>
                  </a:lnTo>
                  <a:lnTo>
                    <a:pt x="38" y="26"/>
                  </a:lnTo>
                  <a:lnTo>
                    <a:pt x="38" y="28"/>
                  </a:lnTo>
                  <a:lnTo>
                    <a:pt x="38" y="26"/>
                  </a:lnTo>
                  <a:lnTo>
                    <a:pt x="35" y="26"/>
                  </a:lnTo>
                  <a:lnTo>
                    <a:pt x="38" y="28"/>
                  </a:lnTo>
                  <a:lnTo>
                    <a:pt x="35" y="28"/>
                  </a:lnTo>
                  <a:lnTo>
                    <a:pt x="35" y="26"/>
                  </a:lnTo>
                  <a:lnTo>
                    <a:pt x="35" y="23"/>
                  </a:lnTo>
                  <a:lnTo>
                    <a:pt x="38" y="21"/>
                  </a:lnTo>
                  <a:lnTo>
                    <a:pt x="38" y="19"/>
                  </a:lnTo>
                  <a:lnTo>
                    <a:pt x="40" y="19"/>
                  </a:lnTo>
                  <a:close/>
                  <a:moveTo>
                    <a:pt x="52" y="14"/>
                  </a:moveTo>
                  <a:lnTo>
                    <a:pt x="54" y="14"/>
                  </a:lnTo>
                  <a:lnTo>
                    <a:pt x="52" y="14"/>
                  </a:lnTo>
                  <a:close/>
                  <a:moveTo>
                    <a:pt x="50" y="14"/>
                  </a:moveTo>
                  <a:lnTo>
                    <a:pt x="47" y="14"/>
                  </a:lnTo>
                  <a:lnTo>
                    <a:pt x="50" y="12"/>
                  </a:lnTo>
                  <a:lnTo>
                    <a:pt x="50" y="14"/>
                  </a:lnTo>
                  <a:close/>
                  <a:moveTo>
                    <a:pt x="47" y="12"/>
                  </a:moveTo>
                  <a:lnTo>
                    <a:pt x="47" y="14"/>
                  </a:lnTo>
                  <a:lnTo>
                    <a:pt x="45" y="14"/>
                  </a:lnTo>
                  <a:lnTo>
                    <a:pt x="45" y="16"/>
                  </a:lnTo>
                  <a:lnTo>
                    <a:pt x="43" y="16"/>
                  </a:lnTo>
                  <a:lnTo>
                    <a:pt x="40" y="16"/>
                  </a:lnTo>
                  <a:lnTo>
                    <a:pt x="43" y="14"/>
                  </a:lnTo>
                  <a:lnTo>
                    <a:pt x="45" y="14"/>
                  </a:lnTo>
                  <a:lnTo>
                    <a:pt x="45" y="12"/>
                  </a:lnTo>
                  <a:lnTo>
                    <a:pt x="47" y="12"/>
                  </a:lnTo>
                  <a:close/>
                  <a:moveTo>
                    <a:pt x="64" y="4"/>
                  </a:moveTo>
                  <a:lnTo>
                    <a:pt x="62" y="4"/>
                  </a:lnTo>
                  <a:lnTo>
                    <a:pt x="62" y="7"/>
                  </a:lnTo>
                  <a:lnTo>
                    <a:pt x="59" y="7"/>
                  </a:lnTo>
                  <a:lnTo>
                    <a:pt x="62" y="7"/>
                  </a:lnTo>
                  <a:lnTo>
                    <a:pt x="59" y="7"/>
                  </a:lnTo>
                  <a:lnTo>
                    <a:pt x="62" y="7"/>
                  </a:lnTo>
                  <a:lnTo>
                    <a:pt x="59" y="7"/>
                  </a:lnTo>
                  <a:lnTo>
                    <a:pt x="57" y="7"/>
                  </a:lnTo>
                  <a:lnTo>
                    <a:pt x="57" y="9"/>
                  </a:lnTo>
                  <a:lnTo>
                    <a:pt x="54" y="9"/>
                  </a:lnTo>
                  <a:lnTo>
                    <a:pt x="52" y="9"/>
                  </a:lnTo>
                  <a:lnTo>
                    <a:pt x="50" y="9"/>
                  </a:lnTo>
                  <a:lnTo>
                    <a:pt x="52" y="7"/>
                  </a:lnTo>
                  <a:lnTo>
                    <a:pt x="54" y="7"/>
                  </a:lnTo>
                  <a:lnTo>
                    <a:pt x="57" y="7"/>
                  </a:lnTo>
                  <a:lnTo>
                    <a:pt x="59" y="7"/>
                  </a:lnTo>
                  <a:lnTo>
                    <a:pt x="59" y="4"/>
                  </a:lnTo>
                  <a:lnTo>
                    <a:pt x="62" y="4"/>
                  </a:lnTo>
                  <a:lnTo>
                    <a:pt x="64" y="4"/>
                  </a:lnTo>
                  <a:close/>
                  <a:moveTo>
                    <a:pt x="66" y="4"/>
                  </a:moveTo>
                  <a:lnTo>
                    <a:pt x="69" y="4"/>
                  </a:lnTo>
                  <a:lnTo>
                    <a:pt x="71" y="4"/>
                  </a:lnTo>
                  <a:lnTo>
                    <a:pt x="73" y="4"/>
                  </a:lnTo>
                  <a:lnTo>
                    <a:pt x="76" y="4"/>
                  </a:lnTo>
                  <a:lnTo>
                    <a:pt x="78" y="4"/>
                  </a:lnTo>
                  <a:lnTo>
                    <a:pt x="76" y="4"/>
                  </a:lnTo>
                  <a:lnTo>
                    <a:pt x="73" y="4"/>
                  </a:lnTo>
                  <a:lnTo>
                    <a:pt x="71" y="4"/>
                  </a:lnTo>
                  <a:lnTo>
                    <a:pt x="71" y="7"/>
                  </a:lnTo>
                  <a:lnTo>
                    <a:pt x="71" y="4"/>
                  </a:lnTo>
                  <a:lnTo>
                    <a:pt x="69" y="4"/>
                  </a:lnTo>
                  <a:lnTo>
                    <a:pt x="69" y="7"/>
                  </a:lnTo>
                  <a:lnTo>
                    <a:pt x="66" y="7"/>
                  </a:lnTo>
                  <a:lnTo>
                    <a:pt x="66" y="4"/>
                  </a:lnTo>
                  <a:lnTo>
                    <a:pt x="64" y="4"/>
                  </a:lnTo>
                  <a:lnTo>
                    <a:pt x="66" y="4"/>
                  </a:lnTo>
                  <a:close/>
                  <a:moveTo>
                    <a:pt x="81" y="4"/>
                  </a:moveTo>
                  <a:lnTo>
                    <a:pt x="78" y="4"/>
                  </a:lnTo>
                  <a:lnTo>
                    <a:pt x="81" y="4"/>
                  </a:lnTo>
                  <a:close/>
                  <a:moveTo>
                    <a:pt x="90" y="2"/>
                  </a:moveTo>
                  <a:lnTo>
                    <a:pt x="88" y="2"/>
                  </a:lnTo>
                  <a:lnTo>
                    <a:pt x="85" y="4"/>
                  </a:lnTo>
                  <a:lnTo>
                    <a:pt x="83" y="4"/>
                  </a:lnTo>
                  <a:lnTo>
                    <a:pt x="83" y="2"/>
                  </a:lnTo>
                  <a:lnTo>
                    <a:pt x="85" y="2"/>
                  </a:lnTo>
                  <a:lnTo>
                    <a:pt x="88" y="2"/>
                  </a:lnTo>
                  <a:lnTo>
                    <a:pt x="90" y="2"/>
                  </a:lnTo>
                  <a:close/>
                  <a:moveTo>
                    <a:pt x="95" y="0"/>
                  </a:moveTo>
                  <a:lnTo>
                    <a:pt x="95" y="2"/>
                  </a:lnTo>
                  <a:lnTo>
                    <a:pt x="92" y="2"/>
                  </a:lnTo>
                  <a:lnTo>
                    <a:pt x="92" y="0"/>
                  </a:lnTo>
                  <a:lnTo>
                    <a:pt x="9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3" name="Freeform 52501"/>
            <p:cNvSpPr>
              <a:spLocks noEditPoints="1"/>
            </p:cNvSpPr>
            <p:nvPr/>
          </p:nvSpPr>
          <p:spPr bwMode="auto">
            <a:xfrm>
              <a:off x="2217735" y="4489466"/>
              <a:ext cx="93663" cy="90488"/>
            </a:xfrm>
            <a:custGeom>
              <a:avLst/>
              <a:gdLst>
                <a:gd name="T0" fmla="*/ 2 w 59"/>
                <a:gd name="T1" fmla="*/ 57 h 57"/>
                <a:gd name="T2" fmla="*/ 2 w 59"/>
                <a:gd name="T3" fmla="*/ 57 h 57"/>
                <a:gd name="T4" fmla="*/ 2 w 59"/>
                <a:gd name="T5" fmla="*/ 57 h 57"/>
                <a:gd name="T6" fmla="*/ 2 w 59"/>
                <a:gd name="T7" fmla="*/ 57 h 57"/>
                <a:gd name="T8" fmla="*/ 2 w 59"/>
                <a:gd name="T9" fmla="*/ 57 h 57"/>
                <a:gd name="T10" fmla="*/ 5 w 59"/>
                <a:gd name="T11" fmla="*/ 57 h 57"/>
                <a:gd name="T12" fmla="*/ 5 w 59"/>
                <a:gd name="T13" fmla="*/ 57 h 57"/>
                <a:gd name="T14" fmla="*/ 5 w 59"/>
                <a:gd name="T15" fmla="*/ 57 h 57"/>
                <a:gd name="T16" fmla="*/ 5 w 59"/>
                <a:gd name="T17" fmla="*/ 57 h 57"/>
                <a:gd name="T18" fmla="*/ 5 w 59"/>
                <a:gd name="T19" fmla="*/ 57 h 57"/>
                <a:gd name="T20" fmla="*/ 5 w 59"/>
                <a:gd name="T21" fmla="*/ 57 h 57"/>
                <a:gd name="T22" fmla="*/ 0 w 59"/>
                <a:gd name="T23" fmla="*/ 57 h 57"/>
                <a:gd name="T24" fmla="*/ 16 w 59"/>
                <a:gd name="T25" fmla="*/ 50 h 57"/>
                <a:gd name="T26" fmla="*/ 16 w 59"/>
                <a:gd name="T27" fmla="*/ 50 h 57"/>
                <a:gd name="T28" fmla="*/ 16 w 59"/>
                <a:gd name="T29" fmla="*/ 50 h 57"/>
                <a:gd name="T30" fmla="*/ 31 w 59"/>
                <a:gd name="T31" fmla="*/ 50 h 57"/>
                <a:gd name="T32" fmla="*/ 31 w 59"/>
                <a:gd name="T33" fmla="*/ 50 h 57"/>
                <a:gd name="T34" fmla="*/ 35 w 59"/>
                <a:gd name="T35" fmla="*/ 48 h 57"/>
                <a:gd name="T36" fmla="*/ 35 w 59"/>
                <a:gd name="T37" fmla="*/ 48 h 57"/>
                <a:gd name="T38" fmla="*/ 35 w 59"/>
                <a:gd name="T39" fmla="*/ 48 h 57"/>
                <a:gd name="T40" fmla="*/ 35 w 59"/>
                <a:gd name="T41" fmla="*/ 48 h 57"/>
                <a:gd name="T42" fmla="*/ 35 w 59"/>
                <a:gd name="T43" fmla="*/ 48 h 57"/>
                <a:gd name="T44" fmla="*/ 40 w 59"/>
                <a:gd name="T45" fmla="*/ 48 h 57"/>
                <a:gd name="T46" fmla="*/ 40 w 59"/>
                <a:gd name="T47" fmla="*/ 48 h 57"/>
                <a:gd name="T48" fmla="*/ 40 w 59"/>
                <a:gd name="T49" fmla="*/ 48 h 57"/>
                <a:gd name="T50" fmla="*/ 38 w 59"/>
                <a:gd name="T51" fmla="*/ 48 h 57"/>
                <a:gd name="T52" fmla="*/ 38 w 59"/>
                <a:gd name="T53" fmla="*/ 48 h 57"/>
                <a:gd name="T54" fmla="*/ 38 w 59"/>
                <a:gd name="T55" fmla="*/ 48 h 57"/>
                <a:gd name="T56" fmla="*/ 38 w 59"/>
                <a:gd name="T57" fmla="*/ 48 h 57"/>
                <a:gd name="T58" fmla="*/ 38 w 59"/>
                <a:gd name="T59" fmla="*/ 48 h 57"/>
                <a:gd name="T60" fmla="*/ 38 w 59"/>
                <a:gd name="T61" fmla="*/ 48 h 57"/>
                <a:gd name="T62" fmla="*/ 26 w 59"/>
                <a:gd name="T63" fmla="*/ 43 h 57"/>
                <a:gd name="T64" fmla="*/ 26 w 59"/>
                <a:gd name="T65" fmla="*/ 43 h 57"/>
                <a:gd name="T66" fmla="*/ 59 w 59"/>
                <a:gd name="T67" fmla="*/ 41 h 57"/>
                <a:gd name="T68" fmla="*/ 59 w 59"/>
                <a:gd name="T69" fmla="*/ 41 h 57"/>
                <a:gd name="T70" fmla="*/ 28 w 59"/>
                <a:gd name="T71" fmla="*/ 38 h 57"/>
                <a:gd name="T72" fmla="*/ 28 w 59"/>
                <a:gd name="T73" fmla="*/ 38 h 57"/>
                <a:gd name="T74" fmla="*/ 14 w 59"/>
                <a:gd name="T75" fmla="*/ 38 h 57"/>
                <a:gd name="T76" fmla="*/ 14 w 59"/>
                <a:gd name="T77" fmla="*/ 38 h 57"/>
                <a:gd name="T78" fmla="*/ 50 w 59"/>
                <a:gd name="T79" fmla="*/ 36 h 57"/>
                <a:gd name="T80" fmla="*/ 50 w 59"/>
                <a:gd name="T81" fmla="*/ 36 h 57"/>
                <a:gd name="T82" fmla="*/ 47 w 59"/>
                <a:gd name="T83" fmla="*/ 17 h 57"/>
                <a:gd name="T84" fmla="*/ 47 w 59"/>
                <a:gd name="T85" fmla="*/ 17 h 57"/>
                <a:gd name="T86" fmla="*/ 45 w 59"/>
                <a:gd name="T87" fmla="*/ 17 h 57"/>
                <a:gd name="T88" fmla="*/ 45 w 59"/>
                <a:gd name="T89" fmla="*/ 17 h 57"/>
                <a:gd name="T90" fmla="*/ 47 w 59"/>
                <a:gd name="T91" fmla="*/ 17 h 57"/>
                <a:gd name="T92" fmla="*/ 47 w 59"/>
                <a:gd name="T93" fmla="*/ 17 h 57"/>
                <a:gd name="T94" fmla="*/ 40 w 59"/>
                <a:gd name="T95" fmla="*/ 15 h 57"/>
                <a:gd name="T96" fmla="*/ 31 w 59"/>
                <a:gd name="T97" fmla="*/ 12 h 57"/>
                <a:gd name="T98" fmla="*/ 31 w 59"/>
                <a:gd name="T99" fmla="*/ 12 h 57"/>
                <a:gd name="T100" fmla="*/ 31 w 59"/>
                <a:gd name="T101" fmla="*/ 12 h 57"/>
                <a:gd name="T102" fmla="*/ 31 w 59"/>
                <a:gd name="T103" fmla="*/ 12 h 57"/>
                <a:gd name="T104" fmla="*/ 59 w 59"/>
                <a:gd name="T105" fmla="*/ 10 h 57"/>
                <a:gd name="T106" fmla="*/ 59 w 59"/>
                <a:gd name="T107" fmla="*/ 10 h 57"/>
                <a:gd name="T108" fmla="*/ 54 w 59"/>
                <a:gd name="T109" fmla="*/ 0 h 57"/>
                <a:gd name="T110" fmla="*/ 54 w 59"/>
                <a:gd name="T111" fmla="*/ 0 h 57"/>
                <a:gd name="T112" fmla="*/ 54 w 59"/>
                <a:gd name="T113" fmla="*/ 0 h 57"/>
                <a:gd name="T114" fmla="*/ 54 w 59"/>
                <a:gd name="T11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 h="57">
                  <a:moveTo>
                    <a:pt x="2" y="57"/>
                  </a:moveTo>
                  <a:lnTo>
                    <a:pt x="2" y="57"/>
                  </a:lnTo>
                  <a:lnTo>
                    <a:pt x="2" y="57"/>
                  </a:lnTo>
                  <a:lnTo>
                    <a:pt x="2" y="57"/>
                  </a:lnTo>
                  <a:lnTo>
                    <a:pt x="2" y="57"/>
                  </a:lnTo>
                  <a:close/>
                  <a:moveTo>
                    <a:pt x="2" y="57"/>
                  </a:moveTo>
                  <a:lnTo>
                    <a:pt x="2" y="57"/>
                  </a:lnTo>
                  <a:lnTo>
                    <a:pt x="2" y="57"/>
                  </a:lnTo>
                  <a:lnTo>
                    <a:pt x="2" y="57"/>
                  </a:lnTo>
                  <a:lnTo>
                    <a:pt x="2" y="57"/>
                  </a:lnTo>
                  <a:lnTo>
                    <a:pt x="2" y="57"/>
                  </a:lnTo>
                  <a:close/>
                  <a:moveTo>
                    <a:pt x="2" y="57"/>
                  </a:moveTo>
                  <a:lnTo>
                    <a:pt x="2" y="57"/>
                  </a:lnTo>
                  <a:lnTo>
                    <a:pt x="2" y="57"/>
                  </a:lnTo>
                  <a:lnTo>
                    <a:pt x="2" y="57"/>
                  </a:lnTo>
                  <a:lnTo>
                    <a:pt x="2" y="57"/>
                  </a:lnTo>
                  <a:close/>
                  <a:moveTo>
                    <a:pt x="5" y="57"/>
                  </a:moveTo>
                  <a:lnTo>
                    <a:pt x="5" y="57"/>
                  </a:lnTo>
                  <a:lnTo>
                    <a:pt x="5" y="57"/>
                  </a:lnTo>
                  <a:lnTo>
                    <a:pt x="5" y="57"/>
                  </a:lnTo>
                  <a:lnTo>
                    <a:pt x="5" y="57"/>
                  </a:lnTo>
                  <a:lnTo>
                    <a:pt x="5" y="57"/>
                  </a:lnTo>
                  <a:close/>
                  <a:moveTo>
                    <a:pt x="5" y="57"/>
                  </a:moveTo>
                  <a:lnTo>
                    <a:pt x="5" y="57"/>
                  </a:lnTo>
                  <a:lnTo>
                    <a:pt x="5" y="57"/>
                  </a:lnTo>
                  <a:lnTo>
                    <a:pt x="5" y="57"/>
                  </a:lnTo>
                  <a:lnTo>
                    <a:pt x="5" y="57"/>
                  </a:lnTo>
                  <a:lnTo>
                    <a:pt x="5" y="57"/>
                  </a:lnTo>
                  <a:lnTo>
                    <a:pt x="5" y="57"/>
                  </a:lnTo>
                  <a:lnTo>
                    <a:pt x="5" y="57"/>
                  </a:lnTo>
                  <a:lnTo>
                    <a:pt x="5" y="57"/>
                  </a:lnTo>
                  <a:lnTo>
                    <a:pt x="5" y="57"/>
                  </a:lnTo>
                  <a:lnTo>
                    <a:pt x="5" y="57"/>
                  </a:lnTo>
                  <a:close/>
                  <a:moveTo>
                    <a:pt x="0" y="57"/>
                  </a:moveTo>
                  <a:lnTo>
                    <a:pt x="2" y="57"/>
                  </a:lnTo>
                  <a:lnTo>
                    <a:pt x="0" y="57"/>
                  </a:lnTo>
                  <a:lnTo>
                    <a:pt x="0" y="57"/>
                  </a:lnTo>
                  <a:lnTo>
                    <a:pt x="0" y="57"/>
                  </a:lnTo>
                  <a:close/>
                  <a:moveTo>
                    <a:pt x="16" y="50"/>
                  </a:moveTo>
                  <a:lnTo>
                    <a:pt x="16" y="50"/>
                  </a:lnTo>
                  <a:lnTo>
                    <a:pt x="16" y="50"/>
                  </a:lnTo>
                  <a:lnTo>
                    <a:pt x="16" y="50"/>
                  </a:lnTo>
                  <a:close/>
                  <a:moveTo>
                    <a:pt x="16" y="50"/>
                  </a:moveTo>
                  <a:lnTo>
                    <a:pt x="16" y="50"/>
                  </a:lnTo>
                  <a:lnTo>
                    <a:pt x="16" y="50"/>
                  </a:lnTo>
                  <a:lnTo>
                    <a:pt x="16" y="50"/>
                  </a:lnTo>
                  <a:close/>
                  <a:moveTo>
                    <a:pt x="31" y="50"/>
                  </a:moveTo>
                  <a:lnTo>
                    <a:pt x="31" y="50"/>
                  </a:lnTo>
                  <a:lnTo>
                    <a:pt x="31" y="50"/>
                  </a:lnTo>
                  <a:lnTo>
                    <a:pt x="31" y="50"/>
                  </a:lnTo>
                  <a:lnTo>
                    <a:pt x="31" y="50"/>
                  </a:lnTo>
                  <a:lnTo>
                    <a:pt x="31" y="50"/>
                  </a:lnTo>
                  <a:lnTo>
                    <a:pt x="31" y="50"/>
                  </a:lnTo>
                  <a:close/>
                  <a:moveTo>
                    <a:pt x="35" y="48"/>
                  </a:moveTo>
                  <a:lnTo>
                    <a:pt x="35" y="48"/>
                  </a:lnTo>
                  <a:lnTo>
                    <a:pt x="35" y="48"/>
                  </a:lnTo>
                  <a:lnTo>
                    <a:pt x="35" y="48"/>
                  </a:lnTo>
                  <a:lnTo>
                    <a:pt x="35" y="48"/>
                  </a:lnTo>
                  <a:lnTo>
                    <a:pt x="35" y="48"/>
                  </a:lnTo>
                  <a:lnTo>
                    <a:pt x="35" y="48"/>
                  </a:lnTo>
                  <a:lnTo>
                    <a:pt x="35" y="48"/>
                  </a:lnTo>
                  <a:lnTo>
                    <a:pt x="35" y="48"/>
                  </a:lnTo>
                  <a:close/>
                  <a:moveTo>
                    <a:pt x="35" y="48"/>
                  </a:moveTo>
                  <a:lnTo>
                    <a:pt x="35" y="48"/>
                  </a:lnTo>
                  <a:lnTo>
                    <a:pt x="35" y="48"/>
                  </a:lnTo>
                  <a:lnTo>
                    <a:pt x="35" y="48"/>
                  </a:lnTo>
                  <a:lnTo>
                    <a:pt x="35" y="48"/>
                  </a:lnTo>
                  <a:lnTo>
                    <a:pt x="35" y="48"/>
                  </a:lnTo>
                  <a:close/>
                  <a:moveTo>
                    <a:pt x="40" y="48"/>
                  </a:moveTo>
                  <a:lnTo>
                    <a:pt x="40" y="48"/>
                  </a:lnTo>
                  <a:lnTo>
                    <a:pt x="40" y="48"/>
                  </a:lnTo>
                  <a:lnTo>
                    <a:pt x="40" y="48"/>
                  </a:lnTo>
                  <a:lnTo>
                    <a:pt x="40" y="48"/>
                  </a:lnTo>
                  <a:lnTo>
                    <a:pt x="40" y="48"/>
                  </a:lnTo>
                  <a:lnTo>
                    <a:pt x="40" y="48"/>
                  </a:lnTo>
                  <a:close/>
                  <a:moveTo>
                    <a:pt x="38" y="48"/>
                  </a:moveTo>
                  <a:lnTo>
                    <a:pt x="38" y="48"/>
                  </a:lnTo>
                  <a:lnTo>
                    <a:pt x="38" y="48"/>
                  </a:lnTo>
                  <a:lnTo>
                    <a:pt x="38" y="48"/>
                  </a:lnTo>
                  <a:lnTo>
                    <a:pt x="38" y="48"/>
                  </a:lnTo>
                  <a:close/>
                  <a:moveTo>
                    <a:pt x="38" y="48"/>
                  </a:moveTo>
                  <a:lnTo>
                    <a:pt x="38" y="48"/>
                  </a:lnTo>
                  <a:lnTo>
                    <a:pt x="38" y="48"/>
                  </a:lnTo>
                  <a:lnTo>
                    <a:pt x="38" y="48"/>
                  </a:lnTo>
                  <a:lnTo>
                    <a:pt x="38" y="48"/>
                  </a:lnTo>
                  <a:lnTo>
                    <a:pt x="38" y="48"/>
                  </a:lnTo>
                  <a:lnTo>
                    <a:pt x="38" y="48"/>
                  </a:lnTo>
                  <a:lnTo>
                    <a:pt x="38" y="48"/>
                  </a:lnTo>
                  <a:close/>
                  <a:moveTo>
                    <a:pt x="38" y="48"/>
                  </a:moveTo>
                  <a:lnTo>
                    <a:pt x="38" y="48"/>
                  </a:lnTo>
                  <a:lnTo>
                    <a:pt x="38" y="48"/>
                  </a:lnTo>
                  <a:lnTo>
                    <a:pt x="38" y="48"/>
                  </a:lnTo>
                  <a:lnTo>
                    <a:pt x="38" y="48"/>
                  </a:lnTo>
                  <a:lnTo>
                    <a:pt x="38" y="48"/>
                  </a:lnTo>
                  <a:lnTo>
                    <a:pt x="38" y="48"/>
                  </a:lnTo>
                  <a:close/>
                  <a:moveTo>
                    <a:pt x="26" y="43"/>
                  </a:moveTo>
                  <a:lnTo>
                    <a:pt x="26" y="43"/>
                  </a:lnTo>
                  <a:lnTo>
                    <a:pt x="26" y="43"/>
                  </a:lnTo>
                  <a:lnTo>
                    <a:pt x="26" y="43"/>
                  </a:lnTo>
                  <a:lnTo>
                    <a:pt x="26" y="43"/>
                  </a:lnTo>
                  <a:close/>
                  <a:moveTo>
                    <a:pt x="59" y="41"/>
                  </a:moveTo>
                  <a:lnTo>
                    <a:pt x="59" y="41"/>
                  </a:lnTo>
                  <a:lnTo>
                    <a:pt x="59" y="41"/>
                  </a:lnTo>
                  <a:lnTo>
                    <a:pt x="59" y="41"/>
                  </a:lnTo>
                  <a:lnTo>
                    <a:pt x="59" y="41"/>
                  </a:lnTo>
                  <a:lnTo>
                    <a:pt x="59" y="41"/>
                  </a:lnTo>
                  <a:lnTo>
                    <a:pt x="59" y="41"/>
                  </a:lnTo>
                  <a:close/>
                  <a:moveTo>
                    <a:pt x="28" y="38"/>
                  </a:moveTo>
                  <a:lnTo>
                    <a:pt x="28" y="38"/>
                  </a:lnTo>
                  <a:lnTo>
                    <a:pt x="28" y="38"/>
                  </a:lnTo>
                  <a:lnTo>
                    <a:pt x="28" y="38"/>
                  </a:lnTo>
                  <a:lnTo>
                    <a:pt x="28" y="38"/>
                  </a:lnTo>
                  <a:lnTo>
                    <a:pt x="28" y="38"/>
                  </a:lnTo>
                  <a:close/>
                  <a:moveTo>
                    <a:pt x="14" y="38"/>
                  </a:moveTo>
                  <a:lnTo>
                    <a:pt x="14" y="38"/>
                  </a:lnTo>
                  <a:lnTo>
                    <a:pt x="14" y="38"/>
                  </a:lnTo>
                  <a:lnTo>
                    <a:pt x="14" y="38"/>
                  </a:lnTo>
                  <a:close/>
                  <a:moveTo>
                    <a:pt x="50" y="36"/>
                  </a:moveTo>
                  <a:lnTo>
                    <a:pt x="50" y="36"/>
                  </a:lnTo>
                  <a:lnTo>
                    <a:pt x="50" y="36"/>
                  </a:lnTo>
                  <a:lnTo>
                    <a:pt x="50" y="36"/>
                  </a:lnTo>
                  <a:lnTo>
                    <a:pt x="50" y="36"/>
                  </a:lnTo>
                  <a:lnTo>
                    <a:pt x="50" y="36"/>
                  </a:lnTo>
                  <a:lnTo>
                    <a:pt x="50" y="36"/>
                  </a:lnTo>
                  <a:close/>
                  <a:moveTo>
                    <a:pt x="47" y="17"/>
                  </a:moveTo>
                  <a:lnTo>
                    <a:pt x="47" y="17"/>
                  </a:lnTo>
                  <a:lnTo>
                    <a:pt x="47" y="17"/>
                  </a:lnTo>
                  <a:lnTo>
                    <a:pt x="47" y="17"/>
                  </a:lnTo>
                  <a:lnTo>
                    <a:pt x="47" y="17"/>
                  </a:lnTo>
                  <a:lnTo>
                    <a:pt x="47" y="17"/>
                  </a:lnTo>
                  <a:close/>
                  <a:moveTo>
                    <a:pt x="45" y="17"/>
                  </a:moveTo>
                  <a:lnTo>
                    <a:pt x="45" y="17"/>
                  </a:lnTo>
                  <a:lnTo>
                    <a:pt x="45" y="17"/>
                  </a:lnTo>
                  <a:lnTo>
                    <a:pt x="45" y="17"/>
                  </a:lnTo>
                  <a:lnTo>
                    <a:pt x="45" y="17"/>
                  </a:lnTo>
                  <a:close/>
                  <a:moveTo>
                    <a:pt x="47" y="17"/>
                  </a:moveTo>
                  <a:lnTo>
                    <a:pt x="47" y="17"/>
                  </a:lnTo>
                  <a:lnTo>
                    <a:pt x="47" y="17"/>
                  </a:lnTo>
                  <a:lnTo>
                    <a:pt x="47" y="17"/>
                  </a:lnTo>
                  <a:lnTo>
                    <a:pt x="47" y="17"/>
                  </a:lnTo>
                  <a:lnTo>
                    <a:pt x="47" y="17"/>
                  </a:lnTo>
                  <a:close/>
                  <a:moveTo>
                    <a:pt x="40" y="15"/>
                  </a:moveTo>
                  <a:lnTo>
                    <a:pt x="40" y="15"/>
                  </a:lnTo>
                  <a:lnTo>
                    <a:pt x="40" y="15"/>
                  </a:lnTo>
                  <a:lnTo>
                    <a:pt x="40" y="15"/>
                  </a:lnTo>
                  <a:lnTo>
                    <a:pt x="40" y="15"/>
                  </a:lnTo>
                  <a:close/>
                  <a:moveTo>
                    <a:pt x="31" y="12"/>
                  </a:moveTo>
                  <a:lnTo>
                    <a:pt x="31" y="12"/>
                  </a:lnTo>
                  <a:lnTo>
                    <a:pt x="31" y="12"/>
                  </a:lnTo>
                  <a:lnTo>
                    <a:pt x="31" y="12"/>
                  </a:lnTo>
                  <a:lnTo>
                    <a:pt x="31" y="12"/>
                  </a:lnTo>
                  <a:close/>
                  <a:moveTo>
                    <a:pt x="31" y="12"/>
                  </a:moveTo>
                  <a:lnTo>
                    <a:pt x="31" y="12"/>
                  </a:lnTo>
                  <a:lnTo>
                    <a:pt x="31" y="12"/>
                  </a:lnTo>
                  <a:lnTo>
                    <a:pt x="31" y="12"/>
                  </a:lnTo>
                  <a:lnTo>
                    <a:pt x="31" y="12"/>
                  </a:lnTo>
                  <a:lnTo>
                    <a:pt x="31" y="12"/>
                  </a:lnTo>
                  <a:lnTo>
                    <a:pt x="31" y="12"/>
                  </a:lnTo>
                  <a:close/>
                  <a:moveTo>
                    <a:pt x="59" y="10"/>
                  </a:moveTo>
                  <a:lnTo>
                    <a:pt x="57" y="10"/>
                  </a:lnTo>
                  <a:lnTo>
                    <a:pt x="59" y="10"/>
                  </a:lnTo>
                  <a:lnTo>
                    <a:pt x="59" y="10"/>
                  </a:lnTo>
                  <a:lnTo>
                    <a:pt x="59" y="10"/>
                  </a:lnTo>
                  <a:lnTo>
                    <a:pt x="59" y="10"/>
                  </a:lnTo>
                  <a:close/>
                  <a:moveTo>
                    <a:pt x="54" y="0"/>
                  </a:moveTo>
                  <a:lnTo>
                    <a:pt x="54" y="0"/>
                  </a:lnTo>
                  <a:lnTo>
                    <a:pt x="54" y="0"/>
                  </a:lnTo>
                  <a:lnTo>
                    <a:pt x="54" y="0"/>
                  </a:lnTo>
                  <a:lnTo>
                    <a:pt x="54" y="0"/>
                  </a:lnTo>
                  <a:lnTo>
                    <a:pt x="54" y="0"/>
                  </a:lnTo>
                  <a:close/>
                  <a:moveTo>
                    <a:pt x="54" y="0"/>
                  </a:moveTo>
                  <a:lnTo>
                    <a:pt x="54" y="0"/>
                  </a:lnTo>
                  <a:lnTo>
                    <a:pt x="54" y="0"/>
                  </a:lnTo>
                  <a:lnTo>
                    <a:pt x="54" y="0"/>
                  </a:lnTo>
                  <a:lnTo>
                    <a:pt x="5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4" name="Freeform 52502"/>
            <p:cNvSpPr>
              <a:spLocks noEditPoints="1"/>
            </p:cNvSpPr>
            <p:nvPr/>
          </p:nvSpPr>
          <p:spPr bwMode="auto">
            <a:xfrm>
              <a:off x="2955922" y="1939935"/>
              <a:ext cx="496888" cy="347664"/>
            </a:xfrm>
            <a:custGeom>
              <a:avLst/>
              <a:gdLst>
                <a:gd name="T0" fmla="*/ 192 w 313"/>
                <a:gd name="T1" fmla="*/ 174 h 219"/>
                <a:gd name="T2" fmla="*/ 211 w 313"/>
                <a:gd name="T3" fmla="*/ 183 h 219"/>
                <a:gd name="T4" fmla="*/ 197 w 313"/>
                <a:gd name="T5" fmla="*/ 200 h 219"/>
                <a:gd name="T6" fmla="*/ 166 w 313"/>
                <a:gd name="T7" fmla="*/ 217 h 219"/>
                <a:gd name="T8" fmla="*/ 161 w 313"/>
                <a:gd name="T9" fmla="*/ 202 h 219"/>
                <a:gd name="T10" fmla="*/ 173 w 313"/>
                <a:gd name="T11" fmla="*/ 198 h 219"/>
                <a:gd name="T12" fmla="*/ 164 w 313"/>
                <a:gd name="T13" fmla="*/ 195 h 219"/>
                <a:gd name="T14" fmla="*/ 164 w 313"/>
                <a:gd name="T15" fmla="*/ 188 h 219"/>
                <a:gd name="T16" fmla="*/ 156 w 313"/>
                <a:gd name="T17" fmla="*/ 195 h 219"/>
                <a:gd name="T18" fmla="*/ 140 w 313"/>
                <a:gd name="T19" fmla="*/ 200 h 219"/>
                <a:gd name="T20" fmla="*/ 104 w 313"/>
                <a:gd name="T21" fmla="*/ 202 h 219"/>
                <a:gd name="T22" fmla="*/ 119 w 313"/>
                <a:gd name="T23" fmla="*/ 181 h 219"/>
                <a:gd name="T24" fmla="*/ 109 w 313"/>
                <a:gd name="T25" fmla="*/ 169 h 219"/>
                <a:gd name="T26" fmla="*/ 130 w 313"/>
                <a:gd name="T27" fmla="*/ 155 h 219"/>
                <a:gd name="T28" fmla="*/ 168 w 313"/>
                <a:gd name="T29" fmla="*/ 153 h 219"/>
                <a:gd name="T30" fmla="*/ 175 w 313"/>
                <a:gd name="T31" fmla="*/ 29 h 219"/>
                <a:gd name="T32" fmla="*/ 185 w 313"/>
                <a:gd name="T33" fmla="*/ 27 h 219"/>
                <a:gd name="T34" fmla="*/ 197 w 313"/>
                <a:gd name="T35" fmla="*/ 24 h 219"/>
                <a:gd name="T36" fmla="*/ 202 w 313"/>
                <a:gd name="T37" fmla="*/ 17 h 219"/>
                <a:gd name="T38" fmla="*/ 216 w 313"/>
                <a:gd name="T39" fmla="*/ 15 h 219"/>
                <a:gd name="T40" fmla="*/ 223 w 313"/>
                <a:gd name="T41" fmla="*/ 12 h 219"/>
                <a:gd name="T42" fmla="*/ 232 w 313"/>
                <a:gd name="T43" fmla="*/ 17 h 219"/>
                <a:gd name="T44" fmla="*/ 249 w 313"/>
                <a:gd name="T45" fmla="*/ 19 h 219"/>
                <a:gd name="T46" fmla="*/ 268 w 313"/>
                <a:gd name="T47" fmla="*/ 24 h 219"/>
                <a:gd name="T48" fmla="*/ 301 w 313"/>
                <a:gd name="T49" fmla="*/ 27 h 219"/>
                <a:gd name="T50" fmla="*/ 308 w 313"/>
                <a:gd name="T51" fmla="*/ 48 h 219"/>
                <a:gd name="T52" fmla="*/ 277 w 313"/>
                <a:gd name="T53" fmla="*/ 60 h 219"/>
                <a:gd name="T54" fmla="*/ 247 w 313"/>
                <a:gd name="T55" fmla="*/ 79 h 219"/>
                <a:gd name="T56" fmla="*/ 206 w 313"/>
                <a:gd name="T57" fmla="*/ 88 h 219"/>
                <a:gd name="T58" fmla="*/ 166 w 313"/>
                <a:gd name="T59" fmla="*/ 81 h 219"/>
                <a:gd name="T60" fmla="*/ 145 w 313"/>
                <a:gd name="T61" fmla="*/ 79 h 219"/>
                <a:gd name="T62" fmla="*/ 100 w 313"/>
                <a:gd name="T63" fmla="*/ 77 h 219"/>
                <a:gd name="T64" fmla="*/ 66 w 313"/>
                <a:gd name="T65" fmla="*/ 62 h 219"/>
                <a:gd name="T66" fmla="*/ 97 w 313"/>
                <a:gd name="T67" fmla="*/ 65 h 219"/>
                <a:gd name="T68" fmla="*/ 97 w 313"/>
                <a:gd name="T69" fmla="*/ 62 h 219"/>
                <a:gd name="T70" fmla="*/ 128 w 313"/>
                <a:gd name="T71" fmla="*/ 58 h 219"/>
                <a:gd name="T72" fmla="*/ 123 w 313"/>
                <a:gd name="T73" fmla="*/ 48 h 219"/>
                <a:gd name="T74" fmla="*/ 85 w 313"/>
                <a:gd name="T75" fmla="*/ 50 h 219"/>
                <a:gd name="T76" fmla="*/ 57 w 313"/>
                <a:gd name="T77" fmla="*/ 53 h 219"/>
                <a:gd name="T78" fmla="*/ 35 w 313"/>
                <a:gd name="T79" fmla="*/ 55 h 219"/>
                <a:gd name="T80" fmla="*/ 24 w 313"/>
                <a:gd name="T81" fmla="*/ 50 h 219"/>
                <a:gd name="T82" fmla="*/ 31 w 313"/>
                <a:gd name="T83" fmla="*/ 38 h 219"/>
                <a:gd name="T84" fmla="*/ 35 w 313"/>
                <a:gd name="T85" fmla="*/ 34 h 219"/>
                <a:gd name="T86" fmla="*/ 14 w 313"/>
                <a:gd name="T87" fmla="*/ 31 h 219"/>
                <a:gd name="T88" fmla="*/ 7 w 313"/>
                <a:gd name="T89" fmla="*/ 24 h 219"/>
                <a:gd name="T90" fmla="*/ 28 w 313"/>
                <a:gd name="T91" fmla="*/ 24 h 219"/>
                <a:gd name="T92" fmla="*/ 45 w 313"/>
                <a:gd name="T93" fmla="*/ 27 h 219"/>
                <a:gd name="T94" fmla="*/ 52 w 313"/>
                <a:gd name="T95" fmla="*/ 24 h 219"/>
                <a:gd name="T96" fmla="*/ 57 w 313"/>
                <a:gd name="T97" fmla="*/ 17 h 219"/>
                <a:gd name="T98" fmla="*/ 66 w 313"/>
                <a:gd name="T99" fmla="*/ 15 h 219"/>
                <a:gd name="T100" fmla="*/ 59 w 313"/>
                <a:gd name="T101" fmla="*/ 3 h 219"/>
                <a:gd name="T102" fmla="*/ 78 w 313"/>
                <a:gd name="T103" fmla="*/ 8 h 219"/>
                <a:gd name="T104" fmla="*/ 100 w 313"/>
                <a:gd name="T105" fmla="*/ 15 h 219"/>
                <a:gd name="T106" fmla="*/ 121 w 313"/>
                <a:gd name="T107" fmla="*/ 22 h 219"/>
                <a:gd name="T108" fmla="*/ 128 w 313"/>
                <a:gd name="T109" fmla="*/ 27 h 219"/>
                <a:gd name="T110" fmla="*/ 147 w 313"/>
                <a:gd name="T111" fmla="*/ 36 h 219"/>
                <a:gd name="T112" fmla="*/ 154 w 313"/>
                <a:gd name="T113" fmla="*/ 29 h 219"/>
                <a:gd name="T114" fmla="*/ 154 w 313"/>
                <a:gd name="T115" fmla="*/ 12 h 219"/>
                <a:gd name="T116" fmla="*/ 168 w 313"/>
                <a:gd name="T117" fmla="*/ 5 h 219"/>
                <a:gd name="T118" fmla="*/ 180 w 313"/>
                <a:gd name="T119" fmla="*/ 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3" h="219">
                  <a:moveTo>
                    <a:pt x="171" y="155"/>
                  </a:moveTo>
                  <a:lnTo>
                    <a:pt x="173" y="155"/>
                  </a:lnTo>
                  <a:lnTo>
                    <a:pt x="175" y="155"/>
                  </a:lnTo>
                  <a:lnTo>
                    <a:pt x="178" y="155"/>
                  </a:lnTo>
                  <a:lnTo>
                    <a:pt x="178" y="157"/>
                  </a:lnTo>
                  <a:lnTo>
                    <a:pt x="180" y="160"/>
                  </a:lnTo>
                  <a:lnTo>
                    <a:pt x="178" y="160"/>
                  </a:lnTo>
                  <a:lnTo>
                    <a:pt x="178" y="162"/>
                  </a:lnTo>
                  <a:lnTo>
                    <a:pt x="175" y="162"/>
                  </a:lnTo>
                  <a:lnTo>
                    <a:pt x="178" y="164"/>
                  </a:lnTo>
                  <a:lnTo>
                    <a:pt x="180" y="167"/>
                  </a:lnTo>
                  <a:lnTo>
                    <a:pt x="183" y="167"/>
                  </a:lnTo>
                  <a:lnTo>
                    <a:pt x="183" y="169"/>
                  </a:lnTo>
                  <a:lnTo>
                    <a:pt x="183" y="172"/>
                  </a:lnTo>
                  <a:lnTo>
                    <a:pt x="185" y="172"/>
                  </a:lnTo>
                  <a:lnTo>
                    <a:pt x="187" y="172"/>
                  </a:lnTo>
                  <a:lnTo>
                    <a:pt x="190" y="174"/>
                  </a:lnTo>
                  <a:lnTo>
                    <a:pt x="192" y="174"/>
                  </a:lnTo>
                  <a:lnTo>
                    <a:pt x="194" y="176"/>
                  </a:lnTo>
                  <a:lnTo>
                    <a:pt x="197" y="174"/>
                  </a:lnTo>
                  <a:lnTo>
                    <a:pt x="199" y="174"/>
                  </a:lnTo>
                  <a:lnTo>
                    <a:pt x="202" y="174"/>
                  </a:lnTo>
                  <a:lnTo>
                    <a:pt x="204" y="174"/>
                  </a:lnTo>
                  <a:lnTo>
                    <a:pt x="206" y="174"/>
                  </a:lnTo>
                  <a:lnTo>
                    <a:pt x="211" y="174"/>
                  </a:lnTo>
                  <a:lnTo>
                    <a:pt x="213" y="174"/>
                  </a:lnTo>
                  <a:lnTo>
                    <a:pt x="216" y="174"/>
                  </a:lnTo>
                  <a:lnTo>
                    <a:pt x="216" y="176"/>
                  </a:lnTo>
                  <a:lnTo>
                    <a:pt x="213" y="176"/>
                  </a:lnTo>
                  <a:lnTo>
                    <a:pt x="216" y="176"/>
                  </a:lnTo>
                  <a:lnTo>
                    <a:pt x="218" y="176"/>
                  </a:lnTo>
                  <a:lnTo>
                    <a:pt x="216" y="176"/>
                  </a:lnTo>
                  <a:lnTo>
                    <a:pt x="213" y="179"/>
                  </a:lnTo>
                  <a:lnTo>
                    <a:pt x="211" y="179"/>
                  </a:lnTo>
                  <a:lnTo>
                    <a:pt x="211" y="181"/>
                  </a:lnTo>
                  <a:lnTo>
                    <a:pt x="211" y="183"/>
                  </a:lnTo>
                  <a:lnTo>
                    <a:pt x="209" y="183"/>
                  </a:lnTo>
                  <a:lnTo>
                    <a:pt x="211" y="183"/>
                  </a:lnTo>
                  <a:lnTo>
                    <a:pt x="211" y="186"/>
                  </a:lnTo>
                  <a:lnTo>
                    <a:pt x="213" y="186"/>
                  </a:lnTo>
                  <a:lnTo>
                    <a:pt x="213" y="188"/>
                  </a:lnTo>
                  <a:lnTo>
                    <a:pt x="211" y="188"/>
                  </a:lnTo>
                  <a:lnTo>
                    <a:pt x="211" y="191"/>
                  </a:lnTo>
                  <a:lnTo>
                    <a:pt x="209" y="191"/>
                  </a:lnTo>
                  <a:lnTo>
                    <a:pt x="206" y="191"/>
                  </a:lnTo>
                  <a:lnTo>
                    <a:pt x="206" y="193"/>
                  </a:lnTo>
                  <a:lnTo>
                    <a:pt x="204" y="193"/>
                  </a:lnTo>
                  <a:lnTo>
                    <a:pt x="206" y="193"/>
                  </a:lnTo>
                  <a:lnTo>
                    <a:pt x="206" y="195"/>
                  </a:lnTo>
                  <a:lnTo>
                    <a:pt x="204" y="195"/>
                  </a:lnTo>
                  <a:lnTo>
                    <a:pt x="202" y="195"/>
                  </a:lnTo>
                  <a:lnTo>
                    <a:pt x="202" y="198"/>
                  </a:lnTo>
                  <a:lnTo>
                    <a:pt x="199" y="200"/>
                  </a:lnTo>
                  <a:lnTo>
                    <a:pt x="197" y="200"/>
                  </a:lnTo>
                  <a:lnTo>
                    <a:pt x="194" y="202"/>
                  </a:lnTo>
                  <a:lnTo>
                    <a:pt x="192" y="205"/>
                  </a:lnTo>
                  <a:lnTo>
                    <a:pt x="190" y="205"/>
                  </a:lnTo>
                  <a:lnTo>
                    <a:pt x="190" y="207"/>
                  </a:lnTo>
                  <a:lnTo>
                    <a:pt x="187" y="207"/>
                  </a:lnTo>
                  <a:lnTo>
                    <a:pt x="185" y="207"/>
                  </a:lnTo>
                  <a:lnTo>
                    <a:pt x="185" y="210"/>
                  </a:lnTo>
                  <a:lnTo>
                    <a:pt x="183" y="210"/>
                  </a:lnTo>
                  <a:lnTo>
                    <a:pt x="180" y="210"/>
                  </a:lnTo>
                  <a:lnTo>
                    <a:pt x="180" y="212"/>
                  </a:lnTo>
                  <a:lnTo>
                    <a:pt x="178" y="212"/>
                  </a:lnTo>
                  <a:lnTo>
                    <a:pt x="175" y="212"/>
                  </a:lnTo>
                  <a:lnTo>
                    <a:pt x="175" y="214"/>
                  </a:lnTo>
                  <a:lnTo>
                    <a:pt x="173" y="214"/>
                  </a:lnTo>
                  <a:lnTo>
                    <a:pt x="173" y="217"/>
                  </a:lnTo>
                  <a:lnTo>
                    <a:pt x="171" y="217"/>
                  </a:lnTo>
                  <a:lnTo>
                    <a:pt x="168" y="217"/>
                  </a:lnTo>
                  <a:lnTo>
                    <a:pt x="166" y="217"/>
                  </a:lnTo>
                  <a:lnTo>
                    <a:pt x="164" y="219"/>
                  </a:lnTo>
                  <a:lnTo>
                    <a:pt x="161" y="219"/>
                  </a:lnTo>
                  <a:lnTo>
                    <a:pt x="159" y="219"/>
                  </a:lnTo>
                  <a:lnTo>
                    <a:pt x="159" y="217"/>
                  </a:lnTo>
                  <a:lnTo>
                    <a:pt x="161" y="214"/>
                  </a:lnTo>
                  <a:lnTo>
                    <a:pt x="164" y="214"/>
                  </a:lnTo>
                  <a:lnTo>
                    <a:pt x="164" y="212"/>
                  </a:lnTo>
                  <a:lnTo>
                    <a:pt x="164" y="210"/>
                  </a:lnTo>
                  <a:lnTo>
                    <a:pt x="161" y="210"/>
                  </a:lnTo>
                  <a:lnTo>
                    <a:pt x="159" y="210"/>
                  </a:lnTo>
                  <a:lnTo>
                    <a:pt x="161" y="210"/>
                  </a:lnTo>
                  <a:lnTo>
                    <a:pt x="161" y="207"/>
                  </a:lnTo>
                  <a:lnTo>
                    <a:pt x="164" y="207"/>
                  </a:lnTo>
                  <a:lnTo>
                    <a:pt x="166" y="207"/>
                  </a:lnTo>
                  <a:lnTo>
                    <a:pt x="166" y="205"/>
                  </a:lnTo>
                  <a:lnTo>
                    <a:pt x="166" y="202"/>
                  </a:lnTo>
                  <a:lnTo>
                    <a:pt x="164" y="202"/>
                  </a:lnTo>
                  <a:lnTo>
                    <a:pt x="161" y="202"/>
                  </a:lnTo>
                  <a:lnTo>
                    <a:pt x="161" y="200"/>
                  </a:lnTo>
                  <a:lnTo>
                    <a:pt x="164" y="200"/>
                  </a:lnTo>
                  <a:lnTo>
                    <a:pt x="164" y="202"/>
                  </a:lnTo>
                  <a:lnTo>
                    <a:pt x="166" y="202"/>
                  </a:lnTo>
                  <a:lnTo>
                    <a:pt x="164" y="202"/>
                  </a:lnTo>
                  <a:lnTo>
                    <a:pt x="166" y="202"/>
                  </a:lnTo>
                  <a:lnTo>
                    <a:pt x="168" y="202"/>
                  </a:lnTo>
                  <a:lnTo>
                    <a:pt x="171" y="200"/>
                  </a:lnTo>
                  <a:lnTo>
                    <a:pt x="173" y="200"/>
                  </a:lnTo>
                  <a:lnTo>
                    <a:pt x="175" y="200"/>
                  </a:lnTo>
                  <a:lnTo>
                    <a:pt x="173" y="200"/>
                  </a:lnTo>
                  <a:lnTo>
                    <a:pt x="175" y="200"/>
                  </a:lnTo>
                  <a:lnTo>
                    <a:pt x="173" y="200"/>
                  </a:lnTo>
                  <a:lnTo>
                    <a:pt x="173" y="198"/>
                  </a:lnTo>
                  <a:lnTo>
                    <a:pt x="175" y="198"/>
                  </a:lnTo>
                  <a:lnTo>
                    <a:pt x="173" y="198"/>
                  </a:lnTo>
                  <a:lnTo>
                    <a:pt x="175" y="198"/>
                  </a:lnTo>
                  <a:lnTo>
                    <a:pt x="173" y="198"/>
                  </a:lnTo>
                  <a:lnTo>
                    <a:pt x="171" y="198"/>
                  </a:lnTo>
                  <a:lnTo>
                    <a:pt x="168" y="198"/>
                  </a:lnTo>
                  <a:lnTo>
                    <a:pt x="166" y="198"/>
                  </a:lnTo>
                  <a:lnTo>
                    <a:pt x="164" y="198"/>
                  </a:lnTo>
                  <a:lnTo>
                    <a:pt x="164" y="200"/>
                  </a:lnTo>
                  <a:lnTo>
                    <a:pt x="161" y="200"/>
                  </a:lnTo>
                  <a:lnTo>
                    <a:pt x="164" y="200"/>
                  </a:lnTo>
                  <a:lnTo>
                    <a:pt x="161" y="200"/>
                  </a:lnTo>
                  <a:lnTo>
                    <a:pt x="161" y="198"/>
                  </a:lnTo>
                  <a:lnTo>
                    <a:pt x="164" y="195"/>
                  </a:lnTo>
                  <a:lnTo>
                    <a:pt x="161" y="195"/>
                  </a:lnTo>
                  <a:lnTo>
                    <a:pt x="161" y="198"/>
                  </a:lnTo>
                  <a:lnTo>
                    <a:pt x="161" y="195"/>
                  </a:lnTo>
                  <a:lnTo>
                    <a:pt x="164" y="195"/>
                  </a:lnTo>
                  <a:lnTo>
                    <a:pt x="161" y="195"/>
                  </a:lnTo>
                  <a:lnTo>
                    <a:pt x="164" y="195"/>
                  </a:lnTo>
                  <a:lnTo>
                    <a:pt x="161" y="195"/>
                  </a:lnTo>
                  <a:lnTo>
                    <a:pt x="164" y="195"/>
                  </a:lnTo>
                  <a:lnTo>
                    <a:pt x="164" y="193"/>
                  </a:lnTo>
                  <a:lnTo>
                    <a:pt x="166" y="193"/>
                  </a:lnTo>
                  <a:lnTo>
                    <a:pt x="168" y="193"/>
                  </a:lnTo>
                  <a:lnTo>
                    <a:pt x="168" y="191"/>
                  </a:lnTo>
                  <a:lnTo>
                    <a:pt x="171" y="191"/>
                  </a:lnTo>
                  <a:lnTo>
                    <a:pt x="168" y="191"/>
                  </a:lnTo>
                  <a:lnTo>
                    <a:pt x="166" y="193"/>
                  </a:lnTo>
                  <a:lnTo>
                    <a:pt x="164" y="193"/>
                  </a:lnTo>
                  <a:lnTo>
                    <a:pt x="164" y="191"/>
                  </a:lnTo>
                  <a:lnTo>
                    <a:pt x="164" y="188"/>
                  </a:lnTo>
                  <a:lnTo>
                    <a:pt x="166" y="188"/>
                  </a:lnTo>
                  <a:lnTo>
                    <a:pt x="164" y="188"/>
                  </a:lnTo>
                  <a:lnTo>
                    <a:pt x="166" y="188"/>
                  </a:lnTo>
                  <a:lnTo>
                    <a:pt x="166" y="186"/>
                  </a:lnTo>
                  <a:lnTo>
                    <a:pt x="166" y="188"/>
                  </a:lnTo>
                  <a:lnTo>
                    <a:pt x="164" y="188"/>
                  </a:lnTo>
                  <a:lnTo>
                    <a:pt x="166" y="188"/>
                  </a:lnTo>
                  <a:lnTo>
                    <a:pt x="164" y="188"/>
                  </a:lnTo>
                  <a:lnTo>
                    <a:pt x="164" y="191"/>
                  </a:lnTo>
                  <a:lnTo>
                    <a:pt x="164" y="193"/>
                  </a:lnTo>
                  <a:lnTo>
                    <a:pt x="164" y="195"/>
                  </a:lnTo>
                  <a:lnTo>
                    <a:pt x="161" y="195"/>
                  </a:lnTo>
                  <a:lnTo>
                    <a:pt x="159" y="195"/>
                  </a:lnTo>
                  <a:lnTo>
                    <a:pt x="161" y="195"/>
                  </a:lnTo>
                  <a:lnTo>
                    <a:pt x="159" y="195"/>
                  </a:lnTo>
                  <a:lnTo>
                    <a:pt x="161" y="195"/>
                  </a:lnTo>
                  <a:lnTo>
                    <a:pt x="159" y="195"/>
                  </a:lnTo>
                  <a:lnTo>
                    <a:pt x="156" y="195"/>
                  </a:lnTo>
                  <a:lnTo>
                    <a:pt x="156" y="193"/>
                  </a:lnTo>
                  <a:lnTo>
                    <a:pt x="154" y="193"/>
                  </a:lnTo>
                  <a:lnTo>
                    <a:pt x="156" y="193"/>
                  </a:lnTo>
                  <a:lnTo>
                    <a:pt x="154" y="193"/>
                  </a:lnTo>
                  <a:lnTo>
                    <a:pt x="156" y="193"/>
                  </a:lnTo>
                  <a:lnTo>
                    <a:pt x="154" y="193"/>
                  </a:lnTo>
                  <a:lnTo>
                    <a:pt x="156" y="193"/>
                  </a:lnTo>
                  <a:lnTo>
                    <a:pt x="156" y="195"/>
                  </a:lnTo>
                  <a:lnTo>
                    <a:pt x="154" y="195"/>
                  </a:lnTo>
                  <a:lnTo>
                    <a:pt x="152" y="195"/>
                  </a:lnTo>
                  <a:lnTo>
                    <a:pt x="154" y="195"/>
                  </a:lnTo>
                  <a:lnTo>
                    <a:pt x="152" y="195"/>
                  </a:lnTo>
                  <a:lnTo>
                    <a:pt x="149" y="195"/>
                  </a:lnTo>
                  <a:lnTo>
                    <a:pt x="152" y="195"/>
                  </a:lnTo>
                  <a:lnTo>
                    <a:pt x="154" y="195"/>
                  </a:lnTo>
                  <a:lnTo>
                    <a:pt x="154" y="198"/>
                  </a:lnTo>
                  <a:lnTo>
                    <a:pt x="152" y="198"/>
                  </a:lnTo>
                  <a:lnTo>
                    <a:pt x="149" y="198"/>
                  </a:lnTo>
                  <a:lnTo>
                    <a:pt x="147" y="198"/>
                  </a:lnTo>
                  <a:lnTo>
                    <a:pt x="145" y="200"/>
                  </a:lnTo>
                  <a:lnTo>
                    <a:pt x="142" y="200"/>
                  </a:lnTo>
                  <a:lnTo>
                    <a:pt x="140" y="200"/>
                  </a:lnTo>
                  <a:lnTo>
                    <a:pt x="142" y="200"/>
                  </a:lnTo>
                  <a:lnTo>
                    <a:pt x="140" y="200"/>
                  </a:lnTo>
                  <a:lnTo>
                    <a:pt x="142" y="200"/>
                  </a:lnTo>
                  <a:lnTo>
                    <a:pt x="140" y="200"/>
                  </a:lnTo>
                  <a:lnTo>
                    <a:pt x="142" y="200"/>
                  </a:lnTo>
                  <a:lnTo>
                    <a:pt x="140" y="202"/>
                  </a:lnTo>
                  <a:lnTo>
                    <a:pt x="135" y="202"/>
                  </a:lnTo>
                  <a:lnTo>
                    <a:pt x="133" y="202"/>
                  </a:lnTo>
                  <a:lnTo>
                    <a:pt x="126" y="202"/>
                  </a:lnTo>
                  <a:lnTo>
                    <a:pt x="123" y="202"/>
                  </a:lnTo>
                  <a:lnTo>
                    <a:pt x="121" y="205"/>
                  </a:lnTo>
                  <a:lnTo>
                    <a:pt x="119" y="205"/>
                  </a:lnTo>
                  <a:lnTo>
                    <a:pt x="116" y="205"/>
                  </a:lnTo>
                  <a:lnTo>
                    <a:pt x="114" y="205"/>
                  </a:lnTo>
                  <a:lnTo>
                    <a:pt x="111" y="207"/>
                  </a:lnTo>
                  <a:lnTo>
                    <a:pt x="109" y="207"/>
                  </a:lnTo>
                  <a:lnTo>
                    <a:pt x="107" y="207"/>
                  </a:lnTo>
                  <a:lnTo>
                    <a:pt x="104" y="207"/>
                  </a:lnTo>
                  <a:lnTo>
                    <a:pt x="102" y="207"/>
                  </a:lnTo>
                  <a:lnTo>
                    <a:pt x="102" y="205"/>
                  </a:lnTo>
                  <a:lnTo>
                    <a:pt x="102" y="202"/>
                  </a:lnTo>
                  <a:lnTo>
                    <a:pt x="104" y="202"/>
                  </a:lnTo>
                  <a:lnTo>
                    <a:pt x="102" y="202"/>
                  </a:lnTo>
                  <a:lnTo>
                    <a:pt x="102" y="200"/>
                  </a:lnTo>
                  <a:lnTo>
                    <a:pt x="104" y="200"/>
                  </a:lnTo>
                  <a:lnTo>
                    <a:pt x="102" y="200"/>
                  </a:lnTo>
                  <a:lnTo>
                    <a:pt x="104" y="200"/>
                  </a:lnTo>
                  <a:lnTo>
                    <a:pt x="104" y="198"/>
                  </a:lnTo>
                  <a:lnTo>
                    <a:pt x="102" y="198"/>
                  </a:lnTo>
                  <a:lnTo>
                    <a:pt x="104" y="198"/>
                  </a:lnTo>
                  <a:lnTo>
                    <a:pt x="107" y="198"/>
                  </a:lnTo>
                  <a:lnTo>
                    <a:pt x="109" y="198"/>
                  </a:lnTo>
                  <a:lnTo>
                    <a:pt x="111" y="195"/>
                  </a:lnTo>
                  <a:lnTo>
                    <a:pt x="114" y="195"/>
                  </a:lnTo>
                  <a:lnTo>
                    <a:pt x="114" y="193"/>
                  </a:lnTo>
                  <a:lnTo>
                    <a:pt x="114" y="191"/>
                  </a:lnTo>
                  <a:lnTo>
                    <a:pt x="114" y="188"/>
                  </a:lnTo>
                  <a:lnTo>
                    <a:pt x="116" y="186"/>
                  </a:lnTo>
                  <a:lnTo>
                    <a:pt x="119" y="183"/>
                  </a:lnTo>
                  <a:lnTo>
                    <a:pt x="119" y="181"/>
                  </a:lnTo>
                  <a:lnTo>
                    <a:pt x="121" y="181"/>
                  </a:lnTo>
                  <a:lnTo>
                    <a:pt x="123" y="181"/>
                  </a:lnTo>
                  <a:lnTo>
                    <a:pt x="123" y="179"/>
                  </a:lnTo>
                  <a:lnTo>
                    <a:pt x="123" y="176"/>
                  </a:lnTo>
                  <a:lnTo>
                    <a:pt x="123" y="179"/>
                  </a:lnTo>
                  <a:lnTo>
                    <a:pt x="123" y="176"/>
                  </a:lnTo>
                  <a:lnTo>
                    <a:pt x="126" y="176"/>
                  </a:lnTo>
                  <a:lnTo>
                    <a:pt x="126" y="174"/>
                  </a:lnTo>
                  <a:lnTo>
                    <a:pt x="123" y="174"/>
                  </a:lnTo>
                  <a:lnTo>
                    <a:pt x="126" y="174"/>
                  </a:lnTo>
                  <a:lnTo>
                    <a:pt x="123" y="174"/>
                  </a:lnTo>
                  <a:lnTo>
                    <a:pt x="121" y="174"/>
                  </a:lnTo>
                  <a:lnTo>
                    <a:pt x="121" y="172"/>
                  </a:lnTo>
                  <a:lnTo>
                    <a:pt x="116" y="172"/>
                  </a:lnTo>
                  <a:lnTo>
                    <a:pt x="114" y="172"/>
                  </a:lnTo>
                  <a:lnTo>
                    <a:pt x="114" y="169"/>
                  </a:lnTo>
                  <a:lnTo>
                    <a:pt x="111" y="169"/>
                  </a:lnTo>
                  <a:lnTo>
                    <a:pt x="109" y="169"/>
                  </a:lnTo>
                  <a:lnTo>
                    <a:pt x="107" y="167"/>
                  </a:lnTo>
                  <a:lnTo>
                    <a:pt x="104" y="167"/>
                  </a:lnTo>
                  <a:lnTo>
                    <a:pt x="104" y="164"/>
                  </a:lnTo>
                  <a:lnTo>
                    <a:pt x="102" y="164"/>
                  </a:lnTo>
                  <a:lnTo>
                    <a:pt x="102" y="162"/>
                  </a:lnTo>
                  <a:lnTo>
                    <a:pt x="104" y="162"/>
                  </a:lnTo>
                  <a:lnTo>
                    <a:pt x="107" y="162"/>
                  </a:lnTo>
                  <a:lnTo>
                    <a:pt x="107" y="160"/>
                  </a:lnTo>
                  <a:lnTo>
                    <a:pt x="109" y="160"/>
                  </a:lnTo>
                  <a:lnTo>
                    <a:pt x="111" y="160"/>
                  </a:lnTo>
                  <a:lnTo>
                    <a:pt x="114" y="160"/>
                  </a:lnTo>
                  <a:lnTo>
                    <a:pt x="116" y="160"/>
                  </a:lnTo>
                  <a:lnTo>
                    <a:pt x="119" y="157"/>
                  </a:lnTo>
                  <a:lnTo>
                    <a:pt x="121" y="157"/>
                  </a:lnTo>
                  <a:lnTo>
                    <a:pt x="123" y="157"/>
                  </a:lnTo>
                  <a:lnTo>
                    <a:pt x="126" y="157"/>
                  </a:lnTo>
                  <a:lnTo>
                    <a:pt x="128" y="157"/>
                  </a:lnTo>
                  <a:lnTo>
                    <a:pt x="130" y="155"/>
                  </a:lnTo>
                  <a:lnTo>
                    <a:pt x="133" y="155"/>
                  </a:lnTo>
                  <a:lnTo>
                    <a:pt x="140" y="157"/>
                  </a:lnTo>
                  <a:lnTo>
                    <a:pt x="142" y="157"/>
                  </a:lnTo>
                  <a:lnTo>
                    <a:pt x="145" y="157"/>
                  </a:lnTo>
                  <a:lnTo>
                    <a:pt x="147" y="157"/>
                  </a:lnTo>
                  <a:lnTo>
                    <a:pt x="149" y="157"/>
                  </a:lnTo>
                  <a:lnTo>
                    <a:pt x="149" y="155"/>
                  </a:lnTo>
                  <a:lnTo>
                    <a:pt x="149" y="157"/>
                  </a:lnTo>
                  <a:lnTo>
                    <a:pt x="149" y="155"/>
                  </a:lnTo>
                  <a:lnTo>
                    <a:pt x="152" y="155"/>
                  </a:lnTo>
                  <a:lnTo>
                    <a:pt x="152" y="157"/>
                  </a:lnTo>
                  <a:lnTo>
                    <a:pt x="154" y="155"/>
                  </a:lnTo>
                  <a:lnTo>
                    <a:pt x="156" y="155"/>
                  </a:lnTo>
                  <a:lnTo>
                    <a:pt x="159" y="155"/>
                  </a:lnTo>
                  <a:lnTo>
                    <a:pt x="161" y="155"/>
                  </a:lnTo>
                  <a:lnTo>
                    <a:pt x="164" y="153"/>
                  </a:lnTo>
                  <a:lnTo>
                    <a:pt x="166" y="153"/>
                  </a:lnTo>
                  <a:lnTo>
                    <a:pt x="168" y="153"/>
                  </a:lnTo>
                  <a:lnTo>
                    <a:pt x="171" y="153"/>
                  </a:lnTo>
                  <a:lnTo>
                    <a:pt x="171" y="155"/>
                  </a:lnTo>
                  <a:close/>
                  <a:moveTo>
                    <a:pt x="183" y="15"/>
                  </a:moveTo>
                  <a:lnTo>
                    <a:pt x="185" y="15"/>
                  </a:lnTo>
                  <a:lnTo>
                    <a:pt x="185" y="17"/>
                  </a:lnTo>
                  <a:lnTo>
                    <a:pt x="183" y="17"/>
                  </a:lnTo>
                  <a:lnTo>
                    <a:pt x="183" y="19"/>
                  </a:lnTo>
                  <a:lnTo>
                    <a:pt x="183" y="17"/>
                  </a:lnTo>
                  <a:lnTo>
                    <a:pt x="180" y="19"/>
                  </a:lnTo>
                  <a:lnTo>
                    <a:pt x="178" y="19"/>
                  </a:lnTo>
                  <a:lnTo>
                    <a:pt x="175" y="19"/>
                  </a:lnTo>
                  <a:lnTo>
                    <a:pt x="175" y="22"/>
                  </a:lnTo>
                  <a:lnTo>
                    <a:pt x="175" y="24"/>
                  </a:lnTo>
                  <a:lnTo>
                    <a:pt x="173" y="24"/>
                  </a:lnTo>
                  <a:lnTo>
                    <a:pt x="173" y="27"/>
                  </a:lnTo>
                  <a:lnTo>
                    <a:pt x="175" y="27"/>
                  </a:lnTo>
                  <a:lnTo>
                    <a:pt x="178" y="27"/>
                  </a:lnTo>
                  <a:lnTo>
                    <a:pt x="175" y="29"/>
                  </a:lnTo>
                  <a:lnTo>
                    <a:pt x="178" y="29"/>
                  </a:lnTo>
                  <a:lnTo>
                    <a:pt x="178" y="27"/>
                  </a:lnTo>
                  <a:lnTo>
                    <a:pt x="178" y="29"/>
                  </a:lnTo>
                  <a:lnTo>
                    <a:pt x="180" y="29"/>
                  </a:lnTo>
                  <a:lnTo>
                    <a:pt x="180" y="27"/>
                  </a:lnTo>
                  <a:lnTo>
                    <a:pt x="178" y="27"/>
                  </a:lnTo>
                  <a:lnTo>
                    <a:pt x="178" y="24"/>
                  </a:lnTo>
                  <a:lnTo>
                    <a:pt x="175" y="24"/>
                  </a:lnTo>
                  <a:lnTo>
                    <a:pt x="178" y="24"/>
                  </a:lnTo>
                  <a:lnTo>
                    <a:pt x="180" y="24"/>
                  </a:lnTo>
                  <a:lnTo>
                    <a:pt x="183" y="27"/>
                  </a:lnTo>
                  <a:lnTo>
                    <a:pt x="183" y="24"/>
                  </a:lnTo>
                  <a:lnTo>
                    <a:pt x="180" y="24"/>
                  </a:lnTo>
                  <a:lnTo>
                    <a:pt x="183" y="24"/>
                  </a:lnTo>
                  <a:lnTo>
                    <a:pt x="180" y="24"/>
                  </a:lnTo>
                  <a:lnTo>
                    <a:pt x="183" y="24"/>
                  </a:lnTo>
                  <a:lnTo>
                    <a:pt x="185" y="24"/>
                  </a:lnTo>
                  <a:lnTo>
                    <a:pt x="185" y="27"/>
                  </a:lnTo>
                  <a:lnTo>
                    <a:pt x="187" y="27"/>
                  </a:lnTo>
                  <a:lnTo>
                    <a:pt x="190" y="27"/>
                  </a:lnTo>
                  <a:lnTo>
                    <a:pt x="187" y="27"/>
                  </a:lnTo>
                  <a:lnTo>
                    <a:pt x="187" y="24"/>
                  </a:lnTo>
                  <a:lnTo>
                    <a:pt x="185" y="24"/>
                  </a:lnTo>
                  <a:lnTo>
                    <a:pt x="185" y="22"/>
                  </a:lnTo>
                  <a:lnTo>
                    <a:pt x="185" y="24"/>
                  </a:lnTo>
                  <a:lnTo>
                    <a:pt x="187" y="22"/>
                  </a:lnTo>
                  <a:lnTo>
                    <a:pt x="190" y="22"/>
                  </a:lnTo>
                  <a:lnTo>
                    <a:pt x="190" y="24"/>
                  </a:lnTo>
                  <a:lnTo>
                    <a:pt x="190" y="27"/>
                  </a:lnTo>
                  <a:lnTo>
                    <a:pt x="192" y="27"/>
                  </a:lnTo>
                  <a:lnTo>
                    <a:pt x="190" y="27"/>
                  </a:lnTo>
                  <a:lnTo>
                    <a:pt x="192" y="29"/>
                  </a:lnTo>
                  <a:lnTo>
                    <a:pt x="194" y="29"/>
                  </a:lnTo>
                  <a:lnTo>
                    <a:pt x="194" y="27"/>
                  </a:lnTo>
                  <a:lnTo>
                    <a:pt x="194" y="24"/>
                  </a:lnTo>
                  <a:lnTo>
                    <a:pt x="197" y="24"/>
                  </a:lnTo>
                  <a:lnTo>
                    <a:pt x="199" y="24"/>
                  </a:lnTo>
                  <a:lnTo>
                    <a:pt x="202" y="24"/>
                  </a:lnTo>
                  <a:lnTo>
                    <a:pt x="199" y="24"/>
                  </a:lnTo>
                  <a:lnTo>
                    <a:pt x="199" y="22"/>
                  </a:lnTo>
                  <a:lnTo>
                    <a:pt x="197" y="22"/>
                  </a:lnTo>
                  <a:lnTo>
                    <a:pt x="197" y="19"/>
                  </a:lnTo>
                  <a:lnTo>
                    <a:pt x="199" y="19"/>
                  </a:lnTo>
                  <a:lnTo>
                    <a:pt x="202" y="19"/>
                  </a:lnTo>
                  <a:lnTo>
                    <a:pt x="199" y="19"/>
                  </a:lnTo>
                  <a:lnTo>
                    <a:pt x="197" y="19"/>
                  </a:lnTo>
                  <a:lnTo>
                    <a:pt x="199" y="19"/>
                  </a:lnTo>
                  <a:lnTo>
                    <a:pt x="199" y="17"/>
                  </a:lnTo>
                  <a:lnTo>
                    <a:pt x="197" y="17"/>
                  </a:lnTo>
                  <a:lnTo>
                    <a:pt x="199" y="17"/>
                  </a:lnTo>
                  <a:lnTo>
                    <a:pt x="202" y="17"/>
                  </a:lnTo>
                  <a:lnTo>
                    <a:pt x="202" y="19"/>
                  </a:lnTo>
                  <a:lnTo>
                    <a:pt x="204" y="19"/>
                  </a:lnTo>
                  <a:lnTo>
                    <a:pt x="202" y="17"/>
                  </a:lnTo>
                  <a:lnTo>
                    <a:pt x="204" y="17"/>
                  </a:lnTo>
                  <a:lnTo>
                    <a:pt x="206" y="17"/>
                  </a:lnTo>
                  <a:lnTo>
                    <a:pt x="206" y="19"/>
                  </a:lnTo>
                  <a:lnTo>
                    <a:pt x="209" y="19"/>
                  </a:lnTo>
                  <a:lnTo>
                    <a:pt x="209" y="17"/>
                  </a:lnTo>
                  <a:lnTo>
                    <a:pt x="206" y="17"/>
                  </a:lnTo>
                  <a:lnTo>
                    <a:pt x="204" y="17"/>
                  </a:lnTo>
                  <a:lnTo>
                    <a:pt x="206" y="17"/>
                  </a:lnTo>
                  <a:lnTo>
                    <a:pt x="206" y="15"/>
                  </a:lnTo>
                  <a:lnTo>
                    <a:pt x="209" y="17"/>
                  </a:lnTo>
                  <a:lnTo>
                    <a:pt x="211" y="17"/>
                  </a:lnTo>
                  <a:lnTo>
                    <a:pt x="213" y="19"/>
                  </a:lnTo>
                  <a:lnTo>
                    <a:pt x="216" y="19"/>
                  </a:lnTo>
                  <a:lnTo>
                    <a:pt x="216" y="17"/>
                  </a:lnTo>
                  <a:lnTo>
                    <a:pt x="213" y="17"/>
                  </a:lnTo>
                  <a:lnTo>
                    <a:pt x="211" y="17"/>
                  </a:lnTo>
                  <a:lnTo>
                    <a:pt x="213" y="15"/>
                  </a:lnTo>
                  <a:lnTo>
                    <a:pt x="216" y="15"/>
                  </a:lnTo>
                  <a:lnTo>
                    <a:pt x="216" y="17"/>
                  </a:lnTo>
                  <a:lnTo>
                    <a:pt x="218" y="17"/>
                  </a:lnTo>
                  <a:lnTo>
                    <a:pt x="221" y="17"/>
                  </a:lnTo>
                  <a:lnTo>
                    <a:pt x="218" y="17"/>
                  </a:lnTo>
                  <a:lnTo>
                    <a:pt x="218" y="15"/>
                  </a:lnTo>
                  <a:lnTo>
                    <a:pt x="216" y="15"/>
                  </a:lnTo>
                  <a:lnTo>
                    <a:pt x="218" y="15"/>
                  </a:lnTo>
                  <a:lnTo>
                    <a:pt x="221" y="15"/>
                  </a:lnTo>
                  <a:lnTo>
                    <a:pt x="218" y="15"/>
                  </a:lnTo>
                  <a:lnTo>
                    <a:pt x="213" y="15"/>
                  </a:lnTo>
                  <a:lnTo>
                    <a:pt x="213" y="12"/>
                  </a:lnTo>
                  <a:lnTo>
                    <a:pt x="211" y="12"/>
                  </a:lnTo>
                  <a:lnTo>
                    <a:pt x="213" y="12"/>
                  </a:lnTo>
                  <a:lnTo>
                    <a:pt x="216" y="12"/>
                  </a:lnTo>
                  <a:lnTo>
                    <a:pt x="216" y="10"/>
                  </a:lnTo>
                  <a:lnTo>
                    <a:pt x="216" y="12"/>
                  </a:lnTo>
                  <a:lnTo>
                    <a:pt x="221" y="12"/>
                  </a:lnTo>
                  <a:lnTo>
                    <a:pt x="223" y="12"/>
                  </a:lnTo>
                  <a:lnTo>
                    <a:pt x="225" y="12"/>
                  </a:lnTo>
                  <a:lnTo>
                    <a:pt x="225" y="15"/>
                  </a:lnTo>
                  <a:lnTo>
                    <a:pt x="228" y="15"/>
                  </a:lnTo>
                  <a:lnTo>
                    <a:pt x="225" y="15"/>
                  </a:lnTo>
                  <a:lnTo>
                    <a:pt x="223" y="15"/>
                  </a:lnTo>
                  <a:lnTo>
                    <a:pt x="223" y="17"/>
                  </a:lnTo>
                  <a:lnTo>
                    <a:pt x="221" y="17"/>
                  </a:lnTo>
                  <a:lnTo>
                    <a:pt x="223" y="17"/>
                  </a:lnTo>
                  <a:lnTo>
                    <a:pt x="221" y="17"/>
                  </a:lnTo>
                  <a:lnTo>
                    <a:pt x="221" y="19"/>
                  </a:lnTo>
                  <a:lnTo>
                    <a:pt x="223" y="19"/>
                  </a:lnTo>
                  <a:lnTo>
                    <a:pt x="223" y="17"/>
                  </a:lnTo>
                  <a:lnTo>
                    <a:pt x="225" y="17"/>
                  </a:lnTo>
                  <a:lnTo>
                    <a:pt x="228" y="17"/>
                  </a:lnTo>
                  <a:lnTo>
                    <a:pt x="225" y="17"/>
                  </a:lnTo>
                  <a:lnTo>
                    <a:pt x="228" y="17"/>
                  </a:lnTo>
                  <a:lnTo>
                    <a:pt x="230" y="17"/>
                  </a:lnTo>
                  <a:lnTo>
                    <a:pt x="232" y="17"/>
                  </a:lnTo>
                  <a:lnTo>
                    <a:pt x="232" y="15"/>
                  </a:lnTo>
                  <a:lnTo>
                    <a:pt x="232" y="12"/>
                  </a:lnTo>
                  <a:lnTo>
                    <a:pt x="235" y="12"/>
                  </a:lnTo>
                  <a:lnTo>
                    <a:pt x="235" y="15"/>
                  </a:lnTo>
                  <a:lnTo>
                    <a:pt x="235" y="17"/>
                  </a:lnTo>
                  <a:lnTo>
                    <a:pt x="232" y="19"/>
                  </a:lnTo>
                  <a:lnTo>
                    <a:pt x="235" y="19"/>
                  </a:lnTo>
                  <a:lnTo>
                    <a:pt x="237" y="19"/>
                  </a:lnTo>
                  <a:lnTo>
                    <a:pt x="240" y="19"/>
                  </a:lnTo>
                  <a:lnTo>
                    <a:pt x="242" y="19"/>
                  </a:lnTo>
                  <a:lnTo>
                    <a:pt x="244" y="17"/>
                  </a:lnTo>
                  <a:lnTo>
                    <a:pt x="247" y="17"/>
                  </a:lnTo>
                  <a:lnTo>
                    <a:pt x="249" y="17"/>
                  </a:lnTo>
                  <a:lnTo>
                    <a:pt x="251" y="17"/>
                  </a:lnTo>
                  <a:lnTo>
                    <a:pt x="249" y="17"/>
                  </a:lnTo>
                  <a:lnTo>
                    <a:pt x="249" y="19"/>
                  </a:lnTo>
                  <a:lnTo>
                    <a:pt x="247" y="19"/>
                  </a:lnTo>
                  <a:lnTo>
                    <a:pt x="249" y="19"/>
                  </a:lnTo>
                  <a:lnTo>
                    <a:pt x="251" y="19"/>
                  </a:lnTo>
                  <a:lnTo>
                    <a:pt x="254" y="22"/>
                  </a:lnTo>
                  <a:lnTo>
                    <a:pt x="254" y="19"/>
                  </a:lnTo>
                  <a:lnTo>
                    <a:pt x="256" y="19"/>
                  </a:lnTo>
                  <a:lnTo>
                    <a:pt x="256" y="22"/>
                  </a:lnTo>
                  <a:lnTo>
                    <a:pt x="259" y="22"/>
                  </a:lnTo>
                  <a:lnTo>
                    <a:pt x="259" y="24"/>
                  </a:lnTo>
                  <a:lnTo>
                    <a:pt x="261" y="24"/>
                  </a:lnTo>
                  <a:lnTo>
                    <a:pt x="261" y="22"/>
                  </a:lnTo>
                  <a:lnTo>
                    <a:pt x="263" y="22"/>
                  </a:lnTo>
                  <a:lnTo>
                    <a:pt x="266" y="22"/>
                  </a:lnTo>
                  <a:lnTo>
                    <a:pt x="268" y="22"/>
                  </a:lnTo>
                  <a:lnTo>
                    <a:pt x="266" y="22"/>
                  </a:lnTo>
                  <a:lnTo>
                    <a:pt x="268" y="24"/>
                  </a:lnTo>
                  <a:lnTo>
                    <a:pt x="266" y="24"/>
                  </a:lnTo>
                  <a:lnTo>
                    <a:pt x="263" y="24"/>
                  </a:lnTo>
                  <a:lnTo>
                    <a:pt x="266" y="24"/>
                  </a:lnTo>
                  <a:lnTo>
                    <a:pt x="268" y="24"/>
                  </a:lnTo>
                  <a:lnTo>
                    <a:pt x="270" y="24"/>
                  </a:lnTo>
                  <a:lnTo>
                    <a:pt x="268" y="24"/>
                  </a:lnTo>
                  <a:lnTo>
                    <a:pt x="268" y="27"/>
                  </a:lnTo>
                  <a:lnTo>
                    <a:pt x="268" y="24"/>
                  </a:lnTo>
                  <a:lnTo>
                    <a:pt x="270" y="24"/>
                  </a:lnTo>
                  <a:lnTo>
                    <a:pt x="273" y="24"/>
                  </a:lnTo>
                  <a:lnTo>
                    <a:pt x="275" y="24"/>
                  </a:lnTo>
                  <a:lnTo>
                    <a:pt x="277" y="24"/>
                  </a:lnTo>
                  <a:lnTo>
                    <a:pt x="280" y="24"/>
                  </a:lnTo>
                  <a:lnTo>
                    <a:pt x="282" y="24"/>
                  </a:lnTo>
                  <a:lnTo>
                    <a:pt x="285" y="24"/>
                  </a:lnTo>
                  <a:lnTo>
                    <a:pt x="287" y="24"/>
                  </a:lnTo>
                  <a:lnTo>
                    <a:pt x="289" y="24"/>
                  </a:lnTo>
                  <a:lnTo>
                    <a:pt x="292" y="24"/>
                  </a:lnTo>
                  <a:lnTo>
                    <a:pt x="294" y="24"/>
                  </a:lnTo>
                  <a:lnTo>
                    <a:pt x="296" y="27"/>
                  </a:lnTo>
                  <a:lnTo>
                    <a:pt x="299" y="27"/>
                  </a:lnTo>
                  <a:lnTo>
                    <a:pt x="301" y="27"/>
                  </a:lnTo>
                  <a:lnTo>
                    <a:pt x="301" y="29"/>
                  </a:lnTo>
                  <a:lnTo>
                    <a:pt x="304" y="29"/>
                  </a:lnTo>
                  <a:lnTo>
                    <a:pt x="304" y="31"/>
                  </a:lnTo>
                  <a:lnTo>
                    <a:pt x="308" y="31"/>
                  </a:lnTo>
                  <a:lnTo>
                    <a:pt x="311" y="31"/>
                  </a:lnTo>
                  <a:lnTo>
                    <a:pt x="313" y="31"/>
                  </a:lnTo>
                  <a:lnTo>
                    <a:pt x="313" y="34"/>
                  </a:lnTo>
                  <a:lnTo>
                    <a:pt x="311" y="34"/>
                  </a:lnTo>
                  <a:lnTo>
                    <a:pt x="308" y="34"/>
                  </a:lnTo>
                  <a:lnTo>
                    <a:pt x="308" y="36"/>
                  </a:lnTo>
                  <a:lnTo>
                    <a:pt x="308" y="38"/>
                  </a:lnTo>
                  <a:lnTo>
                    <a:pt x="311" y="38"/>
                  </a:lnTo>
                  <a:lnTo>
                    <a:pt x="308" y="38"/>
                  </a:lnTo>
                  <a:lnTo>
                    <a:pt x="308" y="41"/>
                  </a:lnTo>
                  <a:lnTo>
                    <a:pt x="311" y="43"/>
                  </a:lnTo>
                  <a:lnTo>
                    <a:pt x="311" y="46"/>
                  </a:lnTo>
                  <a:lnTo>
                    <a:pt x="311" y="48"/>
                  </a:lnTo>
                  <a:lnTo>
                    <a:pt x="308" y="48"/>
                  </a:lnTo>
                  <a:lnTo>
                    <a:pt x="306" y="48"/>
                  </a:lnTo>
                  <a:lnTo>
                    <a:pt x="306" y="50"/>
                  </a:lnTo>
                  <a:lnTo>
                    <a:pt x="304" y="50"/>
                  </a:lnTo>
                  <a:lnTo>
                    <a:pt x="301" y="50"/>
                  </a:lnTo>
                  <a:lnTo>
                    <a:pt x="299" y="50"/>
                  </a:lnTo>
                  <a:lnTo>
                    <a:pt x="299" y="53"/>
                  </a:lnTo>
                  <a:lnTo>
                    <a:pt x="299" y="50"/>
                  </a:lnTo>
                  <a:lnTo>
                    <a:pt x="296" y="53"/>
                  </a:lnTo>
                  <a:lnTo>
                    <a:pt x="296" y="50"/>
                  </a:lnTo>
                  <a:lnTo>
                    <a:pt x="294" y="53"/>
                  </a:lnTo>
                  <a:lnTo>
                    <a:pt x="292" y="55"/>
                  </a:lnTo>
                  <a:lnTo>
                    <a:pt x="289" y="55"/>
                  </a:lnTo>
                  <a:lnTo>
                    <a:pt x="289" y="58"/>
                  </a:lnTo>
                  <a:lnTo>
                    <a:pt x="287" y="58"/>
                  </a:lnTo>
                  <a:lnTo>
                    <a:pt x="285" y="58"/>
                  </a:lnTo>
                  <a:lnTo>
                    <a:pt x="282" y="60"/>
                  </a:lnTo>
                  <a:lnTo>
                    <a:pt x="280" y="60"/>
                  </a:lnTo>
                  <a:lnTo>
                    <a:pt x="277" y="60"/>
                  </a:lnTo>
                  <a:lnTo>
                    <a:pt x="275" y="62"/>
                  </a:lnTo>
                  <a:lnTo>
                    <a:pt x="273" y="62"/>
                  </a:lnTo>
                  <a:lnTo>
                    <a:pt x="266" y="65"/>
                  </a:lnTo>
                  <a:lnTo>
                    <a:pt x="263" y="65"/>
                  </a:lnTo>
                  <a:lnTo>
                    <a:pt x="261" y="67"/>
                  </a:lnTo>
                  <a:lnTo>
                    <a:pt x="263" y="67"/>
                  </a:lnTo>
                  <a:lnTo>
                    <a:pt x="263" y="69"/>
                  </a:lnTo>
                  <a:lnTo>
                    <a:pt x="266" y="69"/>
                  </a:lnTo>
                  <a:lnTo>
                    <a:pt x="266" y="72"/>
                  </a:lnTo>
                  <a:lnTo>
                    <a:pt x="263" y="72"/>
                  </a:lnTo>
                  <a:lnTo>
                    <a:pt x="263" y="74"/>
                  </a:lnTo>
                  <a:lnTo>
                    <a:pt x="261" y="74"/>
                  </a:lnTo>
                  <a:lnTo>
                    <a:pt x="259" y="74"/>
                  </a:lnTo>
                  <a:lnTo>
                    <a:pt x="256" y="77"/>
                  </a:lnTo>
                  <a:lnTo>
                    <a:pt x="254" y="77"/>
                  </a:lnTo>
                  <a:lnTo>
                    <a:pt x="251" y="79"/>
                  </a:lnTo>
                  <a:lnTo>
                    <a:pt x="249" y="79"/>
                  </a:lnTo>
                  <a:lnTo>
                    <a:pt x="247" y="79"/>
                  </a:lnTo>
                  <a:lnTo>
                    <a:pt x="244" y="79"/>
                  </a:lnTo>
                  <a:lnTo>
                    <a:pt x="242" y="79"/>
                  </a:lnTo>
                  <a:lnTo>
                    <a:pt x="240" y="79"/>
                  </a:lnTo>
                  <a:lnTo>
                    <a:pt x="237" y="79"/>
                  </a:lnTo>
                  <a:lnTo>
                    <a:pt x="235" y="79"/>
                  </a:lnTo>
                  <a:lnTo>
                    <a:pt x="232" y="79"/>
                  </a:lnTo>
                  <a:lnTo>
                    <a:pt x="230" y="81"/>
                  </a:lnTo>
                  <a:lnTo>
                    <a:pt x="228" y="81"/>
                  </a:lnTo>
                  <a:lnTo>
                    <a:pt x="225" y="81"/>
                  </a:lnTo>
                  <a:lnTo>
                    <a:pt x="223" y="81"/>
                  </a:lnTo>
                  <a:lnTo>
                    <a:pt x="221" y="81"/>
                  </a:lnTo>
                  <a:lnTo>
                    <a:pt x="218" y="81"/>
                  </a:lnTo>
                  <a:lnTo>
                    <a:pt x="216" y="84"/>
                  </a:lnTo>
                  <a:lnTo>
                    <a:pt x="213" y="84"/>
                  </a:lnTo>
                  <a:lnTo>
                    <a:pt x="211" y="84"/>
                  </a:lnTo>
                  <a:lnTo>
                    <a:pt x="209" y="86"/>
                  </a:lnTo>
                  <a:lnTo>
                    <a:pt x="209" y="88"/>
                  </a:lnTo>
                  <a:lnTo>
                    <a:pt x="206" y="88"/>
                  </a:lnTo>
                  <a:lnTo>
                    <a:pt x="202" y="88"/>
                  </a:lnTo>
                  <a:lnTo>
                    <a:pt x="199" y="91"/>
                  </a:lnTo>
                  <a:lnTo>
                    <a:pt x="192" y="91"/>
                  </a:lnTo>
                  <a:lnTo>
                    <a:pt x="192" y="88"/>
                  </a:lnTo>
                  <a:lnTo>
                    <a:pt x="185" y="88"/>
                  </a:lnTo>
                  <a:lnTo>
                    <a:pt x="183" y="88"/>
                  </a:lnTo>
                  <a:lnTo>
                    <a:pt x="180" y="88"/>
                  </a:lnTo>
                  <a:lnTo>
                    <a:pt x="178" y="88"/>
                  </a:lnTo>
                  <a:lnTo>
                    <a:pt x="178" y="86"/>
                  </a:lnTo>
                  <a:lnTo>
                    <a:pt x="175" y="86"/>
                  </a:lnTo>
                  <a:lnTo>
                    <a:pt x="173" y="86"/>
                  </a:lnTo>
                  <a:lnTo>
                    <a:pt x="171" y="86"/>
                  </a:lnTo>
                  <a:lnTo>
                    <a:pt x="168" y="86"/>
                  </a:lnTo>
                  <a:lnTo>
                    <a:pt x="166" y="86"/>
                  </a:lnTo>
                  <a:lnTo>
                    <a:pt x="166" y="84"/>
                  </a:lnTo>
                  <a:lnTo>
                    <a:pt x="164" y="84"/>
                  </a:lnTo>
                  <a:lnTo>
                    <a:pt x="164" y="81"/>
                  </a:lnTo>
                  <a:lnTo>
                    <a:pt x="166" y="81"/>
                  </a:lnTo>
                  <a:lnTo>
                    <a:pt x="166" y="79"/>
                  </a:lnTo>
                  <a:lnTo>
                    <a:pt x="168" y="79"/>
                  </a:lnTo>
                  <a:lnTo>
                    <a:pt x="171" y="79"/>
                  </a:lnTo>
                  <a:lnTo>
                    <a:pt x="168" y="79"/>
                  </a:lnTo>
                  <a:lnTo>
                    <a:pt x="171" y="79"/>
                  </a:lnTo>
                  <a:lnTo>
                    <a:pt x="168" y="79"/>
                  </a:lnTo>
                  <a:lnTo>
                    <a:pt x="166" y="79"/>
                  </a:lnTo>
                  <a:lnTo>
                    <a:pt x="166" y="77"/>
                  </a:lnTo>
                  <a:lnTo>
                    <a:pt x="164" y="77"/>
                  </a:lnTo>
                  <a:lnTo>
                    <a:pt x="161" y="77"/>
                  </a:lnTo>
                  <a:lnTo>
                    <a:pt x="159" y="77"/>
                  </a:lnTo>
                  <a:lnTo>
                    <a:pt x="156" y="77"/>
                  </a:lnTo>
                  <a:lnTo>
                    <a:pt x="154" y="77"/>
                  </a:lnTo>
                  <a:lnTo>
                    <a:pt x="152" y="77"/>
                  </a:lnTo>
                  <a:lnTo>
                    <a:pt x="149" y="77"/>
                  </a:lnTo>
                  <a:lnTo>
                    <a:pt x="147" y="77"/>
                  </a:lnTo>
                  <a:lnTo>
                    <a:pt x="147" y="79"/>
                  </a:lnTo>
                  <a:lnTo>
                    <a:pt x="145" y="79"/>
                  </a:lnTo>
                  <a:lnTo>
                    <a:pt x="140" y="79"/>
                  </a:lnTo>
                  <a:lnTo>
                    <a:pt x="138" y="79"/>
                  </a:lnTo>
                  <a:lnTo>
                    <a:pt x="135" y="81"/>
                  </a:lnTo>
                  <a:lnTo>
                    <a:pt x="133" y="81"/>
                  </a:lnTo>
                  <a:lnTo>
                    <a:pt x="133" y="79"/>
                  </a:lnTo>
                  <a:lnTo>
                    <a:pt x="130" y="79"/>
                  </a:lnTo>
                  <a:lnTo>
                    <a:pt x="128" y="79"/>
                  </a:lnTo>
                  <a:lnTo>
                    <a:pt x="126" y="79"/>
                  </a:lnTo>
                  <a:lnTo>
                    <a:pt x="123" y="79"/>
                  </a:lnTo>
                  <a:lnTo>
                    <a:pt x="121" y="79"/>
                  </a:lnTo>
                  <a:lnTo>
                    <a:pt x="119" y="79"/>
                  </a:lnTo>
                  <a:lnTo>
                    <a:pt x="114" y="79"/>
                  </a:lnTo>
                  <a:lnTo>
                    <a:pt x="111" y="79"/>
                  </a:lnTo>
                  <a:lnTo>
                    <a:pt x="109" y="79"/>
                  </a:lnTo>
                  <a:lnTo>
                    <a:pt x="107" y="79"/>
                  </a:lnTo>
                  <a:lnTo>
                    <a:pt x="102" y="79"/>
                  </a:lnTo>
                  <a:lnTo>
                    <a:pt x="100" y="79"/>
                  </a:lnTo>
                  <a:lnTo>
                    <a:pt x="100" y="77"/>
                  </a:lnTo>
                  <a:lnTo>
                    <a:pt x="97" y="77"/>
                  </a:lnTo>
                  <a:lnTo>
                    <a:pt x="97" y="74"/>
                  </a:lnTo>
                  <a:lnTo>
                    <a:pt x="95" y="74"/>
                  </a:lnTo>
                  <a:lnTo>
                    <a:pt x="92" y="74"/>
                  </a:lnTo>
                  <a:lnTo>
                    <a:pt x="90" y="74"/>
                  </a:lnTo>
                  <a:lnTo>
                    <a:pt x="88" y="74"/>
                  </a:lnTo>
                  <a:lnTo>
                    <a:pt x="85" y="74"/>
                  </a:lnTo>
                  <a:lnTo>
                    <a:pt x="83" y="74"/>
                  </a:lnTo>
                  <a:lnTo>
                    <a:pt x="81" y="72"/>
                  </a:lnTo>
                  <a:lnTo>
                    <a:pt x="78" y="72"/>
                  </a:lnTo>
                  <a:lnTo>
                    <a:pt x="76" y="72"/>
                  </a:lnTo>
                  <a:lnTo>
                    <a:pt x="73" y="72"/>
                  </a:lnTo>
                  <a:lnTo>
                    <a:pt x="73" y="69"/>
                  </a:lnTo>
                  <a:lnTo>
                    <a:pt x="71" y="69"/>
                  </a:lnTo>
                  <a:lnTo>
                    <a:pt x="69" y="67"/>
                  </a:lnTo>
                  <a:lnTo>
                    <a:pt x="66" y="67"/>
                  </a:lnTo>
                  <a:lnTo>
                    <a:pt x="64" y="62"/>
                  </a:lnTo>
                  <a:lnTo>
                    <a:pt x="66" y="62"/>
                  </a:lnTo>
                  <a:lnTo>
                    <a:pt x="69" y="62"/>
                  </a:lnTo>
                  <a:lnTo>
                    <a:pt x="71" y="62"/>
                  </a:lnTo>
                  <a:lnTo>
                    <a:pt x="73" y="62"/>
                  </a:lnTo>
                  <a:lnTo>
                    <a:pt x="76" y="60"/>
                  </a:lnTo>
                  <a:lnTo>
                    <a:pt x="76" y="62"/>
                  </a:lnTo>
                  <a:lnTo>
                    <a:pt x="78" y="62"/>
                  </a:lnTo>
                  <a:lnTo>
                    <a:pt x="78" y="60"/>
                  </a:lnTo>
                  <a:lnTo>
                    <a:pt x="81" y="62"/>
                  </a:lnTo>
                  <a:lnTo>
                    <a:pt x="83" y="62"/>
                  </a:lnTo>
                  <a:lnTo>
                    <a:pt x="85" y="62"/>
                  </a:lnTo>
                  <a:lnTo>
                    <a:pt x="85" y="65"/>
                  </a:lnTo>
                  <a:lnTo>
                    <a:pt x="88" y="65"/>
                  </a:lnTo>
                  <a:lnTo>
                    <a:pt x="90" y="65"/>
                  </a:lnTo>
                  <a:lnTo>
                    <a:pt x="92" y="65"/>
                  </a:lnTo>
                  <a:lnTo>
                    <a:pt x="90" y="65"/>
                  </a:lnTo>
                  <a:lnTo>
                    <a:pt x="92" y="65"/>
                  </a:lnTo>
                  <a:lnTo>
                    <a:pt x="95" y="65"/>
                  </a:lnTo>
                  <a:lnTo>
                    <a:pt x="97" y="65"/>
                  </a:lnTo>
                  <a:lnTo>
                    <a:pt x="100" y="65"/>
                  </a:lnTo>
                  <a:lnTo>
                    <a:pt x="102" y="65"/>
                  </a:lnTo>
                  <a:lnTo>
                    <a:pt x="104" y="65"/>
                  </a:lnTo>
                  <a:lnTo>
                    <a:pt x="107" y="67"/>
                  </a:lnTo>
                  <a:lnTo>
                    <a:pt x="109" y="67"/>
                  </a:lnTo>
                  <a:lnTo>
                    <a:pt x="111" y="67"/>
                  </a:lnTo>
                  <a:lnTo>
                    <a:pt x="114" y="67"/>
                  </a:lnTo>
                  <a:lnTo>
                    <a:pt x="116" y="67"/>
                  </a:lnTo>
                  <a:lnTo>
                    <a:pt x="116" y="65"/>
                  </a:lnTo>
                  <a:lnTo>
                    <a:pt x="114" y="65"/>
                  </a:lnTo>
                  <a:lnTo>
                    <a:pt x="111" y="65"/>
                  </a:lnTo>
                  <a:lnTo>
                    <a:pt x="109" y="65"/>
                  </a:lnTo>
                  <a:lnTo>
                    <a:pt x="107" y="65"/>
                  </a:lnTo>
                  <a:lnTo>
                    <a:pt x="107" y="62"/>
                  </a:lnTo>
                  <a:lnTo>
                    <a:pt x="104" y="62"/>
                  </a:lnTo>
                  <a:lnTo>
                    <a:pt x="102" y="62"/>
                  </a:lnTo>
                  <a:lnTo>
                    <a:pt x="100" y="62"/>
                  </a:lnTo>
                  <a:lnTo>
                    <a:pt x="97" y="62"/>
                  </a:lnTo>
                  <a:lnTo>
                    <a:pt x="95" y="62"/>
                  </a:lnTo>
                  <a:lnTo>
                    <a:pt x="92" y="60"/>
                  </a:lnTo>
                  <a:lnTo>
                    <a:pt x="90" y="58"/>
                  </a:lnTo>
                  <a:lnTo>
                    <a:pt x="92" y="58"/>
                  </a:lnTo>
                  <a:lnTo>
                    <a:pt x="100" y="58"/>
                  </a:lnTo>
                  <a:lnTo>
                    <a:pt x="102" y="58"/>
                  </a:lnTo>
                  <a:lnTo>
                    <a:pt x="107" y="58"/>
                  </a:lnTo>
                  <a:lnTo>
                    <a:pt x="109" y="55"/>
                  </a:lnTo>
                  <a:lnTo>
                    <a:pt x="111" y="55"/>
                  </a:lnTo>
                  <a:lnTo>
                    <a:pt x="114" y="55"/>
                  </a:lnTo>
                  <a:lnTo>
                    <a:pt x="116" y="55"/>
                  </a:lnTo>
                  <a:lnTo>
                    <a:pt x="119" y="55"/>
                  </a:lnTo>
                  <a:lnTo>
                    <a:pt x="121" y="55"/>
                  </a:lnTo>
                  <a:lnTo>
                    <a:pt x="123" y="55"/>
                  </a:lnTo>
                  <a:lnTo>
                    <a:pt x="123" y="58"/>
                  </a:lnTo>
                  <a:lnTo>
                    <a:pt x="126" y="55"/>
                  </a:lnTo>
                  <a:lnTo>
                    <a:pt x="126" y="58"/>
                  </a:lnTo>
                  <a:lnTo>
                    <a:pt x="128" y="58"/>
                  </a:lnTo>
                  <a:lnTo>
                    <a:pt x="128" y="55"/>
                  </a:lnTo>
                  <a:lnTo>
                    <a:pt x="130" y="55"/>
                  </a:lnTo>
                  <a:lnTo>
                    <a:pt x="135" y="55"/>
                  </a:lnTo>
                  <a:lnTo>
                    <a:pt x="135" y="53"/>
                  </a:lnTo>
                  <a:lnTo>
                    <a:pt x="133" y="53"/>
                  </a:lnTo>
                  <a:lnTo>
                    <a:pt x="130" y="53"/>
                  </a:lnTo>
                  <a:lnTo>
                    <a:pt x="130" y="50"/>
                  </a:lnTo>
                  <a:lnTo>
                    <a:pt x="133" y="50"/>
                  </a:lnTo>
                  <a:lnTo>
                    <a:pt x="130" y="50"/>
                  </a:lnTo>
                  <a:lnTo>
                    <a:pt x="128" y="50"/>
                  </a:lnTo>
                  <a:lnTo>
                    <a:pt x="128" y="53"/>
                  </a:lnTo>
                  <a:lnTo>
                    <a:pt x="128" y="50"/>
                  </a:lnTo>
                  <a:lnTo>
                    <a:pt x="126" y="50"/>
                  </a:lnTo>
                  <a:lnTo>
                    <a:pt x="128" y="50"/>
                  </a:lnTo>
                  <a:lnTo>
                    <a:pt x="130" y="48"/>
                  </a:lnTo>
                  <a:lnTo>
                    <a:pt x="128" y="48"/>
                  </a:lnTo>
                  <a:lnTo>
                    <a:pt x="126" y="48"/>
                  </a:lnTo>
                  <a:lnTo>
                    <a:pt x="123" y="48"/>
                  </a:lnTo>
                  <a:lnTo>
                    <a:pt x="121" y="48"/>
                  </a:lnTo>
                  <a:lnTo>
                    <a:pt x="119" y="48"/>
                  </a:lnTo>
                  <a:lnTo>
                    <a:pt x="116" y="48"/>
                  </a:lnTo>
                  <a:lnTo>
                    <a:pt x="116" y="50"/>
                  </a:lnTo>
                  <a:lnTo>
                    <a:pt x="114" y="48"/>
                  </a:lnTo>
                  <a:lnTo>
                    <a:pt x="114" y="50"/>
                  </a:lnTo>
                  <a:lnTo>
                    <a:pt x="111" y="50"/>
                  </a:lnTo>
                  <a:lnTo>
                    <a:pt x="109" y="50"/>
                  </a:lnTo>
                  <a:lnTo>
                    <a:pt x="107" y="50"/>
                  </a:lnTo>
                  <a:lnTo>
                    <a:pt x="104" y="50"/>
                  </a:lnTo>
                  <a:lnTo>
                    <a:pt x="102" y="50"/>
                  </a:lnTo>
                  <a:lnTo>
                    <a:pt x="100" y="50"/>
                  </a:lnTo>
                  <a:lnTo>
                    <a:pt x="97" y="50"/>
                  </a:lnTo>
                  <a:lnTo>
                    <a:pt x="95" y="50"/>
                  </a:lnTo>
                  <a:lnTo>
                    <a:pt x="92" y="50"/>
                  </a:lnTo>
                  <a:lnTo>
                    <a:pt x="90" y="50"/>
                  </a:lnTo>
                  <a:lnTo>
                    <a:pt x="88" y="50"/>
                  </a:lnTo>
                  <a:lnTo>
                    <a:pt x="85" y="50"/>
                  </a:lnTo>
                  <a:lnTo>
                    <a:pt x="83" y="50"/>
                  </a:lnTo>
                  <a:lnTo>
                    <a:pt x="81" y="53"/>
                  </a:lnTo>
                  <a:lnTo>
                    <a:pt x="78" y="53"/>
                  </a:lnTo>
                  <a:lnTo>
                    <a:pt x="76" y="53"/>
                  </a:lnTo>
                  <a:lnTo>
                    <a:pt x="73" y="53"/>
                  </a:lnTo>
                  <a:lnTo>
                    <a:pt x="71" y="53"/>
                  </a:lnTo>
                  <a:lnTo>
                    <a:pt x="69" y="53"/>
                  </a:lnTo>
                  <a:lnTo>
                    <a:pt x="66" y="53"/>
                  </a:lnTo>
                  <a:lnTo>
                    <a:pt x="64" y="53"/>
                  </a:lnTo>
                  <a:lnTo>
                    <a:pt x="62" y="53"/>
                  </a:lnTo>
                  <a:lnTo>
                    <a:pt x="59" y="53"/>
                  </a:lnTo>
                  <a:lnTo>
                    <a:pt x="59" y="55"/>
                  </a:lnTo>
                  <a:lnTo>
                    <a:pt x="57" y="55"/>
                  </a:lnTo>
                  <a:lnTo>
                    <a:pt x="59" y="55"/>
                  </a:lnTo>
                  <a:lnTo>
                    <a:pt x="57" y="55"/>
                  </a:lnTo>
                  <a:lnTo>
                    <a:pt x="59" y="55"/>
                  </a:lnTo>
                  <a:lnTo>
                    <a:pt x="57" y="55"/>
                  </a:lnTo>
                  <a:lnTo>
                    <a:pt x="57" y="53"/>
                  </a:lnTo>
                  <a:lnTo>
                    <a:pt x="59" y="53"/>
                  </a:lnTo>
                  <a:lnTo>
                    <a:pt x="57" y="53"/>
                  </a:lnTo>
                  <a:lnTo>
                    <a:pt x="59" y="53"/>
                  </a:lnTo>
                  <a:lnTo>
                    <a:pt x="57" y="53"/>
                  </a:lnTo>
                  <a:lnTo>
                    <a:pt x="54" y="53"/>
                  </a:lnTo>
                  <a:lnTo>
                    <a:pt x="52" y="53"/>
                  </a:lnTo>
                  <a:lnTo>
                    <a:pt x="50" y="53"/>
                  </a:lnTo>
                  <a:lnTo>
                    <a:pt x="47" y="53"/>
                  </a:lnTo>
                  <a:lnTo>
                    <a:pt x="45" y="53"/>
                  </a:lnTo>
                  <a:lnTo>
                    <a:pt x="43" y="53"/>
                  </a:lnTo>
                  <a:lnTo>
                    <a:pt x="43" y="50"/>
                  </a:lnTo>
                  <a:lnTo>
                    <a:pt x="43" y="53"/>
                  </a:lnTo>
                  <a:lnTo>
                    <a:pt x="40" y="53"/>
                  </a:lnTo>
                  <a:lnTo>
                    <a:pt x="38" y="53"/>
                  </a:lnTo>
                  <a:lnTo>
                    <a:pt x="35" y="53"/>
                  </a:lnTo>
                  <a:lnTo>
                    <a:pt x="38" y="53"/>
                  </a:lnTo>
                  <a:lnTo>
                    <a:pt x="38" y="55"/>
                  </a:lnTo>
                  <a:lnTo>
                    <a:pt x="35" y="55"/>
                  </a:lnTo>
                  <a:lnTo>
                    <a:pt x="33" y="55"/>
                  </a:lnTo>
                  <a:lnTo>
                    <a:pt x="33" y="53"/>
                  </a:lnTo>
                  <a:lnTo>
                    <a:pt x="35" y="53"/>
                  </a:lnTo>
                  <a:lnTo>
                    <a:pt x="33" y="53"/>
                  </a:lnTo>
                  <a:lnTo>
                    <a:pt x="35" y="53"/>
                  </a:lnTo>
                  <a:lnTo>
                    <a:pt x="33" y="53"/>
                  </a:lnTo>
                  <a:lnTo>
                    <a:pt x="33" y="50"/>
                  </a:lnTo>
                  <a:lnTo>
                    <a:pt x="31" y="50"/>
                  </a:lnTo>
                  <a:lnTo>
                    <a:pt x="28" y="48"/>
                  </a:lnTo>
                  <a:lnTo>
                    <a:pt x="28" y="50"/>
                  </a:lnTo>
                  <a:lnTo>
                    <a:pt x="26" y="50"/>
                  </a:lnTo>
                  <a:lnTo>
                    <a:pt x="28" y="50"/>
                  </a:lnTo>
                  <a:lnTo>
                    <a:pt x="31" y="50"/>
                  </a:lnTo>
                  <a:lnTo>
                    <a:pt x="28" y="50"/>
                  </a:lnTo>
                  <a:lnTo>
                    <a:pt x="26" y="50"/>
                  </a:lnTo>
                  <a:lnTo>
                    <a:pt x="24" y="50"/>
                  </a:lnTo>
                  <a:lnTo>
                    <a:pt x="26" y="50"/>
                  </a:lnTo>
                  <a:lnTo>
                    <a:pt x="24" y="50"/>
                  </a:lnTo>
                  <a:lnTo>
                    <a:pt x="24" y="48"/>
                  </a:lnTo>
                  <a:lnTo>
                    <a:pt x="21" y="48"/>
                  </a:lnTo>
                  <a:lnTo>
                    <a:pt x="19" y="48"/>
                  </a:lnTo>
                  <a:lnTo>
                    <a:pt x="16" y="48"/>
                  </a:lnTo>
                  <a:lnTo>
                    <a:pt x="16" y="46"/>
                  </a:lnTo>
                  <a:lnTo>
                    <a:pt x="16" y="43"/>
                  </a:lnTo>
                  <a:lnTo>
                    <a:pt x="14" y="43"/>
                  </a:lnTo>
                  <a:lnTo>
                    <a:pt x="12" y="43"/>
                  </a:lnTo>
                  <a:lnTo>
                    <a:pt x="14" y="43"/>
                  </a:lnTo>
                  <a:lnTo>
                    <a:pt x="14" y="41"/>
                  </a:lnTo>
                  <a:lnTo>
                    <a:pt x="16" y="41"/>
                  </a:lnTo>
                  <a:lnTo>
                    <a:pt x="19" y="41"/>
                  </a:lnTo>
                  <a:lnTo>
                    <a:pt x="21" y="41"/>
                  </a:lnTo>
                  <a:lnTo>
                    <a:pt x="21" y="38"/>
                  </a:lnTo>
                  <a:lnTo>
                    <a:pt x="24" y="38"/>
                  </a:lnTo>
                  <a:lnTo>
                    <a:pt x="26" y="38"/>
                  </a:lnTo>
                  <a:lnTo>
                    <a:pt x="28" y="38"/>
                  </a:lnTo>
                  <a:lnTo>
                    <a:pt x="31" y="38"/>
                  </a:lnTo>
                  <a:lnTo>
                    <a:pt x="28" y="38"/>
                  </a:lnTo>
                  <a:lnTo>
                    <a:pt x="31" y="38"/>
                  </a:lnTo>
                  <a:lnTo>
                    <a:pt x="31" y="36"/>
                  </a:lnTo>
                  <a:lnTo>
                    <a:pt x="28" y="36"/>
                  </a:lnTo>
                  <a:lnTo>
                    <a:pt x="28" y="38"/>
                  </a:lnTo>
                  <a:lnTo>
                    <a:pt x="26" y="38"/>
                  </a:lnTo>
                  <a:lnTo>
                    <a:pt x="28" y="38"/>
                  </a:lnTo>
                  <a:lnTo>
                    <a:pt x="28" y="36"/>
                  </a:lnTo>
                  <a:lnTo>
                    <a:pt x="31" y="36"/>
                  </a:lnTo>
                  <a:lnTo>
                    <a:pt x="28" y="36"/>
                  </a:lnTo>
                  <a:lnTo>
                    <a:pt x="31" y="36"/>
                  </a:lnTo>
                  <a:lnTo>
                    <a:pt x="33" y="36"/>
                  </a:lnTo>
                  <a:lnTo>
                    <a:pt x="33" y="38"/>
                  </a:lnTo>
                  <a:lnTo>
                    <a:pt x="35" y="38"/>
                  </a:lnTo>
                  <a:lnTo>
                    <a:pt x="35" y="36"/>
                  </a:lnTo>
                  <a:lnTo>
                    <a:pt x="33" y="36"/>
                  </a:lnTo>
                  <a:lnTo>
                    <a:pt x="33" y="34"/>
                  </a:lnTo>
                  <a:lnTo>
                    <a:pt x="35" y="34"/>
                  </a:lnTo>
                  <a:lnTo>
                    <a:pt x="38" y="34"/>
                  </a:lnTo>
                  <a:lnTo>
                    <a:pt x="40" y="34"/>
                  </a:lnTo>
                  <a:lnTo>
                    <a:pt x="40" y="31"/>
                  </a:lnTo>
                  <a:lnTo>
                    <a:pt x="38" y="34"/>
                  </a:lnTo>
                  <a:lnTo>
                    <a:pt x="35" y="34"/>
                  </a:lnTo>
                  <a:lnTo>
                    <a:pt x="33" y="34"/>
                  </a:lnTo>
                  <a:lnTo>
                    <a:pt x="31" y="34"/>
                  </a:lnTo>
                  <a:lnTo>
                    <a:pt x="33" y="34"/>
                  </a:lnTo>
                  <a:lnTo>
                    <a:pt x="31" y="34"/>
                  </a:lnTo>
                  <a:lnTo>
                    <a:pt x="28" y="34"/>
                  </a:lnTo>
                  <a:lnTo>
                    <a:pt x="26" y="34"/>
                  </a:lnTo>
                  <a:lnTo>
                    <a:pt x="24" y="34"/>
                  </a:lnTo>
                  <a:lnTo>
                    <a:pt x="21" y="34"/>
                  </a:lnTo>
                  <a:lnTo>
                    <a:pt x="19" y="34"/>
                  </a:lnTo>
                  <a:lnTo>
                    <a:pt x="16" y="34"/>
                  </a:lnTo>
                  <a:lnTo>
                    <a:pt x="16" y="31"/>
                  </a:lnTo>
                  <a:lnTo>
                    <a:pt x="16" y="34"/>
                  </a:lnTo>
                  <a:lnTo>
                    <a:pt x="14" y="31"/>
                  </a:lnTo>
                  <a:lnTo>
                    <a:pt x="14" y="34"/>
                  </a:lnTo>
                  <a:lnTo>
                    <a:pt x="14" y="31"/>
                  </a:lnTo>
                  <a:lnTo>
                    <a:pt x="14" y="34"/>
                  </a:lnTo>
                  <a:lnTo>
                    <a:pt x="12" y="34"/>
                  </a:lnTo>
                  <a:lnTo>
                    <a:pt x="12" y="31"/>
                  </a:lnTo>
                  <a:lnTo>
                    <a:pt x="12" y="29"/>
                  </a:lnTo>
                  <a:lnTo>
                    <a:pt x="9" y="29"/>
                  </a:lnTo>
                  <a:lnTo>
                    <a:pt x="9" y="27"/>
                  </a:lnTo>
                  <a:lnTo>
                    <a:pt x="7" y="27"/>
                  </a:lnTo>
                  <a:lnTo>
                    <a:pt x="7" y="29"/>
                  </a:lnTo>
                  <a:lnTo>
                    <a:pt x="7" y="27"/>
                  </a:lnTo>
                  <a:lnTo>
                    <a:pt x="5" y="27"/>
                  </a:lnTo>
                  <a:lnTo>
                    <a:pt x="2" y="27"/>
                  </a:lnTo>
                  <a:lnTo>
                    <a:pt x="0" y="27"/>
                  </a:lnTo>
                  <a:lnTo>
                    <a:pt x="2" y="27"/>
                  </a:lnTo>
                  <a:lnTo>
                    <a:pt x="2" y="24"/>
                  </a:lnTo>
                  <a:lnTo>
                    <a:pt x="5" y="24"/>
                  </a:lnTo>
                  <a:lnTo>
                    <a:pt x="7" y="24"/>
                  </a:lnTo>
                  <a:lnTo>
                    <a:pt x="7" y="22"/>
                  </a:lnTo>
                  <a:lnTo>
                    <a:pt x="7" y="24"/>
                  </a:lnTo>
                  <a:lnTo>
                    <a:pt x="9" y="24"/>
                  </a:lnTo>
                  <a:lnTo>
                    <a:pt x="12" y="24"/>
                  </a:lnTo>
                  <a:lnTo>
                    <a:pt x="14" y="24"/>
                  </a:lnTo>
                  <a:lnTo>
                    <a:pt x="16" y="24"/>
                  </a:lnTo>
                  <a:lnTo>
                    <a:pt x="19" y="24"/>
                  </a:lnTo>
                  <a:lnTo>
                    <a:pt x="21" y="24"/>
                  </a:lnTo>
                  <a:lnTo>
                    <a:pt x="19" y="24"/>
                  </a:lnTo>
                  <a:lnTo>
                    <a:pt x="19" y="22"/>
                  </a:lnTo>
                  <a:lnTo>
                    <a:pt x="21" y="22"/>
                  </a:lnTo>
                  <a:lnTo>
                    <a:pt x="21" y="24"/>
                  </a:lnTo>
                  <a:lnTo>
                    <a:pt x="24" y="24"/>
                  </a:lnTo>
                  <a:lnTo>
                    <a:pt x="21" y="24"/>
                  </a:lnTo>
                  <a:lnTo>
                    <a:pt x="24" y="22"/>
                  </a:lnTo>
                  <a:lnTo>
                    <a:pt x="24" y="24"/>
                  </a:lnTo>
                  <a:lnTo>
                    <a:pt x="26" y="24"/>
                  </a:lnTo>
                  <a:lnTo>
                    <a:pt x="28" y="24"/>
                  </a:lnTo>
                  <a:lnTo>
                    <a:pt x="31" y="24"/>
                  </a:lnTo>
                  <a:lnTo>
                    <a:pt x="28" y="24"/>
                  </a:lnTo>
                  <a:lnTo>
                    <a:pt x="31" y="24"/>
                  </a:lnTo>
                  <a:lnTo>
                    <a:pt x="33" y="24"/>
                  </a:lnTo>
                  <a:lnTo>
                    <a:pt x="31" y="24"/>
                  </a:lnTo>
                  <a:lnTo>
                    <a:pt x="33" y="24"/>
                  </a:lnTo>
                  <a:lnTo>
                    <a:pt x="35" y="24"/>
                  </a:lnTo>
                  <a:lnTo>
                    <a:pt x="33" y="22"/>
                  </a:lnTo>
                  <a:lnTo>
                    <a:pt x="31" y="22"/>
                  </a:lnTo>
                  <a:lnTo>
                    <a:pt x="33" y="22"/>
                  </a:lnTo>
                  <a:lnTo>
                    <a:pt x="35" y="22"/>
                  </a:lnTo>
                  <a:lnTo>
                    <a:pt x="38" y="24"/>
                  </a:lnTo>
                  <a:lnTo>
                    <a:pt x="40" y="24"/>
                  </a:lnTo>
                  <a:lnTo>
                    <a:pt x="38" y="24"/>
                  </a:lnTo>
                  <a:lnTo>
                    <a:pt x="40" y="24"/>
                  </a:lnTo>
                  <a:lnTo>
                    <a:pt x="40" y="27"/>
                  </a:lnTo>
                  <a:lnTo>
                    <a:pt x="43" y="27"/>
                  </a:lnTo>
                  <a:lnTo>
                    <a:pt x="45" y="27"/>
                  </a:lnTo>
                  <a:lnTo>
                    <a:pt x="45" y="29"/>
                  </a:lnTo>
                  <a:lnTo>
                    <a:pt x="47" y="29"/>
                  </a:lnTo>
                  <a:lnTo>
                    <a:pt x="50" y="29"/>
                  </a:lnTo>
                  <a:lnTo>
                    <a:pt x="52" y="29"/>
                  </a:lnTo>
                  <a:lnTo>
                    <a:pt x="54" y="29"/>
                  </a:lnTo>
                  <a:lnTo>
                    <a:pt x="57" y="29"/>
                  </a:lnTo>
                  <a:lnTo>
                    <a:pt x="54" y="29"/>
                  </a:lnTo>
                  <a:lnTo>
                    <a:pt x="54" y="27"/>
                  </a:lnTo>
                  <a:lnTo>
                    <a:pt x="57" y="27"/>
                  </a:lnTo>
                  <a:lnTo>
                    <a:pt x="54" y="27"/>
                  </a:lnTo>
                  <a:lnTo>
                    <a:pt x="57" y="27"/>
                  </a:lnTo>
                  <a:lnTo>
                    <a:pt x="59" y="27"/>
                  </a:lnTo>
                  <a:lnTo>
                    <a:pt x="62" y="27"/>
                  </a:lnTo>
                  <a:lnTo>
                    <a:pt x="62" y="24"/>
                  </a:lnTo>
                  <a:lnTo>
                    <a:pt x="59" y="24"/>
                  </a:lnTo>
                  <a:lnTo>
                    <a:pt x="57" y="24"/>
                  </a:lnTo>
                  <a:lnTo>
                    <a:pt x="54" y="24"/>
                  </a:lnTo>
                  <a:lnTo>
                    <a:pt x="52" y="24"/>
                  </a:lnTo>
                  <a:lnTo>
                    <a:pt x="50" y="24"/>
                  </a:lnTo>
                  <a:lnTo>
                    <a:pt x="47" y="22"/>
                  </a:lnTo>
                  <a:lnTo>
                    <a:pt x="50" y="22"/>
                  </a:lnTo>
                  <a:lnTo>
                    <a:pt x="47" y="22"/>
                  </a:lnTo>
                  <a:lnTo>
                    <a:pt x="47" y="19"/>
                  </a:lnTo>
                  <a:lnTo>
                    <a:pt x="45" y="19"/>
                  </a:lnTo>
                  <a:lnTo>
                    <a:pt x="43" y="17"/>
                  </a:lnTo>
                  <a:lnTo>
                    <a:pt x="45" y="17"/>
                  </a:lnTo>
                  <a:lnTo>
                    <a:pt x="45" y="15"/>
                  </a:lnTo>
                  <a:lnTo>
                    <a:pt x="43" y="15"/>
                  </a:lnTo>
                  <a:lnTo>
                    <a:pt x="43" y="12"/>
                  </a:lnTo>
                  <a:lnTo>
                    <a:pt x="45" y="12"/>
                  </a:lnTo>
                  <a:lnTo>
                    <a:pt x="47" y="12"/>
                  </a:lnTo>
                  <a:lnTo>
                    <a:pt x="50" y="12"/>
                  </a:lnTo>
                  <a:lnTo>
                    <a:pt x="52" y="15"/>
                  </a:lnTo>
                  <a:lnTo>
                    <a:pt x="54" y="15"/>
                  </a:lnTo>
                  <a:lnTo>
                    <a:pt x="54" y="17"/>
                  </a:lnTo>
                  <a:lnTo>
                    <a:pt x="57" y="17"/>
                  </a:lnTo>
                  <a:lnTo>
                    <a:pt x="57" y="19"/>
                  </a:lnTo>
                  <a:lnTo>
                    <a:pt x="59" y="19"/>
                  </a:lnTo>
                  <a:lnTo>
                    <a:pt x="62" y="19"/>
                  </a:lnTo>
                  <a:lnTo>
                    <a:pt x="62" y="22"/>
                  </a:lnTo>
                  <a:lnTo>
                    <a:pt x="64" y="22"/>
                  </a:lnTo>
                  <a:lnTo>
                    <a:pt x="66" y="22"/>
                  </a:lnTo>
                  <a:lnTo>
                    <a:pt x="69" y="22"/>
                  </a:lnTo>
                  <a:lnTo>
                    <a:pt x="69" y="19"/>
                  </a:lnTo>
                  <a:lnTo>
                    <a:pt x="66" y="19"/>
                  </a:lnTo>
                  <a:lnTo>
                    <a:pt x="64" y="19"/>
                  </a:lnTo>
                  <a:lnTo>
                    <a:pt x="66" y="17"/>
                  </a:lnTo>
                  <a:lnTo>
                    <a:pt x="69" y="17"/>
                  </a:lnTo>
                  <a:lnTo>
                    <a:pt x="66" y="17"/>
                  </a:lnTo>
                  <a:lnTo>
                    <a:pt x="66" y="15"/>
                  </a:lnTo>
                  <a:lnTo>
                    <a:pt x="69" y="15"/>
                  </a:lnTo>
                  <a:lnTo>
                    <a:pt x="66" y="15"/>
                  </a:lnTo>
                  <a:lnTo>
                    <a:pt x="69" y="15"/>
                  </a:lnTo>
                  <a:lnTo>
                    <a:pt x="66" y="15"/>
                  </a:lnTo>
                  <a:lnTo>
                    <a:pt x="69" y="12"/>
                  </a:lnTo>
                  <a:lnTo>
                    <a:pt x="71" y="12"/>
                  </a:lnTo>
                  <a:lnTo>
                    <a:pt x="69" y="12"/>
                  </a:lnTo>
                  <a:lnTo>
                    <a:pt x="66" y="12"/>
                  </a:lnTo>
                  <a:lnTo>
                    <a:pt x="69" y="12"/>
                  </a:lnTo>
                  <a:lnTo>
                    <a:pt x="71" y="12"/>
                  </a:lnTo>
                  <a:lnTo>
                    <a:pt x="69" y="10"/>
                  </a:lnTo>
                  <a:lnTo>
                    <a:pt x="71" y="10"/>
                  </a:lnTo>
                  <a:lnTo>
                    <a:pt x="73" y="10"/>
                  </a:lnTo>
                  <a:lnTo>
                    <a:pt x="71" y="10"/>
                  </a:lnTo>
                  <a:lnTo>
                    <a:pt x="66" y="10"/>
                  </a:lnTo>
                  <a:lnTo>
                    <a:pt x="64" y="10"/>
                  </a:lnTo>
                  <a:lnTo>
                    <a:pt x="62" y="10"/>
                  </a:lnTo>
                  <a:lnTo>
                    <a:pt x="59" y="10"/>
                  </a:lnTo>
                  <a:lnTo>
                    <a:pt x="57" y="10"/>
                  </a:lnTo>
                  <a:lnTo>
                    <a:pt x="57" y="8"/>
                  </a:lnTo>
                  <a:lnTo>
                    <a:pt x="57" y="5"/>
                  </a:lnTo>
                  <a:lnTo>
                    <a:pt x="59" y="3"/>
                  </a:lnTo>
                  <a:lnTo>
                    <a:pt x="59" y="5"/>
                  </a:lnTo>
                  <a:lnTo>
                    <a:pt x="62" y="5"/>
                  </a:lnTo>
                  <a:lnTo>
                    <a:pt x="64" y="5"/>
                  </a:lnTo>
                  <a:lnTo>
                    <a:pt x="66" y="8"/>
                  </a:lnTo>
                  <a:lnTo>
                    <a:pt x="66" y="5"/>
                  </a:lnTo>
                  <a:lnTo>
                    <a:pt x="64" y="5"/>
                  </a:lnTo>
                  <a:lnTo>
                    <a:pt x="62" y="5"/>
                  </a:lnTo>
                  <a:lnTo>
                    <a:pt x="62" y="3"/>
                  </a:lnTo>
                  <a:lnTo>
                    <a:pt x="62" y="0"/>
                  </a:lnTo>
                  <a:lnTo>
                    <a:pt x="64" y="3"/>
                  </a:lnTo>
                  <a:lnTo>
                    <a:pt x="66" y="3"/>
                  </a:lnTo>
                  <a:lnTo>
                    <a:pt x="69" y="3"/>
                  </a:lnTo>
                  <a:lnTo>
                    <a:pt x="69" y="5"/>
                  </a:lnTo>
                  <a:lnTo>
                    <a:pt x="71" y="5"/>
                  </a:lnTo>
                  <a:lnTo>
                    <a:pt x="73" y="5"/>
                  </a:lnTo>
                  <a:lnTo>
                    <a:pt x="76" y="5"/>
                  </a:lnTo>
                  <a:lnTo>
                    <a:pt x="76" y="8"/>
                  </a:lnTo>
                  <a:lnTo>
                    <a:pt x="78" y="8"/>
                  </a:lnTo>
                  <a:lnTo>
                    <a:pt x="78" y="10"/>
                  </a:lnTo>
                  <a:lnTo>
                    <a:pt x="81" y="8"/>
                  </a:lnTo>
                  <a:lnTo>
                    <a:pt x="83" y="8"/>
                  </a:lnTo>
                  <a:lnTo>
                    <a:pt x="85" y="8"/>
                  </a:lnTo>
                  <a:lnTo>
                    <a:pt x="88" y="8"/>
                  </a:lnTo>
                  <a:lnTo>
                    <a:pt x="88" y="10"/>
                  </a:lnTo>
                  <a:lnTo>
                    <a:pt x="90" y="10"/>
                  </a:lnTo>
                  <a:lnTo>
                    <a:pt x="88" y="10"/>
                  </a:lnTo>
                  <a:lnTo>
                    <a:pt x="90" y="12"/>
                  </a:lnTo>
                  <a:lnTo>
                    <a:pt x="92" y="12"/>
                  </a:lnTo>
                  <a:lnTo>
                    <a:pt x="92" y="15"/>
                  </a:lnTo>
                  <a:lnTo>
                    <a:pt x="92" y="17"/>
                  </a:lnTo>
                  <a:lnTo>
                    <a:pt x="95" y="17"/>
                  </a:lnTo>
                  <a:lnTo>
                    <a:pt x="92" y="17"/>
                  </a:lnTo>
                  <a:lnTo>
                    <a:pt x="95" y="17"/>
                  </a:lnTo>
                  <a:lnTo>
                    <a:pt x="97" y="17"/>
                  </a:lnTo>
                  <a:lnTo>
                    <a:pt x="97" y="15"/>
                  </a:lnTo>
                  <a:lnTo>
                    <a:pt x="100" y="15"/>
                  </a:lnTo>
                  <a:lnTo>
                    <a:pt x="102" y="15"/>
                  </a:lnTo>
                  <a:lnTo>
                    <a:pt x="102" y="17"/>
                  </a:lnTo>
                  <a:lnTo>
                    <a:pt x="102" y="19"/>
                  </a:lnTo>
                  <a:lnTo>
                    <a:pt x="102" y="22"/>
                  </a:lnTo>
                  <a:lnTo>
                    <a:pt x="104" y="22"/>
                  </a:lnTo>
                  <a:lnTo>
                    <a:pt x="107" y="22"/>
                  </a:lnTo>
                  <a:lnTo>
                    <a:pt x="109" y="22"/>
                  </a:lnTo>
                  <a:lnTo>
                    <a:pt x="107" y="22"/>
                  </a:lnTo>
                  <a:lnTo>
                    <a:pt x="109" y="22"/>
                  </a:lnTo>
                  <a:lnTo>
                    <a:pt x="107" y="22"/>
                  </a:lnTo>
                  <a:lnTo>
                    <a:pt x="109" y="22"/>
                  </a:lnTo>
                  <a:lnTo>
                    <a:pt x="111" y="22"/>
                  </a:lnTo>
                  <a:lnTo>
                    <a:pt x="114" y="22"/>
                  </a:lnTo>
                  <a:lnTo>
                    <a:pt x="114" y="19"/>
                  </a:lnTo>
                  <a:lnTo>
                    <a:pt x="116" y="19"/>
                  </a:lnTo>
                  <a:lnTo>
                    <a:pt x="119" y="19"/>
                  </a:lnTo>
                  <a:lnTo>
                    <a:pt x="119" y="22"/>
                  </a:lnTo>
                  <a:lnTo>
                    <a:pt x="121" y="22"/>
                  </a:lnTo>
                  <a:lnTo>
                    <a:pt x="121" y="19"/>
                  </a:lnTo>
                  <a:lnTo>
                    <a:pt x="123" y="17"/>
                  </a:lnTo>
                  <a:lnTo>
                    <a:pt x="126" y="19"/>
                  </a:lnTo>
                  <a:lnTo>
                    <a:pt x="128" y="19"/>
                  </a:lnTo>
                  <a:lnTo>
                    <a:pt x="128" y="22"/>
                  </a:lnTo>
                  <a:lnTo>
                    <a:pt x="130" y="22"/>
                  </a:lnTo>
                  <a:lnTo>
                    <a:pt x="130" y="19"/>
                  </a:lnTo>
                  <a:lnTo>
                    <a:pt x="130" y="17"/>
                  </a:lnTo>
                  <a:lnTo>
                    <a:pt x="133" y="17"/>
                  </a:lnTo>
                  <a:lnTo>
                    <a:pt x="135" y="17"/>
                  </a:lnTo>
                  <a:lnTo>
                    <a:pt x="135" y="19"/>
                  </a:lnTo>
                  <a:lnTo>
                    <a:pt x="138" y="19"/>
                  </a:lnTo>
                  <a:lnTo>
                    <a:pt x="135" y="19"/>
                  </a:lnTo>
                  <a:lnTo>
                    <a:pt x="135" y="22"/>
                  </a:lnTo>
                  <a:lnTo>
                    <a:pt x="133" y="24"/>
                  </a:lnTo>
                  <a:lnTo>
                    <a:pt x="130" y="24"/>
                  </a:lnTo>
                  <a:lnTo>
                    <a:pt x="130" y="27"/>
                  </a:lnTo>
                  <a:lnTo>
                    <a:pt x="128" y="27"/>
                  </a:lnTo>
                  <a:lnTo>
                    <a:pt x="126" y="27"/>
                  </a:lnTo>
                  <a:lnTo>
                    <a:pt x="126" y="29"/>
                  </a:lnTo>
                  <a:lnTo>
                    <a:pt x="128" y="29"/>
                  </a:lnTo>
                  <a:lnTo>
                    <a:pt x="130" y="29"/>
                  </a:lnTo>
                  <a:lnTo>
                    <a:pt x="130" y="27"/>
                  </a:lnTo>
                  <a:lnTo>
                    <a:pt x="133" y="27"/>
                  </a:lnTo>
                  <a:lnTo>
                    <a:pt x="135" y="27"/>
                  </a:lnTo>
                  <a:lnTo>
                    <a:pt x="138" y="27"/>
                  </a:lnTo>
                  <a:lnTo>
                    <a:pt x="138" y="29"/>
                  </a:lnTo>
                  <a:lnTo>
                    <a:pt x="140" y="29"/>
                  </a:lnTo>
                  <a:lnTo>
                    <a:pt x="142" y="29"/>
                  </a:lnTo>
                  <a:lnTo>
                    <a:pt x="145" y="29"/>
                  </a:lnTo>
                  <a:lnTo>
                    <a:pt x="145" y="31"/>
                  </a:lnTo>
                  <a:lnTo>
                    <a:pt x="145" y="34"/>
                  </a:lnTo>
                  <a:lnTo>
                    <a:pt x="147" y="34"/>
                  </a:lnTo>
                  <a:lnTo>
                    <a:pt x="147" y="36"/>
                  </a:lnTo>
                  <a:lnTo>
                    <a:pt x="149" y="36"/>
                  </a:lnTo>
                  <a:lnTo>
                    <a:pt x="147" y="36"/>
                  </a:lnTo>
                  <a:lnTo>
                    <a:pt x="149" y="36"/>
                  </a:lnTo>
                  <a:lnTo>
                    <a:pt x="152" y="36"/>
                  </a:lnTo>
                  <a:lnTo>
                    <a:pt x="152" y="34"/>
                  </a:lnTo>
                  <a:lnTo>
                    <a:pt x="154" y="34"/>
                  </a:lnTo>
                  <a:lnTo>
                    <a:pt x="154" y="36"/>
                  </a:lnTo>
                  <a:lnTo>
                    <a:pt x="156" y="36"/>
                  </a:lnTo>
                  <a:lnTo>
                    <a:pt x="156" y="34"/>
                  </a:lnTo>
                  <a:lnTo>
                    <a:pt x="154" y="34"/>
                  </a:lnTo>
                  <a:lnTo>
                    <a:pt x="154" y="31"/>
                  </a:lnTo>
                  <a:lnTo>
                    <a:pt x="156" y="31"/>
                  </a:lnTo>
                  <a:lnTo>
                    <a:pt x="156" y="34"/>
                  </a:lnTo>
                  <a:lnTo>
                    <a:pt x="159" y="34"/>
                  </a:lnTo>
                  <a:lnTo>
                    <a:pt x="159" y="31"/>
                  </a:lnTo>
                  <a:lnTo>
                    <a:pt x="156" y="31"/>
                  </a:lnTo>
                  <a:lnTo>
                    <a:pt x="154" y="31"/>
                  </a:lnTo>
                  <a:lnTo>
                    <a:pt x="156" y="31"/>
                  </a:lnTo>
                  <a:lnTo>
                    <a:pt x="156" y="29"/>
                  </a:lnTo>
                  <a:lnTo>
                    <a:pt x="154" y="29"/>
                  </a:lnTo>
                  <a:lnTo>
                    <a:pt x="152" y="29"/>
                  </a:lnTo>
                  <a:lnTo>
                    <a:pt x="154" y="29"/>
                  </a:lnTo>
                  <a:lnTo>
                    <a:pt x="154" y="27"/>
                  </a:lnTo>
                  <a:lnTo>
                    <a:pt x="154" y="24"/>
                  </a:lnTo>
                  <a:lnTo>
                    <a:pt x="156" y="22"/>
                  </a:lnTo>
                  <a:lnTo>
                    <a:pt x="159" y="22"/>
                  </a:lnTo>
                  <a:lnTo>
                    <a:pt x="156" y="22"/>
                  </a:lnTo>
                  <a:lnTo>
                    <a:pt x="156" y="19"/>
                  </a:lnTo>
                  <a:lnTo>
                    <a:pt x="156" y="17"/>
                  </a:lnTo>
                  <a:lnTo>
                    <a:pt x="159" y="17"/>
                  </a:lnTo>
                  <a:lnTo>
                    <a:pt x="161" y="17"/>
                  </a:lnTo>
                  <a:lnTo>
                    <a:pt x="159" y="17"/>
                  </a:lnTo>
                  <a:lnTo>
                    <a:pt x="161" y="17"/>
                  </a:lnTo>
                  <a:lnTo>
                    <a:pt x="161" y="15"/>
                  </a:lnTo>
                  <a:lnTo>
                    <a:pt x="159" y="15"/>
                  </a:lnTo>
                  <a:lnTo>
                    <a:pt x="156" y="15"/>
                  </a:lnTo>
                  <a:lnTo>
                    <a:pt x="154" y="15"/>
                  </a:lnTo>
                  <a:lnTo>
                    <a:pt x="154" y="12"/>
                  </a:lnTo>
                  <a:lnTo>
                    <a:pt x="152" y="12"/>
                  </a:lnTo>
                  <a:lnTo>
                    <a:pt x="152" y="10"/>
                  </a:lnTo>
                  <a:lnTo>
                    <a:pt x="154" y="8"/>
                  </a:lnTo>
                  <a:lnTo>
                    <a:pt x="156" y="8"/>
                  </a:lnTo>
                  <a:lnTo>
                    <a:pt x="159" y="8"/>
                  </a:lnTo>
                  <a:lnTo>
                    <a:pt x="161" y="8"/>
                  </a:lnTo>
                  <a:lnTo>
                    <a:pt x="161" y="10"/>
                  </a:lnTo>
                  <a:lnTo>
                    <a:pt x="161" y="12"/>
                  </a:lnTo>
                  <a:lnTo>
                    <a:pt x="164" y="12"/>
                  </a:lnTo>
                  <a:lnTo>
                    <a:pt x="164" y="15"/>
                  </a:lnTo>
                  <a:lnTo>
                    <a:pt x="166" y="15"/>
                  </a:lnTo>
                  <a:lnTo>
                    <a:pt x="166" y="12"/>
                  </a:lnTo>
                  <a:lnTo>
                    <a:pt x="164" y="12"/>
                  </a:lnTo>
                  <a:lnTo>
                    <a:pt x="166" y="12"/>
                  </a:lnTo>
                  <a:lnTo>
                    <a:pt x="166" y="10"/>
                  </a:lnTo>
                  <a:lnTo>
                    <a:pt x="168" y="10"/>
                  </a:lnTo>
                  <a:lnTo>
                    <a:pt x="168" y="8"/>
                  </a:lnTo>
                  <a:lnTo>
                    <a:pt x="168" y="5"/>
                  </a:lnTo>
                  <a:lnTo>
                    <a:pt x="166" y="5"/>
                  </a:lnTo>
                  <a:lnTo>
                    <a:pt x="166" y="3"/>
                  </a:lnTo>
                  <a:lnTo>
                    <a:pt x="166" y="0"/>
                  </a:lnTo>
                  <a:lnTo>
                    <a:pt x="168" y="0"/>
                  </a:lnTo>
                  <a:lnTo>
                    <a:pt x="168" y="3"/>
                  </a:lnTo>
                  <a:lnTo>
                    <a:pt x="171" y="3"/>
                  </a:lnTo>
                  <a:lnTo>
                    <a:pt x="173" y="3"/>
                  </a:lnTo>
                  <a:lnTo>
                    <a:pt x="173" y="5"/>
                  </a:lnTo>
                  <a:lnTo>
                    <a:pt x="175" y="5"/>
                  </a:lnTo>
                  <a:lnTo>
                    <a:pt x="178" y="5"/>
                  </a:lnTo>
                  <a:lnTo>
                    <a:pt x="180" y="5"/>
                  </a:lnTo>
                  <a:lnTo>
                    <a:pt x="183" y="5"/>
                  </a:lnTo>
                  <a:lnTo>
                    <a:pt x="185" y="8"/>
                  </a:lnTo>
                  <a:lnTo>
                    <a:pt x="183" y="8"/>
                  </a:lnTo>
                  <a:lnTo>
                    <a:pt x="183" y="10"/>
                  </a:lnTo>
                  <a:lnTo>
                    <a:pt x="180" y="10"/>
                  </a:lnTo>
                  <a:lnTo>
                    <a:pt x="178" y="10"/>
                  </a:lnTo>
                  <a:lnTo>
                    <a:pt x="180" y="10"/>
                  </a:lnTo>
                  <a:lnTo>
                    <a:pt x="183" y="10"/>
                  </a:lnTo>
                  <a:lnTo>
                    <a:pt x="180" y="10"/>
                  </a:lnTo>
                  <a:lnTo>
                    <a:pt x="180" y="12"/>
                  </a:lnTo>
                  <a:lnTo>
                    <a:pt x="178" y="12"/>
                  </a:lnTo>
                  <a:lnTo>
                    <a:pt x="180" y="12"/>
                  </a:lnTo>
                  <a:lnTo>
                    <a:pt x="178" y="12"/>
                  </a:lnTo>
                  <a:lnTo>
                    <a:pt x="180" y="12"/>
                  </a:lnTo>
                  <a:lnTo>
                    <a:pt x="183" y="12"/>
                  </a:lnTo>
                  <a:lnTo>
                    <a:pt x="185" y="12"/>
                  </a:lnTo>
                  <a:lnTo>
                    <a:pt x="185" y="15"/>
                  </a:lnTo>
                  <a:lnTo>
                    <a:pt x="183" y="15"/>
                  </a:lnTo>
                  <a:lnTo>
                    <a:pt x="185" y="15"/>
                  </a:lnTo>
                  <a:lnTo>
                    <a:pt x="183" y="1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5" name="Freeform 52505"/>
            <p:cNvSpPr>
              <a:spLocks noEditPoints="1"/>
            </p:cNvSpPr>
            <p:nvPr/>
          </p:nvSpPr>
          <p:spPr bwMode="auto">
            <a:xfrm>
              <a:off x="1550986" y="1963747"/>
              <a:ext cx="2230437" cy="1897068"/>
            </a:xfrm>
            <a:custGeom>
              <a:avLst/>
              <a:gdLst>
                <a:gd name="T0" fmla="*/ 479 w 1405"/>
                <a:gd name="T1" fmla="*/ 1188 h 1195"/>
                <a:gd name="T2" fmla="*/ 486 w 1405"/>
                <a:gd name="T3" fmla="*/ 1178 h 1195"/>
                <a:gd name="T4" fmla="*/ 785 w 1405"/>
                <a:gd name="T5" fmla="*/ 758 h 1195"/>
                <a:gd name="T6" fmla="*/ 783 w 1405"/>
                <a:gd name="T7" fmla="*/ 758 h 1195"/>
                <a:gd name="T8" fmla="*/ 780 w 1405"/>
                <a:gd name="T9" fmla="*/ 760 h 1195"/>
                <a:gd name="T10" fmla="*/ 776 w 1405"/>
                <a:gd name="T11" fmla="*/ 753 h 1195"/>
                <a:gd name="T12" fmla="*/ 785 w 1405"/>
                <a:gd name="T13" fmla="*/ 748 h 1195"/>
                <a:gd name="T14" fmla="*/ 795 w 1405"/>
                <a:gd name="T15" fmla="*/ 746 h 1195"/>
                <a:gd name="T16" fmla="*/ 826 w 1405"/>
                <a:gd name="T17" fmla="*/ 710 h 1195"/>
                <a:gd name="T18" fmla="*/ 814 w 1405"/>
                <a:gd name="T19" fmla="*/ 720 h 1195"/>
                <a:gd name="T20" fmla="*/ 823 w 1405"/>
                <a:gd name="T21" fmla="*/ 703 h 1195"/>
                <a:gd name="T22" fmla="*/ 923 w 1405"/>
                <a:gd name="T23" fmla="*/ 672 h 1195"/>
                <a:gd name="T24" fmla="*/ 894 w 1405"/>
                <a:gd name="T25" fmla="*/ 677 h 1195"/>
                <a:gd name="T26" fmla="*/ 906 w 1405"/>
                <a:gd name="T27" fmla="*/ 672 h 1195"/>
                <a:gd name="T28" fmla="*/ 909 w 1405"/>
                <a:gd name="T29" fmla="*/ 670 h 1195"/>
                <a:gd name="T30" fmla="*/ 916 w 1405"/>
                <a:gd name="T31" fmla="*/ 667 h 1195"/>
                <a:gd name="T32" fmla="*/ 949 w 1405"/>
                <a:gd name="T33" fmla="*/ 658 h 1195"/>
                <a:gd name="T34" fmla="*/ 925 w 1405"/>
                <a:gd name="T35" fmla="*/ 663 h 1195"/>
                <a:gd name="T36" fmla="*/ 930 w 1405"/>
                <a:gd name="T37" fmla="*/ 653 h 1195"/>
                <a:gd name="T38" fmla="*/ 980 w 1405"/>
                <a:gd name="T39" fmla="*/ 651 h 1195"/>
                <a:gd name="T40" fmla="*/ 949 w 1405"/>
                <a:gd name="T41" fmla="*/ 639 h 1195"/>
                <a:gd name="T42" fmla="*/ 961 w 1405"/>
                <a:gd name="T43" fmla="*/ 648 h 1195"/>
                <a:gd name="T44" fmla="*/ 944 w 1405"/>
                <a:gd name="T45" fmla="*/ 641 h 1195"/>
                <a:gd name="T46" fmla="*/ 1075 w 1405"/>
                <a:gd name="T47" fmla="*/ 632 h 1195"/>
                <a:gd name="T48" fmla="*/ 1063 w 1405"/>
                <a:gd name="T49" fmla="*/ 632 h 1195"/>
                <a:gd name="T50" fmla="*/ 1063 w 1405"/>
                <a:gd name="T51" fmla="*/ 627 h 1195"/>
                <a:gd name="T52" fmla="*/ 1072 w 1405"/>
                <a:gd name="T53" fmla="*/ 622 h 1195"/>
                <a:gd name="T54" fmla="*/ 1084 w 1405"/>
                <a:gd name="T55" fmla="*/ 613 h 1195"/>
                <a:gd name="T56" fmla="*/ 1089 w 1405"/>
                <a:gd name="T57" fmla="*/ 625 h 1195"/>
                <a:gd name="T58" fmla="*/ 35 w 1405"/>
                <a:gd name="T59" fmla="*/ 594 h 1195"/>
                <a:gd name="T60" fmla="*/ 2 w 1405"/>
                <a:gd name="T61" fmla="*/ 606 h 1195"/>
                <a:gd name="T62" fmla="*/ 24 w 1405"/>
                <a:gd name="T63" fmla="*/ 589 h 1195"/>
                <a:gd name="T64" fmla="*/ 1153 w 1405"/>
                <a:gd name="T65" fmla="*/ 587 h 1195"/>
                <a:gd name="T66" fmla="*/ 1158 w 1405"/>
                <a:gd name="T67" fmla="*/ 594 h 1195"/>
                <a:gd name="T68" fmla="*/ 1153 w 1405"/>
                <a:gd name="T69" fmla="*/ 596 h 1195"/>
                <a:gd name="T70" fmla="*/ 1141 w 1405"/>
                <a:gd name="T71" fmla="*/ 594 h 1195"/>
                <a:gd name="T72" fmla="*/ 1136 w 1405"/>
                <a:gd name="T73" fmla="*/ 589 h 1195"/>
                <a:gd name="T74" fmla="*/ 1146 w 1405"/>
                <a:gd name="T75" fmla="*/ 587 h 1195"/>
                <a:gd name="T76" fmla="*/ 923 w 1405"/>
                <a:gd name="T77" fmla="*/ 380 h 1195"/>
                <a:gd name="T78" fmla="*/ 1015 w 1405"/>
                <a:gd name="T79" fmla="*/ 119 h 1195"/>
                <a:gd name="T80" fmla="*/ 1032 w 1405"/>
                <a:gd name="T81" fmla="*/ 130 h 1195"/>
                <a:gd name="T82" fmla="*/ 992 w 1405"/>
                <a:gd name="T83" fmla="*/ 140 h 1195"/>
                <a:gd name="T84" fmla="*/ 982 w 1405"/>
                <a:gd name="T85" fmla="*/ 133 h 1195"/>
                <a:gd name="T86" fmla="*/ 977 w 1405"/>
                <a:gd name="T87" fmla="*/ 121 h 1195"/>
                <a:gd name="T88" fmla="*/ 1193 w 1405"/>
                <a:gd name="T89" fmla="*/ 107 h 1195"/>
                <a:gd name="T90" fmla="*/ 1181 w 1405"/>
                <a:gd name="T91" fmla="*/ 104 h 1195"/>
                <a:gd name="T92" fmla="*/ 659 w 1405"/>
                <a:gd name="T93" fmla="*/ 104 h 1195"/>
                <a:gd name="T94" fmla="*/ 669 w 1405"/>
                <a:gd name="T95" fmla="*/ 116 h 1195"/>
                <a:gd name="T96" fmla="*/ 690 w 1405"/>
                <a:gd name="T97" fmla="*/ 128 h 1195"/>
                <a:gd name="T98" fmla="*/ 688 w 1405"/>
                <a:gd name="T99" fmla="*/ 135 h 1195"/>
                <a:gd name="T100" fmla="*/ 664 w 1405"/>
                <a:gd name="T101" fmla="*/ 123 h 1195"/>
                <a:gd name="T102" fmla="*/ 648 w 1405"/>
                <a:gd name="T103" fmla="*/ 102 h 1195"/>
                <a:gd name="T104" fmla="*/ 1269 w 1405"/>
                <a:gd name="T105" fmla="*/ 95 h 1195"/>
                <a:gd name="T106" fmla="*/ 1253 w 1405"/>
                <a:gd name="T107" fmla="*/ 95 h 1195"/>
                <a:gd name="T108" fmla="*/ 1217 w 1405"/>
                <a:gd name="T109" fmla="*/ 97 h 1195"/>
                <a:gd name="T110" fmla="*/ 968 w 1405"/>
                <a:gd name="T111" fmla="*/ 81 h 1195"/>
                <a:gd name="T112" fmla="*/ 968 w 1405"/>
                <a:gd name="T113" fmla="*/ 88 h 1195"/>
                <a:gd name="T114" fmla="*/ 1402 w 1405"/>
                <a:gd name="T115" fmla="*/ 9 h 1195"/>
                <a:gd name="T116" fmla="*/ 1364 w 1405"/>
                <a:gd name="T117" fmla="*/ 14 h 1195"/>
                <a:gd name="T118" fmla="*/ 1338 w 1405"/>
                <a:gd name="T119" fmla="*/ 12 h 1195"/>
                <a:gd name="T120" fmla="*/ 1378 w 1405"/>
                <a:gd name="T121" fmla="*/ 0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05" h="1195">
                  <a:moveTo>
                    <a:pt x="486" y="1180"/>
                  </a:moveTo>
                  <a:lnTo>
                    <a:pt x="489" y="1178"/>
                  </a:lnTo>
                  <a:lnTo>
                    <a:pt x="489" y="1180"/>
                  </a:lnTo>
                  <a:lnTo>
                    <a:pt x="489" y="1183"/>
                  </a:lnTo>
                  <a:lnTo>
                    <a:pt x="489" y="1185"/>
                  </a:lnTo>
                  <a:lnTo>
                    <a:pt x="489" y="1188"/>
                  </a:lnTo>
                  <a:lnTo>
                    <a:pt x="489" y="1190"/>
                  </a:lnTo>
                  <a:lnTo>
                    <a:pt x="489" y="1192"/>
                  </a:lnTo>
                  <a:lnTo>
                    <a:pt x="486" y="1192"/>
                  </a:lnTo>
                  <a:lnTo>
                    <a:pt x="486" y="1190"/>
                  </a:lnTo>
                  <a:lnTo>
                    <a:pt x="486" y="1192"/>
                  </a:lnTo>
                  <a:lnTo>
                    <a:pt x="484" y="1192"/>
                  </a:lnTo>
                  <a:lnTo>
                    <a:pt x="482" y="1195"/>
                  </a:lnTo>
                  <a:lnTo>
                    <a:pt x="482" y="1192"/>
                  </a:lnTo>
                  <a:lnTo>
                    <a:pt x="479" y="1192"/>
                  </a:lnTo>
                  <a:lnTo>
                    <a:pt x="479" y="1190"/>
                  </a:lnTo>
                  <a:lnTo>
                    <a:pt x="477" y="1190"/>
                  </a:lnTo>
                  <a:lnTo>
                    <a:pt x="477" y="1188"/>
                  </a:lnTo>
                  <a:lnTo>
                    <a:pt x="479" y="1188"/>
                  </a:lnTo>
                  <a:lnTo>
                    <a:pt x="482" y="1188"/>
                  </a:lnTo>
                  <a:lnTo>
                    <a:pt x="479" y="1188"/>
                  </a:lnTo>
                  <a:lnTo>
                    <a:pt x="479" y="1185"/>
                  </a:lnTo>
                  <a:lnTo>
                    <a:pt x="482" y="1185"/>
                  </a:lnTo>
                  <a:lnTo>
                    <a:pt x="479" y="1185"/>
                  </a:lnTo>
                  <a:lnTo>
                    <a:pt x="482" y="1185"/>
                  </a:lnTo>
                  <a:lnTo>
                    <a:pt x="479" y="1185"/>
                  </a:lnTo>
                  <a:lnTo>
                    <a:pt x="482" y="1185"/>
                  </a:lnTo>
                  <a:lnTo>
                    <a:pt x="482" y="1183"/>
                  </a:lnTo>
                  <a:lnTo>
                    <a:pt x="484" y="1183"/>
                  </a:lnTo>
                  <a:lnTo>
                    <a:pt x="484" y="1185"/>
                  </a:lnTo>
                  <a:lnTo>
                    <a:pt x="484" y="1183"/>
                  </a:lnTo>
                  <a:lnTo>
                    <a:pt x="484" y="1180"/>
                  </a:lnTo>
                  <a:lnTo>
                    <a:pt x="486" y="1180"/>
                  </a:lnTo>
                  <a:lnTo>
                    <a:pt x="484" y="1180"/>
                  </a:lnTo>
                  <a:lnTo>
                    <a:pt x="486" y="1180"/>
                  </a:lnTo>
                  <a:lnTo>
                    <a:pt x="484" y="1180"/>
                  </a:lnTo>
                  <a:lnTo>
                    <a:pt x="486" y="1180"/>
                  </a:lnTo>
                  <a:lnTo>
                    <a:pt x="486" y="1178"/>
                  </a:lnTo>
                  <a:lnTo>
                    <a:pt x="486" y="1180"/>
                  </a:lnTo>
                  <a:close/>
                  <a:moveTo>
                    <a:pt x="802" y="746"/>
                  </a:moveTo>
                  <a:lnTo>
                    <a:pt x="799" y="746"/>
                  </a:lnTo>
                  <a:lnTo>
                    <a:pt x="802" y="746"/>
                  </a:lnTo>
                  <a:lnTo>
                    <a:pt x="799" y="746"/>
                  </a:lnTo>
                  <a:lnTo>
                    <a:pt x="799" y="748"/>
                  </a:lnTo>
                  <a:lnTo>
                    <a:pt x="797" y="750"/>
                  </a:lnTo>
                  <a:lnTo>
                    <a:pt x="795" y="750"/>
                  </a:lnTo>
                  <a:lnTo>
                    <a:pt x="792" y="750"/>
                  </a:lnTo>
                  <a:lnTo>
                    <a:pt x="792" y="753"/>
                  </a:lnTo>
                  <a:lnTo>
                    <a:pt x="795" y="750"/>
                  </a:lnTo>
                  <a:lnTo>
                    <a:pt x="795" y="753"/>
                  </a:lnTo>
                  <a:lnTo>
                    <a:pt x="792" y="753"/>
                  </a:lnTo>
                  <a:lnTo>
                    <a:pt x="790" y="755"/>
                  </a:lnTo>
                  <a:lnTo>
                    <a:pt x="788" y="755"/>
                  </a:lnTo>
                  <a:lnTo>
                    <a:pt x="788" y="758"/>
                  </a:lnTo>
                  <a:lnTo>
                    <a:pt x="785" y="758"/>
                  </a:lnTo>
                  <a:lnTo>
                    <a:pt x="788" y="758"/>
                  </a:lnTo>
                  <a:lnTo>
                    <a:pt x="785" y="758"/>
                  </a:lnTo>
                  <a:lnTo>
                    <a:pt x="785" y="755"/>
                  </a:lnTo>
                  <a:lnTo>
                    <a:pt x="788" y="753"/>
                  </a:lnTo>
                  <a:lnTo>
                    <a:pt x="785" y="753"/>
                  </a:lnTo>
                  <a:lnTo>
                    <a:pt x="785" y="755"/>
                  </a:lnTo>
                  <a:lnTo>
                    <a:pt x="785" y="753"/>
                  </a:lnTo>
                  <a:lnTo>
                    <a:pt x="785" y="755"/>
                  </a:lnTo>
                  <a:lnTo>
                    <a:pt x="785" y="758"/>
                  </a:lnTo>
                  <a:lnTo>
                    <a:pt x="783" y="755"/>
                  </a:lnTo>
                  <a:lnTo>
                    <a:pt x="785" y="755"/>
                  </a:lnTo>
                  <a:lnTo>
                    <a:pt x="783" y="755"/>
                  </a:lnTo>
                  <a:lnTo>
                    <a:pt x="783" y="758"/>
                  </a:lnTo>
                  <a:lnTo>
                    <a:pt x="783" y="755"/>
                  </a:lnTo>
                  <a:lnTo>
                    <a:pt x="783" y="758"/>
                  </a:lnTo>
                  <a:lnTo>
                    <a:pt x="783" y="755"/>
                  </a:lnTo>
                  <a:lnTo>
                    <a:pt x="783" y="758"/>
                  </a:lnTo>
                  <a:lnTo>
                    <a:pt x="785" y="758"/>
                  </a:lnTo>
                  <a:lnTo>
                    <a:pt x="783" y="758"/>
                  </a:lnTo>
                  <a:lnTo>
                    <a:pt x="785" y="758"/>
                  </a:lnTo>
                  <a:lnTo>
                    <a:pt x="783" y="758"/>
                  </a:lnTo>
                  <a:lnTo>
                    <a:pt x="785" y="758"/>
                  </a:lnTo>
                  <a:lnTo>
                    <a:pt x="783" y="758"/>
                  </a:lnTo>
                  <a:lnTo>
                    <a:pt x="783" y="760"/>
                  </a:lnTo>
                  <a:lnTo>
                    <a:pt x="783" y="758"/>
                  </a:lnTo>
                  <a:lnTo>
                    <a:pt x="783" y="760"/>
                  </a:lnTo>
                  <a:lnTo>
                    <a:pt x="783" y="758"/>
                  </a:lnTo>
                  <a:lnTo>
                    <a:pt x="780" y="758"/>
                  </a:lnTo>
                  <a:lnTo>
                    <a:pt x="780" y="760"/>
                  </a:lnTo>
                  <a:lnTo>
                    <a:pt x="780" y="758"/>
                  </a:lnTo>
                  <a:lnTo>
                    <a:pt x="780" y="760"/>
                  </a:lnTo>
                  <a:lnTo>
                    <a:pt x="780" y="758"/>
                  </a:lnTo>
                  <a:lnTo>
                    <a:pt x="780" y="760"/>
                  </a:lnTo>
                  <a:lnTo>
                    <a:pt x="780" y="758"/>
                  </a:lnTo>
                  <a:lnTo>
                    <a:pt x="778" y="760"/>
                  </a:lnTo>
                  <a:lnTo>
                    <a:pt x="780" y="760"/>
                  </a:lnTo>
                  <a:lnTo>
                    <a:pt x="778" y="760"/>
                  </a:lnTo>
                  <a:lnTo>
                    <a:pt x="780" y="760"/>
                  </a:lnTo>
                  <a:lnTo>
                    <a:pt x="778" y="760"/>
                  </a:lnTo>
                  <a:lnTo>
                    <a:pt x="780" y="760"/>
                  </a:lnTo>
                  <a:lnTo>
                    <a:pt x="778" y="760"/>
                  </a:lnTo>
                  <a:lnTo>
                    <a:pt x="776" y="762"/>
                  </a:lnTo>
                  <a:lnTo>
                    <a:pt x="776" y="760"/>
                  </a:lnTo>
                  <a:lnTo>
                    <a:pt x="776" y="762"/>
                  </a:lnTo>
                  <a:lnTo>
                    <a:pt x="773" y="762"/>
                  </a:lnTo>
                  <a:lnTo>
                    <a:pt x="773" y="760"/>
                  </a:lnTo>
                  <a:lnTo>
                    <a:pt x="773" y="762"/>
                  </a:lnTo>
                  <a:lnTo>
                    <a:pt x="771" y="762"/>
                  </a:lnTo>
                  <a:lnTo>
                    <a:pt x="769" y="762"/>
                  </a:lnTo>
                  <a:lnTo>
                    <a:pt x="769" y="760"/>
                  </a:lnTo>
                  <a:lnTo>
                    <a:pt x="771" y="758"/>
                  </a:lnTo>
                  <a:lnTo>
                    <a:pt x="773" y="758"/>
                  </a:lnTo>
                  <a:lnTo>
                    <a:pt x="771" y="758"/>
                  </a:lnTo>
                  <a:lnTo>
                    <a:pt x="773" y="758"/>
                  </a:lnTo>
                  <a:lnTo>
                    <a:pt x="773" y="755"/>
                  </a:lnTo>
                  <a:lnTo>
                    <a:pt x="771" y="755"/>
                  </a:lnTo>
                  <a:lnTo>
                    <a:pt x="771" y="753"/>
                  </a:lnTo>
                  <a:lnTo>
                    <a:pt x="773" y="753"/>
                  </a:lnTo>
                  <a:lnTo>
                    <a:pt x="776" y="753"/>
                  </a:lnTo>
                  <a:lnTo>
                    <a:pt x="776" y="755"/>
                  </a:lnTo>
                  <a:lnTo>
                    <a:pt x="776" y="753"/>
                  </a:lnTo>
                  <a:lnTo>
                    <a:pt x="776" y="755"/>
                  </a:lnTo>
                  <a:lnTo>
                    <a:pt x="776" y="753"/>
                  </a:lnTo>
                  <a:lnTo>
                    <a:pt x="776" y="750"/>
                  </a:lnTo>
                  <a:lnTo>
                    <a:pt x="773" y="750"/>
                  </a:lnTo>
                  <a:lnTo>
                    <a:pt x="776" y="750"/>
                  </a:lnTo>
                  <a:lnTo>
                    <a:pt x="778" y="750"/>
                  </a:lnTo>
                  <a:lnTo>
                    <a:pt x="778" y="748"/>
                  </a:lnTo>
                  <a:lnTo>
                    <a:pt x="780" y="750"/>
                  </a:lnTo>
                  <a:lnTo>
                    <a:pt x="780" y="748"/>
                  </a:lnTo>
                  <a:lnTo>
                    <a:pt x="778" y="748"/>
                  </a:lnTo>
                  <a:lnTo>
                    <a:pt x="780" y="748"/>
                  </a:lnTo>
                  <a:lnTo>
                    <a:pt x="783" y="748"/>
                  </a:lnTo>
                  <a:lnTo>
                    <a:pt x="785" y="748"/>
                  </a:lnTo>
                  <a:lnTo>
                    <a:pt x="783" y="748"/>
                  </a:lnTo>
                  <a:lnTo>
                    <a:pt x="783" y="750"/>
                  </a:lnTo>
                  <a:lnTo>
                    <a:pt x="785" y="750"/>
                  </a:lnTo>
                  <a:lnTo>
                    <a:pt x="785" y="748"/>
                  </a:lnTo>
                  <a:lnTo>
                    <a:pt x="785" y="746"/>
                  </a:lnTo>
                  <a:lnTo>
                    <a:pt x="785" y="748"/>
                  </a:lnTo>
                  <a:lnTo>
                    <a:pt x="788" y="748"/>
                  </a:lnTo>
                  <a:lnTo>
                    <a:pt x="785" y="748"/>
                  </a:lnTo>
                  <a:lnTo>
                    <a:pt x="788" y="748"/>
                  </a:lnTo>
                  <a:lnTo>
                    <a:pt x="790" y="748"/>
                  </a:lnTo>
                  <a:lnTo>
                    <a:pt x="788" y="748"/>
                  </a:lnTo>
                  <a:lnTo>
                    <a:pt x="790" y="748"/>
                  </a:lnTo>
                  <a:lnTo>
                    <a:pt x="790" y="750"/>
                  </a:lnTo>
                  <a:lnTo>
                    <a:pt x="788" y="750"/>
                  </a:lnTo>
                  <a:lnTo>
                    <a:pt x="790" y="750"/>
                  </a:lnTo>
                  <a:lnTo>
                    <a:pt x="790" y="748"/>
                  </a:lnTo>
                  <a:lnTo>
                    <a:pt x="790" y="746"/>
                  </a:lnTo>
                  <a:lnTo>
                    <a:pt x="792" y="746"/>
                  </a:lnTo>
                  <a:lnTo>
                    <a:pt x="790" y="746"/>
                  </a:lnTo>
                  <a:lnTo>
                    <a:pt x="792" y="746"/>
                  </a:lnTo>
                  <a:lnTo>
                    <a:pt x="795" y="746"/>
                  </a:lnTo>
                  <a:lnTo>
                    <a:pt x="795" y="748"/>
                  </a:lnTo>
                  <a:lnTo>
                    <a:pt x="795" y="746"/>
                  </a:lnTo>
                  <a:lnTo>
                    <a:pt x="795" y="748"/>
                  </a:lnTo>
                  <a:lnTo>
                    <a:pt x="795" y="746"/>
                  </a:lnTo>
                  <a:lnTo>
                    <a:pt x="797" y="746"/>
                  </a:lnTo>
                  <a:lnTo>
                    <a:pt x="799" y="746"/>
                  </a:lnTo>
                  <a:lnTo>
                    <a:pt x="802" y="746"/>
                  </a:lnTo>
                  <a:close/>
                  <a:moveTo>
                    <a:pt x="833" y="696"/>
                  </a:moveTo>
                  <a:lnTo>
                    <a:pt x="833" y="698"/>
                  </a:lnTo>
                  <a:lnTo>
                    <a:pt x="833" y="701"/>
                  </a:lnTo>
                  <a:lnTo>
                    <a:pt x="830" y="701"/>
                  </a:lnTo>
                  <a:lnTo>
                    <a:pt x="830" y="703"/>
                  </a:lnTo>
                  <a:lnTo>
                    <a:pt x="830" y="705"/>
                  </a:lnTo>
                  <a:lnTo>
                    <a:pt x="828" y="705"/>
                  </a:lnTo>
                  <a:lnTo>
                    <a:pt x="828" y="708"/>
                  </a:lnTo>
                  <a:lnTo>
                    <a:pt x="826" y="708"/>
                  </a:lnTo>
                  <a:lnTo>
                    <a:pt x="826" y="710"/>
                  </a:lnTo>
                  <a:lnTo>
                    <a:pt x="826" y="708"/>
                  </a:lnTo>
                  <a:lnTo>
                    <a:pt x="826" y="710"/>
                  </a:lnTo>
                  <a:lnTo>
                    <a:pt x="823" y="710"/>
                  </a:lnTo>
                  <a:lnTo>
                    <a:pt x="826" y="710"/>
                  </a:lnTo>
                  <a:lnTo>
                    <a:pt x="823" y="710"/>
                  </a:lnTo>
                  <a:lnTo>
                    <a:pt x="826" y="710"/>
                  </a:lnTo>
                  <a:lnTo>
                    <a:pt x="823" y="710"/>
                  </a:lnTo>
                  <a:lnTo>
                    <a:pt x="823" y="712"/>
                  </a:lnTo>
                  <a:lnTo>
                    <a:pt x="821" y="712"/>
                  </a:lnTo>
                  <a:lnTo>
                    <a:pt x="821" y="715"/>
                  </a:lnTo>
                  <a:lnTo>
                    <a:pt x="821" y="712"/>
                  </a:lnTo>
                  <a:lnTo>
                    <a:pt x="821" y="715"/>
                  </a:lnTo>
                  <a:lnTo>
                    <a:pt x="818" y="715"/>
                  </a:lnTo>
                  <a:lnTo>
                    <a:pt x="821" y="715"/>
                  </a:lnTo>
                  <a:lnTo>
                    <a:pt x="818" y="715"/>
                  </a:lnTo>
                  <a:lnTo>
                    <a:pt x="816" y="715"/>
                  </a:lnTo>
                  <a:lnTo>
                    <a:pt x="816" y="717"/>
                  </a:lnTo>
                  <a:lnTo>
                    <a:pt x="816" y="715"/>
                  </a:lnTo>
                  <a:lnTo>
                    <a:pt x="814" y="715"/>
                  </a:lnTo>
                  <a:lnTo>
                    <a:pt x="811" y="715"/>
                  </a:lnTo>
                  <a:lnTo>
                    <a:pt x="814" y="715"/>
                  </a:lnTo>
                  <a:lnTo>
                    <a:pt x="814" y="717"/>
                  </a:lnTo>
                  <a:lnTo>
                    <a:pt x="814" y="720"/>
                  </a:lnTo>
                  <a:lnTo>
                    <a:pt x="811" y="720"/>
                  </a:lnTo>
                  <a:lnTo>
                    <a:pt x="811" y="722"/>
                  </a:lnTo>
                  <a:lnTo>
                    <a:pt x="809" y="722"/>
                  </a:lnTo>
                  <a:lnTo>
                    <a:pt x="809" y="720"/>
                  </a:lnTo>
                  <a:lnTo>
                    <a:pt x="809" y="717"/>
                  </a:lnTo>
                  <a:lnTo>
                    <a:pt x="809" y="715"/>
                  </a:lnTo>
                  <a:lnTo>
                    <a:pt x="809" y="712"/>
                  </a:lnTo>
                  <a:lnTo>
                    <a:pt x="811" y="712"/>
                  </a:lnTo>
                  <a:lnTo>
                    <a:pt x="811" y="710"/>
                  </a:lnTo>
                  <a:lnTo>
                    <a:pt x="814" y="710"/>
                  </a:lnTo>
                  <a:lnTo>
                    <a:pt x="814" y="708"/>
                  </a:lnTo>
                  <a:lnTo>
                    <a:pt x="816" y="708"/>
                  </a:lnTo>
                  <a:lnTo>
                    <a:pt x="816" y="705"/>
                  </a:lnTo>
                  <a:lnTo>
                    <a:pt x="818" y="705"/>
                  </a:lnTo>
                  <a:lnTo>
                    <a:pt x="821" y="705"/>
                  </a:lnTo>
                  <a:lnTo>
                    <a:pt x="818" y="705"/>
                  </a:lnTo>
                  <a:lnTo>
                    <a:pt x="821" y="705"/>
                  </a:lnTo>
                  <a:lnTo>
                    <a:pt x="821" y="703"/>
                  </a:lnTo>
                  <a:lnTo>
                    <a:pt x="823" y="703"/>
                  </a:lnTo>
                  <a:lnTo>
                    <a:pt x="823" y="701"/>
                  </a:lnTo>
                  <a:lnTo>
                    <a:pt x="823" y="698"/>
                  </a:lnTo>
                  <a:lnTo>
                    <a:pt x="823" y="701"/>
                  </a:lnTo>
                  <a:lnTo>
                    <a:pt x="823" y="698"/>
                  </a:lnTo>
                  <a:lnTo>
                    <a:pt x="826" y="698"/>
                  </a:lnTo>
                  <a:lnTo>
                    <a:pt x="828" y="698"/>
                  </a:lnTo>
                  <a:lnTo>
                    <a:pt x="828" y="696"/>
                  </a:lnTo>
                  <a:lnTo>
                    <a:pt x="830" y="696"/>
                  </a:lnTo>
                  <a:lnTo>
                    <a:pt x="833" y="696"/>
                  </a:lnTo>
                  <a:close/>
                  <a:moveTo>
                    <a:pt x="918" y="663"/>
                  </a:moveTo>
                  <a:lnTo>
                    <a:pt x="920" y="663"/>
                  </a:lnTo>
                  <a:lnTo>
                    <a:pt x="920" y="665"/>
                  </a:lnTo>
                  <a:lnTo>
                    <a:pt x="923" y="665"/>
                  </a:lnTo>
                  <a:lnTo>
                    <a:pt x="925" y="665"/>
                  </a:lnTo>
                  <a:lnTo>
                    <a:pt x="928" y="667"/>
                  </a:lnTo>
                  <a:lnTo>
                    <a:pt x="928" y="670"/>
                  </a:lnTo>
                  <a:lnTo>
                    <a:pt x="928" y="672"/>
                  </a:lnTo>
                  <a:lnTo>
                    <a:pt x="925" y="672"/>
                  </a:lnTo>
                  <a:lnTo>
                    <a:pt x="923" y="672"/>
                  </a:lnTo>
                  <a:lnTo>
                    <a:pt x="923" y="674"/>
                  </a:lnTo>
                  <a:lnTo>
                    <a:pt x="920" y="674"/>
                  </a:lnTo>
                  <a:lnTo>
                    <a:pt x="918" y="674"/>
                  </a:lnTo>
                  <a:lnTo>
                    <a:pt x="918" y="677"/>
                  </a:lnTo>
                  <a:lnTo>
                    <a:pt x="920" y="677"/>
                  </a:lnTo>
                  <a:lnTo>
                    <a:pt x="920" y="679"/>
                  </a:lnTo>
                  <a:lnTo>
                    <a:pt x="918" y="682"/>
                  </a:lnTo>
                  <a:lnTo>
                    <a:pt x="916" y="682"/>
                  </a:lnTo>
                  <a:lnTo>
                    <a:pt x="913" y="682"/>
                  </a:lnTo>
                  <a:lnTo>
                    <a:pt x="911" y="682"/>
                  </a:lnTo>
                  <a:lnTo>
                    <a:pt x="909" y="682"/>
                  </a:lnTo>
                  <a:lnTo>
                    <a:pt x="906" y="684"/>
                  </a:lnTo>
                  <a:lnTo>
                    <a:pt x="904" y="684"/>
                  </a:lnTo>
                  <a:lnTo>
                    <a:pt x="901" y="684"/>
                  </a:lnTo>
                  <a:lnTo>
                    <a:pt x="899" y="684"/>
                  </a:lnTo>
                  <a:lnTo>
                    <a:pt x="897" y="682"/>
                  </a:lnTo>
                  <a:lnTo>
                    <a:pt x="894" y="682"/>
                  </a:lnTo>
                  <a:lnTo>
                    <a:pt x="894" y="679"/>
                  </a:lnTo>
                  <a:lnTo>
                    <a:pt x="894" y="677"/>
                  </a:lnTo>
                  <a:lnTo>
                    <a:pt x="897" y="677"/>
                  </a:lnTo>
                  <a:lnTo>
                    <a:pt x="897" y="679"/>
                  </a:lnTo>
                  <a:lnTo>
                    <a:pt x="897" y="677"/>
                  </a:lnTo>
                  <a:lnTo>
                    <a:pt x="899" y="677"/>
                  </a:lnTo>
                  <a:lnTo>
                    <a:pt x="901" y="677"/>
                  </a:lnTo>
                  <a:lnTo>
                    <a:pt x="901" y="679"/>
                  </a:lnTo>
                  <a:lnTo>
                    <a:pt x="904" y="679"/>
                  </a:lnTo>
                  <a:lnTo>
                    <a:pt x="906" y="677"/>
                  </a:lnTo>
                  <a:lnTo>
                    <a:pt x="904" y="677"/>
                  </a:lnTo>
                  <a:lnTo>
                    <a:pt x="901" y="677"/>
                  </a:lnTo>
                  <a:lnTo>
                    <a:pt x="901" y="674"/>
                  </a:lnTo>
                  <a:lnTo>
                    <a:pt x="899" y="674"/>
                  </a:lnTo>
                  <a:lnTo>
                    <a:pt x="899" y="672"/>
                  </a:lnTo>
                  <a:lnTo>
                    <a:pt x="901" y="672"/>
                  </a:lnTo>
                  <a:lnTo>
                    <a:pt x="901" y="674"/>
                  </a:lnTo>
                  <a:lnTo>
                    <a:pt x="901" y="672"/>
                  </a:lnTo>
                  <a:lnTo>
                    <a:pt x="904" y="674"/>
                  </a:lnTo>
                  <a:lnTo>
                    <a:pt x="906" y="674"/>
                  </a:lnTo>
                  <a:lnTo>
                    <a:pt x="906" y="672"/>
                  </a:lnTo>
                  <a:lnTo>
                    <a:pt x="909" y="672"/>
                  </a:lnTo>
                  <a:lnTo>
                    <a:pt x="909" y="674"/>
                  </a:lnTo>
                  <a:lnTo>
                    <a:pt x="909" y="672"/>
                  </a:lnTo>
                  <a:lnTo>
                    <a:pt x="909" y="674"/>
                  </a:lnTo>
                  <a:lnTo>
                    <a:pt x="911" y="672"/>
                  </a:lnTo>
                  <a:lnTo>
                    <a:pt x="911" y="674"/>
                  </a:lnTo>
                  <a:lnTo>
                    <a:pt x="913" y="674"/>
                  </a:lnTo>
                  <a:lnTo>
                    <a:pt x="913" y="672"/>
                  </a:lnTo>
                  <a:lnTo>
                    <a:pt x="911" y="672"/>
                  </a:lnTo>
                  <a:lnTo>
                    <a:pt x="909" y="672"/>
                  </a:lnTo>
                  <a:lnTo>
                    <a:pt x="906" y="672"/>
                  </a:lnTo>
                  <a:lnTo>
                    <a:pt x="904" y="672"/>
                  </a:lnTo>
                  <a:lnTo>
                    <a:pt x="904" y="670"/>
                  </a:lnTo>
                  <a:lnTo>
                    <a:pt x="904" y="667"/>
                  </a:lnTo>
                  <a:lnTo>
                    <a:pt x="906" y="667"/>
                  </a:lnTo>
                  <a:lnTo>
                    <a:pt x="906" y="670"/>
                  </a:lnTo>
                  <a:lnTo>
                    <a:pt x="909" y="670"/>
                  </a:lnTo>
                  <a:lnTo>
                    <a:pt x="909" y="667"/>
                  </a:lnTo>
                  <a:lnTo>
                    <a:pt x="909" y="670"/>
                  </a:lnTo>
                  <a:lnTo>
                    <a:pt x="911" y="670"/>
                  </a:lnTo>
                  <a:lnTo>
                    <a:pt x="911" y="667"/>
                  </a:lnTo>
                  <a:lnTo>
                    <a:pt x="913" y="667"/>
                  </a:lnTo>
                  <a:lnTo>
                    <a:pt x="916" y="667"/>
                  </a:lnTo>
                  <a:lnTo>
                    <a:pt x="913" y="670"/>
                  </a:lnTo>
                  <a:lnTo>
                    <a:pt x="916" y="670"/>
                  </a:lnTo>
                  <a:lnTo>
                    <a:pt x="913" y="670"/>
                  </a:lnTo>
                  <a:lnTo>
                    <a:pt x="916" y="670"/>
                  </a:lnTo>
                  <a:lnTo>
                    <a:pt x="913" y="670"/>
                  </a:lnTo>
                  <a:lnTo>
                    <a:pt x="916" y="670"/>
                  </a:lnTo>
                  <a:lnTo>
                    <a:pt x="916" y="672"/>
                  </a:lnTo>
                  <a:lnTo>
                    <a:pt x="916" y="674"/>
                  </a:lnTo>
                  <a:lnTo>
                    <a:pt x="918" y="674"/>
                  </a:lnTo>
                  <a:lnTo>
                    <a:pt x="916" y="674"/>
                  </a:lnTo>
                  <a:lnTo>
                    <a:pt x="916" y="672"/>
                  </a:lnTo>
                  <a:lnTo>
                    <a:pt x="916" y="670"/>
                  </a:lnTo>
                  <a:lnTo>
                    <a:pt x="918" y="670"/>
                  </a:lnTo>
                  <a:lnTo>
                    <a:pt x="918" y="667"/>
                  </a:lnTo>
                  <a:lnTo>
                    <a:pt x="916" y="667"/>
                  </a:lnTo>
                  <a:lnTo>
                    <a:pt x="916" y="665"/>
                  </a:lnTo>
                  <a:lnTo>
                    <a:pt x="916" y="663"/>
                  </a:lnTo>
                  <a:lnTo>
                    <a:pt x="918" y="663"/>
                  </a:lnTo>
                  <a:close/>
                  <a:moveTo>
                    <a:pt x="932" y="651"/>
                  </a:moveTo>
                  <a:lnTo>
                    <a:pt x="935" y="651"/>
                  </a:lnTo>
                  <a:lnTo>
                    <a:pt x="937" y="651"/>
                  </a:lnTo>
                  <a:lnTo>
                    <a:pt x="935" y="653"/>
                  </a:lnTo>
                  <a:lnTo>
                    <a:pt x="937" y="653"/>
                  </a:lnTo>
                  <a:lnTo>
                    <a:pt x="937" y="655"/>
                  </a:lnTo>
                  <a:lnTo>
                    <a:pt x="939" y="655"/>
                  </a:lnTo>
                  <a:lnTo>
                    <a:pt x="939" y="653"/>
                  </a:lnTo>
                  <a:lnTo>
                    <a:pt x="942" y="653"/>
                  </a:lnTo>
                  <a:lnTo>
                    <a:pt x="944" y="653"/>
                  </a:lnTo>
                  <a:lnTo>
                    <a:pt x="944" y="655"/>
                  </a:lnTo>
                  <a:lnTo>
                    <a:pt x="947" y="655"/>
                  </a:lnTo>
                  <a:lnTo>
                    <a:pt x="947" y="653"/>
                  </a:lnTo>
                  <a:lnTo>
                    <a:pt x="947" y="655"/>
                  </a:lnTo>
                  <a:lnTo>
                    <a:pt x="949" y="655"/>
                  </a:lnTo>
                  <a:lnTo>
                    <a:pt x="949" y="658"/>
                  </a:lnTo>
                  <a:lnTo>
                    <a:pt x="947" y="658"/>
                  </a:lnTo>
                  <a:lnTo>
                    <a:pt x="944" y="658"/>
                  </a:lnTo>
                  <a:lnTo>
                    <a:pt x="942" y="658"/>
                  </a:lnTo>
                  <a:lnTo>
                    <a:pt x="942" y="660"/>
                  </a:lnTo>
                  <a:lnTo>
                    <a:pt x="942" y="663"/>
                  </a:lnTo>
                  <a:lnTo>
                    <a:pt x="939" y="663"/>
                  </a:lnTo>
                  <a:lnTo>
                    <a:pt x="939" y="665"/>
                  </a:lnTo>
                  <a:lnTo>
                    <a:pt x="937" y="665"/>
                  </a:lnTo>
                  <a:lnTo>
                    <a:pt x="939" y="665"/>
                  </a:lnTo>
                  <a:lnTo>
                    <a:pt x="937" y="665"/>
                  </a:lnTo>
                  <a:lnTo>
                    <a:pt x="937" y="667"/>
                  </a:lnTo>
                  <a:lnTo>
                    <a:pt x="935" y="667"/>
                  </a:lnTo>
                  <a:lnTo>
                    <a:pt x="932" y="667"/>
                  </a:lnTo>
                  <a:lnTo>
                    <a:pt x="930" y="667"/>
                  </a:lnTo>
                  <a:lnTo>
                    <a:pt x="928" y="667"/>
                  </a:lnTo>
                  <a:lnTo>
                    <a:pt x="928" y="665"/>
                  </a:lnTo>
                  <a:lnTo>
                    <a:pt x="925" y="665"/>
                  </a:lnTo>
                  <a:lnTo>
                    <a:pt x="923" y="663"/>
                  </a:lnTo>
                  <a:lnTo>
                    <a:pt x="925" y="663"/>
                  </a:lnTo>
                  <a:lnTo>
                    <a:pt x="923" y="663"/>
                  </a:lnTo>
                  <a:lnTo>
                    <a:pt x="920" y="663"/>
                  </a:lnTo>
                  <a:lnTo>
                    <a:pt x="920" y="660"/>
                  </a:lnTo>
                  <a:lnTo>
                    <a:pt x="918" y="660"/>
                  </a:lnTo>
                  <a:lnTo>
                    <a:pt x="916" y="660"/>
                  </a:lnTo>
                  <a:lnTo>
                    <a:pt x="918" y="658"/>
                  </a:lnTo>
                  <a:lnTo>
                    <a:pt x="920" y="658"/>
                  </a:lnTo>
                  <a:lnTo>
                    <a:pt x="923" y="658"/>
                  </a:lnTo>
                  <a:lnTo>
                    <a:pt x="920" y="658"/>
                  </a:lnTo>
                  <a:lnTo>
                    <a:pt x="920" y="655"/>
                  </a:lnTo>
                  <a:lnTo>
                    <a:pt x="920" y="653"/>
                  </a:lnTo>
                  <a:lnTo>
                    <a:pt x="923" y="653"/>
                  </a:lnTo>
                  <a:lnTo>
                    <a:pt x="925" y="653"/>
                  </a:lnTo>
                  <a:lnTo>
                    <a:pt x="925" y="655"/>
                  </a:lnTo>
                  <a:lnTo>
                    <a:pt x="925" y="653"/>
                  </a:lnTo>
                  <a:lnTo>
                    <a:pt x="928" y="653"/>
                  </a:lnTo>
                  <a:lnTo>
                    <a:pt x="928" y="655"/>
                  </a:lnTo>
                  <a:lnTo>
                    <a:pt x="928" y="653"/>
                  </a:lnTo>
                  <a:lnTo>
                    <a:pt x="930" y="653"/>
                  </a:lnTo>
                  <a:lnTo>
                    <a:pt x="930" y="655"/>
                  </a:lnTo>
                  <a:lnTo>
                    <a:pt x="930" y="653"/>
                  </a:lnTo>
                  <a:lnTo>
                    <a:pt x="928" y="653"/>
                  </a:lnTo>
                  <a:lnTo>
                    <a:pt x="928" y="651"/>
                  </a:lnTo>
                  <a:lnTo>
                    <a:pt x="930" y="651"/>
                  </a:lnTo>
                  <a:lnTo>
                    <a:pt x="932" y="651"/>
                  </a:lnTo>
                  <a:lnTo>
                    <a:pt x="935" y="651"/>
                  </a:lnTo>
                  <a:lnTo>
                    <a:pt x="932" y="651"/>
                  </a:lnTo>
                  <a:close/>
                  <a:moveTo>
                    <a:pt x="982" y="641"/>
                  </a:moveTo>
                  <a:lnTo>
                    <a:pt x="985" y="641"/>
                  </a:lnTo>
                  <a:lnTo>
                    <a:pt x="987" y="644"/>
                  </a:lnTo>
                  <a:lnTo>
                    <a:pt x="985" y="646"/>
                  </a:lnTo>
                  <a:lnTo>
                    <a:pt x="985" y="648"/>
                  </a:lnTo>
                  <a:lnTo>
                    <a:pt x="985" y="651"/>
                  </a:lnTo>
                  <a:lnTo>
                    <a:pt x="987" y="651"/>
                  </a:lnTo>
                  <a:lnTo>
                    <a:pt x="987" y="653"/>
                  </a:lnTo>
                  <a:lnTo>
                    <a:pt x="985" y="653"/>
                  </a:lnTo>
                  <a:lnTo>
                    <a:pt x="982" y="653"/>
                  </a:lnTo>
                  <a:lnTo>
                    <a:pt x="980" y="651"/>
                  </a:lnTo>
                  <a:lnTo>
                    <a:pt x="980" y="653"/>
                  </a:lnTo>
                  <a:lnTo>
                    <a:pt x="977" y="653"/>
                  </a:lnTo>
                  <a:lnTo>
                    <a:pt x="977" y="651"/>
                  </a:lnTo>
                  <a:lnTo>
                    <a:pt x="977" y="648"/>
                  </a:lnTo>
                  <a:lnTo>
                    <a:pt x="977" y="651"/>
                  </a:lnTo>
                  <a:lnTo>
                    <a:pt x="975" y="651"/>
                  </a:lnTo>
                  <a:lnTo>
                    <a:pt x="975" y="653"/>
                  </a:lnTo>
                  <a:lnTo>
                    <a:pt x="973" y="653"/>
                  </a:lnTo>
                  <a:lnTo>
                    <a:pt x="973" y="651"/>
                  </a:lnTo>
                  <a:lnTo>
                    <a:pt x="973" y="648"/>
                  </a:lnTo>
                  <a:lnTo>
                    <a:pt x="973" y="646"/>
                  </a:lnTo>
                  <a:lnTo>
                    <a:pt x="973" y="644"/>
                  </a:lnTo>
                  <a:lnTo>
                    <a:pt x="975" y="644"/>
                  </a:lnTo>
                  <a:lnTo>
                    <a:pt x="977" y="644"/>
                  </a:lnTo>
                  <a:lnTo>
                    <a:pt x="977" y="641"/>
                  </a:lnTo>
                  <a:lnTo>
                    <a:pt x="980" y="641"/>
                  </a:lnTo>
                  <a:lnTo>
                    <a:pt x="982" y="641"/>
                  </a:lnTo>
                  <a:close/>
                  <a:moveTo>
                    <a:pt x="947" y="639"/>
                  </a:moveTo>
                  <a:lnTo>
                    <a:pt x="949" y="639"/>
                  </a:lnTo>
                  <a:lnTo>
                    <a:pt x="949" y="641"/>
                  </a:lnTo>
                  <a:lnTo>
                    <a:pt x="951" y="641"/>
                  </a:lnTo>
                  <a:lnTo>
                    <a:pt x="951" y="644"/>
                  </a:lnTo>
                  <a:lnTo>
                    <a:pt x="951" y="646"/>
                  </a:lnTo>
                  <a:lnTo>
                    <a:pt x="954" y="646"/>
                  </a:lnTo>
                  <a:lnTo>
                    <a:pt x="954" y="644"/>
                  </a:lnTo>
                  <a:lnTo>
                    <a:pt x="956" y="644"/>
                  </a:lnTo>
                  <a:lnTo>
                    <a:pt x="956" y="646"/>
                  </a:lnTo>
                  <a:lnTo>
                    <a:pt x="958" y="646"/>
                  </a:lnTo>
                  <a:lnTo>
                    <a:pt x="958" y="648"/>
                  </a:lnTo>
                  <a:lnTo>
                    <a:pt x="958" y="646"/>
                  </a:lnTo>
                  <a:lnTo>
                    <a:pt x="958" y="648"/>
                  </a:lnTo>
                  <a:lnTo>
                    <a:pt x="958" y="646"/>
                  </a:lnTo>
                  <a:lnTo>
                    <a:pt x="961" y="646"/>
                  </a:lnTo>
                  <a:lnTo>
                    <a:pt x="961" y="648"/>
                  </a:lnTo>
                  <a:lnTo>
                    <a:pt x="958" y="648"/>
                  </a:lnTo>
                  <a:lnTo>
                    <a:pt x="961" y="648"/>
                  </a:lnTo>
                  <a:lnTo>
                    <a:pt x="963" y="648"/>
                  </a:lnTo>
                  <a:lnTo>
                    <a:pt x="961" y="648"/>
                  </a:lnTo>
                  <a:lnTo>
                    <a:pt x="963" y="648"/>
                  </a:lnTo>
                  <a:lnTo>
                    <a:pt x="963" y="651"/>
                  </a:lnTo>
                  <a:lnTo>
                    <a:pt x="961" y="651"/>
                  </a:lnTo>
                  <a:lnTo>
                    <a:pt x="958" y="651"/>
                  </a:lnTo>
                  <a:lnTo>
                    <a:pt x="961" y="651"/>
                  </a:lnTo>
                  <a:lnTo>
                    <a:pt x="958" y="651"/>
                  </a:lnTo>
                  <a:lnTo>
                    <a:pt x="958" y="653"/>
                  </a:lnTo>
                  <a:lnTo>
                    <a:pt x="956" y="653"/>
                  </a:lnTo>
                  <a:lnTo>
                    <a:pt x="954" y="653"/>
                  </a:lnTo>
                  <a:lnTo>
                    <a:pt x="951" y="653"/>
                  </a:lnTo>
                  <a:lnTo>
                    <a:pt x="951" y="651"/>
                  </a:lnTo>
                  <a:lnTo>
                    <a:pt x="949" y="651"/>
                  </a:lnTo>
                  <a:lnTo>
                    <a:pt x="949" y="648"/>
                  </a:lnTo>
                  <a:lnTo>
                    <a:pt x="951" y="648"/>
                  </a:lnTo>
                  <a:lnTo>
                    <a:pt x="949" y="648"/>
                  </a:lnTo>
                  <a:lnTo>
                    <a:pt x="949" y="646"/>
                  </a:lnTo>
                  <a:lnTo>
                    <a:pt x="947" y="644"/>
                  </a:lnTo>
                  <a:lnTo>
                    <a:pt x="944" y="644"/>
                  </a:lnTo>
                  <a:lnTo>
                    <a:pt x="944" y="641"/>
                  </a:lnTo>
                  <a:lnTo>
                    <a:pt x="947" y="641"/>
                  </a:lnTo>
                  <a:lnTo>
                    <a:pt x="944" y="641"/>
                  </a:lnTo>
                  <a:lnTo>
                    <a:pt x="944" y="639"/>
                  </a:lnTo>
                  <a:lnTo>
                    <a:pt x="947" y="639"/>
                  </a:lnTo>
                  <a:close/>
                  <a:moveTo>
                    <a:pt x="1072" y="617"/>
                  </a:moveTo>
                  <a:lnTo>
                    <a:pt x="1075" y="617"/>
                  </a:lnTo>
                  <a:lnTo>
                    <a:pt x="1075" y="620"/>
                  </a:lnTo>
                  <a:lnTo>
                    <a:pt x="1077" y="617"/>
                  </a:lnTo>
                  <a:lnTo>
                    <a:pt x="1077" y="620"/>
                  </a:lnTo>
                  <a:lnTo>
                    <a:pt x="1077" y="622"/>
                  </a:lnTo>
                  <a:lnTo>
                    <a:pt x="1077" y="625"/>
                  </a:lnTo>
                  <a:lnTo>
                    <a:pt x="1079" y="625"/>
                  </a:lnTo>
                  <a:lnTo>
                    <a:pt x="1079" y="627"/>
                  </a:lnTo>
                  <a:lnTo>
                    <a:pt x="1079" y="629"/>
                  </a:lnTo>
                  <a:lnTo>
                    <a:pt x="1077" y="629"/>
                  </a:lnTo>
                  <a:lnTo>
                    <a:pt x="1077" y="632"/>
                  </a:lnTo>
                  <a:lnTo>
                    <a:pt x="1075" y="632"/>
                  </a:lnTo>
                  <a:lnTo>
                    <a:pt x="1072" y="632"/>
                  </a:lnTo>
                  <a:lnTo>
                    <a:pt x="1075" y="632"/>
                  </a:lnTo>
                  <a:lnTo>
                    <a:pt x="1075" y="634"/>
                  </a:lnTo>
                  <a:lnTo>
                    <a:pt x="1072" y="634"/>
                  </a:lnTo>
                  <a:lnTo>
                    <a:pt x="1070" y="634"/>
                  </a:lnTo>
                  <a:lnTo>
                    <a:pt x="1068" y="634"/>
                  </a:lnTo>
                  <a:lnTo>
                    <a:pt x="1068" y="636"/>
                  </a:lnTo>
                  <a:lnTo>
                    <a:pt x="1070" y="636"/>
                  </a:lnTo>
                  <a:lnTo>
                    <a:pt x="1068" y="636"/>
                  </a:lnTo>
                  <a:lnTo>
                    <a:pt x="1070" y="636"/>
                  </a:lnTo>
                  <a:lnTo>
                    <a:pt x="1068" y="636"/>
                  </a:lnTo>
                  <a:lnTo>
                    <a:pt x="1068" y="639"/>
                  </a:lnTo>
                  <a:lnTo>
                    <a:pt x="1065" y="639"/>
                  </a:lnTo>
                  <a:lnTo>
                    <a:pt x="1063" y="639"/>
                  </a:lnTo>
                  <a:lnTo>
                    <a:pt x="1060" y="639"/>
                  </a:lnTo>
                  <a:lnTo>
                    <a:pt x="1060" y="636"/>
                  </a:lnTo>
                  <a:lnTo>
                    <a:pt x="1060" y="634"/>
                  </a:lnTo>
                  <a:lnTo>
                    <a:pt x="1063" y="634"/>
                  </a:lnTo>
                  <a:lnTo>
                    <a:pt x="1060" y="634"/>
                  </a:lnTo>
                  <a:lnTo>
                    <a:pt x="1063" y="634"/>
                  </a:lnTo>
                  <a:lnTo>
                    <a:pt x="1063" y="632"/>
                  </a:lnTo>
                  <a:lnTo>
                    <a:pt x="1060" y="632"/>
                  </a:lnTo>
                  <a:lnTo>
                    <a:pt x="1060" y="634"/>
                  </a:lnTo>
                  <a:lnTo>
                    <a:pt x="1058" y="636"/>
                  </a:lnTo>
                  <a:lnTo>
                    <a:pt x="1058" y="634"/>
                  </a:lnTo>
                  <a:lnTo>
                    <a:pt x="1056" y="634"/>
                  </a:lnTo>
                  <a:lnTo>
                    <a:pt x="1056" y="632"/>
                  </a:lnTo>
                  <a:lnTo>
                    <a:pt x="1053" y="632"/>
                  </a:lnTo>
                  <a:lnTo>
                    <a:pt x="1053" y="629"/>
                  </a:lnTo>
                  <a:lnTo>
                    <a:pt x="1053" y="632"/>
                  </a:lnTo>
                  <a:lnTo>
                    <a:pt x="1056" y="632"/>
                  </a:lnTo>
                  <a:lnTo>
                    <a:pt x="1053" y="629"/>
                  </a:lnTo>
                  <a:lnTo>
                    <a:pt x="1056" y="627"/>
                  </a:lnTo>
                  <a:lnTo>
                    <a:pt x="1056" y="629"/>
                  </a:lnTo>
                  <a:lnTo>
                    <a:pt x="1056" y="627"/>
                  </a:lnTo>
                  <a:lnTo>
                    <a:pt x="1058" y="627"/>
                  </a:lnTo>
                  <a:lnTo>
                    <a:pt x="1058" y="625"/>
                  </a:lnTo>
                  <a:lnTo>
                    <a:pt x="1060" y="625"/>
                  </a:lnTo>
                  <a:lnTo>
                    <a:pt x="1063" y="625"/>
                  </a:lnTo>
                  <a:lnTo>
                    <a:pt x="1063" y="627"/>
                  </a:lnTo>
                  <a:lnTo>
                    <a:pt x="1063" y="625"/>
                  </a:lnTo>
                  <a:lnTo>
                    <a:pt x="1065" y="625"/>
                  </a:lnTo>
                  <a:lnTo>
                    <a:pt x="1063" y="625"/>
                  </a:lnTo>
                  <a:lnTo>
                    <a:pt x="1063" y="622"/>
                  </a:lnTo>
                  <a:lnTo>
                    <a:pt x="1065" y="622"/>
                  </a:lnTo>
                  <a:lnTo>
                    <a:pt x="1065" y="625"/>
                  </a:lnTo>
                  <a:lnTo>
                    <a:pt x="1068" y="625"/>
                  </a:lnTo>
                  <a:lnTo>
                    <a:pt x="1068" y="627"/>
                  </a:lnTo>
                  <a:lnTo>
                    <a:pt x="1065" y="627"/>
                  </a:lnTo>
                  <a:lnTo>
                    <a:pt x="1068" y="627"/>
                  </a:lnTo>
                  <a:lnTo>
                    <a:pt x="1068" y="625"/>
                  </a:lnTo>
                  <a:lnTo>
                    <a:pt x="1070" y="625"/>
                  </a:lnTo>
                  <a:lnTo>
                    <a:pt x="1068" y="625"/>
                  </a:lnTo>
                  <a:lnTo>
                    <a:pt x="1068" y="622"/>
                  </a:lnTo>
                  <a:lnTo>
                    <a:pt x="1070" y="622"/>
                  </a:lnTo>
                  <a:lnTo>
                    <a:pt x="1070" y="625"/>
                  </a:lnTo>
                  <a:lnTo>
                    <a:pt x="1070" y="622"/>
                  </a:lnTo>
                  <a:lnTo>
                    <a:pt x="1072" y="625"/>
                  </a:lnTo>
                  <a:lnTo>
                    <a:pt x="1072" y="622"/>
                  </a:lnTo>
                  <a:lnTo>
                    <a:pt x="1070" y="622"/>
                  </a:lnTo>
                  <a:lnTo>
                    <a:pt x="1072" y="622"/>
                  </a:lnTo>
                  <a:lnTo>
                    <a:pt x="1075" y="622"/>
                  </a:lnTo>
                  <a:lnTo>
                    <a:pt x="1075" y="625"/>
                  </a:lnTo>
                  <a:lnTo>
                    <a:pt x="1075" y="622"/>
                  </a:lnTo>
                  <a:lnTo>
                    <a:pt x="1072" y="622"/>
                  </a:lnTo>
                  <a:lnTo>
                    <a:pt x="1075" y="622"/>
                  </a:lnTo>
                  <a:lnTo>
                    <a:pt x="1075" y="620"/>
                  </a:lnTo>
                  <a:lnTo>
                    <a:pt x="1072" y="620"/>
                  </a:lnTo>
                  <a:lnTo>
                    <a:pt x="1075" y="620"/>
                  </a:lnTo>
                  <a:lnTo>
                    <a:pt x="1072" y="620"/>
                  </a:lnTo>
                  <a:lnTo>
                    <a:pt x="1070" y="620"/>
                  </a:lnTo>
                  <a:lnTo>
                    <a:pt x="1072" y="620"/>
                  </a:lnTo>
                  <a:lnTo>
                    <a:pt x="1070" y="620"/>
                  </a:lnTo>
                  <a:lnTo>
                    <a:pt x="1070" y="617"/>
                  </a:lnTo>
                  <a:lnTo>
                    <a:pt x="1072" y="617"/>
                  </a:lnTo>
                  <a:close/>
                  <a:moveTo>
                    <a:pt x="1082" y="610"/>
                  </a:moveTo>
                  <a:lnTo>
                    <a:pt x="1084" y="610"/>
                  </a:lnTo>
                  <a:lnTo>
                    <a:pt x="1084" y="613"/>
                  </a:lnTo>
                  <a:lnTo>
                    <a:pt x="1087" y="613"/>
                  </a:lnTo>
                  <a:lnTo>
                    <a:pt x="1084" y="613"/>
                  </a:lnTo>
                  <a:lnTo>
                    <a:pt x="1084" y="615"/>
                  </a:lnTo>
                  <a:lnTo>
                    <a:pt x="1084" y="613"/>
                  </a:lnTo>
                  <a:lnTo>
                    <a:pt x="1087" y="613"/>
                  </a:lnTo>
                  <a:lnTo>
                    <a:pt x="1089" y="613"/>
                  </a:lnTo>
                  <a:lnTo>
                    <a:pt x="1091" y="613"/>
                  </a:lnTo>
                  <a:lnTo>
                    <a:pt x="1091" y="615"/>
                  </a:lnTo>
                  <a:lnTo>
                    <a:pt x="1094" y="615"/>
                  </a:lnTo>
                  <a:lnTo>
                    <a:pt x="1094" y="617"/>
                  </a:lnTo>
                  <a:lnTo>
                    <a:pt x="1096" y="617"/>
                  </a:lnTo>
                  <a:lnTo>
                    <a:pt x="1094" y="617"/>
                  </a:lnTo>
                  <a:lnTo>
                    <a:pt x="1096" y="617"/>
                  </a:lnTo>
                  <a:lnTo>
                    <a:pt x="1096" y="620"/>
                  </a:lnTo>
                  <a:lnTo>
                    <a:pt x="1094" y="620"/>
                  </a:lnTo>
                  <a:lnTo>
                    <a:pt x="1094" y="622"/>
                  </a:lnTo>
                  <a:lnTo>
                    <a:pt x="1091" y="622"/>
                  </a:lnTo>
                  <a:lnTo>
                    <a:pt x="1091" y="625"/>
                  </a:lnTo>
                  <a:lnTo>
                    <a:pt x="1089" y="625"/>
                  </a:lnTo>
                  <a:lnTo>
                    <a:pt x="1087" y="625"/>
                  </a:lnTo>
                  <a:lnTo>
                    <a:pt x="1084" y="625"/>
                  </a:lnTo>
                  <a:lnTo>
                    <a:pt x="1082" y="625"/>
                  </a:lnTo>
                  <a:lnTo>
                    <a:pt x="1082" y="622"/>
                  </a:lnTo>
                  <a:lnTo>
                    <a:pt x="1082" y="620"/>
                  </a:lnTo>
                  <a:lnTo>
                    <a:pt x="1079" y="620"/>
                  </a:lnTo>
                  <a:lnTo>
                    <a:pt x="1077" y="620"/>
                  </a:lnTo>
                  <a:lnTo>
                    <a:pt x="1079" y="620"/>
                  </a:lnTo>
                  <a:lnTo>
                    <a:pt x="1079" y="617"/>
                  </a:lnTo>
                  <a:lnTo>
                    <a:pt x="1082" y="615"/>
                  </a:lnTo>
                  <a:lnTo>
                    <a:pt x="1079" y="615"/>
                  </a:lnTo>
                  <a:lnTo>
                    <a:pt x="1079" y="613"/>
                  </a:lnTo>
                  <a:lnTo>
                    <a:pt x="1079" y="610"/>
                  </a:lnTo>
                  <a:lnTo>
                    <a:pt x="1082" y="610"/>
                  </a:lnTo>
                  <a:close/>
                  <a:moveTo>
                    <a:pt x="38" y="587"/>
                  </a:moveTo>
                  <a:lnTo>
                    <a:pt x="38" y="589"/>
                  </a:lnTo>
                  <a:lnTo>
                    <a:pt x="35" y="589"/>
                  </a:lnTo>
                  <a:lnTo>
                    <a:pt x="35" y="591"/>
                  </a:lnTo>
                  <a:lnTo>
                    <a:pt x="35" y="594"/>
                  </a:lnTo>
                  <a:lnTo>
                    <a:pt x="35" y="596"/>
                  </a:lnTo>
                  <a:lnTo>
                    <a:pt x="33" y="596"/>
                  </a:lnTo>
                  <a:lnTo>
                    <a:pt x="31" y="596"/>
                  </a:lnTo>
                  <a:lnTo>
                    <a:pt x="28" y="596"/>
                  </a:lnTo>
                  <a:lnTo>
                    <a:pt x="26" y="596"/>
                  </a:lnTo>
                  <a:lnTo>
                    <a:pt x="24" y="596"/>
                  </a:lnTo>
                  <a:lnTo>
                    <a:pt x="24" y="598"/>
                  </a:lnTo>
                  <a:lnTo>
                    <a:pt x="24" y="596"/>
                  </a:lnTo>
                  <a:lnTo>
                    <a:pt x="21" y="598"/>
                  </a:lnTo>
                  <a:lnTo>
                    <a:pt x="19" y="598"/>
                  </a:lnTo>
                  <a:lnTo>
                    <a:pt x="16" y="598"/>
                  </a:lnTo>
                  <a:lnTo>
                    <a:pt x="14" y="598"/>
                  </a:lnTo>
                  <a:lnTo>
                    <a:pt x="12" y="601"/>
                  </a:lnTo>
                  <a:lnTo>
                    <a:pt x="12" y="603"/>
                  </a:lnTo>
                  <a:lnTo>
                    <a:pt x="9" y="603"/>
                  </a:lnTo>
                  <a:lnTo>
                    <a:pt x="7" y="603"/>
                  </a:lnTo>
                  <a:lnTo>
                    <a:pt x="7" y="606"/>
                  </a:lnTo>
                  <a:lnTo>
                    <a:pt x="5" y="606"/>
                  </a:lnTo>
                  <a:lnTo>
                    <a:pt x="2" y="606"/>
                  </a:lnTo>
                  <a:lnTo>
                    <a:pt x="0" y="603"/>
                  </a:lnTo>
                  <a:lnTo>
                    <a:pt x="2" y="603"/>
                  </a:lnTo>
                  <a:lnTo>
                    <a:pt x="5" y="603"/>
                  </a:lnTo>
                  <a:lnTo>
                    <a:pt x="5" y="601"/>
                  </a:lnTo>
                  <a:lnTo>
                    <a:pt x="7" y="601"/>
                  </a:lnTo>
                  <a:lnTo>
                    <a:pt x="7" y="598"/>
                  </a:lnTo>
                  <a:lnTo>
                    <a:pt x="9" y="598"/>
                  </a:lnTo>
                  <a:lnTo>
                    <a:pt x="12" y="598"/>
                  </a:lnTo>
                  <a:lnTo>
                    <a:pt x="14" y="598"/>
                  </a:lnTo>
                  <a:lnTo>
                    <a:pt x="14" y="596"/>
                  </a:lnTo>
                  <a:lnTo>
                    <a:pt x="12" y="596"/>
                  </a:lnTo>
                  <a:lnTo>
                    <a:pt x="14" y="596"/>
                  </a:lnTo>
                  <a:lnTo>
                    <a:pt x="16" y="596"/>
                  </a:lnTo>
                  <a:lnTo>
                    <a:pt x="19" y="596"/>
                  </a:lnTo>
                  <a:lnTo>
                    <a:pt x="21" y="596"/>
                  </a:lnTo>
                  <a:lnTo>
                    <a:pt x="21" y="594"/>
                  </a:lnTo>
                  <a:lnTo>
                    <a:pt x="21" y="591"/>
                  </a:lnTo>
                  <a:lnTo>
                    <a:pt x="24" y="591"/>
                  </a:lnTo>
                  <a:lnTo>
                    <a:pt x="24" y="589"/>
                  </a:lnTo>
                  <a:lnTo>
                    <a:pt x="26" y="589"/>
                  </a:lnTo>
                  <a:lnTo>
                    <a:pt x="28" y="589"/>
                  </a:lnTo>
                  <a:lnTo>
                    <a:pt x="28" y="587"/>
                  </a:lnTo>
                  <a:lnTo>
                    <a:pt x="31" y="587"/>
                  </a:lnTo>
                  <a:lnTo>
                    <a:pt x="33" y="587"/>
                  </a:lnTo>
                  <a:lnTo>
                    <a:pt x="35" y="587"/>
                  </a:lnTo>
                  <a:lnTo>
                    <a:pt x="38" y="587"/>
                  </a:lnTo>
                  <a:close/>
                  <a:moveTo>
                    <a:pt x="1146" y="587"/>
                  </a:moveTo>
                  <a:lnTo>
                    <a:pt x="1148" y="587"/>
                  </a:lnTo>
                  <a:lnTo>
                    <a:pt x="1151" y="587"/>
                  </a:lnTo>
                  <a:lnTo>
                    <a:pt x="1151" y="584"/>
                  </a:lnTo>
                  <a:lnTo>
                    <a:pt x="1151" y="587"/>
                  </a:lnTo>
                  <a:lnTo>
                    <a:pt x="1151" y="584"/>
                  </a:lnTo>
                  <a:lnTo>
                    <a:pt x="1151" y="587"/>
                  </a:lnTo>
                  <a:lnTo>
                    <a:pt x="1151" y="589"/>
                  </a:lnTo>
                  <a:lnTo>
                    <a:pt x="1148" y="589"/>
                  </a:lnTo>
                  <a:lnTo>
                    <a:pt x="1151" y="589"/>
                  </a:lnTo>
                  <a:lnTo>
                    <a:pt x="1153" y="589"/>
                  </a:lnTo>
                  <a:lnTo>
                    <a:pt x="1153" y="587"/>
                  </a:lnTo>
                  <a:lnTo>
                    <a:pt x="1153" y="589"/>
                  </a:lnTo>
                  <a:lnTo>
                    <a:pt x="1151" y="589"/>
                  </a:lnTo>
                  <a:lnTo>
                    <a:pt x="1153" y="589"/>
                  </a:lnTo>
                  <a:lnTo>
                    <a:pt x="1155" y="589"/>
                  </a:lnTo>
                  <a:lnTo>
                    <a:pt x="1155" y="587"/>
                  </a:lnTo>
                  <a:lnTo>
                    <a:pt x="1155" y="589"/>
                  </a:lnTo>
                  <a:lnTo>
                    <a:pt x="1155" y="587"/>
                  </a:lnTo>
                  <a:lnTo>
                    <a:pt x="1158" y="587"/>
                  </a:lnTo>
                  <a:lnTo>
                    <a:pt x="1158" y="589"/>
                  </a:lnTo>
                  <a:lnTo>
                    <a:pt x="1158" y="591"/>
                  </a:lnTo>
                  <a:lnTo>
                    <a:pt x="1155" y="591"/>
                  </a:lnTo>
                  <a:lnTo>
                    <a:pt x="1153" y="591"/>
                  </a:lnTo>
                  <a:lnTo>
                    <a:pt x="1153" y="594"/>
                  </a:lnTo>
                  <a:lnTo>
                    <a:pt x="1155" y="594"/>
                  </a:lnTo>
                  <a:lnTo>
                    <a:pt x="1153" y="594"/>
                  </a:lnTo>
                  <a:lnTo>
                    <a:pt x="1153" y="596"/>
                  </a:lnTo>
                  <a:lnTo>
                    <a:pt x="1155" y="596"/>
                  </a:lnTo>
                  <a:lnTo>
                    <a:pt x="1158" y="596"/>
                  </a:lnTo>
                  <a:lnTo>
                    <a:pt x="1158" y="594"/>
                  </a:lnTo>
                  <a:lnTo>
                    <a:pt x="1158" y="596"/>
                  </a:lnTo>
                  <a:lnTo>
                    <a:pt x="1160" y="596"/>
                  </a:lnTo>
                  <a:lnTo>
                    <a:pt x="1160" y="594"/>
                  </a:lnTo>
                  <a:lnTo>
                    <a:pt x="1162" y="594"/>
                  </a:lnTo>
                  <a:lnTo>
                    <a:pt x="1162" y="591"/>
                  </a:lnTo>
                  <a:lnTo>
                    <a:pt x="1165" y="591"/>
                  </a:lnTo>
                  <a:lnTo>
                    <a:pt x="1165" y="594"/>
                  </a:lnTo>
                  <a:lnTo>
                    <a:pt x="1162" y="594"/>
                  </a:lnTo>
                  <a:lnTo>
                    <a:pt x="1162" y="596"/>
                  </a:lnTo>
                  <a:lnTo>
                    <a:pt x="1160" y="596"/>
                  </a:lnTo>
                  <a:lnTo>
                    <a:pt x="1162" y="596"/>
                  </a:lnTo>
                  <a:lnTo>
                    <a:pt x="1160" y="596"/>
                  </a:lnTo>
                  <a:lnTo>
                    <a:pt x="1158" y="596"/>
                  </a:lnTo>
                  <a:lnTo>
                    <a:pt x="1158" y="598"/>
                  </a:lnTo>
                  <a:lnTo>
                    <a:pt x="1158" y="596"/>
                  </a:lnTo>
                  <a:lnTo>
                    <a:pt x="1155" y="596"/>
                  </a:lnTo>
                  <a:lnTo>
                    <a:pt x="1155" y="598"/>
                  </a:lnTo>
                  <a:lnTo>
                    <a:pt x="1153" y="598"/>
                  </a:lnTo>
                  <a:lnTo>
                    <a:pt x="1153" y="596"/>
                  </a:lnTo>
                  <a:lnTo>
                    <a:pt x="1151" y="596"/>
                  </a:lnTo>
                  <a:lnTo>
                    <a:pt x="1151" y="598"/>
                  </a:lnTo>
                  <a:lnTo>
                    <a:pt x="1151" y="596"/>
                  </a:lnTo>
                  <a:lnTo>
                    <a:pt x="1148" y="596"/>
                  </a:lnTo>
                  <a:lnTo>
                    <a:pt x="1148" y="598"/>
                  </a:lnTo>
                  <a:lnTo>
                    <a:pt x="1146" y="598"/>
                  </a:lnTo>
                  <a:lnTo>
                    <a:pt x="1148" y="598"/>
                  </a:lnTo>
                  <a:lnTo>
                    <a:pt x="1146" y="598"/>
                  </a:lnTo>
                  <a:lnTo>
                    <a:pt x="1144" y="598"/>
                  </a:lnTo>
                  <a:lnTo>
                    <a:pt x="1146" y="598"/>
                  </a:lnTo>
                  <a:lnTo>
                    <a:pt x="1144" y="601"/>
                  </a:lnTo>
                  <a:lnTo>
                    <a:pt x="1141" y="598"/>
                  </a:lnTo>
                  <a:lnTo>
                    <a:pt x="1139" y="598"/>
                  </a:lnTo>
                  <a:lnTo>
                    <a:pt x="1141" y="596"/>
                  </a:lnTo>
                  <a:lnTo>
                    <a:pt x="1139" y="596"/>
                  </a:lnTo>
                  <a:lnTo>
                    <a:pt x="1136" y="596"/>
                  </a:lnTo>
                  <a:lnTo>
                    <a:pt x="1139" y="596"/>
                  </a:lnTo>
                  <a:lnTo>
                    <a:pt x="1141" y="596"/>
                  </a:lnTo>
                  <a:lnTo>
                    <a:pt x="1141" y="594"/>
                  </a:lnTo>
                  <a:lnTo>
                    <a:pt x="1144" y="594"/>
                  </a:lnTo>
                  <a:lnTo>
                    <a:pt x="1141" y="594"/>
                  </a:lnTo>
                  <a:lnTo>
                    <a:pt x="1144" y="594"/>
                  </a:lnTo>
                  <a:lnTo>
                    <a:pt x="1141" y="594"/>
                  </a:lnTo>
                  <a:lnTo>
                    <a:pt x="1139" y="594"/>
                  </a:lnTo>
                  <a:lnTo>
                    <a:pt x="1136" y="594"/>
                  </a:lnTo>
                  <a:lnTo>
                    <a:pt x="1134" y="594"/>
                  </a:lnTo>
                  <a:lnTo>
                    <a:pt x="1132" y="594"/>
                  </a:lnTo>
                  <a:lnTo>
                    <a:pt x="1134" y="594"/>
                  </a:lnTo>
                  <a:lnTo>
                    <a:pt x="1132" y="594"/>
                  </a:lnTo>
                  <a:lnTo>
                    <a:pt x="1134" y="591"/>
                  </a:lnTo>
                  <a:lnTo>
                    <a:pt x="1134" y="589"/>
                  </a:lnTo>
                  <a:lnTo>
                    <a:pt x="1136" y="589"/>
                  </a:lnTo>
                  <a:lnTo>
                    <a:pt x="1134" y="589"/>
                  </a:lnTo>
                  <a:lnTo>
                    <a:pt x="1136" y="589"/>
                  </a:lnTo>
                  <a:lnTo>
                    <a:pt x="1139" y="589"/>
                  </a:lnTo>
                  <a:lnTo>
                    <a:pt x="1136" y="589"/>
                  </a:lnTo>
                  <a:lnTo>
                    <a:pt x="1139" y="589"/>
                  </a:lnTo>
                  <a:lnTo>
                    <a:pt x="1136" y="589"/>
                  </a:lnTo>
                  <a:lnTo>
                    <a:pt x="1139" y="589"/>
                  </a:lnTo>
                  <a:lnTo>
                    <a:pt x="1139" y="591"/>
                  </a:lnTo>
                  <a:lnTo>
                    <a:pt x="1139" y="589"/>
                  </a:lnTo>
                  <a:lnTo>
                    <a:pt x="1139" y="591"/>
                  </a:lnTo>
                  <a:lnTo>
                    <a:pt x="1139" y="589"/>
                  </a:lnTo>
                  <a:lnTo>
                    <a:pt x="1141" y="589"/>
                  </a:lnTo>
                  <a:lnTo>
                    <a:pt x="1144" y="589"/>
                  </a:lnTo>
                  <a:lnTo>
                    <a:pt x="1146" y="589"/>
                  </a:lnTo>
                  <a:lnTo>
                    <a:pt x="1146" y="591"/>
                  </a:lnTo>
                  <a:lnTo>
                    <a:pt x="1148" y="591"/>
                  </a:lnTo>
                  <a:lnTo>
                    <a:pt x="1148" y="589"/>
                  </a:lnTo>
                  <a:lnTo>
                    <a:pt x="1146" y="589"/>
                  </a:lnTo>
                  <a:lnTo>
                    <a:pt x="1144" y="589"/>
                  </a:lnTo>
                  <a:lnTo>
                    <a:pt x="1144" y="587"/>
                  </a:lnTo>
                  <a:lnTo>
                    <a:pt x="1141" y="587"/>
                  </a:lnTo>
                  <a:lnTo>
                    <a:pt x="1144" y="587"/>
                  </a:lnTo>
                  <a:lnTo>
                    <a:pt x="1146" y="587"/>
                  </a:lnTo>
                  <a:lnTo>
                    <a:pt x="1146" y="584"/>
                  </a:lnTo>
                  <a:lnTo>
                    <a:pt x="1146" y="587"/>
                  </a:lnTo>
                  <a:lnTo>
                    <a:pt x="1148" y="587"/>
                  </a:lnTo>
                  <a:lnTo>
                    <a:pt x="1146" y="587"/>
                  </a:lnTo>
                  <a:close/>
                  <a:moveTo>
                    <a:pt x="932" y="380"/>
                  </a:moveTo>
                  <a:lnTo>
                    <a:pt x="935" y="382"/>
                  </a:lnTo>
                  <a:lnTo>
                    <a:pt x="935" y="385"/>
                  </a:lnTo>
                  <a:lnTo>
                    <a:pt x="935" y="387"/>
                  </a:lnTo>
                  <a:lnTo>
                    <a:pt x="932" y="387"/>
                  </a:lnTo>
                  <a:lnTo>
                    <a:pt x="932" y="389"/>
                  </a:lnTo>
                  <a:lnTo>
                    <a:pt x="930" y="389"/>
                  </a:lnTo>
                  <a:lnTo>
                    <a:pt x="928" y="389"/>
                  </a:lnTo>
                  <a:lnTo>
                    <a:pt x="925" y="387"/>
                  </a:lnTo>
                  <a:lnTo>
                    <a:pt x="923" y="387"/>
                  </a:lnTo>
                  <a:lnTo>
                    <a:pt x="923" y="385"/>
                  </a:lnTo>
                  <a:lnTo>
                    <a:pt x="920" y="385"/>
                  </a:lnTo>
                  <a:lnTo>
                    <a:pt x="920" y="382"/>
                  </a:lnTo>
                  <a:lnTo>
                    <a:pt x="918" y="382"/>
                  </a:lnTo>
                  <a:lnTo>
                    <a:pt x="920" y="382"/>
                  </a:lnTo>
                  <a:lnTo>
                    <a:pt x="920" y="380"/>
                  </a:lnTo>
                  <a:lnTo>
                    <a:pt x="923" y="380"/>
                  </a:lnTo>
                  <a:lnTo>
                    <a:pt x="925" y="380"/>
                  </a:lnTo>
                  <a:lnTo>
                    <a:pt x="928" y="380"/>
                  </a:lnTo>
                  <a:lnTo>
                    <a:pt x="930" y="380"/>
                  </a:lnTo>
                  <a:lnTo>
                    <a:pt x="932" y="380"/>
                  </a:lnTo>
                  <a:close/>
                  <a:moveTo>
                    <a:pt x="996" y="116"/>
                  </a:moveTo>
                  <a:lnTo>
                    <a:pt x="996" y="114"/>
                  </a:lnTo>
                  <a:lnTo>
                    <a:pt x="999" y="114"/>
                  </a:lnTo>
                  <a:lnTo>
                    <a:pt x="996" y="114"/>
                  </a:lnTo>
                  <a:lnTo>
                    <a:pt x="999" y="114"/>
                  </a:lnTo>
                  <a:lnTo>
                    <a:pt x="999" y="111"/>
                  </a:lnTo>
                  <a:lnTo>
                    <a:pt x="1001" y="114"/>
                  </a:lnTo>
                  <a:lnTo>
                    <a:pt x="1004" y="114"/>
                  </a:lnTo>
                  <a:lnTo>
                    <a:pt x="1006" y="116"/>
                  </a:lnTo>
                  <a:lnTo>
                    <a:pt x="1008" y="119"/>
                  </a:lnTo>
                  <a:lnTo>
                    <a:pt x="1011" y="119"/>
                  </a:lnTo>
                  <a:lnTo>
                    <a:pt x="1013" y="119"/>
                  </a:lnTo>
                  <a:lnTo>
                    <a:pt x="1013" y="116"/>
                  </a:lnTo>
                  <a:lnTo>
                    <a:pt x="1015" y="116"/>
                  </a:lnTo>
                  <a:lnTo>
                    <a:pt x="1015" y="119"/>
                  </a:lnTo>
                  <a:lnTo>
                    <a:pt x="1018" y="119"/>
                  </a:lnTo>
                  <a:lnTo>
                    <a:pt x="1018" y="116"/>
                  </a:lnTo>
                  <a:lnTo>
                    <a:pt x="1015" y="116"/>
                  </a:lnTo>
                  <a:lnTo>
                    <a:pt x="1018" y="116"/>
                  </a:lnTo>
                  <a:lnTo>
                    <a:pt x="1015" y="116"/>
                  </a:lnTo>
                  <a:lnTo>
                    <a:pt x="1018" y="116"/>
                  </a:lnTo>
                  <a:lnTo>
                    <a:pt x="1020" y="116"/>
                  </a:lnTo>
                  <a:lnTo>
                    <a:pt x="1023" y="116"/>
                  </a:lnTo>
                  <a:lnTo>
                    <a:pt x="1025" y="116"/>
                  </a:lnTo>
                  <a:lnTo>
                    <a:pt x="1025" y="119"/>
                  </a:lnTo>
                  <a:lnTo>
                    <a:pt x="1025" y="121"/>
                  </a:lnTo>
                  <a:lnTo>
                    <a:pt x="1027" y="121"/>
                  </a:lnTo>
                  <a:lnTo>
                    <a:pt x="1030" y="123"/>
                  </a:lnTo>
                  <a:lnTo>
                    <a:pt x="1030" y="126"/>
                  </a:lnTo>
                  <a:lnTo>
                    <a:pt x="1030" y="128"/>
                  </a:lnTo>
                  <a:lnTo>
                    <a:pt x="1032" y="128"/>
                  </a:lnTo>
                  <a:lnTo>
                    <a:pt x="1030" y="128"/>
                  </a:lnTo>
                  <a:lnTo>
                    <a:pt x="1032" y="128"/>
                  </a:lnTo>
                  <a:lnTo>
                    <a:pt x="1032" y="130"/>
                  </a:lnTo>
                  <a:lnTo>
                    <a:pt x="1032" y="133"/>
                  </a:lnTo>
                  <a:lnTo>
                    <a:pt x="1030" y="135"/>
                  </a:lnTo>
                  <a:lnTo>
                    <a:pt x="1030" y="138"/>
                  </a:lnTo>
                  <a:lnTo>
                    <a:pt x="1027" y="138"/>
                  </a:lnTo>
                  <a:lnTo>
                    <a:pt x="1023" y="138"/>
                  </a:lnTo>
                  <a:lnTo>
                    <a:pt x="1020" y="138"/>
                  </a:lnTo>
                  <a:lnTo>
                    <a:pt x="1018" y="138"/>
                  </a:lnTo>
                  <a:lnTo>
                    <a:pt x="1015" y="138"/>
                  </a:lnTo>
                  <a:lnTo>
                    <a:pt x="1013" y="138"/>
                  </a:lnTo>
                  <a:lnTo>
                    <a:pt x="1011" y="138"/>
                  </a:lnTo>
                  <a:lnTo>
                    <a:pt x="1008" y="138"/>
                  </a:lnTo>
                  <a:lnTo>
                    <a:pt x="1006" y="140"/>
                  </a:lnTo>
                  <a:lnTo>
                    <a:pt x="1004" y="140"/>
                  </a:lnTo>
                  <a:lnTo>
                    <a:pt x="999" y="140"/>
                  </a:lnTo>
                  <a:lnTo>
                    <a:pt x="996" y="140"/>
                  </a:lnTo>
                  <a:lnTo>
                    <a:pt x="994" y="140"/>
                  </a:lnTo>
                  <a:lnTo>
                    <a:pt x="994" y="142"/>
                  </a:lnTo>
                  <a:lnTo>
                    <a:pt x="992" y="142"/>
                  </a:lnTo>
                  <a:lnTo>
                    <a:pt x="992" y="140"/>
                  </a:lnTo>
                  <a:lnTo>
                    <a:pt x="989" y="140"/>
                  </a:lnTo>
                  <a:lnTo>
                    <a:pt x="987" y="140"/>
                  </a:lnTo>
                  <a:lnTo>
                    <a:pt x="985" y="140"/>
                  </a:lnTo>
                  <a:lnTo>
                    <a:pt x="982" y="140"/>
                  </a:lnTo>
                  <a:lnTo>
                    <a:pt x="985" y="140"/>
                  </a:lnTo>
                  <a:lnTo>
                    <a:pt x="985" y="138"/>
                  </a:lnTo>
                  <a:lnTo>
                    <a:pt x="982" y="138"/>
                  </a:lnTo>
                  <a:lnTo>
                    <a:pt x="985" y="138"/>
                  </a:lnTo>
                  <a:lnTo>
                    <a:pt x="985" y="135"/>
                  </a:lnTo>
                  <a:lnTo>
                    <a:pt x="982" y="135"/>
                  </a:lnTo>
                  <a:lnTo>
                    <a:pt x="980" y="135"/>
                  </a:lnTo>
                  <a:lnTo>
                    <a:pt x="980" y="133"/>
                  </a:lnTo>
                  <a:lnTo>
                    <a:pt x="980" y="135"/>
                  </a:lnTo>
                  <a:lnTo>
                    <a:pt x="980" y="133"/>
                  </a:lnTo>
                  <a:lnTo>
                    <a:pt x="982" y="133"/>
                  </a:lnTo>
                  <a:lnTo>
                    <a:pt x="985" y="133"/>
                  </a:lnTo>
                  <a:lnTo>
                    <a:pt x="987" y="133"/>
                  </a:lnTo>
                  <a:lnTo>
                    <a:pt x="985" y="133"/>
                  </a:lnTo>
                  <a:lnTo>
                    <a:pt x="982" y="133"/>
                  </a:lnTo>
                  <a:lnTo>
                    <a:pt x="985" y="133"/>
                  </a:lnTo>
                  <a:lnTo>
                    <a:pt x="982" y="133"/>
                  </a:lnTo>
                  <a:lnTo>
                    <a:pt x="980" y="133"/>
                  </a:lnTo>
                  <a:lnTo>
                    <a:pt x="982" y="133"/>
                  </a:lnTo>
                  <a:lnTo>
                    <a:pt x="982" y="130"/>
                  </a:lnTo>
                  <a:lnTo>
                    <a:pt x="982" y="128"/>
                  </a:lnTo>
                  <a:lnTo>
                    <a:pt x="980" y="128"/>
                  </a:lnTo>
                  <a:lnTo>
                    <a:pt x="980" y="126"/>
                  </a:lnTo>
                  <a:lnTo>
                    <a:pt x="977" y="126"/>
                  </a:lnTo>
                  <a:lnTo>
                    <a:pt x="975" y="126"/>
                  </a:lnTo>
                  <a:lnTo>
                    <a:pt x="973" y="123"/>
                  </a:lnTo>
                  <a:lnTo>
                    <a:pt x="970" y="123"/>
                  </a:lnTo>
                  <a:lnTo>
                    <a:pt x="968" y="123"/>
                  </a:lnTo>
                  <a:lnTo>
                    <a:pt x="966" y="123"/>
                  </a:lnTo>
                  <a:lnTo>
                    <a:pt x="966" y="121"/>
                  </a:lnTo>
                  <a:lnTo>
                    <a:pt x="968" y="121"/>
                  </a:lnTo>
                  <a:lnTo>
                    <a:pt x="973" y="121"/>
                  </a:lnTo>
                  <a:lnTo>
                    <a:pt x="975" y="121"/>
                  </a:lnTo>
                  <a:lnTo>
                    <a:pt x="977" y="121"/>
                  </a:lnTo>
                  <a:lnTo>
                    <a:pt x="977" y="119"/>
                  </a:lnTo>
                  <a:lnTo>
                    <a:pt x="977" y="121"/>
                  </a:lnTo>
                  <a:lnTo>
                    <a:pt x="977" y="119"/>
                  </a:lnTo>
                  <a:lnTo>
                    <a:pt x="980" y="119"/>
                  </a:lnTo>
                  <a:lnTo>
                    <a:pt x="982" y="119"/>
                  </a:lnTo>
                  <a:lnTo>
                    <a:pt x="985" y="119"/>
                  </a:lnTo>
                  <a:lnTo>
                    <a:pt x="987" y="119"/>
                  </a:lnTo>
                  <a:lnTo>
                    <a:pt x="989" y="119"/>
                  </a:lnTo>
                  <a:lnTo>
                    <a:pt x="987" y="119"/>
                  </a:lnTo>
                  <a:lnTo>
                    <a:pt x="989" y="119"/>
                  </a:lnTo>
                  <a:lnTo>
                    <a:pt x="992" y="119"/>
                  </a:lnTo>
                  <a:lnTo>
                    <a:pt x="994" y="119"/>
                  </a:lnTo>
                  <a:lnTo>
                    <a:pt x="994" y="116"/>
                  </a:lnTo>
                  <a:lnTo>
                    <a:pt x="996" y="116"/>
                  </a:lnTo>
                  <a:close/>
                  <a:moveTo>
                    <a:pt x="1184" y="104"/>
                  </a:moveTo>
                  <a:lnTo>
                    <a:pt x="1186" y="107"/>
                  </a:lnTo>
                  <a:lnTo>
                    <a:pt x="1189" y="107"/>
                  </a:lnTo>
                  <a:lnTo>
                    <a:pt x="1191" y="107"/>
                  </a:lnTo>
                  <a:lnTo>
                    <a:pt x="1193" y="107"/>
                  </a:lnTo>
                  <a:lnTo>
                    <a:pt x="1191" y="107"/>
                  </a:lnTo>
                  <a:lnTo>
                    <a:pt x="1191" y="109"/>
                  </a:lnTo>
                  <a:lnTo>
                    <a:pt x="1189" y="111"/>
                  </a:lnTo>
                  <a:lnTo>
                    <a:pt x="1186" y="111"/>
                  </a:lnTo>
                  <a:lnTo>
                    <a:pt x="1184" y="111"/>
                  </a:lnTo>
                  <a:lnTo>
                    <a:pt x="1181" y="111"/>
                  </a:lnTo>
                  <a:lnTo>
                    <a:pt x="1181" y="109"/>
                  </a:lnTo>
                  <a:lnTo>
                    <a:pt x="1179" y="109"/>
                  </a:lnTo>
                  <a:lnTo>
                    <a:pt x="1177" y="109"/>
                  </a:lnTo>
                  <a:lnTo>
                    <a:pt x="1174" y="107"/>
                  </a:lnTo>
                  <a:lnTo>
                    <a:pt x="1172" y="104"/>
                  </a:lnTo>
                  <a:lnTo>
                    <a:pt x="1170" y="104"/>
                  </a:lnTo>
                  <a:lnTo>
                    <a:pt x="1170" y="102"/>
                  </a:lnTo>
                  <a:lnTo>
                    <a:pt x="1172" y="100"/>
                  </a:lnTo>
                  <a:lnTo>
                    <a:pt x="1174" y="100"/>
                  </a:lnTo>
                  <a:lnTo>
                    <a:pt x="1177" y="100"/>
                  </a:lnTo>
                  <a:lnTo>
                    <a:pt x="1179" y="100"/>
                  </a:lnTo>
                  <a:lnTo>
                    <a:pt x="1179" y="102"/>
                  </a:lnTo>
                  <a:lnTo>
                    <a:pt x="1181" y="104"/>
                  </a:lnTo>
                  <a:lnTo>
                    <a:pt x="1184" y="104"/>
                  </a:lnTo>
                  <a:close/>
                  <a:moveTo>
                    <a:pt x="648" y="95"/>
                  </a:moveTo>
                  <a:lnTo>
                    <a:pt x="650" y="95"/>
                  </a:lnTo>
                  <a:lnTo>
                    <a:pt x="652" y="95"/>
                  </a:lnTo>
                  <a:lnTo>
                    <a:pt x="652" y="97"/>
                  </a:lnTo>
                  <a:lnTo>
                    <a:pt x="655" y="97"/>
                  </a:lnTo>
                  <a:lnTo>
                    <a:pt x="657" y="97"/>
                  </a:lnTo>
                  <a:lnTo>
                    <a:pt x="659" y="97"/>
                  </a:lnTo>
                  <a:lnTo>
                    <a:pt x="659" y="100"/>
                  </a:lnTo>
                  <a:lnTo>
                    <a:pt x="662" y="100"/>
                  </a:lnTo>
                  <a:lnTo>
                    <a:pt x="662" y="102"/>
                  </a:lnTo>
                  <a:lnTo>
                    <a:pt x="662" y="100"/>
                  </a:lnTo>
                  <a:lnTo>
                    <a:pt x="659" y="100"/>
                  </a:lnTo>
                  <a:lnTo>
                    <a:pt x="662" y="100"/>
                  </a:lnTo>
                  <a:lnTo>
                    <a:pt x="659" y="100"/>
                  </a:lnTo>
                  <a:lnTo>
                    <a:pt x="662" y="100"/>
                  </a:lnTo>
                  <a:lnTo>
                    <a:pt x="662" y="102"/>
                  </a:lnTo>
                  <a:lnTo>
                    <a:pt x="659" y="102"/>
                  </a:lnTo>
                  <a:lnTo>
                    <a:pt x="659" y="104"/>
                  </a:lnTo>
                  <a:lnTo>
                    <a:pt x="662" y="104"/>
                  </a:lnTo>
                  <a:lnTo>
                    <a:pt x="664" y="104"/>
                  </a:lnTo>
                  <a:lnTo>
                    <a:pt x="662" y="104"/>
                  </a:lnTo>
                  <a:lnTo>
                    <a:pt x="662" y="102"/>
                  </a:lnTo>
                  <a:lnTo>
                    <a:pt x="664" y="104"/>
                  </a:lnTo>
                  <a:lnTo>
                    <a:pt x="667" y="104"/>
                  </a:lnTo>
                  <a:lnTo>
                    <a:pt x="669" y="107"/>
                  </a:lnTo>
                  <a:lnTo>
                    <a:pt x="667" y="107"/>
                  </a:lnTo>
                  <a:lnTo>
                    <a:pt x="664" y="109"/>
                  </a:lnTo>
                  <a:lnTo>
                    <a:pt x="664" y="107"/>
                  </a:lnTo>
                  <a:lnTo>
                    <a:pt x="664" y="109"/>
                  </a:lnTo>
                  <a:lnTo>
                    <a:pt x="664" y="111"/>
                  </a:lnTo>
                  <a:lnTo>
                    <a:pt x="667" y="111"/>
                  </a:lnTo>
                  <a:lnTo>
                    <a:pt x="669" y="111"/>
                  </a:lnTo>
                  <a:lnTo>
                    <a:pt x="667" y="111"/>
                  </a:lnTo>
                  <a:lnTo>
                    <a:pt x="667" y="114"/>
                  </a:lnTo>
                  <a:lnTo>
                    <a:pt x="669" y="114"/>
                  </a:lnTo>
                  <a:lnTo>
                    <a:pt x="671" y="114"/>
                  </a:lnTo>
                  <a:lnTo>
                    <a:pt x="669" y="116"/>
                  </a:lnTo>
                  <a:lnTo>
                    <a:pt x="671" y="116"/>
                  </a:lnTo>
                  <a:lnTo>
                    <a:pt x="674" y="119"/>
                  </a:lnTo>
                  <a:lnTo>
                    <a:pt x="671" y="119"/>
                  </a:lnTo>
                  <a:lnTo>
                    <a:pt x="669" y="119"/>
                  </a:lnTo>
                  <a:lnTo>
                    <a:pt x="671" y="119"/>
                  </a:lnTo>
                  <a:lnTo>
                    <a:pt x="674" y="119"/>
                  </a:lnTo>
                  <a:lnTo>
                    <a:pt x="676" y="119"/>
                  </a:lnTo>
                  <a:lnTo>
                    <a:pt x="678" y="119"/>
                  </a:lnTo>
                  <a:lnTo>
                    <a:pt x="676" y="119"/>
                  </a:lnTo>
                  <a:lnTo>
                    <a:pt x="678" y="121"/>
                  </a:lnTo>
                  <a:lnTo>
                    <a:pt x="681" y="123"/>
                  </a:lnTo>
                  <a:lnTo>
                    <a:pt x="683" y="123"/>
                  </a:lnTo>
                  <a:lnTo>
                    <a:pt x="683" y="126"/>
                  </a:lnTo>
                  <a:lnTo>
                    <a:pt x="686" y="126"/>
                  </a:lnTo>
                  <a:lnTo>
                    <a:pt x="688" y="126"/>
                  </a:lnTo>
                  <a:lnTo>
                    <a:pt x="690" y="126"/>
                  </a:lnTo>
                  <a:lnTo>
                    <a:pt x="693" y="126"/>
                  </a:lnTo>
                  <a:lnTo>
                    <a:pt x="690" y="126"/>
                  </a:lnTo>
                  <a:lnTo>
                    <a:pt x="690" y="128"/>
                  </a:lnTo>
                  <a:lnTo>
                    <a:pt x="693" y="128"/>
                  </a:lnTo>
                  <a:lnTo>
                    <a:pt x="693" y="130"/>
                  </a:lnTo>
                  <a:lnTo>
                    <a:pt x="695" y="133"/>
                  </a:lnTo>
                  <a:lnTo>
                    <a:pt x="695" y="135"/>
                  </a:lnTo>
                  <a:lnTo>
                    <a:pt x="697" y="135"/>
                  </a:lnTo>
                  <a:lnTo>
                    <a:pt x="697" y="138"/>
                  </a:lnTo>
                  <a:lnTo>
                    <a:pt x="700" y="138"/>
                  </a:lnTo>
                  <a:lnTo>
                    <a:pt x="700" y="140"/>
                  </a:lnTo>
                  <a:lnTo>
                    <a:pt x="700" y="142"/>
                  </a:lnTo>
                  <a:lnTo>
                    <a:pt x="700" y="140"/>
                  </a:lnTo>
                  <a:lnTo>
                    <a:pt x="697" y="140"/>
                  </a:lnTo>
                  <a:lnTo>
                    <a:pt x="695" y="140"/>
                  </a:lnTo>
                  <a:lnTo>
                    <a:pt x="693" y="140"/>
                  </a:lnTo>
                  <a:lnTo>
                    <a:pt x="690" y="140"/>
                  </a:lnTo>
                  <a:lnTo>
                    <a:pt x="690" y="138"/>
                  </a:lnTo>
                  <a:lnTo>
                    <a:pt x="688" y="138"/>
                  </a:lnTo>
                  <a:lnTo>
                    <a:pt x="690" y="138"/>
                  </a:lnTo>
                  <a:lnTo>
                    <a:pt x="690" y="135"/>
                  </a:lnTo>
                  <a:lnTo>
                    <a:pt x="688" y="135"/>
                  </a:lnTo>
                  <a:lnTo>
                    <a:pt x="688" y="133"/>
                  </a:lnTo>
                  <a:lnTo>
                    <a:pt x="686" y="133"/>
                  </a:lnTo>
                  <a:lnTo>
                    <a:pt x="683" y="133"/>
                  </a:lnTo>
                  <a:lnTo>
                    <a:pt x="683" y="130"/>
                  </a:lnTo>
                  <a:lnTo>
                    <a:pt x="681" y="130"/>
                  </a:lnTo>
                  <a:lnTo>
                    <a:pt x="681" y="128"/>
                  </a:lnTo>
                  <a:lnTo>
                    <a:pt x="678" y="128"/>
                  </a:lnTo>
                  <a:lnTo>
                    <a:pt x="676" y="128"/>
                  </a:lnTo>
                  <a:lnTo>
                    <a:pt x="676" y="126"/>
                  </a:lnTo>
                  <a:lnTo>
                    <a:pt x="674" y="126"/>
                  </a:lnTo>
                  <a:lnTo>
                    <a:pt x="671" y="126"/>
                  </a:lnTo>
                  <a:lnTo>
                    <a:pt x="669" y="126"/>
                  </a:lnTo>
                  <a:lnTo>
                    <a:pt x="671" y="126"/>
                  </a:lnTo>
                  <a:lnTo>
                    <a:pt x="671" y="123"/>
                  </a:lnTo>
                  <a:lnTo>
                    <a:pt x="669" y="123"/>
                  </a:lnTo>
                  <a:lnTo>
                    <a:pt x="669" y="126"/>
                  </a:lnTo>
                  <a:lnTo>
                    <a:pt x="667" y="126"/>
                  </a:lnTo>
                  <a:lnTo>
                    <a:pt x="664" y="126"/>
                  </a:lnTo>
                  <a:lnTo>
                    <a:pt x="664" y="123"/>
                  </a:lnTo>
                  <a:lnTo>
                    <a:pt x="664" y="121"/>
                  </a:lnTo>
                  <a:lnTo>
                    <a:pt x="662" y="121"/>
                  </a:lnTo>
                  <a:lnTo>
                    <a:pt x="662" y="119"/>
                  </a:lnTo>
                  <a:lnTo>
                    <a:pt x="659" y="116"/>
                  </a:lnTo>
                  <a:lnTo>
                    <a:pt x="659" y="114"/>
                  </a:lnTo>
                  <a:lnTo>
                    <a:pt x="657" y="114"/>
                  </a:lnTo>
                  <a:lnTo>
                    <a:pt x="657" y="111"/>
                  </a:lnTo>
                  <a:lnTo>
                    <a:pt x="655" y="111"/>
                  </a:lnTo>
                  <a:lnTo>
                    <a:pt x="655" y="109"/>
                  </a:lnTo>
                  <a:lnTo>
                    <a:pt x="652" y="109"/>
                  </a:lnTo>
                  <a:lnTo>
                    <a:pt x="655" y="109"/>
                  </a:lnTo>
                  <a:lnTo>
                    <a:pt x="652" y="109"/>
                  </a:lnTo>
                  <a:lnTo>
                    <a:pt x="652" y="107"/>
                  </a:lnTo>
                  <a:lnTo>
                    <a:pt x="650" y="107"/>
                  </a:lnTo>
                  <a:lnTo>
                    <a:pt x="650" y="104"/>
                  </a:lnTo>
                  <a:lnTo>
                    <a:pt x="648" y="104"/>
                  </a:lnTo>
                  <a:lnTo>
                    <a:pt x="645" y="104"/>
                  </a:lnTo>
                  <a:lnTo>
                    <a:pt x="645" y="102"/>
                  </a:lnTo>
                  <a:lnTo>
                    <a:pt x="648" y="102"/>
                  </a:lnTo>
                  <a:lnTo>
                    <a:pt x="648" y="100"/>
                  </a:lnTo>
                  <a:lnTo>
                    <a:pt x="648" y="97"/>
                  </a:lnTo>
                  <a:lnTo>
                    <a:pt x="645" y="95"/>
                  </a:lnTo>
                  <a:lnTo>
                    <a:pt x="648" y="95"/>
                  </a:lnTo>
                  <a:close/>
                  <a:moveTo>
                    <a:pt x="1238" y="90"/>
                  </a:moveTo>
                  <a:lnTo>
                    <a:pt x="1241" y="90"/>
                  </a:lnTo>
                  <a:lnTo>
                    <a:pt x="1243" y="90"/>
                  </a:lnTo>
                  <a:lnTo>
                    <a:pt x="1246" y="90"/>
                  </a:lnTo>
                  <a:lnTo>
                    <a:pt x="1248" y="90"/>
                  </a:lnTo>
                  <a:lnTo>
                    <a:pt x="1250" y="90"/>
                  </a:lnTo>
                  <a:lnTo>
                    <a:pt x="1253" y="90"/>
                  </a:lnTo>
                  <a:lnTo>
                    <a:pt x="1255" y="90"/>
                  </a:lnTo>
                  <a:lnTo>
                    <a:pt x="1255" y="92"/>
                  </a:lnTo>
                  <a:lnTo>
                    <a:pt x="1255" y="95"/>
                  </a:lnTo>
                  <a:lnTo>
                    <a:pt x="1257" y="95"/>
                  </a:lnTo>
                  <a:lnTo>
                    <a:pt x="1260" y="95"/>
                  </a:lnTo>
                  <a:lnTo>
                    <a:pt x="1262" y="95"/>
                  </a:lnTo>
                  <a:lnTo>
                    <a:pt x="1265" y="95"/>
                  </a:lnTo>
                  <a:lnTo>
                    <a:pt x="1269" y="95"/>
                  </a:lnTo>
                  <a:lnTo>
                    <a:pt x="1272" y="95"/>
                  </a:lnTo>
                  <a:lnTo>
                    <a:pt x="1274" y="95"/>
                  </a:lnTo>
                  <a:lnTo>
                    <a:pt x="1276" y="92"/>
                  </a:lnTo>
                  <a:lnTo>
                    <a:pt x="1276" y="95"/>
                  </a:lnTo>
                  <a:lnTo>
                    <a:pt x="1279" y="95"/>
                  </a:lnTo>
                  <a:lnTo>
                    <a:pt x="1276" y="95"/>
                  </a:lnTo>
                  <a:lnTo>
                    <a:pt x="1274" y="95"/>
                  </a:lnTo>
                  <a:lnTo>
                    <a:pt x="1272" y="95"/>
                  </a:lnTo>
                  <a:lnTo>
                    <a:pt x="1269" y="97"/>
                  </a:lnTo>
                  <a:lnTo>
                    <a:pt x="1267" y="97"/>
                  </a:lnTo>
                  <a:lnTo>
                    <a:pt x="1267" y="100"/>
                  </a:lnTo>
                  <a:lnTo>
                    <a:pt x="1265" y="100"/>
                  </a:lnTo>
                  <a:lnTo>
                    <a:pt x="1265" y="97"/>
                  </a:lnTo>
                  <a:lnTo>
                    <a:pt x="1262" y="97"/>
                  </a:lnTo>
                  <a:lnTo>
                    <a:pt x="1260" y="97"/>
                  </a:lnTo>
                  <a:lnTo>
                    <a:pt x="1257" y="97"/>
                  </a:lnTo>
                  <a:lnTo>
                    <a:pt x="1257" y="95"/>
                  </a:lnTo>
                  <a:lnTo>
                    <a:pt x="1255" y="95"/>
                  </a:lnTo>
                  <a:lnTo>
                    <a:pt x="1253" y="95"/>
                  </a:lnTo>
                  <a:lnTo>
                    <a:pt x="1250" y="95"/>
                  </a:lnTo>
                  <a:lnTo>
                    <a:pt x="1248" y="95"/>
                  </a:lnTo>
                  <a:lnTo>
                    <a:pt x="1246" y="95"/>
                  </a:lnTo>
                  <a:lnTo>
                    <a:pt x="1243" y="95"/>
                  </a:lnTo>
                  <a:lnTo>
                    <a:pt x="1243" y="97"/>
                  </a:lnTo>
                  <a:lnTo>
                    <a:pt x="1243" y="95"/>
                  </a:lnTo>
                  <a:lnTo>
                    <a:pt x="1241" y="95"/>
                  </a:lnTo>
                  <a:lnTo>
                    <a:pt x="1238" y="95"/>
                  </a:lnTo>
                  <a:lnTo>
                    <a:pt x="1236" y="97"/>
                  </a:lnTo>
                  <a:lnTo>
                    <a:pt x="1234" y="97"/>
                  </a:lnTo>
                  <a:lnTo>
                    <a:pt x="1231" y="97"/>
                  </a:lnTo>
                  <a:lnTo>
                    <a:pt x="1229" y="97"/>
                  </a:lnTo>
                  <a:lnTo>
                    <a:pt x="1229" y="100"/>
                  </a:lnTo>
                  <a:lnTo>
                    <a:pt x="1227" y="100"/>
                  </a:lnTo>
                  <a:lnTo>
                    <a:pt x="1224" y="100"/>
                  </a:lnTo>
                  <a:lnTo>
                    <a:pt x="1222" y="100"/>
                  </a:lnTo>
                  <a:lnTo>
                    <a:pt x="1219" y="100"/>
                  </a:lnTo>
                  <a:lnTo>
                    <a:pt x="1219" y="97"/>
                  </a:lnTo>
                  <a:lnTo>
                    <a:pt x="1217" y="97"/>
                  </a:lnTo>
                  <a:lnTo>
                    <a:pt x="1219" y="97"/>
                  </a:lnTo>
                  <a:lnTo>
                    <a:pt x="1217" y="97"/>
                  </a:lnTo>
                  <a:lnTo>
                    <a:pt x="1219" y="97"/>
                  </a:lnTo>
                  <a:lnTo>
                    <a:pt x="1222" y="97"/>
                  </a:lnTo>
                  <a:lnTo>
                    <a:pt x="1224" y="97"/>
                  </a:lnTo>
                  <a:lnTo>
                    <a:pt x="1227" y="95"/>
                  </a:lnTo>
                  <a:lnTo>
                    <a:pt x="1229" y="95"/>
                  </a:lnTo>
                  <a:lnTo>
                    <a:pt x="1231" y="95"/>
                  </a:lnTo>
                  <a:lnTo>
                    <a:pt x="1236" y="92"/>
                  </a:lnTo>
                  <a:lnTo>
                    <a:pt x="1238" y="92"/>
                  </a:lnTo>
                  <a:lnTo>
                    <a:pt x="1238" y="90"/>
                  </a:lnTo>
                  <a:lnTo>
                    <a:pt x="1236" y="90"/>
                  </a:lnTo>
                  <a:lnTo>
                    <a:pt x="1238" y="92"/>
                  </a:lnTo>
                  <a:lnTo>
                    <a:pt x="1236" y="92"/>
                  </a:lnTo>
                  <a:lnTo>
                    <a:pt x="1238" y="92"/>
                  </a:lnTo>
                  <a:lnTo>
                    <a:pt x="1236" y="92"/>
                  </a:lnTo>
                  <a:lnTo>
                    <a:pt x="1236" y="90"/>
                  </a:lnTo>
                  <a:lnTo>
                    <a:pt x="1238" y="90"/>
                  </a:lnTo>
                  <a:close/>
                  <a:moveTo>
                    <a:pt x="968" y="81"/>
                  </a:moveTo>
                  <a:lnTo>
                    <a:pt x="970" y="81"/>
                  </a:lnTo>
                  <a:lnTo>
                    <a:pt x="973" y="81"/>
                  </a:lnTo>
                  <a:lnTo>
                    <a:pt x="975" y="81"/>
                  </a:lnTo>
                  <a:lnTo>
                    <a:pt x="973" y="81"/>
                  </a:lnTo>
                  <a:lnTo>
                    <a:pt x="975" y="81"/>
                  </a:lnTo>
                  <a:lnTo>
                    <a:pt x="977" y="81"/>
                  </a:lnTo>
                  <a:lnTo>
                    <a:pt x="982" y="83"/>
                  </a:lnTo>
                  <a:lnTo>
                    <a:pt x="985" y="83"/>
                  </a:lnTo>
                  <a:lnTo>
                    <a:pt x="987" y="83"/>
                  </a:lnTo>
                  <a:lnTo>
                    <a:pt x="985" y="85"/>
                  </a:lnTo>
                  <a:lnTo>
                    <a:pt x="982" y="85"/>
                  </a:lnTo>
                  <a:lnTo>
                    <a:pt x="980" y="88"/>
                  </a:lnTo>
                  <a:lnTo>
                    <a:pt x="977" y="85"/>
                  </a:lnTo>
                  <a:lnTo>
                    <a:pt x="975" y="88"/>
                  </a:lnTo>
                  <a:lnTo>
                    <a:pt x="973" y="88"/>
                  </a:lnTo>
                  <a:lnTo>
                    <a:pt x="970" y="88"/>
                  </a:lnTo>
                  <a:lnTo>
                    <a:pt x="968" y="88"/>
                  </a:lnTo>
                  <a:lnTo>
                    <a:pt x="970" y="88"/>
                  </a:lnTo>
                  <a:lnTo>
                    <a:pt x="968" y="88"/>
                  </a:lnTo>
                  <a:lnTo>
                    <a:pt x="970" y="88"/>
                  </a:lnTo>
                  <a:lnTo>
                    <a:pt x="968" y="88"/>
                  </a:lnTo>
                  <a:lnTo>
                    <a:pt x="966" y="88"/>
                  </a:lnTo>
                  <a:lnTo>
                    <a:pt x="963" y="85"/>
                  </a:lnTo>
                  <a:lnTo>
                    <a:pt x="966" y="85"/>
                  </a:lnTo>
                  <a:lnTo>
                    <a:pt x="963" y="85"/>
                  </a:lnTo>
                  <a:lnTo>
                    <a:pt x="963" y="83"/>
                  </a:lnTo>
                  <a:lnTo>
                    <a:pt x="966" y="83"/>
                  </a:lnTo>
                  <a:lnTo>
                    <a:pt x="966" y="81"/>
                  </a:lnTo>
                  <a:lnTo>
                    <a:pt x="963" y="81"/>
                  </a:lnTo>
                  <a:lnTo>
                    <a:pt x="966" y="81"/>
                  </a:lnTo>
                  <a:lnTo>
                    <a:pt x="968" y="81"/>
                  </a:lnTo>
                  <a:close/>
                  <a:moveTo>
                    <a:pt x="1402" y="4"/>
                  </a:moveTo>
                  <a:lnTo>
                    <a:pt x="1405" y="4"/>
                  </a:lnTo>
                  <a:lnTo>
                    <a:pt x="1405" y="7"/>
                  </a:lnTo>
                  <a:lnTo>
                    <a:pt x="1402" y="7"/>
                  </a:lnTo>
                  <a:lnTo>
                    <a:pt x="1405" y="7"/>
                  </a:lnTo>
                  <a:lnTo>
                    <a:pt x="1405" y="9"/>
                  </a:lnTo>
                  <a:lnTo>
                    <a:pt x="1402" y="9"/>
                  </a:lnTo>
                  <a:lnTo>
                    <a:pt x="1400" y="9"/>
                  </a:lnTo>
                  <a:lnTo>
                    <a:pt x="1400" y="12"/>
                  </a:lnTo>
                  <a:lnTo>
                    <a:pt x="1402" y="12"/>
                  </a:lnTo>
                  <a:lnTo>
                    <a:pt x="1400" y="12"/>
                  </a:lnTo>
                  <a:lnTo>
                    <a:pt x="1397" y="12"/>
                  </a:lnTo>
                  <a:lnTo>
                    <a:pt x="1395" y="12"/>
                  </a:lnTo>
                  <a:lnTo>
                    <a:pt x="1393" y="12"/>
                  </a:lnTo>
                  <a:lnTo>
                    <a:pt x="1390" y="12"/>
                  </a:lnTo>
                  <a:lnTo>
                    <a:pt x="1388" y="12"/>
                  </a:lnTo>
                  <a:lnTo>
                    <a:pt x="1386" y="12"/>
                  </a:lnTo>
                  <a:lnTo>
                    <a:pt x="1383" y="12"/>
                  </a:lnTo>
                  <a:lnTo>
                    <a:pt x="1381" y="12"/>
                  </a:lnTo>
                  <a:lnTo>
                    <a:pt x="1378" y="12"/>
                  </a:lnTo>
                  <a:lnTo>
                    <a:pt x="1378" y="14"/>
                  </a:lnTo>
                  <a:lnTo>
                    <a:pt x="1376" y="14"/>
                  </a:lnTo>
                  <a:lnTo>
                    <a:pt x="1371" y="14"/>
                  </a:lnTo>
                  <a:lnTo>
                    <a:pt x="1369" y="14"/>
                  </a:lnTo>
                  <a:lnTo>
                    <a:pt x="1367" y="14"/>
                  </a:lnTo>
                  <a:lnTo>
                    <a:pt x="1364" y="14"/>
                  </a:lnTo>
                  <a:lnTo>
                    <a:pt x="1362" y="14"/>
                  </a:lnTo>
                  <a:lnTo>
                    <a:pt x="1359" y="14"/>
                  </a:lnTo>
                  <a:lnTo>
                    <a:pt x="1359" y="16"/>
                  </a:lnTo>
                  <a:lnTo>
                    <a:pt x="1357" y="16"/>
                  </a:lnTo>
                  <a:lnTo>
                    <a:pt x="1355" y="16"/>
                  </a:lnTo>
                  <a:lnTo>
                    <a:pt x="1350" y="16"/>
                  </a:lnTo>
                  <a:lnTo>
                    <a:pt x="1348" y="16"/>
                  </a:lnTo>
                  <a:lnTo>
                    <a:pt x="1348" y="19"/>
                  </a:lnTo>
                  <a:lnTo>
                    <a:pt x="1345" y="19"/>
                  </a:lnTo>
                  <a:lnTo>
                    <a:pt x="1343" y="19"/>
                  </a:lnTo>
                  <a:lnTo>
                    <a:pt x="1343" y="16"/>
                  </a:lnTo>
                  <a:lnTo>
                    <a:pt x="1340" y="16"/>
                  </a:lnTo>
                  <a:lnTo>
                    <a:pt x="1338" y="16"/>
                  </a:lnTo>
                  <a:lnTo>
                    <a:pt x="1336" y="16"/>
                  </a:lnTo>
                  <a:lnTo>
                    <a:pt x="1336" y="14"/>
                  </a:lnTo>
                  <a:lnTo>
                    <a:pt x="1338" y="14"/>
                  </a:lnTo>
                  <a:lnTo>
                    <a:pt x="1336" y="14"/>
                  </a:lnTo>
                  <a:lnTo>
                    <a:pt x="1338" y="14"/>
                  </a:lnTo>
                  <a:lnTo>
                    <a:pt x="1338" y="12"/>
                  </a:lnTo>
                  <a:lnTo>
                    <a:pt x="1340" y="12"/>
                  </a:lnTo>
                  <a:lnTo>
                    <a:pt x="1340" y="9"/>
                  </a:lnTo>
                  <a:lnTo>
                    <a:pt x="1343" y="9"/>
                  </a:lnTo>
                  <a:lnTo>
                    <a:pt x="1345" y="9"/>
                  </a:lnTo>
                  <a:lnTo>
                    <a:pt x="1345" y="7"/>
                  </a:lnTo>
                  <a:lnTo>
                    <a:pt x="1348" y="7"/>
                  </a:lnTo>
                  <a:lnTo>
                    <a:pt x="1350" y="7"/>
                  </a:lnTo>
                  <a:lnTo>
                    <a:pt x="1352" y="7"/>
                  </a:lnTo>
                  <a:lnTo>
                    <a:pt x="1355" y="4"/>
                  </a:lnTo>
                  <a:lnTo>
                    <a:pt x="1357" y="4"/>
                  </a:lnTo>
                  <a:lnTo>
                    <a:pt x="1359" y="4"/>
                  </a:lnTo>
                  <a:lnTo>
                    <a:pt x="1359" y="2"/>
                  </a:lnTo>
                  <a:lnTo>
                    <a:pt x="1362" y="2"/>
                  </a:lnTo>
                  <a:lnTo>
                    <a:pt x="1364" y="2"/>
                  </a:lnTo>
                  <a:lnTo>
                    <a:pt x="1367" y="2"/>
                  </a:lnTo>
                  <a:lnTo>
                    <a:pt x="1371" y="2"/>
                  </a:lnTo>
                  <a:lnTo>
                    <a:pt x="1374" y="0"/>
                  </a:lnTo>
                  <a:lnTo>
                    <a:pt x="1376" y="0"/>
                  </a:lnTo>
                  <a:lnTo>
                    <a:pt x="1378" y="0"/>
                  </a:lnTo>
                  <a:lnTo>
                    <a:pt x="1381" y="0"/>
                  </a:lnTo>
                  <a:lnTo>
                    <a:pt x="1383" y="0"/>
                  </a:lnTo>
                  <a:lnTo>
                    <a:pt x="1386" y="0"/>
                  </a:lnTo>
                  <a:lnTo>
                    <a:pt x="1388" y="0"/>
                  </a:lnTo>
                  <a:lnTo>
                    <a:pt x="1390" y="0"/>
                  </a:lnTo>
                  <a:lnTo>
                    <a:pt x="1393" y="0"/>
                  </a:lnTo>
                  <a:lnTo>
                    <a:pt x="1395" y="2"/>
                  </a:lnTo>
                  <a:lnTo>
                    <a:pt x="1397" y="2"/>
                  </a:lnTo>
                  <a:lnTo>
                    <a:pt x="1397" y="4"/>
                  </a:lnTo>
                  <a:lnTo>
                    <a:pt x="1402" y="4"/>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6" name="Freeform 52524"/>
            <p:cNvSpPr>
              <a:spLocks noEditPoints="1"/>
            </p:cNvSpPr>
            <p:nvPr/>
          </p:nvSpPr>
          <p:spPr bwMode="auto">
            <a:xfrm>
              <a:off x="2266948" y="1989145"/>
              <a:ext cx="1385887" cy="2074869"/>
            </a:xfrm>
            <a:custGeom>
              <a:avLst/>
              <a:gdLst>
                <a:gd name="T0" fmla="*/ 28 w 873"/>
                <a:gd name="T1" fmla="*/ 1081 h 1307"/>
                <a:gd name="T2" fmla="*/ 220 w 873"/>
                <a:gd name="T3" fmla="*/ 932 h 1307"/>
                <a:gd name="T4" fmla="*/ 261 w 873"/>
                <a:gd name="T5" fmla="*/ 872 h 1307"/>
                <a:gd name="T6" fmla="*/ 356 w 873"/>
                <a:gd name="T7" fmla="*/ 723 h 1307"/>
                <a:gd name="T8" fmla="*/ 377 w 873"/>
                <a:gd name="T9" fmla="*/ 732 h 1307"/>
                <a:gd name="T10" fmla="*/ 353 w 873"/>
                <a:gd name="T11" fmla="*/ 704 h 1307"/>
                <a:gd name="T12" fmla="*/ 434 w 873"/>
                <a:gd name="T13" fmla="*/ 689 h 1307"/>
                <a:gd name="T14" fmla="*/ 436 w 873"/>
                <a:gd name="T15" fmla="*/ 668 h 1307"/>
                <a:gd name="T16" fmla="*/ 598 w 873"/>
                <a:gd name="T17" fmla="*/ 618 h 1307"/>
                <a:gd name="T18" fmla="*/ 619 w 873"/>
                <a:gd name="T19" fmla="*/ 592 h 1307"/>
                <a:gd name="T20" fmla="*/ 809 w 873"/>
                <a:gd name="T21" fmla="*/ 639 h 1307"/>
                <a:gd name="T22" fmla="*/ 745 w 873"/>
                <a:gd name="T23" fmla="*/ 644 h 1307"/>
                <a:gd name="T24" fmla="*/ 384 w 873"/>
                <a:gd name="T25" fmla="*/ 815 h 1307"/>
                <a:gd name="T26" fmla="*/ 225 w 873"/>
                <a:gd name="T27" fmla="*/ 1250 h 1307"/>
                <a:gd name="T28" fmla="*/ 192 w 873"/>
                <a:gd name="T29" fmla="*/ 1219 h 1307"/>
                <a:gd name="T30" fmla="*/ 161 w 873"/>
                <a:gd name="T31" fmla="*/ 1257 h 1307"/>
                <a:gd name="T32" fmla="*/ 92 w 873"/>
                <a:gd name="T33" fmla="*/ 1305 h 1307"/>
                <a:gd name="T34" fmla="*/ 42 w 873"/>
                <a:gd name="T35" fmla="*/ 1257 h 1307"/>
                <a:gd name="T36" fmla="*/ 42 w 873"/>
                <a:gd name="T37" fmla="*/ 1224 h 1307"/>
                <a:gd name="T38" fmla="*/ 50 w 873"/>
                <a:gd name="T39" fmla="*/ 1198 h 1307"/>
                <a:gd name="T40" fmla="*/ 33 w 873"/>
                <a:gd name="T41" fmla="*/ 1191 h 1307"/>
                <a:gd name="T42" fmla="*/ 23 w 873"/>
                <a:gd name="T43" fmla="*/ 1167 h 1307"/>
                <a:gd name="T44" fmla="*/ 61 w 873"/>
                <a:gd name="T45" fmla="*/ 1143 h 1307"/>
                <a:gd name="T46" fmla="*/ 40 w 873"/>
                <a:gd name="T47" fmla="*/ 1138 h 1307"/>
                <a:gd name="T48" fmla="*/ 16 w 873"/>
                <a:gd name="T49" fmla="*/ 1115 h 1307"/>
                <a:gd name="T50" fmla="*/ 26 w 873"/>
                <a:gd name="T51" fmla="*/ 1091 h 1307"/>
                <a:gd name="T52" fmla="*/ 80 w 873"/>
                <a:gd name="T53" fmla="*/ 1086 h 1307"/>
                <a:gd name="T54" fmla="*/ 97 w 873"/>
                <a:gd name="T55" fmla="*/ 1060 h 1307"/>
                <a:gd name="T56" fmla="*/ 114 w 873"/>
                <a:gd name="T57" fmla="*/ 1039 h 1307"/>
                <a:gd name="T58" fmla="*/ 154 w 873"/>
                <a:gd name="T59" fmla="*/ 1017 h 1307"/>
                <a:gd name="T60" fmla="*/ 225 w 873"/>
                <a:gd name="T61" fmla="*/ 991 h 1307"/>
                <a:gd name="T62" fmla="*/ 168 w 873"/>
                <a:gd name="T63" fmla="*/ 991 h 1307"/>
                <a:gd name="T64" fmla="*/ 213 w 873"/>
                <a:gd name="T65" fmla="*/ 951 h 1307"/>
                <a:gd name="T66" fmla="*/ 258 w 873"/>
                <a:gd name="T67" fmla="*/ 934 h 1307"/>
                <a:gd name="T68" fmla="*/ 256 w 873"/>
                <a:gd name="T69" fmla="*/ 920 h 1307"/>
                <a:gd name="T70" fmla="*/ 265 w 873"/>
                <a:gd name="T71" fmla="*/ 889 h 1307"/>
                <a:gd name="T72" fmla="*/ 289 w 873"/>
                <a:gd name="T73" fmla="*/ 853 h 1307"/>
                <a:gd name="T74" fmla="*/ 301 w 873"/>
                <a:gd name="T75" fmla="*/ 825 h 1307"/>
                <a:gd name="T76" fmla="*/ 348 w 873"/>
                <a:gd name="T77" fmla="*/ 799 h 1307"/>
                <a:gd name="T78" fmla="*/ 356 w 873"/>
                <a:gd name="T79" fmla="*/ 780 h 1307"/>
                <a:gd name="T80" fmla="*/ 358 w 873"/>
                <a:gd name="T81" fmla="*/ 756 h 1307"/>
                <a:gd name="T82" fmla="*/ 391 w 873"/>
                <a:gd name="T83" fmla="*/ 749 h 1307"/>
                <a:gd name="T84" fmla="*/ 398 w 873"/>
                <a:gd name="T85" fmla="*/ 725 h 1307"/>
                <a:gd name="T86" fmla="*/ 462 w 873"/>
                <a:gd name="T87" fmla="*/ 680 h 1307"/>
                <a:gd name="T88" fmla="*/ 500 w 873"/>
                <a:gd name="T89" fmla="*/ 658 h 1307"/>
                <a:gd name="T90" fmla="*/ 569 w 873"/>
                <a:gd name="T91" fmla="*/ 649 h 1307"/>
                <a:gd name="T92" fmla="*/ 602 w 873"/>
                <a:gd name="T93" fmla="*/ 632 h 1307"/>
                <a:gd name="T94" fmla="*/ 662 w 873"/>
                <a:gd name="T95" fmla="*/ 597 h 1307"/>
                <a:gd name="T96" fmla="*/ 681 w 873"/>
                <a:gd name="T97" fmla="*/ 616 h 1307"/>
                <a:gd name="T98" fmla="*/ 733 w 873"/>
                <a:gd name="T99" fmla="*/ 611 h 1307"/>
                <a:gd name="T100" fmla="*/ 785 w 873"/>
                <a:gd name="T101" fmla="*/ 590 h 1307"/>
                <a:gd name="T102" fmla="*/ 814 w 873"/>
                <a:gd name="T103" fmla="*/ 594 h 1307"/>
                <a:gd name="T104" fmla="*/ 405 w 873"/>
                <a:gd name="T105" fmla="*/ 145 h 1307"/>
                <a:gd name="T106" fmla="*/ 365 w 873"/>
                <a:gd name="T107" fmla="*/ 117 h 1307"/>
                <a:gd name="T108" fmla="*/ 329 w 873"/>
                <a:gd name="T109" fmla="*/ 95 h 1307"/>
                <a:gd name="T110" fmla="*/ 254 w 873"/>
                <a:gd name="T111" fmla="*/ 100 h 1307"/>
                <a:gd name="T112" fmla="*/ 206 w 873"/>
                <a:gd name="T113" fmla="*/ 48 h 1307"/>
                <a:gd name="T114" fmla="*/ 273 w 873"/>
                <a:gd name="T115" fmla="*/ 19 h 1307"/>
                <a:gd name="T116" fmla="*/ 320 w 873"/>
                <a:gd name="T117" fmla="*/ 24 h 1307"/>
                <a:gd name="T118" fmla="*/ 408 w 873"/>
                <a:gd name="T119" fmla="*/ 12 h 1307"/>
                <a:gd name="T120" fmla="*/ 555 w 873"/>
                <a:gd name="T121" fmla="*/ 86 h 1307"/>
                <a:gd name="T122" fmla="*/ 429 w 873"/>
                <a:gd name="T123" fmla="*/ 176 h 1307"/>
                <a:gd name="T124" fmla="*/ 375 w 873"/>
                <a:gd name="T125" fmla="*/ 202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3" h="1307">
                  <a:moveTo>
                    <a:pt x="16" y="1191"/>
                  </a:moveTo>
                  <a:lnTo>
                    <a:pt x="16" y="1193"/>
                  </a:lnTo>
                  <a:lnTo>
                    <a:pt x="16" y="1191"/>
                  </a:lnTo>
                  <a:lnTo>
                    <a:pt x="16" y="1193"/>
                  </a:lnTo>
                  <a:lnTo>
                    <a:pt x="14" y="1191"/>
                  </a:lnTo>
                  <a:lnTo>
                    <a:pt x="14" y="1193"/>
                  </a:lnTo>
                  <a:lnTo>
                    <a:pt x="14" y="1191"/>
                  </a:lnTo>
                  <a:lnTo>
                    <a:pt x="16" y="1191"/>
                  </a:lnTo>
                  <a:lnTo>
                    <a:pt x="14" y="1191"/>
                  </a:lnTo>
                  <a:lnTo>
                    <a:pt x="16" y="1191"/>
                  </a:lnTo>
                  <a:lnTo>
                    <a:pt x="14" y="1191"/>
                  </a:lnTo>
                  <a:lnTo>
                    <a:pt x="16" y="1191"/>
                  </a:lnTo>
                  <a:lnTo>
                    <a:pt x="14" y="1191"/>
                  </a:lnTo>
                  <a:lnTo>
                    <a:pt x="16" y="1191"/>
                  </a:lnTo>
                  <a:lnTo>
                    <a:pt x="16" y="1188"/>
                  </a:lnTo>
                  <a:lnTo>
                    <a:pt x="16" y="1191"/>
                  </a:lnTo>
                  <a:lnTo>
                    <a:pt x="16" y="1188"/>
                  </a:lnTo>
                  <a:lnTo>
                    <a:pt x="16" y="1191"/>
                  </a:lnTo>
                  <a:lnTo>
                    <a:pt x="16" y="1188"/>
                  </a:lnTo>
                  <a:lnTo>
                    <a:pt x="16" y="1191"/>
                  </a:lnTo>
                  <a:lnTo>
                    <a:pt x="14" y="1191"/>
                  </a:lnTo>
                  <a:lnTo>
                    <a:pt x="16" y="1191"/>
                  </a:lnTo>
                  <a:lnTo>
                    <a:pt x="14" y="1191"/>
                  </a:lnTo>
                  <a:lnTo>
                    <a:pt x="14" y="1188"/>
                  </a:lnTo>
                  <a:lnTo>
                    <a:pt x="14" y="1191"/>
                  </a:lnTo>
                  <a:lnTo>
                    <a:pt x="14" y="1188"/>
                  </a:lnTo>
                  <a:lnTo>
                    <a:pt x="14" y="1186"/>
                  </a:lnTo>
                  <a:lnTo>
                    <a:pt x="14" y="1188"/>
                  </a:lnTo>
                  <a:lnTo>
                    <a:pt x="12" y="1188"/>
                  </a:lnTo>
                  <a:lnTo>
                    <a:pt x="14" y="1188"/>
                  </a:lnTo>
                  <a:lnTo>
                    <a:pt x="12" y="1188"/>
                  </a:lnTo>
                  <a:lnTo>
                    <a:pt x="12" y="1186"/>
                  </a:lnTo>
                  <a:lnTo>
                    <a:pt x="12" y="1183"/>
                  </a:lnTo>
                  <a:lnTo>
                    <a:pt x="12" y="1186"/>
                  </a:lnTo>
                  <a:lnTo>
                    <a:pt x="12" y="1183"/>
                  </a:lnTo>
                  <a:lnTo>
                    <a:pt x="14" y="1183"/>
                  </a:lnTo>
                  <a:lnTo>
                    <a:pt x="14" y="1186"/>
                  </a:lnTo>
                  <a:lnTo>
                    <a:pt x="14" y="1183"/>
                  </a:lnTo>
                  <a:lnTo>
                    <a:pt x="14" y="1186"/>
                  </a:lnTo>
                  <a:lnTo>
                    <a:pt x="14" y="1183"/>
                  </a:lnTo>
                  <a:lnTo>
                    <a:pt x="14" y="1186"/>
                  </a:lnTo>
                  <a:lnTo>
                    <a:pt x="14" y="1183"/>
                  </a:lnTo>
                  <a:lnTo>
                    <a:pt x="14" y="1186"/>
                  </a:lnTo>
                  <a:lnTo>
                    <a:pt x="14" y="1183"/>
                  </a:lnTo>
                  <a:lnTo>
                    <a:pt x="14" y="1186"/>
                  </a:lnTo>
                  <a:lnTo>
                    <a:pt x="16" y="1186"/>
                  </a:lnTo>
                  <a:lnTo>
                    <a:pt x="14" y="1186"/>
                  </a:lnTo>
                  <a:lnTo>
                    <a:pt x="14" y="1183"/>
                  </a:lnTo>
                  <a:lnTo>
                    <a:pt x="14" y="1181"/>
                  </a:lnTo>
                  <a:lnTo>
                    <a:pt x="12" y="1181"/>
                  </a:lnTo>
                  <a:lnTo>
                    <a:pt x="12" y="1179"/>
                  </a:lnTo>
                  <a:lnTo>
                    <a:pt x="14" y="1179"/>
                  </a:lnTo>
                  <a:lnTo>
                    <a:pt x="12" y="1179"/>
                  </a:lnTo>
                  <a:lnTo>
                    <a:pt x="14" y="1179"/>
                  </a:lnTo>
                  <a:lnTo>
                    <a:pt x="12" y="1179"/>
                  </a:lnTo>
                  <a:lnTo>
                    <a:pt x="12" y="1176"/>
                  </a:lnTo>
                  <a:lnTo>
                    <a:pt x="14" y="1176"/>
                  </a:lnTo>
                  <a:lnTo>
                    <a:pt x="14" y="1179"/>
                  </a:lnTo>
                  <a:lnTo>
                    <a:pt x="16" y="1179"/>
                  </a:lnTo>
                  <a:lnTo>
                    <a:pt x="16" y="1181"/>
                  </a:lnTo>
                  <a:lnTo>
                    <a:pt x="19" y="1181"/>
                  </a:lnTo>
                  <a:lnTo>
                    <a:pt x="16" y="1181"/>
                  </a:lnTo>
                  <a:lnTo>
                    <a:pt x="19" y="1181"/>
                  </a:lnTo>
                  <a:lnTo>
                    <a:pt x="16" y="1181"/>
                  </a:lnTo>
                  <a:lnTo>
                    <a:pt x="16" y="1179"/>
                  </a:lnTo>
                  <a:lnTo>
                    <a:pt x="19" y="1179"/>
                  </a:lnTo>
                  <a:lnTo>
                    <a:pt x="19" y="1181"/>
                  </a:lnTo>
                  <a:lnTo>
                    <a:pt x="19" y="1183"/>
                  </a:lnTo>
                  <a:lnTo>
                    <a:pt x="19" y="1181"/>
                  </a:lnTo>
                  <a:lnTo>
                    <a:pt x="16" y="1181"/>
                  </a:lnTo>
                  <a:lnTo>
                    <a:pt x="16" y="1183"/>
                  </a:lnTo>
                  <a:lnTo>
                    <a:pt x="19" y="1183"/>
                  </a:lnTo>
                  <a:lnTo>
                    <a:pt x="19" y="1186"/>
                  </a:lnTo>
                  <a:lnTo>
                    <a:pt x="16" y="1186"/>
                  </a:lnTo>
                  <a:lnTo>
                    <a:pt x="19" y="1186"/>
                  </a:lnTo>
                  <a:lnTo>
                    <a:pt x="19" y="1188"/>
                  </a:lnTo>
                  <a:lnTo>
                    <a:pt x="19" y="1191"/>
                  </a:lnTo>
                  <a:lnTo>
                    <a:pt x="16" y="1191"/>
                  </a:lnTo>
                  <a:lnTo>
                    <a:pt x="19" y="1191"/>
                  </a:lnTo>
                  <a:lnTo>
                    <a:pt x="16" y="1191"/>
                  </a:lnTo>
                  <a:close/>
                  <a:moveTo>
                    <a:pt x="7" y="1157"/>
                  </a:moveTo>
                  <a:lnTo>
                    <a:pt x="9" y="1157"/>
                  </a:lnTo>
                  <a:lnTo>
                    <a:pt x="7" y="1157"/>
                  </a:lnTo>
                  <a:lnTo>
                    <a:pt x="9" y="1157"/>
                  </a:lnTo>
                  <a:lnTo>
                    <a:pt x="7" y="1157"/>
                  </a:lnTo>
                  <a:close/>
                  <a:moveTo>
                    <a:pt x="7" y="1138"/>
                  </a:moveTo>
                  <a:lnTo>
                    <a:pt x="7" y="1141"/>
                  </a:lnTo>
                  <a:lnTo>
                    <a:pt x="7" y="1138"/>
                  </a:lnTo>
                  <a:close/>
                  <a:moveTo>
                    <a:pt x="7" y="1141"/>
                  </a:moveTo>
                  <a:lnTo>
                    <a:pt x="7" y="1138"/>
                  </a:lnTo>
                  <a:lnTo>
                    <a:pt x="9" y="1138"/>
                  </a:lnTo>
                  <a:lnTo>
                    <a:pt x="9" y="1136"/>
                  </a:lnTo>
                  <a:lnTo>
                    <a:pt x="9" y="1138"/>
                  </a:lnTo>
                  <a:lnTo>
                    <a:pt x="9" y="1141"/>
                  </a:lnTo>
                  <a:lnTo>
                    <a:pt x="12" y="1141"/>
                  </a:lnTo>
                  <a:lnTo>
                    <a:pt x="12" y="1138"/>
                  </a:lnTo>
                  <a:lnTo>
                    <a:pt x="9" y="1138"/>
                  </a:lnTo>
                  <a:lnTo>
                    <a:pt x="12" y="1138"/>
                  </a:lnTo>
                  <a:lnTo>
                    <a:pt x="9" y="1138"/>
                  </a:lnTo>
                  <a:lnTo>
                    <a:pt x="12" y="1138"/>
                  </a:lnTo>
                  <a:lnTo>
                    <a:pt x="9" y="1136"/>
                  </a:lnTo>
                  <a:lnTo>
                    <a:pt x="12" y="1136"/>
                  </a:lnTo>
                  <a:lnTo>
                    <a:pt x="12" y="1138"/>
                  </a:lnTo>
                  <a:lnTo>
                    <a:pt x="12" y="1141"/>
                  </a:lnTo>
                  <a:lnTo>
                    <a:pt x="12" y="1138"/>
                  </a:lnTo>
                  <a:lnTo>
                    <a:pt x="12" y="1136"/>
                  </a:lnTo>
                  <a:lnTo>
                    <a:pt x="12" y="1138"/>
                  </a:lnTo>
                  <a:lnTo>
                    <a:pt x="14" y="1138"/>
                  </a:lnTo>
                  <a:lnTo>
                    <a:pt x="12" y="1136"/>
                  </a:lnTo>
                  <a:lnTo>
                    <a:pt x="14" y="1136"/>
                  </a:lnTo>
                  <a:lnTo>
                    <a:pt x="14" y="1138"/>
                  </a:lnTo>
                  <a:lnTo>
                    <a:pt x="14" y="1141"/>
                  </a:lnTo>
                  <a:lnTo>
                    <a:pt x="14" y="1143"/>
                  </a:lnTo>
                  <a:lnTo>
                    <a:pt x="12" y="1143"/>
                  </a:lnTo>
                  <a:lnTo>
                    <a:pt x="12" y="1141"/>
                  </a:lnTo>
                  <a:lnTo>
                    <a:pt x="12" y="1143"/>
                  </a:lnTo>
                  <a:lnTo>
                    <a:pt x="12" y="1141"/>
                  </a:lnTo>
                  <a:lnTo>
                    <a:pt x="9" y="1141"/>
                  </a:lnTo>
                  <a:lnTo>
                    <a:pt x="12" y="1141"/>
                  </a:lnTo>
                  <a:lnTo>
                    <a:pt x="12" y="1143"/>
                  </a:lnTo>
                  <a:lnTo>
                    <a:pt x="9" y="1143"/>
                  </a:lnTo>
                  <a:lnTo>
                    <a:pt x="9" y="1145"/>
                  </a:lnTo>
                  <a:lnTo>
                    <a:pt x="7" y="1143"/>
                  </a:lnTo>
                  <a:lnTo>
                    <a:pt x="7" y="1145"/>
                  </a:lnTo>
                  <a:lnTo>
                    <a:pt x="7" y="1143"/>
                  </a:lnTo>
                  <a:lnTo>
                    <a:pt x="7" y="1145"/>
                  </a:lnTo>
                  <a:lnTo>
                    <a:pt x="7" y="1143"/>
                  </a:lnTo>
                  <a:lnTo>
                    <a:pt x="7" y="1145"/>
                  </a:lnTo>
                  <a:lnTo>
                    <a:pt x="7" y="1143"/>
                  </a:lnTo>
                  <a:lnTo>
                    <a:pt x="7" y="1145"/>
                  </a:lnTo>
                  <a:lnTo>
                    <a:pt x="7" y="1143"/>
                  </a:lnTo>
                  <a:lnTo>
                    <a:pt x="4" y="1145"/>
                  </a:lnTo>
                  <a:lnTo>
                    <a:pt x="4" y="1143"/>
                  </a:lnTo>
                  <a:lnTo>
                    <a:pt x="4" y="1141"/>
                  </a:lnTo>
                  <a:lnTo>
                    <a:pt x="7" y="1141"/>
                  </a:lnTo>
                  <a:lnTo>
                    <a:pt x="7" y="1143"/>
                  </a:lnTo>
                  <a:lnTo>
                    <a:pt x="7" y="1141"/>
                  </a:lnTo>
                  <a:lnTo>
                    <a:pt x="7" y="1143"/>
                  </a:lnTo>
                  <a:lnTo>
                    <a:pt x="9" y="1143"/>
                  </a:lnTo>
                  <a:lnTo>
                    <a:pt x="7" y="1143"/>
                  </a:lnTo>
                  <a:lnTo>
                    <a:pt x="9" y="1143"/>
                  </a:lnTo>
                  <a:lnTo>
                    <a:pt x="9" y="1141"/>
                  </a:lnTo>
                  <a:lnTo>
                    <a:pt x="7" y="1141"/>
                  </a:lnTo>
                  <a:lnTo>
                    <a:pt x="9" y="1141"/>
                  </a:lnTo>
                  <a:lnTo>
                    <a:pt x="7" y="1141"/>
                  </a:lnTo>
                  <a:lnTo>
                    <a:pt x="9" y="1141"/>
                  </a:lnTo>
                  <a:lnTo>
                    <a:pt x="7" y="1138"/>
                  </a:lnTo>
                  <a:lnTo>
                    <a:pt x="7" y="1141"/>
                  </a:lnTo>
                  <a:close/>
                  <a:moveTo>
                    <a:pt x="4" y="1136"/>
                  </a:moveTo>
                  <a:lnTo>
                    <a:pt x="7" y="1136"/>
                  </a:lnTo>
                  <a:lnTo>
                    <a:pt x="4" y="1136"/>
                  </a:lnTo>
                  <a:close/>
                  <a:moveTo>
                    <a:pt x="2" y="1131"/>
                  </a:moveTo>
                  <a:lnTo>
                    <a:pt x="0" y="1131"/>
                  </a:lnTo>
                  <a:lnTo>
                    <a:pt x="2" y="1131"/>
                  </a:lnTo>
                  <a:close/>
                  <a:moveTo>
                    <a:pt x="28" y="1079"/>
                  </a:moveTo>
                  <a:lnTo>
                    <a:pt x="31" y="1079"/>
                  </a:lnTo>
                  <a:lnTo>
                    <a:pt x="31" y="1081"/>
                  </a:lnTo>
                  <a:lnTo>
                    <a:pt x="28" y="1079"/>
                  </a:lnTo>
                  <a:lnTo>
                    <a:pt x="28" y="1081"/>
                  </a:lnTo>
                  <a:lnTo>
                    <a:pt x="28" y="1079"/>
                  </a:lnTo>
                  <a:lnTo>
                    <a:pt x="28" y="1081"/>
                  </a:lnTo>
                  <a:lnTo>
                    <a:pt x="28" y="1079"/>
                  </a:lnTo>
                  <a:lnTo>
                    <a:pt x="28" y="1081"/>
                  </a:lnTo>
                  <a:lnTo>
                    <a:pt x="28" y="1079"/>
                  </a:lnTo>
                  <a:lnTo>
                    <a:pt x="26" y="1079"/>
                  </a:lnTo>
                  <a:lnTo>
                    <a:pt x="28" y="1079"/>
                  </a:lnTo>
                  <a:lnTo>
                    <a:pt x="26" y="1079"/>
                  </a:lnTo>
                  <a:lnTo>
                    <a:pt x="28" y="1079"/>
                  </a:lnTo>
                  <a:lnTo>
                    <a:pt x="31" y="1079"/>
                  </a:lnTo>
                  <a:lnTo>
                    <a:pt x="28" y="1079"/>
                  </a:lnTo>
                  <a:close/>
                  <a:moveTo>
                    <a:pt x="109" y="1022"/>
                  </a:moveTo>
                  <a:lnTo>
                    <a:pt x="109" y="1024"/>
                  </a:lnTo>
                  <a:lnTo>
                    <a:pt x="109" y="1022"/>
                  </a:lnTo>
                  <a:lnTo>
                    <a:pt x="106" y="1024"/>
                  </a:lnTo>
                  <a:lnTo>
                    <a:pt x="106" y="1022"/>
                  </a:lnTo>
                  <a:lnTo>
                    <a:pt x="106" y="1024"/>
                  </a:lnTo>
                  <a:lnTo>
                    <a:pt x="106" y="1022"/>
                  </a:lnTo>
                  <a:lnTo>
                    <a:pt x="109" y="1022"/>
                  </a:lnTo>
                  <a:close/>
                  <a:moveTo>
                    <a:pt x="111" y="1012"/>
                  </a:moveTo>
                  <a:lnTo>
                    <a:pt x="114" y="1012"/>
                  </a:lnTo>
                  <a:lnTo>
                    <a:pt x="111" y="1012"/>
                  </a:lnTo>
                  <a:lnTo>
                    <a:pt x="114" y="1012"/>
                  </a:lnTo>
                  <a:lnTo>
                    <a:pt x="111" y="1012"/>
                  </a:lnTo>
                  <a:lnTo>
                    <a:pt x="114" y="1012"/>
                  </a:lnTo>
                  <a:lnTo>
                    <a:pt x="116" y="1012"/>
                  </a:lnTo>
                  <a:lnTo>
                    <a:pt x="118" y="1012"/>
                  </a:lnTo>
                  <a:lnTo>
                    <a:pt x="116" y="1012"/>
                  </a:lnTo>
                  <a:lnTo>
                    <a:pt x="118" y="1015"/>
                  </a:lnTo>
                  <a:lnTo>
                    <a:pt x="118" y="1017"/>
                  </a:lnTo>
                  <a:lnTo>
                    <a:pt x="121" y="1017"/>
                  </a:lnTo>
                  <a:lnTo>
                    <a:pt x="118" y="1017"/>
                  </a:lnTo>
                  <a:lnTo>
                    <a:pt x="121" y="1017"/>
                  </a:lnTo>
                  <a:lnTo>
                    <a:pt x="118" y="1017"/>
                  </a:lnTo>
                  <a:lnTo>
                    <a:pt x="121" y="1017"/>
                  </a:lnTo>
                  <a:lnTo>
                    <a:pt x="118" y="1017"/>
                  </a:lnTo>
                  <a:lnTo>
                    <a:pt x="118" y="1020"/>
                  </a:lnTo>
                  <a:lnTo>
                    <a:pt x="116" y="1020"/>
                  </a:lnTo>
                  <a:lnTo>
                    <a:pt x="116" y="1022"/>
                  </a:lnTo>
                  <a:lnTo>
                    <a:pt x="114" y="1020"/>
                  </a:lnTo>
                  <a:lnTo>
                    <a:pt x="114" y="1022"/>
                  </a:lnTo>
                  <a:lnTo>
                    <a:pt x="116" y="1022"/>
                  </a:lnTo>
                  <a:lnTo>
                    <a:pt x="114" y="1022"/>
                  </a:lnTo>
                  <a:lnTo>
                    <a:pt x="116" y="1022"/>
                  </a:lnTo>
                  <a:lnTo>
                    <a:pt x="114" y="1022"/>
                  </a:lnTo>
                  <a:lnTo>
                    <a:pt x="111" y="1022"/>
                  </a:lnTo>
                  <a:lnTo>
                    <a:pt x="114" y="1022"/>
                  </a:lnTo>
                  <a:lnTo>
                    <a:pt x="111" y="1022"/>
                  </a:lnTo>
                  <a:lnTo>
                    <a:pt x="114" y="1022"/>
                  </a:lnTo>
                  <a:lnTo>
                    <a:pt x="114" y="1020"/>
                  </a:lnTo>
                  <a:lnTo>
                    <a:pt x="114" y="1022"/>
                  </a:lnTo>
                  <a:lnTo>
                    <a:pt x="111" y="1022"/>
                  </a:lnTo>
                  <a:lnTo>
                    <a:pt x="111" y="1020"/>
                  </a:lnTo>
                  <a:lnTo>
                    <a:pt x="109" y="1020"/>
                  </a:lnTo>
                  <a:lnTo>
                    <a:pt x="111" y="1020"/>
                  </a:lnTo>
                  <a:lnTo>
                    <a:pt x="109" y="1020"/>
                  </a:lnTo>
                  <a:lnTo>
                    <a:pt x="106" y="1020"/>
                  </a:lnTo>
                  <a:lnTo>
                    <a:pt x="109" y="1020"/>
                  </a:lnTo>
                  <a:lnTo>
                    <a:pt x="106" y="1020"/>
                  </a:lnTo>
                  <a:lnTo>
                    <a:pt x="109" y="1020"/>
                  </a:lnTo>
                  <a:lnTo>
                    <a:pt x="109" y="1017"/>
                  </a:lnTo>
                  <a:lnTo>
                    <a:pt x="109" y="1020"/>
                  </a:lnTo>
                  <a:lnTo>
                    <a:pt x="106" y="1020"/>
                  </a:lnTo>
                  <a:lnTo>
                    <a:pt x="106" y="1017"/>
                  </a:lnTo>
                  <a:lnTo>
                    <a:pt x="104" y="1017"/>
                  </a:lnTo>
                  <a:lnTo>
                    <a:pt x="106" y="1017"/>
                  </a:lnTo>
                  <a:lnTo>
                    <a:pt x="104" y="1017"/>
                  </a:lnTo>
                  <a:lnTo>
                    <a:pt x="106" y="1017"/>
                  </a:lnTo>
                  <a:lnTo>
                    <a:pt x="106" y="1015"/>
                  </a:lnTo>
                  <a:lnTo>
                    <a:pt x="109" y="1015"/>
                  </a:lnTo>
                  <a:lnTo>
                    <a:pt x="106" y="1015"/>
                  </a:lnTo>
                  <a:lnTo>
                    <a:pt x="109" y="1015"/>
                  </a:lnTo>
                  <a:lnTo>
                    <a:pt x="111" y="1015"/>
                  </a:lnTo>
                  <a:lnTo>
                    <a:pt x="109" y="1015"/>
                  </a:lnTo>
                  <a:lnTo>
                    <a:pt x="111" y="1015"/>
                  </a:lnTo>
                  <a:lnTo>
                    <a:pt x="111" y="1012"/>
                  </a:lnTo>
                  <a:close/>
                  <a:moveTo>
                    <a:pt x="140" y="1003"/>
                  </a:moveTo>
                  <a:lnTo>
                    <a:pt x="142" y="1003"/>
                  </a:lnTo>
                  <a:lnTo>
                    <a:pt x="140" y="1003"/>
                  </a:lnTo>
                  <a:lnTo>
                    <a:pt x="142" y="1003"/>
                  </a:lnTo>
                  <a:lnTo>
                    <a:pt x="144" y="1003"/>
                  </a:lnTo>
                  <a:lnTo>
                    <a:pt x="147" y="1003"/>
                  </a:lnTo>
                  <a:lnTo>
                    <a:pt x="144" y="1003"/>
                  </a:lnTo>
                  <a:lnTo>
                    <a:pt x="147" y="1003"/>
                  </a:lnTo>
                  <a:lnTo>
                    <a:pt x="144" y="1003"/>
                  </a:lnTo>
                  <a:lnTo>
                    <a:pt x="144" y="1005"/>
                  </a:lnTo>
                  <a:lnTo>
                    <a:pt x="144" y="1008"/>
                  </a:lnTo>
                  <a:lnTo>
                    <a:pt x="144" y="1005"/>
                  </a:lnTo>
                  <a:lnTo>
                    <a:pt x="147" y="1005"/>
                  </a:lnTo>
                  <a:lnTo>
                    <a:pt x="147" y="1008"/>
                  </a:lnTo>
                  <a:lnTo>
                    <a:pt x="147" y="1005"/>
                  </a:lnTo>
                  <a:lnTo>
                    <a:pt x="149" y="1005"/>
                  </a:lnTo>
                  <a:lnTo>
                    <a:pt x="147" y="1005"/>
                  </a:lnTo>
                  <a:lnTo>
                    <a:pt x="149" y="1005"/>
                  </a:lnTo>
                  <a:lnTo>
                    <a:pt x="152" y="1008"/>
                  </a:lnTo>
                  <a:lnTo>
                    <a:pt x="149" y="1008"/>
                  </a:lnTo>
                  <a:lnTo>
                    <a:pt x="152" y="1008"/>
                  </a:lnTo>
                  <a:lnTo>
                    <a:pt x="152" y="1010"/>
                  </a:lnTo>
                  <a:lnTo>
                    <a:pt x="149" y="1010"/>
                  </a:lnTo>
                  <a:lnTo>
                    <a:pt x="147" y="1010"/>
                  </a:lnTo>
                  <a:lnTo>
                    <a:pt x="149" y="1010"/>
                  </a:lnTo>
                  <a:lnTo>
                    <a:pt x="147" y="1010"/>
                  </a:lnTo>
                  <a:lnTo>
                    <a:pt x="144" y="1010"/>
                  </a:lnTo>
                  <a:lnTo>
                    <a:pt x="144" y="1012"/>
                  </a:lnTo>
                  <a:lnTo>
                    <a:pt x="142" y="1012"/>
                  </a:lnTo>
                  <a:lnTo>
                    <a:pt x="140" y="1012"/>
                  </a:lnTo>
                  <a:lnTo>
                    <a:pt x="137" y="1012"/>
                  </a:lnTo>
                  <a:lnTo>
                    <a:pt x="135" y="1012"/>
                  </a:lnTo>
                  <a:lnTo>
                    <a:pt x="133" y="1012"/>
                  </a:lnTo>
                  <a:lnTo>
                    <a:pt x="133" y="1015"/>
                  </a:lnTo>
                  <a:lnTo>
                    <a:pt x="130" y="1015"/>
                  </a:lnTo>
                  <a:lnTo>
                    <a:pt x="128" y="1015"/>
                  </a:lnTo>
                  <a:lnTo>
                    <a:pt x="125" y="1015"/>
                  </a:lnTo>
                  <a:lnTo>
                    <a:pt x="123" y="1015"/>
                  </a:lnTo>
                  <a:lnTo>
                    <a:pt x="125" y="1015"/>
                  </a:lnTo>
                  <a:lnTo>
                    <a:pt x="123" y="1015"/>
                  </a:lnTo>
                  <a:lnTo>
                    <a:pt x="123" y="1012"/>
                  </a:lnTo>
                  <a:lnTo>
                    <a:pt x="125" y="1010"/>
                  </a:lnTo>
                  <a:lnTo>
                    <a:pt x="123" y="1010"/>
                  </a:lnTo>
                  <a:lnTo>
                    <a:pt x="123" y="1012"/>
                  </a:lnTo>
                  <a:lnTo>
                    <a:pt x="121" y="1012"/>
                  </a:lnTo>
                  <a:lnTo>
                    <a:pt x="123" y="1012"/>
                  </a:lnTo>
                  <a:lnTo>
                    <a:pt x="123" y="1010"/>
                  </a:lnTo>
                  <a:lnTo>
                    <a:pt x="125" y="1010"/>
                  </a:lnTo>
                  <a:lnTo>
                    <a:pt x="125" y="1008"/>
                  </a:lnTo>
                  <a:lnTo>
                    <a:pt x="128" y="1008"/>
                  </a:lnTo>
                  <a:lnTo>
                    <a:pt x="130" y="1008"/>
                  </a:lnTo>
                  <a:lnTo>
                    <a:pt x="133" y="1008"/>
                  </a:lnTo>
                  <a:lnTo>
                    <a:pt x="135" y="1008"/>
                  </a:lnTo>
                  <a:lnTo>
                    <a:pt x="137" y="1008"/>
                  </a:lnTo>
                  <a:lnTo>
                    <a:pt x="135" y="1008"/>
                  </a:lnTo>
                  <a:lnTo>
                    <a:pt x="133" y="1008"/>
                  </a:lnTo>
                  <a:lnTo>
                    <a:pt x="135" y="1008"/>
                  </a:lnTo>
                  <a:lnTo>
                    <a:pt x="133" y="1008"/>
                  </a:lnTo>
                  <a:lnTo>
                    <a:pt x="133" y="1005"/>
                  </a:lnTo>
                  <a:lnTo>
                    <a:pt x="133" y="1008"/>
                  </a:lnTo>
                  <a:lnTo>
                    <a:pt x="133" y="1005"/>
                  </a:lnTo>
                  <a:lnTo>
                    <a:pt x="130" y="1005"/>
                  </a:lnTo>
                  <a:lnTo>
                    <a:pt x="133" y="1005"/>
                  </a:lnTo>
                  <a:lnTo>
                    <a:pt x="135" y="1005"/>
                  </a:lnTo>
                  <a:lnTo>
                    <a:pt x="133" y="1005"/>
                  </a:lnTo>
                  <a:lnTo>
                    <a:pt x="135" y="1005"/>
                  </a:lnTo>
                  <a:lnTo>
                    <a:pt x="137" y="1003"/>
                  </a:lnTo>
                  <a:lnTo>
                    <a:pt x="135" y="1003"/>
                  </a:lnTo>
                  <a:lnTo>
                    <a:pt x="137" y="1003"/>
                  </a:lnTo>
                  <a:lnTo>
                    <a:pt x="140" y="1003"/>
                  </a:lnTo>
                  <a:lnTo>
                    <a:pt x="137" y="1003"/>
                  </a:lnTo>
                  <a:lnTo>
                    <a:pt x="140" y="1003"/>
                  </a:lnTo>
                  <a:close/>
                  <a:moveTo>
                    <a:pt x="128" y="991"/>
                  </a:moveTo>
                  <a:lnTo>
                    <a:pt x="128" y="993"/>
                  </a:lnTo>
                  <a:lnTo>
                    <a:pt x="128" y="991"/>
                  </a:lnTo>
                  <a:lnTo>
                    <a:pt x="128" y="993"/>
                  </a:lnTo>
                  <a:lnTo>
                    <a:pt x="128" y="991"/>
                  </a:lnTo>
                  <a:close/>
                  <a:moveTo>
                    <a:pt x="199" y="936"/>
                  </a:moveTo>
                  <a:lnTo>
                    <a:pt x="199" y="934"/>
                  </a:lnTo>
                  <a:lnTo>
                    <a:pt x="199" y="936"/>
                  </a:lnTo>
                  <a:lnTo>
                    <a:pt x="199" y="934"/>
                  </a:lnTo>
                  <a:lnTo>
                    <a:pt x="201" y="934"/>
                  </a:lnTo>
                  <a:lnTo>
                    <a:pt x="199" y="936"/>
                  </a:lnTo>
                  <a:close/>
                  <a:moveTo>
                    <a:pt x="216" y="929"/>
                  </a:moveTo>
                  <a:lnTo>
                    <a:pt x="218" y="929"/>
                  </a:lnTo>
                  <a:lnTo>
                    <a:pt x="218" y="932"/>
                  </a:lnTo>
                  <a:lnTo>
                    <a:pt x="220" y="932"/>
                  </a:lnTo>
                  <a:lnTo>
                    <a:pt x="218" y="932"/>
                  </a:lnTo>
                  <a:lnTo>
                    <a:pt x="220" y="932"/>
                  </a:lnTo>
                  <a:lnTo>
                    <a:pt x="218" y="932"/>
                  </a:lnTo>
                  <a:lnTo>
                    <a:pt x="220" y="932"/>
                  </a:lnTo>
                  <a:lnTo>
                    <a:pt x="218" y="932"/>
                  </a:lnTo>
                  <a:lnTo>
                    <a:pt x="220" y="932"/>
                  </a:lnTo>
                  <a:lnTo>
                    <a:pt x="218" y="932"/>
                  </a:lnTo>
                  <a:lnTo>
                    <a:pt x="220" y="932"/>
                  </a:lnTo>
                  <a:lnTo>
                    <a:pt x="220" y="934"/>
                  </a:lnTo>
                  <a:lnTo>
                    <a:pt x="223" y="932"/>
                  </a:lnTo>
                  <a:lnTo>
                    <a:pt x="223" y="934"/>
                  </a:lnTo>
                  <a:lnTo>
                    <a:pt x="220" y="934"/>
                  </a:lnTo>
                  <a:lnTo>
                    <a:pt x="220" y="936"/>
                  </a:lnTo>
                  <a:lnTo>
                    <a:pt x="218" y="936"/>
                  </a:lnTo>
                  <a:lnTo>
                    <a:pt x="216" y="936"/>
                  </a:lnTo>
                  <a:lnTo>
                    <a:pt x="213" y="936"/>
                  </a:lnTo>
                  <a:lnTo>
                    <a:pt x="216" y="936"/>
                  </a:lnTo>
                  <a:lnTo>
                    <a:pt x="213" y="936"/>
                  </a:lnTo>
                  <a:lnTo>
                    <a:pt x="213" y="939"/>
                  </a:lnTo>
                  <a:lnTo>
                    <a:pt x="213" y="936"/>
                  </a:lnTo>
                  <a:lnTo>
                    <a:pt x="213" y="939"/>
                  </a:lnTo>
                  <a:lnTo>
                    <a:pt x="213" y="936"/>
                  </a:lnTo>
                  <a:lnTo>
                    <a:pt x="216" y="936"/>
                  </a:lnTo>
                  <a:lnTo>
                    <a:pt x="213" y="936"/>
                  </a:lnTo>
                  <a:lnTo>
                    <a:pt x="213" y="934"/>
                  </a:lnTo>
                  <a:lnTo>
                    <a:pt x="213" y="936"/>
                  </a:lnTo>
                  <a:lnTo>
                    <a:pt x="213" y="934"/>
                  </a:lnTo>
                  <a:lnTo>
                    <a:pt x="216" y="934"/>
                  </a:lnTo>
                  <a:lnTo>
                    <a:pt x="216" y="932"/>
                  </a:lnTo>
                  <a:lnTo>
                    <a:pt x="216" y="934"/>
                  </a:lnTo>
                  <a:lnTo>
                    <a:pt x="213" y="934"/>
                  </a:lnTo>
                  <a:lnTo>
                    <a:pt x="211" y="934"/>
                  </a:lnTo>
                  <a:lnTo>
                    <a:pt x="211" y="936"/>
                  </a:lnTo>
                  <a:lnTo>
                    <a:pt x="208" y="936"/>
                  </a:lnTo>
                  <a:lnTo>
                    <a:pt x="208" y="934"/>
                  </a:lnTo>
                  <a:lnTo>
                    <a:pt x="211" y="934"/>
                  </a:lnTo>
                  <a:lnTo>
                    <a:pt x="208" y="934"/>
                  </a:lnTo>
                  <a:lnTo>
                    <a:pt x="208" y="936"/>
                  </a:lnTo>
                  <a:lnTo>
                    <a:pt x="206" y="936"/>
                  </a:lnTo>
                  <a:lnTo>
                    <a:pt x="208" y="934"/>
                  </a:lnTo>
                  <a:lnTo>
                    <a:pt x="211" y="934"/>
                  </a:lnTo>
                  <a:lnTo>
                    <a:pt x="211" y="932"/>
                  </a:lnTo>
                  <a:lnTo>
                    <a:pt x="213" y="932"/>
                  </a:lnTo>
                  <a:lnTo>
                    <a:pt x="216" y="932"/>
                  </a:lnTo>
                  <a:lnTo>
                    <a:pt x="216" y="929"/>
                  </a:lnTo>
                  <a:lnTo>
                    <a:pt x="218" y="929"/>
                  </a:lnTo>
                  <a:lnTo>
                    <a:pt x="216" y="929"/>
                  </a:lnTo>
                  <a:close/>
                  <a:moveTo>
                    <a:pt x="208" y="927"/>
                  </a:moveTo>
                  <a:lnTo>
                    <a:pt x="208" y="929"/>
                  </a:lnTo>
                  <a:lnTo>
                    <a:pt x="211" y="929"/>
                  </a:lnTo>
                  <a:lnTo>
                    <a:pt x="208" y="929"/>
                  </a:lnTo>
                  <a:lnTo>
                    <a:pt x="211" y="929"/>
                  </a:lnTo>
                  <a:lnTo>
                    <a:pt x="208" y="929"/>
                  </a:lnTo>
                  <a:lnTo>
                    <a:pt x="206" y="929"/>
                  </a:lnTo>
                  <a:lnTo>
                    <a:pt x="208" y="929"/>
                  </a:lnTo>
                  <a:lnTo>
                    <a:pt x="206" y="929"/>
                  </a:lnTo>
                  <a:lnTo>
                    <a:pt x="206" y="932"/>
                  </a:lnTo>
                  <a:lnTo>
                    <a:pt x="206" y="929"/>
                  </a:lnTo>
                  <a:lnTo>
                    <a:pt x="204" y="929"/>
                  </a:lnTo>
                  <a:lnTo>
                    <a:pt x="206" y="929"/>
                  </a:lnTo>
                  <a:lnTo>
                    <a:pt x="204" y="929"/>
                  </a:lnTo>
                  <a:lnTo>
                    <a:pt x="206" y="929"/>
                  </a:lnTo>
                  <a:lnTo>
                    <a:pt x="204" y="929"/>
                  </a:lnTo>
                  <a:lnTo>
                    <a:pt x="206" y="929"/>
                  </a:lnTo>
                  <a:lnTo>
                    <a:pt x="204" y="929"/>
                  </a:lnTo>
                  <a:lnTo>
                    <a:pt x="206" y="929"/>
                  </a:lnTo>
                  <a:lnTo>
                    <a:pt x="208" y="927"/>
                  </a:lnTo>
                  <a:lnTo>
                    <a:pt x="206" y="927"/>
                  </a:lnTo>
                  <a:lnTo>
                    <a:pt x="208" y="927"/>
                  </a:lnTo>
                  <a:lnTo>
                    <a:pt x="208" y="929"/>
                  </a:lnTo>
                  <a:lnTo>
                    <a:pt x="208" y="927"/>
                  </a:lnTo>
                  <a:close/>
                  <a:moveTo>
                    <a:pt x="211" y="927"/>
                  </a:moveTo>
                  <a:lnTo>
                    <a:pt x="213" y="927"/>
                  </a:lnTo>
                  <a:lnTo>
                    <a:pt x="211" y="927"/>
                  </a:lnTo>
                  <a:lnTo>
                    <a:pt x="213" y="927"/>
                  </a:lnTo>
                  <a:lnTo>
                    <a:pt x="211" y="927"/>
                  </a:lnTo>
                  <a:close/>
                  <a:moveTo>
                    <a:pt x="242" y="889"/>
                  </a:moveTo>
                  <a:lnTo>
                    <a:pt x="242" y="887"/>
                  </a:lnTo>
                  <a:lnTo>
                    <a:pt x="242" y="889"/>
                  </a:lnTo>
                  <a:lnTo>
                    <a:pt x="242" y="887"/>
                  </a:lnTo>
                  <a:lnTo>
                    <a:pt x="242" y="889"/>
                  </a:lnTo>
                  <a:lnTo>
                    <a:pt x="244" y="889"/>
                  </a:lnTo>
                  <a:lnTo>
                    <a:pt x="244" y="887"/>
                  </a:lnTo>
                  <a:lnTo>
                    <a:pt x="242" y="887"/>
                  </a:lnTo>
                  <a:lnTo>
                    <a:pt x="242" y="889"/>
                  </a:lnTo>
                  <a:lnTo>
                    <a:pt x="242" y="887"/>
                  </a:lnTo>
                  <a:lnTo>
                    <a:pt x="244" y="887"/>
                  </a:lnTo>
                  <a:lnTo>
                    <a:pt x="244" y="889"/>
                  </a:lnTo>
                  <a:lnTo>
                    <a:pt x="246" y="889"/>
                  </a:lnTo>
                  <a:lnTo>
                    <a:pt x="244" y="889"/>
                  </a:lnTo>
                  <a:lnTo>
                    <a:pt x="246" y="889"/>
                  </a:lnTo>
                  <a:lnTo>
                    <a:pt x="244" y="889"/>
                  </a:lnTo>
                  <a:lnTo>
                    <a:pt x="246" y="889"/>
                  </a:lnTo>
                  <a:lnTo>
                    <a:pt x="246" y="891"/>
                  </a:lnTo>
                  <a:lnTo>
                    <a:pt x="246" y="889"/>
                  </a:lnTo>
                  <a:lnTo>
                    <a:pt x="246" y="891"/>
                  </a:lnTo>
                  <a:lnTo>
                    <a:pt x="244" y="891"/>
                  </a:lnTo>
                  <a:lnTo>
                    <a:pt x="244" y="894"/>
                  </a:lnTo>
                  <a:lnTo>
                    <a:pt x="242" y="894"/>
                  </a:lnTo>
                  <a:lnTo>
                    <a:pt x="239" y="894"/>
                  </a:lnTo>
                  <a:lnTo>
                    <a:pt x="242" y="894"/>
                  </a:lnTo>
                  <a:lnTo>
                    <a:pt x="239" y="894"/>
                  </a:lnTo>
                  <a:lnTo>
                    <a:pt x="242" y="894"/>
                  </a:lnTo>
                  <a:lnTo>
                    <a:pt x="239" y="894"/>
                  </a:lnTo>
                  <a:lnTo>
                    <a:pt x="237" y="894"/>
                  </a:lnTo>
                  <a:lnTo>
                    <a:pt x="237" y="891"/>
                  </a:lnTo>
                  <a:lnTo>
                    <a:pt x="239" y="889"/>
                  </a:lnTo>
                  <a:lnTo>
                    <a:pt x="242" y="887"/>
                  </a:lnTo>
                  <a:lnTo>
                    <a:pt x="242" y="889"/>
                  </a:lnTo>
                  <a:close/>
                  <a:moveTo>
                    <a:pt x="239" y="879"/>
                  </a:moveTo>
                  <a:lnTo>
                    <a:pt x="237" y="879"/>
                  </a:lnTo>
                  <a:lnTo>
                    <a:pt x="239" y="879"/>
                  </a:lnTo>
                  <a:lnTo>
                    <a:pt x="237" y="879"/>
                  </a:lnTo>
                  <a:lnTo>
                    <a:pt x="239" y="879"/>
                  </a:lnTo>
                  <a:close/>
                  <a:moveTo>
                    <a:pt x="239" y="879"/>
                  </a:moveTo>
                  <a:lnTo>
                    <a:pt x="239" y="877"/>
                  </a:lnTo>
                  <a:lnTo>
                    <a:pt x="239" y="879"/>
                  </a:lnTo>
                  <a:close/>
                  <a:moveTo>
                    <a:pt x="251" y="877"/>
                  </a:moveTo>
                  <a:lnTo>
                    <a:pt x="249" y="877"/>
                  </a:lnTo>
                  <a:lnTo>
                    <a:pt x="249" y="875"/>
                  </a:lnTo>
                  <a:lnTo>
                    <a:pt x="249" y="877"/>
                  </a:lnTo>
                  <a:lnTo>
                    <a:pt x="249" y="875"/>
                  </a:lnTo>
                  <a:lnTo>
                    <a:pt x="251" y="875"/>
                  </a:lnTo>
                  <a:lnTo>
                    <a:pt x="251" y="877"/>
                  </a:lnTo>
                  <a:close/>
                  <a:moveTo>
                    <a:pt x="251" y="875"/>
                  </a:moveTo>
                  <a:lnTo>
                    <a:pt x="251" y="877"/>
                  </a:lnTo>
                  <a:lnTo>
                    <a:pt x="251" y="875"/>
                  </a:lnTo>
                  <a:close/>
                  <a:moveTo>
                    <a:pt x="258" y="870"/>
                  </a:moveTo>
                  <a:lnTo>
                    <a:pt x="256" y="870"/>
                  </a:lnTo>
                  <a:lnTo>
                    <a:pt x="256" y="872"/>
                  </a:lnTo>
                  <a:lnTo>
                    <a:pt x="254" y="872"/>
                  </a:lnTo>
                  <a:lnTo>
                    <a:pt x="254" y="870"/>
                  </a:lnTo>
                  <a:lnTo>
                    <a:pt x="254" y="872"/>
                  </a:lnTo>
                  <a:lnTo>
                    <a:pt x="256" y="872"/>
                  </a:lnTo>
                  <a:lnTo>
                    <a:pt x="256" y="870"/>
                  </a:lnTo>
                  <a:lnTo>
                    <a:pt x="258" y="870"/>
                  </a:lnTo>
                  <a:close/>
                  <a:moveTo>
                    <a:pt x="265" y="872"/>
                  </a:moveTo>
                  <a:lnTo>
                    <a:pt x="268" y="872"/>
                  </a:lnTo>
                  <a:lnTo>
                    <a:pt x="268" y="870"/>
                  </a:lnTo>
                  <a:lnTo>
                    <a:pt x="270" y="870"/>
                  </a:lnTo>
                  <a:lnTo>
                    <a:pt x="273" y="870"/>
                  </a:lnTo>
                  <a:lnTo>
                    <a:pt x="275" y="870"/>
                  </a:lnTo>
                  <a:lnTo>
                    <a:pt x="275" y="872"/>
                  </a:lnTo>
                  <a:lnTo>
                    <a:pt x="273" y="872"/>
                  </a:lnTo>
                  <a:lnTo>
                    <a:pt x="270" y="872"/>
                  </a:lnTo>
                  <a:lnTo>
                    <a:pt x="268" y="872"/>
                  </a:lnTo>
                  <a:lnTo>
                    <a:pt x="268" y="875"/>
                  </a:lnTo>
                  <a:lnTo>
                    <a:pt x="265" y="875"/>
                  </a:lnTo>
                  <a:lnTo>
                    <a:pt x="265" y="877"/>
                  </a:lnTo>
                  <a:lnTo>
                    <a:pt x="263" y="877"/>
                  </a:lnTo>
                  <a:lnTo>
                    <a:pt x="261" y="877"/>
                  </a:lnTo>
                  <a:lnTo>
                    <a:pt x="261" y="879"/>
                  </a:lnTo>
                  <a:lnTo>
                    <a:pt x="258" y="879"/>
                  </a:lnTo>
                  <a:lnTo>
                    <a:pt x="261" y="879"/>
                  </a:lnTo>
                  <a:lnTo>
                    <a:pt x="261" y="877"/>
                  </a:lnTo>
                  <a:lnTo>
                    <a:pt x="263" y="877"/>
                  </a:lnTo>
                  <a:lnTo>
                    <a:pt x="261" y="877"/>
                  </a:lnTo>
                  <a:lnTo>
                    <a:pt x="258" y="877"/>
                  </a:lnTo>
                  <a:lnTo>
                    <a:pt x="261" y="877"/>
                  </a:lnTo>
                  <a:lnTo>
                    <a:pt x="258" y="877"/>
                  </a:lnTo>
                  <a:lnTo>
                    <a:pt x="258" y="875"/>
                  </a:lnTo>
                  <a:lnTo>
                    <a:pt x="258" y="877"/>
                  </a:lnTo>
                  <a:lnTo>
                    <a:pt x="258" y="875"/>
                  </a:lnTo>
                  <a:lnTo>
                    <a:pt x="261" y="875"/>
                  </a:lnTo>
                  <a:lnTo>
                    <a:pt x="258" y="875"/>
                  </a:lnTo>
                  <a:lnTo>
                    <a:pt x="261" y="875"/>
                  </a:lnTo>
                  <a:lnTo>
                    <a:pt x="261" y="872"/>
                  </a:lnTo>
                  <a:lnTo>
                    <a:pt x="263" y="872"/>
                  </a:lnTo>
                  <a:lnTo>
                    <a:pt x="263" y="870"/>
                  </a:lnTo>
                  <a:lnTo>
                    <a:pt x="265" y="870"/>
                  </a:lnTo>
                  <a:lnTo>
                    <a:pt x="268" y="870"/>
                  </a:lnTo>
                  <a:lnTo>
                    <a:pt x="265" y="870"/>
                  </a:lnTo>
                  <a:lnTo>
                    <a:pt x="265" y="872"/>
                  </a:lnTo>
                  <a:close/>
                  <a:moveTo>
                    <a:pt x="263" y="851"/>
                  </a:moveTo>
                  <a:lnTo>
                    <a:pt x="263" y="848"/>
                  </a:lnTo>
                  <a:lnTo>
                    <a:pt x="263" y="851"/>
                  </a:lnTo>
                  <a:close/>
                  <a:moveTo>
                    <a:pt x="258" y="848"/>
                  </a:moveTo>
                  <a:lnTo>
                    <a:pt x="258" y="851"/>
                  </a:lnTo>
                  <a:lnTo>
                    <a:pt x="256" y="851"/>
                  </a:lnTo>
                  <a:lnTo>
                    <a:pt x="258" y="851"/>
                  </a:lnTo>
                  <a:lnTo>
                    <a:pt x="256" y="851"/>
                  </a:lnTo>
                  <a:lnTo>
                    <a:pt x="256" y="848"/>
                  </a:lnTo>
                  <a:lnTo>
                    <a:pt x="258" y="848"/>
                  </a:lnTo>
                  <a:close/>
                  <a:moveTo>
                    <a:pt x="251" y="837"/>
                  </a:moveTo>
                  <a:lnTo>
                    <a:pt x="254" y="839"/>
                  </a:lnTo>
                  <a:lnTo>
                    <a:pt x="254" y="837"/>
                  </a:lnTo>
                  <a:lnTo>
                    <a:pt x="254" y="839"/>
                  </a:lnTo>
                  <a:lnTo>
                    <a:pt x="251" y="839"/>
                  </a:lnTo>
                  <a:lnTo>
                    <a:pt x="251" y="837"/>
                  </a:lnTo>
                  <a:close/>
                  <a:moveTo>
                    <a:pt x="270" y="837"/>
                  </a:moveTo>
                  <a:lnTo>
                    <a:pt x="270" y="839"/>
                  </a:lnTo>
                  <a:lnTo>
                    <a:pt x="270" y="837"/>
                  </a:lnTo>
                  <a:close/>
                  <a:moveTo>
                    <a:pt x="334" y="746"/>
                  </a:moveTo>
                  <a:lnTo>
                    <a:pt x="334" y="749"/>
                  </a:lnTo>
                  <a:lnTo>
                    <a:pt x="332" y="749"/>
                  </a:lnTo>
                  <a:lnTo>
                    <a:pt x="332" y="746"/>
                  </a:lnTo>
                  <a:lnTo>
                    <a:pt x="332" y="749"/>
                  </a:lnTo>
                  <a:lnTo>
                    <a:pt x="332" y="746"/>
                  </a:lnTo>
                  <a:lnTo>
                    <a:pt x="334" y="746"/>
                  </a:lnTo>
                  <a:close/>
                  <a:moveTo>
                    <a:pt x="315" y="737"/>
                  </a:moveTo>
                  <a:lnTo>
                    <a:pt x="318" y="737"/>
                  </a:lnTo>
                  <a:lnTo>
                    <a:pt x="320" y="739"/>
                  </a:lnTo>
                  <a:lnTo>
                    <a:pt x="320" y="742"/>
                  </a:lnTo>
                  <a:lnTo>
                    <a:pt x="318" y="742"/>
                  </a:lnTo>
                  <a:lnTo>
                    <a:pt x="315" y="742"/>
                  </a:lnTo>
                  <a:lnTo>
                    <a:pt x="315" y="739"/>
                  </a:lnTo>
                  <a:lnTo>
                    <a:pt x="315" y="742"/>
                  </a:lnTo>
                  <a:lnTo>
                    <a:pt x="315" y="744"/>
                  </a:lnTo>
                  <a:lnTo>
                    <a:pt x="313" y="744"/>
                  </a:lnTo>
                  <a:lnTo>
                    <a:pt x="315" y="744"/>
                  </a:lnTo>
                  <a:lnTo>
                    <a:pt x="313" y="744"/>
                  </a:lnTo>
                  <a:lnTo>
                    <a:pt x="313" y="746"/>
                  </a:lnTo>
                  <a:lnTo>
                    <a:pt x="313" y="744"/>
                  </a:lnTo>
                  <a:lnTo>
                    <a:pt x="313" y="746"/>
                  </a:lnTo>
                  <a:lnTo>
                    <a:pt x="313" y="744"/>
                  </a:lnTo>
                  <a:lnTo>
                    <a:pt x="313" y="746"/>
                  </a:lnTo>
                  <a:lnTo>
                    <a:pt x="311" y="746"/>
                  </a:lnTo>
                  <a:lnTo>
                    <a:pt x="311" y="744"/>
                  </a:lnTo>
                  <a:lnTo>
                    <a:pt x="311" y="746"/>
                  </a:lnTo>
                  <a:lnTo>
                    <a:pt x="308" y="746"/>
                  </a:lnTo>
                  <a:lnTo>
                    <a:pt x="306" y="746"/>
                  </a:lnTo>
                  <a:lnTo>
                    <a:pt x="303" y="746"/>
                  </a:lnTo>
                  <a:lnTo>
                    <a:pt x="303" y="749"/>
                  </a:lnTo>
                  <a:lnTo>
                    <a:pt x="303" y="746"/>
                  </a:lnTo>
                  <a:lnTo>
                    <a:pt x="306" y="746"/>
                  </a:lnTo>
                  <a:lnTo>
                    <a:pt x="303" y="749"/>
                  </a:lnTo>
                  <a:lnTo>
                    <a:pt x="306" y="749"/>
                  </a:lnTo>
                  <a:lnTo>
                    <a:pt x="306" y="751"/>
                  </a:lnTo>
                  <a:lnTo>
                    <a:pt x="306" y="749"/>
                  </a:lnTo>
                  <a:lnTo>
                    <a:pt x="303" y="749"/>
                  </a:lnTo>
                  <a:lnTo>
                    <a:pt x="303" y="751"/>
                  </a:lnTo>
                  <a:lnTo>
                    <a:pt x="303" y="749"/>
                  </a:lnTo>
                  <a:lnTo>
                    <a:pt x="303" y="751"/>
                  </a:lnTo>
                  <a:lnTo>
                    <a:pt x="303" y="749"/>
                  </a:lnTo>
                  <a:lnTo>
                    <a:pt x="303" y="751"/>
                  </a:lnTo>
                  <a:lnTo>
                    <a:pt x="303" y="749"/>
                  </a:lnTo>
                  <a:lnTo>
                    <a:pt x="301" y="749"/>
                  </a:lnTo>
                  <a:lnTo>
                    <a:pt x="303" y="749"/>
                  </a:lnTo>
                  <a:lnTo>
                    <a:pt x="301" y="749"/>
                  </a:lnTo>
                  <a:lnTo>
                    <a:pt x="301" y="751"/>
                  </a:lnTo>
                  <a:lnTo>
                    <a:pt x="299" y="751"/>
                  </a:lnTo>
                  <a:lnTo>
                    <a:pt x="299" y="749"/>
                  </a:lnTo>
                  <a:lnTo>
                    <a:pt x="296" y="749"/>
                  </a:lnTo>
                  <a:lnTo>
                    <a:pt x="296" y="751"/>
                  </a:lnTo>
                  <a:lnTo>
                    <a:pt x="296" y="753"/>
                  </a:lnTo>
                  <a:lnTo>
                    <a:pt x="296" y="751"/>
                  </a:lnTo>
                  <a:lnTo>
                    <a:pt x="294" y="753"/>
                  </a:lnTo>
                  <a:lnTo>
                    <a:pt x="296" y="753"/>
                  </a:lnTo>
                  <a:lnTo>
                    <a:pt x="294" y="753"/>
                  </a:lnTo>
                  <a:lnTo>
                    <a:pt x="294" y="751"/>
                  </a:lnTo>
                  <a:lnTo>
                    <a:pt x="294" y="749"/>
                  </a:lnTo>
                  <a:lnTo>
                    <a:pt x="296" y="749"/>
                  </a:lnTo>
                  <a:lnTo>
                    <a:pt x="294" y="749"/>
                  </a:lnTo>
                  <a:lnTo>
                    <a:pt x="296" y="749"/>
                  </a:lnTo>
                  <a:lnTo>
                    <a:pt x="296" y="746"/>
                  </a:lnTo>
                  <a:lnTo>
                    <a:pt x="299" y="746"/>
                  </a:lnTo>
                  <a:lnTo>
                    <a:pt x="296" y="746"/>
                  </a:lnTo>
                  <a:lnTo>
                    <a:pt x="299" y="746"/>
                  </a:lnTo>
                  <a:lnTo>
                    <a:pt x="296" y="746"/>
                  </a:lnTo>
                  <a:lnTo>
                    <a:pt x="296" y="749"/>
                  </a:lnTo>
                  <a:lnTo>
                    <a:pt x="294" y="749"/>
                  </a:lnTo>
                  <a:lnTo>
                    <a:pt x="294" y="746"/>
                  </a:lnTo>
                  <a:lnTo>
                    <a:pt x="296" y="746"/>
                  </a:lnTo>
                  <a:lnTo>
                    <a:pt x="294" y="746"/>
                  </a:lnTo>
                  <a:lnTo>
                    <a:pt x="294" y="744"/>
                  </a:lnTo>
                  <a:lnTo>
                    <a:pt x="294" y="746"/>
                  </a:lnTo>
                  <a:lnTo>
                    <a:pt x="294" y="744"/>
                  </a:lnTo>
                  <a:lnTo>
                    <a:pt x="296" y="744"/>
                  </a:lnTo>
                  <a:lnTo>
                    <a:pt x="299" y="744"/>
                  </a:lnTo>
                  <a:lnTo>
                    <a:pt x="299" y="742"/>
                  </a:lnTo>
                  <a:lnTo>
                    <a:pt x="299" y="744"/>
                  </a:lnTo>
                  <a:lnTo>
                    <a:pt x="299" y="742"/>
                  </a:lnTo>
                  <a:lnTo>
                    <a:pt x="296" y="742"/>
                  </a:lnTo>
                  <a:lnTo>
                    <a:pt x="294" y="742"/>
                  </a:lnTo>
                  <a:lnTo>
                    <a:pt x="296" y="742"/>
                  </a:lnTo>
                  <a:lnTo>
                    <a:pt x="296" y="739"/>
                  </a:lnTo>
                  <a:lnTo>
                    <a:pt x="299" y="739"/>
                  </a:lnTo>
                  <a:lnTo>
                    <a:pt x="301" y="739"/>
                  </a:lnTo>
                  <a:lnTo>
                    <a:pt x="303" y="739"/>
                  </a:lnTo>
                  <a:lnTo>
                    <a:pt x="306" y="739"/>
                  </a:lnTo>
                  <a:lnTo>
                    <a:pt x="306" y="737"/>
                  </a:lnTo>
                  <a:lnTo>
                    <a:pt x="308" y="737"/>
                  </a:lnTo>
                  <a:lnTo>
                    <a:pt x="311" y="737"/>
                  </a:lnTo>
                  <a:lnTo>
                    <a:pt x="311" y="739"/>
                  </a:lnTo>
                  <a:lnTo>
                    <a:pt x="311" y="742"/>
                  </a:lnTo>
                  <a:lnTo>
                    <a:pt x="313" y="742"/>
                  </a:lnTo>
                  <a:lnTo>
                    <a:pt x="313" y="739"/>
                  </a:lnTo>
                  <a:lnTo>
                    <a:pt x="315" y="739"/>
                  </a:lnTo>
                  <a:lnTo>
                    <a:pt x="313" y="739"/>
                  </a:lnTo>
                  <a:lnTo>
                    <a:pt x="313" y="737"/>
                  </a:lnTo>
                  <a:lnTo>
                    <a:pt x="313" y="739"/>
                  </a:lnTo>
                  <a:lnTo>
                    <a:pt x="313" y="737"/>
                  </a:lnTo>
                  <a:lnTo>
                    <a:pt x="315" y="737"/>
                  </a:lnTo>
                  <a:close/>
                  <a:moveTo>
                    <a:pt x="351" y="701"/>
                  </a:moveTo>
                  <a:lnTo>
                    <a:pt x="353" y="701"/>
                  </a:lnTo>
                  <a:lnTo>
                    <a:pt x="353" y="704"/>
                  </a:lnTo>
                  <a:lnTo>
                    <a:pt x="351" y="701"/>
                  </a:lnTo>
                  <a:close/>
                  <a:moveTo>
                    <a:pt x="348" y="739"/>
                  </a:moveTo>
                  <a:lnTo>
                    <a:pt x="346" y="739"/>
                  </a:lnTo>
                  <a:lnTo>
                    <a:pt x="344" y="739"/>
                  </a:lnTo>
                  <a:lnTo>
                    <a:pt x="346" y="739"/>
                  </a:lnTo>
                  <a:lnTo>
                    <a:pt x="346" y="742"/>
                  </a:lnTo>
                  <a:lnTo>
                    <a:pt x="344" y="742"/>
                  </a:lnTo>
                  <a:lnTo>
                    <a:pt x="344" y="739"/>
                  </a:lnTo>
                  <a:lnTo>
                    <a:pt x="344" y="737"/>
                  </a:lnTo>
                  <a:lnTo>
                    <a:pt x="346" y="737"/>
                  </a:lnTo>
                  <a:lnTo>
                    <a:pt x="346" y="734"/>
                  </a:lnTo>
                  <a:lnTo>
                    <a:pt x="348" y="734"/>
                  </a:lnTo>
                  <a:lnTo>
                    <a:pt x="346" y="734"/>
                  </a:lnTo>
                  <a:lnTo>
                    <a:pt x="346" y="732"/>
                  </a:lnTo>
                  <a:lnTo>
                    <a:pt x="348" y="732"/>
                  </a:lnTo>
                  <a:lnTo>
                    <a:pt x="351" y="732"/>
                  </a:lnTo>
                  <a:lnTo>
                    <a:pt x="351" y="730"/>
                  </a:lnTo>
                  <a:lnTo>
                    <a:pt x="353" y="730"/>
                  </a:lnTo>
                  <a:lnTo>
                    <a:pt x="356" y="730"/>
                  </a:lnTo>
                  <a:lnTo>
                    <a:pt x="358" y="730"/>
                  </a:lnTo>
                  <a:lnTo>
                    <a:pt x="356" y="730"/>
                  </a:lnTo>
                  <a:lnTo>
                    <a:pt x="353" y="730"/>
                  </a:lnTo>
                  <a:lnTo>
                    <a:pt x="351" y="730"/>
                  </a:lnTo>
                  <a:lnTo>
                    <a:pt x="351" y="727"/>
                  </a:lnTo>
                  <a:lnTo>
                    <a:pt x="353" y="727"/>
                  </a:lnTo>
                  <a:lnTo>
                    <a:pt x="356" y="727"/>
                  </a:lnTo>
                  <a:lnTo>
                    <a:pt x="353" y="727"/>
                  </a:lnTo>
                  <a:lnTo>
                    <a:pt x="353" y="725"/>
                  </a:lnTo>
                  <a:lnTo>
                    <a:pt x="351" y="725"/>
                  </a:lnTo>
                  <a:lnTo>
                    <a:pt x="348" y="725"/>
                  </a:lnTo>
                  <a:lnTo>
                    <a:pt x="351" y="725"/>
                  </a:lnTo>
                  <a:lnTo>
                    <a:pt x="351" y="723"/>
                  </a:lnTo>
                  <a:lnTo>
                    <a:pt x="353" y="723"/>
                  </a:lnTo>
                  <a:lnTo>
                    <a:pt x="356" y="723"/>
                  </a:lnTo>
                  <a:lnTo>
                    <a:pt x="353" y="723"/>
                  </a:lnTo>
                  <a:lnTo>
                    <a:pt x="356" y="723"/>
                  </a:lnTo>
                  <a:lnTo>
                    <a:pt x="356" y="720"/>
                  </a:lnTo>
                  <a:lnTo>
                    <a:pt x="358" y="720"/>
                  </a:lnTo>
                  <a:lnTo>
                    <a:pt x="358" y="723"/>
                  </a:lnTo>
                  <a:lnTo>
                    <a:pt x="358" y="720"/>
                  </a:lnTo>
                  <a:lnTo>
                    <a:pt x="358" y="723"/>
                  </a:lnTo>
                  <a:lnTo>
                    <a:pt x="360" y="723"/>
                  </a:lnTo>
                  <a:lnTo>
                    <a:pt x="358" y="720"/>
                  </a:lnTo>
                  <a:lnTo>
                    <a:pt x="360" y="720"/>
                  </a:lnTo>
                  <a:lnTo>
                    <a:pt x="363" y="720"/>
                  </a:lnTo>
                  <a:lnTo>
                    <a:pt x="365" y="720"/>
                  </a:lnTo>
                  <a:lnTo>
                    <a:pt x="363" y="720"/>
                  </a:lnTo>
                  <a:lnTo>
                    <a:pt x="360" y="720"/>
                  </a:lnTo>
                  <a:lnTo>
                    <a:pt x="360" y="718"/>
                  </a:lnTo>
                  <a:lnTo>
                    <a:pt x="358" y="718"/>
                  </a:lnTo>
                  <a:lnTo>
                    <a:pt x="360" y="718"/>
                  </a:lnTo>
                  <a:lnTo>
                    <a:pt x="358" y="718"/>
                  </a:lnTo>
                  <a:lnTo>
                    <a:pt x="360" y="718"/>
                  </a:lnTo>
                  <a:lnTo>
                    <a:pt x="358" y="718"/>
                  </a:lnTo>
                  <a:lnTo>
                    <a:pt x="360" y="718"/>
                  </a:lnTo>
                  <a:lnTo>
                    <a:pt x="358" y="718"/>
                  </a:lnTo>
                  <a:lnTo>
                    <a:pt x="358" y="715"/>
                  </a:lnTo>
                  <a:lnTo>
                    <a:pt x="358" y="713"/>
                  </a:lnTo>
                  <a:lnTo>
                    <a:pt x="358" y="715"/>
                  </a:lnTo>
                  <a:lnTo>
                    <a:pt x="358" y="713"/>
                  </a:lnTo>
                  <a:lnTo>
                    <a:pt x="358" y="715"/>
                  </a:lnTo>
                  <a:lnTo>
                    <a:pt x="360" y="715"/>
                  </a:lnTo>
                  <a:lnTo>
                    <a:pt x="363" y="715"/>
                  </a:lnTo>
                  <a:lnTo>
                    <a:pt x="363" y="713"/>
                  </a:lnTo>
                  <a:lnTo>
                    <a:pt x="365" y="713"/>
                  </a:lnTo>
                  <a:lnTo>
                    <a:pt x="365" y="715"/>
                  </a:lnTo>
                  <a:lnTo>
                    <a:pt x="367" y="715"/>
                  </a:lnTo>
                  <a:lnTo>
                    <a:pt x="365" y="715"/>
                  </a:lnTo>
                  <a:lnTo>
                    <a:pt x="365" y="713"/>
                  </a:lnTo>
                  <a:lnTo>
                    <a:pt x="363" y="713"/>
                  </a:lnTo>
                  <a:lnTo>
                    <a:pt x="360" y="713"/>
                  </a:lnTo>
                  <a:lnTo>
                    <a:pt x="360" y="715"/>
                  </a:lnTo>
                  <a:lnTo>
                    <a:pt x="360" y="713"/>
                  </a:lnTo>
                  <a:lnTo>
                    <a:pt x="358" y="713"/>
                  </a:lnTo>
                  <a:lnTo>
                    <a:pt x="358" y="711"/>
                  </a:lnTo>
                  <a:lnTo>
                    <a:pt x="360" y="711"/>
                  </a:lnTo>
                  <a:lnTo>
                    <a:pt x="358" y="711"/>
                  </a:lnTo>
                  <a:lnTo>
                    <a:pt x="358" y="708"/>
                  </a:lnTo>
                  <a:lnTo>
                    <a:pt x="360" y="708"/>
                  </a:lnTo>
                  <a:lnTo>
                    <a:pt x="360" y="711"/>
                  </a:lnTo>
                  <a:lnTo>
                    <a:pt x="363" y="711"/>
                  </a:lnTo>
                  <a:lnTo>
                    <a:pt x="360" y="711"/>
                  </a:lnTo>
                  <a:lnTo>
                    <a:pt x="360" y="708"/>
                  </a:lnTo>
                  <a:lnTo>
                    <a:pt x="363" y="708"/>
                  </a:lnTo>
                  <a:lnTo>
                    <a:pt x="365" y="708"/>
                  </a:lnTo>
                  <a:lnTo>
                    <a:pt x="363" y="708"/>
                  </a:lnTo>
                  <a:lnTo>
                    <a:pt x="363" y="706"/>
                  </a:lnTo>
                  <a:lnTo>
                    <a:pt x="365" y="706"/>
                  </a:lnTo>
                  <a:lnTo>
                    <a:pt x="363" y="706"/>
                  </a:lnTo>
                  <a:lnTo>
                    <a:pt x="363" y="704"/>
                  </a:lnTo>
                  <a:lnTo>
                    <a:pt x="365" y="704"/>
                  </a:lnTo>
                  <a:lnTo>
                    <a:pt x="365" y="701"/>
                  </a:lnTo>
                  <a:lnTo>
                    <a:pt x="367" y="701"/>
                  </a:lnTo>
                  <a:lnTo>
                    <a:pt x="367" y="699"/>
                  </a:lnTo>
                  <a:lnTo>
                    <a:pt x="367" y="701"/>
                  </a:lnTo>
                  <a:lnTo>
                    <a:pt x="367" y="699"/>
                  </a:lnTo>
                  <a:lnTo>
                    <a:pt x="367" y="701"/>
                  </a:lnTo>
                  <a:lnTo>
                    <a:pt x="370" y="701"/>
                  </a:lnTo>
                  <a:lnTo>
                    <a:pt x="372" y="701"/>
                  </a:lnTo>
                  <a:lnTo>
                    <a:pt x="375" y="701"/>
                  </a:lnTo>
                  <a:lnTo>
                    <a:pt x="375" y="704"/>
                  </a:lnTo>
                  <a:lnTo>
                    <a:pt x="375" y="706"/>
                  </a:lnTo>
                  <a:lnTo>
                    <a:pt x="375" y="708"/>
                  </a:lnTo>
                  <a:lnTo>
                    <a:pt x="372" y="708"/>
                  </a:lnTo>
                  <a:lnTo>
                    <a:pt x="372" y="711"/>
                  </a:lnTo>
                  <a:lnTo>
                    <a:pt x="372" y="713"/>
                  </a:lnTo>
                  <a:lnTo>
                    <a:pt x="370" y="713"/>
                  </a:lnTo>
                  <a:lnTo>
                    <a:pt x="372" y="713"/>
                  </a:lnTo>
                  <a:lnTo>
                    <a:pt x="372" y="711"/>
                  </a:lnTo>
                  <a:lnTo>
                    <a:pt x="375" y="711"/>
                  </a:lnTo>
                  <a:lnTo>
                    <a:pt x="377" y="711"/>
                  </a:lnTo>
                  <a:lnTo>
                    <a:pt x="377" y="713"/>
                  </a:lnTo>
                  <a:lnTo>
                    <a:pt x="377" y="715"/>
                  </a:lnTo>
                  <a:lnTo>
                    <a:pt x="375" y="715"/>
                  </a:lnTo>
                  <a:lnTo>
                    <a:pt x="375" y="718"/>
                  </a:lnTo>
                  <a:lnTo>
                    <a:pt x="372" y="718"/>
                  </a:lnTo>
                  <a:lnTo>
                    <a:pt x="370" y="720"/>
                  </a:lnTo>
                  <a:lnTo>
                    <a:pt x="370" y="723"/>
                  </a:lnTo>
                  <a:lnTo>
                    <a:pt x="370" y="725"/>
                  </a:lnTo>
                  <a:lnTo>
                    <a:pt x="367" y="725"/>
                  </a:lnTo>
                  <a:lnTo>
                    <a:pt x="370" y="725"/>
                  </a:lnTo>
                  <a:lnTo>
                    <a:pt x="370" y="723"/>
                  </a:lnTo>
                  <a:lnTo>
                    <a:pt x="370" y="720"/>
                  </a:lnTo>
                  <a:lnTo>
                    <a:pt x="372" y="720"/>
                  </a:lnTo>
                  <a:lnTo>
                    <a:pt x="375" y="720"/>
                  </a:lnTo>
                  <a:lnTo>
                    <a:pt x="372" y="720"/>
                  </a:lnTo>
                  <a:lnTo>
                    <a:pt x="375" y="720"/>
                  </a:lnTo>
                  <a:lnTo>
                    <a:pt x="375" y="718"/>
                  </a:lnTo>
                  <a:lnTo>
                    <a:pt x="377" y="718"/>
                  </a:lnTo>
                  <a:lnTo>
                    <a:pt x="379" y="718"/>
                  </a:lnTo>
                  <a:lnTo>
                    <a:pt x="379" y="720"/>
                  </a:lnTo>
                  <a:lnTo>
                    <a:pt x="379" y="718"/>
                  </a:lnTo>
                  <a:lnTo>
                    <a:pt x="377" y="718"/>
                  </a:lnTo>
                  <a:lnTo>
                    <a:pt x="377" y="715"/>
                  </a:lnTo>
                  <a:lnTo>
                    <a:pt x="379" y="715"/>
                  </a:lnTo>
                  <a:lnTo>
                    <a:pt x="377" y="715"/>
                  </a:lnTo>
                  <a:lnTo>
                    <a:pt x="379" y="715"/>
                  </a:lnTo>
                  <a:lnTo>
                    <a:pt x="379" y="713"/>
                  </a:lnTo>
                  <a:lnTo>
                    <a:pt x="382" y="713"/>
                  </a:lnTo>
                  <a:lnTo>
                    <a:pt x="384" y="713"/>
                  </a:lnTo>
                  <a:lnTo>
                    <a:pt x="386" y="713"/>
                  </a:lnTo>
                  <a:lnTo>
                    <a:pt x="384" y="713"/>
                  </a:lnTo>
                  <a:lnTo>
                    <a:pt x="382" y="713"/>
                  </a:lnTo>
                  <a:lnTo>
                    <a:pt x="382" y="711"/>
                  </a:lnTo>
                  <a:lnTo>
                    <a:pt x="379" y="711"/>
                  </a:lnTo>
                  <a:lnTo>
                    <a:pt x="379" y="708"/>
                  </a:lnTo>
                  <a:lnTo>
                    <a:pt x="382" y="708"/>
                  </a:lnTo>
                  <a:lnTo>
                    <a:pt x="382" y="706"/>
                  </a:lnTo>
                  <a:lnTo>
                    <a:pt x="384" y="706"/>
                  </a:lnTo>
                  <a:lnTo>
                    <a:pt x="386" y="706"/>
                  </a:lnTo>
                  <a:lnTo>
                    <a:pt x="386" y="708"/>
                  </a:lnTo>
                  <a:lnTo>
                    <a:pt x="389" y="708"/>
                  </a:lnTo>
                  <a:lnTo>
                    <a:pt x="386" y="708"/>
                  </a:lnTo>
                  <a:lnTo>
                    <a:pt x="386" y="706"/>
                  </a:lnTo>
                  <a:lnTo>
                    <a:pt x="384" y="706"/>
                  </a:lnTo>
                  <a:lnTo>
                    <a:pt x="384" y="704"/>
                  </a:lnTo>
                  <a:lnTo>
                    <a:pt x="386" y="704"/>
                  </a:lnTo>
                  <a:lnTo>
                    <a:pt x="386" y="706"/>
                  </a:lnTo>
                  <a:lnTo>
                    <a:pt x="389" y="706"/>
                  </a:lnTo>
                  <a:lnTo>
                    <a:pt x="391" y="706"/>
                  </a:lnTo>
                  <a:lnTo>
                    <a:pt x="394" y="706"/>
                  </a:lnTo>
                  <a:lnTo>
                    <a:pt x="394" y="708"/>
                  </a:lnTo>
                  <a:lnTo>
                    <a:pt x="396" y="708"/>
                  </a:lnTo>
                  <a:lnTo>
                    <a:pt x="394" y="708"/>
                  </a:lnTo>
                  <a:lnTo>
                    <a:pt x="394" y="711"/>
                  </a:lnTo>
                  <a:lnTo>
                    <a:pt x="396" y="711"/>
                  </a:lnTo>
                  <a:lnTo>
                    <a:pt x="394" y="711"/>
                  </a:lnTo>
                  <a:lnTo>
                    <a:pt x="396" y="711"/>
                  </a:lnTo>
                  <a:lnTo>
                    <a:pt x="396" y="713"/>
                  </a:lnTo>
                  <a:lnTo>
                    <a:pt x="396" y="715"/>
                  </a:lnTo>
                  <a:lnTo>
                    <a:pt x="394" y="715"/>
                  </a:lnTo>
                  <a:lnTo>
                    <a:pt x="396" y="715"/>
                  </a:lnTo>
                  <a:lnTo>
                    <a:pt x="396" y="713"/>
                  </a:lnTo>
                  <a:lnTo>
                    <a:pt x="396" y="715"/>
                  </a:lnTo>
                  <a:lnTo>
                    <a:pt x="394" y="718"/>
                  </a:lnTo>
                  <a:lnTo>
                    <a:pt x="396" y="718"/>
                  </a:lnTo>
                  <a:lnTo>
                    <a:pt x="394" y="718"/>
                  </a:lnTo>
                  <a:lnTo>
                    <a:pt x="396" y="718"/>
                  </a:lnTo>
                  <a:lnTo>
                    <a:pt x="396" y="720"/>
                  </a:lnTo>
                  <a:lnTo>
                    <a:pt x="394" y="720"/>
                  </a:lnTo>
                  <a:lnTo>
                    <a:pt x="394" y="723"/>
                  </a:lnTo>
                  <a:lnTo>
                    <a:pt x="394" y="720"/>
                  </a:lnTo>
                  <a:lnTo>
                    <a:pt x="394" y="723"/>
                  </a:lnTo>
                  <a:lnTo>
                    <a:pt x="394" y="725"/>
                  </a:lnTo>
                  <a:lnTo>
                    <a:pt x="391" y="725"/>
                  </a:lnTo>
                  <a:lnTo>
                    <a:pt x="389" y="723"/>
                  </a:lnTo>
                  <a:lnTo>
                    <a:pt x="389" y="725"/>
                  </a:lnTo>
                  <a:lnTo>
                    <a:pt x="386" y="725"/>
                  </a:lnTo>
                  <a:lnTo>
                    <a:pt x="384" y="725"/>
                  </a:lnTo>
                  <a:lnTo>
                    <a:pt x="382" y="725"/>
                  </a:lnTo>
                  <a:lnTo>
                    <a:pt x="379" y="725"/>
                  </a:lnTo>
                  <a:lnTo>
                    <a:pt x="379" y="727"/>
                  </a:lnTo>
                  <a:lnTo>
                    <a:pt x="382" y="727"/>
                  </a:lnTo>
                  <a:lnTo>
                    <a:pt x="379" y="727"/>
                  </a:lnTo>
                  <a:lnTo>
                    <a:pt x="379" y="730"/>
                  </a:lnTo>
                  <a:lnTo>
                    <a:pt x="377" y="730"/>
                  </a:lnTo>
                  <a:lnTo>
                    <a:pt x="377" y="732"/>
                  </a:lnTo>
                  <a:lnTo>
                    <a:pt x="375" y="732"/>
                  </a:lnTo>
                  <a:lnTo>
                    <a:pt x="377" y="734"/>
                  </a:lnTo>
                  <a:lnTo>
                    <a:pt x="375" y="734"/>
                  </a:lnTo>
                  <a:lnTo>
                    <a:pt x="372" y="734"/>
                  </a:lnTo>
                  <a:lnTo>
                    <a:pt x="372" y="732"/>
                  </a:lnTo>
                  <a:lnTo>
                    <a:pt x="372" y="730"/>
                  </a:lnTo>
                  <a:lnTo>
                    <a:pt x="372" y="727"/>
                  </a:lnTo>
                  <a:lnTo>
                    <a:pt x="372" y="730"/>
                  </a:lnTo>
                  <a:lnTo>
                    <a:pt x="372" y="732"/>
                  </a:lnTo>
                  <a:lnTo>
                    <a:pt x="370" y="734"/>
                  </a:lnTo>
                  <a:lnTo>
                    <a:pt x="370" y="732"/>
                  </a:lnTo>
                  <a:lnTo>
                    <a:pt x="370" y="734"/>
                  </a:lnTo>
                  <a:lnTo>
                    <a:pt x="370" y="732"/>
                  </a:lnTo>
                  <a:lnTo>
                    <a:pt x="367" y="732"/>
                  </a:lnTo>
                  <a:lnTo>
                    <a:pt x="367" y="734"/>
                  </a:lnTo>
                  <a:lnTo>
                    <a:pt x="370" y="734"/>
                  </a:lnTo>
                  <a:lnTo>
                    <a:pt x="367" y="734"/>
                  </a:lnTo>
                  <a:lnTo>
                    <a:pt x="365" y="734"/>
                  </a:lnTo>
                  <a:lnTo>
                    <a:pt x="367" y="734"/>
                  </a:lnTo>
                  <a:lnTo>
                    <a:pt x="365" y="734"/>
                  </a:lnTo>
                  <a:lnTo>
                    <a:pt x="367" y="734"/>
                  </a:lnTo>
                  <a:lnTo>
                    <a:pt x="370" y="734"/>
                  </a:lnTo>
                  <a:lnTo>
                    <a:pt x="367" y="734"/>
                  </a:lnTo>
                  <a:lnTo>
                    <a:pt x="367" y="737"/>
                  </a:lnTo>
                  <a:lnTo>
                    <a:pt x="365" y="737"/>
                  </a:lnTo>
                  <a:lnTo>
                    <a:pt x="367" y="737"/>
                  </a:lnTo>
                  <a:lnTo>
                    <a:pt x="365" y="737"/>
                  </a:lnTo>
                  <a:lnTo>
                    <a:pt x="365" y="739"/>
                  </a:lnTo>
                  <a:lnTo>
                    <a:pt x="363" y="739"/>
                  </a:lnTo>
                  <a:lnTo>
                    <a:pt x="363" y="737"/>
                  </a:lnTo>
                  <a:lnTo>
                    <a:pt x="360" y="737"/>
                  </a:lnTo>
                  <a:lnTo>
                    <a:pt x="358" y="737"/>
                  </a:lnTo>
                  <a:lnTo>
                    <a:pt x="360" y="737"/>
                  </a:lnTo>
                  <a:lnTo>
                    <a:pt x="358" y="737"/>
                  </a:lnTo>
                  <a:lnTo>
                    <a:pt x="356" y="737"/>
                  </a:lnTo>
                  <a:lnTo>
                    <a:pt x="358" y="737"/>
                  </a:lnTo>
                  <a:lnTo>
                    <a:pt x="356" y="737"/>
                  </a:lnTo>
                  <a:lnTo>
                    <a:pt x="353" y="737"/>
                  </a:lnTo>
                  <a:lnTo>
                    <a:pt x="356" y="734"/>
                  </a:lnTo>
                  <a:lnTo>
                    <a:pt x="356" y="737"/>
                  </a:lnTo>
                  <a:lnTo>
                    <a:pt x="356" y="734"/>
                  </a:lnTo>
                  <a:lnTo>
                    <a:pt x="356" y="737"/>
                  </a:lnTo>
                  <a:lnTo>
                    <a:pt x="356" y="734"/>
                  </a:lnTo>
                  <a:lnTo>
                    <a:pt x="358" y="734"/>
                  </a:lnTo>
                  <a:lnTo>
                    <a:pt x="358" y="732"/>
                  </a:lnTo>
                  <a:lnTo>
                    <a:pt x="360" y="732"/>
                  </a:lnTo>
                  <a:lnTo>
                    <a:pt x="360" y="730"/>
                  </a:lnTo>
                  <a:lnTo>
                    <a:pt x="363" y="730"/>
                  </a:lnTo>
                  <a:lnTo>
                    <a:pt x="363" y="727"/>
                  </a:lnTo>
                  <a:lnTo>
                    <a:pt x="360" y="727"/>
                  </a:lnTo>
                  <a:lnTo>
                    <a:pt x="363" y="727"/>
                  </a:lnTo>
                  <a:lnTo>
                    <a:pt x="360" y="730"/>
                  </a:lnTo>
                  <a:lnTo>
                    <a:pt x="358" y="730"/>
                  </a:lnTo>
                  <a:lnTo>
                    <a:pt x="358" y="732"/>
                  </a:lnTo>
                  <a:lnTo>
                    <a:pt x="356" y="732"/>
                  </a:lnTo>
                  <a:lnTo>
                    <a:pt x="356" y="734"/>
                  </a:lnTo>
                  <a:lnTo>
                    <a:pt x="353" y="734"/>
                  </a:lnTo>
                  <a:lnTo>
                    <a:pt x="351" y="734"/>
                  </a:lnTo>
                  <a:lnTo>
                    <a:pt x="348" y="734"/>
                  </a:lnTo>
                  <a:lnTo>
                    <a:pt x="351" y="734"/>
                  </a:lnTo>
                  <a:lnTo>
                    <a:pt x="351" y="737"/>
                  </a:lnTo>
                  <a:lnTo>
                    <a:pt x="348" y="739"/>
                  </a:lnTo>
                  <a:lnTo>
                    <a:pt x="348" y="737"/>
                  </a:lnTo>
                  <a:lnTo>
                    <a:pt x="348" y="739"/>
                  </a:lnTo>
                  <a:lnTo>
                    <a:pt x="348" y="737"/>
                  </a:lnTo>
                  <a:lnTo>
                    <a:pt x="348" y="739"/>
                  </a:lnTo>
                  <a:close/>
                  <a:moveTo>
                    <a:pt x="327" y="713"/>
                  </a:moveTo>
                  <a:lnTo>
                    <a:pt x="325" y="713"/>
                  </a:lnTo>
                  <a:lnTo>
                    <a:pt x="327" y="713"/>
                  </a:lnTo>
                  <a:lnTo>
                    <a:pt x="325" y="713"/>
                  </a:lnTo>
                  <a:lnTo>
                    <a:pt x="325" y="711"/>
                  </a:lnTo>
                  <a:lnTo>
                    <a:pt x="327" y="711"/>
                  </a:lnTo>
                  <a:lnTo>
                    <a:pt x="329" y="711"/>
                  </a:lnTo>
                  <a:lnTo>
                    <a:pt x="329" y="708"/>
                  </a:lnTo>
                  <a:lnTo>
                    <a:pt x="327" y="708"/>
                  </a:lnTo>
                  <a:lnTo>
                    <a:pt x="329" y="708"/>
                  </a:lnTo>
                  <a:lnTo>
                    <a:pt x="329" y="711"/>
                  </a:lnTo>
                  <a:lnTo>
                    <a:pt x="329" y="713"/>
                  </a:lnTo>
                  <a:lnTo>
                    <a:pt x="332" y="713"/>
                  </a:lnTo>
                  <a:lnTo>
                    <a:pt x="329" y="713"/>
                  </a:lnTo>
                  <a:lnTo>
                    <a:pt x="329" y="715"/>
                  </a:lnTo>
                  <a:lnTo>
                    <a:pt x="332" y="715"/>
                  </a:lnTo>
                  <a:lnTo>
                    <a:pt x="332" y="713"/>
                  </a:lnTo>
                  <a:lnTo>
                    <a:pt x="329" y="713"/>
                  </a:lnTo>
                  <a:lnTo>
                    <a:pt x="332" y="713"/>
                  </a:lnTo>
                  <a:lnTo>
                    <a:pt x="332" y="711"/>
                  </a:lnTo>
                  <a:lnTo>
                    <a:pt x="332" y="708"/>
                  </a:lnTo>
                  <a:lnTo>
                    <a:pt x="334" y="708"/>
                  </a:lnTo>
                  <a:lnTo>
                    <a:pt x="334" y="711"/>
                  </a:lnTo>
                  <a:lnTo>
                    <a:pt x="334" y="713"/>
                  </a:lnTo>
                  <a:lnTo>
                    <a:pt x="334" y="711"/>
                  </a:lnTo>
                  <a:lnTo>
                    <a:pt x="334" y="713"/>
                  </a:lnTo>
                  <a:lnTo>
                    <a:pt x="337" y="713"/>
                  </a:lnTo>
                  <a:lnTo>
                    <a:pt x="337" y="711"/>
                  </a:lnTo>
                  <a:lnTo>
                    <a:pt x="339" y="711"/>
                  </a:lnTo>
                  <a:lnTo>
                    <a:pt x="341" y="711"/>
                  </a:lnTo>
                  <a:lnTo>
                    <a:pt x="339" y="711"/>
                  </a:lnTo>
                  <a:lnTo>
                    <a:pt x="339" y="713"/>
                  </a:lnTo>
                  <a:lnTo>
                    <a:pt x="339" y="711"/>
                  </a:lnTo>
                  <a:lnTo>
                    <a:pt x="339" y="713"/>
                  </a:lnTo>
                  <a:lnTo>
                    <a:pt x="341" y="713"/>
                  </a:lnTo>
                  <a:lnTo>
                    <a:pt x="341" y="711"/>
                  </a:lnTo>
                  <a:lnTo>
                    <a:pt x="341" y="713"/>
                  </a:lnTo>
                  <a:lnTo>
                    <a:pt x="341" y="711"/>
                  </a:lnTo>
                  <a:lnTo>
                    <a:pt x="344" y="711"/>
                  </a:lnTo>
                  <a:lnTo>
                    <a:pt x="341" y="711"/>
                  </a:lnTo>
                  <a:lnTo>
                    <a:pt x="341" y="708"/>
                  </a:lnTo>
                  <a:lnTo>
                    <a:pt x="344" y="708"/>
                  </a:lnTo>
                  <a:lnTo>
                    <a:pt x="341" y="708"/>
                  </a:lnTo>
                  <a:lnTo>
                    <a:pt x="341" y="706"/>
                  </a:lnTo>
                  <a:lnTo>
                    <a:pt x="344" y="706"/>
                  </a:lnTo>
                  <a:lnTo>
                    <a:pt x="344" y="708"/>
                  </a:lnTo>
                  <a:lnTo>
                    <a:pt x="344" y="711"/>
                  </a:lnTo>
                  <a:lnTo>
                    <a:pt x="346" y="711"/>
                  </a:lnTo>
                  <a:lnTo>
                    <a:pt x="344" y="711"/>
                  </a:lnTo>
                  <a:lnTo>
                    <a:pt x="344" y="708"/>
                  </a:lnTo>
                  <a:lnTo>
                    <a:pt x="346" y="708"/>
                  </a:lnTo>
                  <a:lnTo>
                    <a:pt x="344" y="708"/>
                  </a:lnTo>
                  <a:lnTo>
                    <a:pt x="346" y="708"/>
                  </a:lnTo>
                  <a:lnTo>
                    <a:pt x="344" y="706"/>
                  </a:lnTo>
                  <a:lnTo>
                    <a:pt x="346" y="706"/>
                  </a:lnTo>
                  <a:lnTo>
                    <a:pt x="346" y="708"/>
                  </a:lnTo>
                  <a:lnTo>
                    <a:pt x="348" y="708"/>
                  </a:lnTo>
                  <a:lnTo>
                    <a:pt x="348" y="706"/>
                  </a:lnTo>
                  <a:lnTo>
                    <a:pt x="346" y="706"/>
                  </a:lnTo>
                  <a:lnTo>
                    <a:pt x="346" y="704"/>
                  </a:lnTo>
                  <a:lnTo>
                    <a:pt x="346" y="706"/>
                  </a:lnTo>
                  <a:lnTo>
                    <a:pt x="344" y="706"/>
                  </a:lnTo>
                  <a:lnTo>
                    <a:pt x="344" y="704"/>
                  </a:lnTo>
                  <a:lnTo>
                    <a:pt x="346" y="704"/>
                  </a:lnTo>
                  <a:lnTo>
                    <a:pt x="344" y="704"/>
                  </a:lnTo>
                  <a:lnTo>
                    <a:pt x="346" y="704"/>
                  </a:lnTo>
                  <a:lnTo>
                    <a:pt x="346" y="701"/>
                  </a:lnTo>
                  <a:lnTo>
                    <a:pt x="344" y="701"/>
                  </a:lnTo>
                  <a:lnTo>
                    <a:pt x="344" y="699"/>
                  </a:lnTo>
                  <a:lnTo>
                    <a:pt x="346" y="699"/>
                  </a:lnTo>
                  <a:lnTo>
                    <a:pt x="346" y="696"/>
                  </a:lnTo>
                  <a:lnTo>
                    <a:pt x="348" y="696"/>
                  </a:lnTo>
                  <a:lnTo>
                    <a:pt x="351" y="696"/>
                  </a:lnTo>
                  <a:lnTo>
                    <a:pt x="348" y="699"/>
                  </a:lnTo>
                  <a:lnTo>
                    <a:pt x="351" y="699"/>
                  </a:lnTo>
                  <a:lnTo>
                    <a:pt x="348" y="699"/>
                  </a:lnTo>
                  <a:lnTo>
                    <a:pt x="351" y="699"/>
                  </a:lnTo>
                  <a:lnTo>
                    <a:pt x="348" y="699"/>
                  </a:lnTo>
                  <a:lnTo>
                    <a:pt x="351" y="699"/>
                  </a:lnTo>
                  <a:lnTo>
                    <a:pt x="348" y="699"/>
                  </a:lnTo>
                  <a:lnTo>
                    <a:pt x="351" y="699"/>
                  </a:lnTo>
                  <a:lnTo>
                    <a:pt x="348" y="699"/>
                  </a:lnTo>
                  <a:lnTo>
                    <a:pt x="348" y="701"/>
                  </a:lnTo>
                  <a:lnTo>
                    <a:pt x="346" y="701"/>
                  </a:lnTo>
                  <a:lnTo>
                    <a:pt x="348" y="701"/>
                  </a:lnTo>
                  <a:lnTo>
                    <a:pt x="351" y="701"/>
                  </a:lnTo>
                  <a:lnTo>
                    <a:pt x="348" y="701"/>
                  </a:lnTo>
                  <a:lnTo>
                    <a:pt x="351" y="701"/>
                  </a:lnTo>
                  <a:lnTo>
                    <a:pt x="348" y="701"/>
                  </a:lnTo>
                  <a:lnTo>
                    <a:pt x="351" y="701"/>
                  </a:lnTo>
                  <a:lnTo>
                    <a:pt x="348" y="701"/>
                  </a:lnTo>
                  <a:lnTo>
                    <a:pt x="351" y="701"/>
                  </a:lnTo>
                  <a:lnTo>
                    <a:pt x="348" y="701"/>
                  </a:lnTo>
                  <a:lnTo>
                    <a:pt x="348" y="704"/>
                  </a:lnTo>
                  <a:lnTo>
                    <a:pt x="351" y="701"/>
                  </a:lnTo>
                  <a:lnTo>
                    <a:pt x="351" y="704"/>
                  </a:lnTo>
                  <a:lnTo>
                    <a:pt x="353" y="704"/>
                  </a:lnTo>
                  <a:lnTo>
                    <a:pt x="353" y="706"/>
                  </a:lnTo>
                  <a:lnTo>
                    <a:pt x="353" y="708"/>
                  </a:lnTo>
                  <a:lnTo>
                    <a:pt x="353" y="706"/>
                  </a:lnTo>
                  <a:lnTo>
                    <a:pt x="353" y="708"/>
                  </a:lnTo>
                  <a:lnTo>
                    <a:pt x="351" y="708"/>
                  </a:lnTo>
                  <a:lnTo>
                    <a:pt x="353" y="708"/>
                  </a:lnTo>
                  <a:lnTo>
                    <a:pt x="351" y="708"/>
                  </a:lnTo>
                  <a:lnTo>
                    <a:pt x="353" y="708"/>
                  </a:lnTo>
                  <a:lnTo>
                    <a:pt x="353" y="706"/>
                  </a:lnTo>
                  <a:lnTo>
                    <a:pt x="353" y="708"/>
                  </a:lnTo>
                  <a:lnTo>
                    <a:pt x="353" y="706"/>
                  </a:lnTo>
                  <a:lnTo>
                    <a:pt x="356" y="706"/>
                  </a:lnTo>
                  <a:lnTo>
                    <a:pt x="356" y="708"/>
                  </a:lnTo>
                  <a:lnTo>
                    <a:pt x="356" y="711"/>
                  </a:lnTo>
                  <a:lnTo>
                    <a:pt x="356" y="708"/>
                  </a:lnTo>
                  <a:lnTo>
                    <a:pt x="356" y="711"/>
                  </a:lnTo>
                  <a:lnTo>
                    <a:pt x="353" y="711"/>
                  </a:lnTo>
                  <a:lnTo>
                    <a:pt x="353" y="713"/>
                  </a:lnTo>
                  <a:lnTo>
                    <a:pt x="356" y="713"/>
                  </a:lnTo>
                  <a:lnTo>
                    <a:pt x="358" y="713"/>
                  </a:lnTo>
                  <a:lnTo>
                    <a:pt x="358" y="715"/>
                  </a:lnTo>
                  <a:lnTo>
                    <a:pt x="358" y="718"/>
                  </a:lnTo>
                  <a:lnTo>
                    <a:pt x="356" y="718"/>
                  </a:lnTo>
                  <a:lnTo>
                    <a:pt x="353" y="718"/>
                  </a:lnTo>
                  <a:lnTo>
                    <a:pt x="353" y="720"/>
                  </a:lnTo>
                  <a:lnTo>
                    <a:pt x="351" y="720"/>
                  </a:lnTo>
                  <a:lnTo>
                    <a:pt x="348" y="720"/>
                  </a:lnTo>
                  <a:lnTo>
                    <a:pt x="346" y="723"/>
                  </a:lnTo>
                  <a:lnTo>
                    <a:pt x="344" y="723"/>
                  </a:lnTo>
                  <a:lnTo>
                    <a:pt x="341" y="723"/>
                  </a:lnTo>
                  <a:lnTo>
                    <a:pt x="339" y="723"/>
                  </a:lnTo>
                  <a:lnTo>
                    <a:pt x="339" y="720"/>
                  </a:lnTo>
                  <a:lnTo>
                    <a:pt x="339" y="723"/>
                  </a:lnTo>
                  <a:lnTo>
                    <a:pt x="339" y="720"/>
                  </a:lnTo>
                  <a:lnTo>
                    <a:pt x="337" y="720"/>
                  </a:lnTo>
                  <a:lnTo>
                    <a:pt x="339" y="720"/>
                  </a:lnTo>
                  <a:lnTo>
                    <a:pt x="337" y="720"/>
                  </a:lnTo>
                  <a:lnTo>
                    <a:pt x="339" y="718"/>
                  </a:lnTo>
                  <a:lnTo>
                    <a:pt x="339" y="720"/>
                  </a:lnTo>
                  <a:lnTo>
                    <a:pt x="339" y="718"/>
                  </a:lnTo>
                  <a:lnTo>
                    <a:pt x="341" y="718"/>
                  </a:lnTo>
                  <a:lnTo>
                    <a:pt x="344" y="718"/>
                  </a:lnTo>
                  <a:lnTo>
                    <a:pt x="341" y="718"/>
                  </a:lnTo>
                  <a:lnTo>
                    <a:pt x="344" y="718"/>
                  </a:lnTo>
                  <a:lnTo>
                    <a:pt x="346" y="718"/>
                  </a:lnTo>
                  <a:lnTo>
                    <a:pt x="344" y="718"/>
                  </a:lnTo>
                  <a:lnTo>
                    <a:pt x="346" y="718"/>
                  </a:lnTo>
                  <a:lnTo>
                    <a:pt x="344" y="718"/>
                  </a:lnTo>
                  <a:lnTo>
                    <a:pt x="346" y="718"/>
                  </a:lnTo>
                  <a:lnTo>
                    <a:pt x="346" y="715"/>
                  </a:lnTo>
                  <a:lnTo>
                    <a:pt x="348" y="715"/>
                  </a:lnTo>
                  <a:lnTo>
                    <a:pt x="348" y="713"/>
                  </a:lnTo>
                  <a:lnTo>
                    <a:pt x="346" y="713"/>
                  </a:lnTo>
                  <a:lnTo>
                    <a:pt x="344" y="713"/>
                  </a:lnTo>
                  <a:lnTo>
                    <a:pt x="346" y="713"/>
                  </a:lnTo>
                  <a:lnTo>
                    <a:pt x="346" y="715"/>
                  </a:lnTo>
                  <a:lnTo>
                    <a:pt x="346" y="713"/>
                  </a:lnTo>
                  <a:lnTo>
                    <a:pt x="346" y="715"/>
                  </a:lnTo>
                  <a:lnTo>
                    <a:pt x="344" y="715"/>
                  </a:lnTo>
                  <a:lnTo>
                    <a:pt x="341" y="715"/>
                  </a:lnTo>
                  <a:lnTo>
                    <a:pt x="344" y="715"/>
                  </a:lnTo>
                  <a:lnTo>
                    <a:pt x="341" y="715"/>
                  </a:lnTo>
                  <a:lnTo>
                    <a:pt x="344" y="715"/>
                  </a:lnTo>
                  <a:lnTo>
                    <a:pt x="344" y="713"/>
                  </a:lnTo>
                  <a:lnTo>
                    <a:pt x="341" y="713"/>
                  </a:lnTo>
                  <a:lnTo>
                    <a:pt x="344" y="713"/>
                  </a:lnTo>
                  <a:lnTo>
                    <a:pt x="341" y="715"/>
                  </a:lnTo>
                  <a:lnTo>
                    <a:pt x="341" y="718"/>
                  </a:lnTo>
                  <a:lnTo>
                    <a:pt x="339" y="718"/>
                  </a:lnTo>
                  <a:lnTo>
                    <a:pt x="339" y="715"/>
                  </a:lnTo>
                  <a:lnTo>
                    <a:pt x="339" y="718"/>
                  </a:lnTo>
                  <a:lnTo>
                    <a:pt x="339" y="715"/>
                  </a:lnTo>
                  <a:lnTo>
                    <a:pt x="339" y="718"/>
                  </a:lnTo>
                  <a:lnTo>
                    <a:pt x="337" y="718"/>
                  </a:lnTo>
                  <a:lnTo>
                    <a:pt x="337" y="715"/>
                  </a:lnTo>
                  <a:lnTo>
                    <a:pt x="339" y="715"/>
                  </a:lnTo>
                  <a:lnTo>
                    <a:pt x="337" y="715"/>
                  </a:lnTo>
                  <a:lnTo>
                    <a:pt x="337" y="718"/>
                  </a:lnTo>
                  <a:lnTo>
                    <a:pt x="337" y="715"/>
                  </a:lnTo>
                  <a:lnTo>
                    <a:pt x="337" y="718"/>
                  </a:lnTo>
                  <a:lnTo>
                    <a:pt x="337" y="715"/>
                  </a:lnTo>
                  <a:lnTo>
                    <a:pt x="337" y="718"/>
                  </a:lnTo>
                  <a:lnTo>
                    <a:pt x="334" y="718"/>
                  </a:lnTo>
                  <a:lnTo>
                    <a:pt x="334" y="715"/>
                  </a:lnTo>
                  <a:lnTo>
                    <a:pt x="332" y="715"/>
                  </a:lnTo>
                  <a:lnTo>
                    <a:pt x="334" y="715"/>
                  </a:lnTo>
                  <a:lnTo>
                    <a:pt x="334" y="718"/>
                  </a:lnTo>
                  <a:lnTo>
                    <a:pt x="332" y="718"/>
                  </a:lnTo>
                  <a:lnTo>
                    <a:pt x="334" y="718"/>
                  </a:lnTo>
                  <a:lnTo>
                    <a:pt x="332" y="718"/>
                  </a:lnTo>
                  <a:lnTo>
                    <a:pt x="332" y="720"/>
                  </a:lnTo>
                  <a:lnTo>
                    <a:pt x="329" y="720"/>
                  </a:lnTo>
                  <a:lnTo>
                    <a:pt x="332" y="720"/>
                  </a:lnTo>
                  <a:lnTo>
                    <a:pt x="329" y="720"/>
                  </a:lnTo>
                  <a:lnTo>
                    <a:pt x="327" y="723"/>
                  </a:lnTo>
                  <a:lnTo>
                    <a:pt x="327" y="720"/>
                  </a:lnTo>
                  <a:lnTo>
                    <a:pt x="327" y="723"/>
                  </a:lnTo>
                  <a:lnTo>
                    <a:pt x="327" y="720"/>
                  </a:lnTo>
                  <a:lnTo>
                    <a:pt x="327" y="723"/>
                  </a:lnTo>
                  <a:lnTo>
                    <a:pt x="325" y="723"/>
                  </a:lnTo>
                  <a:lnTo>
                    <a:pt x="325" y="720"/>
                  </a:lnTo>
                  <a:lnTo>
                    <a:pt x="325" y="723"/>
                  </a:lnTo>
                  <a:lnTo>
                    <a:pt x="325" y="720"/>
                  </a:lnTo>
                  <a:lnTo>
                    <a:pt x="325" y="723"/>
                  </a:lnTo>
                  <a:lnTo>
                    <a:pt x="325" y="720"/>
                  </a:lnTo>
                  <a:lnTo>
                    <a:pt x="325" y="718"/>
                  </a:lnTo>
                  <a:lnTo>
                    <a:pt x="325" y="720"/>
                  </a:lnTo>
                  <a:lnTo>
                    <a:pt x="325" y="718"/>
                  </a:lnTo>
                  <a:lnTo>
                    <a:pt x="322" y="718"/>
                  </a:lnTo>
                  <a:lnTo>
                    <a:pt x="325" y="718"/>
                  </a:lnTo>
                  <a:lnTo>
                    <a:pt x="322" y="718"/>
                  </a:lnTo>
                  <a:lnTo>
                    <a:pt x="322" y="715"/>
                  </a:lnTo>
                  <a:lnTo>
                    <a:pt x="325" y="715"/>
                  </a:lnTo>
                  <a:lnTo>
                    <a:pt x="327" y="715"/>
                  </a:lnTo>
                  <a:lnTo>
                    <a:pt x="325" y="715"/>
                  </a:lnTo>
                  <a:lnTo>
                    <a:pt x="327" y="715"/>
                  </a:lnTo>
                  <a:lnTo>
                    <a:pt x="327" y="713"/>
                  </a:lnTo>
                  <a:lnTo>
                    <a:pt x="327" y="715"/>
                  </a:lnTo>
                  <a:lnTo>
                    <a:pt x="327" y="713"/>
                  </a:lnTo>
                  <a:lnTo>
                    <a:pt x="329" y="713"/>
                  </a:lnTo>
                  <a:lnTo>
                    <a:pt x="329" y="715"/>
                  </a:lnTo>
                  <a:lnTo>
                    <a:pt x="329" y="713"/>
                  </a:lnTo>
                  <a:lnTo>
                    <a:pt x="327" y="713"/>
                  </a:lnTo>
                  <a:close/>
                  <a:moveTo>
                    <a:pt x="441" y="673"/>
                  </a:moveTo>
                  <a:lnTo>
                    <a:pt x="439" y="673"/>
                  </a:lnTo>
                  <a:lnTo>
                    <a:pt x="441" y="673"/>
                  </a:lnTo>
                  <a:lnTo>
                    <a:pt x="441" y="675"/>
                  </a:lnTo>
                  <a:lnTo>
                    <a:pt x="443" y="675"/>
                  </a:lnTo>
                  <a:lnTo>
                    <a:pt x="443" y="673"/>
                  </a:lnTo>
                  <a:lnTo>
                    <a:pt x="446" y="673"/>
                  </a:lnTo>
                  <a:lnTo>
                    <a:pt x="446" y="675"/>
                  </a:lnTo>
                  <a:lnTo>
                    <a:pt x="443" y="675"/>
                  </a:lnTo>
                  <a:lnTo>
                    <a:pt x="446" y="675"/>
                  </a:lnTo>
                  <a:lnTo>
                    <a:pt x="443" y="675"/>
                  </a:lnTo>
                  <a:lnTo>
                    <a:pt x="446" y="675"/>
                  </a:lnTo>
                  <a:lnTo>
                    <a:pt x="443" y="675"/>
                  </a:lnTo>
                  <a:lnTo>
                    <a:pt x="446" y="675"/>
                  </a:lnTo>
                  <a:lnTo>
                    <a:pt x="443" y="677"/>
                  </a:lnTo>
                  <a:lnTo>
                    <a:pt x="446" y="677"/>
                  </a:lnTo>
                  <a:lnTo>
                    <a:pt x="443" y="677"/>
                  </a:lnTo>
                  <a:lnTo>
                    <a:pt x="441" y="677"/>
                  </a:lnTo>
                  <a:lnTo>
                    <a:pt x="441" y="680"/>
                  </a:lnTo>
                  <a:lnTo>
                    <a:pt x="439" y="680"/>
                  </a:lnTo>
                  <a:lnTo>
                    <a:pt x="441" y="680"/>
                  </a:lnTo>
                  <a:lnTo>
                    <a:pt x="439" y="680"/>
                  </a:lnTo>
                  <a:lnTo>
                    <a:pt x="441" y="680"/>
                  </a:lnTo>
                  <a:lnTo>
                    <a:pt x="441" y="682"/>
                  </a:lnTo>
                  <a:lnTo>
                    <a:pt x="439" y="682"/>
                  </a:lnTo>
                  <a:lnTo>
                    <a:pt x="441" y="682"/>
                  </a:lnTo>
                  <a:lnTo>
                    <a:pt x="441" y="685"/>
                  </a:lnTo>
                  <a:lnTo>
                    <a:pt x="439" y="685"/>
                  </a:lnTo>
                  <a:lnTo>
                    <a:pt x="439" y="687"/>
                  </a:lnTo>
                  <a:lnTo>
                    <a:pt x="439" y="685"/>
                  </a:lnTo>
                  <a:lnTo>
                    <a:pt x="441" y="685"/>
                  </a:lnTo>
                  <a:lnTo>
                    <a:pt x="441" y="687"/>
                  </a:lnTo>
                  <a:lnTo>
                    <a:pt x="443" y="687"/>
                  </a:lnTo>
                  <a:lnTo>
                    <a:pt x="441" y="687"/>
                  </a:lnTo>
                  <a:lnTo>
                    <a:pt x="441" y="689"/>
                  </a:lnTo>
                  <a:lnTo>
                    <a:pt x="441" y="687"/>
                  </a:lnTo>
                  <a:lnTo>
                    <a:pt x="441" y="689"/>
                  </a:lnTo>
                  <a:lnTo>
                    <a:pt x="439" y="689"/>
                  </a:lnTo>
                  <a:lnTo>
                    <a:pt x="436" y="689"/>
                  </a:lnTo>
                  <a:lnTo>
                    <a:pt x="434" y="689"/>
                  </a:lnTo>
                  <a:lnTo>
                    <a:pt x="432" y="689"/>
                  </a:lnTo>
                  <a:lnTo>
                    <a:pt x="429" y="689"/>
                  </a:lnTo>
                  <a:lnTo>
                    <a:pt x="427" y="689"/>
                  </a:lnTo>
                  <a:lnTo>
                    <a:pt x="424" y="689"/>
                  </a:lnTo>
                  <a:lnTo>
                    <a:pt x="427" y="689"/>
                  </a:lnTo>
                  <a:lnTo>
                    <a:pt x="427" y="687"/>
                  </a:lnTo>
                  <a:lnTo>
                    <a:pt x="424" y="687"/>
                  </a:lnTo>
                  <a:lnTo>
                    <a:pt x="422" y="689"/>
                  </a:lnTo>
                  <a:lnTo>
                    <a:pt x="424" y="689"/>
                  </a:lnTo>
                  <a:lnTo>
                    <a:pt x="422" y="689"/>
                  </a:lnTo>
                  <a:lnTo>
                    <a:pt x="420" y="689"/>
                  </a:lnTo>
                  <a:lnTo>
                    <a:pt x="420" y="692"/>
                  </a:lnTo>
                  <a:lnTo>
                    <a:pt x="417" y="692"/>
                  </a:lnTo>
                  <a:lnTo>
                    <a:pt x="417" y="694"/>
                  </a:lnTo>
                  <a:lnTo>
                    <a:pt x="415" y="694"/>
                  </a:lnTo>
                  <a:lnTo>
                    <a:pt x="417" y="694"/>
                  </a:lnTo>
                  <a:lnTo>
                    <a:pt x="415" y="694"/>
                  </a:lnTo>
                  <a:lnTo>
                    <a:pt x="415" y="696"/>
                  </a:lnTo>
                  <a:lnTo>
                    <a:pt x="417" y="694"/>
                  </a:lnTo>
                  <a:lnTo>
                    <a:pt x="417" y="696"/>
                  </a:lnTo>
                  <a:lnTo>
                    <a:pt x="415" y="696"/>
                  </a:lnTo>
                  <a:lnTo>
                    <a:pt x="415" y="699"/>
                  </a:lnTo>
                  <a:lnTo>
                    <a:pt x="413" y="699"/>
                  </a:lnTo>
                  <a:lnTo>
                    <a:pt x="410" y="699"/>
                  </a:lnTo>
                  <a:lnTo>
                    <a:pt x="410" y="696"/>
                  </a:lnTo>
                  <a:lnTo>
                    <a:pt x="410" y="694"/>
                  </a:lnTo>
                  <a:lnTo>
                    <a:pt x="413" y="694"/>
                  </a:lnTo>
                  <a:lnTo>
                    <a:pt x="415" y="694"/>
                  </a:lnTo>
                  <a:lnTo>
                    <a:pt x="413" y="694"/>
                  </a:lnTo>
                  <a:lnTo>
                    <a:pt x="410" y="694"/>
                  </a:lnTo>
                  <a:lnTo>
                    <a:pt x="408" y="694"/>
                  </a:lnTo>
                  <a:lnTo>
                    <a:pt x="405" y="694"/>
                  </a:lnTo>
                  <a:lnTo>
                    <a:pt x="405" y="696"/>
                  </a:lnTo>
                  <a:lnTo>
                    <a:pt x="403" y="696"/>
                  </a:lnTo>
                  <a:lnTo>
                    <a:pt x="403" y="694"/>
                  </a:lnTo>
                  <a:lnTo>
                    <a:pt x="403" y="692"/>
                  </a:lnTo>
                  <a:lnTo>
                    <a:pt x="405" y="692"/>
                  </a:lnTo>
                  <a:lnTo>
                    <a:pt x="408" y="692"/>
                  </a:lnTo>
                  <a:lnTo>
                    <a:pt x="405" y="692"/>
                  </a:lnTo>
                  <a:lnTo>
                    <a:pt x="408" y="689"/>
                  </a:lnTo>
                  <a:lnTo>
                    <a:pt x="410" y="689"/>
                  </a:lnTo>
                  <a:lnTo>
                    <a:pt x="413" y="689"/>
                  </a:lnTo>
                  <a:lnTo>
                    <a:pt x="415" y="687"/>
                  </a:lnTo>
                  <a:lnTo>
                    <a:pt x="413" y="687"/>
                  </a:lnTo>
                  <a:lnTo>
                    <a:pt x="415" y="687"/>
                  </a:lnTo>
                  <a:lnTo>
                    <a:pt x="417" y="687"/>
                  </a:lnTo>
                  <a:lnTo>
                    <a:pt x="415" y="687"/>
                  </a:lnTo>
                  <a:lnTo>
                    <a:pt x="413" y="687"/>
                  </a:lnTo>
                  <a:lnTo>
                    <a:pt x="410" y="687"/>
                  </a:lnTo>
                  <a:lnTo>
                    <a:pt x="408" y="687"/>
                  </a:lnTo>
                  <a:lnTo>
                    <a:pt x="405" y="687"/>
                  </a:lnTo>
                  <a:lnTo>
                    <a:pt x="408" y="687"/>
                  </a:lnTo>
                  <a:lnTo>
                    <a:pt x="408" y="685"/>
                  </a:lnTo>
                  <a:lnTo>
                    <a:pt x="405" y="685"/>
                  </a:lnTo>
                  <a:lnTo>
                    <a:pt x="408" y="685"/>
                  </a:lnTo>
                  <a:lnTo>
                    <a:pt x="410" y="685"/>
                  </a:lnTo>
                  <a:lnTo>
                    <a:pt x="413" y="685"/>
                  </a:lnTo>
                  <a:lnTo>
                    <a:pt x="415" y="685"/>
                  </a:lnTo>
                  <a:lnTo>
                    <a:pt x="413" y="685"/>
                  </a:lnTo>
                  <a:lnTo>
                    <a:pt x="413" y="682"/>
                  </a:lnTo>
                  <a:lnTo>
                    <a:pt x="415" y="682"/>
                  </a:lnTo>
                  <a:lnTo>
                    <a:pt x="413" y="682"/>
                  </a:lnTo>
                  <a:lnTo>
                    <a:pt x="410" y="682"/>
                  </a:lnTo>
                  <a:lnTo>
                    <a:pt x="413" y="682"/>
                  </a:lnTo>
                  <a:lnTo>
                    <a:pt x="410" y="682"/>
                  </a:lnTo>
                  <a:lnTo>
                    <a:pt x="408" y="682"/>
                  </a:lnTo>
                  <a:lnTo>
                    <a:pt x="410" y="680"/>
                  </a:lnTo>
                  <a:lnTo>
                    <a:pt x="408" y="680"/>
                  </a:lnTo>
                  <a:lnTo>
                    <a:pt x="405" y="680"/>
                  </a:lnTo>
                  <a:lnTo>
                    <a:pt x="408" y="680"/>
                  </a:lnTo>
                  <a:lnTo>
                    <a:pt x="410" y="680"/>
                  </a:lnTo>
                  <a:lnTo>
                    <a:pt x="413" y="680"/>
                  </a:lnTo>
                  <a:lnTo>
                    <a:pt x="415" y="680"/>
                  </a:lnTo>
                  <a:lnTo>
                    <a:pt x="413" y="680"/>
                  </a:lnTo>
                  <a:lnTo>
                    <a:pt x="415" y="677"/>
                  </a:lnTo>
                  <a:lnTo>
                    <a:pt x="413" y="677"/>
                  </a:lnTo>
                  <a:lnTo>
                    <a:pt x="413" y="680"/>
                  </a:lnTo>
                  <a:lnTo>
                    <a:pt x="413" y="677"/>
                  </a:lnTo>
                  <a:lnTo>
                    <a:pt x="410" y="677"/>
                  </a:lnTo>
                  <a:lnTo>
                    <a:pt x="413" y="677"/>
                  </a:lnTo>
                  <a:lnTo>
                    <a:pt x="415" y="677"/>
                  </a:lnTo>
                  <a:lnTo>
                    <a:pt x="413" y="677"/>
                  </a:lnTo>
                  <a:lnTo>
                    <a:pt x="410" y="677"/>
                  </a:lnTo>
                  <a:lnTo>
                    <a:pt x="408" y="677"/>
                  </a:lnTo>
                  <a:lnTo>
                    <a:pt x="405" y="677"/>
                  </a:lnTo>
                  <a:lnTo>
                    <a:pt x="405" y="675"/>
                  </a:lnTo>
                  <a:lnTo>
                    <a:pt x="405" y="677"/>
                  </a:lnTo>
                  <a:lnTo>
                    <a:pt x="408" y="675"/>
                  </a:lnTo>
                  <a:lnTo>
                    <a:pt x="410" y="675"/>
                  </a:lnTo>
                  <a:lnTo>
                    <a:pt x="413" y="675"/>
                  </a:lnTo>
                  <a:lnTo>
                    <a:pt x="415" y="675"/>
                  </a:lnTo>
                  <a:lnTo>
                    <a:pt x="413" y="675"/>
                  </a:lnTo>
                  <a:lnTo>
                    <a:pt x="415" y="675"/>
                  </a:lnTo>
                  <a:lnTo>
                    <a:pt x="415" y="673"/>
                  </a:lnTo>
                  <a:lnTo>
                    <a:pt x="415" y="675"/>
                  </a:lnTo>
                  <a:lnTo>
                    <a:pt x="415" y="673"/>
                  </a:lnTo>
                  <a:lnTo>
                    <a:pt x="415" y="675"/>
                  </a:lnTo>
                  <a:lnTo>
                    <a:pt x="417" y="675"/>
                  </a:lnTo>
                  <a:lnTo>
                    <a:pt x="417" y="673"/>
                  </a:lnTo>
                  <a:lnTo>
                    <a:pt x="417" y="675"/>
                  </a:lnTo>
                  <a:lnTo>
                    <a:pt x="420" y="675"/>
                  </a:lnTo>
                  <a:lnTo>
                    <a:pt x="422" y="675"/>
                  </a:lnTo>
                  <a:lnTo>
                    <a:pt x="422" y="677"/>
                  </a:lnTo>
                  <a:lnTo>
                    <a:pt x="422" y="675"/>
                  </a:lnTo>
                  <a:lnTo>
                    <a:pt x="420" y="675"/>
                  </a:lnTo>
                  <a:lnTo>
                    <a:pt x="420" y="673"/>
                  </a:lnTo>
                  <a:lnTo>
                    <a:pt x="420" y="675"/>
                  </a:lnTo>
                  <a:lnTo>
                    <a:pt x="422" y="675"/>
                  </a:lnTo>
                  <a:lnTo>
                    <a:pt x="422" y="673"/>
                  </a:lnTo>
                  <a:lnTo>
                    <a:pt x="424" y="673"/>
                  </a:lnTo>
                  <a:lnTo>
                    <a:pt x="427" y="673"/>
                  </a:lnTo>
                  <a:lnTo>
                    <a:pt x="424" y="673"/>
                  </a:lnTo>
                  <a:lnTo>
                    <a:pt x="422" y="673"/>
                  </a:lnTo>
                  <a:lnTo>
                    <a:pt x="420" y="673"/>
                  </a:lnTo>
                  <a:lnTo>
                    <a:pt x="417" y="673"/>
                  </a:lnTo>
                  <a:lnTo>
                    <a:pt x="417" y="670"/>
                  </a:lnTo>
                  <a:lnTo>
                    <a:pt x="415" y="668"/>
                  </a:lnTo>
                  <a:lnTo>
                    <a:pt x="417" y="668"/>
                  </a:lnTo>
                  <a:lnTo>
                    <a:pt x="417" y="670"/>
                  </a:lnTo>
                  <a:lnTo>
                    <a:pt x="420" y="670"/>
                  </a:lnTo>
                  <a:lnTo>
                    <a:pt x="420" y="673"/>
                  </a:lnTo>
                  <a:lnTo>
                    <a:pt x="422" y="670"/>
                  </a:lnTo>
                  <a:lnTo>
                    <a:pt x="420" y="670"/>
                  </a:lnTo>
                  <a:lnTo>
                    <a:pt x="422" y="670"/>
                  </a:lnTo>
                  <a:lnTo>
                    <a:pt x="422" y="668"/>
                  </a:lnTo>
                  <a:lnTo>
                    <a:pt x="420" y="668"/>
                  </a:lnTo>
                  <a:lnTo>
                    <a:pt x="420" y="666"/>
                  </a:lnTo>
                  <a:lnTo>
                    <a:pt x="422" y="666"/>
                  </a:lnTo>
                  <a:lnTo>
                    <a:pt x="422" y="668"/>
                  </a:lnTo>
                  <a:lnTo>
                    <a:pt x="424" y="668"/>
                  </a:lnTo>
                  <a:lnTo>
                    <a:pt x="427" y="668"/>
                  </a:lnTo>
                  <a:lnTo>
                    <a:pt x="424" y="670"/>
                  </a:lnTo>
                  <a:lnTo>
                    <a:pt x="427" y="670"/>
                  </a:lnTo>
                  <a:lnTo>
                    <a:pt x="427" y="668"/>
                  </a:lnTo>
                  <a:lnTo>
                    <a:pt x="427" y="670"/>
                  </a:lnTo>
                  <a:lnTo>
                    <a:pt x="429" y="670"/>
                  </a:lnTo>
                  <a:lnTo>
                    <a:pt x="432" y="670"/>
                  </a:lnTo>
                  <a:lnTo>
                    <a:pt x="429" y="670"/>
                  </a:lnTo>
                  <a:lnTo>
                    <a:pt x="429" y="668"/>
                  </a:lnTo>
                  <a:lnTo>
                    <a:pt x="427" y="668"/>
                  </a:lnTo>
                  <a:lnTo>
                    <a:pt x="427" y="666"/>
                  </a:lnTo>
                  <a:lnTo>
                    <a:pt x="424" y="666"/>
                  </a:lnTo>
                  <a:lnTo>
                    <a:pt x="424" y="663"/>
                  </a:lnTo>
                  <a:lnTo>
                    <a:pt x="427" y="663"/>
                  </a:lnTo>
                  <a:lnTo>
                    <a:pt x="424" y="663"/>
                  </a:lnTo>
                  <a:lnTo>
                    <a:pt x="427" y="663"/>
                  </a:lnTo>
                  <a:lnTo>
                    <a:pt x="427" y="666"/>
                  </a:lnTo>
                  <a:lnTo>
                    <a:pt x="429" y="666"/>
                  </a:lnTo>
                  <a:lnTo>
                    <a:pt x="429" y="668"/>
                  </a:lnTo>
                  <a:lnTo>
                    <a:pt x="432" y="668"/>
                  </a:lnTo>
                  <a:lnTo>
                    <a:pt x="429" y="668"/>
                  </a:lnTo>
                  <a:lnTo>
                    <a:pt x="432" y="668"/>
                  </a:lnTo>
                  <a:lnTo>
                    <a:pt x="432" y="670"/>
                  </a:lnTo>
                  <a:lnTo>
                    <a:pt x="432" y="668"/>
                  </a:lnTo>
                  <a:lnTo>
                    <a:pt x="434" y="668"/>
                  </a:lnTo>
                  <a:lnTo>
                    <a:pt x="432" y="668"/>
                  </a:lnTo>
                  <a:lnTo>
                    <a:pt x="432" y="666"/>
                  </a:lnTo>
                  <a:lnTo>
                    <a:pt x="432" y="663"/>
                  </a:lnTo>
                  <a:lnTo>
                    <a:pt x="429" y="663"/>
                  </a:lnTo>
                  <a:lnTo>
                    <a:pt x="432" y="663"/>
                  </a:lnTo>
                  <a:lnTo>
                    <a:pt x="434" y="663"/>
                  </a:lnTo>
                  <a:lnTo>
                    <a:pt x="434" y="666"/>
                  </a:lnTo>
                  <a:lnTo>
                    <a:pt x="436" y="668"/>
                  </a:lnTo>
                  <a:lnTo>
                    <a:pt x="436" y="666"/>
                  </a:lnTo>
                  <a:lnTo>
                    <a:pt x="439" y="666"/>
                  </a:lnTo>
                  <a:lnTo>
                    <a:pt x="439" y="663"/>
                  </a:lnTo>
                  <a:lnTo>
                    <a:pt x="436" y="663"/>
                  </a:lnTo>
                  <a:lnTo>
                    <a:pt x="439" y="663"/>
                  </a:lnTo>
                  <a:lnTo>
                    <a:pt x="439" y="666"/>
                  </a:lnTo>
                  <a:lnTo>
                    <a:pt x="441" y="666"/>
                  </a:lnTo>
                  <a:lnTo>
                    <a:pt x="439" y="666"/>
                  </a:lnTo>
                  <a:lnTo>
                    <a:pt x="439" y="668"/>
                  </a:lnTo>
                  <a:lnTo>
                    <a:pt x="441" y="668"/>
                  </a:lnTo>
                  <a:lnTo>
                    <a:pt x="439" y="668"/>
                  </a:lnTo>
                  <a:lnTo>
                    <a:pt x="439" y="670"/>
                  </a:lnTo>
                  <a:lnTo>
                    <a:pt x="436" y="670"/>
                  </a:lnTo>
                  <a:lnTo>
                    <a:pt x="439" y="670"/>
                  </a:lnTo>
                  <a:lnTo>
                    <a:pt x="436" y="670"/>
                  </a:lnTo>
                  <a:lnTo>
                    <a:pt x="436" y="673"/>
                  </a:lnTo>
                  <a:lnTo>
                    <a:pt x="436" y="670"/>
                  </a:lnTo>
                  <a:lnTo>
                    <a:pt x="436" y="673"/>
                  </a:lnTo>
                  <a:lnTo>
                    <a:pt x="439" y="673"/>
                  </a:lnTo>
                  <a:lnTo>
                    <a:pt x="439" y="670"/>
                  </a:lnTo>
                  <a:lnTo>
                    <a:pt x="439" y="668"/>
                  </a:lnTo>
                  <a:lnTo>
                    <a:pt x="441" y="668"/>
                  </a:lnTo>
                  <a:lnTo>
                    <a:pt x="443" y="668"/>
                  </a:lnTo>
                  <a:lnTo>
                    <a:pt x="443" y="670"/>
                  </a:lnTo>
                  <a:lnTo>
                    <a:pt x="446" y="670"/>
                  </a:lnTo>
                  <a:lnTo>
                    <a:pt x="443" y="670"/>
                  </a:lnTo>
                  <a:lnTo>
                    <a:pt x="443" y="673"/>
                  </a:lnTo>
                  <a:lnTo>
                    <a:pt x="441" y="673"/>
                  </a:lnTo>
                  <a:close/>
                  <a:moveTo>
                    <a:pt x="847" y="647"/>
                  </a:moveTo>
                  <a:lnTo>
                    <a:pt x="849" y="647"/>
                  </a:lnTo>
                  <a:lnTo>
                    <a:pt x="849" y="649"/>
                  </a:lnTo>
                  <a:lnTo>
                    <a:pt x="847" y="649"/>
                  </a:lnTo>
                  <a:lnTo>
                    <a:pt x="844" y="649"/>
                  </a:lnTo>
                  <a:lnTo>
                    <a:pt x="847" y="649"/>
                  </a:lnTo>
                  <a:lnTo>
                    <a:pt x="849" y="649"/>
                  </a:lnTo>
                  <a:lnTo>
                    <a:pt x="851" y="649"/>
                  </a:lnTo>
                  <a:lnTo>
                    <a:pt x="851" y="651"/>
                  </a:lnTo>
                  <a:lnTo>
                    <a:pt x="851" y="649"/>
                  </a:lnTo>
                  <a:lnTo>
                    <a:pt x="851" y="651"/>
                  </a:lnTo>
                  <a:lnTo>
                    <a:pt x="851" y="654"/>
                  </a:lnTo>
                  <a:lnTo>
                    <a:pt x="851" y="651"/>
                  </a:lnTo>
                  <a:lnTo>
                    <a:pt x="851" y="654"/>
                  </a:lnTo>
                  <a:lnTo>
                    <a:pt x="851" y="656"/>
                  </a:lnTo>
                  <a:lnTo>
                    <a:pt x="851" y="658"/>
                  </a:lnTo>
                  <a:lnTo>
                    <a:pt x="849" y="658"/>
                  </a:lnTo>
                  <a:lnTo>
                    <a:pt x="851" y="658"/>
                  </a:lnTo>
                  <a:lnTo>
                    <a:pt x="854" y="658"/>
                  </a:lnTo>
                  <a:lnTo>
                    <a:pt x="851" y="656"/>
                  </a:lnTo>
                  <a:lnTo>
                    <a:pt x="854" y="656"/>
                  </a:lnTo>
                  <a:lnTo>
                    <a:pt x="851" y="656"/>
                  </a:lnTo>
                  <a:lnTo>
                    <a:pt x="854" y="656"/>
                  </a:lnTo>
                  <a:lnTo>
                    <a:pt x="854" y="654"/>
                  </a:lnTo>
                  <a:lnTo>
                    <a:pt x="851" y="654"/>
                  </a:lnTo>
                  <a:lnTo>
                    <a:pt x="854" y="654"/>
                  </a:lnTo>
                  <a:lnTo>
                    <a:pt x="851" y="654"/>
                  </a:lnTo>
                  <a:lnTo>
                    <a:pt x="854" y="654"/>
                  </a:lnTo>
                  <a:lnTo>
                    <a:pt x="854" y="651"/>
                  </a:lnTo>
                  <a:lnTo>
                    <a:pt x="851" y="651"/>
                  </a:lnTo>
                  <a:lnTo>
                    <a:pt x="854" y="651"/>
                  </a:lnTo>
                  <a:lnTo>
                    <a:pt x="854" y="649"/>
                  </a:lnTo>
                  <a:lnTo>
                    <a:pt x="854" y="651"/>
                  </a:lnTo>
                  <a:lnTo>
                    <a:pt x="854" y="649"/>
                  </a:lnTo>
                  <a:lnTo>
                    <a:pt x="856" y="649"/>
                  </a:lnTo>
                  <a:lnTo>
                    <a:pt x="854" y="649"/>
                  </a:lnTo>
                  <a:lnTo>
                    <a:pt x="856" y="649"/>
                  </a:lnTo>
                  <a:lnTo>
                    <a:pt x="856" y="651"/>
                  </a:lnTo>
                  <a:lnTo>
                    <a:pt x="854" y="651"/>
                  </a:lnTo>
                  <a:lnTo>
                    <a:pt x="856" y="651"/>
                  </a:lnTo>
                  <a:lnTo>
                    <a:pt x="859" y="651"/>
                  </a:lnTo>
                  <a:lnTo>
                    <a:pt x="856" y="651"/>
                  </a:lnTo>
                  <a:lnTo>
                    <a:pt x="859" y="649"/>
                  </a:lnTo>
                  <a:lnTo>
                    <a:pt x="859" y="651"/>
                  </a:lnTo>
                  <a:lnTo>
                    <a:pt x="861" y="651"/>
                  </a:lnTo>
                  <a:lnTo>
                    <a:pt x="859" y="651"/>
                  </a:lnTo>
                  <a:lnTo>
                    <a:pt x="861" y="651"/>
                  </a:lnTo>
                  <a:lnTo>
                    <a:pt x="859" y="651"/>
                  </a:lnTo>
                  <a:lnTo>
                    <a:pt x="861" y="651"/>
                  </a:lnTo>
                  <a:lnTo>
                    <a:pt x="863" y="651"/>
                  </a:lnTo>
                  <a:lnTo>
                    <a:pt x="861" y="651"/>
                  </a:lnTo>
                  <a:lnTo>
                    <a:pt x="861" y="654"/>
                  </a:lnTo>
                  <a:lnTo>
                    <a:pt x="859" y="654"/>
                  </a:lnTo>
                  <a:lnTo>
                    <a:pt x="861" y="654"/>
                  </a:lnTo>
                  <a:lnTo>
                    <a:pt x="863" y="654"/>
                  </a:lnTo>
                  <a:lnTo>
                    <a:pt x="863" y="651"/>
                  </a:lnTo>
                  <a:lnTo>
                    <a:pt x="863" y="654"/>
                  </a:lnTo>
                  <a:lnTo>
                    <a:pt x="863" y="651"/>
                  </a:lnTo>
                  <a:lnTo>
                    <a:pt x="866" y="651"/>
                  </a:lnTo>
                  <a:lnTo>
                    <a:pt x="863" y="651"/>
                  </a:lnTo>
                  <a:lnTo>
                    <a:pt x="866" y="651"/>
                  </a:lnTo>
                  <a:lnTo>
                    <a:pt x="866" y="654"/>
                  </a:lnTo>
                  <a:lnTo>
                    <a:pt x="868" y="654"/>
                  </a:lnTo>
                  <a:lnTo>
                    <a:pt x="868" y="656"/>
                  </a:lnTo>
                  <a:lnTo>
                    <a:pt x="868" y="658"/>
                  </a:lnTo>
                  <a:lnTo>
                    <a:pt x="870" y="658"/>
                  </a:lnTo>
                  <a:lnTo>
                    <a:pt x="868" y="658"/>
                  </a:lnTo>
                  <a:lnTo>
                    <a:pt x="868" y="661"/>
                  </a:lnTo>
                  <a:lnTo>
                    <a:pt x="870" y="661"/>
                  </a:lnTo>
                  <a:lnTo>
                    <a:pt x="870" y="663"/>
                  </a:lnTo>
                  <a:lnTo>
                    <a:pt x="870" y="666"/>
                  </a:lnTo>
                  <a:lnTo>
                    <a:pt x="868" y="666"/>
                  </a:lnTo>
                  <a:lnTo>
                    <a:pt x="866" y="666"/>
                  </a:lnTo>
                  <a:lnTo>
                    <a:pt x="866" y="668"/>
                  </a:lnTo>
                  <a:lnTo>
                    <a:pt x="863" y="668"/>
                  </a:lnTo>
                  <a:lnTo>
                    <a:pt x="859" y="666"/>
                  </a:lnTo>
                  <a:lnTo>
                    <a:pt x="856" y="666"/>
                  </a:lnTo>
                  <a:lnTo>
                    <a:pt x="851" y="663"/>
                  </a:lnTo>
                  <a:lnTo>
                    <a:pt x="849" y="661"/>
                  </a:lnTo>
                  <a:lnTo>
                    <a:pt x="847" y="661"/>
                  </a:lnTo>
                  <a:lnTo>
                    <a:pt x="844" y="658"/>
                  </a:lnTo>
                  <a:lnTo>
                    <a:pt x="842" y="658"/>
                  </a:lnTo>
                  <a:lnTo>
                    <a:pt x="842" y="656"/>
                  </a:lnTo>
                  <a:lnTo>
                    <a:pt x="842" y="654"/>
                  </a:lnTo>
                  <a:lnTo>
                    <a:pt x="844" y="654"/>
                  </a:lnTo>
                  <a:lnTo>
                    <a:pt x="844" y="651"/>
                  </a:lnTo>
                  <a:lnTo>
                    <a:pt x="844" y="649"/>
                  </a:lnTo>
                  <a:lnTo>
                    <a:pt x="842" y="649"/>
                  </a:lnTo>
                  <a:lnTo>
                    <a:pt x="844" y="649"/>
                  </a:lnTo>
                  <a:lnTo>
                    <a:pt x="844" y="647"/>
                  </a:lnTo>
                  <a:lnTo>
                    <a:pt x="844" y="649"/>
                  </a:lnTo>
                  <a:lnTo>
                    <a:pt x="844" y="647"/>
                  </a:lnTo>
                  <a:lnTo>
                    <a:pt x="842" y="647"/>
                  </a:lnTo>
                  <a:lnTo>
                    <a:pt x="844" y="647"/>
                  </a:lnTo>
                  <a:lnTo>
                    <a:pt x="842" y="647"/>
                  </a:lnTo>
                  <a:lnTo>
                    <a:pt x="844" y="647"/>
                  </a:lnTo>
                  <a:lnTo>
                    <a:pt x="847" y="647"/>
                  </a:lnTo>
                  <a:lnTo>
                    <a:pt x="849" y="647"/>
                  </a:lnTo>
                  <a:lnTo>
                    <a:pt x="847" y="647"/>
                  </a:lnTo>
                  <a:close/>
                  <a:moveTo>
                    <a:pt x="837" y="649"/>
                  </a:moveTo>
                  <a:lnTo>
                    <a:pt x="835" y="649"/>
                  </a:lnTo>
                  <a:lnTo>
                    <a:pt x="835" y="651"/>
                  </a:lnTo>
                  <a:lnTo>
                    <a:pt x="837" y="649"/>
                  </a:lnTo>
                  <a:lnTo>
                    <a:pt x="840" y="649"/>
                  </a:lnTo>
                  <a:lnTo>
                    <a:pt x="840" y="651"/>
                  </a:lnTo>
                  <a:lnTo>
                    <a:pt x="840" y="649"/>
                  </a:lnTo>
                  <a:lnTo>
                    <a:pt x="842" y="649"/>
                  </a:lnTo>
                  <a:lnTo>
                    <a:pt x="842" y="651"/>
                  </a:lnTo>
                  <a:lnTo>
                    <a:pt x="840" y="651"/>
                  </a:lnTo>
                  <a:lnTo>
                    <a:pt x="837" y="651"/>
                  </a:lnTo>
                  <a:lnTo>
                    <a:pt x="835" y="654"/>
                  </a:lnTo>
                  <a:lnTo>
                    <a:pt x="832" y="654"/>
                  </a:lnTo>
                  <a:lnTo>
                    <a:pt x="830" y="654"/>
                  </a:lnTo>
                  <a:lnTo>
                    <a:pt x="828" y="654"/>
                  </a:lnTo>
                  <a:lnTo>
                    <a:pt x="830" y="654"/>
                  </a:lnTo>
                  <a:lnTo>
                    <a:pt x="830" y="651"/>
                  </a:lnTo>
                  <a:lnTo>
                    <a:pt x="832" y="651"/>
                  </a:lnTo>
                  <a:lnTo>
                    <a:pt x="832" y="649"/>
                  </a:lnTo>
                  <a:lnTo>
                    <a:pt x="832" y="647"/>
                  </a:lnTo>
                  <a:lnTo>
                    <a:pt x="832" y="644"/>
                  </a:lnTo>
                  <a:lnTo>
                    <a:pt x="835" y="644"/>
                  </a:lnTo>
                  <a:lnTo>
                    <a:pt x="837" y="644"/>
                  </a:lnTo>
                  <a:lnTo>
                    <a:pt x="837" y="647"/>
                  </a:lnTo>
                  <a:lnTo>
                    <a:pt x="837" y="649"/>
                  </a:lnTo>
                  <a:lnTo>
                    <a:pt x="840" y="649"/>
                  </a:lnTo>
                  <a:lnTo>
                    <a:pt x="837" y="649"/>
                  </a:lnTo>
                  <a:close/>
                  <a:moveTo>
                    <a:pt x="590" y="618"/>
                  </a:moveTo>
                  <a:lnTo>
                    <a:pt x="593" y="618"/>
                  </a:lnTo>
                  <a:lnTo>
                    <a:pt x="593" y="616"/>
                  </a:lnTo>
                  <a:lnTo>
                    <a:pt x="593" y="618"/>
                  </a:lnTo>
                  <a:lnTo>
                    <a:pt x="595" y="616"/>
                  </a:lnTo>
                  <a:lnTo>
                    <a:pt x="595" y="618"/>
                  </a:lnTo>
                  <a:lnTo>
                    <a:pt x="595" y="616"/>
                  </a:lnTo>
                  <a:lnTo>
                    <a:pt x="598" y="616"/>
                  </a:lnTo>
                  <a:lnTo>
                    <a:pt x="598" y="618"/>
                  </a:lnTo>
                  <a:lnTo>
                    <a:pt x="598" y="620"/>
                  </a:lnTo>
                  <a:lnTo>
                    <a:pt x="598" y="618"/>
                  </a:lnTo>
                  <a:lnTo>
                    <a:pt x="598" y="616"/>
                  </a:lnTo>
                  <a:lnTo>
                    <a:pt x="600" y="616"/>
                  </a:lnTo>
                  <a:lnTo>
                    <a:pt x="600" y="618"/>
                  </a:lnTo>
                  <a:lnTo>
                    <a:pt x="600" y="620"/>
                  </a:lnTo>
                  <a:lnTo>
                    <a:pt x="602" y="620"/>
                  </a:lnTo>
                  <a:lnTo>
                    <a:pt x="600" y="620"/>
                  </a:lnTo>
                  <a:lnTo>
                    <a:pt x="602" y="620"/>
                  </a:lnTo>
                  <a:lnTo>
                    <a:pt x="602" y="618"/>
                  </a:lnTo>
                  <a:lnTo>
                    <a:pt x="602" y="620"/>
                  </a:lnTo>
                  <a:lnTo>
                    <a:pt x="602" y="618"/>
                  </a:lnTo>
                  <a:lnTo>
                    <a:pt x="602" y="620"/>
                  </a:lnTo>
                  <a:lnTo>
                    <a:pt x="605" y="620"/>
                  </a:lnTo>
                  <a:lnTo>
                    <a:pt x="602" y="620"/>
                  </a:lnTo>
                  <a:lnTo>
                    <a:pt x="605" y="620"/>
                  </a:lnTo>
                  <a:lnTo>
                    <a:pt x="607" y="620"/>
                  </a:lnTo>
                  <a:lnTo>
                    <a:pt x="605" y="620"/>
                  </a:lnTo>
                  <a:lnTo>
                    <a:pt x="605" y="623"/>
                  </a:lnTo>
                  <a:lnTo>
                    <a:pt x="605" y="620"/>
                  </a:lnTo>
                  <a:lnTo>
                    <a:pt x="607" y="620"/>
                  </a:lnTo>
                  <a:lnTo>
                    <a:pt x="607" y="623"/>
                  </a:lnTo>
                  <a:lnTo>
                    <a:pt x="607" y="625"/>
                  </a:lnTo>
                  <a:lnTo>
                    <a:pt x="605" y="625"/>
                  </a:lnTo>
                  <a:lnTo>
                    <a:pt x="602" y="625"/>
                  </a:lnTo>
                  <a:lnTo>
                    <a:pt x="600" y="625"/>
                  </a:lnTo>
                  <a:lnTo>
                    <a:pt x="598" y="625"/>
                  </a:lnTo>
                  <a:lnTo>
                    <a:pt x="595" y="625"/>
                  </a:lnTo>
                  <a:lnTo>
                    <a:pt x="595" y="623"/>
                  </a:lnTo>
                  <a:lnTo>
                    <a:pt x="593" y="623"/>
                  </a:lnTo>
                  <a:lnTo>
                    <a:pt x="590" y="623"/>
                  </a:lnTo>
                  <a:lnTo>
                    <a:pt x="588" y="623"/>
                  </a:lnTo>
                  <a:lnTo>
                    <a:pt x="588" y="620"/>
                  </a:lnTo>
                  <a:lnTo>
                    <a:pt x="586" y="620"/>
                  </a:lnTo>
                  <a:lnTo>
                    <a:pt x="586" y="618"/>
                  </a:lnTo>
                  <a:lnTo>
                    <a:pt x="588" y="618"/>
                  </a:lnTo>
                  <a:lnTo>
                    <a:pt x="590" y="618"/>
                  </a:lnTo>
                  <a:lnTo>
                    <a:pt x="590" y="620"/>
                  </a:lnTo>
                  <a:lnTo>
                    <a:pt x="590" y="618"/>
                  </a:lnTo>
                  <a:lnTo>
                    <a:pt x="588" y="618"/>
                  </a:lnTo>
                  <a:lnTo>
                    <a:pt x="590" y="618"/>
                  </a:lnTo>
                  <a:close/>
                  <a:moveTo>
                    <a:pt x="579" y="609"/>
                  </a:moveTo>
                  <a:lnTo>
                    <a:pt x="581" y="609"/>
                  </a:lnTo>
                  <a:lnTo>
                    <a:pt x="581" y="606"/>
                  </a:lnTo>
                  <a:lnTo>
                    <a:pt x="583" y="606"/>
                  </a:lnTo>
                  <a:lnTo>
                    <a:pt x="581" y="606"/>
                  </a:lnTo>
                  <a:lnTo>
                    <a:pt x="581" y="604"/>
                  </a:lnTo>
                  <a:lnTo>
                    <a:pt x="583" y="604"/>
                  </a:lnTo>
                  <a:lnTo>
                    <a:pt x="586" y="604"/>
                  </a:lnTo>
                  <a:lnTo>
                    <a:pt x="583" y="604"/>
                  </a:lnTo>
                  <a:lnTo>
                    <a:pt x="581" y="604"/>
                  </a:lnTo>
                  <a:lnTo>
                    <a:pt x="579" y="604"/>
                  </a:lnTo>
                  <a:lnTo>
                    <a:pt x="576" y="604"/>
                  </a:lnTo>
                  <a:lnTo>
                    <a:pt x="574" y="604"/>
                  </a:lnTo>
                  <a:lnTo>
                    <a:pt x="574" y="601"/>
                  </a:lnTo>
                  <a:lnTo>
                    <a:pt x="576" y="604"/>
                  </a:lnTo>
                  <a:lnTo>
                    <a:pt x="576" y="601"/>
                  </a:lnTo>
                  <a:lnTo>
                    <a:pt x="574" y="601"/>
                  </a:lnTo>
                  <a:lnTo>
                    <a:pt x="572" y="601"/>
                  </a:lnTo>
                  <a:lnTo>
                    <a:pt x="574" y="601"/>
                  </a:lnTo>
                  <a:lnTo>
                    <a:pt x="572" y="601"/>
                  </a:lnTo>
                  <a:lnTo>
                    <a:pt x="572" y="599"/>
                  </a:lnTo>
                  <a:lnTo>
                    <a:pt x="574" y="599"/>
                  </a:lnTo>
                  <a:lnTo>
                    <a:pt x="574" y="601"/>
                  </a:lnTo>
                  <a:lnTo>
                    <a:pt x="576" y="601"/>
                  </a:lnTo>
                  <a:lnTo>
                    <a:pt x="579" y="601"/>
                  </a:lnTo>
                  <a:lnTo>
                    <a:pt x="581" y="601"/>
                  </a:lnTo>
                  <a:lnTo>
                    <a:pt x="583" y="601"/>
                  </a:lnTo>
                  <a:lnTo>
                    <a:pt x="581" y="601"/>
                  </a:lnTo>
                  <a:lnTo>
                    <a:pt x="581" y="599"/>
                  </a:lnTo>
                  <a:lnTo>
                    <a:pt x="583" y="599"/>
                  </a:lnTo>
                  <a:lnTo>
                    <a:pt x="583" y="601"/>
                  </a:lnTo>
                  <a:lnTo>
                    <a:pt x="586" y="601"/>
                  </a:lnTo>
                  <a:lnTo>
                    <a:pt x="588" y="601"/>
                  </a:lnTo>
                  <a:lnTo>
                    <a:pt x="586" y="601"/>
                  </a:lnTo>
                  <a:lnTo>
                    <a:pt x="586" y="599"/>
                  </a:lnTo>
                  <a:lnTo>
                    <a:pt x="588" y="599"/>
                  </a:lnTo>
                  <a:lnTo>
                    <a:pt x="586" y="599"/>
                  </a:lnTo>
                  <a:lnTo>
                    <a:pt x="586" y="597"/>
                  </a:lnTo>
                  <a:lnTo>
                    <a:pt x="588" y="597"/>
                  </a:lnTo>
                  <a:lnTo>
                    <a:pt x="586" y="597"/>
                  </a:lnTo>
                  <a:lnTo>
                    <a:pt x="588" y="597"/>
                  </a:lnTo>
                  <a:lnTo>
                    <a:pt x="588" y="599"/>
                  </a:lnTo>
                  <a:lnTo>
                    <a:pt x="590" y="599"/>
                  </a:lnTo>
                  <a:lnTo>
                    <a:pt x="590" y="597"/>
                  </a:lnTo>
                  <a:lnTo>
                    <a:pt x="593" y="597"/>
                  </a:lnTo>
                  <a:lnTo>
                    <a:pt x="595" y="597"/>
                  </a:lnTo>
                  <a:lnTo>
                    <a:pt x="595" y="599"/>
                  </a:lnTo>
                  <a:lnTo>
                    <a:pt x="593" y="599"/>
                  </a:lnTo>
                  <a:lnTo>
                    <a:pt x="595" y="599"/>
                  </a:lnTo>
                  <a:lnTo>
                    <a:pt x="593" y="599"/>
                  </a:lnTo>
                  <a:lnTo>
                    <a:pt x="593" y="601"/>
                  </a:lnTo>
                  <a:lnTo>
                    <a:pt x="595" y="601"/>
                  </a:lnTo>
                  <a:lnTo>
                    <a:pt x="593" y="601"/>
                  </a:lnTo>
                  <a:lnTo>
                    <a:pt x="595" y="601"/>
                  </a:lnTo>
                  <a:lnTo>
                    <a:pt x="598" y="599"/>
                  </a:lnTo>
                  <a:lnTo>
                    <a:pt x="598" y="601"/>
                  </a:lnTo>
                  <a:lnTo>
                    <a:pt x="600" y="601"/>
                  </a:lnTo>
                  <a:lnTo>
                    <a:pt x="602" y="601"/>
                  </a:lnTo>
                  <a:lnTo>
                    <a:pt x="602" y="599"/>
                  </a:lnTo>
                  <a:lnTo>
                    <a:pt x="600" y="599"/>
                  </a:lnTo>
                  <a:lnTo>
                    <a:pt x="600" y="597"/>
                  </a:lnTo>
                  <a:lnTo>
                    <a:pt x="598" y="597"/>
                  </a:lnTo>
                  <a:lnTo>
                    <a:pt x="600" y="597"/>
                  </a:lnTo>
                  <a:lnTo>
                    <a:pt x="598" y="597"/>
                  </a:lnTo>
                  <a:lnTo>
                    <a:pt x="600" y="597"/>
                  </a:lnTo>
                  <a:lnTo>
                    <a:pt x="598" y="597"/>
                  </a:lnTo>
                  <a:lnTo>
                    <a:pt x="598" y="594"/>
                  </a:lnTo>
                  <a:lnTo>
                    <a:pt x="600" y="594"/>
                  </a:lnTo>
                  <a:lnTo>
                    <a:pt x="602" y="594"/>
                  </a:lnTo>
                  <a:lnTo>
                    <a:pt x="600" y="594"/>
                  </a:lnTo>
                  <a:lnTo>
                    <a:pt x="600" y="597"/>
                  </a:lnTo>
                  <a:lnTo>
                    <a:pt x="602" y="594"/>
                  </a:lnTo>
                  <a:lnTo>
                    <a:pt x="602" y="597"/>
                  </a:lnTo>
                  <a:lnTo>
                    <a:pt x="605" y="597"/>
                  </a:lnTo>
                  <a:lnTo>
                    <a:pt x="602" y="599"/>
                  </a:lnTo>
                  <a:lnTo>
                    <a:pt x="605" y="599"/>
                  </a:lnTo>
                  <a:lnTo>
                    <a:pt x="607" y="599"/>
                  </a:lnTo>
                  <a:lnTo>
                    <a:pt x="607" y="601"/>
                  </a:lnTo>
                  <a:lnTo>
                    <a:pt x="607" y="599"/>
                  </a:lnTo>
                  <a:lnTo>
                    <a:pt x="609" y="599"/>
                  </a:lnTo>
                  <a:lnTo>
                    <a:pt x="607" y="597"/>
                  </a:lnTo>
                  <a:lnTo>
                    <a:pt x="609" y="597"/>
                  </a:lnTo>
                  <a:lnTo>
                    <a:pt x="612" y="597"/>
                  </a:lnTo>
                  <a:lnTo>
                    <a:pt x="609" y="597"/>
                  </a:lnTo>
                  <a:lnTo>
                    <a:pt x="612" y="597"/>
                  </a:lnTo>
                  <a:lnTo>
                    <a:pt x="612" y="594"/>
                  </a:lnTo>
                  <a:lnTo>
                    <a:pt x="614" y="594"/>
                  </a:lnTo>
                  <a:lnTo>
                    <a:pt x="612" y="594"/>
                  </a:lnTo>
                  <a:lnTo>
                    <a:pt x="609" y="594"/>
                  </a:lnTo>
                  <a:lnTo>
                    <a:pt x="609" y="592"/>
                  </a:lnTo>
                  <a:lnTo>
                    <a:pt x="607" y="592"/>
                  </a:lnTo>
                  <a:lnTo>
                    <a:pt x="609" y="592"/>
                  </a:lnTo>
                  <a:lnTo>
                    <a:pt x="612" y="592"/>
                  </a:lnTo>
                  <a:lnTo>
                    <a:pt x="609" y="592"/>
                  </a:lnTo>
                  <a:lnTo>
                    <a:pt x="609" y="590"/>
                  </a:lnTo>
                  <a:lnTo>
                    <a:pt x="612" y="592"/>
                  </a:lnTo>
                  <a:lnTo>
                    <a:pt x="614" y="592"/>
                  </a:lnTo>
                  <a:lnTo>
                    <a:pt x="614" y="590"/>
                  </a:lnTo>
                  <a:lnTo>
                    <a:pt x="612" y="590"/>
                  </a:lnTo>
                  <a:lnTo>
                    <a:pt x="614" y="590"/>
                  </a:lnTo>
                  <a:lnTo>
                    <a:pt x="614" y="592"/>
                  </a:lnTo>
                  <a:lnTo>
                    <a:pt x="617" y="592"/>
                  </a:lnTo>
                  <a:lnTo>
                    <a:pt x="617" y="594"/>
                  </a:lnTo>
                  <a:lnTo>
                    <a:pt x="617" y="592"/>
                  </a:lnTo>
                  <a:lnTo>
                    <a:pt x="619" y="592"/>
                  </a:lnTo>
                  <a:lnTo>
                    <a:pt x="617" y="592"/>
                  </a:lnTo>
                  <a:lnTo>
                    <a:pt x="619" y="592"/>
                  </a:lnTo>
                  <a:lnTo>
                    <a:pt x="617" y="590"/>
                  </a:lnTo>
                  <a:lnTo>
                    <a:pt x="619" y="590"/>
                  </a:lnTo>
                  <a:lnTo>
                    <a:pt x="617" y="590"/>
                  </a:lnTo>
                  <a:lnTo>
                    <a:pt x="617" y="587"/>
                  </a:lnTo>
                  <a:lnTo>
                    <a:pt x="619" y="587"/>
                  </a:lnTo>
                  <a:lnTo>
                    <a:pt x="617" y="587"/>
                  </a:lnTo>
                  <a:lnTo>
                    <a:pt x="619" y="587"/>
                  </a:lnTo>
                  <a:lnTo>
                    <a:pt x="619" y="590"/>
                  </a:lnTo>
                  <a:lnTo>
                    <a:pt x="621" y="590"/>
                  </a:lnTo>
                  <a:lnTo>
                    <a:pt x="624" y="590"/>
                  </a:lnTo>
                  <a:lnTo>
                    <a:pt x="624" y="592"/>
                  </a:lnTo>
                  <a:lnTo>
                    <a:pt x="621" y="592"/>
                  </a:lnTo>
                  <a:lnTo>
                    <a:pt x="624" y="592"/>
                  </a:lnTo>
                  <a:lnTo>
                    <a:pt x="621" y="592"/>
                  </a:lnTo>
                  <a:lnTo>
                    <a:pt x="619" y="592"/>
                  </a:lnTo>
                  <a:lnTo>
                    <a:pt x="621" y="592"/>
                  </a:lnTo>
                  <a:lnTo>
                    <a:pt x="621" y="594"/>
                  </a:lnTo>
                  <a:lnTo>
                    <a:pt x="621" y="597"/>
                  </a:lnTo>
                  <a:lnTo>
                    <a:pt x="619" y="597"/>
                  </a:lnTo>
                  <a:lnTo>
                    <a:pt x="619" y="594"/>
                  </a:lnTo>
                  <a:lnTo>
                    <a:pt x="617" y="594"/>
                  </a:lnTo>
                  <a:lnTo>
                    <a:pt x="619" y="594"/>
                  </a:lnTo>
                  <a:lnTo>
                    <a:pt x="619" y="597"/>
                  </a:lnTo>
                  <a:lnTo>
                    <a:pt x="617" y="597"/>
                  </a:lnTo>
                  <a:lnTo>
                    <a:pt x="617" y="599"/>
                  </a:lnTo>
                  <a:lnTo>
                    <a:pt x="614" y="599"/>
                  </a:lnTo>
                  <a:lnTo>
                    <a:pt x="612" y="599"/>
                  </a:lnTo>
                  <a:lnTo>
                    <a:pt x="612" y="597"/>
                  </a:lnTo>
                  <a:lnTo>
                    <a:pt x="612" y="599"/>
                  </a:lnTo>
                  <a:lnTo>
                    <a:pt x="614" y="599"/>
                  </a:lnTo>
                  <a:lnTo>
                    <a:pt x="612" y="601"/>
                  </a:lnTo>
                  <a:lnTo>
                    <a:pt x="609" y="601"/>
                  </a:lnTo>
                  <a:lnTo>
                    <a:pt x="612" y="601"/>
                  </a:lnTo>
                  <a:lnTo>
                    <a:pt x="612" y="604"/>
                  </a:lnTo>
                  <a:lnTo>
                    <a:pt x="609" y="604"/>
                  </a:lnTo>
                  <a:lnTo>
                    <a:pt x="612" y="604"/>
                  </a:lnTo>
                  <a:lnTo>
                    <a:pt x="609" y="604"/>
                  </a:lnTo>
                  <a:lnTo>
                    <a:pt x="609" y="606"/>
                  </a:lnTo>
                  <a:lnTo>
                    <a:pt x="609" y="604"/>
                  </a:lnTo>
                  <a:lnTo>
                    <a:pt x="607" y="604"/>
                  </a:lnTo>
                  <a:lnTo>
                    <a:pt x="607" y="606"/>
                  </a:lnTo>
                  <a:lnTo>
                    <a:pt x="605" y="606"/>
                  </a:lnTo>
                  <a:lnTo>
                    <a:pt x="605" y="604"/>
                  </a:lnTo>
                  <a:lnTo>
                    <a:pt x="605" y="606"/>
                  </a:lnTo>
                  <a:lnTo>
                    <a:pt x="602" y="606"/>
                  </a:lnTo>
                  <a:lnTo>
                    <a:pt x="605" y="606"/>
                  </a:lnTo>
                  <a:lnTo>
                    <a:pt x="605" y="609"/>
                  </a:lnTo>
                  <a:lnTo>
                    <a:pt x="602" y="609"/>
                  </a:lnTo>
                  <a:lnTo>
                    <a:pt x="600" y="609"/>
                  </a:lnTo>
                  <a:lnTo>
                    <a:pt x="600" y="606"/>
                  </a:lnTo>
                  <a:lnTo>
                    <a:pt x="598" y="606"/>
                  </a:lnTo>
                  <a:lnTo>
                    <a:pt x="598" y="609"/>
                  </a:lnTo>
                  <a:lnTo>
                    <a:pt x="598" y="606"/>
                  </a:lnTo>
                  <a:lnTo>
                    <a:pt x="598" y="609"/>
                  </a:lnTo>
                  <a:lnTo>
                    <a:pt x="598" y="606"/>
                  </a:lnTo>
                  <a:lnTo>
                    <a:pt x="595" y="606"/>
                  </a:lnTo>
                  <a:lnTo>
                    <a:pt x="595" y="609"/>
                  </a:lnTo>
                  <a:lnTo>
                    <a:pt x="593" y="609"/>
                  </a:lnTo>
                  <a:lnTo>
                    <a:pt x="593" y="611"/>
                  </a:lnTo>
                  <a:lnTo>
                    <a:pt x="593" y="609"/>
                  </a:lnTo>
                  <a:lnTo>
                    <a:pt x="590" y="611"/>
                  </a:lnTo>
                  <a:lnTo>
                    <a:pt x="590" y="609"/>
                  </a:lnTo>
                  <a:lnTo>
                    <a:pt x="590" y="611"/>
                  </a:lnTo>
                  <a:lnTo>
                    <a:pt x="588" y="611"/>
                  </a:lnTo>
                  <a:lnTo>
                    <a:pt x="588" y="609"/>
                  </a:lnTo>
                  <a:lnTo>
                    <a:pt x="586" y="609"/>
                  </a:lnTo>
                  <a:lnTo>
                    <a:pt x="586" y="611"/>
                  </a:lnTo>
                  <a:lnTo>
                    <a:pt x="586" y="609"/>
                  </a:lnTo>
                  <a:lnTo>
                    <a:pt x="586" y="611"/>
                  </a:lnTo>
                  <a:lnTo>
                    <a:pt x="583" y="611"/>
                  </a:lnTo>
                  <a:lnTo>
                    <a:pt x="583" y="609"/>
                  </a:lnTo>
                  <a:lnTo>
                    <a:pt x="583" y="606"/>
                  </a:lnTo>
                  <a:lnTo>
                    <a:pt x="583" y="609"/>
                  </a:lnTo>
                  <a:lnTo>
                    <a:pt x="583" y="611"/>
                  </a:lnTo>
                  <a:lnTo>
                    <a:pt x="581" y="611"/>
                  </a:lnTo>
                  <a:lnTo>
                    <a:pt x="579" y="611"/>
                  </a:lnTo>
                  <a:lnTo>
                    <a:pt x="581" y="611"/>
                  </a:lnTo>
                  <a:lnTo>
                    <a:pt x="579" y="611"/>
                  </a:lnTo>
                  <a:lnTo>
                    <a:pt x="576" y="611"/>
                  </a:lnTo>
                  <a:lnTo>
                    <a:pt x="579" y="611"/>
                  </a:lnTo>
                  <a:lnTo>
                    <a:pt x="579" y="609"/>
                  </a:lnTo>
                  <a:close/>
                  <a:moveTo>
                    <a:pt x="851" y="606"/>
                  </a:moveTo>
                  <a:lnTo>
                    <a:pt x="849" y="606"/>
                  </a:lnTo>
                  <a:lnTo>
                    <a:pt x="851" y="606"/>
                  </a:lnTo>
                  <a:lnTo>
                    <a:pt x="854" y="606"/>
                  </a:lnTo>
                  <a:lnTo>
                    <a:pt x="851" y="606"/>
                  </a:lnTo>
                  <a:lnTo>
                    <a:pt x="854" y="606"/>
                  </a:lnTo>
                  <a:lnTo>
                    <a:pt x="856" y="606"/>
                  </a:lnTo>
                  <a:lnTo>
                    <a:pt x="859" y="606"/>
                  </a:lnTo>
                  <a:lnTo>
                    <a:pt x="859" y="609"/>
                  </a:lnTo>
                  <a:lnTo>
                    <a:pt x="856" y="609"/>
                  </a:lnTo>
                  <a:lnTo>
                    <a:pt x="859" y="609"/>
                  </a:lnTo>
                  <a:lnTo>
                    <a:pt x="859" y="611"/>
                  </a:lnTo>
                  <a:lnTo>
                    <a:pt x="861" y="611"/>
                  </a:lnTo>
                  <a:lnTo>
                    <a:pt x="863" y="611"/>
                  </a:lnTo>
                  <a:lnTo>
                    <a:pt x="861" y="613"/>
                  </a:lnTo>
                  <a:lnTo>
                    <a:pt x="863" y="613"/>
                  </a:lnTo>
                  <a:lnTo>
                    <a:pt x="861" y="613"/>
                  </a:lnTo>
                  <a:lnTo>
                    <a:pt x="863" y="613"/>
                  </a:lnTo>
                  <a:lnTo>
                    <a:pt x="866" y="613"/>
                  </a:lnTo>
                  <a:lnTo>
                    <a:pt x="868" y="613"/>
                  </a:lnTo>
                  <a:lnTo>
                    <a:pt x="870" y="613"/>
                  </a:lnTo>
                  <a:lnTo>
                    <a:pt x="870" y="616"/>
                  </a:lnTo>
                  <a:lnTo>
                    <a:pt x="873" y="616"/>
                  </a:lnTo>
                  <a:lnTo>
                    <a:pt x="873" y="618"/>
                  </a:lnTo>
                  <a:lnTo>
                    <a:pt x="873" y="620"/>
                  </a:lnTo>
                  <a:lnTo>
                    <a:pt x="873" y="623"/>
                  </a:lnTo>
                  <a:lnTo>
                    <a:pt x="870" y="623"/>
                  </a:lnTo>
                  <a:lnTo>
                    <a:pt x="868" y="623"/>
                  </a:lnTo>
                  <a:lnTo>
                    <a:pt x="866" y="623"/>
                  </a:lnTo>
                  <a:lnTo>
                    <a:pt x="863" y="625"/>
                  </a:lnTo>
                  <a:lnTo>
                    <a:pt x="863" y="623"/>
                  </a:lnTo>
                  <a:lnTo>
                    <a:pt x="863" y="625"/>
                  </a:lnTo>
                  <a:lnTo>
                    <a:pt x="863" y="623"/>
                  </a:lnTo>
                  <a:lnTo>
                    <a:pt x="863" y="625"/>
                  </a:lnTo>
                  <a:lnTo>
                    <a:pt x="861" y="625"/>
                  </a:lnTo>
                  <a:lnTo>
                    <a:pt x="859" y="625"/>
                  </a:lnTo>
                  <a:lnTo>
                    <a:pt x="856" y="625"/>
                  </a:lnTo>
                  <a:lnTo>
                    <a:pt x="854" y="625"/>
                  </a:lnTo>
                  <a:lnTo>
                    <a:pt x="854" y="628"/>
                  </a:lnTo>
                  <a:lnTo>
                    <a:pt x="851" y="628"/>
                  </a:lnTo>
                  <a:lnTo>
                    <a:pt x="849" y="628"/>
                  </a:lnTo>
                  <a:lnTo>
                    <a:pt x="849" y="630"/>
                  </a:lnTo>
                  <a:lnTo>
                    <a:pt x="849" y="632"/>
                  </a:lnTo>
                  <a:lnTo>
                    <a:pt x="847" y="632"/>
                  </a:lnTo>
                  <a:lnTo>
                    <a:pt x="844" y="632"/>
                  </a:lnTo>
                  <a:lnTo>
                    <a:pt x="842" y="632"/>
                  </a:lnTo>
                  <a:lnTo>
                    <a:pt x="842" y="635"/>
                  </a:lnTo>
                  <a:lnTo>
                    <a:pt x="844" y="635"/>
                  </a:lnTo>
                  <a:lnTo>
                    <a:pt x="842" y="635"/>
                  </a:lnTo>
                  <a:lnTo>
                    <a:pt x="840" y="635"/>
                  </a:lnTo>
                  <a:lnTo>
                    <a:pt x="837" y="635"/>
                  </a:lnTo>
                  <a:lnTo>
                    <a:pt x="835" y="635"/>
                  </a:lnTo>
                  <a:lnTo>
                    <a:pt x="832" y="635"/>
                  </a:lnTo>
                  <a:lnTo>
                    <a:pt x="830" y="635"/>
                  </a:lnTo>
                  <a:lnTo>
                    <a:pt x="828" y="635"/>
                  </a:lnTo>
                  <a:lnTo>
                    <a:pt x="825" y="635"/>
                  </a:lnTo>
                  <a:lnTo>
                    <a:pt x="823" y="635"/>
                  </a:lnTo>
                  <a:lnTo>
                    <a:pt x="821" y="635"/>
                  </a:lnTo>
                  <a:lnTo>
                    <a:pt x="821" y="632"/>
                  </a:lnTo>
                  <a:lnTo>
                    <a:pt x="821" y="635"/>
                  </a:lnTo>
                  <a:lnTo>
                    <a:pt x="818" y="635"/>
                  </a:lnTo>
                  <a:lnTo>
                    <a:pt x="818" y="632"/>
                  </a:lnTo>
                  <a:lnTo>
                    <a:pt x="816" y="632"/>
                  </a:lnTo>
                  <a:lnTo>
                    <a:pt x="814" y="632"/>
                  </a:lnTo>
                  <a:lnTo>
                    <a:pt x="811" y="632"/>
                  </a:lnTo>
                  <a:lnTo>
                    <a:pt x="809" y="632"/>
                  </a:lnTo>
                  <a:lnTo>
                    <a:pt x="806" y="632"/>
                  </a:lnTo>
                  <a:lnTo>
                    <a:pt x="804" y="632"/>
                  </a:lnTo>
                  <a:lnTo>
                    <a:pt x="804" y="630"/>
                  </a:lnTo>
                  <a:lnTo>
                    <a:pt x="802" y="630"/>
                  </a:lnTo>
                  <a:lnTo>
                    <a:pt x="799" y="630"/>
                  </a:lnTo>
                  <a:lnTo>
                    <a:pt x="797" y="630"/>
                  </a:lnTo>
                  <a:lnTo>
                    <a:pt x="795" y="630"/>
                  </a:lnTo>
                  <a:lnTo>
                    <a:pt x="792" y="630"/>
                  </a:lnTo>
                  <a:lnTo>
                    <a:pt x="795" y="630"/>
                  </a:lnTo>
                  <a:lnTo>
                    <a:pt x="797" y="630"/>
                  </a:lnTo>
                  <a:lnTo>
                    <a:pt x="795" y="630"/>
                  </a:lnTo>
                  <a:lnTo>
                    <a:pt x="795" y="632"/>
                  </a:lnTo>
                  <a:lnTo>
                    <a:pt x="792" y="632"/>
                  </a:lnTo>
                  <a:lnTo>
                    <a:pt x="795" y="632"/>
                  </a:lnTo>
                  <a:lnTo>
                    <a:pt x="795" y="635"/>
                  </a:lnTo>
                  <a:lnTo>
                    <a:pt x="795" y="632"/>
                  </a:lnTo>
                  <a:lnTo>
                    <a:pt x="797" y="632"/>
                  </a:lnTo>
                  <a:lnTo>
                    <a:pt x="799" y="632"/>
                  </a:lnTo>
                  <a:lnTo>
                    <a:pt x="799" y="635"/>
                  </a:lnTo>
                  <a:lnTo>
                    <a:pt x="797" y="635"/>
                  </a:lnTo>
                  <a:lnTo>
                    <a:pt x="799" y="635"/>
                  </a:lnTo>
                  <a:lnTo>
                    <a:pt x="802" y="635"/>
                  </a:lnTo>
                  <a:lnTo>
                    <a:pt x="804" y="635"/>
                  </a:lnTo>
                  <a:lnTo>
                    <a:pt x="806" y="635"/>
                  </a:lnTo>
                  <a:lnTo>
                    <a:pt x="806" y="637"/>
                  </a:lnTo>
                  <a:lnTo>
                    <a:pt x="809" y="637"/>
                  </a:lnTo>
                  <a:lnTo>
                    <a:pt x="809" y="635"/>
                  </a:lnTo>
                  <a:lnTo>
                    <a:pt x="809" y="637"/>
                  </a:lnTo>
                  <a:lnTo>
                    <a:pt x="811" y="637"/>
                  </a:lnTo>
                  <a:lnTo>
                    <a:pt x="809" y="637"/>
                  </a:lnTo>
                  <a:lnTo>
                    <a:pt x="809" y="639"/>
                  </a:lnTo>
                  <a:lnTo>
                    <a:pt x="811" y="639"/>
                  </a:lnTo>
                  <a:lnTo>
                    <a:pt x="811" y="637"/>
                  </a:lnTo>
                  <a:lnTo>
                    <a:pt x="811" y="639"/>
                  </a:lnTo>
                  <a:lnTo>
                    <a:pt x="814" y="639"/>
                  </a:lnTo>
                  <a:lnTo>
                    <a:pt x="814" y="637"/>
                  </a:lnTo>
                  <a:lnTo>
                    <a:pt x="814" y="639"/>
                  </a:lnTo>
                  <a:lnTo>
                    <a:pt x="816" y="639"/>
                  </a:lnTo>
                  <a:lnTo>
                    <a:pt x="816" y="637"/>
                  </a:lnTo>
                  <a:lnTo>
                    <a:pt x="816" y="639"/>
                  </a:lnTo>
                  <a:lnTo>
                    <a:pt x="818" y="639"/>
                  </a:lnTo>
                  <a:lnTo>
                    <a:pt x="821" y="639"/>
                  </a:lnTo>
                  <a:lnTo>
                    <a:pt x="823" y="639"/>
                  </a:lnTo>
                  <a:lnTo>
                    <a:pt x="821" y="639"/>
                  </a:lnTo>
                  <a:lnTo>
                    <a:pt x="823" y="639"/>
                  </a:lnTo>
                  <a:lnTo>
                    <a:pt x="825" y="639"/>
                  </a:lnTo>
                  <a:lnTo>
                    <a:pt x="825" y="642"/>
                  </a:lnTo>
                  <a:lnTo>
                    <a:pt x="828" y="642"/>
                  </a:lnTo>
                  <a:lnTo>
                    <a:pt x="825" y="642"/>
                  </a:lnTo>
                  <a:lnTo>
                    <a:pt x="828" y="642"/>
                  </a:lnTo>
                  <a:lnTo>
                    <a:pt x="825" y="642"/>
                  </a:lnTo>
                  <a:lnTo>
                    <a:pt x="825" y="644"/>
                  </a:lnTo>
                  <a:lnTo>
                    <a:pt x="823" y="644"/>
                  </a:lnTo>
                  <a:lnTo>
                    <a:pt x="821" y="644"/>
                  </a:lnTo>
                  <a:lnTo>
                    <a:pt x="818" y="647"/>
                  </a:lnTo>
                  <a:lnTo>
                    <a:pt x="821" y="647"/>
                  </a:lnTo>
                  <a:lnTo>
                    <a:pt x="818" y="647"/>
                  </a:lnTo>
                  <a:lnTo>
                    <a:pt x="816" y="647"/>
                  </a:lnTo>
                  <a:lnTo>
                    <a:pt x="818" y="647"/>
                  </a:lnTo>
                  <a:lnTo>
                    <a:pt x="818" y="649"/>
                  </a:lnTo>
                  <a:lnTo>
                    <a:pt x="818" y="647"/>
                  </a:lnTo>
                  <a:lnTo>
                    <a:pt x="818" y="649"/>
                  </a:lnTo>
                  <a:lnTo>
                    <a:pt x="818" y="647"/>
                  </a:lnTo>
                  <a:lnTo>
                    <a:pt x="821" y="647"/>
                  </a:lnTo>
                  <a:lnTo>
                    <a:pt x="821" y="644"/>
                  </a:lnTo>
                  <a:lnTo>
                    <a:pt x="823" y="644"/>
                  </a:lnTo>
                  <a:lnTo>
                    <a:pt x="825" y="644"/>
                  </a:lnTo>
                  <a:lnTo>
                    <a:pt x="823" y="644"/>
                  </a:lnTo>
                  <a:lnTo>
                    <a:pt x="825" y="644"/>
                  </a:lnTo>
                  <a:lnTo>
                    <a:pt x="823" y="644"/>
                  </a:lnTo>
                  <a:lnTo>
                    <a:pt x="825" y="644"/>
                  </a:lnTo>
                  <a:lnTo>
                    <a:pt x="828" y="644"/>
                  </a:lnTo>
                  <a:lnTo>
                    <a:pt x="830" y="644"/>
                  </a:lnTo>
                  <a:lnTo>
                    <a:pt x="830" y="647"/>
                  </a:lnTo>
                  <a:lnTo>
                    <a:pt x="830" y="649"/>
                  </a:lnTo>
                  <a:lnTo>
                    <a:pt x="830" y="651"/>
                  </a:lnTo>
                  <a:lnTo>
                    <a:pt x="828" y="651"/>
                  </a:lnTo>
                  <a:lnTo>
                    <a:pt x="828" y="654"/>
                  </a:lnTo>
                  <a:lnTo>
                    <a:pt x="825" y="654"/>
                  </a:lnTo>
                  <a:lnTo>
                    <a:pt x="828" y="654"/>
                  </a:lnTo>
                  <a:lnTo>
                    <a:pt x="825" y="654"/>
                  </a:lnTo>
                  <a:lnTo>
                    <a:pt x="825" y="656"/>
                  </a:lnTo>
                  <a:lnTo>
                    <a:pt x="823" y="656"/>
                  </a:lnTo>
                  <a:lnTo>
                    <a:pt x="821" y="656"/>
                  </a:lnTo>
                  <a:lnTo>
                    <a:pt x="818" y="656"/>
                  </a:lnTo>
                  <a:lnTo>
                    <a:pt x="818" y="658"/>
                  </a:lnTo>
                  <a:lnTo>
                    <a:pt x="818" y="656"/>
                  </a:lnTo>
                  <a:lnTo>
                    <a:pt x="821" y="656"/>
                  </a:lnTo>
                  <a:lnTo>
                    <a:pt x="821" y="658"/>
                  </a:lnTo>
                  <a:lnTo>
                    <a:pt x="821" y="656"/>
                  </a:lnTo>
                  <a:lnTo>
                    <a:pt x="823" y="658"/>
                  </a:lnTo>
                  <a:lnTo>
                    <a:pt x="823" y="656"/>
                  </a:lnTo>
                  <a:lnTo>
                    <a:pt x="823" y="658"/>
                  </a:lnTo>
                  <a:lnTo>
                    <a:pt x="821" y="658"/>
                  </a:lnTo>
                  <a:lnTo>
                    <a:pt x="821" y="661"/>
                  </a:lnTo>
                  <a:lnTo>
                    <a:pt x="821" y="658"/>
                  </a:lnTo>
                  <a:lnTo>
                    <a:pt x="821" y="661"/>
                  </a:lnTo>
                  <a:lnTo>
                    <a:pt x="823" y="661"/>
                  </a:lnTo>
                  <a:lnTo>
                    <a:pt x="823" y="658"/>
                  </a:lnTo>
                  <a:lnTo>
                    <a:pt x="825" y="656"/>
                  </a:lnTo>
                  <a:lnTo>
                    <a:pt x="828" y="656"/>
                  </a:lnTo>
                  <a:lnTo>
                    <a:pt x="828" y="654"/>
                  </a:lnTo>
                  <a:lnTo>
                    <a:pt x="830" y="654"/>
                  </a:lnTo>
                  <a:lnTo>
                    <a:pt x="832" y="654"/>
                  </a:lnTo>
                  <a:lnTo>
                    <a:pt x="835" y="654"/>
                  </a:lnTo>
                  <a:lnTo>
                    <a:pt x="835" y="656"/>
                  </a:lnTo>
                  <a:lnTo>
                    <a:pt x="835" y="654"/>
                  </a:lnTo>
                  <a:lnTo>
                    <a:pt x="837" y="654"/>
                  </a:lnTo>
                  <a:lnTo>
                    <a:pt x="840" y="654"/>
                  </a:lnTo>
                  <a:lnTo>
                    <a:pt x="840" y="651"/>
                  </a:lnTo>
                  <a:lnTo>
                    <a:pt x="840" y="654"/>
                  </a:lnTo>
                  <a:lnTo>
                    <a:pt x="840" y="651"/>
                  </a:lnTo>
                  <a:lnTo>
                    <a:pt x="840" y="654"/>
                  </a:lnTo>
                  <a:lnTo>
                    <a:pt x="840" y="656"/>
                  </a:lnTo>
                  <a:lnTo>
                    <a:pt x="837" y="656"/>
                  </a:lnTo>
                  <a:lnTo>
                    <a:pt x="835" y="656"/>
                  </a:lnTo>
                  <a:lnTo>
                    <a:pt x="837" y="656"/>
                  </a:lnTo>
                  <a:lnTo>
                    <a:pt x="840" y="656"/>
                  </a:lnTo>
                  <a:lnTo>
                    <a:pt x="842" y="656"/>
                  </a:lnTo>
                  <a:lnTo>
                    <a:pt x="840" y="656"/>
                  </a:lnTo>
                  <a:lnTo>
                    <a:pt x="842" y="656"/>
                  </a:lnTo>
                  <a:lnTo>
                    <a:pt x="842" y="658"/>
                  </a:lnTo>
                  <a:lnTo>
                    <a:pt x="842" y="661"/>
                  </a:lnTo>
                  <a:lnTo>
                    <a:pt x="844" y="663"/>
                  </a:lnTo>
                  <a:lnTo>
                    <a:pt x="844" y="666"/>
                  </a:lnTo>
                  <a:lnTo>
                    <a:pt x="844" y="668"/>
                  </a:lnTo>
                  <a:lnTo>
                    <a:pt x="842" y="668"/>
                  </a:lnTo>
                  <a:lnTo>
                    <a:pt x="842" y="670"/>
                  </a:lnTo>
                  <a:lnTo>
                    <a:pt x="840" y="673"/>
                  </a:lnTo>
                  <a:lnTo>
                    <a:pt x="840" y="675"/>
                  </a:lnTo>
                  <a:lnTo>
                    <a:pt x="837" y="675"/>
                  </a:lnTo>
                  <a:lnTo>
                    <a:pt x="835" y="675"/>
                  </a:lnTo>
                  <a:lnTo>
                    <a:pt x="835" y="673"/>
                  </a:lnTo>
                  <a:lnTo>
                    <a:pt x="832" y="673"/>
                  </a:lnTo>
                  <a:lnTo>
                    <a:pt x="832" y="675"/>
                  </a:lnTo>
                  <a:lnTo>
                    <a:pt x="830" y="675"/>
                  </a:lnTo>
                  <a:lnTo>
                    <a:pt x="828" y="677"/>
                  </a:lnTo>
                  <a:lnTo>
                    <a:pt x="825" y="680"/>
                  </a:lnTo>
                  <a:lnTo>
                    <a:pt x="823" y="680"/>
                  </a:lnTo>
                  <a:lnTo>
                    <a:pt x="821" y="680"/>
                  </a:lnTo>
                  <a:lnTo>
                    <a:pt x="818" y="680"/>
                  </a:lnTo>
                  <a:lnTo>
                    <a:pt x="816" y="680"/>
                  </a:lnTo>
                  <a:lnTo>
                    <a:pt x="816" y="682"/>
                  </a:lnTo>
                  <a:lnTo>
                    <a:pt x="814" y="682"/>
                  </a:lnTo>
                  <a:lnTo>
                    <a:pt x="814" y="685"/>
                  </a:lnTo>
                  <a:lnTo>
                    <a:pt x="816" y="685"/>
                  </a:lnTo>
                  <a:lnTo>
                    <a:pt x="816" y="687"/>
                  </a:lnTo>
                  <a:lnTo>
                    <a:pt x="814" y="687"/>
                  </a:lnTo>
                  <a:lnTo>
                    <a:pt x="814" y="689"/>
                  </a:lnTo>
                  <a:lnTo>
                    <a:pt x="814" y="692"/>
                  </a:lnTo>
                  <a:lnTo>
                    <a:pt x="811" y="694"/>
                  </a:lnTo>
                  <a:lnTo>
                    <a:pt x="809" y="694"/>
                  </a:lnTo>
                  <a:lnTo>
                    <a:pt x="809" y="696"/>
                  </a:lnTo>
                  <a:lnTo>
                    <a:pt x="806" y="696"/>
                  </a:lnTo>
                  <a:lnTo>
                    <a:pt x="804" y="696"/>
                  </a:lnTo>
                  <a:lnTo>
                    <a:pt x="802" y="694"/>
                  </a:lnTo>
                  <a:lnTo>
                    <a:pt x="799" y="694"/>
                  </a:lnTo>
                  <a:lnTo>
                    <a:pt x="799" y="692"/>
                  </a:lnTo>
                  <a:lnTo>
                    <a:pt x="799" y="689"/>
                  </a:lnTo>
                  <a:lnTo>
                    <a:pt x="799" y="687"/>
                  </a:lnTo>
                  <a:lnTo>
                    <a:pt x="799" y="685"/>
                  </a:lnTo>
                  <a:lnTo>
                    <a:pt x="806" y="680"/>
                  </a:lnTo>
                  <a:lnTo>
                    <a:pt x="811" y="675"/>
                  </a:lnTo>
                  <a:lnTo>
                    <a:pt x="814" y="675"/>
                  </a:lnTo>
                  <a:lnTo>
                    <a:pt x="816" y="670"/>
                  </a:lnTo>
                  <a:lnTo>
                    <a:pt x="814" y="663"/>
                  </a:lnTo>
                  <a:lnTo>
                    <a:pt x="809" y="658"/>
                  </a:lnTo>
                  <a:lnTo>
                    <a:pt x="804" y="656"/>
                  </a:lnTo>
                  <a:lnTo>
                    <a:pt x="792" y="651"/>
                  </a:lnTo>
                  <a:lnTo>
                    <a:pt x="787" y="651"/>
                  </a:lnTo>
                  <a:lnTo>
                    <a:pt x="785" y="649"/>
                  </a:lnTo>
                  <a:lnTo>
                    <a:pt x="783" y="649"/>
                  </a:lnTo>
                  <a:lnTo>
                    <a:pt x="785" y="647"/>
                  </a:lnTo>
                  <a:lnTo>
                    <a:pt x="783" y="647"/>
                  </a:lnTo>
                  <a:lnTo>
                    <a:pt x="778" y="644"/>
                  </a:lnTo>
                  <a:lnTo>
                    <a:pt x="776" y="642"/>
                  </a:lnTo>
                  <a:lnTo>
                    <a:pt x="773" y="639"/>
                  </a:lnTo>
                  <a:lnTo>
                    <a:pt x="771" y="639"/>
                  </a:lnTo>
                  <a:lnTo>
                    <a:pt x="771" y="637"/>
                  </a:lnTo>
                  <a:lnTo>
                    <a:pt x="771" y="635"/>
                  </a:lnTo>
                  <a:lnTo>
                    <a:pt x="768" y="635"/>
                  </a:lnTo>
                  <a:lnTo>
                    <a:pt x="766" y="635"/>
                  </a:lnTo>
                  <a:lnTo>
                    <a:pt x="764" y="635"/>
                  </a:lnTo>
                  <a:lnTo>
                    <a:pt x="761" y="635"/>
                  </a:lnTo>
                  <a:lnTo>
                    <a:pt x="759" y="635"/>
                  </a:lnTo>
                  <a:lnTo>
                    <a:pt x="757" y="635"/>
                  </a:lnTo>
                  <a:lnTo>
                    <a:pt x="757" y="637"/>
                  </a:lnTo>
                  <a:lnTo>
                    <a:pt x="754" y="637"/>
                  </a:lnTo>
                  <a:lnTo>
                    <a:pt x="752" y="639"/>
                  </a:lnTo>
                  <a:lnTo>
                    <a:pt x="749" y="639"/>
                  </a:lnTo>
                  <a:lnTo>
                    <a:pt x="749" y="642"/>
                  </a:lnTo>
                  <a:lnTo>
                    <a:pt x="747" y="642"/>
                  </a:lnTo>
                  <a:lnTo>
                    <a:pt x="745" y="642"/>
                  </a:lnTo>
                  <a:lnTo>
                    <a:pt x="745" y="644"/>
                  </a:lnTo>
                  <a:lnTo>
                    <a:pt x="742" y="644"/>
                  </a:lnTo>
                  <a:lnTo>
                    <a:pt x="740" y="644"/>
                  </a:lnTo>
                  <a:lnTo>
                    <a:pt x="738" y="644"/>
                  </a:lnTo>
                  <a:lnTo>
                    <a:pt x="738" y="642"/>
                  </a:lnTo>
                  <a:lnTo>
                    <a:pt x="738" y="644"/>
                  </a:lnTo>
                  <a:lnTo>
                    <a:pt x="735" y="644"/>
                  </a:lnTo>
                  <a:lnTo>
                    <a:pt x="735" y="642"/>
                  </a:lnTo>
                  <a:lnTo>
                    <a:pt x="733" y="642"/>
                  </a:lnTo>
                  <a:lnTo>
                    <a:pt x="730" y="642"/>
                  </a:lnTo>
                  <a:lnTo>
                    <a:pt x="728" y="642"/>
                  </a:lnTo>
                  <a:lnTo>
                    <a:pt x="726" y="642"/>
                  </a:lnTo>
                  <a:lnTo>
                    <a:pt x="723" y="642"/>
                  </a:lnTo>
                  <a:lnTo>
                    <a:pt x="721" y="642"/>
                  </a:lnTo>
                  <a:lnTo>
                    <a:pt x="721" y="644"/>
                  </a:lnTo>
                  <a:lnTo>
                    <a:pt x="721" y="647"/>
                  </a:lnTo>
                  <a:lnTo>
                    <a:pt x="719" y="647"/>
                  </a:lnTo>
                  <a:lnTo>
                    <a:pt x="719" y="649"/>
                  </a:lnTo>
                  <a:lnTo>
                    <a:pt x="716" y="649"/>
                  </a:lnTo>
                  <a:lnTo>
                    <a:pt x="714" y="651"/>
                  </a:lnTo>
                  <a:lnTo>
                    <a:pt x="714" y="654"/>
                  </a:lnTo>
                  <a:lnTo>
                    <a:pt x="711" y="654"/>
                  </a:lnTo>
                  <a:lnTo>
                    <a:pt x="711" y="656"/>
                  </a:lnTo>
                  <a:lnTo>
                    <a:pt x="709" y="656"/>
                  </a:lnTo>
                  <a:lnTo>
                    <a:pt x="707" y="656"/>
                  </a:lnTo>
                  <a:lnTo>
                    <a:pt x="704" y="656"/>
                  </a:lnTo>
                  <a:lnTo>
                    <a:pt x="704" y="658"/>
                  </a:lnTo>
                  <a:lnTo>
                    <a:pt x="702" y="658"/>
                  </a:lnTo>
                  <a:lnTo>
                    <a:pt x="704" y="661"/>
                  </a:lnTo>
                  <a:lnTo>
                    <a:pt x="704" y="663"/>
                  </a:lnTo>
                  <a:lnTo>
                    <a:pt x="704" y="666"/>
                  </a:lnTo>
                  <a:lnTo>
                    <a:pt x="702" y="666"/>
                  </a:lnTo>
                  <a:lnTo>
                    <a:pt x="702" y="668"/>
                  </a:lnTo>
                  <a:lnTo>
                    <a:pt x="702" y="670"/>
                  </a:lnTo>
                  <a:lnTo>
                    <a:pt x="700" y="670"/>
                  </a:lnTo>
                  <a:lnTo>
                    <a:pt x="700" y="673"/>
                  </a:lnTo>
                  <a:lnTo>
                    <a:pt x="700" y="675"/>
                  </a:lnTo>
                  <a:lnTo>
                    <a:pt x="702" y="675"/>
                  </a:lnTo>
                  <a:lnTo>
                    <a:pt x="700" y="675"/>
                  </a:lnTo>
                  <a:lnTo>
                    <a:pt x="700" y="677"/>
                  </a:lnTo>
                  <a:lnTo>
                    <a:pt x="700" y="680"/>
                  </a:lnTo>
                  <a:lnTo>
                    <a:pt x="697" y="680"/>
                  </a:lnTo>
                  <a:lnTo>
                    <a:pt x="697" y="682"/>
                  </a:lnTo>
                  <a:lnTo>
                    <a:pt x="697" y="685"/>
                  </a:lnTo>
                  <a:lnTo>
                    <a:pt x="697" y="687"/>
                  </a:lnTo>
                  <a:lnTo>
                    <a:pt x="697" y="689"/>
                  </a:lnTo>
                  <a:lnTo>
                    <a:pt x="697" y="692"/>
                  </a:lnTo>
                  <a:lnTo>
                    <a:pt x="697" y="694"/>
                  </a:lnTo>
                  <a:lnTo>
                    <a:pt x="697" y="696"/>
                  </a:lnTo>
                  <a:lnTo>
                    <a:pt x="700" y="696"/>
                  </a:lnTo>
                  <a:lnTo>
                    <a:pt x="700" y="699"/>
                  </a:lnTo>
                  <a:lnTo>
                    <a:pt x="697" y="699"/>
                  </a:lnTo>
                  <a:lnTo>
                    <a:pt x="697" y="701"/>
                  </a:lnTo>
                  <a:lnTo>
                    <a:pt x="695" y="701"/>
                  </a:lnTo>
                  <a:lnTo>
                    <a:pt x="695" y="704"/>
                  </a:lnTo>
                  <a:lnTo>
                    <a:pt x="693" y="706"/>
                  </a:lnTo>
                  <a:lnTo>
                    <a:pt x="690" y="706"/>
                  </a:lnTo>
                  <a:lnTo>
                    <a:pt x="690" y="704"/>
                  </a:lnTo>
                  <a:lnTo>
                    <a:pt x="688" y="704"/>
                  </a:lnTo>
                  <a:lnTo>
                    <a:pt x="685" y="704"/>
                  </a:lnTo>
                  <a:lnTo>
                    <a:pt x="688" y="706"/>
                  </a:lnTo>
                  <a:lnTo>
                    <a:pt x="685" y="706"/>
                  </a:lnTo>
                  <a:lnTo>
                    <a:pt x="683" y="706"/>
                  </a:lnTo>
                  <a:lnTo>
                    <a:pt x="681" y="708"/>
                  </a:lnTo>
                  <a:lnTo>
                    <a:pt x="681" y="711"/>
                  </a:lnTo>
                  <a:lnTo>
                    <a:pt x="678" y="711"/>
                  </a:lnTo>
                  <a:lnTo>
                    <a:pt x="678" y="713"/>
                  </a:lnTo>
                  <a:lnTo>
                    <a:pt x="678" y="715"/>
                  </a:lnTo>
                  <a:lnTo>
                    <a:pt x="676" y="715"/>
                  </a:lnTo>
                  <a:lnTo>
                    <a:pt x="678" y="715"/>
                  </a:lnTo>
                  <a:lnTo>
                    <a:pt x="676" y="718"/>
                  </a:lnTo>
                  <a:lnTo>
                    <a:pt x="678" y="718"/>
                  </a:lnTo>
                  <a:lnTo>
                    <a:pt x="678" y="720"/>
                  </a:lnTo>
                  <a:lnTo>
                    <a:pt x="676" y="720"/>
                  </a:lnTo>
                  <a:lnTo>
                    <a:pt x="674" y="720"/>
                  </a:lnTo>
                  <a:lnTo>
                    <a:pt x="671" y="720"/>
                  </a:lnTo>
                  <a:lnTo>
                    <a:pt x="671" y="723"/>
                  </a:lnTo>
                  <a:lnTo>
                    <a:pt x="671" y="725"/>
                  </a:lnTo>
                  <a:lnTo>
                    <a:pt x="669" y="725"/>
                  </a:lnTo>
                  <a:lnTo>
                    <a:pt x="669" y="723"/>
                  </a:lnTo>
                  <a:lnTo>
                    <a:pt x="666" y="720"/>
                  </a:lnTo>
                  <a:lnTo>
                    <a:pt x="664" y="718"/>
                  </a:lnTo>
                  <a:lnTo>
                    <a:pt x="662" y="718"/>
                  </a:lnTo>
                  <a:lnTo>
                    <a:pt x="650" y="715"/>
                  </a:lnTo>
                  <a:lnTo>
                    <a:pt x="647" y="713"/>
                  </a:lnTo>
                  <a:lnTo>
                    <a:pt x="645" y="713"/>
                  </a:lnTo>
                  <a:lnTo>
                    <a:pt x="645" y="711"/>
                  </a:lnTo>
                  <a:lnTo>
                    <a:pt x="643" y="711"/>
                  </a:lnTo>
                  <a:lnTo>
                    <a:pt x="640" y="708"/>
                  </a:lnTo>
                  <a:lnTo>
                    <a:pt x="636" y="708"/>
                  </a:lnTo>
                  <a:lnTo>
                    <a:pt x="633" y="708"/>
                  </a:lnTo>
                  <a:lnTo>
                    <a:pt x="631" y="713"/>
                  </a:lnTo>
                  <a:lnTo>
                    <a:pt x="631" y="715"/>
                  </a:lnTo>
                  <a:lnTo>
                    <a:pt x="621" y="715"/>
                  </a:lnTo>
                  <a:lnTo>
                    <a:pt x="617" y="718"/>
                  </a:lnTo>
                  <a:lnTo>
                    <a:pt x="614" y="720"/>
                  </a:lnTo>
                  <a:lnTo>
                    <a:pt x="612" y="720"/>
                  </a:lnTo>
                  <a:lnTo>
                    <a:pt x="609" y="715"/>
                  </a:lnTo>
                  <a:lnTo>
                    <a:pt x="600" y="718"/>
                  </a:lnTo>
                  <a:lnTo>
                    <a:pt x="593" y="713"/>
                  </a:lnTo>
                  <a:lnTo>
                    <a:pt x="588" y="715"/>
                  </a:lnTo>
                  <a:lnTo>
                    <a:pt x="586" y="708"/>
                  </a:lnTo>
                  <a:lnTo>
                    <a:pt x="581" y="704"/>
                  </a:lnTo>
                  <a:lnTo>
                    <a:pt x="581" y="701"/>
                  </a:lnTo>
                  <a:lnTo>
                    <a:pt x="576" y="696"/>
                  </a:lnTo>
                  <a:lnTo>
                    <a:pt x="574" y="694"/>
                  </a:lnTo>
                  <a:lnTo>
                    <a:pt x="567" y="687"/>
                  </a:lnTo>
                  <a:lnTo>
                    <a:pt x="562" y="682"/>
                  </a:lnTo>
                  <a:lnTo>
                    <a:pt x="550" y="680"/>
                  </a:lnTo>
                  <a:lnTo>
                    <a:pt x="545" y="682"/>
                  </a:lnTo>
                  <a:lnTo>
                    <a:pt x="541" y="685"/>
                  </a:lnTo>
                  <a:lnTo>
                    <a:pt x="541" y="687"/>
                  </a:lnTo>
                  <a:lnTo>
                    <a:pt x="543" y="689"/>
                  </a:lnTo>
                  <a:lnTo>
                    <a:pt x="543" y="692"/>
                  </a:lnTo>
                  <a:lnTo>
                    <a:pt x="545" y="692"/>
                  </a:lnTo>
                  <a:lnTo>
                    <a:pt x="543" y="696"/>
                  </a:lnTo>
                  <a:lnTo>
                    <a:pt x="534" y="692"/>
                  </a:lnTo>
                  <a:lnTo>
                    <a:pt x="531" y="692"/>
                  </a:lnTo>
                  <a:lnTo>
                    <a:pt x="526" y="694"/>
                  </a:lnTo>
                  <a:lnTo>
                    <a:pt x="524" y="694"/>
                  </a:lnTo>
                  <a:lnTo>
                    <a:pt x="512" y="696"/>
                  </a:lnTo>
                  <a:lnTo>
                    <a:pt x="510" y="696"/>
                  </a:lnTo>
                  <a:lnTo>
                    <a:pt x="519" y="704"/>
                  </a:lnTo>
                  <a:lnTo>
                    <a:pt x="519" y="711"/>
                  </a:lnTo>
                  <a:lnTo>
                    <a:pt x="515" y="718"/>
                  </a:lnTo>
                  <a:lnTo>
                    <a:pt x="510" y="723"/>
                  </a:lnTo>
                  <a:lnTo>
                    <a:pt x="507" y="725"/>
                  </a:lnTo>
                  <a:lnTo>
                    <a:pt x="510" y="725"/>
                  </a:lnTo>
                  <a:lnTo>
                    <a:pt x="510" y="727"/>
                  </a:lnTo>
                  <a:lnTo>
                    <a:pt x="517" y="727"/>
                  </a:lnTo>
                  <a:lnTo>
                    <a:pt x="507" y="734"/>
                  </a:lnTo>
                  <a:lnTo>
                    <a:pt x="505" y="737"/>
                  </a:lnTo>
                  <a:lnTo>
                    <a:pt x="474" y="727"/>
                  </a:lnTo>
                  <a:lnTo>
                    <a:pt x="462" y="727"/>
                  </a:lnTo>
                  <a:lnTo>
                    <a:pt x="455" y="723"/>
                  </a:lnTo>
                  <a:lnTo>
                    <a:pt x="446" y="725"/>
                  </a:lnTo>
                  <a:lnTo>
                    <a:pt x="446" y="732"/>
                  </a:lnTo>
                  <a:lnTo>
                    <a:pt x="448" y="744"/>
                  </a:lnTo>
                  <a:lnTo>
                    <a:pt x="446" y="749"/>
                  </a:lnTo>
                  <a:lnTo>
                    <a:pt x="441" y="753"/>
                  </a:lnTo>
                  <a:lnTo>
                    <a:pt x="441" y="758"/>
                  </a:lnTo>
                  <a:lnTo>
                    <a:pt x="439" y="758"/>
                  </a:lnTo>
                  <a:lnTo>
                    <a:pt x="434" y="756"/>
                  </a:lnTo>
                  <a:lnTo>
                    <a:pt x="432" y="753"/>
                  </a:lnTo>
                  <a:lnTo>
                    <a:pt x="427" y="753"/>
                  </a:lnTo>
                  <a:lnTo>
                    <a:pt x="420" y="749"/>
                  </a:lnTo>
                  <a:lnTo>
                    <a:pt x="415" y="753"/>
                  </a:lnTo>
                  <a:lnTo>
                    <a:pt x="410" y="756"/>
                  </a:lnTo>
                  <a:lnTo>
                    <a:pt x="403" y="761"/>
                  </a:lnTo>
                  <a:lnTo>
                    <a:pt x="401" y="761"/>
                  </a:lnTo>
                  <a:lnTo>
                    <a:pt x="398" y="770"/>
                  </a:lnTo>
                  <a:lnTo>
                    <a:pt x="396" y="777"/>
                  </a:lnTo>
                  <a:lnTo>
                    <a:pt x="394" y="780"/>
                  </a:lnTo>
                  <a:lnTo>
                    <a:pt x="391" y="782"/>
                  </a:lnTo>
                  <a:lnTo>
                    <a:pt x="391" y="784"/>
                  </a:lnTo>
                  <a:lnTo>
                    <a:pt x="382" y="784"/>
                  </a:lnTo>
                  <a:lnTo>
                    <a:pt x="382" y="787"/>
                  </a:lnTo>
                  <a:lnTo>
                    <a:pt x="379" y="789"/>
                  </a:lnTo>
                  <a:lnTo>
                    <a:pt x="384" y="796"/>
                  </a:lnTo>
                  <a:lnTo>
                    <a:pt x="389" y="801"/>
                  </a:lnTo>
                  <a:lnTo>
                    <a:pt x="389" y="803"/>
                  </a:lnTo>
                  <a:lnTo>
                    <a:pt x="389" y="813"/>
                  </a:lnTo>
                  <a:lnTo>
                    <a:pt x="386" y="815"/>
                  </a:lnTo>
                  <a:lnTo>
                    <a:pt x="384" y="815"/>
                  </a:lnTo>
                  <a:lnTo>
                    <a:pt x="379" y="818"/>
                  </a:lnTo>
                  <a:lnTo>
                    <a:pt x="377" y="820"/>
                  </a:lnTo>
                  <a:lnTo>
                    <a:pt x="365" y="837"/>
                  </a:lnTo>
                  <a:lnTo>
                    <a:pt x="358" y="841"/>
                  </a:lnTo>
                  <a:lnTo>
                    <a:pt x="356" y="844"/>
                  </a:lnTo>
                  <a:lnTo>
                    <a:pt x="358" y="851"/>
                  </a:lnTo>
                  <a:lnTo>
                    <a:pt x="358" y="853"/>
                  </a:lnTo>
                  <a:lnTo>
                    <a:pt x="360" y="856"/>
                  </a:lnTo>
                  <a:lnTo>
                    <a:pt x="356" y="858"/>
                  </a:lnTo>
                  <a:lnTo>
                    <a:pt x="346" y="863"/>
                  </a:lnTo>
                  <a:lnTo>
                    <a:pt x="344" y="863"/>
                  </a:lnTo>
                  <a:lnTo>
                    <a:pt x="339" y="863"/>
                  </a:lnTo>
                  <a:lnTo>
                    <a:pt x="329" y="863"/>
                  </a:lnTo>
                  <a:lnTo>
                    <a:pt x="327" y="863"/>
                  </a:lnTo>
                  <a:lnTo>
                    <a:pt x="329" y="867"/>
                  </a:lnTo>
                  <a:lnTo>
                    <a:pt x="329" y="872"/>
                  </a:lnTo>
                  <a:lnTo>
                    <a:pt x="329" y="877"/>
                  </a:lnTo>
                  <a:lnTo>
                    <a:pt x="332" y="882"/>
                  </a:lnTo>
                  <a:lnTo>
                    <a:pt x="329" y="889"/>
                  </a:lnTo>
                  <a:lnTo>
                    <a:pt x="327" y="898"/>
                  </a:lnTo>
                  <a:lnTo>
                    <a:pt x="327" y="908"/>
                  </a:lnTo>
                  <a:lnTo>
                    <a:pt x="327" y="910"/>
                  </a:lnTo>
                  <a:lnTo>
                    <a:pt x="322" y="915"/>
                  </a:lnTo>
                  <a:lnTo>
                    <a:pt x="322" y="922"/>
                  </a:lnTo>
                  <a:lnTo>
                    <a:pt x="320" y="922"/>
                  </a:lnTo>
                  <a:lnTo>
                    <a:pt x="315" y="929"/>
                  </a:lnTo>
                  <a:lnTo>
                    <a:pt x="313" y="932"/>
                  </a:lnTo>
                  <a:lnTo>
                    <a:pt x="308" y="936"/>
                  </a:lnTo>
                  <a:lnTo>
                    <a:pt x="306" y="944"/>
                  </a:lnTo>
                  <a:lnTo>
                    <a:pt x="303" y="944"/>
                  </a:lnTo>
                  <a:lnTo>
                    <a:pt x="301" y="948"/>
                  </a:lnTo>
                  <a:lnTo>
                    <a:pt x="301" y="951"/>
                  </a:lnTo>
                  <a:lnTo>
                    <a:pt x="299" y="951"/>
                  </a:lnTo>
                  <a:lnTo>
                    <a:pt x="306" y="953"/>
                  </a:lnTo>
                  <a:lnTo>
                    <a:pt x="308" y="955"/>
                  </a:lnTo>
                  <a:lnTo>
                    <a:pt x="311" y="955"/>
                  </a:lnTo>
                  <a:lnTo>
                    <a:pt x="313" y="955"/>
                  </a:lnTo>
                  <a:lnTo>
                    <a:pt x="313" y="958"/>
                  </a:lnTo>
                  <a:lnTo>
                    <a:pt x="315" y="958"/>
                  </a:lnTo>
                  <a:lnTo>
                    <a:pt x="315" y="960"/>
                  </a:lnTo>
                  <a:lnTo>
                    <a:pt x="315" y="972"/>
                  </a:lnTo>
                  <a:lnTo>
                    <a:pt x="315" y="974"/>
                  </a:lnTo>
                  <a:lnTo>
                    <a:pt x="311" y="982"/>
                  </a:lnTo>
                  <a:lnTo>
                    <a:pt x="311" y="984"/>
                  </a:lnTo>
                  <a:lnTo>
                    <a:pt x="301" y="982"/>
                  </a:lnTo>
                  <a:lnTo>
                    <a:pt x="299" y="982"/>
                  </a:lnTo>
                  <a:lnTo>
                    <a:pt x="294" y="979"/>
                  </a:lnTo>
                  <a:lnTo>
                    <a:pt x="284" y="979"/>
                  </a:lnTo>
                  <a:lnTo>
                    <a:pt x="282" y="979"/>
                  </a:lnTo>
                  <a:lnTo>
                    <a:pt x="275" y="982"/>
                  </a:lnTo>
                  <a:lnTo>
                    <a:pt x="270" y="984"/>
                  </a:lnTo>
                  <a:lnTo>
                    <a:pt x="268" y="984"/>
                  </a:lnTo>
                  <a:lnTo>
                    <a:pt x="265" y="989"/>
                  </a:lnTo>
                  <a:lnTo>
                    <a:pt x="261" y="991"/>
                  </a:lnTo>
                  <a:lnTo>
                    <a:pt x="256" y="1001"/>
                  </a:lnTo>
                  <a:lnTo>
                    <a:pt x="254" y="1001"/>
                  </a:lnTo>
                  <a:lnTo>
                    <a:pt x="254" y="1003"/>
                  </a:lnTo>
                  <a:lnTo>
                    <a:pt x="249" y="1005"/>
                  </a:lnTo>
                  <a:lnTo>
                    <a:pt x="251" y="1012"/>
                  </a:lnTo>
                  <a:lnTo>
                    <a:pt x="246" y="1020"/>
                  </a:lnTo>
                  <a:lnTo>
                    <a:pt x="244" y="1022"/>
                  </a:lnTo>
                  <a:lnTo>
                    <a:pt x="244" y="1024"/>
                  </a:lnTo>
                  <a:lnTo>
                    <a:pt x="244" y="1027"/>
                  </a:lnTo>
                  <a:lnTo>
                    <a:pt x="246" y="1029"/>
                  </a:lnTo>
                  <a:lnTo>
                    <a:pt x="251" y="1036"/>
                  </a:lnTo>
                  <a:lnTo>
                    <a:pt x="251" y="1039"/>
                  </a:lnTo>
                  <a:lnTo>
                    <a:pt x="246" y="1043"/>
                  </a:lnTo>
                  <a:lnTo>
                    <a:pt x="249" y="1050"/>
                  </a:lnTo>
                  <a:lnTo>
                    <a:pt x="249" y="1053"/>
                  </a:lnTo>
                  <a:lnTo>
                    <a:pt x="246" y="1060"/>
                  </a:lnTo>
                  <a:lnTo>
                    <a:pt x="254" y="1074"/>
                  </a:lnTo>
                  <a:lnTo>
                    <a:pt x="254" y="1077"/>
                  </a:lnTo>
                  <a:lnTo>
                    <a:pt x="254" y="1079"/>
                  </a:lnTo>
                  <a:lnTo>
                    <a:pt x="254" y="1081"/>
                  </a:lnTo>
                  <a:lnTo>
                    <a:pt x="254" y="1088"/>
                  </a:lnTo>
                  <a:lnTo>
                    <a:pt x="251" y="1093"/>
                  </a:lnTo>
                  <a:lnTo>
                    <a:pt x="249" y="1105"/>
                  </a:lnTo>
                  <a:lnTo>
                    <a:pt x="249" y="1107"/>
                  </a:lnTo>
                  <a:lnTo>
                    <a:pt x="254" y="1112"/>
                  </a:lnTo>
                  <a:lnTo>
                    <a:pt x="256" y="1115"/>
                  </a:lnTo>
                  <a:lnTo>
                    <a:pt x="258" y="1117"/>
                  </a:lnTo>
                  <a:lnTo>
                    <a:pt x="263" y="1117"/>
                  </a:lnTo>
                  <a:lnTo>
                    <a:pt x="265" y="1119"/>
                  </a:lnTo>
                  <a:lnTo>
                    <a:pt x="268" y="1122"/>
                  </a:lnTo>
                  <a:lnTo>
                    <a:pt x="270" y="1124"/>
                  </a:lnTo>
                  <a:lnTo>
                    <a:pt x="273" y="1129"/>
                  </a:lnTo>
                  <a:lnTo>
                    <a:pt x="273" y="1131"/>
                  </a:lnTo>
                  <a:lnTo>
                    <a:pt x="270" y="1136"/>
                  </a:lnTo>
                  <a:lnTo>
                    <a:pt x="268" y="1138"/>
                  </a:lnTo>
                  <a:lnTo>
                    <a:pt x="268" y="1143"/>
                  </a:lnTo>
                  <a:lnTo>
                    <a:pt x="265" y="1145"/>
                  </a:lnTo>
                  <a:lnTo>
                    <a:pt x="261" y="1145"/>
                  </a:lnTo>
                  <a:lnTo>
                    <a:pt x="258" y="1145"/>
                  </a:lnTo>
                  <a:lnTo>
                    <a:pt x="251" y="1145"/>
                  </a:lnTo>
                  <a:lnTo>
                    <a:pt x="254" y="1150"/>
                  </a:lnTo>
                  <a:lnTo>
                    <a:pt x="256" y="1153"/>
                  </a:lnTo>
                  <a:lnTo>
                    <a:pt x="256" y="1155"/>
                  </a:lnTo>
                  <a:lnTo>
                    <a:pt x="258" y="1162"/>
                  </a:lnTo>
                  <a:lnTo>
                    <a:pt x="261" y="1167"/>
                  </a:lnTo>
                  <a:lnTo>
                    <a:pt x="261" y="1169"/>
                  </a:lnTo>
                  <a:lnTo>
                    <a:pt x="263" y="1172"/>
                  </a:lnTo>
                  <a:lnTo>
                    <a:pt x="265" y="1174"/>
                  </a:lnTo>
                  <a:lnTo>
                    <a:pt x="265" y="1179"/>
                  </a:lnTo>
                  <a:lnTo>
                    <a:pt x="263" y="1181"/>
                  </a:lnTo>
                  <a:lnTo>
                    <a:pt x="261" y="1183"/>
                  </a:lnTo>
                  <a:lnTo>
                    <a:pt x="261" y="1186"/>
                  </a:lnTo>
                  <a:lnTo>
                    <a:pt x="261" y="1188"/>
                  </a:lnTo>
                  <a:lnTo>
                    <a:pt x="263" y="1188"/>
                  </a:lnTo>
                  <a:lnTo>
                    <a:pt x="263" y="1191"/>
                  </a:lnTo>
                  <a:lnTo>
                    <a:pt x="261" y="1193"/>
                  </a:lnTo>
                  <a:lnTo>
                    <a:pt x="261" y="1195"/>
                  </a:lnTo>
                  <a:lnTo>
                    <a:pt x="261" y="1198"/>
                  </a:lnTo>
                  <a:lnTo>
                    <a:pt x="258" y="1198"/>
                  </a:lnTo>
                  <a:lnTo>
                    <a:pt x="258" y="1200"/>
                  </a:lnTo>
                  <a:lnTo>
                    <a:pt x="256" y="1200"/>
                  </a:lnTo>
                  <a:lnTo>
                    <a:pt x="256" y="1202"/>
                  </a:lnTo>
                  <a:lnTo>
                    <a:pt x="254" y="1202"/>
                  </a:lnTo>
                  <a:lnTo>
                    <a:pt x="251" y="1205"/>
                  </a:lnTo>
                  <a:lnTo>
                    <a:pt x="251" y="1207"/>
                  </a:lnTo>
                  <a:lnTo>
                    <a:pt x="249" y="1207"/>
                  </a:lnTo>
                  <a:lnTo>
                    <a:pt x="246" y="1207"/>
                  </a:lnTo>
                  <a:lnTo>
                    <a:pt x="244" y="1207"/>
                  </a:lnTo>
                  <a:lnTo>
                    <a:pt x="244" y="1205"/>
                  </a:lnTo>
                  <a:lnTo>
                    <a:pt x="244" y="1207"/>
                  </a:lnTo>
                  <a:lnTo>
                    <a:pt x="242" y="1207"/>
                  </a:lnTo>
                  <a:lnTo>
                    <a:pt x="239" y="1210"/>
                  </a:lnTo>
                  <a:lnTo>
                    <a:pt x="242" y="1210"/>
                  </a:lnTo>
                  <a:lnTo>
                    <a:pt x="242" y="1212"/>
                  </a:lnTo>
                  <a:lnTo>
                    <a:pt x="242" y="1214"/>
                  </a:lnTo>
                  <a:lnTo>
                    <a:pt x="242" y="1217"/>
                  </a:lnTo>
                  <a:lnTo>
                    <a:pt x="239" y="1219"/>
                  </a:lnTo>
                  <a:lnTo>
                    <a:pt x="237" y="1219"/>
                  </a:lnTo>
                  <a:lnTo>
                    <a:pt x="235" y="1219"/>
                  </a:lnTo>
                  <a:lnTo>
                    <a:pt x="235" y="1221"/>
                  </a:lnTo>
                  <a:lnTo>
                    <a:pt x="235" y="1226"/>
                  </a:lnTo>
                  <a:lnTo>
                    <a:pt x="237" y="1226"/>
                  </a:lnTo>
                  <a:lnTo>
                    <a:pt x="237" y="1229"/>
                  </a:lnTo>
                  <a:lnTo>
                    <a:pt x="237" y="1231"/>
                  </a:lnTo>
                  <a:lnTo>
                    <a:pt x="237" y="1233"/>
                  </a:lnTo>
                  <a:lnTo>
                    <a:pt x="239" y="1236"/>
                  </a:lnTo>
                  <a:lnTo>
                    <a:pt x="239" y="1240"/>
                  </a:lnTo>
                  <a:lnTo>
                    <a:pt x="237" y="1243"/>
                  </a:lnTo>
                  <a:lnTo>
                    <a:pt x="237" y="1245"/>
                  </a:lnTo>
                  <a:lnTo>
                    <a:pt x="237" y="1248"/>
                  </a:lnTo>
                  <a:lnTo>
                    <a:pt x="237" y="1250"/>
                  </a:lnTo>
                  <a:lnTo>
                    <a:pt x="235" y="1252"/>
                  </a:lnTo>
                  <a:lnTo>
                    <a:pt x="235" y="1255"/>
                  </a:lnTo>
                  <a:lnTo>
                    <a:pt x="235" y="1257"/>
                  </a:lnTo>
                  <a:lnTo>
                    <a:pt x="232" y="1257"/>
                  </a:lnTo>
                  <a:lnTo>
                    <a:pt x="235" y="1257"/>
                  </a:lnTo>
                  <a:lnTo>
                    <a:pt x="232" y="1257"/>
                  </a:lnTo>
                  <a:lnTo>
                    <a:pt x="232" y="1259"/>
                  </a:lnTo>
                  <a:lnTo>
                    <a:pt x="232" y="1257"/>
                  </a:lnTo>
                  <a:lnTo>
                    <a:pt x="232" y="1259"/>
                  </a:lnTo>
                  <a:lnTo>
                    <a:pt x="230" y="1259"/>
                  </a:lnTo>
                  <a:lnTo>
                    <a:pt x="227" y="1259"/>
                  </a:lnTo>
                  <a:lnTo>
                    <a:pt x="227" y="1257"/>
                  </a:lnTo>
                  <a:lnTo>
                    <a:pt x="227" y="1255"/>
                  </a:lnTo>
                  <a:lnTo>
                    <a:pt x="227" y="1252"/>
                  </a:lnTo>
                  <a:lnTo>
                    <a:pt x="225" y="1252"/>
                  </a:lnTo>
                  <a:lnTo>
                    <a:pt x="227" y="1252"/>
                  </a:lnTo>
                  <a:lnTo>
                    <a:pt x="225" y="1252"/>
                  </a:lnTo>
                  <a:lnTo>
                    <a:pt x="225" y="1250"/>
                  </a:lnTo>
                  <a:lnTo>
                    <a:pt x="225" y="1248"/>
                  </a:lnTo>
                  <a:lnTo>
                    <a:pt x="223" y="1248"/>
                  </a:lnTo>
                  <a:lnTo>
                    <a:pt x="220" y="1248"/>
                  </a:lnTo>
                  <a:lnTo>
                    <a:pt x="218" y="1248"/>
                  </a:lnTo>
                  <a:lnTo>
                    <a:pt x="218" y="1245"/>
                  </a:lnTo>
                  <a:lnTo>
                    <a:pt x="218" y="1243"/>
                  </a:lnTo>
                  <a:lnTo>
                    <a:pt x="216" y="1243"/>
                  </a:lnTo>
                  <a:lnTo>
                    <a:pt x="218" y="1243"/>
                  </a:lnTo>
                  <a:lnTo>
                    <a:pt x="216" y="1243"/>
                  </a:lnTo>
                  <a:lnTo>
                    <a:pt x="218" y="1243"/>
                  </a:lnTo>
                  <a:lnTo>
                    <a:pt x="218" y="1245"/>
                  </a:lnTo>
                  <a:lnTo>
                    <a:pt x="216" y="1245"/>
                  </a:lnTo>
                  <a:lnTo>
                    <a:pt x="218" y="1245"/>
                  </a:lnTo>
                  <a:lnTo>
                    <a:pt x="216" y="1245"/>
                  </a:lnTo>
                  <a:lnTo>
                    <a:pt x="216" y="1248"/>
                  </a:lnTo>
                  <a:lnTo>
                    <a:pt x="216" y="1245"/>
                  </a:lnTo>
                  <a:lnTo>
                    <a:pt x="216" y="1243"/>
                  </a:lnTo>
                  <a:lnTo>
                    <a:pt x="213" y="1243"/>
                  </a:lnTo>
                  <a:lnTo>
                    <a:pt x="216" y="1243"/>
                  </a:lnTo>
                  <a:lnTo>
                    <a:pt x="216" y="1245"/>
                  </a:lnTo>
                  <a:lnTo>
                    <a:pt x="216" y="1248"/>
                  </a:lnTo>
                  <a:lnTo>
                    <a:pt x="213" y="1248"/>
                  </a:lnTo>
                  <a:lnTo>
                    <a:pt x="213" y="1245"/>
                  </a:lnTo>
                  <a:lnTo>
                    <a:pt x="213" y="1248"/>
                  </a:lnTo>
                  <a:lnTo>
                    <a:pt x="213" y="1245"/>
                  </a:lnTo>
                  <a:lnTo>
                    <a:pt x="213" y="1248"/>
                  </a:lnTo>
                  <a:lnTo>
                    <a:pt x="213" y="1245"/>
                  </a:lnTo>
                  <a:lnTo>
                    <a:pt x="211" y="1245"/>
                  </a:lnTo>
                  <a:lnTo>
                    <a:pt x="213" y="1245"/>
                  </a:lnTo>
                  <a:lnTo>
                    <a:pt x="211" y="1245"/>
                  </a:lnTo>
                  <a:lnTo>
                    <a:pt x="211" y="1243"/>
                  </a:lnTo>
                  <a:lnTo>
                    <a:pt x="213" y="1243"/>
                  </a:lnTo>
                  <a:lnTo>
                    <a:pt x="211" y="1243"/>
                  </a:lnTo>
                  <a:lnTo>
                    <a:pt x="211" y="1245"/>
                  </a:lnTo>
                  <a:lnTo>
                    <a:pt x="211" y="1243"/>
                  </a:lnTo>
                  <a:lnTo>
                    <a:pt x="211" y="1245"/>
                  </a:lnTo>
                  <a:lnTo>
                    <a:pt x="211" y="1243"/>
                  </a:lnTo>
                  <a:lnTo>
                    <a:pt x="211" y="1245"/>
                  </a:lnTo>
                  <a:lnTo>
                    <a:pt x="208" y="1245"/>
                  </a:lnTo>
                  <a:lnTo>
                    <a:pt x="208" y="1243"/>
                  </a:lnTo>
                  <a:lnTo>
                    <a:pt x="208" y="1245"/>
                  </a:lnTo>
                  <a:lnTo>
                    <a:pt x="208" y="1243"/>
                  </a:lnTo>
                  <a:lnTo>
                    <a:pt x="206" y="1243"/>
                  </a:lnTo>
                  <a:lnTo>
                    <a:pt x="206" y="1245"/>
                  </a:lnTo>
                  <a:lnTo>
                    <a:pt x="206" y="1243"/>
                  </a:lnTo>
                  <a:lnTo>
                    <a:pt x="204" y="1243"/>
                  </a:lnTo>
                  <a:lnTo>
                    <a:pt x="206" y="1243"/>
                  </a:lnTo>
                  <a:lnTo>
                    <a:pt x="204" y="1243"/>
                  </a:lnTo>
                  <a:lnTo>
                    <a:pt x="204" y="1240"/>
                  </a:lnTo>
                  <a:lnTo>
                    <a:pt x="204" y="1238"/>
                  </a:lnTo>
                  <a:lnTo>
                    <a:pt x="204" y="1240"/>
                  </a:lnTo>
                  <a:lnTo>
                    <a:pt x="204" y="1238"/>
                  </a:lnTo>
                  <a:lnTo>
                    <a:pt x="204" y="1240"/>
                  </a:lnTo>
                  <a:lnTo>
                    <a:pt x="201" y="1240"/>
                  </a:lnTo>
                  <a:lnTo>
                    <a:pt x="204" y="1238"/>
                  </a:lnTo>
                  <a:lnTo>
                    <a:pt x="204" y="1236"/>
                  </a:lnTo>
                  <a:lnTo>
                    <a:pt x="206" y="1236"/>
                  </a:lnTo>
                  <a:lnTo>
                    <a:pt x="204" y="1236"/>
                  </a:lnTo>
                  <a:lnTo>
                    <a:pt x="204" y="1238"/>
                  </a:lnTo>
                  <a:lnTo>
                    <a:pt x="204" y="1236"/>
                  </a:lnTo>
                  <a:lnTo>
                    <a:pt x="204" y="1238"/>
                  </a:lnTo>
                  <a:lnTo>
                    <a:pt x="204" y="1236"/>
                  </a:lnTo>
                  <a:lnTo>
                    <a:pt x="204" y="1238"/>
                  </a:lnTo>
                  <a:lnTo>
                    <a:pt x="201" y="1238"/>
                  </a:lnTo>
                  <a:lnTo>
                    <a:pt x="204" y="1236"/>
                  </a:lnTo>
                  <a:lnTo>
                    <a:pt x="201" y="1236"/>
                  </a:lnTo>
                  <a:lnTo>
                    <a:pt x="204" y="1236"/>
                  </a:lnTo>
                  <a:lnTo>
                    <a:pt x="201" y="1236"/>
                  </a:lnTo>
                  <a:lnTo>
                    <a:pt x="201" y="1238"/>
                  </a:lnTo>
                  <a:lnTo>
                    <a:pt x="201" y="1236"/>
                  </a:lnTo>
                  <a:lnTo>
                    <a:pt x="201" y="1233"/>
                  </a:lnTo>
                  <a:lnTo>
                    <a:pt x="201" y="1236"/>
                  </a:lnTo>
                  <a:lnTo>
                    <a:pt x="201" y="1233"/>
                  </a:lnTo>
                  <a:lnTo>
                    <a:pt x="199" y="1233"/>
                  </a:lnTo>
                  <a:lnTo>
                    <a:pt x="199" y="1231"/>
                  </a:lnTo>
                  <a:lnTo>
                    <a:pt x="201" y="1231"/>
                  </a:lnTo>
                  <a:lnTo>
                    <a:pt x="199" y="1231"/>
                  </a:lnTo>
                  <a:lnTo>
                    <a:pt x="199" y="1229"/>
                  </a:lnTo>
                  <a:lnTo>
                    <a:pt x="201" y="1226"/>
                  </a:lnTo>
                  <a:lnTo>
                    <a:pt x="199" y="1226"/>
                  </a:lnTo>
                  <a:lnTo>
                    <a:pt x="201" y="1226"/>
                  </a:lnTo>
                  <a:lnTo>
                    <a:pt x="201" y="1229"/>
                  </a:lnTo>
                  <a:lnTo>
                    <a:pt x="201" y="1231"/>
                  </a:lnTo>
                  <a:lnTo>
                    <a:pt x="199" y="1231"/>
                  </a:lnTo>
                  <a:lnTo>
                    <a:pt x="201" y="1231"/>
                  </a:lnTo>
                  <a:lnTo>
                    <a:pt x="201" y="1229"/>
                  </a:lnTo>
                  <a:lnTo>
                    <a:pt x="201" y="1226"/>
                  </a:lnTo>
                  <a:lnTo>
                    <a:pt x="201" y="1224"/>
                  </a:lnTo>
                  <a:lnTo>
                    <a:pt x="199" y="1224"/>
                  </a:lnTo>
                  <a:lnTo>
                    <a:pt x="201" y="1224"/>
                  </a:lnTo>
                  <a:lnTo>
                    <a:pt x="201" y="1221"/>
                  </a:lnTo>
                  <a:lnTo>
                    <a:pt x="199" y="1221"/>
                  </a:lnTo>
                  <a:lnTo>
                    <a:pt x="201" y="1221"/>
                  </a:lnTo>
                  <a:lnTo>
                    <a:pt x="199" y="1221"/>
                  </a:lnTo>
                  <a:lnTo>
                    <a:pt x="201" y="1221"/>
                  </a:lnTo>
                  <a:lnTo>
                    <a:pt x="199" y="1221"/>
                  </a:lnTo>
                  <a:lnTo>
                    <a:pt x="199" y="1219"/>
                  </a:lnTo>
                  <a:lnTo>
                    <a:pt x="199" y="1217"/>
                  </a:lnTo>
                  <a:lnTo>
                    <a:pt x="199" y="1214"/>
                  </a:lnTo>
                  <a:lnTo>
                    <a:pt x="197" y="1214"/>
                  </a:lnTo>
                  <a:lnTo>
                    <a:pt x="199" y="1214"/>
                  </a:lnTo>
                  <a:lnTo>
                    <a:pt x="197" y="1214"/>
                  </a:lnTo>
                  <a:lnTo>
                    <a:pt x="199" y="1214"/>
                  </a:lnTo>
                  <a:lnTo>
                    <a:pt x="197" y="1212"/>
                  </a:lnTo>
                  <a:lnTo>
                    <a:pt x="199" y="1212"/>
                  </a:lnTo>
                  <a:lnTo>
                    <a:pt x="199" y="1210"/>
                  </a:lnTo>
                  <a:lnTo>
                    <a:pt x="199" y="1207"/>
                  </a:lnTo>
                  <a:lnTo>
                    <a:pt x="201" y="1207"/>
                  </a:lnTo>
                  <a:lnTo>
                    <a:pt x="201" y="1210"/>
                  </a:lnTo>
                  <a:lnTo>
                    <a:pt x="201" y="1212"/>
                  </a:lnTo>
                  <a:lnTo>
                    <a:pt x="201" y="1214"/>
                  </a:lnTo>
                  <a:lnTo>
                    <a:pt x="204" y="1214"/>
                  </a:lnTo>
                  <a:lnTo>
                    <a:pt x="201" y="1214"/>
                  </a:lnTo>
                  <a:lnTo>
                    <a:pt x="201" y="1217"/>
                  </a:lnTo>
                  <a:lnTo>
                    <a:pt x="201" y="1214"/>
                  </a:lnTo>
                  <a:lnTo>
                    <a:pt x="204" y="1214"/>
                  </a:lnTo>
                  <a:lnTo>
                    <a:pt x="201" y="1214"/>
                  </a:lnTo>
                  <a:lnTo>
                    <a:pt x="204" y="1214"/>
                  </a:lnTo>
                  <a:lnTo>
                    <a:pt x="201" y="1214"/>
                  </a:lnTo>
                  <a:lnTo>
                    <a:pt x="204" y="1214"/>
                  </a:lnTo>
                  <a:lnTo>
                    <a:pt x="204" y="1212"/>
                  </a:lnTo>
                  <a:lnTo>
                    <a:pt x="204" y="1210"/>
                  </a:lnTo>
                  <a:lnTo>
                    <a:pt x="204" y="1207"/>
                  </a:lnTo>
                  <a:lnTo>
                    <a:pt x="204" y="1205"/>
                  </a:lnTo>
                  <a:lnTo>
                    <a:pt x="201" y="1205"/>
                  </a:lnTo>
                  <a:lnTo>
                    <a:pt x="201" y="1207"/>
                  </a:lnTo>
                  <a:lnTo>
                    <a:pt x="201" y="1205"/>
                  </a:lnTo>
                  <a:lnTo>
                    <a:pt x="199" y="1205"/>
                  </a:lnTo>
                  <a:lnTo>
                    <a:pt x="199" y="1207"/>
                  </a:lnTo>
                  <a:lnTo>
                    <a:pt x="199" y="1205"/>
                  </a:lnTo>
                  <a:lnTo>
                    <a:pt x="199" y="1207"/>
                  </a:lnTo>
                  <a:lnTo>
                    <a:pt x="197" y="1207"/>
                  </a:lnTo>
                  <a:lnTo>
                    <a:pt x="194" y="1207"/>
                  </a:lnTo>
                  <a:lnTo>
                    <a:pt x="197" y="1207"/>
                  </a:lnTo>
                  <a:lnTo>
                    <a:pt x="194" y="1207"/>
                  </a:lnTo>
                  <a:lnTo>
                    <a:pt x="194" y="1210"/>
                  </a:lnTo>
                  <a:lnTo>
                    <a:pt x="197" y="1210"/>
                  </a:lnTo>
                  <a:lnTo>
                    <a:pt x="194" y="1210"/>
                  </a:lnTo>
                  <a:lnTo>
                    <a:pt x="194" y="1212"/>
                  </a:lnTo>
                  <a:lnTo>
                    <a:pt x="194" y="1214"/>
                  </a:lnTo>
                  <a:lnTo>
                    <a:pt x="197" y="1212"/>
                  </a:lnTo>
                  <a:lnTo>
                    <a:pt x="197" y="1214"/>
                  </a:lnTo>
                  <a:lnTo>
                    <a:pt x="197" y="1217"/>
                  </a:lnTo>
                  <a:lnTo>
                    <a:pt x="197" y="1219"/>
                  </a:lnTo>
                  <a:lnTo>
                    <a:pt x="199" y="1219"/>
                  </a:lnTo>
                  <a:lnTo>
                    <a:pt x="197" y="1219"/>
                  </a:lnTo>
                  <a:lnTo>
                    <a:pt x="199" y="1219"/>
                  </a:lnTo>
                  <a:lnTo>
                    <a:pt x="197" y="1219"/>
                  </a:lnTo>
                  <a:lnTo>
                    <a:pt x="199" y="1219"/>
                  </a:lnTo>
                  <a:lnTo>
                    <a:pt x="199" y="1221"/>
                  </a:lnTo>
                  <a:lnTo>
                    <a:pt x="199" y="1224"/>
                  </a:lnTo>
                  <a:lnTo>
                    <a:pt x="197" y="1224"/>
                  </a:lnTo>
                  <a:lnTo>
                    <a:pt x="197" y="1226"/>
                  </a:lnTo>
                  <a:lnTo>
                    <a:pt x="194" y="1226"/>
                  </a:lnTo>
                  <a:lnTo>
                    <a:pt x="192" y="1226"/>
                  </a:lnTo>
                  <a:lnTo>
                    <a:pt x="192" y="1224"/>
                  </a:lnTo>
                  <a:lnTo>
                    <a:pt x="192" y="1221"/>
                  </a:lnTo>
                  <a:lnTo>
                    <a:pt x="194" y="1221"/>
                  </a:lnTo>
                  <a:lnTo>
                    <a:pt x="192" y="1221"/>
                  </a:lnTo>
                  <a:lnTo>
                    <a:pt x="194" y="1221"/>
                  </a:lnTo>
                  <a:lnTo>
                    <a:pt x="192" y="1219"/>
                  </a:lnTo>
                  <a:lnTo>
                    <a:pt x="194" y="1219"/>
                  </a:lnTo>
                  <a:lnTo>
                    <a:pt x="192" y="1219"/>
                  </a:lnTo>
                  <a:lnTo>
                    <a:pt x="192" y="1217"/>
                  </a:lnTo>
                  <a:lnTo>
                    <a:pt x="189" y="1217"/>
                  </a:lnTo>
                  <a:lnTo>
                    <a:pt x="189" y="1214"/>
                  </a:lnTo>
                  <a:lnTo>
                    <a:pt x="187" y="1214"/>
                  </a:lnTo>
                  <a:lnTo>
                    <a:pt x="185" y="1214"/>
                  </a:lnTo>
                  <a:lnTo>
                    <a:pt x="187" y="1214"/>
                  </a:lnTo>
                  <a:lnTo>
                    <a:pt x="185" y="1214"/>
                  </a:lnTo>
                  <a:lnTo>
                    <a:pt x="182" y="1214"/>
                  </a:lnTo>
                  <a:lnTo>
                    <a:pt x="180" y="1214"/>
                  </a:lnTo>
                  <a:lnTo>
                    <a:pt x="178" y="1214"/>
                  </a:lnTo>
                  <a:lnTo>
                    <a:pt x="178" y="1212"/>
                  </a:lnTo>
                  <a:lnTo>
                    <a:pt x="178" y="1214"/>
                  </a:lnTo>
                  <a:lnTo>
                    <a:pt x="180" y="1214"/>
                  </a:lnTo>
                  <a:lnTo>
                    <a:pt x="182" y="1214"/>
                  </a:lnTo>
                  <a:lnTo>
                    <a:pt x="185" y="1214"/>
                  </a:lnTo>
                  <a:lnTo>
                    <a:pt x="187" y="1214"/>
                  </a:lnTo>
                  <a:lnTo>
                    <a:pt x="187" y="1217"/>
                  </a:lnTo>
                  <a:lnTo>
                    <a:pt x="189" y="1217"/>
                  </a:lnTo>
                  <a:lnTo>
                    <a:pt x="192" y="1217"/>
                  </a:lnTo>
                  <a:lnTo>
                    <a:pt x="192" y="1219"/>
                  </a:lnTo>
                  <a:lnTo>
                    <a:pt x="192" y="1221"/>
                  </a:lnTo>
                  <a:lnTo>
                    <a:pt x="192" y="1224"/>
                  </a:lnTo>
                  <a:lnTo>
                    <a:pt x="192" y="1226"/>
                  </a:lnTo>
                  <a:lnTo>
                    <a:pt x="189" y="1226"/>
                  </a:lnTo>
                  <a:lnTo>
                    <a:pt x="189" y="1224"/>
                  </a:lnTo>
                  <a:lnTo>
                    <a:pt x="187" y="1224"/>
                  </a:lnTo>
                  <a:lnTo>
                    <a:pt x="187" y="1226"/>
                  </a:lnTo>
                  <a:lnTo>
                    <a:pt x="189" y="1226"/>
                  </a:lnTo>
                  <a:lnTo>
                    <a:pt x="187" y="1226"/>
                  </a:lnTo>
                  <a:lnTo>
                    <a:pt x="189" y="1226"/>
                  </a:lnTo>
                  <a:lnTo>
                    <a:pt x="189" y="1229"/>
                  </a:lnTo>
                  <a:lnTo>
                    <a:pt x="192" y="1229"/>
                  </a:lnTo>
                  <a:lnTo>
                    <a:pt x="192" y="1231"/>
                  </a:lnTo>
                  <a:lnTo>
                    <a:pt x="192" y="1229"/>
                  </a:lnTo>
                  <a:lnTo>
                    <a:pt x="192" y="1231"/>
                  </a:lnTo>
                  <a:lnTo>
                    <a:pt x="192" y="1229"/>
                  </a:lnTo>
                  <a:lnTo>
                    <a:pt x="194" y="1229"/>
                  </a:lnTo>
                  <a:lnTo>
                    <a:pt x="194" y="1231"/>
                  </a:lnTo>
                  <a:lnTo>
                    <a:pt x="194" y="1229"/>
                  </a:lnTo>
                  <a:lnTo>
                    <a:pt x="194" y="1231"/>
                  </a:lnTo>
                  <a:lnTo>
                    <a:pt x="194" y="1233"/>
                  </a:lnTo>
                  <a:lnTo>
                    <a:pt x="194" y="1236"/>
                  </a:lnTo>
                  <a:lnTo>
                    <a:pt x="197" y="1236"/>
                  </a:lnTo>
                  <a:lnTo>
                    <a:pt x="197" y="1238"/>
                  </a:lnTo>
                  <a:lnTo>
                    <a:pt x="194" y="1238"/>
                  </a:lnTo>
                  <a:lnTo>
                    <a:pt x="194" y="1240"/>
                  </a:lnTo>
                  <a:lnTo>
                    <a:pt x="194" y="1238"/>
                  </a:lnTo>
                  <a:lnTo>
                    <a:pt x="192" y="1238"/>
                  </a:lnTo>
                  <a:lnTo>
                    <a:pt x="192" y="1240"/>
                  </a:lnTo>
                  <a:lnTo>
                    <a:pt x="194" y="1240"/>
                  </a:lnTo>
                  <a:lnTo>
                    <a:pt x="194" y="1243"/>
                  </a:lnTo>
                  <a:lnTo>
                    <a:pt x="194" y="1240"/>
                  </a:lnTo>
                  <a:lnTo>
                    <a:pt x="194" y="1243"/>
                  </a:lnTo>
                  <a:lnTo>
                    <a:pt x="194" y="1245"/>
                  </a:lnTo>
                  <a:lnTo>
                    <a:pt x="194" y="1243"/>
                  </a:lnTo>
                  <a:lnTo>
                    <a:pt x="194" y="1245"/>
                  </a:lnTo>
                  <a:lnTo>
                    <a:pt x="192" y="1245"/>
                  </a:lnTo>
                  <a:lnTo>
                    <a:pt x="189" y="1243"/>
                  </a:lnTo>
                  <a:lnTo>
                    <a:pt x="192" y="1243"/>
                  </a:lnTo>
                  <a:lnTo>
                    <a:pt x="189" y="1243"/>
                  </a:lnTo>
                  <a:lnTo>
                    <a:pt x="192" y="1243"/>
                  </a:lnTo>
                  <a:lnTo>
                    <a:pt x="192" y="1240"/>
                  </a:lnTo>
                  <a:lnTo>
                    <a:pt x="192" y="1238"/>
                  </a:lnTo>
                  <a:lnTo>
                    <a:pt x="192" y="1240"/>
                  </a:lnTo>
                  <a:lnTo>
                    <a:pt x="192" y="1238"/>
                  </a:lnTo>
                  <a:lnTo>
                    <a:pt x="192" y="1240"/>
                  </a:lnTo>
                  <a:lnTo>
                    <a:pt x="189" y="1240"/>
                  </a:lnTo>
                  <a:lnTo>
                    <a:pt x="192" y="1240"/>
                  </a:lnTo>
                  <a:lnTo>
                    <a:pt x="189" y="1243"/>
                  </a:lnTo>
                  <a:lnTo>
                    <a:pt x="189" y="1245"/>
                  </a:lnTo>
                  <a:lnTo>
                    <a:pt x="189" y="1248"/>
                  </a:lnTo>
                  <a:lnTo>
                    <a:pt x="189" y="1245"/>
                  </a:lnTo>
                  <a:lnTo>
                    <a:pt x="187" y="1245"/>
                  </a:lnTo>
                  <a:lnTo>
                    <a:pt x="187" y="1248"/>
                  </a:lnTo>
                  <a:lnTo>
                    <a:pt x="189" y="1248"/>
                  </a:lnTo>
                  <a:lnTo>
                    <a:pt x="187" y="1248"/>
                  </a:lnTo>
                  <a:lnTo>
                    <a:pt x="189" y="1248"/>
                  </a:lnTo>
                  <a:lnTo>
                    <a:pt x="189" y="1250"/>
                  </a:lnTo>
                  <a:lnTo>
                    <a:pt x="187" y="1250"/>
                  </a:lnTo>
                  <a:lnTo>
                    <a:pt x="187" y="1248"/>
                  </a:lnTo>
                  <a:lnTo>
                    <a:pt x="187" y="1250"/>
                  </a:lnTo>
                  <a:lnTo>
                    <a:pt x="187" y="1252"/>
                  </a:lnTo>
                  <a:lnTo>
                    <a:pt x="187" y="1250"/>
                  </a:lnTo>
                  <a:lnTo>
                    <a:pt x="187" y="1248"/>
                  </a:lnTo>
                  <a:lnTo>
                    <a:pt x="185" y="1248"/>
                  </a:lnTo>
                  <a:lnTo>
                    <a:pt x="187" y="1248"/>
                  </a:lnTo>
                  <a:lnTo>
                    <a:pt x="185" y="1248"/>
                  </a:lnTo>
                  <a:lnTo>
                    <a:pt x="187" y="1248"/>
                  </a:lnTo>
                  <a:lnTo>
                    <a:pt x="185" y="1248"/>
                  </a:lnTo>
                  <a:lnTo>
                    <a:pt x="187" y="1248"/>
                  </a:lnTo>
                  <a:lnTo>
                    <a:pt x="187" y="1250"/>
                  </a:lnTo>
                  <a:lnTo>
                    <a:pt x="185" y="1250"/>
                  </a:lnTo>
                  <a:lnTo>
                    <a:pt x="185" y="1248"/>
                  </a:lnTo>
                  <a:lnTo>
                    <a:pt x="185" y="1250"/>
                  </a:lnTo>
                  <a:lnTo>
                    <a:pt x="187" y="1250"/>
                  </a:lnTo>
                  <a:lnTo>
                    <a:pt x="187" y="1252"/>
                  </a:lnTo>
                  <a:lnTo>
                    <a:pt x="185" y="1252"/>
                  </a:lnTo>
                  <a:lnTo>
                    <a:pt x="182" y="1252"/>
                  </a:lnTo>
                  <a:lnTo>
                    <a:pt x="185" y="1252"/>
                  </a:lnTo>
                  <a:lnTo>
                    <a:pt x="182" y="1252"/>
                  </a:lnTo>
                  <a:lnTo>
                    <a:pt x="180" y="1252"/>
                  </a:lnTo>
                  <a:lnTo>
                    <a:pt x="180" y="1250"/>
                  </a:lnTo>
                  <a:lnTo>
                    <a:pt x="180" y="1252"/>
                  </a:lnTo>
                  <a:lnTo>
                    <a:pt x="180" y="1250"/>
                  </a:lnTo>
                  <a:lnTo>
                    <a:pt x="180" y="1252"/>
                  </a:lnTo>
                  <a:lnTo>
                    <a:pt x="180" y="1255"/>
                  </a:lnTo>
                  <a:lnTo>
                    <a:pt x="178" y="1255"/>
                  </a:lnTo>
                  <a:lnTo>
                    <a:pt x="175" y="1255"/>
                  </a:lnTo>
                  <a:lnTo>
                    <a:pt x="173" y="1255"/>
                  </a:lnTo>
                  <a:lnTo>
                    <a:pt x="175" y="1255"/>
                  </a:lnTo>
                  <a:lnTo>
                    <a:pt x="173" y="1255"/>
                  </a:lnTo>
                  <a:lnTo>
                    <a:pt x="173" y="1252"/>
                  </a:lnTo>
                  <a:lnTo>
                    <a:pt x="173" y="1250"/>
                  </a:lnTo>
                  <a:lnTo>
                    <a:pt x="173" y="1248"/>
                  </a:lnTo>
                  <a:lnTo>
                    <a:pt x="173" y="1250"/>
                  </a:lnTo>
                  <a:lnTo>
                    <a:pt x="171" y="1250"/>
                  </a:lnTo>
                  <a:lnTo>
                    <a:pt x="171" y="1252"/>
                  </a:lnTo>
                  <a:lnTo>
                    <a:pt x="171" y="1250"/>
                  </a:lnTo>
                  <a:lnTo>
                    <a:pt x="168" y="1250"/>
                  </a:lnTo>
                  <a:lnTo>
                    <a:pt x="171" y="1250"/>
                  </a:lnTo>
                  <a:lnTo>
                    <a:pt x="168" y="1250"/>
                  </a:lnTo>
                  <a:lnTo>
                    <a:pt x="168" y="1248"/>
                  </a:lnTo>
                  <a:lnTo>
                    <a:pt x="171" y="1248"/>
                  </a:lnTo>
                  <a:lnTo>
                    <a:pt x="168" y="1248"/>
                  </a:lnTo>
                  <a:lnTo>
                    <a:pt x="168" y="1250"/>
                  </a:lnTo>
                  <a:lnTo>
                    <a:pt x="166" y="1250"/>
                  </a:lnTo>
                  <a:lnTo>
                    <a:pt x="166" y="1248"/>
                  </a:lnTo>
                  <a:lnTo>
                    <a:pt x="168" y="1248"/>
                  </a:lnTo>
                  <a:lnTo>
                    <a:pt x="166" y="1248"/>
                  </a:lnTo>
                  <a:lnTo>
                    <a:pt x="166" y="1245"/>
                  </a:lnTo>
                  <a:lnTo>
                    <a:pt x="166" y="1248"/>
                  </a:lnTo>
                  <a:lnTo>
                    <a:pt x="163" y="1248"/>
                  </a:lnTo>
                  <a:lnTo>
                    <a:pt x="166" y="1248"/>
                  </a:lnTo>
                  <a:lnTo>
                    <a:pt x="166" y="1250"/>
                  </a:lnTo>
                  <a:lnTo>
                    <a:pt x="168" y="1250"/>
                  </a:lnTo>
                  <a:lnTo>
                    <a:pt x="166" y="1250"/>
                  </a:lnTo>
                  <a:lnTo>
                    <a:pt x="168" y="1250"/>
                  </a:lnTo>
                  <a:lnTo>
                    <a:pt x="168" y="1252"/>
                  </a:lnTo>
                  <a:lnTo>
                    <a:pt x="171" y="1252"/>
                  </a:lnTo>
                  <a:lnTo>
                    <a:pt x="171" y="1255"/>
                  </a:lnTo>
                  <a:lnTo>
                    <a:pt x="171" y="1252"/>
                  </a:lnTo>
                  <a:lnTo>
                    <a:pt x="168" y="1252"/>
                  </a:lnTo>
                  <a:lnTo>
                    <a:pt x="168" y="1255"/>
                  </a:lnTo>
                  <a:lnTo>
                    <a:pt x="166" y="1255"/>
                  </a:lnTo>
                  <a:lnTo>
                    <a:pt x="166" y="1257"/>
                  </a:lnTo>
                  <a:lnTo>
                    <a:pt x="166" y="1255"/>
                  </a:lnTo>
                  <a:lnTo>
                    <a:pt x="166" y="1257"/>
                  </a:lnTo>
                  <a:lnTo>
                    <a:pt x="163" y="1257"/>
                  </a:lnTo>
                  <a:lnTo>
                    <a:pt x="161" y="1257"/>
                  </a:lnTo>
                  <a:lnTo>
                    <a:pt x="163" y="1257"/>
                  </a:lnTo>
                  <a:lnTo>
                    <a:pt x="161" y="1257"/>
                  </a:lnTo>
                  <a:lnTo>
                    <a:pt x="163" y="1257"/>
                  </a:lnTo>
                  <a:lnTo>
                    <a:pt x="163" y="1259"/>
                  </a:lnTo>
                  <a:lnTo>
                    <a:pt x="163" y="1257"/>
                  </a:lnTo>
                  <a:lnTo>
                    <a:pt x="163" y="1259"/>
                  </a:lnTo>
                  <a:lnTo>
                    <a:pt x="166" y="1259"/>
                  </a:lnTo>
                  <a:lnTo>
                    <a:pt x="163" y="1259"/>
                  </a:lnTo>
                  <a:lnTo>
                    <a:pt x="166" y="1259"/>
                  </a:lnTo>
                  <a:lnTo>
                    <a:pt x="163" y="1259"/>
                  </a:lnTo>
                  <a:lnTo>
                    <a:pt x="161" y="1259"/>
                  </a:lnTo>
                  <a:lnTo>
                    <a:pt x="161" y="1257"/>
                  </a:lnTo>
                  <a:lnTo>
                    <a:pt x="161" y="1259"/>
                  </a:lnTo>
                  <a:lnTo>
                    <a:pt x="161" y="1257"/>
                  </a:lnTo>
                  <a:lnTo>
                    <a:pt x="161" y="1259"/>
                  </a:lnTo>
                  <a:lnTo>
                    <a:pt x="159" y="1259"/>
                  </a:lnTo>
                  <a:lnTo>
                    <a:pt x="159" y="1262"/>
                  </a:lnTo>
                  <a:lnTo>
                    <a:pt x="156" y="1259"/>
                  </a:lnTo>
                  <a:lnTo>
                    <a:pt x="156" y="1262"/>
                  </a:lnTo>
                  <a:lnTo>
                    <a:pt x="159" y="1262"/>
                  </a:lnTo>
                  <a:lnTo>
                    <a:pt x="161" y="1262"/>
                  </a:lnTo>
                  <a:lnTo>
                    <a:pt x="159" y="1262"/>
                  </a:lnTo>
                  <a:lnTo>
                    <a:pt x="159" y="1264"/>
                  </a:lnTo>
                  <a:lnTo>
                    <a:pt x="161" y="1264"/>
                  </a:lnTo>
                  <a:lnTo>
                    <a:pt x="159" y="1264"/>
                  </a:lnTo>
                  <a:lnTo>
                    <a:pt x="159" y="1267"/>
                  </a:lnTo>
                  <a:lnTo>
                    <a:pt x="159" y="1264"/>
                  </a:lnTo>
                  <a:lnTo>
                    <a:pt x="159" y="1267"/>
                  </a:lnTo>
                  <a:lnTo>
                    <a:pt x="156" y="1267"/>
                  </a:lnTo>
                  <a:lnTo>
                    <a:pt x="154" y="1267"/>
                  </a:lnTo>
                  <a:lnTo>
                    <a:pt x="152" y="1267"/>
                  </a:lnTo>
                  <a:lnTo>
                    <a:pt x="149" y="1267"/>
                  </a:lnTo>
                  <a:lnTo>
                    <a:pt x="147" y="1267"/>
                  </a:lnTo>
                  <a:lnTo>
                    <a:pt x="147" y="1269"/>
                  </a:lnTo>
                  <a:lnTo>
                    <a:pt x="147" y="1267"/>
                  </a:lnTo>
                  <a:lnTo>
                    <a:pt x="149" y="1267"/>
                  </a:lnTo>
                  <a:lnTo>
                    <a:pt x="149" y="1269"/>
                  </a:lnTo>
                  <a:lnTo>
                    <a:pt x="149" y="1267"/>
                  </a:lnTo>
                  <a:lnTo>
                    <a:pt x="149" y="1269"/>
                  </a:lnTo>
                  <a:lnTo>
                    <a:pt x="152" y="1269"/>
                  </a:lnTo>
                  <a:lnTo>
                    <a:pt x="152" y="1267"/>
                  </a:lnTo>
                  <a:lnTo>
                    <a:pt x="152" y="1269"/>
                  </a:lnTo>
                  <a:lnTo>
                    <a:pt x="149" y="1267"/>
                  </a:lnTo>
                  <a:lnTo>
                    <a:pt x="152" y="1267"/>
                  </a:lnTo>
                  <a:lnTo>
                    <a:pt x="154" y="1267"/>
                  </a:lnTo>
                  <a:lnTo>
                    <a:pt x="152" y="1269"/>
                  </a:lnTo>
                  <a:lnTo>
                    <a:pt x="154" y="1269"/>
                  </a:lnTo>
                  <a:lnTo>
                    <a:pt x="154" y="1267"/>
                  </a:lnTo>
                  <a:lnTo>
                    <a:pt x="154" y="1269"/>
                  </a:lnTo>
                  <a:lnTo>
                    <a:pt x="152" y="1269"/>
                  </a:lnTo>
                  <a:lnTo>
                    <a:pt x="149" y="1269"/>
                  </a:lnTo>
                  <a:lnTo>
                    <a:pt x="152" y="1269"/>
                  </a:lnTo>
                  <a:lnTo>
                    <a:pt x="154" y="1269"/>
                  </a:lnTo>
                  <a:lnTo>
                    <a:pt x="154" y="1271"/>
                  </a:lnTo>
                  <a:lnTo>
                    <a:pt x="152" y="1271"/>
                  </a:lnTo>
                  <a:lnTo>
                    <a:pt x="149" y="1271"/>
                  </a:lnTo>
                  <a:lnTo>
                    <a:pt x="149" y="1274"/>
                  </a:lnTo>
                  <a:lnTo>
                    <a:pt x="147" y="1274"/>
                  </a:lnTo>
                  <a:lnTo>
                    <a:pt x="147" y="1276"/>
                  </a:lnTo>
                  <a:lnTo>
                    <a:pt x="144" y="1276"/>
                  </a:lnTo>
                  <a:lnTo>
                    <a:pt x="147" y="1276"/>
                  </a:lnTo>
                  <a:lnTo>
                    <a:pt x="147" y="1274"/>
                  </a:lnTo>
                  <a:lnTo>
                    <a:pt x="144" y="1274"/>
                  </a:lnTo>
                  <a:lnTo>
                    <a:pt x="144" y="1276"/>
                  </a:lnTo>
                  <a:lnTo>
                    <a:pt x="144" y="1274"/>
                  </a:lnTo>
                  <a:lnTo>
                    <a:pt x="144" y="1276"/>
                  </a:lnTo>
                  <a:lnTo>
                    <a:pt x="147" y="1276"/>
                  </a:lnTo>
                  <a:lnTo>
                    <a:pt x="144" y="1276"/>
                  </a:lnTo>
                  <a:lnTo>
                    <a:pt x="147" y="1276"/>
                  </a:lnTo>
                  <a:lnTo>
                    <a:pt x="144" y="1276"/>
                  </a:lnTo>
                  <a:lnTo>
                    <a:pt x="144" y="1278"/>
                  </a:lnTo>
                  <a:lnTo>
                    <a:pt x="142" y="1278"/>
                  </a:lnTo>
                  <a:lnTo>
                    <a:pt x="142" y="1281"/>
                  </a:lnTo>
                  <a:lnTo>
                    <a:pt x="140" y="1281"/>
                  </a:lnTo>
                  <a:lnTo>
                    <a:pt x="137" y="1281"/>
                  </a:lnTo>
                  <a:lnTo>
                    <a:pt x="137" y="1283"/>
                  </a:lnTo>
                  <a:lnTo>
                    <a:pt x="137" y="1281"/>
                  </a:lnTo>
                  <a:lnTo>
                    <a:pt x="137" y="1283"/>
                  </a:lnTo>
                  <a:lnTo>
                    <a:pt x="140" y="1283"/>
                  </a:lnTo>
                  <a:lnTo>
                    <a:pt x="137" y="1283"/>
                  </a:lnTo>
                  <a:lnTo>
                    <a:pt x="137" y="1286"/>
                  </a:lnTo>
                  <a:lnTo>
                    <a:pt x="137" y="1283"/>
                  </a:lnTo>
                  <a:lnTo>
                    <a:pt x="137" y="1286"/>
                  </a:lnTo>
                  <a:lnTo>
                    <a:pt x="135" y="1286"/>
                  </a:lnTo>
                  <a:lnTo>
                    <a:pt x="137" y="1286"/>
                  </a:lnTo>
                  <a:lnTo>
                    <a:pt x="135" y="1286"/>
                  </a:lnTo>
                  <a:lnTo>
                    <a:pt x="137" y="1286"/>
                  </a:lnTo>
                  <a:lnTo>
                    <a:pt x="135" y="1286"/>
                  </a:lnTo>
                  <a:lnTo>
                    <a:pt x="135" y="1288"/>
                  </a:lnTo>
                  <a:lnTo>
                    <a:pt x="133" y="1288"/>
                  </a:lnTo>
                  <a:lnTo>
                    <a:pt x="135" y="1288"/>
                  </a:lnTo>
                  <a:lnTo>
                    <a:pt x="133" y="1288"/>
                  </a:lnTo>
                  <a:lnTo>
                    <a:pt x="133" y="1290"/>
                  </a:lnTo>
                  <a:lnTo>
                    <a:pt x="130" y="1290"/>
                  </a:lnTo>
                  <a:lnTo>
                    <a:pt x="130" y="1293"/>
                  </a:lnTo>
                  <a:lnTo>
                    <a:pt x="128" y="1293"/>
                  </a:lnTo>
                  <a:lnTo>
                    <a:pt x="130" y="1293"/>
                  </a:lnTo>
                  <a:lnTo>
                    <a:pt x="128" y="1293"/>
                  </a:lnTo>
                  <a:lnTo>
                    <a:pt x="128" y="1290"/>
                  </a:lnTo>
                  <a:lnTo>
                    <a:pt x="128" y="1293"/>
                  </a:lnTo>
                  <a:lnTo>
                    <a:pt x="128" y="1290"/>
                  </a:lnTo>
                  <a:lnTo>
                    <a:pt x="125" y="1293"/>
                  </a:lnTo>
                  <a:lnTo>
                    <a:pt x="128" y="1293"/>
                  </a:lnTo>
                  <a:lnTo>
                    <a:pt x="125" y="1293"/>
                  </a:lnTo>
                  <a:lnTo>
                    <a:pt x="123" y="1293"/>
                  </a:lnTo>
                  <a:lnTo>
                    <a:pt x="125" y="1293"/>
                  </a:lnTo>
                  <a:lnTo>
                    <a:pt x="125" y="1295"/>
                  </a:lnTo>
                  <a:lnTo>
                    <a:pt x="125" y="1293"/>
                  </a:lnTo>
                  <a:lnTo>
                    <a:pt x="125" y="1295"/>
                  </a:lnTo>
                  <a:lnTo>
                    <a:pt x="123" y="1295"/>
                  </a:lnTo>
                  <a:lnTo>
                    <a:pt x="121" y="1295"/>
                  </a:lnTo>
                  <a:lnTo>
                    <a:pt x="123" y="1295"/>
                  </a:lnTo>
                  <a:lnTo>
                    <a:pt x="121" y="1295"/>
                  </a:lnTo>
                  <a:lnTo>
                    <a:pt x="123" y="1295"/>
                  </a:lnTo>
                  <a:lnTo>
                    <a:pt x="123" y="1297"/>
                  </a:lnTo>
                  <a:lnTo>
                    <a:pt x="123" y="1295"/>
                  </a:lnTo>
                  <a:lnTo>
                    <a:pt x="123" y="1297"/>
                  </a:lnTo>
                  <a:lnTo>
                    <a:pt x="121" y="1297"/>
                  </a:lnTo>
                  <a:lnTo>
                    <a:pt x="123" y="1297"/>
                  </a:lnTo>
                  <a:lnTo>
                    <a:pt x="121" y="1297"/>
                  </a:lnTo>
                  <a:lnTo>
                    <a:pt x="123" y="1297"/>
                  </a:lnTo>
                  <a:lnTo>
                    <a:pt x="121" y="1297"/>
                  </a:lnTo>
                  <a:lnTo>
                    <a:pt x="121" y="1300"/>
                  </a:lnTo>
                  <a:lnTo>
                    <a:pt x="118" y="1300"/>
                  </a:lnTo>
                  <a:lnTo>
                    <a:pt x="121" y="1300"/>
                  </a:lnTo>
                  <a:lnTo>
                    <a:pt x="118" y="1300"/>
                  </a:lnTo>
                  <a:lnTo>
                    <a:pt x="121" y="1300"/>
                  </a:lnTo>
                  <a:lnTo>
                    <a:pt x="118" y="1300"/>
                  </a:lnTo>
                  <a:lnTo>
                    <a:pt x="121" y="1300"/>
                  </a:lnTo>
                  <a:lnTo>
                    <a:pt x="118" y="1300"/>
                  </a:lnTo>
                  <a:lnTo>
                    <a:pt x="118" y="1297"/>
                  </a:lnTo>
                  <a:lnTo>
                    <a:pt x="121" y="1297"/>
                  </a:lnTo>
                  <a:lnTo>
                    <a:pt x="118" y="1297"/>
                  </a:lnTo>
                  <a:lnTo>
                    <a:pt x="118" y="1300"/>
                  </a:lnTo>
                  <a:lnTo>
                    <a:pt x="116" y="1300"/>
                  </a:lnTo>
                  <a:lnTo>
                    <a:pt x="114" y="1300"/>
                  </a:lnTo>
                  <a:lnTo>
                    <a:pt x="116" y="1300"/>
                  </a:lnTo>
                  <a:lnTo>
                    <a:pt x="114" y="1300"/>
                  </a:lnTo>
                  <a:lnTo>
                    <a:pt x="116" y="1300"/>
                  </a:lnTo>
                  <a:lnTo>
                    <a:pt x="116" y="1297"/>
                  </a:lnTo>
                  <a:lnTo>
                    <a:pt x="114" y="1297"/>
                  </a:lnTo>
                  <a:lnTo>
                    <a:pt x="114" y="1300"/>
                  </a:lnTo>
                  <a:lnTo>
                    <a:pt x="114" y="1297"/>
                  </a:lnTo>
                  <a:lnTo>
                    <a:pt x="116" y="1297"/>
                  </a:lnTo>
                  <a:lnTo>
                    <a:pt x="116" y="1295"/>
                  </a:lnTo>
                  <a:lnTo>
                    <a:pt x="114" y="1295"/>
                  </a:lnTo>
                  <a:lnTo>
                    <a:pt x="114" y="1293"/>
                  </a:lnTo>
                  <a:lnTo>
                    <a:pt x="114" y="1295"/>
                  </a:lnTo>
                  <a:lnTo>
                    <a:pt x="114" y="1297"/>
                  </a:lnTo>
                  <a:lnTo>
                    <a:pt x="114" y="1295"/>
                  </a:lnTo>
                  <a:lnTo>
                    <a:pt x="114" y="1297"/>
                  </a:lnTo>
                  <a:lnTo>
                    <a:pt x="114" y="1300"/>
                  </a:lnTo>
                  <a:lnTo>
                    <a:pt x="114" y="1297"/>
                  </a:lnTo>
                  <a:lnTo>
                    <a:pt x="111" y="1297"/>
                  </a:lnTo>
                  <a:lnTo>
                    <a:pt x="111" y="1300"/>
                  </a:lnTo>
                  <a:lnTo>
                    <a:pt x="114" y="1300"/>
                  </a:lnTo>
                  <a:lnTo>
                    <a:pt x="111" y="1300"/>
                  </a:lnTo>
                  <a:lnTo>
                    <a:pt x="111" y="1302"/>
                  </a:lnTo>
                  <a:lnTo>
                    <a:pt x="111" y="1300"/>
                  </a:lnTo>
                  <a:lnTo>
                    <a:pt x="111" y="1302"/>
                  </a:lnTo>
                  <a:lnTo>
                    <a:pt x="109" y="1302"/>
                  </a:lnTo>
                  <a:lnTo>
                    <a:pt x="106" y="1302"/>
                  </a:lnTo>
                  <a:lnTo>
                    <a:pt x="104" y="1302"/>
                  </a:lnTo>
                  <a:lnTo>
                    <a:pt x="102" y="1302"/>
                  </a:lnTo>
                  <a:lnTo>
                    <a:pt x="104" y="1302"/>
                  </a:lnTo>
                  <a:lnTo>
                    <a:pt x="102" y="1302"/>
                  </a:lnTo>
                  <a:lnTo>
                    <a:pt x="102" y="1305"/>
                  </a:lnTo>
                  <a:lnTo>
                    <a:pt x="99" y="1305"/>
                  </a:lnTo>
                  <a:lnTo>
                    <a:pt x="102" y="1305"/>
                  </a:lnTo>
                  <a:lnTo>
                    <a:pt x="99" y="1305"/>
                  </a:lnTo>
                  <a:lnTo>
                    <a:pt x="102" y="1305"/>
                  </a:lnTo>
                  <a:lnTo>
                    <a:pt x="99" y="1305"/>
                  </a:lnTo>
                  <a:lnTo>
                    <a:pt x="97" y="1305"/>
                  </a:lnTo>
                  <a:lnTo>
                    <a:pt x="97" y="1307"/>
                  </a:lnTo>
                  <a:lnTo>
                    <a:pt x="97" y="1305"/>
                  </a:lnTo>
                  <a:lnTo>
                    <a:pt x="95" y="1305"/>
                  </a:lnTo>
                  <a:lnTo>
                    <a:pt x="92" y="1305"/>
                  </a:lnTo>
                  <a:lnTo>
                    <a:pt x="95" y="1305"/>
                  </a:lnTo>
                  <a:lnTo>
                    <a:pt x="92" y="1305"/>
                  </a:lnTo>
                  <a:lnTo>
                    <a:pt x="95" y="1305"/>
                  </a:lnTo>
                  <a:lnTo>
                    <a:pt x="92" y="1305"/>
                  </a:lnTo>
                  <a:lnTo>
                    <a:pt x="95" y="1305"/>
                  </a:lnTo>
                  <a:lnTo>
                    <a:pt x="92" y="1305"/>
                  </a:lnTo>
                  <a:lnTo>
                    <a:pt x="90" y="1305"/>
                  </a:lnTo>
                  <a:lnTo>
                    <a:pt x="90" y="1302"/>
                  </a:lnTo>
                  <a:lnTo>
                    <a:pt x="90" y="1305"/>
                  </a:lnTo>
                  <a:lnTo>
                    <a:pt x="90" y="1302"/>
                  </a:lnTo>
                  <a:lnTo>
                    <a:pt x="87" y="1302"/>
                  </a:lnTo>
                  <a:lnTo>
                    <a:pt x="87" y="1305"/>
                  </a:lnTo>
                  <a:lnTo>
                    <a:pt x="87" y="1302"/>
                  </a:lnTo>
                  <a:lnTo>
                    <a:pt x="87" y="1305"/>
                  </a:lnTo>
                  <a:lnTo>
                    <a:pt x="85" y="1305"/>
                  </a:lnTo>
                  <a:lnTo>
                    <a:pt x="87" y="1305"/>
                  </a:lnTo>
                  <a:lnTo>
                    <a:pt x="85" y="1305"/>
                  </a:lnTo>
                  <a:lnTo>
                    <a:pt x="85" y="1302"/>
                  </a:lnTo>
                  <a:lnTo>
                    <a:pt x="87" y="1302"/>
                  </a:lnTo>
                  <a:lnTo>
                    <a:pt x="85" y="1302"/>
                  </a:lnTo>
                  <a:lnTo>
                    <a:pt x="85" y="1305"/>
                  </a:lnTo>
                  <a:lnTo>
                    <a:pt x="85" y="1302"/>
                  </a:lnTo>
                  <a:lnTo>
                    <a:pt x="85" y="1305"/>
                  </a:lnTo>
                  <a:lnTo>
                    <a:pt x="83" y="1305"/>
                  </a:lnTo>
                  <a:lnTo>
                    <a:pt x="85" y="1305"/>
                  </a:lnTo>
                  <a:lnTo>
                    <a:pt x="83" y="1305"/>
                  </a:lnTo>
                  <a:lnTo>
                    <a:pt x="83" y="1307"/>
                  </a:lnTo>
                  <a:lnTo>
                    <a:pt x="80" y="1307"/>
                  </a:lnTo>
                  <a:lnTo>
                    <a:pt x="80" y="1305"/>
                  </a:lnTo>
                  <a:lnTo>
                    <a:pt x="83" y="1305"/>
                  </a:lnTo>
                  <a:lnTo>
                    <a:pt x="83" y="1302"/>
                  </a:lnTo>
                  <a:lnTo>
                    <a:pt x="85" y="1302"/>
                  </a:lnTo>
                  <a:lnTo>
                    <a:pt x="83" y="1302"/>
                  </a:lnTo>
                  <a:lnTo>
                    <a:pt x="85" y="1302"/>
                  </a:lnTo>
                  <a:lnTo>
                    <a:pt x="83" y="1302"/>
                  </a:lnTo>
                  <a:lnTo>
                    <a:pt x="80" y="1302"/>
                  </a:lnTo>
                  <a:lnTo>
                    <a:pt x="80" y="1305"/>
                  </a:lnTo>
                  <a:lnTo>
                    <a:pt x="78" y="1305"/>
                  </a:lnTo>
                  <a:lnTo>
                    <a:pt x="80" y="1305"/>
                  </a:lnTo>
                  <a:lnTo>
                    <a:pt x="78" y="1305"/>
                  </a:lnTo>
                  <a:lnTo>
                    <a:pt x="80" y="1305"/>
                  </a:lnTo>
                  <a:lnTo>
                    <a:pt x="78" y="1305"/>
                  </a:lnTo>
                  <a:lnTo>
                    <a:pt x="78" y="1302"/>
                  </a:lnTo>
                  <a:lnTo>
                    <a:pt x="80" y="1302"/>
                  </a:lnTo>
                  <a:lnTo>
                    <a:pt x="80" y="1300"/>
                  </a:lnTo>
                  <a:lnTo>
                    <a:pt x="80" y="1302"/>
                  </a:lnTo>
                  <a:lnTo>
                    <a:pt x="78" y="1302"/>
                  </a:lnTo>
                  <a:lnTo>
                    <a:pt x="78" y="1300"/>
                  </a:lnTo>
                  <a:lnTo>
                    <a:pt x="78" y="1302"/>
                  </a:lnTo>
                  <a:lnTo>
                    <a:pt x="76" y="1302"/>
                  </a:lnTo>
                  <a:lnTo>
                    <a:pt x="78" y="1302"/>
                  </a:lnTo>
                  <a:lnTo>
                    <a:pt x="76" y="1302"/>
                  </a:lnTo>
                  <a:lnTo>
                    <a:pt x="73" y="1302"/>
                  </a:lnTo>
                  <a:lnTo>
                    <a:pt x="73" y="1300"/>
                  </a:lnTo>
                  <a:lnTo>
                    <a:pt x="73" y="1302"/>
                  </a:lnTo>
                  <a:lnTo>
                    <a:pt x="73" y="1300"/>
                  </a:lnTo>
                  <a:lnTo>
                    <a:pt x="73" y="1302"/>
                  </a:lnTo>
                  <a:lnTo>
                    <a:pt x="71" y="1302"/>
                  </a:lnTo>
                  <a:lnTo>
                    <a:pt x="73" y="1302"/>
                  </a:lnTo>
                  <a:lnTo>
                    <a:pt x="71" y="1302"/>
                  </a:lnTo>
                  <a:lnTo>
                    <a:pt x="68" y="1302"/>
                  </a:lnTo>
                  <a:lnTo>
                    <a:pt x="66" y="1302"/>
                  </a:lnTo>
                  <a:lnTo>
                    <a:pt x="66" y="1300"/>
                  </a:lnTo>
                  <a:lnTo>
                    <a:pt x="64" y="1300"/>
                  </a:lnTo>
                  <a:lnTo>
                    <a:pt x="66" y="1300"/>
                  </a:lnTo>
                  <a:lnTo>
                    <a:pt x="66" y="1297"/>
                  </a:lnTo>
                  <a:lnTo>
                    <a:pt x="68" y="1297"/>
                  </a:lnTo>
                  <a:lnTo>
                    <a:pt x="68" y="1295"/>
                  </a:lnTo>
                  <a:lnTo>
                    <a:pt x="71" y="1295"/>
                  </a:lnTo>
                  <a:lnTo>
                    <a:pt x="71" y="1293"/>
                  </a:lnTo>
                  <a:lnTo>
                    <a:pt x="73" y="1293"/>
                  </a:lnTo>
                  <a:lnTo>
                    <a:pt x="76" y="1293"/>
                  </a:lnTo>
                  <a:lnTo>
                    <a:pt x="76" y="1290"/>
                  </a:lnTo>
                  <a:lnTo>
                    <a:pt x="78" y="1290"/>
                  </a:lnTo>
                  <a:lnTo>
                    <a:pt x="76" y="1290"/>
                  </a:lnTo>
                  <a:lnTo>
                    <a:pt x="76" y="1293"/>
                  </a:lnTo>
                  <a:lnTo>
                    <a:pt x="73" y="1293"/>
                  </a:lnTo>
                  <a:lnTo>
                    <a:pt x="71" y="1293"/>
                  </a:lnTo>
                  <a:lnTo>
                    <a:pt x="71" y="1295"/>
                  </a:lnTo>
                  <a:lnTo>
                    <a:pt x="71" y="1293"/>
                  </a:lnTo>
                  <a:lnTo>
                    <a:pt x="68" y="1293"/>
                  </a:lnTo>
                  <a:lnTo>
                    <a:pt x="68" y="1290"/>
                  </a:lnTo>
                  <a:lnTo>
                    <a:pt x="68" y="1293"/>
                  </a:lnTo>
                  <a:lnTo>
                    <a:pt x="66" y="1293"/>
                  </a:lnTo>
                  <a:lnTo>
                    <a:pt x="64" y="1293"/>
                  </a:lnTo>
                  <a:lnTo>
                    <a:pt x="61" y="1293"/>
                  </a:lnTo>
                  <a:lnTo>
                    <a:pt x="59" y="1293"/>
                  </a:lnTo>
                  <a:lnTo>
                    <a:pt x="59" y="1290"/>
                  </a:lnTo>
                  <a:lnTo>
                    <a:pt x="57" y="1290"/>
                  </a:lnTo>
                  <a:lnTo>
                    <a:pt x="59" y="1288"/>
                  </a:lnTo>
                  <a:lnTo>
                    <a:pt x="57" y="1288"/>
                  </a:lnTo>
                  <a:lnTo>
                    <a:pt x="57" y="1290"/>
                  </a:lnTo>
                  <a:lnTo>
                    <a:pt x="57" y="1288"/>
                  </a:lnTo>
                  <a:lnTo>
                    <a:pt x="54" y="1288"/>
                  </a:lnTo>
                  <a:lnTo>
                    <a:pt x="52" y="1288"/>
                  </a:lnTo>
                  <a:lnTo>
                    <a:pt x="50" y="1288"/>
                  </a:lnTo>
                  <a:lnTo>
                    <a:pt x="50" y="1286"/>
                  </a:lnTo>
                  <a:lnTo>
                    <a:pt x="47" y="1286"/>
                  </a:lnTo>
                  <a:lnTo>
                    <a:pt x="47" y="1283"/>
                  </a:lnTo>
                  <a:lnTo>
                    <a:pt x="47" y="1281"/>
                  </a:lnTo>
                  <a:lnTo>
                    <a:pt x="47" y="1283"/>
                  </a:lnTo>
                  <a:lnTo>
                    <a:pt x="47" y="1286"/>
                  </a:lnTo>
                  <a:lnTo>
                    <a:pt x="45" y="1283"/>
                  </a:lnTo>
                  <a:lnTo>
                    <a:pt x="45" y="1286"/>
                  </a:lnTo>
                  <a:lnTo>
                    <a:pt x="45" y="1283"/>
                  </a:lnTo>
                  <a:lnTo>
                    <a:pt x="45" y="1281"/>
                  </a:lnTo>
                  <a:lnTo>
                    <a:pt x="45" y="1283"/>
                  </a:lnTo>
                  <a:lnTo>
                    <a:pt x="45" y="1281"/>
                  </a:lnTo>
                  <a:lnTo>
                    <a:pt x="45" y="1283"/>
                  </a:lnTo>
                  <a:lnTo>
                    <a:pt x="42" y="1283"/>
                  </a:lnTo>
                  <a:lnTo>
                    <a:pt x="45" y="1283"/>
                  </a:lnTo>
                  <a:lnTo>
                    <a:pt x="42" y="1283"/>
                  </a:lnTo>
                  <a:lnTo>
                    <a:pt x="42" y="1281"/>
                  </a:lnTo>
                  <a:lnTo>
                    <a:pt x="45" y="1281"/>
                  </a:lnTo>
                  <a:lnTo>
                    <a:pt x="47" y="1281"/>
                  </a:lnTo>
                  <a:lnTo>
                    <a:pt x="45" y="1281"/>
                  </a:lnTo>
                  <a:lnTo>
                    <a:pt x="42" y="1281"/>
                  </a:lnTo>
                  <a:lnTo>
                    <a:pt x="40" y="1281"/>
                  </a:lnTo>
                  <a:lnTo>
                    <a:pt x="40" y="1278"/>
                  </a:lnTo>
                  <a:lnTo>
                    <a:pt x="38" y="1278"/>
                  </a:lnTo>
                  <a:lnTo>
                    <a:pt x="35" y="1278"/>
                  </a:lnTo>
                  <a:lnTo>
                    <a:pt x="35" y="1276"/>
                  </a:lnTo>
                  <a:lnTo>
                    <a:pt x="35" y="1274"/>
                  </a:lnTo>
                  <a:lnTo>
                    <a:pt x="33" y="1274"/>
                  </a:lnTo>
                  <a:lnTo>
                    <a:pt x="33" y="1271"/>
                  </a:lnTo>
                  <a:lnTo>
                    <a:pt x="31" y="1271"/>
                  </a:lnTo>
                  <a:lnTo>
                    <a:pt x="33" y="1271"/>
                  </a:lnTo>
                  <a:lnTo>
                    <a:pt x="31" y="1269"/>
                  </a:lnTo>
                  <a:lnTo>
                    <a:pt x="33" y="1269"/>
                  </a:lnTo>
                  <a:lnTo>
                    <a:pt x="31" y="1269"/>
                  </a:lnTo>
                  <a:lnTo>
                    <a:pt x="31" y="1267"/>
                  </a:lnTo>
                  <a:lnTo>
                    <a:pt x="31" y="1264"/>
                  </a:lnTo>
                  <a:lnTo>
                    <a:pt x="33" y="1264"/>
                  </a:lnTo>
                  <a:lnTo>
                    <a:pt x="31" y="1264"/>
                  </a:lnTo>
                  <a:lnTo>
                    <a:pt x="31" y="1262"/>
                  </a:lnTo>
                  <a:lnTo>
                    <a:pt x="33" y="1262"/>
                  </a:lnTo>
                  <a:lnTo>
                    <a:pt x="33" y="1259"/>
                  </a:lnTo>
                  <a:lnTo>
                    <a:pt x="33" y="1257"/>
                  </a:lnTo>
                  <a:lnTo>
                    <a:pt x="33" y="1255"/>
                  </a:lnTo>
                  <a:lnTo>
                    <a:pt x="33" y="1257"/>
                  </a:lnTo>
                  <a:lnTo>
                    <a:pt x="35" y="1257"/>
                  </a:lnTo>
                  <a:lnTo>
                    <a:pt x="33" y="1257"/>
                  </a:lnTo>
                  <a:lnTo>
                    <a:pt x="35" y="1257"/>
                  </a:lnTo>
                  <a:lnTo>
                    <a:pt x="33" y="1259"/>
                  </a:lnTo>
                  <a:lnTo>
                    <a:pt x="35" y="1259"/>
                  </a:lnTo>
                  <a:lnTo>
                    <a:pt x="35" y="1257"/>
                  </a:lnTo>
                  <a:lnTo>
                    <a:pt x="35" y="1255"/>
                  </a:lnTo>
                  <a:lnTo>
                    <a:pt x="33" y="1255"/>
                  </a:lnTo>
                  <a:lnTo>
                    <a:pt x="33" y="1252"/>
                  </a:lnTo>
                  <a:lnTo>
                    <a:pt x="35" y="1252"/>
                  </a:lnTo>
                  <a:lnTo>
                    <a:pt x="35" y="1255"/>
                  </a:lnTo>
                  <a:lnTo>
                    <a:pt x="35" y="1252"/>
                  </a:lnTo>
                  <a:lnTo>
                    <a:pt x="38" y="1255"/>
                  </a:lnTo>
                  <a:lnTo>
                    <a:pt x="40" y="1255"/>
                  </a:lnTo>
                  <a:lnTo>
                    <a:pt x="38" y="1257"/>
                  </a:lnTo>
                  <a:lnTo>
                    <a:pt x="38" y="1255"/>
                  </a:lnTo>
                  <a:lnTo>
                    <a:pt x="38" y="1257"/>
                  </a:lnTo>
                  <a:lnTo>
                    <a:pt x="38" y="1259"/>
                  </a:lnTo>
                  <a:lnTo>
                    <a:pt x="38" y="1262"/>
                  </a:lnTo>
                  <a:lnTo>
                    <a:pt x="38" y="1259"/>
                  </a:lnTo>
                  <a:lnTo>
                    <a:pt x="40" y="1259"/>
                  </a:lnTo>
                  <a:lnTo>
                    <a:pt x="40" y="1257"/>
                  </a:lnTo>
                  <a:lnTo>
                    <a:pt x="42" y="1257"/>
                  </a:lnTo>
                  <a:lnTo>
                    <a:pt x="42" y="1255"/>
                  </a:lnTo>
                  <a:lnTo>
                    <a:pt x="45" y="1255"/>
                  </a:lnTo>
                  <a:lnTo>
                    <a:pt x="45" y="1257"/>
                  </a:lnTo>
                  <a:lnTo>
                    <a:pt x="45" y="1255"/>
                  </a:lnTo>
                  <a:lnTo>
                    <a:pt x="45" y="1257"/>
                  </a:lnTo>
                  <a:lnTo>
                    <a:pt x="45" y="1255"/>
                  </a:lnTo>
                  <a:lnTo>
                    <a:pt x="45" y="1257"/>
                  </a:lnTo>
                  <a:lnTo>
                    <a:pt x="47" y="1257"/>
                  </a:lnTo>
                  <a:lnTo>
                    <a:pt x="45" y="1257"/>
                  </a:lnTo>
                  <a:lnTo>
                    <a:pt x="45" y="1259"/>
                  </a:lnTo>
                  <a:lnTo>
                    <a:pt x="47" y="1259"/>
                  </a:lnTo>
                  <a:lnTo>
                    <a:pt x="50" y="1259"/>
                  </a:lnTo>
                  <a:lnTo>
                    <a:pt x="50" y="1262"/>
                  </a:lnTo>
                  <a:lnTo>
                    <a:pt x="52" y="1262"/>
                  </a:lnTo>
                  <a:lnTo>
                    <a:pt x="54" y="1262"/>
                  </a:lnTo>
                  <a:lnTo>
                    <a:pt x="57" y="1262"/>
                  </a:lnTo>
                  <a:lnTo>
                    <a:pt x="54" y="1262"/>
                  </a:lnTo>
                  <a:lnTo>
                    <a:pt x="52" y="1262"/>
                  </a:lnTo>
                  <a:lnTo>
                    <a:pt x="52" y="1259"/>
                  </a:lnTo>
                  <a:lnTo>
                    <a:pt x="50" y="1259"/>
                  </a:lnTo>
                  <a:lnTo>
                    <a:pt x="50" y="1257"/>
                  </a:lnTo>
                  <a:lnTo>
                    <a:pt x="52" y="1257"/>
                  </a:lnTo>
                  <a:lnTo>
                    <a:pt x="52" y="1255"/>
                  </a:lnTo>
                  <a:lnTo>
                    <a:pt x="54" y="1255"/>
                  </a:lnTo>
                  <a:lnTo>
                    <a:pt x="57" y="1255"/>
                  </a:lnTo>
                  <a:lnTo>
                    <a:pt x="57" y="1252"/>
                  </a:lnTo>
                  <a:lnTo>
                    <a:pt x="59" y="1252"/>
                  </a:lnTo>
                  <a:lnTo>
                    <a:pt x="61" y="1252"/>
                  </a:lnTo>
                  <a:lnTo>
                    <a:pt x="64" y="1252"/>
                  </a:lnTo>
                  <a:lnTo>
                    <a:pt x="66" y="1252"/>
                  </a:lnTo>
                  <a:lnTo>
                    <a:pt x="66" y="1250"/>
                  </a:lnTo>
                  <a:lnTo>
                    <a:pt x="68" y="1250"/>
                  </a:lnTo>
                  <a:lnTo>
                    <a:pt x="66" y="1250"/>
                  </a:lnTo>
                  <a:lnTo>
                    <a:pt x="64" y="1250"/>
                  </a:lnTo>
                  <a:lnTo>
                    <a:pt x="64" y="1252"/>
                  </a:lnTo>
                  <a:lnTo>
                    <a:pt x="61" y="1252"/>
                  </a:lnTo>
                  <a:lnTo>
                    <a:pt x="59" y="1252"/>
                  </a:lnTo>
                  <a:lnTo>
                    <a:pt x="57" y="1252"/>
                  </a:lnTo>
                  <a:lnTo>
                    <a:pt x="54" y="1252"/>
                  </a:lnTo>
                  <a:lnTo>
                    <a:pt x="54" y="1255"/>
                  </a:lnTo>
                  <a:lnTo>
                    <a:pt x="52" y="1255"/>
                  </a:lnTo>
                  <a:lnTo>
                    <a:pt x="50" y="1257"/>
                  </a:lnTo>
                  <a:lnTo>
                    <a:pt x="50" y="1259"/>
                  </a:lnTo>
                  <a:lnTo>
                    <a:pt x="50" y="1257"/>
                  </a:lnTo>
                  <a:lnTo>
                    <a:pt x="47" y="1257"/>
                  </a:lnTo>
                  <a:lnTo>
                    <a:pt x="47" y="1255"/>
                  </a:lnTo>
                  <a:lnTo>
                    <a:pt x="50" y="1252"/>
                  </a:lnTo>
                  <a:lnTo>
                    <a:pt x="50" y="1255"/>
                  </a:lnTo>
                  <a:lnTo>
                    <a:pt x="50" y="1252"/>
                  </a:lnTo>
                  <a:lnTo>
                    <a:pt x="47" y="1252"/>
                  </a:lnTo>
                  <a:lnTo>
                    <a:pt x="45" y="1252"/>
                  </a:lnTo>
                  <a:lnTo>
                    <a:pt x="45" y="1250"/>
                  </a:lnTo>
                  <a:lnTo>
                    <a:pt x="42" y="1250"/>
                  </a:lnTo>
                  <a:lnTo>
                    <a:pt x="42" y="1248"/>
                  </a:lnTo>
                  <a:lnTo>
                    <a:pt x="45" y="1248"/>
                  </a:lnTo>
                  <a:lnTo>
                    <a:pt x="47" y="1248"/>
                  </a:lnTo>
                  <a:lnTo>
                    <a:pt x="50" y="1248"/>
                  </a:lnTo>
                  <a:lnTo>
                    <a:pt x="50" y="1245"/>
                  </a:lnTo>
                  <a:lnTo>
                    <a:pt x="50" y="1248"/>
                  </a:lnTo>
                  <a:lnTo>
                    <a:pt x="50" y="1245"/>
                  </a:lnTo>
                  <a:lnTo>
                    <a:pt x="52" y="1245"/>
                  </a:lnTo>
                  <a:lnTo>
                    <a:pt x="50" y="1245"/>
                  </a:lnTo>
                  <a:lnTo>
                    <a:pt x="47" y="1245"/>
                  </a:lnTo>
                  <a:lnTo>
                    <a:pt x="50" y="1245"/>
                  </a:lnTo>
                  <a:lnTo>
                    <a:pt x="50" y="1243"/>
                  </a:lnTo>
                  <a:lnTo>
                    <a:pt x="52" y="1243"/>
                  </a:lnTo>
                  <a:lnTo>
                    <a:pt x="52" y="1240"/>
                  </a:lnTo>
                  <a:lnTo>
                    <a:pt x="54" y="1240"/>
                  </a:lnTo>
                  <a:lnTo>
                    <a:pt x="54" y="1238"/>
                  </a:lnTo>
                  <a:lnTo>
                    <a:pt x="57" y="1238"/>
                  </a:lnTo>
                  <a:lnTo>
                    <a:pt x="59" y="1238"/>
                  </a:lnTo>
                  <a:lnTo>
                    <a:pt x="61" y="1238"/>
                  </a:lnTo>
                  <a:lnTo>
                    <a:pt x="61" y="1236"/>
                  </a:lnTo>
                  <a:lnTo>
                    <a:pt x="64" y="1236"/>
                  </a:lnTo>
                  <a:lnTo>
                    <a:pt x="66" y="1236"/>
                  </a:lnTo>
                  <a:lnTo>
                    <a:pt x="64" y="1236"/>
                  </a:lnTo>
                  <a:lnTo>
                    <a:pt x="61" y="1236"/>
                  </a:lnTo>
                  <a:lnTo>
                    <a:pt x="59" y="1236"/>
                  </a:lnTo>
                  <a:lnTo>
                    <a:pt x="59" y="1238"/>
                  </a:lnTo>
                  <a:lnTo>
                    <a:pt x="57" y="1238"/>
                  </a:lnTo>
                  <a:lnTo>
                    <a:pt x="54" y="1238"/>
                  </a:lnTo>
                  <a:lnTo>
                    <a:pt x="52" y="1238"/>
                  </a:lnTo>
                  <a:lnTo>
                    <a:pt x="52" y="1240"/>
                  </a:lnTo>
                  <a:lnTo>
                    <a:pt x="52" y="1238"/>
                  </a:lnTo>
                  <a:lnTo>
                    <a:pt x="50" y="1238"/>
                  </a:lnTo>
                  <a:lnTo>
                    <a:pt x="52" y="1238"/>
                  </a:lnTo>
                  <a:lnTo>
                    <a:pt x="54" y="1238"/>
                  </a:lnTo>
                  <a:lnTo>
                    <a:pt x="54" y="1236"/>
                  </a:lnTo>
                  <a:lnTo>
                    <a:pt x="54" y="1238"/>
                  </a:lnTo>
                  <a:lnTo>
                    <a:pt x="57" y="1238"/>
                  </a:lnTo>
                  <a:lnTo>
                    <a:pt x="57" y="1236"/>
                  </a:lnTo>
                  <a:lnTo>
                    <a:pt x="54" y="1236"/>
                  </a:lnTo>
                  <a:lnTo>
                    <a:pt x="54" y="1233"/>
                  </a:lnTo>
                  <a:lnTo>
                    <a:pt x="54" y="1236"/>
                  </a:lnTo>
                  <a:lnTo>
                    <a:pt x="52" y="1236"/>
                  </a:lnTo>
                  <a:lnTo>
                    <a:pt x="54" y="1236"/>
                  </a:lnTo>
                  <a:lnTo>
                    <a:pt x="52" y="1236"/>
                  </a:lnTo>
                  <a:lnTo>
                    <a:pt x="52" y="1238"/>
                  </a:lnTo>
                  <a:lnTo>
                    <a:pt x="52" y="1236"/>
                  </a:lnTo>
                  <a:lnTo>
                    <a:pt x="50" y="1236"/>
                  </a:lnTo>
                  <a:lnTo>
                    <a:pt x="50" y="1233"/>
                  </a:lnTo>
                  <a:lnTo>
                    <a:pt x="50" y="1236"/>
                  </a:lnTo>
                  <a:lnTo>
                    <a:pt x="47" y="1236"/>
                  </a:lnTo>
                  <a:lnTo>
                    <a:pt x="47" y="1233"/>
                  </a:lnTo>
                  <a:lnTo>
                    <a:pt x="50" y="1233"/>
                  </a:lnTo>
                  <a:lnTo>
                    <a:pt x="52" y="1233"/>
                  </a:lnTo>
                  <a:lnTo>
                    <a:pt x="52" y="1231"/>
                  </a:lnTo>
                  <a:lnTo>
                    <a:pt x="54" y="1231"/>
                  </a:lnTo>
                  <a:lnTo>
                    <a:pt x="54" y="1229"/>
                  </a:lnTo>
                  <a:lnTo>
                    <a:pt x="54" y="1226"/>
                  </a:lnTo>
                  <a:lnTo>
                    <a:pt x="57" y="1226"/>
                  </a:lnTo>
                  <a:lnTo>
                    <a:pt x="59" y="1226"/>
                  </a:lnTo>
                  <a:lnTo>
                    <a:pt x="61" y="1224"/>
                  </a:lnTo>
                  <a:lnTo>
                    <a:pt x="64" y="1224"/>
                  </a:lnTo>
                  <a:lnTo>
                    <a:pt x="66" y="1224"/>
                  </a:lnTo>
                  <a:lnTo>
                    <a:pt x="64" y="1224"/>
                  </a:lnTo>
                  <a:lnTo>
                    <a:pt x="61" y="1224"/>
                  </a:lnTo>
                  <a:lnTo>
                    <a:pt x="59" y="1224"/>
                  </a:lnTo>
                  <a:lnTo>
                    <a:pt x="59" y="1226"/>
                  </a:lnTo>
                  <a:lnTo>
                    <a:pt x="57" y="1226"/>
                  </a:lnTo>
                  <a:lnTo>
                    <a:pt x="57" y="1224"/>
                  </a:lnTo>
                  <a:lnTo>
                    <a:pt x="57" y="1221"/>
                  </a:lnTo>
                  <a:lnTo>
                    <a:pt x="57" y="1219"/>
                  </a:lnTo>
                  <a:lnTo>
                    <a:pt x="59" y="1219"/>
                  </a:lnTo>
                  <a:lnTo>
                    <a:pt x="57" y="1219"/>
                  </a:lnTo>
                  <a:lnTo>
                    <a:pt x="57" y="1221"/>
                  </a:lnTo>
                  <a:lnTo>
                    <a:pt x="57" y="1224"/>
                  </a:lnTo>
                  <a:lnTo>
                    <a:pt x="57" y="1226"/>
                  </a:lnTo>
                  <a:lnTo>
                    <a:pt x="54" y="1226"/>
                  </a:lnTo>
                  <a:lnTo>
                    <a:pt x="54" y="1229"/>
                  </a:lnTo>
                  <a:lnTo>
                    <a:pt x="52" y="1229"/>
                  </a:lnTo>
                  <a:lnTo>
                    <a:pt x="52" y="1231"/>
                  </a:lnTo>
                  <a:lnTo>
                    <a:pt x="50" y="1231"/>
                  </a:lnTo>
                  <a:lnTo>
                    <a:pt x="52" y="1231"/>
                  </a:lnTo>
                  <a:lnTo>
                    <a:pt x="50" y="1231"/>
                  </a:lnTo>
                  <a:lnTo>
                    <a:pt x="52" y="1231"/>
                  </a:lnTo>
                  <a:lnTo>
                    <a:pt x="50" y="1231"/>
                  </a:lnTo>
                  <a:lnTo>
                    <a:pt x="50" y="1233"/>
                  </a:lnTo>
                  <a:lnTo>
                    <a:pt x="47" y="1233"/>
                  </a:lnTo>
                  <a:lnTo>
                    <a:pt x="47" y="1231"/>
                  </a:lnTo>
                  <a:lnTo>
                    <a:pt x="47" y="1233"/>
                  </a:lnTo>
                  <a:lnTo>
                    <a:pt x="47" y="1231"/>
                  </a:lnTo>
                  <a:lnTo>
                    <a:pt x="47" y="1233"/>
                  </a:lnTo>
                  <a:lnTo>
                    <a:pt x="45" y="1233"/>
                  </a:lnTo>
                  <a:lnTo>
                    <a:pt x="47" y="1236"/>
                  </a:lnTo>
                  <a:lnTo>
                    <a:pt x="45" y="1236"/>
                  </a:lnTo>
                  <a:lnTo>
                    <a:pt x="45" y="1233"/>
                  </a:lnTo>
                  <a:lnTo>
                    <a:pt x="45" y="1231"/>
                  </a:lnTo>
                  <a:lnTo>
                    <a:pt x="45" y="1229"/>
                  </a:lnTo>
                  <a:lnTo>
                    <a:pt x="45" y="1231"/>
                  </a:lnTo>
                  <a:lnTo>
                    <a:pt x="47" y="1229"/>
                  </a:lnTo>
                  <a:lnTo>
                    <a:pt x="47" y="1231"/>
                  </a:lnTo>
                  <a:lnTo>
                    <a:pt x="47" y="1229"/>
                  </a:lnTo>
                  <a:lnTo>
                    <a:pt x="50" y="1229"/>
                  </a:lnTo>
                  <a:lnTo>
                    <a:pt x="52" y="1229"/>
                  </a:lnTo>
                  <a:lnTo>
                    <a:pt x="54" y="1229"/>
                  </a:lnTo>
                  <a:lnTo>
                    <a:pt x="52" y="1229"/>
                  </a:lnTo>
                  <a:lnTo>
                    <a:pt x="50" y="1229"/>
                  </a:lnTo>
                  <a:lnTo>
                    <a:pt x="47" y="1229"/>
                  </a:lnTo>
                  <a:lnTo>
                    <a:pt x="45" y="1229"/>
                  </a:lnTo>
                  <a:lnTo>
                    <a:pt x="42" y="1229"/>
                  </a:lnTo>
                  <a:lnTo>
                    <a:pt x="42" y="1226"/>
                  </a:lnTo>
                  <a:lnTo>
                    <a:pt x="42" y="1224"/>
                  </a:lnTo>
                  <a:lnTo>
                    <a:pt x="42" y="1226"/>
                  </a:lnTo>
                  <a:lnTo>
                    <a:pt x="40" y="1226"/>
                  </a:lnTo>
                  <a:lnTo>
                    <a:pt x="42" y="1229"/>
                  </a:lnTo>
                  <a:lnTo>
                    <a:pt x="40" y="1229"/>
                  </a:lnTo>
                  <a:lnTo>
                    <a:pt x="40" y="1231"/>
                  </a:lnTo>
                  <a:lnTo>
                    <a:pt x="38" y="1231"/>
                  </a:lnTo>
                  <a:lnTo>
                    <a:pt x="38" y="1229"/>
                  </a:lnTo>
                  <a:lnTo>
                    <a:pt x="38" y="1231"/>
                  </a:lnTo>
                  <a:lnTo>
                    <a:pt x="35" y="1231"/>
                  </a:lnTo>
                  <a:lnTo>
                    <a:pt x="35" y="1233"/>
                  </a:lnTo>
                  <a:lnTo>
                    <a:pt x="38" y="1233"/>
                  </a:lnTo>
                  <a:lnTo>
                    <a:pt x="38" y="1231"/>
                  </a:lnTo>
                  <a:lnTo>
                    <a:pt x="40" y="1231"/>
                  </a:lnTo>
                  <a:lnTo>
                    <a:pt x="42" y="1231"/>
                  </a:lnTo>
                  <a:lnTo>
                    <a:pt x="42" y="1233"/>
                  </a:lnTo>
                  <a:lnTo>
                    <a:pt x="42" y="1236"/>
                  </a:lnTo>
                  <a:lnTo>
                    <a:pt x="40" y="1236"/>
                  </a:lnTo>
                  <a:lnTo>
                    <a:pt x="38" y="1236"/>
                  </a:lnTo>
                  <a:lnTo>
                    <a:pt x="38" y="1238"/>
                  </a:lnTo>
                  <a:lnTo>
                    <a:pt x="35" y="1238"/>
                  </a:lnTo>
                  <a:lnTo>
                    <a:pt x="35" y="1240"/>
                  </a:lnTo>
                  <a:lnTo>
                    <a:pt x="35" y="1238"/>
                  </a:lnTo>
                  <a:lnTo>
                    <a:pt x="35" y="1240"/>
                  </a:lnTo>
                  <a:lnTo>
                    <a:pt x="35" y="1238"/>
                  </a:lnTo>
                  <a:lnTo>
                    <a:pt x="35" y="1240"/>
                  </a:lnTo>
                  <a:lnTo>
                    <a:pt x="35" y="1238"/>
                  </a:lnTo>
                  <a:lnTo>
                    <a:pt x="35" y="1236"/>
                  </a:lnTo>
                  <a:lnTo>
                    <a:pt x="35" y="1233"/>
                  </a:lnTo>
                  <a:lnTo>
                    <a:pt x="35" y="1231"/>
                  </a:lnTo>
                  <a:lnTo>
                    <a:pt x="33" y="1231"/>
                  </a:lnTo>
                  <a:lnTo>
                    <a:pt x="35" y="1231"/>
                  </a:lnTo>
                  <a:lnTo>
                    <a:pt x="33" y="1231"/>
                  </a:lnTo>
                  <a:lnTo>
                    <a:pt x="35" y="1233"/>
                  </a:lnTo>
                  <a:lnTo>
                    <a:pt x="33" y="1233"/>
                  </a:lnTo>
                  <a:lnTo>
                    <a:pt x="35" y="1233"/>
                  </a:lnTo>
                  <a:lnTo>
                    <a:pt x="33" y="1233"/>
                  </a:lnTo>
                  <a:lnTo>
                    <a:pt x="33" y="1236"/>
                  </a:lnTo>
                  <a:lnTo>
                    <a:pt x="33" y="1238"/>
                  </a:lnTo>
                  <a:lnTo>
                    <a:pt x="31" y="1238"/>
                  </a:lnTo>
                  <a:lnTo>
                    <a:pt x="33" y="1238"/>
                  </a:lnTo>
                  <a:lnTo>
                    <a:pt x="31" y="1238"/>
                  </a:lnTo>
                  <a:lnTo>
                    <a:pt x="28" y="1238"/>
                  </a:lnTo>
                  <a:lnTo>
                    <a:pt x="28" y="1236"/>
                  </a:lnTo>
                  <a:lnTo>
                    <a:pt x="28" y="1238"/>
                  </a:lnTo>
                  <a:lnTo>
                    <a:pt x="26" y="1238"/>
                  </a:lnTo>
                  <a:lnTo>
                    <a:pt x="26" y="1236"/>
                  </a:lnTo>
                  <a:lnTo>
                    <a:pt x="28" y="1236"/>
                  </a:lnTo>
                  <a:lnTo>
                    <a:pt x="26" y="1236"/>
                  </a:lnTo>
                  <a:lnTo>
                    <a:pt x="26" y="1233"/>
                  </a:lnTo>
                  <a:lnTo>
                    <a:pt x="28" y="1233"/>
                  </a:lnTo>
                  <a:lnTo>
                    <a:pt x="26" y="1233"/>
                  </a:lnTo>
                  <a:lnTo>
                    <a:pt x="26" y="1231"/>
                  </a:lnTo>
                  <a:lnTo>
                    <a:pt x="26" y="1233"/>
                  </a:lnTo>
                  <a:lnTo>
                    <a:pt x="26" y="1236"/>
                  </a:lnTo>
                  <a:lnTo>
                    <a:pt x="26" y="1238"/>
                  </a:lnTo>
                  <a:lnTo>
                    <a:pt x="26" y="1236"/>
                  </a:lnTo>
                  <a:lnTo>
                    <a:pt x="23" y="1236"/>
                  </a:lnTo>
                  <a:lnTo>
                    <a:pt x="23" y="1233"/>
                  </a:lnTo>
                  <a:lnTo>
                    <a:pt x="23" y="1231"/>
                  </a:lnTo>
                  <a:lnTo>
                    <a:pt x="21" y="1231"/>
                  </a:lnTo>
                  <a:lnTo>
                    <a:pt x="23" y="1231"/>
                  </a:lnTo>
                  <a:lnTo>
                    <a:pt x="21" y="1231"/>
                  </a:lnTo>
                  <a:lnTo>
                    <a:pt x="21" y="1229"/>
                  </a:lnTo>
                  <a:lnTo>
                    <a:pt x="21" y="1226"/>
                  </a:lnTo>
                  <a:lnTo>
                    <a:pt x="23" y="1226"/>
                  </a:lnTo>
                  <a:lnTo>
                    <a:pt x="21" y="1226"/>
                  </a:lnTo>
                  <a:lnTo>
                    <a:pt x="21" y="1224"/>
                  </a:lnTo>
                  <a:lnTo>
                    <a:pt x="23" y="1224"/>
                  </a:lnTo>
                  <a:lnTo>
                    <a:pt x="23" y="1221"/>
                  </a:lnTo>
                  <a:lnTo>
                    <a:pt x="26" y="1221"/>
                  </a:lnTo>
                  <a:lnTo>
                    <a:pt x="26" y="1219"/>
                  </a:lnTo>
                  <a:lnTo>
                    <a:pt x="28" y="1219"/>
                  </a:lnTo>
                  <a:lnTo>
                    <a:pt x="28" y="1221"/>
                  </a:lnTo>
                  <a:lnTo>
                    <a:pt x="28" y="1219"/>
                  </a:lnTo>
                  <a:lnTo>
                    <a:pt x="28" y="1221"/>
                  </a:lnTo>
                  <a:lnTo>
                    <a:pt x="31" y="1221"/>
                  </a:lnTo>
                  <a:lnTo>
                    <a:pt x="28" y="1219"/>
                  </a:lnTo>
                  <a:lnTo>
                    <a:pt x="28" y="1217"/>
                  </a:lnTo>
                  <a:lnTo>
                    <a:pt x="31" y="1217"/>
                  </a:lnTo>
                  <a:lnTo>
                    <a:pt x="31" y="1214"/>
                  </a:lnTo>
                  <a:lnTo>
                    <a:pt x="31" y="1217"/>
                  </a:lnTo>
                  <a:lnTo>
                    <a:pt x="31" y="1219"/>
                  </a:lnTo>
                  <a:lnTo>
                    <a:pt x="31" y="1221"/>
                  </a:lnTo>
                  <a:lnTo>
                    <a:pt x="31" y="1224"/>
                  </a:lnTo>
                  <a:lnTo>
                    <a:pt x="31" y="1226"/>
                  </a:lnTo>
                  <a:lnTo>
                    <a:pt x="28" y="1226"/>
                  </a:lnTo>
                  <a:lnTo>
                    <a:pt x="28" y="1224"/>
                  </a:lnTo>
                  <a:lnTo>
                    <a:pt x="28" y="1226"/>
                  </a:lnTo>
                  <a:lnTo>
                    <a:pt x="28" y="1229"/>
                  </a:lnTo>
                  <a:lnTo>
                    <a:pt x="28" y="1226"/>
                  </a:lnTo>
                  <a:lnTo>
                    <a:pt x="31" y="1226"/>
                  </a:lnTo>
                  <a:lnTo>
                    <a:pt x="33" y="1226"/>
                  </a:lnTo>
                  <a:lnTo>
                    <a:pt x="31" y="1226"/>
                  </a:lnTo>
                  <a:lnTo>
                    <a:pt x="33" y="1226"/>
                  </a:lnTo>
                  <a:lnTo>
                    <a:pt x="31" y="1224"/>
                  </a:lnTo>
                  <a:lnTo>
                    <a:pt x="33" y="1224"/>
                  </a:lnTo>
                  <a:lnTo>
                    <a:pt x="33" y="1221"/>
                  </a:lnTo>
                  <a:lnTo>
                    <a:pt x="33" y="1219"/>
                  </a:lnTo>
                  <a:lnTo>
                    <a:pt x="33" y="1217"/>
                  </a:lnTo>
                  <a:lnTo>
                    <a:pt x="35" y="1217"/>
                  </a:lnTo>
                  <a:lnTo>
                    <a:pt x="35" y="1219"/>
                  </a:lnTo>
                  <a:lnTo>
                    <a:pt x="38" y="1219"/>
                  </a:lnTo>
                  <a:lnTo>
                    <a:pt x="40" y="1219"/>
                  </a:lnTo>
                  <a:lnTo>
                    <a:pt x="40" y="1221"/>
                  </a:lnTo>
                  <a:lnTo>
                    <a:pt x="38" y="1221"/>
                  </a:lnTo>
                  <a:lnTo>
                    <a:pt x="40" y="1221"/>
                  </a:lnTo>
                  <a:lnTo>
                    <a:pt x="40" y="1219"/>
                  </a:lnTo>
                  <a:lnTo>
                    <a:pt x="42" y="1219"/>
                  </a:lnTo>
                  <a:lnTo>
                    <a:pt x="45" y="1219"/>
                  </a:lnTo>
                  <a:lnTo>
                    <a:pt x="42" y="1219"/>
                  </a:lnTo>
                  <a:lnTo>
                    <a:pt x="45" y="1219"/>
                  </a:lnTo>
                  <a:lnTo>
                    <a:pt x="45" y="1217"/>
                  </a:lnTo>
                  <a:lnTo>
                    <a:pt x="42" y="1219"/>
                  </a:lnTo>
                  <a:lnTo>
                    <a:pt x="40" y="1219"/>
                  </a:lnTo>
                  <a:lnTo>
                    <a:pt x="40" y="1217"/>
                  </a:lnTo>
                  <a:lnTo>
                    <a:pt x="42" y="1217"/>
                  </a:lnTo>
                  <a:lnTo>
                    <a:pt x="42" y="1214"/>
                  </a:lnTo>
                  <a:lnTo>
                    <a:pt x="45" y="1214"/>
                  </a:lnTo>
                  <a:lnTo>
                    <a:pt x="45" y="1212"/>
                  </a:lnTo>
                  <a:lnTo>
                    <a:pt x="45" y="1214"/>
                  </a:lnTo>
                  <a:lnTo>
                    <a:pt x="47" y="1214"/>
                  </a:lnTo>
                  <a:lnTo>
                    <a:pt x="50" y="1214"/>
                  </a:lnTo>
                  <a:lnTo>
                    <a:pt x="52" y="1214"/>
                  </a:lnTo>
                  <a:lnTo>
                    <a:pt x="52" y="1212"/>
                  </a:lnTo>
                  <a:lnTo>
                    <a:pt x="54" y="1212"/>
                  </a:lnTo>
                  <a:lnTo>
                    <a:pt x="54" y="1210"/>
                  </a:lnTo>
                  <a:lnTo>
                    <a:pt x="57" y="1210"/>
                  </a:lnTo>
                  <a:lnTo>
                    <a:pt x="59" y="1210"/>
                  </a:lnTo>
                  <a:lnTo>
                    <a:pt x="59" y="1207"/>
                  </a:lnTo>
                  <a:lnTo>
                    <a:pt x="57" y="1207"/>
                  </a:lnTo>
                  <a:lnTo>
                    <a:pt x="57" y="1210"/>
                  </a:lnTo>
                  <a:lnTo>
                    <a:pt x="54" y="1210"/>
                  </a:lnTo>
                  <a:lnTo>
                    <a:pt x="52" y="1210"/>
                  </a:lnTo>
                  <a:lnTo>
                    <a:pt x="52" y="1212"/>
                  </a:lnTo>
                  <a:lnTo>
                    <a:pt x="50" y="1212"/>
                  </a:lnTo>
                  <a:lnTo>
                    <a:pt x="50" y="1214"/>
                  </a:lnTo>
                  <a:lnTo>
                    <a:pt x="50" y="1212"/>
                  </a:lnTo>
                  <a:lnTo>
                    <a:pt x="50" y="1214"/>
                  </a:lnTo>
                  <a:lnTo>
                    <a:pt x="47" y="1214"/>
                  </a:lnTo>
                  <a:lnTo>
                    <a:pt x="47" y="1212"/>
                  </a:lnTo>
                  <a:lnTo>
                    <a:pt x="45" y="1212"/>
                  </a:lnTo>
                  <a:lnTo>
                    <a:pt x="47" y="1212"/>
                  </a:lnTo>
                  <a:lnTo>
                    <a:pt x="47" y="1210"/>
                  </a:lnTo>
                  <a:lnTo>
                    <a:pt x="47" y="1207"/>
                  </a:lnTo>
                  <a:lnTo>
                    <a:pt x="45" y="1207"/>
                  </a:lnTo>
                  <a:lnTo>
                    <a:pt x="45" y="1210"/>
                  </a:lnTo>
                  <a:lnTo>
                    <a:pt x="45" y="1212"/>
                  </a:lnTo>
                  <a:lnTo>
                    <a:pt x="42" y="1212"/>
                  </a:lnTo>
                  <a:lnTo>
                    <a:pt x="40" y="1212"/>
                  </a:lnTo>
                  <a:lnTo>
                    <a:pt x="40" y="1210"/>
                  </a:lnTo>
                  <a:lnTo>
                    <a:pt x="38" y="1210"/>
                  </a:lnTo>
                  <a:lnTo>
                    <a:pt x="35" y="1210"/>
                  </a:lnTo>
                  <a:lnTo>
                    <a:pt x="38" y="1210"/>
                  </a:lnTo>
                  <a:lnTo>
                    <a:pt x="38" y="1207"/>
                  </a:lnTo>
                  <a:lnTo>
                    <a:pt x="40" y="1207"/>
                  </a:lnTo>
                  <a:lnTo>
                    <a:pt x="40" y="1205"/>
                  </a:lnTo>
                  <a:lnTo>
                    <a:pt x="42" y="1205"/>
                  </a:lnTo>
                  <a:lnTo>
                    <a:pt x="42" y="1202"/>
                  </a:lnTo>
                  <a:lnTo>
                    <a:pt x="45" y="1202"/>
                  </a:lnTo>
                  <a:lnTo>
                    <a:pt x="47" y="1202"/>
                  </a:lnTo>
                  <a:lnTo>
                    <a:pt x="47" y="1200"/>
                  </a:lnTo>
                  <a:lnTo>
                    <a:pt x="47" y="1198"/>
                  </a:lnTo>
                  <a:lnTo>
                    <a:pt x="50" y="1198"/>
                  </a:lnTo>
                  <a:lnTo>
                    <a:pt x="50" y="1195"/>
                  </a:lnTo>
                  <a:lnTo>
                    <a:pt x="52" y="1195"/>
                  </a:lnTo>
                  <a:lnTo>
                    <a:pt x="54" y="1195"/>
                  </a:lnTo>
                  <a:lnTo>
                    <a:pt x="57" y="1195"/>
                  </a:lnTo>
                  <a:lnTo>
                    <a:pt x="57" y="1193"/>
                  </a:lnTo>
                  <a:lnTo>
                    <a:pt x="57" y="1191"/>
                  </a:lnTo>
                  <a:lnTo>
                    <a:pt x="57" y="1193"/>
                  </a:lnTo>
                  <a:lnTo>
                    <a:pt x="54" y="1193"/>
                  </a:lnTo>
                  <a:lnTo>
                    <a:pt x="54" y="1195"/>
                  </a:lnTo>
                  <a:lnTo>
                    <a:pt x="52" y="1195"/>
                  </a:lnTo>
                  <a:lnTo>
                    <a:pt x="52" y="1193"/>
                  </a:lnTo>
                  <a:lnTo>
                    <a:pt x="50" y="1193"/>
                  </a:lnTo>
                  <a:lnTo>
                    <a:pt x="50" y="1191"/>
                  </a:lnTo>
                  <a:lnTo>
                    <a:pt x="50" y="1188"/>
                  </a:lnTo>
                  <a:lnTo>
                    <a:pt x="52" y="1188"/>
                  </a:lnTo>
                  <a:lnTo>
                    <a:pt x="54" y="1188"/>
                  </a:lnTo>
                  <a:lnTo>
                    <a:pt x="52" y="1188"/>
                  </a:lnTo>
                  <a:lnTo>
                    <a:pt x="54" y="1188"/>
                  </a:lnTo>
                  <a:lnTo>
                    <a:pt x="54" y="1186"/>
                  </a:lnTo>
                  <a:lnTo>
                    <a:pt x="54" y="1183"/>
                  </a:lnTo>
                  <a:lnTo>
                    <a:pt x="57" y="1183"/>
                  </a:lnTo>
                  <a:lnTo>
                    <a:pt x="59" y="1183"/>
                  </a:lnTo>
                  <a:lnTo>
                    <a:pt x="59" y="1181"/>
                  </a:lnTo>
                  <a:lnTo>
                    <a:pt x="59" y="1183"/>
                  </a:lnTo>
                  <a:lnTo>
                    <a:pt x="59" y="1181"/>
                  </a:lnTo>
                  <a:lnTo>
                    <a:pt x="61" y="1181"/>
                  </a:lnTo>
                  <a:lnTo>
                    <a:pt x="64" y="1181"/>
                  </a:lnTo>
                  <a:lnTo>
                    <a:pt x="64" y="1179"/>
                  </a:lnTo>
                  <a:lnTo>
                    <a:pt x="66" y="1179"/>
                  </a:lnTo>
                  <a:lnTo>
                    <a:pt x="66" y="1176"/>
                  </a:lnTo>
                  <a:lnTo>
                    <a:pt x="66" y="1179"/>
                  </a:lnTo>
                  <a:lnTo>
                    <a:pt x="68" y="1179"/>
                  </a:lnTo>
                  <a:lnTo>
                    <a:pt x="68" y="1181"/>
                  </a:lnTo>
                  <a:lnTo>
                    <a:pt x="68" y="1183"/>
                  </a:lnTo>
                  <a:lnTo>
                    <a:pt x="66" y="1183"/>
                  </a:lnTo>
                  <a:lnTo>
                    <a:pt x="66" y="1186"/>
                  </a:lnTo>
                  <a:lnTo>
                    <a:pt x="66" y="1188"/>
                  </a:lnTo>
                  <a:lnTo>
                    <a:pt x="66" y="1191"/>
                  </a:lnTo>
                  <a:lnTo>
                    <a:pt x="64" y="1191"/>
                  </a:lnTo>
                  <a:lnTo>
                    <a:pt x="64" y="1193"/>
                  </a:lnTo>
                  <a:lnTo>
                    <a:pt x="64" y="1195"/>
                  </a:lnTo>
                  <a:lnTo>
                    <a:pt x="64" y="1198"/>
                  </a:lnTo>
                  <a:lnTo>
                    <a:pt x="64" y="1195"/>
                  </a:lnTo>
                  <a:lnTo>
                    <a:pt x="66" y="1195"/>
                  </a:lnTo>
                  <a:lnTo>
                    <a:pt x="66" y="1193"/>
                  </a:lnTo>
                  <a:lnTo>
                    <a:pt x="66" y="1191"/>
                  </a:lnTo>
                  <a:lnTo>
                    <a:pt x="66" y="1188"/>
                  </a:lnTo>
                  <a:lnTo>
                    <a:pt x="66" y="1186"/>
                  </a:lnTo>
                  <a:lnTo>
                    <a:pt x="68" y="1186"/>
                  </a:lnTo>
                  <a:lnTo>
                    <a:pt x="68" y="1183"/>
                  </a:lnTo>
                  <a:lnTo>
                    <a:pt x="68" y="1181"/>
                  </a:lnTo>
                  <a:lnTo>
                    <a:pt x="68" y="1179"/>
                  </a:lnTo>
                  <a:lnTo>
                    <a:pt x="71" y="1181"/>
                  </a:lnTo>
                  <a:lnTo>
                    <a:pt x="71" y="1179"/>
                  </a:lnTo>
                  <a:lnTo>
                    <a:pt x="71" y="1176"/>
                  </a:lnTo>
                  <a:lnTo>
                    <a:pt x="73" y="1176"/>
                  </a:lnTo>
                  <a:lnTo>
                    <a:pt x="76" y="1176"/>
                  </a:lnTo>
                  <a:lnTo>
                    <a:pt x="78" y="1176"/>
                  </a:lnTo>
                  <a:lnTo>
                    <a:pt x="78" y="1174"/>
                  </a:lnTo>
                  <a:lnTo>
                    <a:pt x="80" y="1174"/>
                  </a:lnTo>
                  <a:lnTo>
                    <a:pt x="80" y="1176"/>
                  </a:lnTo>
                  <a:lnTo>
                    <a:pt x="83" y="1176"/>
                  </a:lnTo>
                  <a:lnTo>
                    <a:pt x="83" y="1174"/>
                  </a:lnTo>
                  <a:lnTo>
                    <a:pt x="85" y="1174"/>
                  </a:lnTo>
                  <a:lnTo>
                    <a:pt x="83" y="1174"/>
                  </a:lnTo>
                  <a:lnTo>
                    <a:pt x="80" y="1174"/>
                  </a:lnTo>
                  <a:lnTo>
                    <a:pt x="78" y="1174"/>
                  </a:lnTo>
                  <a:lnTo>
                    <a:pt x="78" y="1172"/>
                  </a:lnTo>
                  <a:lnTo>
                    <a:pt x="80" y="1172"/>
                  </a:lnTo>
                  <a:lnTo>
                    <a:pt x="80" y="1169"/>
                  </a:lnTo>
                  <a:lnTo>
                    <a:pt x="78" y="1172"/>
                  </a:lnTo>
                  <a:lnTo>
                    <a:pt x="78" y="1169"/>
                  </a:lnTo>
                  <a:lnTo>
                    <a:pt x="76" y="1169"/>
                  </a:lnTo>
                  <a:lnTo>
                    <a:pt x="76" y="1172"/>
                  </a:lnTo>
                  <a:lnTo>
                    <a:pt x="78" y="1172"/>
                  </a:lnTo>
                  <a:lnTo>
                    <a:pt x="76" y="1172"/>
                  </a:lnTo>
                  <a:lnTo>
                    <a:pt x="78" y="1172"/>
                  </a:lnTo>
                  <a:lnTo>
                    <a:pt x="76" y="1172"/>
                  </a:lnTo>
                  <a:lnTo>
                    <a:pt x="78" y="1174"/>
                  </a:lnTo>
                  <a:lnTo>
                    <a:pt x="76" y="1174"/>
                  </a:lnTo>
                  <a:lnTo>
                    <a:pt x="73" y="1174"/>
                  </a:lnTo>
                  <a:lnTo>
                    <a:pt x="73" y="1176"/>
                  </a:lnTo>
                  <a:lnTo>
                    <a:pt x="71" y="1176"/>
                  </a:lnTo>
                  <a:lnTo>
                    <a:pt x="71" y="1179"/>
                  </a:lnTo>
                  <a:lnTo>
                    <a:pt x="68" y="1179"/>
                  </a:lnTo>
                  <a:lnTo>
                    <a:pt x="68" y="1176"/>
                  </a:lnTo>
                  <a:lnTo>
                    <a:pt x="68" y="1174"/>
                  </a:lnTo>
                  <a:lnTo>
                    <a:pt x="71" y="1174"/>
                  </a:lnTo>
                  <a:lnTo>
                    <a:pt x="71" y="1172"/>
                  </a:lnTo>
                  <a:lnTo>
                    <a:pt x="71" y="1174"/>
                  </a:lnTo>
                  <a:lnTo>
                    <a:pt x="68" y="1174"/>
                  </a:lnTo>
                  <a:lnTo>
                    <a:pt x="66" y="1176"/>
                  </a:lnTo>
                  <a:lnTo>
                    <a:pt x="64" y="1176"/>
                  </a:lnTo>
                  <a:lnTo>
                    <a:pt x="61" y="1176"/>
                  </a:lnTo>
                  <a:lnTo>
                    <a:pt x="61" y="1179"/>
                  </a:lnTo>
                  <a:lnTo>
                    <a:pt x="59" y="1179"/>
                  </a:lnTo>
                  <a:lnTo>
                    <a:pt x="57" y="1179"/>
                  </a:lnTo>
                  <a:lnTo>
                    <a:pt x="54" y="1179"/>
                  </a:lnTo>
                  <a:lnTo>
                    <a:pt x="54" y="1176"/>
                  </a:lnTo>
                  <a:lnTo>
                    <a:pt x="54" y="1179"/>
                  </a:lnTo>
                  <a:lnTo>
                    <a:pt x="57" y="1179"/>
                  </a:lnTo>
                  <a:lnTo>
                    <a:pt x="57" y="1181"/>
                  </a:lnTo>
                  <a:lnTo>
                    <a:pt x="54" y="1181"/>
                  </a:lnTo>
                  <a:lnTo>
                    <a:pt x="54" y="1179"/>
                  </a:lnTo>
                  <a:lnTo>
                    <a:pt x="54" y="1181"/>
                  </a:lnTo>
                  <a:lnTo>
                    <a:pt x="52" y="1181"/>
                  </a:lnTo>
                  <a:lnTo>
                    <a:pt x="54" y="1181"/>
                  </a:lnTo>
                  <a:lnTo>
                    <a:pt x="54" y="1183"/>
                  </a:lnTo>
                  <a:lnTo>
                    <a:pt x="52" y="1183"/>
                  </a:lnTo>
                  <a:lnTo>
                    <a:pt x="52" y="1186"/>
                  </a:lnTo>
                  <a:lnTo>
                    <a:pt x="54" y="1186"/>
                  </a:lnTo>
                  <a:lnTo>
                    <a:pt x="52" y="1186"/>
                  </a:lnTo>
                  <a:lnTo>
                    <a:pt x="52" y="1188"/>
                  </a:lnTo>
                  <a:lnTo>
                    <a:pt x="52" y="1186"/>
                  </a:lnTo>
                  <a:lnTo>
                    <a:pt x="52" y="1188"/>
                  </a:lnTo>
                  <a:lnTo>
                    <a:pt x="50" y="1186"/>
                  </a:lnTo>
                  <a:lnTo>
                    <a:pt x="50" y="1188"/>
                  </a:lnTo>
                  <a:lnTo>
                    <a:pt x="50" y="1186"/>
                  </a:lnTo>
                  <a:lnTo>
                    <a:pt x="47" y="1186"/>
                  </a:lnTo>
                  <a:lnTo>
                    <a:pt x="47" y="1188"/>
                  </a:lnTo>
                  <a:lnTo>
                    <a:pt x="45" y="1188"/>
                  </a:lnTo>
                  <a:lnTo>
                    <a:pt x="45" y="1191"/>
                  </a:lnTo>
                  <a:lnTo>
                    <a:pt x="45" y="1193"/>
                  </a:lnTo>
                  <a:lnTo>
                    <a:pt x="45" y="1191"/>
                  </a:lnTo>
                  <a:lnTo>
                    <a:pt x="45" y="1193"/>
                  </a:lnTo>
                  <a:lnTo>
                    <a:pt x="42" y="1193"/>
                  </a:lnTo>
                  <a:lnTo>
                    <a:pt x="45" y="1193"/>
                  </a:lnTo>
                  <a:lnTo>
                    <a:pt x="42" y="1193"/>
                  </a:lnTo>
                  <a:lnTo>
                    <a:pt x="45" y="1195"/>
                  </a:lnTo>
                  <a:lnTo>
                    <a:pt x="45" y="1198"/>
                  </a:lnTo>
                  <a:lnTo>
                    <a:pt x="42" y="1200"/>
                  </a:lnTo>
                  <a:lnTo>
                    <a:pt x="40" y="1202"/>
                  </a:lnTo>
                  <a:lnTo>
                    <a:pt x="40" y="1200"/>
                  </a:lnTo>
                  <a:lnTo>
                    <a:pt x="40" y="1202"/>
                  </a:lnTo>
                  <a:lnTo>
                    <a:pt x="38" y="1202"/>
                  </a:lnTo>
                  <a:lnTo>
                    <a:pt x="38" y="1200"/>
                  </a:lnTo>
                  <a:lnTo>
                    <a:pt x="40" y="1200"/>
                  </a:lnTo>
                  <a:lnTo>
                    <a:pt x="38" y="1200"/>
                  </a:lnTo>
                  <a:lnTo>
                    <a:pt x="38" y="1198"/>
                  </a:lnTo>
                  <a:lnTo>
                    <a:pt x="38" y="1195"/>
                  </a:lnTo>
                  <a:lnTo>
                    <a:pt x="38" y="1198"/>
                  </a:lnTo>
                  <a:lnTo>
                    <a:pt x="40" y="1198"/>
                  </a:lnTo>
                  <a:lnTo>
                    <a:pt x="40" y="1195"/>
                  </a:lnTo>
                  <a:lnTo>
                    <a:pt x="42" y="1195"/>
                  </a:lnTo>
                  <a:lnTo>
                    <a:pt x="40" y="1195"/>
                  </a:lnTo>
                  <a:lnTo>
                    <a:pt x="40" y="1198"/>
                  </a:lnTo>
                  <a:lnTo>
                    <a:pt x="38" y="1198"/>
                  </a:lnTo>
                  <a:lnTo>
                    <a:pt x="38" y="1195"/>
                  </a:lnTo>
                  <a:lnTo>
                    <a:pt x="38" y="1193"/>
                  </a:lnTo>
                  <a:lnTo>
                    <a:pt x="38" y="1195"/>
                  </a:lnTo>
                  <a:lnTo>
                    <a:pt x="38" y="1193"/>
                  </a:lnTo>
                  <a:lnTo>
                    <a:pt x="40" y="1193"/>
                  </a:lnTo>
                  <a:lnTo>
                    <a:pt x="38" y="1193"/>
                  </a:lnTo>
                  <a:lnTo>
                    <a:pt x="38" y="1191"/>
                  </a:lnTo>
                  <a:lnTo>
                    <a:pt x="40" y="1191"/>
                  </a:lnTo>
                  <a:lnTo>
                    <a:pt x="38" y="1191"/>
                  </a:lnTo>
                  <a:lnTo>
                    <a:pt x="35" y="1191"/>
                  </a:lnTo>
                  <a:lnTo>
                    <a:pt x="38" y="1191"/>
                  </a:lnTo>
                  <a:lnTo>
                    <a:pt x="35" y="1193"/>
                  </a:lnTo>
                  <a:lnTo>
                    <a:pt x="38" y="1193"/>
                  </a:lnTo>
                  <a:lnTo>
                    <a:pt x="35" y="1193"/>
                  </a:lnTo>
                  <a:lnTo>
                    <a:pt x="33" y="1193"/>
                  </a:lnTo>
                  <a:lnTo>
                    <a:pt x="33" y="1191"/>
                  </a:lnTo>
                  <a:lnTo>
                    <a:pt x="35" y="1191"/>
                  </a:lnTo>
                  <a:lnTo>
                    <a:pt x="35" y="1188"/>
                  </a:lnTo>
                  <a:lnTo>
                    <a:pt x="38" y="1188"/>
                  </a:lnTo>
                  <a:lnTo>
                    <a:pt x="35" y="1188"/>
                  </a:lnTo>
                  <a:lnTo>
                    <a:pt x="35" y="1186"/>
                  </a:lnTo>
                  <a:lnTo>
                    <a:pt x="33" y="1188"/>
                  </a:lnTo>
                  <a:lnTo>
                    <a:pt x="33" y="1186"/>
                  </a:lnTo>
                  <a:lnTo>
                    <a:pt x="35" y="1186"/>
                  </a:lnTo>
                  <a:lnTo>
                    <a:pt x="35" y="1183"/>
                  </a:lnTo>
                  <a:lnTo>
                    <a:pt x="35" y="1186"/>
                  </a:lnTo>
                  <a:lnTo>
                    <a:pt x="35" y="1183"/>
                  </a:lnTo>
                  <a:lnTo>
                    <a:pt x="35" y="1181"/>
                  </a:lnTo>
                  <a:lnTo>
                    <a:pt x="38" y="1181"/>
                  </a:lnTo>
                  <a:lnTo>
                    <a:pt x="40" y="1181"/>
                  </a:lnTo>
                  <a:lnTo>
                    <a:pt x="40" y="1179"/>
                  </a:lnTo>
                  <a:lnTo>
                    <a:pt x="38" y="1179"/>
                  </a:lnTo>
                  <a:lnTo>
                    <a:pt x="38" y="1181"/>
                  </a:lnTo>
                  <a:lnTo>
                    <a:pt x="35" y="1181"/>
                  </a:lnTo>
                  <a:lnTo>
                    <a:pt x="35" y="1183"/>
                  </a:lnTo>
                  <a:lnTo>
                    <a:pt x="33" y="1186"/>
                  </a:lnTo>
                  <a:lnTo>
                    <a:pt x="33" y="1188"/>
                  </a:lnTo>
                  <a:lnTo>
                    <a:pt x="31" y="1191"/>
                  </a:lnTo>
                  <a:lnTo>
                    <a:pt x="33" y="1188"/>
                  </a:lnTo>
                  <a:lnTo>
                    <a:pt x="31" y="1191"/>
                  </a:lnTo>
                  <a:lnTo>
                    <a:pt x="28" y="1191"/>
                  </a:lnTo>
                  <a:lnTo>
                    <a:pt x="28" y="1193"/>
                  </a:lnTo>
                  <a:lnTo>
                    <a:pt x="26" y="1193"/>
                  </a:lnTo>
                  <a:lnTo>
                    <a:pt x="28" y="1193"/>
                  </a:lnTo>
                  <a:lnTo>
                    <a:pt x="26" y="1193"/>
                  </a:lnTo>
                  <a:lnTo>
                    <a:pt x="26" y="1191"/>
                  </a:lnTo>
                  <a:lnTo>
                    <a:pt x="26" y="1193"/>
                  </a:lnTo>
                  <a:lnTo>
                    <a:pt x="28" y="1193"/>
                  </a:lnTo>
                  <a:lnTo>
                    <a:pt x="26" y="1191"/>
                  </a:lnTo>
                  <a:lnTo>
                    <a:pt x="28" y="1191"/>
                  </a:lnTo>
                  <a:lnTo>
                    <a:pt x="26" y="1191"/>
                  </a:lnTo>
                  <a:lnTo>
                    <a:pt x="23" y="1191"/>
                  </a:lnTo>
                  <a:lnTo>
                    <a:pt x="26" y="1191"/>
                  </a:lnTo>
                  <a:lnTo>
                    <a:pt x="23" y="1191"/>
                  </a:lnTo>
                  <a:lnTo>
                    <a:pt x="26" y="1191"/>
                  </a:lnTo>
                  <a:lnTo>
                    <a:pt x="26" y="1188"/>
                  </a:lnTo>
                  <a:lnTo>
                    <a:pt x="26" y="1191"/>
                  </a:lnTo>
                  <a:lnTo>
                    <a:pt x="26" y="1188"/>
                  </a:lnTo>
                  <a:lnTo>
                    <a:pt x="23" y="1188"/>
                  </a:lnTo>
                  <a:lnTo>
                    <a:pt x="23" y="1191"/>
                  </a:lnTo>
                  <a:lnTo>
                    <a:pt x="21" y="1191"/>
                  </a:lnTo>
                  <a:lnTo>
                    <a:pt x="21" y="1188"/>
                  </a:lnTo>
                  <a:lnTo>
                    <a:pt x="23" y="1188"/>
                  </a:lnTo>
                  <a:lnTo>
                    <a:pt x="23" y="1186"/>
                  </a:lnTo>
                  <a:lnTo>
                    <a:pt x="26" y="1186"/>
                  </a:lnTo>
                  <a:lnTo>
                    <a:pt x="23" y="1186"/>
                  </a:lnTo>
                  <a:lnTo>
                    <a:pt x="23" y="1188"/>
                  </a:lnTo>
                  <a:lnTo>
                    <a:pt x="21" y="1188"/>
                  </a:lnTo>
                  <a:lnTo>
                    <a:pt x="21" y="1186"/>
                  </a:lnTo>
                  <a:lnTo>
                    <a:pt x="21" y="1183"/>
                  </a:lnTo>
                  <a:lnTo>
                    <a:pt x="23" y="1183"/>
                  </a:lnTo>
                  <a:lnTo>
                    <a:pt x="21" y="1183"/>
                  </a:lnTo>
                  <a:lnTo>
                    <a:pt x="21" y="1181"/>
                  </a:lnTo>
                  <a:lnTo>
                    <a:pt x="21" y="1183"/>
                  </a:lnTo>
                  <a:lnTo>
                    <a:pt x="19" y="1183"/>
                  </a:lnTo>
                  <a:lnTo>
                    <a:pt x="19" y="1181"/>
                  </a:lnTo>
                  <a:lnTo>
                    <a:pt x="21" y="1181"/>
                  </a:lnTo>
                  <a:lnTo>
                    <a:pt x="19" y="1181"/>
                  </a:lnTo>
                  <a:lnTo>
                    <a:pt x="21" y="1181"/>
                  </a:lnTo>
                  <a:lnTo>
                    <a:pt x="21" y="1179"/>
                  </a:lnTo>
                  <a:lnTo>
                    <a:pt x="23" y="1179"/>
                  </a:lnTo>
                  <a:lnTo>
                    <a:pt x="23" y="1181"/>
                  </a:lnTo>
                  <a:lnTo>
                    <a:pt x="26" y="1181"/>
                  </a:lnTo>
                  <a:lnTo>
                    <a:pt x="23" y="1181"/>
                  </a:lnTo>
                  <a:lnTo>
                    <a:pt x="23" y="1179"/>
                  </a:lnTo>
                  <a:lnTo>
                    <a:pt x="23" y="1176"/>
                  </a:lnTo>
                  <a:lnTo>
                    <a:pt x="21" y="1174"/>
                  </a:lnTo>
                  <a:lnTo>
                    <a:pt x="23" y="1174"/>
                  </a:lnTo>
                  <a:lnTo>
                    <a:pt x="23" y="1172"/>
                  </a:lnTo>
                  <a:lnTo>
                    <a:pt x="23" y="1174"/>
                  </a:lnTo>
                  <a:lnTo>
                    <a:pt x="23" y="1172"/>
                  </a:lnTo>
                  <a:lnTo>
                    <a:pt x="23" y="1174"/>
                  </a:lnTo>
                  <a:lnTo>
                    <a:pt x="26" y="1174"/>
                  </a:lnTo>
                  <a:lnTo>
                    <a:pt x="28" y="1174"/>
                  </a:lnTo>
                  <a:lnTo>
                    <a:pt x="28" y="1176"/>
                  </a:lnTo>
                  <a:lnTo>
                    <a:pt x="28" y="1179"/>
                  </a:lnTo>
                  <a:lnTo>
                    <a:pt x="28" y="1176"/>
                  </a:lnTo>
                  <a:lnTo>
                    <a:pt x="31" y="1176"/>
                  </a:lnTo>
                  <a:lnTo>
                    <a:pt x="31" y="1179"/>
                  </a:lnTo>
                  <a:lnTo>
                    <a:pt x="33" y="1179"/>
                  </a:lnTo>
                  <a:lnTo>
                    <a:pt x="35" y="1179"/>
                  </a:lnTo>
                  <a:lnTo>
                    <a:pt x="35" y="1176"/>
                  </a:lnTo>
                  <a:lnTo>
                    <a:pt x="38" y="1176"/>
                  </a:lnTo>
                  <a:lnTo>
                    <a:pt x="38" y="1174"/>
                  </a:lnTo>
                  <a:lnTo>
                    <a:pt x="38" y="1172"/>
                  </a:lnTo>
                  <a:lnTo>
                    <a:pt x="38" y="1169"/>
                  </a:lnTo>
                  <a:lnTo>
                    <a:pt x="38" y="1167"/>
                  </a:lnTo>
                  <a:lnTo>
                    <a:pt x="38" y="1164"/>
                  </a:lnTo>
                  <a:lnTo>
                    <a:pt x="40" y="1162"/>
                  </a:lnTo>
                  <a:lnTo>
                    <a:pt x="38" y="1162"/>
                  </a:lnTo>
                  <a:lnTo>
                    <a:pt x="38" y="1164"/>
                  </a:lnTo>
                  <a:lnTo>
                    <a:pt x="38" y="1162"/>
                  </a:lnTo>
                  <a:lnTo>
                    <a:pt x="35" y="1162"/>
                  </a:lnTo>
                  <a:lnTo>
                    <a:pt x="38" y="1162"/>
                  </a:lnTo>
                  <a:lnTo>
                    <a:pt x="38" y="1160"/>
                  </a:lnTo>
                  <a:lnTo>
                    <a:pt x="35" y="1160"/>
                  </a:lnTo>
                  <a:lnTo>
                    <a:pt x="35" y="1162"/>
                  </a:lnTo>
                  <a:lnTo>
                    <a:pt x="33" y="1162"/>
                  </a:lnTo>
                  <a:lnTo>
                    <a:pt x="33" y="1164"/>
                  </a:lnTo>
                  <a:lnTo>
                    <a:pt x="33" y="1162"/>
                  </a:lnTo>
                  <a:lnTo>
                    <a:pt x="33" y="1164"/>
                  </a:lnTo>
                  <a:lnTo>
                    <a:pt x="33" y="1162"/>
                  </a:lnTo>
                  <a:lnTo>
                    <a:pt x="33" y="1164"/>
                  </a:lnTo>
                  <a:lnTo>
                    <a:pt x="33" y="1167"/>
                  </a:lnTo>
                  <a:lnTo>
                    <a:pt x="31" y="1167"/>
                  </a:lnTo>
                  <a:lnTo>
                    <a:pt x="28" y="1167"/>
                  </a:lnTo>
                  <a:lnTo>
                    <a:pt x="28" y="1169"/>
                  </a:lnTo>
                  <a:lnTo>
                    <a:pt x="26" y="1169"/>
                  </a:lnTo>
                  <a:lnTo>
                    <a:pt x="28" y="1169"/>
                  </a:lnTo>
                  <a:lnTo>
                    <a:pt x="26" y="1169"/>
                  </a:lnTo>
                  <a:lnTo>
                    <a:pt x="26" y="1172"/>
                  </a:lnTo>
                  <a:lnTo>
                    <a:pt x="23" y="1172"/>
                  </a:lnTo>
                  <a:lnTo>
                    <a:pt x="21" y="1172"/>
                  </a:lnTo>
                  <a:lnTo>
                    <a:pt x="21" y="1169"/>
                  </a:lnTo>
                  <a:lnTo>
                    <a:pt x="21" y="1172"/>
                  </a:lnTo>
                  <a:lnTo>
                    <a:pt x="21" y="1169"/>
                  </a:lnTo>
                  <a:lnTo>
                    <a:pt x="19" y="1169"/>
                  </a:lnTo>
                  <a:lnTo>
                    <a:pt x="16" y="1169"/>
                  </a:lnTo>
                  <a:lnTo>
                    <a:pt x="16" y="1167"/>
                  </a:lnTo>
                  <a:lnTo>
                    <a:pt x="14" y="1167"/>
                  </a:lnTo>
                  <a:lnTo>
                    <a:pt x="14" y="1164"/>
                  </a:lnTo>
                  <a:lnTo>
                    <a:pt x="12" y="1164"/>
                  </a:lnTo>
                  <a:lnTo>
                    <a:pt x="9" y="1162"/>
                  </a:lnTo>
                  <a:lnTo>
                    <a:pt x="12" y="1164"/>
                  </a:lnTo>
                  <a:lnTo>
                    <a:pt x="9" y="1164"/>
                  </a:lnTo>
                  <a:lnTo>
                    <a:pt x="9" y="1162"/>
                  </a:lnTo>
                  <a:lnTo>
                    <a:pt x="12" y="1162"/>
                  </a:lnTo>
                  <a:lnTo>
                    <a:pt x="9" y="1162"/>
                  </a:lnTo>
                  <a:lnTo>
                    <a:pt x="12" y="1162"/>
                  </a:lnTo>
                  <a:lnTo>
                    <a:pt x="9" y="1162"/>
                  </a:lnTo>
                  <a:lnTo>
                    <a:pt x="9" y="1160"/>
                  </a:lnTo>
                  <a:lnTo>
                    <a:pt x="9" y="1162"/>
                  </a:lnTo>
                  <a:lnTo>
                    <a:pt x="12" y="1162"/>
                  </a:lnTo>
                  <a:lnTo>
                    <a:pt x="9" y="1162"/>
                  </a:lnTo>
                  <a:lnTo>
                    <a:pt x="9" y="1160"/>
                  </a:lnTo>
                  <a:lnTo>
                    <a:pt x="12" y="1162"/>
                  </a:lnTo>
                  <a:lnTo>
                    <a:pt x="14" y="1162"/>
                  </a:lnTo>
                  <a:lnTo>
                    <a:pt x="16" y="1162"/>
                  </a:lnTo>
                  <a:lnTo>
                    <a:pt x="16" y="1164"/>
                  </a:lnTo>
                  <a:lnTo>
                    <a:pt x="16" y="1167"/>
                  </a:lnTo>
                  <a:lnTo>
                    <a:pt x="19" y="1167"/>
                  </a:lnTo>
                  <a:lnTo>
                    <a:pt x="16" y="1167"/>
                  </a:lnTo>
                  <a:lnTo>
                    <a:pt x="16" y="1164"/>
                  </a:lnTo>
                  <a:lnTo>
                    <a:pt x="16" y="1162"/>
                  </a:lnTo>
                  <a:lnTo>
                    <a:pt x="16" y="1164"/>
                  </a:lnTo>
                  <a:lnTo>
                    <a:pt x="19" y="1167"/>
                  </a:lnTo>
                  <a:lnTo>
                    <a:pt x="21" y="1167"/>
                  </a:lnTo>
                  <a:lnTo>
                    <a:pt x="21" y="1169"/>
                  </a:lnTo>
                  <a:lnTo>
                    <a:pt x="21" y="1167"/>
                  </a:lnTo>
                  <a:lnTo>
                    <a:pt x="19" y="1167"/>
                  </a:lnTo>
                  <a:lnTo>
                    <a:pt x="16" y="1164"/>
                  </a:lnTo>
                  <a:lnTo>
                    <a:pt x="19" y="1164"/>
                  </a:lnTo>
                  <a:lnTo>
                    <a:pt x="16" y="1164"/>
                  </a:lnTo>
                  <a:lnTo>
                    <a:pt x="19" y="1164"/>
                  </a:lnTo>
                  <a:lnTo>
                    <a:pt x="16" y="1164"/>
                  </a:lnTo>
                  <a:lnTo>
                    <a:pt x="19" y="1164"/>
                  </a:lnTo>
                  <a:lnTo>
                    <a:pt x="21" y="1164"/>
                  </a:lnTo>
                  <a:lnTo>
                    <a:pt x="21" y="1167"/>
                  </a:lnTo>
                  <a:lnTo>
                    <a:pt x="23" y="1167"/>
                  </a:lnTo>
                  <a:lnTo>
                    <a:pt x="21" y="1167"/>
                  </a:lnTo>
                  <a:lnTo>
                    <a:pt x="21" y="1164"/>
                  </a:lnTo>
                  <a:lnTo>
                    <a:pt x="19" y="1164"/>
                  </a:lnTo>
                  <a:lnTo>
                    <a:pt x="19" y="1162"/>
                  </a:lnTo>
                  <a:lnTo>
                    <a:pt x="16" y="1162"/>
                  </a:lnTo>
                  <a:lnTo>
                    <a:pt x="14" y="1160"/>
                  </a:lnTo>
                  <a:lnTo>
                    <a:pt x="16" y="1160"/>
                  </a:lnTo>
                  <a:lnTo>
                    <a:pt x="14" y="1160"/>
                  </a:lnTo>
                  <a:lnTo>
                    <a:pt x="16" y="1160"/>
                  </a:lnTo>
                  <a:lnTo>
                    <a:pt x="14" y="1160"/>
                  </a:lnTo>
                  <a:lnTo>
                    <a:pt x="16" y="1160"/>
                  </a:lnTo>
                  <a:lnTo>
                    <a:pt x="14" y="1160"/>
                  </a:lnTo>
                  <a:lnTo>
                    <a:pt x="12" y="1160"/>
                  </a:lnTo>
                  <a:lnTo>
                    <a:pt x="12" y="1157"/>
                  </a:lnTo>
                  <a:lnTo>
                    <a:pt x="14" y="1157"/>
                  </a:lnTo>
                  <a:lnTo>
                    <a:pt x="12" y="1157"/>
                  </a:lnTo>
                  <a:lnTo>
                    <a:pt x="14" y="1157"/>
                  </a:lnTo>
                  <a:lnTo>
                    <a:pt x="16" y="1157"/>
                  </a:lnTo>
                  <a:lnTo>
                    <a:pt x="16" y="1160"/>
                  </a:lnTo>
                  <a:lnTo>
                    <a:pt x="16" y="1157"/>
                  </a:lnTo>
                  <a:lnTo>
                    <a:pt x="16" y="1160"/>
                  </a:lnTo>
                  <a:lnTo>
                    <a:pt x="19" y="1160"/>
                  </a:lnTo>
                  <a:lnTo>
                    <a:pt x="21" y="1160"/>
                  </a:lnTo>
                  <a:lnTo>
                    <a:pt x="23" y="1160"/>
                  </a:lnTo>
                  <a:lnTo>
                    <a:pt x="23" y="1162"/>
                  </a:lnTo>
                  <a:lnTo>
                    <a:pt x="26" y="1162"/>
                  </a:lnTo>
                  <a:lnTo>
                    <a:pt x="26" y="1164"/>
                  </a:lnTo>
                  <a:lnTo>
                    <a:pt x="26" y="1167"/>
                  </a:lnTo>
                  <a:lnTo>
                    <a:pt x="26" y="1164"/>
                  </a:lnTo>
                  <a:lnTo>
                    <a:pt x="28" y="1164"/>
                  </a:lnTo>
                  <a:lnTo>
                    <a:pt x="28" y="1167"/>
                  </a:lnTo>
                  <a:lnTo>
                    <a:pt x="28" y="1164"/>
                  </a:lnTo>
                  <a:lnTo>
                    <a:pt x="26" y="1164"/>
                  </a:lnTo>
                  <a:lnTo>
                    <a:pt x="26" y="1162"/>
                  </a:lnTo>
                  <a:lnTo>
                    <a:pt x="26" y="1164"/>
                  </a:lnTo>
                  <a:lnTo>
                    <a:pt x="28" y="1164"/>
                  </a:lnTo>
                  <a:lnTo>
                    <a:pt x="28" y="1162"/>
                  </a:lnTo>
                  <a:lnTo>
                    <a:pt x="26" y="1162"/>
                  </a:lnTo>
                  <a:lnTo>
                    <a:pt x="26" y="1160"/>
                  </a:lnTo>
                  <a:lnTo>
                    <a:pt x="26" y="1162"/>
                  </a:lnTo>
                  <a:lnTo>
                    <a:pt x="26" y="1160"/>
                  </a:lnTo>
                  <a:lnTo>
                    <a:pt x="23" y="1160"/>
                  </a:lnTo>
                  <a:lnTo>
                    <a:pt x="23" y="1157"/>
                  </a:lnTo>
                  <a:lnTo>
                    <a:pt x="26" y="1157"/>
                  </a:lnTo>
                  <a:lnTo>
                    <a:pt x="23" y="1157"/>
                  </a:lnTo>
                  <a:lnTo>
                    <a:pt x="26" y="1157"/>
                  </a:lnTo>
                  <a:lnTo>
                    <a:pt x="23" y="1157"/>
                  </a:lnTo>
                  <a:lnTo>
                    <a:pt x="26" y="1157"/>
                  </a:lnTo>
                  <a:lnTo>
                    <a:pt x="26" y="1155"/>
                  </a:lnTo>
                  <a:lnTo>
                    <a:pt x="28" y="1155"/>
                  </a:lnTo>
                  <a:lnTo>
                    <a:pt x="28" y="1153"/>
                  </a:lnTo>
                  <a:lnTo>
                    <a:pt x="31" y="1155"/>
                  </a:lnTo>
                  <a:lnTo>
                    <a:pt x="33" y="1155"/>
                  </a:lnTo>
                  <a:lnTo>
                    <a:pt x="33" y="1153"/>
                  </a:lnTo>
                  <a:lnTo>
                    <a:pt x="33" y="1155"/>
                  </a:lnTo>
                  <a:lnTo>
                    <a:pt x="31" y="1155"/>
                  </a:lnTo>
                  <a:lnTo>
                    <a:pt x="31" y="1153"/>
                  </a:lnTo>
                  <a:lnTo>
                    <a:pt x="28" y="1153"/>
                  </a:lnTo>
                  <a:lnTo>
                    <a:pt x="31" y="1153"/>
                  </a:lnTo>
                  <a:lnTo>
                    <a:pt x="28" y="1153"/>
                  </a:lnTo>
                  <a:lnTo>
                    <a:pt x="26" y="1153"/>
                  </a:lnTo>
                  <a:lnTo>
                    <a:pt x="26" y="1155"/>
                  </a:lnTo>
                  <a:lnTo>
                    <a:pt x="26" y="1157"/>
                  </a:lnTo>
                  <a:lnTo>
                    <a:pt x="23" y="1157"/>
                  </a:lnTo>
                  <a:lnTo>
                    <a:pt x="23" y="1155"/>
                  </a:lnTo>
                  <a:lnTo>
                    <a:pt x="23" y="1157"/>
                  </a:lnTo>
                  <a:lnTo>
                    <a:pt x="23" y="1155"/>
                  </a:lnTo>
                  <a:lnTo>
                    <a:pt x="21" y="1155"/>
                  </a:lnTo>
                  <a:lnTo>
                    <a:pt x="21" y="1157"/>
                  </a:lnTo>
                  <a:lnTo>
                    <a:pt x="21" y="1155"/>
                  </a:lnTo>
                  <a:lnTo>
                    <a:pt x="21" y="1157"/>
                  </a:lnTo>
                  <a:lnTo>
                    <a:pt x="23" y="1157"/>
                  </a:lnTo>
                  <a:lnTo>
                    <a:pt x="21" y="1157"/>
                  </a:lnTo>
                  <a:lnTo>
                    <a:pt x="21" y="1155"/>
                  </a:lnTo>
                  <a:lnTo>
                    <a:pt x="21" y="1157"/>
                  </a:lnTo>
                  <a:lnTo>
                    <a:pt x="19" y="1157"/>
                  </a:lnTo>
                  <a:lnTo>
                    <a:pt x="21" y="1157"/>
                  </a:lnTo>
                  <a:lnTo>
                    <a:pt x="19" y="1157"/>
                  </a:lnTo>
                  <a:lnTo>
                    <a:pt x="19" y="1155"/>
                  </a:lnTo>
                  <a:lnTo>
                    <a:pt x="19" y="1157"/>
                  </a:lnTo>
                  <a:lnTo>
                    <a:pt x="19" y="1155"/>
                  </a:lnTo>
                  <a:lnTo>
                    <a:pt x="19" y="1157"/>
                  </a:lnTo>
                  <a:lnTo>
                    <a:pt x="19" y="1155"/>
                  </a:lnTo>
                  <a:lnTo>
                    <a:pt x="19" y="1157"/>
                  </a:lnTo>
                  <a:lnTo>
                    <a:pt x="19" y="1155"/>
                  </a:lnTo>
                  <a:lnTo>
                    <a:pt x="19" y="1157"/>
                  </a:lnTo>
                  <a:lnTo>
                    <a:pt x="19" y="1155"/>
                  </a:lnTo>
                  <a:lnTo>
                    <a:pt x="19" y="1157"/>
                  </a:lnTo>
                  <a:lnTo>
                    <a:pt x="16" y="1155"/>
                  </a:lnTo>
                  <a:lnTo>
                    <a:pt x="16" y="1157"/>
                  </a:lnTo>
                  <a:lnTo>
                    <a:pt x="16" y="1155"/>
                  </a:lnTo>
                  <a:lnTo>
                    <a:pt x="16" y="1153"/>
                  </a:lnTo>
                  <a:lnTo>
                    <a:pt x="14" y="1153"/>
                  </a:lnTo>
                  <a:lnTo>
                    <a:pt x="16" y="1153"/>
                  </a:lnTo>
                  <a:lnTo>
                    <a:pt x="14" y="1153"/>
                  </a:lnTo>
                  <a:lnTo>
                    <a:pt x="14" y="1150"/>
                  </a:lnTo>
                  <a:lnTo>
                    <a:pt x="14" y="1148"/>
                  </a:lnTo>
                  <a:lnTo>
                    <a:pt x="14" y="1150"/>
                  </a:lnTo>
                  <a:lnTo>
                    <a:pt x="14" y="1148"/>
                  </a:lnTo>
                  <a:lnTo>
                    <a:pt x="16" y="1150"/>
                  </a:lnTo>
                  <a:lnTo>
                    <a:pt x="19" y="1150"/>
                  </a:lnTo>
                  <a:lnTo>
                    <a:pt x="16" y="1150"/>
                  </a:lnTo>
                  <a:lnTo>
                    <a:pt x="19" y="1150"/>
                  </a:lnTo>
                  <a:lnTo>
                    <a:pt x="19" y="1153"/>
                  </a:lnTo>
                  <a:lnTo>
                    <a:pt x="16" y="1153"/>
                  </a:lnTo>
                  <a:lnTo>
                    <a:pt x="19" y="1153"/>
                  </a:lnTo>
                  <a:lnTo>
                    <a:pt x="16" y="1153"/>
                  </a:lnTo>
                  <a:lnTo>
                    <a:pt x="19" y="1153"/>
                  </a:lnTo>
                  <a:lnTo>
                    <a:pt x="16" y="1155"/>
                  </a:lnTo>
                  <a:lnTo>
                    <a:pt x="19" y="1155"/>
                  </a:lnTo>
                  <a:lnTo>
                    <a:pt x="19" y="1153"/>
                  </a:lnTo>
                  <a:lnTo>
                    <a:pt x="19" y="1150"/>
                  </a:lnTo>
                  <a:lnTo>
                    <a:pt x="19" y="1148"/>
                  </a:lnTo>
                  <a:lnTo>
                    <a:pt x="21" y="1148"/>
                  </a:lnTo>
                  <a:lnTo>
                    <a:pt x="19" y="1148"/>
                  </a:lnTo>
                  <a:lnTo>
                    <a:pt x="21" y="1148"/>
                  </a:lnTo>
                  <a:lnTo>
                    <a:pt x="19" y="1148"/>
                  </a:lnTo>
                  <a:lnTo>
                    <a:pt x="16" y="1148"/>
                  </a:lnTo>
                  <a:lnTo>
                    <a:pt x="14" y="1148"/>
                  </a:lnTo>
                  <a:lnTo>
                    <a:pt x="14" y="1145"/>
                  </a:lnTo>
                  <a:lnTo>
                    <a:pt x="16" y="1145"/>
                  </a:lnTo>
                  <a:lnTo>
                    <a:pt x="14" y="1145"/>
                  </a:lnTo>
                  <a:lnTo>
                    <a:pt x="16" y="1145"/>
                  </a:lnTo>
                  <a:lnTo>
                    <a:pt x="14" y="1143"/>
                  </a:lnTo>
                  <a:lnTo>
                    <a:pt x="16" y="1143"/>
                  </a:lnTo>
                  <a:lnTo>
                    <a:pt x="19" y="1143"/>
                  </a:lnTo>
                  <a:lnTo>
                    <a:pt x="21" y="1143"/>
                  </a:lnTo>
                  <a:lnTo>
                    <a:pt x="23" y="1143"/>
                  </a:lnTo>
                  <a:lnTo>
                    <a:pt x="23" y="1145"/>
                  </a:lnTo>
                  <a:lnTo>
                    <a:pt x="26" y="1145"/>
                  </a:lnTo>
                  <a:lnTo>
                    <a:pt x="28" y="1145"/>
                  </a:lnTo>
                  <a:lnTo>
                    <a:pt x="28" y="1148"/>
                  </a:lnTo>
                  <a:lnTo>
                    <a:pt x="31" y="1148"/>
                  </a:lnTo>
                  <a:lnTo>
                    <a:pt x="31" y="1145"/>
                  </a:lnTo>
                  <a:lnTo>
                    <a:pt x="31" y="1143"/>
                  </a:lnTo>
                  <a:lnTo>
                    <a:pt x="33" y="1143"/>
                  </a:lnTo>
                  <a:lnTo>
                    <a:pt x="35" y="1143"/>
                  </a:lnTo>
                  <a:lnTo>
                    <a:pt x="33" y="1143"/>
                  </a:lnTo>
                  <a:lnTo>
                    <a:pt x="35" y="1143"/>
                  </a:lnTo>
                  <a:lnTo>
                    <a:pt x="35" y="1141"/>
                  </a:lnTo>
                  <a:lnTo>
                    <a:pt x="35" y="1143"/>
                  </a:lnTo>
                  <a:lnTo>
                    <a:pt x="35" y="1141"/>
                  </a:lnTo>
                  <a:lnTo>
                    <a:pt x="38" y="1141"/>
                  </a:lnTo>
                  <a:lnTo>
                    <a:pt x="38" y="1143"/>
                  </a:lnTo>
                  <a:lnTo>
                    <a:pt x="38" y="1141"/>
                  </a:lnTo>
                  <a:lnTo>
                    <a:pt x="40" y="1141"/>
                  </a:lnTo>
                  <a:lnTo>
                    <a:pt x="40" y="1143"/>
                  </a:lnTo>
                  <a:lnTo>
                    <a:pt x="40" y="1145"/>
                  </a:lnTo>
                  <a:lnTo>
                    <a:pt x="40" y="1143"/>
                  </a:lnTo>
                  <a:lnTo>
                    <a:pt x="42" y="1143"/>
                  </a:lnTo>
                  <a:lnTo>
                    <a:pt x="42" y="1141"/>
                  </a:lnTo>
                  <a:lnTo>
                    <a:pt x="42" y="1143"/>
                  </a:lnTo>
                  <a:lnTo>
                    <a:pt x="42" y="1141"/>
                  </a:lnTo>
                  <a:lnTo>
                    <a:pt x="45" y="1141"/>
                  </a:lnTo>
                  <a:lnTo>
                    <a:pt x="47" y="1141"/>
                  </a:lnTo>
                  <a:lnTo>
                    <a:pt x="50" y="1141"/>
                  </a:lnTo>
                  <a:lnTo>
                    <a:pt x="52" y="1141"/>
                  </a:lnTo>
                  <a:lnTo>
                    <a:pt x="54" y="1141"/>
                  </a:lnTo>
                  <a:lnTo>
                    <a:pt x="57" y="1141"/>
                  </a:lnTo>
                  <a:lnTo>
                    <a:pt x="57" y="1143"/>
                  </a:lnTo>
                  <a:lnTo>
                    <a:pt x="57" y="1145"/>
                  </a:lnTo>
                  <a:lnTo>
                    <a:pt x="59" y="1143"/>
                  </a:lnTo>
                  <a:lnTo>
                    <a:pt x="61" y="1143"/>
                  </a:lnTo>
                  <a:lnTo>
                    <a:pt x="59" y="1145"/>
                  </a:lnTo>
                  <a:lnTo>
                    <a:pt x="59" y="1148"/>
                  </a:lnTo>
                  <a:lnTo>
                    <a:pt x="59" y="1145"/>
                  </a:lnTo>
                  <a:lnTo>
                    <a:pt x="59" y="1148"/>
                  </a:lnTo>
                  <a:lnTo>
                    <a:pt x="61" y="1148"/>
                  </a:lnTo>
                  <a:lnTo>
                    <a:pt x="61" y="1145"/>
                  </a:lnTo>
                  <a:lnTo>
                    <a:pt x="59" y="1145"/>
                  </a:lnTo>
                  <a:lnTo>
                    <a:pt x="61" y="1145"/>
                  </a:lnTo>
                  <a:lnTo>
                    <a:pt x="61" y="1143"/>
                  </a:lnTo>
                  <a:lnTo>
                    <a:pt x="64" y="1143"/>
                  </a:lnTo>
                  <a:lnTo>
                    <a:pt x="64" y="1141"/>
                  </a:lnTo>
                  <a:lnTo>
                    <a:pt x="66" y="1141"/>
                  </a:lnTo>
                  <a:lnTo>
                    <a:pt x="66" y="1143"/>
                  </a:lnTo>
                  <a:lnTo>
                    <a:pt x="66" y="1141"/>
                  </a:lnTo>
                  <a:lnTo>
                    <a:pt x="66" y="1138"/>
                  </a:lnTo>
                  <a:lnTo>
                    <a:pt x="68" y="1138"/>
                  </a:lnTo>
                  <a:lnTo>
                    <a:pt x="71" y="1138"/>
                  </a:lnTo>
                  <a:lnTo>
                    <a:pt x="73" y="1138"/>
                  </a:lnTo>
                  <a:lnTo>
                    <a:pt x="76" y="1138"/>
                  </a:lnTo>
                  <a:lnTo>
                    <a:pt x="76" y="1141"/>
                  </a:lnTo>
                  <a:lnTo>
                    <a:pt x="76" y="1143"/>
                  </a:lnTo>
                  <a:lnTo>
                    <a:pt x="78" y="1143"/>
                  </a:lnTo>
                  <a:lnTo>
                    <a:pt x="80" y="1143"/>
                  </a:lnTo>
                  <a:lnTo>
                    <a:pt x="80" y="1145"/>
                  </a:lnTo>
                  <a:lnTo>
                    <a:pt x="80" y="1148"/>
                  </a:lnTo>
                  <a:lnTo>
                    <a:pt x="78" y="1148"/>
                  </a:lnTo>
                  <a:lnTo>
                    <a:pt x="78" y="1150"/>
                  </a:lnTo>
                  <a:lnTo>
                    <a:pt x="76" y="1150"/>
                  </a:lnTo>
                  <a:lnTo>
                    <a:pt x="76" y="1153"/>
                  </a:lnTo>
                  <a:lnTo>
                    <a:pt x="76" y="1150"/>
                  </a:lnTo>
                  <a:lnTo>
                    <a:pt x="78" y="1150"/>
                  </a:lnTo>
                  <a:lnTo>
                    <a:pt x="80" y="1150"/>
                  </a:lnTo>
                  <a:lnTo>
                    <a:pt x="80" y="1148"/>
                  </a:lnTo>
                  <a:lnTo>
                    <a:pt x="83" y="1148"/>
                  </a:lnTo>
                  <a:lnTo>
                    <a:pt x="83" y="1150"/>
                  </a:lnTo>
                  <a:lnTo>
                    <a:pt x="85" y="1150"/>
                  </a:lnTo>
                  <a:lnTo>
                    <a:pt x="85" y="1153"/>
                  </a:lnTo>
                  <a:lnTo>
                    <a:pt x="83" y="1155"/>
                  </a:lnTo>
                  <a:lnTo>
                    <a:pt x="85" y="1155"/>
                  </a:lnTo>
                  <a:lnTo>
                    <a:pt x="85" y="1153"/>
                  </a:lnTo>
                  <a:lnTo>
                    <a:pt x="85" y="1150"/>
                  </a:lnTo>
                  <a:lnTo>
                    <a:pt x="83" y="1150"/>
                  </a:lnTo>
                  <a:lnTo>
                    <a:pt x="83" y="1148"/>
                  </a:lnTo>
                  <a:lnTo>
                    <a:pt x="80" y="1145"/>
                  </a:lnTo>
                  <a:lnTo>
                    <a:pt x="83" y="1145"/>
                  </a:lnTo>
                  <a:lnTo>
                    <a:pt x="80" y="1145"/>
                  </a:lnTo>
                  <a:lnTo>
                    <a:pt x="80" y="1143"/>
                  </a:lnTo>
                  <a:lnTo>
                    <a:pt x="80" y="1141"/>
                  </a:lnTo>
                  <a:lnTo>
                    <a:pt x="83" y="1141"/>
                  </a:lnTo>
                  <a:lnTo>
                    <a:pt x="85" y="1141"/>
                  </a:lnTo>
                  <a:lnTo>
                    <a:pt x="87" y="1141"/>
                  </a:lnTo>
                  <a:lnTo>
                    <a:pt x="87" y="1138"/>
                  </a:lnTo>
                  <a:lnTo>
                    <a:pt x="90" y="1138"/>
                  </a:lnTo>
                  <a:lnTo>
                    <a:pt x="90" y="1141"/>
                  </a:lnTo>
                  <a:lnTo>
                    <a:pt x="92" y="1141"/>
                  </a:lnTo>
                  <a:lnTo>
                    <a:pt x="95" y="1141"/>
                  </a:lnTo>
                  <a:lnTo>
                    <a:pt x="92" y="1141"/>
                  </a:lnTo>
                  <a:lnTo>
                    <a:pt x="92" y="1138"/>
                  </a:lnTo>
                  <a:lnTo>
                    <a:pt x="95" y="1138"/>
                  </a:lnTo>
                  <a:lnTo>
                    <a:pt x="97" y="1136"/>
                  </a:lnTo>
                  <a:lnTo>
                    <a:pt x="99" y="1136"/>
                  </a:lnTo>
                  <a:lnTo>
                    <a:pt x="102" y="1136"/>
                  </a:lnTo>
                  <a:lnTo>
                    <a:pt x="104" y="1136"/>
                  </a:lnTo>
                  <a:lnTo>
                    <a:pt x="104" y="1134"/>
                  </a:lnTo>
                  <a:lnTo>
                    <a:pt x="102" y="1134"/>
                  </a:lnTo>
                  <a:lnTo>
                    <a:pt x="102" y="1136"/>
                  </a:lnTo>
                  <a:lnTo>
                    <a:pt x="99" y="1136"/>
                  </a:lnTo>
                  <a:lnTo>
                    <a:pt x="97" y="1136"/>
                  </a:lnTo>
                  <a:lnTo>
                    <a:pt x="95" y="1136"/>
                  </a:lnTo>
                  <a:lnTo>
                    <a:pt x="92" y="1136"/>
                  </a:lnTo>
                  <a:lnTo>
                    <a:pt x="92" y="1134"/>
                  </a:lnTo>
                  <a:lnTo>
                    <a:pt x="92" y="1131"/>
                  </a:lnTo>
                  <a:lnTo>
                    <a:pt x="90" y="1131"/>
                  </a:lnTo>
                  <a:lnTo>
                    <a:pt x="92" y="1131"/>
                  </a:lnTo>
                  <a:lnTo>
                    <a:pt x="92" y="1129"/>
                  </a:lnTo>
                  <a:lnTo>
                    <a:pt x="92" y="1126"/>
                  </a:lnTo>
                  <a:lnTo>
                    <a:pt x="95" y="1126"/>
                  </a:lnTo>
                  <a:lnTo>
                    <a:pt x="95" y="1124"/>
                  </a:lnTo>
                  <a:lnTo>
                    <a:pt x="97" y="1124"/>
                  </a:lnTo>
                  <a:lnTo>
                    <a:pt x="97" y="1122"/>
                  </a:lnTo>
                  <a:lnTo>
                    <a:pt x="99" y="1122"/>
                  </a:lnTo>
                  <a:lnTo>
                    <a:pt x="99" y="1119"/>
                  </a:lnTo>
                  <a:lnTo>
                    <a:pt x="99" y="1122"/>
                  </a:lnTo>
                  <a:lnTo>
                    <a:pt x="97" y="1122"/>
                  </a:lnTo>
                  <a:lnTo>
                    <a:pt x="95" y="1124"/>
                  </a:lnTo>
                  <a:lnTo>
                    <a:pt x="92" y="1126"/>
                  </a:lnTo>
                  <a:lnTo>
                    <a:pt x="90" y="1126"/>
                  </a:lnTo>
                  <a:lnTo>
                    <a:pt x="92" y="1129"/>
                  </a:lnTo>
                  <a:lnTo>
                    <a:pt x="90" y="1129"/>
                  </a:lnTo>
                  <a:lnTo>
                    <a:pt x="90" y="1131"/>
                  </a:lnTo>
                  <a:lnTo>
                    <a:pt x="87" y="1131"/>
                  </a:lnTo>
                  <a:lnTo>
                    <a:pt x="90" y="1131"/>
                  </a:lnTo>
                  <a:lnTo>
                    <a:pt x="90" y="1134"/>
                  </a:lnTo>
                  <a:lnTo>
                    <a:pt x="92" y="1136"/>
                  </a:lnTo>
                  <a:lnTo>
                    <a:pt x="92" y="1138"/>
                  </a:lnTo>
                  <a:lnTo>
                    <a:pt x="90" y="1138"/>
                  </a:lnTo>
                  <a:lnTo>
                    <a:pt x="87" y="1138"/>
                  </a:lnTo>
                  <a:lnTo>
                    <a:pt x="85" y="1138"/>
                  </a:lnTo>
                  <a:lnTo>
                    <a:pt x="83" y="1141"/>
                  </a:lnTo>
                  <a:lnTo>
                    <a:pt x="80" y="1141"/>
                  </a:lnTo>
                  <a:lnTo>
                    <a:pt x="78" y="1141"/>
                  </a:lnTo>
                  <a:lnTo>
                    <a:pt x="78" y="1138"/>
                  </a:lnTo>
                  <a:lnTo>
                    <a:pt x="80" y="1138"/>
                  </a:lnTo>
                  <a:lnTo>
                    <a:pt x="80" y="1136"/>
                  </a:lnTo>
                  <a:lnTo>
                    <a:pt x="83" y="1136"/>
                  </a:lnTo>
                  <a:lnTo>
                    <a:pt x="85" y="1136"/>
                  </a:lnTo>
                  <a:lnTo>
                    <a:pt x="83" y="1136"/>
                  </a:lnTo>
                  <a:lnTo>
                    <a:pt x="83" y="1134"/>
                  </a:lnTo>
                  <a:lnTo>
                    <a:pt x="85" y="1134"/>
                  </a:lnTo>
                  <a:lnTo>
                    <a:pt x="83" y="1134"/>
                  </a:lnTo>
                  <a:lnTo>
                    <a:pt x="83" y="1136"/>
                  </a:lnTo>
                  <a:lnTo>
                    <a:pt x="80" y="1136"/>
                  </a:lnTo>
                  <a:lnTo>
                    <a:pt x="80" y="1138"/>
                  </a:lnTo>
                  <a:lnTo>
                    <a:pt x="78" y="1138"/>
                  </a:lnTo>
                  <a:lnTo>
                    <a:pt x="76" y="1138"/>
                  </a:lnTo>
                  <a:lnTo>
                    <a:pt x="76" y="1136"/>
                  </a:lnTo>
                  <a:lnTo>
                    <a:pt x="73" y="1136"/>
                  </a:lnTo>
                  <a:lnTo>
                    <a:pt x="73" y="1138"/>
                  </a:lnTo>
                  <a:lnTo>
                    <a:pt x="71" y="1138"/>
                  </a:lnTo>
                  <a:lnTo>
                    <a:pt x="71" y="1136"/>
                  </a:lnTo>
                  <a:lnTo>
                    <a:pt x="68" y="1136"/>
                  </a:lnTo>
                  <a:lnTo>
                    <a:pt x="66" y="1136"/>
                  </a:lnTo>
                  <a:lnTo>
                    <a:pt x="66" y="1134"/>
                  </a:lnTo>
                  <a:lnTo>
                    <a:pt x="68" y="1134"/>
                  </a:lnTo>
                  <a:lnTo>
                    <a:pt x="68" y="1131"/>
                  </a:lnTo>
                  <a:lnTo>
                    <a:pt x="71" y="1129"/>
                  </a:lnTo>
                  <a:lnTo>
                    <a:pt x="71" y="1126"/>
                  </a:lnTo>
                  <a:lnTo>
                    <a:pt x="71" y="1124"/>
                  </a:lnTo>
                  <a:lnTo>
                    <a:pt x="71" y="1126"/>
                  </a:lnTo>
                  <a:lnTo>
                    <a:pt x="71" y="1129"/>
                  </a:lnTo>
                  <a:lnTo>
                    <a:pt x="68" y="1129"/>
                  </a:lnTo>
                  <a:lnTo>
                    <a:pt x="68" y="1131"/>
                  </a:lnTo>
                  <a:lnTo>
                    <a:pt x="66" y="1134"/>
                  </a:lnTo>
                  <a:lnTo>
                    <a:pt x="66" y="1131"/>
                  </a:lnTo>
                  <a:lnTo>
                    <a:pt x="64" y="1131"/>
                  </a:lnTo>
                  <a:lnTo>
                    <a:pt x="64" y="1134"/>
                  </a:lnTo>
                  <a:lnTo>
                    <a:pt x="64" y="1131"/>
                  </a:lnTo>
                  <a:lnTo>
                    <a:pt x="64" y="1134"/>
                  </a:lnTo>
                  <a:lnTo>
                    <a:pt x="66" y="1134"/>
                  </a:lnTo>
                  <a:lnTo>
                    <a:pt x="64" y="1134"/>
                  </a:lnTo>
                  <a:lnTo>
                    <a:pt x="64" y="1136"/>
                  </a:lnTo>
                  <a:lnTo>
                    <a:pt x="66" y="1136"/>
                  </a:lnTo>
                  <a:lnTo>
                    <a:pt x="64" y="1136"/>
                  </a:lnTo>
                  <a:lnTo>
                    <a:pt x="64" y="1138"/>
                  </a:lnTo>
                  <a:lnTo>
                    <a:pt x="64" y="1141"/>
                  </a:lnTo>
                  <a:lnTo>
                    <a:pt x="61" y="1141"/>
                  </a:lnTo>
                  <a:lnTo>
                    <a:pt x="59" y="1141"/>
                  </a:lnTo>
                  <a:lnTo>
                    <a:pt x="57" y="1141"/>
                  </a:lnTo>
                  <a:lnTo>
                    <a:pt x="54" y="1138"/>
                  </a:lnTo>
                  <a:lnTo>
                    <a:pt x="54" y="1136"/>
                  </a:lnTo>
                  <a:lnTo>
                    <a:pt x="54" y="1138"/>
                  </a:lnTo>
                  <a:lnTo>
                    <a:pt x="52" y="1138"/>
                  </a:lnTo>
                  <a:lnTo>
                    <a:pt x="50" y="1138"/>
                  </a:lnTo>
                  <a:lnTo>
                    <a:pt x="47" y="1138"/>
                  </a:lnTo>
                  <a:lnTo>
                    <a:pt x="50" y="1138"/>
                  </a:lnTo>
                  <a:lnTo>
                    <a:pt x="50" y="1136"/>
                  </a:lnTo>
                  <a:lnTo>
                    <a:pt x="47" y="1136"/>
                  </a:lnTo>
                  <a:lnTo>
                    <a:pt x="47" y="1138"/>
                  </a:lnTo>
                  <a:lnTo>
                    <a:pt x="45" y="1138"/>
                  </a:lnTo>
                  <a:lnTo>
                    <a:pt x="42" y="1138"/>
                  </a:lnTo>
                  <a:lnTo>
                    <a:pt x="40" y="1138"/>
                  </a:lnTo>
                  <a:lnTo>
                    <a:pt x="40" y="1136"/>
                  </a:lnTo>
                  <a:lnTo>
                    <a:pt x="40" y="1138"/>
                  </a:lnTo>
                  <a:lnTo>
                    <a:pt x="38" y="1138"/>
                  </a:lnTo>
                  <a:lnTo>
                    <a:pt x="38" y="1141"/>
                  </a:lnTo>
                  <a:lnTo>
                    <a:pt x="35" y="1138"/>
                  </a:lnTo>
                  <a:lnTo>
                    <a:pt x="35" y="1141"/>
                  </a:lnTo>
                  <a:lnTo>
                    <a:pt x="35" y="1138"/>
                  </a:lnTo>
                  <a:lnTo>
                    <a:pt x="33" y="1138"/>
                  </a:lnTo>
                  <a:lnTo>
                    <a:pt x="33" y="1141"/>
                  </a:lnTo>
                  <a:lnTo>
                    <a:pt x="31" y="1141"/>
                  </a:lnTo>
                  <a:lnTo>
                    <a:pt x="31" y="1143"/>
                  </a:lnTo>
                  <a:lnTo>
                    <a:pt x="28" y="1143"/>
                  </a:lnTo>
                  <a:lnTo>
                    <a:pt x="26" y="1143"/>
                  </a:lnTo>
                  <a:lnTo>
                    <a:pt x="26" y="1141"/>
                  </a:lnTo>
                  <a:lnTo>
                    <a:pt x="23" y="1141"/>
                  </a:lnTo>
                  <a:lnTo>
                    <a:pt x="21" y="1141"/>
                  </a:lnTo>
                  <a:lnTo>
                    <a:pt x="23" y="1141"/>
                  </a:lnTo>
                  <a:lnTo>
                    <a:pt x="21" y="1141"/>
                  </a:lnTo>
                  <a:lnTo>
                    <a:pt x="21" y="1138"/>
                  </a:lnTo>
                  <a:lnTo>
                    <a:pt x="21" y="1141"/>
                  </a:lnTo>
                  <a:lnTo>
                    <a:pt x="19" y="1141"/>
                  </a:lnTo>
                  <a:lnTo>
                    <a:pt x="19" y="1138"/>
                  </a:lnTo>
                  <a:lnTo>
                    <a:pt x="16" y="1138"/>
                  </a:lnTo>
                  <a:lnTo>
                    <a:pt x="16" y="1136"/>
                  </a:lnTo>
                  <a:lnTo>
                    <a:pt x="19" y="1136"/>
                  </a:lnTo>
                  <a:lnTo>
                    <a:pt x="21" y="1136"/>
                  </a:lnTo>
                  <a:lnTo>
                    <a:pt x="21" y="1138"/>
                  </a:lnTo>
                  <a:lnTo>
                    <a:pt x="23" y="1138"/>
                  </a:lnTo>
                  <a:lnTo>
                    <a:pt x="21" y="1136"/>
                  </a:lnTo>
                  <a:lnTo>
                    <a:pt x="23" y="1136"/>
                  </a:lnTo>
                  <a:lnTo>
                    <a:pt x="21" y="1136"/>
                  </a:lnTo>
                  <a:lnTo>
                    <a:pt x="23" y="1136"/>
                  </a:lnTo>
                  <a:lnTo>
                    <a:pt x="23" y="1138"/>
                  </a:lnTo>
                  <a:lnTo>
                    <a:pt x="23" y="1136"/>
                  </a:lnTo>
                  <a:lnTo>
                    <a:pt x="21" y="1136"/>
                  </a:lnTo>
                  <a:lnTo>
                    <a:pt x="19" y="1136"/>
                  </a:lnTo>
                  <a:lnTo>
                    <a:pt x="16" y="1136"/>
                  </a:lnTo>
                  <a:lnTo>
                    <a:pt x="14" y="1136"/>
                  </a:lnTo>
                  <a:lnTo>
                    <a:pt x="14" y="1134"/>
                  </a:lnTo>
                  <a:lnTo>
                    <a:pt x="16" y="1134"/>
                  </a:lnTo>
                  <a:lnTo>
                    <a:pt x="14" y="1134"/>
                  </a:lnTo>
                  <a:lnTo>
                    <a:pt x="14" y="1131"/>
                  </a:lnTo>
                  <a:lnTo>
                    <a:pt x="14" y="1134"/>
                  </a:lnTo>
                  <a:lnTo>
                    <a:pt x="12" y="1134"/>
                  </a:lnTo>
                  <a:lnTo>
                    <a:pt x="14" y="1134"/>
                  </a:lnTo>
                  <a:lnTo>
                    <a:pt x="14" y="1131"/>
                  </a:lnTo>
                  <a:lnTo>
                    <a:pt x="16" y="1131"/>
                  </a:lnTo>
                  <a:lnTo>
                    <a:pt x="14" y="1131"/>
                  </a:lnTo>
                  <a:lnTo>
                    <a:pt x="16" y="1131"/>
                  </a:lnTo>
                  <a:lnTo>
                    <a:pt x="19" y="1131"/>
                  </a:lnTo>
                  <a:lnTo>
                    <a:pt x="19" y="1129"/>
                  </a:lnTo>
                  <a:lnTo>
                    <a:pt x="19" y="1131"/>
                  </a:lnTo>
                  <a:lnTo>
                    <a:pt x="21" y="1131"/>
                  </a:lnTo>
                  <a:lnTo>
                    <a:pt x="21" y="1129"/>
                  </a:lnTo>
                  <a:lnTo>
                    <a:pt x="23" y="1129"/>
                  </a:lnTo>
                  <a:lnTo>
                    <a:pt x="26" y="1129"/>
                  </a:lnTo>
                  <a:lnTo>
                    <a:pt x="26" y="1131"/>
                  </a:lnTo>
                  <a:lnTo>
                    <a:pt x="26" y="1129"/>
                  </a:lnTo>
                  <a:lnTo>
                    <a:pt x="26" y="1131"/>
                  </a:lnTo>
                  <a:lnTo>
                    <a:pt x="26" y="1129"/>
                  </a:lnTo>
                  <a:lnTo>
                    <a:pt x="23" y="1129"/>
                  </a:lnTo>
                  <a:lnTo>
                    <a:pt x="26" y="1129"/>
                  </a:lnTo>
                  <a:lnTo>
                    <a:pt x="23" y="1129"/>
                  </a:lnTo>
                  <a:lnTo>
                    <a:pt x="26" y="1129"/>
                  </a:lnTo>
                  <a:lnTo>
                    <a:pt x="26" y="1126"/>
                  </a:lnTo>
                  <a:lnTo>
                    <a:pt x="28" y="1126"/>
                  </a:lnTo>
                  <a:lnTo>
                    <a:pt x="26" y="1126"/>
                  </a:lnTo>
                  <a:lnTo>
                    <a:pt x="28" y="1126"/>
                  </a:lnTo>
                  <a:lnTo>
                    <a:pt x="31" y="1126"/>
                  </a:lnTo>
                  <a:lnTo>
                    <a:pt x="33" y="1126"/>
                  </a:lnTo>
                  <a:lnTo>
                    <a:pt x="35" y="1126"/>
                  </a:lnTo>
                  <a:lnTo>
                    <a:pt x="35" y="1129"/>
                  </a:lnTo>
                  <a:lnTo>
                    <a:pt x="35" y="1126"/>
                  </a:lnTo>
                  <a:lnTo>
                    <a:pt x="33" y="1126"/>
                  </a:lnTo>
                  <a:lnTo>
                    <a:pt x="31" y="1126"/>
                  </a:lnTo>
                  <a:lnTo>
                    <a:pt x="28" y="1126"/>
                  </a:lnTo>
                  <a:lnTo>
                    <a:pt x="26" y="1126"/>
                  </a:lnTo>
                  <a:lnTo>
                    <a:pt x="23" y="1126"/>
                  </a:lnTo>
                  <a:lnTo>
                    <a:pt x="23" y="1129"/>
                  </a:lnTo>
                  <a:lnTo>
                    <a:pt x="23" y="1126"/>
                  </a:lnTo>
                  <a:lnTo>
                    <a:pt x="21" y="1129"/>
                  </a:lnTo>
                  <a:lnTo>
                    <a:pt x="21" y="1126"/>
                  </a:lnTo>
                  <a:lnTo>
                    <a:pt x="21" y="1129"/>
                  </a:lnTo>
                  <a:lnTo>
                    <a:pt x="19" y="1129"/>
                  </a:lnTo>
                  <a:lnTo>
                    <a:pt x="16" y="1129"/>
                  </a:lnTo>
                  <a:lnTo>
                    <a:pt x="14" y="1129"/>
                  </a:lnTo>
                  <a:lnTo>
                    <a:pt x="14" y="1126"/>
                  </a:lnTo>
                  <a:lnTo>
                    <a:pt x="16" y="1126"/>
                  </a:lnTo>
                  <a:lnTo>
                    <a:pt x="16" y="1124"/>
                  </a:lnTo>
                  <a:lnTo>
                    <a:pt x="19" y="1124"/>
                  </a:lnTo>
                  <a:lnTo>
                    <a:pt x="16" y="1124"/>
                  </a:lnTo>
                  <a:lnTo>
                    <a:pt x="14" y="1124"/>
                  </a:lnTo>
                  <a:lnTo>
                    <a:pt x="14" y="1126"/>
                  </a:lnTo>
                  <a:lnTo>
                    <a:pt x="14" y="1124"/>
                  </a:lnTo>
                  <a:lnTo>
                    <a:pt x="16" y="1124"/>
                  </a:lnTo>
                  <a:lnTo>
                    <a:pt x="16" y="1122"/>
                  </a:lnTo>
                  <a:lnTo>
                    <a:pt x="19" y="1122"/>
                  </a:lnTo>
                  <a:lnTo>
                    <a:pt x="21" y="1122"/>
                  </a:lnTo>
                  <a:lnTo>
                    <a:pt x="23" y="1122"/>
                  </a:lnTo>
                  <a:lnTo>
                    <a:pt x="26" y="1122"/>
                  </a:lnTo>
                  <a:lnTo>
                    <a:pt x="23" y="1122"/>
                  </a:lnTo>
                  <a:lnTo>
                    <a:pt x="26" y="1122"/>
                  </a:lnTo>
                  <a:lnTo>
                    <a:pt x="28" y="1122"/>
                  </a:lnTo>
                  <a:lnTo>
                    <a:pt x="28" y="1124"/>
                  </a:lnTo>
                  <a:lnTo>
                    <a:pt x="31" y="1124"/>
                  </a:lnTo>
                  <a:lnTo>
                    <a:pt x="33" y="1124"/>
                  </a:lnTo>
                  <a:lnTo>
                    <a:pt x="33" y="1122"/>
                  </a:lnTo>
                  <a:lnTo>
                    <a:pt x="35" y="1122"/>
                  </a:lnTo>
                  <a:lnTo>
                    <a:pt x="38" y="1122"/>
                  </a:lnTo>
                  <a:lnTo>
                    <a:pt x="35" y="1122"/>
                  </a:lnTo>
                  <a:lnTo>
                    <a:pt x="38" y="1122"/>
                  </a:lnTo>
                  <a:lnTo>
                    <a:pt x="38" y="1119"/>
                  </a:lnTo>
                  <a:lnTo>
                    <a:pt x="38" y="1122"/>
                  </a:lnTo>
                  <a:lnTo>
                    <a:pt x="40" y="1122"/>
                  </a:lnTo>
                  <a:lnTo>
                    <a:pt x="42" y="1122"/>
                  </a:lnTo>
                  <a:lnTo>
                    <a:pt x="40" y="1122"/>
                  </a:lnTo>
                  <a:lnTo>
                    <a:pt x="40" y="1119"/>
                  </a:lnTo>
                  <a:lnTo>
                    <a:pt x="38" y="1119"/>
                  </a:lnTo>
                  <a:lnTo>
                    <a:pt x="35" y="1119"/>
                  </a:lnTo>
                  <a:lnTo>
                    <a:pt x="35" y="1122"/>
                  </a:lnTo>
                  <a:lnTo>
                    <a:pt x="33" y="1122"/>
                  </a:lnTo>
                  <a:lnTo>
                    <a:pt x="31" y="1122"/>
                  </a:lnTo>
                  <a:lnTo>
                    <a:pt x="28" y="1122"/>
                  </a:lnTo>
                  <a:lnTo>
                    <a:pt x="31" y="1122"/>
                  </a:lnTo>
                  <a:lnTo>
                    <a:pt x="28" y="1122"/>
                  </a:lnTo>
                  <a:lnTo>
                    <a:pt x="31" y="1122"/>
                  </a:lnTo>
                  <a:lnTo>
                    <a:pt x="31" y="1119"/>
                  </a:lnTo>
                  <a:lnTo>
                    <a:pt x="28" y="1119"/>
                  </a:lnTo>
                  <a:lnTo>
                    <a:pt x="28" y="1122"/>
                  </a:lnTo>
                  <a:lnTo>
                    <a:pt x="26" y="1122"/>
                  </a:lnTo>
                  <a:lnTo>
                    <a:pt x="23" y="1122"/>
                  </a:lnTo>
                  <a:lnTo>
                    <a:pt x="23" y="1119"/>
                  </a:lnTo>
                  <a:lnTo>
                    <a:pt x="21" y="1119"/>
                  </a:lnTo>
                  <a:lnTo>
                    <a:pt x="19" y="1119"/>
                  </a:lnTo>
                  <a:lnTo>
                    <a:pt x="19" y="1117"/>
                  </a:lnTo>
                  <a:lnTo>
                    <a:pt x="19" y="1119"/>
                  </a:lnTo>
                  <a:lnTo>
                    <a:pt x="19" y="1117"/>
                  </a:lnTo>
                  <a:lnTo>
                    <a:pt x="21" y="1117"/>
                  </a:lnTo>
                  <a:lnTo>
                    <a:pt x="23" y="1117"/>
                  </a:lnTo>
                  <a:lnTo>
                    <a:pt x="26" y="1117"/>
                  </a:lnTo>
                  <a:lnTo>
                    <a:pt x="23" y="1117"/>
                  </a:lnTo>
                  <a:lnTo>
                    <a:pt x="21" y="1117"/>
                  </a:lnTo>
                  <a:lnTo>
                    <a:pt x="23" y="1117"/>
                  </a:lnTo>
                  <a:lnTo>
                    <a:pt x="21" y="1117"/>
                  </a:lnTo>
                  <a:lnTo>
                    <a:pt x="21" y="1115"/>
                  </a:lnTo>
                  <a:lnTo>
                    <a:pt x="19" y="1115"/>
                  </a:lnTo>
                  <a:lnTo>
                    <a:pt x="21" y="1115"/>
                  </a:lnTo>
                  <a:lnTo>
                    <a:pt x="19" y="1115"/>
                  </a:lnTo>
                  <a:lnTo>
                    <a:pt x="21" y="1115"/>
                  </a:lnTo>
                  <a:lnTo>
                    <a:pt x="23" y="1115"/>
                  </a:lnTo>
                  <a:lnTo>
                    <a:pt x="26" y="1115"/>
                  </a:lnTo>
                  <a:lnTo>
                    <a:pt x="26" y="1117"/>
                  </a:lnTo>
                  <a:lnTo>
                    <a:pt x="28" y="1117"/>
                  </a:lnTo>
                  <a:lnTo>
                    <a:pt x="28" y="1115"/>
                  </a:lnTo>
                  <a:lnTo>
                    <a:pt x="26" y="1115"/>
                  </a:lnTo>
                  <a:lnTo>
                    <a:pt x="23" y="1115"/>
                  </a:lnTo>
                  <a:lnTo>
                    <a:pt x="21" y="1115"/>
                  </a:lnTo>
                  <a:lnTo>
                    <a:pt x="19" y="1115"/>
                  </a:lnTo>
                  <a:lnTo>
                    <a:pt x="16" y="1115"/>
                  </a:lnTo>
                  <a:lnTo>
                    <a:pt x="14" y="1115"/>
                  </a:lnTo>
                  <a:lnTo>
                    <a:pt x="16" y="1115"/>
                  </a:lnTo>
                  <a:lnTo>
                    <a:pt x="14" y="1115"/>
                  </a:lnTo>
                  <a:lnTo>
                    <a:pt x="14" y="1117"/>
                  </a:lnTo>
                  <a:lnTo>
                    <a:pt x="14" y="1115"/>
                  </a:lnTo>
                  <a:lnTo>
                    <a:pt x="16" y="1115"/>
                  </a:lnTo>
                  <a:lnTo>
                    <a:pt x="19" y="1115"/>
                  </a:lnTo>
                  <a:lnTo>
                    <a:pt x="21" y="1115"/>
                  </a:lnTo>
                  <a:lnTo>
                    <a:pt x="23" y="1115"/>
                  </a:lnTo>
                  <a:lnTo>
                    <a:pt x="23" y="1112"/>
                  </a:lnTo>
                  <a:lnTo>
                    <a:pt x="26" y="1112"/>
                  </a:lnTo>
                  <a:lnTo>
                    <a:pt x="28" y="1112"/>
                  </a:lnTo>
                  <a:lnTo>
                    <a:pt x="26" y="1112"/>
                  </a:lnTo>
                  <a:lnTo>
                    <a:pt x="23" y="1112"/>
                  </a:lnTo>
                  <a:lnTo>
                    <a:pt x="26" y="1112"/>
                  </a:lnTo>
                  <a:lnTo>
                    <a:pt x="23" y="1112"/>
                  </a:lnTo>
                  <a:lnTo>
                    <a:pt x="21" y="1112"/>
                  </a:lnTo>
                  <a:lnTo>
                    <a:pt x="21" y="1115"/>
                  </a:lnTo>
                  <a:lnTo>
                    <a:pt x="21" y="1112"/>
                  </a:lnTo>
                  <a:lnTo>
                    <a:pt x="19" y="1112"/>
                  </a:lnTo>
                  <a:lnTo>
                    <a:pt x="16" y="1112"/>
                  </a:lnTo>
                  <a:lnTo>
                    <a:pt x="14" y="1112"/>
                  </a:lnTo>
                  <a:lnTo>
                    <a:pt x="14" y="1110"/>
                  </a:lnTo>
                  <a:lnTo>
                    <a:pt x="12" y="1110"/>
                  </a:lnTo>
                  <a:lnTo>
                    <a:pt x="14" y="1110"/>
                  </a:lnTo>
                  <a:lnTo>
                    <a:pt x="12" y="1110"/>
                  </a:lnTo>
                  <a:lnTo>
                    <a:pt x="12" y="1107"/>
                  </a:lnTo>
                  <a:lnTo>
                    <a:pt x="14" y="1107"/>
                  </a:lnTo>
                  <a:lnTo>
                    <a:pt x="14" y="1105"/>
                  </a:lnTo>
                  <a:lnTo>
                    <a:pt x="16" y="1105"/>
                  </a:lnTo>
                  <a:lnTo>
                    <a:pt x="16" y="1107"/>
                  </a:lnTo>
                  <a:lnTo>
                    <a:pt x="16" y="1110"/>
                  </a:lnTo>
                  <a:lnTo>
                    <a:pt x="19" y="1110"/>
                  </a:lnTo>
                  <a:lnTo>
                    <a:pt x="19" y="1107"/>
                  </a:lnTo>
                  <a:lnTo>
                    <a:pt x="19" y="1110"/>
                  </a:lnTo>
                  <a:lnTo>
                    <a:pt x="19" y="1107"/>
                  </a:lnTo>
                  <a:lnTo>
                    <a:pt x="21" y="1107"/>
                  </a:lnTo>
                  <a:lnTo>
                    <a:pt x="19" y="1107"/>
                  </a:lnTo>
                  <a:lnTo>
                    <a:pt x="19" y="1105"/>
                  </a:lnTo>
                  <a:lnTo>
                    <a:pt x="21" y="1105"/>
                  </a:lnTo>
                  <a:lnTo>
                    <a:pt x="23" y="1105"/>
                  </a:lnTo>
                  <a:lnTo>
                    <a:pt x="21" y="1105"/>
                  </a:lnTo>
                  <a:lnTo>
                    <a:pt x="19" y="1105"/>
                  </a:lnTo>
                  <a:lnTo>
                    <a:pt x="16" y="1105"/>
                  </a:lnTo>
                  <a:lnTo>
                    <a:pt x="19" y="1105"/>
                  </a:lnTo>
                  <a:lnTo>
                    <a:pt x="19" y="1103"/>
                  </a:lnTo>
                  <a:lnTo>
                    <a:pt x="21" y="1103"/>
                  </a:lnTo>
                  <a:lnTo>
                    <a:pt x="23" y="1103"/>
                  </a:lnTo>
                  <a:lnTo>
                    <a:pt x="23" y="1100"/>
                  </a:lnTo>
                  <a:lnTo>
                    <a:pt x="26" y="1100"/>
                  </a:lnTo>
                  <a:lnTo>
                    <a:pt x="23" y="1100"/>
                  </a:lnTo>
                  <a:lnTo>
                    <a:pt x="26" y="1100"/>
                  </a:lnTo>
                  <a:lnTo>
                    <a:pt x="23" y="1100"/>
                  </a:lnTo>
                  <a:lnTo>
                    <a:pt x="21" y="1100"/>
                  </a:lnTo>
                  <a:lnTo>
                    <a:pt x="23" y="1098"/>
                  </a:lnTo>
                  <a:lnTo>
                    <a:pt x="26" y="1098"/>
                  </a:lnTo>
                  <a:lnTo>
                    <a:pt x="26" y="1100"/>
                  </a:lnTo>
                  <a:lnTo>
                    <a:pt x="23" y="1100"/>
                  </a:lnTo>
                  <a:lnTo>
                    <a:pt x="26" y="1100"/>
                  </a:lnTo>
                  <a:lnTo>
                    <a:pt x="26" y="1098"/>
                  </a:lnTo>
                  <a:lnTo>
                    <a:pt x="28" y="1098"/>
                  </a:lnTo>
                  <a:lnTo>
                    <a:pt x="31" y="1098"/>
                  </a:lnTo>
                  <a:lnTo>
                    <a:pt x="33" y="1098"/>
                  </a:lnTo>
                  <a:lnTo>
                    <a:pt x="35" y="1098"/>
                  </a:lnTo>
                  <a:lnTo>
                    <a:pt x="38" y="1100"/>
                  </a:lnTo>
                  <a:lnTo>
                    <a:pt x="40" y="1100"/>
                  </a:lnTo>
                  <a:lnTo>
                    <a:pt x="38" y="1100"/>
                  </a:lnTo>
                  <a:lnTo>
                    <a:pt x="38" y="1103"/>
                  </a:lnTo>
                  <a:lnTo>
                    <a:pt x="35" y="1103"/>
                  </a:lnTo>
                  <a:lnTo>
                    <a:pt x="38" y="1103"/>
                  </a:lnTo>
                  <a:lnTo>
                    <a:pt x="40" y="1103"/>
                  </a:lnTo>
                  <a:lnTo>
                    <a:pt x="42" y="1100"/>
                  </a:lnTo>
                  <a:lnTo>
                    <a:pt x="45" y="1100"/>
                  </a:lnTo>
                  <a:lnTo>
                    <a:pt x="47" y="1100"/>
                  </a:lnTo>
                  <a:lnTo>
                    <a:pt x="47" y="1103"/>
                  </a:lnTo>
                  <a:lnTo>
                    <a:pt x="45" y="1103"/>
                  </a:lnTo>
                  <a:lnTo>
                    <a:pt x="45" y="1105"/>
                  </a:lnTo>
                  <a:lnTo>
                    <a:pt x="45" y="1107"/>
                  </a:lnTo>
                  <a:lnTo>
                    <a:pt x="45" y="1105"/>
                  </a:lnTo>
                  <a:lnTo>
                    <a:pt x="47" y="1105"/>
                  </a:lnTo>
                  <a:lnTo>
                    <a:pt x="47" y="1103"/>
                  </a:lnTo>
                  <a:lnTo>
                    <a:pt x="47" y="1100"/>
                  </a:lnTo>
                  <a:lnTo>
                    <a:pt x="47" y="1103"/>
                  </a:lnTo>
                  <a:lnTo>
                    <a:pt x="50" y="1103"/>
                  </a:lnTo>
                  <a:lnTo>
                    <a:pt x="50" y="1105"/>
                  </a:lnTo>
                  <a:lnTo>
                    <a:pt x="52" y="1105"/>
                  </a:lnTo>
                  <a:lnTo>
                    <a:pt x="54" y="1105"/>
                  </a:lnTo>
                  <a:lnTo>
                    <a:pt x="52" y="1105"/>
                  </a:lnTo>
                  <a:lnTo>
                    <a:pt x="52" y="1103"/>
                  </a:lnTo>
                  <a:lnTo>
                    <a:pt x="50" y="1103"/>
                  </a:lnTo>
                  <a:lnTo>
                    <a:pt x="50" y="1100"/>
                  </a:lnTo>
                  <a:lnTo>
                    <a:pt x="50" y="1103"/>
                  </a:lnTo>
                  <a:lnTo>
                    <a:pt x="52" y="1103"/>
                  </a:lnTo>
                  <a:lnTo>
                    <a:pt x="54" y="1103"/>
                  </a:lnTo>
                  <a:lnTo>
                    <a:pt x="54" y="1100"/>
                  </a:lnTo>
                  <a:lnTo>
                    <a:pt x="57" y="1100"/>
                  </a:lnTo>
                  <a:lnTo>
                    <a:pt x="57" y="1103"/>
                  </a:lnTo>
                  <a:lnTo>
                    <a:pt x="59" y="1103"/>
                  </a:lnTo>
                  <a:lnTo>
                    <a:pt x="61" y="1103"/>
                  </a:lnTo>
                  <a:lnTo>
                    <a:pt x="64" y="1103"/>
                  </a:lnTo>
                  <a:lnTo>
                    <a:pt x="66" y="1103"/>
                  </a:lnTo>
                  <a:lnTo>
                    <a:pt x="66" y="1100"/>
                  </a:lnTo>
                  <a:lnTo>
                    <a:pt x="68" y="1100"/>
                  </a:lnTo>
                  <a:lnTo>
                    <a:pt x="71" y="1100"/>
                  </a:lnTo>
                  <a:lnTo>
                    <a:pt x="73" y="1100"/>
                  </a:lnTo>
                  <a:lnTo>
                    <a:pt x="73" y="1103"/>
                  </a:lnTo>
                  <a:lnTo>
                    <a:pt x="73" y="1100"/>
                  </a:lnTo>
                  <a:lnTo>
                    <a:pt x="76" y="1100"/>
                  </a:lnTo>
                  <a:lnTo>
                    <a:pt x="73" y="1100"/>
                  </a:lnTo>
                  <a:lnTo>
                    <a:pt x="71" y="1100"/>
                  </a:lnTo>
                  <a:lnTo>
                    <a:pt x="71" y="1098"/>
                  </a:lnTo>
                  <a:lnTo>
                    <a:pt x="68" y="1098"/>
                  </a:lnTo>
                  <a:lnTo>
                    <a:pt x="68" y="1100"/>
                  </a:lnTo>
                  <a:lnTo>
                    <a:pt x="68" y="1098"/>
                  </a:lnTo>
                  <a:lnTo>
                    <a:pt x="66" y="1100"/>
                  </a:lnTo>
                  <a:lnTo>
                    <a:pt x="64" y="1100"/>
                  </a:lnTo>
                  <a:lnTo>
                    <a:pt x="64" y="1103"/>
                  </a:lnTo>
                  <a:lnTo>
                    <a:pt x="61" y="1103"/>
                  </a:lnTo>
                  <a:lnTo>
                    <a:pt x="59" y="1103"/>
                  </a:lnTo>
                  <a:lnTo>
                    <a:pt x="59" y="1100"/>
                  </a:lnTo>
                  <a:lnTo>
                    <a:pt x="57" y="1100"/>
                  </a:lnTo>
                  <a:lnTo>
                    <a:pt x="54" y="1100"/>
                  </a:lnTo>
                  <a:lnTo>
                    <a:pt x="52" y="1100"/>
                  </a:lnTo>
                  <a:lnTo>
                    <a:pt x="50" y="1100"/>
                  </a:lnTo>
                  <a:lnTo>
                    <a:pt x="47" y="1100"/>
                  </a:lnTo>
                  <a:lnTo>
                    <a:pt x="45" y="1100"/>
                  </a:lnTo>
                  <a:lnTo>
                    <a:pt x="42" y="1100"/>
                  </a:lnTo>
                  <a:lnTo>
                    <a:pt x="40" y="1100"/>
                  </a:lnTo>
                  <a:lnTo>
                    <a:pt x="38" y="1100"/>
                  </a:lnTo>
                  <a:lnTo>
                    <a:pt x="38" y="1098"/>
                  </a:lnTo>
                  <a:lnTo>
                    <a:pt x="40" y="1098"/>
                  </a:lnTo>
                  <a:lnTo>
                    <a:pt x="42" y="1098"/>
                  </a:lnTo>
                  <a:lnTo>
                    <a:pt x="45" y="1098"/>
                  </a:lnTo>
                  <a:lnTo>
                    <a:pt x="47" y="1098"/>
                  </a:lnTo>
                  <a:lnTo>
                    <a:pt x="45" y="1098"/>
                  </a:lnTo>
                  <a:lnTo>
                    <a:pt x="42" y="1098"/>
                  </a:lnTo>
                  <a:lnTo>
                    <a:pt x="40" y="1098"/>
                  </a:lnTo>
                  <a:lnTo>
                    <a:pt x="38" y="1098"/>
                  </a:lnTo>
                  <a:lnTo>
                    <a:pt x="35" y="1098"/>
                  </a:lnTo>
                  <a:lnTo>
                    <a:pt x="33" y="1098"/>
                  </a:lnTo>
                  <a:lnTo>
                    <a:pt x="31" y="1098"/>
                  </a:lnTo>
                  <a:lnTo>
                    <a:pt x="31" y="1096"/>
                  </a:lnTo>
                  <a:lnTo>
                    <a:pt x="31" y="1098"/>
                  </a:lnTo>
                  <a:lnTo>
                    <a:pt x="28" y="1098"/>
                  </a:lnTo>
                  <a:lnTo>
                    <a:pt x="28" y="1096"/>
                  </a:lnTo>
                  <a:lnTo>
                    <a:pt x="26" y="1098"/>
                  </a:lnTo>
                  <a:lnTo>
                    <a:pt x="23" y="1098"/>
                  </a:lnTo>
                  <a:lnTo>
                    <a:pt x="21" y="1098"/>
                  </a:lnTo>
                  <a:lnTo>
                    <a:pt x="19" y="1098"/>
                  </a:lnTo>
                  <a:lnTo>
                    <a:pt x="19" y="1096"/>
                  </a:lnTo>
                  <a:lnTo>
                    <a:pt x="19" y="1093"/>
                  </a:lnTo>
                  <a:lnTo>
                    <a:pt x="21" y="1093"/>
                  </a:lnTo>
                  <a:lnTo>
                    <a:pt x="21" y="1096"/>
                  </a:lnTo>
                  <a:lnTo>
                    <a:pt x="21" y="1093"/>
                  </a:lnTo>
                  <a:lnTo>
                    <a:pt x="21" y="1096"/>
                  </a:lnTo>
                  <a:lnTo>
                    <a:pt x="21" y="1093"/>
                  </a:lnTo>
                  <a:lnTo>
                    <a:pt x="21" y="1096"/>
                  </a:lnTo>
                  <a:lnTo>
                    <a:pt x="23" y="1096"/>
                  </a:lnTo>
                  <a:lnTo>
                    <a:pt x="23" y="1093"/>
                  </a:lnTo>
                  <a:lnTo>
                    <a:pt x="21" y="1093"/>
                  </a:lnTo>
                  <a:lnTo>
                    <a:pt x="23" y="1093"/>
                  </a:lnTo>
                  <a:lnTo>
                    <a:pt x="26" y="1093"/>
                  </a:lnTo>
                  <a:lnTo>
                    <a:pt x="23" y="1093"/>
                  </a:lnTo>
                  <a:lnTo>
                    <a:pt x="26" y="1093"/>
                  </a:lnTo>
                  <a:lnTo>
                    <a:pt x="26" y="1091"/>
                  </a:lnTo>
                  <a:lnTo>
                    <a:pt x="26" y="1093"/>
                  </a:lnTo>
                  <a:lnTo>
                    <a:pt x="28" y="1093"/>
                  </a:lnTo>
                  <a:lnTo>
                    <a:pt x="28" y="1091"/>
                  </a:lnTo>
                  <a:lnTo>
                    <a:pt x="26" y="1091"/>
                  </a:lnTo>
                  <a:lnTo>
                    <a:pt x="23" y="1088"/>
                  </a:lnTo>
                  <a:lnTo>
                    <a:pt x="21" y="1088"/>
                  </a:lnTo>
                  <a:lnTo>
                    <a:pt x="19" y="1088"/>
                  </a:lnTo>
                  <a:lnTo>
                    <a:pt x="16" y="1088"/>
                  </a:lnTo>
                  <a:lnTo>
                    <a:pt x="19" y="1088"/>
                  </a:lnTo>
                  <a:lnTo>
                    <a:pt x="19" y="1086"/>
                  </a:lnTo>
                  <a:lnTo>
                    <a:pt x="16" y="1086"/>
                  </a:lnTo>
                  <a:lnTo>
                    <a:pt x="19" y="1086"/>
                  </a:lnTo>
                  <a:lnTo>
                    <a:pt x="16" y="1084"/>
                  </a:lnTo>
                  <a:lnTo>
                    <a:pt x="16" y="1086"/>
                  </a:lnTo>
                  <a:lnTo>
                    <a:pt x="16" y="1084"/>
                  </a:lnTo>
                  <a:lnTo>
                    <a:pt x="16" y="1081"/>
                  </a:lnTo>
                  <a:lnTo>
                    <a:pt x="19" y="1081"/>
                  </a:lnTo>
                  <a:lnTo>
                    <a:pt x="19" y="1084"/>
                  </a:lnTo>
                  <a:lnTo>
                    <a:pt x="19" y="1081"/>
                  </a:lnTo>
                  <a:lnTo>
                    <a:pt x="21" y="1084"/>
                  </a:lnTo>
                  <a:lnTo>
                    <a:pt x="21" y="1081"/>
                  </a:lnTo>
                  <a:lnTo>
                    <a:pt x="19" y="1081"/>
                  </a:lnTo>
                  <a:lnTo>
                    <a:pt x="21" y="1081"/>
                  </a:lnTo>
                  <a:lnTo>
                    <a:pt x="21" y="1084"/>
                  </a:lnTo>
                  <a:lnTo>
                    <a:pt x="23" y="1084"/>
                  </a:lnTo>
                  <a:lnTo>
                    <a:pt x="23" y="1086"/>
                  </a:lnTo>
                  <a:lnTo>
                    <a:pt x="26" y="1086"/>
                  </a:lnTo>
                  <a:lnTo>
                    <a:pt x="26" y="1088"/>
                  </a:lnTo>
                  <a:lnTo>
                    <a:pt x="28" y="1088"/>
                  </a:lnTo>
                  <a:lnTo>
                    <a:pt x="28" y="1091"/>
                  </a:lnTo>
                  <a:lnTo>
                    <a:pt x="31" y="1091"/>
                  </a:lnTo>
                  <a:lnTo>
                    <a:pt x="28" y="1091"/>
                  </a:lnTo>
                  <a:lnTo>
                    <a:pt x="31" y="1091"/>
                  </a:lnTo>
                  <a:lnTo>
                    <a:pt x="31" y="1093"/>
                  </a:lnTo>
                  <a:lnTo>
                    <a:pt x="28" y="1093"/>
                  </a:lnTo>
                  <a:lnTo>
                    <a:pt x="31" y="1093"/>
                  </a:lnTo>
                  <a:lnTo>
                    <a:pt x="31" y="1091"/>
                  </a:lnTo>
                  <a:lnTo>
                    <a:pt x="31" y="1088"/>
                  </a:lnTo>
                  <a:lnTo>
                    <a:pt x="33" y="1088"/>
                  </a:lnTo>
                  <a:lnTo>
                    <a:pt x="33" y="1091"/>
                  </a:lnTo>
                  <a:lnTo>
                    <a:pt x="35" y="1091"/>
                  </a:lnTo>
                  <a:lnTo>
                    <a:pt x="33" y="1091"/>
                  </a:lnTo>
                  <a:lnTo>
                    <a:pt x="35" y="1088"/>
                  </a:lnTo>
                  <a:lnTo>
                    <a:pt x="33" y="1088"/>
                  </a:lnTo>
                  <a:lnTo>
                    <a:pt x="31" y="1088"/>
                  </a:lnTo>
                  <a:lnTo>
                    <a:pt x="33" y="1088"/>
                  </a:lnTo>
                  <a:lnTo>
                    <a:pt x="31" y="1088"/>
                  </a:lnTo>
                  <a:lnTo>
                    <a:pt x="28" y="1088"/>
                  </a:lnTo>
                  <a:lnTo>
                    <a:pt x="28" y="1086"/>
                  </a:lnTo>
                  <a:lnTo>
                    <a:pt x="26" y="1086"/>
                  </a:lnTo>
                  <a:lnTo>
                    <a:pt x="28" y="1086"/>
                  </a:lnTo>
                  <a:lnTo>
                    <a:pt x="28" y="1084"/>
                  </a:lnTo>
                  <a:lnTo>
                    <a:pt x="31" y="1084"/>
                  </a:lnTo>
                  <a:lnTo>
                    <a:pt x="31" y="1081"/>
                  </a:lnTo>
                  <a:lnTo>
                    <a:pt x="31" y="1084"/>
                  </a:lnTo>
                  <a:lnTo>
                    <a:pt x="33" y="1084"/>
                  </a:lnTo>
                  <a:lnTo>
                    <a:pt x="35" y="1084"/>
                  </a:lnTo>
                  <a:lnTo>
                    <a:pt x="35" y="1086"/>
                  </a:lnTo>
                  <a:lnTo>
                    <a:pt x="38" y="1088"/>
                  </a:lnTo>
                  <a:lnTo>
                    <a:pt x="38" y="1086"/>
                  </a:lnTo>
                  <a:lnTo>
                    <a:pt x="35" y="1084"/>
                  </a:lnTo>
                  <a:lnTo>
                    <a:pt x="38" y="1084"/>
                  </a:lnTo>
                  <a:lnTo>
                    <a:pt x="40" y="1084"/>
                  </a:lnTo>
                  <a:lnTo>
                    <a:pt x="40" y="1081"/>
                  </a:lnTo>
                  <a:lnTo>
                    <a:pt x="42" y="1081"/>
                  </a:lnTo>
                  <a:lnTo>
                    <a:pt x="45" y="1084"/>
                  </a:lnTo>
                  <a:lnTo>
                    <a:pt x="45" y="1086"/>
                  </a:lnTo>
                  <a:lnTo>
                    <a:pt x="45" y="1088"/>
                  </a:lnTo>
                  <a:lnTo>
                    <a:pt x="42" y="1088"/>
                  </a:lnTo>
                  <a:lnTo>
                    <a:pt x="42" y="1091"/>
                  </a:lnTo>
                  <a:lnTo>
                    <a:pt x="42" y="1093"/>
                  </a:lnTo>
                  <a:lnTo>
                    <a:pt x="42" y="1091"/>
                  </a:lnTo>
                  <a:lnTo>
                    <a:pt x="45" y="1091"/>
                  </a:lnTo>
                  <a:lnTo>
                    <a:pt x="45" y="1088"/>
                  </a:lnTo>
                  <a:lnTo>
                    <a:pt x="45" y="1086"/>
                  </a:lnTo>
                  <a:lnTo>
                    <a:pt x="47" y="1086"/>
                  </a:lnTo>
                  <a:lnTo>
                    <a:pt x="50" y="1088"/>
                  </a:lnTo>
                  <a:lnTo>
                    <a:pt x="50" y="1091"/>
                  </a:lnTo>
                  <a:lnTo>
                    <a:pt x="50" y="1088"/>
                  </a:lnTo>
                  <a:lnTo>
                    <a:pt x="52" y="1088"/>
                  </a:lnTo>
                  <a:lnTo>
                    <a:pt x="54" y="1088"/>
                  </a:lnTo>
                  <a:lnTo>
                    <a:pt x="57" y="1088"/>
                  </a:lnTo>
                  <a:lnTo>
                    <a:pt x="57" y="1091"/>
                  </a:lnTo>
                  <a:lnTo>
                    <a:pt x="57" y="1088"/>
                  </a:lnTo>
                  <a:lnTo>
                    <a:pt x="54" y="1088"/>
                  </a:lnTo>
                  <a:lnTo>
                    <a:pt x="52" y="1088"/>
                  </a:lnTo>
                  <a:lnTo>
                    <a:pt x="52" y="1086"/>
                  </a:lnTo>
                  <a:lnTo>
                    <a:pt x="50" y="1086"/>
                  </a:lnTo>
                  <a:lnTo>
                    <a:pt x="47" y="1084"/>
                  </a:lnTo>
                  <a:lnTo>
                    <a:pt x="45" y="1081"/>
                  </a:lnTo>
                  <a:lnTo>
                    <a:pt x="47" y="1081"/>
                  </a:lnTo>
                  <a:lnTo>
                    <a:pt x="50" y="1081"/>
                  </a:lnTo>
                  <a:lnTo>
                    <a:pt x="50" y="1084"/>
                  </a:lnTo>
                  <a:lnTo>
                    <a:pt x="52" y="1081"/>
                  </a:lnTo>
                  <a:lnTo>
                    <a:pt x="50" y="1081"/>
                  </a:lnTo>
                  <a:lnTo>
                    <a:pt x="47" y="1081"/>
                  </a:lnTo>
                  <a:lnTo>
                    <a:pt x="47" y="1079"/>
                  </a:lnTo>
                  <a:lnTo>
                    <a:pt x="45" y="1079"/>
                  </a:lnTo>
                  <a:lnTo>
                    <a:pt x="47" y="1079"/>
                  </a:lnTo>
                  <a:lnTo>
                    <a:pt x="50" y="1077"/>
                  </a:lnTo>
                  <a:lnTo>
                    <a:pt x="52" y="1077"/>
                  </a:lnTo>
                  <a:lnTo>
                    <a:pt x="52" y="1074"/>
                  </a:lnTo>
                  <a:lnTo>
                    <a:pt x="54" y="1074"/>
                  </a:lnTo>
                  <a:lnTo>
                    <a:pt x="57" y="1074"/>
                  </a:lnTo>
                  <a:lnTo>
                    <a:pt x="57" y="1072"/>
                  </a:lnTo>
                  <a:lnTo>
                    <a:pt x="59" y="1072"/>
                  </a:lnTo>
                  <a:lnTo>
                    <a:pt x="59" y="1074"/>
                  </a:lnTo>
                  <a:lnTo>
                    <a:pt x="59" y="1077"/>
                  </a:lnTo>
                  <a:lnTo>
                    <a:pt x="61" y="1077"/>
                  </a:lnTo>
                  <a:lnTo>
                    <a:pt x="61" y="1079"/>
                  </a:lnTo>
                  <a:lnTo>
                    <a:pt x="61" y="1081"/>
                  </a:lnTo>
                  <a:lnTo>
                    <a:pt x="64" y="1081"/>
                  </a:lnTo>
                  <a:lnTo>
                    <a:pt x="61" y="1081"/>
                  </a:lnTo>
                  <a:lnTo>
                    <a:pt x="64" y="1081"/>
                  </a:lnTo>
                  <a:lnTo>
                    <a:pt x="64" y="1084"/>
                  </a:lnTo>
                  <a:lnTo>
                    <a:pt x="66" y="1084"/>
                  </a:lnTo>
                  <a:lnTo>
                    <a:pt x="66" y="1086"/>
                  </a:lnTo>
                  <a:lnTo>
                    <a:pt x="64" y="1086"/>
                  </a:lnTo>
                  <a:lnTo>
                    <a:pt x="64" y="1088"/>
                  </a:lnTo>
                  <a:lnTo>
                    <a:pt x="66" y="1086"/>
                  </a:lnTo>
                  <a:lnTo>
                    <a:pt x="66" y="1084"/>
                  </a:lnTo>
                  <a:lnTo>
                    <a:pt x="66" y="1081"/>
                  </a:lnTo>
                  <a:lnTo>
                    <a:pt x="68" y="1081"/>
                  </a:lnTo>
                  <a:lnTo>
                    <a:pt x="68" y="1084"/>
                  </a:lnTo>
                  <a:lnTo>
                    <a:pt x="68" y="1081"/>
                  </a:lnTo>
                  <a:lnTo>
                    <a:pt x="66" y="1081"/>
                  </a:lnTo>
                  <a:lnTo>
                    <a:pt x="64" y="1081"/>
                  </a:lnTo>
                  <a:lnTo>
                    <a:pt x="64" y="1079"/>
                  </a:lnTo>
                  <a:lnTo>
                    <a:pt x="61" y="1079"/>
                  </a:lnTo>
                  <a:lnTo>
                    <a:pt x="61" y="1077"/>
                  </a:lnTo>
                  <a:lnTo>
                    <a:pt x="61" y="1074"/>
                  </a:lnTo>
                  <a:lnTo>
                    <a:pt x="59" y="1074"/>
                  </a:lnTo>
                  <a:lnTo>
                    <a:pt x="61" y="1072"/>
                  </a:lnTo>
                  <a:lnTo>
                    <a:pt x="64" y="1072"/>
                  </a:lnTo>
                  <a:lnTo>
                    <a:pt x="66" y="1072"/>
                  </a:lnTo>
                  <a:lnTo>
                    <a:pt x="66" y="1074"/>
                  </a:lnTo>
                  <a:lnTo>
                    <a:pt x="66" y="1072"/>
                  </a:lnTo>
                  <a:lnTo>
                    <a:pt x="64" y="1072"/>
                  </a:lnTo>
                  <a:lnTo>
                    <a:pt x="66" y="1069"/>
                  </a:lnTo>
                  <a:lnTo>
                    <a:pt x="68" y="1069"/>
                  </a:lnTo>
                  <a:lnTo>
                    <a:pt x="71" y="1069"/>
                  </a:lnTo>
                  <a:lnTo>
                    <a:pt x="73" y="1069"/>
                  </a:lnTo>
                  <a:lnTo>
                    <a:pt x="76" y="1069"/>
                  </a:lnTo>
                  <a:lnTo>
                    <a:pt x="78" y="1072"/>
                  </a:lnTo>
                  <a:lnTo>
                    <a:pt x="76" y="1072"/>
                  </a:lnTo>
                  <a:lnTo>
                    <a:pt x="76" y="1074"/>
                  </a:lnTo>
                  <a:lnTo>
                    <a:pt x="78" y="1074"/>
                  </a:lnTo>
                  <a:lnTo>
                    <a:pt x="78" y="1077"/>
                  </a:lnTo>
                  <a:lnTo>
                    <a:pt x="80" y="1077"/>
                  </a:lnTo>
                  <a:lnTo>
                    <a:pt x="80" y="1079"/>
                  </a:lnTo>
                  <a:lnTo>
                    <a:pt x="80" y="1081"/>
                  </a:lnTo>
                  <a:lnTo>
                    <a:pt x="80" y="1084"/>
                  </a:lnTo>
                  <a:lnTo>
                    <a:pt x="78" y="1084"/>
                  </a:lnTo>
                  <a:lnTo>
                    <a:pt x="78" y="1086"/>
                  </a:lnTo>
                  <a:lnTo>
                    <a:pt x="76" y="1088"/>
                  </a:lnTo>
                  <a:lnTo>
                    <a:pt x="78" y="1088"/>
                  </a:lnTo>
                  <a:lnTo>
                    <a:pt x="80" y="1088"/>
                  </a:lnTo>
                  <a:lnTo>
                    <a:pt x="83" y="1088"/>
                  </a:lnTo>
                  <a:lnTo>
                    <a:pt x="83" y="1086"/>
                  </a:lnTo>
                  <a:lnTo>
                    <a:pt x="85" y="1086"/>
                  </a:lnTo>
                  <a:lnTo>
                    <a:pt x="85" y="1088"/>
                  </a:lnTo>
                  <a:lnTo>
                    <a:pt x="87" y="1088"/>
                  </a:lnTo>
                  <a:lnTo>
                    <a:pt x="85" y="1086"/>
                  </a:lnTo>
                  <a:lnTo>
                    <a:pt x="83" y="1086"/>
                  </a:lnTo>
                  <a:lnTo>
                    <a:pt x="83" y="1088"/>
                  </a:lnTo>
                  <a:lnTo>
                    <a:pt x="80" y="1088"/>
                  </a:lnTo>
                  <a:lnTo>
                    <a:pt x="80" y="1086"/>
                  </a:lnTo>
                  <a:lnTo>
                    <a:pt x="78" y="1086"/>
                  </a:lnTo>
                  <a:lnTo>
                    <a:pt x="80" y="1086"/>
                  </a:lnTo>
                  <a:lnTo>
                    <a:pt x="80" y="1084"/>
                  </a:lnTo>
                  <a:lnTo>
                    <a:pt x="80" y="1081"/>
                  </a:lnTo>
                  <a:lnTo>
                    <a:pt x="80" y="1079"/>
                  </a:lnTo>
                  <a:lnTo>
                    <a:pt x="83" y="1079"/>
                  </a:lnTo>
                  <a:lnTo>
                    <a:pt x="85" y="1079"/>
                  </a:lnTo>
                  <a:lnTo>
                    <a:pt x="87" y="1079"/>
                  </a:lnTo>
                  <a:lnTo>
                    <a:pt x="87" y="1077"/>
                  </a:lnTo>
                  <a:lnTo>
                    <a:pt x="90" y="1077"/>
                  </a:lnTo>
                  <a:lnTo>
                    <a:pt x="90" y="1079"/>
                  </a:lnTo>
                  <a:lnTo>
                    <a:pt x="90" y="1077"/>
                  </a:lnTo>
                  <a:lnTo>
                    <a:pt x="90" y="1079"/>
                  </a:lnTo>
                  <a:lnTo>
                    <a:pt x="92" y="1079"/>
                  </a:lnTo>
                  <a:lnTo>
                    <a:pt x="92" y="1081"/>
                  </a:lnTo>
                  <a:lnTo>
                    <a:pt x="95" y="1081"/>
                  </a:lnTo>
                  <a:lnTo>
                    <a:pt x="95" y="1079"/>
                  </a:lnTo>
                  <a:lnTo>
                    <a:pt x="92" y="1079"/>
                  </a:lnTo>
                  <a:lnTo>
                    <a:pt x="95" y="1079"/>
                  </a:lnTo>
                  <a:lnTo>
                    <a:pt x="92" y="1079"/>
                  </a:lnTo>
                  <a:lnTo>
                    <a:pt x="92" y="1077"/>
                  </a:lnTo>
                  <a:lnTo>
                    <a:pt x="90" y="1077"/>
                  </a:lnTo>
                  <a:lnTo>
                    <a:pt x="87" y="1077"/>
                  </a:lnTo>
                  <a:lnTo>
                    <a:pt x="85" y="1077"/>
                  </a:lnTo>
                  <a:lnTo>
                    <a:pt x="83" y="1077"/>
                  </a:lnTo>
                  <a:lnTo>
                    <a:pt x="80" y="1077"/>
                  </a:lnTo>
                  <a:lnTo>
                    <a:pt x="78" y="1077"/>
                  </a:lnTo>
                  <a:lnTo>
                    <a:pt x="78" y="1074"/>
                  </a:lnTo>
                  <a:lnTo>
                    <a:pt x="78" y="1072"/>
                  </a:lnTo>
                  <a:lnTo>
                    <a:pt x="80" y="1072"/>
                  </a:lnTo>
                  <a:lnTo>
                    <a:pt x="78" y="1072"/>
                  </a:lnTo>
                  <a:lnTo>
                    <a:pt x="78" y="1069"/>
                  </a:lnTo>
                  <a:lnTo>
                    <a:pt x="76" y="1069"/>
                  </a:lnTo>
                  <a:lnTo>
                    <a:pt x="76" y="1067"/>
                  </a:lnTo>
                  <a:lnTo>
                    <a:pt x="73" y="1067"/>
                  </a:lnTo>
                  <a:lnTo>
                    <a:pt x="71" y="1067"/>
                  </a:lnTo>
                  <a:lnTo>
                    <a:pt x="68" y="1067"/>
                  </a:lnTo>
                  <a:lnTo>
                    <a:pt x="66" y="1067"/>
                  </a:lnTo>
                  <a:lnTo>
                    <a:pt x="68" y="1067"/>
                  </a:lnTo>
                  <a:lnTo>
                    <a:pt x="66" y="1067"/>
                  </a:lnTo>
                  <a:lnTo>
                    <a:pt x="66" y="1069"/>
                  </a:lnTo>
                  <a:lnTo>
                    <a:pt x="64" y="1069"/>
                  </a:lnTo>
                  <a:lnTo>
                    <a:pt x="61" y="1069"/>
                  </a:lnTo>
                  <a:lnTo>
                    <a:pt x="59" y="1069"/>
                  </a:lnTo>
                  <a:lnTo>
                    <a:pt x="57" y="1069"/>
                  </a:lnTo>
                  <a:lnTo>
                    <a:pt x="57" y="1072"/>
                  </a:lnTo>
                  <a:lnTo>
                    <a:pt x="54" y="1072"/>
                  </a:lnTo>
                  <a:lnTo>
                    <a:pt x="52" y="1072"/>
                  </a:lnTo>
                  <a:lnTo>
                    <a:pt x="50" y="1072"/>
                  </a:lnTo>
                  <a:lnTo>
                    <a:pt x="50" y="1069"/>
                  </a:lnTo>
                  <a:lnTo>
                    <a:pt x="52" y="1069"/>
                  </a:lnTo>
                  <a:lnTo>
                    <a:pt x="54" y="1069"/>
                  </a:lnTo>
                  <a:lnTo>
                    <a:pt x="57" y="1069"/>
                  </a:lnTo>
                  <a:lnTo>
                    <a:pt x="59" y="1069"/>
                  </a:lnTo>
                  <a:lnTo>
                    <a:pt x="59" y="1067"/>
                  </a:lnTo>
                  <a:lnTo>
                    <a:pt x="57" y="1067"/>
                  </a:lnTo>
                  <a:lnTo>
                    <a:pt x="54" y="1069"/>
                  </a:lnTo>
                  <a:lnTo>
                    <a:pt x="54" y="1067"/>
                  </a:lnTo>
                  <a:lnTo>
                    <a:pt x="52" y="1067"/>
                  </a:lnTo>
                  <a:lnTo>
                    <a:pt x="50" y="1067"/>
                  </a:lnTo>
                  <a:lnTo>
                    <a:pt x="52" y="1067"/>
                  </a:lnTo>
                  <a:lnTo>
                    <a:pt x="50" y="1067"/>
                  </a:lnTo>
                  <a:lnTo>
                    <a:pt x="52" y="1067"/>
                  </a:lnTo>
                  <a:lnTo>
                    <a:pt x="50" y="1069"/>
                  </a:lnTo>
                  <a:lnTo>
                    <a:pt x="50" y="1067"/>
                  </a:lnTo>
                  <a:lnTo>
                    <a:pt x="52" y="1067"/>
                  </a:lnTo>
                  <a:lnTo>
                    <a:pt x="54" y="1067"/>
                  </a:lnTo>
                  <a:lnTo>
                    <a:pt x="57" y="1067"/>
                  </a:lnTo>
                  <a:lnTo>
                    <a:pt x="59" y="1067"/>
                  </a:lnTo>
                  <a:lnTo>
                    <a:pt x="61" y="1067"/>
                  </a:lnTo>
                  <a:lnTo>
                    <a:pt x="61" y="1065"/>
                  </a:lnTo>
                  <a:lnTo>
                    <a:pt x="64" y="1065"/>
                  </a:lnTo>
                  <a:lnTo>
                    <a:pt x="64" y="1067"/>
                  </a:lnTo>
                  <a:lnTo>
                    <a:pt x="64" y="1065"/>
                  </a:lnTo>
                  <a:lnTo>
                    <a:pt x="64" y="1067"/>
                  </a:lnTo>
                  <a:lnTo>
                    <a:pt x="66" y="1067"/>
                  </a:lnTo>
                  <a:lnTo>
                    <a:pt x="66" y="1065"/>
                  </a:lnTo>
                  <a:lnTo>
                    <a:pt x="66" y="1067"/>
                  </a:lnTo>
                  <a:lnTo>
                    <a:pt x="66" y="1065"/>
                  </a:lnTo>
                  <a:lnTo>
                    <a:pt x="68" y="1065"/>
                  </a:lnTo>
                  <a:lnTo>
                    <a:pt x="66" y="1065"/>
                  </a:lnTo>
                  <a:lnTo>
                    <a:pt x="64" y="1065"/>
                  </a:lnTo>
                  <a:lnTo>
                    <a:pt x="61" y="1065"/>
                  </a:lnTo>
                  <a:lnTo>
                    <a:pt x="64" y="1065"/>
                  </a:lnTo>
                  <a:lnTo>
                    <a:pt x="66" y="1065"/>
                  </a:lnTo>
                  <a:lnTo>
                    <a:pt x="64" y="1065"/>
                  </a:lnTo>
                  <a:lnTo>
                    <a:pt x="61" y="1065"/>
                  </a:lnTo>
                  <a:lnTo>
                    <a:pt x="59" y="1065"/>
                  </a:lnTo>
                  <a:lnTo>
                    <a:pt x="57" y="1065"/>
                  </a:lnTo>
                  <a:lnTo>
                    <a:pt x="54" y="1065"/>
                  </a:lnTo>
                  <a:lnTo>
                    <a:pt x="57" y="1065"/>
                  </a:lnTo>
                  <a:lnTo>
                    <a:pt x="57" y="1062"/>
                  </a:lnTo>
                  <a:lnTo>
                    <a:pt x="54" y="1062"/>
                  </a:lnTo>
                  <a:lnTo>
                    <a:pt x="57" y="1060"/>
                  </a:lnTo>
                  <a:lnTo>
                    <a:pt x="59" y="1060"/>
                  </a:lnTo>
                  <a:lnTo>
                    <a:pt x="61" y="1060"/>
                  </a:lnTo>
                  <a:lnTo>
                    <a:pt x="61" y="1062"/>
                  </a:lnTo>
                  <a:lnTo>
                    <a:pt x="61" y="1060"/>
                  </a:lnTo>
                  <a:lnTo>
                    <a:pt x="64" y="1060"/>
                  </a:lnTo>
                  <a:lnTo>
                    <a:pt x="66" y="1060"/>
                  </a:lnTo>
                  <a:lnTo>
                    <a:pt x="66" y="1062"/>
                  </a:lnTo>
                  <a:lnTo>
                    <a:pt x="68" y="1062"/>
                  </a:lnTo>
                  <a:lnTo>
                    <a:pt x="66" y="1062"/>
                  </a:lnTo>
                  <a:lnTo>
                    <a:pt x="68" y="1062"/>
                  </a:lnTo>
                  <a:lnTo>
                    <a:pt x="68" y="1060"/>
                  </a:lnTo>
                  <a:lnTo>
                    <a:pt x="66" y="1060"/>
                  </a:lnTo>
                  <a:lnTo>
                    <a:pt x="68" y="1060"/>
                  </a:lnTo>
                  <a:lnTo>
                    <a:pt x="68" y="1058"/>
                  </a:lnTo>
                  <a:lnTo>
                    <a:pt x="68" y="1060"/>
                  </a:lnTo>
                  <a:lnTo>
                    <a:pt x="68" y="1058"/>
                  </a:lnTo>
                  <a:lnTo>
                    <a:pt x="71" y="1058"/>
                  </a:lnTo>
                  <a:lnTo>
                    <a:pt x="73" y="1058"/>
                  </a:lnTo>
                  <a:lnTo>
                    <a:pt x="76" y="1060"/>
                  </a:lnTo>
                  <a:lnTo>
                    <a:pt x="78" y="1060"/>
                  </a:lnTo>
                  <a:lnTo>
                    <a:pt x="78" y="1062"/>
                  </a:lnTo>
                  <a:lnTo>
                    <a:pt x="78" y="1060"/>
                  </a:lnTo>
                  <a:lnTo>
                    <a:pt x="78" y="1058"/>
                  </a:lnTo>
                  <a:lnTo>
                    <a:pt x="76" y="1058"/>
                  </a:lnTo>
                  <a:lnTo>
                    <a:pt x="78" y="1058"/>
                  </a:lnTo>
                  <a:lnTo>
                    <a:pt x="76" y="1058"/>
                  </a:lnTo>
                  <a:lnTo>
                    <a:pt x="78" y="1058"/>
                  </a:lnTo>
                  <a:lnTo>
                    <a:pt x="80" y="1058"/>
                  </a:lnTo>
                  <a:lnTo>
                    <a:pt x="83" y="1058"/>
                  </a:lnTo>
                  <a:lnTo>
                    <a:pt x="83" y="1060"/>
                  </a:lnTo>
                  <a:lnTo>
                    <a:pt x="83" y="1062"/>
                  </a:lnTo>
                  <a:lnTo>
                    <a:pt x="85" y="1062"/>
                  </a:lnTo>
                  <a:lnTo>
                    <a:pt x="83" y="1062"/>
                  </a:lnTo>
                  <a:lnTo>
                    <a:pt x="83" y="1065"/>
                  </a:lnTo>
                  <a:lnTo>
                    <a:pt x="85" y="1065"/>
                  </a:lnTo>
                  <a:lnTo>
                    <a:pt x="85" y="1062"/>
                  </a:lnTo>
                  <a:lnTo>
                    <a:pt x="85" y="1060"/>
                  </a:lnTo>
                  <a:lnTo>
                    <a:pt x="85" y="1058"/>
                  </a:lnTo>
                  <a:lnTo>
                    <a:pt x="85" y="1060"/>
                  </a:lnTo>
                  <a:lnTo>
                    <a:pt x="87" y="1060"/>
                  </a:lnTo>
                  <a:lnTo>
                    <a:pt x="90" y="1060"/>
                  </a:lnTo>
                  <a:lnTo>
                    <a:pt x="92" y="1060"/>
                  </a:lnTo>
                  <a:lnTo>
                    <a:pt x="92" y="1062"/>
                  </a:lnTo>
                  <a:lnTo>
                    <a:pt x="95" y="1062"/>
                  </a:lnTo>
                  <a:lnTo>
                    <a:pt x="95" y="1065"/>
                  </a:lnTo>
                  <a:lnTo>
                    <a:pt x="95" y="1062"/>
                  </a:lnTo>
                  <a:lnTo>
                    <a:pt x="97" y="1065"/>
                  </a:lnTo>
                  <a:lnTo>
                    <a:pt x="97" y="1067"/>
                  </a:lnTo>
                  <a:lnTo>
                    <a:pt x="99" y="1067"/>
                  </a:lnTo>
                  <a:lnTo>
                    <a:pt x="99" y="1065"/>
                  </a:lnTo>
                  <a:lnTo>
                    <a:pt x="99" y="1062"/>
                  </a:lnTo>
                  <a:lnTo>
                    <a:pt x="102" y="1062"/>
                  </a:lnTo>
                  <a:lnTo>
                    <a:pt x="104" y="1062"/>
                  </a:lnTo>
                  <a:lnTo>
                    <a:pt x="102" y="1062"/>
                  </a:lnTo>
                  <a:lnTo>
                    <a:pt x="104" y="1062"/>
                  </a:lnTo>
                  <a:lnTo>
                    <a:pt x="106" y="1062"/>
                  </a:lnTo>
                  <a:lnTo>
                    <a:pt x="104" y="1062"/>
                  </a:lnTo>
                  <a:lnTo>
                    <a:pt x="102" y="1062"/>
                  </a:lnTo>
                  <a:lnTo>
                    <a:pt x="99" y="1062"/>
                  </a:lnTo>
                  <a:lnTo>
                    <a:pt x="97" y="1062"/>
                  </a:lnTo>
                  <a:lnTo>
                    <a:pt x="95" y="1062"/>
                  </a:lnTo>
                  <a:lnTo>
                    <a:pt x="95" y="1060"/>
                  </a:lnTo>
                  <a:lnTo>
                    <a:pt x="92" y="1060"/>
                  </a:lnTo>
                  <a:lnTo>
                    <a:pt x="92" y="1058"/>
                  </a:lnTo>
                  <a:lnTo>
                    <a:pt x="95" y="1058"/>
                  </a:lnTo>
                  <a:lnTo>
                    <a:pt x="97" y="1058"/>
                  </a:lnTo>
                  <a:lnTo>
                    <a:pt x="97" y="1060"/>
                  </a:lnTo>
                  <a:lnTo>
                    <a:pt x="97" y="1062"/>
                  </a:lnTo>
                  <a:lnTo>
                    <a:pt x="97" y="1060"/>
                  </a:lnTo>
                  <a:lnTo>
                    <a:pt x="97" y="1062"/>
                  </a:lnTo>
                  <a:lnTo>
                    <a:pt x="97" y="1060"/>
                  </a:lnTo>
                  <a:lnTo>
                    <a:pt x="97" y="1058"/>
                  </a:lnTo>
                  <a:lnTo>
                    <a:pt x="97" y="1055"/>
                  </a:lnTo>
                  <a:lnTo>
                    <a:pt x="99" y="1055"/>
                  </a:lnTo>
                  <a:lnTo>
                    <a:pt x="102" y="1055"/>
                  </a:lnTo>
                  <a:lnTo>
                    <a:pt x="104" y="1055"/>
                  </a:lnTo>
                  <a:lnTo>
                    <a:pt x="104" y="1053"/>
                  </a:lnTo>
                  <a:lnTo>
                    <a:pt x="106" y="1053"/>
                  </a:lnTo>
                  <a:lnTo>
                    <a:pt x="109" y="1053"/>
                  </a:lnTo>
                  <a:lnTo>
                    <a:pt x="111" y="1053"/>
                  </a:lnTo>
                  <a:lnTo>
                    <a:pt x="114" y="1053"/>
                  </a:lnTo>
                  <a:lnTo>
                    <a:pt x="116" y="1055"/>
                  </a:lnTo>
                  <a:lnTo>
                    <a:pt x="118" y="1055"/>
                  </a:lnTo>
                  <a:lnTo>
                    <a:pt x="116" y="1055"/>
                  </a:lnTo>
                  <a:lnTo>
                    <a:pt x="116" y="1053"/>
                  </a:lnTo>
                  <a:lnTo>
                    <a:pt x="114" y="1053"/>
                  </a:lnTo>
                  <a:lnTo>
                    <a:pt x="114" y="1050"/>
                  </a:lnTo>
                  <a:lnTo>
                    <a:pt x="116" y="1050"/>
                  </a:lnTo>
                  <a:lnTo>
                    <a:pt x="114" y="1050"/>
                  </a:lnTo>
                  <a:lnTo>
                    <a:pt x="111" y="1050"/>
                  </a:lnTo>
                  <a:lnTo>
                    <a:pt x="109" y="1050"/>
                  </a:lnTo>
                  <a:lnTo>
                    <a:pt x="106" y="1053"/>
                  </a:lnTo>
                  <a:lnTo>
                    <a:pt x="104" y="1053"/>
                  </a:lnTo>
                  <a:lnTo>
                    <a:pt x="102" y="1053"/>
                  </a:lnTo>
                  <a:lnTo>
                    <a:pt x="102" y="1055"/>
                  </a:lnTo>
                  <a:lnTo>
                    <a:pt x="99" y="1055"/>
                  </a:lnTo>
                  <a:lnTo>
                    <a:pt x="97" y="1055"/>
                  </a:lnTo>
                  <a:lnTo>
                    <a:pt x="95" y="1055"/>
                  </a:lnTo>
                  <a:lnTo>
                    <a:pt x="92" y="1055"/>
                  </a:lnTo>
                  <a:lnTo>
                    <a:pt x="95" y="1055"/>
                  </a:lnTo>
                  <a:lnTo>
                    <a:pt x="92" y="1055"/>
                  </a:lnTo>
                  <a:lnTo>
                    <a:pt x="95" y="1055"/>
                  </a:lnTo>
                  <a:lnTo>
                    <a:pt x="92" y="1055"/>
                  </a:lnTo>
                  <a:lnTo>
                    <a:pt x="92" y="1053"/>
                  </a:lnTo>
                  <a:lnTo>
                    <a:pt x="95" y="1053"/>
                  </a:lnTo>
                  <a:lnTo>
                    <a:pt x="92" y="1053"/>
                  </a:lnTo>
                  <a:lnTo>
                    <a:pt x="95" y="1053"/>
                  </a:lnTo>
                  <a:lnTo>
                    <a:pt x="92" y="1053"/>
                  </a:lnTo>
                  <a:lnTo>
                    <a:pt x="95" y="1053"/>
                  </a:lnTo>
                  <a:lnTo>
                    <a:pt x="95" y="1050"/>
                  </a:lnTo>
                  <a:lnTo>
                    <a:pt x="97" y="1050"/>
                  </a:lnTo>
                  <a:lnTo>
                    <a:pt x="99" y="1050"/>
                  </a:lnTo>
                  <a:lnTo>
                    <a:pt x="102" y="1050"/>
                  </a:lnTo>
                  <a:lnTo>
                    <a:pt x="104" y="1050"/>
                  </a:lnTo>
                  <a:lnTo>
                    <a:pt x="102" y="1050"/>
                  </a:lnTo>
                  <a:lnTo>
                    <a:pt x="99" y="1050"/>
                  </a:lnTo>
                  <a:lnTo>
                    <a:pt x="97" y="1050"/>
                  </a:lnTo>
                  <a:lnTo>
                    <a:pt x="95" y="1050"/>
                  </a:lnTo>
                  <a:lnTo>
                    <a:pt x="92" y="1053"/>
                  </a:lnTo>
                  <a:lnTo>
                    <a:pt x="90" y="1053"/>
                  </a:lnTo>
                  <a:lnTo>
                    <a:pt x="87" y="1053"/>
                  </a:lnTo>
                  <a:lnTo>
                    <a:pt x="85" y="1053"/>
                  </a:lnTo>
                  <a:lnTo>
                    <a:pt x="83" y="1053"/>
                  </a:lnTo>
                  <a:lnTo>
                    <a:pt x="80" y="1053"/>
                  </a:lnTo>
                  <a:lnTo>
                    <a:pt x="78" y="1053"/>
                  </a:lnTo>
                  <a:lnTo>
                    <a:pt x="80" y="1053"/>
                  </a:lnTo>
                  <a:lnTo>
                    <a:pt x="78" y="1053"/>
                  </a:lnTo>
                  <a:lnTo>
                    <a:pt x="80" y="1053"/>
                  </a:lnTo>
                  <a:lnTo>
                    <a:pt x="78" y="1053"/>
                  </a:lnTo>
                  <a:lnTo>
                    <a:pt x="80" y="1053"/>
                  </a:lnTo>
                  <a:lnTo>
                    <a:pt x="80" y="1050"/>
                  </a:lnTo>
                  <a:lnTo>
                    <a:pt x="78" y="1050"/>
                  </a:lnTo>
                  <a:lnTo>
                    <a:pt x="80" y="1050"/>
                  </a:lnTo>
                  <a:lnTo>
                    <a:pt x="78" y="1050"/>
                  </a:lnTo>
                  <a:lnTo>
                    <a:pt x="80" y="1050"/>
                  </a:lnTo>
                  <a:lnTo>
                    <a:pt x="78" y="1050"/>
                  </a:lnTo>
                  <a:lnTo>
                    <a:pt x="80" y="1050"/>
                  </a:lnTo>
                  <a:lnTo>
                    <a:pt x="80" y="1048"/>
                  </a:lnTo>
                  <a:lnTo>
                    <a:pt x="83" y="1048"/>
                  </a:lnTo>
                  <a:lnTo>
                    <a:pt x="85" y="1048"/>
                  </a:lnTo>
                  <a:lnTo>
                    <a:pt x="85" y="1050"/>
                  </a:lnTo>
                  <a:lnTo>
                    <a:pt x="87" y="1050"/>
                  </a:lnTo>
                  <a:lnTo>
                    <a:pt x="87" y="1048"/>
                  </a:lnTo>
                  <a:lnTo>
                    <a:pt x="87" y="1050"/>
                  </a:lnTo>
                  <a:lnTo>
                    <a:pt x="87" y="1048"/>
                  </a:lnTo>
                  <a:lnTo>
                    <a:pt x="85" y="1048"/>
                  </a:lnTo>
                  <a:lnTo>
                    <a:pt x="87" y="1048"/>
                  </a:lnTo>
                  <a:lnTo>
                    <a:pt x="85" y="1048"/>
                  </a:lnTo>
                  <a:lnTo>
                    <a:pt x="85" y="1046"/>
                  </a:lnTo>
                  <a:lnTo>
                    <a:pt x="83" y="1048"/>
                  </a:lnTo>
                  <a:lnTo>
                    <a:pt x="80" y="1048"/>
                  </a:lnTo>
                  <a:lnTo>
                    <a:pt x="80" y="1046"/>
                  </a:lnTo>
                  <a:lnTo>
                    <a:pt x="80" y="1048"/>
                  </a:lnTo>
                  <a:lnTo>
                    <a:pt x="80" y="1046"/>
                  </a:lnTo>
                  <a:lnTo>
                    <a:pt x="78" y="1046"/>
                  </a:lnTo>
                  <a:lnTo>
                    <a:pt x="78" y="1043"/>
                  </a:lnTo>
                  <a:lnTo>
                    <a:pt x="78" y="1046"/>
                  </a:lnTo>
                  <a:lnTo>
                    <a:pt x="78" y="1043"/>
                  </a:lnTo>
                  <a:lnTo>
                    <a:pt x="76" y="1043"/>
                  </a:lnTo>
                  <a:lnTo>
                    <a:pt x="78" y="1043"/>
                  </a:lnTo>
                  <a:lnTo>
                    <a:pt x="76" y="1043"/>
                  </a:lnTo>
                  <a:lnTo>
                    <a:pt x="78" y="1043"/>
                  </a:lnTo>
                  <a:lnTo>
                    <a:pt x="78" y="1041"/>
                  </a:lnTo>
                  <a:lnTo>
                    <a:pt x="78" y="1043"/>
                  </a:lnTo>
                  <a:lnTo>
                    <a:pt x="78" y="1041"/>
                  </a:lnTo>
                  <a:lnTo>
                    <a:pt x="80" y="1041"/>
                  </a:lnTo>
                  <a:lnTo>
                    <a:pt x="78" y="1041"/>
                  </a:lnTo>
                  <a:lnTo>
                    <a:pt x="80" y="1041"/>
                  </a:lnTo>
                  <a:lnTo>
                    <a:pt x="83" y="1041"/>
                  </a:lnTo>
                  <a:lnTo>
                    <a:pt x="80" y="1041"/>
                  </a:lnTo>
                  <a:lnTo>
                    <a:pt x="83" y="1041"/>
                  </a:lnTo>
                  <a:lnTo>
                    <a:pt x="83" y="1039"/>
                  </a:lnTo>
                  <a:lnTo>
                    <a:pt x="85" y="1039"/>
                  </a:lnTo>
                  <a:lnTo>
                    <a:pt x="87" y="1039"/>
                  </a:lnTo>
                  <a:lnTo>
                    <a:pt x="90" y="1039"/>
                  </a:lnTo>
                  <a:lnTo>
                    <a:pt x="92" y="1039"/>
                  </a:lnTo>
                  <a:lnTo>
                    <a:pt x="90" y="1039"/>
                  </a:lnTo>
                  <a:lnTo>
                    <a:pt x="90" y="1041"/>
                  </a:lnTo>
                  <a:lnTo>
                    <a:pt x="92" y="1041"/>
                  </a:lnTo>
                  <a:lnTo>
                    <a:pt x="95" y="1041"/>
                  </a:lnTo>
                  <a:lnTo>
                    <a:pt x="95" y="1043"/>
                  </a:lnTo>
                  <a:lnTo>
                    <a:pt x="97" y="1043"/>
                  </a:lnTo>
                  <a:lnTo>
                    <a:pt x="99" y="1043"/>
                  </a:lnTo>
                  <a:lnTo>
                    <a:pt x="99" y="1041"/>
                  </a:lnTo>
                  <a:lnTo>
                    <a:pt x="102" y="1041"/>
                  </a:lnTo>
                  <a:lnTo>
                    <a:pt x="104" y="1041"/>
                  </a:lnTo>
                  <a:lnTo>
                    <a:pt x="106" y="1041"/>
                  </a:lnTo>
                  <a:lnTo>
                    <a:pt x="104" y="1041"/>
                  </a:lnTo>
                  <a:lnTo>
                    <a:pt x="104" y="1043"/>
                  </a:lnTo>
                  <a:lnTo>
                    <a:pt x="102" y="1043"/>
                  </a:lnTo>
                  <a:lnTo>
                    <a:pt x="104" y="1043"/>
                  </a:lnTo>
                  <a:lnTo>
                    <a:pt x="106" y="1041"/>
                  </a:lnTo>
                  <a:lnTo>
                    <a:pt x="109" y="1041"/>
                  </a:lnTo>
                  <a:lnTo>
                    <a:pt x="111" y="1041"/>
                  </a:lnTo>
                  <a:lnTo>
                    <a:pt x="114" y="1041"/>
                  </a:lnTo>
                  <a:lnTo>
                    <a:pt x="116" y="1041"/>
                  </a:lnTo>
                  <a:lnTo>
                    <a:pt x="116" y="1043"/>
                  </a:lnTo>
                  <a:lnTo>
                    <a:pt x="116" y="1046"/>
                  </a:lnTo>
                  <a:lnTo>
                    <a:pt x="116" y="1048"/>
                  </a:lnTo>
                  <a:lnTo>
                    <a:pt x="118" y="1048"/>
                  </a:lnTo>
                  <a:lnTo>
                    <a:pt x="118" y="1050"/>
                  </a:lnTo>
                  <a:lnTo>
                    <a:pt x="121" y="1050"/>
                  </a:lnTo>
                  <a:lnTo>
                    <a:pt x="123" y="1050"/>
                  </a:lnTo>
                  <a:lnTo>
                    <a:pt x="125" y="1050"/>
                  </a:lnTo>
                  <a:lnTo>
                    <a:pt x="125" y="1053"/>
                  </a:lnTo>
                  <a:lnTo>
                    <a:pt x="128" y="1053"/>
                  </a:lnTo>
                  <a:lnTo>
                    <a:pt x="130" y="1053"/>
                  </a:lnTo>
                  <a:lnTo>
                    <a:pt x="130" y="1055"/>
                  </a:lnTo>
                  <a:lnTo>
                    <a:pt x="130" y="1058"/>
                  </a:lnTo>
                  <a:lnTo>
                    <a:pt x="130" y="1055"/>
                  </a:lnTo>
                  <a:lnTo>
                    <a:pt x="130" y="1053"/>
                  </a:lnTo>
                  <a:lnTo>
                    <a:pt x="128" y="1053"/>
                  </a:lnTo>
                  <a:lnTo>
                    <a:pt x="128" y="1050"/>
                  </a:lnTo>
                  <a:lnTo>
                    <a:pt x="125" y="1050"/>
                  </a:lnTo>
                  <a:lnTo>
                    <a:pt x="123" y="1050"/>
                  </a:lnTo>
                  <a:lnTo>
                    <a:pt x="123" y="1048"/>
                  </a:lnTo>
                  <a:lnTo>
                    <a:pt x="121" y="1048"/>
                  </a:lnTo>
                  <a:lnTo>
                    <a:pt x="118" y="1048"/>
                  </a:lnTo>
                  <a:lnTo>
                    <a:pt x="118" y="1046"/>
                  </a:lnTo>
                  <a:lnTo>
                    <a:pt x="118" y="1043"/>
                  </a:lnTo>
                  <a:lnTo>
                    <a:pt x="118" y="1041"/>
                  </a:lnTo>
                  <a:lnTo>
                    <a:pt x="116" y="1041"/>
                  </a:lnTo>
                  <a:lnTo>
                    <a:pt x="114" y="1041"/>
                  </a:lnTo>
                  <a:lnTo>
                    <a:pt x="114" y="1039"/>
                  </a:lnTo>
                  <a:lnTo>
                    <a:pt x="111" y="1039"/>
                  </a:lnTo>
                  <a:lnTo>
                    <a:pt x="114" y="1039"/>
                  </a:lnTo>
                  <a:lnTo>
                    <a:pt x="114" y="1036"/>
                  </a:lnTo>
                  <a:lnTo>
                    <a:pt x="111" y="1036"/>
                  </a:lnTo>
                  <a:lnTo>
                    <a:pt x="111" y="1039"/>
                  </a:lnTo>
                  <a:lnTo>
                    <a:pt x="111" y="1036"/>
                  </a:lnTo>
                  <a:lnTo>
                    <a:pt x="114" y="1036"/>
                  </a:lnTo>
                  <a:lnTo>
                    <a:pt x="114" y="1039"/>
                  </a:lnTo>
                  <a:lnTo>
                    <a:pt x="111" y="1039"/>
                  </a:lnTo>
                  <a:lnTo>
                    <a:pt x="114" y="1039"/>
                  </a:lnTo>
                  <a:lnTo>
                    <a:pt x="111" y="1039"/>
                  </a:lnTo>
                  <a:lnTo>
                    <a:pt x="109" y="1039"/>
                  </a:lnTo>
                  <a:lnTo>
                    <a:pt x="109" y="1036"/>
                  </a:lnTo>
                  <a:lnTo>
                    <a:pt x="111" y="1036"/>
                  </a:lnTo>
                  <a:lnTo>
                    <a:pt x="111" y="1034"/>
                  </a:lnTo>
                  <a:lnTo>
                    <a:pt x="114" y="1034"/>
                  </a:lnTo>
                  <a:lnTo>
                    <a:pt x="116" y="1031"/>
                  </a:lnTo>
                  <a:lnTo>
                    <a:pt x="116" y="1034"/>
                  </a:lnTo>
                  <a:lnTo>
                    <a:pt x="118" y="1034"/>
                  </a:lnTo>
                  <a:lnTo>
                    <a:pt x="116" y="1034"/>
                  </a:lnTo>
                  <a:lnTo>
                    <a:pt x="118" y="1034"/>
                  </a:lnTo>
                  <a:lnTo>
                    <a:pt x="116" y="1036"/>
                  </a:lnTo>
                  <a:lnTo>
                    <a:pt x="118" y="1036"/>
                  </a:lnTo>
                  <a:lnTo>
                    <a:pt x="118" y="1039"/>
                  </a:lnTo>
                  <a:lnTo>
                    <a:pt x="121" y="1039"/>
                  </a:lnTo>
                  <a:lnTo>
                    <a:pt x="121" y="1041"/>
                  </a:lnTo>
                  <a:lnTo>
                    <a:pt x="121" y="1039"/>
                  </a:lnTo>
                  <a:lnTo>
                    <a:pt x="123" y="1039"/>
                  </a:lnTo>
                  <a:lnTo>
                    <a:pt x="123" y="1041"/>
                  </a:lnTo>
                  <a:lnTo>
                    <a:pt x="123" y="1043"/>
                  </a:lnTo>
                  <a:lnTo>
                    <a:pt x="123" y="1046"/>
                  </a:lnTo>
                  <a:lnTo>
                    <a:pt x="125" y="1046"/>
                  </a:lnTo>
                  <a:lnTo>
                    <a:pt x="128" y="1046"/>
                  </a:lnTo>
                  <a:lnTo>
                    <a:pt x="128" y="1048"/>
                  </a:lnTo>
                  <a:lnTo>
                    <a:pt x="130" y="1048"/>
                  </a:lnTo>
                  <a:lnTo>
                    <a:pt x="130" y="1046"/>
                  </a:lnTo>
                  <a:lnTo>
                    <a:pt x="128" y="1046"/>
                  </a:lnTo>
                  <a:lnTo>
                    <a:pt x="128" y="1043"/>
                  </a:lnTo>
                  <a:lnTo>
                    <a:pt x="125" y="1043"/>
                  </a:lnTo>
                  <a:lnTo>
                    <a:pt x="128" y="1046"/>
                  </a:lnTo>
                  <a:lnTo>
                    <a:pt x="130" y="1046"/>
                  </a:lnTo>
                  <a:lnTo>
                    <a:pt x="133" y="1046"/>
                  </a:lnTo>
                  <a:lnTo>
                    <a:pt x="133" y="1048"/>
                  </a:lnTo>
                  <a:lnTo>
                    <a:pt x="135" y="1048"/>
                  </a:lnTo>
                  <a:lnTo>
                    <a:pt x="133" y="1048"/>
                  </a:lnTo>
                  <a:lnTo>
                    <a:pt x="133" y="1046"/>
                  </a:lnTo>
                  <a:lnTo>
                    <a:pt x="130" y="1046"/>
                  </a:lnTo>
                  <a:lnTo>
                    <a:pt x="130" y="1043"/>
                  </a:lnTo>
                  <a:lnTo>
                    <a:pt x="128" y="1043"/>
                  </a:lnTo>
                  <a:lnTo>
                    <a:pt x="128" y="1041"/>
                  </a:lnTo>
                  <a:lnTo>
                    <a:pt x="125" y="1041"/>
                  </a:lnTo>
                  <a:lnTo>
                    <a:pt x="128" y="1041"/>
                  </a:lnTo>
                  <a:lnTo>
                    <a:pt x="130" y="1041"/>
                  </a:lnTo>
                  <a:lnTo>
                    <a:pt x="133" y="1041"/>
                  </a:lnTo>
                  <a:lnTo>
                    <a:pt x="135" y="1041"/>
                  </a:lnTo>
                  <a:lnTo>
                    <a:pt x="135" y="1039"/>
                  </a:lnTo>
                  <a:lnTo>
                    <a:pt x="133" y="1039"/>
                  </a:lnTo>
                  <a:lnTo>
                    <a:pt x="130" y="1039"/>
                  </a:lnTo>
                  <a:lnTo>
                    <a:pt x="130" y="1041"/>
                  </a:lnTo>
                  <a:lnTo>
                    <a:pt x="128" y="1041"/>
                  </a:lnTo>
                  <a:lnTo>
                    <a:pt x="128" y="1039"/>
                  </a:lnTo>
                  <a:lnTo>
                    <a:pt x="130" y="1039"/>
                  </a:lnTo>
                  <a:lnTo>
                    <a:pt x="133" y="1039"/>
                  </a:lnTo>
                  <a:lnTo>
                    <a:pt x="133" y="1036"/>
                  </a:lnTo>
                  <a:lnTo>
                    <a:pt x="133" y="1039"/>
                  </a:lnTo>
                  <a:lnTo>
                    <a:pt x="130" y="1039"/>
                  </a:lnTo>
                  <a:lnTo>
                    <a:pt x="128" y="1039"/>
                  </a:lnTo>
                  <a:lnTo>
                    <a:pt x="125" y="1041"/>
                  </a:lnTo>
                  <a:lnTo>
                    <a:pt x="123" y="1039"/>
                  </a:lnTo>
                  <a:lnTo>
                    <a:pt x="125" y="1039"/>
                  </a:lnTo>
                  <a:lnTo>
                    <a:pt x="128" y="1039"/>
                  </a:lnTo>
                  <a:lnTo>
                    <a:pt x="128" y="1036"/>
                  </a:lnTo>
                  <a:lnTo>
                    <a:pt x="128" y="1039"/>
                  </a:lnTo>
                  <a:lnTo>
                    <a:pt x="125" y="1039"/>
                  </a:lnTo>
                  <a:lnTo>
                    <a:pt x="123" y="1039"/>
                  </a:lnTo>
                  <a:lnTo>
                    <a:pt x="121" y="1039"/>
                  </a:lnTo>
                  <a:lnTo>
                    <a:pt x="121" y="1036"/>
                  </a:lnTo>
                  <a:lnTo>
                    <a:pt x="121" y="1034"/>
                  </a:lnTo>
                  <a:lnTo>
                    <a:pt x="118" y="1034"/>
                  </a:lnTo>
                  <a:lnTo>
                    <a:pt x="118" y="1031"/>
                  </a:lnTo>
                  <a:lnTo>
                    <a:pt x="121" y="1031"/>
                  </a:lnTo>
                  <a:lnTo>
                    <a:pt x="121" y="1034"/>
                  </a:lnTo>
                  <a:lnTo>
                    <a:pt x="123" y="1034"/>
                  </a:lnTo>
                  <a:lnTo>
                    <a:pt x="123" y="1031"/>
                  </a:lnTo>
                  <a:lnTo>
                    <a:pt x="121" y="1031"/>
                  </a:lnTo>
                  <a:lnTo>
                    <a:pt x="123" y="1031"/>
                  </a:lnTo>
                  <a:lnTo>
                    <a:pt x="125" y="1031"/>
                  </a:lnTo>
                  <a:lnTo>
                    <a:pt x="128" y="1031"/>
                  </a:lnTo>
                  <a:lnTo>
                    <a:pt x="130" y="1031"/>
                  </a:lnTo>
                  <a:lnTo>
                    <a:pt x="133" y="1031"/>
                  </a:lnTo>
                  <a:lnTo>
                    <a:pt x="133" y="1034"/>
                  </a:lnTo>
                  <a:lnTo>
                    <a:pt x="133" y="1031"/>
                  </a:lnTo>
                  <a:lnTo>
                    <a:pt x="130" y="1031"/>
                  </a:lnTo>
                  <a:lnTo>
                    <a:pt x="133" y="1031"/>
                  </a:lnTo>
                  <a:lnTo>
                    <a:pt x="130" y="1031"/>
                  </a:lnTo>
                  <a:lnTo>
                    <a:pt x="133" y="1031"/>
                  </a:lnTo>
                  <a:lnTo>
                    <a:pt x="130" y="1031"/>
                  </a:lnTo>
                  <a:lnTo>
                    <a:pt x="130" y="1029"/>
                  </a:lnTo>
                  <a:lnTo>
                    <a:pt x="133" y="1029"/>
                  </a:lnTo>
                  <a:lnTo>
                    <a:pt x="135" y="1029"/>
                  </a:lnTo>
                  <a:lnTo>
                    <a:pt x="137" y="1029"/>
                  </a:lnTo>
                  <a:lnTo>
                    <a:pt x="140" y="1029"/>
                  </a:lnTo>
                  <a:lnTo>
                    <a:pt x="140" y="1027"/>
                  </a:lnTo>
                  <a:lnTo>
                    <a:pt x="142" y="1027"/>
                  </a:lnTo>
                  <a:lnTo>
                    <a:pt x="142" y="1029"/>
                  </a:lnTo>
                  <a:lnTo>
                    <a:pt x="142" y="1027"/>
                  </a:lnTo>
                  <a:lnTo>
                    <a:pt x="144" y="1027"/>
                  </a:lnTo>
                  <a:lnTo>
                    <a:pt x="142" y="1027"/>
                  </a:lnTo>
                  <a:lnTo>
                    <a:pt x="140" y="1027"/>
                  </a:lnTo>
                  <a:lnTo>
                    <a:pt x="137" y="1029"/>
                  </a:lnTo>
                  <a:lnTo>
                    <a:pt x="135" y="1029"/>
                  </a:lnTo>
                  <a:lnTo>
                    <a:pt x="135" y="1027"/>
                  </a:lnTo>
                  <a:lnTo>
                    <a:pt x="135" y="1029"/>
                  </a:lnTo>
                  <a:lnTo>
                    <a:pt x="133" y="1029"/>
                  </a:lnTo>
                  <a:lnTo>
                    <a:pt x="133" y="1027"/>
                  </a:lnTo>
                  <a:lnTo>
                    <a:pt x="130" y="1024"/>
                  </a:lnTo>
                  <a:lnTo>
                    <a:pt x="128" y="1024"/>
                  </a:lnTo>
                  <a:lnTo>
                    <a:pt x="130" y="1024"/>
                  </a:lnTo>
                  <a:lnTo>
                    <a:pt x="128" y="1024"/>
                  </a:lnTo>
                  <a:lnTo>
                    <a:pt x="130" y="1022"/>
                  </a:lnTo>
                  <a:lnTo>
                    <a:pt x="133" y="1022"/>
                  </a:lnTo>
                  <a:lnTo>
                    <a:pt x="135" y="1022"/>
                  </a:lnTo>
                  <a:lnTo>
                    <a:pt x="135" y="1020"/>
                  </a:lnTo>
                  <a:lnTo>
                    <a:pt x="137" y="1020"/>
                  </a:lnTo>
                  <a:lnTo>
                    <a:pt x="140" y="1020"/>
                  </a:lnTo>
                  <a:lnTo>
                    <a:pt x="137" y="1020"/>
                  </a:lnTo>
                  <a:lnTo>
                    <a:pt x="135" y="1020"/>
                  </a:lnTo>
                  <a:lnTo>
                    <a:pt x="137" y="1020"/>
                  </a:lnTo>
                  <a:lnTo>
                    <a:pt x="135" y="1020"/>
                  </a:lnTo>
                  <a:lnTo>
                    <a:pt x="135" y="1017"/>
                  </a:lnTo>
                  <a:lnTo>
                    <a:pt x="135" y="1015"/>
                  </a:lnTo>
                  <a:lnTo>
                    <a:pt x="137" y="1015"/>
                  </a:lnTo>
                  <a:lnTo>
                    <a:pt x="140" y="1015"/>
                  </a:lnTo>
                  <a:lnTo>
                    <a:pt x="142" y="1015"/>
                  </a:lnTo>
                  <a:lnTo>
                    <a:pt x="142" y="1017"/>
                  </a:lnTo>
                  <a:lnTo>
                    <a:pt x="142" y="1015"/>
                  </a:lnTo>
                  <a:lnTo>
                    <a:pt x="142" y="1017"/>
                  </a:lnTo>
                  <a:lnTo>
                    <a:pt x="142" y="1015"/>
                  </a:lnTo>
                  <a:lnTo>
                    <a:pt x="142" y="1017"/>
                  </a:lnTo>
                  <a:lnTo>
                    <a:pt x="142" y="1015"/>
                  </a:lnTo>
                  <a:lnTo>
                    <a:pt x="144" y="1015"/>
                  </a:lnTo>
                  <a:lnTo>
                    <a:pt x="144" y="1017"/>
                  </a:lnTo>
                  <a:lnTo>
                    <a:pt x="147" y="1017"/>
                  </a:lnTo>
                  <a:lnTo>
                    <a:pt x="147" y="1015"/>
                  </a:lnTo>
                  <a:lnTo>
                    <a:pt x="144" y="1015"/>
                  </a:lnTo>
                  <a:lnTo>
                    <a:pt x="147" y="1015"/>
                  </a:lnTo>
                  <a:lnTo>
                    <a:pt x="144" y="1015"/>
                  </a:lnTo>
                  <a:lnTo>
                    <a:pt x="147" y="1015"/>
                  </a:lnTo>
                  <a:lnTo>
                    <a:pt x="144" y="1015"/>
                  </a:lnTo>
                  <a:lnTo>
                    <a:pt x="147" y="1015"/>
                  </a:lnTo>
                  <a:lnTo>
                    <a:pt x="144" y="1012"/>
                  </a:lnTo>
                  <a:lnTo>
                    <a:pt x="147" y="1012"/>
                  </a:lnTo>
                  <a:lnTo>
                    <a:pt x="147" y="1015"/>
                  </a:lnTo>
                  <a:lnTo>
                    <a:pt x="149" y="1015"/>
                  </a:lnTo>
                  <a:lnTo>
                    <a:pt x="149" y="1017"/>
                  </a:lnTo>
                  <a:lnTo>
                    <a:pt x="152" y="1017"/>
                  </a:lnTo>
                  <a:lnTo>
                    <a:pt x="152" y="1020"/>
                  </a:lnTo>
                  <a:lnTo>
                    <a:pt x="149" y="1020"/>
                  </a:lnTo>
                  <a:lnTo>
                    <a:pt x="149" y="1022"/>
                  </a:lnTo>
                  <a:lnTo>
                    <a:pt x="152" y="1022"/>
                  </a:lnTo>
                  <a:lnTo>
                    <a:pt x="152" y="1020"/>
                  </a:lnTo>
                  <a:lnTo>
                    <a:pt x="154" y="1020"/>
                  </a:lnTo>
                  <a:lnTo>
                    <a:pt x="156" y="1020"/>
                  </a:lnTo>
                  <a:lnTo>
                    <a:pt x="159" y="1020"/>
                  </a:lnTo>
                  <a:lnTo>
                    <a:pt x="159" y="1017"/>
                  </a:lnTo>
                  <a:lnTo>
                    <a:pt x="161" y="1017"/>
                  </a:lnTo>
                  <a:lnTo>
                    <a:pt x="159" y="1017"/>
                  </a:lnTo>
                  <a:lnTo>
                    <a:pt x="156" y="1017"/>
                  </a:lnTo>
                  <a:lnTo>
                    <a:pt x="154" y="1017"/>
                  </a:lnTo>
                  <a:lnTo>
                    <a:pt x="154" y="1020"/>
                  </a:lnTo>
                  <a:lnTo>
                    <a:pt x="154" y="1017"/>
                  </a:lnTo>
                  <a:lnTo>
                    <a:pt x="152" y="1017"/>
                  </a:lnTo>
                  <a:lnTo>
                    <a:pt x="152" y="1015"/>
                  </a:lnTo>
                  <a:lnTo>
                    <a:pt x="154" y="1015"/>
                  </a:lnTo>
                  <a:lnTo>
                    <a:pt x="156" y="1015"/>
                  </a:lnTo>
                  <a:lnTo>
                    <a:pt x="159" y="1015"/>
                  </a:lnTo>
                  <a:lnTo>
                    <a:pt x="159" y="1012"/>
                  </a:lnTo>
                  <a:lnTo>
                    <a:pt x="161" y="1012"/>
                  </a:lnTo>
                  <a:lnTo>
                    <a:pt x="163" y="1012"/>
                  </a:lnTo>
                  <a:lnTo>
                    <a:pt x="161" y="1012"/>
                  </a:lnTo>
                  <a:lnTo>
                    <a:pt x="159" y="1012"/>
                  </a:lnTo>
                  <a:lnTo>
                    <a:pt x="156" y="1012"/>
                  </a:lnTo>
                  <a:lnTo>
                    <a:pt x="154" y="1012"/>
                  </a:lnTo>
                  <a:lnTo>
                    <a:pt x="156" y="1012"/>
                  </a:lnTo>
                  <a:lnTo>
                    <a:pt x="154" y="1012"/>
                  </a:lnTo>
                  <a:lnTo>
                    <a:pt x="156" y="1012"/>
                  </a:lnTo>
                  <a:lnTo>
                    <a:pt x="154" y="1012"/>
                  </a:lnTo>
                  <a:lnTo>
                    <a:pt x="156" y="1012"/>
                  </a:lnTo>
                  <a:lnTo>
                    <a:pt x="154" y="1012"/>
                  </a:lnTo>
                  <a:lnTo>
                    <a:pt x="156" y="1012"/>
                  </a:lnTo>
                  <a:lnTo>
                    <a:pt x="156" y="1015"/>
                  </a:lnTo>
                  <a:lnTo>
                    <a:pt x="156" y="1012"/>
                  </a:lnTo>
                  <a:lnTo>
                    <a:pt x="154" y="1015"/>
                  </a:lnTo>
                  <a:lnTo>
                    <a:pt x="154" y="1012"/>
                  </a:lnTo>
                  <a:lnTo>
                    <a:pt x="152" y="1012"/>
                  </a:lnTo>
                  <a:lnTo>
                    <a:pt x="152" y="1010"/>
                  </a:lnTo>
                  <a:lnTo>
                    <a:pt x="154" y="1010"/>
                  </a:lnTo>
                  <a:lnTo>
                    <a:pt x="154" y="1012"/>
                  </a:lnTo>
                  <a:lnTo>
                    <a:pt x="154" y="1010"/>
                  </a:lnTo>
                  <a:lnTo>
                    <a:pt x="156" y="1010"/>
                  </a:lnTo>
                  <a:lnTo>
                    <a:pt x="156" y="1008"/>
                  </a:lnTo>
                  <a:lnTo>
                    <a:pt x="159" y="1008"/>
                  </a:lnTo>
                  <a:lnTo>
                    <a:pt x="156" y="1008"/>
                  </a:lnTo>
                  <a:lnTo>
                    <a:pt x="159" y="1008"/>
                  </a:lnTo>
                  <a:lnTo>
                    <a:pt x="159" y="1010"/>
                  </a:lnTo>
                  <a:lnTo>
                    <a:pt x="161" y="1010"/>
                  </a:lnTo>
                  <a:lnTo>
                    <a:pt x="159" y="1010"/>
                  </a:lnTo>
                  <a:lnTo>
                    <a:pt x="161" y="1010"/>
                  </a:lnTo>
                  <a:lnTo>
                    <a:pt x="161" y="1008"/>
                  </a:lnTo>
                  <a:lnTo>
                    <a:pt x="163" y="1008"/>
                  </a:lnTo>
                  <a:lnTo>
                    <a:pt x="166" y="1010"/>
                  </a:lnTo>
                  <a:lnTo>
                    <a:pt x="166" y="1008"/>
                  </a:lnTo>
                  <a:lnTo>
                    <a:pt x="163" y="1008"/>
                  </a:lnTo>
                  <a:lnTo>
                    <a:pt x="166" y="1008"/>
                  </a:lnTo>
                  <a:lnTo>
                    <a:pt x="163" y="1008"/>
                  </a:lnTo>
                  <a:lnTo>
                    <a:pt x="163" y="1005"/>
                  </a:lnTo>
                  <a:lnTo>
                    <a:pt x="163" y="1008"/>
                  </a:lnTo>
                  <a:lnTo>
                    <a:pt x="161" y="1008"/>
                  </a:lnTo>
                  <a:lnTo>
                    <a:pt x="163" y="1005"/>
                  </a:lnTo>
                  <a:lnTo>
                    <a:pt x="166" y="1005"/>
                  </a:lnTo>
                  <a:lnTo>
                    <a:pt x="168" y="1005"/>
                  </a:lnTo>
                  <a:lnTo>
                    <a:pt x="168" y="1003"/>
                  </a:lnTo>
                  <a:lnTo>
                    <a:pt x="171" y="1003"/>
                  </a:lnTo>
                  <a:lnTo>
                    <a:pt x="171" y="1005"/>
                  </a:lnTo>
                  <a:lnTo>
                    <a:pt x="171" y="1008"/>
                  </a:lnTo>
                  <a:lnTo>
                    <a:pt x="173" y="1008"/>
                  </a:lnTo>
                  <a:lnTo>
                    <a:pt x="173" y="1010"/>
                  </a:lnTo>
                  <a:lnTo>
                    <a:pt x="173" y="1012"/>
                  </a:lnTo>
                  <a:lnTo>
                    <a:pt x="175" y="1012"/>
                  </a:lnTo>
                  <a:lnTo>
                    <a:pt x="178" y="1012"/>
                  </a:lnTo>
                  <a:lnTo>
                    <a:pt x="178" y="1015"/>
                  </a:lnTo>
                  <a:lnTo>
                    <a:pt x="178" y="1017"/>
                  </a:lnTo>
                  <a:lnTo>
                    <a:pt x="175" y="1020"/>
                  </a:lnTo>
                  <a:lnTo>
                    <a:pt x="173" y="1020"/>
                  </a:lnTo>
                  <a:lnTo>
                    <a:pt x="173" y="1022"/>
                  </a:lnTo>
                  <a:lnTo>
                    <a:pt x="175" y="1022"/>
                  </a:lnTo>
                  <a:lnTo>
                    <a:pt x="175" y="1020"/>
                  </a:lnTo>
                  <a:lnTo>
                    <a:pt x="178" y="1020"/>
                  </a:lnTo>
                  <a:lnTo>
                    <a:pt x="180" y="1020"/>
                  </a:lnTo>
                  <a:lnTo>
                    <a:pt x="182" y="1020"/>
                  </a:lnTo>
                  <a:lnTo>
                    <a:pt x="182" y="1022"/>
                  </a:lnTo>
                  <a:lnTo>
                    <a:pt x="182" y="1020"/>
                  </a:lnTo>
                  <a:lnTo>
                    <a:pt x="182" y="1022"/>
                  </a:lnTo>
                  <a:lnTo>
                    <a:pt x="185" y="1022"/>
                  </a:lnTo>
                  <a:lnTo>
                    <a:pt x="185" y="1020"/>
                  </a:lnTo>
                  <a:lnTo>
                    <a:pt x="187" y="1020"/>
                  </a:lnTo>
                  <a:lnTo>
                    <a:pt x="187" y="1022"/>
                  </a:lnTo>
                  <a:lnTo>
                    <a:pt x="187" y="1020"/>
                  </a:lnTo>
                  <a:lnTo>
                    <a:pt x="185" y="1020"/>
                  </a:lnTo>
                  <a:lnTo>
                    <a:pt x="182" y="1020"/>
                  </a:lnTo>
                  <a:lnTo>
                    <a:pt x="182" y="1017"/>
                  </a:lnTo>
                  <a:lnTo>
                    <a:pt x="180" y="1017"/>
                  </a:lnTo>
                  <a:lnTo>
                    <a:pt x="182" y="1017"/>
                  </a:lnTo>
                  <a:lnTo>
                    <a:pt x="182" y="1015"/>
                  </a:lnTo>
                  <a:lnTo>
                    <a:pt x="185" y="1015"/>
                  </a:lnTo>
                  <a:lnTo>
                    <a:pt x="187" y="1015"/>
                  </a:lnTo>
                  <a:lnTo>
                    <a:pt x="189" y="1015"/>
                  </a:lnTo>
                  <a:lnTo>
                    <a:pt x="192" y="1015"/>
                  </a:lnTo>
                  <a:lnTo>
                    <a:pt x="194" y="1012"/>
                  </a:lnTo>
                  <a:lnTo>
                    <a:pt x="194" y="1015"/>
                  </a:lnTo>
                  <a:lnTo>
                    <a:pt x="197" y="1015"/>
                  </a:lnTo>
                  <a:lnTo>
                    <a:pt x="199" y="1015"/>
                  </a:lnTo>
                  <a:lnTo>
                    <a:pt x="201" y="1015"/>
                  </a:lnTo>
                  <a:lnTo>
                    <a:pt x="204" y="1015"/>
                  </a:lnTo>
                  <a:lnTo>
                    <a:pt x="206" y="1015"/>
                  </a:lnTo>
                  <a:lnTo>
                    <a:pt x="208" y="1015"/>
                  </a:lnTo>
                  <a:lnTo>
                    <a:pt x="211" y="1015"/>
                  </a:lnTo>
                  <a:lnTo>
                    <a:pt x="208" y="1015"/>
                  </a:lnTo>
                  <a:lnTo>
                    <a:pt x="208" y="1012"/>
                  </a:lnTo>
                  <a:lnTo>
                    <a:pt x="208" y="1015"/>
                  </a:lnTo>
                  <a:lnTo>
                    <a:pt x="208" y="1012"/>
                  </a:lnTo>
                  <a:lnTo>
                    <a:pt x="206" y="1012"/>
                  </a:lnTo>
                  <a:lnTo>
                    <a:pt x="204" y="1012"/>
                  </a:lnTo>
                  <a:lnTo>
                    <a:pt x="204" y="1010"/>
                  </a:lnTo>
                  <a:lnTo>
                    <a:pt x="206" y="1010"/>
                  </a:lnTo>
                  <a:lnTo>
                    <a:pt x="206" y="1008"/>
                  </a:lnTo>
                  <a:lnTo>
                    <a:pt x="206" y="1010"/>
                  </a:lnTo>
                  <a:lnTo>
                    <a:pt x="206" y="1008"/>
                  </a:lnTo>
                  <a:lnTo>
                    <a:pt x="206" y="1010"/>
                  </a:lnTo>
                  <a:lnTo>
                    <a:pt x="206" y="1008"/>
                  </a:lnTo>
                  <a:lnTo>
                    <a:pt x="206" y="1010"/>
                  </a:lnTo>
                  <a:lnTo>
                    <a:pt x="206" y="1008"/>
                  </a:lnTo>
                  <a:lnTo>
                    <a:pt x="208" y="1008"/>
                  </a:lnTo>
                  <a:lnTo>
                    <a:pt x="206" y="1008"/>
                  </a:lnTo>
                  <a:lnTo>
                    <a:pt x="208" y="1008"/>
                  </a:lnTo>
                  <a:lnTo>
                    <a:pt x="206" y="1008"/>
                  </a:lnTo>
                  <a:lnTo>
                    <a:pt x="208" y="1005"/>
                  </a:lnTo>
                  <a:lnTo>
                    <a:pt x="206" y="1005"/>
                  </a:lnTo>
                  <a:lnTo>
                    <a:pt x="206" y="1008"/>
                  </a:lnTo>
                  <a:lnTo>
                    <a:pt x="204" y="1008"/>
                  </a:lnTo>
                  <a:lnTo>
                    <a:pt x="201" y="1008"/>
                  </a:lnTo>
                  <a:lnTo>
                    <a:pt x="201" y="1010"/>
                  </a:lnTo>
                  <a:lnTo>
                    <a:pt x="199" y="1010"/>
                  </a:lnTo>
                  <a:lnTo>
                    <a:pt x="199" y="1008"/>
                  </a:lnTo>
                  <a:lnTo>
                    <a:pt x="201" y="1008"/>
                  </a:lnTo>
                  <a:lnTo>
                    <a:pt x="201" y="1005"/>
                  </a:lnTo>
                  <a:lnTo>
                    <a:pt x="204" y="1005"/>
                  </a:lnTo>
                  <a:lnTo>
                    <a:pt x="204" y="1003"/>
                  </a:lnTo>
                  <a:lnTo>
                    <a:pt x="206" y="1003"/>
                  </a:lnTo>
                  <a:lnTo>
                    <a:pt x="208" y="1003"/>
                  </a:lnTo>
                  <a:lnTo>
                    <a:pt x="208" y="1001"/>
                  </a:lnTo>
                  <a:lnTo>
                    <a:pt x="211" y="1001"/>
                  </a:lnTo>
                  <a:lnTo>
                    <a:pt x="211" y="998"/>
                  </a:lnTo>
                  <a:lnTo>
                    <a:pt x="211" y="1001"/>
                  </a:lnTo>
                  <a:lnTo>
                    <a:pt x="213" y="998"/>
                  </a:lnTo>
                  <a:lnTo>
                    <a:pt x="213" y="1001"/>
                  </a:lnTo>
                  <a:lnTo>
                    <a:pt x="216" y="1001"/>
                  </a:lnTo>
                  <a:lnTo>
                    <a:pt x="213" y="1001"/>
                  </a:lnTo>
                  <a:lnTo>
                    <a:pt x="216" y="1001"/>
                  </a:lnTo>
                  <a:lnTo>
                    <a:pt x="216" y="998"/>
                  </a:lnTo>
                  <a:lnTo>
                    <a:pt x="218" y="998"/>
                  </a:lnTo>
                  <a:lnTo>
                    <a:pt x="218" y="1001"/>
                  </a:lnTo>
                  <a:lnTo>
                    <a:pt x="218" y="998"/>
                  </a:lnTo>
                  <a:lnTo>
                    <a:pt x="218" y="996"/>
                  </a:lnTo>
                  <a:lnTo>
                    <a:pt x="220" y="996"/>
                  </a:lnTo>
                  <a:lnTo>
                    <a:pt x="220" y="998"/>
                  </a:lnTo>
                  <a:lnTo>
                    <a:pt x="223" y="998"/>
                  </a:lnTo>
                  <a:lnTo>
                    <a:pt x="220" y="998"/>
                  </a:lnTo>
                  <a:lnTo>
                    <a:pt x="223" y="998"/>
                  </a:lnTo>
                  <a:lnTo>
                    <a:pt x="223" y="996"/>
                  </a:lnTo>
                  <a:lnTo>
                    <a:pt x="225" y="996"/>
                  </a:lnTo>
                  <a:lnTo>
                    <a:pt x="227" y="993"/>
                  </a:lnTo>
                  <a:lnTo>
                    <a:pt x="227" y="996"/>
                  </a:lnTo>
                  <a:lnTo>
                    <a:pt x="227" y="993"/>
                  </a:lnTo>
                  <a:lnTo>
                    <a:pt x="225" y="993"/>
                  </a:lnTo>
                  <a:lnTo>
                    <a:pt x="225" y="991"/>
                  </a:lnTo>
                  <a:lnTo>
                    <a:pt x="225" y="993"/>
                  </a:lnTo>
                  <a:lnTo>
                    <a:pt x="223" y="993"/>
                  </a:lnTo>
                  <a:lnTo>
                    <a:pt x="220" y="993"/>
                  </a:lnTo>
                  <a:lnTo>
                    <a:pt x="223" y="993"/>
                  </a:lnTo>
                  <a:lnTo>
                    <a:pt x="223" y="991"/>
                  </a:lnTo>
                  <a:lnTo>
                    <a:pt x="220" y="991"/>
                  </a:lnTo>
                  <a:lnTo>
                    <a:pt x="223" y="991"/>
                  </a:lnTo>
                  <a:lnTo>
                    <a:pt x="225" y="991"/>
                  </a:lnTo>
                  <a:lnTo>
                    <a:pt x="225" y="989"/>
                  </a:lnTo>
                  <a:lnTo>
                    <a:pt x="223" y="989"/>
                  </a:lnTo>
                  <a:lnTo>
                    <a:pt x="225" y="989"/>
                  </a:lnTo>
                  <a:lnTo>
                    <a:pt x="223" y="989"/>
                  </a:lnTo>
                  <a:lnTo>
                    <a:pt x="225" y="989"/>
                  </a:lnTo>
                  <a:lnTo>
                    <a:pt x="223" y="986"/>
                  </a:lnTo>
                  <a:lnTo>
                    <a:pt x="225" y="986"/>
                  </a:lnTo>
                  <a:lnTo>
                    <a:pt x="223" y="986"/>
                  </a:lnTo>
                  <a:lnTo>
                    <a:pt x="223" y="989"/>
                  </a:lnTo>
                  <a:lnTo>
                    <a:pt x="223" y="991"/>
                  </a:lnTo>
                  <a:lnTo>
                    <a:pt x="220" y="991"/>
                  </a:lnTo>
                  <a:lnTo>
                    <a:pt x="218" y="991"/>
                  </a:lnTo>
                  <a:lnTo>
                    <a:pt x="216" y="993"/>
                  </a:lnTo>
                  <a:lnTo>
                    <a:pt x="213" y="991"/>
                  </a:lnTo>
                  <a:lnTo>
                    <a:pt x="213" y="989"/>
                  </a:lnTo>
                  <a:lnTo>
                    <a:pt x="216" y="989"/>
                  </a:lnTo>
                  <a:lnTo>
                    <a:pt x="218" y="989"/>
                  </a:lnTo>
                  <a:lnTo>
                    <a:pt x="218" y="986"/>
                  </a:lnTo>
                  <a:lnTo>
                    <a:pt x="220" y="986"/>
                  </a:lnTo>
                  <a:lnTo>
                    <a:pt x="220" y="984"/>
                  </a:lnTo>
                  <a:lnTo>
                    <a:pt x="223" y="984"/>
                  </a:lnTo>
                  <a:lnTo>
                    <a:pt x="223" y="986"/>
                  </a:lnTo>
                  <a:lnTo>
                    <a:pt x="223" y="984"/>
                  </a:lnTo>
                  <a:lnTo>
                    <a:pt x="225" y="986"/>
                  </a:lnTo>
                  <a:lnTo>
                    <a:pt x="225" y="984"/>
                  </a:lnTo>
                  <a:lnTo>
                    <a:pt x="227" y="984"/>
                  </a:lnTo>
                  <a:lnTo>
                    <a:pt x="227" y="982"/>
                  </a:lnTo>
                  <a:lnTo>
                    <a:pt x="227" y="984"/>
                  </a:lnTo>
                  <a:lnTo>
                    <a:pt x="227" y="982"/>
                  </a:lnTo>
                  <a:lnTo>
                    <a:pt x="227" y="984"/>
                  </a:lnTo>
                  <a:lnTo>
                    <a:pt x="227" y="982"/>
                  </a:lnTo>
                  <a:lnTo>
                    <a:pt x="225" y="982"/>
                  </a:lnTo>
                  <a:lnTo>
                    <a:pt x="227" y="982"/>
                  </a:lnTo>
                  <a:lnTo>
                    <a:pt x="225" y="982"/>
                  </a:lnTo>
                  <a:lnTo>
                    <a:pt x="223" y="982"/>
                  </a:lnTo>
                  <a:lnTo>
                    <a:pt x="225" y="982"/>
                  </a:lnTo>
                  <a:lnTo>
                    <a:pt x="223" y="982"/>
                  </a:lnTo>
                  <a:lnTo>
                    <a:pt x="225" y="982"/>
                  </a:lnTo>
                  <a:lnTo>
                    <a:pt x="223" y="982"/>
                  </a:lnTo>
                  <a:lnTo>
                    <a:pt x="220" y="982"/>
                  </a:lnTo>
                  <a:lnTo>
                    <a:pt x="220" y="979"/>
                  </a:lnTo>
                  <a:lnTo>
                    <a:pt x="223" y="979"/>
                  </a:lnTo>
                  <a:lnTo>
                    <a:pt x="223" y="977"/>
                  </a:lnTo>
                  <a:lnTo>
                    <a:pt x="223" y="979"/>
                  </a:lnTo>
                  <a:lnTo>
                    <a:pt x="223" y="977"/>
                  </a:lnTo>
                  <a:lnTo>
                    <a:pt x="225" y="977"/>
                  </a:lnTo>
                  <a:lnTo>
                    <a:pt x="223" y="977"/>
                  </a:lnTo>
                  <a:lnTo>
                    <a:pt x="223" y="979"/>
                  </a:lnTo>
                  <a:lnTo>
                    <a:pt x="220" y="979"/>
                  </a:lnTo>
                  <a:lnTo>
                    <a:pt x="218" y="979"/>
                  </a:lnTo>
                  <a:lnTo>
                    <a:pt x="218" y="982"/>
                  </a:lnTo>
                  <a:lnTo>
                    <a:pt x="218" y="984"/>
                  </a:lnTo>
                  <a:lnTo>
                    <a:pt x="216" y="984"/>
                  </a:lnTo>
                  <a:lnTo>
                    <a:pt x="213" y="984"/>
                  </a:lnTo>
                  <a:lnTo>
                    <a:pt x="213" y="986"/>
                  </a:lnTo>
                  <a:lnTo>
                    <a:pt x="211" y="986"/>
                  </a:lnTo>
                  <a:lnTo>
                    <a:pt x="211" y="989"/>
                  </a:lnTo>
                  <a:lnTo>
                    <a:pt x="208" y="989"/>
                  </a:lnTo>
                  <a:lnTo>
                    <a:pt x="206" y="991"/>
                  </a:lnTo>
                  <a:lnTo>
                    <a:pt x="204" y="991"/>
                  </a:lnTo>
                  <a:lnTo>
                    <a:pt x="201" y="991"/>
                  </a:lnTo>
                  <a:lnTo>
                    <a:pt x="199" y="993"/>
                  </a:lnTo>
                  <a:lnTo>
                    <a:pt x="201" y="993"/>
                  </a:lnTo>
                  <a:lnTo>
                    <a:pt x="204" y="991"/>
                  </a:lnTo>
                  <a:lnTo>
                    <a:pt x="206" y="991"/>
                  </a:lnTo>
                  <a:lnTo>
                    <a:pt x="208" y="991"/>
                  </a:lnTo>
                  <a:lnTo>
                    <a:pt x="208" y="989"/>
                  </a:lnTo>
                  <a:lnTo>
                    <a:pt x="211" y="989"/>
                  </a:lnTo>
                  <a:lnTo>
                    <a:pt x="213" y="989"/>
                  </a:lnTo>
                  <a:lnTo>
                    <a:pt x="213" y="991"/>
                  </a:lnTo>
                  <a:lnTo>
                    <a:pt x="213" y="993"/>
                  </a:lnTo>
                  <a:lnTo>
                    <a:pt x="211" y="993"/>
                  </a:lnTo>
                  <a:lnTo>
                    <a:pt x="211" y="996"/>
                  </a:lnTo>
                  <a:lnTo>
                    <a:pt x="211" y="998"/>
                  </a:lnTo>
                  <a:lnTo>
                    <a:pt x="208" y="998"/>
                  </a:lnTo>
                  <a:lnTo>
                    <a:pt x="206" y="998"/>
                  </a:lnTo>
                  <a:lnTo>
                    <a:pt x="206" y="1001"/>
                  </a:lnTo>
                  <a:lnTo>
                    <a:pt x="204" y="1001"/>
                  </a:lnTo>
                  <a:lnTo>
                    <a:pt x="201" y="1001"/>
                  </a:lnTo>
                  <a:lnTo>
                    <a:pt x="199" y="1001"/>
                  </a:lnTo>
                  <a:lnTo>
                    <a:pt x="199" y="1003"/>
                  </a:lnTo>
                  <a:lnTo>
                    <a:pt x="197" y="1003"/>
                  </a:lnTo>
                  <a:lnTo>
                    <a:pt x="197" y="1005"/>
                  </a:lnTo>
                  <a:lnTo>
                    <a:pt x="194" y="1005"/>
                  </a:lnTo>
                  <a:lnTo>
                    <a:pt x="192" y="1005"/>
                  </a:lnTo>
                  <a:lnTo>
                    <a:pt x="194" y="1005"/>
                  </a:lnTo>
                  <a:lnTo>
                    <a:pt x="192" y="1005"/>
                  </a:lnTo>
                  <a:lnTo>
                    <a:pt x="192" y="1008"/>
                  </a:lnTo>
                  <a:lnTo>
                    <a:pt x="189" y="1008"/>
                  </a:lnTo>
                  <a:lnTo>
                    <a:pt x="187" y="1008"/>
                  </a:lnTo>
                  <a:lnTo>
                    <a:pt x="185" y="1008"/>
                  </a:lnTo>
                  <a:lnTo>
                    <a:pt x="185" y="1010"/>
                  </a:lnTo>
                  <a:lnTo>
                    <a:pt x="182" y="1010"/>
                  </a:lnTo>
                  <a:lnTo>
                    <a:pt x="182" y="1012"/>
                  </a:lnTo>
                  <a:lnTo>
                    <a:pt x="180" y="1012"/>
                  </a:lnTo>
                  <a:lnTo>
                    <a:pt x="178" y="1012"/>
                  </a:lnTo>
                  <a:lnTo>
                    <a:pt x="178" y="1010"/>
                  </a:lnTo>
                  <a:lnTo>
                    <a:pt x="175" y="1010"/>
                  </a:lnTo>
                  <a:lnTo>
                    <a:pt x="175" y="1008"/>
                  </a:lnTo>
                  <a:lnTo>
                    <a:pt x="175" y="1005"/>
                  </a:lnTo>
                  <a:lnTo>
                    <a:pt x="173" y="1005"/>
                  </a:lnTo>
                  <a:lnTo>
                    <a:pt x="173" y="1003"/>
                  </a:lnTo>
                  <a:lnTo>
                    <a:pt x="173" y="1001"/>
                  </a:lnTo>
                  <a:lnTo>
                    <a:pt x="175" y="1001"/>
                  </a:lnTo>
                  <a:lnTo>
                    <a:pt x="173" y="1001"/>
                  </a:lnTo>
                  <a:lnTo>
                    <a:pt x="175" y="1001"/>
                  </a:lnTo>
                  <a:lnTo>
                    <a:pt x="178" y="1001"/>
                  </a:lnTo>
                  <a:lnTo>
                    <a:pt x="178" y="998"/>
                  </a:lnTo>
                  <a:lnTo>
                    <a:pt x="178" y="1001"/>
                  </a:lnTo>
                  <a:lnTo>
                    <a:pt x="178" y="998"/>
                  </a:lnTo>
                  <a:lnTo>
                    <a:pt x="178" y="1001"/>
                  </a:lnTo>
                  <a:lnTo>
                    <a:pt x="180" y="998"/>
                  </a:lnTo>
                  <a:lnTo>
                    <a:pt x="182" y="998"/>
                  </a:lnTo>
                  <a:lnTo>
                    <a:pt x="180" y="998"/>
                  </a:lnTo>
                  <a:lnTo>
                    <a:pt x="182" y="998"/>
                  </a:lnTo>
                  <a:lnTo>
                    <a:pt x="180" y="998"/>
                  </a:lnTo>
                  <a:lnTo>
                    <a:pt x="180" y="996"/>
                  </a:lnTo>
                  <a:lnTo>
                    <a:pt x="182" y="996"/>
                  </a:lnTo>
                  <a:lnTo>
                    <a:pt x="180" y="996"/>
                  </a:lnTo>
                  <a:lnTo>
                    <a:pt x="178" y="996"/>
                  </a:lnTo>
                  <a:lnTo>
                    <a:pt x="178" y="998"/>
                  </a:lnTo>
                  <a:lnTo>
                    <a:pt x="175" y="998"/>
                  </a:lnTo>
                  <a:lnTo>
                    <a:pt x="173" y="998"/>
                  </a:lnTo>
                  <a:lnTo>
                    <a:pt x="173" y="1001"/>
                  </a:lnTo>
                  <a:lnTo>
                    <a:pt x="171" y="1001"/>
                  </a:lnTo>
                  <a:lnTo>
                    <a:pt x="168" y="1001"/>
                  </a:lnTo>
                  <a:lnTo>
                    <a:pt x="166" y="1001"/>
                  </a:lnTo>
                  <a:lnTo>
                    <a:pt x="166" y="1003"/>
                  </a:lnTo>
                  <a:lnTo>
                    <a:pt x="163" y="1003"/>
                  </a:lnTo>
                  <a:lnTo>
                    <a:pt x="166" y="1003"/>
                  </a:lnTo>
                  <a:lnTo>
                    <a:pt x="163" y="1003"/>
                  </a:lnTo>
                  <a:lnTo>
                    <a:pt x="163" y="1001"/>
                  </a:lnTo>
                  <a:lnTo>
                    <a:pt x="166" y="1001"/>
                  </a:lnTo>
                  <a:lnTo>
                    <a:pt x="163" y="1001"/>
                  </a:lnTo>
                  <a:lnTo>
                    <a:pt x="166" y="1001"/>
                  </a:lnTo>
                  <a:lnTo>
                    <a:pt x="163" y="1001"/>
                  </a:lnTo>
                  <a:lnTo>
                    <a:pt x="166" y="1001"/>
                  </a:lnTo>
                  <a:lnTo>
                    <a:pt x="163" y="1001"/>
                  </a:lnTo>
                  <a:lnTo>
                    <a:pt x="166" y="1001"/>
                  </a:lnTo>
                  <a:lnTo>
                    <a:pt x="163" y="1001"/>
                  </a:lnTo>
                  <a:lnTo>
                    <a:pt x="166" y="1001"/>
                  </a:lnTo>
                  <a:lnTo>
                    <a:pt x="163" y="1001"/>
                  </a:lnTo>
                  <a:lnTo>
                    <a:pt x="163" y="998"/>
                  </a:lnTo>
                  <a:lnTo>
                    <a:pt x="163" y="1001"/>
                  </a:lnTo>
                  <a:lnTo>
                    <a:pt x="163" y="998"/>
                  </a:lnTo>
                  <a:lnTo>
                    <a:pt x="166" y="998"/>
                  </a:lnTo>
                  <a:lnTo>
                    <a:pt x="168" y="998"/>
                  </a:lnTo>
                  <a:lnTo>
                    <a:pt x="168" y="996"/>
                  </a:lnTo>
                  <a:lnTo>
                    <a:pt x="171" y="998"/>
                  </a:lnTo>
                  <a:lnTo>
                    <a:pt x="171" y="996"/>
                  </a:lnTo>
                  <a:lnTo>
                    <a:pt x="173" y="996"/>
                  </a:lnTo>
                  <a:lnTo>
                    <a:pt x="171" y="996"/>
                  </a:lnTo>
                  <a:lnTo>
                    <a:pt x="168" y="996"/>
                  </a:lnTo>
                  <a:lnTo>
                    <a:pt x="166" y="996"/>
                  </a:lnTo>
                  <a:lnTo>
                    <a:pt x="163" y="996"/>
                  </a:lnTo>
                  <a:lnTo>
                    <a:pt x="166" y="996"/>
                  </a:lnTo>
                  <a:lnTo>
                    <a:pt x="166" y="993"/>
                  </a:lnTo>
                  <a:lnTo>
                    <a:pt x="168" y="993"/>
                  </a:lnTo>
                  <a:lnTo>
                    <a:pt x="166" y="993"/>
                  </a:lnTo>
                  <a:lnTo>
                    <a:pt x="168" y="993"/>
                  </a:lnTo>
                  <a:lnTo>
                    <a:pt x="168" y="991"/>
                  </a:lnTo>
                  <a:lnTo>
                    <a:pt x="171" y="991"/>
                  </a:lnTo>
                  <a:lnTo>
                    <a:pt x="168" y="991"/>
                  </a:lnTo>
                  <a:lnTo>
                    <a:pt x="171" y="991"/>
                  </a:lnTo>
                  <a:lnTo>
                    <a:pt x="173" y="991"/>
                  </a:lnTo>
                  <a:lnTo>
                    <a:pt x="173" y="993"/>
                  </a:lnTo>
                  <a:lnTo>
                    <a:pt x="173" y="991"/>
                  </a:lnTo>
                  <a:lnTo>
                    <a:pt x="173" y="993"/>
                  </a:lnTo>
                  <a:lnTo>
                    <a:pt x="173" y="991"/>
                  </a:lnTo>
                  <a:lnTo>
                    <a:pt x="171" y="993"/>
                  </a:lnTo>
                  <a:lnTo>
                    <a:pt x="168" y="993"/>
                  </a:lnTo>
                  <a:lnTo>
                    <a:pt x="171" y="993"/>
                  </a:lnTo>
                  <a:lnTo>
                    <a:pt x="173" y="993"/>
                  </a:lnTo>
                  <a:lnTo>
                    <a:pt x="173" y="991"/>
                  </a:lnTo>
                  <a:lnTo>
                    <a:pt x="175" y="991"/>
                  </a:lnTo>
                  <a:lnTo>
                    <a:pt x="173" y="991"/>
                  </a:lnTo>
                  <a:lnTo>
                    <a:pt x="175" y="991"/>
                  </a:lnTo>
                  <a:lnTo>
                    <a:pt x="173" y="991"/>
                  </a:lnTo>
                  <a:lnTo>
                    <a:pt x="173" y="989"/>
                  </a:lnTo>
                  <a:lnTo>
                    <a:pt x="175" y="989"/>
                  </a:lnTo>
                  <a:lnTo>
                    <a:pt x="178" y="989"/>
                  </a:lnTo>
                  <a:lnTo>
                    <a:pt x="175" y="991"/>
                  </a:lnTo>
                  <a:lnTo>
                    <a:pt x="178" y="991"/>
                  </a:lnTo>
                  <a:lnTo>
                    <a:pt x="178" y="989"/>
                  </a:lnTo>
                  <a:lnTo>
                    <a:pt x="180" y="989"/>
                  </a:lnTo>
                  <a:lnTo>
                    <a:pt x="182" y="989"/>
                  </a:lnTo>
                  <a:lnTo>
                    <a:pt x="182" y="986"/>
                  </a:lnTo>
                  <a:lnTo>
                    <a:pt x="185" y="986"/>
                  </a:lnTo>
                  <a:lnTo>
                    <a:pt x="185" y="989"/>
                  </a:lnTo>
                  <a:lnTo>
                    <a:pt x="187" y="989"/>
                  </a:lnTo>
                  <a:lnTo>
                    <a:pt x="187" y="986"/>
                  </a:lnTo>
                  <a:lnTo>
                    <a:pt x="185" y="986"/>
                  </a:lnTo>
                  <a:lnTo>
                    <a:pt x="187" y="986"/>
                  </a:lnTo>
                  <a:lnTo>
                    <a:pt x="185" y="986"/>
                  </a:lnTo>
                  <a:lnTo>
                    <a:pt x="182" y="986"/>
                  </a:lnTo>
                  <a:lnTo>
                    <a:pt x="182" y="989"/>
                  </a:lnTo>
                  <a:lnTo>
                    <a:pt x="180" y="989"/>
                  </a:lnTo>
                  <a:lnTo>
                    <a:pt x="180" y="986"/>
                  </a:lnTo>
                  <a:lnTo>
                    <a:pt x="180" y="989"/>
                  </a:lnTo>
                  <a:lnTo>
                    <a:pt x="178" y="989"/>
                  </a:lnTo>
                  <a:lnTo>
                    <a:pt x="180" y="989"/>
                  </a:lnTo>
                  <a:lnTo>
                    <a:pt x="178" y="989"/>
                  </a:lnTo>
                  <a:lnTo>
                    <a:pt x="175" y="989"/>
                  </a:lnTo>
                  <a:lnTo>
                    <a:pt x="178" y="989"/>
                  </a:lnTo>
                  <a:lnTo>
                    <a:pt x="178" y="986"/>
                  </a:lnTo>
                  <a:lnTo>
                    <a:pt x="180" y="986"/>
                  </a:lnTo>
                  <a:lnTo>
                    <a:pt x="182" y="986"/>
                  </a:lnTo>
                  <a:lnTo>
                    <a:pt x="180" y="986"/>
                  </a:lnTo>
                  <a:lnTo>
                    <a:pt x="182" y="986"/>
                  </a:lnTo>
                  <a:lnTo>
                    <a:pt x="182" y="984"/>
                  </a:lnTo>
                  <a:lnTo>
                    <a:pt x="182" y="986"/>
                  </a:lnTo>
                  <a:lnTo>
                    <a:pt x="180" y="986"/>
                  </a:lnTo>
                  <a:lnTo>
                    <a:pt x="182" y="986"/>
                  </a:lnTo>
                  <a:lnTo>
                    <a:pt x="182" y="984"/>
                  </a:lnTo>
                  <a:lnTo>
                    <a:pt x="180" y="986"/>
                  </a:lnTo>
                  <a:lnTo>
                    <a:pt x="180" y="984"/>
                  </a:lnTo>
                  <a:lnTo>
                    <a:pt x="180" y="986"/>
                  </a:lnTo>
                  <a:lnTo>
                    <a:pt x="178" y="986"/>
                  </a:lnTo>
                  <a:lnTo>
                    <a:pt x="178" y="984"/>
                  </a:lnTo>
                  <a:lnTo>
                    <a:pt x="180" y="984"/>
                  </a:lnTo>
                  <a:lnTo>
                    <a:pt x="178" y="984"/>
                  </a:lnTo>
                  <a:lnTo>
                    <a:pt x="180" y="984"/>
                  </a:lnTo>
                  <a:lnTo>
                    <a:pt x="178" y="984"/>
                  </a:lnTo>
                  <a:lnTo>
                    <a:pt x="180" y="984"/>
                  </a:lnTo>
                  <a:lnTo>
                    <a:pt x="178" y="984"/>
                  </a:lnTo>
                  <a:lnTo>
                    <a:pt x="178" y="982"/>
                  </a:lnTo>
                  <a:lnTo>
                    <a:pt x="180" y="982"/>
                  </a:lnTo>
                  <a:lnTo>
                    <a:pt x="180" y="984"/>
                  </a:lnTo>
                  <a:lnTo>
                    <a:pt x="180" y="982"/>
                  </a:lnTo>
                  <a:lnTo>
                    <a:pt x="178" y="982"/>
                  </a:lnTo>
                  <a:lnTo>
                    <a:pt x="180" y="982"/>
                  </a:lnTo>
                  <a:lnTo>
                    <a:pt x="182" y="982"/>
                  </a:lnTo>
                  <a:lnTo>
                    <a:pt x="180" y="982"/>
                  </a:lnTo>
                  <a:lnTo>
                    <a:pt x="180" y="979"/>
                  </a:lnTo>
                  <a:lnTo>
                    <a:pt x="180" y="982"/>
                  </a:lnTo>
                  <a:lnTo>
                    <a:pt x="180" y="979"/>
                  </a:lnTo>
                  <a:lnTo>
                    <a:pt x="180" y="977"/>
                  </a:lnTo>
                  <a:lnTo>
                    <a:pt x="182" y="977"/>
                  </a:lnTo>
                  <a:lnTo>
                    <a:pt x="182" y="979"/>
                  </a:lnTo>
                  <a:lnTo>
                    <a:pt x="185" y="979"/>
                  </a:lnTo>
                  <a:lnTo>
                    <a:pt x="187" y="979"/>
                  </a:lnTo>
                  <a:lnTo>
                    <a:pt x="187" y="977"/>
                  </a:lnTo>
                  <a:lnTo>
                    <a:pt x="185" y="977"/>
                  </a:lnTo>
                  <a:lnTo>
                    <a:pt x="182" y="977"/>
                  </a:lnTo>
                  <a:lnTo>
                    <a:pt x="185" y="974"/>
                  </a:lnTo>
                  <a:lnTo>
                    <a:pt x="187" y="974"/>
                  </a:lnTo>
                  <a:lnTo>
                    <a:pt x="185" y="974"/>
                  </a:lnTo>
                  <a:lnTo>
                    <a:pt x="187" y="974"/>
                  </a:lnTo>
                  <a:lnTo>
                    <a:pt x="185" y="974"/>
                  </a:lnTo>
                  <a:lnTo>
                    <a:pt x="187" y="974"/>
                  </a:lnTo>
                  <a:lnTo>
                    <a:pt x="185" y="974"/>
                  </a:lnTo>
                  <a:lnTo>
                    <a:pt x="185" y="972"/>
                  </a:lnTo>
                  <a:lnTo>
                    <a:pt x="187" y="972"/>
                  </a:lnTo>
                  <a:lnTo>
                    <a:pt x="189" y="972"/>
                  </a:lnTo>
                  <a:lnTo>
                    <a:pt x="187" y="972"/>
                  </a:lnTo>
                  <a:lnTo>
                    <a:pt x="189" y="972"/>
                  </a:lnTo>
                  <a:lnTo>
                    <a:pt x="192" y="972"/>
                  </a:lnTo>
                  <a:lnTo>
                    <a:pt x="189" y="974"/>
                  </a:lnTo>
                  <a:lnTo>
                    <a:pt x="192" y="974"/>
                  </a:lnTo>
                  <a:lnTo>
                    <a:pt x="189" y="974"/>
                  </a:lnTo>
                  <a:lnTo>
                    <a:pt x="192" y="974"/>
                  </a:lnTo>
                  <a:lnTo>
                    <a:pt x="192" y="972"/>
                  </a:lnTo>
                  <a:lnTo>
                    <a:pt x="189" y="972"/>
                  </a:lnTo>
                  <a:lnTo>
                    <a:pt x="187" y="972"/>
                  </a:lnTo>
                  <a:lnTo>
                    <a:pt x="187" y="970"/>
                  </a:lnTo>
                  <a:lnTo>
                    <a:pt x="189" y="970"/>
                  </a:lnTo>
                  <a:lnTo>
                    <a:pt x="189" y="967"/>
                  </a:lnTo>
                  <a:lnTo>
                    <a:pt x="192" y="967"/>
                  </a:lnTo>
                  <a:lnTo>
                    <a:pt x="192" y="970"/>
                  </a:lnTo>
                  <a:lnTo>
                    <a:pt x="192" y="967"/>
                  </a:lnTo>
                  <a:lnTo>
                    <a:pt x="194" y="967"/>
                  </a:lnTo>
                  <a:lnTo>
                    <a:pt x="194" y="965"/>
                  </a:lnTo>
                  <a:lnTo>
                    <a:pt x="197" y="965"/>
                  </a:lnTo>
                  <a:lnTo>
                    <a:pt x="194" y="965"/>
                  </a:lnTo>
                  <a:lnTo>
                    <a:pt x="194" y="963"/>
                  </a:lnTo>
                  <a:lnTo>
                    <a:pt x="194" y="965"/>
                  </a:lnTo>
                  <a:lnTo>
                    <a:pt x="197" y="965"/>
                  </a:lnTo>
                  <a:lnTo>
                    <a:pt x="197" y="963"/>
                  </a:lnTo>
                  <a:lnTo>
                    <a:pt x="199" y="963"/>
                  </a:lnTo>
                  <a:lnTo>
                    <a:pt x="199" y="965"/>
                  </a:lnTo>
                  <a:lnTo>
                    <a:pt x="201" y="965"/>
                  </a:lnTo>
                  <a:lnTo>
                    <a:pt x="201" y="963"/>
                  </a:lnTo>
                  <a:lnTo>
                    <a:pt x="199" y="963"/>
                  </a:lnTo>
                  <a:lnTo>
                    <a:pt x="197" y="963"/>
                  </a:lnTo>
                  <a:lnTo>
                    <a:pt x="199" y="963"/>
                  </a:lnTo>
                  <a:lnTo>
                    <a:pt x="197" y="960"/>
                  </a:lnTo>
                  <a:lnTo>
                    <a:pt x="197" y="963"/>
                  </a:lnTo>
                  <a:lnTo>
                    <a:pt x="194" y="963"/>
                  </a:lnTo>
                  <a:lnTo>
                    <a:pt x="194" y="960"/>
                  </a:lnTo>
                  <a:lnTo>
                    <a:pt x="197" y="960"/>
                  </a:lnTo>
                  <a:lnTo>
                    <a:pt x="199" y="960"/>
                  </a:lnTo>
                  <a:lnTo>
                    <a:pt x="199" y="963"/>
                  </a:lnTo>
                  <a:lnTo>
                    <a:pt x="199" y="960"/>
                  </a:lnTo>
                  <a:lnTo>
                    <a:pt x="197" y="960"/>
                  </a:lnTo>
                  <a:lnTo>
                    <a:pt x="197" y="958"/>
                  </a:lnTo>
                  <a:lnTo>
                    <a:pt x="197" y="960"/>
                  </a:lnTo>
                  <a:lnTo>
                    <a:pt x="199" y="960"/>
                  </a:lnTo>
                  <a:lnTo>
                    <a:pt x="199" y="958"/>
                  </a:lnTo>
                  <a:lnTo>
                    <a:pt x="199" y="960"/>
                  </a:lnTo>
                  <a:lnTo>
                    <a:pt x="201" y="960"/>
                  </a:lnTo>
                  <a:lnTo>
                    <a:pt x="204" y="960"/>
                  </a:lnTo>
                  <a:lnTo>
                    <a:pt x="204" y="963"/>
                  </a:lnTo>
                  <a:lnTo>
                    <a:pt x="206" y="963"/>
                  </a:lnTo>
                  <a:lnTo>
                    <a:pt x="204" y="960"/>
                  </a:lnTo>
                  <a:lnTo>
                    <a:pt x="206" y="960"/>
                  </a:lnTo>
                  <a:lnTo>
                    <a:pt x="204" y="960"/>
                  </a:lnTo>
                  <a:lnTo>
                    <a:pt x="206" y="960"/>
                  </a:lnTo>
                  <a:lnTo>
                    <a:pt x="204" y="960"/>
                  </a:lnTo>
                  <a:lnTo>
                    <a:pt x="204" y="958"/>
                  </a:lnTo>
                  <a:lnTo>
                    <a:pt x="204" y="960"/>
                  </a:lnTo>
                  <a:lnTo>
                    <a:pt x="201" y="960"/>
                  </a:lnTo>
                  <a:lnTo>
                    <a:pt x="201" y="958"/>
                  </a:lnTo>
                  <a:lnTo>
                    <a:pt x="204" y="958"/>
                  </a:lnTo>
                  <a:lnTo>
                    <a:pt x="204" y="955"/>
                  </a:lnTo>
                  <a:lnTo>
                    <a:pt x="206" y="955"/>
                  </a:lnTo>
                  <a:lnTo>
                    <a:pt x="208" y="955"/>
                  </a:lnTo>
                  <a:lnTo>
                    <a:pt x="208" y="958"/>
                  </a:lnTo>
                  <a:lnTo>
                    <a:pt x="208" y="955"/>
                  </a:lnTo>
                  <a:lnTo>
                    <a:pt x="211" y="955"/>
                  </a:lnTo>
                  <a:lnTo>
                    <a:pt x="211" y="953"/>
                  </a:lnTo>
                  <a:lnTo>
                    <a:pt x="208" y="953"/>
                  </a:lnTo>
                  <a:lnTo>
                    <a:pt x="208" y="951"/>
                  </a:lnTo>
                  <a:lnTo>
                    <a:pt x="211" y="951"/>
                  </a:lnTo>
                  <a:lnTo>
                    <a:pt x="213" y="951"/>
                  </a:lnTo>
                  <a:lnTo>
                    <a:pt x="213" y="953"/>
                  </a:lnTo>
                  <a:lnTo>
                    <a:pt x="213" y="951"/>
                  </a:lnTo>
                  <a:lnTo>
                    <a:pt x="216" y="951"/>
                  </a:lnTo>
                  <a:lnTo>
                    <a:pt x="216" y="953"/>
                  </a:lnTo>
                  <a:lnTo>
                    <a:pt x="213" y="953"/>
                  </a:lnTo>
                  <a:lnTo>
                    <a:pt x="216" y="953"/>
                  </a:lnTo>
                  <a:lnTo>
                    <a:pt x="213" y="953"/>
                  </a:lnTo>
                  <a:lnTo>
                    <a:pt x="213" y="955"/>
                  </a:lnTo>
                  <a:lnTo>
                    <a:pt x="216" y="955"/>
                  </a:lnTo>
                  <a:lnTo>
                    <a:pt x="216" y="953"/>
                  </a:lnTo>
                  <a:lnTo>
                    <a:pt x="216" y="955"/>
                  </a:lnTo>
                  <a:lnTo>
                    <a:pt x="218" y="955"/>
                  </a:lnTo>
                  <a:lnTo>
                    <a:pt x="218" y="958"/>
                  </a:lnTo>
                  <a:lnTo>
                    <a:pt x="218" y="960"/>
                  </a:lnTo>
                  <a:lnTo>
                    <a:pt x="218" y="958"/>
                  </a:lnTo>
                  <a:lnTo>
                    <a:pt x="218" y="960"/>
                  </a:lnTo>
                  <a:lnTo>
                    <a:pt x="218" y="958"/>
                  </a:lnTo>
                  <a:lnTo>
                    <a:pt x="220" y="958"/>
                  </a:lnTo>
                  <a:lnTo>
                    <a:pt x="223" y="958"/>
                  </a:lnTo>
                  <a:lnTo>
                    <a:pt x="220" y="958"/>
                  </a:lnTo>
                  <a:lnTo>
                    <a:pt x="220" y="960"/>
                  </a:lnTo>
                  <a:lnTo>
                    <a:pt x="223" y="958"/>
                  </a:lnTo>
                  <a:lnTo>
                    <a:pt x="223" y="960"/>
                  </a:lnTo>
                  <a:lnTo>
                    <a:pt x="223" y="958"/>
                  </a:lnTo>
                  <a:lnTo>
                    <a:pt x="220" y="958"/>
                  </a:lnTo>
                  <a:lnTo>
                    <a:pt x="223" y="958"/>
                  </a:lnTo>
                  <a:lnTo>
                    <a:pt x="223" y="960"/>
                  </a:lnTo>
                  <a:lnTo>
                    <a:pt x="223" y="963"/>
                  </a:lnTo>
                  <a:lnTo>
                    <a:pt x="220" y="963"/>
                  </a:lnTo>
                  <a:lnTo>
                    <a:pt x="220" y="965"/>
                  </a:lnTo>
                  <a:lnTo>
                    <a:pt x="218" y="965"/>
                  </a:lnTo>
                  <a:lnTo>
                    <a:pt x="218" y="967"/>
                  </a:lnTo>
                  <a:lnTo>
                    <a:pt x="220" y="965"/>
                  </a:lnTo>
                  <a:lnTo>
                    <a:pt x="220" y="963"/>
                  </a:lnTo>
                  <a:lnTo>
                    <a:pt x="223" y="963"/>
                  </a:lnTo>
                  <a:lnTo>
                    <a:pt x="223" y="960"/>
                  </a:lnTo>
                  <a:lnTo>
                    <a:pt x="225" y="960"/>
                  </a:lnTo>
                  <a:lnTo>
                    <a:pt x="225" y="963"/>
                  </a:lnTo>
                  <a:lnTo>
                    <a:pt x="225" y="960"/>
                  </a:lnTo>
                  <a:lnTo>
                    <a:pt x="223" y="960"/>
                  </a:lnTo>
                  <a:lnTo>
                    <a:pt x="225" y="960"/>
                  </a:lnTo>
                  <a:lnTo>
                    <a:pt x="225" y="958"/>
                  </a:lnTo>
                  <a:lnTo>
                    <a:pt x="225" y="960"/>
                  </a:lnTo>
                  <a:lnTo>
                    <a:pt x="225" y="958"/>
                  </a:lnTo>
                  <a:lnTo>
                    <a:pt x="225" y="960"/>
                  </a:lnTo>
                  <a:lnTo>
                    <a:pt x="227" y="960"/>
                  </a:lnTo>
                  <a:lnTo>
                    <a:pt x="227" y="958"/>
                  </a:lnTo>
                  <a:lnTo>
                    <a:pt x="230" y="958"/>
                  </a:lnTo>
                  <a:lnTo>
                    <a:pt x="227" y="958"/>
                  </a:lnTo>
                  <a:lnTo>
                    <a:pt x="230" y="958"/>
                  </a:lnTo>
                  <a:lnTo>
                    <a:pt x="232" y="958"/>
                  </a:lnTo>
                  <a:lnTo>
                    <a:pt x="235" y="958"/>
                  </a:lnTo>
                  <a:lnTo>
                    <a:pt x="237" y="958"/>
                  </a:lnTo>
                  <a:lnTo>
                    <a:pt x="237" y="960"/>
                  </a:lnTo>
                  <a:lnTo>
                    <a:pt x="239" y="958"/>
                  </a:lnTo>
                  <a:lnTo>
                    <a:pt x="242" y="958"/>
                  </a:lnTo>
                  <a:lnTo>
                    <a:pt x="242" y="955"/>
                  </a:lnTo>
                  <a:lnTo>
                    <a:pt x="244" y="955"/>
                  </a:lnTo>
                  <a:lnTo>
                    <a:pt x="242" y="955"/>
                  </a:lnTo>
                  <a:lnTo>
                    <a:pt x="242" y="958"/>
                  </a:lnTo>
                  <a:lnTo>
                    <a:pt x="239" y="958"/>
                  </a:lnTo>
                  <a:lnTo>
                    <a:pt x="237" y="958"/>
                  </a:lnTo>
                  <a:lnTo>
                    <a:pt x="235" y="958"/>
                  </a:lnTo>
                  <a:lnTo>
                    <a:pt x="232" y="958"/>
                  </a:lnTo>
                  <a:lnTo>
                    <a:pt x="230" y="958"/>
                  </a:lnTo>
                  <a:lnTo>
                    <a:pt x="227" y="958"/>
                  </a:lnTo>
                  <a:lnTo>
                    <a:pt x="225" y="958"/>
                  </a:lnTo>
                  <a:lnTo>
                    <a:pt x="227" y="958"/>
                  </a:lnTo>
                  <a:lnTo>
                    <a:pt x="225" y="958"/>
                  </a:lnTo>
                  <a:lnTo>
                    <a:pt x="225" y="955"/>
                  </a:lnTo>
                  <a:lnTo>
                    <a:pt x="227" y="955"/>
                  </a:lnTo>
                  <a:lnTo>
                    <a:pt x="225" y="955"/>
                  </a:lnTo>
                  <a:lnTo>
                    <a:pt x="227" y="955"/>
                  </a:lnTo>
                  <a:lnTo>
                    <a:pt x="230" y="955"/>
                  </a:lnTo>
                  <a:lnTo>
                    <a:pt x="230" y="953"/>
                  </a:lnTo>
                  <a:lnTo>
                    <a:pt x="230" y="955"/>
                  </a:lnTo>
                  <a:lnTo>
                    <a:pt x="230" y="953"/>
                  </a:lnTo>
                  <a:lnTo>
                    <a:pt x="227" y="953"/>
                  </a:lnTo>
                  <a:lnTo>
                    <a:pt x="230" y="953"/>
                  </a:lnTo>
                  <a:lnTo>
                    <a:pt x="227" y="953"/>
                  </a:lnTo>
                  <a:lnTo>
                    <a:pt x="225" y="953"/>
                  </a:lnTo>
                  <a:lnTo>
                    <a:pt x="223" y="953"/>
                  </a:lnTo>
                  <a:lnTo>
                    <a:pt x="223" y="951"/>
                  </a:lnTo>
                  <a:lnTo>
                    <a:pt x="225" y="951"/>
                  </a:lnTo>
                  <a:lnTo>
                    <a:pt x="223" y="951"/>
                  </a:lnTo>
                  <a:lnTo>
                    <a:pt x="225" y="951"/>
                  </a:lnTo>
                  <a:lnTo>
                    <a:pt x="223" y="948"/>
                  </a:lnTo>
                  <a:lnTo>
                    <a:pt x="225" y="948"/>
                  </a:lnTo>
                  <a:lnTo>
                    <a:pt x="225" y="951"/>
                  </a:lnTo>
                  <a:lnTo>
                    <a:pt x="225" y="948"/>
                  </a:lnTo>
                  <a:lnTo>
                    <a:pt x="225" y="951"/>
                  </a:lnTo>
                  <a:lnTo>
                    <a:pt x="227" y="951"/>
                  </a:lnTo>
                  <a:lnTo>
                    <a:pt x="227" y="953"/>
                  </a:lnTo>
                  <a:lnTo>
                    <a:pt x="227" y="951"/>
                  </a:lnTo>
                  <a:lnTo>
                    <a:pt x="227" y="953"/>
                  </a:lnTo>
                  <a:lnTo>
                    <a:pt x="230" y="953"/>
                  </a:lnTo>
                  <a:lnTo>
                    <a:pt x="232" y="953"/>
                  </a:lnTo>
                  <a:lnTo>
                    <a:pt x="232" y="951"/>
                  </a:lnTo>
                  <a:lnTo>
                    <a:pt x="235" y="951"/>
                  </a:lnTo>
                  <a:lnTo>
                    <a:pt x="237" y="951"/>
                  </a:lnTo>
                  <a:lnTo>
                    <a:pt x="235" y="951"/>
                  </a:lnTo>
                  <a:lnTo>
                    <a:pt x="232" y="951"/>
                  </a:lnTo>
                  <a:lnTo>
                    <a:pt x="232" y="948"/>
                  </a:lnTo>
                  <a:lnTo>
                    <a:pt x="230" y="948"/>
                  </a:lnTo>
                  <a:lnTo>
                    <a:pt x="230" y="951"/>
                  </a:lnTo>
                  <a:lnTo>
                    <a:pt x="232" y="951"/>
                  </a:lnTo>
                  <a:lnTo>
                    <a:pt x="230" y="951"/>
                  </a:lnTo>
                  <a:lnTo>
                    <a:pt x="230" y="953"/>
                  </a:lnTo>
                  <a:lnTo>
                    <a:pt x="230" y="951"/>
                  </a:lnTo>
                  <a:lnTo>
                    <a:pt x="230" y="953"/>
                  </a:lnTo>
                  <a:lnTo>
                    <a:pt x="227" y="953"/>
                  </a:lnTo>
                  <a:lnTo>
                    <a:pt x="227" y="951"/>
                  </a:lnTo>
                  <a:lnTo>
                    <a:pt x="225" y="951"/>
                  </a:lnTo>
                  <a:lnTo>
                    <a:pt x="225" y="948"/>
                  </a:lnTo>
                  <a:lnTo>
                    <a:pt x="225" y="951"/>
                  </a:lnTo>
                  <a:lnTo>
                    <a:pt x="225" y="948"/>
                  </a:lnTo>
                  <a:lnTo>
                    <a:pt x="225" y="946"/>
                  </a:lnTo>
                  <a:lnTo>
                    <a:pt x="225" y="944"/>
                  </a:lnTo>
                  <a:lnTo>
                    <a:pt x="227" y="944"/>
                  </a:lnTo>
                  <a:lnTo>
                    <a:pt x="230" y="944"/>
                  </a:lnTo>
                  <a:lnTo>
                    <a:pt x="230" y="941"/>
                  </a:lnTo>
                  <a:lnTo>
                    <a:pt x="232" y="941"/>
                  </a:lnTo>
                  <a:lnTo>
                    <a:pt x="232" y="944"/>
                  </a:lnTo>
                  <a:lnTo>
                    <a:pt x="232" y="941"/>
                  </a:lnTo>
                  <a:lnTo>
                    <a:pt x="230" y="941"/>
                  </a:lnTo>
                  <a:lnTo>
                    <a:pt x="232" y="941"/>
                  </a:lnTo>
                  <a:lnTo>
                    <a:pt x="235" y="941"/>
                  </a:lnTo>
                  <a:lnTo>
                    <a:pt x="232" y="941"/>
                  </a:lnTo>
                  <a:lnTo>
                    <a:pt x="235" y="941"/>
                  </a:lnTo>
                  <a:lnTo>
                    <a:pt x="235" y="939"/>
                  </a:lnTo>
                  <a:lnTo>
                    <a:pt x="237" y="939"/>
                  </a:lnTo>
                  <a:lnTo>
                    <a:pt x="237" y="941"/>
                  </a:lnTo>
                  <a:lnTo>
                    <a:pt x="235" y="941"/>
                  </a:lnTo>
                  <a:lnTo>
                    <a:pt x="237" y="941"/>
                  </a:lnTo>
                  <a:lnTo>
                    <a:pt x="239" y="941"/>
                  </a:lnTo>
                  <a:lnTo>
                    <a:pt x="239" y="939"/>
                  </a:lnTo>
                  <a:lnTo>
                    <a:pt x="237" y="939"/>
                  </a:lnTo>
                  <a:lnTo>
                    <a:pt x="235" y="939"/>
                  </a:lnTo>
                  <a:lnTo>
                    <a:pt x="232" y="939"/>
                  </a:lnTo>
                  <a:lnTo>
                    <a:pt x="235" y="936"/>
                  </a:lnTo>
                  <a:lnTo>
                    <a:pt x="237" y="936"/>
                  </a:lnTo>
                  <a:lnTo>
                    <a:pt x="239" y="936"/>
                  </a:lnTo>
                  <a:lnTo>
                    <a:pt x="237" y="936"/>
                  </a:lnTo>
                  <a:lnTo>
                    <a:pt x="239" y="936"/>
                  </a:lnTo>
                  <a:lnTo>
                    <a:pt x="237" y="936"/>
                  </a:lnTo>
                  <a:lnTo>
                    <a:pt x="235" y="936"/>
                  </a:lnTo>
                  <a:lnTo>
                    <a:pt x="232" y="936"/>
                  </a:lnTo>
                  <a:lnTo>
                    <a:pt x="235" y="936"/>
                  </a:lnTo>
                  <a:lnTo>
                    <a:pt x="235" y="934"/>
                  </a:lnTo>
                  <a:lnTo>
                    <a:pt x="237" y="934"/>
                  </a:lnTo>
                  <a:lnTo>
                    <a:pt x="239" y="934"/>
                  </a:lnTo>
                  <a:lnTo>
                    <a:pt x="239" y="932"/>
                  </a:lnTo>
                  <a:lnTo>
                    <a:pt x="239" y="934"/>
                  </a:lnTo>
                  <a:lnTo>
                    <a:pt x="239" y="932"/>
                  </a:lnTo>
                  <a:lnTo>
                    <a:pt x="242" y="932"/>
                  </a:lnTo>
                  <a:lnTo>
                    <a:pt x="244" y="932"/>
                  </a:lnTo>
                  <a:lnTo>
                    <a:pt x="246" y="932"/>
                  </a:lnTo>
                  <a:lnTo>
                    <a:pt x="246" y="929"/>
                  </a:lnTo>
                  <a:lnTo>
                    <a:pt x="249" y="929"/>
                  </a:lnTo>
                  <a:lnTo>
                    <a:pt x="251" y="929"/>
                  </a:lnTo>
                  <a:lnTo>
                    <a:pt x="251" y="932"/>
                  </a:lnTo>
                  <a:lnTo>
                    <a:pt x="254" y="932"/>
                  </a:lnTo>
                  <a:lnTo>
                    <a:pt x="256" y="932"/>
                  </a:lnTo>
                  <a:lnTo>
                    <a:pt x="258" y="932"/>
                  </a:lnTo>
                  <a:lnTo>
                    <a:pt x="258" y="934"/>
                  </a:lnTo>
                  <a:lnTo>
                    <a:pt x="261" y="934"/>
                  </a:lnTo>
                  <a:lnTo>
                    <a:pt x="258" y="934"/>
                  </a:lnTo>
                  <a:lnTo>
                    <a:pt x="258" y="932"/>
                  </a:lnTo>
                  <a:lnTo>
                    <a:pt x="256" y="932"/>
                  </a:lnTo>
                  <a:lnTo>
                    <a:pt x="254" y="932"/>
                  </a:lnTo>
                  <a:lnTo>
                    <a:pt x="251" y="932"/>
                  </a:lnTo>
                  <a:lnTo>
                    <a:pt x="251" y="929"/>
                  </a:lnTo>
                  <a:lnTo>
                    <a:pt x="249" y="929"/>
                  </a:lnTo>
                  <a:lnTo>
                    <a:pt x="246" y="929"/>
                  </a:lnTo>
                  <a:lnTo>
                    <a:pt x="244" y="932"/>
                  </a:lnTo>
                  <a:lnTo>
                    <a:pt x="242" y="932"/>
                  </a:lnTo>
                  <a:lnTo>
                    <a:pt x="239" y="932"/>
                  </a:lnTo>
                  <a:lnTo>
                    <a:pt x="237" y="934"/>
                  </a:lnTo>
                  <a:lnTo>
                    <a:pt x="235" y="934"/>
                  </a:lnTo>
                  <a:lnTo>
                    <a:pt x="232" y="934"/>
                  </a:lnTo>
                  <a:lnTo>
                    <a:pt x="232" y="936"/>
                  </a:lnTo>
                  <a:lnTo>
                    <a:pt x="230" y="939"/>
                  </a:lnTo>
                  <a:lnTo>
                    <a:pt x="227" y="939"/>
                  </a:lnTo>
                  <a:lnTo>
                    <a:pt x="225" y="939"/>
                  </a:lnTo>
                  <a:lnTo>
                    <a:pt x="227" y="939"/>
                  </a:lnTo>
                  <a:lnTo>
                    <a:pt x="227" y="941"/>
                  </a:lnTo>
                  <a:lnTo>
                    <a:pt x="225" y="941"/>
                  </a:lnTo>
                  <a:lnTo>
                    <a:pt x="223" y="941"/>
                  </a:lnTo>
                  <a:lnTo>
                    <a:pt x="220" y="944"/>
                  </a:lnTo>
                  <a:lnTo>
                    <a:pt x="218" y="944"/>
                  </a:lnTo>
                  <a:lnTo>
                    <a:pt x="220" y="944"/>
                  </a:lnTo>
                  <a:lnTo>
                    <a:pt x="220" y="941"/>
                  </a:lnTo>
                  <a:lnTo>
                    <a:pt x="220" y="944"/>
                  </a:lnTo>
                  <a:lnTo>
                    <a:pt x="218" y="944"/>
                  </a:lnTo>
                  <a:lnTo>
                    <a:pt x="218" y="941"/>
                  </a:lnTo>
                  <a:lnTo>
                    <a:pt x="220" y="941"/>
                  </a:lnTo>
                  <a:lnTo>
                    <a:pt x="223" y="941"/>
                  </a:lnTo>
                  <a:lnTo>
                    <a:pt x="225" y="941"/>
                  </a:lnTo>
                  <a:lnTo>
                    <a:pt x="225" y="939"/>
                  </a:lnTo>
                  <a:lnTo>
                    <a:pt x="223" y="939"/>
                  </a:lnTo>
                  <a:lnTo>
                    <a:pt x="220" y="939"/>
                  </a:lnTo>
                  <a:lnTo>
                    <a:pt x="223" y="939"/>
                  </a:lnTo>
                  <a:lnTo>
                    <a:pt x="220" y="939"/>
                  </a:lnTo>
                  <a:lnTo>
                    <a:pt x="220" y="936"/>
                  </a:lnTo>
                  <a:lnTo>
                    <a:pt x="223" y="936"/>
                  </a:lnTo>
                  <a:lnTo>
                    <a:pt x="220" y="936"/>
                  </a:lnTo>
                  <a:lnTo>
                    <a:pt x="220" y="934"/>
                  </a:lnTo>
                  <a:lnTo>
                    <a:pt x="223" y="934"/>
                  </a:lnTo>
                  <a:lnTo>
                    <a:pt x="225" y="934"/>
                  </a:lnTo>
                  <a:lnTo>
                    <a:pt x="225" y="932"/>
                  </a:lnTo>
                  <a:lnTo>
                    <a:pt x="227" y="932"/>
                  </a:lnTo>
                  <a:lnTo>
                    <a:pt x="227" y="934"/>
                  </a:lnTo>
                  <a:lnTo>
                    <a:pt x="230" y="934"/>
                  </a:lnTo>
                  <a:lnTo>
                    <a:pt x="230" y="932"/>
                  </a:lnTo>
                  <a:lnTo>
                    <a:pt x="230" y="934"/>
                  </a:lnTo>
                  <a:lnTo>
                    <a:pt x="232" y="934"/>
                  </a:lnTo>
                  <a:lnTo>
                    <a:pt x="230" y="934"/>
                  </a:lnTo>
                  <a:lnTo>
                    <a:pt x="230" y="932"/>
                  </a:lnTo>
                  <a:lnTo>
                    <a:pt x="232" y="932"/>
                  </a:lnTo>
                  <a:lnTo>
                    <a:pt x="230" y="932"/>
                  </a:lnTo>
                  <a:lnTo>
                    <a:pt x="230" y="934"/>
                  </a:lnTo>
                  <a:lnTo>
                    <a:pt x="230" y="932"/>
                  </a:lnTo>
                  <a:lnTo>
                    <a:pt x="227" y="932"/>
                  </a:lnTo>
                  <a:lnTo>
                    <a:pt x="230" y="929"/>
                  </a:lnTo>
                  <a:lnTo>
                    <a:pt x="230" y="932"/>
                  </a:lnTo>
                  <a:lnTo>
                    <a:pt x="230" y="929"/>
                  </a:lnTo>
                  <a:lnTo>
                    <a:pt x="232" y="929"/>
                  </a:lnTo>
                  <a:lnTo>
                    <a:pt x="232" y="932"/>
                  </a:lnTo>
                  <a:lnTo>
                    <a:pt x="232" y="929"/>
                  </a:lnTo>
                  <a:lnTo>
                    <a:pt x="235" y="929"/>
                  </a:lnTo>
                  <a:lnTo>
                    <a:pt x="237" y="929"/>
                  </a:lnTo>
                  <a:lnTo>
                    <a:pt x="235" y="929"/>
                  </a:lnTo>
                  <a:lnTo>
                    <a:pt x="232" y="929"/>
                  </a:lnTo>
                  <a:lnTo>
                    <a:pt x="232" y="927"/>
                  </a:lnTo>
                  <a:lnTo>
                    <a:pt x="235" y="927"/>
                  </a:lnTo>
                  <a:lnTo>
                    <a:pt x="237" y="927"/>
                  </a:lnTo>
                  <a:lnTo>
                    <a:pt x="237" y="929"/>
                  </a:lnTo>
                  <a:lnTo>
                    <a:pt x="237" y="927"/>
                  </a:lnTo>
                  <a:lnTo>
                    <a:pt x="239" y="927"/>
                  </a:lnTo>
                  <a:lnTo>
                    <a:pt x="239" y="925"/>
                  </a:lnTo>
                  <a:lnTo>
                    <a:pt x="242" y="925"/>
                  </a:lnTo>
                  <a:lnTo>
                    <a:pt x="244" y="925"/>
                  </a:lnTo>
                  <a:lnTo>
                    <a:pt x="242" y="925"/>
                  </a:lnTo>
                  <a:lnTo>
                    <a:pt x="244" y="925"/>
                  </a:lnTo>
                  <a:lnTo>
                    <a:pt x="242" y="925"/>
                  </a:lnTo>
                  <a:lnTo>
                    <a:pt x="239" y="925"/>
                  </a:lnTo>
                  <a:lnTo>
                    <a:pt x="239" y="927"/>
                  </a:lnTo>
                  <a:lnTo>
                    <a:pt x="237" y="927"/>
                  </a:lnTo>
                  <a:lnTo>
                    <a:pt x="237" y="925"/>
                  </a:lnTo>
                  <a:lnTo>
                    <a:pt x="239" y="925"/>
                  </a:lnTo>
                  <a:lnTo>
                    <a:pt x="239" y="922"/>
                  </a:lnTo>
                  <a:lnTo>
                    <a:pt x="242" y="920"/>
                  </a:lnTo>
                  <a:lnTo>
                    <a:pt x="244" y="920"/>
                  </a:lnTo>
                  <a:lnTo>
                    <a:pt x="244" y="917"/>
                  </a:lnTo>
                  <a:lnTo>
                    <a:pt x="246" y="920"/>
                  </a:lnTo>
                  <a:lnTo>
                    <a:pt x="244" y="920"/>
                  </a:lnTo>
                  <a:lnTo>
                    <a:pt x="246" y="920"/>
                  </a:lnTo>
                  <a:lnTo>
                    <a:pt x="244" y="920"/>
                  </a:lnTo>
                  <a:lnTo>
                    <a:pt x="244" y="922"/>
                  </a:lnTo>
                  <a:lnTo>
                    <a:pt x="246" y="922"/>
                  </a:lnTo>
                  <a:lnTo>
                    <a:pt x="244" y="922"/>
                  </a:lnTo>
                  <a:lnTo>
                    <a:pt x="246" y="922"/>
                  </a:lnTo>
                  <a:lnTo>
                    <a:pt x="246" y="925"/>
                  </a:lnTo>
                  <a:lnTo>
                    <a:pt x="246" y="922"/>
                  </a:lnTo>
                  <a:lnTo>
                    <a:pt x="246" y="920"/>
                  </a:lnTo>
                  <a:lnTo>
                    <a:pt x="246" y="922"/>
                  </a:lnTo>
                  <a:lnTo>
                    <a:pt x="249" y="922"/>
                  </a:lnTo>
                  <a:lnTo>
                    <a:pt x="249" y="920"/>
                  </a:lnTo>
                  <a:lnTo>
                    <a:pt x="251" y="920"/>
                  </a:lnTo>
                  <a:lnTo>
                    <a:pt x="249" y="920"/>
                  </a:lnTo>
                  <a:lnTo>
                    <a:pt x="249" y="917"/>
                  </a:lnTo>
                  <a:lnTo>
                    <a:pt x="251" y="915"/>
                  </a:lnTo>
                  <a:lnTo>
                    <a:pt x="254" y="917"/>
                  </a:lnTo>
                  <a:lnTo>
                    <a:pt x="254" y="920"/>
                  </a:lnTo>
                  <a:lnTo>
                    <a:pt x="254" y="922"/>
                  </a:lnTo>
                  <a:lnTo>
                    <a:pt x="251" y="922"/>
                  </a:lnTo>
                  <a:lnTo>
                    <a:pt x="254" y="922"/>
                  </a:lnTo>
                  <a:lnTo>
                    <a:pt x="256" y="922"/>
                  </a:lnTo>
                  <a:lnTo>
                    <a:pt x="254" y="922"/>
                  </a:lnTo>
                  <a:lnTo>
                    <a:pt x="254" y="925"/>
                  </a:lnTo>
                  <a:lnTo>
                    <a:pt x="251" y="925"/>
                  </a:lnTo>
                  <a:lnTo>
                    <a:pt x="249" y="925"/>
                  </a:lnTo>
                  <a:lnTo>
                    <a:pt x="246" y="925"/>
                  </a:lnTo>
                  <a:lnTo>
                    <a:pt x="244" y="925"/>
                  </a:lnTo>
                  <a:lnTo>
                    <a:pt x="246" y="925"/>
                  </a:lnTo>
                  <a:lnTo>
                    <a:pt x="249" y="925"/>
                  </a:lnTo>
                  <a:lnTo>
                    <a:pt x="251" y="925"/>
                  </a:lnTo>
                  <a:lnTo>
                    <a:pt x="249" y="925"/>
                  </a:lnTo>
                  <a:lnTo>
                    <a:pt x="251" y="925"/>
                  </a:lnTo>
                  <a:lnTo>
                    <a:pt x="254" y="925"/>
                  </a:lnTo>
                  <a:lnTo>
                    <a:pt x="256" y="925"/>
                  </a:lnTo>
                  <a:lnTo>
                    <a:pt x="256" y="922"/>
                  </a:lnTo>
                  <a:lnTo>
                    <a:pt x="258" y="922"/>
                  </a:lnTo>
                  <a:lnTo>
                    <a:pt x="258" y="925"/>
                  </a:lnTo>
                  <a:lnTo>
                    <a:pt x="258" y="922"/>
                  </a:lnTo>
                  <a:lnTo>
                    <a:pt x="261" y="922"/>
                  </a:lnTo>
                  <a:lnTo>
                    <a:pt x="261" y="925"/>
                  </a:lnTo>
                  <a:lnTo>
                    <a:pt x="261" y="922"/>
                  </a:lnTo>
                  <a:lnTo>
                    <a:pt x="258" y="922"/>
                  </a:lnTo>
                  <a:lnTo>
                    <a:pt x="261" y="922"/>
                  </a:lnTo>
                  <a:lnTo>
                    <a:pt x="261" y="920"/>
                  </a:lnTo>
                  <a:lnTo>
                    <a:pt x="261" y="922"/>
                  </a:lnTo>
                  <a:lnTo>
                    <a:pt x="263" y="920"/>
                  </a:lnTo>
                  <a:lnTo>
                    <a:pt x="265" y="920"/>
                  </a:lnTo>
                  <a:lnTo>
                    <a:pt x="265" y="917"/>
                  </a:lnTo>
                  <a:lnTo>
                    <a:pt x="268" y="917"/>
                  </a:lnTo>
                  <a:lnTo>
                    <a:pt x="270" y="917"/>
                  </a:lnTo>
                  <a:lnTo>
                    <a:pt x="270" y="915"/>
                  </a:lnTo>
                  <a:lnTo>
                    <a:pt x="273" y="915"/>
                  </a:lnTo>
                  <a:lnTo>
                    <a:pt x="273" y="913"/>
                  </a:lnTo>
                  <a:lnTo>
                    <a:pt x="275" y="913"/>
                  </a:lnTo>
                  <a:lnTo>
                    <a:pt x="275" y="910"/>
                  </a:lnTo>
                  <a:lnTo>
                    <a:pt x="277" y="910"/>
                  </a:lnTo>
                  <a:lnTo>
                    <a:pt x="275" y="910"/>
                  </a:lnTo>
                  <a:lnTo>
                    <a:pt x="275" y="908"/>
                  </a:lnTo>
                  <a:lnTo>
                    <a:pt x="275" y="910"/>
                  </a:lnTo>
                  <a:lnTo>
                    <a:pt x="273" y="910"/>
                  </a:lnTo>
                  <a:lnTo>
                    <a:pt x="273" y="913"/>
                  </a:lnTo>
                  <a:lnTo>
                    <a:pt x="270" y="913"/>
                  </a:lnTo>
                  <a:lnTo>
                    <a:pt x="270" y="915"/>
                  </a:lnTo>
                  <a:lnTo>
                    <a:pt x="268" y="915"/>
                  </a:lnTo>
                  <a:lnTo>
                    <a:pt x="268" y="917"/>
                  </a:lnTo>
                  <a:lnTo>
                    <a:pt x="265" y="917"/>
                  </a:lnTo>
                  <a:lnTo>
                    <a:pt x="263" y="917"/>
                  </a:lnTo>
                  <a:lnTo>
                    <a:pt x="263" y="920"/>
                  </a:lnTo>
                  <a:lnTo>
                    <a:pt x="261" y="920"/>
                  </a:lnTo>
                  <a:lnTo>
                    <a:pt x="258" y="920"/>
                  </a:lnTo>
                  <a:lnTo>
                    <a:pt x="256" y="920"/>
                  </a:lnTo>
                  <a:lnTo>
                    <a:pt x="256" y="917"/>
                  </a:lnTo>
                  <a:lnTo>
                    <a:pt x="258" y="917"/>
                  </a:lnTo>
                  <a:lnTo>
                    <a:pt x="261" y="917"/>
                  </a:lnTo>
                  <a:lnTo>
                    <a:pt x="261" y="915"/>
                  </a:lnTo>
                  <a:lnTo>
                    <a:pt x="258" y="915"/>
                  </a:lnTo>
                  <a:lnTo>
                    <a:pt x="256" y="915"/>
                  </a:lnTo>
                  <a:lnTo>
                    <a:pt x="258" y="915"/>
                  </a:lnTo>
                  <a:lnTo>
                    <a:pt x="258" y="913"/>
                  </a:lnTo>
                  <a:lnTo>
                    <a:pt x="261" y="913"/>
                  </a:lnTo>
                  <a:lnTo>
                    <a:pt x="258" y="913"/>
                  </a:lnTo>
                  <a:lnTo>
                    <a:pt x="256" y="913"/>
                  </a:lnTo>
                  <a:lnTo>
                    <a:pt x="258" y="913"/>
                  </a:lnTo>
                  <a:lnTo>
                    <a:pt x="256" y="913"/>
                  </a:lnTo>
                  <a:lnTo>
                    <a:pt x="254" y="913"/>
                  </a:lnTo>
                  <a:lnTo>
                    <a:pt x="256" y="913"/>
                  </a:lnTo>
                  <a:lnTo>
                    <a:pt x="254" y="913"/>
                  </a:lnTo>
                  <a:lnTo>
                    <a:pt x="254" y="915"/>
                  </a:lnTo>
                  <a:lnTo>
                    <a:pt x="254" y="913"/>
                  </a:lnTo>
                  <a:lnTo>
                    <a:pt x="256" y="913"/>
                  </a:lnTo>
                  <a:lnTo>
                    <a:pt x="256" y="910"/>
                  </a:lnTo>
                  <a:lnTo>
                    <a:pt x="258" y="910"/>
                  </a:lnTo>
                  <a:lnTo>
                    <a:pt x="261" y="910"/>
                  </a:lnTo>
                  <a:lnTo>
                    <a:pt x="261" y="908"/>
                  </a:lnTo>
                  <a:lnTo>
                    <a:pt x="258" y="910"/>
                  </a:lnTo>
                  <a:lnTo>
                    <a:pt x="258" y="908"/>
                  </a:lnTo>
                  <a:lnTo>
                    <a:pt x="261" y="908"/>
                  </a:lnTo>
                  <a:lnTo>
                    <a:pt x="258" y="908"/>
                  </a:lnTo>
                  <a:lnTo>
                    <a:pt x="261" y="908"/>
                  </a:lnTo>
                  <a:lnTo>
                    <a:pt x="258" y="908"/>
                  </a:lnTo>
                  <a:lnTo>
                    <a:pt x="256" y="908"/>
                  </a:lnTo>
                  <a:lnTo>
                    <a:pt x="256" y="910"/>
                  </a:lnTo>
                  <a:lnTo>
                    <a:pt x="254" y="910"/>
                  </a:lnTo>
                  <a:lnTo>
                    <a:pt x="251" y="910"/>
                  </a:lnTo>
                  <a:lnTo>
                    <a:pt x="254" y="910"/>
                  </a:lnTo>
                  <a:lnTo>
                    <a:pt x="254" y="913"/>
                  </a:lnTo>
                  <a:lnTo>
                    <a:pt x="251" y="913"/>
                  </a:lnTo>
                  <a:lnTo>
                    <a:pt x="251" y="915"/>
                  </a:lnTo>
                  <a:lnTo>
                    <a:pt x="249" y="915"/>
                  </a:lnTo>
                  <a:lnTo>
                    <a:pt x="246" y="915"/>
                  </a:lnTo>
                  <a:lnTo>
                    <a:pt x="249" y="915"/>
                  </a:lnTo>
                  <a:lnTo>
                    <a:pt x="246" y="915"/>
                  </a:lnTo>
                  <a:lnTo>
                    <a:pt x="249" y="915"/>
                  </a:lnTo>
                  <a:lnTo>
                    <a:pt x="249" y="913"/>
                  </a:lnTo>
                  <a:lnTo>
                    <a:pt x="249" y="910"/>
                  </a:lnTo>
                  <a:lnTo>
                    <a:pt x="246" y="910"/>
                  </a:lnTo>
                  <a:lnTo>
                    <a:pt x="249" y="910"/>
                  </a:lnTo>
                  <a:lnTo>
                    <a:pt x="246" y="910"/>
                  </a:lnTo>
                  <a:lnTo>
                    <a:pt x="249" y="910"/>
                  </a:lnTo>
                  <a:lnTo>
                    <a:pt x="249" y="908"/>
                  </a:lnTo>
                  <a:lnTo>
                    <a:pt x="251" y="908"/>
                  </a:lnTo>
                  <a:lnTo>
                    <a:pt x="251" y="906"/>
                  </a:lnTo>
                  <a:lnTo>
                    <a:pt x="251" y="908"/>
                  </a:lnTo>
                  <a:lnTo>
                    <a:pt x="251" y="906"/>
                  </a:lnTo>
                  <a:lnTo>
                    <a:pt x="254" y="906"/>
                  </a:lnTo>
                  <a:lnTo>
                    <a:pt x="251" y="908"/>
                  </a:lnTo>
                  <a:lnTo>
                    <a:pt x="254" y="908"/>
                  </a:lnTo>
                  <a:lnTo>
                    <a:pt x="254" y="906"/>
                  </a:lnTo>
                  <a:lnTo>
                    <a:pt x="251" y="906"/>
                  </a:lnTo>
                  <a:lnTo>
                    <a:pt x="249" y="906"/>
                  </a:lnTo>
                  <a:lnTo>
                    <a:pt x="251" y="906"/>
                  </a:lnTo>
                  <a:lnTo>
                    <a:pt x="251" y="903"/>
                  </a:lnTo>
                  <a:lnTo>
                    <a:pt x="254" y="903"/>
                  </a:lnTo>
                  <a:lnTo>
                    <a:pt x="256" y="903"/>
                  </a:lnTo>
                  <a:lnTo>
                    <a:pt x="256" y="901"/>
                  </a:lnTo>
                  <a:lnTo>
                    <a:pt x="254" y="901"/>
                  </a:lnTo>
                  <a:lnTo>
                    <a:pt x="256" y="901"/>
                  </a:lnTo>
                  <a:lnTo>
                    <a:pt x="254" y="901"/>
                  </a:lnTo>
                  <a:lnTo>
                    <a:pt x="256" y="901"/>
                  </a:lnTo>
                  <a:lnTo>
                    <a:pt x="254" y="901"/>
                  </a:lnTo>
                  <a:lnTo>
                    <a:pt x="254" y="898"/>
                  </a:lnTo>
                  <a:lnTo>
                    <a:pt x="254" y="901"/>
                  </a:lnTo>
                  <a:lnTo>
                    <a:pt x="251" y="901"/>
                  </a:lnTo>
                  <a:lnTo>
                    <a:pt x="251" y="903"/>
                  </a:lnTo>
                  <a:lnTo>
                    <a:pt x="251" y="901"/>
                  </a:lnTo>
                  <a:lnTo>
                    <a:pt x="251" y="903"/>
                  </a:lnTo>
                  <a:lnTo>
                    <a:pt x="251" y="901"/>
                  </a:lnTo>
                  <a:lnTo>
                    <a:pt x="254" y="901"/>
                  </a:lnTo>
                  <a:lnTo>
                    <a:pt x="251" y="898"/>
                  </a:lnTo>
                  <a:lnTo>
                    <a:pt x="254" y="898"/>
                  </a:lnTo>
                  <a:lnTo>
                    <a:pt x="254" y="896"/>
                  </a:lnTo>
                  <a:lnTo>
                    <a:pt x="254" y="898"/>
                  </a:lnTo>
                  <a:lnTo>
                    <a:pt x="254" y="896"/>
                  </a:lnTo>
                  <a:lnTo>
                    <a:pt x="251" y="896"/>
                  </a:lnTo>
                  <a:lnTo>
                    <a:pt x="254" y="896"/>
                  </a:lnTo>
                  <a:lnTo>
                    <a:pt x="251" y="896"/>
                  </a:lnTo>
                  <a:lnTo>
                    <a:pt x="254" y="896"/>
                  </a:lnTo>
                  <a:lnTo>
                    <a:pt x="254" y="894"/>
                  </a:lnTo>
                  <a:lnTo>
                    <a:pt x="254" y="896"/>
                  </a:lnTo>
                  <a:lnTo>
                    <a:pt x="256" y="896"/>
                  </a:lnTo>
                  <a:lnTo>
                    <a:pt x="256" y="898"/>
                  </a:lnTo>
                  <a:lnTo>
                    <a:pt x="258" y="898"/>
                  </a:lnTo>
                  <a:lnTo>
                    <a:pt x="258" y="901"/>
                  </a:lnTo>
                  <a:lnTo>
                    <a:pt x="261" y="901"/>
                  </a:lnTo>
                  <a:lnTo>
                    <a:pt x="258" y="903"/>
                  </a:lnTo>
                  <a:lnTo>
                    <a:pt x="258" y="906"/>
                  </a:lnTo>
                  <a:lnTo>
                    <a:pt x="258" y="903"/>
                  </a:lnTo>
                  <a:lnTo>
                    <a:pt x="261" y="903"/>
                  </a:lnTo>
                  <a:lnTo>
                    <a:pt x="261" y="906"/>
                  </a:lnTo>
                  <a:lnTo>
                    <a:pt x="261" y="903"/>
                  </a:lnTo>
                  <a:lnTo>
                    <a:pt x="261" y="901"/>
                  </a:lnTo>
                  <a:lnTo>
                    <a:pt x="261" y="903"/>
                  </a:lnTo>
                  <a:lnTo>
                    <a:pt x="261" y="901"/>
                  </a:lnTo>
                  <a:lnTo>
                    <a:pt x="261" y="903"/>
                  </a:lnTo>
                  <a:lnTo>
                    <a:pt x="261" y="901"/>
                  </a:lnTo>
                  <a:lnTo>
                    <a:pt x="261" y="903"/>
                  </a:lnTo>
                  <a:lnTo>
                    <a:pt x="263" y="903"/>
                  </a:lnTo>
                  <a:lnTo>
                    <a:pt x="261" y="903"/>
                  </a:lnTo>
                  <a:lnTo>
                    <a:pt x="263" y="903"/>
                  </a:lnTo>
                  <a:lnTo>
                    <a:pt x="263" y="906"/>
                  </a:lnTo>
                  <a:lnTo>
                    <a:pt x="263" y="903"/>
                  </a:lnTo>
                  <a:lnTo>
                    <a:pt x="265" y="903"/>
                  </a:lnTo>
                  <a:lnTo>
                    <a:pt x="265" y="906"/>
                  </a:lnTo>
                  <a:lnTo>
                    <a:pt x="268" y="906"/>
                  </a:lnTo>
                  <a:lnTo>
                    <a:pt x="268" y="908"/>
                  </a:lnTo>
                  <a:lnTo>
                    <a:pt x="268" y="906"/>
                  </a:lnTo>
                  <a:lnTo>
                    <a:pt x="265" y="906"/>
                  </a:lnTo>
                  <a:lnTo>
                    <a:pt x="265" y="903"/>
                  </a:lnTo>
                  <a:lnTo>
                    <a:pt x="268" y="903"/>
                  </a:lnTo>
                  <a:lnTo>
                    <a:pt x="270" y="901"/>
                  </a:lnTo>
                  <a:lnTo>
                    <a:pt x="270" y="903"/>
                  </a:lnTo>
                  <a:lnTo>
                    <a:pt x="270" y="901"/>
                  </a:lnTo>
                  <a:lnTo>
                    <a:pt x="270" y="903"/>
                  </a:lnTo>
                  <a:lnTo>
                    <a:pt x="270" y="901"/>
                  </a:lnTo>
                  <a:lnTo>
                    <a:pt x="268" y="901"/>
                  </a:lnTo>
                  <a:lnTo>
                    <a:pt x="265" y="901"/>
                  </a:lnTo>
                  <a:lnTo>
                    <a:pt x="265" y="903"/>
                  </a:lnTo>
                  <a:lnTo>
                    <a:pt x="265" y="901"/>
                  </a:lnTo>
                  <a:lnTo>
                    <a:pt x="263" y="901"/>
                  </a:lnTo>
                  <a:lnTo>
                    <a:pt x="263" y="898"/>
                  </a:lnTo>
                  <a:lnTo>
                    <a:pt x="265" y="898"/>
                  </a:lnTo>
                  <a:lnTo>
                    <a:pt x="263" y="898"/>
                  </a:lnTo>
                  <a:lnTo>
                    <a:pt x="263" y="896"/>
                  </a:lnTo>
                  <a:lnTo>
                    <a:pt x="263" y="894"/>
                  </a:lnTo>
                  <a:lnTo>
                    <a:pt x="263" y="896"/>
                  </a:lnTo>
                  <a:lnTo>
                    <a:pt x="263" y="898"/>
                  </a:lnTo>
                  <a:lnTo>
                    <a:pt x="261" y="898"/>
                  </a:lnTo>
                  <a:lnTo>
                    <a:pt x="261" y="896"/>
                  </a:lnTo>
                  <a:lnTo>
                    <a:pt x="263" y="896"/>
                  </a:lnTo>
                  <a:lnTo>
                    <a:pt x="261" y="896"/>
                  </a:lnTo>
                  <a:lnTo>
                    <a:pt x="261" y="898"/>
                  </a:lnTo>
                  <a:lnTo>
                    <a:pt x="258" y="898"/>
                  </a:lnTo>
                  <a:lnTo>
                    <a:pt x="258" y="896"/>
                  </a:lnTo>
                  <a:lnTo>
                    <a:pt x="258" y="894"/>
                  </a:lnTo>
                  <a:lnTo>
                    <a:pt x="258" y="896"/>
                  </a:lnTo>
                  <a:lnTo>
                    <a:pt x="256" y="896"/>
                  </a:lnTo>
                  <a:lnTo>
                    <a:pt x="256" y="894"/>
                  </a:lnTo>
                  <a:lnTo>
                    <a:pt x="256" y="891"/>
                  </a:lnTo>
                  <a:lnTo>
                    <a:pt x="258" y="891"/>
                  </a:lnTo>
                  <a:lnTo>
                    <a:pt x="258" y="889"/>
                  </a:lnTo>
                  <a:lnTo>
                    <a:pt x="261" y="887"/>
                  </a:lnTo>
                  <a:lnTo>
                    <a:pt x="263" y="887"/>
                  </a:lnTo>
                  <a:lnTo>
                    <a:pt x="263" y="889"/>
                  </a:lnTo>
                  <a:lnTo>
                    <a:pt x="265" y="889"/>
                  </a:lnTo>
                  <a:lnTo>
                    <a:pt x="265" y="891"/>
                  </a:lnTo>
                  <a:lnTo>
                    <a:pt x="265" y="889"/>
                  </a:lnTo>
                  <a:lnTo>
                    <a:pt x="265" y="891"/>
                  </a:lnTo>
                  <a:lnTo>
                    <a:pt x="265" y="889"/>
                  </a:lnTo>
                  <a:lnTo>
                    <a:pt x="265" y="891"/>
                  </a:lnTo>
                  <a:lnTo>
                    <a:pt x="268" y="891"/>
                  </a:lnTo>
                  <a:lnTo>
                    <a:pt x="270" y="891"/>
                  </a:lnTo>
                  <a:lnTo>
                    <a:pt x="268" y="891"/>
                  </a:lnTo>
                  <a:lnTo>
                    <a:pt x="265" y="891"/>
                  </a:lnTo>
                  <a:lnTo>
                    <a:pt x="265" y="889"/>
                  </a:lnTo>
                  <a:lnTo>
                    <a:pt x="268" y="889"/>
                  </a:lnTo>
                  <a:lnTo>
                    <a:pt x="265" y="889"/>
                  </a:lnTo>
                  <a:lnTo>
                    <a:pt x="265" y="887"/>
                  </a:lnTo>
                  <a:lnTo>
                    <a:pt x="265" y="889"/>
                  </a:lnTo>
                  <a:lnTo>
                    <a:pt x="265" y="887"/>
                  </a:lnTo>
                  <a:lnTo>
                    <a:pt x="263" y="887"/>
                  </a:lnTo>
                  <a:lnTo>
                    <a:pt x="263" y="884"/>
                  </a:lnTo>
                  <a:lnTo>
                    <a:pt x="265" y="884"/>
                  </a:lnTo>
                  <a:lnTo>
                    <a:pt x="265" y="882"/>
                  </a:lnTo>
                  <a:lnTo>
                    <a:pt x="268" y="882"/>
                  </a:lnTo>
                  <a:lnTo>
                    <a:pt x="268" y="884"/>
                  </a:lnTo>
                  <a:lnTo>
                    <a:pt x="268" y="882"/>
                  </a:lnTo>
                  <a:lnTo>
                    <a:pt x="268" y="879"/>
                  </a:lnTo>
                  <a:lnTo>
                    <a:pt x="268" y="882"/>
                  </a:lnTo>
                  <a:lnTo>
                    <a:pt x="265" y="882"/>
                  </a:lnTo>
                  <a:lnTo>
                    <a:pt x="265" y="879"/>
                  </a:lnTo>
                  <a:lnTo>
                    <a:pt x="265" y="877"/>
                  </a:lnTo>
                  <a:lnTo>
                    <a:pt x="265" y="875"/>
                  </a:lnTo>
                  <a:lnTo>
                    <a:pt x="268" y="875"/>
                  </a:lnTo>
                  <a:lnTo>
                    <a:pt x="270" y="875"/>
                  </a:lnTo>
                  <a:lnTo>
                    <a:pt x="270" y="872"/>
                  </a:lnTo>
                  <a:lnTo>
                    <a:pt x="273" y="872"/>
                  </a:lnTo>
                  <a:lnTo>
                    <a:pt x="273" y="875"/>
                  </a:lnTo>
                  <a:lnTo>
                    <a:pt x="275" y="875"/>
                  </a:lnTo>
                  <a:lnTo>
                    <a:pt x="277" y="875"/>
                  </a:lnTo>
                  <a:lnTo>
                    <a:pt x="280" y="875"/>
                  </a:lnTo>
                  <a:lnTo>
                    <a:pt x="280" y="877"/>
                  </a:lnTo>
                  <a:lnTo>
                    <a:pt x="282" y="877"/>
                  </a:lnTo>
                  <a:lnTo>
                    <a:pt x="282" y="879"/>
                  </a:lnTo>
                  <a:lnTo>
                    <a:pt x="284" y="879"/>
                  </a:lnTo>
                  <a:lnTo>
                    <a:pt x="284" y="882"/>
                  </a:lnTo>
                  <a:lnTo>
                    <a:pt x="284" y="884"/>
                  </a:lnTo>
                  <a:lnTo>
                    <a:pt x="284" y="882"/>
                  </a:lnTo>
                  <a:lnTo>
                    <a:pt x="284" y="879"/>
                  </a:lnTo>
                  <a:lnTo>
                    <a:pt x="282" y="879"/>
                  </a:lnTo>
                  <a:lnTo>
                    <a:pt x="282" y="877"/>
                  </a:lnTo>
                  <a:lnTo>
                    <a:pt x="282" y="875"/>
                  </a:lnTo>
                  <a:lnTo>
                    <a:pt x="280" y="875"/>
                  </a:lnTo>
                  <a:lnTo>
                    <a:pt x="277" y="875"/>
                  </a:lnTo>
                  <a:lnTo>
                    <a:pt x="277" y="872"/>
                  </a:lnTo>
                  <a:lnTo>
                    <a:pt x="275" y="872"/>
                  </a:lnTo>
                  <a:lnTo>
                    <a:pt x="275" y="870"/>
                  </a:lnTo>
                  <a:lnTo>
                    <a:pt x="275" y="867"/>
                  </a:lnTo>
                  <a:lnTo>
                    <a:pt x="277" y="867"/>
                  </a:lnTo>
                  <a:lnTo>
                    <a:pt x="280" y="867"/>
                  </a:lnTo>
                  <a:lnTo>
                    <a:pt x="277" y="867"/>
                  </a:lnTo>
                  <a:lnTo>
                    <a:pt x="275" y="867"/>
                  </a:lnTo>
                  <a:lnTo>
                    <a:pt x="273" y="867"/>
                  </a:lnTo>
                  <a:lnTo>
                    <a:pt x="270" y="867"/>
                  </a:lnTo>
                  <a:lnTo>
                    <a:pt x="268" y="870"/>
                  </a:lnTo>
                  <a:lnTo>
                    <a:pt x="265" y="870"/>
                  </a:lnTo>
                  <a:lnTo>
                    <a:pt x="268" y="870"/>
                  </a:lnTo>
                  <a:lnTo>
                    <a:pt x="265" y="870"/>
                  </a:lnTo>
                  <a:lnTo>
                    <a:pt x="268" y="870"/>
                  </a:lnTo>
                  <a:lnTo>
                    <a:pt x="268" y="867"/>
                  </a:lnTo>
                  <a:lnTo>
                    <a:pt x="273" y="867"/>
                  </a:lnTo>
                  <a:lnTo>
                    <a:pt x="270" y="867"/>
                  </a:lnTo>
                  <a:lnTo>
                    <a:pt x="268" y="867"/>
                  </a:lnTo>
                  <a:lnTo>
                    <a:pt x="265" y="870"/>
                  </a:lnTo>
                  <a:lnTo>
                    <a:pt x="268" y="870"/>
                  </a:lnTo>
                  <a:lnTo>
                    <a:pt x="268" y="867"/>
                  </a:lnTo>
                  <a:lnTo>
                    <a:pt x="270" y="867"/>
                  </a:lnTo>
                  <a:lnTo>
                    <a:pt x="268" y="867"/>
                  </a:lnTo>
                  <a:lnTo>
                    <a:pt x="268" y="865"/>
                  </a:lnTo>
                  <a:lnTo>
                    <a:pt x="270" y="865"/>
                  </a:lnTo>
                  <a:lnTo>
                    <a:pt x="273" y="865"/>
                  </a:lnTo>
                  <a:lnTo>
                    <a:pt x="273" y="863"/>
                  </a:lnTo>
                  <a:lnTo>
                    <a:pt x="275" y="863"/>
                  </a:lnTo>
                  <a:lnTo>
                    <a:pt x="277" y="863"/>
                  </a:lnTo>
                  <a:lnTo>
                    <a:pt x="280" y="863"/>
                  </a:lnTo>
                  <a:lnTo>
                    <a:pt x="282" y="863"/>
                  </a:lnTo>
                  <a:lnTo>
                    <a:pt x="282" y="860"/>
                  </a:lnTo>
                  <a:lnTo>
                    <a:pt x="284" y="860"/>
                  </a:lnTo>
                  <a:lnTo>
                    <a:pt x="287" y="860"/>
                  </a:lnTo>
                  <a:lnTo>
                    <a:pt x="287" y="858"/>
                  </a:lnTo>
                  <a:lnTo>
                    <a:pt x="289" y="858"/>
                  </a:lnTo>
                  <a:lnTo>
                    <a:pt x="292" y="858"/>
                  </a:lnTo>
                  <a:lnTo>
                    <a:pt x="294" y="858"/>
                  </a:lnTo>
                  <a:lnTo>
                    <a:pt x="296" y="858"/>
                  </a:lnTo>
                  <a:lnTo>
                    <a:pt x="296" y="860"/>
                  </a:lnTo>
                  <a:lnTo>
                    <a:pt x="294" y="860"/>
                  </a:lnTo>
                  <a:lnTo>
                    <a:pt x="296" y="860"/>
                  </a:lnTo>
                  <a:lnTo>
                    <a:pt x="299" y="860"/>
                  </a:lnTo>
                  <a:lnTo>
                    <a:pt x="296" y="860"/>
                  </a:lnTo>
                  <a:lnTo>
                    <a:pt x="296" y="863"/>
                  </a:lnTo>
                  <a:lnTo>
                    <a:pt x="296" y="865"/>
                  </a:lnTo>
                  <a:lnTo>
                    <a:pt x="296" y="863"/>
                  </a:lnTo>
                  <a:lnTo>
                    <a:pt x="299" y="863"/>
                  </a:lnTo>
                  <a:lnTo>
                    <a:pt x="301" y="863"/>
                  </a:lnTo>
                  <a:lnTo>
                    <a:pt x="303" y="860"/>
                  </a:lnTo>
                  <a:lnTo>
                    <a:pt x="303" y="863"/>
                  </a:lnTo>
                  <a:lnTo>
                    <a:pt x="303" y="865"/>
                  </a:lnTo>
                  <a:lnTo>
                    <a:pt x="303" y="863"/>
                  </a:lnTo>
                  <a:lnTo>
                    <a:pt x="306" y="863"/>
                  </a:lnTo>
                  <a:lnTo>
                    <a:pt x="303" y="860"/>
                  </a:lnTo>
                  <a:lnTo>
                    <a:pt x="301" y="860"/>
                  </a:lnTo>
                  <a:lnTo>
                    <a:pt x="299" y="860"/>
                  </a:lnTo>
                  <a:lnTo>
                    <a:pt x="299" y="858"/>
                  </a:lnTo>
                  <a:lnTo>
                    <a:pt x="296" y="858"/>
                  </a:lnTo>
                  <a:lnTo>
                    <a:pt x="299" y="858"/>
                  </a:lnTo>
                  <a:lnTo>
                    <a:pt x="301" y="858"/>
                  </a:lnTo>
                  <a:lnTo>
                    <a:pt x="303" y="858"/>
                  </a:lnTo>
                  <a:lnTo>
                    <a:pt x="306" y="858"/>
                  </a:lnTo>
                  <a:lnTo>
                    <a:pt x="303" y="858"/>
                  </a:lnTo>
                  <a:lnTo>
                    <a:pt x="303" y="860"/>
                  </a:lnTo>
                  <a:lnTo>
                    <a:pt x="306" y="858"/>
                  </a:lnTo>
                  <a:lnTo>
                    <a:pt x="308" y="858"/>
                  </a:lnTo>
                  <a:lnTo>
                    <a:pt x="311" y="858"/>
                  </a:lnTo>
                  <a:lnTo>
                    <a:pt x="311" y="856"/>
                  </a:lnTo>
                  <a:lnTo>
                    <a:pt x="313" y="856"/>
                  </a:lnTo>
                  <a:lnTo>
                    <a:pt x="313" y="853"/>
                  </a:lnTo>
                  <a:lnTo>
                    <a:pt x="315" y="853"/>
                  </a:lnTo>
                  <a:lnTo>
                    <a:pt x="318" y="853"/>
                  </a:lnTo>
                  <a:lnTo>
                    <a:pt x="315" y="853"/>
                  </a:lnTo>
                  <a:lnTo>
                    <a:pt x="315" y="851"/>
                  </a:lnTo>
                  <a:lnTo>
                    <a:pt x="315" y="853"/>
                  </a:lnTo>
                  <a:lnTo>
                    <a:pt x="313" y="853"/>
                  </a:lnTo>
                  <a:lnTo>
                    <a:pt x="311" y="853"/>
                  </a:lnTo>
                  <a:lnTo>
                    <a:pt x="308" y="853"/>
                  </a:lnTo>
                  <a:lnTo>
                    <a:pt x="308" y="856"/>
                  </a:lnTo>
                  <a:lnTo>
                    <a:pt x="306" y="856"/>
                  </a:lnTo>
                  <a:lnTo>
                    <a:pt x="303" y="856"/>
                  </a:lnTo>
                  <a:lnTo>
                    <a:pt x="301" y="856"/>
                  </a:lnTo>
                  <a:lnTo>
                    <a:pt x="303" y="856"/>
                  </a:lnTo>
                  <a:lnTo>
                    <a:pt x="301" y="856"/>
                  </a:lnTo>
                  <a:lnTo>
                    <a:pt x="303" y="856"/>
                  </a:lnTo>
                  <a:lnTo>
                    <a:pt x="301" y="856"/>
                  </a:lnTo>
                  <a:lnTo>
                    <a:pt x="301" y="858"/>
                  </a:lnTo>
                  <a:lnTo>
                    <a:pt x="301" y="856"/>
                  </a:lnTo>
                  <a:lnTo>
                    <a:pt x="301" y="858"/>
                  </a:lnTo>
                  <a:lnTo>
                    <a:pt x="299" y="858"/>
                  </a:lnTo>
                  <a:lnTo>
                    <a:pt x="296" y="858"/>
                  </a:lnTo>
                  <a:lnTo>
                    <a:pt x="296" y="856"/>
                  </a:lnTo>
                  <a:lnTo>
                    <a:pt x="299" y="856"/>
                  </a:lnTo>
                  <a:lnTo>
                    <a:pt x="296" y="856"/>
                  </a:lnTo>
                  <a:lnTo>
                    <a:pt x="294" y="856"/>
                  </a:lnTo>
                  <a:lnTo>
                    <a:pt x="294" y="858"/>
                  </a:lnTo>
                  <a:lnTo>
                    <a:pt x="292" y="858"/>
                  </a:lnTo>
                  <a:lnTo>
                    <a:pt x="289" y="858"/>
                  </a:lnTo>
                  <a:lnTo>
                    <a:pt x="287" y="858"/>
                  </a:lnTo>
                  <a:lnTo>
                    <a:pt x="284" y="858"/>
                  </a:lnTo>
                  <a:lnTo>
                    <a:pt x="284" y="860"/>
                  </a:lnTo>
                  <a:lnTo>
                    <a:pt x="284" y="858"/>
                  </a:lnTo>
                  <a:lnTo>
                    <a:pt x="284" y="860"/>
                  </a:lnTo>
                  <a:lnTo>
                    <a:pt x="282" y="860"/>
                  </a:lnTo>
                  <a:lnTo>
                    <a:pt x="280" y="860"/>
                  </a:lnTo>
                  <a:lnTo>
                    <a:pt x="277" y="860"/>
                  </a:lnTo>
                  <a:lnTo>
                    <a:pt x="280" y="860"/>
                  </a:lnTo>
                  <a:lnTo>
                    <a:pt x="280" y="858"/>
                  </a:lnTo>
                  <a:lnTo>
                    <a:pt x="282" y="858"/>
                  </a:lnTo>
                  <a:lnTo>
                    <a:pt x="284" y="856"/>
                  </a:lnTo>
                  <a:lnTo>
                    <a:pt x="282" y="856"/>
                  </a:lnTo>
                  <a:lnTo>
                    <a:pt x="282" y="858"/>
                  </a:lnTo>
                  <a:lnTo>
                    <a:pt x="282" y="856"/>
                  </a:lnTo>
                  <a:lnTo>
                    <a:pt x="282" y="858"/>
                  </a:lnTo>
                  <a:lnTo>
                    <a:pt x="282" y="856"/>
                  </a:lnTo>
                  <a:lnTo>
                    <a:pt x="282" y="858"/>
                  </a:lnTo>
                  <a:lnTo>
                    <a:pt x="282" y="856"/>
                  </a:lnTo>
                  <a:lnTo>
                    <a:pt x="282" y="858"/>
                  </a:lnTo>
                  <a:lnTo>
                    <a:pt x="282" y="856"/>
                  </a:lnTo>
                  <a:lnTo>
                    <a:pt x="284" y="856"/>
                  </a:lnTo>
                  <a:lnTo>
                    <a:pt x="287" y="856"/>
                  </a:lnTo>
                  <a:lnTo>
                    <a:pt x="289" y="853"/>
                  </a:lnTo>
                  <a:lnTo>
                    <a:pt x="292" y="853"/>
                  </a:lnTo>
                  <a:lnTo>
                    <a:pt x="294" y="853"/>
                  </a:lnTo>
                  <a:lnTo>
                    <a:pt x="296" y="853"/>
                  </a:lnTo>
                  <a:lnTo>
                    <a:pt x="294" y="853"/>
                  </a:lnTo>
                  <a:lnTo>
                    <a:pt x="292" y="853"/>
                  </a:lnTo>
                  <a:lnTo>
                    <a:pt x="294" y="851"/>
                  </a:lnTo>
                  <a:lnTo>
                    <a:pt x="292" y="851"/>
                  </a:lnTo>
                  <a:lnTo>
                    <a:pt x="294" y="851"/>
                  </a:lnTo>
                  <a:lnTo>
                    <a:pt x="292" y="851"/>
                  </a:lnTo>
                  <a:lnTo>
                    <a:pt x="292" y="853"/>
                  </a:lnTo>
                  <a:lnTo>
                    <a:pt x="289" y="853"/>
                  </a:lnTo>
                  <a:lnTo>
                    <a:pt x="284" y="853"/>
                  </a:lnTo>
                  <a:lnTo>
                    <a:pt x="282" y="853"/>
                  </a:lnTo>
                  <a:lnTo>
                    <a:pt x="280" y="853"/>
                  </a:lnTo>
                  <a:lnTo>
                    <a:pt x="277" y="853"/>
                  </a:lnTo>
                  <a:lnTo>
                    <a:pt x="277" y="851"/>
                  </a:lnTo>
                  <a:lnTo>
                    <a:pt x="277" y="853"/>
                  </a:lnTo>
                  <a:lnTo>
                    <a:pt x="277" y="851"/>
                  </a:lnTo>
                  <a:lnTo>
                    <a:pt x="280" y="851"/>
                  </a:lnTo>
                  <a:lnTo>
                    <a:pt x="282" y="848"/>
                  </a:lnTo>
                  <a:lnTo>
                    <a:pt x="282" y="846"/>
                  </a:lnTo>
                  <a:lnTo>
                    <a:pt x="280" y="846"/>
                  </a:lnTo>
                  <a:lnTo>
                    <a:pt x="280" y="844"/>
                  </a:lnTo>
                  <a:lnTo>
                    <a:pt x="280" y="846"/>
                  </a:lnTo>
                  <a:lnTo>
                    <a:pt x="282" y="846"/>
                  </a:lnTo>
                  <a:lnTo>
                    <a:pt x="284" y="844"/>
                  </a:lnTo>
                  <a:lnTo>
                    <a:pt x="282" y="844"/>
                  </a:lnTo>
                  <a:lnTo>
                    <a:pt x="280" y="844"/>
                  </a:lnTo>
                  <a:lnTo>
                    <a:pt x="282" y="844"/>
                  </a:lnTo>
                  <a:lnTo>
                    <a:pt x="280" y="844"/>
                  </a:lnTo>
                  <a:lnTo>
                    <a:pt x="277" y="844"/>
                  </a:lnTo>
                  <a:lnTo>
                    <a:pt x="280" y="841"/>
                  </a:lnTo>
                  <a:lnTo>
                    <a:pt x="277" y="841"/>
                  </a:lnTo>
                  <a:lnTo>
                    <a:pt x="280" y="841"/>
                  </a:lnTo>
                  <a:lnTo>
                    <a:pt x="282" y="841"/>
                  </a:lnTo>
                  <a:lnTo>
                    <a:pt x="282" y="839"/>
                  </a:lnTo>
                  <a:lnTo>
                    <a:pt x="282" y="841"/>
                  </a:lnTo>
                  <a:lnTo>
                    <a:pt x="284" y="841"/>
                  </a:lnTo>
                  <a:lnTo>
                    <a:pt x="284" y="844"/>
                  </a:lnTo>
                  <a:lnTo>
                    <a:pt x="287" y="844"/>
                  </a:lnTo>
                  <a:lnTo>
                    <a:pt x="284" y="844"/>
                  </a:lnTo>
                  <a:lnTo>
                    <a:pt x="287" y="844"/>
                  </a:lnTo>
                  <a:lnTo>
                    <a:pt x="284" y="844"/>
                  </a:lnTo>
                  <a:lnTo>
                    <a:pt x="287" y="844"/>
                  </a:lnTo>
                  <a:lnTo>
                    <a:pt x="284" y="846"/>
                  </a:lnTo>
                  <a:lnTo>
                    <a:pt x="287" y="846"/>
                  </a:lnTo>
                  <a:lnTo>
                    <a:pt x="289" y="846"/>
                  </a:lnTo>
                  <a:lnTo>
                    <a:pt x="289" y="844"/>
                  </a:lnTo>
                  <a:lnTo>
                    <a:pt x="292" y="844"/>
                  </a:lnTo>
                  <a:lnTo>
                    <a:pt x="289" y="844"/>
                  </a:lnTo>
                  <a:lnTo>
                    <a:pt x="292" y="844"/>
                  </a:lnTo>
                  <a:lnTo>
                    <a:pt x="289" y="844"/>
                  </a:lnTo>
                  <a:lnTo>
                    <a:pt x="287" y="846"/>
                  </a:lnTo>
                  <a:lnTo>
                    <a:pt x="287" y="844"/>
                  </a:lnTo>
                  <a:lnTo>
                    <a:pt x="287" y="841"/>
                  </a:lnTo>
                  <a:lnTo>
                    <a:pt x="289" y="841"/>
                  </a:lnTo>
                  <a:lnTo>
                    <a:pt x="292" y="841"/>
                  </a:lnTo>
                  <a:lnTo>
                    <a:pt x="292" y="839"/>
                  </a:lnTo>
                  <a:lnTo>
                    <a:pt x="294" y="841"/>
                  </a:lnTo>
                  <a:lnTo>
                    <a:pt x="296" y="841"/>
                  </a:lnTo>
                  <a:lnTo>
                    <a:pt x="299" y="841"/>
                  </a:lnTo>
                  <a:lnTo>
                    <a:pt x="296" y="839"/>
                  </a:lnTo>
                  <a:lnTo>
                    <a:pt x="294" y="839"/>
                  </a:lnTo>
                  <a:lnTo>
                    <a:pt x="296" y="839"/>
                  </a:lnTo>
                  <a:lnTo>
                    <a:pt x="296" y="837"/>
                  </a:lnTo>
                  <a:lnTo>
                    <a:pt x="299" y="837"/>
                  </a:lnTo>
                  <a:lnTo>
                    <a:pt x="301" y="837"/>
                  </a:lnTo>
                  <a:lnTo>
                    <a:pt x="299" y="837"/>
                  </a:lnTo>
                  <a:lnTo>
                    <a:pt x="296" y="837"/>
                  </a:lnTo>
                  <a:lnTo>
                    <a:pt x="294" y="837"/>
                  </a:lnTo>
                  <a:lnTo>
                    <a:pt x="294" y="839"/>
                  </a:lnTo>
                  <a:lnTo>
                    <a:pt x="292" y="839"/>
                  </a:lnTo>
                  <a:lnTo>
                    <a:pt x="289" y="839"/>
                  </a:lnTo>
                  <a:lnTo>
                    <a:pt x="287" y="839"/>
                  </a:lnTo>
                  <a:lnTo>
                    <a:pt x="284" y="839"/>
                  </a:lnTo>
                  <a:lnTo>
                    <a:pt x="284" y="837"/>
                  </a:lnTo>
                  <a:lnTo>
                    <a:pt x="287" y="837"/>
                  </a:lnTo>
                  <a:lnTo>
                    <a:pt x="284" y="837"/>
                  </a:lnTo>
                  <a:lnTo>
                    <a:pt x="287" y="837"/>
                  </a:lnTo>
                  <a:lnTo>
                    <a:pt x="289" y="837"/>
                  </a:lnTo>
                  <a:lnTo>
                    <a:pt x="287" y="837"/>
                  </a:lnTo>
                  <a:lnTo>
                    <a:pt x="289" y="837"/>
                  </a:lnTo>
                  <a:lnTo>
                    <a:pt x="287" y="837"/>
                  </a:lnTo>
                  <a:lnTo>
                    <a:pt x="287" y="834"/>
                  </a:lnTo>
                  <a:lnTo>
                    <a:pt x="289" y="834"/>
                  </a:lnTo>
                  <a:lnTo>
                    <a:pt x="287" y="834"/>
                  </a:lnTo>
                  <a:lnTo>
                    <a:pt x="284" y="834"/>
                  </a:lnTo>
                  <a:lnTo>
                    <a:pt x="284" y="837"/>
                  </a:lnTo>
                  <a:lnTo>
                    <a:pt x="284" y="834"/>
                  </a:lnTo>
                  <a:lnTo>
                    <a:pt x="282" y="834"/>
                  </a:lnTo>
                  <a:lnTo>
                    <a:pt x="284" y="834"/>
                  </a:lnTo>
                  <a:lnTo>
                    <a:pt x="284" y="832"/>
                  </a:lnTo>
                  <a:lnTo>
                    <a:pt x="284" y="834"/>
                  </a:lnTo>
                  <a:lnTo>
                    <a:pt x="287" y="834"/>
                  </a:lnTo>
                  <a:lnTo>
                    <a:pt x="289" y="834"/>
                  </a:lnTo>
                  <a:lnTo>
                    <a:pt x="292" y="834"/>
                  </a:lnTo>
                  <a:lnTo>
                    <a:pt x="294" y="834"/>
                  </a:lnTo>
                  <a:lnTo>
                    <a:pt x="296" y="834"/>
                  </a:lnTo>
                  <a:lnTo>
                    <a:pt x="294" y="834"/>
                  </a:lnTo>
                  <a:lnTo>
                    <a:pt x="296" y="834"/>
                  </a:lnTo>
                  <a:lnTo>
                    <a:pt x="294" y="834"/>
                  </a:lnTo>
                  <a:lnTo>
                    <a:pt x="294" y="832"/>
                  </a:lnTo>
                  <a:lnTo>
                    <a:pt x="292" y="832"/>
                  </a:lnTo>
                  <a:lnTo>
                    <a:pt x="289" y="832"/>
                  </a:lnTo>
                  <a:lnTo>
                    <a:pt x="287" y="832"/>
                  </a:lnTo>
                  <a:lnTo>
                    <a:pt x="287" y="829"/>
                  </a:lnTo>
                  <a:lnTo>
                    <a:pt x="284" y="829"/>
                  </a:lnTo>
                  <a:lnTo>
                    <a:pt x="287" y="829"/>
                  </a:lnTo>
                  <a:lnTo>
                    <a:pt x="284" y="829"/>
                  </a:lnTo>
                  <a:lnTo>
                    <a:pt x="284" y="832"/>
                  </a:lnTo>
                  <a:lnTo>
                    <a:pt x="284" y="829"/>
                  </a:lnTo>
                  <a:lnTo>
                    <a:pt x="287" y="829"/>
                  </a:lnTo>
                  <a:lnTo>
                    <a:pt x="289" y="829"/>
                  </a:lnTo>
                  <a:lnTo>
                    <a:pt x="292" y="829"/>
                  </a:lnTo>
                  <a:lnTo>
                    <a:pt x="294" y="829"/>
                  </a:lnTo>
                  <a:lnTo>
                    <a:pt x="294" y="832"/>
                  </a:lnTo>
                  <a:lnTo>
                    <a:pt x="294" y="829"/>
                  </a:lnTo>
                  <a:lnTo>
                    <a:pt x="294" y="832"/>
                  </a:lnTo>
                  <a:lnTo>
                    <a:pt x="296" y="832"/>
                  </a:lnTo>
                  <a:lnTo>
                    <a:pt x="299" y="832"/>
                  </a:lnTo>
                  <a:lnTo>
                    <a:pt x="301" y="832"/>
                  </a:lnTo>
                  <a:lnTo>
                    <a:pt x="301" y="829"/>
                  </a:lnTo>
                  <a:lnTo>
                    <a:pt x="303" y="829"/>
                  </a:lnTo>
                  <a:lnTo>
                    <a:pt x="306" y="829"/>
                  </a:lnTo>
                  <a:lnTo>
                    <a:pt x="308" y="829"/>
                  </a:lnTo>
                  <a:lnTo>
                    <a:pt x="306" y="829"/>
                  </a:lnTo>
                  <a:lnTo>
                    <a:pt x="303" y="829"/>
                  </a:lnTo>
                  <a:lnTo>
                    <a:pt x="301" y="829"/>
                  </a:lnTo>
                  <a:lnTo>
                    <a:pt x="299" y="829"/>
                  </a:lnTo>
                  <a:lnTo>
                    <a:pt x="299" y="832"/>
                  </a:lnTo>
                  <a:lnTo>
                    <a:pt x="296" y="832"/>
                  </a:lnTo>
                  <a:lnTo>
                    <a:pt x="296" y="829"/>
                  </a:lnTo>
                  <a:lnTo>
                    <a:pt x="294" y="829"/>
                  </a:lnTo>
                  <a:lnTo>
                    <a:pt x="296" y="829"/>
                  </a:lnTo>
                  <a:lnTo>
                    <a:pt x="296" y="827"/>
                  </a:lnTo>
                  <a:lnTo>
                    <a:pt x="299" y="827"/>
                  </a:lnTo>
                  <a:lnTo>
                    <a:pt x="301" y="827"/>
                  </a:lnTo>
                  <a:lnTo>
                    <a:pt x="301" y="829"/>
                  </a:lnTo>
                  <a:lnTo>
                    <a:pt x="303" y="829"/>
                  </a:lnTo>
                  <a:lnTo>
                    <a:pt x="303" y="827"/>
                  </a:lnTo>
                  <a:lnTo>
                    <a:pt x="301" y="827"/>
                  </a:lnTo>
                  <a:lnTo>
                    <a:pt x="299" y="827"/>
                  </a:lnTo>
                  <a:lnTo>
                    <a:pt x="296" y="827"/>
                  </a:lnTo>
                  <a:lnTo>
                    <a:pt x="294" y="827"/>
                  </a:lnTo>
                  <a:lnTo>
                    <a:pt x="294" y="825"/>
                  </a:lnTo>
                  <a:lnTo>
                    <a:pt x="296" y="825"/>
                  </a:lnTo>
                  <a:lnTo>
                    <a:pt x="299" y="825"/>
                  </a:lnTo>
                  <a:lnTo>
                    <a:pt x="301" y="825"/>
                  </a:lnTo>
                  <a:lnTo>
                    <a:pt x="303" y="825"/>
                  </a:lnTo>
                  <a:lnTo>
                    <a:pt x="303" y="827"/>
                  </a:lnTo>
                  <a:lnTo>
                    <a:pt x="306" y="825"/>
                  </a:lnTo>
                  <a:lnTo>
                    <a:pt x="308" y="827"/>
                  </a:lnTo>
                  <a:lnTo>
                    <a:pt x="308" y="825"/>
                  </a:lnTo>
                  <a:lnTo>
                    <a:pt x="311" y="827"/>
                  </a:lnTo>
                  <a:lnTo>
                    <a:pt x="311" y="825"/>
                  </a:lnTo>
                  <a:lnTo>
                    <a:pt x="308" y="825"/>
                  </a:lnTo>
                  <a:lnTo>
                    <a:pt x="306" y="825"/>
                  </a:lnTo>
                  <a:lnTo>
                    <a:pt x="303" y="825"/>
                  </a:lnTo>
                  <a:lnTo>
                    <a:pt x="301" y="825"/>
                  </a:lnTo>
                  <a:lnTo>
                    <a:pt x="303" y="825"/>
                  </a:lnTo>
                  <a:lnTo>
                    <a:pt x="303" y="822"/>
                  </a:lnTo>
                  <a:lnTo>
                    <a:pt x="301" y="822"/>
                  </a:lnTo>
                  <a:lnTo>
                    <a:pt x="301" y="825"/>
                  </a:lnTo>
                  <a:lnTo>
                    <a:pt x="299" y="825"/>
                  </a:lnTo>
                  <a:lnTo>
                    <a:pt x="301" y="825"/>
                  </a:lnTo>
                  <a:lnTo>
                    <a:pt x="301" y="822"/>
                  </a:lnTo>
                  <a:lnTo>
                    <a:pt x="299" y="820"/>
                  </a:lnTo>
                  <a:lnTo>
                    <a:pt x="296" y="820"/>
                  </a:lnTo>
                  <a:lnTo>
                    <a:pt x="296" y="818"/>
                  </a:lnTo>
                  <a:lnTo>
                    <a:pt x="294" y="818"/>
                  </a:lnTo>
                  <a:lnTo>
                    <a:pt x="296" y="818"/>
                  </a:lnTo>
                  <a:lnTo>
                    <a:pt x="294" y="818"/>
                  </a:lnTo>
                  <a:lnTo>
                    <a:pt x="296" y="818"/>
                  </a:lnTo>
                  <a:lnTo>
                    <a:pt x="299" y="818"/>
                  </a:lnTo>
                  <a:lnTo>
                    <a:pt x="301" y="818"/>
                  </a:lnTo>
                  <a:lnTo>
                    <a:pt x="303" y="818"/>
                  </a:lnTo>
                  <a:lnTo>
                    <a:pt x="303" y="815"/>
                  </a:lnTo>
                  <a:lnTo>
                    <a:pt x="301" y="815"/>
                  </a:lnTo>
                  <a:lnTo>
                    <a:pt x="303" y="815"/>
                  </a:lnTo>
                  <a:lnTo>
                    <a:pt x="306" y="815"/>
                  </a:lnTo>
                  <a:lnTo>
                    <a:pt x="308" y="815"/>
                  </a:lnTo>
                  <a:lnTo>
                    <a:pt x="308" y="813"/>
                  </a:lnTo>
                  <a:lnTo>
                    <a:pt x="311" y="813"/>
                  </a:lnTo>
                  <a:lnTo>
                    <a:pt x="311" y="815"/>
                  </a:lnTo>
                  <a:lnTo>
                    <a:pt x="308" y="815"/>
                  </a:lnTo>
                  <a:lnTo>
                    <a:pt x="308" y="818"/>
                  </a:lnTo>
                  <a:lnTo>
                    <a:pt x="311" y="815"/>
                  </a:lnTo>
                  <a:lnTo>
                    <a:pt x="311" y="818"/>
                  </a:lnTo>
                  <a:lnTo>
                    <a:pt x="311" y="815"/>
                  </a:lnTo>
                  <a:lnTo>
                    <a:pt x="313" y="815"/>
                  </a:lnTo>
                  <a:lnTo>
                    <a:pt x="311" y="815"/>
                  </a:lnTo>
                  <a:lnTo>
                    <a:pt x="313" y="815"/>
                  </a:lnTo>
                  <a:lnTo>
                    <a:pt x="313" y="813"/>
                  </a:lnTo>
                  <a:lnTo>
                    <a:pt x="311" y="813"/>
                  </a:lnTo>
                  <a:lnTo>
                    <a:pt x="311" y="810"/>
                  </a:lnTo>
                  <a:lnTo>
                    <a:pt x="311" y="813"/>
                  </a:lnTo>
                  <a:lnTo>
                    <a:pt x="311" y="810"/>
                  </a:lnTo>
                  <a:lnTo>
                    <a:pt x="313" y="810"/>
                  </a:lnTo>
                  <a:lnTo>
                    <a:pt x="313" y="813"/>
                  </a:lnTo>
                  <a:lnTo>
                    <a:pt x="313" y="810"/>
                  </a:lnTo>
                  <a:lnTo>
                    <a:pt x="315" y="813"/>
                  </a:lnTo>
                  <a:lnTo>
                    <a:pt x="315" y="815"/>
                  </a:lnTo>
                  <a:lnTo>
                    <a:pt x="315" y="813"/>
                  </a:lnTo>
                  <a:lnTo>
                    <a:pt x="315" y="815"/>
                  </a:lnTo>
                  <a:lnTo>
                    <a:pt x="318" y="815"/>
                  </a:lnTo>
                  <a:lnTo>
                    <a:pt x="318" y="813"/>
                  </a:lnTo>
                  <a:lnTo>
                    <a:pt x="320" y="813"/>
                  </a:lnTo>
                  <a:lnTo>
                    <a:pt x="320" y="810"/>
                  </a:lnTo>
                  <a:lnTo>
                    <a:pt x="318" y="810"/>
                  </a:lnTo>
                  <a:lnTo>
                    <a:pt x="320" y="810"/>
                  </a:lnTo>
                  <a:lnTo>
                    <a:pt x="322" y="810"/>
                  </a:lnTo>
                  <a:lnTo>
                    <a:pt x="325" y="808"/>
                  </a:lnTo>
                  <a:lnTo>
                    <a:pt x="325" y="810"/>
                  </a:lnTo>
                  <a:lnTo>
                    <a:pt x="327" y="810"/>
                  </a:lnTo>
                  <a:lnTo>
                    <a:pt x="329" y="810"/>
                  </a:lnTo>
                  <a:lnTo>
                    <a:pt x="329" y="813"/>
                  </a:lnTo>
                  <a:lnTo>
                    <a:pt x="332" y="813"/>
                  </a:lnTo>
                  <a:lnTo>
                    <a:pt x="329" y="813"/>
                  </a:lnTo>
                  <a:lnTo>
                    <a:pt x="329" y="810"/>
                  </a:lnTo>
                  <a:lnTo>
                    <a:pt x="327" y="810"/>
                  </a:lnTo>
                  <a:lnTo>
                    <a:pt x="325" y="810"/>
                  </a:lnTo>
                  <a:lnTo>
                    <a:pt x="325" y="808"/>
                  </a:lnTo>
                  <a:lnTo>
                    <a:pt x="322" y="810"/>
                  </a:lnTo>
                  <a:lnTo>
                    <a:pt x="320" y="810"/>
                  </a:lnTo>
                  <a:lnTo>
                    <a:pt x="322" y="810"/>
                  </a:lnTo>
                  <a:lnTo>
                    <a:pt x="320" y="810"/>
                  </a:lnTo>
                  <a:lnTo>
                    <a:pt x="320" y="808"/>
                  </a:lnTo>
                  <a:lnTo>
                    <a:pt x="320" y="810"/>
                  </a:lnTo>
                  <a:lnTo>
                    <a:pt x="320" y="808"/>
                  </a:lnTo>
                  <a:lnTo>
                    <a:pt x="320" y="810"/>
                  </a:lnTo>
                  <a:lnTo>
                    <a:pt x="318" y="808"/>
                  </a:lnTo>
                  <a:lnTo>
                    <a:pt x="320" y="808"/>
                  </a:lnTo>
                  <a:lnTo>
                    <a:pt x="320" y="806"/>
                  </a:lnTo>
                  <a:lnTo>
                    <a:pt x="322" y="806"/>
                  </a:lnTo>
                  <a:lnTo>
                    <a:pt x="320" y="806"/>
                  </a:lnTo>
                  <a:lnTo>
                    <a:pt x="322" y="806"/>
                  </a:lnTo>
                  <a:lnTo>
                    <a:pt x="322" y="803"/>
                  </a:lnTo>
                  <a:lnTo>
                    <a:pt x="325" y="803"/>
                  </a:lnTo>
                  <a:lnTo>
                    <a:pt x="327" y="803"/>
                  </a:lnTo>
                  <a:lnTo>
                    <a:pt x="325" y="803"/>
                  </a:lnTo>
                  <a:lnTo>
                    <a:pt x="327" y="803"/>
                  </a:lnTo>
                  <a:lnTo>
                    <a:pt x="329" y="803"/>
                  </a:lnTo>
                  <a:lnTo>
                    <a:pt x="332" y="803"/>
                  </a:lnTo>
                  <a:lnTo>
                    <a:pt x="334" y="803"/>
                  </a:lnTo>
                  <a:lnTo>
                    <a:pt x="332" y="803"/>
                  </a:lnTo>
                  <a:lnTo>
                    <a:pt x="329" y="803"/>
                  </a:lnTo>
                  <a:lnTo>
                    <a:pt x="327" y="803"/>
                  </a:lnTo>
                  <a:lnTo>
                    <a:pt x="325" y="803"/>
                  </a:lnTo>
                  <a:lnTo>
                    <a:pt x="322" y="803"/>
                  </a:lnTo>
                  <a:lnTo>
                    <a:pt x="322" y="801"/>
                  </a:lnTo>
                  <a:lnTo>
                    <a:pt x="325" y="801"/>
                  </a:lnTo>
                  <a:lnTo>
                    <a:pt x="327" y="801"/>
                  </a:lnTo>
                  <a:lnTo>
                    <a:pt x="329" y="801"/>
                  </a:lnTo>
                  <a:lnTo>
                    <a:pt x="332" y="801"/>
                  </a:lnTo>
                  <a:lnTo>
                    <a:pt x="329" y="801"/>
                  </a:lnTo>
                  <a:lnTo>
                    <a:pt x="327" y="803"/>
                  </a:lnTo>
                  <a:lnTo>
                    <a:pt x="329" y="801"/>
                  </a:lnTo>
                  <a:lnTo>
                    <a:pt x="332" y="801"/>
                  </a:lnTo>
                  <a:lnTo>
                    <a:pt x="334" y="801"/>
                  </a:lnTo>
                  <a:lnTo>
                    <a:pt x="332" y="801"/>
                  </a:lnTo>
                  <a:lnTo>
                    <a:pt x="332" y="803"/>
                  </a:lnTo>
                  <a:lnTo>
                    <a:pt x="334" y="801"/>
                  </a:lnTo>
                  <a:lnTo>
                    <a:pt x="334" y="803"/>
                  </a:lnTo>
                  <a:lnTo>
                    <a:pt x="334" y="801"/>
                  </a:lnTo>
                  <a:lnTo>
                    <a:pt x="337" y="801"/>
                  </a:lnTo>
                  <a:lnTo>
                    <a:pt x="334" y="801"/>
                  </a:lnTo>
                  <a:lnTo>
                    <a:pt x="337" y="801"/>
                  </a:lnTo>
                  <a:lnTo>
                    <a:pt x="339" y="801"/>
                  </a:lnTo>
                  <a:lnTo>
                    <a:pt x="341" y="801"/>
                  </a:lnTo>
                  <a:lnTo>
                    <a:pt x="344" y="801"/>
                  </a:lnTo>
                  <a:lnTo>
                    <a:pt x="341" y="801"/>
                  </a:lnTo>
                  <a:lnTo>
                    <a:pt x="341" y="803"/>
                  </a:lnTo>
                  <a:lnTo>
                    <a:pt x="344" y="803"/>
                  </a:lnTo>
                  <a:lnTo>
                    <a:pt x="341" y="803"/>
                  </a:lnTo>
                  <a:lnTo>
                    <a:pt x="339" y="803"/>
                  </a:lnTo>
                  <a:lnTo>
                    <a:pt x="339" y="806"/>
                  </a:lnTo>
                  <a:lnTo>
                    <a:pt x="341" y="806"/>
                  </a:lnTo>
                  <a:lnTo>
                    <a:pt x="341" y="808"/>
                  </a:lnTo>
                  <a:lnTo>
                    <a:pt x="344" y="808"/>
                  </a:lnTo>
                  <a:lnTo>
                    <a:pt x="344" y="806"/>
                  </a:lnTo>
                  <a:lnTo>
                    <a:pt x="341" y="806"/>
                  </a:lnTo>
                  <a:lnTo>
                    <a:pt x="341" y="803"/>
                  </a:lnTo>
                  <a:lnTo>
                    <a:pt x="344" y="803"/>
                  </a:lnTo>
                  <a:lnTo>
                    <a:pt x="344" y="801"/>
                  </a:lnTo>
                  <a:lnTo>
                    <a:pt x="346" y="801"/>
                  </a:lnTo>
                  <a:lnTo>
                    <a:pt x="348" y="801"/>
                  </a:lnTo>
                  <a:lnTo>
                    <a:pt x="348" y="803"/>
                  </a:lnTo>
                  <a:lnTo>
                    <a:pt x="348" y="801"/>
                  </a:lnTo>
                  <a:lnTo>
                    <a:pt x="351" y="801"/>
                  </a:lnTo>
                  <a:lnTo>
                    <a:pt x="351" y="803"/>
                  </a:lnTo>
                  <a:lnTo>
                    <a:pt x="353" y="803"/>
                  </a:lnTo>
                  <a:lnTo>
                    <a:pt x="356" y="803"/>
                  </a:lnTo>
                  <a:lnTo>
                    <a:pt x="358" y="803"/>
                  </a:lnTo>
                  <a:lnTo>
                    <a:pt x="358" y="806"/>
                  </a:lnTo>
                  <a:lnTo>
                    <a:pt x="356" y="806"/>
                  </a:lnTo>
                  <a:lnTo>
                    <a:pt x="356" y="808"/>
                  </a:lnTo>
                  <a:lnTo>
                    <a:pt x="358" y="806"/>
                  </a:lnTo>
                  <a:lnTo>
                    <a:pt x="358" y="808"/>
                  </a:lnTo>
                  <a:lnTo>
                    <a:pt x="356" y="808"/>
                  </a:lnTo>
                  <a:lnTo>
                    <a:pt x="358" y="808"/>
                  </a:lnTo>
                  <a:lnTo>
                    <a:pt x="356" y="808"/>
                  </a:lnTo>
                  <a:lnTo>
                    <a:pt x="356" y="810"/>
                  </a:lnTo>
                  <a:lnTo>
                    <a:pt x="358" y="808"/>
                  </a:lnTo>
                  <a:lnTo>
                    <a:pt x="358" y="806"/>
                  </a:lnTo>
                  <a:lnTo>
                    <a:pt x="360" y="806"/>
                  </a:lnTo>
                  <a:lnTo>
                    <a:pt x="358" y="803"/>
                  </a:lnTo>
                  <a:lnTo>
                    <a:pt x="360" y="803"/>
                  </a:lnTo>
                  <a:lnTo>
                    <a:pt x="358" y="803"/>
                  </a:lnTo>
                  <a:lnTo>
                    <a:pt x="358" y="801"/>
                  </a:lnTo>
                  <a:lnTo>
                    <a:pt x="356" y="801"/>
                  </a:lnTo>
                  <a:lnTo>
                    <a:pt x="358" y="801"/>
                  </a:lnTo>
                  <a:lnTo>
                    <a:pt x="356" y="801"/>
                  </a:lnTo>
                  <a:lnTo>
                    <a:pt x="358" y="801"/>
                  </a:lnTo>
                  <a:lnTo>
                    <a:pt x="358" y="799"/>
                  </a:lnTo>
                  <a:lnTo>
                    <a:pt x="356" y="799"/>
                  </a:lnTo>
                  <a:lnTo>
                    <a:pt x="356" y="801"/>
                  </a:lnTo>
                  <a:lnTo>
                    <a:pt x="353" y="801"/>
                  </a:lnTo>
                  <a:lnTo>
                    <a:pt x="351" y="801"/>
                  </a:lnTo>
                  <a:lnTo>
                    <a:pt x="353" y="801"/>
                  </a:lnTo>
                  <a:lnTo>
                    <a:pt x="356" y="801"/>
                  </a:lnTo>
                  <a:lnTo>
                    <a:pt x="356" y="799"/>
                  </a:lnTo>
                  <a:lnTo>
                    <a:pt x="353" y="799"/>
                  </a:lnTo>
                  <a:lnTo>
                    <a:pt x="351" y="799"/>
                  </a:lnTo>
                  <a:lnTo>
                    <a:pt x="348" y="799"/>
                  </a:lnTo>
                  <a:lnTo>
                    <a:pt x="348" y="801"/>
                  </a:lnTo>
                  <a:lnTo>
                    <a:pt x="348" y="799"/>
                  </a:lnTo>
                  <a:lnTo>
                    <a:pt x="346" y="799"/>
                  </a:lnTo>
                  <a:lnTo>
                    <a:pt x="344" y="799"/>
                  </a:lnTo>
                  <a:lnTo>
                    <a:pt x="346" y="799"/>
                  </a:lnTo>
                  <a:lnTo>
                    <a:pt x="348" y="799"/>
                  </a:lnTo>
                  <a:lnTo>
                    <a:pt x="348" y="796"/>
                  </a:lnTo>
                  <a:lnTo>
                    <a:pt x="348" y="799"/>
                  </a:lnTo>
                  <a:lnTo>
                    <a:pt x="348" y="796"/>
                  </a:lnTo>
                  <a:lnTo>
                    <a:pt x="346" y="796"/>
                  </a:lnTo>
                  <a:lnTo>
                    <a:pt x="344" y="796"/>
                  </a:lnTo>
                  <a:lnTo>
                    <a:pt x="344" y="799"/>
                  </a:lnTo>
                  <a:lnTo>
                    <a:pt x="344" y="796"/>
                  </a:lnTo>
                  <a:lnTo>
                    <a:pt x="344" y="799"/>
                  </a:lnTo>
                  <a:lnTo>
                    <a:pt x="341" y="799"/>
                  </a:lnTo>
                  <a:lnTo>
                    <a:pt x="339" y="796"/>
                  </a:lnTo>
                  <a:lnTo>
                    <a:pt x="339" y="799"/>
                  </a:lnTo>
                  <a:lnTo>
                    <a:pt x="337" y="799"/>
                  </a:lnTo>
                  <a:lnTo>
                    <a:pt x="339" y="799"/>
                  </a:lnTo>
                  <a:lnTo>
                    <a:pt x="337" y="799"/>
                  </a:lnTo>
                  <a:lnTo>
                    <a:pt x="334" y="801"/>
                  </a:lnTo>
                  <a:lnTo>
                    <a:pt x="332" y="801"/>
                  </a:lnTo>
                  <a:lnTo>
                    <a:pt x="334" y="801"/>
                  </a:lnTo>
                  <a:lnTo>
                    <a:pt x="334" y="799"/>
                  </a:lnTo>
                  <a:lnTo>
                    <a:pt x="334" y="796"/>
                  </a:lnTo>
                  <a:lnTo>
                    <a:pt x="332" y="799"/>
                  </a:lnTo>
                  <a:lnTo>
                    <a:pt x="329" y="799"/>
                  </a:lnTo>
                  <a:lnTo>
                    <a:pt x="332" y="799"/>
                  </a:lnTo>
                  <a:lnTo>
                    <a:pt x="329" y="799"/>
                  </a:lnTo>
                  <a:lnTo>
                    <a:pt x="327" y="799"/>
                  </a:lnTo>
                  <a:lnTo>
                    <a:pt x="325" y="799"/>
                  </a:lnTo>
                  <a:lnTo>
                    <a:pt x="322" y="799"/>
                  </a:lnTo>
                  <a:lnTo>
                    <a:pt x="320" y="801"/>
                  </a:lnTo>
                  <a:lnTo>
                    <a:pt x="320" y="799"/>
                  </a:lnTo>
                  <a:lnTo>
                    <a:pt x="322" y="799"/>
                  </a:lnTo>
                  <a:lnTo>
                    <a:pt x="320" y="799"/>
                  </a:lnTo>
                  <a:lnTo>
                    <a:pt x="322" y="799"/>
                  </a:lnTo>
                  <a:lnTo>
                    <a:pt x="325" y="799"/>
                  </a:lnTo>
                  <a:lnTo>
                    <a:pt x="325" y="796"/>
                  </a:lnTo>
                  <a:lnTo>
                    <a:pt x="322" y="796"/>
                  </a:lnTo>
                  <a:lnTo>
                    <a:pt x="322" y="799"/>
                  </a:lnTo>
                  <a:lnTo>
                    <a:pt x="322" y="796"/>
                  </a:lnTo>
                  <a:lnTo>
                    <a:pt x="325" y="796"/>
                  </a:lnTo>
                  <a:lnTo>
                    <a:pt x="322" y="796"/>
                  </a:lnTo>
                  <a:lnTo>
                    <a:pt x="325" y="796"/>
                  </a:lnTo>
                  <a:lnTo>
                    <a:pt x="327" y="796"/>
                  </a:lnTo>
                  <a:lnTo>
                    <a:pt x="327" y="794"/>
                  </a:lnTo>
                  <a:lnTo>
                    <a:pt x="329" y="794"/>
                  </a:lnTo>
                  <a:lnTo>
                    <a:pt x="329" y="791"/>
                  </a:lnTo>
                  <a:lnTo>
                    <a:pt x="329" y="794"/>
                  </a:lnTo>
                  <a:lnTo>
                    <a:pt x="329" y="791"/>
                  </a:lnTo>
                  <a:lnTo>
                    <a:pt x="332" y="791"/>
                  </a:lnTo>
                  <a:lnTo>
                    <a:pt x="329" y="791"/>
                  </a:lnTo>
                  <a:lnTo>
                    <a:pt x="332" y="791"/>
                  </a:lnTo>
                  <a:lnTo>
                    <a:pt x="332" y="789"/>
                  </a:lnTo>
                  <a:lnTo>
                    <a:pt x="332" y="791"/>
                  </a:lnTo>
                  <a:lnTo>
                    <a:pt x="332" y="789"/>
                  </a:lnTo>
                  <a:lnTo>
                    <a:pt x="334" y="789"/>
                  </a:lnTo>
                  <a:lnTo>
                    <a:pt x="337" y="789"/>
                  </a:lnTo>
                  <a:lnTo>
                    <a:pt x="334" y="789"/>
                  </a:lnTo>
                  <a:lnTo>
                    <a:pt x="337" y="789"/>
                  </a:lnTo>
                  <a:lnTo>
                    <a:pt x="334" y="789"/>
                  </a:lnTo>
                  <a:lnTo>
                    <a:pt x="337" y="789"/>
                  </a:lnTo>
                  <a:lnTo>
                    <a:pt x="339" y="789"/>
                  </a:lnTo>
                  <a:lnTo>
                    <a:pt x="339" y="791"/>
                  </a:lnTo>
                  <a:lnTo>
                    <a:pt x="337" y="791"/>
                  </a:lnTo>
                  <a:lnTo>
                    <a:pt x="339" y="791"/>
                  </a:lnTo>
                  <a:lnTo>
                    <a:pt x="339" y="789"/>
                  </a:lnTo>
                  <a:lnTo>
                    <a:pt x="341" y="789"/>
                  </a:lnTo>
                  <a:lnTo>
                    <a:pt x="344" y="789"/>
                  </a:lnTo>
                  <a:lnTo>
                    <a:pt x="346" y="789"/>
                  </a:lnTo>
                  <a:lnTo>
                    <a:pt x="344" y="789"/>
                  </a:lnTo>
                  <a:lnTo>
                    <a:pt x="341" y="789"/>
                  </a:lnTo>
                  <a:lnTo>
                    <a:pt x="339" y="789"/>
                  </a:lnTo>
                  <a:lnTo>
                    <a:pt x="337" y="787"/>
                  </a:lnTo>
                  <a:lnTo>
                    <a:pt x="337" y="789"/>
                  </a:lnTo>
                  <a:lnTo>
                    <a:pt x="334" y="789"/>
                  </a:lnTo>
                  <a:lnTo>
                    <a:pt x="332" y="787"/>
                  </a:lnTo>
                  <a:lnTo>
                    <a:pt x="334" y="787"/>
                  </a:lnTo>
                  <a:lnTo>
                    <a:pt x="332" y="787"/>
                  </a:lnTo>
                  <a:lnTo>
                    <a:pt x="334" y="787"/>
                  </a:lnTo>
                  <a:lnTo>
                    <a:pt x="334" y="784"/>
                  </a:lnTo>
                  <a:lnTo>
                    <a:pt x="337" y="784"/>
                  </a:lnTo>
                  <a:lnTo>
                    <a:pt x="334" y="784"/>
                  </a:lnTo>
                  <a:lnTo>
                    <a:pt x="337" y="784"/>
                  </a:lnTo>
                  <a:lnTo>
                    <a:pt x="334" y="784"/>
                  </a:lnTo>
                  <a:lnTo>
                    <a:pt x="337" y="784"/>
                  </a:lnTo>
                  <a:lnTo>
                    <a:pt x="339" y="784"/>
                  </a:lnTo>
                  <a:lnTo>
                    <a:pt x="339" y="782"/>
                  </a:lnTo>
                  <a:lnTo>
                    <a:pt x="341" y="782"/>
                  </a:lnTo>
                  <a:lnTo>
                    <a:pt x="344" y="780"/>
                  </a:lnTo>
                  <a:lnTo>
                    <a:pt x="346" y="780"/>
                  </a:lnTo>
                  <a:lnTo>
                    <a:pt x="346" y="782"/>
                  </a:lnTo>
                  <a:lnTo>
                    <a:pt x="348" y="782"/>
                  </a:lnTo>
                  <a:lnTo>
                    <a:pt x="346" y="784"/>
                  </a:lnTo>
                  <a:lnTo>
                    <a:pt x="346" y="782"/>
                  </a:lnTo>
                  <a:lnTo>
                    <a:pt x="346" y="784"/>
                  </a:lnTo>
                  <a:lnTo>
                    <a:pt x="346" y="782"/>
                  </a:lnTo>
                  <a:lnTo>
                    <a:pt x="344" y="782"/>
                  </a:lnTo>
                  <a:lnTo>
                    <a:pt x="344" y="784"/>
                  </a:lnTo>
                  <a:lnTo>
                    <a:pt x="346" y="784"/>
                  </a:lnTo>
                  <a:lnTo>
                    <a:pt x="344" y="784"/>
                  </a:lnTo>
                  <a:lnTo>
                    <a:pt x="344" y="787"/>
                  </a:lnTo>
                  <a:lnTo>
                    <a:pt x="341" y="787"/>
                  </a:lnTo>
                  <a:lnTo>
                    <a:pt x="344" y="787"/>
                  </a:lnTo>
                  <a:lnTo>
                    <a:pt x="344" y="784"/>
                  </a:lnTo>
                  <a:lnTo>
                    <a:pt x="346" y="784"/>
                  </a:lnTo>
                  <a:lnTo>
                    <a:pt x="348" y="784"/>
                  </a:lnTo>
                  <a:lnTo>
                    <a:pt x="351" y="784"/>
                  </a:lnTo>
                  <a:lnTo>
                    <a:pt x="351" y="787"/>
                  </a:lnTo>
                  <a:lnTo>
                    <a:pt x="348" y="787"/>
                  </a:lnTo>
                  <a:lnTo>
                    <a:pt x="348" y="789"/>
                  </a:lnTo>
                  <a:lnTo>
                    <a:pt x="351" y="787"/>
                  </a:lnTo>
                  <a:lnTo>
                    <a:pt x="353" y="787"/>
                  </a:lnTo>
                  <a:lnTo>
                    <a:pt x="353" y="784"/>
                  </a:lnTo>
                  <a:lnTo>
                    <a:pt x="353" y="787"/>
                  </a:lnTo>
                  <a:lnTo>
                    <a:pt x="353" y="784"/>
                  </a:lnTo>
                  <a:lnTo>
                    <a:pt x="356" y="784"/>
                  </a:lnTo>
                  <a:lnTo>
                    <a:pt x="356" y="787"/>
                  </a:lnTo>
                  <a:lnTo>
                    <a:pt x="356" y="784"/>
                  </a:lnTo>
                  <a:lnTo>
                    <a:pt x="356" y="787"/>
                  </a:lnTo>
                  <a:lnTo>
                    <a:pt x="356" y="784"/>
                  </a:lnTo>
                  <a:lnTo>
                    <a:pt x="356" y="787"/>
                  </a:lnTo>
                  <a:lnTo>
                    <a:pt x="358" y="787"/>
                  </a:lnTo>
                  <a:lnTo>
                    <a:pt x="360" y="787"/>
                  </a:lnTo>
                  <a:lnTo>
                    <a:pt x="360" y="789"/>
                  </a:lnTo>
                  <a:lnTo>
                    <a:pt x="360" y="791"/>
                  </a:lnTo>
                  <a:lnTo>
                    <a:pt x="363" y="791"/>
                  </a:lnTo>
                  <a:lnTo>
                    <a:pt x="360" y="791"/>
                  </a:lnTo>
                  <a:lnTo>
                    <a:pt x="363" y="794"/>
                  </a:lnTo>
                  <a:lnTo>
                    <a:pt x="365" y="794"/>
                  </a:lnTo>
                  <a:lnTo>
                    <a:pt x="363" y="794"/>
                  </a:lnTo>
                  <a:lnTo>
                    <a:pt x="363" y="791"/>
                  </a:lnTo>
                  <a:lnTo>
                    <a:pt x="365" y="791"/>
                  </a:lnTo>
                  <a:lnTo>
                    <a:pt x="365" y="789"/>
                  </a:lnTo>
                  <a:lnTo>
                    <a:pt x="365" y="791"/>
                  </a:lnTo>
                  <a:lnTo>
                    <a:pt x="363" y="791"/>
                  </a:lnTo>
                  <a:lnTo>
                    <a:pt x="363" y="789"/>
                  </a:lnTo>
                  <a:lnTo>
                    <a:pt x="360" y="789"/>
                  </a:lnTo>
                  <a:lnTo>
                    <a:pt x="360" y="787"/>
                  </a:lnTo>
                  <a:lnTo>
                    <a:pt x="363" y="787"/>
                  </a:lnTo>
                  <a:lnTo>
                    <a:pt x="360" y="787"/>
                  </a:lnTo>
                  <a:lnTo>
                    <a:pt x="363" y="787"/>
                  </a:lnTo>
                  <a:lnTo>
                    <a:pt x="363" y="784"/>
                  </a:lnTo>
                  <a:lnTo>
                    <a:pt x="365" y="784"/>
                  </a:lnTo>
                  <a:lnTo>
                    <a:pt x="365" y="782"/>
                  </a:lnTo>
                  <a:lnTo>
                    <a:pt x="367" y="782"/>
                  </a:lnTo>
                  <a:lnTo>
                    <a:pt x="370" y="782"/>
                  </a:lnTo>
                  <a:lnTo>
                    <a:pt x="372" y="782"/>
                  </a:lnTo>
                  <a:lnTo>
                    <a:pt x="372" y="780"/>
                  </a:lnTo>
                  <a:lnTo>
                    <a:pt x="370" y="780"/>
                  </a:lnTo>
                  <a:lnTo>
                    <a:pt x="370" y="782"/>
                  </a:lnTo>
                  <a:lnTo>
                    <a:pt x="367" y="782"/>
                  </a:lnTo>
                  <a:lnTo>
                    <a:pt x="365" y="782"/>
                  </a:lnTo>
                  <a:lnTo>
                    <a:pt x="363" y="782"/>
                  </a:lnTo>
                  <a:lnTo>
                    <a:pt x="363" y="784"/>
                  </a:lnTo>
                  <a:lnTo>
                    <a:pt x="360" y="784"/>
                  </a:lnTo>
                  <a:lnTo>
                    <a:pt x="358" y="784"/>
                  </a:lnTo>
                  <a:lnTo>
                    <a:pt x="356" y="784"/>
                  </a:lnTo>
                  <a:lnTo>
                    <a:pt x="353" y="784"/>
                  </a:lnTo>
                  <a:lnTo>
                    <a:pt x="353" y="782"/>
                  </a:lnTo>
                  <a:lnTo>
                    <a:pt x="351" y="782"/>
                  </a:lnTo>
                  <a:lnTo>
                    <a:pt x="351" y="780"/>
                  </a:lnTo>
                  <a:lnTo>
                    <a:pt x="353" y="780"/>
                  </a:lnTo>
                  <a:lnTo>
                    <a:pt x="356" y="780"/>
                  </a:lnTo>
                  <a:lnTo>
                    <a:pt x="358" y="780"/>
                  </a:lnTo>
                  <a:lnTo>
                    <a:pt x="356" y="780"/>
                  </a:lnTo>
                  <a:lnTo>
                    <a:pt x="353" y="777"/>
                  </a:lnTo>
                  <a:lnTo>
                    <a:pt x="351" y="777"/>
                  </a:lnTo>
                  <a:lnTo>
                    <a:pt x="348" y="777"/>
                  </a:lnTo>
                  <a:lnTo>
                    <a:pt x="351" y="777"/>
                  </a:lnTo>
                  <a:lnTo>
                    <a:pt x="351" y="775"/>
                  </a:lnTo>
                  <a:lnTo>
                    <a:pt x="353" y="775"/>
                  </a:lnTo>
                  <a:lnTo>
                    <a:pt x="356" y="775"/>
                  </a:lnTo>
                  <a:lnTo>
                    <a:pt x="353" y="775"/>
                  </a:lnTo>
                  <a:lnTo>
                    <a:pt x="351" y="775"/>
                  </a:lnTo>
                  <a:lnTo>
                    <a:pt x="353" y="772"/>
                  </a:lnTo>
                  <a:lnTo>
                    <a:pt x="356" y="772"/>
                  </a:lnTo>
                  <a:lnTo>
                    <a:pt x="358" y="772"/>
                  </a:lnTo>
                  <a:lnTo>
                    <a:pt x="358" y="775"/>
                  </a:lnTo>
                  <a:lnTo>
                    <a:pt x="360" y="775"/>
                  </a:lnTo>
                  <a:lnTo>
                    <a:pt x="360" y="772"/>
                  </a:lnTo>
                  <a:lnTo>
                    <a:pt x="363" y="772"/>
                  </a:lnTo>
                  <a:lnTo>
                    <a:pt x="363" y="775"/>
                  </a:lnTo>
                  <a:lnTo>
                    <a:pt x="365" y="775"/>
                  </a:lnTo>
                  <a:lnTo>
                    <a:pt x="363" y="775"/>
                  </a:lnTo>
                  <a:lnTo>
                    <a:pt x="363" y="772"/>
                  </a:lnTo>
                  <a:lnTo>
                    <a:pt x="360" y="772"/>
                  </a:lnTo>
                  <a:lnTo>
                    <a:pt x="358" y="772"/>
                  </a:lnTo>
                  <a:lnTo>
                    <a:pt x="358" y="770"/>
                  </a:lnTo>
                  <a:lnTo>
                    <a:pt x="360" y="770"/>
                  </a:lnTo>
                  <a:lnTo>
                    <a:pt x="363" y="770"/>
                  </a:lnTo>
                  <a:lnTo>
                    <a:pt x="365" y="770"/>
                  </a:lnTo>
                  <a:lnTo>
                    <a:pt x="365" y="772"/>
                  </a:lnTo>
                  <a:lnTo>
                    <a:pt x="367" y="772"/>
                  </a:lnTo>
                  <a:lnTo>
                    <a:pt x="370" y="775"/>
                  </a:lnTo>
                  <a:lnTo>
                    <a:pt x="372" y="775"/>
                  </a:lnTo>
                  <a:lnTo>
                    <a:pt x="370" y="775"/>
                  </a:lnTo>
                  <a:lnTo>
                    <a:pt x="372" y="775"/>
                  </a:lnTo>
                  <a:lnTo>
                    <a:pt x="372" y="772"/>
                  </a:lnTo>
                  <a:lnTo>
                    <a:pt x="370" y="775"/>
                  </a:lnTo>
                  <a:lnTo>
                    <a:pt x="370" y="772"/>
                  </a:lnTo>
                  <a:lnTo>
                    <a:pt x="367" y="772"/>
                  </a:lnTo>
                  <a:lnTo>
                    <a:pt x="367" y="770"/>
                  </a:lnTo>
                  <a:lnTo>
                    <a:pt x="365" y="770"/>
                  </a:lnTo>
                  <a:lnTo>
                    <a:pt x="363" y="770"/>
                  </a:lnTo>
                  <a:lnTo>
                    <a:pt x="360" y="768"/>
                  </a:lnTo>
                  <a:lnTo>
                    <a:pt x="358" y="768"/>
                  </a:lnTo>
                  <a:lnTo>
                    <a:pt x="358" y="765"/>
                  </a:lnTo>
                  <a:lnTo>
                    <a:pt x="358" y="768"/>
                  </a:lnTo>
                  <a:lnTo>
                    <a:pt x="358" y="765"/>
                  </a:lnTo>
                  <a:lnTo>
                    <a:pt x="358" y="763"/>
                  </a:lnTo>
                  <a:lnTo>
                    <a:pt x="358" y="765"/>
                  </a:lnTo>
                  <a:lnTo>
                    <a:pt x="356" y="765"/>
                  </a:lnTo>
                  <a:lnTo>
                    <a:pt x="356" y="763"/>
                  </a:lnTo>
                  <a:lnTo>
                    <a:pt x="356" y="765"/>
                  </a:lnTo>
                  <a:lnTo>
                    <a:pt x="356" y="768"/>
                  </a:lnTo>
                  <a:lnTo>
                    <a:pt x="353" y="768"/>
                  </a:lnTo>
                  <a:lnTo>
                    <a:pt x="353" y="770"/>
                  </a:lnTo>
                  <a:lnTo>
                    <a:pt x="351" y="770"/>
                  </a:lnTo>
                  <a:lnTo>
                    <a:pt x="351" y="772"/>
                  </a:lnTo>
                  <a:lnTo>
                    <a:pt x="348" y="772"/>
                  </a:lnTo>
                  <a:lnTo>
                    <a:pt x="348" y="775"/>
                  </a:lnTo>
                  <a:lnTo>
                    <a:pt x="346" y="775"/>
                  </a:lnTo>
                  <a:lnTo>
                    <a:pt x="346" y="772"/>
                  </a:lnTo>
                  <a:lnTo>
                    <a:pt x="346" y="775"/>
                  </a:lnTo>
                  <a:lnTo>
                    <a:pt x="344" y="775"/>
                  </a:lnTo>
                  <a:lnTo>
                    <a:pt x="341" y="775"/>
                  </a:lnTo>
                  <a:lnTo>
                    <a:pt x="341" y="777"/>
                  </a:lnTo>
                  <a:lnTo>
                    <a:pt x="339" y="777"/>
                  </a:lnTo>
                  <a:lnTo>
                    <a:pt x="337" y="777"/>
                  </a:lnTo>
                  <a:lnTo>
                    <a:pt x="337" y="775"/>
                  </a:lnTo>
                  <a:lnTo>
                    <a:pt x="337" y="777"/>
                  </a:lnTo>
                  <a:lnTo>
                    <a:pt x="337" y="775"/>
                  </a:lnTo>
                  <a:lnTo>
                    <a:pt x="334" y="775"/>
                  </a:lnTo>
                  <a:lnTo>
                    <a:pt x="337" y="775"/>
                  </a:lnTo>
                  <a:lnTo>
                    <a:pt x="339" y="775"/>
                  </a:lnTo>
                  <a:lnTo>
                    <a:pt x="339" y="772"/>
                  </a:lnTo>
                  <a:lnTo>
                    <a:pt x="337" y="772"/>
                  </a:lnTo>
                  <a:lnTo>
                    <a:pt x="339" y="772"/>
                  </a:lnTo>
                  <a:lnTo>
                    <a:pt x="341" y="772"/>
                  </a:lnTo>
                  <a:lnTo>
                    <a:pt x="344" y="770"/>
                  </a:lnTo>
                  <a:lnTo>
                    <a:pt x="344" y="772"/>
                  </a:lnTo>
                  <a:lnTo>
                    <a:pt x="346" y="772"/>
                  </a:lnTo>
                  <a:lnTo>
                    <a:pt x="346" y="770"/>
                  </a:lnTo>
                  <a:lnTo>
                    <a:pt x="348" y="770"/>
                  </a:lnTo>
                  <a:lnTo>
                    <a:pt x="346" y="770"/>
                  </a:lnTo>
                  <a:lnTo>
                    <a:pt x="344" y="770"/>
                  </a:lnTo>
                  <a:lnTo>
                    <a:pt x="344" y="768"/>
                  </a:lnTo>
                  <a:lnTo>
                    <a:pt x="344" y="770"/>
                  </a:lnTo>
                  <a:lnTo>
                    <a:pt x="341" y="770"/>
                  </a:lnTo>
                  <a:lnTo>
                    <a:pt x="344" y="770"/>
                  </a:lnTo>
                  <a:lnTo>
                    <a:pt x="341" y="770"/>
                  </a:lnTo>
                  <a:lnTo>
                    <a:pt x="339" y="770"/>
                  </a:lnTo>
                  <a:lnTo>
                    <a:pt x="337" y="770"/>
                  </a:lnTo>
                  <a:lnTo>
                    <a:pt x="339" y="770"/>
                  </a:lnTo>
                  <a:lnTo>
                    <a:pt x="339" y="768"/>
                  </a:lnTo>
                  <a:lnTo>
                    <a:pt x="339" y="770"/>
                  </a:lnTo>
                  <a:lnTo>
                    <a:pt x="339" y="768"/>
                  </a:lnTo>
                  <a:lnTo>
                    <a:pt x="337" y="768"/>
                  </a:lnTo>
                  <a:lnTo>
                    <a:pt x="339" y="768"/>
                  </a:lnTo>
                  <a:lnTo>
                    <a:pt x="337" y="768"/>
                  </a:lnTo>
                  <a:lnTo>
                    <a:pt x="339" y="768"/>
                  </a:lnTo>
                  <a:lnTo>
                    <a:pt x="337" y="768"/>
                  </a:lnTo>
                  <a:lnTo>
                    <a:pt x="334" y="768"/>
                  </a:lnTo>
                  <a:lnTo>
                    <a:pt x="337" y="768"/>
                  </a:lnTo>
                  <a:lnTo>
                    <a:pt x="334" y="768"/>
                  </a:lnTo>
                  <a:lnTo>
                    <a:pt x="337" y="768"/>
                  </a:lnTo>
                  <a:lnTo>
                    <a:pt x="337" y="765"/>
                  </a:lnTo>
                  <a:lnTo>
                    <a:pt x="337" y="768"/>
                  </a:lnTo>
                  <a:lnTo>
                    <a:pt x="337" y="765"/>
                  </a:lnTo>
                  <a:lnTo>
                    <a:pt x="339" y="765"/>
                  </a:lnTo>
                  <a:lnTo>
                    <a:pt x="341" y="765"/>
                  </a:lnTo>
                  <a:lnTo>
                    <a:pt x="344" y="765"/>
                  </a:lnTo>
                  <a:lnTo>
                    <a:pt x="346" y="765"/>
                  </a:lnTo>
                  <a:lnTo>
                    <a:pt x="346" y="763"/>
                  </a:lnTo>
                  <a:lnTo>
                    <a:pt x="344" y="765"/>
                  </a:lnTo>
                  <a:lnTo>
                    <a:pt x="341" y="765"/>
                  </a:lnTo>
                  <a:lnTo>
                    <a:pt x="339" y="765"/>
                  </a:lnTo>
                  <a:lnTo>
                    <a:pt x="339" y="763"/>
                  </a:lnTo>
                  <a:lnTo>
                    <a:pt x="341" y="763"/>
                  </a:lnTo>
                  <a:lnTo>
                    <a:pt x="344" y="763"/>
                  </a:lnTo>
                  <a:lnTo>
                    <a:pt x="346" y="763"/>
                  </a:lnTo>
                  <a:lnTo>
                    <a:pt x="348" y="763"/>
                  </a:lnTo>
                  <a:lnTo>
                    <a:pt x="351" y="763"/>
                  </a:lnTo>
                  <a:lnTo>
                    <a:pt x="351" y="765"/>
                  </a:lnTo>
                  <a:lnTo>
                    <a:pt x="348" y="765"/>
                  </a:lnTo>
                  <a:lnTo>
                    <a:pt x="351" y="765"/>
                  </a:lnTo>
                  <a:lnTo>
                    <a:pt x="353" y="763"/>
                  </a:lnTo>
                  <a:lnTo>
                    <a:pt x="353" y="761"/>
                  </a:lnTo>
                  <a:lnTo>
                    <a:pt x="356" y="761"/>
                  </a:lnTo>
                  <a:lnTo>
                    <a:pt x="356" y="763"/>
                  </a:lnTo>
                  <a:lnTo>
                    <a:pt x="356" y="761"/>
                  </a:lnTo>
                  <a:lnTo>
                    <a:pt x="358" y="761"/>
                  </a:lnTo>
                  <a:lnTo>
                    <a:pt x="360" y="761"/>
                  </a:lnTo>
                  <a:lnTo>
                    <a:pt x="363" y="761"/>
                  </a:lnTo>
                  <a:lnTo>
                    <a:pt x="365" y="761"/>
                  </a:lnTo>
                  <a:lnTo>
                    <a:pt x="365" y="758"/>
                  </a:lnTo>
                  <a:lnTo>
                    <a:pt x="367" y="758"/>
                  </a:lnTo>
                  <a:lnTo>
                    <a:pt x="370" y="758"/>
                  </a:lnTo>
                  <a:lnTo>
                    <a:pt x="370" y="761"/>
                  </a:lnTo>
                  <a:lnTo>
                    <a:pt x="372" y="761"/>
                  </a:lnTo>
                  <a:lnTo>
                    <a:pt x="372" y="763"/>
                  </a:lnTo>
                  <a:lnTo>
                    <a:pt x="372" y="761"/>
                  </a:lnTo>
                  <a:lnTo>
                    <a:pt x="372" y="763"/>
                  </a:lnTo>
                  <a:lnTo>
                    <a:pt x="372" y="761"/>
                  </a:lnTo>
                  <a:lnTo>
                    <a:pt x="375" y="758"/>
                  </a:lnTo>
                  <a:lnTo>
                    <a:pt x="372" y="758"/>
                  </a:lnTo>
                  <a:lnTo>
                    <a:pt x="375" y="758"/>
                  </a:lnTo>
                  <a:lnTo>
                    <a:pt x="377" y="758"/>
                  </a:lnTo>
                  <a:lnTo>
                    <a:pt x="377" y="756"/>
                  </a:lnTo>
                  <a:lnTo>
                    <a:pt x="375" y="756"/>
                  </a:lnTo>
                  <a:lnTo>
                    <a:pt x="377" y="756"/>
                  </a:lnTo>
                  <a:lnTo>
                    <a:pt x="375" y="756"/>
                  </a:lnTo>
                  <a:lnTo>
                    <a:pt x="372" y="753"/>
                  </a:lnTo>
                  <a:lnTo>
                    <a:pt x="370" y="753"/>
                  </a:lnTo>
                  <a:lnTo>
                    <a:pt x="367" y="753"/>
                  </a:lnTo>
                  <a:lnTo>
                    <a:pt x="370" y="753"/>
                  </a:lnTo>
                  <a:lnTo>
                    <a:pt x="370" y="756"/>
                  </a:lnTo>
                  <a:lnTo>
                    <a:pt x="367" y="756"/>
                  </a:lnTo>
                  <a:lnTo>
                    <a:pt x="367" y="753"/>
                  </a:lnTo>
                  <a:lnTo>
                    <a:pt x="365" y="753"/>
                  </a:lnTo>
                  <a:lnTo>
                    <a:pt x="363" y="753"/>
                  </a:lnTo>
                  <a:lnTo>
                    <a:pt x="363" y="751"/>
                  </a:lnTo>
                  <a:lnTo>
                    <a:pt x="360" y="751"/>
                  </a:lnTo>
                  <a:lnTo>
                    <a:pt x="360" y="753"/>
                  </a:lnTo>
                  <a:lnTo>
                    <a:pt x="358" y="753"/>
                  </a:lnTo>
                  <a:lnTo>
                    <a:pt x="358" y="756"/>
                  </a:lnTo>
                  <a:lnTo>
                    <a:pt x="358" y="753"/>
                  </a:lnTo>
                  <a:lnTo>
                    <a:pt x="358" y="756"/>
                  </a:lnTo>
                  <a:lnTo>
                    <a:pt x="356" y="756"/>
                  </a:lnTo>
                  <a:lnTo>
                    <a:pt x="353" y="756"/>
                  </a:lnTo>
                  <a:lnTo>
                    <a:pt x="353" y="753"/>
                  </a:lnTo>
                  <a:lnTo>
                    <a:pt x="356" y="753"/>
                  </a:lnTo>
                  <a:lnTo>
                    <a:pt x="353" y="753"/>
                  </a:lnTo>
                  <a:lnTo>
                    <a:pt x="356" y="753"/>
                  </a:lnTo>
                  <a:lnTo>
                    <a:pt x="353" y="753"/>
                  </a:lnTo>
                  <a:lnTo>
                    <a:pt x="356" y="753"/>
                  </a:lnTo>
                  <a:lnTo>
                    <a:pt x="353" y="751"/>
                  </a:lnTo>
                  <a:lnTo>
                    <a:pt x="356" y="751"/>
                  </a:lnTo>
                  <a:lnTo>
                    <a:pt x="358" y="749"/>
                  </a:lnTo>
                  <a:lnTo>
                    <a:pt x="356" y="749"/>
                  </a:lnTo>
                  <a:lnTo>
                    <a:pt x="358" y="749"/>
                  </a:lnTo>
                  <a:lnTo>
                    <a:pt x="360" y="749"/>
                  </a:lnTo>
                  <a:lnTo>
                    <a:pt x="360" y="746"/>
                  </a:lnTo>
                  <a:lnTo>
                    <a:pt x="360" y="749"/>
                  </a:lnTo>
                  <a:lnTo>
                    <a:pt x="360" y="751"/>
                  </a:lnTo>
                  <a:lnTo>
                    <a:pt x="360" y="749"/>
                  </a:lnTo>
                  <a:lnTo>
                    <a:pt x="363" y="749"/>
                  </a:lnTo>
                  <a:lnTo>
                    <a:pt x="360" y="749"/>
                  </a:lnTo>
                  <a:lnTo>
                    <a:pt x="363" y="749"/>
                  </a:lnTo>
                  <a:lnTo>
                    <a:pt x="365" y="749"/>
                  </a:lnTo>
                  <a:lnTo>
                    <a:pt x="365" y="746"/>
                  </a:lnTo>
                  <a:lnTo>
                    <a:pt x="363" y="746"/>
                  </a:lnTo>
                  <a:lnTo>
                    <a:pt x="365" y="746"/>
                  </a:lnTo>
                  <a:lnTo>
                    <a:pt x="363" y="746"/>
                  </a:lnTo>
                  <a:lnTo>
                    <a:pt x="365" y="746"/>
                  </a:lnTo>
                  <a:lnTo>
                    <a:pt x="363" y="746"/>
                  </a:lnTo>
                  <a:lnTo>
                    <a:pt x="365" y="746"/>
                  </a:lnTo>
                  <a:lnTo>
                    <a:pt x="367" y="746"/>
                  </a:lnTo>
                  <a:lnTo>
                    <a:pt x="367" y="749"/>
                  </a:lnTo>
                  <a:lnTo>
                    <a:pt x="365" y="749"/>
                  </a:lnTo>
                  <a:lnTo>
                    <a:pt x="367" y="749"/>
                  </a:lnTo>
                  <a:lnTo>
                    <a:pt x="367" y="751"/>
                  </a:lnTo>
                  <a:lnTo>
                    <a:pt x="365" y="751"/>
                  </a:lnTo>
                  <a:lnTo>
                    <a:pt x="363" y="751"/>
                  </a:lnTo>
                  <a:lnTo>
                    <a:pt x="365" y="751"/>
                  </a:lnTo>
                  <a:lnTo>
                    <a:pt x="363" y="751"/>
                  </a:lnTo>
                  <a:lnTo>
                    <a:pt x="363" y="753"/>
                  </a:lnTo>
                  <a:lnTo>
                    <a:pt x="365" y="753"/>
                  </a:lnTo>
                  <a:lnTo>
                    <a:pt x="365" y="751"/>
                  </a:lnTo>
                  <a:lnTo>
                    <a:pt x="367" y="751"/>
                  </a:lnTo>
                  <a:lnTo>
                    <a:pt x="370" y="751"/>
                  </a:lnTo>
                  <a:lnTo>
                    <a:pt x="370" y="749"/>
                  </a:lnTo>
                  <a:lnTo>
                    <a:pt x="370" y="751"/>
                  </a:lnTo>
                  <a:lnTo>
                    <a:pt x="372" y="751"/>
                  </a:lnTo>
                  <a:lnTo>
                    <a:pt x="372" y="749"/>
                  </a:lnTo>
                  <a:lnTo>
                    <a:pt x="375" y="749"/>
                  </a:lnTo>
                  <a:lnTo>
                    <a:pt x="375" y="746"/>
                  </a:lnTo>
                  <a:lnTo>
                    <a:pt x="372" y="749"/>
                  </a:lnTo>
                  <a:lnTo>
                    <a:pt x="372" y="746"/>
                  </a:lnTo>
                  <a:lnTo>
                    <a:pt x="372" y="744"/>
                  </a:lnTo>
                  <a:lnTo>
                    <a:pt x="372" y="746"/>
                  </a:lnTo>
                  <a:lnTo>
                    <a:pt x="375" y="746"/>
                  </a:lnTo>
                  <a:lnTo>
                    <a:pt x="375" y="744"/>
                  </a:lnTo>
                  <a:lnTo>
                    <a:pt x="375" y="746"/>
                  </a:lnTo>
                  <a:lnTo>
                    <a:pt x="375" y="744"/>
                  </a:lnTo>
                  <a:lnTo>
                    <a:pt x="375" y="742"/>
                  </a:lnTo>
                  <a:lnTo>
                    <a:pt x="377" y="742"/>
                  </a:lnTo>
                  <a:lnTo>
                    <a:pt x="379" y="742"/>
                  </a:lnTo>
                  <a:lnTo>
                    <a:pt x="379" y="744"/>
                  </a:lnTo>
                  <a:lnTo>
                    <a:pt x="382" y="744"/>
                  </a:lnTo>
                  <a:lnTo>
                    <a:pt x="379" y="744"/>
                  </a:lnTo>
                  <a:lnTo>
                    <a:pt x="379" y="746"/>
                  </a:lnTo>
                  <a:lnTo>
                    <a:pt x="377" y="746"/>
                  </a:lnTo>
                  <a:lnTo>
                    <a:pt x="379" y="746"/>
                  </a:lnTo>
                  <a:lnTo>
                    <a:pt x="379" y="744"/>
                  </a:lnTo>
                  <a:lnTo>
                    <a:pt x="379" y="746"/>
                  </a:lnTo>
                  <a:lnTo>
                    <a:pt x="382" y="746"/>
                  </a:lnTo>
                  <a:lnTo>
                    <a:pt x="382" y="749"/>
                  </a:lnTo>
                  <a:lnTo>
                    <a:pt x="379" y="749"/>
                  </a:lnTo>
                  <a:lnTo>
                    <a:pt x="382" y="749"/>
                  </a:lnTo>
                  <a:lnTo>
                    <a:pt x="379" y="749"/>
                  </a:lnTo>
                  <a:lnTo>
                    <a:pt x="379" y="751"/>
                  </a:lnTo>
                  <a:lnTo>
                    <a:pt x="379" y="753"/>
                  </a:lnTo>
                  <a:lnTo>
                    <a:pt x="379" y="756"/>
                  </a:lnTo>
                  <a:lnTo>
                    <a:pt x="382" y="756"/>
                  </a:lnTo>
                  <a:lnTo>
                    <a:pt x="382" y="758"/>
                  </a:lnTo>
                  <a:lnTo>
                    <a:pt x="384" y="758"/>
                  </a:lnTo>
                  <a:lnTo>
                    <a:pt x="384" y="761"/>
                  </a:lnTo>
                  <a:lnTo>
                    <a:pt x="384" y="763"/>
                  </a:lnTo>
                  <a:lnTo>
                    <a:pt x="386" y="763"/>
                  </a:lnTo>
                  <a:lnTo>
                    <a:pt x="386" y="765"/>
                  </a:lnTo>
                  <a:lnTo>
                    <a:pt x="389" y="765"/>
                  </a:lnTo>
                  <a:lnTo>
                    <a:pt x="391" y="765"/>
                  </a:lnTo>
                  <a:lnTo>
                    <a:pt x="391" y="768"/>
                  </a:lnTo>
                  <a:lnTo>
                    <a:pt x="394" y="768"/>
                  </a:lnTo>
                  <a:lnTo>
                    <a:pt x="391" y="768"/>
                  </a:lnTo>
                  <a:lnTo>
                    <a:pt x="391" y="765"/>
                  </a:lnTo>
                  <a:lnTo>
                    <a:pt x="389" y="765"/>
                  </a:lnTo>
                  <a:lnTo>
                    <a:pt x="389" y="763"/>
                  </a:lnTo>
                  <a:lnTo>
                    <a:pt x="386" y="763"/>
                  </a:lnTo>
                  <a:lnTo>
                    <a:pt x="384" y="763"/>
                  </a:lnTo>
                  <a:lnTo>
                    <a:pt x="384" y="761"/>
                  </a:lnTo>
                  <a:lnTo>
                    <a:pt x="386" y="761"/>
                  </a:lnTo>
                  <a:lnTo>
                    <a:pt x="386" y="758"/>
                  </a:lnTo>
                  <a:lnTo>
                    <a:pt x="384" y="758"/>
                  </a:lnTo>
                  <a:lnTo>
                    <a:pt x="386" y="758"/>
                  </a:lnTo>
                  <a:lnTo>
                    <a:pt x="384" y="756"/>
                  </a:lnTo>
                  <a:lnTo>
                    <a:pt x="382" y="756"/>
                  </a:lnTo>
                  <a:lnTo>
                    <a:pt x="384" y="756"/>
                  </a:lnTo>
                  <a:lnTo>
                    <a:pt x="384" y="753"/>
                  </a:lnTo>
                  <a:lnTo>
                    <a:pt x="384" y="756"/>
                  </a:lnTo>
                  <a:lnTo>
                    <a:pt x="386" y="756"/>
                  </a:lnTo>
                  <a:lnTo>
                    <a:pt x="386" y="758"/>
                  </a:lnTo>
                  <a:lnTo>
                    <a:pt x="389" y="758"/>
                  </a:lnTo>
                  <a:lnTo>
                    <a:pt x="389" y="761"/>
                  </a:lnTo>
                  <a:lnTo>
                    <a:pt x="391" y="761"/>
                  </a:lnTo>
                  <a:lnTo>
                    <a:pt x="391" y="758"/>
                  </a:lnTo>
                  <a:lnTo>
                    <a:pt x="391" y="761"/>
                  </a:lnTo>
                  <a:lnTo>
                    <a:pt x="391" y="758"/>
                  </a:lnTo>
                  <a:lnTo>
                    <a:pt x="389" y="761"/>
                  </a:lnTo>
                  <a:lnTo>
                    <a:pt x="389" y="758"/>
                  </a:lnTo>
                  <a:lnTo>
                    <a:pt x="386" y="756"/>
                  </a:lnTo>
                  <a:lnTo>
                    <a:pt x="389" y="756"/>
                  </a:lnTo>
                  <a:lnTo>
                    <a:pt x="386" y="756"/>
                  </a:lnTo>
                  <a:lnTo>
                    <a:pt x="389" y="756"/>
                  </a:lnTo>
                  <a:lnTo>
                    <a:pt x="391" y="756"/>
                  </a:lnTo>
                  <a:lnTo>
                    <a:pt x="391" y="758"/>
                  </a:lnTo>
                  <a:lnTo>
                    <a:pt x="394" y="758"/>
                  </a:lnTo>
                  <a:lnTo>
                    <a:pt x="391" y="758"/>
                  </a:lnTo>
                  <a:lnTo>
                    <a:pt x="394" y="758"/>
                  </a:lnTo>
                  <a:lnTo>
                    <a:pt x="391" y="758"/>
                  </a:lnTo>
                  <a:lnTo>
                    <a:pt x="394" y="758"/>
                  </a:lnTo>
                  <a:lnTo>
                    <a:pt x="391" y="758"/>
                  </a:lnTo>
                  <a:lnTo>
                    <a:pt x="391" y="756"/>
                  </a:lnTo>
                  <a:lnTo>
                    <a:pt x="394" y="756"/>
                  </a:lnTo>
                  <a:lnTo>
                    <a:pt x="391" y="756"/>
                  </a:lnTo>
                  <a:lnTo>
                    <a:pt x="391" y="753"/>
                  </a:lnTo>
                  <a:lnTo>
                    <a:pt x="389" y="753"/>
                  </a:lnTo>
                  <a:lnTo>
                    <a:pt x="389" y="756"/>
                  </a:lnTo>
                  <a:lnTo>
                    <a:pt x="389" y="753"/>
                  </a:lnTo>
                  <a:lnTo>
                    <a:pt x="389" y="751"/>
                  </a:lnTo>
                  <a:lnTo>
                    <a:pt x="391" y="751"/>
                  </a:lnTo>
                  <a:lnTo>
                    <a:pt x="391" y="749"/>
                  </a:lnTo>
                  <a:lnTo>
                    <a:pt x="394" y="749"/>
                  </a:lnTo>
                  <a:lnTo>
                    <a:pt x="394" y="751"/>
                  </a:lnTo>
                  <a:lnTo>
                    <a:pt x="396" y="751"/>
                  </a:lnTo>
                  <a:lnTo>
                    <a:pt x="398" y="751"/>
                  </a:lnTo>
                  <a:lnTo>
                    <a:pt x="398" y="753"/>
                  </a:lnTo>
                  <a:lnTo>
                    <a:pt x="398" y="751"/>
                  </a:lnTo>
                  <a:lnTo>
                    <a:pt x="401" y="751"/>
                  </a:lnTo>
                  <a:lnTo>
                    <a:pt x="398" y="751"/>
                  </a:lnTo>
                  <a:lnTo>
                    <a:pt x="396" y="751"/>
                  </a:lnTo>
                  <a:lnTo>
                    <a:pt x="394" y="751"/>
                  </a:lnTo>
                  <a:lnTo>
                    <a:pt x="394" y="749"/>
                  </a:lnTo>
                  <a:lnTo>
                    <a:pt x="391" y="749"/>
                  </a:lnTo>
                  <a:lnTo>
                    <a:pt x="391" y="751"/>
                  </a:lnTo>
                  <a:lnTo>
                    <a:pt x="389" y="751"/>
                  </a:lnTo>
                  <a:lnTo>
                    <a:pt x="386" y="751"/>
                  </a:lnTo>
                  <a:lnTo>
                    <a:pt x="386" y="749"/>
                  </a:lnTo>
                  <a:lnTo>
                    <a:pt x="384" y="749"/>
                  </a:lnTo>
                  <a:lnTo>
                    <a:pt x="386" y="749"/>
                  </a:lnTo>
                  <a:lnTo>
                    <a:pt x="384" y="749"/>
                  </a:lnTo>
                  <a:lnTo>
                    <a:pt x="386" y="749"/>
                  </a:lnTo>
                  <a:lnTo>
                    <a:pt x="389" y="749"/>
                  </a:lnTo>
                  <a:lnTo>
                    <a:pt x="386" y="749"/>
                  </a:lnTo>
                  <a:lnTo>
                    <a:pt x="389" y="749"/>
                  </a:lnTo>
                  <a:lnTo>
                    <a:pt x="389" y="746"/>
                  </a:lnTo>
                  <a:lnTo>
                    <a:pt x="389" y="749"/>
                  </a:lnTo>
                  <a:lnTo>
                    <a:pt x="391" y="749"/>
                  </a:lnTo>
                  <a:lnTo>
                    <a:pt x="389" y="749"/>
                  </a:lnTo>
                  <a:lnTo>
                    <a:pt x="389" y="746"/>
                  </a:lnTo>
                  <a:lnTo>
                    <a:pt x="391" y="746"/>
                  </a:lnTo>
                  <a:lnTo>
                    <a:pt x="389" y="746"/>
                  </a:lnTo>
                  <a:lnTo>
                    <a:pt x="391" y="746"/>
                  </a:lnTo>
                  <a:lnTo>
                    <a:pt x="394" y="746"/>
                  </a:lnTo>
                  <a:lnTo>
                    <a:pt x="391" y="746"/>
                  </a:lnTo>
                  <a:lnTo>
                    <a:pt x="394" y="746"/>
                  </a:lnTo>
                  <a:lnTo>
                    <a:pt x="391" y="746"/>
                  </a:lnTo>
                  <a:lnTo>
                    <a:pt x="391" y="744"/>
                  </a:lnTo>
                  <a:lnTo>
                    <a:pt x="389" y="744"/>
                  </a:lnTo>
                  <a:lnTo>
                    <a:pt x="391" y="744"/>
                  </a:lnTo>
                  <a:lnTo>
                    <a:pt x="391" y="746"/>
                  </a:lnTo>
                  <a:lnTo>
                    <a:pt x="394" y="746"/>
                  </a:lnTo>
                  <a:lnTo>
                    <a:pt x="396" y="746"/>
                  </a:lnTo>
                  <a:lnTo>
                    <a:pt x="394" y="746"/>
                  </a:lnTo>
                  <a:lnTo>
                    <a:pt x="394" y="744"/>
                  </a:lnTo>
                  <a:lnTo>
                    <a:pt x="391" y="744"/>
                  </a:lnTo>
                  <a:lnTo>
                    <a:pt x="394" y="742"/>
                  </a:lnTo>
                  <a:lnTo>
                    <a:pt x="391" y="742"/>
                  </a:lnTo>
                  <a:lnTo>
                    <a:pt x="391" y="744"/>
                  </a:lnTo>
                  <a:lnTo>
                    <a:pt x="389" y="744"/>
                  </a:lnTo>
                  <a:lnTo>
                    <a:pt x="386" y="744"/>
                  </a:lnTo>
                  <a:lnTo>
                    <a:pt x="384" y="744"/>
                  </a:lnTo>
                  <a:lnTo>
                    <a:pt x="382" y="744"/>
                  </a:lnTo>
                  <a:lnTo>
                    <a:pt x="384" y="744"/>
                  </a:lnTo>
                  <a:lnTo>
                    <a:pt x="386" y="744"/>
                  </a:lnTo>
                  <a:lnTo>
                    <a:pt x="386" y="742"/>
                  </a:lnTo>
                  <a:lnTo>
                    <a:pt x="389" y="742"/>
                  </a:lnTo>
                  <a:lnTo>
                    <a:pt x="386" y="742"/>
                  </a:lnTo>
                  <a:lnTo>
                    <a:pt x="384" y="742"/>
                  </a:lnTo>
                  <a:lnTo>
                    <a:pt x="382" y="739"/>
                  </a:lnTo>
                  <a:lnTo>
                    <a:pt x="382" y="737"/>
                  </a:lnTo>
                  <a:lnTo>
                    <a:pt x="384" y="739"/>
                  </a:lnTo>
                  <a:lnTo>
                    <a:pt x="384" y="737"/>
                  </a:lnTo>
                  <a:lnTo>
                    <a:pt x="386" y="737"/>
                  </a:lnTo>
                  <a:lnTo>
                    <a:pt x="384" y="737"/>
                  </a:lnTo>
                  <a:lnTo>
                    <a:pt x="384" y="739"/>
                  </a:lnTo>
                  <a:lnTo>
                    <a:pt x="386" y="739"/>
                  </a:lnTo>
                  <a:lnTo>
                    <a:pt x="389" y="739"/>
                  </a:lnTo>
                  <a:lnTo>
                    <a:pt x="391" y="739"/>
                  </a:lnTo>
                  <a:lnTo>
                    <a:pt x="389" y="739"/>
                  </a:lnTo>
                  <a:lnTo>
                    <a:pt x="391" y="739"/>
                  </a:lnTo>
                  <a:lnTo>
                    <a:pt x="394" y="739"/>
                  </a:lnTo>
                  <a:lnTo>
                    <a:pt x="394" y="742"/>
                  </a:lnTo>
                  <a:lnTo>
                    <a:pt x="396" y="742"/>
                  </a:lnTo>
                  <a:lnTo>
                    <a:pt x="396" y="744"/>
                  </a:lnTo>
                  <a:lnTo>
                    <a:pt x="398" y="746"/>
                  </a:lnTo>
                  <a:lnTo>
                    <a:pt x="401" y="746"/>
                  </a:lnTo>
                  <a:lnTo>
                    <a:pt x="403" y="749"/>
                  </a:lnTo>
                  <a:lnTo>
                    <a:pt x="403" y="746"/>
                  </a:lnTo>
                  <a:lnTo>
                    <a:pt x="401" y="746"/>
                  </a:lnTo>
                  <a:lnTo>
                    <a:pt x="398" y="744"/>
                  </a:lnTo>
                  <a:lnTo>
                    <a:pt x="396" y="742"/>
                  </a:lnTo>
                  <a:lnTo>
                    <a:pt x="398" y="742"/>
                  </a:lnTo>
                  <a:lnTo>
                    <a:pt x="396" y="742"/>
                  </a:lnTo>
                  <a:lnTo>
                    <a:pt x="396" y="739"/>
                  </a:lnTo>
                  <a:lnTo>
                    <a:pt x="394" y="739"/>
                  </a:lnTo>
                  <a:lnTo>
                    <a:pt x="391" y="739"/>
                  </a:lnTo>
                  <a:lnTo>
                    <a:pt x="389" y="739"/>
                  </a:lnTo>
                  <a:lnTo>
                    <a:pt x="389" y="737"/>
                  </a:lnTo>
                  <a:lnTo>
                    <a:pt x="386" y="737"/>
                  </a:lnTo>
                  <a:lnTo>
                    <a:pt x="386" y="734"/>
                  </a:lnTo>
                  <a:lnTo>
                    <a:pt x="389" y="734"/>
                  </a:lnTo>
                  <a:lnTo>
                    <a:pt x="391" y="734"/>
                  </a:lnTo>
                  <a:lnTo>
                    <a:pt x="391" y="732"/>
                  </a:lnTo>
                  <a:lnTo>
                    <a:pt x="394" y="732"/>
                  </a:lnTo>
                  <a:lnTo>
                    <a:pt x="396" y="732"/>
                  </a:lnTo>
                  <a:lnTo>
                    <a:pt x="398" y="732"/>
                  </a:lnTo>
                  <a:lnTo>
                    <a:pt x="401" y="732"/>
                  </a:lnTo>
                  <a:lnTo>
                    <a:pt x="403" y="732"/>
                  </a:lnTo>
                  <a:lnTo>
                    <a:pt x="403" y="734"/>
                  </a:lnTo>
                  <a:lnTo>
                    <a:pt x="403" y="732"/>
                  </a:lnTo>
                  <a:lnTo>
                    <a:pt x="403" y="734"/>
                  </a:lnTo>
                  <a:lnTo>
                    <a:pt x="405" y="734"/>
                  </a:lnTo>
                  <a:lnTo>
                    <a:pt x="405" y="737"/>
                  </a:lnTo>
                  <a:lnTo>
                    <a:pt x="403" y="737"/>
                  </a:lnTo>
                  <a:lnTo>
                    <a:pt x="405" y="737"/>
                  </a:lnTo>
                  <a:lnTo>
                    <a:pt x="408" y="737"/>
                  </a:lnTo>
                  <a:lnTo>
                    <a:pt x="410" y="737"/>
                  </a:lnTo>
                  <a:lnTo>
                    <a:pt x="410" y="734"/>
                  </a:lnTo>
                  <a:lnTo>
                    <a:pt x="413" y="734"/>
                  </a:lnTo>
                  <a:lnTo>
                    <a:pt x="415" y="734"/>
                  </a:lnTo>
                  <a:lnTo>
                    <a:pt x="417" y="734"/>
                  </a:lnTo>
                  <a:lnTo>
                    <a:pt x="417" y="737"/>
                  </a:lnTo>
                  <a:lnTo>
                    <a:pt x="417" y="739"/>
                  </a:lnTo>
                  <a:lnTo>
                    <a:pt x="420" y="739"/>
                  </a:lnTo>
                  <a:lnTo>
                    <a:pt x="420" y="742"/>
                  </a:lnTo>
                  <a:lnTo>
                    <a:pt x="420" y="744"/>
                  </a:lnTo>
                  <a:lnTo>
                    <a:pt x="420" y="746"/>
                  </a:lnTo>
                  <a:lnTo>
                    <a:pt x="422" y="744"/>
                  </a:lnTo>
                  <a:lnTo>
                    <a:pt x="420" y="744"/>
                  </a:lnTo>
                  <a:lnTo>
                    <a:pt x="422" y="744"/>
                  </a:lnTo>
                  <a:lnTo>
                    <a:pt x="422" y="742"/>
                  </a:lnTo>
                  <a:lnTo>
                    <a:pt x="422" y="739"/>
                  </a:lnTo>
                  <a:lnTo>
                    <a:pt x="420" y="739"/>
                  </a:lnTo>
                  <a:lnTo>
                    <a:pt x="417" y="739"/>
                  </a:lnTo>
                  <a:lnTo>
                    <a:pt x="417" y="737"/>
                  </a:lnTo>
                  <a:lnTo>
                    <a:pt x="420" y="737"/>
                  </a:lnTo>
                  <a:lnTo>
                    <a:pt x="417" y="737"/>
                  </a:lnTo>
                  <a:lnTo>
                    <a:pt x="417" y="734"/>
                  </a:lnTo>
                  <a:lnTo>
                    <a:pt x="420" y="732"/>
                  </a:lnTo>
                  <a:lnTo>
                    <a:pt x="422" y="732"/>
                  </a:lnTo>
                  <a:lnTo>
                    <a:pt x="424" y="732"/>
                  </a:lnTo>
                  <a:lnTo>
                    <a:pt x="424" y="734"/>
                  </a:lnTo>
                  <a:lnTo>
                    <a:pt x="427" y="734"/>
                  </a:lnTo>
                  <a:lnTo>
                    <a:pt x="429" y="734"/>
                  </a:lnTo>
                  <a:lnTo>
                    <a:pt x="427" y="734"/>
                  </a:lnTo>
                  <a:lnTo>
                    <a:pt x="424" y="734"/>
                  </a:lnTo>
                  <a:lnTo>
                    <a:pt x="424" y="732"/>
                  </a:lnTo>
                  <a:lnTo>
                    <a:pt x="422" y="732"/>
                  </a:lnTo>
                  <a:lnTo>
                    <a:pt x="422" y="730"/>
                  </a:lnTo>
                  <a:lnTo>
                    <a:pt x="424" y="730"/>
                  </a:lnTo>
                  <a:lnTo>
                    <a:pt x="427" y="730"/>
                  </a:lnTo>
                  <a:lnTo>
                    <a:pt x="429" y="730"/>
                  </a:lnTo>
                  <a:lnTo>
                    <a:pt x="432" y="730"/>
                  </a:lnTo>
                  <a:lnTo>
                    <a:pt x="432" y="732"/>
                  </a:lnTo>
                  <a:lnTo>
                    <a:pt x="434" y="732"/>
                  </a:lnTo>
                  <a:lnTo>
                    <a:pt x="436" y="732"/>
                  </a:lnTo>
                  <a:lnTo>
                    <a:pt x="439" y="732"/>
                  </a:lnTo>
                  <a:lnTo>
                    <a:pt x="436" y="732"/>
                  </a:lnTo>
                  <a:lnTo>
                    <a:pt x="434" y="732"/>
                  </a:lnTo>
                  <a:lnTo>
                    <a:pt x="434" y="730"/>
                  </a:lnTo>
                  <a:lnTo>
                    <a:pt x="434" y="732"/>
                  </a:lnTo>
                  <a:lnTo>
                    <a:pt x="432" y="732"/>
                  </a:lnTo>
                  <a:lnTo>
                    <a:pt x="432" y="730"/>
                  </a:lnTo>
                  <a:lnTo>
                    <a:pt x="434" y="730"/>
                  </a:lnTo>
                  <a:lnTo>
                    <a:pt x="432" y="730"/>
                  </a:lnTo>
                  <a:lnTo>
                    <a:pt x="429" y="730"/>
                  </a:lnTo>
                  <a:lnTo>
                    <a:pt x="427" y="730"/>
                  </a:lnTo>
                  <a:lnTo>
                    <a:pt x="424" y="730"/>
                  </a:lnTo>
                  <a:lnTo>
                    <a:pt x="424" y="727"/>
                  </a:lnTo>
                  <a:lnTo>
                    <a:pt x="427" y="727"/>
                  </a:lnTo>
                  <a:lnTo>
                    <a:pt x="429" y="727"/>
                  </a:lnTo>
                  <a:lnTo>
                    <a:pt x="429" y="725"/>
                  </a:lnTo>
                  <a:lnTo>
                    <a:pt x="427" y="725"/>
                  </a:lnTo>
                  <a:lnTo>
                    <a:pt x="424" y="725"/>
                  </a:lnTo>
                  <a:lnTo>
                    <a:pt x="424" y="727"/>
                  </a:lnTo>
                  <a:lnTo>
                    <a:pt x="422" y="727"/>
                  </a:lnTo>
                  <a:lnTo>
                    <a:pt x="420" y="727"/>
                  </a:lnTo>
                  <a:lnTo>
                    <a:pt x="420" y="730"/>
                  </a:lnTo>
                  <a:lnTo>
                    <a:pt x="417" y="730"/>
                  </a:lnTo>
                  <a:lnTo>
                    <a:pt x="415" y="730"/>
                  </a:lnTo>
                  <a:lnTo>
                    <a:pt x="413" y="730"/>
                  </a:lnTo>
                  <a:lnTo>
                    <a:pt x="410" y="730"/>
                  </a:lnTo>
                  <a:lnTo>
                    <a:pt x="413" y="730"/>
                  </a:lnTo>
                  <a:lnTo>
                    <a:pt x="413" y="727"/>
                  </a:lnTo>
                  <a:lnTo>
                    <a:pt x="410" y="727"/>
                  </a:lnTo>
                  <a:lnTo>
                    <a:pt x="408" y="727"/>
                  </a:lnTo>
                  <a:lnTo>
                    <a:pt x="405" y="730"/>
                  </a:lnTo>
                  <a:lnTo>
                    <a:pt x="403" y="730"/>
                  </a:lnTo>
                  <a:lnTo>
                    <a:pt x="401" y="730"/>
                  </a:lnTo>
                  <a:lnTo>
                    <a:pt x="398" y="730"/>
                  </a:lnTo>
                  <a:lnTo>
                    <a:pt x="396" y="730"/>
                  </a:lnTo>
                  <a:lnTo>
                    <a:pt x="394" y="730"/>
                  </a:lnTo>
                  <a:lnTo>
                    <a:pt x="394" y="727"/>
                  </a:lnTo>
                  <a:lnTo>
                    <a:pt x="391" y="727"/>
                  </a:lnTo>
                  <a:lnTo>
                    <a:pt x="391" y="725"/>
                  </a:lnTo>
                  <a:lnTo>
                    <a:pt x="394" y="725"/>
                  </a:lnTo>
                  <a:lnTo>
                    <a:pt x="391" y="725"/>
                  </a:lnTo>
                  <a:lnTo>
                    <a:pt x="394" y="725"/>
                  </a:lnTo>
                  <a:lnTo>
                    <a:pt x="396" y="725"/>
                  </a:lnTo>
                  <a:lnTo>
                    <a:pt x="398" y="725"/>
                  </a:lnTo>
                  <a:lnTo>
                    <a:pt x="398" y="723"/>
                  </a:lnTo>
                  <a:lnTo>
                    <a:pt x="398" y="725"/>
                  </a:lnTo>
                  <a:lnTo>
                    <a:pt x="396" y="723"/>
                  </a:lnTo>
                  <a:lnTo>
                    <a:pt x="396" y="720"/>
                  </a:lnTo>
                  <a:lnTo>
                    <a:pt x="398" y="720"/>
                  </a:lnTo>
                  <a:lnTo>
                    <a:pt x="398" y="718"/>
                  </a:lnTo>
                  <a:lnTo>
                    <a:pt x="401" y="718"/>
                  </a:lnTo>
                  <a:lnTo>
                    <a:pt x="403" y="718"/>
                  </a:lnTo>
                  <a:lnTo>
                    <a:pt x="405" y="718"/>
                  </a:lnTo>
                  <a:lnTo>
                    <a:pt x="408" y="715"/>
                  </a:lnTo>
                  <a:lnTo>
                    <a:pt x="410" y="715"/>
                  </a:lnTo>
                  <a:lnTo>
                    <a:pt x="413" y="718"/>
                  </a:lnTo>
                  <a:lnTo>
                    <a:pt x="413" y="715"/>
                  </a:lnTo>
                  <a:lnTo>
                    <a:pt x="415" y="715"/>
                  </a:lnTo>
                  <a:lnTo>
                    <a:pt x="417" y="713"/>
                  </a:lnTo>
                  <a:lnTo>
                    <a:pt x="420" y="713"/>
                  </a:lnTo>
                  <a:lnTo>
                    <a:pt x="420" y="715"/>
                  </a:lnTo>
                  <a:lnTo>
                    <a:pt x="422" y="713"/>
                  </a:lnTo>
                  <a:lnTo>
                    <a:pt x="422" y="715"/>
                  </a:lnTo>
                  <a:lnTo>
                    <a:pt x="424" y="715"/>
                  </a:lnTo>
                  <a:lnTo>
                    <a:pt x="424" y="718"/>
                  </a:lnTo>
                  <a:lnTo>
                    <a:pt x="424" y="715"/>
                  </a:lnTo>
                  <a:lnTo>
                    <a:pt x="424" y="718"/>
                  </a:lnTo>
                  <a:lnTo>
                    <a:pt x="427" y="718"/>
                  </a:lnTo>
                  <a:lnTo>
                    <a:pt x="429" y="718"/>
                  </a:lnTo>
                  <a:lnTo>
                    <a:pt x="429" y="715"/>
                  </a:lnTo>
                  <a:lnTo>
                    <a:pt x="432" y="718"/>
                  </a:lnTo>
                  <a:lnTo>
                    <a:pt x="429" y="715"/>
                  </a:lnTo>
                  <a:lnTo>
                    <a:pt x="427" y="715"/>
                  </a:lnTo>
                  <a:lnTo>
                    <a:pt x="427" y="718"/>
                  </a:lnTo>
                  <a:lnTo>
                    <a:pt x="424" y="715"/>
                  </a:lnTo>
                  <a:lnTo>
                    <a:pt x="424" y="713"/>
                  </a:lnTo>
                  <a:lnTo>
                    <a:pt x="422" y="713"/>
                  </a:lnTo>
                  <a:lnTo>
                    <a:pt x="420" y="713"/>
                  </a:lnTo>
                  <a:lnTo>
                    <a:pt x="417" y="713"/>
                  </a:lnTo>
                  <a:lnTo>
                    <a:pt x="417" y="711"/>
                  </a:lnTo>
                  <a:lnTo>
                    <a:pt x="420" y="711"/>
                  </a:lnTo>
                  <a:lnTo>
                    <a:pt x="422" y="711"/>
                  </a:lnTo>
                  <a:lnTo>
                    <a:pt x="424" y="708"/>
                  </a:lnTo>
                  <a:lnTo>
                    <a:pt x="427" y="708"/>
                  </a:lnTo>
                  <a:lnTo>
                    <a:pt x="427" y="711"/>
                  </a:lnTo>
                  <a:lnTo>
                    <a:pt x="429" y="711"/>
                  </a:lnTo>
                  <a:lnTo>
                    <a:pt x="432" y="711"/>
                  </a:lnTo>
                  <a:lnTo>
                    <a:pt x="434" y="711"/>
                  </a:lnTo>
                  <a:lnTo>
                    <a:pt x="434" y="713"/>
                  </a:lnTo>
                  <a:lnTo>
                    <a:pt x="436" y="713"/>
                  </a:lnTo>
                  <a:lnTo>
                    <a:pt x="436" y="711"/>
                  </a:lnTo>
                  <a:lnTo>
                    <a:pt x="434" y="711"/>
                  </a:lnTo>
                  <a:lnTo>
                    <a:pt x="432" y="711"/>
                  </a:lnTo>
                  <a:lnTo>
                    <a:pt x="429" y="711"/>
                  </a:lnTo>
                  <a:lnTo>
                    <a:pt x="429" y="708"/>
                  </a:lnTo>
                  <a:lnTo>
                    <a:pt x="427" y="708"/>
                  </a:lnTo>
                  <a:lnTo>
                    <a:pt x="424" y="708"/>
                  </a:lnTo>
                  <a:lnTo>
                    <a:pt x="427" y="708"/>
                  </a:lnTo>
                  <a:lnTo>
                    <a:pt x="427" y="706"/>
                  </a:lnTo>
                  <a:lnTo>
                    <a:pt x="429" y="706"/>
                  </a:lnTo>
                  <a:lnTo>
                    <a:pt x="429" y="704"/>
                  </a:lnTo>
                  <a:lnTo>
                    <a:pt x="432" y="704"/>
                  </a:lnTo>
                  <a:lnTo>
                    <a:pt x="434" y="704"/>
                  </a:lnTo>
                  <a:lnTo>
                    <a:pt x="434" y="706"/>
                  </a:lnTo>
                  <a:lnTo>
                    <a:pt x="432" y="706"/>
                  </a:lnTo>
                  <a:lnTo>
                    <a:pt x="434" y="706"/>
                  </a:lnTo>
                  <a:lnTo>
                    <a:pt x="436" y="706"/>
                  </a:lnTo>
                  <a:lnTo>
                    <a:pt x="439" y="706"/>
                  </a:lnTo>
                  <a:lnTo>
                    <a:pt x="436" y="706"/>
                  </a:lnTo>
                  <a:lnTo>
                    <a:pt x="436" y="704"/>
                  </a:lnTo>
                  <a:lnTo>
                    <a:pt x="434" y="704"/>
                  </a:lnTo>
                  <a:lnTo>
                    <a:pt x="434" y="701"/>
                  </a:lnTo>
                  <a:lnTo>
                    <a:pt x="432" y="701"/>
                  </a:lnTo>
                  <a:lnTo>
                    <a:pt x="432" y="704"/>
                  </a:lnTo>
                  <a:lnTo>
                    <a:pt x="429" y="704"/>
                  </a:lnTo>
                  <a:lnTo>
                    <a:pt x="427" y="704"/>
                  </a:lnTo>
                  <a:lnTo>
                    <a:pt x="424" y="704"/>
                  </a:lnTo>
                  <a:lnTo>
                    <a:pt x="424" y="701"/>
                  </a:lnTo>
                  <a:lnTo>
                    <a:pt x="427" y="701"/>
                  </a:lnTo>
                  <a:lnTo>
                    <a:pt x="427" y="699"/>
                  </a:lnTo>
                  <a:lnTo>
                    <a:pt x="424" y="699"/>
                  </a:lnTo>
                  <a:lnTo>
                    <a:pt x="427" y="699"/>
                  </a:lnTo>
                  <a:lnTo>
                    <a:pt x="427" y="696"/>
                  </a:lnTo>
                  <a:lnTo>
                    <a:pt x="429" y="696"/>
                  </a:lnTo>
                  <a:lnTo>
                    <a:pt x="429" y="694"/>
                  </a:lnTo>
                  <a:lnTo>
                    <a:pt x="432" y="694"/>
                  </a:lnTo>
                  <a:lnTo>
                    <a:pt x="432" y="692"/>
                  </a:lnTo>
                  <a:lnTo>
                    <a:pt x="429" y="694"/>
                  </a:lnTo>
                  <a:lnTo>
                    <a:pt x="432" y="692"/>
                  </a:lnTo>
                  <a:lnTo>
                    <a:pt x="434" y="692"/>
                  </a:lnTo>
                  <a:lnTo>
                    <a:pt x="436" y="692"/>
                  </a:lnTo>
                  <a:lnTo>
                    <a:pt x="439" y="692"/>
                  </a:lnTo>
                  <a:lnTo>
                    <a:pt x="439" y="689"/>
                  </a:lnTo>
                  <a:lnTo>
                    <a:pt x="441" y="689"/>
                  </a:lnTo>
                  <a:lnTo>
                    <a:pt x="443" y="689"/>
                  </a:lnTo>
                  <a:lnTo>
                    <a:pt x="443" y="692"/>
                  </a:lnTo>
                  <a:lnTo>
                    <a:pt x="443" y="689"/>
                  </a:lnTo>
                  <a:lnTo>
                    <a:pt x="446" y="689"/>
                  </a:lnTo>
                  <a:lnTo>
                    <a:pt x="446" y="692"/>
                  </a:lnTo>
                  <a:lnTo>
                    <a:pt x="446" y="689"/>
                  </a:lnTo>
                  <a:lnTo>
                    <a:pt x="448" y="689"/>
                  </a:lnTo>
                  <a:lnTo>
                    <a:pt x="446" y="689"/>
                  </a:lnTo>
                  <a:lnTo>
                    <a:pt x="446" y="687"/>
                  </a:lnTo>
                  <a:lnTo>
                    <a:pt x="443" y="687"/>
                  </a:lnTo>
                  <a:lnTo>
                    <a:pt x="446" y="687"/>
                  </a:lnTo>
                  <a:lnTo>
                    <a:pt x="443" y="687"/>
                  </a:lnTo>
                  <a:lnTo>
                    <a:pt x="446" y="687"/>
                  </a:lnTo>
                  <a:lnTo>
                    <a:pt x="446" y="685"/>
                  </a:lnTo>
                  <a:lnTo>
                    <a:pt x="443" y="685"/>
                  </a:lnTo>
                  <a:lnTo>
                    <a:pt x="441" y="685"/>
                  </a:lnTo>
                  <a:lnTo>
                    <a:pt x="443" y="685"/>
                  </a:lnTo>
                  <a:lnTo>
                    <a:pt x="443" y="682"/>
                  </a:lnTo>
                  <a:lnTo>
                    <a:pt x="441" y="682"/>
                  </a:lnTo>
                  <a:lnTo>
                    <a:pt x="443" y="682"/>
                  </a:lnTo>
                  <a:lnTo>
                    <a:pt x="443" y="680"/>
                  </a:lnTo>
                  <a:lnTo>
                    <a:pt x="441" y="680"/>
                  </a:lnTo>
                  <a:lnTo>
                    <a:pt x="443" y="680"/>
                  </a:lnTo>
                  <a:lnTo>
                    <a:pt x="446" y="680"/>
                  </a:lnTo>
                  <a:lnTo>
                    <a:pt x="446" y="677"/>
                  </a:lnTo>
                  <a:lnTo>
                    <a:pt x="446" y="675"/>
                  </a:lnTo>
                  <a:lnTo>
                    <a:pt x="448" y="675"/>
                  </a:lnTo>
                  <a:lnTo>
                    <a:pt x="448" y="673"/>
                  </a:lnTo>
                  <a:lnTo>
                    <a:pt x="446" y="673"/>
                  </a:lnTo>
                  <a:lnTo>
                    <a:pt x="446" y="670"/>
                  </a:lnTo>
                  <a:lnTo>
                    <a:pt x="448" y="670"/>
                  </a:lnTo>
                  <a:lnTo>
                    <a:pt x="450" y="670"/>
                  </a:lnTo>
                  <a:lnTo>
                    <a:pt x="453" y="670"/>
                  </a:lnTo>
                  <a:lnTo>
                    <a:pt x="455" y="670"/>
                  </a:lnTo>
                  <a:lnTo>
                    <a:pt x="455" y="673"/>
                  </a:lnTo>
                  <a:lnTo>
                    <a:pt x="455" y="675"/>
                  </a:lnTo>
                  <a:lnTo>
                    <a:pt x="453" y="675"/>
                  </a:lnTo>
                  <a:lnTo>
                    <a:pt x="453" y="677"/>
                  </a:lnTo>
                  <a:lnTo>
                    <a:pt x="453" y="675"/>
                  </a:lnTo>
                  <a:lnTo>
                    <a:pt x="455" y="675"/>
                  </a:lnTo>
                  <a:lnTo>
                    <a:pt x="458" y="675"/>
                  </a:lnTo>
                  <a:lnTo>
                    <a:pt x="458" y="677"/>
                  </a:lnTo>
                  <a:lnTo>
                    <a:pt x="460" y="677"/>
                  </a:lnTo>
                  <a:lnTo>
                    <a:pt x="458" y="677"/>
                  </a:lnTo>
                  <a:lnTo>
                    <a:pt x="458" y="680"/>
                  </a:lnTo>
                  <a:lnTo>
                    <a:pt x="460" y="680"/>
                  </a:lnTo>
                  <a:lnTo>
                    <a:pt x="460" y="682"/>
                  </a:lnTo>
                  <a:lnTo>
                    <a:pt x="458" y="682"/>
                  </a:lnTo>
                  <a:lnTo>
                    <a:pt x="460" y="682"/>
                  </a:lnTo>
                  <a:lnTo>
                    <a:pt x="460" y="685"/>
                  </a:lnTo>
                  <a:lnTo>
                    <a:pt x="458" y="685"/>
                  </a:lnTo>
                  <a:lnTo>
                    <a:pt x="458" y="687"/>
                  </a:lnTo>
                  <a:lnTo>
                    <a:pt x="460" y="687"/>
                  </a:lnTo>
                  <a:lnTo>
                    <a:pt x="460" y="689"/>
                  </a:lnTo>
                  <a:lnTo>
                    <a:pt x="462" y="689"/>
                  </a:lnTo>
                  <a:lnTo>
                    <a:pt x="462" y="692"/>
                  </a:lnTo>
                  <a:lnTo>
                    <a:pt x="462" y="694"/>
                  </a:lnTo>
                  <a:lnTo>
                    <a:pt x="460" y="694"/>
                  </a:lnTo>
                  <a:lnTo>
                    <a:pt x="462" y="694"/>
                  </a:lnTo>
                  <a:lnTo>
                    <a:pt x="462" y="692"/>
                  </a:lnTo>
                  <a:lnTo>
                    <a:pt x="462" y="689"/>
                  </a:lnTo>
                  <a:lnTo>
                    <a:pt x="460" y="689"/>
                  </a:lnTo>
                  <a:lnTo>
                    <a:pt x="462" y="689"/>
                  </a:lnTo>
                  <a:lnTo>
                    <a:pt x="462" y="687"/>
                  </a:lnTo>
                  <a:lnTo>
                    <a:pt x="460" y="687"/>
                  </a:lnTo>
                  <a:lnTo>
                    <a:pt x="458" y="687"/>
                  </a:lnTo>
                  <a:lnTo>
                    <a:pt x="458" y="685"/>
                  </a:lnTo>
                  <a:lnTo>
                    <a:pt x="460" y="685"/>
                  </a:lnTo>
                  <a:lnTo>
                    <a:pt x="460" y="682"/>
                  </a:lnTo>
                  <a:lnTo>
                    <a:pt x="460" y="680"/>
                  </a:lnTo>
                  <a:lnTo>
                    <a:pt x="460" y="677"/>
                  </a:lnTo>
                  <a:lnTo>
                    <a:pt x="462" y="677"/>
                  </a:lnTo>
                  <a:lnTo>
                    <a:pt x="462" y="680"/>
                  </a:lnTo>
                  <a:lnTo>
                    <a:pt x="462" y="682"/>
                  </a:lnTo>
                  <a:lnTo>
                    <a:pt x="465" y="682"/>
                  </a:lnTo>
                  <a:lnTo>
                    <a:pt x="465" y="685"/>
                  </a:lnTo>
                  <a:lnTo>
                    <a:pt x="467" y="682"/>
                  </a:lnTo>
                  <a:lnTo>
                    <a:pt x="465" y="682"/>
                  </a:lnTo>
                  <a:lnTo>
                    <a:pt x="465" y="680"/>
                  </a:lnTo>
                  <a:lnTo>
                    <a:pt x="467" y="680"/>
                  </a:lnTo>
                  <a:lnTo>
                    <a:pt x="469" y="680"/>
                  </a:lnTo>
                  <a:lnTo>
                    <a:pt x="472" y="680"/>
                  </a:lnTo>
                  <a:lnTo>
                    <a:pt x="474" y="680"/>
                  </a:lnTo>
                  <a:lnTo>
                    <a:pt x="474" y="682"/>
                  </a:lnTo>
                  <a:lnTo>
                    <a:pt x="477" y="682"/>
                  </a:lnTo>
                  <a:lnTo>
                    <a:pt x="474" y="682"/>
                  </a:lnTo>
                  <a:lnTo>
                    <a:pt x="474" y="680"/>
                  </a:lnTo>
                  <a:lnTo>
                    <a:pt x="472" y="680"/>
                  </a:lnTo>
                  <a:lnTo>
                    <a:pt x="469" y="680"/>
                  </a:lnTo>
                  <a:lnTo>
                    <a:pt x="469" y="677"/>
                  </a:lnTo>
                  <a:lnTo>
                    <a:pt x="469" y="680"/>
                  </a:lnTo>
                  <a:lnTo>
                    <a:pt x="469" y="677"/>
                  </a:lnTo>
                  <a:lnTo>
                    <a:pt x="467" y="677"/>
                  </a:lnTo>
                  <a:lnTo>
                    <a:pt x="465" y="677"/>
                  </a:lnTo>
                  <a:lnTo>
                    <a:pt x="462" y="675"/>
                  </a:lnTo>
                  <a:lnTo>
                    <a:pt x="462" y="673"/>
                  </a:lnTo>
                  <a:lnTo>
                    <a:pt x="460" y="673"/>
                  </a:lnTo>
                  <a:lnTo>
                    <a:pt x="458" y="673"/>
                  </a:lnTo>
                  <a:lnTo>
                    <a:pt x="458" y="670"/>
                  </a:lnTo>
                  <a:lnTo>
                    <a:pt x="458" y="668"/>
                  </a:lnTo>
                  <a:lnTo>
                    <a:pt x="460" y="668"/>
                  </a:lnTo>
                  <a:lnTo>
                    <a:pt x="462" y="668"/>
                  </a:lnTo>
                  <a:lnTo>
                    <a:pt x="465" y="668"/>
                  </a:lnTo>
                  <a:lnTo>
                    <a:pt x="465" y="666"/>
                  </a:lnTo>
                  <a:lnTo>
                    <a:pt x="467" y="666"/>
                  </a:lnTo>
                  <a:lnTo>
                    <a:pt x="469" y="666"/>
                  </a:lnTo>
                  <a:lnTo>
                    <a:pt x="472" y="666"/>
                  </a:lnTo>
                  <a:lnTo>
                    <a:pt x="472" y="668"/>
                  </a:lnTo>
                  <a:lnTo>
                    <a:pt x="469" y="668"/>
                  </a:lnTo>
                  <a:lnTo>
                    <a:pt x="469" y="670"/>
                  </a:lnTo>
                  <a:lnTo>
                    <a:pt x="472" y="670"/>
                  </a:lnTo>
                  <a:lnTo>
                    <a:pt x="472" y="673"/>
                  </a:lnTo>
                  <a:lnTo>
                    <a:pt x="474" y="673"/>
                  </a:lnTo>
                  <a:lnTo>
                    <a:pt x="477" y="675"/>
                  </a:lnTo>
                  <a:lnTo>
                    <a:pt x="474" y="675"/>
                  </a:lnTo>
                  <a:lnTo>
                    <a:pt x="477" y="675"/>
                  </a:lnTo>
                  <a:lnTo>
                    <a:pt x="477" y="677"/>
                  </a:lnTo>
                  <a:lnTo>
                    <a:pt x="479" y="677"/>
                  </a:lnTo>
                  <a:lnTo>
                    <a:pt x="481" y="677"/>
                  </a:lnTo>
                  <a:lnTo>
                    <a:pt x="484" y="677"/>
                  </a:lnTo>
                  <a:lnTo>
                    <a:pt x="486" y="677"/>
                  </a:lnTo>
                  <a:lnTo>
                    <a:pt x="486" y="680"/>
                  </a:lnTo>
                  <a:lnTo>
                    <a:pt x="486" y="682"/>
                  </a:lnTo>
                  <a:lnTo>
                    <a:pt x="484" y="682"/>
                  </a:lnTo>
                  <a:lnTo>
                    <a:pt x="484" y="685"/>
                  </a:lnTo>
                  <a:lnTo>
                    <a:pt x="486" y="685"/>
                  </a:lnTo>
                  <a:lnTo>
                    <a:pt x="488" y="685"/>
                  </a:lnTo>
                  <a:lnTo>
                    <a:pt x="491" y="685"/>
                  </a:lnTo>
                  <a:lnTo>
                    <a:pt x="493" y="685"/>
                  </a:lnTo>
                  <a:lnTo>
                    <a:pt x="493" y="687"/>
                  </a:lnTo>
                  <a:lnTo>
                    <a:pt x="493" y="685"/>
                  </a:lnTo>
                  <a:lnTo>
                    <a:pt x="493" y="687"/>
                  </a:lnTo>
                  <a:lnTo>
                    <a:pt x="493" y="685"/>
                  </a:lnTo>
                  <a:lnTo>
                    <a:pt x="491" y="685"/>
                  </a:lnTo>
                  <a:lnTo>
                    <a:pt x="488" y="685"/>
                  </a:lnTo>
                  <a:lnTo>
                    <a:pt x="488" y="682"/>
                  </a:lnTo>
                  <a:lnTo>
                    <a:pt x="488" y="680"/>
                  </a:lnTo>
                  <a:lnTo>
                    <a:pt x="488" y="677"/>
                  </a:lnTo>
                  <a:lnTo>
                    <a:pt x="486" y="677"/>
                  </a:lnTo>
                  <a:lnTo>
                    <a:pt x="488" y="677"/>
                  </a:lnTo>
                  <a:lnTo>
                    <a:pt x="486" y="677"/>
                  </a:lnTo>
                  <a:lnTo>
                    <a:pt x="484" y="675"/>
                  </a:lnTo>
                  <a:lnTo>
                    <a:pt x="481" y="675"/>
                  </a:lnTo>
                  <a:lnTo>
                    <a:pt x="481" y="677"/>
                  </a:lnTo>
                  <a:lnTo>
                    <a:pt x="479" y="677"/>
                  </a:lnTo>
                  <a:lnTo>
                    <a:pt x="479" y="675"/>
                  </a:lnTo>
                  <a:lnTo>
                    <a:pt x="477" y="675"/>
                  </a:lnTo>
                  <a:lnTo>
                    <a:pt x="477" y="673"/>
                  </a:lnTo>
                  <a:lnTo>
                    <a:pt x="474" y="673"/>
                  </a:lnTo>
                  <a:lnTo>
                    <a:pt x="474" y="670"/>
                  </a:lnTo>
                  <a:lnTo>
                    <a:pt x="474" y="668"/>
                  </a:lnTo>
                  <a:lnTo>
                    <a:pt x="477" y="668"/>
                  </a:lnTo>
                  <a:lnTo>
                    <a:pt x="477" y="666"/>
                  </a:lnTo>
                  <a:lnTo>
                    <a:pt x="479" y="666"/>
                  </a:lnTo>
                  <a:lnTo>
                    <a:pt x="481" y="666"/>
                  </a:lnTo>
                  <a:lnTo>
                    <a:pt x="481" y="668"/>
                  </a:lnTo>
                  <a:lnTo>
                    <a:pt x="484" y="668"/>
                  </a:lnTo>
                  <a:lnTo>
                    <a:pt x="481" y="666"/>
                  </a:lnTo>
                  <a:lnTo>
                    <a:pt x="479" y="666"/>
                  </a:lnTo>
                  <a:lnTo>
                    <a:pt x="477" y="666"/>
                  </a:lnTo>
                  <a:lnTo>
                    <a:pt x="477" y="668"/>
                  </a:lnTo>
                  <a:lnTo>
                    <a:pt x="474" y="666"/>
                  </a:lnTo>
                  <a:lnTo>
                    <a:pt x="474" y="663"/>
                  </a:lnTo>
                  <a:lnTo>
                    <a:pt x="474" y="661"/>
                  </a:lnTo>
                  <a:lnTo>
                    <a:pt x="477" y="661"/>
                  </a:lnTo>
                  <a:lnTo>
                    <a:pt x="477" y="658"/>
                  </a:lnTo>
                  <a:lnTo>
                    <a:pt x="479" y="656"/>
                  </a:lnTo>
                  <a:lnTo>
                    <a:pt x="479" y="654"/>
                  </a:lnTo>
                  <a:lnTo>
                    <a:pt x="481" y="654"/>
                  </a:lnTo>
                  <a:lnTo>
                    <a:pt x="484" y="654"/>
                  </a:lnTo>
                  <a:lnTo>
                    <a:pt x="484" y="651"/>
                  </a:lnTo>
                  <a:lnTo>
                    <a:pt x="486" y="654"/>
                  </a:lnTo>
                  <a:lnTo>
                    <a:pt x="486" y="651"/>
                  </a:lnTo>
                  <a:lnTo>
                    <a:pt x="486" y="654"/>
                  </a:lnTo>
                  <a:lnTo>
                    <a:pt x="488" y="654"/>
                  </a:lnTo>
                  <a:lnTo>
                    <a:pt x="488" y="651"/>
                  </a:lnTo>
                  <a:lnTo>
                    <a:pt x="488" y="654"/>
                  </a:lnTo>
                  <a:lnTo>
                    <a:pt x="488" y="651"/>
                  </a:lnTo>
                  <a:lnTo>
                    <a:pt x="491" y="651"/>
                  </a:lnTo>
                  <a:lnTo>
                    <a:pt x="493" y="651"/>
                  </a:lnTo>
                  <a:lnTo>
                    <a:pt x="496" y="651"/>
                  </a:lnTo>
                  <a:lnTo>
                    <a:pt x="498" y="651"/>
                  </a:lnTo>
                  <a:lnTo>
                    <a:pt x="500" y="651"/>
                  </a:lnTo>
                  <a:lnTo>
                    <a:pt x="500" y="654"/>
                  </a:lnTo>
                  <a:lnTo>
                    <a:pt x="498" y="654"/>
                  </a:lnTo>
                  <a:lnTo>
                    <a:pt x="498" y="656"/>
                  </a:lnTo>
                  <a:lnTo>
                    <a:pt x="498" y="658"/>
                  </a:lnTo>
                  <a:lnTo>
                    <a:pt x="496" y="658"/>
                  </a:lnTo>
                  <a:lnTo>
                    <a:pt x="496" y="661"/>
                  </a:lnTo>
                  <a:lnTo>
                    <a:pt x="496" y="658"/>
                  </a:lnTo>
                  <a:lnTo>
                    <a:pt x="496" y="661"/>
                  </a:lnTo>
                  <a:lnTo>
                    <a:pt x="496" y="658"/>
                  </a:lnTo>
                  <a:lnTo>
                    <a:pt x="498" y="658"/>
                  </a:lnTo>
                  <a:lnTo>
                    <a:pt x="498" y="661"/>
                  </a:lnTo>
                  <a:lnTo>
                    <a:pt x="500" y="661"/>
                  </a:lnTo>
                  <a:lnTo>
                    <a:pt x="498" y="661"/>
                  </a:lnTo>
                  <a:lnTo>
                    <a:pt x="498" y="663"/>
                  </a:lnTo>
                  <a:lnTo>
                    <a:pt x="500" y="663"/>
                  </a:lnTo>
                  <a:lnTo>
                    <a:pt x="498" y="663"/>
                  </a:lnTo>
                  <a:lnTo>
                    <a:pt x="498" y="666"/>
                  </a:lnTo>
                  <a:lnTo>
                    <a:pt x="496" y="666"/>
                  </a:lnTo>
                  <a:lnTo>
                    <a:pt x="496" y="668"/>
                  </a:lnTo>
                  <a:lnTo>
                    <a:pt x="498" y="670"/>
                  </a:lnTo>
                  <a:lnTo>
                    <a:pt x="496" y="670"/>
                  </a:lnTo>
                  <a:lnTo>
                    <a:pt x="496" y="673"/>
                  </a:lnTo>
                  <a:lnTo>
                    <a:pt x="493" y="673"/>
                  </a:lnTo>
                  <a:lnTo>
                    <a:pt x="493" y="675"/>
                  </a:lnTo>
                  <a:lnTo>
                    <a:pt x="491" y="675"/>
                  </a:lnTo>
                  <a:lnTo>
                    <a:pt x="493" y="675"/>
                  </a:lnTo>
                  <a:lnTo>
                    <a:pt x="496" y="673"/>
                  </a:lnTo>
                  <a:lnTo>
                    <a:pt x="498" y="673"/>
                  </a:lnTo>
                  <a:lnTo>
                    <a:pt x="496" y="675"/>
                  </a:lnTo>
                  <a:lnTo>
                    <a:pt x="498" y="675"/>
                  </a:lnTo>
                  <a:lnTo>
                    <a:pt x="498" y="673"/>
                  </a:lnTo>
                  <a:lnTo>
                    <a:pt x="496" y="673"/>
                  </a:lnTo>
                  <a:lnTo>
                    <a:pt x="498" y="673"/>
                  </a:lnTo>
                  <a:lnTo>
                    <a:pt x="498" y="670"/>
                  </a:lnTo>
                  <a:lnTo>
                    <a:pt x="500" y="670"/>
                  </a:lnTo>
                  <a:lnTo>
                    <a:pt x="498" y="668"/>
                  </a:lnTo>
                  <a:lnTo>
                    <a:pt x="500" y="668"/>
                  </a:lnTo>
                  <a:lnTo>
                    <a:pt x="500" y="666"/>
                  </a:lnTo>
                  <a:lnTo>
                    <a:pt x="498" y="666"/>
                  </a:lnTo>
                  <a:lnTo>
                    <a:pt x="500" y="666"/>
                  </a:lnTo>
                  <a:lnTo>
                    <a:pt x="500" y="663"/>
                  </a:lnTo>
                  <a:lnTo>
                    <a:pt x="503" y="663"/>
                  </a:lnTo>
                  <a:lnTo>
                    <a:pt x="505" y="663"/>
                  </a:lnTo>
                  <a:lnTo>
                    <a:pt x="507" y="663"/>
                  </a:lnTo>
                  <a:lnTo>
                    <a:pt x="510" y="663"/>
                  </a:lnTo>
                  <a:lnTo>
                    <a:pt x="512" y="663"/>
                  </a:lnTo>
                  <a:lnTo>
                    <a:pt x="510" y="663"/>
                  </a:lnTo>
                  <a:lnTo>
                    <a:pt x="507" y="663"/>
                  </a:lnTo>
                  <a:lnTo>
                    <a:pt x="505" y="663"/>
                  </a:lnTo>
                  <a:lnTo>
                    <a:pt x="503" y="663"/>
                  </a:lnTo>
                  <a:lnTo>
                    <a:pt x="503" y="661"/>
                  </a:lnTo>
                  <a:lnTo>
                    <a:pt x="503" y="658"/>
                  </a:lnTo>
                  <a:lnTo>
                    <a:pt x="500" y="658"/>
                  </a:lnTo>
                  <a:lnTo>
                    <a:pt x="503" y="656"/>
                  </a:lnTo>
                  <a:lnTo>
                    <a:pt x="503" y="654"/>
                  </a:lnTo>
                  <a:lnTo>
                    <a:pt x="505" y="651"/>
                  </a:lnTo>
                  <a:lnTo>
                    <a:pt x="507" y="649"/>
                  </a:lnTo>
                  <a:lnTo>
                    <a:pt x="507" y="651"/>
                  </a:lnTo>
                  <a:lnTo>
                    <a:pt x="507" y="654"/>
                  </a:lnTo>
                  <a:lnTo>
                    <a:pt x="507" y="651"/>
                  </a:lnTo>
                  <a:lnTo>
                    <a:pt x="510" y="651"/>
                  </a:lnTo>
                  <a:lnTo>
                    <a:pt x="510" y="649"/>
                  </a:lnTo>
                  <a:lnTo>
                    <a:pt x="512" y="647"/>
                  </a:lnTo>
                  <a:lnTo>
                    <a:pt x="512" y="644"/>
                  </a:lnTo>
                  <a:lnTo>
                    <a:pt x="512" y="642"/>
                  </a:lnTo>
                  <a:lnTo>
                    <a:pt x="515" y="642"/>
                  </a:lnTo>
                  <a:lnTo>
                    <a:pt x="515" y="644"/>
                  </a:lnTo>
                  <a:lnTo>
                    <a:pt x="515" y="647"/>
                  </a:lnTo>
                  <a:lnTo>
                    <a:pt x="515" y="649"/>
                  </a:lnTo>
                  <a:lnTo>
                    <a:pt x="515" y="647"/>
                  </a:lnTo>
                  <a:lnTo>
                    <a:pt x="515" y="644"/>
                  </a:lnTo>
                  <a:lnTo>
                    <a:pt x="515" y="642"/>
                  </a:lnTo>
                  <a:lnTo>
                    <a:pt x="517" y="642"/>
                  </a:lnTo>
                  <a:lnTo>
                    <a:pt x="519" y="642"/>
                  </a:lnTo>
                  <a:lnTo>
                    <a:pt x="519" y="644"/>
                  </a:lnTo>
                  <a:lnTo>
                    <a:pt x="522" y="644"/>
                  </a:lnTo>
                  <a:lnTo>
                    <a:pt x="522" y="647"/>
                  </a:lnTo>
                  <a:lnTo>
                    <a:pt x="522" y="649"/>
                  </a:lnTo>
                  <a:lnTo>
                    <a:pt x="519" y="649"/>
                  </a:lnTo>
                  <a:lnTo>
                    <a:pt x="519" y="651"/>
                  </a:lnTo>
                  <a:lnTo>
                    <a:pt x="519" y="654"/>
                  </a:lnTo>
                  <a:lnTo>
                    <a:pt x="517" y="656"/>
                  </a:lnTo>
                  <a:lnTo>
                    <a:pt x="517" y="658"/>
                  </a:lnTo>
                  <a:lnTo>
                    <a:pt x="517" y="661"/>
                  </a:lnTo>
                  <a:lnTo>
                    <a:pt x="519" y="661"/>
                  </a:lnTo>
                  <a:lnTo>
                    <a:pt x="519" y="663"/>
                  </a:lnTo>
                  <a:lnTo>
                    <a:pt x="517" y="663"/>
                  </a:lnTo>
                  <a:lnTo>
                    <a:pt x="517" y="666"/>
                  </a:lnTo>
                  <a:lnTo>
                    <a:pt x="517" y="668"/>
                  </a:lnTo>
                  <a:lnTo>
                    <a:pt x="515" y="668"/>
                  </a:lnTo>
                  <a:lnTo>
                    <a:pt x="517" y="668"/>
                  </a:lnTo>
                  <a:lnTo>
                    <a:pt x="515" y="668"/>
                  </a:lnTo>
                  <a:lnTo>
                    <a:pt x="517" y="668"/>
                  </a:lnTo>
                  <a:lnTo>
                    <a:pt x="515" y="668"/>
                  </a:lnTo>
                  <a:lnTo>
                    <a:pt x="515" y="670"/>
                  </a:lnTo>
                  <a:lnTo>
                    <a:pt x="517" y="668"/>
                  </a:lnTo>
                  <a:lnTo>
                    <a:pt x="517" y="670"/>
                  </a:lnTo>
                  <a:lnTo>
                    <a:pt x="515" y="670"/>
                  </a:lnTo>
                  <a:lnTo>
                    <a:pt x="515" y="673"/>
                  </a:lnTo>
                  <a:lnTo>
                    <a:pt x="515" y="670"/>
                  </a:lnTo>
                  <a:lnTo>
                    <a:pt x="515" y="673"/>
                  </a:lnTo>
                  <a:lnTo>
                    <a:pt x="515" y="675"/>
                  </a:lnTo>
                  <a:lnTo>
                    <a:pt x="512" y="675"/>
                  </a:lnTo>
                  <a:lnTo>
                    <a:pt x="510" y="675"/>
                  </a:lnTo>
                  <a:lnTo>
                    <a:pt x="510" y="677"/>
                  </a:lnTo>
                  <a:lnTo>
                    <a:pt x="507" y="677"/>
                  </a:lnTo>
                  <a:lnTo>
                    <a:pt x="507" y="680"/>
                  </a:lnTo>
                  <a:lnTo>
                    <a:pt x="505" y="680"/>
                  </a:lnTo>
                  <a:lnTo>
                    <a:pt x="505" y="682"/>
                  </a:lnTo>
                  <a:lnTo>
                    <a:pt x="507" y="682"/>
                  </a:lnTo>
                  <a:lnTo>
                    <a:pt x="507" y="680"/>
                  </a:lnTo>
                  <a:lnTo>
                    <a:pt x="510" y="680"/>
                  </a:lnTo>
                  <a:lnTo>
                    <a:pt x="510" y="677"/>
                  </a:lnTo>
                  <a:lnTo>
                    <a:pt x="512" y="677"/>
                  </a:lnTo>
                  <a:lnTo>
                    <a:pt x="515" y="675"/>
                  </a:lnTo>
                  <a:lnTo>
                    <a:pt x="517" y="675"/>
                  </a:lnTo>
                  <a:lnTo>
                    <a:pt x="517" y="673"/>
                  </a:lnTo>
                  <a:lnTo>
                    <a:pt x="519" y="673"/>
                  </a:lnTo>
                  <a:lnTo>
                    <a:pt x="519" y="670"/>
                  </a:lnTo>
                  <a:lnTo>
                    <a:pt x="519" y="668"/>
                  </a:lnTo>
                  <a:lnTo>
                    <a:pt x="522" y="668"/>
                  </a:lnTo>
                  <a:lnTo>
                    <a:pt x="522" y="666"/>
                  </a:lnTo>
                  <a:lnTo>
                    <a:pt x="522" y="663"/>
                  </a:lnTo>
                  <a:lnTo>
                    <a:pt x="524" y="663"/>
                  </a:lnTo>
                  <a:lnTo>
                    <a:pt x="526" y="666"/>
                  </a:lnTo>
                  <a:lnTo>
                    <a:pt x="529" y="666"/>
                  </a:lnTo>
                  <a:lnTo>
                    <a:pt x="529" y="668"/>
                  </a:lnTo>
                  <a:lnTo>
                    <a:pt x="531" y="668"/>
                  </a:lnTo>
                  <a:lnTo>
                    <a:pt x="534" y="668"/>
                  </a:lnTo>
                  <a:lnTo>
                    <a:pt x="536" y="670"/>
                  </a:lnTo>
                  <a:lnTo>
                    <a:pt x="536" y="668"/>
                  </a:lnTo>
                  <a:lnTo>
                    <a:pt x="534" y="668"/>
                  </a:lnTo>
                  <a:lnTo>
                    <a:pt x="531" y="668"/>
                  </a:lnTo>
                  <a:lnTo>
                    <a:pt x="529" y="666"/>
                  </a:lnTo>
                  <a:lnTo>
                    <a:pt x="529" y="663"/>
                  </a:lnTo>
                  <a:lnTo>
                    <a:pt x="526" y="663"/>
                  </a:lnTo>
                  <a:lnTo>
                    <a:pt x="524" y="663"/>
                  </a:lnTo>
                  <a:lnTo>
                    <a:pt x="524" y="661"/>
                  </a:lnTo>
                  <a:lnTo>
                    <a:pt x="524" y="658"/>
                  </a:lnTo>
                  <a:lnTo>
                    <a:pt x="526" y="658"/>
                  </a:lnTo>
                  <a:lnTo>
                    <a:pt x="526" y="656"/>
                  </a:lnTo>
                  <a:lnTo>
                    <a:pt x="526" y="654"/>
                  </a:lnTo>
                  <a:lnTo>
                    <a:pt x="524" y="654"/>
                  </a:lnTo>
                  <a:lnTo>
                    <a:pt x="526" y="654"/>
                  </a:lnTo>
                  <a:lnTo>
                    <a:pt x="529" y="651"/>
                  </a:lnTo>
                  <a:lnTo>
                    <a:pt x="531" y="651"/>
                  </a:lnTo>
                  <a:lnTo>
                    <a:pt x="534" y="651"/>
                  </a:lnTo>
                  <a:lnTo>
                    <a:pt x="534" y="649"/>
                  </a:lnTo>
                  <a:lnTo>
                    <a:pt x="534" y="647"/>
                  </a:lnTo>
                  <a:lnTo>
                    <a:pt x="536" y="647"/>
                  </a:lnTo>
                  <a:lnTo>
                    <a:pt x="536" y="644"/>
                  </a:lnTo>
                  <a:lnTo>
                    <a:pt x="538" y="644"/>
                  </a:lnTo>
                  <a:lnTo>
                    <a:pt x="541" y="644"/>
                  </a:lnTo>
                  <a:lnTo>
                    <a:pt x="541" y="642"/>
                  </a:lnTo>
                  <a:lnTo>
                    <a:pt x="543" y="642"/>
                  </a:lnTo>
                  <a:lnTo>
                    <a:pt x="545" y="642"/>
                  </a:lnTo>
                  <a:lnTo>
                    <a:pt x="543" y="642"/>
                  </a:lnTo>
                  <a:lnTo>
                    <a:pt x="543" y="644"/>
                  </a:lnTo>
                  <a:lnTo>
                    <a:pt x="541" y="644"/>
                  </a:lnTo>
                  <a:lnTo>
                    <a:pt x="538" y="644"/>
                  </a:lnTo>
                  <a:lnTo>
                    <a:pt x="538" y="647"/>
                  </a:lnTo>
                  <a:lnTo>
                    <a:pt x="536" y="649"/>
                  </a:lnTo>
                  <a:lnTo>
                    <a:pt x="538" y="649"/>
                  </a:lnTo>
                  <a:lnTo>
                    <a:pt x="541" y="649"/>
                  </a:lnTo>
                  <a:lnTo>
                    <a:pt x="538" y="649"/>
                  </a:lnTo>
                  <a:lnTo>
                    <a:pt x="541" y="649"/>
                  </a:lnTo>
                  <a:lnTo>
                    <a:pt x="538" y="649"/>
                  </a:lnTo>
                  <a:lnTo>
                    <a:pt x="538" y="651"/>
                  </a:lnTo>
                  <a:lnTo>
                    <a:pt x="541" y="651"/>
                  </a:lnTo>
                  <a:lnTo>
                    <a:pt x="541" y="654"/>
                  </a:lnTo>
                  <a:lnTo>
                    <a:pt x="541" y="651"/>
                  </a:lnTo>
                  <a:lnTo>
                    <a:pt x="543" y="654"/>
                  </a:lnTo>
                  <a:lnTo>
                    <a:pt x="543" y="651"/>
                  </a:lnTo>
                  <a:lnTo>
                    <a:pt x="541" y="651"/>
                  </a:lnTo>
                  <a:lnTo>
                    <a:pt x="543" y="651"/>
                  </a:lnTo>
                  <a:lnTo>
                    <a:pt x="541" y="651"/>
                  </a:lnTo>
                  <a:lnTo>
                    <a:pt x="541" y="649"/>
                  </a:lnTo>
                  <a:lnTo>
                    <a:pt x="543" y="649"/>
                  </a:lnTo>
                  <a:lnTo>
                    <a:pt x="543" y="647"/>
                  </a:lnTo>
                  <a:lnTo>
                    <a:pt x="545" y="647"/>
                  </a:lnTo>
                  <a:lnTo>
                    <a:pt x="548" y="647"/>
                  </a:lnTo>
                  <a:lnTo>
                    <a:pt x="548" y="649"/>
                  </a:lnTo>
                  <a:lnTo>
                    <a:pt x="545" y="649"/>
                  </a:lnTo>
                  <a:lnTo>
                    <a:pt x="548" y="649"/>
                  </a:lnTo>
                  <a:lnTo>
                    <a:pt x="545" y="649"/>
                  </a:lnTo>
                  <a:lnTo>
                    <a:pt x="545" y="651"/>
                  </a:lnTo>
                  <a:lnTo>
                    <a:pt x="545" y="649"/>
                  </a:lnTo>
                  <a:lnTo>
                    <a:pt x="548" y="649"/>
                  </a:lnTo>
                  <a:lnTo>
                    <a:pt x="548" y="647"/>
                  </a:lnTo>
                  <a:lnTo>
                    <a:pt x="548" y="644"/>
                  </a:lnTo>
                  <a:lnTo>
                    <a:pt x="550" y="644"/>
                  </a:lnTo>
                  <a:lnTo>
                    <a:pt x="553" y="644"/>
                  </a:lnTo>
                  <a:lnTo>
                    <a:pt x="550" y="644"/>
                  </a:lnTo>
                  <a:lnTo>
                    <a:pt x="548" y="644"/>
                  </a:lnTo>
                  <a:lnTo>
                    <a:pt x="548" y="642"/>
                  </a:lnTo>
                  <a:lnTo>
                    <a:pt x="548" y="639"/>
                  </a:lnTo>
                  <a:lnTo>
                    <a:pt x="550" y="639"/>
                  </a:lnTo>
                  <a:lnTo>
                    <a:pt x="553" y="639"/>
                  </a:lnTo>
                  <a:lnTo>
                    <a:pt x="553" y="637"/>
                  </a:lnTo>
                  <a:lnTo>
                    <a:pt x="553" y="639"/>
                  </a:lnTo>
                  <a:lnTo>
                    <a:pt x="553" y="637"/>
                  </a:lnTo>
                  <a:lnTo>
                    <a:pt x="555" y="637"/>
                  </a:lnTo>
                  <a:lnTo>
                    <a:pt x="555" y="639"/>
                  </a:lnTo>
                  <a:lnTo>
                    <a:pt x="557" y="639"/>
                  </a:lnTo>
                  <a:lnTo>
                    <a:pt x="555" y="639"/>
                  </a:lnTo>
                  <a:lnTo>
                    <a:pt x="557" y="639"/>
                  </a:lnTo>
                  <a:lnTo>
                    <a:pt x="560" y="639"/>
                  </a:lnTo>
                  <a:lnTo>
                    <a:pt x="560" y="642"/>
                  </a:lnTo>
                  <a:lnTo>
                    <a:pt x="557" y="642"/>
                  </a:lnTo>
                  <a:lnTo>
                    <a:pt x="560" y="642"/>
                  </a:lnTo>
                  <a:lnTo>
                    <a:pt x="560" y="644"/>
                  </a:lnTo>
                  <a:lnTo>
                    <a:pt x="562" y="644"/>
                  </a:lnTo>
                  <a:lnTo>
                    <a:pt x="564" y="647"/>
                  </a:lnTo>
                  <a:lnTo>
                    <a:pt x="567" y="647"/>
                  </a:lnTo>
                  <a:lnTo>
                    <a:pt x="569" y="647"/>
                  </a:lnTo>
                  <a:lnTo>
                    <a:pt x="569" y="649"/>
                  </a:lnTo>
                  <a:lnTo>
                    <a:pt x="572" y="649"/>
                  </a:lnTo>
                  <a:lnTo>
                    <a:pt x="569" y="649"/>
                  </a:lnTo>
                  <a:lnTo>
                    <a:pt x="572" y="651"/>
                  </a:lnTo>
                  <a:lnTo>
                    <a:pt x="574" y="654"/>
                  </a:lnTo>
                  <a:lnTo>
                    <a:pt x="576" y="654"/>
                  </a:lnTo>
                  <a:lnTo>
                    <a:pt x="574" y="654"/>
                  </a:lnTo>
                  <a:lnTo>
                    <a:pt x="576" y="654"/>
                  </a:lnTo>
                  <a:lnTo>
                    <a:pt x="574" y="656"/>
                  </a:lnTo>
                  <a:lnTo>
                    <a:pt x="574" y="654"/>
                  </a:lnTo>
                  <a:lnTo>
                    <a:pt x="574" y="656"/>
                  </a:lnTo>
                  <a:lnTo>
                    <a:pt x="576" y="656"/>
                  </a:lnTo>
                  <a:lnTo>
                    <a:pt x="576" y="654"/>
                  </a:lnTo>
                  <a:lnTo>
                    <a:pt x="579" y="654"/>
                  </a:lnTo>
                  <a:lnTo>
                    <a:pt x="579" y="656"/>
                  </a:lnTo>
                  <a:lnTo>
                    <a:pt x="579" y="654"/>
                  </a:lnTo>
                  <a:lnTo>
                    <a:pt x="576" y="654"/>
                  </a:lnTo>
                  <a:lnTo>
                    <a:pt x="576" y="651"/>
                  </a:lnTo>
                  <a:lnTo>
                    <a:pt x="574" y="651"/>
                  </a:lnTo>
                  <a:lnTo>
                    <a:pt x="574" y="649"/>
                  </a:lnTo>
                  <a:lnTo>
                    <a:pt x="574" y="651"/>
                  </a:lnTo>
                  <a:lnTo>
                    <a:pt x="572" y="651"/>
                  </a:lnTo>
                  <a:lnTo>
                    <a:pt x="572" y="649"/>
                  </a:lnTo>
                  <a:lnTo>
                    <a:pt x="574" y="649"/>
                  </a:lnTo>
                  <a:lnTo>
                    <a:pt x="576" y="649"/>
                  </a:lnTo>
                  <a:lnTo>
                    <a:pt x="574" y="647"/>
                  </a:lnTo>
                  <a:lnTo>
                    <a:pt x="572" y="647"/>
                  </a:lnTo>
                  <a:lnTo>
                    <a:pt x="572" y="644"/>
                  </a:lnTo>
                  <a:lnTo>
                    <a:pt x="569" y="644"/>
                  </a:lnTo>
                  <a:lnTo>
                    <a:pt x="572" y="644"/>
                  </a:lnTo>
                  <a:lnTo>
                    <a:pt x="569" y="644"/>
                  </a:lnTo>
                  <a:lnTo>
                    <a:pt x="569" y="642"/>
                  </a:lnTo>
                  <a:lnTo>
                    <a:pt x="572" y="642"/>
                  </a:lnTo>
                  <a:lnTo>
                    <a:pt x="569" y="642"/>
                  </a:lnTo>
                  <a:lnTo>
                    <a:pt x="569" y="639"/>
                  </a:lnTo>
                  <a:lnTo>
                    <a:pt x="572" y="639"/>
                  </a:lnTo>
                  <a:lnTo>
                    <a:pt x="574" y="639"/>
                  </a:lnTo>
                  <a:lnTo>
                    <a:pt x="574" y="642"/>
                  </a:lnTo>
                  <a:lnTo>
                    <a:pt x="576" y="642"/>
                  </a:lnTo>
                  <a:lnTo>
                    <a:pt x="576" y="644"/>
                  </a:lnTo>
                  <a:lnTo>
                    <a:pt x="576" y="642"/>
                  </a:lnTo>
                  <a:lnTo>
                    <a:pt x="576" y="639"/>
                  </a:lnTo>
                  <a:lnTo>
                    <a:pt x="574" y="639"/>
                  </a:lnTo>
                  <a:lnTo>
                    <a:pt x="576" y="637"/>
                  </a:lnTo>
                  <a:lnTo>
                    <a:pt x="574" y="637"/>
                  </a:lnTo>
                  <a:lnTo>
                    <a:pt x="574" y="639"/>
                  </a:lnTo>
                  <a:lnTo>
                    <a:pt x="572" y="639"/>
                  </a:lnTo>
                  <a:lnTo>
                    <a:pt x="569" y="639"/>
                  </a:lnTo>
                  <a:lnTo>
                    <a:pt x="569" y="637"/>
                  </a:lnTo>
                  <a:lnTo>
                    <a:pt x="567" y="637"/>
                  </a:lnTo>
                  <a:lnTo>
                    <a:pt x="569" y="637"/>
                  </a:lnTo>
                  <a:lnTo>
                    <a:pt x="569" y="635"/>
                  </a:lnTo>
                  <a:lnTo>
                    <a:pt x="572" y="635"/>
                  </a:lnTo>
                  <a:lnTo>
                    <a:pt x="574" y="635"/>
                  </a:lnTo>
                  <a:lnTo>
                    <a:pt x="576" y="635"/>
                  </a:lnTo>
                  <a:lnTo>
                    <a:pt x="576" y="632"/>
                  </a:lnTo>
                  <a:lnTo>
                    <a:pt x="574" y="632"/>
                  </a:lnTo>
                  <a:lnTo>
                    <a:pt x="574" y="635"/>
                  </a:lnTo>
                  <a:lnTo>
                    <a:pt x="572" y="635"/>
                  </a:lnTo>
                  <a:lnTo>
                    <a:pt x="569" y="635"/>
                  </a:lnTo>
                  <a:lnTo>
                    <a:pt x="567" y="635"/>
                  </a:lnTo>
                  <a:lnTo>
                    <a:pt x="569" y="635"/>
                  </a:lnTo>
                  <a:lnTo>
                    <a:pt x="567" y="635"/>
                  </a:lnTo>
                  <a:lnTo>
                    <a:pt x="567" y="637"/>
                  </a:lnTo>
                  <a:lnTo>
                    <a:pt x="564" y="637"/>
                  </a:lnTo>
                  <a:lnTo>
                    <a:pt x="564" y="635"/>
                  </a:lnTo>
                  <a:lnTo>
                    <a:pt x="562" y="635"/>
                  </a:lnTo>
                  <a:lnTo>
                    <a:pt x="562" y="632"/>
                  </a:lnTo>
                  <a:lnTo>
                    <a:pt x="560" y="632"/>
                  </a:lnTo>
                  <a:lnTo>
                    <a:pt x="560" y="635"/>
                  </a:lnTo>
                  <a:lnTo>
                    <a:pt x="557" y="635"/>
                  </a:lnTo>
                  <a:lnTo>
                    <a:pt x="557" y="632"/>
                  </a:lnTo>
                  <a:lnTo>
                    <a:pt x="555" y="632"/>
                  </a:lnTo>
                  <a:lnTo>
                    <a:pt x="555" y="630"/>
                  </a:lnTo>
                  <a:lnTo>
                    <a:pt x="557" y="630"/>
                  </a:lnTo>
                  <a:lnTo>
                    <a:pt x="555" y="630"/>
                  </a:lnTo>
                  <a:lnTo>
                    <a:pt x="553" y="630"/>
                  </a:lnTo>
                  <a:lnTo>
                    <a:pt x="550" y="630"/>
                  </a:lnTo>
                  <a:lnTo>
                    <a:pt x="550" y="628"/>
                  </a:lnTo>
                  <a:lnTo>
                    <a:pt x="548" y="628"/>
                  </a:lnTo>
                  <a:lnTo>
                    <a:pt x="548" y="625"/>
                  </a:lnTo>
                  <a:lnTo>
                    <a:pt x="550" y="625"/>
                  </a:lnTo>
                  <a:lnTo>
                    <a:pt x="553" y="625"/>
                  </a:lnTo>
                  <a:lnTo>
                    <a:pt x="553" y="623"/>
                  </a:lnTo>
                  <a:lnTo>
                    <a:pt x="555" y="623"/>
                  </a:lnTo>
                  <a:lnTo>
                    <a:pt x="555" y="625"/>
                  </a:lnTo>
                  <a:lnTo>
                    <a:pt x="555" y="628"/>
                  </a:lnTo>
                  <a:lnTo>
                    <a:pt x="557" y="628"/>
                  </a:lnTo>
                  <a:lnTo>
                    <a:pt x="557" y="625"/>
                  </a:lnTo>
                  <a:lnTo>
                    <a:pt x="557" y="623"/>
                  </a:lnTo>
                  <a:lnTo>
                    <a:pt x="557" y="620"/>
                  </a:lnTo>
                  <a:lnTo>
                    <a:pt x="560" y="620"/>
                  </a:lnTo>
                  <a:lnTo>
                    <a:pt x="560" y="623"/>
                  </a:lnTo>
                  <a:lnTo>
                    <a:pt x="562" y="623"/>
                  </a:lnTo>
                  <a:lnTo>
                    <a:pt x="564" y="625"/>
                  </a:lnTo>
                  <a:lnTo>
                    <a:pt x="564" y="628"/>
                  </a:lnTo>
                  <a:lnTo>
                    <a:pt x="567" y="625"/>
                  </a:lnTo>
                  <a:lnTo>
                    <a:pt x="567" y="628"/>
                  </a:lnTo>
                  <a:lnTo>
                    <a:pt x="567" y="630"/>
                  </a:lnTo>
                  <a:lnTo>
                    <a:pt x="569" y="630"/>
                  </a:lnTo>
                  <a:lnTo>
                    <a:pt x="569" y="628"/>
                  </a:lnTo>
                  <a:lnTo>
                    <a:pt x="569" y="625"/>
                  </a:lnTo>
                  <a:lnTo>
                    <a:pt x="567" y="625"/>
                  </a:lnTo>
                  <a:lnTo>
                    <a:pt x="567" y="623"/>
                  </a:lnTo>
                  <a:lnTo>
                    <a:pt x="569" y="623"/>
                  </a:lnTo>
                  <a:lnTo>
                    <a:pt x="572" y="620"/>
                  </a:lnTo>
                  <a:lnTo>
                    <a:pt x="574" y="620"/>
                  </a:lnTo>
                  <a:lnTo>
                    <a:pt x="574" y="623"/>
                  </a:lnTo>
                  <a:lnTo>
                    <a:pt x="576" y="620"/>
                  </a:lnTo>
                  <a:lnTo>
                    <a:pt x="579" y="620"/>
                  </a:lnTo>
                  <a:lnTo>
                    <a:pt x="576" y="623"/>
                  </a:lnTo>
                  <a:lnTo>
                    <a:pt x="579" y="623"/>
                  </a:lnTo>
                  <a:lnTo>
                    <a:pt x="576" y="623"/>
                  </a:lnTo>
                  <a:lnTo>
                    <a:pt x="576" y="625"/>
                  </a:lnTo>
                  <a:lnTo>
                    <a:pt x="579" y="625"/>
                  </a:lnTo>
                  <a:lnTo>
                    <a:pt x="579" y="623"/>
                  </a:lnTo>
                  <a:lnTo>
                    <a:pt x="581" y="623"/>
                  </a:lnTo>
                  <a:lnTo>
                    <a:pt x="583" y="623"/>
                  </a:lnTo>
                  <a:lnTo>
                    <a:pt x="583" y="625"/>
                  </a:lnTo>
                  <a:lnTo>
                    <a:pt x="581" y="625"/>
                  </a:lnTo>
                  <a:lnTo>
                    <a:pt x="581" y="628"/>
                  </a:lnTo>
                  <a:lnTo>
                    <a:pt x="583" y="625"/>
                  </a:lnTo>
                  <a:lnTo>
                    <a:pt x="583" y="628"/>
                  </a:lnTo>
                  <a:lnTo>
                    <a:pt x="583" y="630"/>
                  </a:lnTo>
                  <a:lnTo>
                    <a:pt x="581" y="630"/>
                  </a:lnTo>
                  <a:lnTo>
                    <a:pt x="583" y="630"/>
                  </a:lnTo>
                  <a:lnTo>
                    <a:pt x="581" y="630"/>
                  </a:lnTo>
                  <a:lnTo>
                    <a:pt x="581" y="632"/>
                  </a:lnTo>
                  <a:lnTo>
                    <a:pt x="583" y="632"/>
                  </a:lnTo>
                  <a:lnTo>
                    <a:pt x="586" y="632"/>
                  </a:lnTo>
                  <a:lnTo>
                    <a:pt x="586" y="630"/>
                  </a:lnTo>
                  <a:lnTo>
                    <a:pt x="586" y="632"/>
                  </a:lnTo>
                  <a:lnTo>
                    <a:pt x="586" y="630"/>
                  </a:lnTo>
                  <a:lnTo>
                    <a:pt x="588" y="630"/>
                  </a:lnTo>
                  <a:lnTo>
                    <a:pt x="588" y="632"/>
                  </a:lnTo>
                  <a:lnTo>
                    <a:pt x="590" y="632"/>
                  </a:lnTo>
                  <a:lnTo>
                    <a:pt x="593" y="632"/>
                  </a:lnTo>
                  <a:lnTo>
                    <a:pt x="590" y="632"/>
                  </a:lnTo>
                  <a:lnTo>
                    <a:pt x="590" y="630"/>
                  </a:lnTo>
                  <a:lnTo>
                    <a:pt x="588" y="630"/>
                  </a:lnTo>
                  <a:lnTo>
                    <a:pt x="586" y="630"/>
                  </a:lnTo>
                  <a:lnTo>
                    <a:pt x="583" y="630"/>
                  </a:lnTo>
                  <a:lnTo>
                    <a:pt x="586" y="630"/>
                  </a:lnTo>
                  <a:lnTo>
                    <a:pt x="586" y="628"/>
                  </a:lnTo>
                  <a:lnTo>
                    <a:pt x="586" y="625"/>
                  </a:lnTo>
                  <a:lnTo>
                    <a:pt x="586" y="623"/>
                  </a:lnTo>
                  <a:lnTo>
                    <a:pt x="588" y="625"/>
                  </a:lnTo>
                  <a:lnTo>
                    <a:pt x="590" y="625"/>
                  </a:lnTo>
                  <a:lnTo>
                    <a:pt x="593" y="625"/>
                  </a:lnTo>
                  <a:lnTo>
                    <a:pt x="595" y="625"/>
                  </a:lnTo>
                  <a:lnTo>
                    <a:pt x="595" y="628"/>
                  </a:lnTo>
                  <a:lnTo>
                    <a:pt x="593" y="628"/>
                  </a:lnTo>
                  <a:lnTo>
                    <a:pt x="595" y="628"/>
                  </a:lnTo>
                  <a:lnTo>
                    <a:pt x="595" y="625"/>
                  </a:lnTo>
                  <a:lnTo>
                    <a:pt x="598" y="625"/>
                  </a:lnTo>
                  <a:lnTo>
                    <a:pt x="598" y="628"/>
                  </a:lnTo>
                  <a:lnTo>
                    <a:pt x="600" y="628"/>
                  </a:lnTo>
                  <a:lnTo>
                    <a:pt x="605" y="628"/>
                  </a:lnTo>
                  <a:lnTo>
                    <a:pt x="607" y="628"/>
                  </a:lnTo>
                  <a:lnTo>
                    <a:pt x="607" y="630"/>
                  </a:lnTo>
                  <a:lnTo>
                    <a:pt x="605" y="630"/>
                  </a:lnTo>
                  <a:lnTo>
                    <a:pt x="602" y="632"/>
                  </a:lnTo>
                  <a:lnTo>
                    <a:pt x="600" y="632"/>
                  </a:lnTo>
                  <a:lnTo>
                    <a:pt x="602" y="632"/>
                  </a:lnTo>
                  <a:lnTo>
                    <a:pt x="600" y="632"/>
                  </a:lnTo>
                  <a:lnTo>
                    <a:pt x="598" y="635"/>
                  </a:lnTo>
                  <a:lnTo>
                    <a:pt x="595" y="635"/>
                  </a:lnTo>
                  <a:lnTo>
                    <a:pt x="593" y="635"/>
                  </a:lnTo>
                  <a:lnTo>
                    <a:pt x="590" y="635"/>
                  </a:lnTo>
                  <a:lnTo>
                    <a:pt x="588" y="635"/>
                  </a:lnTo>
                  <a:lnTo>
                    <a:pt x="586" y="635"/>
                  </a:lnTo>
                  <a:lnTo>
                    <a:pt x="586" y="637"/>
                  </a:lnTo>
                  <a:lnTo>
                    <a:pt x="583" y="637"/>
                  </a:lnTo>
                  <a:lnTo>
                    <a:pt x="586" y="637"/>
                  </a:lnTo>
                  <a:lnTo>
                    <a:pt x="588" y="637"/>
                  </a:lnTo>
                  <a:lnTo>
                    <a:pt x="590" y="637"/>
                  </a:lnTo>
                  <a:lnTo>
                    <a:pt x="590" y="635"/>
                  </a:lnTo>
                  <a:lnTo>
                    <a:pt x="593" y="635"/>
                  </a:lnTo>
                  <a:lnTo>
                    <a:pt x="595" y="635"/>
                  </a:lnTo>
                  <a:lnTo>
                    <a:pt x="598" y="635"/>
                  </a:lnTo>
                  <a:lnTo>
                    <a:pt x="600" y="635"/>
                  </a:lnTo>
                  <a:lnTo>
                    <a:pt x="602" y="635"/>
                  </a:lnTo>
                  <a:lnTo>
                    <a:pt x="602" y="632"/>
                  </a:lnTo>
                  <a:lnTo>
                    <a:pt x="605" y="632"/>
                  </a:lnTo>
                  <a:lnTo>
                    <a:pt x="607" y="632"/>
                  </a:lnTo>
                  <a:lnTo>
                    <a:pt x="607" y="630"/>
                  </a:lnTo>
                  <a:lnTo>
                    <a:pt x="607" y="632"/>
                  </a:lnTo>
                  <a:lnTo>
                    <a:pt x="607" y="630"/>
                  </a:lnTo>
                  <a:lnTo>
                    <a:pt x="607" y="632"/>
                  </a:lnTo>
                  <a:lnTo>
                    <a:pt x="607" y="630"/>
                  </a:lnTo>
                  <a:lnTo>
                    <a:pt x="607" y="632"/>
                  </a:lnTo>
                  <a:lnTo>
                    <a:pt x="607" y="635"/>
                  </a:lnTo>
                  <a:lnTo>
                    <a:pt x="607" y="637"/>
                  </a:lnTo>
                  <a:lnTo>
                    <a:pt x="605" y="637"/>
                  </a:lnTo>
                  <a:lnTo>
                    <a:pt x="607" y="637"/>
                  </a:lnTo>
                  <a:lnTo>
                    <a:pt x="607" y="639"/>
                  </a:lnTo>
                  <a:lnTo>
                    <a:pt x="609" y="639"/>
                  </a:lnTo>
                  <a:lnTo>
                    <a:pt x="609" y="637"/>
                  </a:lnTo>
                  <a:lnTo>
                    <a:pt x="612" y="639"/>
                  </a:lnTo>
                  <a:lnTo>
                    <a:pt x="609" y="639"/>
                  </a:lnTo>
                  <a:lnTo>
                    <a:pt x="612" y="642"/>
                  </a:lnTo>
                  <a:lnTo>
                    <a:pt x="612" y="639"/>
                  </a:lnTo>
                  <a:lnTo>
                    <a:pt x="612" y="642"/>
                  </a:lnTo>
                  <a:lnTo>
                    <a:pt x="609" y="642"/>
                  </a:lnTo>
                  <a:lnTo>
                    <a:pt x="609" y="644"/>
                  </a:lnTo>
                  <a:lnTo>
                    <a:pt x="607" y="644"/>
                  </a:lnTo>
                  <a:lnTo>
                    <a:pt x="609" y="644"/>
                  </a:lnTo>
                  <a:lnTo>
                    <a:pt x="609" y="642"/>
                  </a:lnTo>
                  <a:lnTo>
                    <a:pt x="612" y="642"/>
                  </a:lnTo>
                  <a:lnTo>
                    <a:pt x="612" y="644"/>
                  </a:lnTo>
                  <a:lnTo>
                    <a:pt x="609" y="644"/>
                  </a:lnTo>
                  <a:lnTo>
                    <a:pt x="612" y="644"/>
                  </a:lnTo>
                  <a:lnTo>
                    <a:pt x="612" y="642"/>
                  </a:lnTo>
                  <a:lnTo>
                    <a:pt x="614" y="642"/>
                  </a:lnTo>
                  <a:lnTo>
                    <a:pt x="617" y="642"/>
                  </a:lnTo>
                  <a:lnTo>
                    <a:pt x="614" y="642"/>
                  </a:lnTo>
                  <a:lnTo>
                    <a:pt x="617" y="642"/>
                  </a:lnTo>
                  <a:lnTo>
                    <a:pt x="617" y="639"/>
                  </a:lnTo>
                  <a:lnTo>
                    <a:pt x="617" y="642"/>
                  </a:lnTo>
                  <a:lnTo>
                    <a:pt x="619" y="642"/>
                  </a:lnTo>
                  <a:lnTo>
                    <a:pt x="619" y="639"/>
                  </a:lnTo>
                  <a:lnTo>
                    <a:pt x="621" y="639"/>
                  </a:lnTo>
                  <a:lnTo>
                    <a:pt x="619" y="639"/>
                  </a:lnTo>
                  <a:lnTo>
                    <a:pt x="619" y="642"/>
                  </a:lnTo>
                  <a:lnTo>
                    <a:pt x="621" y="642"/>
                  </a:lnTo>
                  <a:lnTo>
                    <a:pt x="619" y="642"/>
                  </a:lnTo>
                  <a:lnTo>
                    <a:pt x="621" y="642"/>
                  </a:lnTo>
                  <a:lnTo>
                    <a:pt x="621" y="639"/>
                  </a:lnTo>
                  <a:lnTo>
                    <a:pt x="621" y="642"/>
                  </a:lnTo>
                  <a:lnTo>
                    <a:pt x="621" y="639"/>
                  </a:lnTo>
                  <a:lnTo>
                    <a:pt x="624" y="639"/>
                  </a:lnTo>
                  <a:lnTo>
                    <a:pt x="624" y="637"/>
                  </a:lnTo>
                  <a:lnTo>
                    <a:pt x="621" y="637"/>
                  </a:lnTo>
                  <a:lnTo>
                    <a:pt x="619" y="637"/>
                  </a:lnTo>
                  <a:lnTo>
                    <a:pt x="617" y="637"/>
                  </a:lnTo>
                  <a:lnTo>
                    <a:pt x="614" y="637"/>
                  </a:lnTo>
                  <a:lnTo>
                    <a:pt x="614" y="635"/>
                  </a:lnTo>
                  <a:lnTo>
                    <a:pt x="612" y="635"/>
                  </a:lnTo>
                  <a:lnTo>
                    <a:pt x="614" y="635"/>
                  </a:lnTo>
                  <a:lnTo>
                    <a:pt x="614" y="632"/>
                  </a:lnTo>
                  <a:lnTo>
                    <a:pt x="617" y="632"/>
                  </a:lnTo>
                  <a:lnTo>
                    <a:pt x="619" y="632"/>
                  </a:lnTo>
                  <a:lnTo>
                    <a:pt x="619" y="630"/>
                  </a:lnTo>
                  <a:lnTo>
                    <a:pt x="617" y="630"/>
                  </a:lnTo>
                  <a:lnTo>
                    <a:pt x="619" y="630"/>
                  </a:lnTo>
                  <a:lnTo>
                    <a:pt x="619" y="628"/>
                  </a:lnTo>
                  <a:lnTo>
                    <a:pt x="619" y="630"/>
                  </a:lnTo>
                  <a:lnTo>
                    <a:pt x="619" y="628"/>
                  </a:lnTo>
                  <a:lnTo>
                    <a:pt x="617" y="628"/>
                  </a:lnTo>
                  <a:lnTo>
                    <a:pt x="614" y="628"/>
                  </a:lnTo>
                  <a:lnTo>
                    <a:pt x="614" y="625"/>
                  </a:lnTo>
                  <a:lnTo>
                    <a:pt x="617" y="625"/>
                  </a:lnTo>
                  <a:lnTo>
                    <a:pt x="619" y="625"/>
                  </a:lnTo>
                  <a:lnTo>
                    <a:pt x="621" y="625"/>
                  </a:lnTo>
                  <a:lnTo>
                    <a:pt x="624" y="625"/>
                  </a:lnTo>
                  <a:lnTo>
                    <a:pt x="621" y="625"/>
                  </a:lnTo>
                  <a:lnTo>
                    <a:pt x="619" y="625"/>
                  </a:lnTo>
                  <a:lnTo>
                    <a:pt x="617" y="625"/>
                  </a:lnTo>
                  <a:lnTo>
                    <a:pt x="617" y="623"/>
                  </a:lnTo>
                  <a:lnTo>
                    <a:pt x="619" y="623"/>
                  </a:lnTo>
                  <a:lnTo>
                    <a:pt x="621" y="623"/>
                  </a:lnTo>
                  <a:lnTo>
                    <a:pt x="619" y="623"/>
                  </a:lnTo>
                  <a:lnTo>
                    <a:pt x="621" y="623"/>
                  </a:lnTo>
                  <a:lnTo>
                    <a:pt x="624" y="623"/>
                  </a:lnTo>
                  <a:lnTo>
                    <a:pt x="626" y="623"/>
                  </a:lnTo>
                  <a:lnTo>
                    <a:pt x="628" y="623"/>
                  </a:lnTo>
                  <a:lnTo>
                    <a:pt x="628" y="620"/>
                  </a:lnTo>
                  <a:lnTo>
                    <a:pt x="626" y="623"/>
                  </a:lnTo>
                  <a:lnTo>
                    <a:pt x="624" y="623"/>
                  </a:lnTo>
                  <a:lnTo>
                    <a:pt x="626" y="623"/>
                  </a:lnTo>
                  <a:lnTo>
                    <a:pt x="624" y="623"/>
                  </a:lnTo>
                  <a:lnTo>
                    <a:pt x="624" y="620"/>
                  </a:lnTo>
                  <a:lnTo>
                    <a:pt x="621" y="620"/>
                  </a:lnTo>
                  <a:lnTo>
                    <a:pt x="624" y="620"/>
                  </a:lnTo>
                  <a:lnTo>
                    <a:pt x="624" y="618"/>
                  </a:lnTo>
                  <a:lnTo>
                    <a:pt x="626" y="618"/>
                  </a:lnTo>
                  <a:lnTo>
                    <a:pt x="626" y="616"/>
                  </a:lnTo>
                  <a:lnTo>
                    <a:pt x="628" y="616"/>
                  </a:lnTo>
                  <a:lnTo>
                    <a:pt x="628" y="613"/>
                  </a:lnTo>
                  <a:lnTo>
                    <a:pt x="631" y="613"/>
                  </a:lnTo>
                  <a:lnTo>
                    <a:pt x="633" y="613"/>
                  </a:lnTo>
                  <a:lnTo>
                    <a:pt x="633" y="611"/>
                  </a:lnTo>
                  <a:lnTo>
                    <a:pt x="636" y="611"/>
                  </a:lnTo>
                  <a:lnTo>
                    <a:pt x="636" y="609"/>
                  </a:lnTo>
                  <a:lnTo>
                    <a:pt x="638" y="609"/>
                  </a:lnTo>
                  <a:lnTo>
                    <a:pt x="640" y="609"/>
                  </a:lnTo>
                  <a:lnTo>
                    <a:pt x="643" y="609"/>
                  </a:lnTo>
                  <a:lnTo>
                    <a:pt x="643" y="611"/>
                  </a:lnTo>
                  <a:lnTo>
                    <a:pt x="645" y="611"/>
                  </a:lnTo>
                  <a:lnTo>
                    <a:pt x="647" y="611"/>
                  </a:lnTo>
                  <a:lnTo>
                    <a:pt x="650" y="611"/>
                  </a:lnTo>
                  <a:lnTo>
                    <a:pt x="650" y="613"/>
                  </a:lnTo>
                  <a:lnTo>
                    <a:pt x="652" y="613"/>
                  </a:lnTo>
                  <a:lnTo>
                    <a:pt x="650" y="613"/>
                  </a:lnTo>
                  <a:lnTo>
                    <a:pt x="650" y="611"/>
                  </a:lnTo>
                  <a:lnTo>
                    <a:pt x="650" y="609"/>
                  </a:lnTo>
                  <a:lnTo>
                    <a:pt x="647" y="609"/>
                  </a:lnTo>
                  <a:lnTo>
                    <a:pt x="645" y="609"/>
                  </a:lnTo>
                  <a:lnTo>
                    <a:pt x="643" y="609"/>
                  </a:lnTo>
                  <a:lnTo>
                    <a:pt x="643" y="606"/>
                  </a:lnTo>
                  <a:lnTo>
                    <a:pt x="645" y="606"/>
                  </a:lnTo>
                  <a:lnTo>
                    <a:pt x="645" y="604"/>
                  </a:lnTo>
                  <a:lnTo>
                    <a:pt x="647" y="604"/>
                  </a:lnTo>
                  <a:lnTo>
                    <a:pt x="647" y="601"/>
                  </a:lnTo>
                  <a:lnTo>
                    <a:pt x="647" y="599"/>
                  </a:lnTo>
                  <a:lnTo>
                    <a:pt x="650" y="599"/>
                  </a:lnTo>
                  <a:lnTo>
                    <a:pt x="652" y="599"/>
                  </a:lnTo>
                  <a:lnTo>
                    <a:pt x="650" y="599"/>
                  </a:lnTo>
                  <a:lnTo>
                    <a:pt x="652" y="599"/>
                  </a:lnTo>
                  <a:lnTo>
                    <a:pt x="652" y="597"/>
                  </a:lnTo>
                  <a:lnTo>
                    <a:pt x="652" y="599"/>
                  </a:lnTo>
                  <a:lnTo>
                    <a:pt x="655" y="599"/>
                  </a:lnTo>
                  <a:lnTo>
                    <a:pt x="657" y="599"/>
                  </a:lnTo>
                  <a:lnTo>
                    <a:pt x="657" y="601"/>
                  </a:lnTo>
                  <a:lnTo>
                    <a:pt x="659" y="601"/>
                  </a:lnTo>
                  <a:lnTo>
                    <a:pt x="659" y="604"/>
                  </a:lnTo>
                  <a:lnTo>
                    <a:pt x="662" y="604"/>
                  </a:lnTo>
                  <a:lnTo>
                    <a:pt x="662" y="601"/>
                  </a:lnTo>
                  <a:lnTo>
                    <a:pt x="664" y="601"/>
                  </a:lnTo>
                  <a:lnTo>
                    <a:pt x="662" y="601"/>
                  </a:lnTo>
                  <a:lnTo>
                    <a:pt x="664" y="601"/>
                  </a:lnTo>
                  <a:lnTo>
                    <a:pt x="662" y="601"/>
                  </a:lnTo>
                  <a:lnTo>
                    <a:pt x="664" y="601"/>
                  </a:lnTo>
                  <a:lnTo>
                    <a:pt x="662" y="601"/>
                  </a:lnTo>
                  <a:lnTo>
                    <a:pt x="662" y="599"/>
                  </a:lnTo>
                  <a:lnTo>
                    <a:pt x="659" y="599"/>
                  </a:lnTo>
                  <a:lnTo>
                    <a:pt x="662" y="597"/>
                  </a:lnTo>
                  <a:lnTo>
                    <a:pt x="662" y="599"/>
                  </a:lnTo>
                  <a:lnTo>
                    <a:pt x="662" y="597"/>
                  </a:lnTo>
                  <a:lnTo>
                    <a:pt x="659" y="597"/>
                  </a:lnTo>
                  <a:lnTo>
                    <a:pt x="657" y="597"/>
                  </a:lnTo>
                  <a:lnTo>
                    <a:pt x="657" y="594"/>
                  </a:lnTo>
                  <a:lnTo>
                    <a:pt x="655" y="594"/>
                  </a:lnTo>
                  <a:lnTo>
                    <a:pt x="652" y="594"/>
                  </a:lnTo>
                  <a:lnTo>
                    <a:pt x="650" y="594"/>
                  </a:lnTo>
                  <a:lnTo>
                    <a:pt x="652" y="594"/>
                  </a:lnTo>
                  <a:lnTo>
                    <a:pt x="650" y="594"/>
                  </a:lnTo>
                  <a:lnTo>
                    <a:pt x="647" y="592"/>
                  </a:lnTo>
                  <a:lnTo>
                    <a:pt x="650" y="592"/>
                  </a:lnTo>
                  <a:lnTo>
                    <a:pt x="650" y="590"/>
                  </a:lnTo>
                  <a:lnTo>
                    <a:pt x="647" y="590"/>
                  </a:lnTo>
                  <a:lnTo>
                    <a:pt x="650" y="590"/>
                  </a:lnTo>
                  <a:lnTo>
                    <a:pt x="650" y="587"/>
                  </a:lnTo>
                  <a:lnTo>
                    <a:pt x="652" y="587"/>
                  </a:lnTo>
                  <a:lnTo>
                    <a:pt x="650" y="587"/>
                  </a:lnTo>
                  <a:lnTo>
                    <a:pt x="652" y="587"/>
                  </a:lnTo>
                  <a:lnTo>
                    <a:pt x="655" y="587"/>
                  </a:lnTo>
                  <a:lnTo>
                    <a:pt x="652" y="587"/>
                  </a:lnTo>
                  <a:lnTo>
                    <a:pt x="652" y="590"/>
                  </a:lnTo>
                  <a:lnTo>
                    <a:pt x="655" y="590"/>
                  </a:lnTo>
                  <a:lnTo>
                    <a:pt x="657" y="592"/>
                  </a:lnTo>
                  <a:lnTo>
                    <a:pt x="659" y="592"/>
                  </a:lnTo>
                  <a:lnTo>
                    <a:pt x="662" y="592"/>
                  </a:lnTo>
                  <a:lnTo>
                    <a:pt x="662" y="590"/>
                  </a:lnTo>
                  <a:lnTo>
                    <a:pt x="659" y="590"/>
                  </a:lnTo>
                  <a:lnTo>
                    <a:pt x="659" y="587"/>
                  </a:lnTo>
                  <a:lnTo>
                    <a:pt x="662" y="587"/>
                  </a:lnTo>
                  <a:lnTo>
                    <a:pt x="664" y="587"/>
                  </a:lnTo>
                  <a:lnTo>
                    <a:pt x="662" y="587"/>
                  </a:lnTo>
                  <a:lnTo>
                    <a:pt x="659" y="585"/>
                  </a:lnTo>
                  <a:lnTo>
                    <a:pt x="662" y="585"/>
                  </a:lnTo>
                  <a:lnTo>
                    <a:pt x="659" y="585"/>
                  </a:lnTo>
                  <a:lnTo>
                    <a:pt x="659" y="582"/>
                  </a:lnTo>
                  <a:lnTo>
                    <a:pt x="662" y="582"/>
                  </a:lnTo>
                  <a:lnTo>
                    <a:pt x="659" y="582"/>
                  </a:lnTo>
                  <a:lnTo>
                    <a:pt x="657" y="582"/>
                  </a:lnTo>
                  <a:lnTo>
                    <a:pt x="659" y="580"/>
                  </a:lnTo>
                  <a:lnTo>
                    <a:pt x="662" y="580"/>
                  </a:lnTo>
                  <a:lnTo>
                    <a:pt x="659" y="580"/>
                  </a:lnTo>
                  <a:lnTo>
                    <a:pt x="659" y="578"/>
                  </a:lnTo>
                  <a:lnTo>
                    <a:pt x="662" y="578"/>
                  </a:lnTo>
                  <a:lnTo>
                    <a:pt x="662" y="580"/>
                  </a:lnTo>
                  <a:lnTo>
                    <a:pt x="664" y="580"/>
                  </a:lnTo>
                  <a:lnTo>
                    <a:pt x="662" y="580"/>
                  </a:lnTo>
                  <a:lnTo>
                    <a:pt x="664" y="580"/>
                  </a:lnTo>
                  <a:lnTo>
                    <a:pt x="662" y="580"/>
                  </a:lnTo>
                  <a:lnTo>
                    <a:pt x="664" y="580"/>
                  </a:lnTo>
                  <a:lnTo>
                    <a:pt x="662" y="580"/>
                  </a:lnTo>
                  <a:lnTo>
                    <a:pt x="662" y="582"/>
                  </a:lnTo>
                  <a:lnTo>
                    <a:pt x="664" y="582"/>
                  </a:lnTo>
                  <a:lnTo>
                    <a:pt x="664" y="580"/>
                  </a:lnTo>
                  <a:lnTo>
                    <a:pt x="666" y="580"/>
                  </a:lnTo>
                  <a:lnTo>
                    <a:pt x="666" y="582"/>
                  </a:lnTo>
                  <a:lnTo>
                    <a:pt x="669" y="582"/>
                  </a:lnTo>
                  <a:lnTo>
                    <a:pt x="669" y="585"/>
                  </a:lnTo>
                  <a:lnTo>
                    <a:pt x="666" y="585"/>
                  </a:lnTo>
                  <a:lnTo>
                    <a:pt x="669" y="585"/>
                  </a:lnTo>
                  <a:lnTo>
                    <a:pt x="671" y="585"/>
                  </a:lnTo>
                  <a:lnTo>
                    <a:pt x="671" y="582"/>
                  </a:lnTo>
                  <a:lnTo>
                    <a:pt x="671" y="580"/>
                  </a:lnTo>
                  <a:lnTo>
                    <a:pt x="674" y="580"/>
                  </a:lnTo>
                  <a:lnTo>
                    <a:pt x="674" y="582"/>
                  </a:lnTo>
                  <a:lnTo>
                    <a:pt x="676" y="582"/>
                  </a:lnTo>
                  <a:lnTo>
                    <a:pt x="674" y="585"/>
                  </a:lnTo>
                  <a:lnTo>
                    <a:pt x="671" y="585"/>
                  </a:lnTo>
                  <a:lnTo>
                    <a:pt x="671" y="587"/>
                  </a:lnTo>
                  <a:lnTo>
                    <a:pt x="669" y="587"/>
                  </a:lnTo>
                  <a:lnTo>
                    <a:pt x="671" y="587"/>
                  </a:lnTo>
                  <a:lnTo>
                    <a:pt x="674" y="587"/>
                  </a:lnTo>
                  <a:lnTo>
                    <a:pt x="676" y="585"/>
                  </a:lnTo>
                  <a:lnTo>
                    <a:pt x="678" y="585"/>
                  </a:lnTo>
                  <a:lnTo>
                    <a:pt x="681" y="585"/>
                  </a:lnTo>
                  <a:lnTo>
                    <a:pt x="681" y="587"/>
                  </a:lnTo>
                  <a:lnTo>
                    <a:pt x="681" y="590"/>
                  </a:lnTo>
                  <a:lnTo>
                    <a:pt x="681" y="592"/>
                  </a:lnTo>
                  <a:lnTo>
                    <a:pt x="683" y="590"/>
                  </a:lnTo>
                  <a:lnTo>
                    <a:pt x="683" y="592"/>
                  </a:lnTo>
                  <a:lnTo>
                    <a:pt x="683" y="590"/>
                  </a:lnTo>
                  <a:lnTo>
                    <a:pt x="683" y="592"/>
                  </a:lnTo>
                  <a:lnTo>
                    <a:pt x="685" y="590"/>
                  </a:lnTo>
                  <a:lnTo>
                    <a:pt x="683" y="590"/>
                  </a:lnTo>
                  <a:lnTo>
                    <a:pt x="685" y="590"/>
                  </a:lnTo>
                  <a:lnTo>
                    <a:pt x="685" y="587"/>
                  </a:lnTo>
                  <a:lnTo>
                    <a:pt x="683" y="587"/>
                  </a:lnTo>
                  <a:lnTo>
                    <a:pt x="685" y="587"/>
                  </a:lnTo>
                  <a:lnTo>
                    <a:pt x="685" y="585"/>
                  </a:lnTo>
                  <a:lnTo>
                    <a:pt x="685" y="582"/>
                  </a:lnTo>
                  <a:lnTo>
                    <a:pt x="683" y="582"/>
                  </a:lnTo>
                  <a:lnTo>
                    <a:pt x="683" y="580"/>
                  </a:lnTo>
                  <a:lnTo>
                    <a:pt x="685" y="580"/>
                  </a:lnTo>
                  <a:lnTo>
                    <a:pt x="685" y="582"/>
                  </a:lnTo>
                  <a:lnTo>
                    <a:pt x="688" y="582"/>
                  </a:lnTo>
                  <a:lnTo>
                    <a:pt x="690" y="582"/>
                  </a:lnTo>
                  <a:lnTo>
                    <a:pt x="690" y="585"/>
                  </a:lnTo>
                  <a:lnTo>
                    <a:pt x="693" y="585"/>
                  </a:lnTo>
                  <a:lnTo>
                    <a:pt x="690" y="585"/>
                  </a:lnTo>
                  <a:lnTo>
                    <a:pt x="688" y="587"/>
                  </a:lnTo>
                  <a:lnTo>
                    <a:pt x="688" y="590"/>
                  </a:lnTo>
                  <a:lnTo>
                    <a:pt x="690" y="587"/>
                  </a:lnTo>
                  <a:lnTo>
                    <a:pt x="693" y="587"/>
                  </a:lnTo>
                  <a:lnTo>
                    <a:pt x="693" y="585"/>
                  </a:lnTo>
                  <a:lnTo>
                    <a:pt x="695" y="585"/>
                  </a:lnTo>
                  <a:lnTo>
                    <a:pt x="697" y="585"/>
                  </a:lnTo>
                  <a:lnTo>
                    <a:pt x="695" y="587"/>
                  </a:lnTo>
                  <a:lnTo>
                    <a:pt x="697" y="587"/>
                  </a:lnTo>
                  <a:lnTo>
                    <a:pt x="700" y="587"/>
                  </a:lnTo>
                  <a:lnTo>
                    <a:pt x="700" y="585"/>
                  </a:lnTo>
                  <a:lnTo>
                    <a:pt x="702" y="585"/>
                  </a:lnTo>
                  <a:lnTo>
                    <a:pt x="702" y="587"/>
                  </a:lnTo>
                  <a:lnTo>
                    <a:pt x="700" y="587"/>
                  </a:lnTo>
                  <a:lnTo>
                    <a:pt x="702" y="587"/>
                  </a:lnTo>
                  <a:lnTo>
                    <a:pt x="704" y="587"/>
                  </a:lnTo>
                  <a:lnTo>
                    <a:pt x="702" y="587"/>
                  </a:lnTo>
                  <a:lnTo>
                    <a:pt x="702" y="590"/>
                  </a:lnTo>
                  <a:lnTo>
                    <a:pt x="700" y="590"/>
                  </a:lnTo>
                  <a:lnTo>
                    <a:pt x="702" y="590"/>
                  </a:lnTo>
                  <a:lnTo>
                    <a:pt x="700" y="590"/>
                  </a:lnTo>
                  <a:lnTo>
                    <a:pt x="700" y="592"/>
                  </a:lnTo>
                  <a:lnTo>
                    <a:pt x="697" y="592"/>
                  </a:lnTo>
                  <a:lnTo>
                    <a:pt x="700" y="592"/>
                  </a:lnTo>
                  <a:lnTo>
                    <a:pt x="697" y="592"/>
                  </a:lnTo>
                  <a:lnTo>
                    <a:pt x="695" y="592"/>
                  </a:lnTo>
                  <a:lnTo>
                    <a:pt x="695" y="594"/>
                  </a:lnTo>
                  <a:lnTo>
                    <a:pt x="693" y="594"/>
                  </a:lnTo>
                  <a:lnTo>
                    <a:pt x="695" y="594"/>
                  </a:lnTo>
                  <a:lnTo>
                    <a:pt x="693" y="594"/>
                  </a:lnTo>
                  <a:lnTo>
                    <a:pt x="695" y="594"/>
                  </a:lnTo>
                  <a:lnTo>
                    <a:pt x="693" y="594"/>
                  </a:lnTo>
                  <a:lnTo>
                    <a:pt x="695" y="594"/>
                  </a:lnTo>
                  <a:lnTo>
                    <a:pt x="697" y="594"/>
                  </a:lnTo>
                  <a:lnTo>
                    <a:pt x="695" y="594"/>
                  </a:lnTo>
                  <a:lnTo>
                    <a:pt x="697" y="594"/>
                  </a:lnTo>
                  <a:lnTo>
                    <a:pt x="695" y="597"/>
                  </a:lnTo>
                  <a:lnTo>
                    <a:pt x="695" y="594"/>
                  </a:lnTo>
                  <a:lnTo>
                    <a:pt x="693" y="597"/>
                  </a:lnTo>
                  <a:lnTo>
                    <a:pt x="690" y="597"/>
                  </a:lnTo>
                  <a:lnTo>
                    <a:pt x="690" y="599"/>
                  </a:lnTo>
                  <a:lnTo>
                    <a:pt x="688" y="599"/>
                  </a:lnTo>
                  <a:lnTo>
                    <a:pt x="685" y="599"/>
                  </a:lnTo>
                  <a:lnTo>
                    <a:pt x="688" y="599"/>
                  </a:lnTo>
                  <a:lnTo>
                    <a:pt x="685" y="601"/>
                  </a:lnTo>
                  <a:lnTo>
                    <a:pt x="685" y="604"/>
                  </a:lnTo>
                  <a:lnTo>
                    <a:pt x="683" y="604"/>
                  </a:lnTo>
                  <a:lnTo>
                    <a:pt x="681" y="604"/>
                  </a:lnTo>
                  <a:lnTo>
                    <a:pt x="681" y="606"/>
                  </a:lnTo>
                  <a:lnTo>
                    <a:pt x="678" y="606"/>
                  </a:lnTo>
                  <a:lnTo>
                    <a:pt x="676" y="609"/>
                  </a:lnTo>
                  <a:lnTo>
                    <a:pt x="678" y="609"/>
                  </a:lnTo>
                  <a:lnTo>
                    <a:pt x="681" y="609"/>
                  </a:lnTo>
                  <a:lnTo>
                    <a:pt x="678" y="611"/>
                  </a:lnTo>
                  <a:lnTo>
                    <a:pt x="676" y="611"/>
                  </a:lnTo>
                  <a:lnTo>
                    <a:pt x="676" y="609"/>
                  </a:lnTo>
                  <a:lnTo>
                    <a:pt x="676" y="611"/>
                  </a:lnTo>
                  <a:lnTo>
                    <a:pt x="678" y="611"/>
                  </a:lnTo>
                  <a:lnTo>
                    <a:pt x="681" y="611"/>
                  </a:lnTo>
                  <a:lnTo>
                    <a:pt x="683" y="611"/>
                  </a:lnTo>
                  <a:lnTo>
                    <a:pt x="681" y="611"/>
                  </a:lnTo>
                  <a:lnTo>
                    <a:pt x="681" y="613"/>
                  </a:lnTo>
                  <a:lnTo>
                    <a:pt x="678" y="613"/>
                  </a:lnTo>
                  <a:lnTo>
                    <a:pt x="681" y="616"/>
                  </a:lnTo>
                  <a:lnTo>
                    <a:pt x="681" y="613"/>
                  </a:lnTo>
                  <a:lnTo>
                    <a:pt x="681" y="616"/>
                  </a:lnTo>
                  <a:lnTo>
                    <a:pt x="678" y="616"/>
                  </a:lnTo>
                  <a:lnTo>
                    <a:pt x="681" y="616"/>
                  </a:lnTo>
                  <a:lnTo>
                    <a:pt x="678" y="616"/>
                  </a:lnTo>
                  <a:lnTo>
                    <a:pt x="676" y="616"/>
                  </a:lnTo>
                  <a:lnTo>
                    <a:pt x="676" y="618"/>
                  </a:lnTo>
                  <a:lnTo>
                    <a:pt x="674" y="618"/>
                  </a:lnTo>
                  <a:lnTo>
                    <a:pt x="676" y="618"/>
                  </a:lnTo>
                  <a:lnTo>
                    <a:pt x="678" y="618"/>
                  </a:lnTo>
                  <a:lnTo>
                    <a:pt x="676" y="618"/>
                  </a:lnTo>
                  <a:lnTo>
                    <a:pt x="678" y="618"/>
                  </a:lnTo>
                  <a:lnTo>
                    <a:pt x="676" y="618"/>
                  </a:lnTo>
                  <a:lnTo>
                    <a:pt x="676" y="620"/>
                  </a:lnTo>
                  <a:lnTo>
                    <a:pt x="678" y="620"/>
                  </a:lnTo>
                  <a:lnTo>
                    <a:pt x="678" y="623"/>
                  </a:lnTo>
                  <a:lnTo>
                    <a:pt x="676" y="623"/>
                  </a:lnTo>
                  <a:lnTo>
                    <a:pt x="678" y="623"/>
                  </a:lnTo>
                  <a:lnTo>
                    <a:pt x="676" y="623"/>
                  </a:lnTo>
                  <a:lnTo>
                    <a:pt x="674" y="623"/>
                  </a:lnTo>
                  <a:lnTo>
                    <a:pt x="674" y="625"/>
                  </a:lnTo>
                  <a:lnTo>
                    <a:pt x="671" y="625"/>
                  </a:lnTo>
                  <a:lnTo>
                    <a:pt x="671" y="628"/>
                  </a:lnTo>
                  <a:lnTo>
                    <a:pt x="671" y="630"/>
                  </a:lnTo>
                  <a:lnTo>
                    <a:pt x="671" y="632"/>
                  </a:lnTo>
                  <a:lnTo>
                    <a:pt x="671" y="635"/>
                  </a:lnTo>
                  <a:lnTo>
                    <a:pt x="674" y="635"/>
                  </a:lnTo>
                  <a:lnTo>
                    <a:pt x="671" y="635"/>
                  </a:lnTo>
                  <a:lnTo>
                    <a:pt x="674" y="635"/>
                  </a:lnTo>
                  <a:lnTo>
                    <a:pt x="674" y="637"/>
                  </a:lnTo>
                  <a:lnTo>
                    <a:pt x="674" y="635"/>
                  </a:lnTo>
                  <a:lnTo>
                    <a:pt x="674" y="632"/>
                  </a:lnTo>
                  <a:lnTo>
                    <a:pt x="674" y="630"/>
                  </a:lnTo>
                  <a:lnTo>
                    <a:pt x="676" y="630"/>
                  </a:lnTo>
                  <a:lnTo>
                    <a:pt x="676" y="628"/>
                  </a:lnTo>
                  <a:lnTo>
                    <a:pt x="676" y="630"/>
                  </a:lnTo>
                  <a:lnTo>
                    <a:pt x="678" y="630"/>
                  </a:lnTo>
                  <a:lnTo>
                    <a:pt x="676" y="630"/>
                  </a:lnTo>
                  <a:lnTo>
                    <a:pt x="676" y="632"/>
                  </a:lnTo>
                  <a:lnTo>
                    <a:pt x="678" y="630"/>
                  </a:lnTo>
                  <a:lnTo>
                    <a:pt x="678" y="632"/>
                  </a:lnTo>
                  <a:lnTo>
                    <a:pt x="678" y="630"/>
                  </a:lnTo>
                  <a:lnTo>
                    <a:pt x="678" y="632"/>
                  </a:lnTo>
                  <a:lnTo>
                    <a:pt x="676" y="632"/>
                  </a:lnTo>
                  <a:lnTo>
                    <a:pt x="676" y="635"/>
                  </a:lnTo>
                  <a:lnTo>
                    <a:pt x="678" y="635"/>
                  </a:lnTo>
                  <a:lnTo>
                    <a:pt x="681" y="635"/>
                  </a:lnTo>
                  <a:lnTo>
                    <a:pt x="681" y="632"/>
                  </a:lnTo>
                  <a:lnTo>
                    <a:pt x="681" y="630"/>
                  </a:lnTo>
                  <a:lnTo>
                    <a:pt x="683" y="630"/>
                  </a:lnTo>
                  <a:lnTo>
                    <a:pt x="683" y="628"/>
                  </a:lnTo>
                  <a:lnTo>
                    <a:pt x="685" y="628"/>
                  </a:lnTo>
                  <a:lnTo>
                    <a:pt x="685" y="625"/>
                  </a:lnTo>
                  <a:lnTo>
                    <a:pt x="688" y="625"/>
                  </a:lnTo>
                  <a:lnTo>
                    <a:pt x="688" y="623"/>
                  </a:lnTo>
                  <a:lnTo>
                    <a:pt x="690" y="623"/>
                  </a:lnTo>
                  <a:lnTo>
                    <a:pt x="690" y="620"/>
                  </a:lnTo>
                  <a:lnTo>
                    <a:pt x="688" y="620"/>
                  </a:lnTo>
                  <a:lnTo>
                    <a:pt x="685" y="620"/>
                  </a:lnTo>
                  <a:lnTo>
                    <a:pt x="688" y="620"/>
                  </a:lnTo>
                  <a:lnTo>
                    <a:pt x="685" y="620"/>
                  </a:lnTo>
                  <a:lnTo>
                    <a:pt x="685" y="618"/>
                  </a:lnTo>
                  <a:lnTo>
                    <a:pt x="685" y="620"/>
                  </a:lnTo>
                  <a:lnTo>
                    <a:pt x="688" y="618"/>
                  </a:lnTo>
                  <a:lnTo>
                    <a:pt x="690" y="616"/>
                  </a:lnTo>
                  <a:lnTo>
                    <a:pt x="693" y="616"/>
                  </a:lnTo>
                  <a:lnTo>
                    <a:pt x="690" y="616"/>
                  </a:lnTo>
                  <a:lnTo>
                    <a:pt x="693" y="616"/>
                  </a:lnTo>
                  <a:lnTo>
                    <a:pt x="693" y="613"/>
                  </a:lnTo>
                  <a:lnTo>
                    <a:pt x="695" y="611"/>
                  </a:lnTo>
                  <a:lnTo>
                    <a:pt x="697" y="609"/>
                  </a:lnTo>
                  <a:lnTo>
                    <a:pt x="700" y="609"/>
                  </a:lnTo>
                  <a:lnTo>
                    <a:pt x="700" y="606"/>
                  </a:lnTo>
                  <a:lnTo>
                    <a:pt x="702" y="606"/>
                  </a:lnTo>
                  <a:lnTo>
                    <a:pt x="702" y="604"/>
                  </a:lnTo>
                  <a:lnTo>
                    <a:pt x="704" y="604"/>
                  </a:lnTo>
                  <a:lnTo>
                    <a:pt x="707" y="604"/>
                  </a:lnTo>
                  <a:lnTo>
                    <a:pt x="704" y="601"/>
                  </a:lnTo>
                  <a:lnTo>
                    <a:pt x="707" y="601"/>
                  </a:lnTo>
                  <a:lnTo>
                    <a:pt x="707" y="599"/>
                  </a:lnTo>
                  <a:lnTo>
                    <a:pt x="707" y="597"/>
                  </a:lnTo>
                  <a:lnTo>
                    <a:pt x="709" y="597"/>
                  </a:lnTo>
                  <a:lnTo>
                    <a:pt x="711" y="594"/>
                  </a:lnTo>
                  <a:lnTo>
                    <a:pt x="711" y="592"/>
                  </a:lnTo>
                  <a:lnTo>
                    <a:pt x="714" y="592"/>
                  </a:lnTo>
                  <a:lnTo>
                    <a:pt x="714" y="590"/>
                  </a:lnTo>
                  <a:lnTo>
                    <a:pt x="716" y="590"/>
                  </a:lnTo>
                  <a:lnTo>
                    <a:pt x="719" y="587"/>
                  </a:lnTo>
                  <a:lnTo>
                    <a:pt x="721" y="587"/>
                  </a:lnTo>
                  <a:lnTo>
                    <a:pt x="721" y="585"/>
                  </a:lnTo>
                  <a:lnTo>
                    <a:pt x="723" y="585"/>
                  </a:lnTo>
                  <a:lnTo>
                    <a:pt x="723" y="582"/>
                  </a:lnTo>
                  <a:lnTo>
                    <a:pt x="726" y="582"/>
                  </a:lnTo>
                  <a:lnTo>
                    <a:pt x="728" y="582"/>
                  </a:lnTo>
                  <a:lnTo>
                    <a:pt x="730" y="582"/>
                  </a:lnTo>
                  <a:lnTo>
                    <a:pt x="728" y="582"/>
                  </a:lnTo>
                  <a:lnTo>
                    <a:pt x="730" y="582"/>
                  </a:lnTo>
                  <a:lnTo>
                    <a:pt x="730" y="585"/>
                  </a:lnTo>
                  <a:lnTo>
                    <a:pt x="730" y="587"/>
                  </a:lnTo>
                  <a:lnTo>
                    <a:pt x="728" y="587"/>
                  </a:lnTo>
                  <a:lnTo>
                    <a:pt x="728" y="590"/>
                  </a:lnTo>
                  <a:lnTo>
                    <a:pt x="728" y="587"/>
                  </a:lnTo>
                  <a:lnTo>
                    <a:pt x="728" y="590"/>
                  </a:lnTo>
                  <a:lnTo>
                    <a:pt x="730" y="590"/>
                  </a:lnTo>
                  <a:lnTo>
                    <a:pt x="730" y="592"/>
                  </a:lnTo>
                  <a:lnTo>
                    <a:pt x="728" y="592"/>
                  </a:lnTo>
                  <a:lnTo>
                    <a:pt x="728" y="594"/>
                  </a:lnTo>
                  <a:lnTo>
                    <a:pt x="728" y="597"/>
                  </a:lnTo>
                  <a:lnTo>
                    <a:pt x="726" y="597"/>
                  </a:lnTo>
                  <a:lnTo>
                    <a:pt x="723" y="597"/>
                  </a:lnTo>
                  <a:lnTo>
                    <a:pt x="723" y="599"/>
                  </a:lnTo>
                  <a:lnTo>
                    <a:pt x="721" y="599"/>
                  </a:lnTo>
                  <a:lnTo>
                    <a:pt x="719" y="599"/>
                  </a:lnTo>
                  <a:lnTo>
                    <a:pt x="716" y="601"/>
                  </a:lnTo>
                  <a:lnTo>
                    <a:pt x="719" y="599"/>
                  </a:lnTo>
                  <a:lnTo>
                    <a:pt x="719" y="601"/>
                  </a:lnTo>
                  <a:lnTo>
                    <a:pt x="719" y="599"/>
                  </a:lnTo>
                  <a:lnTo>
                    <a:pt x="721" y="599"/>
                  </a:lnTo>
                  <a:lnTo>
                    <a:pt x="723" y="599"/>
                  </a:lnTo>
                  <a:lnTo>
                    <a:pt x="726" y="599"/>
                  </a:lnTo>
                  <a:lnTo>
                    <a:pt x="728" y="599"/>
                  </a:lnTo>
                  <a:lnTo>
                    <a:pt x="726" y="599"/>
                  </a:lnTo>
                  <a:lnTo>
                    <a:pt x="726" y="601"/>
                  </a:lnTo>
                  <a:lnTo>
                    <a:pt x="728" y="601"/>
                  </a:lnTo>
                  <a:lnTo>
                    <a:pt x="726" y="601"/>
                  </a:lnTo>
                  <a:lnTo>
                    <a:pt x="728" y="601"/>
                  </a:lnTo>
                  <a:lnTo>
                    <a:pt x="726" y="604"/>
                  </a:lnTo>
                  <a:lnTo>
                    <a:pt x="728" y="604"/>
                  </a:lnTo>
                  <a:lnTo>
                    <a:pt x="726" y="604"/>
                  </a:lnTo>
                  <a:lnTo>
                    <a:pt x="728" y="604"/>
                  </a:lnTo>
                  <a:lnTo>
                    <a:pt x="726" y="604"/>
                  </a:lnTo>
                  <a:lnTo>
                    <a:pt x="726" y="606"/>
                  </a:lnTo>
                  <a:lnTo>
                    <a:pt x="726" y="609"/>
                  </a:lnTo>
                  <a:lnTo>
                    <a:pt x="723" y="609"/>
                  </a:lnTo>
                  <a:lnTo>
                    <a:pt x="726" y="609"/>
                  </a:lnTo>
                  <a:lnTo>
                    <a:pt x="723" y="609"/>
                  </a:lnTo>
                  <a:lnTo>
                    <a:pt x="726" y="609"/>
                  </a:lnTo>
                  <a:lnTo>
                    <a:pt x="723" y="611"/>
                  </a:lnTo>
                  <a:lnTo>
                    <a:pt x="726" y="611"/>
                  </a:lnTo>
                  <a:lnTo>
                    <a:pt x="723" y="613"/>
                  </a:lnTo>
                  <a:lnTo>
                    <a:pt x="723" y="616"/>
                  </a:lnTo>
                  <a:lnTo>
                    <a:pt x="723" y="618"/>
                  </a:lnTo>
                  <a:lnTo>
                    <a:pt x="721" y="618"/>
                  </a:lnTo>
                  <a:lnTo>
                    <a:pt x="723" y="618"/>
                  </a:lnTo>
                  <a:lnTo>
                    <a:pt x="721" y="618"/>
                  </a:lnTo>
                  <a:lnTo>
                    <a:pt x="723" y="618"/>
                  </a:lnTo>
                  <a:lnTo>
                    <a:pt x="723" y="616"/>
                  </a:lnTo>
                  <a:lnTo>
                    <a:pt x="726" y="616"/>
                  </a:lnTo>
                  <a:lnTo>
                    <a:pt x="728" y="616"/>
                  </a:lnTo>
                  <a:lnTo>
                    <a:pt x="726" y="616"/>
                  </a:lnTo>
                  <a:lnTo>
                    <a:pt x="728" y="616"/>
                  </a:lnTo>
                  <a:lnTo>
                    <a:pt x="726" y="616"/>
                  </a:lnTo>
                  <a:lnTo>
                    <a:pt x="726" y="613"/>
                  </a:lnTo>
                  <a:lnTo>
                    <a:pt x="728" y="613"/>
                  </a:lnTo>
                  <a:lnTo>
                    <a:pt x="728" y="616"/>
                  </a:lnTo>
                  <a:lnTo>
                    <a:pt x="730" y="616"/>
                  </a:lnTo>
                  <a:lnTo>
                    <a:pt x="730" y="613"/>
                  </a:lnTo>
                  <a:lnTo>
                    <a:pt x="730" y="616"/>
                  </a:lnTo>
                  <a:lnTo>
                    <a:pt x="730" y="613"/>
                  </a:lnTo>
                  <a:lnTo>
                    <a:pt x="730" y="611"/>
                  </a:lnTo>
                  <a:lnTo>
                    <a:pt x="733" y="611"/>
                  </a:lnTo>
                  <a:lnTo>
                    <a:pt x="730" y="611"/>
                  </a:lnTo>
                  <a:lnTo>
                    <a:pt x="733" y="611"/>
                  </a:lnTo>
                  <a:lnTo>
                    <a:pt x="735" y="611"/>
                  </a:lnTo>
                  <a:lnTo>
                    <a:pt x="738" y="611"/>
                  </a:lnTo>
                  <a:lnTo>
                    <a:pt x="738" y="613"/>
                  </a:lnTo>
                  <a:lnTo>
                    <a:pt x="738" y="611"/>
                  </a:lnTo>
                  <a:lnTo>
                    <a:pt x="740" y="611"/>
                  </a:lnTo>
                  <a:lnTo>
                    <a:pt x="742" y="611"/>
                  </a:lnTo>
                  <a:lnTo>
                    <a:pt x="740" y="611"/>
                  </a:lnTo>
                  <a:lnTo>
                    <a:pt x="742" y="611"/>
                  </a:lnTo>
                  <a:lnTo>
                    <a:pt x="740" y="611"/>
                  </a:lnTo>
                  <a:lnTo>
                    <a:pt x="740" y="609"/>
                  </a:lnTo>
                  <a:lnTo>
                    <a:pt x="738" y="609"/>
                  </a:lnTo>
                  <a:lnTo>
                    <a:pt x="738" y="606"/>
                  </a:lnTo>
                  <a:lnTo>
                    <a:pt x="740" y="606"/>
                  </a:lnTo>
                  <a:lnTo>
                    <a:pt x="738" y="606"/>
                  </a:lnTo>
                  <a:lnTo>
                    <a:pt x="738" y="604"/>
                  </a:lnTo>
                  <a:lnTo>
                    <a:pt x="740" y="604"/>
                  </a:lnTo>
                  <a:lnTo>
                    <a:pt x="740" y="601"/>
                  </a:lnTo>
                  <a:lnTo>
                    <a:pt x="742" y="601"/>
                  </a:lnTo>
                  <a:lnTo>
                    <a:pt x="742" y="604"/>
                  </a:lnTo>
                  <a:lnTo>
                    <a:pt x="745" y="604"/>
                  </a:lnTo>
                  <a:lnTo>
                    <a:pt x="747" y="604"/>
                  </a:lnTo>
                  <a:lnTo>
                    <a:pt x="749" y="604"/>
                  </a:lnTo>
                  <a:lnTo>
                    <a:pt x="747" y="604"/>
                  </a:lnTo>
                  <a:lnTo>
                    <a:pt x="745" y="601"/>
                  </a:lnTo>
                  <a:lnTo>
                    <a:pt x="742" y="601"/>
                  </a:lnTo>
                  <a:lnTo>
                    <a:pt x="742" y="599"/>
                  </a:lnTo>
                  <a:lnTo>
                    <a:pt x="745" y="599"/>
                  </a:lnTo>
                  <a:lnTo>
                    <a:pt x="742" y="599"/>
                  </a:lnTo>
                  <a:lnTo>
                    <a:pt x="745" y="599"/>
                  </a:lnTo>
                  <a:lnTo>
                    <a:pt x="747" y="599"/>
                  </a:lnTo>
                  <a:lnTo>
                    <a:pt x="745" y="599"/>
                  </a:lnTo>
                  <a:lnTo>
                    <a:pt x="742" y="597"/>
                  </a:lnTo>
                  <a:lnTo>
                    <a:pt x="742" y="594"/>
                  </a:lnTo>
                  <a:lnTo>
                    <a:pt x="745" y="594"/>
                  </a:lnTo>
                  <a:lnTo>
                    <a:pt x="747" y="594"/>
                  </a:lnTo>
                  <a:lnTo>
                    <a:pt x="749" y="594"/>
                  </a:lnTo>
                  <a:lnTo>
                    <a:pt x="749" y="597"/>
                  </a:lnTo>
                  <a:lnTo>
                    <a:pt x="749" y="594"/>
                  </a:lnTo>
                  <a:lnTo>
                    <a:pt x="752" y="594"/>
                  </a:lnTo>
                  <a:lnTo>
                    <a:pt x="749" y="594"/>
                  </a:lnTo>
                  <a:lnTo>
                    <a:pt x="747" y="594"/>
                  </a:lnTo>
                  <a:lnTo>
                    <a:pt x="749" y="594"/>
                  </a:lnTo>
                  <a:lnTo>
                    <a:pt x="749" y="592"/>
                  </a:lnTo>
                  <a:lnTo>
                    <a:pt x="749" y="590"/>
                  </a:lnTo>
                  <a:lnTo>
                    <a:pt x="752" y="590"/>
                  </a:lnTo>
                  <a:lnTo>
                    <a:pt x="754" y="590"/>
                  </a:lnTo>
                  <a:lnTo>
                    <a:pt x="757" y="590"/>
                  </a:lnTo>
                  <a:lnTo>
                    <a:pt x="757" y="592"/>
                  </a:lnTo>
                  <a:lnTo>
                    <a:pt x="759" y="592"/>
                  </a:lnTo>
                  <a:lnTo>
                    <a:pt x="761" y="592"/>
                  </a:lnTo>
                  <a:lnTo>
                    <a:pt x="759" y="592"/>
                  </a:lnTo>
                  <a:lnTo>
                    <a:pt x="759" y="590"/>
                  </a:lnTo>
                  <a:lnTo>
                    <a:pt x="757" y="590"/>
                  </a:lnTo>
                  <a:lnTo>
                    <a:pt x="754" y="590"/>
                  </a:lnTo>
                  <a:lnTo>
                    <a:pt x="757" y="590"/>
                  </a:lnTo>
                  <a:lnTo>
                    <a:pt x="757" y="587"/>
                  </a:lnTo>
                  <a:lnTo>
                    <a:pt x="754" y="587"/>
                  </a:lnTo>
                  <a:lnTo>
                    <a:pt x="752" y="587"/>
                  </a:lnTo>
                  <a:lnTo>
                    <a:pt x="754" y="587"/>
                  </a:lnTo>
                  <a:lnTo>
                    <a:pt x="752" y="587"/>
                  </a:lnTo>
                  <a:lnTo>
                    <a:pt x="752" y="585"/>
                  </a:lnTo>
                  <a:lnTo>
                    <a:pt x="754" y="585"/>
                  </a:lnTo>
                  <a:lnTo>
                    <a:pt x="752" y="585"/>
                  </a:lnTo>
                  <a:lnTo>
                    <a:pt x="749" y="587"/>
                  </a:lnTo>
                  <a:lnTo>
                    <a:pt x="749" y="585"/>
                  </a:lnTo>
                  <a:lnTo>
                    <a:pt x="747" y="585"/>
                  </a:lnTo>
                  <a:lnTo>
                    <a:pt x="745" y="585"/>
                  </a:lnTo>
                  <a:lnTo>
                    <a:pt x="742" y="585"/>
                  </a:lnTo>
                  <a:lnTo>
                    <a:pt x="742" y="582"/>
                  </a:lnTo>
                  <a:lnTo>
                    <a:pt x="745" y="582"/>
                  </a:lnTo>
                  <a:lnTo>
                    <a:pt x="745" y="580"/>
                  </a:lnTo>
                  <a:lnTo>
                    <a:pt x="747" y="580"/>
                  </a:lnTo>
                  <a:lnTo>
                    <a:pt x="747" y="582"/>
                  </a:lnTo>
                  <a:lnTo>
                    <a:pt x="749" y="582"/>
                  </a:lnTo>
                  <a:lnTo>
                    <a:pt x="752" y="582"/>
                  </a:lnTo>
                  <a:lnTo>
                    <a:pt x="749" y="582"/>
                  </a:lnTo>
                  <a:lnTo>
                    <a:pt x="749" y="580"/>
                  </a:lnTo>
                  <a:lnTo>
                    <a:pt x="747" y="580"/>
                  </a:lnTo>
                  <a:lnTo>
                    <a:pt x="747" y="578"/>
                  </a:lnTo>
                  <a:lnTo>
                    <a:pt x="745" y="578"/>
                  </a:lnTo>
                  <a:lnTo>
                    <a:pt x="747" y="578"/>
                  </a:lnTo>
                  <a:lnTo>
                    <a:pt x="749" y="578"/>
                  </a:lnTo>
                  <a:lnTo>
                    <a:pt x="752" y="578"/>
                  </a:lnTo>
                  <a:lnTo>
                    <a:pt x="754" y="578"/>
                  </a:lnTo>
                  <a:lnTo>
                    <a:pt x="757" y="580"/>
                  </a:lnTo>
                  <a:lnTo>
                    <a:pt x="757" y="582"/>
                  </a:lnTo>
                  <a:lnTo>
                    <a:pt x="759" y="582"/>
                  </a:lnTo>
                  <a:lnTo>
                    <a:pt x="757" y="582"/>
                  </a:lnTo>
                  <a:lnTo>
                    <a:pt x="757" y="580"/>
                  </a:lnTo>
                  <a:lnTo>
                    <a:pt x="759" y="580"/>
                  </a:lnTo>
                  <a:lnTo>
                    <a:pt x="757" y="580"/>
                  </a:lnTo>
                  <a:lnTo>
                    <a:pt x="759" y="580"/>
                  </a:lnTo>
                  <a:lnTo>
                    <a:pt x="759" y="578"/>
                  </a:lnTo>
                  <a:lnTo>
                    <a:pt x="757" y="578"/>
                  </a:lnTo>
                  <a:lnTo>
                    <a:pt x="757" y="575"/>
                  </a:lnTo>
                  <a:lnTo>
                    <a:pt x="754" y="575"/>
                  </a:lnTo>
                  <a:lnTo>
                    <a:pt x="757" y="575"/>
                  </a:lnTo>
                  <a:lnTo>
                    <a:pt x="757" y="573"/>
                  </a:lnTo>
                  <a:lnTo>
                    <a:pt x="759" y="573"/>
                  </a:lnTo>
                  <a:lnTo>
                    <a:pt x="761" y="573"/>
                  </a:lnTo>
                  <a:lnTo>
                    <a:pt x="759" y="573"/>
                  </a:lnTo>
                  <a:lnTo>
                    <a:pt x="761" y="571"/>
                  </a:lnTo>
                  <a:lnTo>
                    <a:pt x="761" y="573"/>
                  </a:lnTo>
                  <a:lnTo>
                    <a:pt x="764" y="573"/>
                  </a:lnTo>
                  <a:lnTo>
                    <a:pt x="764" y="575"/>
                  </a:lnTo>
                  <a:lnTo>
                    <a:pt x="761" y="575"/>
                  </a:lnTo>
                  <a:lnTo>
                    <a:pt x="764" y="575"/>
                  </a:lnTo>
                  <a:lnTo>
                    <a:pt x="764" y="578"/>
                  </a:lnTo>
                  <a:lnTo>
                    <a:pt x="764" y="575"/>
                  </a:lnTo>
                  <a:lnTo>
                    <a:pt x="766" y="575"/>
                  </a:lnTo>
                  <a:lnTo>
                    <a:pt x="766" y="578"/>
                  </a:lnTo>
                  <a:lnTo>
                    <a:pt x="766" y="575"/>
                  </a:lnTo>
                  <a:lnTo>
                    <a:pt x="766" y="578"/>
                  </a:lnTo>
                  <a:lnTo>
                    <a:pt x="768" y="578"/>
                  </a:lnTo>
                  <a:lnTo>
                    <a:pt x="766" y="578"/>
                  </a:lnTo>
                  <a:lnTo>
                    <a:pt x="768" y="578"/>
                  </a:lnTo>
                  <a:lnTo>
                    <a:pt x="768" y="575"/>
                  </a:lnTo>
                  <a:lnTo>
                    <a:pt x="768" y="578"/>
                  </a:lnTo>
                  <a:lnTo>
                    <a:pt x="768" y="575"/>
                  </a:lnTo>
                  <a:lnTo>
                    <a:pt x="771" y="575"/>
                  </a:lnTo>
                  <a:lnTo>
                    <a:pt x="773" y="575"/>
                  </a:lnTo>
                  <a:lnTo>
                    <a:pt x="776" y="575"/>
                  </a:lnTo>
                  <a:lnTo>
                    <a:pt x="773" y="575"/>
                  </a:lnTo>
                  <a:lnTo>
                    <a:pt x="776" y="575"/>
                  </a:lnTo>
                  <a:lnTo>
                    <a:pt x="773" y="575"/>
                  </a:lnTo>
                  <a:lnTo>
                    <a:pt x="776" y="575"/>
                  </a:lnTo>
                  <a:lnTo>
                    <a:pt x="773" y="575"/>
                  </a:lnTo>
                  <a:lnTo>
                    <a:pt x="776" y="575"/>
                  </a:lnTo>
                  <a:lnTo>
                    <a:pt x="773" y="575"/>
                  </a:lnTo>
                  <a:lnTo>
                    <a:pt x="773" y="578"/>
                  </a:lnTo>
                  <a:lnTo>
                    <a:pt x="776" y="578"/>
                  </a:lnTo>
                  <a:lnTo>
                    <a:pt x="776" y="575"/>
                  </a:lnTo>
                  <a:lnTo>
                    <a:pt x="778" y="575"/>
                  </a:lnTo>
                  <a:lnTo>
                    <a:pt x="778" y="573"/>
                  </a:lnTo>
                  <a:lnTo>
                    <a:pt x="780" y="573"/>
                  </a:lnTo>
                  <a:lnTo>
                    <a:pt x="780" y="575"/>
                  </a:lnTo>
                  <a:lnTo>
                    <a:pt x="780" y="578"/>
                  </a:lnTo>
                  <a:lnTo>
                    <a:pt x="778" y="578"/>
                  </a:lnTo>
                  <a:lnTo>
                    <a:pt x="780" y="578"/>
                  </a:lnTo>
                  <a:lnTo>
                    <a:pt x="778" y="578"/>
                  </a:lnTo>
                  <a:lnTo>
                    <a:pt x="778" y="580"/>
                  </a:lnTo>
                  <a:lnTo>
                    <a:pt x="780" y="580"/>
                  </a:lnTo>
                  <a:lnTo>
                    <a:pt x="778" y="580"/>
                  </a:lnTo>
                  <a:lnTo>
                    <a:pt x="778" y="582"/>
                  </a:lnTo>
                  <a:lnTo>
                    <a:pt x="780" y="582"/>
                  </a:lnTo>
                  <a:lnTo>
                    <a:pt x="780" y="580"/>
                  </a:lnTo>
                  <a:lnTo>
                    <a:pt x="783" y="580"/>
                  </a:lnTo>
                  <a:lnTo>
                    <a:pt x="785" y="580"/>
                  </a:lnTo>
                  <a:lnTo>
                    <a:pt x="787" y="580"/>
                  </a:lnTo>
                  <a:lnTo>
                    <a:pt x="790" y="580"/>
                  </a:lnTo>
                  <a:lnTo>
                    <a:pt x="790" y="582"/>
                  </a:lnTo>
                  <a:lnTo>
                    <a:pt x="790" y="585"/>
                  </a:lnTo>
                  <a:lnTo>
                    <a:pt x="787" y="585"/>
                  </a:lnTo>
                  <a:lnTo>
                    <a:pt x="787" y="587"/>
                  </a:lnTo>
                  <a:lnTo>
                    <a:pt x="785" y="587"/>
                  </a:lnTo>
                  <a:lnTo>
                    <a:pt x="783" y="587"/>
                  </a:lnTo>
                  <a:lnTo>
                    <a:pt x="785" y="587"/>
                  </a:lnTo>
                  <a:lnTo>
                    <a:pt x="787" y="587"/>
                  </a:lnTo>
                  <a:lnTo>
                    <a:pt x="785" y="587"/>
                  </a:lnTo>
                  <a:lnTo>
                    <a:pt x="785" y="590"/>
                  </a:lnTo>
                  <a:lnTo>
                    <a:pt x="783" y="587"/>
                  </a:lnTo>
                  <a:lnTo>
                    <a:pt x="783" y="590"/>
                  </a:lnTo>
                  <a:lnTo>
                    <a:pt x="785" y="590"/>
                  </a:lnTo>
                  <a:lnTo>
                    <a:pt x="783" y="590"/>
                  </a:lnTo>
                  <a:lnTo>
                    <a:pt x="780" y="590"/>
                  </a:lnTo>
                  <a:lnTo>
                    <a:pt x="783" y="590"/>
                  </a:lnTo>
                  <a:lnTo>
                    <a:pt x="783" y="592"/>
                  </a:lnTo>
                  <a:lnTo>
                    <a:pt x="780" y="592"/>
                  </a:lnTo>
                  <a:lnTo>
                    <a:pt x="778" y="592"/>
                  </a:lnTo>
                  <a:lnTo>
                    <a:pt x="776" y="592"/>
                  </a:lnTo>
                  <a:lnTo>
                    <a:pt x="773" y="592"/>
                  </a:lnTo>
                  <a:lnTo>
                    <a:pt x="773" y="590"/>
                  </a:lnTo>
                  <a:lnTo>
                    <a:pt x="771" y="590"/>
                  </a:lnTo>
                  <a:lnTo>
                    <a:pt x="771" y="592"/>
                  </a:lnTo>
                  <a:lnTo>
                    <a:pt x="768" y="592"/>
                  </a:lnTo>
                  <a:lnTo>
                    <a:pt x="766" y="592"/>
                  </a:lnTo>
                  <a:lnTo>
                    <a:pt x="764" y="592"/>
                  </a:lnTo>
                  <a:lnTo>
                    <a:pt x="766" y="592"/>
                  </a:lnTo>
                  <a:lnTo>
                    <a:pt x="766" y="594"/>
                  </a:lnTo>
                  <a:lnTo>
                    <a:pt x="764" y="594"/>
                  </a:lnTo>
                  <a:lnTo>
                    <a:pt x="766" y="594"/>
                  </a:lnTo>
                  <a:lnTo>
                    <a:pt x="768" y="594"/>
                  </a:lnTo>
                  <a:lnTo>
                    <a:pt x="768" y="592"/>
                  </a:lnTo>
                  <a:lnTo>
                    <a:pt x="768" y="594"/>
                  </a:lnTo>
                  <a:lnTo>
                    <a:pt x="771" y="594"/>
                  </a:lnTo>
                  <a:lnTo>
                    <a:pt x="773" y="594"/>
                  </a:lnTo>
                  <a:lnTo>
                    <a:pt x="776" y="594"/>
                  </a:lnTo>
                  <a:lnTo>
                    <a:pt x="778" y="594"/>
                  </a:lnTo>
                  <a:lnTo>
                    <a:pt x="778" y="597"/>
                  </a:lnTo>
                  <a:lnTo>
                    <a:pt x="776" y="597"/>
                  </a:lnTo>
                  <a:lnTo>
                    <a:pt x="773" y="597"/>
                  </a:lnTo>
                  <a:lnTo>
                    <a:pt x="773" y="599"/>
                  </a:lnTo>
                  <a:lnTo>
                    <a:pt x="771" y="599"/>
                  </a:lnTo>
                  <a:lnTo>
                    <a:pt x="768" y="599"/>
                  </a:lnTo>
                  <a:lnTo>
                    <a:pt x="768" y="601"/>
                  </a:lnTo>
                  <a:lnTo>
                    <a:pt x="766" y="601"/>
                  </a:lnTo>
                  <a:lnTo>
                    <a:pt x="764" y="601"/>
                  </a:lnTo>
                  <a:lnTo>
                    <a:pt x="761" y="601"/>
                  </a:lnTo>
                  <a:lnTo>
                    <a:pt x="764" y="601"/>
                  </a:lnTo>
                  <a:lnTo>
                    <a:pt x="766" y="601"/>
                  </a:lnTo>
                  <a:lnTo>
                    <a:pt x="768" y="601"/>
                  </a:lnTo>
                  <a:lnTo>
                    <a:pt x="771" y="601"/>
                  </a:lnTo>
                  <a:lnTo>
                    <a:pt x="773" y="599"/>
                  </a:lnTo>
                  <a:lnTo>
                    <a:pt x="776" y="599"/>
                  </a:lnTo>
                  <a:lnTo>
                    <a:pt x="778" y="599"/>
                  </a:lnTo>
                  <a:lnTo>
                    <a:pt x="778" y="597"/>
                  </a:lnTo>
                  <a:lnTo>
                    <a:pt x="780" y="597"/>
                  </a:lnTo>
                  <a:lnTo>
                    <a:pt x="783" y="597"/>
                  </a:lnTo>
                  <a:lnTo>
                    <a:pt x="783" y="599"/>
                  </a:lnTo>
                  <a:lnTo>
                    <a:pt x="783" y="601"/>
                  </a:lnTo>
                  <a:lnTo>
                    <a:pt x="780" y="601"/>
                  </a:lnTo>
                  <a:lnTo>
                    <a:pt x="780" y="604"/>
                  </a:lnTo>
                  <a:lnTo>
                    <a:pt x="778" y="604"/>
                  </a:lnTo>
                  <a:lnTo>
                    <a:pt x="776" y="606"/>
                  </a:lnTo>
                  <a:lnTo>
                    <a:pt x="773" y="606"/>
                  </a:lnTo>
                  <a:lnTo>
                    <a:pt x="771" y="609"/>
                  </a:lnTo>
                  <a:lnTo>
                    <a:pt x="768" y="609"/>
                  </a:lnTo>
                  <a:lnTo>
                    <a:pt x="766" y="611"/>
                  </a:lnTo>
                  <a:lnTo>
                    <a:pt x="768" y="611"/>
                  </a:lnTo>
                  <a:lnTo>
                    <a:pt x="766" y="611"/>
                  </a:lnTo>
                  <a:lnTo>
                    <a:pt x="766" y="613"/>
                  </a:lnTo>
                  <a:lnTo>
                    <a:pt x="768" y="613"/>
                  </a:lnTo>
                  <a:lnTo>
                    <a:pt x="768" y="611"/>
                  </a:lnTo>
                  <a:lnTo>
                    <a:pt x="771" y="611"/>
                  </a:lnTo>
                  <a:lnTo>
                    <a:pt x="771" y="609"/>
                  </a:lnTo>
                  <a:lnTo>
                    <a:pt x="773" y="609"/>
                  </a:lnTo>
                  <a:lnTo>
                    <a:pt x="771" y="609"/>
                  </a:lnTo>
                  <a:lnTo>
                    <a:pt x="771" y="611"/>
                  </a:lnTo>
                  <a:lnTo>
                    <a:pt x="768" y="611"/>
                  </a:lnTo>
                  <a:lnTo>
                    <a:pt x="771" y="611"/>
                  </a:lnTo>
                  <a:lnTo>
                    <a:pt x="773" y="611"/>
                  </a:lnTo>
                  <a:lnTo>
                    <a:pt x="771" y="611"/>
                  </a:lnTo>
                  <a:lnTo>
                    <a:pt x="773" y="611"/>
                  </a:lnTo>
                  <a:lnTo>
                    <a:pt x="776" y="609"/>
                  </a:lnTo>
                  <a:lnTo>
                    <a:pt x="778" y="609"/>
                  </a:lnTo>
                  <a:lnTo>
                    <a:pt x="778" y="611"/>
                  </a:lnTo>
                  <a:lnTo>
                    <a:pt x="776" y="611"/>
                  </a:lnTo>
                  <a:lnTo>
                    <a:pt x="773" y="613"/>
                  </a:lnTo>
                  <a:lnTo>
                    <a:pt x="776" y="613"/>
                  </a:lnTo>
                  <a:lnTo>
                    <a:pt x="776" y="611"/>
                  </a:lnTo>
                  <a:lnTo>
                    <a:pt x="778" y="611"/>
                  </a:lnTo>
                  <a:lnTo>
                    <a:pt x="780" y="611"/>
                  </a:lnTo>
                  <a:lnTo>
                    <a:pt x="780" y="609"/>
                  </a:lnTo>
                  <a:lnTo>
                    <a:pt x="783" y="609"/>
                  </a:lnTo>
                  <a:lnTo>
                    <a:pt x="785" y="609"/>
                  </a:lnTo>
                  <a:lnTo>
                    <a:pt x="785" y="611"/>
                  </a:lnTo>
                  <a:lnTo>
                    <a:pt x="783" y="611"/>
                  </a:lnTo>
                  <a:lnTo>
                    <a:pt x="783" y="613"/>
                  </a:lnTo>
                  <a:lnTo>
                    <a:pt x="780" y="613"/>
                  </a:lnTo>
                  <a:lnTo>
                    <a:pt x="780" y="616"/>
                  </a:lnTo>
                  <a:lnTo>
                    <a:pt x="778" y="616"/>
                  </a:lnTo>
                  <a:lnTo>
                    <a:pt x="780" y="616"/>
                  </a:lnTo>
                  <a:lnTo>
                    <a:pt x="778" y="616"/>
                  </a:lnTo>
                  <a:lnTo>
                    <a:pt x="778" y="618"/>
                  </a:lnTo>
                  <a:lnTo>
                    <a:pt x="778" y="620"/>
                  </a:lnTo>
                  <a:lnTo>
                    <a:pt x="778" y="623"/>
                  </a:lnTo>
                  <a:lnTo>
                    <a:pt x="778" y="625"/>
                  </a:lnTo>
                  <a:lnTo>
                    <a:pt x="778" y="628"/>
                  </a:lnTo>
                  <a:lnTo>
                    <a:pt x="780" y="630"/>
                  </a:lnTo>
                  <a:lnTo>
                    <a:pt x="778" y="630"/>
                  </a:lnTo>
                  <a:lnTo>
                    <a:pt x="778" y="632"/>
                  </a:lnTo>
                  <a:lnTo>
                    <a:pt x="776" y="635"/>
                  </a:lnTo>
                  <a:lnTo>
                    <a:pt x="773" y="635"/>
                  </a:lnTo>
                  <a:lnTo>
                    <a:pt x="776" y="635"/>
                  </a:lnTo>
                  <a:lnTo>
                    <a:pt x="776" y="632"/>
                  </a:lnTo>
                  <a:lnTo>
                    <a:pt x="778" y="632"/>
                  </a:lnTo>
                  <a:lnTo>
                    <a:pt x="778" y="630"/>
                  </a:lnTo>
                  <a:lnTo>
                    <a:pt x="780" y="630"/>
                  </a:lnTo>
                  <a:lnTo>
                    <a:pt x="778" y="628"/>
                  </a:lnTo>
                  <a:lnTo>
                    <a:pt x="778" y="625"/>
                  </a:lnTo>
                  <a:lnTo>
                    <a:pt x="778" y="623"/>
                  </a:lnTo>
                  <a:lnTo>
                    <a:pt x="778" y="620"/>
                  </a:lnTo>
                  <a:lnTo>
                    <a:pt x="778" y="618"/>
                  </a:lnTo>
                  <a:lnTo>
                    <a:pt x="780" y="616"/>
                  </a:lnTo>
                  <a:lnTo>
                    <a:pt x="780" y="618"/>
                  </a:lnTo>
                  <a:lnTo>
                    <a:pt x="780" y="616"/>
                  </a:lnTo>
                  <a:lnTo>
                    <a:pt x="783" y="613"/>
                  </a:lnTo>
                  <a:lnTo>
                    <a:pt x="783" y="611"/>
                  </a:lnTo>
                  <a:lnTo>
                    <a:pt x="785" y="611"/>
                  </a:lnTo>
                  <a:lnTo>
                    <a:pt x="785" y="609"/>
                  </a:lnTo>
                  <a:lnTo>
                    <a:pt x="787" y="609"/>
                  </a:lnTo>
                  <a:lnTo>
                    <a:pt x="785" y="609"/>
                  </a:lnTo>
                  <a:lnTo>
                    <a:pt x="787" y="609"/>
                  </a:lnTo>
                  <a:lnTo>
                    <a:pt x="787" y="611"/>
                  </a:lnTo>
                  <a:lnTo>
                    <a:pt x="787" y="613"/>
                  </a:lnTo>
                  <a:lnTo>
                    <a:pt x="790" y="613"/>
                  </a:lnTo>
                  <a:lnTo>
                    <a:pt x="790" y="611"/>
                  </a:lnTo>
                  <a:lnTo>
                    <a:pt x="787" y="611"/>
                  </a:lnTo>
                  <a:lnTo>
                    <a:pt x="790" y="611"/>
                  </a:lnTo>
                  <a:lnTo>
                    <a:pt x="790" y="609"/>
                  </a:lnTo>
                  <a:lnTo>
                    <a:pt x="787" y="609"/>
                  </a:lnTo>
                  <a:lnTo>
                    <a:pt x="785" y="606"/>
                  </a:lnTo>
                  <a:lnTo>
                    <a:pt x="787" y="604"/>
                  </a:lnTo>
                  <a:lnTo>
                    <a:pt x="787" y="601"/>
                  </a:lnTo>
                  <a:lnTo>
                    <a:pt x="790" y="599"/>
                  </a:lnTo>
                  <a:lnTo>
                    <a:pt x="792" y="599"/>
                  </a:lnTo>
                  <a:lnTo>
                    <a:pt x="790" y="599"/>
                  </a:lnTo>
                  <a:lnTo>
                    <a:pt x="790" y="597"/>
                  </a:lnTo>
                  <a:lnTo>
                    <a:pt x="790" y="594"/>
                  </a:lnTo>
                  <a:lnTo>
                    <a:pt x="792" y="594"/>
                  </a:lnTo>
                  <a:lnTo>
                    <a:pt x="795" y="592"/>
                  </a:lnTo>
                  <a:lnTo>
                    <a:pt x="795" y="590"/>
                  </a:lnTo>
                  <a:lnTo>
                    <a:pt x="797" y="590"/>
                  </a:lnTo>
                  <a:lnTo>
                    <a:pt x="797" y="587"/>
                  </a:lnTo>
                  <a:lnTo>
                    <a:pt x="799" y="587"/>
                  </a:lnTo>
                  <a:lnTo>
                    <a:pt x="802" y="587"/>
                  </a:lnTo>
                  <a:lnTo>
                    <a:pt x="804" y="587"/>
                  </a:lnTo>
                  <a:lnTo>
                    <a:pt x="806" y="587"/>
                  </a:lnTo>
                  <a:lnTo>
                    <a:pt x="809" y="587"/>
                  </a:lnTo>
                  <a:lnTo>
                    <a:pt x="809" y="590"/>
                  </a:lnTo>
                  <a:lnTo>
                    <a:pt x="811" y="590"/>
                  </a:lnTo>
                  <a:lnTo>
                    <a:pt x="811" y="587"/>
                  </a:lnTo>
                  <a:lnTo>
                    <a:pt x="811" y="590"/>
                  </a:lnTo>
                  <a:lnTo>
                    <a:pt x="811" y="587"/>
                  </a:lnTo>
                  <a:lnTo>
                    <a:pt x="814" y="587"/>
                  </a:lnTo>
                  <a:lnTo>
                    <a:pt x="814" y="590"/>
                  </a:lnTo>
                  <a:lnTo>
                    <a:pt x="814" y="587"/>
                  </a:lnTo>
                  <a:lnTo>
                    <a:pt x="814" y="590"/>
                  </a:lnTo>
                  <a:lnTo>
                    <a:pt x="814" y="592"/>
                  </a:lnTo>
                  <a:lnTo>
                    <a:pt x="816" y="592"/>
                  </a:lnTo>
                  <a:lnTo>
                    <a:pt x="818" y="592"/>
                  </a:lnTo>
                  <a:lnTo>
                    <a:pt x="818" y="594"/>
                  </a:lnTo>
                  <a:lnTo>
                    <a:pt x="816" y="594"/>
                  </a:lnTo>
                  <a:lnTo>
                    <a:pt x="818" y="594"/>
                  </a:lnTo>
                  <a:lnTo>
                    <a:pt x="816" y="594"/>
                  </a:lnTo>
                  <a:lnTo>
                    <a:pt x="814" y="594"/>
                  </a:lnTo>
                  <a:lnTo>
                    <a:pt x="814" y="597"/>
                  </a:lnTo>
                  <a:lnTo>
                    <a:pt x="816" y="597"/>
                  </a:lnTo>
                  <a:lnTo>
                    <a:pt x="818" y="597"/>
                  </a:lnTo>
                  <a:lnTo>
                    <a:pt x="816" y="597"/>
                  </a:lnTo>
                  <a:lnTo>
                    <a:pt x="814" y="597"/>
                  </a:lnTo>
                  <a:lnTo>
                    <a:pt x="816" y="597"/>
                  </a:lnTo>
                  <a:lnTo>
                    <a:pt x="818" y="597"/>
                  </a:lnTo>
                  <a:lnTo>
                    <a:pt x="816" y="599"/>
                  </a:lnTo>
                  <a:lnTo>
                    <a:pt x="814" y="599"/>
                  </a:lnTo>
                  <a:lnTo>
                    <a:pt x="816" y="599"/>
                  </a:lnTo>
                  <a:lnTo>
                    <a:pt x="814" y="599"/>
                  </a:lnTo>
                  <a:lnTo>
                    <a:pt x="814" y="601"/>
                  </a:lnTo>
                  <a:lnTo>
                    <a:pt x="816" y="601"/>
                  </a:lnTo>
                  <a:lnTo>
                    <a:pt x="816" y="599"/>
                  </a:lnTo>
                  <a:lnTo>
                    <a:pt x="818" y="599"/>
                  </a:lnTo>
                  <a:lnTo>
                    <a:pt x="818" y="597"/>
                  </a:lnTo>
                  <a:lnTo>
                    <a:pt x="818" y="599"/>
                  </a:lnTo>
                  <a:lnTo>
                    <a:pt x="821" y="597"/>
                  </a:lnTo>
                  <a:lnTo>
                    <a:pt x="823" y="597"/>
                  </a:lnTo>
                  <a:lnTo>
                    <a:pt x="825" y="597"/>
                  </a:lnTo>
                  <a:lnTo>
                    <a:pt x="828" y="597"/>
                  </a:lnTo>
                  <a:lnTo>
                    <a:pt x="828" y="594"/>
                  </a:lnTo>
                  <a:lnTo>
                    <a:pt x="830" y="594"/>
                  </a:lnTo>
                  <a:lnTo>
                    <a:pt x="830" y="597"/>
                  </a:lnTo>
                  <a:lnTo>
                    <a:pt x="832" y="597"/>
                  </a:lnTo>
                  <a:lnTo>
                    <a:pt x="832" y="599"/>
                  </a:lnTo>
                  <a:lnTo>
                    <a:pt x="830" y="599"/>
                  </a:lnTo>
                  <a:lnTo>
                    <a:pt x="832" y="599"/>
                  </a:lnTo>
                  <a:lnTo>
                    <a:pt x="830" y="601"/>
                  </a:lnTo>
                  <a:lnTo>
                    <a:pt x="828" y="601"/>
                  </a:lnTo>
                  <a:lnTo>
                    <a:pt x="830" y="601"/>
                  </a:lnTo>
                  <a:lnTo>
                    <a:pt x="832" y="601"/>
                  </a:lnTo>
                  <a:lnTo>
                    <a:pt x="835" y="599"/>
                  </a:lnTo>
                  <a:lnTo>
                    <a:pt x="837" y="599"/>
                  </a:lnTo>
                  <a:lnTo>
                    <a:pt x="837" y="597"/>
                  </a:lnTo>
                  <a:lnTo>
                    <a:pt x="840" y="597"/>
                  </a:lnTo>
                  <a:lnTo>
                    <a:pt x="837" y="597"/>
                  </a:lnTo>
                  <a:lnTo>
                    <a:pt x="840" y="597"/>
                  </a:lnTo>
                  <a:lnTo>
                    <a:pt x="842" y="597"/>
                  </a:lnTo>
                  <a:lnTo>
                    <a:pt x="842" y="599"/>
                  </a:lnTo>
                  <a:lnTo>
                    <a:pt x="844" y="599"/>
                  </a:lnTo>
                  <a:lnTo>
                    <a:pt x="842" y="599"/>
                  </a:lnTo>
                  <a:lnTo>
                    <a:pt x="844" y="599"/>
                  </a:lnTo>
                  <a:lnTo>
                    <a:pt x="842" y="599"/>
                  </a:lnTo>
                  <a:lnTo>
                    <a:pt x="842" y="601"/>
                  </a:lnTo>
                  <a:lnTo>
                    <a:pt x="844" y="601"/>
                  </a:lnTo>
                  <a:lnTo>
                    <a:pt x="847" y="601"/>
                  </a:lnTo>
                  <a:lnTo>
                    <a:pt x="849" y="601"/>
                  </a:lnTo>
                  <a:lnTo>
                    <a:pt x="849" y="604"/>
                  </a:lnTo>
                  <a:lnTo>
                    <a:pt x="847" y="604"/>
                  </a:lnTo>
                  <a:lnTo>
                    <a:pt x="847" y="606"/>
                  </a:lnTo>
                  <a:lnTo>
                    <a:pt x="844" y="606"/>
                  </a:lnTo>
                  <a:lnTo>
                    <a:pt x="847" y="606"/>
                  </a:lnTo>
                  <a:lnTo>
                    <a:pt x="844" y="606"/>
                  </a:lnTo>
                  <a:lnTo>
                    <a:pt x="842" y="606"/>
                  </a:lnTo>
                  <a:lnTo>
                    <a:pt x="842" y="609"/>
                  </a:lnTo>
                  <a:lnTo>
                    <a:pt x="840" y="609"/>
                  </a:lnTo>
                  <a:lnTo>
                    <a:pt x="840" y="606"/>
                  </a:lnTo>
                  <a:lnTo>
                    <a:pt x="837" y="606"/>
                  </a:lnTo>
                  <a:lnTo>
                    <a:pt x="840" y="606"/>
                  </a:lnTo>
                  <a:lnTo>
                    <a:pt x="840" y="609"/>
                  </a:lnTo>
                  <a:lnTo>
                    <a:pt x="840" y="606"/>
                  </a:lnTo>
                  <a:lnTo>
                    <a:pt x="840" y="609"/>
                  </a:lnTo>
                  <a:lnTo>
                    <a:pt x="842" y="609"/>
                  </a:lnTo>
                  <a:lnTo>
                    <a:pt x="844" y="609"/>
                  </a:lnTo>
                  <a:lnTo>
                    <a:pt x="847" y="609"/>
                  </a:lnTo>
                  <a:lnTo>
                    <a:pt x="847" y="606"/>
                  </a:lnTo>
                  <a:lnTo>
                    <a:pt x="847" y="609"/>
                  </a:lnTo>
                  <a:lnTo>
                    <a:pt x="849" y="609"/>
                  </a:lnTo>
                  <a:lnTo>
                    <a:pt x="849" y="606"/>
                  </a:lnTo>
                  <a:lnTo>
                    <a:pt x="851" y="606"/>
                  </a:lnTo>
                  <a:close/>
                  <a:moveTo>
                    <a:pt x="377" y="169"/>
                  </a:moveTo>
                  <a:lnTo>
                    <a:pt x="379" y="169"/>
                  </a:lnTo>
                  <a:lnTo>
                    <a:pt x="377" y="169"/>
                  </a:lnTo>
                  <a:lnTo>
                    <a:pt x="375" y="169"/>
                  </a:lnTo>
                  <a:lnTo>
                    <a:pt x="377" y="169"/>
                  </a:lnTo>
                  <a:lnTo>
                    <a:pt x="375" y="169"/>
                  </a:lnTo>
                  <a:lnTo>
                    <a:pt x="372" y="167"/>
                  </a:lnTo>
                  <a:lnTo>
                    <a:pt x="370" y="167"/>
                  </a:lnTo>
                  <a:lnTo>
                    <a:pt x="367" y="167"/>
                  </a:lnTo>
                  <a:lnTo>
                    <a:pt x="365" y="167"/>
                  </a:lnTo>
                  <a:lnTo>
                    <a:pt x="363" y="167"/>
                  </a:lnTo>
                  <a:lnTo>
                    <a:pt x="360" y="167"/>
                  </a:lnTo>
                  <a:lnTo>
                    <a:pt x="358" y="167"/>
                  </a:lnTo>
                  <a:lnTo>
                    <a:pt x="356" y="164"/>
                  </a:lnTo>
                  <a:lnTo>
                    <a:pt x="353" y="164"/>
                  </a:lnTo>
                  <a:lnTo>
                    <a:pt x="351" y="164"/>
                  </a:lnTo>
                  <a:lnTo>
                    <a:pt x="348" y="164"/>
                  </a:lnTo>
                  <a:lnTo>
                    <a:pt x="346" y="164"/>
                  </a:lnTo>
                  <a:lnTo>
                    <a:pt x="344" y="164"/>
                  </a:lnTo>
                  <a:lnTo>
                    <a:pt x="341" y="164"/>
                  </a:lnTo>
                  <a:lnTo>
                    <a:pt x="339" y="164"/>
                  </a:lnTo>
                  <a:lnTo>
                    <a:pt x="341" y="164"/>
                  </a:lnTo>
                  <a:lnTo>
                    <a:pt x="339" y="164"/>
                  </a:lnTo>
                  <a:lnTo>
                    <a:pt x="339" y="162"/>
                  </a:lnTo>
                  <a:lnTo>
                    <a:pt x="337" y="162"/>
                  </a:lnTo>
                  <a:lnTo>
                    <a:pt x="334" y="162"/>
                  </a:lnTo>
                  <a:lnTo>
                    <a:pt x="337" y="162"/>
                  </a:lnTo>
                  <a:lnTo>
                    <a:pt x="339" y="162"/>
                  </a:lnTo>
                  <a:lnTo>
                    <a:pt x="339" y="160"/>
                  </a:lnTo>
                  <a:lnTo>
                    <a:pt x="341" y="160"/>
                  </a:lnTo>
                  <a:lnTo>
                    <a:pt x="344" y="160"/>
                  </a:lnTo>
                  <a:lnTo>
                    <a:pt x="346" y="160"/>
                  </a:lnTo>
                  <a:lnTo>
                    <a:pt x="348" y="160"/>
                  </a:lnTo>
                  <a:lnTo>
                    <a:pt x="348" y="157"/>
                  </a:lnTo>
                  <a:lnTo>
                    <a:pt x="351" y="157"/>
                  </a:lnTo>
                  <a:lnTo>
                    <a:pt x="353" y="157"/>
                  </a:lnTo>
                  <a:lnTo>
                    <a:pt x="356" y="157"/>
                  </a:lnTo>
                  <a:lnTo>
                    <a:pt x="358" y="157"/>
                  </a:lnTo>
                  <a:lnTo>
                    <a:pt x="360" y="157"/>
                  </a:lnTo>
                  <a:lnTo>
                    <a:pt x="363" y="157"/>
                  </a:lnTo>
                  <a:lnTo>
                    <a:pt x="363" y="155"/>
                  </a:lnTo>
                  <a:lnTo>
                    <a:pt x="365" y="155"/>
                  </a:lnTo>
                  <a:lnTo>
                    <a:pt x="367" y="155"/>
                  </a:lnTo>
                  <a:lnTo>
                    <a:pt x="370" y="155"/>
                  </a:lnTo>
                  <a:lnTo>
                    <a:pt x="372" y="155"/>
                  </a:lnTo>
                  <a:lnTo>
                    <a:pt x="375" y="155"/>
                  </a:lnTo>
                  <a:lnTo>
                    <a:pt x="377" y="155"/>
                  </a:lnTo>
                  <a:lnTo>
                    <a:pt x="379" y="155"/>
                  </a:lnTo>
                  <a:lnTo>
                    <a:pt x="382" y="155"/>
                  </a:lnTo>
                  <a:lnTo>
                    <a:pt x="384" y="152"/>
                  </a:lnTo>
                  <a:lnTo>
                    <a:pt x="386" y="152"/>
                  </a:lnTo>
                  <a:lnTo>
                    <a:pt x="389" y="152"/>
                  </a:lnTo>
                  <a:lnTo>
                    <a:pt x="386" y="152"/>
                  </a:lnTo>
                  <a:lnTo>
                    <a:pt x="389" y="152"/>
                  </a:lnTo>
                  <a:lnTo>
                    <a:pt x="386" y="152"/>
                  </a:lnTo>
                  <a:lnTo>
                    <a:pt x="389" y="152"/>
                  </a:lnTo>
                  <a:lnTo>
                    <a:pt x="391" y="155"/>
                  </a:lnTo>
                  <a:lnTo>
                    <a:pt x="389" y="152"/>
                  </a:lnTo>
                  <a:lnTo>
                    <a:pt x="386" y="152"/>
                  </a:lnTo>
                  <a:lnTo>
                    <a:pt x="389" y="152"/>
                  </a:lnTo>
                  <a:lnTo>
                    <a:pt x="391" y="152"/>
                  </a:lnTo>
                  <a:lnTo>
                    <a:pt x="394" y="152"/>
                  </a:lnTo>
                  <a:lnTo>
                    <a:pt x="396" y="152"/>
                  </a:lnTo>
                  <a:lnTo>
                    <a:pt x="398" y="152"/>
                  </a:lnTo>
                  <a:lnTo>
                    <a:pt x="401" y="152"/>
                  </a:lnTo>
                  <a:lnTo>
                    <a:pt x="401" y="150"/>
                  </a:lnTo>
                  <a:lnTo>
                    <a:pt x="403" y="150"/>
                  </a:lnTo>
                  <a:lnTo>
                    <a:pt x="403" y="152"/>
                  </a:lnTo>
                  <a:lnTo>
                    <a:pt x="405" y="152"/>
                  </a:lnTo>
                  <a:lnTo>
                    <a:pt x="408" y="152"/>
                  </a:lnTo>
                  <a:lnTo>
                    <a:pt x="410" y="152"/>
                  </a:lnTo>
                  <a:lnTo>
                    <a:pt x="410" y="155"/>
                  </a:lnTo>
                  <a:lnTo>
                    <a:pt x="410" y="152"/>
                  </a:lnTo>
                  <a:lnTo>
                    <a:pt x="413" y="155"/>
                  </a:lnTo>
                  <a:lnTo>
                    <a:pt x="415" y="155"/>
                  </a:lnTo>
                  <a:lnTo>
                    <a:pt x="417" y="155"/>
                  </a:lnTo>
                  <a:lnTo>
                    <a:pt x="415" y="155"/>
                  </a:lnTo>
                  <a:lnTo>
                    <a:pt x="415" y="152"/>
                  </a:lnTo>
                  <a:lnTo>
                    <a:pt x="413" y="152"/>
                  </a:lnTo>
                  <a:lnTo>
                    <a:pt x="410" y="152"/>
                  </a:lnTo>
                  <a:lnTo>
                    <a:pt x="408" y="150"/>
                  </a:lnTo>
                  <a:lnTo>
                    <a:pt x="405" y="150"/>
                  </a:lnTo>
                  <a:lnTo>
                    <a:pt x="403" y="150"/>
                  </a:lnTo>
                  <a:lnTo>
                    <a:pt x="403" y="148"/>
                  </a:lnTo>
                  <a:lnTo>
                    <a:pt x="401" y="148"/>
                  </a:lnTo>
                  <a:lnTo>
                    <a:pt x="401" y="145"/>
                  </a:lnTo>
                  <a:lnTo>
                    <a:pt x="403" y="145"/>
                  </a:lnTo>
                  <a:lnTo>
                    <a:pt x="403" y="148"/>
                  </a:lnTo>
                  <a:lnTo>
                    <a:pt x="405" y="148"/>
                  </a:lnTo>
                  <a:lnTo>
                    <a:pt x="405" y="145"/>
                  </a:lnTo>
                  <a:lnTo>
                    <a:pt x="408" y="145"/>
                  </a:lnTo>
                  <a:lnTo>
                    <a:pt x="405" y="145"/>
                  </a:lnTo>
                  <a:lnTo>
                    <a:pt x="408" y="145"/>
                  </a:lnTo>
                  <a:lnTo>
                    <a:pt x="410" y="145"/>
                  </a:lnTo>
                  <a:lnTo>
                    <a:pt x="410" y="143"/>
                  </a:lnTo>
                  <a:lnTo>
                    <a:pt x="413" y="143"/>
                  </a:lnTo>
                  <a:lnTo>
                    <a:pt x="415" y="143"/>
                  </a:lnTo>
                  <a:lnTo>
                    <a:pt x="417" y="143"/>
                  </a:lnTo>
                  <a:lnTo>
                    <a:pt x="420" y="143"/>
                  </a:lnTo>
                  <a:lnTo>
                    <a:pt x="422" y="143"/>
                  </a:lnTo>
                  <a:lnTo>
                    <a:pt x="420" y="143"/>
                  </a:lnTo>
                  <a:lnTo>
                    <a:pt x="422" y="143"/>
                  </a:lnTo>
                  <a:lnTo>
                    <a:pt x="424" y="141"/>
                  </a:lnTo>
                  <a:lnTo>
                    <a:pt x="422" y="141"/>
                  </a:lnTo>
                  <a:lnTo>
                    <a:pt x="422" y="143"/>
                  </a:lnTo>
                  <a:lnTo>
                    <a:pt x="420" y="143"/>
                  </a:lnTo>
                  <a:lnTo>
                    <a:pt x="417" y="143"/>
                  </a:lnTo>
                  <a:lnTo>
                    <a:pt x="417" y="141"/>
                  </a:lnTo>
                  <a:lnTo>
                    <a:pt x="420" y="141"/>
                  </a:lnTo>
                  <a:lnTo>
                    <a:pt x="417" y="141"/>
                  </a:lnTo>
                  <a:lnTo>
                    <a:pt x="420" y="141"/>
                  </a:lnTo>
                  <a:lnTo>
                    <a:pt x="417" y="141"/>
                  </a:lnTo>
                  <a:lnTo>
                    <a:pt x="420" y="141"/>
                  </a:lnTo>
                  <a:lnTo>
                    <a:pt x="417" y="141"/>
                  </a:lnTo>
                  <a:lnTo>
                    <a:pt x="417" y="143"/>
                  </a:lnTo>
                  <a:lnTo>
                    <a:pt x="415" y="143"/>
                  </a:lnTo>
                  <a:lnTo>
                    <a:pt x="413" y="143"/>
                  </a:lnTo>
                  <a:lnTo>
                    <a:pt x="410" y="143"/>
                  </a:lnTo>
                  <a:lnTo>
                    <a:pt x="408" y="143"/>
                  </a:lnTo>
                  <a:lnTo>
                    <a:pt x="408" y="145"/>
                  </a:lnTo>
                  <a:lnTo>
                    <a:pt x="405" y="145"/>
                  </a:lnTo>
                  <a:lnTo>
                    <a:pt x="403" y="145"/>
                  </a:lnTo>
                  <a:lnTo>
                    <a:pt x="401" y="145"/>
                  </a:lnTo>
                  <a:lnTo>
                    <a:pt x="401" y="148"/>
                  </a:lnTo>
                  <a:lnTo>
                    <a:pt x="398" y="148"/>
                  </a:lnTo>
                  <a:lnTo>
                    <a:pt x="396" y="148"/>
                  </a:lnTo>
                  <a:lnTo>
                    <a:pt x="394" y="148"/>
                  </a:lnTo>
                  <a:lnTo>
                    <a:pt x="391" y="148"/>
                  </a:lnTo>
                  <a:lnTo>
                    <a:pt x="391" y="150"/>
                  </a:lnTo>
                  <a:lnTo>
                    <a:pt x="389" y="150"/>
                  </a:lnTo>
                  <a:lnTo>
                    <a:pt x="389" y="148"/>
                  </a:lnTo>
                  <a:lnTo>
                    <a:pt x="386" y="148"/>
                  </a:lnTo>
                  <a:lnTo>
                    <a:pt x="384" y="148"/>
                  </a:lnTo>
                  <a:lnTo>
                    <a:pt x="382" y="148"/>
                  </a:lnTo>
                  <a:lnTo>
                    <a:pt x="379" y="150"/>
                  </a:lnTo>
                  <a:lnTo>
                    <a:pt x="377" y="150"/>
                  </a:lnTo>
                  <a:lnTo>
                    <a:pt x="375" y="150"/>
                  </a:lnTo>
                  <a:lnTo>
                    <a:pt x="372" y="150"/>
                  </a:lnTo>
                  <a:lnTo>
                    <a:pt x="370" y="150"/>
                  </a:lnTo>
                  <a:lnTo>
                    <a:pt x="367" y="150"/>
                  </a:lnTo>
                  <a:lnTo>
                    <a:pt x="365" y="150"/>
                  </a:lnTo>
                  <a:lnTo>
                    <a:pt x="365" y="148"/>
                  </a:lnTo>
                  <a:lnTo>
                    <a:pt x="363" y="148"/>
                  </a:lnTo>
                  <a:lnTo>
                    <a:pt x="363" y="150"/>
                  </a:lnTo>
                  <a:lnTo>
                    <a:pt x="360" y="150"/>
                  </a:lnTo>
                  <a:lnTo>
                    <a:pt x="360" y="148"/>
                  </a:lnTo>
                  <a:lnTo>
                    <a:pt x="358" y="148"/>
                  </a:lnTo>
                  <a:lnTo>
                    <a:pt x="356" y="148"/>
                  </a:lnTo>
                  <a:lnTo>
                    <a:pt x="353" y="148"/>
                  </a:lnTo>
                  <a:lnTo>
                    <a:pt x="353" y="150"/>
                  </a:lnTo>
                  <a:lnTo>
                    <a:pt x="351" y="150"/>
                  </a:lnTo>
                  <a:lnTo>
                    <a:pt x="348" y="150"/>
                  </a:lnTo>
                  <a:lnTo>
                    <a:pt x="348" y="152"/>
                  </a:lnTo>
                  <a:lnTo>
                    <a:pt x="346" y="152"/>
                  </a:lnTo>
                  <a:lnTo>
                    <a:pt x="344" y="152"/>
                  </a:lnTo>
                  <a:lnTo>
                    <a:pt x="339" y="152"/>
                  </a:lnTo>
                  <a:lnTo>
                    <a:pt x="337" y="152"/>
                  </a:lnTo>
                  <a:lnTo>
                    <a:pt x="334" y="152"/>
                  </a:lnTo>
                  <a:lnTo>
                    <a:pt x="334" y="155"/>
                  </a:lnTo>
                  <a:lnTo>
                    <a:pt x="332" y="155"/>
                  </a:lnTo>
                  <a:lnTo>
                    <a:pt x="329" y="155"/>
                  </a:lnTo>
                  <a:lnTo>
                    <a:pt x="327" y="155"/>
                  </a:lnTo>
                  <a:lnTo>
                    <a:pt x="325" y="155"/>
                  </a:lnTo>
                  <a:lnTo>
                    <a:pt x="322" y="155"/>
                  </a:lnTo>
                  <a:lnTo>
                    <a:pt x="320" y="155"/>
                  </a:lnTo>
                  <a:lnTo>
                    <a:pt x="318" y="155"/>
                  </a:lnTo>
                  <a:lnTo>
                    <a:pt x="315" y="155"/>
                  </a:lnTo>
                  <a:lnTo>
                    <a:pt x="313" y="155"/>
                  </a:lnTo>
                  <a:lnTo>
                    <a:pt x="311" y="155"/>
                  </a:lnTo>
                  <a:lnTo>
                    <a:pt x="311" y="157"/>
                  </a:lnTo>
                  <a:lnTo>
                    <a:pt x="308" y="157"/>
                  </a:lnTo>
                  <a:lnTo>
                    <a:pt x="306" y="157"/>
                  </a:lnTo>
                  <a:lnTo>
                    <a:pt x="306" y="155"/>
                  </a:lnTo>
                  <a:lnTo>
                    <a:pt x="303" y="155"/>
                  </a:lnTo>
                  <a:lnTo>
                    <a:pt x="303" y="157"/>
                  </a:lnTo>
                  <a:lnTo>
                    <a:pt x="301" y="157"/>
                  </a:lnTo>
                  <a:lnTo>
                    <a:pt x="301" y="155"/>
                  </a:lnTo>
                  <a:lnTo>
                    <a:pt x="303" y="152"/>
                  </a:lnTo>
                  <a:lnTo>
                    <a:pt x="306" y="152"/>
                  </a:lnTo>
                  <a:lnTo>
                    <a:pt x="303" y="150"/>
                  </a:lnTo>
                  <a:lnTo>
                    <a:pt x="301" y="150"/>
                  </a:lnTo>
                  <a:lnTo>
                    <a:pt x="299" y="150"/>
                  </a:lnTo>
                  <a:lnTo>
                    <a:pt x="299" y="148"/>
                  </a:lnTo>
                  <a:lnTo>
                    <a:pt x="301" y="145"/>
                  </a:lnTo>
                  <a:lnTo>
                    <a:pt x="299" y="145"/>
                  </a:lnTo>
                  <a:lnTo>
                    <a:pt x="299" y="143"/>
                  </a:lnTo>
                  <a:lnTo>
                    <a:pt x="299" y="141"/>
                  </a:lnTo>
                  <a:lnTo>
                    <a:pt x="299" y="138"/>
                  </a:lnTo>
                  <a:lnTo>
                    <a:pt x="296" y="136"/>
                  </a:lnTo>
                  <a:lnTo>
                    <a:pt x="299" y="136"/>
                  </a:lnTo>
                  <a:lnTo>
                    <a:pt x="296" y="136"/>
                  </a:lnTo>
                  <a:lnTo>
                    <a:pt x="299" y="136"/>
                  </a:lnTo>
                  <a:lnTo>
                    <a:pt x="299" y="133"/>
                  </a:lnTo>
                  <a:lnTo>
                    <a:pt x="299" y="136"/>
                  </a:lnTo>
                  <a:lnTo>
                    <a:pt x="301" y="133"/>
                  </a:lnTo>
                  <a:lnTo>
                    <a:pt x="303" y="133"/>
                  </a:lnTo>
                  <a:lnTo>
                    <a:pt x="306" y="133"/>
                  </a:lnTo>
                  <a:lnTo>
                    <a:pt x="308" y="131"/>
                  </a:lnTo>
                  <a:lnTo>
                    <a:pt x="311" y="133"/>
                  </a:lnTo>
                  <a:lnTo>
                    <a:pt x="313" y="133"/>
                  </a:lnTo>
                  <a:lnTo>
                    <a:pt x="313" y="136"/>
                  </a:lnTo>
                  <a:lnTo>
                    <a:pt x="315" y="136"/>
                  </a:lnTo>
                  <a:lnTo>
                    <a:pt x="315" y="138"/>
                  </a:lnTo>
                  <a:lnTo>
                    <a:pt x="318" y="138"/>
                  </a:lnTo>
                  <a:lnTo>
                    <a:pt x="315" y="138"/>
                  </a:lnTo>
                  <a:lnTo>
                    <a:pt x="318" y="138"/>
                  </a:lnTo>
                  <a:lnTo>
                    <a:pt x="318" y="141"/>
                  </a:lnTo>
                  <a:lnTo>
                    <a:pt x="320" y="141"/>
                  </a:lnTo>
                  <a:lnTo>
                    <a:pt x="320" y="138"/>
                  </a:lnTo>
                  <a:lnTo>
                    <a:pt x="320" y="136"/>
                  </a:lnTo>
                  <a:lnTo>
                    <a:pt x="318" y="136"/>
                  </a:lnTo>
                  <a:lnTo>
                    <a:pt x="318" y="133"/>
                  </a:lnTo>
                  <a:lnTo>
                    <a:pt x="318" y="131"/>
                  </a:lnTo>
                  <a:lnTo>
                    <a:pt x="320" y="131"/>
                  </a:lnTo>
                  <a:lnTo>
                    <a:pt x="322" y="131"/>
                  </a:lnTo>
                  <a:lnTo>
                    <a:pt x="325" y="131"/>
                  </a:lnTo>
                  <a:lnTo>
                    <a:pt x="327" y="131"/>
                  </a:lnTo>
                  <a:lnTo>
                    <a:pt x="329" y="131"/>
                  </a:lnTo>
                  <a:lnTo>
                    <a:pt x="332" y="131"/>
                  </a:lnTo>
                  <a:lnTo>
                    <a:pt x="334" y="131"/>
                  </a:lnTo>
                  <a:lnTo>
                    <a:pt x="337" y="131"/>
                  </a:lnTo>
                  <a:lnTo>
                    <a:pt x="339" y="131"/>
                  </a:lnTo>
                  <a:lnTo>
                    <a:pt x="337" y="131"/>
                  </a:lnTo>
                  <a:lnTo>
                    <a:pt x="339" y="131"/>
                  </a:lnTo>
                  <a:lnTo>
                    <a:pt x="341" y="131"/>
                  </a:lnTo>
                  <a:lnTo>
                    <a:pt x="344" y="131"/>
                  </a:lnTo>
                  <a:lnTo>
                    <a:pt x="344" y="129"/>
                  </a:lnTo>
                  <a:lnTo>
                    <a:pt x="346" y="126"/>
                  </a:lnTo>
                  <a:lnTo>
                    <a:pt x="348" y="126"/>
                  </a:lnTo>
                  <a:lnTo>
                    <a:pt x="351" y="126"/>
                  </a:lnTo>
                  <a:lnTo>
                    <a:pt x="351" y="124"/>
                  </a:lnTo>
                  <a:lnTo>
                    <a:pt x="353" y="124"/>
                  </a:lnTo>
                  <a:lnTo>
                    <a:pt x="356" y="124"/>
                  </a:lnTo>
                  <a:lnTo>
                    <a:pt x="358" y="122"/>
                  </a:lnTo>
                  <a:lnTo>
                    <a:pt x="360" y="122"/>
                  </a:lnTo>
                  <a:lnTo>
                    <a:pt x="363" y="122"/>
                  </a:lnTo>
                  <a:lnTo>
                    <a:pt x="360" y="122"/>
                  </a:lnTo>
                  <a:lnTo>
                    <a:pt x="360" y="124"/>
                  </a:lnTo>
                  <a:lnTo>
                    <a:pt x="363" y="124"/>
                  </a:lnTo>
                  <a:lnTo>
                    <a:pt x="365" y="124"/>
                  </a:lnTo>
                  <a:lnTo>
                    <a:pt x="367" y="124"/>
                  </a:lnTo>
                  <a:lnTo>
                    <a:pt x="370" y="126"/>
                  </a:lnTo>
                  <a:lnTo>
                    <a:pt x="367" y="124"/>
                  </a:lnTo>
                  <a:lnTo>
                    <a:pt x="370" y="124"/>
                  </a:lnTo>
                  <a:lnTo>
                    <a:pt x="370" y="126"/>
                  </a:lnTo>
                  <a:lnTo>
                    <a:pt x="372" y="126"/>
                  </a:lnTo>
                  <a:lnTo>
                    <a:pt x="370" y="124"/>
                  </a:lnTo>
                  <a:lnTo>
                    <a:pt x="372" y="124"/>
                  </a:lnTo>
                  <a:lnTo>
                    <a:pt x="370" y="124"/>
                  </a:lnTo>
                  <a:lnTo>
                    <a:pt x="367" y="124"/>
                  </a:lnTo>
                  <a:lnTo>
                    <a:pt x="367" y="122"/>
                  </a:lnTo>
                  <a:lnTo>
                    <a:pt x="365" y="122"/>
                  </a:lnTo>
                  <a:lnTo>
                    <a:pt x="363" y="122"/>
                  </a:lnTo>
                  <a:lnTo>
                    <a:pt x="363" y="119"/>
                  </a:lnTo>
                  <a:lnTo>
                    <a:pt x="365" y="117"/>
                  </a:lnTo>
                  <a:lnTo>
                    <a:pt x="367" y="117"/>
                  </a:lnTo>
                  <a:lnTo>
                    <a:pt x="370" y="117"/>
                  </a:lnTo>
                  <a:lnTo>
                    <a:pt x="372" y="114"/>
                  </a:lnTo>
                  <a:lnTo>
                    <a:pt x="372" y="117"/>
                  </a:lnTo>
                  <a:lnTo>
                    <a:pt x="375" y="117"/>
                  </a:lnTo>
                  <a:lnTo>
                    <a:pt x="375" y="114"/>
                  </a:lnTo>
                  <a:lnTo>
                    <a:pt x="377" y="114"/>
                  </a:lnTo>
                  <a:lnTo>
                    <a:pt x="379" y="114"/>
                  </a:lnTo>
                  <a:lnTo>
                    <a:pt x="382" y="114"/>
                  </a:lnTo>
                  <a:lnTo>
                    <a:pt x="384" y="114"/>
                  </a:lnTo>
                  <a:lnTo>
                    <a:pt x="384" y="117"/>
                  </a:lnTo>
                  <a:lnTo>
                    <a:pt x="386" y="117"/>
                  </a:lnTo>
                  <a:lnTo>
                    <a:pt x="386" y="114"/>
                  </a:lnTo>
                  <a:lnTo>
                    <a:pt x="389" y="117"/>
                  </a:lnTo>
                  <a:lnTo>
                    <a:pt x="391" y="117"/>
                  </a:lnTo>
                  <a:lnTo>
                    <a:pt x="394" y="117"/>
                  </a:lnTo>
                  <a:lnTo>
                    <a:pt x="396" y="117"/>
                  </a:lnTo>
                  <a:lnTo>
                    <a:pt x="398" y="117"/>
                  </a:lnTo>
                  <a:lnTo>
                    <a:pt x="401" y="117"/>
                  </a:lnTo>
                  <a:lnTo>
                    <a:pt x="403" y="117"/>
                  </a:lnTo>
                  <a:lnTo>
                    <a:pt x="405" y="117"/>
                  </a:lnTo>
                  <a:lnTo>
                    <a:pt x="405" y="114"/>
                  </a:lnTo>
                  <a:lnTo>
                    <a:pt x="408" y="114"/>
                  </a:lnTo>
                  <a:lnTo>
                    <a:pt x="410" y="114"/>
                  </a:lnTo>
                  <a:lnTo>
                    <a:pt x="413" y="112"/>
                  </a:lnTo>
                  <a:lnTo>
                    <a:pt x="415" y="112"/>
                  </a:lnTo>
                  <a:lnTo>
                    <a:pt x="417" y="112"/>
                  </a:lnTo>
                  <a:lnTo>
                    <a:pt x="420" y="112"/>
                  </a:lnTo>
                  <a:lnTo>
                    <a:pt x="422" y="112"/>
                  </a:lnTo>
                  <a:lnTo>
                    <a:pt x="422" y="110"/>
                  </a:lnTo>
                  <a:lnTo>
                    <a:pt x="424" y="110"/>
                  </a:lnTo>
                  <a:lnTo>
                    <a:pt x="422" y="110"/>
                  </a:lnTo>
                  <a:lnTo>
                    <a:pt x="420" y="110"/>
                  </a:lnTo>
                  <a:lnTo>
                    <a:pt x="417" y="110"/>
                  </a:lnTo>
                  <a:lnTo>
                    <a:pt x="415" y="110"/>
                  </a:lnTo>
                  <a:lnTo>
                    <a:pt x="413" y="110"/>
                  </a:lnTo>
                  <a:lnTo>
                    <a:pt x="413" y="112"/>
                  </a:lnTo>
                  <a:lnTo>
                    <a:pt x="410" y="110"/>
                  </a:lnTo>
                  <a:lnTo>
                    <a:pt x="410" y="112"/>
                  </a:lnTo>
                  <a:lnTo>
                    <a:pt x="408" y="112"/>
                  </a:lnTo>
                  <a:lnTo>
                    <a:pt x="405" y="112"/>
                  </a:lnTo>
                  <a:lnTo>
                    <a:pt x="405" y="114"/>
                  </a:lnTo>
                  <a:lnTo>
                    <a:pt x="403" y="114"/>
                  </a:lnTo>
                  <a:lnTo>
                    <a:pt x="403" y="112"/>
                  </a:lnTo>
                  <a:lnTo>
                    <a:pt x="396" y="112"/>
                  </a:lnTo>
                  <a:lnTo>
                    <a:pt x="396" y="110"/>
                  </a:lnTo>
                  <a:lnTo>
                    <a:pt x="394" y="110"/>
                  </a:lnTo>
                  <a:lnTo>
                    <a:pt x="391" y="110"/>
                  </a:lnTo>
                  <a:lnTo>
                    <a:pt x="389" y="110"/>
                  </a:lnTo>
                  <a:lnTo>
                    <a:pt x="386" y="110"/>
                  </a:lnTo>
                  <a:lnTo>
                    <a:pt x="389" y="107"/>
                  </a:lnTo>
                  <a:lnTo>
                    <a:pt x="391" y="107"/>
                  </a:lnTo>
                  <a:lnTo>
                    <a:pt x="391" y="105"/>
                  </a:lnTo>
                  <a:lnTo>
                    <a:pt x="391" y="103"/>
                  </a:lnTo>
                  <a:lnTo>
                    <a:pt x="394" y="103"/>
                  </a:lnTo>
                  <a:lnTo>
                    <a:pt x="394" y="100"/>
                  </a:lnTo>
                  <a:lnTo>
                    <a:pt x="396" y="100"/>
                  </a:lnTo>
                  <a:lnTo>
                    <a:pt x="398" y="100"/>
                  </a:lnTo>
                  <a:lnTo>
                    <a:pt x="398" y="98"/>
                  </a:lnTo>
                  <a:lnTo>
                    <a:pt x="401" y="98"/>
                  </a:lnTo>
                  <a:lnTo>
                    <a:pt x="401" y="95"/>
                  </a:lnTo>
                  <a:lnTo>
                    <a:pt x="403" y="95"/>
                  </a:lnTo>
                  <a:lnTo>
                    <a:pt x="405" y="95"/>
                  </a:lnTo>
                  <a:lnTo>
                    <a:pt x="405" y="93"/>
                  </a:lnTo>
                  <a:lnTo>
                    <a:pt x="403" y="93"/>
                  </a:lnTo>
                  <a:lnTo>
                    <a:pt x="401" y="93"/>
                  </a:lnTo>
                  <a:lnTo>
                    <a:pt x="398" y="95"/>
                  </a:lnTo>
                  <a:lnTo>
                    <a:pt x="398" y="93"/>
                  </a:lnTo>
                  <a:lnTo>
                    <a:pt x="396" y="91"/>
                  </a:lnTo>
                  <a:lnTo>
                    <a:pt x="394" y="91"/>
                  </a:lnTo>
                  <a:lnTo>
                    <a:pt x="391" y="93"/>
                  </a:lnTo>
                  <a:lnTo>
                    <a:pt x="391" y="95"/>
                  </a:lnTo>
                  <a:lnTo>
                    <a:pt x="389" y="95"/>
                  </a:lnTo>
                  <a:lnTo>
                    <a:pt x="389" y="98"/>
                  </a:lnTo>
                  <a:lnTo>
                    <a:pt x="389" y="100"/>
                  </a:lnTo>
                  <a:lnTo>
                    <a:pt x="386" y="100"/>
                  </a:lnTo>
                  <a:lnTo>
                    <a:pt x="386" y="103"/>
                  </a:lnTo>
                  <a:lnTo>
                    <a:pt x="384" y="103"/>
                  </a:lnTo>
                  <a:lnTo>
                    <a:pt x="382" y="103"/>
                  </a:lnTo>
                  <a:lnTo>
                    <a:pt x="379" y="105"/>
                  </a:lnTo>
                  <a:lnTo>
                    <a:pt x="377" y="105"/>
                  </a:lnTo>
                  <a:lnTo>
                    <a:pt x="377" y="103"/>
                  </a:lnTo>
                  <a:lnTo>
                    <a:pt x="377" y="105"/>
                  </a:lnTo>
                  <a:lnTo>
                    <a:pt x="377" y="107"/>
                  </a:lnTo>
                  <a:lnTo>
                    <a:pt x="375" y="107"/>
                  </a:lnTo>
                  <a:lnTo>
                    <a:pt x="372" y="107"/>
                  </a:lnTo>
                  <a:lnTo>
                    <a:pt x="370" y="107"/>
                  </a:lnTo>
                  <a:lnTo>
                    <a:pt x="367" y="107"/>
                  </a:lnTo>
                  <a:lnTo>
                    <a:pt x="365" y="107"/>
                  </a:lnTo>
                  <a:lnTo>
                    <a:pt x="363" y="107"/>
                  </a:lnTo>
                  <a:lnTo>
                    <a:pt x="360" y="107"/>
                  </a:lnTo>
                  <a:lnTo>
                    <a:pt x="358" y="107"/>
                  </a:lnTo>
                  <a:lnTo>
                    <a:pt x="356" y="107"/>
                  </a:lnTo>
                  <a:lnTo>
                    <a:pt x="353" y="105"/>
                  </a:lnTo>
                  <a:lnTo>
                    <a:pt x="353" y="103"/>
                  </a:lnTo>
                  <a:lnTo>
                    <a:pt x="351" y="103"/>
                  </a:lnTo>
                  <a:lnTo>
                    <a:pt x="351" y="100"/>
                  </a:lnTo>
                  <a:lnTo>
                    <a:pt x="351" y="98"/>
                  </a:lnTo>
                  <a:lnTo>
                    <a:pt x="351" y="100"/>
                  </a:lnTo>
                  <a:lnTo>
                    <a:pt x="351" y="98"/>
                  </a:lnTo>
                  <a:lnTo>
                    <a:pt x="353" y="98"/>
                  </a:lnTo>
                  <a:lnTo>
                    <a:pt x="356" y="98"/>
                  </a:lnTo>
                  <a:lnTo>
                    <a:pt x="358" y="98"/>
                  </a:lnTo>
                  <a:lnTo>
                    <a:pt x="358" y="95"/>
                  </a:lnTo>
                  <a:lnTo>
                    <a:pt x="360" y="95"/>
                  </a:lnTo>
                  <a:lnTo>
                    <a:pt x="358" y="93"/>
                  </a:lnTo>
                  <a:lnTo>
                    <a:pt x="360" y="93"/>
                  </a:lnTo>
                  <a:lnTo>
                    <a:pt x="358" y="93"/>
                  </a:lnTo>
                  <a:lnTo>
                    <a:pt x="360" y="93"/>
                  </a:lnTo>
                  <a:lnTo>
                    <a:pt x="358" y="91"/>
                  </a:lnTo>
                  <a:lnTo>
                    <a:pt x="360" y="91"/>
                  </a:lnTo>
                  <a:lnTo>
                    <a:pt x="360" y="88"/>
                  </a:lnTo>
                  <a:lnTo>
                    <a:pt x="360" y="91"/>
                  </a:lnTo>
                  <a:lnTo>
                    <a:pt x="358" y="88"/>
                  </a:lnTo>
                  <a:lnTo>
                    <a:pt x="356" y="88"/>
                  </a:lnTo>
                  <a:lnTo>
                    <a:pt x="358" y="86"/>
                  </a:lnTo>
                  <a:lnTo>
                    <a:pt x="358" y="84"/>
                  </a:lnTo>
                  <a:lnTo>
                    <a:pt x="356" y="84"/>
                  </a:lnTo>
                  <a:lnTo>
                    <a:pt x="353" y="84"/>
                  </a:lnTo>
                  <a:lnTo>
                    <a:pt x="351" y="84"/>
                  </a:lnTo>
                  <a:lnTo>
                    <a:pt x="351" y="86"/>
                  </a:lnTo>
                  <a:lnTo>
                    <a:pt x="351" y="88"/>
                  </a:lnTo>
                  <a:lnTo>
                    <a:pt x="348" y="88"/>
                  </a:lnTo>
                  <a:lnTo>
                    <a:pt x="348" y="91"/>
                  </a:lnTo>
                  <a:lnTo>
                    <a:pt x="351" y="91"/>
                  </a:lnTo>
                  <a:lnTo>
                    <a:pt x="348" y="91"/>
                  </a:lnTo>
                  <a:lnTo>
                    <a:pt x="348" y="93"/>
                  </a:lnTo>
                  <a:lnTo>
                    <a:pt x="351" y="93"/>
                  </a:lnTo>
                  <a:lnTo>
                    <a:pt x="348" y="93"/>
                  </a:lnTo>
                  <a:lnTo>
                    <a:pt x="351" y="93"/>
                  </a:lnTo>
                  <a:lnTo>
                    <a:pt x="351" y="95"/>
                  </a:lnTo>
                  <a:lnTo>
                    <a:pt x="348" y="95"/>
                  </a:lnTo>
                  <a:lnTo>
                    <a:pt x="346" y="95"/>
                  </a:lnTo>
                  <a:lnTo>
                    <a:pt x="346" y="98"/>
                  </a:lnTo>
                  <a:lnTo>
                    <a:pt x="344" y="98"/>
                  </a:lnTo>
                  <a:lnTo>
                    <a:pt x="344" y="100"/>
                  </a:lnTo>
                  <a:lnTo>
                    <a:pt x="341" y="100"/>
                  </a:lnTo>
                  <a:lnTo>
                    <a:pt x="341" y="98"/>
                  </a:lnTo>
                  <a:lnTo>
                    <a:pt x="339" y="98"/>
                  </a:lnTo>
                  <a:lnTo>
                    <a:pt x="337" y="98"/>
                  </a:lnTo>
                  <a:lnTo>
                    <a:pt x="337" y="95"/>
                  </a:lnTo>
                  <a:lnTo>
                    <a:pt x="339" y="95"/>
                  </a:lnTo>
                  <a:lnTo>
                    <a:pt x="339" y="93"/>
                  </a:lnTo>
                  <a:lnTo>
                    <a:pt x="337" y="91"/>
                  </a:lnTo>
                  <a:lnTo>
                    <a:pt x="339" y="91"/>
                  </a:lnTo>
                  <a:lnTo>
                    <a:pt x="337" y="91"/>
                  </a:lnTo>
                  <a:lnTo>
                    <a:pt x="334" y="91"/>
                  </a:lnTo>
                  <a:lnTo>
                    <a:pt x="332" y="91"/>
                  </a:lnTo>
                  <a:lnTo>
                    <a:pt x="334" y="91"/>
                  </a:lnTo>
                  <a:lnTo>
                    <a:pt x="332" y="91"/>
                  </a:lnTo>
                  <a:lnTo>
                    <a:pt x="332" y="93"/>
                  </a:lnTo>
                  <a:lnTo>
                    <a:pt x="329" y="93"/>
                  </a:lnTo>
                  <a:lnTo>
                    <a:pt x="327" y="93"/>
                  </a:lnTo>
                  <a:lnTo>
                    <a:pt x="325" y="93"/>
                  </a:lnTo>
                  <a:lnTo>
                    <a:pt x="325" y="91"/>
                  </a:lnTo>
                  <a:lnTo>
                    <a:pt x="322" y="91"/>
                  </a:lnTo>
                  <a:lnTo>
                    <a:pt x="322" y="93"/>
                  </a:lnTo>
                  <a:lnTo>
                    <a:pt x="322" y="91"/>
                  </a:lnTo>
                  <a:lnTo>
                    <a:pt x="320" y="91"/>
                  </a:lnTo>
                  <a:lnTo>
                    <a:pt x="322" y="93"/>
                  </a:lnTo>
                  <a:lnTo>
                    <a:pt x="325" y="93"/>
                  </a:lnTo>
                  <a:lnTo>
                    <a:pt x="327" y="95"/>
                  </a:lnTo>
                  <a:lnTo>
                    <a:pt x="329" y="95"/>
                  </a:lnTo>
                  <a:lnTo>
                    <a:pt x="327" y="98"/>
                  </a:lnTo>
                  <a:lnTo>
                    <a:pt x="329" y="98"/>
                  </a:lnTo>
                  <a:lnTo>
                    <a:pt x="327" y="98"/>
                  </a:lnTo>
                  <a:lnTo>
                    <a:pt x="329" y="98"/>
                  </a:lnTo>
                  <a:lnTo>
                    <a:pt x="327" y="98"/>
                  </a:lnTo>
                  <a:lnTo>
                    <a:pt x="329" y="100"/>
                  </a:lnTo>
                  <a:lnTo>
                    <a:pt x="329" y="103"/>
                  </a:lnTo>
                  <a:lnTo>
                    <a:pt x="332" y="103"/>
                  </a:lnTo>
                  <a:lnTo>
                    <a:pt x="329" y="103"/>
                  </a:lnTo>
                  <a:lnTo>
                    <a:pt x="327" y="103"/>
                  </a:lnTo>
                  <a:lnTo>
                    <a:pt x="325" y="103"/>
                  </a:lnTo>
                  <a:lnTo>
                    <a:pt x="322" y="103"/>
                  </a:lnTo>
                  <a:lnTo>
                    <a:pt x="322" y="105"/>
                  </a:lnTo>
                  <a:lnTo>
                    <a:pt x="325" y="105"/>
                  </a:lnTo>
                  <a:lnTo>
                    <a:pt x="322" y="105"/>
                  </a:lnTo>
                  <a:lnTo>
                    <a:pt x="320" y="105"/>
                  </a:lnTo>
                  <a:lnTo>
                    <a:pt x="320" y="107"/>
                  </a:lnTo>
                  <a:lnTo>
                    <a:pt x="318" y="107"/>
                  </a:lnTo>
                  <a:lnTo>
                    <a:pt x="320" y="107"/>
                  </a:lnTo>
                  <a:lnTo>
                    <a:pt x="322" y="107"/>
                  </a:lnTo>
                  <a:lnTo>
                    <a:pt x="325" y="107"/>
                  </a:lnTo>
                  <a:lnTo>
                    <a:pt x="327" y="107"/>
                  </a:lnTo>
                  <a:lnTo>
                    <a:pt x="329" y="107"/>
                  </a:lnTo>
                  <a:lnTo>
                    <a:pt x="332" y="110"/>
                  </a:lnTo>
                  <a:lnTo>
                    <a:pt x="334" y="112"/>
                  </a:lnTo>
                  <a:lnTo>
                    <a:pt x="337" y="112"/>
                  </a:lnTo>
                  <a:lnTo>
                    <a:pt x="337" y="114"/>
                  </a:lnTo>
                  <a:lnTo>
                    <a:pt x="334" y="112"/>
                  </a:lnTo>
                  <a:lnTo>
                    <a:pt x="337" y="112"/>
                  </a:lnTo>
                  <a:lnTo>
                    <a:pt x="334" y="112"/>
                  </a:lnTo>
                  <a:lnTo>
                    <a:pt x="334" y="114"/>
                  </a:lnTo>
                  <a:lnTo>
                    <a:pt x="332" y="114"/>
                  </a:lnTo>
                  <a:lnTo>
                    <a:pt x="329" y="114"/>
                  </a:lnTo>
                  <a:lnTo>
                    <a:pt x="329" y="112"/>
                  </a:lnTo>
                  <a:lnTo>
                    <a:pt x="327" y="112"/>
                  </a:lnTo>
                  <a:lnTo>
                    <a:pt x="325" y="112"/>
                  </a:lnTo>
                  <a:lnTo>
                    <a:pt x="325" y="114"/>
                  </a:lnTo>
                  <a:lnTo>
                    <a:pt x="322" y="112"/>
                  </a:lnTo>
                  <a:lnTo>
                    <a:pt x="320" y="112"/>
                  </a:lnTo>
                  <a:lnTo>
                    <a:pt x="318" y="112"/>
                  </a:lnTo>
                  <a:lnTo>
                    <a:pt x="318" y="110"/>
                  </a:lnTo>
                  <a:lnTo>
                    <a:pt x="315" y="110"/>
                  </a:lnTo>
                  <a:lnTo>
                    <a:pt x="315" y="112"/>
                  </a:lnTo>
                  <a:lnTo>
                    <a:pt x="318" y="114"/>
                  </a:lnTo>
                  <a:lnTo>
                    <a:pt x="315" y="114"/>
                  </a:lnTo>
                  <a:lnTo>
                    <a:pt x="313" y="114"/>
                  </a:lnTo>
                  <a:lnTo>
                    <a:pt x="315" y="114"/>
                  </a:lnTo>
                  <a:lnTo>
                    <a:pt x="315" y="117"/>
                  </a:lnTo>
                  <a:lnTo>
                    <a:pt x="318" y="117"/>
                  </a:lnTo>
                  <a:lnTo>
                    <a:pt x="320" y="117"/>
                  </a:lnTo>
                  <a:lnTo>
                    <a:pt x="318" y="117"/>
                  </a:lnTo>
                  <a:lnTo>
                    <a:pt x="320" y="117"/>
                  </a:lnTo>
                  <a:lnTo>
                    <a:pt x="320" y="119"/>
                  </a:lnTo>
                  <a:lnTo>
                    <a:pt x="318" y="119"/>
                  </a:lnTo>
                  <a:lnTo>
                    <a:pt x="315" y="119"/>
                  </a:lnTo>
                  <a:lnTo>
                    <a:pt x="315" y="122"/>
                  </a:lnTo>
                  <a:lnTo>
                    <a:pt x="313" y="122"/>
                  </a:lnTo>
                  <a:lnTo>
                    <a:pt x="315" y="122"/>
                  </a:lnTo>
                  <a:lnTo>
                    <a:pt x="313" y="122"/>
                  </a:lnTo>
                  <a:lnTo>
                    <a:pt x="313" y="119"/>
                  </a:lnTo>
                  <a:lnTo>
                    <a:pt x="311" y="119"/>
                  </a:lnTo>
                  <a:lnTo>
                    <a:pt x="308" y="119"/>
                  </a:lnTo>
                  <a:lnTo>
                    <a:pt x="306" y="119"/>
                  </a:lnTo>
                  <a:lnTo>
                    <a:pt x="308" y="119"/>
                  </a:lnTo>
                  <a:lnTo>
                    <a:pt x="311" y="119"/>
                  </a:lnTo>
                  <a:lnTo>
                    <a:pt x="308" y="122"/>
                  </a:lnTo>
                  <a:lnTo>
                    <a:pt x="308" y="124"/>
                  </a:lnTo>
                  <a:lnTo>
                    <a:pt x="306" y="122"/>
                  </a:lnTo>
                  <a:lnTo>
                    <a:pt x="303" y="122"/>
                  </a:lnTo>
                  <a:lnTo>
                    <a:pt x="301" y="122"/>
                  </a:lnTo>
                  <a:lnTo>
                    <a:pt x="303" y="122"/>
                  </a:lnTo>
                  <a:lnTo>
                    <a:pt x="303" y="124"/>
                  </a:lnTo>
                  <a:lnTo>
                    <a:pt x="306" y="124"/>
                  </a:lnTo>
                  <a:lnTo>
                    <a:pt x="303" y="126"/>
                  </a:lnTo>
                  <a:lnTo>
                    <a:pt x="301" y="126"/>
                  </a:lnTo>
                  <a:lnTo>
                    <a:pt x="299" y="126"/>
                  </a:lnTo>
                  <a:lnTo>
                    <a:pt x="299" y="124"/>
                  </a:lnTo>
                  <a:lnTo>
                    <a:pt x="299" y="126"/>
                  </a:lnTo>
                  <a:lnTo>
                    <a:pt x="299" y="124"/>
                  </a:lnTo>
                  <a:lnTo>
                    <a:pt x="296" y="126"/>
                  </a:lnTo>
                  <a:lnTo>
                    <a:pt x="294" y="124"/>
                  </a:lnTo>
                  <a:lnTo>
                    <a:pt x="289" y="124"/>
                  </a:lnTo>
                  <a:lnTo>
                    <a:pt x="287" y="124"/>
                  </a:lnTo>
                  <a:lnTo>
                    <a:pt x="284" y="124"/>
                  </a:lnTo>
                  <a:lnTo>
                    <a:pt x="282" y="124"/>
                  </a:lnTo>
                  <a:lnTo>
                    <a:pt x="280" y="124"/>
                  </a:lnTo>
                  <a:lnTo>
                    <a:pt x="277" y="126"/>
                  </a:lnTo>
                  <a:lnTo>
                    <a:pt x="277" y="124"/>
                  </a:lnTo>
                  <a:lnTo>
                    <a:pt x="275" y="124"/>
                  </a:lnTo>
                  <a:lnTo>
                    <a:pt x="275" y="122"/>
                  </a:lnTo>
                  <a:lnTo>
                    <a:pt x="275" y="119"/>
                  </a:lnTo>
                  <a:lnTo>
                    <a:pt x="277" y="119"/>
                  </a:lnTo>
                  <a:lnTo>
                    <a:pt x="275" y="119"/>
                  </a:lnTo>
                  <a:lnTo>
                    <a:pt x="275" y="117"/>
                  </a:lnTo>
                  <a:lnTo>
                    <a:pt x="273" y="117"/>
                  </a:lnTo>
                  <a:lnTo>
                    <a:pt x="275" y="117"/>
                  </a:lnTo>
                  <a:lnTo>
                    <a:pt x="273" y="117"/>
                  </a:lnTo>
                  <a:lnTo>
                    <a:pt x="275" y="117"/>
                  </a:lnTo>
                  <a:lnTo>
                    <a:pt x="273" y="117"/>
                  </a:lnTo>
                  <a:lnTo>
                    <a:pt x="275" y="117"/>
                  </a:lnTo>
                  <a:lnTo>
                    <a:pt x="275" y="114"/>
                  </a:lnTo>
                  <a:lnTo>
                    <a:pt x="273" y="114"/>
                  </a:lnTo>
                  <a:lnTo>
                    <a:pt x="275" y="114"/>
                  </a:lnTo>
                  <a:lnTo>
                    <a:pt x="277" y="114"/>
                  </a:lnTo>
                  <a:lnTo>
                    <a:pt x="275" y="114"/>
                  </a:lnTo>
                  <a:lnTo>
                    <a:pt x="275" y="112"/>
                  </a:lnTo>
                  <a:lnTo>
                    <a:pt x="273" y="112"/>
                  </a:lnTo>
                  <a:lnTo>
                    <a:pt x="273" y="114"/>
                  </a:lnTo>
                  <a:lnTo>
                    <a:pt x="275" y="114"/>
                  </a:lnTo>
                  <a:lnTo>
                    <a:pt x="273" y="114"/>
                  </a:lnTo>
                  <a:lnTo>
                    <a:pt x="270" y="114"/>
                  </a:lnTo>
                  <a:lnTo>
                    <a:pt x="268" y="114"/>
                  </a:lnTo>
                  <a:lnTo>
                    <a:pt x="265" y="114"/>
                  </a:lnTo>
                  <a:lnTo>
                    <a:pt x="265" y="112"/>
                  </a:lnTo>
                  <a:lnTo>
                    <a:pt x="263" y="112"/>
                  </a:lnTo>
                  <a:lnTo>
                    <a:pt x="261" y="112"/>
                  </a:lnTo>
                  <a:lnTo>
                    <a:pt x="261" y="110"/>
                  </a:lnTo>
                  <a:lnTo>
                    <a:pt x="258" y="107"/>
                  </a:lnTo>
                  <a:lnTo>
                    <a:pt x="256" y="107"/>
                  </a:lnTo>
                  <a:lnTo>
                    <a:pt x="256" y="105"/>
                  </a:lnTo>
                  <a:lnTo>
                    <a:pt x="258" y="105"/>
                  </a:lnTo>
                  <a:lnTo>
                    <a:pt x="261" y="105"/>
                  </a:lnTo>
                  <a:lnTo>
                    <a:pt x="263" y="105"/>
                  </a:lnTo>
                  <a:lnTo>
                    <a:pt x="265" y="105"/>
                  </a:lnTo>
                  <a:lnTo>
                    <a:pt x="268" y="105"/>
                  </a:lnTo>
                  <a:lnTo>
                    <a:pt x="270" y="105"/>
                  </a:lnTo>
                  <a:lnTo>
                    <a:pt x="273" y="105"/>
                  </a:lnTo>
                  <a:lnTo>
                    <a:pt x="275" y="105"/>
                  </a:lnTo>
                  <a:lnTo>
                    <a:pt x="277" y="105"/>
                  </a:lnTo>
                  <a:lnTo>
                    <a:pt x="280" y="105"/>
                  </a:lnTo>
                  <a:lnTo>
                    <a:pt x="282" y="105"/>
                  </a:lnTo>
                  <a:lnTo>
                    <a:pt x="284" y="105"/>
                  </a:lnTo>
                  <a:lnTo>
                    <a:pt x="282" y="105"/>
                  </a:lnTo>
                  <a:lnTo>
                    <a:pt x="284" y="103"/>
                  </a:lnTo>
                  <a:lnTo>
                    <a:pt x="287" y="103"/>
                  </a:lnTo>
                  <a:lnTo>
                    <a:pt x="287" y="100"/>
                  </a:lnTo>
                  <a:lnTo>
                    <a:pt x="284" y="100"/>
                  </a:lnTo>
                  <a:lnTo>
                    <a:pt x="282" y="100"/>
                  </a:lnTo>
                  <a:lnTo>
                    <a:pt x="280" y="100"/>
                  </a:lnTo>
                  <a:lnTo>
                    <a:pt x="282" y="100"/>
                  </a:lnTo>
                  <a:lnTo>
                    <a:pt x="282" y="103"/>
                  </a:lnTo>
                  <a:lnTo>
                    <a:pt x="280" y="103"/>
                  </a:lnTo>
                  <a:lnTo>
                    <a:pt x="277" y="103"/>
                  </a:lnTo>
                  <a:lnTo>
                    <a:pt x="275" y="103"/>
                  </a:lnTo>
                  <a:lnTo>
                    <a:pt x="273" y="103"/>
                  </a:lnTo>
                  <a:lnTo>
                    <a:pt x="275" y="103"/>
                  </a:lnTo>
                  <a:lnTo>
                    <a:pt x="275" y="105"/>
                  </a:lnTo>
                  <a:lnTo>
                    <a:pt x="273" y="105"/>
                  </a:lnTo>
                  <a:lnTo>
                    <a:pt x="273" y="103"/>
                  </a:lnTo>
                  <a:lnTo>
                    <a:pt x="270" y="103"/>
                  </a:lnTo>
                  <a:lnTo>
                    <a:pt x="268" y="103"/>
                  </a:lnTo>
                  <a:lnTo>
                    <a:pt x="265" y="103"/>
                  </a:lnTo>
                  <a:lnTo>
                    <a:pt x="263" y="103"/>
                  </a:lnTo>
                  <a:lnTo>
                    <a:pt x="258" y="103"/>
                  </a:lnTo>
                  <a:lnTo>
                    <a:pt x="256" y="103"/>
                  </a:lnTo>
                  <a:lnTo>
                    <a:pt x="258" y="103"/>
                  </a:lnTo>
                  <a:lnTo>
                    <a:pt x="256" y="103"/>
                  </a:lnTo>
                  <a:lnTo>
                    <a:pt x="258" y="103"/>
                  </a:lnTo>
                  <a:lnTo>
                    <a:pt x="258" y="100"/>
                  </a:lnTo>
                  <a:lnTo>
                    <a:pt x="261" y="100"/>
                  </a:lnTo>
                  <a:lnTo>
                    <a:pt x="258" y="100"/>
                  </a:lnTo>
                  <a:lnTo>
                    <a:pt x="256" y="100"/>
                  </a:lnTo>
                  <a:lnTo>
                    <a:pt x="254" y="100"/>
                  </a:lnTo>
                  <a:lnTo>
                    <a:pt x="251" y="100"/>
                  </a:lnTo>
                  <a:lnTo>
                    <a:pt x="249" y="100"/>
                  </a:lnTo>
                  <a:lnTo>
                    <a:pt x="249" y="98"/>
                  </a:lnTo>
                  <a:lnTo>
                    <a:pt x="246" y="98"/>
                  </a:lnTo>
                  <a:lnTo>
                    <a:pt x="244" y="98"/>
                  </a:lnTo>
                  <a:lnTo>
                    <a:pt x="242" y="95"/>
                  </a:lnTo>
                  <a:lnTo>
                    <a:pt x="239" y="95"/>
                  </a:lnTo>
                  <a:lnTo>
                    <a:pt x="239" y="93"/>
                  </a:lnTo>
                  <a:lnTo>
                    <a:pt x="242" y="93"/>
                  </a:lnTo>
                  <a:lnTo>
                    <a:pt x="242" y="91"/>
                  </a:lnTo>
                  <a:lnTo>
                    <a:pt x="239" y="91"/>
                  </a:lnTo>
                  <a:lnTo>
                    <a:pt x="237" y="93"/>
                  </a:lnTo>
                  <a:lnTo>
                    <a:pt x="237" y="91"/>
                  </a:lnTo>
                  <a:lnTo>
                    <a:pt x="235" y="91"/>
                  </a:lnTo>
                  <a:lnTo>
                    <a:pt x="232" y="91"/>
                  </a:lnTo>
                  <a:lnTo>
                    <a:pt x="232" y="88"/>
                  </a:lnTo>
                  <a:lnTo>
                    <a:pt x="235" y="88"/>
                  </a:lnTo>
                  <a:lnTo>
                    <a:pt x="235" y="86"/>
                  </a:lnTo>
                  <a:lnTo>
                    <a:pt x="237" y="86"/>
                  </a:lnTo>
                  <a:lnTo>
                    <a:pt x="237" y="84"/>
                  </a:lnTo>
                  <a:lnTo>
                    <a:pt x="239" y="84"/>
                  </a:lnTo>
                  <a:lnTo>
                    <a:pt x="242" y="84"/>
                  </a:lnTo>
                  <a:lnTo>
                    <a:pt x="244" y="84"/>
                  </a:lnTo>
                  <a:lnTo>
                    <a:pt x="242" y="84"/>
                  </a:lnTo>
                  <a:lnTo>
                    <a:pt x="239" y="81"/>
                  </a:lnTo>
                  <a:lnTo>
                    <a:pt x="237" y="81"/>
                  </a:lnTo>
                  <a:lnTo>
                    <a:pt x="235" y="81"/>
                  </a:lnTo>
                  <a:lnTo>
                    <a:pt x="232" y="81"/>
                  </a:lnTo>
                  <a:lnTo>
                    <a:pt x="230" y="81"/>
                  </a:lnTo>
                  <a:lnTo>
                    <a:pt x="230" y="79"/>
                  </a:lnTo>
                  <a:lnTo>
                    <a:pt x="227" y="79"/>
                  </a:lnTo>
                  <a:lnTo>
                    <a:pt x="225" y="76"/>
                  </a:lnTo>
                  <a:lnTo>
                    <a:pt x="223" y="76"/>
                  </a:lnTo>
                  <a:lnTo>
                    <a:pt x="223" y="74"/>
                  </a:lnTo>
                  <a:lnTo>
                    <a:pt x="225" y="74"/>
                  </a:lnTo>
                  <a:lnTo>
                    <a:pt x="227" y="74"/>
                  </a:lnTo>
                  <a:lnTo>
                    <a:pt x="230" y="74"/>
                  </a:lnTo>
                  <a:lnTo>
                    <a:pt x="232" y="74"/>
                  </a:lnTo>
                  <a:lnTo>
                    <a:pt x="235" y="74"/>
                  </a:lnTo>
                  <a:lnTo>
                    <a:pt x="237" y="74"/>
                  </a:lnTo>
                  <a:lnTo>
                    <a:pt x="239" y="76"/>
                  </a:lnTo>
                  <a:lnTo>
                    <a:pt x="242" y="76"/>
                  </a:lnTo>
                  <a:lnTo>
                    <a:pt x="244" y="76"/>
                  </a:lnTo>
                  <a:lnTo>
                    <a:pt x="244" y="79"/>
                  </a:lnTo>
                  <a:lnTo>
                    <a:pt x="246" y="79"/>
                  </a:lnTo>
                  <a:lnTo>
                    <a:pt x="249" y="79"/>
                  </a:lnTo>
                  <a:lnTo>
                    <a:pt x="251" y="79"/>
                  </a:lnTo>
                  <a:lnTo>
                    <a:pt x="254" y="79"/>
                  </a:lnTo>
                  <a:lnTo>
                    <a:pt x="256" y="79"/>
                  </a:lnTo>
                  <a:lnTo>
                    <a:pt x="258" y="81"/>
                  </a:lnTo>
                  <a:lnTo>
                    <a:pt x="261" y="81"/>
                  </a:lnTo>
                  <a:lnTo>
                    <a:pt x="263" y="81"/>
                  </a:lnTo>
                  <a:lnTo>
                    <a:pt x="263" y="79"/>
                  </a:lnTo>
                  <a:lnTo>
                    <a:pt x="265" y="79"/>
                  </a:lnTo>
                  <a:lnTo>
                    <a:pt x="263" y="79"/>
                  </a:lnTo>
                  <a:lnTo>
                    <a:pt x="261" y="79"/>
                  </a:lnTo>
                  <a:lnTo>
                    <a:pt x="261" y="76"/>
                  </a:lnTo>
                  <a:lnTo>
                    <a:pt x="258" y="76"/>
                  </a:lnTo>
                  <a:lnTo>
                    <a:pt x="261" y="74"/>
                  </a:lnTo>
                  <a:lnTo>
                    <a:pt x="263" y="74"/>
                  </a:lnTo>
                  <a:lnTo>
                    <a:pt x="261" y="74"/>
                  </a:lnTo>
                  <a:lnTo>
                    <a:pt x="261" y="72"/>
                  </a:lnTo>
                  <a:lnTo>
                    <a:pt x="258" y="72"/>
                  </a:lnTo>
                  <a:lnTo>
                    <a:pt x="256" y="72"/>
                  </a:lnTo>
                  <a:lnTo>
                    <a:pt x="254" y="72"/>
                  </a:lnTo>
                  <a:lnTo>
                    <a:pt x="251" y="72"/>
                  </a:lnTo>
                  <a:lnTo>
                    <a:pt x="249" y="72"/>
                  </a:lnTo>
                  <a:lnTo>
                    <a:pt x="246" y="72"/>
                  </a:lnTo>
                  <a:lnTo>
                    <a:pt x="244" y="72"/>
                  </a:lnTo>
                  <a:lnTo>
                    <a:pt x="239" y="69"/>
                  </a:lnTo>
                  <a:lnTo>
                    <a:pt x="237" y="69"/>
                  </a:lnTo>
                  <a:lnTo>
                    <a:pt x="235" y="67"/>
                  </a:lnTo>
                  <a:lnTo>
                    <a:pt x="237" y="67"/>
                  </a:lnTo>
                  <a:lnTo>
                    <a:pt x="237" y="65"/>
                  </a:lnTo>
                  <a:lnTo>
                    <a:pt x="239" y="65"/>
                  </a:lnTo>
                  <a:lnTo>
                    <a:pt x="242" y="65"/>
                  </a:lnTo>
                  <a:lnTo>
                    <a:pt x="239" y="65"/>
                  </a:lnTo>
                  <a:lnTo>
                    <a:pt x="239" y="62"/>
                  </a:lnTo>
                  <a:lnTo>
                    <a:pt x="242" y="60"/>
                  </a:lnTo>
                  <a:lnTo>
                    <a:pt x="244" y="57"/>
                  </a:lnTo>
                  <a:lnTo>
                    <a:pt x="246" y="57"/>
                  </a:lnTo>
                  <a:lnTo>
                    <a:pt x="246" y="60"/>
                  </a:lnTo>
                  <a:lnTo>
                    <a:pt x="249" y="60"/>
                  </a:lnTo>
                  <a:lnTo>
                    <a:pt x="251" y="60"/>
                  </a:lnTo>
                  <a:lnTo>
                    <a:pt x="254" y="60"/>
                  </a:lnTo>
                  <a:lnTo>
                    <a:pt x="254" y="57"/>
                  </a:lnTo>
                  <a:lnTo>
                    <a:pt x="251" y="57"/>
                  </a:lnTo>
                  <a:lnTo>
                    <a:pt x="249" y="57"/>
                  </a:lnTo>
                  <a:lnTo>
                    <a:pt x="246" y="57"/>
                  </a:lnTo>
                  <a:lnTo>
                    <a:pt x="244" y="57"/>
                  </a:lnTo>
                  <a:lnTo>
                    <a:pt x="246" y="57"/>
                  </a:lnTo>
                  <a:lnTo>
                    <a:pt x="246" y="55"/>
                  </a:lnTo>
                  <a:lnTo>
                    <a:pt x="249" y="55"/>
                  </a:lnTo>
                  <a:lnTo>
                    <a:pt x="251" y="55"/>
                  </a:lnTo>
                  <a:lnTo>
                    <a:pt x="249" y="55"/>
                  </a:lnTo>
                  <a:lnTo>
                    <a:pt x="246" y="55"/>
                  </a:lnTo>
                  <a:lnTo>
                    <a:pt x="246" y="53"/>
                  </a:lnTo>
                  <a:lnTo>
                    <a:pt x="249" y="53"/>
                  </a:lnTo>
                  <a:lnTo>
                    <a:pt x="251" y="53"/>
                  </a:lnTo>
                  <a:lnTo>
                    <a:pt x="251" y="50"/>
                  </a:lnTo>
                  <a:lnTo>
                    <a:pt x="249" y="50"/>
                  </a:lnTo>
                  <a:lnTo>
                    <a:pt x="249" y="53"/>
                  </a:lnTo>
                  <a:lnTo>
                    <a:pt x="246" y="53"/>
                  </a:lnTo>
                  <a:lnTo>
                    <a:pt x="244" y="53"/>
                  </a:lnTo>
                  <a:lnTo>
                    <a:pt x="242" y="53"/>
                  </a:lnTo>
                  <a:lnTo>
                    <a:pt x="244" y="53"/>
                  </a:lnTo>
                  <a:lnTo>
                    <a:pt x="242" y="53"/>
                  </a:lnTo>
                  <a:lnTo>
                    <a:pt x="239" y="53"/>
                  </a:lnTo>
                  <a:lnTo>
                    <a:pt x="239" y="55"/>
                  </a:lnTo>
                  <a:lnTo>
                    <a:pt x="239" y="57"/>
                  </a:lnTo>
                  <a:lnTo>
                    <a:pt x="242" y="57"/>
                  </a:lnTo>
                  <a:lnTo>
                    <a:pt x="239" y="57"/>
                  </a:lnTo>
                  <a:lnTo>
                    <a:pt x="242" y="57"/>
                  </a:lnTo>
                  <a:lnTo>
                    <a:pt x="239" y="57"/>
                  </a:lnTo>
                  <a:lnTo>
                    <a:pt x="237" y="57"/>
                  </a:lnTo>
                  <a:lnTo>
                    <a:pt x="237" y="55"/>
                  </a:lnTo>
                  <a:lnTo>
                    <a:pt x="235" y="55"/>
                  </a:lnTo>
                  <a:lnTo>
                    <a:pt x="235" y="53"/>
                  </a:lnTo>
                  <a:lnTo>
                    <a:pt x="235" y="50"/>
                  </a:lnTo>
                  <a:lnTo>
                    <a:pt x="237" y="50"/>
                  </a:lnTo>
                  <a:lnTo>
                    <a:pt x="239" y="50"/>
                  </a:lnTo>
                  <a:lnTo>
                    <a:pt x="237" y="50"/>
                  </a:lnTo>
                  <a:lnTo>
                    <a:pt x="235" y="48"/>
                  </a:lnTo>
                  <a:lnTo>
                    <a:pt x="232" y="48"/>
                  </a:lnTo>
                  <a:lnTo>
                    <a:pt x="230" y="48"/>
                  </a:lnTo>
                  <a:lnTo>
                    <a:pt x="230" y="50"/>
                  </a:lnTo>
                  <a:lnTo>
                    <a:pt x="227" y="50"/>
                  </a:lnTo>
                  <a:lnTo>
                    <a:pt x="230" y="50"/>
                  </a:lnTo>
                  <a:lnTo>
                    <a:pt x="230" y="53"/>
                  </a:lnTo>
                  <a:lnTo>
                    <a:pt x="227" y="55"/>
                  </a:lnTo>
                  <a:lnTo>
                    <a:pt x="230" y="55"/>
                  </a:lnTo>
                  <a:lnTo>
                    <a:pt x="232" y="55"/>
                  </a:lnTo>
                  <a:lnTo>
                    <a:pt x="235" y="57"/>
                  </a:lnTo>
                  <a:lnTo>
                    <a:pt x="235" y="60"/>
                  </a:lnTo>
                  <a:lnTo>
                    <a:pt x="235" y="62"/>
                  </a:lnTo>
                  <a:lnTo>
                    <a:pt x="232" y="62"/>
                  </a:lnTo>
                  <a:lnTo>
                    <a:pt x="230" y="62"/>
                  </a:lnTo>
                  <a:lnTo>
                    <a:pt x="232" y="62"/>
                  </a:lnTo>
                  <a:lnTo>
                    <a:pt x="230" y="62"/>
                  </a:lnTo>
                  <a:lnTo>
                    <a:pt x="232" y="62"/>
                  </a:lnTo>
                  <a:lnTo>
                    <a:pt x="230" y="65"/>
                  </a:lnTo>
                  <a:lnTo>
                    <a:pt x="227" y="65"/>
                  </a:lnTo>
                  <a:lnTo>
                    <a:pt x="225" y="65"/>
                  </a:lnTo>
                  <a:lnTo>
                    <a:pt x="223" y="65"/>
                  </a:lnTo>
                  <a:lnTo>
                    <a:pt x="220" y="65"/>
                  </a:lnTo>
                  <a:lnTo>
                    <a:pt x="218" y="65"/>
                  </a:lnTo>
                  <a:lnTo>
                    <a:pt x="218" y="62"/>
                  </a:lnTo>
                  <a:lnTo>
                    <a:pt x="218" y="60"/>
                  </a:lnTo>
                  <a:lnTo>
                    <a:pt x="218" y="57"/>
                  </a:lnTo>
                  <a:lnTo>
                    <a:pt x="216" y="55"/>
                  </a:lnTo>
                  <a:lnTo>
                    <a:pt x="218" y="57"/>
                  </a:lnTo>
                  <a:lnTo>
                    <a:pt x="216" y="57"/>
                  </a:lnTo>
                  <a:lnTo>
                    <a:pt x="216" y="55"/>
                  </a:lnTo>
                  <a:lnTo>
                    <a:pt x="213" y="55"/>
                  </a:lnTo>
                  <a:lnTo>
                    <a:pt x="213" y="53"/>
                  </a:lnTo>
                  <a:lnTo>
                    <a:pt x="211" y="53"/>
                  </a:lnTo>
                  <a:lnTo>
                    <a:pt x="213" y="53"/>
                  </a:lnTo>
                  <a:lnTo>
                    <a:pt x="213" y="50"/>
                  </a:lnTo>
                  <a:lnTo>
                    <a:pt x="211" y="50"/>
                  </a:lnTo>
                  <a:lnTo>
                    <a:pt x="208" y="50"/>
                  </a:lnTo>
                  <a:lnTo>
                    <a:pt x="206" y="50"/>
                  </a:lnTo>
                  <a:lnTo>
                    <a:pt x="208" y="48"/>
                  </a:lnTo>
                  <a:lnTo>
                    <a:pt x="206" y="48"/>
                  </a:lnTo>
                  <a:lnTo>
                    <a:pt x="208" y="48"/>
                  </a:lnTo>
                  <a:lnTo>
                    <a:pt x="211" y="48"/>
                  </a:lnTo>
                  <a:lnTo>
                    <a:pt x="211" y="46"/>
                  </a:lnTo>
                  <a:lnTo>
                    <a:pt x="208" y="46"/>
                  </a:lnTo>
                  <a:lnTo>
                    <a:pt x="206" y="46"/>
                  </a:lnTo>
                  <a:lnTo>
                    <a:pt x="208" y="46"/>
                  </a:lnTo>
                  <a:lnTo>
                    <a:pt x="206" y="46"/>
                  </a:lnTo>
                  <a:lnTo>
                    <a:pt x="208" y="46"/>
                  </a:lnTo>
                  <a:lnTo>
                    <a:pt x="208" y="43"/>
                  </a:lnTo>
                  <a:lnTo>
                    <a:pt x="211" y="43"/>
                  </a:lnTo>
                  <a:lnTo>
                    <a:pt x="208" y="43"/>
                  </a:lnTo>
                  <a:lnTo>
                    <a:pt x="211" y="43"/>
                  </a:lnTo>
                  <a:lnTo>
                    <a:pt x="211" y="41"/>
                  </a:lnTo>
                  <a:lnTo>
                    <a:pt x="208" y="41"/>
                  </a:lnTo>
                  <a:lnTo>
                    <a:pt x="206" y="38"/>
                  </a:lnTo>
                  <a:lnTo>
                    <a:pt x="208" y="38"/>
                  </a:lnTo>
                  <a:lnTo>
                    <a:pt x="206" y="38"/>
                  </a:lnTo>
                  <a:lnTo>
                    <a:pt x="204" y="38"/>
                  </a:lnTo>
                  <a:lnTo>
                    <a:pt x="201" y="38"/>
                  </a:lnTo>
                  <a:lnTo>
                    <a:pt x="201" y="36"/>
                  </a:lnTo>
                  <a:lnTo>
                    <a:pt x="204" y="36"/>
                  </a:lnTo>
                  <a:lnTo>
                    <a:pt x="201" y="36"/>
                  </a:lnTo>
                  <a:lnTo>
                    <a:pt x="201" y="34"/>
                  </a:lnTo>
                  <a:lnTo>
                    <a:pt x="204" y="34"/>
                  </a:lnTo>
                  <a:lnTo>
                    <a:pt x="211" y="34"/>
                  </a:lnTo>
                  <a:lnTo>
                    <a:pt x="208" y="34"/>
                  </a:lnTo>
                  <a:lnTo>
                    <a:pt x="208" y="36"/>
                  </a:lnTo>
                  <a:lnTo>
                    <a:pt x="211" y="36"/>
                  </a:lnTo>
                  <a:lnTo>
                    <a:pt x="211" y="34"/>
                  </a:lnTo>
                  <a:lnTo>
                    <a:pt x="213" y="34"/>
                  </a:lnTo>
                  <a:lnTo>
                    <a:pt x="216" y="36"/>
                  </a:lnTo>
                  <a:lnTo>
                    <a:pt x="218" y="36"/>
                  </a:lnTo>
                  <a:lnTo>
                    <a:pt x="220" y="36"/>
                  </a:lnTo>
                  <a:lnTo>
                    <a:pt x="220" y="34"/>
                  </a:lnTo>
                  <a:lnTo>
                    <a:pt x="218" y="34"/>
                  </a:lnTo>
                  <a:lnTo>
                    <a:pt x="216" y="34"/>
                  </a:lnTo>
                  <a:lnTo>
                    <a:pt x="213" y="34"/>
                  </a:lnTo>
                  <a:lnTo>
                    <a:pt x="211" y="34"/>
                  </a:lnTo>
                  <a:lnTo>
                    <a:pt x="208" y="34"/>
                  </a:lnTo>
                  <a:lnTo>
                    <a:pt x="206" y="34"/>
                  </a:lnTo>
                  <a:lnTo>
                    <a:pt x="206" y="31"/>
                  </a:lnTo>
                  <a:lnTo>
                    <a:pt x="208" y="31"/>
                  </a:lnTo>
                  <a:lnTo>
                    <a:pt x="208" y="29"/>
                  </a:lnTo>
                  <a:lnTo>
                    <a:pt x="211" y="29"/>
                  </a:lnTo>
                  <a:lnTo>
                    <a:pt x="213" y="29"/>
                  </a:lnTo>
                  <a:lnTo>
                    <a:pt x="216" y="29"/>
                  </a:lnTo>
                  <a:lnTo>
                    <a:pt x="216" y="31"/>
                  </a:lnTo>
                  <a:lnTo>
                    <a:pt x="216" y="29"/>
                  </a:lnTo>
                  <a:lnTo>
                    <a:pt x="218" y="29"/>
                  </a:lnTo>
                  <a:lnTo>
                    <a:pt x="220" y="29"/>
                  </a:lnTo>
                  <a:lnTo>
                    <a:pt x="223" y="29"/>
                  </a:lnTo>
                  <a:lnTo>
                    <a:pt x="225" y="29"/>
                  </a:lnTo>
                  <a:lnTo>
                    <a:pt x="225" y="31"/>
                  </a:lnTo>
                  <a:lnTo>
                    <a:pt x="227" y="31"/>
                  </a:lnTo>
                  <a:lnTo>
                    <a:pt x="230" y="31"/>
                  </a:lnTo>
                  <a:lnTo>
                    <a:pt x="227" y="31"/>
                  </a:lnTo>
                  <a:lnTo>
                    <a:pt x="230" y="31"/>
                  </a:lnTo>
                  <a:lnTo>
                    <a:pt x="230" y="29"/>
                  </a:lnTo>
                  <a:lnTo>
                    <a:pt x="227" y="29"/>
                  </a:lnTo>
                  <a:lnTo>
                    <a:pt x="225" y="29"/>
                  </a:lnTo>
                  <a:lnTo>
                    <a:pt x="223" y="29"/>
                  </a:lnTo>
                  <a:lnTo>
                    <a:pt x="220" y="27"/>
                  </a:lnTo>
                  <a:lnTo>
                    <a:pt x="218" y="27"/>
                  </a:lnTo>
                  <a:lnTo>
                    <a:pt x="220" y="27"/>
                  </a:lnTo>
                  <a:lnTo>
                    <a:pt x="223" y="27"/>
                  </a:lnTo>
                  <a:lnTo>
                    <a:pt x="220" y="27"/>
                  </a:lnTo>
                  <a:lnTo>
                    <a:pt x="220" y="24"/>
                  </a:lnTo>
                  <a:lnTo>
                    <a:pt x="218" y="24"/>
                  </a:lnTo>
                  <a:lnTo>
                    <a:pt x="218" y="22"/>
                  </a:lnTo>
                  <a:lnTo>
                    <a:pt x="220" y="22"/>
                  </a:lnTo>
                  <a:lnTo>
                    <a:pt x="218" y="22"/>
                  </a:lnTo>
                  <a:lnTo>
                    <a:pt x="218" y="19"/>
                  </a:lnTo>
                  <a:lnTo>
                    <a:pt x="220" y="19"/>
                  </a:lnTo>
                  <a:lnTo>
                    <a:pt x="223" y="19"/>
                  </a:lnTo>
                  <a:lnTo>
                    <a:pt x="225" y="19"/>
                  </a:lnTo>
                  <a:lnTo>
                    <a:pt x="225" y="22"/>
                  </a:lnTo>
                  <a:lnTo>
                    <a:pt x="227" y="22"/>
                  </a:lnTo>
                  <a:lnTo>
                    <a:pt x="230" y="22"/>
                  </a:lnTo>
                  <a:lnTo>
                    <a:pt x="227" y="22"/>
                  </a:lnTo>
                  <a:lnTo>
                    <a:pt x="227" y="19"/>
                  </a:lnTo>
                  <a:lnTo>
                    <a:pt x="230" y="22"/>
                  </a:lnTo>
                  <a:lnTo>
                    <a:pt x="230" y="19"/>
                  </a:lnTo>
                  <a:lnTo>
                    <a:pt x="227" y="19"/>
                  </a:lnTo>
                  <a:lnTo>
                    <a:pt x="230" y="19"/>
                  </a:lnTo>
                  <a:lnTo>
                    <a:pt x="227" y="19"/>
                  </a:lnTo>
                  <a:lnTo>
                    <a:pt x="227" y="17"/>
                  </a:lnTo>
                  <a:lnTo>
                    <a:pt x="230" y="17"/>
                  </a:lnTo>
                  <a:lnTo>
                    <a:pt x="227" y="17"/>
                  </a:lnTo>
                  <a:lnTo>
                    <a:pt x="230" y="17"/>
                  </a:lnTo>
                  <a:lnTo>
                    <a:pt x="230" y="19"/>
                  </a:lnTo>
                  <a:lnTo>
                    <a:pt x="232" y="19"/>
                  </a:lnTo>
                  <a:lnTo>
                    <a:pt x="230" y="17"/>
                  </a:lnTo>
                  <a:lnTo>
                    <a:pt x="232" y="17"/>
                  </a:lnTo>
                  <a:lnTo>
                    <a:pt x="230" y="17"/>
                  </a:lnTo>
                  <a:lnTo>
                    <a:pt x="232" y="17"/>
                  </a:lnTo>
                  <a:lnTo>
                    <a:pt x="235" y="17"/>
                  </a:lnTo>
                  <a:lnTo>
                    <a:pt x="237" y="17"/>
                  </a:lnTo>
                  <a:lnTo>
                    <a:pt x="237" y="15"/>
                  </a:lnTo>
                  <a:lnTo>
                    <a:pt x="239" y="15"/>
                  </a:lnTo>
                  <a:lnTo>
                    <a:pt x="239" y="17"/>
                  </a:lnTo>
                  <a:lnTo>
                    <a:pt x="237" y="17"/>
                  </a:lnTo>
                  <a:lnTo>
                    <a:pt x="239" y="17"/>
                  </a:lnTo>
                  <a:lnTo>
                    <a:pt x="239" y="19"/>
                  </a:lnTo>
                  <a:lnTo>
                    <a:pt x="237" y="19"/>
                  </a:lnTo>
                  <a:lnTo>
                    <a:pt x="239" y="19"/>
                  </a:lnTo>
                  <a:lnTo>
                    <a:pt x="242" y="19"/>
                  </a:lnTo>
                  <a:lnTo>
                    <a:pt x="244" y="19"/>
                  </a:lnTo>
                  <a:lnTo>
                    <a:pt x="244" y="22"/>
                  </a:lnTo>
                  <a:lnTo>
                    <a:pt x="242" y="19"/>
                  </a:lnTo>
                  <a:lnTo>
                    <a:pt x="242" y="22"/>
                  </a:lnTo>
                  <a:lnTo>
                    <a:pt x="242" y="24"/>
                  </a:lnTo>
                  <a:lnTo>
                    <a:pt x="244" y="22"/>
                  </a:lnTo>
                  <a:lnTo>
                    <a:pt x="244" y="24"/>
                  </a:lnTo>
                  <a:lnTo>
                    <a:pt x="246" y="24"/>
                  </a:lnTo>
                  <a:lnTo>
                    <a:pt x="244" y="24"/>
                  </a:lnTo>
                  <a:lnTo>
                    <a:pt x="246" y="24"/>
                  </a:lnTo>
                  <a:lnTo>
                    <a:pt x="244" y="24"/>
                  </a:lnTo>
                  <a:lnTo>
                    <a:pt x="244" y="27"/>
                  </a:lnTo>
                  <a:lnTo>
                    <a:pt x="246" y="27"/>
                  </a:lnTo>
                  <a:lnTo>
                    <a:pt x="246" y="29"/>
                  </a:lnTo>
                  <a:lnTo>
                    <a:pt x="249" y="29"/>
                  </a:lnTo>
                  <a:lnTo>
                    <a:pt x="249" y="27"/>
                  </a:lnTo>
                  <a:lnTo>
                    <a:pt x="249" y="24"/>
                  </a:lnTo>
                  <a:lnTo>
                    <a:pt x="251" y="24"/>
                  </a:lnTo>
                  <a:lnTo>
                    <a:pt x="251" y="27"/>
                  </a:lnTo>
                  <a:lnTo>
                    <a:pt x="254" y="27"/>
                  </a:lnTo>
                  <a:lnTo>
                    <a:pt x="251" y="27"/>
                  </a:lnTo>
                  <a:lnTo>
                    <a:pt x="251" y="29"/>
                  </a:lnTo>
                  <a:lnTo>
                    <a:pt x="254" y="29"/>
                  </a:lnTo>
                  <a:lnTo>
                    <a:pt x="256" y="27"/>
                  </a:lnTo>
                  <a:lnTo>
                    <a:pt x="254" y="27"/>
                  </a:lnTo>
                  <a:lnTo>
                    <a:pt x="254" y="24"/>
                  </a:lnTo>
                  <a:lnTo>
                    <a:pt x="254" y="22"/>
                  </a:lnTo>
                  <a:lnTo>
                    <a:pt x="251" y="22"/>
                  </a:lnTo>
                  <a:lnTo>
                    <a:pt x="249" y="22"/>
                  </a:lnTo>
                  <a:lnTo>
                    <a:pt x="251" y="22"/>
                  </a:lnTo>
                  <a:lnTo>
                    <a:pt x="251" y="19"/>
                  </a:lnTo>
                  <a:lnTo>
                    <a:pt x="249" y="19"/>
                  </a:lnTo>
                  <a:lnTo>
                    <a:pt x="249" y="17"/>
                  </a:lnTo>
                  <a:lnTo>
                    <a:pt x="251" y="17"/>
                  </a:lnTo>
                  <a:lnTo>
                    <a:pt x="251" y="15"/>
                  </a:lnTo>
                  <a:lnTo>
                    <a:pt x="251" y="17"/>
                  </a:lnTo>
                  <a:lnTo>
                    <a:pt x="254" y="17"/>
                  </a:lnTo>
                  <a:lnTo>
                    <a:pt x="256" y="17"/>
                  </a:lnTo>
                  <a:lnTo>
                    <a:pt x="258" y="17"/>
                  </a:lnTo>
                  <a:lnTo>
                    <a:pt x="258" y="15"/>
                  </a:lnTo>
                  <a:lnTo>
                    <a:pt x="258" y="17"/>
                  </a:lnTo>
                  <a:lnTo>
                    <a:pt x="261" y="17"/>
                  </a:lnTo>
                  <a:lnTo>
                    <a:pt x="261" y="19"/>
                  </a:lnTo>
                  <a:lnTo>
                    <a:pt x="261" y="17"/>
                  </a:lnTo>
                  <a:lnTo>
                    <a:pt x="258" y="19"/>
                  </a:lnTo>
                  <a:lnTo>
                    <a:pt x="261" y="19"/>
                  </a:lnTo>
                  <a:lnTo>
                    <a:pt x="258" y="19"/>
                  </a:lnTo>
                  <a:lnTo>
                    <a:pt x="261" y="19"/>
                  </a:lnTo>
                  <a:lnTo>
                    <a:pt x="263" y="19"/>
                  </a:lnTo>
                  <a:lnTo>
                    <a:pt x="263" y="22"/>
                  </a:lnTo>
                  <a:lnTo>
                    <a:pt x="265" y="22"/>
                  </a:lnTo>
                  <a:lnTo>
                    <a:pt x="265" y="19"/>
                  </a:lnTo>
                  <a:lnTo>
                    <a:pt x="268" y="19"/>
                  </a:lnTo>
                  <a:lnTo>
                    <a:pt x="270" y="19"/>
                  </a:lnTo>
                  <a:lnTo>
                    <a:pt x="270" y="22"/>
                  </a:lnTo>
                  <a:lnTo>
                    <a:pt x="270" y="19"/>
                  </a:lnTo>
                  <a:lnTo>
                    <a:pt x="273" y="19"/>
                  </a:lnTo>
                  <a:lnTo>
                    <a:pt x="275" y="19"/>
                  </a:lnTo>
                  <a:lnTo>
                    <a:pt x="275" y="17"/>
                  </a:lnTo>
                  <a:lnTo>
                    <a:pt x="277" y="17"/>
                  </a:lnTo>
                  <a:lnTo>
                    <a:pt x="280" y="17"/>
                  </a:lnTo>
                  <a:lnTo>
                    <a:pt x="282" y="17"/>
                  </a:lnTo>
                  <a:lnTo>
                    <a:pt x="284" y="17"/>
                  </a:lnTo>
                  <a:lnTo>
                    <a:pt x="287" y="17"/>
                  </a:lnTo>
                  <a:lnTo>
                    <a:pt x="287" y="15"/>
                  </a:lnTo>
                  <a:lnTo>
                    <a:pt x="289" y="15"/>
                  </a:lnTo>
                  <a:lnTo>
                    <a:pt x="292" y="15"/>
                  </a:lnTo>
                  <a:lnTo>
                    <a:pt x="294" y="15"/>
                  </a:lnTo>
                  <a:lnTo>
                    <a:pt x="296" y="15"/>
                  </a:lnTo>
                  <a:lnTo>
                    <a:pt x="299" y="15"/>
                  </a:lnTo>
                  <a:lnTo>
                    <a:pt x="301" y="15"/>
                  </a:lnTo>
                  <a:lnTo>
                    <a:pt x="301" y="12"/>
                  </a:lnTo>
                  <a:lnTo>
                    <a:pt x="303" y="12"/>
                  </a:lnTo>
                  <a:lnTo>
                    <a:pt x="303" y="15"/>
                  </a:lnTo>
                  <a:lnTo>
                    <a:pt x="306" y="15"/>
                  </a:lnTo>
                  <a:lnTo>
                    <a:pt x="308" y="17"/>
                  </a:lnTo>
                  <a:lnTo>
                    <a:pt x="306" y="17"/>
                  </a:lnTo>
                  <a:lnTo>
                    <a:pt x="308" y="17"/>
                  </a:lnTo>
                  <a:lnTo>
                    <a:pt x="308" y="19"/>
                  </a:lnTo>
                  <a:lnTo>
                    <a:pt x="308" y="22"/>
                  </a:lnTo>
                  <a:lnTo>
                    <a:pt x="306" y="22"/>
                  </a:lnTo>
                  <a:lnTo>
                    <a:pt x="306" y="24"/>
                  </a:lnTo>
                  <a:lnTo>
                    <a:pt x="303" y="24"/>
                  </a:lnTo>
                  <a:lnTo>
                    <a:pt x="301" y="24"/>
                  </a:lnTo>
                  <a:lnTo>
                    <a:pt x="299" y="27"/>
                  </a:lnTo>
                  <a:lnTo>
                    <a:pt x="299" y="24"/>
                  </a:lnTo>
                  <a:lnTo>
                    <a:pt x="299" y="27"/>
                  </a:lnTo>
                  <a:lnTo>
                    <a:pt x="301" y="27"/>
                  </a:lnTo>
                  <a:lnTo>
                    <a:pt x="301" y="24"/>
                  </a:lnTo>
                  <a:lnTo>
                    <a:pt x="301" y="27"/>
                  </a:lnTo>
                  <a:lnTo>
                    <a:pt x="299" y="27"/>
                  </a:lnTo>
                  <a:lnTo>
                    <a:pt x="296" y="27"/>
                  </a:lnTo>
                  <a:lnTo>
                    <a:pt x="294" y="27"/>
                  </a:lnTo>
                  <a:lnTo>
                    <a:pt x="292" y="27"/>
                  </a:lnTo>
                  <a:lnTo>
                    <a:pt x="289" y="24"/>
                  </a:lnTo>
                  <a:lnTo>
                    <a:pt x="289" y="27"/>
                  </a:lnTo>
                  <a:lnTo>
                    <a:pt x="289" y="24"/>
                  </a:lnTo>
                  <a:lnTo>
                    <a:pt x="287" y="24"/>
                  </a:lnTo>
                  <a:lnTo>
                    <a:pt x="287" y="27"/>
                  </a:lnTo>
                  <a:lnTo>
                    <a:pt x="287" y="24"/>
                  </a:lnTo>
                  <a:lnTo>
                    <a:pt x="284" y="24"/>
                  </a:lnTo>
                  <a:lnTo>
                    <a:pt x="282" y="27"/>
                  </a:lnTo>
                  <a:lnTo>
                    <a:pt x="280" y="27"/>
                  </a:lnTo>
                  <a:lnTo>
                    <a:pt x="277" y="27"/>
                  </a:lnTo>
                  <a:lnTo>
                    <a:pt x="275" y="29"/>
                  </a:lnTo>
                  <a:lnTo>
                    <a:pt x="273" y="29"/>
                  </a:lnTo>
                  <a:lnTo>
                    <a:pt x="270" y="29"/>
                  </a:lnTo>
                  <a:lnTo>
                    <a:pt x="270" y="31"/>
                  </a:lnTo>
                  <a:lnTo>
                    <a:pt x="270" y="29"/>
                  </a:lnTo>
                  <a:lnTo>
                    <a:pt x="270" y="31"/>
                  </a:lnTo>
                  <a:lnTo>
                    <a:pt x="268" y="31"/>
                  </a:lnTo>
                  <a:lnTo>
                    <a:pt x="265" y="31"/>
                  </a:lnTo>
                  <a:lnTo>
                    <a:pt x="268" y="31"/>
                  </a:lnTo>
                  <a:lnTo>
                    <a:pt x="265" y="31"/>
                  </a:lnTo>
                  <a:lnTo>
                    <a:pt x="265" y="34"/>
                  </a:lnTo>
                  <a:lnTo>
                    <a:pt x="263" y="34"/>
                  </a:lnTo>
                  <a:lnTo>
                    <a:pt x="261" y="34"/>
                  </a:lnTo>
                  <a:lnTo>
                    <a:pt x="258" y="34"/>
                  </a:lnTo>
                  <a:lnTo>
                    <a:pt x="256" y="31"/>
                  </a:lnTo>
                  <a:lnTo>
                    <a:pt x="256" y="34"/>
                  </a:lnTo>
                  <a:lnTo>
                    <a:pt x="258" y="34"/>
                  </a:lnTo>
                  <a:lnTo>
                    <a:pt x="258" y="36"/>
                  </a:lnTo>
                  <a:lnTo>
                    <a:pt x="256" y="36"/>
                  </a:lnTo>
                  <a:lnTo>
                    <a:pt x="258" y="36"/>
                  </a:lnTo>
                  <a:lnTo>
                    <a:pt x="256" y="36"/>
                  </a:lnTo>
                  <a:lnTo>
                    <a:pt x="258" y="36"/>
                  </a:lnTo>
                  <a:lnTo>
                    <a:pt x="261" y="36"/>
                  </a:lnTo>
                  <a:lnTo>
                    <a:pt x="263" y="36"/>
                  </a:lnTo>
                  <a:lnTo>
                    <a:pt x="265" y="36"/>
                  </a:lnTo>
                  <a:lnTo>
                    <a:pt x="268" y="36"/>
                  </a:lnTo>
                  <a:lnTo>
                    <a:pt x="268" y="34"/>
                  </a:lnTo>
                  <a:lnTo>
                    <a:pt x="270" y="34"/>
                  </a:lnTo>
                  <a:lnTo>
                    <a:pt x="268" y="34"/>
                  </a:lnTo>
                  <a:lnTo>
                    <a:pt x="268" y="36"/>
                  </a:lnTo>
                  <a:lnTo>
                    <a:pt x="268" y="34"/>
                  </a:lnTo>
                  <a:lnTo>
                    <a:pt x="270" y="34"/>
                  </a:lnTo>
                  <a:lnTo>
                    <a:pt x="273" y="34"/>
                  </a:lnTo>
                  <a:lnTo>
                    <a:pt x="275" y="34"/>
                  </a:lnTo>
                  <a:lnTo>
                    <a:pt x="277" y="34"/>
                  </a:lnTo>
                  <a:lnTo>
                    <a:pt x="280" y="34"/>
                  </a:lnTo>
                  <a:lnTo>
                    <a:pt x="284" y="31"/>
                  </a:lnTo>
                  <a:lnTo>
                    <a:pt x="284" y="34"/>
                  </a:lnTo>
                  <a:lnTo>
                    <a:pt x="292" y="34"/>
                  </a:lnTo>
                  <a:lnTo>
                    <a:pt x="294" y="34"/>
                  </a:lnTo>
                  <a:lnTo>
                    <a:pt x="294" y="36"/>
                  </a:lnTo>
                  <a:lnTo>
                    <a:pt x="292" y="36"/>
                  </a:lnTo>
                  <a:lnTo>
                    <a:pt x="289" y="36"/>
                  </a:lnTo>
                  <a:lnTo>
                    <a:pt x="289" y="38"/>
                  </a:lnTo>
                  <a:lnTo>
                    <a:pt x="287" y="38"/>
                  </a:lnTo>
                  <a:lnTo>
                    <a:pt x="284" y="38"/>
                  </a:lnTo>
                  <a:lnTo>
                    <a:pt x="287" y="38"/>
                  </a:lnTo>
                  <a:lnTo>
                    <a:pt x="287" y="41"/>
                  </a:lnTo>
                  <a:lnTo>
                    <a:pt x="284" y="41"/>
                  </a:lnTo>
                  <a:lnTo>
                    <a:pt x="287" y="41"/>
                  </a:lnTo>
                  <a:lnTo>
                    <a:pt x="289" y="41"/>
                  </a:lnTo>
                  <a:lnTo>
                    <a:pt x="292" y="43"/>
                  </a:lnTo>
                  <a:lnTo>
                    <a:pt x="294" y="43"/>
                  </a:lnTo>
                  <a:lnTo>
                    <a:pt x="294" y="46"/>
                  </a:lnTo>
                  <a:lnTo>
                    <a:pt x="294" y="43"/>
                  </a:lnTo>
                  <a:lnTo>
                    <a:pt x="292" y="43"/>
                  </a:lnTo>
                  <a:lnTo>
                    <a:pt x="294" y="43"/>
                  </a:lnTo>
                  <a:lnTo>
                    <a:pt x="294" y="41"/>
                  </a:lnTo>
                  <a:lnTo>
                    <a:pt x="292" y="41"/>
                  </a:lnTo>
                  <a:lnTo>
                    <a:pt x="296" y="41"/>
                  </a:lnTo>
                  <a:lnTo>
                    <a:pt x="299" y="41"/>
                  </a:lnTo>
                  <a:lnTo>
                    <a:pt x="301" y="41"/>
                  </a:lnTo>
                  <a:lnTo>
                    <a:pt x="301" y="43"/>
                  </a:lnTo>
                  <a:lnTo>
                    <a:pt x="303" y="43"/>
                  </a:lnTo>
                  <a:lnTo>
                    <a:pt x="301" y="43"/>
                  </a:lnTo>
                  <a:lnTo>
                    <a:pt x="306" y="46"/>
                  </a:lnTo>
                  <a:lnTo>
                    <a:pt x="306" y="48"/>
                  </a:lnTo>
                  <a:lnTo>
                    <a:pt x="308" y="48"/>
                  </a:lnTo>
                  <a:lnTo>
                    <a:pt x="306" y="48"/>
                  </a:lnTo>
                  <a:lnTo>
                    <a:pt x="308" y="48"/>
                  </a:lnTo>
                  <a:lnTo>
                    <a:pt x="306" y="50"/>
                  </a:lnTo>
                  <a:lnTo>
                    <a:pt x="308" y="50"/>
                  </a:lnTo>
                  <a:lnTo>
                    <a:pt x="306" y="50"/>
                  </a:lnTo>
                  <a:lnTo>
                    <a:pt x="308" y="53"/>
                  </a:lnTo>
                  <a:lnTo>
                    <a:pt x="306" y="53"/>
                  </a:lnTo>
                  <a:lnTo>
                    <a:pt x="308" y="53"/>
                  </a:lnTo>
                  <a:lnTo>
                    <a:pt x="311" y="53"/>
                  </a:lnTo>
                  <a:lnTo>
                    <a:pt x="311" y="55"/>
                  </a:lnTo>
                  <a:lnTo>
                    <a:pt x="313" y="55"/>
                  </a:lnTo>
                  <a:lnTo>
                    <a:pt x="311" y="55"/>
                  </a:lnTo>
                  <a:lnTo>
                    <a:pt x="311" y="53"/>
                  </a:lnTo>
                  <a:lnTo>
                    <a:pt x="313" y="53"/>
                  </a:lnTo>
                  <a:lnTo>
                    <a:pt x="313" y="50"/>
                  </a:lnTo>
                  <a:lnTo>
                    <a:pt x="315" y="50"/>
                  </a:lnTo>
                  <a:lnTo>
                    <a:pt x="315" y="48"/>
                  </a:lnTo>
                  <a:lnTo>
                    <a:pt x="313" y="48"/>
                  </a:lnTo>
                  <a:lnTo>
                    <a:pt x="311" y="46"/>
                  </a:lnTo>
                  <a:lnTo>
                    <a:pt x="308" y="46"/>
                  </a:lnTo>
                  <a:lnTo>
                    <a:pt x="311" y="46"/>
                  </a:lnTo>
                  <a:lnTo>
                    <a:pt x="311" y="43"/>
                  </a:lnTo>
                  <a:lnTo>
                    <a:pt x="308" y="43"/>
                  </a:lnTo>
                  <a:lnTo>
                    <a:pt x="311" y="43"/>
                  </a:lnTo>
                  <a:lnTo>
                    <a:pt x="311" y="41"/>
                  </a:lnTo>
                  <a:lnTo>
                    <a:pt x="308" y="41"/>
                  </a:lnTo>
                  <a:lnTo>
                    <a:pt x="306" y="38"/>
                  </a:lnTo>
                  <a:lnTo>
                    <a:pt x="308" y="38"/>
                  </a:lnTo>
                  <a:lnTo>
                    <a:pt x="306" y="38"/>
                  </a:lnTo>
                  <a:lnTo>
                    <a:pt x="306" y="36"/>
                  </a:lnTo>
                  <a:lnTo>
                    <a:pt x="308" y="34"/>
                  </a:lnTo>
                  <a:lnTo>
                    <a:pt x="306" y="34"/>
                  </a:lnTo>
                  <a:lnTo>
                    <a:pt x="308" y="34"/>
                  </a:lnTo>
                  <a:lnTo>
                    <a:pt x="311" y="34"/>
                  </a:lnTo>
                  <a:lnTo>
                    <a:pt x="311" y="31"/>
                  </a:lnTo>
                  <a:lnTo>
                    <a:pt x="313" y="31"/>
                  </a:lnTo>
                  <a:lnTo>
                    <a:pt x="315" y="31"/>
                  </a:lnTo>
                  <a:lnTo>
                    <a:pt x="318" y="31"/>
                  </a:lnTo>
                  <a:lnTo>
                    <a:pt x="315" y="31"/>
                  </a:lnTo>
                  <a:lnTo>
                    <a:pt x="315" y="29"/>
                  </a:lnTo>
                  <a:lnTo>
                    <a:pt x="318" y="29"/>
                  </a:lnTo>
                  <a:lnTo>
                    <a:pt x="320" y="29"/>
                  </a:lnTo>
                  <a:lnTo>
                    <a:pt x="322" y="29"/>
                  </a:lnTo>
                  <a:lnTo>
                    <a:pt x="322" y="27"/>
                  </a:lnTo>
                  <a:lnTo>
                    <a:pt x="320" y="27"/>
                  </a:lnTo>
                  <a:lnTo>
                    <a:pt x="318" y="27"/>
                  </a:lnTo>
                  <a:lnTo>
                    <a:pt x="320" y="27"/>
                  </a:lnTo>
                  <a:lnTo>
                    <a:pt x="320" y="24"/>
                  </a:lnTo>
                  <a:lnTo>
                    <a:pt x="322" y="24"/>
                  </a:lnTo>
                  <a:lnTo>
                    <a:pt x="322" y="22"/>
                  </a:lnTo>
                  <a:lnTo>
                    <a:pt x="325" y="22"/>
                  </a:lnTo>
                  <a:lnTo>
                    <a:pt x="325" y="19"/>
                  </a:lnTo>
                  <a:lnTo>
                    <a:pt x="327" y="19"/>
                  </a:lnTo>
                  <a:lnTo>
                    <a:pt x="329" y="17"/>
                  </a:lnTo>
                  <a:lnTo>
                    <a:pt x="329" y="19"/>
                  </a:lnTo>
                  <a:lnTo>
                    <a:pt x="334" y="19"/>
                  </a:lnTo>
                  <a:lnTo>
                    <a:pt x="337" y="19"/>
                  </a:lnTo>
                  <a:lnTo>
                    <a:pt x="339" y="22"/>
                  </a:lnTo>
                  <a:lnTo>
                    <a:pt x="341" y="22"/>
                  </a:lnTo>
                  <a:lnTo>
                    <a:pt x="341" y="24"/>
                  </a:lnTo>
                  <a:lnTo>
                    <a:pt x="339" y="24"/>
                  </a:lnTo>
                  <a:lnTo>
                    <a:pt x="337" y="24"/>
                  </a:lnTo>
                  <a:lnTo>
                    <a:pt x="339" y="24"/>
                  </a:lnTo>
                  <a:lnTo>
                    <a:pt x="341" y="24"/>
                  </a:lnTo>
                  <a:lnTo>
                    <a:pt x="344" y="24"/>
                  </a:lnTo>
                  <a:lnTo>
                    <a:pt x="346" y="27"/>
                  </a:lnTo>
                  <a:lnTo>
                    <a:pt x="344" y="27"/>
                  </a:lnTo>
                  <a:lnTo>
                    <a:pt x="346" y="29"/>
                  </a:lnTo>
                  <a:lnTo>
                    <a:pt x="348" y="29"/>
                  </a:lnTo>
                  <a:lnTo>
                    <a:pt x="348" y="31"/>
                  </a:lnTo>
                  <a:lnTo>
                    <a:pt x="351" y="31"/>
                  </a:lnTo>
                  <a:lnTo>
                    <a:pt x="353" y="31"/>
                  </a:lnTo>
                  <a:lnTo>
                    <a:pt x="351" y="31"/>
                  </a:lnTo>
                  <a:lnTo>
                    <a:pt x="351" y="34"/>
                  </a:lnTo>
                  <a:lnTo>
                    <a:pt x="351" y="36"/>
                  </a:lnTo>
                  <a:lnTo>
                    <a:pt x="351" y="38"/>
                  </a:lnTo>
                  <a:lnTo>
                    <a:pt x="353" y="38"/>
                  </a:lnTo>
                  <a:lnTo>
                    <a:pt x="356" y="38"/>
                  </a:lnTo>
                  <a:lnTo>
                    <a:pt x="356" y="41"/>
                  </a:lnTo>
                  <a:lnTo>
                    <a:pt x="358" y="41"/>
                  </a:lnTo>
                  <a:lnTo>
                    <a:pt x="356" y="41"/>
                  </a:lnTo>
                  <a:lnTo>
                    <a:pt x="356" y="43"/>
                  </a:lnTo>
                  <a:lnTo>
                    <a:pt x="358" y="43"/>
                  </a:lnTo>
                  <a:lnTo>
                    <a:pt x="356" y="43"/>
                  </a:lnTo>
                  <a:lnTo>
                    <a:pt x="356" y="46"/>
                  </a:lnTo>
                  <a:lnTo>
                    <a:pt x="358" y="46"/>
                  </a:lnTo>
                  <a:lnTo>
                    <a:pt x="358" y="48"/>
                  </a:lnTo>
                  <a:lnTo>
                    <a:pt x="356" y="48"/>
                  </a:lnTo>
                  <a:lnTo>
                    <a:pt x="358" y="48"/>
                  </a:lnTo>
                  <a:lnTo>
                    <a:pt x="360" y="48"/>
                  </a:lnTo>
                  <a:lnTo>
                    <a:pt x="360" y="50"/>
                  </a:lnTo>
                  <a:lnTo>
                    <a:pt x="363" y="53"/>
                  </a:lnTo>
                  <a:lnTo>
                    <a:pt x="363" y="55"/>
                  </a:lnTo>
                  <a:lnTo>
                    <a:pt x="365" y="55"/>
                  </a:lnTo>
                  <a:lnTo>
                    <a:pt x="367" y="55"/>
                  </a:lnTo>
                  <a:lnTo>
                    <a:pt x="367" y="57"/>
                  </a:lnTo>
                  <a:lnTo>
                    <a:pt x="367" y="60"/>
                  </a:lnTo>
                  <a:lnTo>
                    <a:pt x="365" y="60"/>
                  </a:lnTo>
                  <a:lnTo>
                    <a:pt x="363" y="62"/>
                  </a:lnTo>
                  <a:lnTo>
                    <a:pt x="365" y="62"/>
                  </a:lnTo>
                  <a:lnTo>
                    <a:pt x="363" y="62"/>
                  </a:lnTo>
                  <a:lnTo>
                    <a:pt x="365" y="62"/>
                  </a:lnTo>
                  <a:lnTo>
                    <a:pt x="363" y="62"/>
                  </a:lnTo>
                  <a:lnTo>
                    <a:pt x="363" y="65"/>
                  </a:lnTo>
                  <a:lnTo>
                    <a:pt x="365" y="65"/>
                  </a:lnTo>
                  <a:lnTo>
                    <a:pt x="367" y="67"/>
                  </a:lnTo>
                  <a:lnTo>
                    <a:pt x="365" y="65"/>
                  </a:lnTo>
                  <a:lnTo>
                    <a:pt x="367" y="65"/>
                  </a:lnTo>
                  <a:lnTo>
                    <a:pt x="367" y="62"/>
                  </a:lnTo>
                  <a:lnTo>
                    <a:pt x="370" y="62"/>
                  </a:lnTo>
                  <a:lnTo>
                    <a:pt x="372" y="62"/>
                  </a:lnTo>
                  <a:lnTo>
                    <a:pt x="375" y="62"/>
                  </a:lnTo>
                  <a:lnTo>
                    <a:pt x="375" y="65"/>
                  </a:lnTo>
                  <a:lnTo>
                    <a:pt x="377" y="65"/>
                  </a:lnTo>
                  <a:lnTo>
                    <a:pt x="377" y="67"/>
                  </a:lnTo>
                  <a:lnTo>
                    <a:pt x="379" y="69"/>
                  </a:lnTo>
                  <a:lnTo>
                    <a:pt x="379" y="72"/>
                  </a:lnTo>
                  <a:lnTo>
                    <a:pt x="382" y="72"/>
                  </a:lnTo>
                  <a:lnTo>
                    <a:pt x="382" y="74"/>
                  </a:lnTo>
                  <a:lnTo>
                    <a:pt x="384" y="76"/>
                  </a:lnTo>
                  <a:lnTo>
                    <a:pt x="386" y="76"/>
                  </a:lnTo>
                  <a:lnTo>
                    <a:pt x="386" y="79"/>
                  </a:lnTo>
                  <a:lnTo>
                    <a:pt x="389" y="79"/>
                  </a:lnTo>
                  <a:lnTo>
                    <a:pt x="389" y="81"/>
                  </a:lnTo>
                  <a:lnTo>
                    <a:pt x="389" y="79"/>
                  </a:lnTo>
                  <a:lnTo>
                    <a:pt x="389" y="81"/>
                  </a:lnTo>
                  <a:lnTo>
                    <a:pt x="391" y="79"/>
                  </a:lnTo>
                  <a:lnTo>
                    <a:pt x="394" y="79"/>
                  </a:lnTo>
                  <a:lnTo>
                    <a:pt x="394" y="76"/>
                  </a:lnTo>
                  <a:lnTo>
                    <a:pt x="391" y="76"/>
                  </a:lnTo>
                  <a:lnTo>
                    <a:pt x="391" y="74"/>
                  </a:lnTo>
                  <a:lnTo>
                    <a:pt x="389" y="74"/>
                  </a:lnTo>
                  <a:lnTo>
                    <a:pt x="391" y="74"/>
                  </a:lnTo>
                  <a:lnTo>
                    <a:pt x="389" y="74"/>
                  </a:lnTo>
                  <a:lnTo>
                    <a:pt x="389" y="72"/>
                  </a:lnTo>
                  <a:lnTo>
                    <a:pt x="386" y="72"/>
                  </a:lnTo>
                  <a:lnTo>
                    <a:pt x="389" y="69"/>
                  </a:lnTo>
                  <a:lnTo>
                    <a:pt x="386" y="69"/>
                  </a:lnTo>
                  <a:lnTo>
                    <a:pt x="386" y="67"/>
                  </a:lnTo>
                  <a:lnTo>
                    <a:pt x="384" y="67"/>
                  </a:lnTo>
                  <a:lnTo>
                    <a:pt x="384" y="65"/>
                  </a:lnTo>
                  <a:lnTo>
                    <a:pt x="382" y="65"/>
                  </a:lnTo>
                  <a:lnTo>
                    <a:pt x="382" y="62"/>
                  </a:lnTo>
                  <a:lnTo>
                    <a:pt x="379" y="60"/>
                  </a:lnTo>
                  <a:lnTo>
                    <a:pt x="379" y="57"/>
                  </a:lnTo>
                  <a:lnTo>
                    <a:pt x="379" y="55"/>
                  </a:lnTo>
                  <a:lnTo>
                    <a:pt x="377" y="55"/>
                  </a:lnTo>
                  <a:lnTo>
                    <a:pt x="375" y="53"/>
                  </a:lnTo>
                  <a:lnTo>
                    <a:pt x="375" y="50"/>
                  </a:lnTo>
                  <a:lnTo>
                    <a:pt x="375" y="48"/>
                  </a:lnTo>
                  <a:lnTo>
                    <a:pt x="375" y="46"/>
                  </a:lnTo>
                  <a:lnTo>
                    <a:pt x="375" y="43"/>
                  </a:lnTo>
                  <a:lnTo>
                    <a:pt x="372" y="43"/>
                  </a:lnTo>
                  <a:lnTo>
                    <a:pt x="372" y="41"/>
                  </a:lnTo>
                  <a:lnTo>
                    <a:pt x="372" y="38"/>
                  </a:lnTo>
                  <a:lnTo>
                    <a:pt x="372" y="36"/>
                  </a:lnTo>
                  <a:lnTo>
                    <a:pt x="370" y="34"/>
                  </a:lnTo>
                  <a:lnTo>
                    <a:pt x="370" y="31"/>
                  </a:lnTo>
                  <a:lnTo>
                    <a:pt x="370" y="29"/>
                  </a:lnTo>
                  <a:lnTo>
                    <a:pt x="367" y="29"/>
                  </a:lnTo>
                  <a:lnTo>
                    <a:pt x="367" y="27"/>
                  </a:lnTo>
                  <a:lnTo>
                    <a:pt x="365" y="27"/>
                  </a:lnTo>
                  <a:lnTo>
                    <a:pt x="367" y="24"/>
                  </a:lnTo>
                  <a:lnTo>
                    <a:pt x="365" y="24"/>
                  </a:lnTo>
                  <a:lnTo>
                    <a:pt x="365" y="22"/>
                  </a:lnTo>
                  <a:lnTo>
                    <a:pt x="365" y="19"/>
                  </a:lnTo>
                  <a:lnTo>
                    <a:pt x="367" y="19"/>
                  </a:lnTo>
                  <a:lnTo>
                    <a:pt x="365" y="19"/>
                  </a:lnTo>
                  <a:lnTo>
                    <a:pt x="365" y="17"/>
                  </a:lnTo>
                  <a:lnTo>
                    <a:pt x="365" y="15"/>
                  </a:lnTo>
                  <a:lnTo>
                    <a:pt x="367" y="12"/>
                  </a:lnTo>
                  <a:lnTo>
                    <a:pt x="370" y="12"/>
                  </a:lnTo>
                  <a:lnTo>
                    <a:pt x="372" y="15"/>
                  </a:lnTo>
                  <a:lnTo>
                    <a:pt x="377" y="15"/>
                  </a:lnTo>
                  <a:lnTo>
                    <a:pt x="379" y="15"/>
                  </a:lnTo>
                  <a:lnTo>
                    <a:pt x="377" y="15"/>
                  </a:lnTo>
                  <a:lnTo>
                    <a:pt x="379" y="15"/>
                  </a:lnTo>
                  <a:lnTo>
                    <a:pt x="382" y="15"/>
                  </a:lnTo>
                  <a:lnTo>
                    <a:pt x="379" y="12"/>
                  </a:lnTo>
                  <a:lnTo>
                    <a:pt x="377" y="12"/>
                  </a:lnTo>
                  <a:lnTo>
                    <a:pt x="377" y="10"/>
                  </a:lnTo>
                  <a:lnTo>
                    <a:pt x="375" y="10"/>
                  </a:lnTo>
                  <a:lnTo>
                    <a:pt x="377" y="10"/>
                  </a:lnTo>
                  <a:lnTo>
                    <a:pt x="375" y="10"/>
                  </a:lnTo>
                  <a:lnTo>
                    <a:pt x="375" y="7"/>
                  </a:lnTo>
                  <a:lnTo>
                    <a:pt x="377" y="7"/>
                  </a:lnTo>
                  <a:lnTo>
                    <a:pt x="375" y="7"/>
                  </a:lnTo>
                  <a:lnTo>
                    <a:pt x="377" y="7"/>
                  </a:lnTo>
                  <a:lnTo>
                    <a:pt x="377" y="5"/>
                  </a:lnTo>
                  <a:lnTo>
                    <a:pt x="379" y="3"/>
                  </a:lnTo>
                  <a:lnTo>
                    <a:pt x="382" y="3"/>
                  </a:lnTo>
                  <a:lnTo>
                    <a:pt x="382" y="0"/>
                  </a:lnTo>
                  <a:lnTo>
                    <a:pt x="384" y="0"/>
                  </a:lnTo>
                  <a:lnTo>
                    <a:pt x="386" y="0"/>
                  </a:lnTo>
                  <a:lnTo>
                    <a:pt x="389" y="0"/>
                  </a:lnTo>
                  <a:lnTo>
                    <a:pt x="389" y="3"/>
                  </a:lnTo>
                  <a:lnTo>
                    <a:pt x="391" y="3"/>
                  </a:lnTo>
                  <a:lnTo>
                    <a:pt x="394" y="3"/>
                  </a:lnTo>
                  <a:lnTo>
                    <a:pt x="396" y="3"/>
                  </a:lnTo>
                  <a:lnTo>
                    <a:pt x="396" y="5"/>
                  </a:lnTo>
                  <a:lnTo>
                    <a:pt x="396" y="7"/>
                  </a:lnTo>
                  <a:lnTo>
                    <a:pt x="398" y="7"/>
                  </a:lnTo>
                  <a:lnTo>
                    <a:pt x="401" y="7"/>
                  </a:lnTo>
                  <a:lnTo>
                    <a:pt x="401" y="10"/>
                  </a:lnTo>
                  <a:lnTo>
                    <a:pt x="398" y="10"/>
                  </a:lnTo>
                  <a:lnTo>
                    <a:pt x="401" y="12"/>
                  </a:lnTo>
                  <a:lnTo>
                    <a:pt x="403" y="12"/>
                  </a:lnTo>
                  <a:lnTo>
                    <a:pt x="403" y="15"/>
                  </a:lnTo>
                  <a:lnTo>
                    <a:pt x="405" y="15"/>
                  </a:lnTo>
                  <a:lnTo>
                    <a:pt x="408" y="15"/>
                  </a:lnTo>
                  <a:lnTo>
                    <a:pt x="408" y="12"/>
                  </a:lnTo>
                  <a:lnTo>
                    <a:pt x="405" y="12"/>
                  </a:lnTo>
                  <a:lnTo>
                    <a:pt x="405" y="10"/>
                  </a:lnTo>
                  <a:lnTo>
                    <a:pt x="403" y="10"/>
                  </a:lnTo>
                  <a:lnTo>
                    <a:pt x="405" y="10"/>
                  </a:lnTo>
                  <a:lnTo>
                    <a:pt x="408" y="7"/>
                  </a:lnTo>
                  <a:lnTo>
                    <a:pt x="410" y="7"/>
                  </a:lnTo>
                  <a:lnTo>
                    <a:pt x="413" y="7"/>
                  </a:lnTo>
                  <a:lnTo>
                    <a:pt x="415" y="7"/>
                  </a:lnTo>
                  <a:lnTo>
                    <a:pt x="417" y="10"/>
                  </a:lnTo>
                  <a:lnTo>
                    <a:pt x="420" y="10"/>
                  </a:lnTo>
                  <a:lnTo>
                    <a:pt x="422" y="10"/>
                  </a:lnTo>
                  <a:lnTo>
                    <a:pt x="422" y="12"/>
                  </a:lnTo>
                  <a:lnTo>
                    <a:pt x="424" y="12"/>
                  </a:lnTo>
                  <a:lnTo>
                    <a:pt x="427" y="12"/>
                  </a:lnTo>
                  <a:lnTo>
                    <a:pt x="429" y="12"/>
                  </a:lnTo>
                  <a:lnTo>
                    <a:pt x="432" y="15"/>
                  </a:lnTo>
                  <a:lnTo>
                    <a:pt x="434" y="15"/>
                  </a:lnTo>
                  <a:lnTo>
                    <a:pt x="434" y="17"/>
                  </a:lnTo>
                  <a:lnTo>
                    <a:pt x="436" y="17"/>
                  </a:lnTo>
                  <a:lnTo>
                    <a:pt x="436" y="19"/>
                  </a:lnTo>
                  <a:lnTo>
                    <a:pt x="439" y="19"/>
                  </a:lnTo>
                  <a:lnTo>
                    <a:pt x="441" y="22"/>
                  </a:lnTo>
                  <a:lnTo>
                    <a:pt x="443" y="22"/>
                  </a:lnTo>
                  <a:lnTo>
                    <a:pt x="443" y="24"/>
                  </a:lnTo>
                  <a:lnTo>
                    <a:pt x="443" y="27"/>
                  </a:lnTo>
                  <a:lnTo>
                    <a:pt x="441" y="27"/>
                  </a:lnTo>
                  <a:lnTo>
                    <a:pt x="439" y="27"/>
                  </a:lnTo>
                  <a:lnTo>
                    <a:pt x="439" y="29"/>
                  </a:lnTo>
                  <a:lnTo>
                    <a:pt x="436" y="31"/>
                  </a:lnTo>
                  <a:lnTo>
                    <a:pt x="434" y="31"/>
                  </a:lnTo>
                  <a:lnTo>
                    <a:pt x="432" y="31"/>
                  </a:lnTo>
                  <a:lnTo>
                    <a:pt x="434" y="34"/>
                  </a:lnTo>
                  <a:lnTo>
                    <a:pt x="432" y="36"/>
                  </a:lnTo>
                  <a:lnTo>
                    <a:pt x="429" y="36"/>
                  </a:lnTo>
                  <a:lnTo>
                    <a:pt x="432" y="36"/>
                  </a:lnTo>
                  <a:lnTo>
                    <a:pt x="429" y="36"/>
                  </a:lnTo>
                  <a:lnTo>
                    <a:pt x="432" y="36"/>
                  </a:lnTo>
                  <a:lnTo>
                    <a:pt x="429" y="36"/>
                  </a:lnTo>
                  <a:lnTo>
                    <a:pt x="432" y="36"/>
                  </a:lnTo>
                  <a:lnTo>
                    <a:pt x="434" y="36"/>
                  </a:lnTo>
                  <a:lnTo>
                    <a:pt x="434" y="38"/>
                  </a:lnTo>
                  <a:lnTo>
                    <a:pt x="434" y="41"/>
                  </a:lnTo>
                  <a:lnTo>
                    <a:pt x="436" y="41"/>
                  </a:lnTo>
                  <a:lnTo>
                    <a:pt x="436" y="43"/>
                  </a:lnTo>
                  <a:lnTo>
                    <a:pt x="434" y="43"/>
                  </a:lnTo>
                  <a:lnTo>
                    <a:pt x="434" y="46"/>
                  </a:lnTo>
                  <a:lnTo>
                    <a:pt x="432" y="46"/>
                  </a:lnTo>
                  <a:lnTo>
                    <a:pt x="432" y="48"/>
                  </a:lnTo>
                  <a:lnTo>
                    <a:pt x="429" y="48"/>
                  </a:lnTo>
                  <a:lnTo>
                    <a:pt x="432" y="48"/>
                  </a:lnTo>
                  <a:lnTo>
                    <a:pt x="434" y="48"/>
                  </a:lnTo>
                  <a:lnTo>
                    <a:pt x="436" y="46"/>
                  </a:lnTo>
                  <a:lnTo>
                    <a:pt x="439" y="46"/>
                  </a:lnTo>
                  <a:lnTo>
                    <a:pt x="441" y="46"/>
                  </a:lnTo>
                  <a:lnTo>
                    <a:pt x="441" y="43"/>
                  </a:lnTo>
                  <a:lnTo>
                    <a:pt x="443" y="43"/>
                  </a:lnTo>
                  <a:lnTo>
                    <a:pt x="443" y="41"/>
                  </a:lnTo>
                  <a:lnTo>
                    <a:pt x="443" y="38"/>
                  </a:lnTo>
                  <a:lnTo>
                    <a:pt x="443" y="36"/>
                  </a:lnTo>
                  <a:lnTo>
                    <a:pt x="446" y="34"/>
                  </a:lnTo>
                  <a:lnTo>
                    <a:pt x="446" y="31"/>
                  </a:lnTo>
                  <a:lnTo>
                    <a:pt x="448" y="31"/>
                  </a:lnTo>
                  <a:lnTo>
                    <a:pt x="450" y="31"/>
                  </a:lnTo>
                  <a:lnTo>
                    <a:pt x="453" y="31"/>
                  </a:lnTo>
                  <a:lnTo>
                    <a:pt x="455" y="31"/>
                  </a:lnTo>
                  <a:lnTo>
                    <a:pt x="455" y="34"/>
                  </a:lnTo>
                  <a:lnTo>
                    <a:pt x="458" y="34"/>
                  </a:lnTo>
                  <a:lnTo>
                    <a:pt x="460" y="34"/>
                  </a:lnTo>
                  <a:lnTo>
                    <a:pt x="462" y="34"/>
                  </a:lnTo>
                  <a:lnTo>
                    <a:pt x="462" y="36"/>
                  </a:lnTo>
                  <a:lnTo>
                    <a:pt x="465" y="36"/>
                  </a:lnTo>
                  <a:lnTo>
                    <a:pt x="467" y="36"/>
                  </a:lnTo>
                  <a:lnTo>
                    <a:pt x="465" y="36"/>
                  </a:lnTo>
                  <a:lnTo>
                    <a:pt x="465" y="38"/>
                  </a:lnTo>
                  <a:lnTo>
                    <a:pt x="467" y="38"/>
                  </a:lnTo>
                  <a:lnTo>
                    <a:pt x="465" y="38"/>
                  </a:lnTo>
                  <a:lnTo>
                    <a:pt x="467" y="38"/>
                  </a:lnTo>
                  <a:lnTo>
                    <a:pt x="469" y="41"/>
                  </a:lnTo>
                  <a:lnTo>
                    <a:pt x="467" y="41"/>
                  </a:lnTo>
                  <a:lnTo>
                    <a:pt x="469" y="41"/>
                  </a:lnTo>
                  <a:lnTo>
                    <a:pt x="469" y="43"/>
                  </a:lnTo>
                  <a:lnTo>
                    <a:pt x="472" y="43"/>
                  </a:lnTo>
                  <a:lnTo>
                    <a:pt x="469" y="43"/>
                  </a:lnTo>
                  <a:lnTo>
                    <a:pt x="469" y="46"/>
                  </a:lnTo>
                  <a:lnTo>
                    <a:pt x="472" y="46"/>
                  </a:lnTo>
                  <a:lnTo>
                    <a:pt x="469" y="46"/>
                  </a:lnTo>
                  <a:lnTo>
                    <a:pt x="472" y="46"/>
                  </a:lnTo>
                  <a:lnTo>
                    <a:pt x="469" y="48"/>
                  </a:lnTo>
                  <a:lnTo>
                    <a:pt x="472" y="48"/>
                  </a:lnTo>
                  <a:lnTo>
                    <a:pt x="469" y="48"/>
                  </a:lnTo>
                  <a:lnTo>
                    <a:pt x="472" y="48"/>
                  </a:lnTo>
                  <a:lnTo>
                    <a:pt x="469" y="48"/>
                  </a:lnTo>
                  <a:lnTo>
                    <a:pt x="472" y="48"/>
                  </a:lnTo>
                  <a:lnTo>
                    <a:pt x="469" y="48"/>
                  </a:lnTo>
                  <a:lnTo>
                    <a:pt x="472" y="50"/>
                  </a:lnTo>
                  <a:lnTo>
                    <a:pt x="469" y="50"/>
                  </a:lnTo>
                  <a:lnTo>
                    <a:pt x="472" y="50"/>
                  </a:lnTo>
                  <a:lnTo>
                    <a:pt x="469" y="50"/>
                  </a:lnTo>
                  <a:lnTo>
                    <a:pt x="469" y="53"/>
                  </a:lnTo>
                  <a:lnTo>
                    <a:pt x="467" y="53"/>
                  </a:lnTo>
                  <a:lnTo>
                    <a:pt x="467" y="55"/>
                  </a:lnTo>
                  <a:lnTo>
                    <a:pt x="465" y="55"/>
                  </a:lnTo>
                  <a:lnTo>
                    <a:pt x="462" y="55"/>
                  </a:lnTo>
                  <a:lnTo>
                    <a:pt x="462" y="57"/>
                  </a:lnTo>
                  <a:lnTo>
                    <a:pt x="465" y="57"/>
                  </a:lnTo>
                  <a:lnTo>
                    <a:pt x="469" y="55"/>
                  </a:lnTo>
                  <a:lnTo>
                    <a:pt x="469" y="57"/>
                  </a:lnTo>
                  <a:lnTo>
                    <a:pt x="472" y="57"/>
                  </a:lnTo>
                  <a:lnTo>
                    <a:pt x="472" y="60"/>
                  </a:lnTo>
                  <a:lnTo>
                    <a:pt x="472" y="62"/>
                  </a:lnTo>
                  <a:lnTo>
                    <a:pt x="474" y="62"/>
                  </a:lnTo>
                  <a:lnTo>
                    <a:pt x="474" y="65"/>
                  </a:lnTo>
                  <a:lnTo>
                    <a:pt x="477" y="65"/>
                  </a:lnTo>
                  <a:lnTo>
                    <a:pt x="479" y="65"/>
                  </a:lnTo>
                  <a:lnTo>
                    <a:pt x="479" y="62"/>
                  </a:lnTo>
                  <a:lnTo>
                    <a:pt x="481" y="62"/>
                  </a:lnTo>
                  <a:lnTo>
                    <a:pt x="484" y="62"/>
                  </a:lnTo>
                  <a:lnTo>
                    <a:pt x="484" y="60"/>
                  </a:lnTo>
                  <a:lnTo>
                    <a:pt x="486" y="60"/>
                  </a:lnTo>
                  <a:lnTo>
                    <a:pt x="488" y="60"/>
                  </a:lnTo>
                  <a:lnTo>
                    <a:pt x="491" y="62"/>
                  </a:lnTo>
                  <a:lnTo>
                    <a:pt x="493" y="62"/>
                  </a:lnTo>
                  <a:lnTo>
                    <a:pt x="496" y="62"/>
                  </a:lnTo>
                  <a:lnTo>
                    <a:pt x="498" y="62"/>
                  </a:lnTo>
                  <a:lnTo>
                    <a:pt x="500" y="62"/>
                  </a:lnTo>
                  <a:lnTo>
                    <a:pt x="503" y="62"/>
                  </a:lnTo>
                  <a:lnTo>
                    <a:pt x="500" y="62"/>
                  </a:lnTo>
                  <a:lnTo>
                    <a:pt x="500" y="65"/>
                  </a:lnTo>
                  <a:lnTo>
                    <a:pt x="500" y="67"/>
                  </a:lnTo>
                  <a:lnTo>
                    <a:pt x="500" y="69"/>
                  </a:lnTo>
                  <a:lnTo>
                    <a:pt x="503" y="69"/>
                  </a:lnTo>
                  <a:lnTo>
                    <a:pt x="505" y="69"/>
                  </a:lnTo>
                  <a:lnTo>
                    <a:pt x="505" y="72"/>
                  </a:lnTo>
                  <a:lnTo>
                    <a:pt x="503" y="72"/>
                  </a:lnTo>
                  <a:lnTo>
                    <a:pt x="505" y="72"/>
                  </a:lnTo>
                  <a:lnTo>
                    <a:pt x="507" y="72"/>
                  </a:lnTo>
                  <a:lnTo>
                    <a:pt x="507" y="74"/>
                  </a:lnTo>
                  <a:lnTo>
                    <a:pt x="510" y="74"/>
                  </a:lnTo>
                  <a:lnTo>
                    <a:pt x="512" y="74"/>
                  </a:lnTo>
                  <a:lnTo>
                    <a:pt x="512" y="72"/>
                  </a:lnTo>
                  <a:lnTo>
                    <a:pt x="515" y="72"/>
                  </a:lnTo>
                  <a:lnTo>
                    <a:pt x="512" y="72"/>
                  </a:lnTo>
                  <a:lnTo>
                    <a:pt x="515" y="72"/>
                  </a:lnTo>
                  <a:lnTo>
                    <a:pt x="517" y="74"/>
                  </a:lnTo>
                  <a:lnTo>
                    <a:pt x="519" y="74"/>
                  </a:lnTo>
                  <a:lnTo>
                    <a:pt x="522" y="74"/>
                  </a:lnTo>
                  <a:lnTo>
                    <a:pt x="524" y="76"/>
                  </a:lnTo>
                  <a:lnTo>
                    <a:pt x="526" y="76"/>
                  </a:lnTo>
                  <a:lnTo>
                    <a:pt x="529" y="76"/>
                  </a:lnTo>
                  <a:lnTo>
                    <a:pt x="531" y="79"/>
                  </a:lnTo>
                  <a:lnTo>
                    <a:pt x="534" y="79"/>
                  </a:lnTo>
                  <a:lnTo>
                    <a:pt x="536" y="79"/>
                  </a:lnTo>
                  <a:lnTo>
                    <a:pt x="538" y="79"/>
                  </a:lnTo>
                  <a:lnTo>
                    <a:pt x="541" y="79"/>
                  </a:lnTo>
                  <a:lnTo>
                    <a:pt x="543" y="81"/>
                  </a:lnTo>
                  <a:lnTo>
                    <a:pt x="545" y="81"/>
                  </a:lnTo>
                  <a:lnTo>
                    <a:pt x="548" y="84"/>
                  </a:lnTo>
                  <a:lnTo>
                    <a:pt x="550" y="84"/>
                  </a:lnTo>
                  <a:lnTo>
                    <a:pt x="553" y="84"/>
                  </a:lnTo>
                  <a:lnTo>
                    <a:pt x="555" y="84"/>
                  </a:lnTo>
                  <a:lnTo>
                    <a:pt x="557" y="84"/>
                  </a:lnTo>
                  <a:lnTo>
                    <a:pt x="557" y="86"/>
                  </a:lnTo>
                  <a:lnTo>
                    <a:pt x="555" y="86"/>
                  </a:lnTo>
                  <a:lnTo>
                    <a:pt x="555" y="88"/>
                  </a:lnTo>
                  <a:lnTo>
                    <a:pt x="553" y="88"/>
                  </a:lnTo>
                  <a:lnTo>
                    <a:pt x="553" y="91"/>
                  </a:lnTo>
                  <a:lnTo>
                    <a:pt x="553" y="93"/>
                  </a:lnTo>
                  <a:lnTo>
                    <a:pt x="555" y="93"/>
                  </a:lnTo>
                  <a:lnTo>
                    <a:pt x="553" y="93"/>
                  </a:lnTo>
                  <a:lnTo>
                    <a:pt x="553" y="95"/>
                  </a:lnTo>
                  <a:lnTo>
                    <a:pt x="550" y="95"/>
                  </a:lnTo>
                  <a:lnTo>
                    <a:pt x="550" y="93"/>
                  </a:lnTo>
                  <a:lnTo>
                    <a:pt x="550" y="95"/>
                  </a:lnTo>
                  <a:lnTo>
                    <a:pt x="548" y="95"/>
                  </a:lnTo>
                  <a:lnTo>
                    <a:pt x="548" y="93"/>
                  </a:lnTo>
                  <a:lnTo>
                    <a:pt x="545" y="93"/>
                  </a:lnTo>
                  <a:lnTo>
                    <a:pt x="543" y="93"/>
                  </a:lnTo>
                  <a:lnTo>
                    <a:pt x="545" y="93"/>
                  </a:lnTo>
                  <a:lnTo>
                    <a:pt x="545" y="95"/>
                  </a:lnTo>
                  <a:lnTo>
                    <a:pt x="543" y="95"/>
                  </a:lnTo>
                  <a:lnTo>
                    <a:pt x="541" y="95"/>
                  </a:lnTo>
                  <a:lnTo>
                    <a:pt x="541" y="93"/>
                  </a:lnTo>
                  <a:lnTo>
                    <a:pt x="538" y="93"/>
                  </a:lnTo>
                  <a:lnTo>
                    <a:pt x="541" y="93"/>
                  </a:lnTo>
                  <a:lnTo>
                    <a:pt x="538" y="93"/>
                  </a:lnTo>
                  <a:lnTo>
                    <a:pt x="536" y="93"/>
                  </a:lnTo>
                  <a:lnTo>
                    <a:pt x="536" y="91"/>
                  </a:lnTo>
                  <a:lnTo>
                    <a:pt x="534" y="91"/>
                  </a:lnTo>
                  <a:lnTo>
                    <a:pt x="534" y="93"/>
                  </a:lnTo>
                  <a:lnTo>
                    <a:pt x="531" y="93"/>
                  </a:lnTo>
                  <a:lnTo>
                    <a:pt x="529" y="93"/>
                  </a:lnTo>
                  <a:lnTo>
                    <a:pt x="529" y="91"/>
                  </a:lnTo>
                  <a:lnTo>
                    <a:pt x="526" y="91"/>
                  </a:lnTo>
                  <a:lnTo>
                    <a:pt x="524" y="91"/>
                  </a:lnTo>
                  <a:lnTo>
                    <a:pt x="524" y="93"/>
                  </a:lnTo>
                  <a:lnTo>
                    <a:pt x="522" y="93"/>
                  </a:lnTo>
                  <a:lnTo>
                    <a:pt x="519" y="93"/>
                  </a:lnTo>
                  <a:lnTo>
                    <a:pt x="517" y="93"/>
                  </a:lnTo>
                  <a:lnTo>
                    <a:pt x="515" y="93"/>
                  </a:lnTo>
                  <a:lnTo>
                    <a:pt x="515" y="95"/>
                  </a:lnTo>
                  <a:lnTo>
                    <a:pt x="517" y="95"/>
                  </a:lnTo>
                  <a:lnTo>
                    <a:pt x="515" y="95"/>
                  </a:lnTo>
                  <a:lnTo>
                    <a:pt x="512" y="95"/>
                  </a:lnTo>
                  <a:lnTo>
                    <a:pt x="510" y="95"/>
                  </a:lnTo>
                  <a:lnTo>
                    <a:pt x="512" y="95"/>
                  </a:lnTo>
                  <a:lnTo>
                    <a:pt x="510" y="95"/>
                  </a:lnTo>
                  <a:lnTo>
                    <a:pt x="510" y="98"/>
                  </a:lnTo>
                  <a:lnTo>
                    <a:pt x="507" y="98"/>
                  </a:lnTo>
                  <a:lnTo>
                    <a:pt x="510" y="98"/>
                  </a:lnTo>
                  <a:lnTo>
                    <a:pt x="507" y="98"/>
                  </a:lnTo>
                  <a:lnTo>
                    <a:pt x="505" y="98"/>
                  </a:lnTo>
                  <a:lnTo>
                    <a:pt x="503" y="98"/>
                  </a:lnTo>
                  <a:lnTo>
                    <a:pt x="500" y="98"/>
                  </a:lnTo>
                  <a:lnTo>
                    <a:pt x="498" y="98"/>
                  </a:lnTo>
                  <a:lnTo>
                    <a:pt x="496" y="98"/>
                  </a:lnTo>
                  <a:lnTo>
                    <a:pt x="498" y="98"/>
                  </a:lnTo>
                  <a:lnTo>
                    <a:pt x="496" y="98"/>
                  </a:lnTo>
                  <a:lnTo>
                    <a:pt x="496" y="100"/>
                  </a:lnTo>
                  <a:lnTo>
                    <a:pt x="498" y="100"/>
                  </a:lnTo>
                  <a:lnTo>
                    <a:pt x="498" y="98"/>
                  </a:lnTo>
                  <a:lnTo>
                    <a:pt x="498" y="100"/>
                  </a:lnTo>
                  <a:lnTo>
                    <a:pt x="496" y="100"/>
                  </a:lnTo>
                  <a:lnTo>
                    <a:pt x="493" y="100"/>
                  </a:lnTo>
                  <a:lnTo>
                    <a:pt x="491" y="100"/>
                  </a:lnTo>
                  <a:lnTo>
                    <a:pt x="488" y="103"/>
                  </a:lnTo>
                  <a:lnTo>
                    <a:pt x="486" y="103"/>
                  </a:lnTo>
                  <a:lnTo>
                    <a:pt x="481" y="103"/>
                  </a:lnTo>
                  <a:lnTo>
                    <a:pt x="481" y="105"/>
                  </a:lnTo>
                  <a:lnTo>
                    <a:pt x="479" y="105"/>
                  </a:lnTo>
                  <a:lnTo>
                    <a:pt x="474" y="103"/>
                  </a:lnTo>
                  <a:lnTo>
                    <a:pt x="474" y="105"/>
                  </a:lnTo>
                  <a:lnTo>
                    <a:pt x="472" y="105"/>
                  </a:lnTo>
                  <a:lnTo>
                    <a:pt x="472" y="107"/>
                  </a:lnTo>
                  <a:lnTo>
                    <a:pt x="474" y="107"/>
                  </a:lnTo>
                  <a:lnTo>
                    <a:pt x="477" y="110"/>
                  </a:lnTo>
                  <a:lnTo>
                    <a:pt x="477" y="112"/>
                  </a:lnTo>
                  <a:lnTo>
                    <a:pt x="477" y="114"/>
                  </a:lnTo>
                  <a:lnTo>
                    <a:pt x="479" y="117"/>
                  </a:lnTo>
                  <a:lnTo>
                    <a:pt x="477" y="117"/>
                  </a:lnTo>
                  <a:lnTo>
                    <a:pt x="474" y="117"/>
                  </a:lnTo>
                  <a:lnTo>
                    <a:pt x="472" y="117"/>
                  </a:lnTo>
                  <a:lnTo>
                    <a:pt x="469" y="117"/>
                  </a:lnTo>
                  <a:lnTo>
                    <a:pt x="469" y="119"/>
                  </a:lnTo>
                  <a:lnTo>
                    <a:pt x="474" y="119"/>
                  </a:lnTo>
                  <a:lnTo>
                    <a:pt x="474" y="122"/>
                  </a:lnTo>
                  <a:lnTo>
                    <a:pt x="477" y="122"/>
                  </a:lnTo>
                  <a:lnTo>
                    <a:pt x="477" y="124"/>
                  </a:lnTo>
                  <a:lnTo>
                    <a:pt x="479" y="124"/>
                  </a:lnTo>
                  <a:lnTo>
                    <a:pt x="477" y="126"/>
                  </a:lnTo>
                  <a:lnTo>
                    <a:pt x="472" y="126"/>
                  </a:lnTo>
                  <a:lnTo>
                    <a:pt x="469" y="126"/>
                  </a:lnTo>
                  <a:lnTo>
                    <a:pt x="472" y="126"/>
                  </a:lnTo>
                  <a:lnTo>
                    <a:pt x="474" y="129"/>
                  </a:lnTo>
                  <a:lnTo>
                    <a:pt x="474" y="131"/>
                  </a:lnTo>
                  <a:lnTo>
                    <a:pt x="477" y="131"/>
                  </a:lnTo>
                  <a:lnTo>
                    <a:pt x="477" y="133"/>
                  </a:lnTo>
                  <a:lnTo>
                    <a:pt x="474" y="133"/>
                  </a:lnTo>
                  <a:lnTo>
                    <a:pt x="474" y="136"/>
                  </a:lnTo>
                  <a:lnTo>
                    <a:pt x="472" y="136"/>
                  </a:lnTo>
                  <a:lnTo>
                    <a:pt x="469" y="136"/>
                  </a:lnTo>
                  <a:lnTo>
                    <a:pt x="467" y="136"/>
                  </a:lnTo>
                  <a:lnTo>
                    <a:pt x="465" y="136"/>
                  </a:lnTo>
                  <a:lnTo>
                    <a:pt x="462" y="136"/>
                  </a:lnTo>
                  <a:lnTo>
                    <a:pt x="460" y="136"/>
                  </a:lnTo>
                  <a:lnTo>
                    <a:pt x="458" y="136"/>
                  </a:lnTo>
                  <a:lnTo>
                    <a:pt x="455" y="136"/>
                  </a:lnTo>
                  <a:lnTo>
                    <a:pt x="455" y="138"/>
                  </a:lnTo>
                  <a:lnTo>
                    <a:pt x="458" y="141"/>
                  </a:lnTo>
                  <a:lnTo>
                    <a:pt x="458" y="143"/>
                  </a:lnTo>
                  <a:lnTo>
                    <a:pt x="455" y="143"/>
                  </a:lnTo>
                  <a:lnTo>
                    <a:pt x="453" y="145"/>
                  </a:lnTo>
                  <a:lnTo>
                    <a:pt x="450" y="145"/>
                  </a:lnTo>
                  <a:lnTo>
                    <a:pt x="448" y="145"/>
                  </a:lnTo>
                  <a:lnTo>
                    <a:pt x="448" y="148"/>
                  </a:lnTo>
                  <a:lnTo>
                    <a:pt x="450" y="148"/>
                  </a:lnTo>
                  <a:lnTo>
                    <a:pt x="450" y="145"/>
                  </a:lnTo>
                  <a:lnTo>
                    <a:pt x="453" y="145"/>
                  </a:lnTo>
                  <a:lnTo>
                    <a:pt x="455" y="148"/>
                  </a:lnTo>
                  <a:lnTo>
                    <a:pt x="453" y="148"/>
                  </a:lnTo>
                  <a:lnTo>
                    <a:pt x="450" y="148"/>
                  </a:lnTo>
                  <a:lnTo>
                    <a:pt x="448" y="148"/>
                  </a:lnTo>
                  <a:lnTo>
                    <a:pt x="448" y="150"/>
                  </a:lnTo>
                  <a:lnTo>
                    <a:pt x="450" y="150"/>
                  </a:lnTo>
                  <a:lnTo>
                    <a:pt x="453" y="150"/>
                  </a:lnTo>
                  <a:lnTo>
                    <a:pt x="455" y="150"/>
                  </a:lnTo>
                  <a:lnTo>
                    <a:pt x="458" y="150"/>
                  </a:lnTo>
                  <a:lnTo>
                    <a:pt x="458" y="152"/>
                  </a:lnTo>
                  <a:lnTo>
                    <a:pt x="458" y="155"/>
                  </a:lnTo>
                  <a:lnTo>
                    <a:pt x="455" y="157"/>
                  </a:lnTo>
                  <a:lnTo>
                    <a:pt x="453" y="157"/>
                  </a:lnTo>
                  <a:lnTo>
                    <a:pt x="450" y="160"/>
                  </a:lnTo>
                  <a:lnTo>
                    <a:pt x="453" y="160"/>
                  </a:lnTo>
                  <a:lnTo>
                    <a:pt x="453" y="162"/>
                  </a:lnTo>
                  <a:lnTo>
                    <a:pt x="455" y="162"/>
                  </a:lnTo>
                  <a:lnTo>
                    <a:pt x="453" y="164"/>
                  </a:lnTo>
                  <a:lnTo>
                    <a:pt x="453" y="167"/>
                  </a:lnTo>
                  <a:lnTo>
                    <a:pt x="450" y="167"/>
                  </a:lnTo>
                  <a:lnTo>
                    <a:pt x="453" y="169"/>
                  </a:lnTo>
                  <a:lnTo>
                    <a:pt x="450" y="169"/>
                  </a:lnTo>
                  <a:lnTo>
                    <a:pt x="450" y="171"/>
                  </a:lnTo>
                  <a:lnTo>
                    <a:pt x="448" y="171"/>
                  </a:lnTo>
                  <a:lnTo>
                    <a:pt x="446" y="171"/>
                  </a:lnTo>
                  <a:lnTo>
                    <a:pt x="443" y="171"/>
                  </a:lnTo>
                  <a:lnTo>
                    <a:pt x="441" y="171"/>
                  </a:lnTo>
                  <a:lnTo>
                    <a:pt x="439" y="169"/>
                  </a:lnTo>
                  <a:lnTo>
                    <a:pt x="436" y="169"/>
                  </a:lnTo>
                  <a:lnTo>
                    <a:pt x="436" y="167"/>
                  </a:lnTo>
                  <a:lnTo>
                    <a:pt x="436" y="169"/>
                  </a:lnTo>
                  <a:lnTo>
                    <a:pt x="434" y="169"/>
                  </a:lnTo>
                  <a:lnTo>
                    <a:pt x="434" y="167"/>
                  </a:lnTo>
                  <a:lnTo>
                    <a:pt x="432" y="167"/>
                  </a:lnTo>
                  <a:lnTo>
                    <a:pt x="429" y="167"/>
                  </a:lnTo>
                  <a:lnTo>
                    <a:pt x="432" y="167"/>
                  </a:lnTo>
                  <a:lnTo>
                    <a:pt x="429" y="169"/>
                  </a:lnTo>
                  <a:lnTo>
                    <a:pt x="427" y="169"/>
                  </a:lnTo>
                  <a:lnTo>
                    <a:pt x="429" y="169"/>
                  </a:lnTo>
                  <a:lnTo>
                    <a:pt x="432" y="171"/>
                  </a:lnTo>
                  <a:lnTo>
                    <a:pt x="429" y="171"/>
                  </a:lnTo>
                  <a:lnTo>
                    <a:pt x="432" y="171"/>
                  </a:lnTo>
                  <a:lnTo>
                    <a:pt x="432" y="169"/>
                  </a:lnTo>
                  <a:lnTo>
                    <a:pt x="432" y="171"/>
                  </a:lnTo>
                  <a:lnTo>
                    <a:pt x="432" y="174"/>
                  </a:lnTo>
                  <a:lnTo>
                    <a:pt x="429" y="174"/>
                  </a:lnTo>
                  <a:lnTo>
                    <a:pt x="432" y="174"/>
                  </a:lnTo>
                  <a:lnTo>
                    <a:pt x="429" y="174"/>
                  </a:lnTo>
                  <a:lnTo>
                    <a:pt x="429" y="176"/>
                  </a:lnTo>
                  <a:lnTo>
                    <a:pt x="427" y="176"/>
                  </a:lnTo>
                  <a:lnTo>
                    <a:pt x="427" y="179"/>
                  </a:lnTo>
                  <a:lnTo>
                    <a:pt x="424" y="179"/>
                  </a:lnTo>
                  <a:lnTo>
                    <a:pt x="427" y="179"/>
                  </a:lnTo>
                  <a:lnTo>
                    <a:pt x="429" y="181"/>
                  </a:lnTo>
                  <a:lnTo>
                    <a:pt x="427" y="181"/>
                  </a:lnTo>
                  <a:lnTo>
                    <a:pt x="424" y="183"/>
                  </a:lnTo>
                  <a:lnTo>
                    <a:pt x="424" y="186"/>
                  </a:lnTo>
                  <a:lnTo>
                    <a:pt x="424" y="183"/>
                  </a:lnTo>
                  <a:lnTo>
                    <a:pt x="422" y="183"/>
                  </a:lnTo>
                  <a:lnTo>
                    <a:pt x="422" y="186"/>
                  </a:lnTo>
                  <a:lnTo>
                    <a:pt x="420" y="186"/>
                  </a:lnTo>
                  <a:lnTo>
                    <a:pt x="422" y="186"/>
                  </a:lnTo>
                  <a:lnTo>
                    <a:pt x="420" y="186"/>
                  </a:lnTo>
                  <a:lnTo>
                    <a:pt x="420" y="188"/>
                  </a:lnTo>
                  <a:lnTo>
                    <a:pt x="422" y="188"/>
                  </a:lnTo>
                  <a:lnTo>
                    <a:pt x="424" y="188"/>
                  </a:lnTo>
                  <a:lnTo>
                    <a:pt x="424" y="190"/>
                  </a:lnTo>
                  <a:lnTo>
                    <a:pt x="422" y="190"/>
                  </a:lnTo>
                  <a:lnTo>
                    <a:pt x="420" y="190"/>
                  </a:lnTo>
                  <a:lnTo>
                    <a:pt x="422" y="190"/>
                  </a:lnTo>
                  <a:lnTo>
                    <a:pt x="422" y="193"/>
                  </a:lnTo>
                  <a:lnTo>
                    <a:pt x="420" y="195"/>
                  </a:lnTo>
                  <a:lnTo>
                    <a:pt x="422" y="195"/>
                  </a:lnTo>
                  <a:lnTo>
                    <a:pt x="422" y="198"/>
                  </a:lnTo>
                  <a:lnTo>
                    <a:pt x="420" y="198"/>
                  </a:lnTo>
                  <a:lnTo>
                    <a:pt x="420" y="200"/>
                  </a:lnTo>
                  <a:lnTo>
                    <a:pt x="417" y="202"/>
                  </a:lnTo>
                  <a:lnTo>
                    <a:pt x="417" y="200"/>
                  </a:lnTo>
                  <a:lnTo>
                    <a:pt x="415" y="200"/>
                  </a:lnTo>
                  <a:lnTo>
                    <a:pt x="413" y="200"/>
                  </a:lnTo>
                  <a:lnTo>
                    <a:pt x="410" y="200"/>
                  </a:lnTo>
                  <a:lnTo>
                    <a:pt x="410" y="202"/>
                  </a:lnTo>
                  <a:lnTo>
                    <a:pt x="413" y="202"/>
                  </a:lnTo>
                  <a:lnTo>
                    <a:pt x="415" y="202"/>
                  </a:lnTo>
                  <a:lnTo>
                    <a:pt x="417" y="205"/>
                  </a:lnTo>
                  <a:lnTo>
                    <a:pt x="420" y="205"/>
                  </a:lnTo>
                  <a:lnTo>
                    <a:pt x="420" y="207"/>
                  </a:lnTo>
                  <a:lnTo>
                    <a:pt x="417" y="207"/>
                  </a:lnTo>
                  <a:lnTo>
                    <a:pt x="420" y="207"/>
                  </a:lnTo>
                  <a:lnTo>
                    <a:pt x="417" y="209"/>
                  </a:lnTo>
                  <a:lnTo>
                    <a:pt x="415" y="209"/>
                  </a:lnTo>
                  <a:lnTo>
                    <a:pt x="413" y="212"/>
                  </a:lnTo>
                  <a:lnTo>
                    <a:pt x="413" y="214"/>
                  </a:lnTo>
                  <a:lnTo>
                    <a:pt x="410" y="214"/>
                  </a:lnTo>
                  <a:lnTo>
                    <a:pt x="408" y="214"/>
                  </a:lnTo>
                  <a:lnTo>
                    <a:pt x="405" y="214"/>
                  </a:lnTo>
                  <a:lnTo>
                    <a:pt x="403" y="214"/>
                  </a:lnTo>
                  <a:lnTo>
                    <a:pt x="403" y="217"/>
                  </a:lnTo>
                  <a:lnTo>
                    <a:pt x="401" y="217"/>
                  </a:lnTo>
                  <a:lnTo>
                    <a:pt x="403" y="217"/>
                  </a:lnTo>
                  <a:lnTo>
                    <a:pt x="403" y="219"/>
                  </a:lnTo>
                  <a:lnTo>
                    <a:pt x="405" y="219"/>
                  </a:lnTo>
                  <a:lnTo>
                    <a:pt x="408" y="219"/>
                  </a:lnTo>
                  <a:lnTo>
                    <a:pt x="410" y="219"/>
                  </a:lnTo>
                  <a:lnTo>
                    <a:pt x="413" y="219"/>
                  </a:lnTo>
                  <a:lnTo>
                    <a:pt x="413" y="221"/>
                  </a:lnTo>
                  <a:lnTo>
                    <a:pt x="415" y="221"/>
                  </a:lnTo>
                  <a:lnTo>
                    <a:pt x="415" y="224"/>
                  </a:lnTo>
                  <a:lnTo>
                    <a:pt x="413" y="224"/>
                  </a:lnTo>
                  <a:lnTo>
                    <a:pt x="413" y="226"/>
                  </a:lnTo>
                  <a:lnTo>
                    <a:pt x="410" y="226"/>
                  </a:lnTo>
                  <a:lnTo>
                    <a:pt x="413" y="226"/>
                  </a:lnTo>
                  <a:lnTo>
                    <a:pt x="413" y="228"/>
                  </a:lnTo>
                  <a:lnTo>
                    <a:pt x="410" y="228"/>
                  </a:lnTo>
                  <a:lnTo>
                    <a:pt x="408" y="228"/>
                  </a:lnTo>
                  <a:lnTo>
                    <a:pt x="408" y="231"/>
                  </a:lnTo>
                  <a:lnTo>
                    <a:pt x="405" y="231"/>
                  </a:lnTo>
                  <a:lnTo>
                    <a:pt x="403" y="231"/>
                  </a:lnTo>
                  <a:lnTo>
                    <a:pt x="403" y="233"/>
                  </a:lnTo>
                  <a:lnTo>
                    <a:pt x="401" y="233"/>
                  </a:lnTo>
                  <a:lnTo>
                    <a:pt x="398" y="233"/>
                  </a:lnTo>
                  <a:lnTo>
                    <a:pt x="396" y="233"/>
                  </a:lnTo>
                  <a:lnTo>
                    <a:pt x="394" y="231"/>
                  </a:lnTo>
                  <a:lnTo>
                    <a:pt x="394" y="228"/>
                  </a:lnTo>
                  <a:lnTo>
                    <a:pt x="391" y="231"/>
                  </a:lnTo>
                  <a:lnTo>
                    <a:pt x="389" y="231"/>
                  </a:lnTo>
                  <a:lnTo>
                    <a:pt x="389" y="233"/>
                  </a:lnTo>
                  <a:lnTo>
                    <a:pt x="386" y="233"/>
                  </a:lnTo>
                  <a:lnTo>
                    <a:pt x="384" y="233"/>
                  </a:lnTo>
                  <a:lnTo>
                    <a:pt x="386" y="233"/>
                  </a:lnTo>
                  <a:lnTo>
                    <a:pt x="386" y="231"/>
                  </a:lnTo>
                  <a:lnTo>
                    <a:pt x="384" y="231"/>
                  </a:lnTo>
                  <a:lnTo>
                    <a:pt x="386" y="231"/>
                  </a:lnTo>
                  <a:lnTo>
                    <a:pt x="386" y="228"/>
                  </a:lnTo>
                  <a:lnTo>
                    <a:pt x="386" y="226"/>
                  </a:lnTo>
                  <a:lnTo>
                    <a:pt x="389" y="226"/>
                  </a:lnTo>
                  <a:lnTo>
                    <a:pt x="391" y="226"/>
                  </a:lnTo>
                  <a:lnTo>
                    <a:pt x="391" y="224"/>
                  </a:lnTo>
                  <a:lnTo>
                    <a:pt x="389" y="224"/>
                  </a:lnTo>
                  <a:lnTo>
                    <a:pt x="386" y="224"/>
                  </a:lnTo>
                  <a:lnTo>
                    <a:pt x="384" y="224"/>
                  </a:lnTo>
                  <a:lnTo>
                    <a:pt x="382" y="224"/>
                  </a:lnTo>
                  <a:lnTo>
                    <a:pt x="382" y="221"/>
                  </a:lnTo>
                  <a:lnTo>
                    <a:pt x="379" y="221"/>
                  </a:lnTo>
                  <a:lnTo>
                    <a:pt x="377" y="221"/>
                  </a:lnTo>
                  <a:lnTo>
                    <a:pt x="375" y="219"/>
                  </a:lnTo>
                  <a:lnTo>
                    <a:pt x="372" y="219"/>
                  </a:lnTo>
                  <a:lnTo>
                    <a:pt x="372" y="217"/>
                  </a:lnTo>
                  <a:lnTo>
                    <a:pt x="370" y="217"/>
                  </a:lnTo>
                  <a:lnTo>
                    <a:pt x="367" y="217"/>
                  </a:lnTo>
                  <a:lnTo>
                    <a:pt x="367" y="214"/>
                  </a:lnTo>
                  <a:lnTo>
                    <a:pt x="365" y="214"/>
                  </a:lnTo>
                  <a:lnTo>
                    <a:pt x="363" y="214"/>
                  </a:lnTo>
                  <a:lnTo>
                    <a:pt x="360" y="212"/>
                  </a:lnTo>
                  <a:lnTo>
                    <a:pt x="360" y="209"/>
                  </a:lnTo>
                  <a:lnTo>
                    <a:pt x="363" y="209"/>
                  </a:lnTo>
                  <a:lnTo>
                    <a:pt x="365" y="209"/>
                  </a:lnTo>
                  <a:lnTo>
                    <a:pt x="367" y="209"/>
                  </a:lnTo>
                  <a:lnTo>
                    <a:pt x="370" y="209"/>
                  </a:lnTo>
                  <a:lnTo>
                    <a:pt x="370" y="207"/>
                  </a:lnTo>
                  <a:lnTo>
                    <a:pt x="372" y="209"/>
                  </a:lnTo>
                  <a:lnTo>
                    <a:pt x="372" y="207"/>
                  </a:lnTo>
                  <a:lnTo>
                    <a:pt x="375" y="207"/>
                  </a:lnTo>
                  <a:lnTo>
                    <a:pt x="377" y="207"/>
                  </a:lnTo>
                  <a:lnTo>
                    <a:pt x="379" y="207"/>
                  </a:lnTo>
                  <a:lnTo>
                    <a:pt x="379" y="205"/>
                  </a:lnTo>
                  <a:lnTo>
                    <a:pt x="379" y="207"/>
                  </a:lnTo>
                  <a:lnTo>
                    <a:pt x="382" y="207"/>
                  </a:lnTo>
                  <a:lnTo>
                    <a:pt x="384" y="207"/>
                  </a:lnTo>
                  <a:lnTo>
                    <a:pt x="384" y="209"/>
                  </a:lnTo>
                  <a:lnTo>
                    <a:pt x="386" y="209"/>
                  </a:lnTo>
                  <a:lnTo>
                    <a:pt x="389" y="209"/>
                  </a:lnTo>
                  <a:lnTo>
                    <a:pt x="386" y="209"/>
                  </a:lnTo>
                  <a:lnTo>
                    <a:pt x="386" y="207"/>
                  </a:lnTo>
                  <a:lnTo>
                    <a:pt x="386" y="205"/>
                  </a:lnTo>
                  <a:lnTo>
                    <a:pt x="386" y="207"/>
                  </a:lnTo>
                  <a:lnTo>
                    <a:pt x="389" y="207"/>
                  </a:lnTo>
                  <a:lnTo>
                    <a:pt x="389" y="205"/>
                  </a:lnTo>
                  <a:lnTo>
                    <a:pt x="391" y="205"/>
                  </a:lnTo>
                  <a:lnTo>
                    <a:pt x="394" y="205"/>
                  </a:lnTo>
                  <a:lnTo>
                    <a:pt x="394" y="207"/>
                  </a:lnTo>
                  <a:lnTo>
                    <a:pt x="396" y="205"/>
                  </a:lnTo>
                  <a:lnTo>
                    <a:pt x="398" y="205"/>
                  </a:lnTo>
                  <a:lnTo>
                    <a:pt x="396" y="205"/>
                  </a:lnTo>
                  <a:lnTo>
                    <a:pt x="394" y="205"/>
                  </a:lnTo>
                  <a:lnTo>
                    <a:pt x="396" y="202"/>
                  </a:lnTo>
                  <a:lnTo>
                    <a:pt x="398" y="202"/>
                  </a:lnTo>
                  <a:lnTo>
                    <a:pt x="398" y="200"/>
                  </a:lnTo>
                  <a:lnTo>
                    <a:pt x="396" y="200"/>
                  </a:lnTo>
                  <a:lnTo>
                    <a:pt x="394" y="200"/>
                  </a:lnTo>
                  <a:lnTo>
                    <a:pt x="391" y="200"/>
                  </a:lnTo>
                  <a:lnTo>
                    <a:pt x="389" y="200"/>
                  </a:lnTo>
                  <a:lnTo>
                    <a:pt x="389" y="202"/>
                  </a:lnTo>
                  <a:lnTo>
                    <a:pt x="386" y="202"/>
                  </a:lnTo>
                  <a:lnTo>
                    <a:pt x="384" y="202"/>
                  </a:lnTo>
                  <a:lnTo>
                    <a:pt x="386" y="202"/>
                  </a:lnTo>
                  <a:lnTo>
                    <a:pt x="384" y="202"/>
                  </a:lnTo>
                  <a:lnTo>
                    <a:pt x="384" y="205"/>
                  </a:lnTo>
                  <a:lnTo>
                    <a:pt x="384" y="202"/>
                  </a:lnTo>
                  <a:lnTo>
                    <a:pt x="382" y="202"/>
                  </a:lnTo>
                  <a:lnTo>
                    <a:pt x="379" y="202"/>
                  </a:lnTo>
                  <a:lnTo>
                    <a:pt x="377" y="202"/>
                  </a:lnTo>
                  <a:lnTo>
                    <a:pt x="377" y="200"/>
                  </a:lnTo>
                  <a:lnTo>
                    <a:pt x="379" y="200"/>
                  </a:lnTo>
                  <a:lnTo>
                    <a:pt x="377" y="200"/>
                  </a:lnTo>
                  <a:lnTo>
                    <a:pt x="377" y="198"/>
                  </a:lnTo>
                  <a:lnTo>
                    <a:pt x="375" y="198"/>
                  </a:lnTo>
                  <a:lnTo>
                    <a:pt x="375" y="200"/>
                  </a:lnTo>
                  <a:lnTo>
                    <a:pt x="372" y="200"/>
                  </a:lnTo>
                  <a:lnTo>
                    <a:pt x="370" y="200"/>
                  </a:lnTo>
                  <a:lnTo>
                    <a:pt x="372" y="202"/>
                  </a:lnTo>
                  <a:lnTo>
                    <a:pt x="375" y="202"/>
                  </a:lnTo>
                  <a:lnTo>
                    <a:pt x="372" y="202"/>
                  </a:lnTo>
                  <a:lnTo>
                    <a:pt x="370" y="202"/>
                  </a:lnTo>
                  <a:lnTo>
                    <a:pt x="367" y="202"/>
                  </a:lnTo>
                  <a:lnTo>
                    <a:pt x="367" y="205"/>
                  </a:lnTo>
                  <a:lnTo>
                    <a:pt x="365" y="205"/>
                  </a:lnTo>
                  <a:lnTo>
                    <a:pt x="365" y="202"/>
                  </a:lnTo>
                  <a:lnTo>
                    <a:pt x="363" y="202"/>
                  </a:lnTo>
                  <a:lnTo>
                    <a:pt x="363" y="205"/>
                  </a:lnTo>
                  <a:lnTo>
                    <a:pt x="360" y="205"/>
                  </a:lnTo>
                  <a:lnTo>
                    <a:pt x="358" y="205"/>
                  </a:lnTo>
                  <a:lnTo>
                    <a:pt x="356" y="205"/>
                  </a:lnTo>
                  <a:lnTo>
                    <a:pt x="353" y="205"/>
                  </a:lnTo>
                  <a:lnTo>
                    <a:pt x="353" y="202"/>
                  </a:lnTo>
                  <a:lnTo>
                    <a:pt x="351" y="202"/>
                  </a:lnTo>
                  <a:lnTo>
                    <a:pt x="348" y="202"/>
                  </a:lnTo>
                  <a:lnTo>
                    <a:pt x="348" y="200"/>
                  </a:lnTo>
                  <a:lnTo>
                    <a:pt x="346" y="200"/>
                  </a:lnTo>
                  <a:lnTo>
                    <a:pt x="348" y="200"/>
                  </a:lnTo>
                  <a:lnTo>
                    <a:pt x="346" y="198"/>
                  </a:lnTo>
                  <a:lnTo>
                    <a:pt x="344" y="198"/>
                  </a:lnTo>
                  <a:lnTo>
                    <a:pt x="346" y="198"/>
                  </a:lnTo>
                  <a:lnTo>
                    <a:pt x="344" y="198"/>
                  </a:lnTo>
                  <a:lnTo>
                    <a:pt x="346" y="198"/>
                  </a:lnTo>
                  <a:lnTo>
                    <a:pt x="346" y="195"/>
                  </a:lnTo>
                  <a:lnTo>
                    <a:pt x="344" y="195"/>
                  </a:lnTo>
                  <a:lnTo>
                    <a:pt x="341" y="195"/>
                  </a:lnTo>
                  <a:lnTo>
                    <a:pt x="339" y="195"/>
                  </a:lnTo>
                  <a:lnTo>
                    <a:pt x="337" y="193"/>
                  </a:lnTo>
                  <a:lnTo>
                    <a:pt x="334" y="193"/>
                  </a:lnTo>
                  <a:lnTo>
                    <a:pt x="332" y="193"/>
                  </a:lnTo>
                  <a:lnTo>
                    <a:pt x="329" y="193"/>
                  </a:lnTo>
                  <a:lnTo>
                    <a:pt x="327" y="193"/>
                  </a:lnTo>
                  <a:lnTo>
                    <a:pt x="325" y="193"/>
                  </a:lnTo>
                  <a:lnTo>
                    <a:pt x="327" y="193"/>
                  </a:lnTo>
                  <a:lnTo>
                    <a:pt x="325" y="193"/>
                  </a:lnTo>
                  <a:lnTo>
                    <a:pt x="322" y="190"/>
                  </a:lnTo>
                  <a:lnTo>
                    <a:pt x="322" y="188"/>
                  </a:lnTo>
                  <a:lnTo>
                    <a:pt x="320" y="188"/>
                  </a:lnTo>
                  <a:lnTo>
                    <a:pt x="320" y="186"/>
                  </a:lnTo>
                  <a:lnTo>
                    <a:pt x="318" y="186"/>
                  </a:lnTo>
                  <a:lnTo>
                    <a:pt x="315" y="186"/>
                  </a:lnTo>
                  <a:lnTo>
                    <a:pt x="315" y="183"/>
                  </a:lnTo>
                  <a:lnTo>
                    <a:pt x="315" y="181"/>
                  </a:lnTo>
                  <a:lnTo>
                    <a:pt x="313" y="181"/>
                  </a:lnTo>
                  <a:lnTo>
                    <a:pt x="313" y="179"/>
                  </a:lnTo>
                  <a:lnTo>
                    <a:pt x="311" y="179"/>
                  </a:lnTo>
                  <a:lnTo>
                    <a:pt x="308" y="176"/>
                  </a:lnTo>
                  <a:lnTo>
                    <a:pt x="311" y="176"/>
                  </a:lnTo>
                  <a:lnTo>
                    <a:pt x="311" y="174"/>
                  </a:lnTo>
                  <a:lnTo>
                    <a:pt x="313" y="176"/>
                  </a:lnTo>
                  <a:lnTo>
                    <a:pt x="313" y="174"/>
                  </a:lnTo>
                  <a:lnTo>
                    <a:pt x="311" y="174"/>
                  </a:lnTo>
                  <a:lnTo>
                    <a:pt x="308" y="174"/>
                  </a:lnTo>
                  <a:lnTo>
                    <a:pt x="308" y="171"/>
                  </a:lnTo>
                  <a:lnTo>
                    <a:pt x="306" y="171"/>
                  </a:lnTo>
                  <a:lnTo>
                    <a:pt x="308" y="171"/>
                  </a:lnTo>
                  <a:lnTo>
                    <a:pt x="308" y="169"/>
                  </a:lnTo>
                  <a:lnTo>
                    <a:pt x="311" y="169"/>
                  </a:lnTo>
                  <a:lnTo>
                    <a:pt x="313" y="167"/>
                  </a:lnTo>
                  <a:lnTo>
                    <a:pt x="315" y="167"/>
                  </a:lnTo>
                  <a:lnTo>
                    <a:pt x="318" y="167"/>
                  </a:lnTo>
                  <a:lnTo>
                    <a:pt x="320" y="167"/>
                  </a:lnTo>
                  <a:lnTo>
                    <a:pt x="322" y="167"/>
                  </a:lnTo>
                  <a:lnTo>
                    <a:pt x="325" y="167"/>
                  </a:lnTo>
                  <a:lnTo>
                    <a:pt x="327" y="167"/>
                  </a:lnTo>
                  <a:lnTo>
                    <a:pt x="327" y="169"/>
                  </a:lnTo>
                  <a:lnTo>
                    <a:pt x="329" y="169"/>
                  </a:lnTo>
                  <a:lnTo>
                    <a:pt x="327" y="169"/>
                  </a:lnTo>
                  <a:lnTo>
                    <a:pt x="327" y="171"/>
                  </a:lnTo>
                  <a:lnTo>
                    <a:pt x="329" y="171"/>
                  </a:lnTo>
                  <a:lnTo>
                    <a:pt x="327" y="171"/>
                  </a:lnTo>
                  <a:lnTo>
                    <a:pt x="329" y="171"/>
                  </a:lnTo>
                  <a:lnTo>
                    <a:pt x="332" y="171"/>
                  </a:lnTo>
                  <a:lnTo>
                    <a:pt x="334" y="171"/>
                  </a:lnTo>
                  <a:lnTo>
                    <a:pt x="337" y="171"/>
                  </a:lnTo>
                  <a:lnTo>
                    <a:pt x="334" y="169"/>
                  </a:lnTo>
                  <a:lnTo>
                    <a:pt x="337" y="169"/>
                  </a:lnTo>
                  <a:lnTo>
                    <a:pt x="339" y="169"/>
                  </a:lnTo>
                  <a:lnTo>
                    <a:pt x="341" y="169"/>
                  </a:lnTo>
                  <a:lnTo>
                    <a:pt x="341" y="167"/>
                  </a:lnTo>
                  <a:lnTo>
                    <a:pt x="344" y="167"/>
                  </a:lnTo>
                  <a:lnTo>
                    <a:pt x="344" y="169"/>
                  </a:lnTo>
                  <a:lnTo>
                    <a:pt x="346" y="169"/>
                  </a:lnTo>
                  <a:lnTo>
                    <a:pt x="348" y="169"/>
                  </a:lnTo>
                  <a:lnTo>
                    <a:pt x="351" y="169"/>
                  </a:lnTo>
                  <a:lnTo>
                    <a:pt x="353" y="169"/>
                  </a:lnTo>
                  <a:lnTo>
                    <a:pt x="356" y="169"/>
                  </a:lnTo>
                  <a:lnTo>
                    <a:pt x="358" y="169"/>
                  </a:lnTo>
                  <a:lnTo>
                    <a:pt x="358" y="171"/>
                  </a:lnTo>
                  <a:lnTo>
                    <a:pt x="360" y="171"/>
                  </a:lnTo>
                  <a:lnTo>
                    <a:pt x="363" y="169"/>
                  </a:lnTo>
                  <a:lnTo>
                    <a:pt x="365" y="169"/>
                  </a:lnTo>
                  <a:lnTo>
                    <a:pt x="367" y="169"/>
                  </a:lnTo>
                  <a:lnTo>
                    <a:pt x="370" y="169"/>
                  </a:lnTo>
                  <a:lnTo>
                    <a:pt x="370" y="171"/>
                  </a:lnTo>
                  <a:lnTo>
                    <a:pt x="372" y="171"/>
                  </a:lnTo>
                  <a:lnTo>
                    <a:pt x="375" y="171"/>
                  </a:lnTo>
                  <a:lnTo>
                    <a:pt x="375" y="174"/>
                  </a:lnTo>
                  <a:lnTo>
                    <a:pt x="377" y="174"/>
                  </a:lnTo>
                  <a:lnTo>
                    <a:pt x="379" y="174"/>
                  </a:lnTo>
                  <a:lnTo>
                    <a:pt x="379" y="176"/>
                  </a:lnTo>
                  <a:lnTo>
                    <a:pt x="382" y="176"/>
                  </a:lnTo>
                  <a:lnTo>
                    <a:pt x="382" y="179"/>
                  </a:lnTo>
                  <a:lnTo>
                    <a:pt x="384" y="179"/>
                  </a:lnTo>
                  <a:lnTo>
                    <a:pt x="386" y="179"/>
                  </a:lnTo>
                  <a:lnTo>
                    <a:pt x="386" y="176"/>
                  </a:lnTo>
                  <a:lnTo>
                    <a:pt x="389" y="174"/>
                  </a:lnTo>
                  <a:lnTo>
                    <a:pt x="386" y="174"/>
                  </a:lnTo>
                  <a:lnTo>
                    <a:pt x="384" y="171"/>
                  </a:lnTo>
                  <a:lnTo>
                    <a:pt x="384" y="174"/>
                  </a:lnTo>
                  <a:lnTo>
                    <a:pt x="382" y="174"/>
                  </a:lnTo>
                  <a:lnTo>
                    <a:pt x="382" y="171"/>
                  </a:lnTo>
                  <a:lnTo>
                    <a:pt x="379" y="171"/>
                  </a:lnTo>
                  <a:lnTo>
                    <a:pt x="377" y="171"/>
                  </a:lnTo>
                  <a:lnTo>
                    <a:pt x="379" y="171"/>
                  </a:lnTo>
                  <a:lnTo>
                    <a:pt x="377" y="171"/>
                  </a:lnTo>
                  <a:lnTo>
                    <a:pt x="375" y="169"/>
                  </a:lnTo>
                  <a:lnTo>
                    <a:pt x="377" y="169"/>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7" name="Freeform 52570"/>
            <p:cNvSpPr>
              <a:spLocks noEditPoints="1"/>
            </p:cNvSpPr>
            <p:nvPr/>
          </p:nvSpPr>
          <p:spPr bwMode="auto">
            <a:xfrm>
              <a:off x="2266948" y="1906595"/>
              <a:ext cx="1393824" cy="2157419"/>
            </a:xfrm>
            <a:custGeom>
              <a:avLst/>
              <a:gdLst>
                <a:gd name="T0" fmla="*/ 64 w 878"/>
                <a:gd name="T1" fmla="*/ 1345 h 1359"/>
                <a:gd name="T2" fmla="*/ 42 w 878"/>
                <a:gd name="T3" fmla="*/ 1307 h 1359"/>
                <a:gd name="T4" fmla="*/ 35 w 878"/>
                <a:gd name="T5" fmla="*/ 1300 h 1359"/>
                <a:gd name="T6" fmla="*/ 194 w 878"/>
                <a:gd name="T7" fmla="*/ 1297 h 1359"/>
                <a:gd name="T8" fmla="*/ 26 w 878"/>
                <a:gd name="T9" fmla="*/ 1290 h 1359"/>
                <a:gd name="T10" fmla="*/ 38 w 878"/>
                <a:gd name="T11" fmla="*/ 1271 h 1359"/>
                <a:gd name="T12" fmla="*/ 23 w 878"/>
                <a:gd name="T13" fmla="*/ 1262 h 1359"/>
                <a:gd name="T14" fmla="*/ 19 w 878"/>
                <a:gd name="T15" fmla="*/ 1257 h 1359"/>
                <a:gd name="T16" fmla="*/ 31 w 878"/>
                <a:gd name="T17" fmla="*/ 1252 h 1359"/>
                <a:gd name="T18" fmla="*/ 19 w 878"/>
                <a:gd name="T19" fmla="*/ 1240 h 1359"/>
                <a:gd name="T20" fmla="*/ 21 w 878"/>
                <a:gd name="T21" fmla="*/ 1224 h 1359"/>
                <a:gd name="T22" fmla="*/ 9 w 878"/>
                <a:gd name="T23" fmla="*/ 1209 h 1359"/>
                <a:gd name="T24" fmla="*/ 9 w 878"/>
                <a:gd name="T25" fmla="*/ 1202 h 1359"/>
                <a:gd name="T26" fmla="*/ 4 w 878"/>
                <a:gd name="T27" fmla="*/ 1181 h 1359"/>
                <a:gd name="T28" fmla="*/ 14 w 878"/>
                <a:gd name="T29" fmla="*/ 1167 h 1359"/>
                <a:gd name="T30" fmla="*/ 14 w 878"/>
                <a:gd name="T31" fmla="*/ 1150 h 1359"/>
                <a:gd name="T32" fmla="*/ 35 w 878"/>
                <a:gd name="T33" fmla="*/ 1126 h 1359"/>
                <a:gd name="T34" fmla="*/ 52 w 878"/>
                <a:gd name="T35" fmla="*/ 1114 h 1359"/>
                <a:gd name="T36" fmla="*/ 71 w 878"/>
                <a:gd name="T37" fmla="*/ 1107 h 1359"/>
                <a:gd name="T38" fmla="*/ 102 w 878"/>
                <a:gd name="T39" fmla="*/ 1091 h 1359"/>
                <a:gd name="T40" fmla="*/ 109 w 878"/>
                <a:gd name="T41" fmla="*/ 1081 h 1359"/>
                <a:gd name="T42" fmla="*/ 111 w 878"/>
                <a:gd name="T43" fmla="*/ 1072 h 1359"/>
                <a:gd name="T44" fmla="*/ 121 w 878"/>
                <a:gd name="T45" fmla="*/ 1062 h 1359"/>
                <a:gd name="T46" fmla="*/ 149 w 878"/>
                <a:gd name="T47" fmla="*/ 1055 h 1359"/>
                <a:gd name="T48" fmla="*/ 128 w 878"/>
                <a:gd name="T49" fmla="*/ 1053 h 1359"/>
                <a:gd name="T50" fmla="*/ 159 w 878"/>
                <a:gd name="T51" fmla="*/ 1048 h 1359"/>
                <a:gd name="T52" fmla="*/ 180 w 878"/>
                <a:gd name="T53" fmla="*/ 1034 h 1359"/>
                <a:gd name="T54" fmla="*/ 204 w 878"/>
                <a:gd name="T55" fmla="*/ 1005 h 1359"/>
                <a:gd name="T56" fmla="*/ 218 w 878"/>
                <a:gd name="T57" fmla="*/ 993 h 1359"/>
                <a:gd name="T58" fmla="*/ 204 w 878"/>
                <a:gd name="T59" fmla="*/ 984 h 1359"/>
                <a:gd name="T60" fmla="*/ 237 w 878"/>
                <a:gd name="T61" fmla="*/ 972 h 1359"/>
                <a:gd name="T62" fmla="*/ 251 w 878"/>
                <a:gd name="T63" fmla="*/ 953 h 1359"/>
                <a:gd name="T64" fmla="*/ 254 w 878"/>
                <a:gd name="T65" fmla="*/ 936 h 1359"/>
                <a:gd name="T66" fmla="*/ 254 w 878"/>
                <a:gd name="T67" fmla="*/ 929 h 1359"/>
                <a:gd name="T68" fmla="*/ 254 w 878"/>
                <a:gd name="T69" fmla="*/ 915 h 1359"/>
                <a:gd name="T70" fmla="*/ 251 w 878"/>
                <a:gd name="T71" fmla="*/ 910 h 1359"/>
                <a:gd name="T72" fmla="*/ 256 w 878"/>
                <a:gd name="T73" fmla="*/ 903 h 1359"/>
                <a:gd name="T74" fmla="*/ 263 w 878"/>
                <a:gd name="T75" fmla="*/ 891 h 1359"/>
                <a:gd name="T76" fmla="*/ 277 w 878"/>
                <a:gd name="T77" fmla="*/ 884 h 1359"/>
                <a:gd name="T78" fmla="*/ 292 w 878"/>
                <a:gd name="T79" fmla="*/ 872 h 1359"/>
                <a:gd name="T80" fmla="*/ 311 w 878"/>
                <a:gd name="T81" fmla="*/ 851 h 1359"/>
                <a:gd name="T82" fmla="*/ 265 w 878"/>
                <a:gd name="T83" fmla="*/ 827 h 1359"/>
                <a:gd name="T84" fmla="*/ 346 w 878"/>
                <a:gd name="T85" fmla="*/ 810 h 1359"/>
                <a:gd name="T86" fmla="*/ 273 w 878"/>
                <a:gd name="T87" fmla="*/ 817 h 1359"/>
                <a:gd name="T88" fmla="*/ 356 w 878"/>
                <a:gd name="T89" fmla="*/ 791 h 1359"/>
                <a:gd name="T90" fmla="*/ 384 w 878"/>
                <a:gd name="T91" fmla="*/ 784 h 1359"/>
                <a:gd name="T92" fmla="*/ 337 w 878"/>
                <a:gd name="T93" fmla="*/ 758 h 1359"/>
                <a:gd name="T94" fmla="*/ 384 w 878"/>
                <a:gd name="T95" fmla="*/ 753 h 1359"/>
                <a:gd name="T96" fmla="*/ 446 w 878"/>
                <a:gd name="T97" fmla="*/ 710 h 1359"/>
                <a:gd name="T98" fmla="*/ 460 w 878"/>
                <a:gd name="T99" fmla="*/ 691 h 1359"/>
                <a:gd name="T100" fmla="*/ 488 w 878"/>
                <a:gd name="T101" fmla="*/ 689 h 1359"/>
                <a:gd name="T102" fmla="*/ 488 w 878"/>
                <a:gd name="T103" fmla="*/ 682 h 1359"/>
                <a:gd name="T104" fmla="*/ 688 w 878"/>
                <a:gd name="T105" fmla="*/ 672 h 1359"/>
                <a:gd name="T106" fmla="*/ 702 w 878"/>
                <a:gd name="T107" fmla="*/ 651 h 1359"/>
                <a:gd name="T108" fmla="*/ 704 w 878"/>
                <a:gd name="T109" fmla="*/ 627 h 1359"/>
                <a:gd name="T110" fmla="*/ 344 w 878"/>
                <a:gd name="T111" fmla="*/ 252 h 1359"/>
                <a:gd name="T112" fmla="*/ 524 w 878"/>
                <a:gd name="T113" fmla="*/ 178 h 1359"/>
                <a:gd name="T114" fmla="*/ 254 w 878"/>
                <a:gd name="T115" fmla="*/ 124 h 1359"/>
                <a:gd name="T116" fmla="*/ 507 w 878"/>
                <a:gd name="T117" fmla="*/ 105 h 1359"/>
                <a:gd name="T118" fmla="*/ 498 w 878"/>
                <a:gd name="T119" fmla="*/ 79 h 1359"/>
                <a:gd name="T120" fmla="*/ 455 w 878"/>
                <a:gd name="T121" fmla="*/ 59 h 1359"/>
                <a:gd name="T122" fmla="*/ 702 w 878"/>
                <a:gd name="T123" fmla="*/ 40 h 1359"/>
                <a:gd name="T124" fmla="*/ 711 w 878"/>
                <a:gd name="T125" fmla="*/ 26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8" h="1359">
                  <a:moveTo>
                    <a:pt x="97" y="1359"/>
                  </a:moveTo>
                  <a:lnTo>
                    <a:pt x="95" y="1359"/>
                  </a:lnTo>
                  <a:lnTo>
                    <a:pt x="97" y="1359"/>
                  </a:lnTo>
                  <a:close/>
                  <a:moveTo>
                    <a:pt x="99" y="1359"/>
                  </a:moveTo>
                  <a:lnTo>
                    <a:pt x="97" y="1359"/>
                  </a:lnTo>
                  <a:lnTo>
                    <a:pt x="99" y="1359"/>
                  </a:lnTo>
                  <a:lnTo>
                    <a:pt x="97" y="1359"/>
                  </a:lnTo>
                  <a:lnTo>
                    <a:pt x="99" y="1359"/>
                  </a:lnTo>
                  <a:close/>
                  <a:moveTo>
                    <a:pt x="99" y="1359"/>
                  </a:moveTo>
                  <a:lnTo>
                    <a:pt x="97" y="1359"/>
                  </a:lnTo>
                  <a:lnTo>
                    <a:pt x="99" y="1359"/>
                  </a:lnTo>
                  <a:close/>
                  <a:moveTo>
                    <a:pt x="97" y="1359"/>
                  </a:moveTo>
                  <a:lnTo>
                    <a:pt x="95" y="1359"/>
                  </a:lnTo>
                  <a:lnTo>
                    <a:pt x="97" y="1359"/>
                  </a:lnTo>
                  <a:close/>
                  <a:moveTo>
                    <a:pt x="99" y="1357"/>
                  </a:moveTo>
                  <a:lnTo>
                    <a:pt x="99" y="1359"/>
                  </a:lnTo>
                  <a:lnTo>
                    <a:pt x="99" y="1357"/>
                  </a:lnTo>
                  <a:lnTo>
                    <a:pt x="99" y="1359"/>
                  </a:lnTo>
                  <a:lnTo>
                    <a:pt x="97" y="1359"/>
                  </a:lnTo>
                  <a:lnTo>
                    <a:pt x="99" y="1357"/>
                  </a:lnTo>
                  <a:close/>
                  <a:moveTo>
                    <a:pt x="80" y="1359"/>
                  </a:moveTo>
                  <a:lnTo>
                    <a:pt x="78" y="1359"/>
                  </a:lnTo>
                  <a:lnTo>
                    <a:pt x="78" y="1357"/>
                  </a:lnTo>
                  <a:lnTo>
                    <a:pt x="80" y="1357"/>
                  </a:lnTo>
                  <a:lnTo>
                    <a:pt x="80" y="1359"/>
                  </a:lnTo>
                  <a:close/>
                  <a:moveTo>
                    <a:pt x="97" y="1357"/>
                  </a:moveTo>
                  <a:lnTo>
                    <a:pt x="95" y="1357"/>
                  </a:lnTo>
                  <a:lnTo>
                    <a:pt x="97" y="1357"/>
                  </a:lnTo>
                  <a:lnTo>
                    <a:pt x="95" y="1357"/>
                  </a:lnTo>
                  <a:lnTo>
                    <a:pt x="97" y="1357"/>
                  </a:lnTo>
                  <a:close/>
                  <a:moveTo>
                    <a:pt x="80" y="1357"/>
                  </a:moveTo>
                  <a:lnTo>
                    <a:pt x="80" y="1359"/>
                  </a:lnTo>
                  <a:lnTo>
                    <a:pt x="80" y="1357"/>
                  </a:lnTo>
                  <a:close/>
                  <a:moveTo>
                    <a:pt x="87" y="1357"/>
                  </a:moveTo>
                  <a:lnTo>
                    <a:pt x="85" y="1357"/>
                  </a:lnTo>
                  <a:lnTo>
                    <a:pt x="85" y="1359"/>
                  </a:lnTo>
                  <a:lnTo>
                    <a:pt x="85" y="1357"/>
                  </a:lnTo>
                  <a:lnTo>
                    <a:pt x="87" y="1357"/>
                  </a:lnTo>
                  <a:close/>
                  <a:moveTo>
                    <a:pt x="90" y="1357"/>
                  </a:moveTo>
                  <a:lnTo>
                    <a:pt x="92" y="1357"/>
                  </a:lnTo>
                  <a:lnTo>
                    <a:pt x="92" y="1359"/>
                  </a:lnTo>
                  <a:lnTo>
                    <a:pt x="92" y="1357"/>
                  </a:lnTo>
                  <a:lnTo>
                    <a:pt x="92" y="1359"/>
                  </a:lnTo>
                  <a:lnTo>
                    <a:pt x="90" y="1359"/>
                  </a:lnTo>
                  <a:lnTo>
                    <a:pt x="92" y="1359"/>
                  </a:lnTo>
                  <a:lnTo>
                    <a:pt x="90" y="1359"/>
                  </a:lnTo>
                  <a:lnTo>
                    <a:pt x="90" y="1357"/>
                  </a:lnTo>
                  <a:lnTo>
                    <a:pt x="90" y="1359"/>
                  </a:lnTo>
                  <a:lnTo>
                    <a:pt x="90" y="1357"/>
                  </a:lnTo>
                  <a:lnTo>
                    <a:pt x="92" y="1357"/>
                  </a:lnTo>
                  <a:lnTo>
                    <a:pt x="90" y="1357"/>
                  </a:lnTo>
                  <a:close/>
                  <a:moveTo>
                    <a:pt x="78" y="1354"/>
                  </a:moveTo>
                  <a:lnTo>
                    <a:pt x="78" y="1357"/>
                  </a:lnTo>
                  <a:lnTo>
                    <a:pt x="78" y="1354"/>
                  </a:lnTo>
                  <a:lnTo>
                    <a:pt x="76" y="1357"/>
                  </a:lnTo>
                  <a:lnTo>
                    <a:pt x="78" y="1357"/>
                  </a:lnTo>
                  <a:lnTo>
                    <a:pt x="76" y="1357"/>
                  </a:lnTo>
                  <a:lnTo>
                    <a:pt x="76" y="1354"/>
                  </a:lnTo>
                  <a:lnTo>
                    <a:pt x="78" y="1354"/>
                  </a:lnTo>
                  <a:close/>
                  <a:moveTo>
                    <a:pt x="106" y="1354"/>
                  </a:moveTo>
                  <a:lnTo>
                    <a:pt x="104" y="1354"/>
                  </a:lnTo>
                  <a:lnTo>
                    <a:pt x="106" y="1354"/>
                  </a:lnTo>
                  <a:close/>
                  <a:moveTo>
                    <a:pt x="106" y="1354"/>
                  </a:moveTo>
                  <a:lnTo>
                    <a:pt x="109" y="1354"/>
                  </a:lnTo>
                  <a:lnTo>
                    <a:pt x="106" y="1354"/>
                  </a:lnTo>
                  <a:close/>
                  <a:moveTo>
                    <a:pt x="78" y="1354"/>
                  </a:moveTo>
                  <a:lnTo>
                    <a:pt x="76" y="1354"/>
                  </a:lnTo>
                  <a:lnTo>
                    <a:pt x="78" y="1354"/>
                  </a:lnTo>
                  <a:close/>
                  <a:moveTo>
                    <a:pt x="114" y="1352"/>
                  </a:moveTo>
                  <a:lnTo>
                    <a:pt x="114" y="1354"/>
                  </a:lnTo>
                  <a:lnTo>
                    <a:pt x="111" y="1354"/>
                  </a:lnTo>
                  <a:lnTo>
                    <a:pt x="114" y="1354"/>
                  </a:lnTo>
                  <a:lnTo>
                    <a:pt x="111" y="1354"/>
                  </a:lnTo>
                  <a:lnTo>
                    <a:pt x="114" y="1352"/>
                  </a:lnTo>
                  <a:close/>
                  <a:moveTo>
                    <a:pt x="118" y="1352"/>
                  </a:moveTo>
                  <a:lnTo>
                    <a:pt x="116" y="1352"/>
                  </a:lnTo>
                  <a:lnTo>
                    <a:pt x="118" y="1352"/>
                  </a:lnTo>
                  <a:close/>
                  <a:moveTo>
                    <a:pt x="116" y="1352"/>
                  </a:moveTo>
                  <a:lnTo>
                    <a:pt x="116" y="1354"/>
                  </a:lnTo>
                  <a:lnTo>
                    <a:pt x="116" y="1352"/>
                  </a:lnTo>
                  <a:close/>
                  <a:moveTo>
                    <a:pt x="111" y="1352"/>
                  </a:moveTo>
                  <a:lnTo>
                    <a:pt x="114" y="1352"/>
                  </a:lnTo>
                  <a:lnTo>
                    <a:pt x="111" y="1352"/>
                  </a:lnTo>
                  <a:close/>
                  <a:moveTo>
                    <a:pt x="123" y="1347"/>
                  </a:moveTo>
                  <a:lnTo>
                    <a:pt x="123" y="1349"/>
                  </a:lnTo>
                  <a:lnTo>
                    <a:pt x="123" y="1347"/>
                  </a:lnTo>
                  <a:close/>
                  <a:moveTo>
                    <a:pt x="68" y="1345"/>
                  </a:moveTo>
                  <a:lnTo>
                    <a:pt x="68" y="1347"/>
                  </a:lnTo>
                  <a:lnTo>
                    <a:pt x="68" y="1345"/>
                  </a:lnTo>
                  <a:close/>
                  <a:moveTo>
                    <a:pt x="64" y="1345"/>
                  </a:moveTo>
                  <a:lnTo>
                    <a:pt x="66" y="1345"/>
                  </a:lnTo>
                  <a:lnTo>
                    <a:pt x="68" y="1345"/>
                  </a:lnTo>
                  <a:lnTo>
                    <a:pt x="68" y="1347"/>
                  </a:lnTo>
                  <a:lnTo>
                    <a:pt x="66" y="1347"/>
                  </a:lnTo>
                  <a:lnTo>
                    <a:pt x="66" y="1345"/>
                  </a:lnTo>
                  <a:lnTo>
                    <a:pt x="66" y="1347"/>
                  </a:lnTo>
                  <a:lnTo>
                    <a:pt x="64" y="1347"/>
                  </a:lnTo>
                  <a:lnTo>
                    <a:pt x="64" y="1345"/>
                  </a:lnTo>
                  <a:lnTo>
                    <a:pt x="64" y="1347"/>
                  </a:lnTo>
                  <a:lnTo>
                    <a:pt x="64" y="1345"/>
                  </a:lnTo>
                  <a:close/>
                  <a:moveTo>
                    <a:pt x="144" y="1330"/>
                  </a:moveTo>
                  <a:lnTo>
                    <a:pt x="144" y="1333"/>
                  </a:lnTo>
                  <a:lnTo>
                    <a:pt x="144" y="1330"/>
                  </a:lnTo>
                  <a:lnTo>
                    <a:pt x="144" y="1333"/>
                  </a:lnTo>
                  <a:lnTo>
                    <a:pt x="142" y="1333"/>
                  </a:lnTo>
                  <a:lnTo>
                    <a:pt x="142" y="1335"/>
                  </a:lnTo>
                  <a:lnTo>
                    <a:pt x="140" y="1335"/>
                  </a:lnTo>
                  <a:lnTo>
                    <a:pt x="140" y="1333"/>
                  </a:lnTo>
                  <a:lnTo>
                    <a:pt x="137" y="1333"/>
                  </a:lnTo>
                  <a:lnTo>
                    <a:pt x="140" y="1333"/>
                  </a:lnTo>
                  <a:lnTo>
                    <a:pt x="142" y="1333"/>
                  </a:lnTo>
                  <a:lnTo>
                    <a:pt x="142" y="1330"/>
                  </a:lnTo>
                  <a:lnTo>
                    <a:pt x="144" y="1330"/>
                  </a:lnTo>
                  <a:close/>
                  <a:moveTo>
                    <a:pt x="149" y="1326"/>
                  </a:moveTo>
                  <a:lnTo>
                    <a:pt x="149" y="1328"/>
                  </a:lnTo>
                  <a:lnTo>
                    <a:pt x="147" y="1328"/>
                  </a:lnTo>
                  <a:lnTo>
                    <a:pt x="149" y="1328"/>
                  </a:lnTo>
                  <a:lnTo>
                    <a:pt x="147" y="1328"/>
                  </a:lnTo>
                  <a:lnTo>
                    <a:pt x="147" y="1326"/>
                  </a:lnTo>
                  <a:lnTo>
                    <a:pt x="149" y="1326"/>
                  </a:lnTo>
                  <a:close/>
                  <a:moveTo>
                    <a:pt x="149" y="1323"/>
                  </a:moveTo>
                  <a:lnTo>
                    <a:pt x="152" y="1323"/>
                  </a:lnTo>
                  <a:lnTo>
                    <a:pt x="152" y="1326"/>
                  </a:lnTo>
                  <a:lnTo>
                    <a:pt x="149" y="1326"/>
                  </a:lnTo>
                  <a:lnTo>
                    <a:pt x="152" y="1326"/>
                  </a:lnTo>
                  <a:lnTo>
                    <a:pt x="149" y="1326"/>
                  </a:lnTo>
                  <a:lnTo>
                    <a:pt x="147" y="1326"/>
                  </a:lnTo>
                  <a:lnTo>
                    <a:pt x="149" y="1326"/>
                  </a:lnTo>
                  <a:lnTo>
                    <a:pt x="149" y="1323"/>
                  </a:lnTo>
                  <a:close/>
                  <a:moveTo>
                    <a:pt x="154" y="1321"/>
                  </a:moveTo>
                  <a:lnTo>
                    <a:pt x="152" y="1321"/>
                  </a:lnTo>
                  <a:lnTo>
                    <a:pt x="154" y="1321"/>
                  </a:lnTo>
                  <a:close/>
                  <a:moveTo>
                    <a:pt x="154" y="1319"/>
                  </a:moveTo>
                  <a:lnTo>
                    <a:pt x="154" y="1321"/>
                  </a:lnTo>
                  <a:lnTo>
                    <a:pt x="154" y="1319"/>
                  </a:lnTo>
                  <a:close/>
                  <a:moveTo>
                    <a:pt x="156" y="1319"/>
                  </a:moveTo>
                  <a:lnTo>
                    <a:pt x="156" y="1321"/>
                  </a:lnTo>
                  <a:lnTo>
                    <a:pt x="156" y="1319"/>
                  </a:lnTo>
                  <a:lnTo>
                    <a:pt x="154" y="1319"/>
                  </a:lnTo>
                  <a:lnTo>
                    <a:pt x="156" y="1319"/>
                  </a:lnTo>
                  <a:close/>
                  <a:moveTo>
                    <a:pt x="161" y="1314"/>
                  </a:moveTo>
                  <a:lnTo>
                    <a:pt x="163" y="1314"/>
                  </a:lnTo>
                  <a:lnTo>
                    <a:pt x="161" y="1314"/>
                  </a:lnTo>
                  <a:close/>
                  <a:moveTo>
                    <a:pt x="159" y="1314"/>
                  </a:moveTo>
                  <a:lnTo>
                    <a:pt x="159" y="1311"/>
                  </a:lnTo>
                  <a:lnTo>
                    <a:pt x="159" y="1314"/>
                  </a:lnTo>
                  <a:close/>
                  <a:moveTo>
                    <a:pt x="156" y="1314"/>
                  </a:moveTo>
                  <a:lnTo>
                    <a:pt x="156" y="1311"/>
                  </a:lnTo>
                  <a:lnTo>
                    <a:pt x="156" y="1314"/>
                  </a:lnTo>
                  <a:close/>
                  <a:moveTo>
                    <a:pt x="161" y="1311"/>
                  </a:moveTo>
                  <a:lnTo>
                    <a:pt x="163" y="1311"/>
                  </a:lnTo>
                  <a:lnTo>
                    <a:pt x="163" y="1314"/>
                  </a:lnTo>
                  <a:lnTo>
                    <a:pt x="163" y="1311"/>
                  </a:lnTo>
                  <a:lnTo>
                    <a:pt x="163" y="1314"/>
                  </a:lnTo>
                  <a:lnTo>
                    <a:pt x="163" y="1311"/>
                  </a:lnTo>
                  <a:lnTo>
                    <a:pt x="163" y="1314"/>
                  </a:lnTo>
                  <a:lnTo>
                    <a:pt x="161" y="1314"/>
                  </a:lnTo>
                  <a:lnTo>
                    <a:pt x="163" y="1314"/>
                  </a:lnTo>
                  <a:lnTo>
                    <a:pt x="161" y="1314"/>
                  </a:lnTo>
                  <a:lnTo>
                    <a:pt x="161" y="1311"/>
                  </a:lnTo>
                  <a:lnTo>
                    <a:pt x="161" y="1314"/>
                  </a:lnTo>
                  <a:lnTo>
                    <a:pt x="161" y="1311"/>
                  </a:lnTo>
                  <a:close/>
                  <a:moveTo>
                    <a:pt x="163" y="1314"/>
                  </a:moveTo>
                  <a:lnTo>
                    <a:pt x="166" y="1314"/>
                  </a:lnTo>
                  <a:lnTo>
                    <a:pt x="163" y="1314"/>
                  </a:lnTo>
                  <a:lnTo>
                    <a:pt x="166" y="1311"/>
                  </a:lnTo>
                  <a:lnTo>
                    <a:pt x="166" y="1314"/>
                  </a:lnTo>
                  <a:lnTo>
                    <a:pt x="163" y="1314"/>
                  </a:lnTo>
                  <a:close/>
                  <a:moveTo>
                    <a:pt x="168" y="1311"/>
                  </a:moveTo>
                  <a:lnTo>
                    <a:pt x="166" y="1311"/>
                  </a:lnTo>
                  <a:lnTo>
                    <a:pt x="168" y="1311"/>
                  </a:lnTo>
                  <a:lnTo>
                    <a:pt x="168" y="1309"/>
                  </a:lnTo>
                  <a:lnTo>
                    <a:pt x="168" y="1311"/>
                  </a:lnTo>
                  <a:close/>
                  <a:moveTo>
                    <a:pt x="166" y="1311"/>
                  </a:moveTo>
                  <a:lnTo>
                    <a:pt x="163" y="1311"/>
                  </a:lnTo>
                  <a:lnTo>
                    <a:pt x="166" y="1311"/>
                  </a:lnTo>
                  <a:lnTo>
                    <a:pt x="166" y="1309"/>
                  </a:lnTo>
                  <a:lnTo>
                    <a:pt x="166" y="1311"/>
                  </a:lnTo>
                  <a:close/>
                  <a:moveTo>
                    <a:pt x="166" y="1309"/>
                  </a:moveTo>
                  <a:lnTo>
                    <a:pt x="163" y="1309"/>
                  </a:lnTo>
                  <a:lnTo>
                    <a:pt x="166" y="1309"/>
                  </a:lnTo>
                  <a:close/>
                  <a:moveTo>
                    <a:pt x="47" y="1309"/>
                  </a:moveTo>
                  <a:lnTo>
                    <a:pt x="47" y="1311"/>
                  </a:lnTo>
                  <a:lnTo>
                    <a:pt x="47" y="1309"/>
                  </a:lnTo>
                  <a:close/>
                  <a:moveTo>
                    <a:pt x="168" y="1309"/>
                  </a:moveTo>
                  <a:lnTo>
                    <a:pt x="166" y="1309"/>
                  </a:lnTo>
                  <a:lnTo>
                    <a:pt x="168" y="1309"/>
                  </a:lnTo>
                  <a:close/>
                  <a:moveTo>
                    <a:pt x="42" y="1307"/>
                  </a:moveTo>
                  <a:lnTo>
                    <a:pt x="42" y="1309"/>
                  </a:lnTo>
                  <a:lnTo>
                    <a:pt x="40" y="1309"/>
                  </a:lnTo>
                  <a:lnTo>
                    <a:pt x="40" y="1307"/>
                  </a:lnTo>
                  <a:lnTo>
                    <a:pt x="42" y="1307"/>
                  </a:lnTo>
                  <a:close/>
                  <a:moveTo>
                    <a:pt x="182" y="1307"/>
                  </a:moveTo>
                  <a:lnTo>
                    <a:pt x="185" y="1307"/>
                  </a:lnTo>
                  <a:lnTo>
                    <a:pt x="182" y="1307"/>
                  </a:lnTo>
                  <a:close/>
                  <a:moveTo>
                    <a:pt x="42" y="1307"/>
                  </a:moveTo>
                  <a:lnTo>
                    <a:pt x="40" y="1307"/>
                  </a:lnTo>
                  <a:lnTo>
                    <a:pt x="42" y="1307"/>
                  </a:lnTo>
                  <a:lnTo>
                    <a:pt x="40" y="1307"/>
                  </a:lnTo>
                  <a:lnTo>
                    <a:pt x="42" y="1307"/>
                  </a:lnTo>
                  <a:close/>
                  <a:moveTo>
                    <a:pt x="42" y="1307"/>
                  </a:moveTo>
                  <a:lnTo>
                    <a:pt x="40" y="1307"/>
                  </a:lnTo>
                  <a:lnTo>
                    <a:pt x="42" y="1307"/>
                  </a:lnTo>
                  <a:close/>
                  <a:moveTo>
                    <a:pt x="47" y="1307"/>
                  </a:moveTo>
                  <a:lnTo>
                    <a:pt x="45" y="1307"/>
                  </a:lnTo>
                  <a:lnTo>
                    <a:pt x="47" y="1307"/>
                  </a:lnTo>
                  <a:close/>
                  <a:moveTo>
                    <a:pt x="45" y="1307"/>
                  </a:moveTo>
                  <a:lnTo>
                    <a:pt x="42" y="1307"/>
                  </a:lnTo>
                  <a:lnTo>
                    <a:pt x="45" y="1307"/>
                  </a:lnTo>
                  <a:lnTo>
                    <a:pt x="45" y="1304"/>
                  </a:lnTo>
                  <a:lnTo>
                    <a:pt x="45" y="1307"/>
                  </a:lnTo>
                  <a:close/>
                  <a:moveTo>
                    <a:pt x="180" y="1307"/>
                  </a:moveTo>
                  <a:lnTo>
                    <a:pt x="180" y="1304"/>
                  </a:lnTo>
                  <a:lnTo>
                    <a:pt x="180" y="1307"/>
                  </a:lnTo>
                  <a:close/>
                  <a:moveTo>
                    <a:pt x="40" y="1307"/>
                  </a:moveTo>
                  <a:lnTo>
                    <a:pt x="40" y="1304"/>
                  </a:lnTo>
                  <a:lnTo>
                    <a:pt x="40" y="1307"/>
                  </a:lnTo>
                  <a:close/>
                  <a:moveTo>
                    <a:pt x="171" y="1307"/>
                  </a:moveTo>
                  <a:lnTo>
                    <a:pt x="171" y="1304"/>
                  </a:lnTo>
                  <a:lnTo>
                    <a:pt x="171" y="1307"/>
                  </a:lnTo>
                  <a:close/>
                  <a:moveTo>
                    <a:pt x="213" y="1304"/>
                  </a:moveTo>
                  <a:lnTo>
                    <a:pt x="213" y="1307"/>
                  </a:lnTo>
                  <a:lnTo>
                    <a:pt x="213" y="1304"/>
                  </a:lnTo>
                  <a:close/>
                  <a:moveTo>
                    <a:pt x="171" y="1307"/>
                  </a:moveTo>
                  <a:lnTo>
                    <a:pt x="171" y="1304"/>
                  </a:lnTo>
                  <a:lnTo>
                    <a:pt x="171" y="1307"/>
                  </a:lnTo>
                  <a:close/>
                  <a:moveTo>
                    <a:pt x="38" y="1304"/>
                  </a:moveTo>
                  <a:lnTo>
                    <a:pt x="38" y="1307"/>
                  </a:lnTo>
                  <a:lnTo>
                    <a:pt x="38" y="1304"/>
                  </a:lnTo>
                  <a:lnTo>
                    <a:pt x="38" y="1307"/>
                  </a:lnTo>
                  <a:lnTo>
                    <a:pt x="40" y="1307"/>
                  </a:lnTo>
                  <a:lnTo>
                    <a:pt x="38" y="1307"/>
                  </a:lnTo>
                  <a:lnTo>
                    <a:pt x="38" y="1304"/>
                  </a:lnTo>
                  <a:close/>
                  <a:moveTo>
                    <a:pt x="213" y="1304"/>
                  </a:moveTo>
                  <a:lnTo>
                    <a:pt x="211" y="1304"/>
                  </a:lnTo>
                  <a:lnTo>
                    <a:pt x="213" y="1304"/>
                  </a:lnTo>
                  <a:close/>
                  <a:moveTo>
                    <a:pt x="173" y="1304"/>
                  </a:moveTo>
                  <a:lnTo>
                    <a:pt x="173" y="1307"/>
                  </a:lnTo>
                  <a:lnTo>
                    <a:pt x="173" y="1304"/>
                  </a:lnTo>
                  <a:lnTo>
                    <a:pt x="171" y="1304"/>
                  </a:lnTo>
                  <a:lnTo>
                    <a:pt x="173" y="1304"/>
                  </a:lnTo>
                  <a:close/>
                  <a:moveTo>
                    <a:pt x="216" y="1304"/>
                  </a:moveTo>
                  <a:lnTo>
                    <a:pt x="213" y="1304"/>
                  </a:lnTo>
                  <a:lnTo>
                    <a:pt x="216" y="1304"/>
                  </a:lnTo>
                  <a:lnTo>
                    <a:pt x="213" y="1304"/>
                  </a:lnTo>
                  <a:lnTo>
                    <a:pt x="216" y="1304"/>
                  </a:lnTo>
                  <a:lnTo>
                    <a:pt x="213" y="1307"/>
                  </a:lnTo>
                  <a:lnTo>
                    <a:pt x="213" y="1304"/>
                  </a:lnTo>
                  <a:lnTo>
                    <a:pt x="216" y="1304"/>
                  </a:lnTo>
                  <a:close/>
                  <a:moveTo>
                    <a:pt x="40" y="1304"/>
                  </a:moveTo>
                  <a:lnTo>
                    <a:pt x="40" y="1302"/>
                  </a:lnTo>
                  <a:lnTo>
                    <a:pt x="42" y="1302"/>
                  </a:lnTo>
                  <a:lnTo>
                    <a:pt x="42" y="1304"/>
                  </a:lnTo>
                  <a:lnTo>
                    <a:pt x="40" y="1304"/>
                  </a:lnTo>
                  <a:close/>
                  <a:moveTo>
                    <a:pt x="216" y="1302"/>
                  </a:moveTo>
                  <a:lnTo>
                    <a:pt x="216" y="1304"/>
                  </a:lnTo>
                  <a:lnTo>
                    <a:pt x="213" y="1304"/>
                  </a:lnTo>
                  <a:lnTo>
                    <a:pt x="216" y="1304"/>
                  </a:lnTo>
                  <a:lnTo>
                    <a:pt x="216" y="1302"/>
                  </a:lnTo>
                  <a:close/>
                  <a:moveTo>
                    <a:pt x="208" y="1304"/>
                  </a:moveTo>
                  <a:lnTo>
                    <a:pt x="208" y="1302"/>
                  </a:lnTo>
                  <a:lnTo>
                    <a:pt x="208" y="1304"/>
                  </a:lnTo>
                  <a:close/>
                  <a:moveTo>
                    <a:pt x="173" y="1302"/>
                  </a:moveTo>
                  <a:lnTo>
                    <a:pt x="171" y="1302"/>
                  </a:lnTo>
                  <a:lnTo>
                    <a:pt x="173" y="1302"/>
                  </a:lnTo>
                  <a:close/>
                  <a:moveTo>
                    <a:pt x="28" y="1302"/>
                  </a:moveTo>
                  <a:lnTo>
                    <a:pt x="26" y="1302"/>
                  </a:lnTo>
                  <a:lnTo>
                    <a:pt x="28" y="1302"/>
                  </a:lnTo>
                  <a:lnTo>
                    <a:pt x="26" y="1302"/>
                  </a:lnTo>
                  <a:lnTo>
                    <a:pt x="28" y="1302"/>
                  </a:lnTo>
                  <a:close/>
                  <a:moveTo>
                    <a:pt x="40" y="1302"/>
                  </a:moveTo>
                  <a:lnTo>
                    <a:pt x="40" y="1300"/>
                  </a:lnTo>
                  <a:lnTo>
                    <a:pt x="40" y="1302"/>
                  </a:lnTo>
                  <a:close/>
                  <a:moveTo>
                    <a:pt x="213" y="1300"/>
                  </a:moveTo>
                  <a:lnTo>
                    <a:pt x="213" y="1302"/>
                  </a:lnTo>
                  <a:lnTo>
                    <a:pt x="213" y="1300"/>
                  </a:lnTo>
                  <a:lnTo>
                    <a:pt x="213" y="1302"/>
                  </a:lnTo>
                  <a:lnTo>
                    <a:pt x="216" y="1302"/>
                  </a:lnTo>
                  <a:lnTo>
                    <a:pt x="213" y="1302"/>
                  </a:lnTo>
                  <a:lnTo>
                    <a:pt x="216" y="1302"/>
                  </a:lnTo>
                  <a:lnTo>
                    <a:pt x="213" y="1302"/>
                  </a:lnTo>
                  <a:lnTo>
                    <a:pt x="213" y="1304"/>
                  </a:lnTo>
                  <a:lnTo>
                    <a:pt x="213" y="1302"/>
                  </a:lnTo>
                  <a:lnTo>
                    <a:pt x="213" y="1304"/>
                  </a:lnTo>
                  <a:lnTo>
                    <a:pt x="211" y="1304"/>
                  </a:lnTo>
                  <a:lnTo>
                    <a:pt x="213" y="1304"/>
                  </a:lnTo>
                  <a:lnTo>
                    <a:pt x="211" y="1304"/>
                  </a:lnTo>
                  <a:lnTo>
                    <a:pt x="213" y="1304"/>
                  </a:lnTo>
                  <a:lnTo>
                    <a:pt x="211" y="1304"/>
                  </a:lnTo>
                  <a:lnTo>
                    <a:pt x="211" y="1302"/>
                  </a:lnTo>
                  <a:lnTo>
                    <a:pt x="211" y="1300"/>
                  </a:lnTo>
                  <a:lnTo>
                    <a:pt x="213" y="1300"/>
                  </a:lnTo>
                  <a:close/>
                  <a:moveTo>
                    <a:pt x="33" y="1300"/>
                  </a:moveTo>
                  <a:lnTo>
                    <a:pt x="35" y="1300"/>
                  </a:lnTo>
                  <a:lnTo>
                    <a:pt x="35" y="1302"/>
                  </a:lnTo>
                  <a:lnTo>
                    <a:pt x="38" y="1302"/>
                  </a:lnTo>
                  <a:lnTo>
                    <a:pt x="35" y="1302"/>
                  </a:lnTo>
                  <a:lnTo>
                    <a:pt x="38" y="1302"/>
                  </a:lnTo>
                  <a:lnTo>
                    <a:pt x="38" y="1304"/>
                  </a:lnTo>
                  <a:lnTo>
                    <a:pt x="38" y="1302"/>
                  </a:lnTo>
                  <a:lnTo>
                    <a:pt x="40" y="1302"/>
                  </a:lnTo>
                  <a:lnTo>
                    <a:pt x="40" y="1304"/>
                  </a:lnTo>
                  <a:lnTo>
                    <a:pt x="38" y="1304"/>
                  </a:lnTo>
                  <a:lnTo>
                    <a:pt x="35" y="1304"/>
                  </a:lnTo>
                  <a:lnTo>
                    <a:pt x="35" y="1302"/>
                  </a:lnTo>
                  <a:lnTo>
                    <a:pt x="35" y="1304"/>
                  </a:lnTo>
                  <a:lnTo>
                    <a:pt x="35" y="1302"/>
                  </a:lnTo>
                  <a:lnTo>
                    <a:pt x="33" y="1302"/>
                  </a:lnTo>
                  <a:lnTo>
                    <a:pt x="33" y="1300"/>
                  </a:lnTo>
                  <a:lnTo>
                    <a:pt x="33" y="1302"/>
                  </a:lnTo>
                  <a:lnTo>
                    <a:pt x="33" y="1300"/>
                  </a:lnTo>
                  <a:lnTo>
                    <a:pt x="33" y="1302"/>
                  </a:lnTo>
                  <a:lnTo>
                    <a:pt x="33" y="1300"/>
                  </a:lnTo>
                  <a:close/>
                  <a:moveTo>
                    <a:pt x="211" y="1300"/>
                  </a:moveTo>
                  <a:lnTo>
                    <a:pt x="208" y="1300"/>
                  </a:lnTo>
                  <a:lnTo>
                    <a:pt x="211" y="1300"/>
                  </a:lnTo>
                  <a:close/>
                  <a:moveTo>
                    <a:pt x="192" y="1300"/>
                  </a:moveTo>
                  <a:lnTo>
                    <a:pt x="194" y="1300"/>
                  </a:lnTo>
                  <a:lnTo>
                    <a:pt x="192" y="1302"/>
                  </a:lnTo>
                  <a:lnTo>
                    <a:pt x="192" y="1300"/>
                  </a:lnTo>
                  <a:lnTo>
                    <a:pt x="192" y="1302"/>
                  </a:lnTo>
                  <a:lnTo>
                    <a:pt x="194" y="1302"/>
                  </a:lnTo>
                  <a:lnTo>
                    <a:pt x="194" y="1300"/>
                  </a:lnTo>
                  <a:lnTo>
                    <a:pt x="194" y="1302"/>
                  </a:lnTo>
                  <a:lnTo>
                    <a:pt x="192" y="1302"/>
                  </a:lnTo>
                  <a:lnTo>
                    <a:pt x="192" y="1300"/>
                  </a:lnTo>
                  <a:close/>
                  <a:moveTo>
                    <a:pt x="40" y="1300"/>
                  </a:moveTo>
                  <a:lnTo>
                    <a:pt x="42" y="1300"/>
                  </a:lnTo>
                  <a:lnTo>
                    <a:pt x="40" y="1300"/>
                  </a:lnTo>
                  <a:close/>
                  <a:moveTo>
                    <a:pt x="206" y="1300"/>
                  </a:moveTo>
                  <a:lnTo>
                    <a:pt x="208" y="1300"/>
                  </a:lnTo>
                  <a:lnTo>
                    <a:pt x="211" y="1300"/>
                  </a:lnTo>
                  <a:lnTo>
                    <a:pt x="208" y="1302"/>
                  </a:lnTo>
                  <a:lnTo>
                    <a:pt x="211" y="1302"/>
                  </a:lnTo>
                  <a:lnTo>
                    <a:pt x="211" y="1300"/>
                  </a:lnTo>
                  <a:lnTo>
                    <a:pt x="211" y="1302"/>
                  </a:lnTo>
                  <a:lnTo>
                    <a:pt x="211" y="1304"/>
                  </a:lnTo>
                  <a:lnTo>
                    <a:pt x="208" y="1304"/>
                  </a:lnTo>
                  <a:lnTo>
                    <a:pt x="208" y="1302"/>
                  </a:lnTo>
                  <a:lnTo>
                    <a:pt x="206" y="1302"/>
                  </a:lnTo>
                  <a:lnTo>
                    <a:pt x="208" y="1302"/>
                  </a:lnTo>
                  <a:lnTo>
                    <a:pt x="206" y="1302"/>
                  </a:lnTo>
                  <a:lnTo>
                    <a:pt x="206" y="1300"/>
                  </a:lnTo>
                  <a:close/>
                  <a:moveTo>
                    <a:pt x="192" y="1300"/>
                  </a:moveTo>
                  <a:lnTo>
                    <a:pt x="189" y="1300"/>
                  </a:lnTo>
                  <a:lnTo>
                    <a:pt x="192" y="1300"/>
                  </a:lnTo>
                  <a:lnTo>
                    <a:pt x="189" y="1300"/>
                  </a:lnTo>
                  <a:lnTo>
                    <a:pt x="192" y="1300"/>
                  </a:lnTo>
                  <a:close/>
                  <a:moveTo>
                    <a:pt x="211" y="1300"/>
                  </a:moveTo>
                  <a:lnTo>
                    <a:pt x="208" y="1300"/>
                  </a:lnTo>
                  <a:lnTo>
                    <a:pt x="211" y="1300"/>
                  </a:lnTo>
                  <a:close/>
                  <a:moveTo>
                    <a:pt x="21" y="1300"/>
                  </a:moveTo>
                  <a:lnTo>
                    <a:pt x="21" y="1297"/>
                  </a:lnTo>
                  <a:lnTo>
                    <a:pt x="21" y="1300"/>
                  </a:lnTo>
                  <a:close/>
                  <a:moveTo>
                    <a:pt x="194" y="1300"/>
                  </a:moveTo>
                  <a:lnTo>
                    <a:pt x="194" y="1297"/>
                  </a:lnTo>
                  <a:lnTo>
                    <a:pt x="194" y="1300"/>
                  </a:lnTo>
                  <a:close/>
                  <a:moveTo>
                    <a:pt x="33" y="1297"/>
                  </a:moveTo>
                  <a:lnTo>
                    <a:pt x="35" y="1300"/>
                  </a:lnTo>
                  <a:lnTo>
                    <a:pt x="35" y="1297"/>
                  </a:lnTo>
                  <a:lnTo>
                    <a:pt x="35" y="1300"/>
                  </a:lnTo>
                  <a:lnTo>
                    <a:pt x="38" y="1300"/>
                  </a:lnTo>
                  <a:lnTo>
                    <a:pt x="40" y="1300"/>
                  </a:lnTo>
                  <a:lnTo>
                    <a:pt x="40" y="1302"/>
                  </a:lnTo>
                  <a:lnTo>
                    <a:pt x="38" y="1302"/>
                  </a:lnTo>
                  <a:lnTo>
                    <a:pt x="38" y="1300"/>
                  </a:lnTo>
                  <a:lnTo>
                    <a:pt x="35" y="1300"/>
                  </a:lnTo>
                  <a:lnTo>
                    <a:pt x="33" y="1300"/>
                  </a:lnTo>
                  <a:lnTo>
                    <a:pt x="33" y="1297"/>
                  </a:lnTo>
                  <a:close/>
                  <a:moveTo>
                    <a:pt x="211" y="1297"/>
                  </a:moveTo>
                  <a:lnTo>
                    <a:pt x="211" y="1300"/>
                  </a:lnTo>
                  <a:lnTo>
                    <a:pt x="208" y="1300"/>
                  </a:lnTo>
                  <a:lnTo>
                    <a:pt x="208" y="1297"/>
                  </a:lnTo>
                  <a:lnTo>
                    <a:pt x="211" y="1297"/>
                  </a:lnTo>
                  <a:close/>
                  <a:moveTo>
                    <a:pt x="47" y="1297"/>
                  </a:moveTo>
                  <a:lnTo>
                    <a:pt x="45" y="1297"/>
                  </a:lnTo>
                  <a:lnTo>
                    <a:pt x="47" y="1297"/>
                  </a:lnTo>
                  <a:close/>
                  <a:moveTo>
                    <a:pt x="45" y="1297"/>
                  </a:moveTo>
                  <a:lnTo>
                    <a:pt x="45" y="1300"/>
                  </a:lnTo>
                  <a:lnTo>
                    <a:pt x="45" y="1297"/>
                  </a:lnTo>
                  <a:lnTo>
                    <a:pt x="45" y="1300"/>
                  </a:lnTo>
                  <a:lnTo>
                    <a:pt x="42" y="1300"/>
                  </a:lnTo>
                  <a:lnTo>
                    <a:pt x="42" y="1297"/>
                  </a:lnTo>
                  <a:lnTo>
                    <a:pt x="45" y="1297"/>
                  </a:lnTo>
                  <a:close/>
                  <a:moveTo>
                    <a:pt x="47" y="1297"/>
                  </a:moveTo>
                  <a:lnTo>
                    <a:pt x="45" y="1297"/>
                  </a:lnTo>
                  <a:lnTo>
                    <a:pt x="47" y="1297"/>
                  </a:lnTo>
                  <a:close/>
                  <a:moveTo>
                    <a:pt x="189" y="1297"/>
                  </a:moveTo>
                  <a:lnTo>
                    <a:pt x="192" y="1297"/>
                  </a:lnTo>
                  <a:lnTo>
                    <a:pt x="189" y="1297"/>
                  </a:lnTo>
                  <a:close/>
                  <a:moveTo>
                    <a:pt x="192" y="1297"/>
                  </a:moveTo>
                  <a:lnTo>
                    <a:pt x="194" y="1297"/>
                  </a:lnTo>
                  <a:lnTo>
                    <a:pt x="192" y="1297"/>
                  </a:lnTo>
                  <a:lnTo>
                    <a:pt x="192" y="1300"/>
                  </a:lnTo>
                  <a:lnTo>
                    <a:pt x="192" y="1297"/>
                  </a:lnTo>
                  <a:lnTo>
                    <a:pt x="192" y="1300"/>
                  </a:lnTo>
                  <a:lnTo>
                    <a:pt x="192" y="1302"/>
                  </a:lnTo>
                  <a:lnTo>
                    <a:pt x="192" y="1300"/>
                  </a:lnTo>
                  <a:lnTo>
                    <a:pt x="192" y="1297"/>
                  </a:lnTo>
                  <a:close/>
                  <a:moveTo>
                    <a:pt x="194" y="1297"/>
                  </a:moveTo>
                  <a:lnTo>
                    <a:pt x="194" y="1295"/>
                  </a:lnTo>
                  <a:lnTo>
                    <a:pt x="194" y="1297"/>
                  </a:lnTo>
                  <a:close/>
                  <a:moveTo>
                    <a:pt x="189" y="1297"/>
                  </a:moveTo>
                  <a:lnTo>
                    <a:pt x="189" y="1295"/>
                  </a:lnTo>
                  <a:lnTo>
                    <a:pt x="189" y="1297"/>
                  </a:lnTo>
                  <a:close/>
                  <a:moveTo>
                    <a:pt x="42" y="1297"/>
                  </a:moveTo>
                  <a:lnTo>
                    <a:pt x="40" y="1297"/>
                  </a:lnTo>
                  <a:lnTo>
                    <a:pt x="40" y="1295"/>
                  </a:lnTo>
                  <a:lnTo>
                    <a:pt x="42" y="1295"/>
                  </a:lnTo>
                  <a:lnTo>
                    <a:pt x="42" y="1297"/>
                  </a:lnTo>
                  <a:close/>
                  <a:moveTo>
                    <a:pt x="197" y="1295"/>
                  </a:moveTo>
                  <a:lnTo>
                    <a:pt x="194" y="1295"/>
                  </a:lnTo>
                  <a:lnTo>
                    <a:pt x="197" y="1295"/>
                  </a:lnTo>
                  <a:close/>
                  <a:moveTo>
                    <a:pt x="45" y="1295"/>
                  </a:moveTo>
                  <a:lnTo>
                    <a:pt x="45" y="1297"/>
                  </a:lnTo>
                  <a:lnTo>
                    <a:pt x="45" y="1295"/>
                  </a:lnTo>
                  <a:lnTo>
                    <a:pt x="45" y="1297"/>
                  </a:lnTo>
                  <a:lnTo>
                    <a:pt x="45" y="1295"/>
                  </a:lnTo>
                  <a:close/>
                  <a:moveTo>
                    <a:pt x="204" y="1295"/>
                  </a:moveTo>
                  <a:lnTo>
                    <a:pt x="204" y="1292"/>
                  </a:lnTo>
                  <a:lnTo>
                    <a:pt x="204" y="1295"/>
                  </a:lnTo>
                  <a:close/>
                  <a:moveTo>
                    <a:pt x="204" y="1292"/>
                  </a:moveTo>
                  <a:lnTo>
                    <a:pt x="204" y="1295"/>
                  </a:lnTo>
                  <a:lnTo>
                    <a:pt x="204" y="1292"/>
                  </a:lnTo>
                  <a:close/>
                  <a:moveTo>
                    <a:pt x="50" y="1292"/>
                  </a:moveTo>
                  <a:lnTo>
                    <a:pt x="50" y="1295"/>
                  </a:lnTo>
                  <a:lnTo>
                    <a:pt x="47" y="1295"/>
                  </a:lnTo>
                  <a:lnTo>
                    <a:pt x="47" y="1297"/>
                  </a:lnTo>
                  <a:lnTo>
                    <a:pt x="47" y="1295"/>
                  </a:lnTo>
                  <a:lnTo>
                    <a:pt x="50" y="1292"/>
                  </a:lnTo>
                  <a:close/>
                  <a:moveTo>
                    <a:pt x="42" y="1292"/>
                  </a:moveTo>
                  <a:lnTo>
                    <a:pt x="42" y="1295"/>
                  </a:lnTo>
                  <a:lnTo>
                    <a:pt x="42" y="1292"/>
                  </a:lnTo>
                  <a:lnTo>
                    <a:pt x="42" y="1295"/>
                  </a:lnTo>
                  <a:lnTo>
                    <a:pt x="40" y="1295"/>
                  </a:lnTo>
                  <a:lnTo>
                    <a:pt x="40" y="1292"/>
                  </a:lnTo>
                  <a:lnTo>
                    <a:pt x="42" y="1292"/>
                  </a:lnTo>
                  <a:close/>
                  <a:moveTo>
                    <a:pt x="197" y="1292"/>
                  </a:moveTo>
                  <a:lnTo>
                    <a:pt x="194" y="1292"/>
                  </a:lnTo>
                  <a:lnTo>
                    <a:pt x="197" y="1292"/>
                  </a:lnTo>
                  <a:close/>
                  <a:moveTo>
                    <a:pt x="201" y="1295"/>
                  </a:moveTo>
                  <a:lnTo>
                    <a:pt x="201" y="1292"/>
                  </a:lnTo>
                  <a:lnTo>
                    <a:pt x="201" y="1295"/>
                  </a:lnTo>
                  <a:close/>
                  <a:moveTo>
                    <a:pt x="28" y="1292"/>
                  </a:moveTo>
                  <a:lnTo>
                    <a:pt x="31" y="1292"/>
                  </a:lnTo>
                  <a:lnTo>
                    <a:pt x="31" y="1295"/>
                  </a:lnTo>
                  <a:lnTo>
                    <a:pt x="28" y="1295"/>
                  </a:lnTo>
                  <a:lnTo>
                    <a:pt x="31" y="1295"/>
                  </a:lnTo>
                  <a:lnTo>
                    <a:pt x="28" y="1295"/>
                  </a:lnTo>
                  <a:lnTo>
                    <a:pt x="28" y="1297"/>
                  </a:lnTo>
                  <a:lnTo>
                    <a:pt x="28" y="1295"/>
                  </a:lnTo>
                  <a:lnTo>
                    <a:pt x="28" y="1297"/>
                  </a:lnTo>
                  <a:lnTo>
                    <a:pt x="26" y="1297"/>
                  </a:lnTo>
                  <a:lnTo>
                    <a:pt x="28" y="1297"/>
                  </a:lnTo>
                  <a:lnTo>
                    <a:pt x="26" y="1297"/>
                  </a:lnTo>
                  <a:lnTo>
                    <a:pt x="26" y="1295"/>
                  </a:lnTo>
                  <a:lnTo>
                    <a:pt x="26" y="1292"/>
                  </a:lnTo>
                  <a:lnTo>
                    <a:pt x="28" y="1292"/>
                  </a:lnTo>
                  <a:close/>
                  <a:moveTo>
                    <a:pt x="28" y="1292"/>
                  </a:moveTo>
                  <a:lnTo>
                    <a:pt x="26" y="1292"/>
                  </a:lnTo>
                  <a:lnTo>
                    <a:pt x="28" y="1292"/>
                  </a:lnTo>
                  <a:close/>
                  <a:moveTo>
                    <a:pt x="31" y="1292"/>
                  </a:moveTo>
                  <a:lnTo>
                    <a:pt x="33" y="1292"/>
                  </a:lnTo>
                  <a:lnTo>
                    <a:pt x="31" y="1292"/>
                  </a:lnTo>
                  <a:close/>
                  <a:moveTo>
                    <a:pt x="26" y="1292"/>
                  </a:moveTo>
                  <a:lnTo>
                    <a:pt x="26" y="1290"/>
                  </a:lnTo>
                  <a:lnTo>
                    <a:pt x="26" y="1292"/>
                  </a:lnTo>
                  <a:close/>
                  <a:moveTo>
                    <a:pt x="42" y="1292"/>
                  </a:moveTo>
                  <a:lnTo>
                    <a:pt x="40" y="1292"/>
                  </a:lnTo>
                  <a:lnTo>
                    <a:pt x="42" y="1292"/>
                  </a:lnTo>
                  <a:lnTo>
                    <a:pt x="40" y="1292"/>
                  </a:lnTo>
                  <a:lnTo>
                    <a:pt x="40" y="1290"/>
                  </a:lnTo>
                  <a:lnTo>
                    <a:pt x="42" y="1290"/>
                  </a:lnTo>
                  <a:lnTo>
                    <a:pt x="42" y="1292"/>
                  </a:lnTo>
                  <a:close/>
                  <a:moveTo>
                    <a:pt x="28" y="1290"/>
                  </a:moveTo>
                  <a:lnTo>
                    <a:pt x="31" y="1290"/>
                  </a:lnTo>
                  <a:lnTo>
                    <a:pt x="31" y="1292"/>
                  </a:lnTo>
                  <a:lnTo>
                    <a:pt x="31" y="1290"/>
                  </a:lnTo>
                  <a:lnTo>
                    <a:pt x="31" y="1292"/>
                  </a:lnTo>
                  <a:lnTo>
                    <a:pt x="28" y="1292"/>
                  </a:lnTo>
                  <a:lnTo>
                    <a:pt x="28" y="1290"/>
                  </a:lnTo>
                  <a:close/>
                  <a:moveTo>
                    <a:pt x="42" y="1290"/>
                  </a:moveTo>
                  <a:lnTo>
                    <a:pt x="42" y="1292"/>
                  </a:lnTo>
                  <a:lnTo>
                    <a:pt x="42" y="1290"/>
                  </a:lnTo>
                  <a:close/>
                  <a:moveTo>
                    <a:pt x="28" y="1290"/>
                  </a:moveTo>
                  <a:lnTo>
                    <a:pt x="28" y="1292"/>
                  </a:lnTo>
                  <a:lnTo>
                    <a:pt x="26" y="1292"/>
                  </a:lnTo>
                  <a:lnTo>
                    <a:pt x="26" y="1290"/>
                  </a:lnTo>
                  <a:lnTo>
                    <a:pt x="28" y="1290"/>
                  </a:lnTo>
                  <a:lnTo>
                    <a:pt x="26" y="1290"/>
                  </a:lnTo>
                  <a:lnTo>
                    <a:pt x="28" y="1290"/>
                  </a:lnTo>
                  <a:close/>
                  <a:moveTo>
                    <a:pt x="50" y="1290"/>
                  </a:moveTo>
                  <a:lnTo>
                    <a:pt x="50" y="1292"/>
                  </a:lnTo>
                  <a:lnTo>
                    <a:pt x="47" y="1292"/>
                  </a:lnTo>
                  <a:lnTo>
                    <a:pt x="45" y="1292"/>
                  </a:lnTo>
                  <a:lnTo>
                    <a:pt x="45" y="1290"/>
                  </a:lnTo>
                  <a:lnTo>
                    <a:pt x="47" y="1290"/>
                  </a:lnTo>
                  <a:lnTo>
                    <a:pt x="50" y="1290"/>
                  </a:lnTo>
                  <a:close/>
                  <a:moveTo>
                    <a:pt x="12" y="1288"/>
                  </a:moveTo>
                  <a:lnTo>
                    <a:pt x="12" y="1290"/>
                  </a:lnTo>
                  <a:lnTo>
                    <a:pt x="9" y="1290"/>
                  </a:lnTo>
                  <a:lnTo>
                    <a:pt x="12" y="1290"/>
                  </a:lnTo>
                  <a:lnTo>
                    <a:pt x="9" y="1290"/>
                  </a:lnTo>
                  <a:lnTo>
                    <a:pt x="9" y="1288"/>
                  </a:lnTo>
                  <a:lnTo>
                    <a:pt x="12" y="1288"/>
                  </a:lnTo>
                  <a:close/>
                  <a:moveTo>
                    <a:pt x="201" y="1288"/>
                  </a:moveTo>
                  <a:lnTo>
                    <a:pt x="199" y="1288"/>
                  </a:lnTo>
                  <a:lnTo>
                    <a:pt x="201" y="1288"/>
                  </a:lnTo>
                  <a:close/>
                  <a:moveTo>
                    <a:pt x="47" y="1288"/>
                  </a:moveTo>
                  <a:lnTo>
                    <a:pt x="45" y="1288"/>
                  </a:lnTo>
                  <a:lnTo>
                    <a:pt x="47" y="1288"/>
                  </a:lnTo>
                  <a:close/>
                  <a:moveTo>
                    <a:pt x="35" y="1285"/>
                  </a:moveTo>
                  <a:lnTo>
                    <a:pt x="35" y="1288"/>
                  </a:lnTo>
                  <a:lnTo>
                    <a:pt x="35" y="1285"/>
                  </a:lnTo>
                  <a:close/>
                  <a:moveTo>
                    <a:pt x="50" y="1285"/>
                  </a:moveTo>
                  <a:lnTo>
                    <a:pt x="47" y="1285"/>
                  </a:lnTo>
                  <a:lnTo>
                    <a:pt x="50" y="1285"/>
                  </a:lnTo>
                  <a:close/>
                  <a:moveTo>
                    <a:pt x="19" y="1285"/>
                  </a:moveTo>
                  <a:lnTo>
                    <a:pt x="21" y="1285"/>
                  </a:lnTo>
                  <a:lnTo>
                    <a:pt x="19" y="1285"/>
                  </a:lnTo>
                  <a:lnTo>
                    <a:pt x="19" y="1283"/>
                  </a:lnTo>
                  <a:lnTo>
                    <a:pt x="19" y="1285"/>
                  </a:lnTo>
                  <a:close/>
                  <a:moveTo>
                    <a:pt x="50" y="1285"/>
                  </a:moveTo>
                  <a:lnTo>
                    <a:pt x="50" y="1283"/>
                  </a:lnTo>
                  <a:lnTo>
                    <a:pt x="50" y="1285"/>
                  </a:lnTo>
                  <a:close/>
                  <a:moveTo>
                    <a:pt x="21" y="1283"/>
                  </a:moveTo>
                  <a:lnTo>
                    <a:pt x="23" y="1285"/>
                  </a:lnTo>
                  <a:lnTo>
                    <a:pt x="23" y="1288"/>
                  </a:lnTo>
                  <a:lnTo>
                    <a:pt x="23" y="1285"/>
                  </a:lnTo>
                  <a:lnTo>
                    <a:pt x="23" y="1288"/>
                  </a:lnTo>
                  <a:lnTo>
                    <a:pt x="23" y="1290"/>
                  </a:lnTo>
                  <a:lnTo>
                    <a:pt x="26" y="1290"/>
                  </a:lnTo>
                  <a:lnTo>
                    <a:pt x="23" y="1292"/>
                  </a:lnTo>
                  <a:lnTo>
                    <a:pt x="23" y="1295"/>
                  </a:lnTo>
                  <a:lnTo>
                    <a:pt x="23" y="1297"/>
                  </a:lnTo>
                  <a:lnTo>
                    <a:pt x="21" y="1297"/>
                  </a:lnTo>
                  <a:lnTo>
                    <a:pt x="23" y="1297"/>
                  </a:lnTo>
                  <a:lnTo>
                    <a:pt x="21" y="1297"/>
                  </a:lnTo>
                  <a:lnTo>
                    <a:pt x="19" y="1297"/>
                  </a:lnTo>
                  <a:lnTo>
                    <a:pt x="19" y="1295"/>
                  </a:lnTo>
                  <a:lnTo>
                    <a:pt x="19" y="1292"/>
                  </a:lnTo>
                  <a:lnTo>
                    <a:pt x="21" y="1292"/>
                  </a:lnTo>
                  <a:lnTo>
                    <a:pt x="19" y="1292"/>
                  </a:lnTo>
                  <a:lnTo>
                    <a:pt x="21" y="1290"/>
                  </a:lnTo>
                  <a:lnTo>
                    <a:pt x="19" y="1290"/>
                  </a:lnTo>
                  <a:lnTo>
                    <a:pt x="21" y="1290"/>
                  </a:lnTo>
                  <a:lnTo>
                    <a:pt x="19" y="1290"/>
                  </a:lnTo>
                  <a:lnTo>
                    <a:pt x="21" y="1290"/>
                  </a:lnTo>
                  <a:lnTo>
                    <a:pt x="21" y="1288"/>
                  </a:lnTo>
                  <a:lnTo>
                    <a:pt x="21" y="1290"/>
                  </a:lnTo>
                  <a:lnTo>
                    <a:pt x="21" y="1288"/>
                  </a:lnTo>
                  <a:lnTo>
                    <a:pt x="19" y="1288"/>
                  </a:lnTo>
                  <a:lnTo>
                    <a:pt x="21" y="1288"/>
                  </a:lnTo>
                  <a:lnTo>
                    <a:pt x="21" y="1285"/>
                  </a:lnTo>
                  <a:lnTo>
                    <a:pt x="21" y="1283"/>
                  </a:lnTo>
                  <a:lnTo>
                    <a:pt x="21" y="1285"/>
                  </a:lnTo>
                  <a:lnTo>
                    <a:pt x="21" y="1283"/>
                  </a:lnTo>
                  <a:lnTo>
                    <a:pt x="21" y="1285"/>
                  </a:lnTo>
                  <a:lnTo>
                    <a:pt x="21" y="1283"/>
                  </a:lnTo>
                  <a:close/>
                  <a:moveTo>
                    <a:pt x="19" y="1283"/>
                  </a:moveTo>
                  <a:lnTo>
                    <a:pt x="16" y="1283"/>
                  </a:lnTo>
                  <a:lnTo>
                    <a:pt x="19" y="1283"/>
                  </a:lnTo>
                  <a:close/>
                  <a:moveTo>
                    <a:pt x="19" y="1283"/>
                  </a:moveTo>
                  <a:lnTo>
                    <a:pt x="16" y="1283"/>
                  </a:lnTo>
                  <a:lnTo>
                    <a:pt x="16" y="1281"/>
                  </a:lnTo>
                  <a:lnTo>
                    <a:pt x="16" y="1283"/>
                  </a:lnTo>
                  <a:lnTo>
                    <a:pt x="19" y="1283"/>
                  </a:lnTo>
                  <a:close/>
                  <a:moveTo>
                    <a:pt x="192" y="1281"/>
                  </a:moveTo>
                  <a:lnTo>
                    <a:pt x="192" y="1278"/>
                  </a:lnTo>
                  <a:lnTo>
                    <a:pt x="189" y="1278"/>
                  </a:lnTo>
                  <a:lnTo>
                    <a:pt x="192" y="1278"/>
                  </a:lnTo>
                  <a:lnTo>
                    <a:pt x="192" y="1281"/>
                  </a:lnTo>
                  <a:close/>
                  <a:moveTo>
                    <a:pt x="19" y="1273"/>
                  </a:moveTo>
                  <a:lnTo>
                    <a:pt x="19" y="1276"/>
                  </a:lnTo>
                  <a:lnTo>
                    <a:pt x="19" y="1273"/>
                  </a:lnTo>
                  <a:lnTo>
                    <a:pt x="19" y="1276"/>
                  </a:lnTo>
                  <a:lnTo>
                    <a:pt x="19" y="1273"/>
                  </a:lnTo>
                  <a:close/>
                  <a:moveTo>
                    <a:pt x="19" y="1271"/>
                  </a:moveTo>
                  <a:lnTo>
                    <a:pt x="19" y="1273"/>
                  </a:lnTo>
                  <a:lnTo>
                    <a:pt x="19" y="1271"/>
                  </a:lnTo>
                  <a:close/>
                  <a:moveTo>
                    <a:pt x="38" y="1271"/>
                  </a:moveTo>
                  <a:lnTo>
                    <a:pt x="40" y="1271"/>
                  </a:lnTo>
                  <a:lnTo>
                    <a:pt x="38" y="1271"/>
                  </a:lnTo>
                  <a:close/>
                  <a:moveTo>
                    <a:pt x="19" y="1271"/>
                  </a:moveTo>
                  <a:lnTo>
                    <a:pt x="19" y="1269"/>
                  </a:lnTo>
                  <a:lnTo>
                    <a:pt x="19" y="1271"/>
                  </a:lnTo>
                  <a:close/>
                  <a:moveTo>
                    <a:pt x="38" y="1269"/>
                  </a:moveTo>
                  <a:lnTo>
                    <a:pt x="38" y="1271"/>
                  </a:lnTo>
                  <a:lnTo>
                    <a:pt x="38" y="1269"/>
                  </a:lnTo>
                  <a:close/>
                  <a:moveTo>
                    <a:pt x="19" y="1269"/>
                  </a:moveTo>
                  <a:lnTo>
                    <a:pt x="16" y="1269"/>
                  </a:lnTo>
                  <a:lnTo>
                    <a:pt x="19" y="1269"/>
                  </a:lnTo>
                  <a:lnTo>
                    <a:pt x="16" y="1269"/>
                  </a:lnTo>
                  <a:lnTo>
                    <a:pt x="19" y="1269"/>
                  </a:lnTo>
                  <a:close/>
                  <a:moveTo>
                    <a:pt x="197" y="1266"/>
                  </a:moveTo>
                  <a:lnTo>
                    <a:pt x="197" y="1269"/>
                  </a:lnTo>
                  <a:lnTo>
                    <a:pt x="199" y="1269"/>
                  </a:lnTo>
                  <a:lnTo>
                    <a:pt x="197" y="1269"/>
                  </a:lnTo>
                  <a:lnTo>
                    <a:pt x="197" y="1266"/>
                  </a:lnTo>
                  <a:close/>
                  <a:moveTo>
                    <a:pt x="42" y="1266"/>
                  </a:moveTo>
                  <a:lnTo>
                    <a:pt x="42" y="1269"/>
                  </a:lnTo>
                  <a:lnTo>
                    <a:pt x="42" y="1266"/>
                  </a:lnTo>
                  <a:close/>
                  <a:moveTo>
                    <a:pt x="23" y="1266"/>
                  </a:moveTo>
                  <a:lnTo>
                    <a:pt x="21" y="1266"/>
                  </a:lnTo>
                  <a:lnTo>
                    <a:pt x="23" y="1266"/>
                  </a:lnTo>
                  <a:lnTo>
                    <a:pt x="21" y="1266"/>
                  </a:lnTo>
                  <a:lnTo>
                    <a:pt x="23" y="1266"/>
                  </a:lnTo>
                  <a:close/>
                  <a:moveTo>
                    <a:pt x="26" y="1266"/>
                  </a:moveTo>
                  <a:lnTo>
                    <a:pt x="28" y="1266"/>
                  </a:lnTo>
                  <a:lnTo>
                    <a:pt x="26" y="1266"/>
                  </a:lnTo>
                  <a:close/>
                  <a:moveTo>
                    <a:pt x="35" y="1266"/>
                  </a:moveTo>
                  <a:lnTo>
                    <a:pt x="38" y="1266"/>
                  </a:lnTo>
                  <a:lnTo>
                    <a:pt x="38" y="1269"/>
                  </a:lnTo>
                  <a:lnTo>
                    <a:pt x="38" y="1266"/>
                  </a:lnTo>
                  <a:lnTo>
                    <a:pt x="38" y="1269"/>
                  </a:lnTo>
                  <a:lnTo>
                    <a:pt x="35" y="1269"/>
                  </a:lnTo>
                  <a:lnTo>
                    <a:pt x="35" y="1266"/>
                  </a:lnTo>
                  <a:close/>
                  <a:moveTo>
                    <a:pt x="38" y="1266"/>
                  </a:moveTo>
                  <a:lnTo>
                    <a:pt x="35" y="1266"/>
                  </a:lnTo>
                  <a:lnTo>
                    <a:pt x="38" y="1266"/>
                  </a:lnTo>
                  <a:close/>
                  <a:moveTo>
                    <a:pt x="35" y="1262"/>
                  </a:moveTo>
                  <a:lnTo>
                    <a:pt x="35" y="1264"/>
                  </a:lnTo>
                  <a:lnTo>
                    <a:pt x="35" y="1262"/>
                  </a:lnTo>
                  <a:close/>
                  <a:moveTo>
                    <a:pt x="35" y="1264"/>
                  </a:moveTo>
                  <a:lnTo>
                    <a:pt x="38" y="1264"/>
                  </a:lnTo>
                  <a:lnTo>
                    <a:pt x="38" y="1262"/>
                  </a:lnTo>
                  <a:lnTo>
                    <a:pt x="38" y="1264"/>
                  </a:lnTo>
                  <a:lnTo>
                    <a:pt x="40" y="1264"/>
                  </a:lnTo>
                  <a:lnTo>
                    <a:pt x="42" y="1264"/>
                  </a:lnTo>
                  <a:lnTo>
                    <a:pt x="42" y="1266"/>
                  </a:lnTo>
                  <a:lnTo>
                    <a:pt x="40" y="1266"/>
                  </a:lnTo>
                  <a:lnTo>
                    <a:pt x="38" y="1266"/>
                  </a:lnTo>
                  <a:lnTo>
                    <a:pt x="38" y="1264"/>
                  </a:lnTo>
                  <a:lnTo>
                    <a:pt x="35" y="1264"/>
                  </a:lnTo>
                  <a:lnTo>
                    <a:pt x="35" y="1262"/>
                  </a:lnTo>
                  <a:lnTo>
                    <a:pt x="35" y="1264"/>
                  </a:lnTo>
                  <a:close/>
                  <a:moveTo>
                    <a:pt x="16" y="1262"/>
                  </a:moveTo>
                  <a:lnTo>
                    <a:pt x="16" y="1264"/>
                  </a:lnTo>
                  <a:lnTo>
                    <a:pt x="16" y="1262"/>
                  </a:lnTo>
                  <a:lnTo>
                    <a:pt x="16" y="1264"/>
                  </a:lnTo>
                  <a:lnTo>
                    <a:pt x="16" y="1262"/>
                  </a:lnTo>
                  <a:lnTo>
                    <a:pt x="16" y="1264"/>
                  </a:lnTo>
                  <a:lnTo>
                    <a:pt x="16" y="1262"/>
                  </a:lnTo>
                  <a:close/>
                  <a:moveTo>
                    <a:pt x="197" y="1262"/>
                  </a:moveTo>
                  <a:lnTo>
                    <a:pt x="194" y="1262"/>
                  </a:lnTo>
                  <a:lnTo>
                    <a:pt x="197" y="1262"/>
                  </a:lnTo>
                  <a:close/>
                  <a:moveTo>
                    <a:pt x="199" y="1259"/>
                  </a:moveTo>
                  <a:lnTo>
                    <a:pt x="199" y="1262"/>
                  </a:lnTo>
                  <a:lnTo>
                    <a:pt x="197" y="1262"/>
                  </a:lnTo>
                  <a:lnTo>
                    <a:pt x="199" y="1259"/>
                  </a:lnTo>
                  <a:lnTo>
                    <a:pt x="197" y="1259"/>
                  </a:lnTo>
                  <a:lnTo>
                    <a:pt x="199" y="1259"/>
                  </a:lnTo>
                  <a:close/>
                  <a:moveTo>
                    <a:pt x="197" y="1259"/>
                  </a:moveTo>
                  <a:lnTo>
                    <a:pt x="197" y="1262"/>
                  </a:lnTo>
                  <a:lnTo>
                    <a:pt x="197" y="1259"/>
                  </a:lnTo>
                  <a:close/>
                  <a:moveTo>
                    <a:pt x="204" y="1259"/>
                  </a:moveTo>
                  <a:lnTo>
                    <a:pt x="201" y="1259"/>
                  </a:lnTo>
                  <a:lnTo>
                    <a:pt x="204" y="1259"/>
                  </a:lnTo>
                  <a:close/>
                  <a:moveTo>
                    <a:pt x="33" y="1259"/>
                  </a:moveTo>
                  <a:lnTo>
                    <a:pt x="35" y="1259"/>
                  </a:lnTo>
                  <a:lnTo>
                    <a:pt x="33" y="1262"/>
                  </a:lnTo>
                  <a:lnTo>
                    <a:pt x="33" y="1259"/>
                  </a:lnTo>
                  <a:close/>
                  <a:moveTo>
                    <a:pt x="199" y="1259"/>
                  </a:moveTo>
                  <a:lnTo>
                    <a:pt x="197" y="1259"/>
                  </a:lnTo>
                  <a:lnTo>
                    <a:pt x="199" y="1259"/>
                  </a:lnTo>
                  <a:lnTo>
                    <a:pt x="197" y="1259"/>
                  </a:lnTo>
                  <a:lnTo>
                    <a:pt x="199" y="1259"/>
                  </a:lnTo>
                  <a:close/>
                  <a:moveTo>
                    <a:pt x="21" y="1259"/>
                  </a:moveTo>
                  <a:lnTo>
                    <a:pt x="19" y="1259"/>
                  </a:lnTo>
                  <a:lnTo>
                    <a:pt x="21" y="1259"/>
                  </a:lnTo>
                  <a:close/>
                  <a:moveTo>
                    <a:pt x="19" y="1259"/>
                  </a:moveTo>
                  <a:lnTo>
                    <a:pt x="16" y="1259"/>
                  </a:lnTo>
                  <a:lnTo>
                    <a:pt x="19" y="1259"/>
                  </a:lnTo>
                  <a:lnTo>
                    <a:pt x="19" y="1262"/>
                  </a:lnTo>
                  <a:lnTo>
                    <a:pt x="21" y="1262"/>
                  </a:lnTo>
                  <a:lnTo>
                    <a:pt x="19" y="1262"/>
                  </a:lnTo>
                  <a:lnTo>
                    <a:pt x="19" y="1259"/>
                  </a:lnTo>
                  <a:lnTo>
                    <a:pt x="21" y="1259"/>
                  </a:lnTo>
                  <a:lnTo>
                    <a:pt x="21" y="1262"/>
                  </a:lnTo>
                  <a:lnTo>
                    <a:pt x="21" y="1259"/>
                  </a:lnTo>
                  <a:lnTo>
                    <a:pt x="21" y="1262"/>
                  </a:lnTo>
                  <a:lnTo>
                    <a:pt x="23" y="1262"/>
                  </a:lnTo>
                  <a:lnTo>
                    <a:pt x="21" y="1262"/>
                  </a:lnTo>
                  <a:lnTo>
                    <a:pt x="23" y="1262"/>
                  </a:lnTo>
                  <a:lnTo>
                    <a:pt x="21" y="1262"/>
                  </a:lnTo>
                  <a:lnTo>
                    <a:pt x="23" y="1262"/>
                  </a:lnTo>
                  <a:lnTo>
                    <a:pt x="23" y="1264"/>
                  </a:lnTo>
                  <a:lnTo>
                    <a:pt x="23" y="1262"/>
                  </a:lnTo>
                  <a:lnTo>
                    <a:pt x="21" y="1262"/>
                  </a:lnTo>
                  <a:lnTo>
                    <a:pt x="21" y="1264"/>
                  </a:lnTo>
                  <a:lnTo>
                    <a:pt x="23" y="1264"/>
                  </a:lnTo>
                  <a:lnTo>
                    <a:pt x="23" y="1262"/>
                  </a:lnTo>
                  <a:lnTo>
                    <a:pt x="23" y="1264"/>
                  </a:lnTo>
                  <a:lnTo>
                    <a:pt x="26" y="1264"/>
                  </a:lnTo>
                  <a:lnTo>
                    <a:pt x="26" y="1266"/>
                  </a:lnTo>
                  <a:lnTo>
                    <a:pt x="26" y="1269"/>
                  </a:lnTo>
                  <a:lnTo>
                    <a:pt x="23" y="1269"/>
                  </a:lnTo>
                  <a:lnTo>
                    <a:pt x="26" y="1269"/>
                  </a:lnTo>
                  <a:lnTo>
                    <a:pt x="23" y="1269"/>
                  </a:lnTo>
                  <a:lnTo>
                    <a:pt x="26" y="1269"/>
                  </a:lnTo>
                  <a:lnTo>
                    <a:pt x="23" y="1266"/>
                  </a:lnTo>
                  <a:lnTo>
                    <a:pt x="21" y="1266"/>
                  </a:lnTo>
                  <a:lnTo>
                    <a:pt x="21" y="1269"/>
                  </a:lnTo>
                  <a:lnTo>
                    <a:pt x="23" y="1266"/>
                  </a:lnTo>
                  <a:lnTo>
                    <a:pt x="23" y="1269"/>
                  </a:lnTo>
                  <a:lnTo>
                    <a:pt x="21" y="1269"/>
                  </a:lnTo>
                  <a:lnTo>
                    <a:pt x="23" y="1269"/>
                  </a:lnTo>
                  <a:lnTo>
                    <a:pt x="21" y="1269"/>
                  </a:lnTo>
                  <a:lnTo>
                    <a:pt x="23" y="1269"/>
                  </a:lnTo>
                  <a:lnTo>
                    <a:pt x="23" y="1271"/>
                  </a:lnTo>
                  <a:lnTo>
                    <a:pt x="21" y="1271"/>
                  </a:lnTo>
                  <a:lnTo>
                    <a:pt x="21" y="1273"/>
                  </a:lnTo>
                  <a:lnTo>
                    <a:pt x="21" y="1276"/>
                  </a:lnTo>
                  <a:lnTo>
                    <a:pt x="19" y="1276"/>
                  </a:lnTo>
                  <a:lnTo>
                    <a:pt x="19" y="1273"/>
                  </a:lnTo>
                  <a:lnTo>
                    <a:pt x="21" y="1273"/>
                  </a:lnTo>
                  <a:lnTo>
                    <a:pt x="19" y="1273"/>
                  </a:lnTo>
                  <a:lnTo>
                    <a:pt x="19" y="1271"/>
                  </a:lnTo>
                  <a:lnTo>
                    <a:pt x="19" y="1273"/>
                  </a:lnTo>
                  <a:lnTo>
                    <a:pt x="19" y="1271"/>
                  </a:lnTo>
                  <a:lnTo>
                    <a:pt x="19" y="1269"/>
                  </a:lnTo>
                  <a:lnTo>
                    <a:pt x="19" y="1271"/>
                  </a:lnTo>
                  <a:lnTo>
                    <a:pt x="19" y="1269"/>
                  </a:lnTo>
                  <a:lnTo>
                    <a:pt x="19" y="1266"/>
                  </a:lnTo>
                  <a:lnTo>
                    <a:pt x="21" y="1266"/>
                  </a:lnTo>
                  <a:lnTo>
                    <a:pt x="19" y="1266"/>
                  </a:lnTo>
                  <a:lnTo>
                    <a:pt x="19" y="1264"/>
                  </a:lnTo>
                  <a:lnTo>
                    <a:pt x="19" y="1266"/>
                  </a:lnTo>
                  <a:lnTo>
                    <a:pt x="19" y="1264"/>
                  </a:lnTo>
                  <a:lnTo>
                    <a:pt x="19" y="1266"/>
                  </a:lnTo>
                  <a:lnTo>
                    <a:pt x="19" y="1264"/>
                  </a:lnTo>
                  <a:lnTo>
                    <a:pt x="19" y="1266"/>
                  </a:lnTo>
                  <a:lnTo>
                    <a:pt x="16" y="1266"/>
                  </a:lnTo>
                  <a:lnTo>
                    <a:pt x="19" y="1266"/>
                  </a:lnTo>
                  <a:lnTo>
                    <a:pt x="19" y="1264"/>
                  </a:lnTo>
                  <a:lnTo>
                    <a:pt x="19" y="1266"/>
                  </a:lnTo>
                  <a:lnTo>
                    <a:pt x="16" y="1266"/>
                  </a:lnTo>
                  <a:lnTo>
                    <a:pt x="16" y="1264"/>
                  </a:lnTo>
                  <a:lnTo>
                    <a:pt x="16" y="1266"/>
                  </a:lnTo>
                  <a:lnTo>
                    <a:pt x="16" y="1264"/>
                  </a:lnTo>
                  <a:lnTo>
                    <a:pt x="19" y="1264"/>
                  </a:lnTo>
                  <a:lnTo>
                    <a:pt x="16" y="1264"/>
                  </a:lnTo>
                  <a:lnTo>
                    <a:pt x="19" y="1264"/>
                  </a:lnTo>
                  <a:lnTo>
                    <a:pt x="19" y="1262"/>
                  </a:lnTo>
                  <a:lnTo>
                    <a:pt x="19" y="1264"/>
                  </a:lnTo>
                  <a:lnTo>
                    <a:pt x="19" y="1262"/>
                  </a:lnTo>
                  <a:lnTo>
                    <a:pt x="16" y="1262"/>
                  </a:lnTo>
                  <a:lnTo>
                    <a:pt x="16" y="1259"/>
                  </a:lnTo>
                  <a:lnTo>
                    <a:pt x="16" y="1262"/>
                  </a:lnTo>
                  <a:lnTo>
                    <a:pt x="16" y="1259"/>
                  </a:lnTo>
                  <a:lnTo>
                    <a:pt x="19" y="1259"/>
                  </a:lnTo>
                  <a:lnTo>
                    <a:pt x="16" y="1259"/>
                  </a:lnTo>
                  <a:lnTo>
                    <a:pt x="19" y="1259"/>
                  </a:lnTo>
                  <a:close/>
                  <a:moveTo>
                    <a:pt x="204" y="1257"/>
                  </a:moveTo>
                  <a:lnTo>
                    <a:pt x="204" y="1259"/>
                  </a:lnTo>
                  <a:lnTo>
                    <a:pt x="204" y="1257"/>
                  </a:lnTo>
                  <a:lnTo>
                    <a:pt x="204" y="1259"/>
                  </a:lnTo>
                  <a:lnTo>
                    <a:pt x="201" y="1259"/>
                  </a:lnTo>
                  <a:lnTo>
                    <a:pt x="201" y="1257"/>
                  </a:lnTo>
                  <a:lnTo>
                    <a:pt x="204" y="1257"/>
                  </a:lnTo>
                  <a:close/>
                  <a:moveTo>
                    <a:pt x="19" y="1257"/>
                  </a:moveTo>
                  <a:lnTo>
                    <a:pt x="21" y="1257"/>
                  </a:lnTo>
                  <a:lnTo>
                    <a:pt x="21" y="1259"/>
                  </a:lnTo>
                  <a:lnTo>
                    <a:pt x="19" y="1259"/>
                  </a:lnTo>
                  <a:lnTo>
                    <a:pt x="19" y="1257"/>
                  </a:lnTo>
                  <a:close/>
                  <a:moveTo>
                    <a:pt x="21" y="1257"/>
                  </a:moveTo>
                  <a:lnTo>
                    <a:pt x="21" y="1259"/>
                  </a:lnTo>
                  <a:lnTo>
                    <a:pt x="21" y="1257"/>
                  </a:lnTo>
                  <a:lnTo>
                    <a:pt x="21" y="1259"/>
                  </a:lnTo>
                  <a:lnTo>
                    <a:pt x="23" y="1259"/>
                  </a:lnTo>
                  <a:lnTo>
                    <a:pt x="21" y="1259"/>
                  </a:lnTo>
                  <a:lnTo>
                    <a:pt x="21" y="1257"/>
                  </a:lnTo>
                  <a:close/>
                  <a:moveTo>
                    <a:pt x="19" y="1257"/>
                  </a:moveTo>
                  <a:lnTo>
                    <a:pt x="19" y="1259"/>
                  </a:lnTo>
                  <a:lnTo>
                    <a:pt x="19" y="1257"/>
                  </a:lnTo>
                  <a:close/>
                  <a:moveTo>
                    <a:pt x="16" y="1257"/>
                  </a:moveTo>
                  <a:lnTo>
                    <a:pt x="19" y="1257"/>
                  </a:lnTo>
                  <a:lnTo>
                    <a:pt x="16" y="1259"/>
                  </a:lnTo>
                  <a:lnTo>
                    <a:pt x="16" y="1257"/>
                  </a:lnTo>
                  <a:lnTo>
                    <a:pt x="16" y="1259"/>
                  </a:lnTo>
                  <a:lnTo>
                    <a:pt x="16" y="1257"/>
                  </a:lnTo>
                  <a:lnTo>
                    <a:pt x="16" y="1259"/>
                  </a:lnTo>
                  <a:lnTo>
                    <a:pt x="16" y="1257"/>
                  </a:lnTo>
                  <a:close/>
                  <a:moveTo>
                    <a:pt x="19" y="1257"/>
                  </a:moveTo>
                  <a:lnTo>
                    <a:pt x="21" y="1257"/>
                  </a:lnTo>
                  <a:lnTo>
                    <a:pt x="19" y="1257"/>
                  </a:lnTo>
                  <a:close/>
                  <a:moveTo>
                    <a:pt x="21" y="1257"/>
                  </a:moveTo>
                  <a:lnTo>
                    <a:pt x="23" y="1257"/>
                  </a:lnTo>
                  <a:lnTo>
                    <a:pt x="23" y="1259"/>
                  </a:lnTo>
                  <a:lnTo>
                    <a:pt x="21" y="1257"/>
                  </a:lnTo>
                  <a:close/>
                  <a:moveTo>
                    <a:pt x="35" y="1257"/>
                  </a:moveTo>
                  <a:lnTo>
                    <a:pt x="38" y="1257"/>
                  </a:lnTo>
                  <a:lnTo>
                    <a:pt x="35" y="1257"/>
                  </a:lnTo>
                  <a:close/>
                  <a:moveTo>
                    <a:pt x="23" y="1257"/>
                  </a:moveTo>
                  <a:lnTo>
                    <a:pt x="21" y="1257"/>
                  </a:lnTo>
                  <a:lnTo>
                    <a:pt x="23" y="1257"/>
                  </a:lnTo>
                  <a:lnTo>
                    <a:pt x="21" y="1257"/>
                  </a:lnTo>
                  <a:lnTo>
                    <a:pt x="23" y="1257"/>
                  </a:lnTo>
                  <a:lnTo>
                    <a:pt x="21" y="1257"/>
                  </a:lnTo>
                  <a:lnTo>
                    <a:pt x="23" y="1257"/>
                  </a:lnTo>
                  <a:close/>
                  <a:moveTo>
                    <a:pt x="21" y="1257"/>
                  </a:moveTo>
                  <a:lnTo>
                    <a:pt x="19" y="1257"/>
                  </a:lnTo>
                  <a:lnTo>
                    <a:pt x="21" y="1257"/>
                  </a:lnTo>
                  <a:close/>
                  <a:moveTo>
                    <a:pt x="23" y="1254"/>
                  </a:moveTo>
                  <a:lnTo>
                    <a:pt x="23" y="1257"/>
                  </a:lnTo>
                  <a:lnTo>
                    <a:pt x="21" y="1257"/>
                  </a:lnTo>
                  <a:lnTo>
                    <a:pt x="21" y="1254"/>
                  </a:lnTo>
                  <a:lnTo>
                    <a:pt x="23" y="1254"/>
                  </a:lnTo>
                  <a:lnTo>
                    <a:pt x="21" y="1254"/>
                  </a:lnTo>
                  <a:lnTo>
                    <a:pt x="23" y="1254"/>
                  </a:lnTo>
                  <a:close/>
                  <a:moveTo>
                    <a:pt x="23" y="1254"/>
                  </a:moveTo>
                  <a:lnTo>
                    <a:pt x="26" y="1254"/>
                  </a:lnTo>
                  <a:lnTo>
                    <a:pt x="28" y="1254"/>
                  </a:lnTo>
                  <a:lnTo>
                    <a:pt x="28" y="1257"/>
                  </a:lnTo>
                  <a:lnTo>
                    <a:pt x="31" y="1257"/>
                  </a:lnTo>
                  <a:lnTo>
                    <a:pt x="31" y="1259"/>
                  </a:lnTo>
                  <a:lnTo>
                    <a:pt x="31" y="1262"/>
                  </a:lnTo>
                  <a:lnTo>
                    <a:pt x="31" y="1264"/>
                  </a:lnTo>
                  <a:lnTo>
                    <a:pt x="31" y="1266"/>
                  </a:lnTo>
                  <a:lnTo>
                    <a:pt x="31" y="1264"/>
                  </a:lnTo>
                  <a:lnTo>
                    <a:pt x="31" y="1266"/>
                  </a:lnTo>
                  <a:lnTo>
                    <a:pt x="28" y="1266"/>
                  </a:lnTo>
                  <a:lnTo>
                    <a:pt x="26" y="1266"/>
                  </a:lnTo>
                  <a:lnTo>
                    <a:pt x="28" y="1266"/>
                  </a:lnTo>
                  <a:lnTo>
                    <a:pt x="26" y="1266"/>
                  </a:lnTo>
                  <a:lnTo>
                    <a:pt x="28" y="1266"/>
                  </a:lnTo>
                  <a:lnTo>
                    <a:pt x="26" y="1264"/>
                  </a:lnTo>
                  <a:lnTo>
                    <a:pt x="26" y="1262"/>
                  </a:lnTo>
                  <a:lnTo>
                    <a:pt x="23" y="1262"/>
                  </a:lnTo>
                  <a:lnTo>
                    <a:pt x="23" y="1259"/>
                  </a:lnTo>
                  <a:lnTo>
                    <a:pt x="23" y="1262"/>
                  </a:lnTo>
                  <a:lnTo>
                    <a:pt x="23" y="1259"/>
                  </a:lnTo>
                  <a:lnTo>
                    <a:pt x="23" y="1257"/>
                  </a:lnTo>
                  <a:lnTo>
                    <a:pt x="26" y="1257"/>
                  </a:lnTo>
                  <a:lnTo>
                    <a:pt x="23" y="1254"/>
                  </a:lnTo>
                  <a:close/>
                  <a:moveTo>
                    <a:pt x="45" y="1254"/>
                  </a:moveTo>
                  <a:lnTo>
                    <a:pt x="42" y="1254"/>
                  </a:lnTo>
                  <a:lnTo>
                    <a:pt x="40" y="1257"/>
                  </a:lnTo>
                  <a:lnTo>
                    <a:pt x="40" y="1254"/>
                  </a:lnTo>
                  <a:lnTo>
                    <a:pt x="42" y="1254"/>
                  </a:lnTo>
                  <a:lnTo>
                    <a:pt x="45" y="1254"/>
                  </a:lnTo>
                  <a:lnTo>
                    <a:pt x="45" y="1252"/>
                  </a:lnTo>
                  <a:lnTo>
                    <a:pt x="45" y="1254"/>
                  </a:lnTo>
                  <a:close/>
                  <a:moveTo>
                    <a:pt x="45" y="1254"/>
                  </a:moveTo>
                  <a:lnTo>
                    <a:pt x="45" y="1252"/>
                  </a:lnTo>
                  <a:lnTo>
                    <a:pt x="45" y="1254"/>
                  </a:lnTo>
                  <a:close/>
                  <a:moveTo>
                    <a:pt x="19" y="1252"/>
                  </a:moveTo>
                  <a:lnTo>
                    <a:pt x="21" y="1252"/>
                  </a:lnTo>
                  <a:lnTo>
                    <a:pt x="21" y="1254"/>
                  </a:lnTo>
                  <a:lnTo>
                    <a:pt x="19" y="1254"/>
                  </a:lnTo>
                  <a:lnTo>
                    <a:pt x="16" y="1254"/>
                  </a:lnTo>
                  <a:lnTo>
                    <a:pt x="16" y="1252"/>
                  </a:lnTo>
                  <a:lnTo>
                    <a:pt x="19" y="1252"/>
                  </a:lnTo>
                  <a:close/>
                  <a:moveTo>
                    <a:pt x="14" y="1252"/>
                  </a:moveTo>
                  <a:lnTo>
                    <a:pt x="16" y="1252"/>
                  </a:lnTo>
                  <a:lnTo>
                    <a:pt x="16" y="1254"/>
                  </a:lnTo>
                  <a:lnTo>
                    <a:pt x="16" y="1252"/>
                  </a:lnTo>
                  <a:lnTo>
                    <a:pt x="16" y="1254"/>
                  </a:lnTo>
                  <a:lnTo>
                    <a:pt x="16" y="1252"/>
                  </a:lnTo>
                  <a:lnTo>
                    <a:pt x="14" y="1252"/>
                  </a:lnTo>
                  <a:close/>
                  <a:moveTo>
                    <a:pt x="35" y="1247"/>
                  </a:moveTo>
                  <a:lnTo>
                    <a:pt x="35" y="1250"/>
                  </a:lnTo>
                  <a:lnTo>
                    <a:pt x="38" y="1250"/>
                  </a:lnTo>
                  <a:lnTo>
                    <a:pt x="38" y="1252"/>
                  </a:lnTo>
                  <a:lnTo>
                    <a:pt x="35" y="1254"/>
                  </a:lnTo>
                  <a:lnTo>
                    <a:pt x="35" y="1257"/>
                  </a:lnTo>
                  <a:lnTo>
                    <a:pt x="35" y="1259"/>
                  </a:lnTo>
                  <a:lnTo>
                    <a:pt x="33" y="1259"/>
                  </a:lnTo>
                  <a:lnTo>
                    <a:pt x="33" y="1257"/>
                  </a:lnTo>
                  <a:lnTo>
                    <a:pt x="33" y="1259"/>
                  </a:lnTo>
                  <a:lnTo>
                    <a:pt x="31" y="1259"/>
                  </a:lnTo>
                  <a:lnTo>
                    <a:pt x="31" y="1257"/>
                  </a:lnTo>
                  <a:lnTo>
                    <a:pt x="31" y="1254"/>
                  </a:lnTo>
                  <a:lnTo>
                    <a:pt x="31" y="1257"/>
                  </a:lnTo>
                  <a:lnTo>
                    <a:pt x="31" y="1254"/>
                  </a:lnTo>
                  <a:lnTo>
                    <a:pt x="28" y="1254"/>
                  </a:lnTo>
                  <a:lnTo>
                    <a:pt x="26" y="1254"/>
                  </a:lnTo>
                  <a:lnTo>
                    <a:pt x="26" y="1252"/>
                  </a:lnTo>
                  <a:lnTo>
                    <a:pt x="28" y="1252"/>
                  </a:lnTo>
                  <a:lnTo>
                    <a:pt x="31" y="1252"/>
                  </a:lnTo>
                  <a:lnTo>
                    <a:pt x="28" y="1252"/>
                  </a:lnTo>
                  <a:lnTo>
                    <a:pt x="31" y="1252"/>
                  </a:lnTo>
                  <a:lnTo>
                    <a:pt x="28" y="1252"/>
                  </a:lnTo>
                  <a:lnTo>
                    <a:pt x="31" y="1252"/>
                  </a:lnTo>
                  <a:lnTo>
                    <a:pt x="28" y="1252"/>
                  </a:lnTo>
                  <a:lnTo>
                    <a:pt x="28" y="1250"/>
                  </a:lnTo>
                  <a:lnTo>
                    <a:pt x="31" y="1250"/>
                  </a:lnTo>
                  <a:lnTo>
                    <a:pt x="33" y="1250"/>
                  </a:lnTo>
                  <a:lnTo>
                    <a:pt x="31" y="1250"/>
                  </a:lnTo>
                  <a:lnTo>
                    <a:pt x="33" y="1250"/>
                  </a:lnTo>
                  <a:lnTo>
                    <a:pt x="33" y="1247"/>
                  </a:lnTo>
                  <a:lnTo>
                    <a:pt x="33" y="1250"/>
                  </a:lnTo>
                  <a:lnTo>
                    <a:pt x="33" y="1247"/>
                  </a:lnTo>
                  <a:lnTo>
                    <a:pt x="33" y="1250"/>
                  </a:lnTo>
                  <a:lnTo>
                    <a:pt x="33" y="1247"/>
                  </a:lnTo>
                  <a:lnTo>
                    <a:pt x="33" y="1250"/>
                  </a:lnTo>
                  <a:lnTo>
                    <a:pt x="35" y="1250"/>
                  </a:lnTo>
                  <a:lnTo>
                    <a:pt x="35" y="1247"/>
                  </a:lnTo>
                  <a:lnTo>
                    <a:pt x="35" y="1250"/>
                  </a:lnTo>
                  <a:lnTo>
                    <a:pt x="35" y="1247"/>
                  </a:lnTo>
                  <a:close/>
                  <a:moveTo>
                    <a:pt x="28" y="1247"/>
                  </a:moveTo>
                  <a:lnTo>
                    <a:pt x="28" y="1250"/>
                  </a:lnTo>
                  <a:lnTo>
                    <a:pt x="28" y="1247"/>
                  </a:lnTo>
                  <a:lnTo>
                    <a:pt x="28" y="1250"/>
                  </a:lnTo>
                  <a:lnTo>
                    <a:pt x="28" y="1247"/>
                  </a:lnTo>
                  <a:lnTo>
                    <a:pt x="28" y="1250"/>
                  </a:lnTo>
                  <a:lnTo>
                    <a:pt x="28" y="1252"/>
                  </a:lnTo>
                  <a:lnTo>
                    <a:pt x="26" y="1252"/>
                  </a:lnTo>
                  <a:lnTo>
                    <a:pt x="26" y="1250"/>
                  </a:lnTo>
                  <a:lnTo>
                    <a:pt x="26" y="1247"/>
                  </a:lnTo>
                  <a:lnTo>
                    <a:pt x="28" y="1247"/>
                  </a:lnTo>
                  <a:close/>
                  <a:moveTo>
                    <a:pt x="16" y="1247"/>
                  </a:moveTo>
                  <a:lnTo>
                    <a:pt x="19" y="1247"/>
                  </a:lnTo>
                  <a:lnTo>
                    <a:pt x="16" y="1247"/>
                  </a:lnTo>
                  <a:lnTo>
                    <a:pt x="19" y="1247"/>
                  </a:lnTo>
                  <a:lnTo>
                    <a:pt x="16" y="1247"/>
                  </a:lnTo>
                  <a:close/>
                  <a:moveTo>
                    <a:pt x="50" y="1247"/>
                  </a:moveTo>
                  <a:lnTo>
                    <a:pt x="50" y="1245"/>
                  </a:lnTo>
                  <a:lnTo>
                    <a:pt x="50" y="1247"/>
                  </a:lnTo>
                  <a:close/>
                  <a:moveTo>
                    <a:pt x="21" y="1245"/>
                  </a:moveTo>
                  <a:lnTo>
                    <a:pt x="21" y="1247"/>
                  </a:lnTo>
                  <a:lnTo>
                    <a:pt x="23" y="1247"/>
                  </a:lnTo>
                  <a:lnTo>
                    <a:pt x="21" y="1247"/>
                  </a:lnTo>
                  <a:lnTo>
                    <a:pt x="23" y="1247"/>
                  </a:lnTo>
                  <a:lnTo>
                    <a:pt x="23" y="1250"/>
                  </a:lnTo>
                  <a:lnTo>
                    <a:pt x="23" y="1252"/>
                  </a:lnTo>
                  <a:lnTo>
                    <a:pt x="21" y="1252"/>
                  </a:lnTo>
                  <a:lnTo>
                    <a:pt x="21" y="1250"/>
                  </a:lnTo>
                  <a:lnTo>
                    <a:pt x="19" y="1250"/>
                  </a:lnTo>
                  <a:lnTo>
                    <a:pt x="21" y="1247"/>
                  </a:lnTo>
                  <a:lnTo>
                    <a:pt x="21" y="1250"/>
                  </a:lnTo>
                  <a:lnTo>
                    <a:pt x="21" y="1247"/>
                  </a:lnTo>
                  <a:lnTo>
                    <a:pt x="21" y="1250"/>
                  </a:lnTo>
                  <a:lnTo>
                    <a:pt x="21" y="1247"/>
                  </a:lnTo>
                  <a:lnTo>
                    <a:pt x="21" y="1245"/>
                  </a:lnTo>
                  <a:close/>
                  <a:moveTo>
                    <a:pt x="21" y="1245"/>
                  </a:moveTo>
                  <a:lnTo>
                    <a:pt x="23" y="1245"/>
                  </a:lnTo>
                  <a:lnTo>
                    <a:pt x="21" y="1245"/>
                  </a:lnTo>
                  <a:close/>
                  <a:moveTo>
                    <a:pt x="16" y="1245"/>
                  </a:moveTo>
                  <a:lnTo>
                    <a:pt x="16" y="1247"/>
                  </a:lnTo>
                  <a:lnTo>
                    <a:pt x="14" y="1247"/>
                  </a:lnTo>
                  <a:lnTo>
                    <a:pt x="16" y="1245"/>
                  </a:lnTo>
                  <a:lnTo>
                    <a:pt x="14" y="1245"/>
                  </a:lnTo>
                  <a:lnTo>
                    <a:pt x="16" y="1245"/>
                  </a:lnTo>
                  <a:close/>
                  <a:moveTo>
                    <a:pt x="19" y="1245"/>
                  </a:moveTo>
                  <a:lnTo>
                    <a:pt x="21" y="1245"/>
                  </a:lnTo>
                  <a:lnTo>
                    <a:pt x="19" y="1245"/>
                  </a:lnTo>
                  <a:lnTo>
                    <a:pt x="19" y="1247"/>
                  </a:lnTo>
                  <a:lnTo>
                    <a:pt x="19" y="1245"/>
                  </a:lnTo>
                  <a:lnTo>
                    <a:pt x="16" y="1245"/>
                  </a:lnTo>
                  <a:lnTo>
                    <a:pt x="19" y="1245"/>
                  </a:lnTo>
                  <a:lnTo>
                    <a:pt x="16" y="1245"/>
                  </a:lnTo>
                  <a:lnTo>
                    <a:pt x="19" y="1245"/>
                  </a:lnTo>
                  <a:close/>
                  <a:moveTo>
                    <a:pt x="47" y="1245"/>
                  </a:moveTo>
                  <a:lnTo>
                    <a:pt x="50" y="1245"/>
                  </a:lnTo>
                  <a:lnTo>
                    <a:pt x="47" y="1247"/>
                  </a:lnTo>
                  <a:lnTo>
                    <a:pt x="45" y="1250"/>
                  </a:lnTo>
                  <a:lnTo>
                    <a:pt x="45" y="1247"/>
                  </a:lnTo>
                  <a:lnTo>
                    <a:pt x="45" y="1245"/>
                  </a:lnTo>
                  <a:lnTo>
                    <a:pt x="47" y="1245"/>
                  </a:lnTo>
                  <a:lnTo>
                    <a:pt x="47" y="1243"/>
                  </a:lnTo>
                  <a:lnTo>
                    <a:pt x="47" y="1245"/>
                  </a:lnTo>
                  <a:lnTo>
                    <a:pt x="47" y="1243"/>
                  </a:lnTo>
                  <a:lnTo>
                    <a:pt x="47" y="1245"/>
                  </a:lnTo>
                  <a:close/>
                  <a:moveTo>
                    <a:pt x="14" y="1243"/>
                  </a:moveTo>
                  <a:lnTo>
                    <a:pt x="14" y="1245"/>
                  </a:lnTo>
                  <a:lnTo>
                    <a:pt x="14" y="1243"/>
                  </a:lnTo>
                  <a:close/>
                  <a:moveTo>
                    <a:pt x="23" y="1243"/>
                  </a:moveTo>
                  <a:lnTo>
                    <a:pt x="23" y="1245"/>
                  </a:lnTo>
                  <a:lnTo>
                    <a:pt x="23" y="1243"/>
                  </a:lnTo>
                  <a:close/>
                  <a:moveTo>
                    <a:pt x="26" y="1243"/>
                  </a:moveTo>
                  <a:lnTo>
                    <a:pt x="26" y="1245"/>
                  </a:lnTo>
                  <a:lnTo>
                    <a:pt x="23" y="1245"/>
                  </a:lnTo>
                  <a:lnTo>
                    <a:pt x="26" y="1245"/>
                  </a:lnTo>
                  <a:lnTo>
                    <a:pt x="26" y="1243"/>
                  </a:lnTo>
                  <a:close/>
                  <a:moveTo>
                    <a:pt x="26" y="1240"/>
                  </a:moveTo>
                  <a:lnTo>
                    <a:pt x="26" y="1243"/>
                  </a:lnTo>
                  <a:lnTo>
                    <a:pt x="26" y="1240"/>
                  </a:lnTo>
                  <a:close/>
                  <a:moveTo>
                    <a:pt x="21" y="1240"/>
                  </a:moveTo>
                  <a:lnTo>
                    <a:pt x="19" y="1240"/>
                  </a:lnTo>
                  <a:lnTo>
                    <a:pt x="21" y="1240"/>
                  </a:lnTo>
                  <a:lnTo>
                    <a:pt x="19" y="1240"/>
                  </a:lnTo>
                  <a:lnTo>
                    <a:pt x="21" y="1240"/>
                  </a:lnTo>
                  <a:close/>
                  <a:moveTo>
                    <a:pt x="21" y="1240"/>
                  </a:moveTo>
                  <a:lnTo>
                    <a:pt x="19" y="1240"/>
                  </a:lnTo>
                  <a:lnTo>
                    <a:pt x="21" y="1240"/>
                  </a:lnTo>
                  <a:close/>
                  <a:moveTo>
                    <a:pt x="21" y="1238"/>
                  </a:moveTo>
                  <a:lnTo>
                    <a:pt x="21" y="1240"/>
                  </a:lnTo>
                  <a:lnTo>
                    <a:pt x="21" y="1238"/>
                  </a:lnTo>
                  <a:close/>
                  <a:moveTo>
                    <a:pt x="19" y="1238"/>
                  </a:moveTo>
                  <a:lnTo>
                    <a:pt x="19" y="1235"/>
                  </a:lnTo>
                  <a:lnTo>
                    <a:pt x="19" y="1238"/>
                  </a:lnTo>
                  <a:close/>
                  <a:moveTo>
                    <a:pt x="12" y="1235"/>
                  </a:moveTo>
                  <a:lnTo>
                    <a:pt x="9" y="1235"/>
                  </a:lnTo>
                  <a:lnTo>
                    <a:pt x="12" y="1235"/>
                  </a:lnTo>
                  <a:close/>
                  <a:moveTo>
                    <a:pt x="21" y="1235"/>
                  </a:moveTo>
                  <a:lnTo>
                    <a:pt x="19" y="1235"/>
                  </a:lnTo>
                  <a:lnTo>
                    <a:pt x="21" y="1235"/>
                  </a:lnTo>
                  <a:lnTo>
                    <a:pt x="19" y="1235"/>
                  </a:lnTo>
                  <a:lnTo>
                    <a:pt x="21" y="1235"/>
                  </a:lnTo>
                  <a:lnTo>
                    <a:pt x="19" y="1235"/>
                  </a:lnTo>
                  <a:lnTo>
                    <a:pt x="21" y="1235"/>
                  </a:lnTo>
                  <a:close/>
                  <a:moveTo>
                    <a:pt x="14" y="1233"/>
                  </a:moveTo>
                  <a:lnTo>
                    <a:pt x="14" y="1235"/>
                  </a:lnTo>
                  <a:lnTo>
                    <a:pt x="12" y="1235"/>
                  </a:lnTo>
                  <a:lnTo>
                    <a:pt x="12" y="1233"/>
                  </a:lnTo>
                  <a:lnTo>
                    <a:pt x="14" y="1233"/>
                  </a:lnTo>
                  <a:close/>
                  <a:moveTo>
                    <a:pt x="12" y="1233"/>
                  </a:moveTo>
                  <a:lnTo>
                    <a:pt x="14" y="1233"/>
                  </a:lnTo>
                  <a:lnTo>
                    <a:pt x="12" y="1233"/>
                  </a:lnTo>
                  <a:lnTo>
                    <a:pt x="12" y="1235"/>
                  </a:lnTo>
                  <a:lnTo>
                    <a:pt x="14" y="1235"/>
                  </a:lnTo>
                  <a:lnTo>
                    <a:pt x="12" y="1235"/>
                  </a:lnTo>
                  <a:lnTo>
                    <a:pt x="14" y="1235"/>
                  </a:lnTo>
                  <a:lnTo>
                    <a:pt x="12" y="1235"/>
                  </a:lnTo>
                  <a:lnTo>
                    <a:pt x="12" y="1233"/>
                  </a:lnTo>
                  <a:lnTo>
                    <a:pt x="12" y="1235"/>
                  </a:lnTo>
                  <a:lnTo>
                    <a:pt x="12" y="1233"/>
                  </a:lnTo>
                  <a:close/>
                  <a:moveTo>
                    <a:pt x="12" y="1231"/>
                  </a:moveTo>
                  <a:lnTo>
                    <a:pt x="9" y="1231"/>
                  </a:lnTo>
                  <a:lnTo>
                    <a:pt x="12" y="1231"/>
                  </a:lnTo>
                  <a:close/>
                  <a:moveTo>
                    <a:pt x="14" y="1226"/>
                  </a:moveTo>
                  <a:lnTo>
                    <a:pt x="16" y="1226"/>
                  </a:lnTo>
                  <a:lnTo>
                    <a:pt x="14" y="1226"/>
                  </a:lnTo>
                  <a:close/>
                  <a:moveTo>
                    <a:pt x="12" y="1226"/>
                  </a:moveTo>
                  <a:lnTo>
                    <a:pt x="12" y="1228"/>
                  </a:lnTo>
                  <a:lnTo>
                    <a:pt x="14" y="1228"/>
                  </a:lnTo>
                  <a:lnTo>
                    <a:pt x="12" y="1228"/>
                  </a:lnTo>
                  <a:lnTo>
                    <a:pt x="12" y="1226"/>
                  </a:lnTo>
                  <a:close/>
                  <a:moveTo>
                    <a:pt x="14" y="1224"/>
                  </a:moveTo>
                  <a:lnTo>
                    <a:pt x="14" y="1226"/>
                  </a:lnTo>
                  <a:lnTo>
                    <a:pt x="16" y="1226"/>
                  </a:lnTo>
                  <a:lnTo>
                    <a:pt x="14" y="1226"/>
                  </a:lnTo>
                  <a:lnTo>
                    <a:pt x="14" y="1224"/>
                  </a:lnTo>
                  <a:lnTo>
                    <a:pt x="16" y="1224"/>
                  </a:lnTo>
                  <a:lnTo>
                    <a:pt x="14" y="1224"/>
                  </a:lnTo>
                  <a:lnTo>
                    <a:pt x="16" y="1224"/>
                  </a:lnTo>
                  <a:lnTo>
                    <a:pt x="16" y="1226"/>
                  </a:lnTo>
                  <a:lnTo>
                    <a:pt x="16" y="1224"/>
                  </a:lnTo>
                  <a:lnTo>
                    <a:pt x="16" y="1226"/>
                  </a:lnTo>
                  <a:lnTo>
                    <a:pt x="19" y="1226"/>
                  </a:lnTo>
                  <a:lnTo>
                    <a:pt x="21" y="1226"/>
                  </a:lnTo>
                  <a:lnTo>
                    <a:pt x="21" y="1228"/>
                  </a:lnTo>
                  <a:lnTo>
                    <a:pt x="21" y="1231"/>
                  </a:lnTo>
                  <a:lnTo>
                    <a:pt x="19" y="1231"/>
                  </a:lnTo>
                  <a:lnTo>
                    <a:pt x="19" y="1228"/>
                  </a:lnTo>
                  <a:lnTo>
                    <a:pt x="19" y="1231"/>
                  </a:lnTo>
                  <a:lnTo>
                    <a:pt x="19" y="1228"/>
                  </a:lnTo>
                  <a:lnTo>
                    <a:pt x="16" y="1228"/>
                  </a:lnTo>
                  <a:lnTo>
                    <a:pt x="16" y="1231"/>
                  </a:lnTo>
                  <a:lnTo>
                    <a:pt x="16" y="1228"/>
                  </a:lnTo>
                  <a:lnTo>
                    <a:pt x="19" y="1228"/>
                  </a:lnTo>
                  <a:lnTo>
                    <a:pt x="16" y="1228"/>
                  </a:lnTo>
                  <a:lnTo>
                    <a:pt x="16" y="1226"/>
                  </a:lnTo>
                  <a:lnTo>
                    <a:pt x="14" y="1226"/>
                  </a:lnTo>
                  <a:lnTo>
                    <a:pt x="16" y="1226"/>
                  </a:lnTo>
                  <a:lnTo>
                    <a:pt x="14" y="1226"/>
                  </a:lnTo>
                  <a:lnTo>
                    <a:pt x="14" y="1224"/>
                  </a:lnTo>
                  <a:lnTo>
                    <a:pt x="12" y="1224"/>
                  </a:lnTo>
                  <a:lnTo>
                    <a:pt x="14" y="1224"/>
                  </a:lnTo>
                  <a:close/>
                  <a:moveTo>
                    <a:pt x="12" y="1221"/>
                  </a:moveTo>
                  <a:lnTo>
                    <a:pt x="14" y="1221"/>
                  </a:lnTo>
                  <a:lnTo>
                    <a:pt x="12" y="1221"/>
                  </a:lnTo>
                  <a:lnTo>
                    <a:pt x="12" y="1224"/>
                  </a:lnTo>
                  <a:lnTo>
                    <a:pt x="12" y="1221"/>
                  </a:lnTo>
                  <a:close/>
                  <a:moveTo>
                    <a:pt x="16" y="1219"/>
                  </a:moveTo>
                  <a:lnTo>
                    <a:pt x="16" y="1221"/>
                  </a:lnTo>
                  <a:lnTo>
                    <a:pt x="16" y="1219"/>
                  </a:lnTo>
                  <a:close/>
                  <a:moveTo>
                    <a:pt x="12" y="1219"/>
                  </a:moveTo>
                  <a:lnTo>
                    <a:pt x="14" y="1219"/>
                  </a:lnTo>
                  <a:lnTo>
                    <a:pt x="14" y="1221"/>
                  </a:lnTo>
                  <a:lnTo>
                    <a:pt x="14" y="1219"/>
                  </a:lnTo>
                  <a:lnTo>
                    <a:pt x="16" y="1219"/>
                  </a:lnTo>
                  <a:lnTo>
                    <a:pt x="16" y="1221"/>
                  </a:lnTo>
                  <a:lnTo>
                    <a:pt x="19" y="1221"/>
                  </a:lnTo>
                  <a:lnTo>
                    <a:pt x="21" y="1224"/>
                  </a:lnTo>
                  <a:lnTo>
                    <a:pt x="23" y="1224"/>
                  </a:lnTo>
                  <a:lnTo>
                    <a:pt x="21" y="1224"/>
                  </a:lnTo>
                  <a:lnTo>
                    <a:pt x="21" y="1226"/>
                  </a:lnTo>
                  <a:lnTo>
                    <a:pt x="19" y="1226"/>
                  </a:lnTo>
                  <a:lnTo>
                    <a:pt x="19" y="1224"/>
                  </a:lnTo>
                  <a:lnTo>
                    <a:pt x="16" y="1224"/>
                  </a:lnTo>
                  <a:lnTo>
                    <a:pt x="14" y="1224"/>
                  </a:lnTo>
                  <a:lnTo>
                    <a:pt x="14" y="1221"/>
                  </a:lnTo>
                  <a:lnTo>
                    <a:pt x="14" y="1224"/>
                  </a:lnTo>
                  <a:lnTo>
                    <a:pt x="14" y="1221"/>
                  </a:lnTo>
                  <a:lnTo>
                    <a:pt x="12" y="1221"/>
                  </a:lnTo>
                  <a:lnTo>
                    <a:pt x="12" y="1219"/>
                  </a:lnTo>
                  <a:close/>
                  <a:moveTo>
                    <a:pt x="12" y="1216"/>
                  </a:moveTo>
                  <a:lnTo>
                    <a:pt x="12" y="1219"/>
                  </a:lnTo>
                  <a:lnTo>
                    <a:pt x="14" y="1219"/>
                  </a:lnTo>
                  <a:lnTo>
                    <a:pt x="12" y="1216"/>
                  </a:lnTo>
                  <a:lnTo>
                    <a:pt x="14" y="1219"/>
                  </a:lnTo>
                  <a:lnTo>
                    <a:pt x="12" y="1219"/>
                  </a:lnTo>
                  <a:lnTo>
                    <a:pt x="12" y="1216"/>
                  </a:lnTo>
                  <a:lnTo>
                    <a:pt x="12" y="1219"/>
                  </a:lnTo>
                  <a:lnTo>
                    <a:pt x="12" y="1216"/>
                  </a:lnTo>
                  <a:close/>
                  <a:moveTo>
                    <a:pt x="7" y="1216"/>
                  </a:moveTo>
                  <a:lnTo>
                    <a:pt x="4" y="1216"/>
                  </a:lnTo>
                  <a:lnTo>
                    <a:pt x="7" y="1216"/>
                  </a:lnTo>
                  <a:close/>
                  <a:moveTo>
                    <a:pt x="7" y="1216"/>
                  </a:moveTo>
                  <a:lnTo>
                    <a:pt x="9" y="1219"/>
                  </a:lnTo>
                  <a:lnTo>
                    <a:pt x="9" y="1221"/>
                  </a:lnTo>
                  <a:lnTo>
                    <a:pt x="9" y="1224"/>
                  </a:lnTo>
                  <a:lnTo>
                    <a:pt x="9" y="1221"/>
                  </a:lnTo>
                  <a:lnTo>
                    <a:pt x="9" y="1224"/>
                  </a:lnTo>
                  <a:lnTo>
                    <a:pt x="12" y="1224"/>
                  </a:lnTo>
                  <a:lnTo>
                    <a:pt x="12" y="1226"/>
                  </a:lnTo>
                  <a:lnTo>
                    <a:pt x="9" y="1226"/>
                  </a:lnTo>
                  <a:lnTo>
                    <a:pt x="12" y="1226"/>
                  </a:lnTo>
                  <a:lnTo>
                    <a:pt x="9" y="1226"/>
                  </a:lnTo>
                  <a:lnTo>
                    <a:pt x="12" y="1226"/>
                  </a:lnTo>
                  <a:lnTo>
                    <a:pt x="9" y="1226"/>
                  </a:lnTo>
                  <a:lnTo>
                    <a:pt x="9" y="1224"/>
                  </a:lnTo>
                  <a:lnTo>
                    <a:pt x="9" y="1226"/>
                  </a:lnTo>
                  <a:lnTo>
                    <a:pt x="9" y="1224"/>
                  </a:lnTo>
                  <a:lnTo>
                    <a:pt x="7" y="1224"/>
                  </a:lnTo>
                  <a:lnTo>
                    <a:pt x="7" y="1221"/>
                  </a:lnTo>
                  <a:lnTo>
                    <a:pt x="7" y="1224"/>
                  </a:lnTo>
                  <a:lnTo>
                    <a:pt x="7" y="1221"/>
                  </a:lnTo>
                  <a:lnTo>
                    <a:pt x="9" y="1221"/>
                  </a:lnTo>
                  <a:lnTo>
                    <a:pt x="7" y="1221"/>
                  </a:lnTo>
                  <a:lnTo>
                    <a:pt x="9" y="1221"/>
                  </a:lnTo>
                  <a:lnTo>
                    <a:pt x="7" y="1221"/>
                  </a:lnTo>
                  <a:lnTo>
                    <a:pt x="7" y="1219"/>
                  </a:lnTo>
                  <a:lnTo>
                    <a:pt x="7" y="1216"/>
                  </a:lnTo>
                  <a:close/>
                  <a:moveTo>
                    <a:pt x="4" y="1216"/>
                  </a:moveTo>
                  <a:lnTo>
                    <a:pt x="7" y="1216"/>
                  </a:lnTo>
                  <a:lnTo>
                    <a:pt x="4" y="1216"/>
                  </a:lnTo>
                  <a:close/>
                  <a:moveTo>
                    <a:pt x="33" y="1216"/>
                  </a:moveTo>
                  <a:lnTo>
                    <a:pt x="33" y="1219"/>
                  </a:lnTo>
                  <a:lnTo>
                    <a:pt x="33" y="1216"/>
                  </a:lnTo>
                  <a:close/>
                  <a:moveTo>
                    <a:pt x="4" y="1214"/>
                  </a:moveTo>
                  <a:lnTo>
                    <a:pt x="4" y="1216"/>
                  </a:lnTo>
                  <a:lnTo>
                    <a:pt x="4" y="1214"/>
                  </a:lnTo>
                  <a:close/>
                  <a:moveTo>
                    <a:pt x="16" y="1214"/>
                  </a:moveTo>
                  <a:lnTo>
                    <a:pt x="16" y="1216"/>
                  </a:lnTo>
                  <a:lnTo>
                    <a:pt x="19" y="1216"/>
                  </a:lnTo>
                  <a:lnTo>
                    <a:pt x="16" y="1216"/>
                  </a:lnTo>
                  <a:lnTo>
                    <a:pt x="16" y="1214"/>
                  </a:lnTo>
                  <a:close/>
                  <a:moveTo>
                    <a:pt x="23" y="1212"/>
                  </a:moveTo>
                  <a:lnTo>
                    <a:pt x="21" y="1212"/>
                  </a:lnTo>
                  <a:lnTo>
                    <a:pt x="23" y="1212"/>
                  </a:lnTo>
                  <a:close/>
                  <a:moveTo>
                    <a:pt x="4" y="1212"/>
                  </a:moveTo>
                  <a:lnTo>
                    <a:pt x="4" y="1209"/>
                  </a:lnTo>
                  <a:lnTo>
                    <a:pt x="4" y="1212"/>
                  </a:lnTo>
                  <a:close/>
                  <a:moveTo>
                    <a:pt x="9" y="1212"/>
                  </a:moveTo>
                  <a:lnTo>
                    <a:pt x="7" y="1212"/>
                  </a:lnTo>
                  <a:lnTo>
                    <a:pt x="7" y="1209"/>
                  </a:lnTo>
                  <a:lnTo>
                    <a:pt x="9" y="1212"/>
                  </a:lnTo>
                  <a:close/>
                  <a:moveTo>
                    <a:pt x="21" y="1209"/>
                  </a:moveTo>
                  <a:lnTo>
                    <a:pt x="21" y="1212"/>
                  </a:lnTo>
                  <a:lnTo>
                    <a:pt x="21" y="1209"/>
                  </a:lnTo>
                  <a:close/>
                  <a:moveTo>
                    <a:pt x="4" y="1209"/>
                  </a:moveTo>
                  <a:lnTo>
                    <a:pt x="2" y="1209"/>
                  </a:lnTo>
                  <a:lnTo>
                    <a:pt x="4" y="1209"/>
                  </a:lnTo>
                  <a:close/>
                  <a:moveTo>
                    <a:pt x="12" y="1209"/>
                  </a:moveTo>
                  <a:lnTo>
                    <a:pt x="12" y="1212"/>
                  </a:lnTo>
                  <a:lnTo>
                    <a:pt x="12" y="1209"/>
                  </a:lnTo>
                  <a:lnTo>
                    <a:pt x="12" y="1212"/>
                  </a:lnTo>
                  <a:lnTo>
                    <a:pt x="14" y="1212"/>
                  </a:lnTo>
                  <a:lnTo>
                    <a:pt x="14" y="1214"/>
                  </a:lnTo>
                  <a:lnTo>
                    <a:pt x="14" y="1212"/>
                  </a:lnTo>
                  <a:lnTo>
                    <a:pt x="12" y="1212"/>
                  </a:lnTo>
                  <a:lnTo>
                    <a:pt x="14" y="1212"/>
                  </a:lnTo>
                  <a:lnTo>
                    <a:pt x="12" y="1212"/>
                  </a:lnTo>
                  <a:lnTo>
                    <a:pt x="14" y="1212"/>
                  </a:lnTo>
                  <a:lnTo>
                    <a:pt x="14" y="1214"/>
                  </a:lnTo>
                  <a:lnTo>
                    <a:pt x="12" y="1214"/>
                  </a:lnTo>
                  <a:lnTo>
                    <a:pt x="12" y="1212"/>
                  </a:lnTo>
                  <a:lnTo>
                    <a:pt x="9" y="1212"/>
                  </a:lnTo>
                  <a:lnTo>
                    <a:pt x="12" y="1212"/>
                  </a:lnTo>
                  <a:lnTo>
                    <a:pt x="9" y="1212"/>
                  </a:lnTo>
                  <a:lnTo>
                    <a:pt x="9" y="1209"/>
                  </a:lnTo>
                  <a:lnTo>
                    <a:pt x="9" y="1212"/>
                  </a:lnTo>
                  <a:lnTo>
                    <a:pt x="9" y="1209"/>
                  </a:lnTo>
                  <a:lnTo>
                    <a:pt x="9" y="1212"/>
                  </a:lnTo>
                  <a:lnTo>
                    <a:pt x="9" y="1209"/>
                  </a:lnTo>
                  <a:lnTo>
                    <a:pt x="7" y="1209"/>
                  </a:lnTo>
                  <a:lnTo>
                    <a:pt x="9" y="1209"/>
                  </a:lnTo>
                  <a:lnTo>
                    <a:pt x="7" y="1209"/>
                  </a:lnTo>
                  <a:lnTo>
                    <a:pt x="9" y="1209"/>
                  </a:lnTo>
                  <a:lnTo>
                    <a:pt x="9" y="1212"/>
                  </a:lnTo>
                  <a:lnTo>
                    <a:pt x="9" y="1209"/>
                  </a:lnTo>
                  <a:lnTo>
                    <a:pt x="12" y="1212"/>
                  </a:lnTo>
                  <a:lnTo>
                    <a:pt x="12" y="1209"/>
                  </a:lnTo>
                  <a:close/>
                  <a:moveTo>
                    <a:pt x="9" y="1207"/>
                  </a:moveTo>
                  <a:lnTo>
                    <a:pt x="9" y="1209"/>
                  </a:lnTo>
                  <a:lnTo>
                    <a:pt x="9" y="1207"/>
                  </a:lnTo>
                  <a:lnTo>
                    <a:pt x="9" y="1209"/>
                  </a:lnTo>
                  <a:lnTo>
                    <a:pt x="9" y="1207"/>
                  </a:lnTo>
                  <a:close/>
                  <a:moveTo>
                    <a:pt x="12" y="1207"/>
                  </a:moveTo>
                  <a:lnTo>
                    <a:pt x="12" y="1209"/>
                  </a:lnTo>
                  <a:lnTo>
                    <a:pt x="9" y="1209"/>
                  </a:lnTo>
                  <a:lnTo>
                    <a:pt x="12" y="1209"/>
                  </a:lnTo>
                  <a:lnTo>
                    <a:pt x="9" y="1209"/>
                  </a:lnTo>
                  <a:lnTo>
                    <a:pt x="12" y="1209"/>
                  </a:lnTo>
                  <a:lnTo>
                    <a:pt x="9" y="1209"/>
                  </a:lnTo>
                  <a:lnTo>
                    <a:pt x="9" y="1207"/>
                  </a:lnTo>
                  <a:lnTo>
                    <a:pt x="9" y="1209"/>
                  </a:lnTo>
                  <a:lnTo>
                    <a:pt x="9" y="1207"/>
                  </a:lnTo>
                  <a:lnTo>
                    <a:pt x="12" y="1207"/>
                  </a:lnTo>
                  <a:close/>
                  <a:moveTo>
                    <a:pt x="16" y="1205"/>
                  </a:moveTo>
                  <a:lnTo>
                    <a:pt x="16" y="1207"/>
                  </a:lnTo>
                  <a:lnTo>
                    <a:pt x="16" y="1205"/>
                  </a:lnTo>
                  <a:close/>
                  <a:moveTo>
                    <a:pt x="7" y="1207"/>
                  </a:moveTo>
                  <a:lnTo>
                    <a:pt x="7" y="1205"/>
                  </a:lnTo>
                  <a:lnTo>
                    <a:pt x="7" y="1207"/>
                  </a:lnTo>
                  <a:close/>
                  <a:moveTo>
                    <a:pt x="9" y="1205"/>
                  </a:moveTo>
                  <a:lnTo>
                    <a:pt x="9" y="1207"/>
                  </a:lnTo>
                  <a:lnTo>
                    <a:pt x="9" y="1205"/>
                  </a:lnTo>
                  <a:lnTo>
                    <a:pt x="9" y="1207"/>
                  </a:lnTo>
                  <a:lnTo>
                    <a:pt x="9" y="1205"/>
                  </a:lnTo>
                  <a:close/>
                  <a:moveTo>
                    <a:pt x="7" y="1205"/>
                  </a:moveTo>
                  <a:lnTo>
                    <a:pt x="7" y="1207"/>
                  </a:lnTo>
                  <a:lnTo>
                    <a:pt x="7" y="1205"/>
                  </a:lnTo>
                  <a:lnTo>
                    <a:pt x="4" y="1205"/>
                  </a:lnTo>
                  <a:lnTo>
                    <a:pt x="7" y="1205"/>
                  </a:lnTo>
                  <a:close/>
                  <a:moveTo>
                    <a:pt x="4" y="1205"/>
                  </a:moveTo>
                  <a:lnTo>
                    <a:pt x="4" y="1207"/>
                  </a:lnTo>
                  <a:lnTo>
                    <a:pt x="4" y="1205"/>
                  </a:lnTo>
                  <a:close/>
                  <a:moveTo>
                    <a:pt x="12" y="1202"/>
                  </a:moveTo>
                  <a:lnTo>
                    <a:pt x="12" y="1205"/>
                  </a:lnTo>
                  <a:lnTo>
                    <a:pt x="12" y="1202"/>
                  </a:lnTo>
                  <a:lnTo>
                    <a:pt x="9" y="1202"/>
                  </a:lnTo>
                  <a:lnTo>
                    <a:pt x="12" y="1202"/>
                  </a:lnTo>
                  <a:lnTo>
                    <a:pt x="9" y="1202"/>
                  </a:lnTo>
                  <a:lnTo>
                    <a:pt x="12" y="1202"/>
                  </a:lnTo>
                  <a:close/>
                  <a:moveTo>
                    <a:pt x="9" y="1202"/>
                  </a:moveTo>
                  <a:lnTo>
                    <a:pt x="9" y="1205"/>
                  </a:lnTo>
                  <a:lnTo>
                    <a:pt x="12" y="1205"/>
                  </a:lnTo>
                  <a:lnTo>
                    <a:pt x="12" y="1207"/>
                  </a:lnTo>
                  <a:lnTo>
                    <a:pt x="9" y="1207"/>
                  </a:lnTo>
                  <a:lnTo>
                    <a:pt x="9" y="1205"/>
                  </a:lnTo>
                  <a:lnTo>
                    <a:pt x="7" y="1205"/>
                  </a:lnTo>
                  <a:lnTo>
                    <a:pt x="9" y="1205"/>
                  </a:lnTo>
                  <a:lnTo>
                    <a:pt x="7" y="1205"/>
                  </a:lnTo>
                  <a:lnTo>
                    <a:pt x="9" y="1205"/>
                  </a:lnTo>
                  <a:lnTo>
                    <a:pt x="7" y="1205"/>
                  </a:lnTo>
                  <a:lnTo>
                    <a:pt x="9" y="1205"/>
                  </a:lnTo>
                  <a:lnTo>
                    <a:pt x="9" y="1202"/>
                  </a:lnTo>
                  <a:lnTo>
                    <a:pt x="7" y="1202"/>
                  </a:lnTo>
                  <a:lnTo>
                    <a:pt x="7" y="1205"/>
                  </a:lnTo>
                  <a:lnTo>
                    <a:pt x="7" y="1202"/>
                  </a:lnTo>
                  <a:lnTo>
                    <a:pt x="7" y="1205"/>
                  </a:lnTo>
                  <a:lnTo>
                    <a:pt x="7" y="1202"/>
                  </a:lnTo>
                  <a:lnTo>
                    <a:pt x="9" y="1202"/>
                  </a:lnTo>
                  <a:close/>
                  <a:moveTo>
                    <a:pt x="14" y="1202"/>
                  </a:moveTo>
                  <a:lnTo>
                    <a:pt x="14" y="1205"/>
                  </a:lnTo>
                  <a:lnTo>
                    <a:pt x="14" y="1207"/>
                  </a:lnTo>
                  <a:lnTo>
                    <a:pt x="12" y="1207"/>
                  </a:lnTo>
                  <a:lnTo>
                    <a:pt x="12" y="1205"/>
                  </a:lnTo>
                  <a:lnTo>
                    <a:pt x="14" y="1205"/>
                  </a:lnTo>
                  <a:lnTo>
                    <a:pt x="12" y="1205"/>
                  </a:lnTo>
                  <a:lnTo>
                    <a:pt x="12" y="1202"/>
                  </a:lnTo>
                  <a:lnTo>
                    <a:pt x="14" y="1202"/>
                  </a:lnTo>
                  <a:close/>
                  <a:moveTo>
                    <a:pt x="14" y="1202"/>
                  </a:moveTo>
                  <a:lnTo>
                    <a:pt x="12" y="1202"/>
                  </a:lnTo>
                  <a:lnTo>
                    <a:pt x="14" y="1202"/>
                  </a:lnTo>
                  <a:close/>
                  <a:moveTo>
                    <a:pt x="7" y="1202"/>
                  </a:moveTo>
                  <a:lnTo>
                    <a:pt x="9" y="1202"/>
                  </a:lnTo>
                  <a:lnTo>
                    <a:pt x="7" y="1202"/>
                  </a:lnTo>
                  <a:close/>
                  <a:moveTo>
                    <a:pt x="9" y="1200"/>
                  </a:moveTo>
                  <a:lnTo>
                    <a:pt x="9" y="1202"/>
                  </a:lnTo>
                  <a:lnTo>
                    <a:pt x="12" y="1200"/>
                  </a:lnTo>
                  <a:lnTo>
                    <a:pt x="12" y="1202"/>
                  </a:lnTo>
                  <a:lnTo>
                    <a:pt x="9" y="1202"/>
                  </a:lnTo>
                  <a:lnTo>
                    <a:pt x="9" y="1200"/>
                  </a:lnTo>
                  <a:close/>
                  <a:moveTo>
                    <a:pt x="9" y="1202"/>
                  </a:moveTo>
                  <a:lnTo>
                    <a:pt x="9" y="1200"/>
                  </a:lnTo>
                  <a:lnTo>
                    <a:pt x="9" y="1202"/>
                  </a:lnTo>
                  <a:close/>
                  <a:moveTo>
                    <a:pt x="9" y="1202"/>
                  </a:moveTo>
                  <a:lnTo>
                    <a:pt x="9" y="1200"/>
                  </a:lnTo>
                  <a:lnTo>
                    <a:pt x="9" y="1202"/>
                  </a:lnTo>
                  <a:close/>
                  <a:moveTo>
                    <a:pt x="14" y="1202"/>
                  </a:moveTo>
                  <a:lnTo>
                    <a:pt x="14" y="1200"/>
                  </a:lnTo>
                  <a:lnTo>
                    <a:pt x="14" y="1202"/>
                  </a:lnTo>
                  <a:close/>
                  <a:moveTo>
                    <a:pt x="12" y="1200"/>
                  </a:moveTo>
                  <a:lnTo>
                    <a:pt x="14" y="1202"/>
                  </a:lnTo>
                  <a:lnTo>
                    <a:pt x="12" y="1202"/>
                  </a:lnTo>
                  <a:lnTo>
                    <a:pt x="12" y="1200"/>
                  </a:lnTo>
                  <a:close/>
                  <a:moveTo>
                    <a:pt x="9" y="1200"/>
                  </a:moveTo>
                  <a:lnTo>
                    <a:pt x="9" y="1202"/>
                  </a:lnTo>
                  <a:lnTo>
                    <a:pt x="9" y="1200"/>
                  </a:lnTo>
                  <a:close/>
                  <a:moveTo>
                    <a:pt x="12" y="1200"/>
                  </a:moveTo>
                  <a:lnTo>
                    <a:pt x="9" y="1200"/>
                  </a:lnTo>
                  <a:lnTo>
                    <a:pt x="12" y="1200"/>
                  </a:lnTo>
                  <a:lnTo>
                    <a:pt x="9" y="1200"/>
                  </a:lnTo>
                  <a:lnTo>
                    <a:pt x="12" y="1200"/>
                  </a:lnTo>
                  <a:lnTo>
                    <a:pt x="9" y="1200"/>
                  </a:lnTo>
                  <a:lnTo>
                    <a:pt x="12" y="1200"/>
                  </a:lnTo>
                  <a:close/>
                  <a:moveTo>
                    <a:pt x="16" y="1200"/>
                  </a:moveTo>
                  <a:lnTo>
                    <a:pt x="14" y="1200"/>
                  </a:lnTo>
                  <a:lnTo>
                    <a:pt x="16" y="1200"/>
                  </a:lnTo>
                  <a:close/>
                  <a:moveTo>
                    <a:pt x="9" y="1200"/>
                  </a:moveTo>
                  <a:lnTo>
                    <a:pt x="7" y="1200"/>
                  </a:lnTo>
                  <a:lnTo>
                    <a:pt x="9" y="1200"/>
                  </a:lnTo>
                  <a:close/>
                  <a:moveTo>
                    <a:pt x="14" y="1197"/>
                  </a:moveTo>
                  <a:lnTo>
                    <a:pt x="14" y="1200"/>
                  </a:lnTo>
                  <a:lnTo>
                    <a:pt x="12" y="1200"/>
                  </a:lnTo>
                  <a:lnTo>
                    <a:pt x="12" y="1197"/>
                  </a:lnTo>
                  <a:lnTo>
                    <a:pt x="12" y="1200"/>
                  </a:lnTo>
                  <a:lnTo>
                    <a:pt x="12" y="1197"/>
                  </a:lnTo>
                  <a:lnTo>
                    <a:pt x="12" y="1200"/>
                  </a:lnTo>
                  <a:lnTo>
                    <a:pt x="14" y="1200"/>
                  </a:lnTo>
                  <a:lnTo>
                    <a:pt x="14" y="1197"/>
                  </a:lnTo>
                  <a:close/>
                  <a:moveTo>
                    <a:pt x="0" y="1197"/>
                  </a:moveTo>
                  <a:lnTo>
                    <a:pt x="2" y="1197"/>
                  </a:lnTo>
                  <a:lnTo>
                    <a:pt x="2" y="1200"/>
                  </a:lnTo>
                  <a:lnTo>
                    <a:pt x="0" y="1200"/>
                  </a:lnTo>
                  <a:lnTo>
                    <a:pt x="0" y="1197"/>
                  </a:lnTo>
                  <a:close/>
                  <a:moveTo>
                    <a:pt x="9" y="1195"/>
                  </a:moveTo>
                  <a:lnTo>
                    <a:pt x="12" y="1195"/>
                  </a:lnTo>
                  <a:lnTo>
                    <a:pt x="12" y="1197"/>
                  </a:lnTo>
                  <a:lnTo>
                    <a:pt x="9" y="1197"/>
                  </a:lnTo>
                  <a:lnTo>
                    <a:pt x="9" y="1195"/>
                  </a:lnTo>
                  <a:close/>
                  <a:moveTo>
                    <a:pt x="4" y="1193"/>
                  </a:moveTo>
                  <a:lnTo>
                    <a:pt x="4" y="1195"/>
                  </a:lnTo>
                  <a:lnTo>
                    <a:pt x="4" y="1197"/>
                  </a:lnTo>
                  <a:lnTo>
                    <a:pt x="4" y="1200"/>
                  </a:lnTo>
                  <a:lnTo>
                    <a:pt x="4" y="1197"/>
                  </a:lnTo>
                  <a:lnTo>
                    <a:pt x="4" y="1200"/>
                  </a:lnTo>
                  <a:lnTo>
                    <a:pt x="2" y="1200"/>
                  </a:lnTo>
                  <a:lnTo>
                    <a:pt x="4" y="1200"/>
                  </a:lnTo>
                  <a:lnTo>
                    <a:pt x="2" y="1200"/>
                  </a:lnTo>
                  <a:lnTo>
                    <a:pt x="2" y="1197"/>
                  </a:lnTo>
                  <a:lnTo>
                    <a:pt x="2" y="1195"/>
                  </a:lnTo>
                  <a:lnTo>
                    <a:pt x="4" y="1195"/>
                  </a:lnTo>
                  <a:lnTo>
                    <a:pt x="2" y="1195"/>
                  </a:lnTo>
                  <a:lnTo>
                    <a:pt x="4" y="1195"/>
                  </a:lnTo>
                  <a:lnTo>
                    <a:pt x="2" y="1195"/>
                  </a:lnTo>
                  <a:lnTo>
                    <a:pt x="4" y="1193"/>
                  </a:lnTo>
                  <a:close/>
                  <a:moveTo>
                    <a:pt x="4" y="1193"/>
                  </a:moveTo>
                  <a:lnTo>
                    <a:pt x="4" y="1195"/>
                  </a:lnTo>
                  <a:lnTo>
                    <a:pt x="4" y="1193"/>
                  </a:lnTo>
                  <a:close/>
                  <a:moveTo>
                    <a:pt x="7" y="1190"/>
                  </a:moveTo>
                  <a:lnTo>
                    <a:pt x="7" y="1193"/>
                  </a:lnTo>
                  <a:lnTo>
                    <a:pt x="7" y="1190"/>
                  </a:lnTo>
                  <a:close/>
                  <a:moveTo>
                    <a:pt x="16" y="1193"/>
                  </a:moveTo>
                  <a:lnTo>
                    <a:pt x="14" y="1193"/>
                  </a:lnTo>
                  <a:lnTo>
                    <a:pt x="14" y="1190"/>
                  </a:lnTo>
                  <a:lnTo>
                    <a:pt x="16" y="1190"/>
                  </a:lnTo>
                  <a:lnTo>
                    <a:pt x="16" y="1193"/>
                  </a:lnTo>
                  <a:close/>
                  <a:moveTo>
                    <a:pt x="14" y="1188"/>
                  </a:moveTo>
                  <a:lnTo>
                    <a:pt x="16" y="1188"/>
                  </a:lnTo>
                  <a:lnTo>
                    <a:pt x="16" y="1190"/>
                  </a:lnTo>
                  <a:lnTo>
                    <a:pt x="14" y="1190"/>
                  </a:lnTo>
                  <a:lnTo>
                    <a:pt x="14" y="1188"/>
                  </a:lnTo>
                  <a:close/>
                  <a:moveTo>
                    <a:pt x="9" y="1188"/>
                  </a:moveTo>
                  <a:lnTo>
                    <a:pt x="7" y="1188"/>
                  </a:lnTo>
                  <a:lnTo>
                    <a:pt x="9" y="1188"/>
                  </a:lnTo>
                  <a:close/>
                  <a:moveTo>
                    <a:pt x="14" y="1186"/>
                  </a:moveTo>
                  <a:lnTo>
                    <a:pt x="14" y="1188"/>
                  </a:lnTo>
                  <a:lnTo>
                    <a:pt x="12" y="1186"/>
                  </a:lnTo>
                  <a:lnTo>
                    <a:pt x="14" y="1186"/>
                  </a:lnTo>
                  <a:close/>
                  <a:moveTo>
                    <a:pt x="12" y="1183"/>
                  </a:moveTo>
                  <a:lnTo>
                    <a:pt x="14" y="1186"/>
                  </a:lnTo>
                  <a:lnTo>
                    <a:pt x="12" y="1186"/>
                  </a:lnTo>
                  <a:lnTo>
                    <a:pt x="12" y="1183"/>
                  </a:lnTo>
                  <a:close/>
                  <a:moveTo>
                    <a:pt x="19" y="1183"/>
                  </a:moveTo>
                  <a:lnTo>
                    <a:pt x="16" y="1183"/>
                  </a:lnTo>
                  <a:lnTo>
                    <a:pt x="19" y="1183"/>
                  </a:lnTo>
                  <a:close/>
                  <a:moveTo>
                    <a:pt x="2" y="1183"/>
                  </a:moveTo>
                  <a:lnTo>
                    <a:pt x="4" y="1183"/>
                  </a:lnTo>
                  <a:lnTo>
                    <a:pt x="2" y="1183"/>
                  </a:lnTo>
                  <a:close/>
                  <a:moveTo>
                    <a:pt x="4" y="1181"/>
                  </a:moveTo>
                  <a:lnTo>
                    <a:pt x="4" y="1183"/>
                  </a:lnTo>
                  <a:lnTo>
                    <a:pt x="7" y="1183"/>
                  </a:lnTo>
                  <a:lnTo>
                    <a:pt x="4" y="1183"/>
                  </a:lnTo>
                  <a:lnTo>
                    <a:pt x="4" y="1181"/>
                  </a:lnTo>
                  <a:lnTo>
                    <a:pt x="4" y="1183"/>
                  </a:lnTo>
                  <a:lnTo>
                    <a:pt x="4" y="1181"/>
                  </a:lnTo>
                  <a:close/>
                  <a:moveTo>
                    <a:pt x="7" y="1181"/>
                  </a:moveTo>
                  <a:lnTo>
                    <a:pt x="7" y="1183"/>
                  </a:lnTo>
                  <a:lnTo>
                    <a:pt x="4" y="1183"/>
                  </a:lnTo>
                  <a:lnTo>
                    <a:pt x="4" y="1181"/>
                  </a:lnTo>
                  <a:lnTo>
                    <a:pt x="7" y="1181"/>
                  </a:lnTo>
                  <a:close/>
                  <a:moveTo>
                    <a:pt x="9" y="1181"/>
                  </a:moveTo>
                  <a:lnTo>
                    <a:pt x="7" y="1181"/>
                  </a:lnTo>
                  <a:lnTo>
                    <a:pt x="9" y="1181"/>
                  </a:lnTo>
                  <a:close/>
                  <a:moveTo>
                    <a:pt x="26" y="1181"/>
                  </a:moveTo>
                  <a:lnTo>
                    <a:pt x="23" y="1181"/>
                  </a:lnTo>
                  <a:lnTo>
                    <a:pt x="23" y="1178"/>
                  </a:lnTo>
                  <a:lnTo>
                    <a:pt x="26" y="1178"/>
                  </a:lnTo>
                  <a:lnTo>
                    <a:pt x="26" y="1181"/>
                  </a:lnTo>
                  <a:close/>
                  <a:moveTo>
                    <a:pt x="12" y="1178"/>
                  </a:moveTo>
                  <a:lnTo>
                    <a:pt x="14" y="1178"/>
                  </a:lnTo>
                  <a:lnTo>
                    <a:pt x="14" y="1181"/>
                  </a:lnTo>
                  <a:lnTo>
                    <a:pt x="16" y="1181"/>
                  </a:lnTo>
                  <a:lnTo>
                    <a:pt x="14" y="1181"/>
                  </a:lnTo>
                  <a:lnTo>
                    <a:pt x="12" y="1181"/>
                  </a:lnTo>
                  <a:lnTo>
                    <a:pt x="12" y="1183"/>
                  </a:lnTo>
                  <a:lnTo>
                    <a:pt x="12" y="1181"/>
                  </a:lnTo>
                  <a:lnTo>
                    <a:pt x="12" y="1183"/>
                  </a:lnTo>
                  <a:lnTo>
                    <a:pt x="12" y="1181"/>
                  </a:lnTo>
                  <a:lnTo>
                    <a:pt x="9" y="1181"/>
                  </a:lnTo>
                  <a:lnTo>
                    <a:pt x="12" y="1181"/>
                  </a:lnTo>
                  <a:lnTo>
                    <a:pt x="12" y="1178"/>
                  </a:lnTo>
                  <a:close/>
                  <a:moveTo>
                    <a:pt x="14" y="1178"/>
                  </a:moveTo>
                  <a:lnTo>
                    <a:pt x="12" y="1178"/>
                  </a:lnTo>
                  <a:lnTo>
                    <a:pt x="14" y="1178"/>
                  </a:lnTo>
                  <a:close/>
                  <a:moveTo>
                    <a:pt x="12" y="1176"/>
                  </a:moveTo>
                  <a:lnTo>
                    <a:pt x="9" y="1176"/>
                  </a:lnTo>
                  <a:lnTo>
                    <a:pt x="12" y="1176"/>
                  </a:lnTo>
                  <a:lnTo>
                    <a:pt x="9" y="1176"/>
                  </a:lnTo>
                  <a:lnTo>
                    <a:pt x="12" y="1176"/>
                  </a:lnTo>
                  <a:lnTo>
                    <a:pt x="9" y="1176"/>
                  </a:lnTo>
                  <a:lnTo>
                    <a:pt x="12" y="1176"/>
                  </a:lnTo>
                  <a:close/>
                  <a:moveTo>
                    <a:pt x="12" y="1171"/>
                  </a:moveTo>
                  <a:lnTo>
                    <a:pt x="12" y="1174"/>
                  </a:lnTo>
                  <a:lnTo>
                    <a:pt x="12" y="1171"/>
                  </a:lnTo>
                  <a:lnTo>
                    <a:pt x="12" y="1174"/>
                  </a:lnTo>
                  <a:lnTo>
                    <a:pt x="12" y="1171"/>
                  </a:lnTo>
                  <a:close/>
                  <a:moveTo>
                    <a:pt x="12" y="1171"/>
                  </a:moveTo>
                  <a:lnTo>
                    <a:pt x="12" y="1174"/>
                  </a:lnTo>
                  <a:lnTo>
                    <a:pt x="12" y="1171"/>
                  </a:lnTo>
                  <a:close/>
                  <a:moveTo>
                    <a:pt x="16" y="1171"/>
                  </a:moveTo>
                  <a:lnTo>
                    <a:pt x="19" y="1171"/>
                  </a:lnTo>
                  <a:lnTo>
                    <a:pt x="19" y="1174"/>
                  </a:lnTo>
                  <a:lnTo>
                    <a:pt x="16" y="1174"/>
                  </a:lnTo>
                  <a:lnTo>
                    <a:pt x="16" y="1171"/>
                  </a:lnTo>
                  <a:close/>
                  <a:moveTo>
                    <a:pt x="12" y="1171"/>
                  </a:moveTo>
                  <a:lnTo>
                    <a:pt x="14" y="1171"/>
                  </a:lnTo>
                  <a:lnTo>
                    <a:pt x="12" y="1171"/>
                  </a:lnTo>
                  <a:lnTo>
                    <a:pt x="12" y="1169"/>
                  </a:lnTo>
                  <a:lnTo>
                    <a:pt x="12" y="1171"/>
                  </a:lnTo>
                  <a:close/>
                  <a:moveTo>
                    <a:pt x="14" y="1169"/>
                  </a:moveTo>
                  <a:lnTo>
                    <a:pt x="12" y="1169"/>
                  </a:lnTo>
                  <a:lnTo>
                    <a:pt x="14" y="1169"/>
                  </a:lnTo>
                  <a:close/>
                  <a:moveTo>
                    <a:pt x="7" y="1169"/>
                  </a:moveTo>
                  <a:lnTo>
                    <a:pt x="4" y="1169"/>
                  </a:lnTo>
                  <a:lnTo>
                    <a:pt x="7" y="1169"/>
                  </a:lnTo>
                  <a:close/>
                  <a:moveTo>
                    <a:pt x="23" y="1169"/>
                  </a:moveTo>
                  <a:lnTo>
                    <a:pt x="21" y="1169"/>
                  </a:lnTo>
                  <a:lnTo>
                    <a:pt x="23" y="1169"/>
                  </a:lnTo>
                  <a:close/>
                  <a:moveTo>
                    <a:pt x="19" y="1169"/>
                  </a:moveTo>
                  <a:lnTo>
                    <a:pt x="21" y="1169"/>
                  </a:lnTo>
                  <a:lnTo>
                    <a:pt x="19" y="1169"/>
                  </a:lnTo>
                  <a:close/>
                  <a:moveTo>
                    <a:pt x="9" y="1169"/>
                  </a:moveTo>
                  <a:lnTo>
                    <a:pt x="7" y="1169"/>
                  </a:lnTo>
                  <a:lnTo>
                    <a:pt x="9" y="1169"/>
                  </a:lnTo>
                  <a:close/>
                  <a:moveTo>
                    <a:pt x="16" y="1169"/>
                  </a:moveTo>
                  <a:lnTo>
                    <a:pt x="19" y="1169"/>
                  </a:lnTo>
                  <a:lnTo>
                    <a:pt x="16" y="1169"/>
                  </a:lnTo>
                  <a:lnTo>
                    <a:pt x="19" y="1169"/>
                  </a:lnTo>
                  <a:lnTo>
                    <a:pt x="16" y="1169"/>
                  </a:lnTo>
                  <a:lnTo>
                    <a:pt x="14" y="1169"/>
                  </a:lnTo>
                  <a:lnTo>
                    <a:pt x="16" y="1169"/>
                  </a:lnTo>
                  <a:close/>
                  <a:moveTo>
                    <a:pt x="14" y="1169"/>
                  </a:moveTo>
                  <a:lnTo>
                    <a:pt x="14" y="1167"/>
                  </a:lnTo>
                  <a:lnTo>
                    <a:pt x="14" y="1169"/>
                  </a:lnTo>
                  <a:lnTo>
                    <a:pt x="14" y="1167"/>
                  </a:lnTo>
                  <a:lnTo>
                    <a:pt x="14" y="1169"/>
                  </a:lnTo>
                  <a:close/>
                  <a:moveTo>
                    <a:pt x="19" y="1167"/>
                  </a:moveTo>
                  <a:lnTo>
                    <a:pt x="19" y="1169"/>
                  </a:lnTo>
                  <a:lnTo>
                    <a:pt x="16" y="1169"/>
                  </a:lnTo>
                  <a:lnTo>
                    <a:pt x="19" y="1167"/>
                  </a:lnTo>
                  <a:close/>
                  <a:moveTo>
                    <a:pt x="12" y="1167"/>
                  </a:moveTo>
                  <a:lnTo>
                    <a:pt x="12" y="1169"/>
                  </a:lnTo>
                  <a:lnTo>
                    <a:pt x="12" y="1167"/>
                  </a:lnTo>
                  <a:close/>
                  <a:moveTo>
                    <a:pt x="12" y="1167"/>
                  </a:moveTo>
                  <a:lnTo>
                    <a:pt x="14" y="1167"/>
                  </a:lnTo>
                  <a:lnTo>
                    <a:pt x="14" y="1169"/>
                  </a:lnTo>
                  <a:lnTo>
                    <a:pt x="12" y="1169"/>
                  </a:lnTo>
                  <a:lnTo>
                    <a:pt x="14" y="1169"/>
                  </a:lnTo>
                  <a:lnTo>
                    <a:pt x="12" y="1169"/>
                  </a:lnTo>
                  <a:lnTo>
                    <a:pt x="12" y="1167"/>
                  </a:lnTo>
                  <a:close/>
                  <a:moveTo>
                    <a:pt x="14" y="1167"/>
                  </a:moveTo>
                  <a:lnTo>
                    <a:pt x="16" y="1167"/>
                  </a:lnTo>
                  <a:lnTo>
                    <a:pt x="14" y="1167"/>
                  </a:lnTo>
                  <a:close/>
                  <a:moveTo>
                    <a:pt x="19" y="1167"/>
                  </a:moveTo>
                  <a:lnTo>
                    <a:pt x="21" y="1167"/>
                  </a:lnTo>
                  <a:lnTo>
                    <a:pt x="19" y="1167"/>
                  </a:lnTo>
                  <a:close/>
                  <a:moveTo>
                    <a:pt x="9" y="1167"/>
                  </a:moveTo>
                  <a:lnTo>
                    <a:pt x="9" y="1164"/>
                  </a:lnTo>
                  <a:lnTo>
                    <a:pt x="9" y="1167"/>
                  </a:lnTo>
                  <a:close/>
                  <a:moveTo>
                    <a:pt x="12" y="1167"/>
                  </a:moveTo>
                  <a:lnTo>
                    <a:pt x="12" y="1164"/>
                  </a:lnTo>
                  <a:lnTo>
                    <a:pt x="12" y="1167"/>
                  </a:lnTo>
                  <a:close/>
                  <a:moveTo>
                    <a:pt x="7" y="1164"/>
                  </a:moveTo>
                  <a:lnTo>
                    <a:pt x="7" y="1167"/>
                  </a:lnTo>
                  <a:lnTo>
                    <a:pt x="7" y="1164"/>
                  </a:lnTo>
                  <a:lnTo>
                    <a:pt x="7" y="1167"/>
                  </a:lnTo>
                  <a:lnTo>
                    <a:pt x="9" y="1167"/>
                  </a:lnTo>
                  <a:lnTo>
                    <a:pt x="7" y="1167"/>
                  </a:lnTo>
                  <a:lnTo>
                    <a:pt x="9" y="1167"/>
                  </a:lnTo>
                  <a:lnTo>
                    <a:pt x="7" y="1167"/>
                  </a:lnTo>
                  <a:lnTo>
                    <a:pt x="7" y="1164"/>
                  </a:lnTo>
                  <a:close/>
                  <a:moveTo>
                    <a:pt x="14" y="1164"/>
                  </a:moveTo>
                  <a:lnTo>
                    <a:pt x="14" y="1167"/>
                  </a:lnTo>
                  <a:lnTo>
                    <a:pt x="12" y="1167"/>
                  </a:lnTo>
                  <a:lnTo>
                    <a:pt x="12" y="1164"/>
                  </a:lnTo>
                  <a:lnTo>
                    <a:pt x="14" y="1164"/>
                  </a:lnTo>
                  <a:close/>
                  <a:moveTo>
                    <a:pt x="16" y="1164"/>
                  </a:moveTo>
                  <a:lnTo>
                    <a:pt x="19" y="1164"/>
                  </a:lnTo>
                  <a:lnTo>
                    <a:pt x="16" y="1164"/>
                  </a:lnTo>
                  <a:lnTo>
                    <a:pt x="16" y="1167"/>
                  </a:lnTo>
                  <a:lnTo>
                    <a:pt x="16" y="1164"/>
                  </a:lnTo>
                  <a:close/>
                  <a:moveTo>
                    <a:pt x="9" y="1164"/>
                  </a:moveTo>
                  <a:lnTo>
                    <a:pt x="9" y="1167"/>
                  </a:lnTo>
                  <a:lnTo>
                    <a:pt x="7" y="1167"/>
                  </a:lnTo>
                  <a:lnTo>
                    <a:pt x="9" y="1167"/>
                  </a:lnTo>
                  <a:lnTo>
                    <a:pt x="7" y="1167"/>
                  </a:lnTo>
                  <a:lnTo>
                    <a:pt x="9" y="1167"/>
                  </a:lnTo>
                  <a:lnTo>
                    <a:pt x="7" y="1167"/>
                  </a:lnTo>
                  <a:lnTo>
                    <a:pt x="9" y="1167"/>
                  </a:lnTo>
                  <a:lnTo>
                    <a:pt x="9" y="1164"/>
                  </a:lnTo>
                  <a:close/>
                  <a:moveTo>
                    <a:pt x="12" y="1164"/>
                  </a:moveTo>
                  <a:lnTo>
                    <a:pt x="14" y="1164"/>
                  </a:lnTo>
                  <a:lnTo>
                    <a:pt x="12" y="1164"/>
                  </a:lnTo>
                  <a:close/>
                  <a:moveTo>
                    <a:pt x="9" y="1159"/>
                  </a:moveTo>
                  <a:lnTo>
                    <a:pt x="9" y="1162"/>
                  </a:lnTo>
                  <a:lnTo>
                    <a:pt x="12" y="1162"/>
                  </a:lnTo>
                  <a:lnTo>
                    <a:pt x="9" y="1162"/>
                  </a:lnTo>
                  <a:lnTo>
                    <a:pt x="12" y="1162"/>
                  </a:lnTo>
                  <a:lnTo>
                    <a:pt x="12" y="1164"/>
                  </a:lnTo>
                  <a:lnTo>
                    <a:pt x="9" y="1164"/>
                  </a:lnTo>
                  <a:lnTo>
                    <a:pt x="9" y="1162"/>
                  </a:lnTo>
                  <a:lnTo>
                    <a:pt x="7" y="1162"/>
                  </a:lnTo>
                  <a:lnTo>
                    <a:pt x="9" y="1162"/>
                  </a:lnTo>
                  <a:lnTo>
                    <a:pt x="7" y="1162"/>
                  </a:lnTo>
                  <a:lnTo>
                    <a:pt x="9" y="1162"/>
                  </a:lnTo>
                  <a:lnTo>
                    <a:pt x="9" y="1159"/>
                  </a:lnTo>
                  <a:close/>
                  <a:moveTo>
                    <a:pt x="9" y="1155"/>
                  </a:moveTo>
                  <a:lnTo>
                    <a:pt x="9" y="1157"/>
                  </a:lnTo>
                  <a:lnTo>
                    <a:pt x="12" y="1157"/>
                  </a:lnTo>
                  <a:lnTo>
                    <a:pt x="9" y="1157"/>
                  </a:lnTo>
                  <a:lnTo>
                    <a:pt x="9" y="1159"/>
                  </a:lnTo>
                  <a:lnTo>
                    <a:pt x="9" y="1157"/>
                  </a:lnTo>
                  <a:lnTo>
                    <a:pt x="7" y="1157"/>
                  </a:lnTo>
                  <a:lnTo>
                    <a:pt x="7" y="1155"/>
                  </a:lnTo>
                  <a:lnTo>
                    <a:pt x="9" y="1155"/>
                  </a:lnTo>
                  <a:close/>
                  <a:moveTo>
                    <a:pt x="23" y="1155"/>
                  </a:moveTo>
                  <a:lnTo>
                    <a:pt x="23" y="1152"/>
                  </a:lnTo>
                  <a:lnTo>
                    <a:pt x="23" y="1155"/>
                  </a:lnTo>
                  <a:close/>
                  <a:moveTo>
                    <a:pt x="19" y="1150"/>
                  </a:moveTo>
                  <a:lnTo>
                    <a:pt x="19" y="1152"/>
                  </a:lnTo>
                  <a:lnTo>
                    <a:pt x="19" y="1150"/>
                  </a:lnTo>
                  <a:lnTo>
                    <a:pt x="19" y="1152"/>
                  </a:lnTo>
                  <a:lnTo>
                    <a:pt x="19" y="1150"/>
                  </a:lnTo>
                  <a:close/>
                  <a:moveTo>
                    <a:pt x="14" y="1150"/>
                  </a:moveTo>
                  <a:lnTo>
                    <a:pt x="16" y="1152"/>
                  </a:lnTo>
                  <a:lnTo>
                    <a:pt x="19" y="1152"/>
                  </a:lnTo>
                  <a:lnTo>
                    <a:pt x="21" y="1152"/>
                  </a:lnTo>
                  <a:lnTo>
                    <a:pt x="23" y="1152"/>
                  </a:lnTo>
                  <a:lnTo>
                    <a:pt x="21" y="1152"/>
                  </a:lnTo>
                  <a:lnTo>
                    <a:pt x="21" y="1155"/>
                  </a:lnTo>
                  <a:lnTo>
                    <a:pt x="19" y="1155"/>
                  </a:lnTo>
                  <a:lnTo>
                    <a:pt x="19" y="1152"/>
                  </a:lnTo>
                  <a:lnTo>
                    <a:pt x="19" y="1155"/>
                  </a:lnTo>
                  <a:lnTo>
                    <a:pt x="16" y="1155"/>
                  </a:lnTo>
                  <a:lnTo>
                    <a:pt x="16" y="1157"/>
                  </a:lnTo>
                  <a:lnTo>
                    <a:pt x="16" y="1155"/>
                  </a:lnTo>
                  <a:lnTo>
                    <a:pt x="14" y="1157"/>
                  </a:lnTo>
                  <a:lnTo>
                    <a:pt x="12" y="1157"/>
                  </a:lnTo>
                  <a:lnTo>
                    <a:pt x="12" y="1155"/>
                  </a:lnTo>
                  <a:lnTo>
                    <a:pt x="14" y="1155"/>
                  </a:lnTo>
                  <a:lnTo>
                    <a:pt x="12" y="1155"/>
                  </a:lnTo>
                  <a:lnTo>
                    <a:pt x="9" y="1155"/>
                  </a:lnTo>
                  <a:lnTo>
                    <a:pt x="9" y="1152"/>
                  </a:lnTo>
                  <a:lnTo>
                    <a:pt x="7" y="1152"/>
                  </a:lnTo>
                  <a:lnTo>
                    <a:pt x="9" y="1152"/>
                  </a:lnTo>
                  <a:lnTo>
                    <a:pt x="12" y="1152"/>
                  </a:lnTo>
                  <a:lnTo>
                    <a:pt x="12" y="1150"/>
                  </a:lnTo>
                  <a:lnTo>
                    <a:pt x="9" y="1150"/>
                  </a:lnTo>
                  <a:lnTo>
                    <a:pt x="12" y="1150"/>
                  </a:lnTo>
                  <a:lnTo>
                    <a:pt x="14" y="1150"/>
                  </a:lnTo>
                  <a:close/>
                  <a:moveTo>
                    <a:pt x="14" y="1150"/>
                  </a:moveTo>
                  <a:lnTo>
                    <a:pt x="16" y="1150"/>
                  </a:lnTo>
                  <a:lnTo>
                    <a:pt x="19" y="1150"/>
                  </a:lnTo>
                  <a:lnTo>
                    <a:pt x="16" y="1150"/>
                  </a:lnTo>
                  <a:lnTo>
                    <a:pt x="14" y="1150"/>
                  </a:lnTo>
                  <a:close/>
                  <a:moveTo>
                    <a:pt x="21" y="1145"/>
                  </a:moveTo>
                  <a:lnTo>
                    <a:pt x="19" y="1145"/>
                  </a:lnTo>
                  <a:lnTo>
                    <a:pt x="21" y="1143"/>
                  </a:lnTo>
                  <a:lnTo>
                    <a:pt x="21" y="1145"/>
                  </a:lnTo>
                  <a:lnTo>
                    <a:pt x="21" y="1143"/>
                  </a:lnTo>
                  <a:lnTo>
                    <a:pt x="21" y="1145"/>
                  </a:lnTo>
                  <a:close/>
                  <a:moveTo>
                    <a:pt x="23" y="1145"/>
                  </a:moveTo>
                  <a:lnTo>
                    <a:pt x="21" y="1145"/>
                  </a:lnTo>
                  <a:lnTo>
                    <a:pt x="23" y="1145"/>
                  </a:lnTo>
                  <a:lnTo>
                    <a:pt x="23" y="1143"/>
                  </a:lnTo>
                  <a:lnTo>
                    <a:pt x="23" y="1145"/>
                  </a:lnTo>
                  <a:close/>
                  <a:moveTo>
                    <a:pt x="14" y="1143"/>
                  </a:moveTo>
                  <a:lnTo>
                    <a:pt x="16" y="1143"/>
                  </a:lnTo>
                  <a:lnTo>
                    <a:pt x="16" y="1145"/>
                  </a:lnTo>
                  <a:lnTo>
                    <a:pt x="16" y="1143"/>
                  </a:lnTo>
                  <a:lnTo>
                    <a:pt x="19" y="1143"/>
                  </a:lnTo>
                  <a:lnTo>
                    <a:pt x="19" y="1145"/>
                  </a:lnTo>
                  <a:lnTo>
                    <a:pt x="19" y="1148"/>
                  </a:lnTo>
                  <a:lnTo>
                    <a:pt x="16" y="1148"/>
                  </a:lnTo>
                  <a:lnTo>
                    <a:pt x="16" y="1150"/>
                  </a:lnTo>
                  <a:lnTo>
                    <a:pt x="16" y="1148"/>
                  </a:lnTo>
                  <a:lnTo>
                    <a:pt x="14" y="1148"/>
                  </a:lnTo>
                  <a:lnTo>
                    <a:pt x="16" y="1148"/>
                  </a:lnTo>
                  <a:lnTo>
                    <a:pt x="14" y="1148"/>
                  </a:lnTo>
                  <a:lnTo>
                    <a:pt x="16" y="1148"/>
                  </a:lnTo>
                  <a:lnTo>
                    <a:pt x="16" y="1145"/>
                  </a:lnTo>
                  <a:lnTo>
                    <a:pt x="14" y="1145"/>
                  </a:lnTo>
                  <a:lnTo>
                    <a:pt x="14" y="1143"/>
                  </a:lnTo>
                  <a:close/>
                  <a:moveTo>
                    <a:pt x="26" y="1133"/>
                  </a:moveTo>
                  <a:lnTo>
                    <a:pt x="28" y="1133"/>
                  </a:lnTo>
                  <a:lnTo>
                    <a:pt x="28" y="1136"/>
                  </a:lnTo>
                  <a:lnTo>
                    <a:pt x="26" y="1133"/>
                  </a:lnTo>
                  <a:close/>
                  <a:moveTo>
                    <a:pt x="31" y="1133"/>
                  </a:moveTo>
                  <a:lnTo>
                    <a:pt x="28" y="1133"/>
                  </a:lnTo>
                  <a:lnTo>
                    <a:pt x="31" y="1133"/>
                  </a:lnTo>
                  <a:lnTo>
                    <a:pt x="28" y="1133"/>
                  </a:lnTo>
                  <a:lnTo>
                    <a:pt x="31" y="1133"/>
                  </a:lnTo>
                  <a:lnTo>
                    <a:pt x="28" y="1133"/>
                  </a:lnTo>
                  <a:lnTo>
                    <a:pt x="31" y="1133"/>
                  </a:lnTo>
                  <a:close/>
                  <a:moveTo>
                    <a:pt x="42" y="1133"/>
                  </a:moveTo>
                  <a:lnTo>
                    <a:pt x="40" y="1133"/>
                  </a:lnTo>
                  <a:lnTo>
                    <a:pt x="42" y="1133"/>
                  </a:lnTo>
                  <a:close/>
                  <a:moveTo>
                    <a:pt x="26" y="1131"/>
                  </a:moveTo>
                  <a:lnTo>
                    <a:pt x="26" y="1133"/>
                  </a:lnTo>
                  <a:lnTo>
                    <a:pt x="26" y="1131"/>
                  </a:lnTo>
                  <a:close/>
                  <a:moveTo>
                    <a:pt x="45" y="1131"/>
                  </a:moveTo>
                  <a:lnTo>
                    <a:pt x="45" y="1133"/>
                  </a:lnTo>
                  <a:lnTo>
                    <a:pt x="45" y="1131"/>
                  </a:lnTo>
                  <a:lnTo>
                    <a:pt x="47" y="1131"/>
                  </a:lnTo>
                  <a:lnTo>
                    <a:pt x="45" y="1133"/>
                  </a:lnTo>
                  <a:lnTo>
                    <a:pt x="45" y="1131"/>
                  </a:lnTo>
                  <a:close/>
                  <a:moveTo>
                    <a:pt x="45" y="1131"/>
                  </a:moveTo>
                  <a:lnTo>
                    <a:pt x="42" y="1133"/>
                  </a:lnTo>
                  <a:lnTo>
                    <a:pt x="42" y="1131"/>
                  </a:lnTo>
                  <a:lnTo>
                    <a:pt x="45" y="1131"/>
                  </a:lnTo>
                  <a:close/>
                  <a:moveTo>
                    <a:pt x="40" y="1129"/>
                  </a:moveTo>
                  <a:lnTo>
                    <a:pt x="38" y="1129"/>
                  </a:lnTo>
                  <a:lnTo>
                    <a:pt x="40" y="1129"/>
                  </a:lnTo>
                  <a:close/>
                  <a:moveTo>
                    <a:pt x="38" y="1129"/>
                  </a:moveTo>
                  <a:lnTo>
                    <a:pt x="40" y="1129"/>
                  </a:lnTo>
                  <a:lnTo>
                    <a:pt x="38" y="1129"/>
                  </a:lnTo>
                  <a:lnTo>
                    <a:pt x="40" y="1129"/>
                  </a:lnTo>
                  <a:lnTo>
                    <a:pt x="40" y="1131"/>
                  </a:lnTo>
                  <a:lnTo>
                    <a:pt x="40" y="1133"/>
                  </a:lnTo>
                  <a:lnTo>
                    <a:pt x="38" y="1133"/>
                  </a:lnTo>
                  <a:lnTo>
                    <a:pt x="35" y="1133"/>
                  </a:lnTo>
                  <a:lnTo>
                    <a:pt x="35" y="1136"/>
                  </a:lnTo>
                  <a:lnTo>
                    <a:pt x="33" y="1136"/>
                  </a:lnTo>
                  <a:lnTo>
                    <a:pt x="33" y="1133"/>
                  </a:lnTo>
                  <a:lnTo>
                    <a:pt x="31" y="1133"/>
                  </a:lnTo>
                  <a:lnTo>
                    <a:pt x="33" y="1133"/>
                  </a:lnTo>
                  <a:lnTo>
                    <a:pt x="35" y="1133"/>
                  </a:lnTo>
                  <a:lnTo>
                    <a:pt x="33" y="1133"/>
                  </a:lnTo>
                  <a:lnTo>
                    <a:pt x="31" y="1131"/>
                  </a:lnTo>
                  <a:lnTo>
                    <a:pt x="33" y="1131"/>
                  </a:lnTo>
                  <a:lnTo>
                    <a:pt x="31" y="1131"/>
                  </a:lnTo>
                  <a:lnTo>
                    <a:pt x="33" y="1131"/>
                  </a:lnTo>
                  <a:lnTo>
                    <a:pt x="31" y="1129"/>
                  </a:lnTo>
                  <a:lnTo>
                    <a:pt x="33" y="1129"/>
                  </a:lnTo>
                  <a:lnTo>
                    <a:pt x="35" y="1129"/>
                  </a:lnTo>
                  <a:lnTo>
                    <a:pt x="38" y="1129"/>
                  </a:lnTo>
                  <a:close/>
                  <a:moveTo>
                    <a:pt x="38" y="1129"/>
                  </a:moveTo>
                  <a:lnTo>
                    <a:pt x="35" y="1129"/>
                  </a:lnTo>
                  <a:lnTo>
                    <a:pt x="38" y="1129"/>
                  </a:lnTo>
                  <a:close/>
                  <a:moveTo>
                    <a:pt x="31" y="1129"/>
                  </a:moveTo>
                  <a:lnTo>
                    <a:pt x="28" y="1129"/>
                  </a:lnTo>
                  <a:lnTo>
                    <a:pt x="31" y="1129"/>
                  </a:lnTo>
                  <a:lnTo>
                    <a:pt x="31" y="1126"/>
                  </a:lnTo>
                  <a:lnTo>
                    <a:pt x="31" y="1129"/>
                  </a:lnTo>
                  <a:close/>
                  <a:moveTo>
                    <a:pt x="38" y="1126"/>
                  </a:moveTo>
                  <a:lnTo>
                    <a:pt x="38" y="1129"/>
                  </a:lnTo>
                  <a:lnTo>
                    <a:pt x="35" y="1129"/>
                  </a:lnTo>
                  <a:lnTo>
                    <a:pt x="38" y="1126"/>
                  </a:lnTo>
                  <a:lnTo>
                    <a:pt x="35" y="1126"/>
                  </a:lnTo>
                  <a:lnTo>
                    <a:pt x="35" y="1129"/>
                  </a:lnTo>
                  <a:lnTo>
                    <a:pt x="35" y="1126"/>
                  </a:lnTo>
                  <a:lnTo>
                    <a:pt x="35" y="1129"/>
                  </a:lnTo>
                  <a:lnTo>
                    <a:pt x="33" y="1126"/>
                  </a:lnTo>
                  <a:lnTo>
                    <a:pt x="35" y="1126"/>
                  </a:lnTo>
                  <a:lnTo>
                    <a:pt x="38" y="1126"/>
                  </a:lnTo>
                  <a:close/>
                  <a:moveTo>
                    <a:pt x="33" y="1124"/>
                  </a:moveTo>
                  <a:lnTo>
                    <a:pt x="33" y="1126"/>
                  </a:lnTo>
                  <a:lnTo>
                    <a:pt x="31" y="1126"/>
                  </a:lnTo>
                  <a:lnTo>
                    <a:pt x="31" y="1124"/>
                  </a:lnTo>
                  <a:lnTo>
                    <a:pt x="33" y="1124"/>
                  </a:lnTo>
                  <a:close/>
                  <a:moveTo>
                    <a:pt x="40" y="1124"/>
                  </a:moveTo>
                  <a:lnTo>
                    <a:pt x="40" y="1126"/>
                  </a:lnTo>
                  <a:lnTo>
                    <a:pt x="40" y="1124"/>
                  </a:lnTo>
                  <a:close/>
                  <a:moveTo>
                    <a:pt x="35" y="1124"/>
                  </a:moveTo>
                  <a:lnTo>
                    <a:pt x="35" y="1126"/>
                  </a:lnTo>
                  <a:lnTo>
                    <a:pt x="33" y="1126"/>
                  </a:lnTo>
                  <a:lnTo>
                    <a:pt x="33" y="1124"/>
                  </a:lnTo>
                  <a:lnTo>
                    <a:pt x="35" y="1124"/>
                  </a:lnTo>
                  <a:close/>
                  <a:moveTo>
                    <a:pt x="33" y="1124"/>
                  </a:moveTo>
                  <a:lnTo>
                    <a:pt x="35" y="1124"/>
                  </a:lnTo>
                  <a:lnTo>
                    <a:pt x="33" y="1124"/>
                  </a:lnTo>
                  <a:lnTo>
                    <a:pt x="33" y="1121"/>
                  </a:lnTo>
                  <a:lnTo>
                    <a:pt x="33" y="1124"/>
                  </a:lnTo>
                  <a:close/>
                  <a:moveTo>
                    <a:pt x="45" y="1121"/>
                  </a:moveTo>
                  <a:lnTo>
                    <a:pt x="47" y="1121"/>
                  </a:lnTo>
                  <a:lnTo>
                    <a:pt x="47" y="1124"/>
                  </a:lnTo>
                  <a:lnTo>
                    <a:pt x="47" y="1126"/>
                  </a:lnTo>
                  <a:lnTo>
                    <a:pt x="50" y="1126"/>
                  </a:lnTo>
                  <a:lnTo>
                    <a:pt x="47" y="1129"/>
                  </a:lnTo>
                  <a:lnTo>
                    <a:pt x="45" y="1129"/>
                  </a:lnTo>
                  <a:lnTo>
                    <a:pt x="45" y="1131"/>
                  </a:lnTo>
                  <a:lnTo>
                    <a:pt x="42" y="1131"/>
                  </a:lnTo>
                  <a:lnTo>
                    <a:pt x="40" y="1131"/>
                  </a:lnTo>
                  <a:lnTo>
                    <a:pt x="42" y="1131"/>
                  </a:lnTo>
                  <a:lnTo>
                    <a:pt x="40" y="1131"/>
                  </a:lnTo>
                  <a:lnTo>
                    <a:pt x="42" y="1131"/>
                  </a:lnTo>
                  <a:lnTo>
                    <a:pt x="42" y="1129"/>
                  </a:lnTo>
                  <a:lnTo>
                    <a:pt x="40" y="1129"/>
                  </a:lnTo>
                  <a:lnTo>
                    <a:pt x="42" y="1129"/>
                  </a:lnTo>
                  <a:lnTo>
                    <a:pt x="40" y="1129"/>
                  </a:lnTo>
                  <a:lnTo>
                    <a:pt x="42" y="1129"/>
                  </a:lnTo>
                  <a:lnTo>
                    <a:pt x="40" y="1129"/>
                  </a:lnTo>
                  <a:lnTo>
                    <a:pt x="42" y="1129"/>
                  </a:lnTo>
                  <a:lnTo>
                    <a:pt x="40" y="1129"/>
                  </a:lnTo>
                  <a:lnTo>
                    <a:pt x="40" y="1126"/>
                  </a:lnTo>
                  <a:lnTo>
                    <a:pt x="42" y="1126"/>
                  </a:lnTo>
                  <a:lnTo>
                    <a:pt x="40" y="1126"/>
                  </a:lnTo>
                  <a:lnTo>
                    <a:pt x="42" y="1129"/>
                  </a:lnTo>
                  <a:lnTo>
                    <a:pt x="42" y="1126"/>
                  </a:lnTo>
                  <a:lnTo>
                    <a:pt x="40" y="1126"/>
                  </a:lnTo>
                  <a:lnTo>
                    <a:pt x="40" y="1124"/>
                  </a:lnTo>
                  <a:lnTo>
                    <a:pt x="42" y="1124"/>
                  </a:lnTo>
                  <a:lnTo>
                    <a:pt x="42" y="1121"/>
                  </a:lnTo>
                  <a:lnTo>
                    <a:pt x="45" y="1121"/>
                  </a:lnTo>
                  <a:close/>
                  <a:moveTo>
                    <a:pt x="57" y="1121"/>
                  </a:moveTo>
                  <a:lnTo>
                    <a:pt x="59" y="1121"/>
                  </a:lnTo>
                  <a:lnTo>
                    <a:pt x="57" y="1121"/>
                  </a:lnTo>
                  <a:close/>
                  <a:moveTo>
                    <a:pt x="45" y="1119"/>
                  </a:moveTo>
                  <a:lnTo>
                    <a:pt x="47" y="1119"/>
                  </a:lnTo>
                  <a:lnTo>
                    <a:pt x="45" y="1119"/>
                  </a:lnTo>
                  <a:close/>
                  <a:moveTo>
                    <a:pt x="59" y="1119"/>
                  </a:moveTo>
                  <a:lnTo>
                    <a:pt x="57" y="1119"/>
                  </a:lnTo>
                  <a:lnTo>
                    <a:pt x="59" y="1119"/>
                  </a:lnTo>
                  <a:close/>
                  <a:moveTo>
                    <a:pt x="50" y="1117"/>
                  </a:moveTo>
                  <a:lnTo>
                    <a:pt x="50" y="1119"/>
                  </a:lnTo>
                  <a:lnTo>
                    <a:pt x="47" y="1119"/>
                  </a:lnTo>
                  <a:lnTo>
                    <a:pt x="47" y="1117"/>
                  </a:lnTo>
                  <a:lnTo>
                    <a:pt x="50" y="1117"/>
                  </a:lnTo>
                  <a:close/>
                  <a:moveTo>
                    <a:pt x="61" y="1117"/>
                  </a:moveTo>
                  <a:lnTo>
                    <a:pt x="59" y="1117"/>
                  </a:lnTo>
                  <a:lnTo>
                    <a:pt x="59" y="1119"/>
                  </a:lnTo>
                  <a:lnTo>
                    <a:pt x="57" y="1119"/>
                  </a:lnTo>
                  <a:lnTo>
                    <a:pt x="54" y="1119"/>
                  </a:lnTo>
                  <a:lnTo>
                    <a:pt x="52" y="1119"/>
                  </a:lnTo>
                  <a:lnTo>
                    <a:pt x="52" y="1117"/>
                  </a:lnTo>
                  <a:lnTo>
                    <a:pt x="54" y="1117"/>
                  </a:lnTo>
                  <a:lnTo>
                    <a:pt x="57" y="1117"/>
                  </a:lnTo>
                  <a:lnTo>
                    <a:pt x="59" y="1117"/>
                  </a:lnTo>
                  <a:lnTo>
                    <a:pt x="61" y="1117"/>
                  </a:lnTo>
                  <a:close/>
                  <a:moveTo>
                    <a:pt x="52" y="1117"/>
                  </a:moveTo>
                  <a:lnTo>
                    <a:pt x="52" y="1119"/>
                  </a:lnTo>
                  <a:lnTo>
                    <a:pt x="50" y="1119"/>
                  </a:lnTo>
                  <a:lnTo>
                    <a:pt x="50" y="1117"/>
                  </a:lnTo>
                  <a:lnTo>
                    <a:pt x="52" y="1117"/>
                  </a:lnTo>
                  <a:close/>
                  <a:moveTo>
                    <a:pt x="54" y="1117"/>
                  </a:moveTo>
                  <a:lnTo>
                    <a:pt x="52" y="1117"/>
                  </a:lnTo>
                  <a:lnTo>
                    <a:pt x="54" y="1117"/>
                  </a:lnTo>
                  <a:close/>
                  <a:moveTo>
                    <a:pt x="52" y="1117"/>
                  </a:moveTo>
                  <a:lnTo>
                    <a:pt x="54" y="1114"/>
                  </a:lnTo>
                  <a:lnTo>
                    <a:pt x="54" y="1117"/>
                  </a:lnTo>
                  <a:lnTo>
                    <a:pt x="52" y="1117"/>
                  </a:lnTo>
                  <a:close/>
                  <a:moveTo>
                    <a:pt x="57" y="1114"/>
                  </a:moveTo>
                  <a:lnTo>
                    <a:pt x="54" y="1114"/>
                  </a:lnTo>
                  <a:lnTo>
                    <a:pt x="57" y="1114"/>
                  </a:lnTo>
                  <a:close/>
                  <a:moveTo>
                    <a:pt x="50" y="1112"/>
                  </a:moveTo>
                  <a:lnTo>
                    <a:pt x="52" y="1112"/>
                  </a:lnTo>
                  <a:lnTo>
                    <a:pt x="52" y="1114"/>
                  </a:lnTo>
                  <a:lnTo>
                    <a:pt x="50" y="1114"/>
                  </a:lnTo>
                  <a:lnTo>
                    <a:pt x="52" y="1114"/>
                  </a:lnTo>
                  <a:lnTo>
                    <a:pt x="52" y="1117"/>
                  </a:lnTo>
                  <a:lnTo>
                    <a:pt x="50" y="1117"/>
                  </a:lnTo>
                  <a:lnTo>
                    <a:pt x="50" y="1114"/>
                  </a:lnTo>
                  <a:lnTo>
                    <a:pt x="50" y="1117"/>
                  </a:lnTo>
                  <a:lnTo>
                    <a:pt x="47" y="1117"/>
                  </a:lnTo>
                  <a:lnTo>
                    <a:pt x="47" y="1114"/>
                  </a:lnTo>
                  <a:lnTo>
                    <a:pt x="50" y="1114"/>
                  </a:lnTo>
                  <a:lnTo>
                    <a:pt x="50" y="1112"/>
                  </a:lnTo>
                  <a:close/>
                  <a:moveTo>
                    <a:pt x="66" y="1112"/>
                  </a:moveTo>
                  <a:lnTo>
                    <a:pt x="66" y="1110"/>
                  </a:lnTo>
                  <a:lnTo>
                    <a:pt x="66" y="1112"/>
                  </a:lnTo>
                  <a:close/>
                  <a:moveTo>
                    <a:pt x="52" y="1110"/>
                  </a:moveTo>
                  <a:lnTo>
                    <a:pt x="54" y="1110"/>
                  </a:lnTo>
                  <a:lnTo>
                    <a:pt x="54" y="1112"/>
                  </a:lnTo>
                  <a:lnTo>
                    <a:pt x="52" y="1112"/>
                  </a:lnTo>
                  <a:lnTo>
                    <a:pt x="52" y="1110"/>
                  </a:lnTo>
                  <a:close/>
                  <a:moveTo>
                    <a:pt x="95" y="1107"/>
                  </a:moveTo>
                  <a:lnTo>
                    <a:pt x="95" y="1110"/>
                  </a:lnTo>
                  <a:lnTo>
                    <a:pt x="95" y="1107"/>
                  </a:lnTo>
                  <a:lnTo>
                    <a:pt x="95" y="1110"/>
                  </a:lnTo>
                  <a:lnTo>
                    <a:pt x="92" y="1110"/>
                  </a:lnTo>
                  <a:lnTo>
                    <a:pt x="95" y="1110"/>
                  </a:lnTo>
                  <a:lnTo>
                    <a:pt x="95" y="1107"/>
                  </a:lnTo>
                  <a:close/>
                  <a:moveTo>
                    <a:pt x="87" y="1107"/>
                  </a:moveTo>
                  <a:lnTo>
                    <a:pt x="90" y="1107"/>
                  </a:lnTo>
                  <a:lnTo>
                    <a:pt x="90" y="1110"/>
                  </a:lnTo>
                  <a:lnTo>
                    <a:pt x="92" y="1110"/>
                  </a:lnTo>
                  <a:lnTo>
                    <a:pt x="90" y="1110"/>
                  </a:lnTo>
                  <a:lnTo>
                    <a:pt x="87" y="1110"/>
                  </a:lnTo>
                  <a:lnTo>
                    <a:pt x="87" y="1107"/>
                  </a:lnTo>
                  <a:close/>
                  <a:moveTo>
                    <a:pt x="78" y="1107"/>
                  </a:moveTo>
                  <a:lnTo>
                    <a:pt x="76" y="1110"/>
                  </a:lnTo>
                  <a:lnTo>
                    <a:pt x="76" y="1107"/>
                  </a:lnTo>
                  <a:lnTo>
                    <a:pt x="78" y="1107"/>
                  </a:lnTo>
                  <a:close/>
                  <a:moveTo>
                    <a:pt x="52" y="1107"/>
                  </a:moveTo>
                  <a:lnTo>
                    <a:pt x="54" y="1107"/>
                  </a:lnTo>
                  <a:lnTo>
                    <a:pt x="54" y="1110"/>
                  </a:lnTo>
                  <a:lnTo>
                    <a:pt x="57" y="1110"/>
                  </a:lnTo>
                  <a:lnTo>
                    <a:pt x="57" y="1112"/>
                  </a:lnTo>
                  <a:lnTo>
                    <a:pt x="54" y="1112"/>
                  </a:lnTo>
                  <a:lnTo>
                    <a:pt x="54" y="1110"/>
                  </a:lnTo>
                  <a:lnTo>
                    <a:pt x="52" y="1110"/>
                  </a:lnTo>
                  <a:lnTo>
                    <a:pt x="52" y="1107"/>
                  </a:lnTo>
                  <a:close/>
                  <a:moveTo>
                    <a:pt x="54" y="1107"/>
                  </a:moveTo>
                  <a:lnTo>
                    <a:pt x="52" y="1107"/>
                  </a:lnTo>
                  <a:lnTo>
                    <a:pt x="54" y="1107"/>
                  </a:lnTo>
                  <a:close/>
                  <a:moveTo>
                    <a:pt x="54" y="1107"/>
                  </a:moveTo>
                  <a:lnTo>
                    <a:pt x="57" y="1107"/>
                  </a:lnTo>
                  <a:lnTo>
                    <a:pt x="59" y="1110"/>
                  </a:lnTo>
                  <a:lnTo>
                    <a:pt x="57" y="1110"/>
                  </a:lnTo>
                  <a:lnTo>
                    <a:pt x="54" y="1110"/>
                  </a:lnTo>
                  <a:lnTo>
                    <a:pt x="54" y="1107"/>
                  </a:lnTo>
                  <a:close/>
                  <a:moveTo>
                    <a:pt x="68" y="1107"/>
                  </a:moveTo>
                  <a:lnTo>
                    <a:pt x="68" y="1110"/>
                  </a:lnTo>
                  <a:lnTo>
                    <a:pt x="66" y="1110"/>
                  </a:lnTo>
                  <a:lnTo>
                    <a:pt x="64" y="1110"/>
                  </a:lnTo>
                  <a:lnTo>
                    <a:pt x="66" y="1110"/>
                  </a:lnTo>
                  <a:lnTo>
                    <a:pt x="66" y="1107"/>
                  </a:lnTo>
                  <a:lnTo>
                    <a:pt x="68" y="1107"/>
                  </a:lnTo>
                  <a:close/>
                  <a:moveTo>
                    <a:pt x="59" y="1107"/>
                  </a:moveTo>
                  <a:lnTo>
                    <a:pt x="61" y="1107"/>
                  </a:lnTo>
                  <a:lnTo>
                    <a:pt x="59" y="1107"/>
                  </a:lnTo>
                  <a:lnTo>
                    <a:pt x="57" y="1107"/>
                  </a:lnTo>
                  <a:lnTo>
                    <a:pt x="59" y="1107"/>
                  </a:lnTo>
                  <a:lnTo>
                    <a:pt x="57" y="1107"/>
                  </a:lnTo>
                  <a:lnTo>
                    <a:pt x="59" y="1107"/>
                  </a:lnTo>
                  <a:close/>
                  <a:moveTo>
                    <a:pt x="85" y="1105"/>
                  </a:moveTo>
                  <a:lnTo>
                    <a:pt x="85" y="1107"/>
                  </a:lnTo>
                  <a:lnTo>
                    <a:pt x="83" y="1107"/>
                  </a:lnTo>
                  <a:lnTo>
                    <a:pt x="85" y="1107"/>
                  </a:lnTo>
                  <a:lnTo>
                    <a:pt x="85" y="1105"/>
                  </a:lnTo>
                  <a:close/>
                  <a:moveTo>
                    <a:pt x="68" y="1107"/>
                  </a:moveTo>
                  <a:lnTo>
                    <a:pt x="68" y="1105"/>
                  </a:lnTo>
                  <a:lnTo>
                    <a:pt x="68" y="1107"/>
                  </a:lnTo>
                  <a:close/>
                  <a:moveTo>
                    <a:pt x="87" y="1105"/>
                  </a:moveTo>
                  <a:lnTo>
                    <a:pt x="85" y="1107"/>
                  </a:lnTo>
                  <a:lnTo>
                    <a:pt x="85" y="1105"/>
                  </a:lnTo>
                  <a:lnTo>
                    <a:pt x="87" y="1105"/>
                  </a:lnTo>
                  <a:close/>
                  <a:moveTo>
                    <a:pt x="90" y="1105"/>
                  </a:moveTo>
                  <a:lnTo>
                    <a:pt x="92" y="1105"/>
                  </a:lnTo>
                  <a:lnTo>
                    <a:pt x="90" y="1105"/>
                  </a:lnTo>
                  <a:lnTo>
                    <a:pt x="87" y="1107"/>
                  </a:lnTo>
                  <a:lnTo>
                    <a:pt x="85" y="1107"/>
                  </a:lnTo>
                  <a:lnTo>
                    <a:pt x="87" y="1107"/>
                  </a:lnTo>
                  <a:lnTo>
                    <a:pt x="90" y="1105"/>
                  </a:lnTo>
                  <a:lnTo>
                    <a:pt x="87" y="1105"/>
                  </a:lnTo>
                  <a:lnTo>
                    <a:pt x="90" y="1105"/>
                  </a:lnTo>
                  <a:close/>
                  <a:moveTo>
                    <a:pt x="78" y="1105"/>
                  </a:moveTo>
                  <a:lnTo>
                    <a:pt x="78" y="1107"/>
                  </a:lnTo>
                  <a:lnTo>
                    <a:pt x="76" y="1107"/>
                  </a:lnTo>
                  <a:lnTo>
                    <a:pt x="73" y="1107"/>
                  </a:lnTo>
                  <a:lnTo>
                    <a:pt x="71" y="1107"/>
                  </a:lnTo>
                  <a:lnTo>
                    <a:pt x="71" y="1110"/>
                  </a:lnTo>
                  <a:lnTo>
                    <a:pt x="68" y="1110"/>
                  </a:lnTo>
                  <a:lnTo>
                    <a:pt x="68" y="1107"/>
                  </a:lnTo>
                  <a:lnTo>
                    <a:pt x="71" y="1107"/>
                  </a:lnTo>
                  <a:lnTo>
                    <a:pt x="68" y="1107"/>
                  </a:lnTo>
                  <a:lnTo>
                    <a:pt x="68" y="1105"/>
                  </a:lnTo>
                  <a:lnTo>
                    <a:pt x="71" y="1105"/>
                  </a:lnTo>
                  <a:lnTo>
                    <a:pt x="68" y="1105"/>
                  </a:lnTo>
                  <a:lnTo>
                    <a:pt x="71" y="1105"/>
                  </a:lnTo>
                  <a:lnTo>
                    <a:pt x="71" y="1107"/>
                  </a:lnTo>
                  <a:lnTo>
                    <a:pt x="71" y="1105"/>
                  </a:lnTo>
                  <a:lnTo>
                    <a:pt x="73" y="1105"/>
                  </a:lnTo>
                  <a:lnTo>
                    <a:pt x="76" y="1105"/>
                  </a:lnTo>
                  <a:lnTo>
                    <a:pt x="78" y="1105"/>
                  </a:lnTo>
                  <a:close/>
                  <a:moveTo>
                    <a:pt x="59" y="1105"/>
                  </a:moveTo>
                  <a:lnTo>
                    <a:pt x="61" y="1105"/>
                  </a:lnTo>
                  <a:lnTo>
                    <a:pt x="59" y="1105"/>
                  </a:lnTo>
                  <a:close/>
                  <a:moveTo>
                    <a:pt x="78" y="1105"/>
                  </a:moveTo>
                  <a:lnTo>
                    <a:pt x="76" y="1105"/>
                  </a:lnTo>
                  <a:lnTo>
                    <a:pt x="78" y="1105"/>
                  </a:lnTo>
                  <a:lnTo>
                    <a:pt x="78" y="1102"/>
                  </a:lnTo>
                  <a:lnTo>
                    <a:pt x="78" y="1105"/>
                  </a:lnTo>
                  <a:close/>
                  <a:moveTo>
                    <a:pt x="61" y="1102"/>
                  </a:moveTo>
                  <a:lnTo>
                    <a:pt x="64" y="1105"/>
                  </a:lnTo>
                  <a:lnTo>
                    <a:pt x="61" y="1105"/>
                  </a:lnTo>
                  <a:lnTo>
                    <a:pt x="61" y="1102"/>
                  </a:lnTo>
                  <a:close/>
                  <a:moveTo>
                    <a:pt x="71" y="1100"/>
                  </a:moveTo>
                  <a:lnTo>
                    <a:pt x="68" y="1100"/>
                  </a:lnTo>
                  <a:lnTo>
                    <a:pt x="71" y="1100"/>
                  </a:lnTo>
                  <a:lnTo>
                    <a:pt x="68" y="1100"/>
                  </a:lnTo>
                  <a:lnTo>
                    <a:pt x="71" y="1100"/>
                  </a:lnTo>
                  <a:close/>
                  <a:moveTo>
                    <a:pt x="85" y="1100"/>
                  </a:moveTo>
                  <a:lnTo>
                    <a:pt x="83" y="1100"/>
                  </a:lnTo>
                  <a:lnTo>
                    <a:pt x="85" y="1100"/>
                  </a:lnTo>
                  <a:close/>
                  <a:moveTo>
                    <a:pt x="85" y="1100"/>
                  </a:moveTo>
                  <a:lnTo>
                    <a:pt x="83" y="1100"/>
                  </a:lnTo>
                  <a:lnTo>
                    <a:pt x="85" y="1100"/>
                  </a:lnTo>
                  <a:lnTo>
                    <a:pt x="83" y="1100"/>
                  </a:lnTo>
                  <a:lnTo>
                    <a:pt x="85" y="1100"/>
                  </a:lnTo>
                  <a:close/>
                  <a:moveTo>
                    <a:pt x="78" y="1098"/>
                  </a:moveTo>
                  <a:lnTo>
                    <a:pt x="78" y="1100"/>
                  </a:lnTo>
                  <a:lnTo>
                    <a:pt x="76" y="1100"/>
                  </a:lnTo>
                  <a:lnTo>
                    <a:pt x="78" y="1100"/>
                  </a:lnTo>
                  <a:lnTo>
                    <a:pt x="76" y="1100"/>
                  </a:lnTo>
                  <a:lnTo>
                    <a:pt x="76" y="1102"/>
                  </a:lnTo>
                  <a:lnTo>
                    <a:pt x="78" y="1102"/>
                  </a:lnTo>
                  <a:lnTo>
                    <a:pt x="76" y="1102"/>
                  </a:lnTo>
                  <a:lnTo>
                    <a:pt x="73" y="1102"/>
                  </a:lnTo>
                  <a:lnTo>
                    <a:pt x="73" y="1100"/>
                  </a:lnTo>
                  <a:lnTo>
                    <a:pt x="73" y="1102"/>
                  </a:lnTo>
                  <a:lnTo>
                    <a:pt x="73" y="1100"/>
                  </a:lnTo>
                  <a:lnTo>
                    <a:pt x="73" y="1102"/>
                  </a:lnTo>
                  <a:lnTo>
                    <a:pt x="73" y="1100"/>
                  </a:lnTo>
                  <a:lnTo>
                    <a:pt x="71" y="1100"/>
                  </a:lnTo>
                  <a:lnTo>
                    <a:pt x="73" y="1100"/>
                  </a:lnTo>
                  <a:lnTo>
                    <a:pt x="73" y="1098"/>
                  </a:lnTo>
                  <a:lnTo>
                    <a:pt x="73" y="1100"/>
                  </a:lnTo>
                  <a:lnTo>
                    <a:pt x="73" y="1098"/>
                  </a:lnTo>
                  <a:lnTo>
                    <a:pt x="73" y="1100"/>
                  </a:lnTo>
                  <a:lnTo>
                    <a:pt x="76" y="1098"/>
                  </a:lnTo>
                  <a:lnTo>
                    <a:pt x="76" y="1100"/>
                  </a:lnTo>
                  <a:lnTo>
                    <a:pt x="76" y="1098"/>
                  </a:lnTo>
                  <a:lnTo>
                    <a:pt x="78" y="1098"/>
                  </a:lnTo>
                  <a:close/>
                  <a:moveTo>
                    <a:pt x="64" y="1098"/>
                  </a:moveTo>
                  <a:lnTo>
                    <a:pt x="66" y="1098"/>
                  </a:lnTo>
                  <a:lnTo>
                    <a:pt x="64" y="1098"/>
                  </a:lnTo>
                  <a:close/>
                  <a:moveTo>
                    <a:pt x="106" y="1091"/>
                  </a:moveTo>
                  <a:lnTo>
                    <a:pt x="109" y="1091"/>
                  </a:lnTo>
                  <a:lnTo>
                    <a:pt x="106" y="1091"/>
                  </a:lnTo>
                  <a:lnTo>
                    <a:pt x="109" y="1091"/>
                  </a:lnTo>
                  <a:lnTo>
                    <a:pt x="109" y="1093"/>
                  </a:lnTo>
                  <a:lnTo>
                    <a:pt x="106" y="1093"/>
                  </a:lnTo>
                  <a:lnTo>
                    <a:pt x="106" y="1091"/>
                  </a:lnTo>
                  <a:close/>
                  <a:moveTo>
                    <a:pt x="92" y="1088"/>
                  </a:moveTo>
                  <a:lnTo>
                    <a:pt x="92" y="1091"/>
                  </a:lnTo>
                  <a:lnTo>
                    <a:pt x="92" y="1088"/>
                  </a:lnTo>
                  <a:lnTo>
                    <a:pt x="92" y="1091"/>
                  </a:lnTo>
                  <a:lnTo>
                    <a:pt x="92" y="1088"/>
                  </a:lnTo>
                  <a:close/>
                  <a:moveTo>
                    <a:pt x="99" y="1086"/>
                  </a:moveTo>
                  <a:lnTo>
                    <a:pt x="99" y="1088"/>
                  </a:lnTo>
                  <a:lnTo>
                    <a:pt x="97" y="1088"/>
                  </a:lnTo>
                  <a:lnTo>
                    <a:pt x="99" y="1086"/>
                  </a:lnTo>
                  <a:lnTo>
                    <a:pt x="97" y="1086"/>
                  </a:lnTo>
                  <a:lnTo>
                    <a:pt x="99" y="1086"/>
                  </a:lnTo>
                  <a:lnTo>
                    <a:pt x="97" y="1086"/>
                  </a:lnTo>
                  <a:lnTo>
                    <a:pt x="99" y="1086"/>
                  </a:lnTo>
                  <a:close/>
                  <a:moveTo>
                    <a:pt x="111" y="1086"/>
                  </a:moveTo>
                  <a:lnTo>
                    <a:pt x="114" y="1086"/>
                  </a:lnTo>
                  <a:lnTo>
                    <a:pt x="114" y="1083"/>
                  </a:lnTo>
                  <a:lnTo>
                    <a:pt x="114" y="1086"/>
                  </a:lnTo>
                  <a:lnTo>
                    <a:pt x="111" y="1086"/>
                  </a:lnTo>
                  <a:close/>
                  <a:moveTo>
                    <a:pt x="104" y="1086"/>
                  </a:moveTo>
                  <a:lnTo>
                    <a:pt x="104" y="1083"/>
                  </a:lnTo>
                  <a:lnTo>
                    <a:pt x="104" y="1086"/>
                  </a:lnTo>
                  <a:close/>
                  <a:moveTo>
                    <a:pt x="121" y="1086"/>
                  </a:moveTo>
                  <a:lnTo>
                    <a:pt x="121" y="1083"/>
                  </a:lnTo>
                  <a:lnTo>
                    <a:pt x="123" y="1083"/>
                  </a:lnTo>
                  <a:lnTo>
                    <a:pt x="121" y="1086"/>
                  </a:lnTo>
                  <a:close/>
                  <a:moveTo>
                    <a:pt x="102" y="1083"/>
                  </a:moveTo>
                  <a:lnTo>
                    <a:pt x="102" y="1086"/>
                  </a:lnTo>
                  <a:lnTo>
                    <a:pt x="102" y="1088"/>
                  </a:lnTo>
                  <a:lnTo>
                    <a:pt x="102" y="1091"/>
                  </a:lnTo>
                  <a:lnTo>
                    <a:pt x="104" y="1091"/>
                  </a:lnTo>
                  <a:lnTo>
                    <a:pt x="102" y="1091"/>
                  </a:lnTo>
                  <a:lnTo>
                    <a:pt x="102" y="1093"/>
                  </a:lnTo>
                  <a:lnTo>
                    <a:pt x="99" y="1093"/>
                  </a:lnTo>
                  <a:lnTo>
                    <a:pt x="97" y="1093"/>
                  </a:lnTo>
                  <a:lnTo>
                    <a:pt x="95" y="1093"/>
                  </a:lnTo>
                  <a:lnTo>
                    <a:pt x="92" y="1093"/>
                  </a:lnTo>
                  <a:lnTo>
                    <a:pt x="92" y="1091"/>
                  </a:lnTo>
                  <a:lnTo>
                    <a:pt x="95" y="1091"/>
                  </a:lnTo>
                  <a:lnTo>
                    <a:pt x="95" y="1088"/>
                  </a:lnTo>
                  <a:lnTo>
                    <a:pt x="95" y="1091"/>
                  </a:lnTo>
                  <a:lnTo>
                    <a:pt x="95" y="1088"/>
                  </a:lnTo>
                  <a:lnTo>
                    <a:pt x="92" y="1088"/>
                  </a:lnTo>
                  <a:lnTo>
                    <a:pt x="95" y="1088"/>
                  </a:lnTo>
                  <a:lnTo>
                    <a:pt x="92" y="1088"/>
                  </a:lnTo>
                  <a:lnTo>
                    <a:pt x="95" y="1088"/>
                  </a:lnTo>
                  <a:lnTo>
                    <a:pt x="95" y="1086"/>
                  </a:lnTo>
                  <a:lnTo>
                    <a:pt x="95" y="1088"/>
                  </a:lnTo>
                  <a:lnTo>
                    <a:pt x="95" y="1086"/>
                  </a:lnTo>
                  <a:lnTo>
                    <a:pt x="95" y="1088"/>
                  </a:lnTo>
                  <a:lnTo>
                    <a:pt x="95" y="1086"/>
                  </a:lnTo>
                  <a:lnTo>
                    <a:pt x="97" y="1086"/>
                  </a:lnTo>
                  <a:lnTo>
                    <a:pt x="95" y="1086"/>
                  </a:lnTo>
                  <a:lnTo>
                    <a:pt x="95" y="1088"/>
                  </a:lnTo>
                  <a:lnTo>
                    <a:pt x="97" y="1086"/>
                  </a:lnTo>
                  <a:lnTo>
                    <a:pt x="97" y="1088"/>
                  </a:lnTo>
                  <a:lnTo>
                    <a:pt x="95" y="1088"/>
                  </a:lnTo>
                  <a:lnTo>
                    <a:pt x="97" y="1088"/>
                  </a:lnTo>
                  <a:lnTo>
                    <a:pt x="95" y="1088"/>
                  </a:lnTo>
                  <a:lnTo>
                    <a:pt x="97" y="1088"/>
                  </a:lnTo>
                  <a:lnTo>
                    <a:pt x="99" y="1088"/>
                  </a:lnTo>
                  <a:lnTo>
                    <a:pt x="97" y="1088"/>
                  </a:lnTo>
                  <a:lnTo>
                    <a:pt x="99" y="1088"/>
                  </a:lnTo>
                  <a:lnTo>
                    <a:pt x="97" y="1088"/>
                  </a:lnTo>
                  <a:lnTo>
                    <a:pt x="99" y="1088"/>
                  </a:lnTo>
                  <a:lnTo>
                    <a:pt x="102" y="1086"/>
                  </a:lnTo>
                  <a:lnTo>
                    <a:pt x="99" y="1086"/>
                  </a:lnTo>
                  <a:lnTo>
                    <a:pt x="102" y="1086"/>
                  </a:lnTo>
                  <a:lnTo>
                    <a:pt x="99" y="1086"/>
                  </a:lnTo>
                  <a:lnTo>
                    <a:pt x="102" y="1086"/>
                  </a:lnTo>
                  <a:lnTo>
                    <a:pt x="99" y="1086"/>
                  </a:lnTo>
                  <a:lnTo>
                    <a:pt x="99" y="1083"/>
                  </a:lnTo>
                  <a:lnTo>
                    <a:pt x="99" y="1086"/>
                  </a:lnTo>
                  <a:lnTo>
                    <a:pt x="99" y="1083"/>
                  </a:lnTo>
                  <a:lnTo>
                    <a:pt x="102" y="1083"/>
                  </a:lnTo>
                  <a:close/>
                  <a:moveTo>
                    <a:pt x="106" y="1083"/>
                  </a:moveTo>
                  <a:lnTo>
                    <a:pt x="109" y="1083"/>
                  </a:lnTo>
                  <a:lnTo>
                    <a:pt x="106" y="1086"/>
                  </a:lnTo>
                  <a:lnTo>
                    <a:pt x="109" y="1086"/>
                  </a:lnTo>
                  <a:lnTo>
                    <a:pt x="109" y="1088"/>
                  </a:lnTo>
                  <a:lnTo>
                    <a:pt x="106" y="1088"/>
                  </a:lnTo>
                  <a:lnTo>
                    <a:pt x="104" y="1088"/>
                  </a:lnTo>
                  <a:lnTo>
                    <a:pt x="106" y="1088"/>
                  </a:lnTo>
                  <a:lnTo>
                    <a:pt x="106" y="1091"/>
                  </a:lnTo>
                  <a:lnTo>
                    <a:pt x="104" y="1091"/>
                  </a:lnTo>
                  <a:lnTo>
                    <a:pt x="104" y="1088"/>
                  </a:lnTo>
                  <a:lnTo>
                    <a:pt x="102" y="1088"/>
                  </a:lnTo>
                  <a:lnTo>
                    <a:pt x="104" y="1088"/>
                  </a:lnTo>
                  <a:lnTo>
                    <a:pt x="102" y="1088"/>
                  </a:lnTo>
                  <a:lnTo>
                    <a:pt x="104" y="1088"/>
                  </a:lnTo>
                  <a:lnTo>
                    <a:pt x="102" y="1088"/>
                  </a:lnTo>
                  <a:lnTo>
                    <a:pt x="104" y="1088"/>
                  </a:lnTo>
                  <a:lnTo>
                    <a:pt x="102" y="1088"/>
                  </a:lnTo>
                  <a:lnTo>
                    <a:pt x="104" y="1088"/>
                  </a:lnTo>
                  <a:lnTo>
                    <a:pt x="104" y="1086"/>
                  </a:lnTo>
                  <a:lnTo>
                    <a:pt x="106" y="1086"/>
                  </a:lnTo>
                  <a:lnTo>
                    <a:pt x="104" y="1086"/>
                  </a:lnTo>
                  <a:lnTo>
                    <a:pt x="106" y="1086"/>
                  </a:lnTo>
                  <a:lnTo>
                    <a:pt x="104" y="1086"/>
                  </a:lnTo>
                  <a:lnTo>
                    <a:pt x="104" y="1083"/>
                  </a:lnTo>
                  <a:lnTo>
                    <a:pt x="104" y="1086"/>
                  </a:lnTo>
                  <a:lnTo>
                    <a:pt x="104" y="1083"/>
                  </a:lnTo>
                  <a:lnTo>
                    <a:pt x="102" y="1083"/>
                  </a:lnTo>
                  <a:lnTo>
                    <a:pt x="104" y="1083"/>
                  </a:lnTo>
                  <a:lnTo>
                    <a:pt x="102" y="1083"/>
                  </a:lnTo>
                  <a:lnTo>
                    <a:pt x="104" y="1083"/>
                  </a:lnTo>
                  <a:lnTo>
                    <a:pt x="106" y="1083"/>
                  </a:lnTo>
                  <a:lnTo>
                    <a:pt x="104" y="1083"/>
                  </a:lnTo>
                  <a:lnTo>
                    <a:pt x="106" y="1083"/>
                  </a:lnTo>
                  <a:close/>
                  <a:moveTo>
                    <a:pt x="130" y="1081"/>
                  </a:moveTo>
                  <a:lnTo>
                    <a:pt x="130" y="1083"/>
                  </a:lnTo>
                  <a:lnTo>
                    <a:pt x="130" y="1081"/>
                  </a:lnTo>
                  <a:close/>
                  <a:moveTo>
                    <a:pt x="109" y="1081"/>
                  </a:moveTo>
                  <a:lnTo>
                    <a:pt x="106" y="1081"/>
                  </a:lnTo>
                  <a:lnTo>
                    <a:pt x="109" y="1081"/>
                  </a:lnTo>
                  <a:close/>
                  <a:moveTo>
                    <a:pt x="121" y="1079"/>
                  </a:moveTo>
                  <a:lnTo>
                    <a:pt x="123" y="1079"/>
                  </a:lnTo>
                  <a:lnTo>
                    <a:pt x="123" y="1081"/>
                  </a:lnTo>
                  <a:lnTo>
                    <a:pt x="121" y="1081"/>
                  </a:lnTo>
                  <a:lnTo>
                    <a:pt x="118" y="1081"/>
                  </a:lnTo>
                  <a:lnTo>
                    <a:pt x="118" y="1079"/>
                  </a:lnTo>
                  <a:lnTo>
                    <a:pt x="121" y="1079"/>
                  </a:lnTo>
                  <a:close/>
                  <a:moveTo>
                    <a:pt x="111" y="1083"/>
                  </a:moveTo>
                  <a:lnTo>
                    <a:pt x="111" y="1081"/>
                  </a:lnTo>
                  <a:lnTo>
                    <a:pt x="111" y="1083"/>
                  </a:lnTo>
                  <a:lnTo>
                    <a:pt x="111" y="1081"/>
                  </a:lnTo>
                  <a:lnTo>
                    <a:pt x="109" y="1083"/>
                  </a:lnTo>
                  <a:lnTo>
                    <a:pt x="109" y="1081"/>
                  </a:lnTo>
                  <a:lnTo>
                    <a:pt x="111" y="1081"/>
                  </a:lnTo>
                  <a:lnTo>
                    <a:pt x="109" y="1081"/>
                  </a:lnTo>
                  <a:lnTo>
                    <a:pt x="111" y="1081"/>
                  </a:lnTo>
                  <a:lnTo>
                    <a:pt x="109" y="1081"/>
                  </a:lnTo>
                  <a:lnTo>
                    <a:pt x="111" y="1081"/>
                  </a:lnTo>
                  <a:lnTo>
                    <a:pt x="111" y="1079"/>
                  </a:lnTo>
                  <a:lnTo>
                    <a:pt x="114" y="1079"/>
                  </a:lnTo>
                  <a:lnTo>
                    <a:pt x="111" y="1079"/>
                  </a:lnTo>
                  <a:lnTo>
                    <a:pt x="114" y="1079"/>
                  </a:lnTo>
                  <a:lnTo>
                    <a:pt x="116" y="1079"/>
                  </a:lnTo>
                  <a:lnTo>
                    <a:pt x="118" y="1079"/>
                  </a:lnTo>
                  <a:lnTo>
                    <a:pt x="118" y="1081"/>
                  </a:lnTo>
                  <a:lnTo>
                    <a:pt x="116" y="1081"/>
                  </a:lnTo>
                  <a:lnTo>
                    <a:pt x="116" y="1083"/>
                  </a:lnTo>
                  <a:lnTo>
                    <a:pt x="114" y="1083"/>
                  </a:lnTo>
                  <a:lnTo>
                    <a:pt x="111" y="1083"/>
                  </a:lnTo>
                  <a:close/>
                  <a:moveTo>
                    <a:pt x="118" y="1076"/>
                  </a:moveTo>
                  <a:lnTo>
                    <a:pt x="118" y="1079"/>
                  </a:lnTo>
                  <a:lnTo>
                    <a:pt x="121" y="1076"/>
                  </a:lnTo>
                  <a:lnTo>
                    <a:pt x="121" y="1079"/>
                  </a:lnTo>
                  <a:lnTo>
                    <a:pt x="118" y="1079"/>
                  </a:lnTo>
                  <a:lnTo>
                    <a:pt x="121" y="1079"/>
                  </a:lnTo>
                  <a:lnTo>
                    <a:pt x="118" y="1079"/>
                  </a:lnTo>
                  <a:lnTo>
                    <a:pt x="118" y="1076"/>
                  </a:lnTo>
                  <a:close/>
                  <a:moveTo>
                    <a:pt x="130" y="1076"/>
                  </a:moveTo>
                  <a:lnTo>
                    <a:pt x="128" y="1076"/>
                  </a:lnTo>
                  <a:lnTo>
                    <a:pt x="130" y="1076"/>
                  </a:lnTo>
                  <a:lnTo>
                    <a:pt x="128" y="1076"/>
                  </a:lnTo>
                  <a:lnTo>
                    <a:pt x="130" y="1076"/>
                  </a:lnTo>
                  <a:close/>
                  <a:moveTo>
                    <a:pt x="125" y="1074"/>
                  </a:moveTo>
                  <a:lnTo>
                    <a:pt x="125" y="1076"/>
                  </a:lnTo>
                  <a:lnTo>
                    <a:pt x="123" y="1076"/>
                  </a:lnTo>
                  <a:lnTo>
                    <a:pt x="125" y="1076"/>
                  </a:lnTo>
                  <a:lnTo>
                    <a:pt x="125" y="1074"/>
                  </a:lnTo>
                  <a:close/>
                  <a:moveTo>
                    <a:pt x="128" y="1076"/>
                  </a:moveTo>
                  <a:lnTo>
                    <a:pt x="128" y="1079"/>
                  </a:lnTo>
                  <a:lnTo>
                    <a:pt x="130" y="1079"/>
                  </a:lnTo>
                  <a:lnTo>
                    <a:pt x="130" y="1076"/>
                  </a:lnTo>
                  <a:lnTo>
                    <a:pt x="128" y="1076"/>
                  </a:lnTo>
                  <a:lnTo>
                    <a:pt x="130" y="1076"/>
                  </a:lnTo>
                  <a:lnTo>
                    <a:pt x="130" y="1079"/>
                  </a:lnTo>
                  <a:lnTo>
                    <a:pt x="133" y="1079"/>
                  </a:lnTo>
                  <a:lnTo>
                    <a:pt x="133" y="1081"/>
                  </a:lnTo>
                  <a:lnTo>
                    <a:pt x="130" y="1081"/>
                  </a:lnTo>
                  <a:lnTo>
                    <a:pt x="128" y="1081"/>
                  </a:lnTo>
                  <a:lnTo>
                    <a:pt x="125" y="1081"/>
                  </a:lnTo>
                  <a:lnTo>
                    <a:pt x="123" y="1081"/>
                  </a:lnTo>
                  <a:lnTo>
                    <a:pt x="123" y="1079"/>
                  </a:lnTo>
                  <a:lnTo>
                    <a:pt x="121" y="1079"/>
                  </a:lnTo>
                  <a:lnTo>
                    <a:pt x="123" y="1076"/>
                  </a:lnTo>
                  <a:lnTo>
                    <a:pt x="121" y="1076"/>
                  </a:lnTo>
                  <a:lnTo>
                    <a:pt x="123" y="1076"/>
                  </a:lnTo>
                  <a:lnTo>
                    <a:pt x="125" y="1076"/>
                  </a:lnTo>
                  <a:lnTo>
                    <a:pt x="128" y="1076"/>
                  </a:lnTo>
                  <a:lnTo>
                    <a:pt x="128" y="1074"/>
                  </a:lnTo>
                  <a:lnTo>
                    <a:pt x="128" y="1076"/>
                  </a:lnTo>
                  <a:close/>
                  <a:moveTo>
                    <a:pt x="109" y="1074"/>
                  </a:moveTo>
                  <a:lnTo>
                    <a:pt x="109" y="1076"/>
                  </a:lnTo>
                  <a:lnTo>
                    <a:pt x="109" y="1074"/>
                  </a:lnTo>
                  <a:lnTo>
                    <a:pt x="109" y="1076"/>
                  </a:lnTo>
                  <a:lnTo>
                    <a:pt x="109" y="1074"/>
                  </a:lnTo>
                  <a:close/>
                  <a:moveTo>
                    <a:pt x="114" y="1074"/>
                  </a:moveTo>
                  <a:lnTo>
                    <a:pt x="111" y="1074"/>
                  </a:lnTo>
                  <a:lnTo>
                    <a:pt x="114" y="1074"/>
                  </a:lnTo>
                  <a:close/>
                  <a:moveTo>
                    <a:pt x="116" y="1074"/>
                  </a:moveTo>
                  <a:lnTo>
                    <a:pt x="114" y="1074"/>
                  </a:lnTo>
                  <a:lnTo>
                    <a:pt x="114" y="1076"/>
                  </a:lnTo>
                  <a:lnTo>
                    <a:pt x="114" y="1074"/>
                  </a:lnTo>
                  <a:lnTo>
                    <a:pt x="116" y="1074"/>
                  </a:lnTo>
                  <a:close/>
                  <a:moveTo>
                    <a:pt x="121" y="1074"/>
                  </a:moveTo>
                  <a:lnTo>
                    <a:pt x="118" y="1074"/>
                  </a:lnTo>
                  <a:lnTo>
                    <a:pt x="116" y="1076"/>
                  </a:lnTo>
                  <a:lnTo>
                    <a:pt x="116" y="1074"/>
                  </a:lnTo>
                  <a:lnTo>
                    <a:pt x="118" y="1074"/>
                  </a:lnTo>
                  <a:lnTo>
                    <a:pt x="121" y="1072"/>
                  </a:lnTo>
                  <a:lnTo>
                    <a:pt x="121" y="1074"/>
                  </a:lnTo>
                  <a:close/>
                  <a:moveTo>
                    <a:pt x="118" y="1074"/>
                  </a:moveTo>
                  <a:lnTo>
                    <a:pt x="118" y="1072"/>
                  </a:lnTo>
                  <a:lnTo>
                    <a:pt x="118" y="1074"/>
                  </a:lnTo>
                  <a:close/>
                  <a:moveTo>
                    <a:pt x="106" y="1074"/>
                  </a:moveTo>
                  <a:lnTo>
                    <a:pt x="109" y="1074"/>
                  </a:lnTo>
                  <a:lnTo>
                    <a:pt x="106" y="1074"/>
                  </a:lnTo>
                  <a:lnTo>
                    <a:pt x="106" y="1072"/>
                  </a:lnTo>
                  <a:lnTo>
                    <a:pt x="109" y="1072"/>
                  </a:lnTo>
                  <a:lnTo>
                    <a:pt x="109" y="1074"/>
                  </a:lnTo>
                  <a:lnTo>
                    <a:pt x="106" y="1074"/>
                  </a:lnTo>
                  <a:lnTo>
                    <a:pt x="106" y="1072"/>
                  </a:lnTo>
                  <a:lnTo>
                    <a:pt x="106" y="1074"/>
                  </a:lnTo>
                  <a:close/>
                  <a:moveTo>
                    <a:pt x="106" y="1072"/>
                  </a:moveTo>
                  <a:lnTo>
                    <a:pt x="106" y="1074"/>
                  </a:lnTo>
                  <a:lnTo>
                    <a:pt x="106" y="1072"/>
                  </a:lnTo>
                  <a:lnTo>
                    <a:pt x="106" y="1074"/>
                  </a:lnTo>
                  <a:lnTo>
                    <a:pt x="106" y="1072"/>
                  </a:lnTo>
                  <a:lnTo>
                    <a:pt x="106" y="1074"/>
                  </a:lnTo>
                  <a:lnTo>
                    <a:pt x="104" y="1074"/>
                  </a:lnTo>
                  <a:lnTo>
                    <a:pt x="106" y="1072"/>
                  </a:lnTo>
                  <a:close/>
                  <a:moveTo>
                    <a:pt x="109" y="1072"/>
                  </a:moveTo>
                  <a:lnTo>
                    <a:pt x="111" y="1072"/>
                  </a:lnTo>
                  <a:lnTo>
                    <a:pt x="109" y="1072"/>
                  </a:lnTo>
                  <a:lnTo>
                    <a:pt x="111" y="1072"/>
                  </a:lnTo>
                  <a:lnTo>
                    <a:pt x="109" y="1072"/>
                  </a:lnTo>
                  <a:close/>
                  <a:moveTo>
                    <a:pt x="128" y="1072"/>
                  </a:moveTo>
                  <a:lnTo>
                    <a:pt x="128" y="1074"/>
                  </a:lnTo>
                  <a:lnTo>
                    <a:pt x="125" y="1074"/>
                  </a:lnTo>
                  <a:lnTo>
                    <a:pt x="125" y="1072"/>
                  </a:lnTo>
                  <a:lnTo>
                    <a:pt x="125" y="1074"/>
                  </a:lnTo>
                  <a:lnTo>
                    <a:pt x="125" y="1072"/>
                  </a:lnTo>
                  <a:lnTo>
                    <a:pt x="125" y="1074"/>
                  </a:lnTo>
                  <a:lnTo>
                    <a:pt x="125" y="1072"/>
                  </a:lnTo>
                  <a:lnTo>
                    <a:pt x="125" y="1074"/>
                  </a:lnTo>
                  <a:lnTo>
                    <a:pt x="125" y="1072"/>
                  </a:lnTo>
                  <a:lnTo>
                    <a:pt x="128" y="1072"/>
                  </a:lnTo>
                  <a:close/>
                  <a:moveTo>
                    <a:pt x="121" y="1072"/>
                  </a:moveTo>
                  <a:lnTo>
                    <a:pt x="118" y="1072"/>
                  </a:lnTo>
                  <a:lnTo>
                    <a:pt x="121" y="1072"/>
                  </a:lnTo>
                  <a:close/>
                  <a:moveTo>
                    <a:pt x="104" y="1072"/>
                  </a:moveTo>
                  <a:lnTo>
                    <a:pt x="106" y="1072"/>
                  </a:lnTo>
                  <a:lnTo>
                    <a:pt x="104" y="1072"/>
                  </a:lnTo>
                  <a:close/>
                  <a:moveTo>
                    <a:pt x="133" y="1069"/>
                  </a:moveTo>
                  <a:lnTo>
                    <a:pt x="135" y="1069"/>
                  </a:lnTo>
                  <a:lnTo>
                    <a:pt x="135" y="1072"/>
                  </a:lnTo>
                  <a:lnTo>
                    <a:pt x="133" y="1074"/>
                  </a:lnTo>
                  <a:lnTo>
                    <a:pt x="130" y="1074"/>
                  </a:lnTo>
                  <a:lnTo>
                    <a:pt x="133" y="1074"/>
                  </a:lnTo>
                  <a:lnTo>
                    <a:pt x="130" y="1074"/>
                  </a:lnTo>
                  <a:lnTo>
                    <a:pt x="133" y="1072"/>
                  </a:lnTo>
                  <a:lnTo>
                    <a:pt x="130" y="1072"/>
                  </a:lnTo>
                  <a:lnTo>
                    <a:pt x="133" y="1072"/>
                  </a:lnTo>
                  <a:lnTo>
                    <a:pt x="130" y="1072"/>
                  </a:lnTo>
                  <a:lnTo>
                    <a:pt x="130" y="1074"/>
                  </a:lnTo>
                  <a:lnTo>
                    <a:pt x="130" y="1072"/>
                  </a:lnTo>
                  <a:lnTo>
                    <a:pt x="128" y="1072"/>
                  </a:lnTo>
                  <a:lnTo>
                    <a:pt x="130" y="1072"/>
                  </a:lnTo>
                  <a:lnTo>
                    <a:pt x="128" y="1072"/>
                  </a:lnTo>
                  <a:lnTo>
                    <a:pt x="130" y="1072"/>
                  </a:lnTo>
                  <a:lnTo>
                    <a:pt x="130" y="1069"/>
                  </a:lnTo>
                  <a:lnTo>
                    <a:pt x="133" y="1069"/>
                  </a:lnTo>
                  <a:close/>
                  <a:moveTo>
                    <a:pt x="128" y="1067"/>
                  </a:moveTo>
                  <a:lnTo>
                    <a:pt x="128" y="1069"/>
                  </a:lnTo>
                  <a:lnTo>
                    <a:pt x="128" y="1067"/>
                  </a:lnTo>
                  <a:close/>
                  <a:moveTo>
                    <a:pt x="154" y="1067"/>
                  </a:moveTo>
                  <a:lnTo>
                    <a:pt x="152" y="1067"/>
                  </a:lnTo>
                  <a:lnTo>
                    <a:pt x="154" y="1064"/>
                  </a:lnTo>
                  <a:lnTo>
                    <a:pt x="154" y="1067"/>
                  </a:lnTo>
                  <a:close/>
                  <a:moveTo>
                    <a:pt x="144" y="1067"/>
                  </a:moveTo>
                  <a:lnTo>
                    <a:pt x="144" y="1064"/>
                  </a:lnTo>
                  <a:lnTo>
                    <a:pt x="144" y="1067"/>
                  </a:lnTo>
                  <a:close/>
                  <a:moveTo>
                    <a:pt x="144" y="1064"/>
                  </a:moveTo>
                  <a:lnTo>
                    <a:pt x="144" y="1067"/>
                  </a:lnTo>
                  <a:lnTo>
                    <a:pt x="142" y="1067"/>
                  </a:lnTo>
                  <a:lnTo>
                    <a:pt x="144" y="1067"/>
                  </a:lnTo>
                  <a:lnTo>
                    <a:pt x="142" y="1067"/>
                  </a:lnTo>
                  <a:lnTo>
                    <a:pt x="144" y="1067"/>
                  </a:lnTo>
                  <a:lnTo>
                    <a:pt x="142" y="1067"/>
                  </a:lnTo>
                  <a:lnTo>
                    <a:pt x="144" y="1067"/>
                  </a:lnTo>
                  <a:lnTo>
                    <a:pt x="142" y="1067"/>
                  </a:lnTo>
                  <a:lnTo>
                    <a:pt x="144" y="1064"/>
                  </a:lnTo>
                  <a:close/>
                  <a:moveTo>
                    <a:pt x="109" y="1064"/>
                  </a:moveTo>
                  <a:lnTo>
                    <a:pt x="109" y="1067"/>
                  </a:lnTo>
                  <a:lnTo>
                    <a:pt x="109" y="1064"/>
                  </a:lnTo>
                  <a:close/>
                  <a:moveTo>
                    <a:pt x="152" y="1067"/>
                  </a:moveTo>
                  <a:lnTo>
                    <a:pt x="149" y="1067"/>
                  </a:lnTo>
                  <a:lnTo>
                    <a:pt x="152" y="1067"/>
                  </a:lnTo>
                  <a:lnTo>
                    <a:pt x="152" y="1064"/>
                  </a:lnTo>
                  <a:lnTo>
                    <a:pt x="152" y="1067"/>
                  </a:lnTo>
                  <a:close/>
                  <a:moveTo>
                    <a:pt x="147" y="1064"/>
                  </a:moveTo>
                  <a:lnTo>
                    <a:pt x="147" y="1067"/>
                  </a:lnTo>
                  <a:lnTo>
                    <a:pt x="147" y="1064"/>
                  </a:lnTo>
                  <a:close/>
                  <a:moveTo>
                    <a:pt x="149" y="1064"/>
                  </a:moveTo>
                  <a:lnTo>
                    <a:pt x="152" y="1064"/>
                  </a:lnTo>
                  <a:lnTo>
                    <a:pt x="149" y="1064"/>
                  </a:lnTo>
                  <a:lnTo>
                    <a:pt x="152" y="1064"/>
                  </a:lnTo>
                  <a:lnTo>
                    <a:pt x="149" y="1064"/>
                  </a:lnTo>
                  <a:close/>
                  <a:moveTo>
                    <a:pt x="123" y="1064"/>
                  </a:moveTo>
                  <a:lnTo>
                    <a:pt x="121" y="1064"/>
                  </a:lnTo>
                  <a:lnTo>
                    <a:pt x="123" y="1064"/>
                  </a:lnTo>
                  <a:lnTo>
                    <a:pt x="121" y="1064"/>
                  </a:lnTo>
                  <a:lnTo>
                    <a:pt x="123" y="1064"/>
                  </a:lnTo>
                  <a:close/>
                  <a:moveTo>
                    <a:pt x="114" y="1064"/>
                  </a:moveTo>
                  <a:lnTo>
                    <a:pt x="111" y="1064"/>
                  </a:lnTo>
                  <a:lnTo>
                    <a:pt x="114" y="1064"/>
                  </a:lnTo>
                  <a:lnTo>
                    <a:pt x="111" y="1064"/>
                  </a:lnTo>
                  <a:lnTo>
                    <a:pt x="114" y="1064"/>
                  </a:lnTo>
                  <a:close/>
                  <a:moveTo>
                    <a:pt x="152" y="1062"/>
                  </a:moveTo>
                  <a:lnTo>
                    <a:pt x="152" y="1064"/>
                  </a:lnTo>
                  <a:lnTo>
                    <a:pt x="149" y="1064"/>
                  </a:lnTo>
                  <a:lnTo>
                    <a:pt x="149" y="1062"/>
                  </a:lnTo>
                  <a:lnTo>
                    <a:pt x="152" y="1062"/>
                  </a:lnTo>
                  <a:close/>
                  <a:moveTo>
                    <a:pt x="123" y="1062"/>
                  </a:moveTo>
                  <a:lnTo>
                    <a:pt x="121" y="1062"/>
                  </a:lnTo>
                  <a:lnTo>
                    <a:pt x="123" y="1062"/>
                  </a:lnTo>
                  <a:lnTo>
                    <a:pt x="121" y="1062"/>
                  </a:lnTo>
                  <a:lnTo>
                    <a:pt x="123" y="1062"/>
                  </a:lnTo>
                  <a:close/>
                  <a:moveTo>
                    <a:pt x="123" y="1062"/>
                  </a:moveTo>
                  <a:lnTo>
                    <a:pt x="121" y="1064"/>
                  </a:lnTo>
                  <a:lnTo>
                    <a:pt x="121" y="1062"/>
                  </a:lnTo>
                  <a:lnTo>
                    <a:pt x="121" y="1064"/>
                  </a:lnTo>
                  <a:lnTo>
                    <a:pt x="121" y="1062"/>
                  </a:lnTo>
                  <a:lnTo>
                    <a:pt x="123" y="1062"/>
                  </a:lnTo>
                  <a:close/>
                  <a:moveTo>
                    <a:pt x="125" y="1062"/>
                  </a:moveTo>
                  <a:lnTo>
                    <a:pt x="125" y="1060"/>
                  </a:lnTo>
                  <a:lnTo>
                    <a:pt x="125" y="1062"/>
                  </a:lnTo>
                  <a:lnTo>
                    <a:pt x="123" y="1062"/>
                  </a:lnTo>
                  <a:lnTo>
                    <a:pt x="125" y="1062"/>
                  </a:lnTo>
                  <a:lnTo>
                    <a:pt x="123" y="1062"/>
                  </a:lnTo>
                  <a:lnTo>
                    <a:pt x="125" y="1062"/>
                  </a:lnTo>
                  <a:lnTo>
                    <a:pt x="125" y="1060"/>
                  </a:lnTo>
                  <a:lnTo>
                    <a:pt x="125" y="1062"/>
                  </a:lnTo>
                  <a:close/>
                  <a:moveTo>
                    <a:pt x="161" y="1060"/>
                  </a:moveTo>
                  <a:lnTo>
                    <a:pt x="159" y="1062"/>
                  </a:lnTo>
                  <a:lnTo>
                    <a:pt x="159" y="1060"/>
                  </a:lnTo>
                  <a:lnTo>
                    <a:pt x="161" y="1060"/>
                  </a:lnTo>
                  <a:lnTo>
                    <a:pt x="159" y="1060"/>
                  </a:lnTo>
                  <a:lnTo>
                    <a:pt x="161" y="1060"/>
                  </a:lnTo>
                  <a:close/>
                  <a:moveTo>
                    <a:pt x="154" y="1060"/>
                  </a:moveTo>
                  <a:lnTo>
                    <a:pt x="152" y="1060"/>
                  </a:lnTo>
                  <a:lnTo>
                    <a:pt x="154" y="1060"/>
                  </a:lnTo>
                  <a:close/>
                  <a:moveTo>
                    <a:pt x="125" y="1060"/>
                  </a:moveTo>
                  <a:lnTo>
                    <a:pt x="123" y="1060"/>
                  </a:lnTo>
                  <a:lnTo>
                    <a:pt x="125" y="1060"/>
                  </a:lnTo>
                  <a:close/>
                  <a:moveTo>
                    <a:pt x="152" y="1060"/>
                  </a:moveTo>
                  <a:lnTo>
                    <a:pt x="154" y="1060"/>
                  </a:lnTo>
                  <a:lnTo>
                    <a:pt x="152" y="1060"/>
                  </a:lnTo>
                  <a:close/>
                  <a:moveTo>
                    <a:pt x="199" y="1060"/>
                  </a:moveTo>
                  <a:lnTo>
                    <a:pt x="199" y="1057"/>
                  </a:lnTo>
                  <a:lnTo>
                    <a:pt x="199" y="1060"/>
                  </a:lnTo>
                  <a:close/>
                  <a:moveTo>
                    <a:pt x="128" y="1060"/>
                  </a:moveTo>
                  <a:lnTo>
                    <a:pt x="130" y="1060"/>
                  </a:lnTo>
                  <a:lnTo>
                    <a:pt x="128" y="1060"/>
                  </a:lnTo>
                  <a:lnTo>
                    <a:pt x="128" y="1057"/>
                  </a:lnTo>
                  <a:lnTo>
                    <a:pt x="128" y="1060"/>
                  </a:lnTo>
                  <a:close/>
                  <a:moveTo>
                    <a:pt x="130" y="1057"/>
                  </a:moveTo>
                  <a:lnTo>
                    <a:pt x="133" y="1057"/>
                  </a:lnTo>
                  <a:lnTo>
                    <a:pt x="133" y="1060"/>
                  </a:lnTo>
                  <a:lnTo>
                    <a:pt x="130" y="1060"/>
                  </a:lnTo>
                  <a:lnTo>
                    <a:pt x="130" y="1057"/>
                  </a:lnTo>
                  <a:close/>
                  <a:moveTo>
                    <a:pt x="130" y="1060"/>
                  </a:moveTo>
                  <a:lnTo>
                    <a:pt x="130" y="1057"/>
                  </a:lnTo>
                  <a:lnTo>
                    <a:pt x="128" y="1057"/>
                  </a:lnTo>
                  <a:lnTo>
                    <a:pt x="130" y="1057"/>
                  </a:lnTo>
                  <a:lnTo>
                    <a:pt x="130" y="1060"/>
                  </a:lnTo>
                  <a:close/>
                  <a:moveTo>
                    <a:pt x="128" y="1060"/>
                  </a:moveTo>
                  <a:lnTo>
                    <a:pt x="128" y="1057"/>
                  </a:lnTo>
                  <a:lnTo>
                    <a:pt x="128" y="1060"/>
                  </a:lnTo>
                  <a:close/>
                  <a:moveTo>
                    <a:pt x="159" y="1057"/>
                  </a:moveTo>
                  <a:lnTo>
                    <a:pt x="159" y="1060"/>
                  </a:lnTo>
                  <a:lnTo>
                    <a:pt x="156" y="1060"/>
                  </a:lnTo>
                  <a:lnTo>
                    <a:pt x="156" y="1057"/>
                  </a:lnTo>
                  <a:lnTo>
                    <a:pt x="156" y="1060"/>
                  </a:lnTo>
                  <a:lnTo>
                    <a:pt x="156" y="1057"/>
                  </a:lnTo>
                  <a:lnTo>
                    <a:pt x="159" y="1057"/>
                  </a:lnTo>
                  <a:close/>
                  <a:moveTo>
                    <a:pt x="152" y="1060"/>
                  </a:moveTo>
                  <a:lnTo>
                    <a:pt x="152" y="1057"/>
                  </a:lnTo>
                  <a:lnTo>
                    <a:pt x="152" y="1060"/>
                  </a:lnTo>
                  <a:close/>
                  <a:moveTo>
                    <a:pt x="125" y="1057"/>
                  </a:moveTo>
                  <a:lnTo>
                    <a:pt x="128" y="1057"/>
                  </a:lnTo>
                  <a:lnTo>
                    <a:pt x="128" y="1060"/>
                  </a:lnTo>
                  <a:lnTo>
                    <a:pt x="125" y="1060"/>
                  </a:lnTo>
                  <a:lnTo>
                    <a:pt x="128" y="1060"/>
                  </a:lnTo>
                  <a:lnTo>
                    <a:pt x="128" y="1057"/>
                  </a:lnTo>
                  <a:lnTo>
                    <a:pt x="128" y="1060"/>
                  </a:lnTo>
                  <a:lnTo>
                    <a:pt x="125" y="1060"/>
                  </a:lnTo>
                  <a:lnTo>
                    <a:pt x="125" y="1057"/>
                  </a:lnTo>
                  <a:close/>
                  <a:moveTo>
                    <a:pt x="130" y="1057"/>
                  </a:moveTo>
                  <a:lnTo>
                    <a:pt x="128" y="1057"/>
                  </a:lnTo>
                  <a:lnTo>
                    <a:pt x="130" y="1057"/>
                  </a:lnTo>
                  <a:close/>
                  <a:moveTo>
                    <a:pt x="128" y="1057"/>
                  </a:moveTo>
                  <a:lnTo>
                    <a:pt x="125" y="1057"/>
                  </a:lnTo>
                  <a:lnTo>
                    <a:pt x="128" y="1057"/>
                  </a:lnTo>
                  <a:close/>
                  <a:moveTo>
                    <a:pt x="159" y="1057"/>
                  </a:moveTo>
                  <a:lnTo>
                    <a:pt x="159" y="1060"/>
                  </a:lnTo>
                  <a:lnTo>
                    <a:pt x="159" y="1057"/>
                  </a:lnTo>
                  <a:close/>
                  <a:moveTo>
                    <a:pt x="133" y="1057"/>
                  </a:moveTo>
                  <a:lnTo>
                    <a:pt x="130" y="1057"/>
                  </a:lnTo>
                  <a:lnTo>
                    <a:pt x="133" y="1057"/>
                  </a:lnTo>
                  <a:lnTo>
                    <a:pt x="130" y="1057"/>
                  </a:lnTo>
                  <a:lnTo>
                    <a:pt x="133" y="1057"/>
                  </a:lnTo>
                  <a:close/>
                  <a:moveTo>
                    <a:pt x="133" y="1057"/>
                  </a:moveTo>
                  <a:lnTo>
                    <a:pt x="130" y="1057"/>
                  </a:lnTo>
                  <a:lnTo>
                    <a:pt x="133" y="1057"/>
                  </a:lnTo>
                  <a:close/>
                  <a:moveTo>
                    <a:pt x="135" y="1055"/>
                  </a:moveTo>
                  <a:lnTo>
                    <a:pt x="135" y="1057"/>
                  </a:lnTo>
                  <a:lnTo>
                    <a:pt x="133" y="1057"/>
                  </a:lnTo>
                  <a:lnTo>
                    <a:pt x="133" y="1055"/>
                  </a:lnTo>
                  <a:lnTo>
                    <a:pt x="135" y="1055"/>
                  </a:lnTo>
                  <a:close/>
                  <a:moveTo>
                    <a:pt x="163" y="1055"/>
                  </a:moveTo>
                  <a:lnTo>
                    <a:pt x="161" y="1055"/>
                  </a:lnTo>
                  <a:lnTo>
                    <a:pt x="163" y="1055"/>
                  </a:lnTo>
                  <a:close/>
                  <a:moveTo>
                    <a:pt x="133" y="1055"/>
                  </a:moveTo>
                  <a:lnTo>
                    <a:pt x="135" y="1055"/>
                  </a:lnTo>
                  <a:lnTo>
                    <a:pt x="133" y="1055"/>
                  </a:lnTo>
                  <a:close/>
                  <a:moveTo>
                    <a:pt x="149" y="1055"/>
                  </a:moveTo>
                  <a:lnTo>
                    <a:pt x="152" y="1055"/>
                  </a:lnTo>
                  <a:lnTo>
                    <a:pt x="149" y="1055"/>
                  </a:lnTo>
                  <a:lnTo>
                    <a:pt x="149" y="1057"/>
                  </a:lnTo>
                  <a:lnTo>
                    <a:pt x="149" y="1055"/>
                  </a:lnTo>
                  <a:lnTo>
                    <a:pt x="149" y="1057"/>
                  </a:lnTo>
                  <a:lnTo>
                    <a:pt x="147" y="1057"/>
                  </a:lnTo>
                  <a:lnTo>
                    <a:pt x="147" y="1055"/>
                  </a:lnTo>
                  <a:lnTo>
                    <a:pt x="149" y="1055"/>
                  </a:lnTo>
                  <a:close/>
                  <a:moveTo>
                    <a:pt x="128" y="1055"/>
                  </a:moveTo>
                  <a:lnTo>
                    <a:pt x="125" y="1055"/>
                  </a:lnTo>
                  <a:lnTo>
                    <a:pt x="128" y="1055"/>
                  </a:lnTo>
                  <a:close/>
                  <a:moveTo>
                    <a:pt x="125" y="1053"/>
                  </a:moveTo>
                  <a:lnTo>
                    <a:pt x="125" y="1055"/>
                  </a:lnTo>
                  <a:lnTo>
                    <a:pt x="125" y="1053"/>
                  </a:lnTo>
                  <a:lnTo>
                    <a:pt x="125" y="1055"/>
                  </a:lnTo>
                  <a:lnTo>
                    <a:pt x="125" y="1053"/>
                  </a:lnTo>
                  <a:close/>
                  <a:moveTo>
                    <a:pt x="152" y="1053"/>
                  </a:moveTo>
                  <a:lnTo>
                    <a:pt x="152" y="1055"/>
                  </a:lnTo>
                  <a:lnTo>
                    <a:pt x="149" y="1055"/>
                  </a:lnTo>
                  <a:lnTo>
                    <a:pt x="149" y="1053"/>
                  </a:lnTo>
                  <a:lnTo>
                    <a:pt x="152" y="1053"/>
                  </a:lnTo>
                  <a:close/>
                  <a:moveTo>
                    <a:pt x="149" y="1055"/>
                  </a:moveTo>
                  <a:lnTo>
                    <a:pt x="147" y="1055"/>
                  </a:lnTo>
                  <a:lnTo>
                    <a:pt x="147" y="1053"/>
                  </a:lnTo>
                  <a:lnTo>
                    <a:pt x="149" y="1053"/>
                  </a:lnTo>
                  <a:lnTo>
                    <a:pt x="149" y="1055"/>
                  </a:lnTo>
                  <a:close/>
                  <a:moveTo>
                    <a:pt x="161" y="1053"/>
                  </a:moveTo>
                  <a:lnTo>
                    <a:pt x="161" y="1055"/>
                  </a:lnTo>
                  <a:lnTo>
                    <a:pt x="159" y="1055"/>
                  </a:lnTo>
                  <a:lnTo>
                    <a:pt x="161" y="1055"/>
                  </a:lnTo>
                  <a:lnTo>
                    <a:pt x="159" y="1055"/>
                  </a:lnTo>
                  <a:lnTo>
                    <a:pt x="159" y="1053"/>
                  </a:lnTo>
                  <a:lnTo>
                    <a:pt x="161" y="1053"/>
                  </a:lnTo>
                  <a:close/>
                  <a:moveTo>
                    <a:pt x="180" y="1050"/>
                  </a:moveTo>
                  <a:lnTo>
                    <a:pt x="178" y="1050"/>
                  </a:lnTo>
                  <a:lnTo>
                    <a:pt x="180" y="1050"/>
                  </a:lnTo>
                  <a:close/>
                  <a:moveTo>
                    <a:pt x="142" y="1050"/>
                  </a:moveTo>
                  <a:lnTo>
                    <a:pt x="144" y="1050"/>
                  </a:lnTo>
                  <a:lnTo>
                    <a:pt x="142" y="1050"/>
                  </a:lnTo>
                  <a:close/>
                  <a:moveTo>
                    <a:pt x="168" y="1050"/>
                  </a:moveTo>
                  <a:lnTo>
                    <a:pt x="168" y="1048"/>
                  </a:lnTo>
                  <a:lnTo>
                    <a:pt x="168" y="1050"/>
                  </a:lnTo>
                  <a:close/>
                  <a:moveTo>
                    <a:pt x="125" y="1048"/>
                  </a:moveTo>
                  <a:lnTo>
                    <a:pt x="125" y="1050"/>
                  </a:lnTo>
                  <a:lnTo>
                    <a:pt x="125" y="1048"/>
                  </a:lnTo>
                  <a:close/>
                  <a:moveTo>
                    <a:pt x="133" y="1050"/>
                  </a:moveTo>
                  <a:lnTo>
                    <a:pt x="133" y="1048"/>
                  </a:lnTo>
                  <a:lnTo>
                    <a:pt x="133" y="1050"/>
                  </a:lnTo>
                  <a:close/>
                  <a:moveTo>
                    <a:pt x="133" y="1048"/>
                  </a:moveTo>
                  <a:lnTo>
                    <a:pt x="133" y="1050"/>
                  </a:lnTo>
                  <a:lnTo>
                    <a:pt x="133" y="1048"/>
                  </a:lnTo>
                  <a:close/>
                  <a:moveTo>
                    <a:pt x="135" y="1048"/>
                  </a:moveTo>
                  <a:lnTo>
                    <a:pt x="135" y="1050"/>
                  </a:lnTo>
                  <a:lnTo>
                    <a:pt x="133" y="1050"/>
                  </a:lnTo>
                  <a:lnTo>
                    <a:pt x="133" y="1048"/>
                  </a:lnTo>
                  <a:lnTo>
                    <a:pt x="135" y="1048"/>
                  </a:lnTo>
                  <a:close/>
                  <a:moveTo>
                    <a:pt x="142" y="1048"/>
                  </a:moveTo>
                  <a:lnTo>
                    <a:pt x="140" y="1048"/>
                  </a:lnTo>
                  <a:lnTo>
                    <a:pt x="142" y="1048"/>
                  </a:lnTo>
                  <a:lnTo>
                    <a:pt x="140" y="1048"/>
                  </a:lnTo>
                  <a:lnTo>
                    <a:pt x="142" y="1048"/>
                  </a:lnTo>
                  <a:lnTo>
                    <a:pt x="140" y="1048"/>
                  </a:lnTo>
                  <a:lnTo>
                    <a:pt x="142" y="1048"/>
                  </a:lnTo>
                  <a:close/>
                  <a:moveTo>
                    <a:pt x="135" y="1048"/>
                  </a:moveTo>
                  <a:lnTo>
                    <a:pt x="133" y="1048"/>
                  </a:lnTo>
                  <a:lnTo>
                    <a:pt x="135" y="1048"/>
                  </a:lnTo>
                  <a:close/>
                  <a:moveTo>
                    <a:pt x="128" y="1045"/>
                  </a:moveTo>
                  <a:lnTo>
                    <a:pt x="128" y="1048"/>
                  </a:lnTo>
                  <a:lnTo>
                    <a:pt x="125" y="1048"/>
                  </a:lnTo>
                  <a:lnTo>
                    <a:pt x="125" y="1045"/>
                  </a:lnTo>
                  <a:lnTo>
                    <a:pt x="128" y="1045"/>
                  </a:lnTo>
                  <a:lnTo>
                    <a:pt x="125" y="1045"/>
                  </a:lnTo>
                  <a:lnTo>
                    <a:pt x="128" y="1045"/>
                  </a:lnTo>
                  <a:close/>
                  <a:moveTo>
                    <a:pt x="130" y="1045"/>
                  </a:moveTo>
                  <a:lnTo>
                    <a:pt x="130" y="1048"/>
                  </a:lnTo>
                  <a:lnTo>
                    <a:pt x="130" y="1045"/>
                  </a:lnTo>
                  <a:lnTo>
                    <a:pt x="130" y="1048"/>
                  </a:lnTo>
                  <a:lnTo>
                    <a:pt x="130" y="1045"/>
                  </a:lnTo>
                  <a:close/>
                  <a:moveTo>
                    <a:pt x="140" y="1045"/>
                  </a:moveTo>
                  <a:lnTo>
                    <a:pt x="140" y="1048"/>
                  </a:lnTo>
                  <a:lnTo>
                    <a:pt x="140" y="1045"/>
                  </a:lnTo>
                  <a:lnTo>
                    <a:pt x="140" y="1048"/>
                  </a:lnTo>
                  <a:lnTo>
                    <a:pt x="140" y="1045"/>
                  </a:lnTo>
                  <a:lnTo>
                    <a:pt x="140" y="1048"/>
                  </a:lnTo>
                  <a:lnTo>
                    <a:pt x="140" y="1045"/>
                  </a:lnTo>
                  <a:lnTo>
                    <a:pt x="140" y="1048"/>
                  </a:lnTo>
                  <a:lnTo>
                    <a:pt x="140" y="1050"/>
                  </a:lnTo>
                  <a:lnTo>
                    <a:pt x="140" y="1053"/>
                  </a:lnTo>
                  <a:lnTo>
                    <a:pt x="137" y="1053"/>
                  </a:lnTo>
                  <a:lnTo>
                    <a:pt x="135" y="1053"/>
                  </a:lnTo>
                  <a:lnTo>
                    <a:pt x="133" y="1053"/>
                  </a:lnTo>
                  <a:lnTo>
                    <a:pt x="133" y="1055"/>
                  </a:lnTo>
                  <a:lnTo>
                    <a:pt x="130" y="1055"/>
                  </a:lnTo>
                  <a:lnTo>
                    <a:pt x="133" y="1055"/>
                  </a:lnTo>
                  <a:lnTo>
                    <a:pt x="133" y="1053"/>
                  </a:lnTo>
                  <a:lnTo>
                    <a:pt x="130" y="1055"/>
                  </a:lnTo>
                  <a:lnTo>
                    <a:pt x="130" y="1053"/>
                  </a:lnTo>
                  <a:lnTo>
                    <a:pt x="130" y="1055"/>
                  </a:lnTo>
                  <a:lnTo>
                    <a:pt x="128" y="1055"/>
                  </a:lnTo>
                  <a:lnTo>
                    <a:pt x="128" y="1053"/>
                  </a:lnTo>
                  <a:lnTo>
                    <a:pt x="130" y="1053"/>
                  </a:lnTo>
                  <a:lnTo>
                    <a:pt x="133" y="1053"/>
                  </a:lnTo>
                  <a:lnTo>
                    <a:pt x="130" y="1053"/>
                  </a:lnTo>
                  <a:lnTo>
                    <a:pt x="128" y="1053"/>
                  </a:lnTo>
                  <a:lnTo>
                    <a:pt x="125" y="1053"/>
                  </a:lnTo>
                  <a:lnTo>
                    <a:pt x="128" y="1053"/>
                  </a:lnTo>
                  <a:lnTo>
                    <a:pt x="125" y="1055"/>
                  </a:lnTo>
                  <a:lnTo>
                    <a:pt x="125" y="1053"/>
                  </a:lnTo>
                  <a:lnTo>
                    <a:pt x="125" y="1055"/>
                  </a:lnTo>
                  <a:lnTo>
                    <a:pt x="123" y="1055"/>
                  </a:lnTo>
                  <a:lnTo>
                    <a:pt x="123" y="1053"/>
                  </a:lnTo>
                  <a:lnTo>
                    <a:pt x="123" y="1055"/>
                  </a:lnTo>
                  <a:lnTo>
                    <a:pt x="123" y="1053"/>
                  </a:lnTo>
                  <a:lnTo>
                    <a:pt x="121" y="1055"/>
                  </a:lnTo>
                  <a:lnTo>
                    <a:pt x="121" y="1053"/>
                  </a:lnTo>
                  <a:lnTo>
                    <a:pt x="123" y="1053"/>
                  </a:lnTo>
                  <a:lnTo>
                    <a:pt x="121" y="1053"/>
                  </a:lnTo>
                  <a:lnTo>
                    <a:pt x="123" y="1053"/>
                  </a:lnTo>
                  <a:lnTo>
                    <a:pt x="125" y="1053"/>
                  </a:lnTo>
                  <a:lnTo>
                    <a:pt x="128" y="1053"/>
                  </a:lnTo>
                  <a:lnTo>
                    <a:pt x="130" y="1053"/>
                  </a:lnTo>
                  <a:lnTo>
                    <a:pt x="130" y="1050"/>
                  </a:lnTo>
                  <a:lnTo>
                    <a:pt x="130" y="1053"/>
                  </a:lnTo>
                  <a:lnTo>
                    <a:pt x="130" y="1050"/>
                  </a:lnTo>
                  <a:lnTo>
                    <a:pt x="130" y="1053"/>
                  </a:lnTo>
                  <a:lnTo>
                    <a:pt x="133" y="1053"/>
                  </a:lnTo>
                  <a:lnTo>
                    <a:pt x="133" y="1050"/>
                  </a:lnTo>
                  <a:lnTo>
                    <a:pt x="130" y="1050"/>
                  </a:lnTo>
                  <a:lnTo>
                    <a:pt x="133" y="1050"/>
                  </a:lnTo>
                  <a:lnTo>
                    <a:pt x="135" y="1050"/>
                  </a:lnTo>
                  <a:lnTo>
                    <a:pt x="133" y="1050"/>
                  </a:lnTo>
                  <a:lnTo>
                    <a:pt x="135" y="1050"/>
                  </a:lnTo>
                  <a:lnTo>
                    <a:pt x="135" y="1048"/>
                  </a:lnTo>
                  <a:lnTo>
                    <a:pt x="137" y="1048"/>
                  </a:lnTo>
                  <a:lnTo>
                    <a:pt x="140" y="1048"/>
                  </a:lnTo>
                  <a:lnTo>
                    <a:pt x="137" y="1048"/>
                  </a:lnTo>
                  <a:lnTo>
                    <a:pt x="135" y="1048"/>
                  </a:lnTo>
                  <a:lnTo>
                    <a:pt x="137" y="1048"/>
                  </a:lnTo>
                  <a:lnTo>
                    <a:pt x="135" y="1048"/>
                  </a:lnTo>
                  <a:lnTo>
                    <a:pt x="137" y="1048"/>
                  </a:lnTo>
                  <a:lnTo>
                    <a:pt x="135" y="1048"/>
                  </a:lnTo>
                  <a:lnTo>
                    <a:pt x="133" y="1048"/>
                  </a:lnTo>
                  <a:lnTo>
                    <a:pt x="135" y="1048"/>
                  </a:lnTo>
                  <a:lnTo>
                    <a:pt x="133" y="1048"/>
                  </a:lnTo>
                  <a:lnTo>
                    <a:pt x="135" y="1048"/>
                  </a:lnTo>
                  <a:lnTo>
                    <a:pt x="135" y="1045"/>
                  </a:lnTo>
                  <a:lnTo>
                    <a:pt x="135" y="1048"/>
                  </a:lnTo>
                  <a:lnTo>
                    <a:pt x="135" y="1045"/>
                  </a:lnTo>
                  <a:lnTo>
                    <a:pt x="135" y="1048"/>
                  </a:lnTo>
                  <a:lnTo>
                    <a:pt x="135" y="1045"/>
                  </a:lnTo>
                  <a:lnTo>
                    <a:pt x="135" y="1048"/>
                  </a:lnTo>
                  <a:lnTo>
                    <a:pt x="135" y="1045"/>
                  </a:lnTo>
                  <a:lnTo>
                    <a:pt x="137" y="1045"/>
                  </a:lnTo>
                  <a:lnTo>
                    <a:pt x="137" y="1048"/>
                  </a:lnTo>
                  <a:lnTo>
                    <a:pt x="135" y="1048"/>
                  </a:lnTo>
                  <a:lnTo>
                    <a:pt x="137" y="1048"/>
                  </a:lnTo>
                  <a:lnTo>
                    <a:pt x="135" y="1048"/>
                  </a:lnTo>
                  <a:lnTo>
                    <a:pt x="137" y="1048"/>
                  </a:lnTo>
                  <a:lnTo>
                    <a:pt x="137" y="1045"/>
                  </a:lnTo>
                  <a:lnTo>
                    <a:pt x="137" y="1048"/>
                  </a:lnTo>
                  <a:lnTo>
                    <a:pt x="137" y="1045"/>
                  </a:lnTo>
                  <a:lnTo>
                    <a:pt x="140" y="1045"/>
                  </a:lnTo>
                  <a:lnTo>
                    <a:pt x="137" y="1045"/>
                  </a:lnTo>
                  <a:lnTo>
                    <a:pt x="140" y="1045"/>
                  </a:lnTo>
                  <a:close/>
                  <a:moveTo>
                    <a:pt x="218" y="1045"/>
                  </a:moveTo>
                  <a:lnTo>
                    <a:pt x="220" y="1045"/>
                  </a:lnTo>
                  <a:lnTo>
                    <a:pt x="218" y="1048"/>
                  </a:lnTo>
                  <a:lnTo>
                    <a:pt x="216" y="1048"/>
                  </a:lnTo>
                  <a:lnTo>
                    <a:pt x="216" y="1045"/>
                  </a:lnTo>
                  <a:lnTo>
                    <a:pt x="216" y="1048"/>
                  </a:lnTo>
                  <a:lnTo>
                    <a:pt x="213" y="1048"/>
                  </a:lnTo>
                  <a:lnTo>
                    <a:pt x="213" y="1050"/>
                  </a:lnTo>
                  <a:lnTo>
                    <a:pt x="211" y="1050"/>
                  </a:lnTo>
                  <a:lnTo>
                    <a:pt x="211" y="1048"/>
                  </a:lnTo>
                  <a:lnTo>
                    <a:pt x="213" y="1048"/>
                  </a:lnTo>
                  <a:lnTo>
                    <a:pt x="213" y="1045"/>
                  </a:lnTo>
                  <a:lnTo>
                    <a:pt x="213" y="1048"/>
                  </a:lnTo>
                  <a:lnTo>
                    <a:pt x="213" y="1045"/>
                  </a:lnTo>
                  <a:lnTo>
                    <a:pt x="213" y="1048"/>
                  </a:lnTo>
                  <a:lnTo>
                    <a:pt x="216" y="1045"/>
                  </a:lnTo>
                  <a:lnTo>
                    <a:pt x="218" y="1045"/>
                  </a:lnTo>
                  <a:close/>
                  <a:moveTo>
                    <a:pt x="135" y="1045"/>
                  </a:moveTo>
                  <a:lnTo>
                    <a:pt x="137" y="1045"/>
                  </a:lnTo>
                  <a:lnTo>
                    <a:pt x="135" y="1045"/>
                  </a:lnTo>
                  <a:close/>
                  <a:moveTo>
                    <a:pt x="159" y="1045"/>
                  </a:moveTo>
                  <a:lnTo>
                    <a:pt x="161" y="1045"/>
                  </a:lnTo>
                  <a:lnTo>
                    <a:pt x="159" y="1045"/>
                  </a:lnTo>
                  <a:lnTo>
                    <a:pt x="161" y="1045"/>
                  </a:lnTo>
                  <a:lnTo>
                    <a:pt x="159" y="1045"/>
                  </a:lnTo>
                  <a:lnTo>
                    <a:pt x="161" y="1045"/>
                  </a:lnTo>
                  <a:lnTo>
                    <a:pt x="161" y="1048"/>
                  </a:lnTo>
                  <a:lnTo>
                    <a:pt x="159" y="1048"/>
                  </a:lnTo>
                  <a:lnTo>
                    <a:pt x="161" y="1048"/>
                  </a:lnTo>
                  <a:lnTo>
                    <a:pt x="159" y="1048"/>
                  </a:lnTo>
                  <a:lnTo>
                    <a:pt x="156" y="1048"/>
                  </a:lnTo>
                  <a:lnTo>
                    <a:pt x="159" y="1048"/>
                  </a:lnTo>
                  <a:lnTo>
                    <a:pt x="159" y="1045"/>
                  </a:lnTo>
                  <a:lnTo>
                    <a:pt x="159" y="1048"/>
                  </a:lnTo>
                  <a:lnTo>
                    <a:pt x="159" y="1045"/>
                  </a:lnTo>
                  <a:close/>
                  <a:moveTo>
                    <a:pt x="161" y="1045"/>
                  </a:moveTo>
                  <a:lnTo>
                    <a:pt x="163" y="1045"/>
                  </a:lnTo>
                  <a:lnTo>
                    <a:pt x="161" y="1045"/>
                  </a:lnTo>
                  <a:close/>
                  <a:moveTo>
                    <a:pt x="128" y="1045"/>
                  </a:moveTo>
                  <a:lnTo>
                    <a:pt x="128" y="1043"/>
                  </a:lnTo>
                  <a:lnTo>
                    <a:pt x="128" y="1045"/>
                  </a:lnTo>
                  <a:close/>
                  <a:moveTo>
                    <a:pt x="135" y="1043"/>
                  </a:moveTo>
                  <a:lnTo>
                    <a:pt x="133" y="1043"/>
                  </a:lnTo>
                  <a:lnTo>
                    <a:pt x="135" y="1043"/>
                  </a:lnTo>
                  <a:lnTo>
                    <a:pt x="133" y="1043"/>
                  </a:lnTo>
                  <a:lnTo>
                    <a:pt x="135" y="1043"/>
                  </a:lnTo>
                  <a:close/>
                  <a:moveTo>
                    <a:pt x="135" y="1043"/>
                  </a:moveTo>
                  <a:lnTo>
                    <a:pt x="133" y="1043"/>
                  </a:lnTo>
                  <a:lnTo>
                    <a:pt x="135" y="1043"/>
                  </a:lnTo>
                  <a:lnTo>
                    <a:pt x="133" y="1043"/>
                  </a:lnTo>
                  <a:lnTo>
                    <a:pt x="135" y="1043"/>
                  </a:lnTo>
                  <a:close/>
                  <a:moveTo>
                    <a:pt x="171" y="1043"/>
                  </a:moveTo>
                  <a:lnTo>
                    <a:pt x="168" y="1043"/>
                  </a:lnTo>
                  <a:lnTo>
                    <a:pt x="171" y="1043"/>
                  </a:lnTo>
                  <a:close/>
                  <a:moveTo>
                    <a:pt x="135" y="1043"/>
                  </a:moveTo>
                  <a:lnTo>
                    <a:pt x="133" y="1043"/>
                  </a:lnTo>
                  <a:lnTo>
                    <a:pt x="135" y="1043"/>
                  </a:lnTo>
                  <a:close/>
                  <a:moveTo>
                    <a:pt x="178" y="1043"/>
                  </a:moveTo>
                  <a:lnTo>
                    <a:pt x="175" y="1043"/>
                  </a:lnTo>
                  <a:lnTo>
                    <a:pt x="178" y="1043"/>
                  </a:lnTo>
                  <a:lnTo>
                    <a:pt x="178" y="1041"/>
                  </a:lnTo>
                  <a:lnTo>
                    <a:pt x="178" y="1043"/>
                  </a:lnTo>
                  <a:close/>
                  <a:moveTo>
                    <a:pt x="173" y="1041"/>
                  </a:moveTo>
                  <a:lnTo>
                    <a:pt x="171" y="1043"/>
                  </a:lnTo>
                  <a:lnTo>
                    <a:pt x="171" y="1041"/>
                  </a:lnTo>
                  <a:lnTo>
                    <a:pt x="173" y="1041"/>
                  </a:lnTo>
                  <a:close/>
                  <a:moveTo>
                    <a:pt x="175" y="1041"/>
                  </a:moveTo>
                  <a:lnTo>
                    <a:pt x="173" y="1041"/>
                  </a:lnTo>
                  <a:lnTo>
                    <a:pt x="173" y="1043"/>
                  </a:lnTo>
                  <a:lnTo>
                    <a:pt x="173" y="1041"/>
                  </a:lnTo>
                  <a:lnTo>
                    <a:pt x="175" y="1041"/>
                  </a:lnTo>
                  <a:close/>
                  <a:moveTo>
                    <a:pt x="171" y="1038"/>
                  </a:moveTo>
                  <a:lnTo>
                    <a:pt x="171" y="1041"/>
                  </a:lnTo>
                  <a:lnTo>
                    <a:pt x="171" y="1038"/>
                  </a:lnTo>
                  <a:close/>
                  <a:moveTo>
                    <a:pt x="142" y="1038"/>
                  </a:moveTo>
                  <a:lnTo>
                    <a:pt x="142" y="1041"/>
                  </a:lnTo>
                  <a:lnTo>
                    <a:pt x="142" y="1038"/>
                  </a:lnTo>
                  <a:lnTo>
                    <a:pt x="142" y="1041"/>
                  </a:lnTo>
                  <a:lnTo>
                    <a:pt x="142" y="1038"/>
                  </a:lnTo>
                  <a:close/>
                  <a:moveTo>
                    <a:pt x="175" y="1038"/>
                  </a:moveTo>
                  <a:lnTo>
                    <a:pt x="178" y="1038"/>
                  </a:lnTo>
                  <a:lnTo>
                    <a:pt x="178" y="1041"/>
                  </a:lnTo>
                  <a:lnTo>
                    <a:pt x="175" y="1041"/>
                  </a:lnTo>
                  <a:lnTo>
                    <a:pt x="175" y="1038"/>
                  </a:lnTo>
                  <a:close/>
                  <a:moveTo>
                    <a:pt x="147" y="1036"/>
                  </a:moveTo>
                  <a:lnTo>
                    <a:pt x="147" y="1038"/>
                  </a:lnTo>
                  <a:lnTo>
                    <a:pt x="147" y="1036"/>
                  </a:lnTo>
                  <a:close/>
                  <a:moveTo>
                    <a:pt x="149" y="1036"/>
                  </a:moveTo>
                  <a:lnTo>
                    <a:pt x="149" y="1038"/>
                  </a:lnTo>
                  <a:lnTo>
                    <a:pt x="149" y="1036"/>
                  </a:lnTo>
                  <a:close/>
                  <a:moveTo>
                    <a:pt x="149" y="1036"/>
                  </a:moveTo>
                  <a:lnTo>
                    <a:pt x="147" y="1036"/>
                  </a:lnTo>
                  <a:lnTo>
                    <a:pt x="149" y="1038"/>
                  </a:lnTo>
                  <a:lnTo>
                    <a:pt x="147" y="1038"/>
                  </a:lnTo>
                  <a:lnTo>
                    <a:pt x="147" y="1036"/>
                  </a:lnTo>
                  <a:lnTo>
                    <a:pt x="149" y="1036"/>
                  </a:lnTo>
                  <a:lnTo>
                    <a:pt x="147" y="1036"/>
                  </a:lnTo>
                  <a:lnTo>
                    <a:pt x="149" y="1036"/>
                  </a:lnTo>
                  <a:close/>
                  <a:moveTo>
                    <a:pt x="152" y="1036"/>
                  </a:moveTo>
                  <a:lnTo>
                    <a:pt x="149" y="1036"/>
                  </a:lnTo>
                  <a:lnTo>
                    <a:pt x="152" y="1036"/>
                  </a:lnTo>
                  <a:close/>
                  <a:moveTo>
                    <a:pt x="152" y="1036"/>
                  </a:moveTo>
                  <a:lnTo>
                    <a:pt x="149" y="1036"/>
                  </a:lnTo>
                  <a:lnTo>
                    <a:pt x="152" y="1036"/>
                  </a:lnTo>
                  <a:close/>
                  <a:moveTo>
                    <a:pt x="175" y="1036"/>
                  </a:moveTo>
                  <a:lnTo>
                    <a:pt x="173" y="1036"/>
                  </a:lnTo>
                  <a:lnTo>
                    <a:pt x="175" y="1036"/>
                  </a:lnTo>
                  <a:lnTo>
                    <a:pt x="173" y="1036"/>
                  </a:lnTo>
                  <a:lnTo>
                    <a:pt x="175" y="1036"/>
                  </a:lnTo>
                  <a:close/>
                  <a:moveTo>
                    <a:pt x="154" y="1034"/>
                  </a:moveTo>
                  <a:lnTo>
                    <a:pt x="152" y="1034"/>
                  </a:lnTo>
                  <a:lnTo>
                    <a:pt x="154" y="1034"/>
                  </a:lnTo>
                  <a:lnTo>
                    <a:pt x="152" y="1034"/>
                  </a:lnTo>
                  <a:lnTo>
                    <a:pt x="154" y="1034"/>
                  </a:lnTo>
                  <a:close/>
                  <a:moveTo>
                    <a:pt x="152" y="1034"/>
                  </a:moveTo>
                  <a:lnTo>
                    <a:pt x="149" y="1034"/>
                  </a:lnTo>
                  <a:lnTo>
                    <a:pt x="152" y="1034"/>
                  </a:lnTo>
                  <a:close/>
                  <a:moveTo>
                    <a:pt x="175" y="1034"/>
                  </a:moveTo>
                  <a:lnTo>
                    <a:pt x="178" y="1034"/>
                  </a:lnTo>
                  <a:lnTo>
                    <a:pt x="178" y="1036"/>
                  </a:lnTo>
                  <a:lnTo>
                    <a:pt x="175" y="1036"/>
                  </a:lnTo>
                  <a:lnTo>
                    <a:pt x="173" y="1036"/>
                  </a:lnTo>
                  <a:lnTo>
                    <a:pt x="173" y="1034"/>
                  </a:lnTo>
                  <a:lnTo>
                    <a:pt x="173" y="1036"/>
                  </a:lnTo>
                  <a:lnTo>
                    <a:pt x="175" y="1034"/>
                  </a:lnTo>
                  <a:lnTo>
                    <a:pt x="175" y="1036"/>
                  </a:lnTo>
                  <a:lnTo>
                    <a:pt x="175" y="1034"/>
                  </a:lnTo>
                  <a:lnTo>
                    <a:pt x="173" y="1034"/>
                  </a:lnTo>
                  <a:lnTo>
                    <a:pt x="175" y="1034"/>
                  </a:lnTo>
                  <a:close/>
                  <a:moveTo>
                    <a:pt x="178" y="1031"/>
                  </a:moveTo>
                  <a:lnTo>
                    <a:pt x="180" y="1031"/>
                  </a:lnTo>
                  <a:lnTo>
                    <a:pt x="180" y="1034"/>
                  </a:lnTo>
                  <a:lnTo>
                    <a:pt x="178" y="1034"/>
                  </a:lnTo>
                  <a:lnTo>
                    <a:pt x="178" y="1031"/>
                  </a:lnTo>
                  <a:lnTo>
                    <a:pt x="175" y="1031"/>
                  </a:lnTo>
                  <a:lnTo>
                    <a:pt x="178" y="1031"/>
                  </a:lnTo>
                  <a:lnTo>
                    <a:pt x="175" y="1031"/>
                  </a:lnTo>
                  <a:lnTo>
                    <a:pt x="178" y="1031"/>
                  </a:lnTo>
                  <a:close/>
                  <a:moveTo>
                    <a:pt x="182" y="1029"/>
                  </a:moveTo>
                  <a:lnTo>
                    <a:pt x="180" y="1029"/>
                  </a:lnTo>
                  <a:lnTo>
                    <a:pt x="182" y="1029"/>
                  </a:lnTo>
                  <a:lnTo>
                    <a:pt x="182" y="1026"/>
                  </a:lnTo>
                  <a:lnTo>
                    <a:pt x="182" y="1029"/>
                  </a:lnTo>
                  <a:close/>
                  <a:moveTo>
                    <a:pt x="180" y="1026"/>
                  </a:moveTo>
                  <a:lnTo>
                    <a:pt x="180" y="1029"/>
                  </a:lnTo>
                  <a:lnTo>
                    <a:pt x="180" y="1026"/>
                  </a:lnTo>
                  <a:lnTo>
                    <a:pt x="180" y="1029"/>
                  </a:lnTo>
                  <a:lnTo>
                    <a:pt x="180" y="1026"/>
                  </a:lnTo>
                  <a:close/>
                  <a:moveTo>
                    <a:pt x="185" y="1026"/>
                  </a:moveTo>
                  <a:lnTo>
                    <a:pt x="182" y="1026"/>
                  </a:lnTo>
                  <a:lnTo>
                    <a:pt x="185" y="1026"/>
                  </a:lnTo>
                  <a:close/>
                  <a:moveTo>
                    <a:pt x="180" y="1024"/>
                  </a:moveTo>
                  <a:lnTo>
                    <a:pt x="180" y="1026"/>
                  </a:lnTo>
                  <a:lnTo>
                    <a:pt x="178" y="1026"/>
                  </a:lnTo>
                  <a:lnTo>
                    <a:pt x="180" y="1026"/>
                  </a:lnTo>
                  <a:lnTo>
                    <a:pt x="180" y="1024"/>
                  </a:lnTo>
                  <a:close/>
                  <a:moveTo>
                    <a:pt x="182" y="1024"/>
                  </a:moveTo>
                  <a:lnTo>
                    <a:pt x="180" y="1024"/>
                  </a:lnTo>
                  <a:lnTo>
                    <a:pt x="182" y="1024"/>
                  </a:lnTo>
                  <a:close/>
                  <a:moveTo>
                    <a:pt x="182" y="1024"/>
                  </a:moveTo>
                  <a:lnTo>
                    <a:pt x="180" y="1024"/>
                  </a:lnTo>
                  <a:lnTo>
                    <a:pt x="182" y="1024"/>
                  </a:lnTo>
                  <a:close/>
                  <a:moveTo>
                    <a:pt x="187" y="1022"/>
                  </a:moveTo>
                  <a:lnTo>
                    <a:pt x="185" y="1022"/>
                  </a:lnTo>
                  <a:lnTo>
                    <a:pt x="187" y="1022"/>
                  </a:lnTo>
                  <a:close/>
                  <a:moveTo>
                    <a:pt x="189" y="1022"/>
                  </a:moveTo>
                  <a:lnTo>
                    <a:pt x="187" y="1022"/>
                  </a:lnTo>
                  <a:lnTo>
                    <a:pt x="189" y="1019"/>
                  </a:lnTo>
                  <a:lnTo>
                    <a:pt x="189" y="1022"/>
                  </a:lnTo>
                  <a:close/>
                  <a:moveTo>
                    <a:pt x="187" y="1019"/>
                  </a:moveTo>
                  <a:lnTo>
                    <a:pt x="185" y="1019"/>
                  </a:lnTo>
                  <a:lnTo>
                    <a:pt x="187" y="1019"/>
                  </a:lnTo>
                  <a:close/>
                  <a:moveTo>
                    <a:pt x="189" y="1019"/>
                  </a:moveTo>
                  <a:lnTo>
                    <a:pt x="187" y="1019"/>
                  </a:lnTo>
                  <a:lnTo>
                    <a:pt x="189" y="1019"/>
                  </a:lnTo>
                  <a:lnTo>
                    <a:pt x="187" y="1019"/>
                  </a:lnTo>
                  <a:lnTo>
                    <a:pt x="189" y="1019"/>
                  </a:lnTo>
                  <a:close/>
                  <a:moveTo>
                    <a:pt x="189" y="1017"/>
                  </a:moveTo>
                  <a:lnTo>
                    <a:pt x="187" y="1017"/>
                  </a:lnTo>
                  <a:lnTo>
                    <a:pt x="189" y="1017"/>
                  </a:lnTo>
                  <a:close/>
                  <a:moveTo>
                    <a:pt x="192" y="1017"/>
                  </a:moveTo>
                  <a:lnTo>
                    <a:pt x="189" y="1017"/>
                  </a:lnTo>
                  <a:lnTo>
                    <a:pt x="192" y="1017"/>
                  </a:lnTo>
                  <a:lnTo>
                    <a:pt x="189" y="1017"/>
                  </a:lnTo>
                  <a:lnTo>
                    <a:pt x="192" y="1017"/>
                  </a:lnTo>
                  <a:close/>
                  <a:moveTo>
                    <a:pt x="192" y="1017"/>
                  </a:moveTo>
                  <a:lnTo>
                    <a:pt x="194" y="1017"/>
                  </a:lnTo>
                  <a:lnTo>
                    <a:pt x="192" y="1017"/>
                  </a:lnTo>
                  <a:close/>
                  <a:moveTo>
                    <a:pt x="194" y="1015"/>
                  </a:moveTo>
                  <a:lnTo>
                    <a:pt x="192" y="1015"/>
                  </a:lnTo>
                  <a:lnTo>
                    <a:pt x="194" y="1015"/>
                  </a:lnTo>
                  <a:close/>
                  <a:moveTo>
                    <a:pt x="223" y="1012"/>
                  </a:moveTo>
                  <a:lnTo>
                    <a:pt x="223" y="1015"/>
                  </a:lnTo>
                  <a:lnTo>
                    <a:pt x="223" y="1012"/>
                  </a:lnTo>
                  <a:close/>
                  <a:moveTo>
                    <a:pt x="220" y="1007"/>
                  </a:moveTo>
                  <a:lnTo>
                    <a:pt x="220" y="1010"/>
                  </a:lnTo>
                  <a:lnTo>
                    <a:pt x="220" y="1007"/>
                  </a:lnTo>
                  <a:lnTo>
                    <a:pt x="220" y="1010"/>
                  </a:lnTo>
                  <a:lnTo>
                    <a:pt x="218" y="1010"/>
                  </a:lnTo>
                  <a:lnTo>
                    <a:pt x="218" y="1007"/>
                  </a:lnTo>
                  <a:lnTo>
                    <a:pt x="220" y="1007"/>
                  </a:lnTo>
                  <a:close/>
                  <a:moveTo>
                    <a:pt x="204" y="1007"/>
                  </a:moveTo>
                  <a:lnTo>
                    <a:pt x="201" y="1007"/>
                  </a:lnTo>
                  <a:lnTo>
                    <a:pt x="204" y="1007"/>
                  </a:lnTo>
                  <a:close/>
                  <a:moveTo>
                    <a:pt x="204" y="1007"/>
                  </a:moveTo>
                  <a:lnTo>
                    <a:pt x="201" y="1007"/>
                  </a:lnTo>
                  <a:lnTo>
                    <a:pt x="204" y="1007"/>
                  </a:lnTo>
                  <a:close/>
                  <a:moveTo>
                    <a:pt x="208" y="1005"/>
                  </a:moveTo>
                  <a:lnTo>
                    <a:pt x="208" y="1007"/>
                  </a:lnTo>
                  <a:lnTo>
                    <a:pt x="206" y="1007"/>
                  </a:lnTo>
                  <a:lnTo>
                    <a:pt x="206" y="1005"/>
                  </a:lnTo>
                  <a:lnTo>
                    <a:pt x="208" y="1005"/>
                  </a:lnTo>
                  <a:close/>
                  <a:moveTo>
                    <a:pt x="199" y="1007"/>
                  </a:moveTo>
                  <a:lnTo>
                    <a:pt x="199" y="1005"/>
                  </a:lnTo>
                  <a:lnTo>
                    <a:pt x="201" y="1007"/>
                  </a:lnTo>
                  <a:lnTo>
                    <a:pt x="199" y="1007"/>
                  </a:lnTo>
                  <a:close/>
                  <a:moveTo>
                    <a:pt x="204" y="1005"/>
                  </a:moveTo>
                  <a:lnTo>
                    <a:pt x="204" y="1007"/>
                  </a:lnTo>
                  <a:lnTo>
                    <a:pt x="201" y="1007"/>
                  </a:lnTo>
                  <a:lnTo>
                    <a:pt x="201" y="1005"/>
                  </a:lnTo>
                  <a:lnTo>
                    <a:pt x="201" y="1007"/>
                  </a:lnTo>
                  <a:lnTo>
                    <a:pt x="201" y="1005"/>
                  </a:lnTo>
                  <a:lnTo>
                    <a:pt x="201" y="1007"/>
                  </a:lnTo>
                  <a:lnTo>
                    <a:pt x="201" y="1005"/>
                  </a:lnTo>
                  <a:lnTo>
                    <a:pt x="204" y="1005"/>
                  </a:lnTo>
                  <a:lnTo>
                    <a:pt x="201" y="1005"/>
                  </a:lnTo>
                  <a:lnTo>
                    <a:pt x="204" y="1005"/>
                  </a:lnTo>
                  <a:close/>
                  <a:moveTo>
                    <a:pt x="206" y="1007"/>
                  </a:moveTo>
                  <a:lnTo>
                    <a:pt x="204" y="1007"/>
                  </a:lnTo>
                  <a:lnTo>
                    <a:pt x="204" y="1005"/>
                  </a:lnTo>
                  <a:lnTo>
                    <a:pt x="206" y="1005"/>
                  </a:lnTo>
                  <a:lnTo>
                    <a:pt x="206" y="1007"/>
                  </a:lnTo>
                  <a:close/>
                  <a:moveTo>
                    <a:pt x="208" y="1005"/>
                  </a:moveTo>
                  <a:lnTo>
                    <a:pt x="206" y="1005"/>
                  </a:lnTo>
                  <a:lnTo>
                    <a:pt x="208" y="1005"/>
                  </a:lnTo>
                  <a:close/>
                  <a:moveTo>
                    <a:pt x="206" y="1003"/>
                  </a:moveTo>
                  <a:lnTo>
                    <a:pt x="206" y="1005"/>
                  </a:lnTo>
                  <a:lnTo>
                    <a:pt x="206" y="1003"/>
                  </a:lnTo>
                  <a:lnTo>
                    <a:pt x="208" y="1003"/>
                  </a:lnTo>
                  <a:lnTo>
                    <a:pt x="208" y="1005"/>
                  </a:lnTo>
                  <a:lnTo>
                    <a:pt x="206" y="1005"/>
                  </a:lnTo>
                  <a:lnTo>
                    <a:pt x="204" y="1005"/>
                  </a:lnTo>
                  <a:lnTo>
                    <a:pt x="204" y="1003"/>
                  </a:lnTo>
                  <a:lnTo>
                    <a:pt x="204" y="1005"/>
                  </a:lnTo>
                  <a:lnTo>
                    <a:pt x="204" y="1003"/>
                  </a:lnTo>
                  <a:lnTo>
                    <a:pt x="206" y="1003"/>
                  </a:lnTo>
                  <a:close/>
                  <a:moveTo>
                    <a:pt x="206" y="1003"/>
                  </a:moveTo>
                  <a:lnTo>
                    <a:pt x="204" y="1003"/>
                  </a:lnTo>
                  <a:lnTo>
                    <a:pt x="206" y="1003"/>
                  </a:lnTo>
                  <a:close/>
                  <a:moveTo>
                    <a:pt x="206" y="1003"/>
                  </a:moveTo>
                  <a:lnTo>
                    <a:pt x="204" y="1003"/>
                  </a:lnTo>
                  <a:lnTo>
                    <a:pt x="206" y="1003"/>
                  </a:lnTo>
                  <a:close/>
                  <a:moveTo>
                    <a:pt x="208" y="1000"/>
                  </a:moveTo>
                  <a:lnTo>
                    <a:pt x="208" y="1003"/>
                  </a:lnTo>
                  <a:lnTo>
                    <a:pt x="206" y="1003"/>
                  </a:lnTo>
                  <a:lnTo>
                    <a:pt x="208" y="1003"/>
                  </a:lnTo>
                  <a:lnTo>
                    <a:pt x="208" y="1000"/>
                  </a:lnTo>
                  <a:lnTo>
                    <a:pt x="208" y="1003"/>
                  </a:lnTo>
                  <a:lnTo>
                    <a:pt x="208" y="1000"/>
                  </a:lnTo>
                  <a:lnTo>
                    <a:pt x="208" y="1003"/>
                  </a:lnTo>
                  <a:lnTo>
                    <a:pt x="208" y="1000"/>
                  </a:lnTo>
                  <a:close/>
                  <a:moveTo>
                    <a:pt x="208" y="1003"/>
                  </a:moveTo>
                  <a:lnTo>
                    <a:pt x="208" y="1000"/>
                  </a:lnTo>
                  <a:lnTo>
                    <a:pt x="208" y="1003"/>
                  </a:lnTo>
                  <a:close/>
                  <a:moveTo>
                    <a:pt x="216" y="1000"/>
                  </a:moveTo>
                  <a:lnTo>
                    <a:pt x="218" y="1000"/>
                  </a:lnTo>
                  <a:lnTo>
                    <a:pt x="216" y="1000"/>
                  </a:lnTo>
                  <a:lnTo>
                    <a:pt x="218" y="1000"/>
                  </a:lnTo>
                  <a:lnTo>
                    <a:pt x="220" y="1000"/>
                  </a:lnTo>
                  <a:lnTo>
                    <a:pt x="218" y="1000"/>
                  </a:lnTo>
                  <a:lnTo>
                    <a:pt x="220" y="1000"/>
                  </a:lnTo>
                  <a:lnTo>
                    <a:pt x="220" y="1003"/>
                  </a:lnTo>
                  <a:lnTo>
                    <a:pt x="220" y="1005"/>
                  </a:lnTo>
                  <a:lnTo>
                    <a:pt x="223" y="1005"/>
                  </a:lnTo>
                  <a:lnTo>
                    <a:pt x="225" y="1005"/>
                  </a:lnTo>
                  <a:lnTo>
                    <a:pt x="227" y="1005"/>
                  </a:lnTo>
                  <a:lnTo>
                    <a:pt x="227" y="1007"/>
                  </a:lnTo>
                  <a:lnTo>
                    <a:pt x="225" y="1007"/>
                  </a:lnTo>
                  <a:lnTo>
                    <a:pt x="225" y="1010"/>
                  </a:lnTo>
                  <a:lnTo>
                    <a:pt x="225" y="1007"/>
                  </a:lnTo>
                  <a:lnTo>
                    <a:pt x="223" y="1010"/>
                  </a:lnTo>
                  <a:lnTo>
                    <a:pt x="223" y="1007"/>
                  </a:lnTo>
                  <a:lnTo>
                    <a:pt x="223" y="1010"/>
                  </a:lnTo>
                  <a:lnTo>
                    <a:pt x="223" y="1007"/>
                  </a:lnTo>
                  <a:lnTo>
                    <a:pt x="223" y="1010"/>
                  </a:lnTo>
                  <a:lnTo>
                    <a:pt x="223" y="1007"/>
                  </a:lnTo>
                  <a:lnTo>
                    <a:pt x="220" y="1007"/>
                  </a:lnTo>
                  <a:lnTo>
                    <a:pt x="218" y="1007"/>
                  </a:lnTo>
                  <a:lnTo>
                    <a:pt x="216" y="1005"/>
                  </a:lnTo>
                  <a:lnTo>
                    <a:pt x="216" y="1003"/>
                  </a:lnTo>
                  <a:lnTo>
                    <a:pt x="218" y="1003"/>
                  </a:lnTo>
                  <a:lnTo>
                    <a:pt x="218" y="1005"/>
                  </a:lnTo>
                  <a:lnTo>
                    <a:pt x="220" y="1003"/>
                  </a:lnTo>
                  <a:lnTo>
                    <a:pt x="218" y="1003"/>
                  </a:lnTo>
                  <a:lnTo>
                    <a:pt x="220" y="1003"/>
                  </a:lnTo>
                  <a:lnTo>
                    <a:pt x="218" y="1003"/>
                  </a:lnTo>
                  <a:lnTo>
                    <a:pt x="216" y="1003"/>
                  </a:lnTo>
                  <a:lnTo>
                    <a:pt x="213" y="1003"/>
                  </a:lnTo>
                  <a:lnTo>
                    <a:pt x="213" y="1000"/>
                  </a:lnTo>
                  <a:lnTo>
                    <a:pt x="216" y="1000"/>
                  </a:lnTo>
                  <a:lnTo>
                    <a:pt x="216" y="998"/>
                  </a:lnTo>
                  <a:lnTo>
                    <a:pt x="216" y="1000"/>
                  </a:lnTo>
                  <a:close/>
                  <a:moveTo>
                    <a:pt x="223" y="998"/>
                  </a:moveTo>
                  <a:lnTo>
                    <a:pt x="220" y="998"/>
                  </a:lnTo>
                  <a:lnTo>
                    <a:pt x="223" y="998"/>
                  </a:lnTo>
                  <a:lnTo>
                    <a:pt x="223" y="1000"/>
                  </a:lnTo>
                  <a:lnTo>
                    <a:pt x="223" y="1003"/>
                  </a:lnTo>
                  <a:lnTo>
                    <a:pt x="220" y="1003"/>
                  </a:lnTo>
                  <a:lnTo>
                    <a:pt x="220" y="1000"/>
                  </a:lnTo>
                  <a:lnTo>
                    <a:pt x="218" y="1000"/>
                  </a:lnTo>
                  <a:lnTo>
                    <a:pt x="218" y="998"/>
                  </a:lnTo>
                  <a:lnTo>
                    <a:pt x="216" y="998"/>
                  </a:lnTo>
                  <a:lnTo>
                    <a:pt x="218" y="998"/>
                  </a:lnTo>
                  <a:lnTo>
                    <a:pt x="220" y="998"/>
                  </a:lnTo>
                  <a:lnTo>
                    <a:pt x="223" y="998"/>
                  </a:lnTo>
                  <a:close/>
                  <a:moveTo>
                    <a:pt x="218" y="996"/>
                  </a:moveTo>
                  <a:lnTo>
                    <a:pt x="216" y="996"/>
                  </a:lnTo>
                  <a:lnTo>
                    <a:pt x="218" y="996"/>
                  </a:lnTo>
                  <a:close/>
                  <a:moveTo>
                    <a:pt x="218" y="993"/>
                  </a:moveTo>
                  <a:lnTo>
                    <a:pt x="218" y="996"/>
                  </a:lnTo>
                  <a:lnTo>
                    <a:pt x="216" y="996"/>
                  </a:lnTo>
                  <a:lnTo>
                    <a:pt x="216" y="993"/>
                  </a:lnTo>
                  <a:lnTo>
                    <a:pt x="216" y="996"/>
                  </a:lnTo>
                  <a:lnTo>
                    <a:pt x="218" y="993"/>
                  </a:lnTo>
                  <a:close/>
                  <a:moveTo>
                    <a:pt x="232" y="993"/>
                  </a:moveTo>
                  <a:lnTo>
                    <a:pt x="230" y="993"/>
                  </a:lnTo>
                  <a:lnTo>
                    <a:pt x="232" y="993"/>
                  </a:lnTo>
                  <a:close/>
                  <a:moveTo>
                    <a:pt x="218" y="993"/>
                  </a:moveTo>
                  <a:lnTo>
                    <a:pt x="216" y="993"/>
                  </a:lnTo>
                  <a:lnTo>
                    <a:pt x="216" y="996"/>
                  </a:lnTo>
                  <a:lnTo>
                    <a:pt x="216" y="993"/>
                  </a:lnTo>
                  <a:lnTo>
                    <a:pt x="216" y="996"/>
                  </a:lnTo>
                  <a:lnTo>
                    <a:pt x="216" y="993"/>
                  </a:lnTo>
                  <a:lnTo>
                    <a:pt x="218" y="993"/>
                  </a:lnTo>
                  <a:close/>
                  <a:moveTo>
                    <a:pt x="208" y="993"/>
                  </a:moveTo>
                  <a:lnTo>
                    <a:pt x="206" y="993"/>
                  </a:lnTo>
                  <a:lnTo>
                    <a:pt x="208" y="993"/>
                  </a:lnTo>
                  <a:close/>
                  <a:moveTo>
                    <a:pt x="220" y="993"/>
                  </a:moveTo>
                  <a:lnTo>
                    <a:pt x="218" y="993"/>
                  </a:lnTo>
                  <a:lnTo>
                    <a:pt x="220" y="993"/>
                  </a:lnTo>
                  <a:close/>
                  <a:moveTo>
                    <a:pt x="220" y="993"/>
                  </a:moveTo>
                  <a:lnTo>
                    <a:pt x="218" y="993"/>
                  </a:lnTo>
                  <a:lnTo>
                    <a:pt x="220" y="993"/>
                  </a:lnTo>
                  <a:close/>
                  <a:moveTo>
                    <a:pt x="220" y="993"/>
                  </a:moveTo>
                  <a:lnTo>
                    <a:pt x="220" y="991"/>
                  </a:lnTo>
                  <a:lnTo>
                    <a:pt x="220" y="993"/>
                  </a:lnTo>
                  <a:close/>
                  <a:moveTo>
                    <a:pt x="237" y="991"/>
                  </a:moveTo>
                  <a:lnTo>
                    <a:pt x="239" y="991"/>
                  </a:lnTo>
                  <a:lnTo>
                    <a:pt x="237" y="991"/>
                  </a:lnTo>
                  <a:close/>
                  <a:moveTo>
                    <a:pt x="218" y="991"/>
                  </a:moveTo>
                  <a:lnTo>
                    <a:pt x="220" y="991"/>
                  </a:lnTo>
                  <a:lnTo>
                    <a:pt x="218" y="991"/>
                  </a:lnTo>
                  <a:close/>
                  <a:moveTo>
                    <a:pt x="237" y="991"/>
                  </a:moveTo>
                  <a:lnTo>
                    <a:pt x="237" y="993"/>
                  </a:lnTo>
                  <a:lnTo>
                    <a:pt x="237" y="991"/>
                  </a:lnTo>
                  <a:lnTo>
                    <a:pt x="237" y="993"/>
                  </a:lnTo>
                  <a:lnTo>
                    <a:pt x="237" y="991"/>
                  </a:lnTo>
                  <a:close/>
                  <a:moveTo>
                    <a:pt x="225" y="991"/>
                  </a:moveTo>
                  <a:lnTo>
                    <a:pt x="223" y="991"/>
                  </a:lnTo>
                  <a:lnTo>
                    <a:pt x="225" y="991"/>
                  </a:lnTo>
                  <a:close/>
                  <a:moveTo>
                    <a:pt x="220" y="991"/>
                  </a:moveTo>
                  <a:lnTo>
                    <a:pt x="223" y="991"/>
                  </a:lnTo>
                  <a:lnTo>
                    <a:pt x="220" y="991"/>
                  </a:lnTo>
                  <a:close/>
                  <a:moveTo>
                    <a:pt x="235" y="991"/>
                  </a:moveTo>
                  <a:lnTo>
                    <a:pt x="232" y="991"/>
                  </a:lnTo>
                  <a:lnTo>
                    <a:pt x="235" y="991"/>
                  </a:lnTo>
                  <a:close/>
                  <a:moveTo>
                    <a:pt x="227" y="991"/>
                  </a:moveTo>
                  <a:lnTo>
                    <a:pt x="230" y="991"/>
                  </a:lnTo>
                  <a:lnTo>
                    <a:pt x="227" y="991"/>
                  </a:lnTo>
                  <a:close/>
                  <a:moveTo>
                    <a:pt x="235" y="991"/>
                  </a:moveTo>
                  <a:lnTo>
                    <a:pt x="232" y="991"/>
                  </a:lnTo>
                  <a:lnTo>
                    <a:pt x="235" y="991"/>
                  </a:lnTo>
                  <a:lnTo>
                    <a:pt x="232" y="991"/>
                  </a:lnTo>
                  <a:lnTo>
                    <a:pt x="235" y="991"/>
                  </a:lnTo>
                  <a:close/>
                  <a:moveTo>
                    <a:pt x="204" y="991"/>
                  </a:moveTo>
                  <a:lnTo>
                    <a:pt x="201" y="991"/>
                  </a:lnTo>
                  <a:lnTo>
                    <a:pt x="204" y="991"/>
                  </a:lnTo>
                  <a:close/>
                  <a:moveTo>
                    <a:pt x="211" y="991"/>
                  </a:moveTo>
                  <a:lnTo>
                    <a:pt x="211" y="988"/>
                  </a:lnTo>
                  <a:lnTo>
                    <a:pt x="211" y="991"/>
                  </a:lnTo>
                  <a:close/>
                  <a:moveTo>
                    <a:pt x="201" y="991"/>
                  </a:moveTo>
                  <a:lnTo>
                    <a:pt x="199" y="991"/>
                  </a:lnTo>
                  <a:lnTo>
                    <a:pt x="199" y="988"/>
                  </a:lnTo>
                  <a:lnTo>
                    <a:pt x="201" y="988"/>
                  </a:lnTo>
                  <a:lnTo>
                    <a:pt x="201" y="991"/>
                  </a:lnTo>
                  <a:close/>
                  <a:moveTo>
                    <a:pt x="218" y="991"/>
                  </a:moveTo>
                  <a:lnTo>
                    <a:pt x="218" y="988"/>
                  </a:lnTo>
                  <a:lnTo>
                    <a:pt x="220" y="988"/>
                  </a:lnTo>
                  <a:lnTo>
                    <a:pt x="218" y="988"/>
                  </a:lnTo>
                  <a:lnTo>
                    <a:pt x="218" y="991"/>
                  </a:lnTo>
                  <a:close/>
                  <a:moveTo>
                    <a:pt x="213" y="988"/>
                  </a:moveTo>
                  <a:lnTo>
                    <a:pt x="213" y="991"/>
                  </a:lnTo>
                  <a:lnTo>
                    <a:pt x="213" y="988"/>
                  </a:lnTo>
                  <a:close/>
                  <a:moveTo>
                    <a:pt x="220" y="988"/>
                  </a:moveTo>
                  <a:lnTo>
                    <a:pt x="218" y="988"/>
                  </a:lnTo>
                  <a:lnTo>
                    <a:pt x="220" y="988"/>
                  </a:lnTo>
                  <a:close/>
                  <a:moveTo>
                    <a:pt x="199" y="988"/>
                  </a:moveTo>
                  <a:lnTo>
                    <a:pt x="197" y="988"/>
                  </a:lnTo>
                  <a:lnTo>
                    <a:pt x="199" y="988"/>
                  </a:lnTo>
                  <a:lnTo>
                    <a:pt x="197" y="988"/>
                  </a:lnTo>
                  <a:lnTo>
                    <a:pt x="199" y="988"/>
                  </a:lnTo>
                  <a:close/>
                  <a:moveTo>
                    <a:pt x="211" y="988"/>
                  </a:moveTo>
                  <a:lnTo>
                    <a:pt x="208" y="988"/>
                  </a:lnTo>
                  <a:lnTo>
                    <a:pt x="211" y="988"/>
                  </a:lnTo>
                  <a:lnTo>
                    <a:pt x="208" y="988"/>
                  </a:lnTo>
                  <a:lnTo>
                    <a:pt x="211" y="988"/>
                  </a:lnTo>
                  <a:close/>
                  <a:moveTo>
                    <a:pt x="220" y="988"/>
                  </a:moveTo>
                  <a:lnTo>
                    <a:pt x="220" y="986"/>
                  </a:lnTo>
                  <a:lnTo>
                    <a:pt x="220" y="988"/>
                  </a:lnTo>
                  <a:close/>
                  <a:moveTo>
                    <a:pt x="213" y="986"/>
                  </a:moveTo>
                  <a:lnTo>
                    <a:pt x="211" y="986"/>
                  </a:lnTo>
                  <a:lnTo>
                    <a:pt x="211" y="988"/>
                  </a:lnTo>
                  <a:lnTo>
                    <a:pt x="211" y="986"/>
                  </a:lnTo>
                  <a:lnTo>
                    <a:pt x="213" y="986"/>
                  </a:lnTo>
                  <a:close/>
                  <a:moveTo>
                    <a:pt x="213" y="986"/>
                  </a:moveTo>
                  <a:lnTo>
                    <a:pt x="213" y="988"/>
                  </a:lnTo>
                  <a:lnTo>
                    <a:pt x="213" y="986"/>
                  </a:lnTo>
                  <a:close/>
                  <a:moveTo>
                    <a:pt x="223" y="986"/>
                  </a:moveTo>
                  <a:lnTo>
                    <a:pt x="220" y="986"/>
                  </a:lnTo>
                  <a:lnTo>
                    <a:pt x="223" y="986"/>
                  </a:lnTo>
                  <a:close/>
                  <a:moveTo>
                    <a:pt x="225" y="984"/>
                  </a:moveTo>
                  <a:lnTo>
                    <a:pt x="223" y="984"/>
                  </a:lnTo>
                  <a:lnTo>
                    <a:pt x="225" y="984"/>
                  </a:lnTo>
                  <a:close/>
                  <a:moveTo>
                    <a:pt x="204" y="984"/>
                  </a:moveTo>
                  <a:lnTo>
                    <a:pt x="201" y="984"/>
                  </a:lnTo>
                  <a:lnTo>
                    <a:pt x="204" y="984"/>
                  </a:lnTo>
                  <a:close/>
                  <a:moveTo>
                    <a:pt x="223" y="984"/>
                  </a:moveTo>
                  <a:lnTo>
                    <a:pt x="220" y="984"/>
                  </a:lnTo>
                  <a:lnTo>
                    <a:pt x="223" y="984"/>
                  </a:lnTo>
                  <a:lnTo>
                    <a:pt x="220" y="986"/>
                  </a:lnTo>
                  <a:lnTo>
                    <a:pt x="220" y="984"/>
                  </a:lnTo>
                  <a:lnTo>
                    <a:pt x="220" y="986"/>
                  </a:lnTo>
                  <a:lnTo>
                    <a:pt x="220" y="984"/>
                  </a:lnTo>
                  <a:lnTo>
                    <a:pt x="223" y="984"/>
                  </a:lnTo>
                  <a:close/>
                  <a:moveTo>
                    <a:pt x="208" y="981"/>
                  </a:moveTo>
                  <a:lnTo>
                    <a:pt x="208" y="984"/>
                  </a:lnTo>
                  <a:lnTo>
                    <a:pt x="208" y="981"/>
                  </a:lnTo>
                  <a:close/>
                  <a:moveTo>
                    <a:pt x="204" y="981"/>
                  </a:moveTo>
                  <a:lnTo>
                    <a:pt x="204" y="984"/>
                  </a:lnTo>
                  <a:lnTo>
                    <a:pt x="201" y="984"/>
                  </a:lnTo>
                  <a:lnTo>
                    <a:pt x="204" y="984"/>
                  </a:lnTo>
                  <a:lnTo>
                    <a:pt x="201" y="984"/>
                  </a:lnTo>
                  <a:lnTo>
                    <a:pt x="204" y="984"/>
                  </a:lnTo>
                  <a:lnTo>
                    <a:pt x="204" y="981"/>
                  </a:lnTo>
                  <a:close/>
                  <a:moveTo>
                    <a:pt x="216" y="984"/>
                  </a:moveTo>
                  <a:lnTo>
                    <a:pt x="213" y="984"/>
                  </a:lnTo>
                  <a:lnTo>
                    <a:pt x="213" y="981"/>
                  </a:lnTo>
                  <a:lnTo>
                    <a:pt x="216" y="981"/>
                  </a:lnTo>
                  <a:lnTo>
                    <a:pt x="216" y="984"/>
                  </a:lnTo>
                  <a:close/>
                  <a:moveTo>
                    <a:pt x="227" y="984"/>
                  </a:moveTo>
                  <a:lnTo>
                    <a:pt x="225" y="984"/>
                  </a:lnTo>
                  <a:lnTo>
                    <a:pt x="225" y="981"/>
                  </a:lnTo>
                  <a:lnTo>
                    <a:pt x="225" y="984"/>
                  </a:lnTo>
                  <a:lnTo>
                    <a:pt x="225" y="981"/>
                  </a:lnTo>
                  <a:lnTo>
                    <a:pt x="227" y="981"/>
                  </a:lnTo>
                  <a:lnTo>
                    <a:pt x="227" y="984"/>
                  </a:lnTo>
                  <a:close/>
                  <a:moveTo>
                    <a:pt x="213" y="981"/>
                  </a:moveTo>
                  <a:lnTo>
                    <a:pt x="216" y="981"/>
                  </a:lnTo>
                  <a:lnTo>
                    <a:pt x="218" y="981"/>
                  </a:lnTo>
                  <a:lnTo>
                    <a:pt x="216" y="981"/>
                  </a:lnTo>
                  <a:lnTo>
                    <a:pt x="213" y="981"/>
                  </a:lnTo>
                  <a:lnTo>
                    <a:pt x="213" y="984"/>
                  </a:lnTo>
                  <a:lnTo>
                    <a:pt x="211" y="984"/>
                  </a:lnTo>
                  <a:lnTo>
                    <a:pt x="211" y="986"/>
                  </a:lnTo>
                  <a:lnTo>
                    <a:pt x="211" y="984"/>
                  </a:lnTo>
                  <a:lnTo>
                    <a:pt x="208" y="984"/>
                  </a:lnTo>
                  <a:lnTo>
                    <a:pt x="211" y="984"/>
                  </a:lnTo>
                  <a:lnTo>
                    <a:pt x="208" y="984"/>
                  </a:lnTo>
                  <a:lnTo>
                    <a:pt x="208" y="986"/>
                  </a:lnTo>
                  <a:lnTo>
                    <a:pt x="206" y="988"/>
                  </a:lnTo>
                  <a:lnTo>
                    <a:pt x="206" y="986"/>
                  </a:lnTo>
                  <a:lnTo>
                    <a:pt x="206" y="988"/>
                  </a:lnTo>
                  <a:lnTo>
                    <a:pt x="204" y="988"/>
                  </a:lnTo>
                  <a:lnTo>
                    <a:pt x="206" y="988"/>
                  </a:lnTo>
                  <a:lnTo>
                    <a:pt x="204" y="988"/>
                  </a:lnTo>
                  <a:lnTo>
                    <a:pt x="201" y="988"/>
                  </a:lnTo>
                  <a:lnTo>
                    <a:pt x="204" y="988"/>
                  </a:lnTo>
                  <a:lnTo>
                    <a:pt x="201" y="988"/>
                  </a:lnTo>
                  <a:lnTo>
                    <a:pt x="204" y="988"/>
                  </a:lnTo>
                  <a:lnTo>
                    <a:pt x="201" y="988"/>
                  </a:lnTo>
                  <a:lnTo>
                    <a:pt x="204" y="988"/>
                  </a:lnTo>
                  <a:lnTo>
                    <a:pt x="201" y="988"/>
                  </a:lnTo>
                  <a:lnTo>
                    <a:pt x="204" y="988"/>
                  </a:lnTo>
                  <a:lnTo>
                    <a:pt x="204" y="986"/>
                  </a:lnTo>
                  <a:lnTo>
                    <a:pt x="204" y="988"/>
                  </a:lnTo>
                  <a:lnTo>
                    <a:pt x="201" y="988"/>
                  </a:lnTo>
                  <a:lnTo>
                    <a:pt x="201" y="986"/>
                  </a:lnTo>
                  <a:lnTo>
                    <a:pt x="204" y="986"/>
                  </a:lnTo>
                  <a:lnTo>
                    <a:pt x="204" y="988"/>
                  </a:lnTo>
                  <a:lnTo>
                    <a:pt x="204" y="986"/>
                  </a:lnTo>
                  <a:lnTo>
                    <a:pt x="201" y="986"/>
                  </a:lnTo>
                  <a:lnTo>
                    <a:pt x="201" y="988"/>
                  </a:lnTo>
                  <a:lnTo>
                    <a:pt x="201" y="986"/>
                  </a:lnTo>
                  <a:lnTo>
                    <a:pt x="204" y="986"/>
                  </a:lnTo>
                  <a:lnTo>
                    <a:pt x="204" y="984"/>
                  </a:lnTo>
                  <a:lnTo>
                    <a:pt x="206" y="984"/>
                  </a:lnTo>
                  <a:lnTo>
                    <a:pt x="208" y="984"/>
                  </a:lnTo>
                  <a:lnTo>
                    <a:pt x="211" y="984"/>
                  </a:lnTo>
                  <a:lnTo>
                    <a:pt x="208" y="981"/>
                  </a:lnTo>
                  <a:lnTo>
                    <a:pt x="211" y="981"/>
                  </a:lnTo>
                  <a:lnTo>
                    <a:pt x="208" y="981"/>
                  </a:lnTo>
                  <a:lnTo>
                    <a:pt x="211" y="981"/>
                  </a:lnTo>
                  <a:lnTo>
                    <a:pt x="211" y="984"/>
                  </a:lnTo>
                  <a:lnTo>
                    <a:pt x="211" y="981"/>
                  </a:lnTo>
                  <a:lnTo>
                    <a:pt x="213" y="981"/>
                  </a:lnTo>
                  <a:lnTo>
                    <a:pt x="211" y="981"/>
                  </a:lnTo>
                  <a:lnTo>
                    <a:pt x="213" y="981"/>
                  </a:lnTo>
                  <a:close/>
                  <a:moveTo>
                    <a:pt x="208" y="979"/>
                  </a:moveTo>
                  <a:lnTo>
                    <a:pt x="211" y="979"/>
                  </a:lnTo>
                  <a:lnTo>
                    <a:pt x="208" y="979"/>
                  </a:lnTo>
                  <a:lnTo>
                    <a:pt x="208" y="981"/>
                  </a:lnTo>
                  <a:lnTo>
                    <a:pt x="208" y="979"/>
                  </a:lnTo>
                  <a:close/>
                  <a:moveTo>
                    <a:pt x="206" y="979"/>
                  </a:moveTo>
                  <a:lnTo>
                    <a:pt x="208" y="979"/>
                  </a:lnTo>
                  <a:lnTo>
                    <a:pt x="206" y="979"/>
                  </a:lnTo>
                  <a:lnTo>
                    <a:pt x="208" y="979"/>
                  </a:lnTo>
                  <a:lnTo>
                    <a:pt x="206" y="979"/>
                  </a:lnTo>
                  <a:close/>
                  <a:moveTo>
                    <a:pt x="235" y="979"/>
                  </a:moveTo>
                  <a:lnTo>
                    <a:pt x="232" y="979"/>
                  </a:lnTo>
                  <a:lnTo>
                    <a:pt x="235" y="979"/>
                  </a:lnTo>
                  <a:close/>
                  <a:moveTo>
                    <a:pt x="235" y="972"/>
                  </a:moveTo>
                  <a:lnTo>
                    <a:pt x="235" y="974"/>
                  </a:lnTo>
                  <a:lnTo>
                    <a:pt x="237" y="974"/>
                  </a:lnTo>
                  <a:lnTo>
                    <a:pt x="237" y="972"/>
                  </a:lnTo>
                  <a:lnTo>
                    <a:pt x="237" y="974"/>
                  </a:lnTo>
                  <a:lnTo>
                    <a:pt x="235" y="974"/>
                  </a:lnTo>
                  <a:lnTo>
                    <a:pt x="235" y="977"/>
                  </a:lnTo>
                  <a:lnTo>
                    <a:pt x="232" y="977"/>
                  </a:lnTo>
                  <a:lnTo>
                    <a:pt x="235" y="977"/>
                  </a:lnTo>
                  <a:lnTo>
                    <a:pt x="232" y="977"/>
                  </a:lnTo>
                  <a:lnTo>
                    <a:pt x="235" y="977"/>
                  </a:lnTo>
                  <a:lnTo>
                    <a:pt x="232" y="977"/>
                  </a:lnTo>
                  <a:lnTo>
                    <a:pt x="230" y="977"/>
                  </a:lnTo>
                  <a:lnTo>
                    <a:pt x="227" y="977"/>
                  </a:lnTo>
                  <a:lnTo>
                    <a:pt x="230" y="977"/>
                  </a:lnTo>
                  <a:lnTo>
                    <a:pt x="227" y="977"/>
                  </a:lnTo>
                  <a:lnTo>
                    <a:pt x="230" y="977"/>
                  </a:lnTo>
                  <a:lnTo>
                    <a:pt x="227" y="977"/>
                  </a:lnTo>
                  <a:lnTo>
                    <a:pt x="230" y="977"/>
                  </a:lnTo>
                  <a:lnTo>
                    <a:pt x="230" y="974"/>
                  </a:lnTo>
                  <a:lnTo>
                    <a:pt x="230" y="977"/>
                  </a:lnTo>
                  <a:lnTo>
                    <a:pt x="227" y="977"/>
                  </a:lnTo>
                  <a:lnTo>
                    <a:pt x="230" y="977"/>
                  </a:lnTo>
                  <a:lnTo>
                    <a:pt x="230" y="974"/>
                  </a:lnTo>
                  <a:lnTo>
                    <a:pt x="232" y="974"/>
                  </a:lnTo>
                  <a:lnTo>
                    <a:pt x="235" y="974"/>
                  </a:lnTo>
                  <a:lnTo>
                    <a:pt x="235" y="972"/>
                  </a:lnTo>
                  <a:lnTo>
                    <a:pt x="235" y="974"/>
                  </a:lnTo>
                  <a:lnTo>
                    <a:pt x="235" y="972"/>
                  </a:lnTo>
                  <a:close/>
                  <a:moveTo>
                    <a:pt x="237" y="972"/>
                  </a:moveTo>
                  <a:lnTo>
                    <a:pt x="235" y="972"/>
                  </a:lnTo>
                  <a:lnTo>
                    <a:pt x="237" y="972"/>
                  </a:lnTo>
                  <a:close/>
                  <a:moveTo>
                    <a:pt x="256" y="972"/>
                  </a:moveTo>
                  <a:lnTo>
                    <a:pt x="258" y="972"/>
                  </a:lnTo>
                  <a:lnTo>
                    <a:pt x="261" y="972"/>
                  </a:lnTo>
                  <a:lnTo>
                    <a:pt x="258" y="972"/>
                  </a:lnTo>
                  <a:lnTo>
                    <a:pt x="258" y="974"/>
                  </a:lnTo>
                  <a:lnTo>
                    <a:pt x="256" y="974"/>
                  </a:lnTo>
                  <a:lnTo>
                    <a:pt x="256" y="972"/>
                  </a:lnTo>
                  <a:lnTo>
                    <a:pt x="254" y="972"/>
                  </a:lnTo>
                  <a:lnTo>
                    <a:pt x="256" y="972"/>
                  </a:lnTo>
                  <a:close/>
                  <a:moveTo>
                    <a:pt x="256" y="969"/>
                  </a:moveTo>
                  <a:lnTo>
                    <a:pt x="258" y="969"/>
                  </a:lnTo>
                  <a:lnTo>
                    <a:pt x="256" y="969"/>
                  </a:lnTo>
                  <a:close/>
                  <a:moveTo>
                    <a:pt x="244" y="969"/>
                  </a:moveTo>
                  <a:lnTo>
                    <a:pt x="242" y="969"/>
                  </a:lnTo>
                  <a:lnTo>
                    <a:pt x="244" y="967"/>
                  </a:lnTo>
                  <a:lnTo>
                    <a:pt x="244" y="969"/>
                  </a:lnTo>
                  <a:close/>
                  <a:moveTo>
                    <a:pt x="211" y="967"/>
                  </a:moveTo>
                  <a:lnTo>
                    <a:pt x="211" y="969"/>
                  </a:lnTo>
                  <a:lnTo>
                    <a:pt x="211" y="967"/>
                  </a:lnTo>
                  <a:lnTo>
                    <a:pt x="211" y="969"/>
                  </a:lnTo>
                  <a:lnTo>
                    <a:pt x="211" y="967"/>
                  </a:lnTo>
                  <a:close/>
                  <a:moveTo>
                    <a:pt x="256" y="969"/>
                  </a:moveTo>
                  <a:lnTo>
                    <a:pt x="256" y="967"/>
                  </a:lnTo>
                  <a:lnTo>
                    <a:pt x="256" y="969"/>
                  </a:lnTo>
                  <a:close/>
                  <a:moveTo>
                    <a:pt x="244" y="967"/>
                  </a:moveTo>
                  <a:lnTo>
                    <a:pt x="246" y="967"/>
                  </a:lnTo>
                  <a:lnTo>
                    <a:pt x="244" y="969"/>
                  </a:lnTo>
                  <a:lnTo>
                    <a:pt x="244" y="967"/>
                  </a:lnTo>
                  <a:close/>
                  <a:moveTo>
                    <a:pt x="256" y="967"/>
                  </a:moveTo>
                  <a:lnTo>
                    <a:pt x="256" y="965"/>
                  </a:lnTo>
                  <a:lnTo>
                    <a:pt x="256" y="967"/>
                  </a:lnTo>
                  <a:lnTo>
                    <a:pt x="256" y="965"/>
                  </a:lnTo>
                  <a:lnTo>
                    <a:pt x="256" y="967"/>
                  </a:lnTo>
                  <a:close/>
                  <a:moveTo>
                    <a:pt x="256" y="965"/>
                  </a:moveTo>
                  <a:lnTo>
                    <a:pt x="258" y="965"/>
                  </a:lnTo>
                  <a:lnTo>
                    <a:pt x="256" y="965"/>
                  </a:lnTo>
                  <a:close/>
                  <a:moveTo>
                    <a:pt x="246" y="965"/>
                  </a:moveTo>
                  <a:lnTo>
                    <a:pt x="244" y="965"/>
                  </a:lnTo>
                  <a:lnTo>
                    <a:pt x="246" y="965"/>
                  </a:lnTo>
                  <a:close/>
                  <a:moveTo>
                    <a:pt x="249" y="960"/>
                  </a:moveTo>
                  <a:lnTo>
                    <a:pt x="249" y="958"/>
                  </a:lnTo>
                  <a:lnTo>
                    <a:pt x="249" y="960"/>
                  </a:lnTo>
                  <a:close/>
                  <a:moveTo>
                    <a:pt x="246" y="958"/>
                  </a:moveTo>
                  <a:lnTo>
                    <a:pt x="244" y="958"/>
                  </a:lnTo>
                  <a:lnTo>
                    <a:pt x="246" y="958"/>
                  </a:lnTo>
                  <a:close/>
                  <a:moveTo>
                    <a:pt x="246" y="958"/>
                  </a:moveTo>
                  <a:lnTo>
                    <a:pt x="244" y="958"/>
                  </a:lnTo>
                  <a:lnTo>
                    <a:pt x="246" y="958"/>
                  </a:lnTo>
                  <a:close/>
                  <a:moveTo>
                    <a:pt x="246" y="958"/>
                  </a:moveTo>
                  <a:lnTo>
                    <a:pt x="244" y="958"/>
                  </a:lnTo>
                  <a:lnTo>
                    <a:pt x="246" y="955"/>
                  </a:lnTo>
                  <a:lnTo>
                    <a:pt x="246" y="958"/>
                  </a:lnTo>
                  <a:close/>
                  <a:moveTo>
                    <a:pt x="249" y="958"/>
                  </a:moveTo>
                  <a:lnTo>
                    <a:pt x="249" y="955"/>
                  </a:lnTo>
                  <a:lnTo>
                    <a:pt x="249" y="958"/>
                  </a:lnTo>
                  <a:close/>
                  <a:moveTo>
                    <a:pt x="254" y="955"/>
                  </a:moveTo>
                  <a:lnTo>
                    <a:pt x="251" y="955"/>
                  </a:lnTo>
                  <a:lnTo>
                    <a:pt x="254" y="955"/>
                  </a:lnTo>
                  <a:close/>
                  <a:moveTo>
                    <a:pt x="246" y="955"/>
                  </a:moveTo>
                  <a:lnTo>
                    <a:pt x="246" y="953"/>
                  </a:lnTo>
                  <a:lnTo>
                    <a:pt x="246" y="955"/>
                  </a:lnTo>
                  <a:close/>
                  <a:moveTo>
                    <a:pt x="246" y="953"/>
                  </a:moveTo>
                  <a:lnTo>
                    <a:pt x="246" y="955"/>
                  </a:lnTo>
                  <a:lnTo>
                    <a:pt x="244" y="955"/>
                  </a:lnTo>
                  <a:lnTo>
                    <a:pt x="246" y="953"/>
                  </a:lnTo>
                  <a:lnTo>
                    <a:pt x="244" y="955"/>
                  </a:lnTo>
                  <a:lnTo>
                    <a:pt x="244" y="953"/>
                  </a:lnTo>
                  <a:lnTo>
                    <a:pt x="246" y="953"/>
                  </a:lnTo>
                  <a:close/>
                  <a:moveTo>
                    <a:pt x="249" y="953"/>
                  </a:moveTo>
                  <a:lnTo>
                    <a:pt x="251" y="953"/>
                  </a:lnTo>
                  <a:lnTo>
                    <a:pt x="251" y="955"/>
                  </a:lnTo>
                  <a:lnTo>
                    <a:pt x="251" y="953"/>
                  </a:lnTo>
                  <a:lnTo>
                    <a:pt x="251" y="955"/>
                  </a:lnTo>
                  <a:lnTo>
                    <a:pt x="251" y="953"/>
                  </a:lnTo>
                  <a:lnTo>
                    <a:pt x="249" y="955"/>
                  </a:lnTo>
                  <a:lnTo>
                    <a:pt x="249" y="953"/>
                  </a:lnTo>
                  <a:lnTo>
                    <a:pt x="251" y="953"/>
                  </a:lnTo>
                  <a:lnTo>
                    <a:pt x="249" y="953"/>
                  </a:lnTo>
                  <a:lnTo>
                    <a:pt x="251" y="953"/>
                  </a:lnTo>
                  <a:lnTo>
                    <a:pt x="249" y="953"/>
                  </a:lnTo>
                  <a:lnTo>
                    <a:pt x="249" y="955"/>
                  </a:lnTo>
                  <a:lnTo>
                    <a:pt x="249" y="958"/>
                  </a:lnTo>
                  <a:lnTo>
                    <a:pt x="246" y="958"/>
                  </a:lnTo>
                  <a:lnTo>
                    <a:pt x="246" y="955"/>
                  </a:lnTo>
                  <a:lnTo>
                    <a:pt x="246" y="958"/>
                  </a:lnTo>
                  <a:lnTo>
                    <a:pt x="246" y="955"/>
                  </a:lnTo>
                  <a:lnTo>
                    <a:pt x="246" y="958"/>
                  </a:lnTo>
                  <a:lnTo>
                    <a:pt x="246" y="955"/>
                  </a:lnTo>
                  <a:lnTo>
                    <a:pt x="249" y="955"/>
                  </a:lnTo>
                  <a:lnTo>
                    <a:pt x="246" y="955"/>
                  </a:lnTo>
                  <a:lnTo>
                    <a:pt x="249" y="955"/>
                  </a:lnTo>
                  <a:lnTo>
                    <a:pt x="249" y="953"/>
                  </a:lnTo>
                  <a:lnTo>
                    <a:pt x="249" y="955"/>
                  </a:lnTo>
                  <a:lnTo>
                    <a:pt x="249" y="953"/>
                  </a:lnTo>
                  <a:close/>
                  <a:moveTo>
                    <a:pt x="249" y="953"/>
                  </a:moveTo>
                  <a:lnTo>
                    <a:pt x="249" y="955"/>
                  </a:lnTo>
                  <a:lnTo>
                    <a:pt x="249" y="953"/>
                  </a:lnTo>
                  <a:lnTo>
                    <a:pt x="246" y="955"/>
                  </a:lnTo>
                  <a:lnTo>
                    <a:pt x="246" y="953"/>
                  </a:lnTo>
                  <a:lnTo>
                    <a:pt x="249" y="953"/>
                  </a:lnTo>
                  <a:lnTo>
                    <a:pt x="246" y="953"/>
                  </a:lnTo>
                  <a:lnTo>
                    <a:pt x="249" y="953"/>
                  </a:lnTo>
                  <a:lnTo>
                    <a:pt x="249" y="950"/>
                  </a:lnTo>
                  <a:lnTo>
                    <a:pt x="249" y="953"/>
                  </a:lnTo>
                  <a:close/>
                  <a:moveTo>
                    <a:pt x="249" y="950"/>
                  </a:moveTo>
                  <a:lnTo>
                    <a:pt x="249" y="953"/>
                  </a:lnTo>
                  <a:lnTo>
                    <a:pt x="246" y="953"/>
                  </a:lnTo>
                  <a:lnTo>
                    <a:pt x="249" y="953"/>
                  </a:lnTo>
                  <a:lnTo>
                    <a:pt x="246" y="953"/>
                  </a:lnTo>
                  <a:lnTo>
                    <a:pt x="249" y="950"/>
                  </a:lnTo>
                  <a:close/>
                  <a:moveTo>
                    <a:pt x="251" y="943"/>
                  </a:moveTo>
                  <a:lnTo>
                    <a:pt x="251" y="946"/>
                  </a:lnTo>
                  <a:lnTo>
                    <a:pt x="249" y="946"/>
                  </a:lnTo>
                  <a:lnTo>
                    <a:pt x="249" y="943"/>
                  </a:lnTo>
                  <a:lnTo>
                    <a:pt x="251" y="943"/>
                  </a:lnTo>
                  <a:close/>
                  <a:moveTo>
                    <a:pt x="235" y="941"/>
                  </a:moveTo>
                  <a:lnTo>
                    <a:pt x="237" y="941"/>
                  </a:lnTo>
                  <a:lnTo>
                    <a:pt x="237" y="943"/>
                  </a:lnTo>
                  <a:lnTo>
                    <a:pt x="235" y="943"/>
                  </a:lnTo>
                  <a:lnTo>
                    <a:pt x="235" y="941"/>
                  </a:lnTo>
                  <a:close/>
                  <a:moveTo>
                    <a:pt x="239" y="941"/>
                  </a:moveTo>
                  <a:lnTo>
                    <a:pt x="237" y="941"/>
                  </a:lnTo>
                  <a:lnTo>
                    <a:pt x="239" y="941"/>
                  </a:lnTo>
                  <a:lnTo>
                    <a:pt x="237" y="941"/>
                  </a:lnTo>
                  <a:lnTo>
                    <a:pt x="239" y="941"/>
                  </a:lnTo>
                  <a:close/>
                  <a:moveTo>
                    <a:pt x="249" y="941"/>
                  </a:moveTo>
                  <a:lnTo>
                    <a:pt x="249" y="943"/>
                  </a:lnTo>
                  <a:lnTo>
                    <a:pt x="246" y="943"/>
                  </a:lnTo>
                  <a:lnTo>
                    <a:pt x="246" y="941"/>
                  </a:lnTo>
                  <a:lnTo>
                    <a:pt x="246" y="943"/>
                  </a:lnTo>
                  <a:lnTo>
                    <a:pt x="246" y="941"/>
                  </a:lnTo>
                  <a:lnTo>
                    <a:pt x="246" y="943"/>
                  </a:lnTo>
                  <a:lnTo>
                    <a:pt x="246" y="941"/>
                  </a:lnTo>
                  <a:lnTo>
                    <a:pt x="246" y="943"/>
                  </a:lnTo>
                  <a:lnTo>
                    <a:pt x="246" y="941"/>
                  </a:lnTo>
                  <a:lnTo>
                    <a:pt x="249" y="941"/>
                  </a:lnTo>
                  <a:close/>
                  <a:moveTo>
                    <a:pt x="246" y="941"/>
                  </a:moveTo>
                  <a:lnTo>
                    <a:pt x="244" y="941"/>
                  </a:lnTo>
                  <a:lnTo>
                    <a:pt x="244" y="939"/>
                  </a:lnTo>
                  <a:lnTo>
                    <a:pt x="246" y="941"/>
                  </a:lnTo>
                  <a:close/>
                  <a:moveTo>
                    <a:pt x="244" y="939"/>
                  </a:moveTo>
                  <a:lnTo>
                    <a:pt x="244" y="941"/>
                  </a:lnTo>
                  <a:lnTo>
                    <a:pt x="244" y="939"/>
                  </a:lnTo>
                  <a:close/>
                  <a:moveTo>
                    <a:pt x="244" y="939"/>
                  </a:moveTo>
                  <a:lnTo>
                    <a:pt x="242" y="939"/>
                  </a:lnTo>
                  <a:lnTo>
                    <a:pt x="244" y="939"/>
                  </a:lnTo>
                  <a:lnTo>
                    <a:pt x="242" y="939"/>
                  </a:lnTo>
                  <a:lnTo>
                    <a:pt x="244" y="939"/>
                  </a:lnTo>
                  <a:close/>
                  <a:moveTo>
                    <a:pt x="258" y="941"/>
                  </a:moveTo>
                  <a:lnTo>
                    <a:pt x="256" y="941"/>
                  </a:lnTo>
                  <a:lnTo>
                    <a:pt x="256" y="943"/>
                  </a:lnTo>
                  <a:lnTo>
                    <a:pt x="254" y="943"/>
                  </a:lnTo>
                  <a:lnTo>
                    <a:pt x="256" y="943"/>
                  </a:lnTo>
                  <a:lnTo>
                    <a:pt x="256" y="941"/>
                  </a:lnTo>
                  <a:lnTo>
                    <a:pt x="258" y="941"/>
                  </a:lnTo>
                  <a:lnTo>
                    <a:pt x="258" y="939"/>
                  </a:lnTo>
                  <a:lnTo>
                    <a:pt x="261" y="939"/>
                  </a:lnTo>
                  <a:lnTo>
                    <a:pt x="258" y="939"/>
                  </a:lnTo>
                  <a:lnTo>
                    <a:pt x="261" y="939"/>
                  </a:lnTo>
                  <a:lnTo>
                    <a:pt x="258" y="939"/>
                  </a:lnTo>
                  <a:lnTo>
                    <a:pt x="258" y="941"/>
                  </a:lnTo>
                  <a:close/>
                  <a:moveTo>
                    <a:pt x="246" y="939"/>
                  </a:moveTo>
                  <a:lnTo>
                    <a:pt x="246" y="936"/>
                  </a:lnTo>
                  <a:lnTo>
                    <a:pt x="246" y="939"/>
                  </a:lnTo>
                  <a:close/>
                  <a:moveTo>
                    <a:pt x="254" y="934"/>
                  </a:moveTo>
                  <a:lnTo>
                    <a:pt x="254" y="936"/>
                  </a:lnTo>
                  <a:lnTo>
                    <a:pt x="251" y="936"/>
                  </a:lnTo>
                  <a:lnTo>
                    <a:pt x="254" y="936"/>
                  </a:lnTo>
                  <a:lnTo>
                    <a:pt x="251" y="934"/>
                  </a:lnTo>
                  <a:lnTo>
                    <a:pt x="254" y="934"/>
                  </a:lnTo>
                  <a:close/>
                  <a:moveTo>
                    <a:pt x="261" y="934"/>
                  </a:moveTo>
                  <a:lnTo>
                    <a:pt x="261" y="936"/>
                  </a:lnTo>
                  <a:lnTo>
                    <a:pt x="258" y="936"/>
                  </a:lnTo>
                  <a:lnTo>
                    <a:pt x="258" y="939"/>
                  </a:lnTo>
                  <a:lnTo>
                    <a:pt x="256" y="939"/>
                  </a:lnTo>
                  <a:lnTo>
                    <a:pt x="258" y="939"/>
                  </a:lnTo>
                  <a:lnTo>
                    <a:pt x="256" y="939"/>
                  </a:lnTo>
                  <a:lnTo>
                    <a:pt x="258" y="939"/>
                  </a:lnTo>
                  <a:lnTo>
                    <a:pt x="258" y="936"/>
                  </a:lnTo>
                  <a:lnTo>
                    <a:pt x="261" y="936"/>
                  </a:lnTo>
                  <a:lnTo>
                    <a:pt x="261" y="934"/>
                  </a:lnTo>
                  <a:close/>
                  <a:moveTo>
                    <a:pt x="251" y="934"/>
                  </a:moveTo>
                  <a:lnTo>
                    <a:pt x="251" y="936"/>
                  </a:lnTo>
                  <a:lnTo>
                    <a:pt x="251" y="934"/>
                  </a:lnTo>
                  <a:close/>
                  <a:moveTo>
                    <a:pt x="249" y="934"/>
                  </a:moveTo>
                  <a:lnTo>
                    <a:pt x="246" y="934"/>
                  </a:lnTo>
                  <a:lnTo>
                    <a:pt x="249" y="934"/>
                  </a:lnTo>
                  <a:close/>
                  <a:moveTo>
                    <a:pt x="263" y="931"/>
                  </a:moveTo>
                  <a:lnTo>
                    <a:pt x="263" y="934"/>
                  </a:lnTo>
                  <a:lnTo>
                    <a:pt x="263" y="936"/>
                  </a:lnTo>
                  <a:lnTo>
                    <a:pt x="263" y="934"/>
                  </a:lnTo>
                  <a:lnTo>
                    <a:pt x="263" y="936"/>
                  </a:lnTo>
                  <a:lnTo>
                    <a:pt x="263" y="934"/>
                  </a:lnTo>
                  <a:lnTo>
                    <a:pt x="263" y="936"/>
                  </a:lnTo>
                  <a:lnTo>
                    <a:pt x="261" y="936"/>
                  </a:lnTo>
                  <a:lnTo>
                    <a:pt x="263" y="934"/>
                  </a:lnTo>
                  <a:lnTo>
                    <a:pt x="263" y="931"/>
                  </a:lnTo>
                  <a:close/>
                  <a:moveTo>
                    <a:pt x="249" y="934"/>
                  </a:moveTo>
                  <a:lnTo>
                    <a:pt x="249" y="931"/>
                  </a:lnTo>
                  <a:lnTo>
                    <a:pt x="249" y="934"/>
                  </a:lnTo>
                  <a:close/>
                  <a:moveTo>
                    <a:pt x="251" y="931"/>
                  </a:moveTo>
                  <a:lnTo>
                    <a:pt x="251" y="934"/>
                  </a:lnTo>
                  <a:lnTo>
                    <a:pt x="251" y="931"/>
                  </a:lnTo>
                  <a:close/>
                  <a:moveTo>
                    <a:pt x="254" y="934"/>
                  </a:moveTo>
                  <a:lnTo>
                    <a:pt x="254" y="931"/>
                  </a:lnTo>
                  <a:lnTo>
                    <a:pt x="254" y="934"/>
                  </a:lnTo>
                  <a:close/>
                  <a:moveTo>
                    <a:pt x="237" y="931"/>
                  </a:moveTo>
                  <a:lnTo>
                    <a:pt x="235" y="931"/>
                  </a:lnTo>
                  <a:lnTo>
                    <a:pt x="237" y="931"/>
                  </a:lnTo>
                  <a:close/>
                  <a:moveTo>
                    <a:pt x="261" y="931"/>
                  </a:moveTo>
                  <a:lnTo>
                    <a:pt x="261" y="934"/>
                  </a:lnTo>
                  <a:lnTo>
                    <a:pt x="258" y="934"/>
                  </a:lnTo>
                  <a:lnTo>
                    <a:pt x="261" y="934"/>
                  </a:lnTo>
                  <a:lnTo>
                    <a:pt x="258" y="934"/>
                  </a:lnTo>
                  <a:lnTo>
                    <a:pt x="258" y="931"/>
                  </a:lnTo>
                  <a:lnTo>
                    <a:pt x="258" y="934"/>
                  </a:lnTo>
                  <a:lnTo>
                    <a:pt x="258" y="931"/>
                  </a:lnTo>
                  <a:lnTo>
                    <a:pt x="261" y="931"/>
                  </a:lnTo>
                  <a:close/>
                  <a:moveTo>
                    <a:pt x="251" y="931"/>
                  </a:moveTo>
                  <a:lnTo>
                    <a:pt x="249" y="931"/>
                  </a:lnTo>
                  <a:lnTo>
                    <a:pt x="251" y="931"/>
                  </a:lnTo>
                  <a:lnTo>
                    <a:pt x="249" y="931"/>
                  </a:lnTo>
                  <a:lnTo>
                    <a:pt x="251" y="931"/>
                  </a:lnTo>
                  <a:close/>
                  <a:moveTo>
                    <a:pt x="256" y="934"/>
                  </a:moveTo>
                  <a:lnTo>
                    <a:pt x="256" y="931"/>
                  </a:lnTo>
                  <a:lnTo>
                    <a:pt x="256" y="934"/>
                  </a:lnTo>
                  <a:close/>
                  <a:moveTo>
                    <a:pt x="265" y="931"/>
                  </a:moveTo>
                  <a:lnTo>
                    <a:pt x="263" y="931"/>
                  </a:lnTo>
                  <a:lnTo>
                    <a:pt x="265" y="931"/>
                  </a:lnTo>
                  <a:close/>
                  <a:moveTo>
                    <a:pt x="237" y="931"/>
                  </a:moveTo>
                  <a:lnTo>
                    <a:pt x="239" y="929"/>
                  </a:lnTo>
                  <a:lnTo>
                    <a:pt x="239" y="931"/>
                  </a:lnTo>
                  <a:lnTo>
                    <a:pt x="237" y="931"/>
                  </a:lnTo>
                  <a:close/>
                  <a:moveTo>
                    <a:pt x="256" y="931"/>
                  </a:moveTo>
                  <a:lnTo>
                    <a:pt x="256" y="929"/>
                  </a:lnTo>
                  <a:lnTo>
                    <a:pt x="256" y="931"/>
                  </a:lnTo>
                  <a:close/>
                  <a:moveTo>
                    <a:pt x="265" y="931"/>
                  </a:moveTo>
                  <a:lnTo>
                    <a:pt x="263" y="931"/>
                  </a:lnTo>
                  <a:lnTo>
                    <a:pt x="265" y="931"/>
                  </a:lnTo>
                  <a:lnTo>
                    <a:pt x="265" y="929"/>
                  </a:lnTo>
                  <a:lnTo>
                    <a:pt x="265" y="931"/>
                  </a:lnTo>
                  <a:close/>
                  <a:moveTo>
                    <a:pt x="237" y="931"/>
                  </a:moveTo>
                  <a:lnTo>
                    <a:pt x="237" y="929"/>
                  </a:lnTo>
                  <a:lnTo>
                    <a:pt x="239" y="929"/>
                  </a:lnTo>
                  <a:lnTo>
                    <a:pt x="237" y="931"/>
                  </a:lnTo>
                  <a:close/>
                  <a:moveTo>
                    <a:pt x="254" y="929"/>
                  </a:moveTo>
                  <a:lnTo>
                    <a:pt x="251" y="929"/>
                  </a:lnTo>
                  <a:lnTo>
                    <a:pt x="254" y="929"/>
                  </a:lnTo>
                  <a:close/>
                  <a:moveTo>
                    <a:pt x="249" y="929"/>
                  </a:moveTo>
                  <a:lnTo>
                    <a:pt x="246" y="929"/>
                  </a:lnTo>
                  <a:lnTo>
                    <a:pt x="249" y="929"/>
                  </a:lnTo>
                  <a:close/>
                  <a:moveTo>
                    <a:pt x="254" y="929"/>
                  </a:moveTo>
                  <a:lnTo>
                    <a:pt x="254" y="927"/>
                  </a:lnTo>
                  <a:lnTo>
                    <a:pt x="254" y="929"/>
                  </a:lnTo>
                  <a:close/>
                  <a:moveTo>
                    <a:pt x="249" y="927"/>
                  </a:moveTo>
                  <a:lnTo>
                    <a:pt x="249" y="929"/>
                  </a:lnTo>
                  <a:lnTo>
                    <a:pt x="249" y="927"/>
                  </a:lnTo>
                  <a:close/>
                  <a:moveTo>
                    <a:pt x="251" y="927"/>
                  </a:moveTo>
                  <a:lnTo>
                    <a:pt x="251" y="929"/>
                  </a:lnTo>
                  <a:lnTo>
                    <a:pt x="251" y="927"/>
                  </a:lnTo>
                  <a:lnTo>
                    <a:pt x="251" y="929"/>
                  </a:lnTo>
                  <a:lnTo>
                    <a:pt x="251" y="927"/>
                  </a:lnTo>
                  <a:close/>
                  <a:moveTo>
                    <a:pt x="249" y="927"/>
                  </a:moveTo>
                  <a:lnTo>
                    <a:pt x="249" y="929"/>
                  </a:lnTo>
                  <a:lnTo>
                    <a:pt x="249" y="927"/>
                  </a:lnTo>
                  <a:close/>
                  <a:moveTo>
                    <a:pt x="254" y="929"/>
                  </a:moveTo>
                  <a:lnTo>
                    <a:pt x="254" y="927"/>
                  </a:lnTo>
                  <a:lnTo>
                    <a:pt x="254" y="929"/>
                  </a:lnTo>
                  <a:close/>
                  <a:moveTo>
                    <a:pt x="254" y="931"/>
                  </a:moveTo>
                  <a:lnTo>
                    <a:pt x="251" y="934"/>
                  </a:lnTo>
                  <a:lnTo>
                    <a:pt x="251" y="931"/>
                  </a:lnTo>
                  <a:lnTo>
                    <a:pt x="254" y="931"/>
                  </a:lnTo>
                  <a:lnTo>
                    <a:pt x="254" y="929"/>
                  </a:lnTo>
                  <a:lnTo>
                    <a:pt x="254" y="931"/>
                  </a:lnTo>
                  <a:lnTo>
                    <a:pt x="254" y="929"/>
                  </a:lnTo>
                  <a:lnTo>
                    <a:pt x="256" y="929"/>
                  </a:lnTo>
                  <a:lnTo>
                    <a:pt x="254" y="929"/>
                  </a:lnTo>
                  <a:lnTo>
                    <a:pt x="256" y="929"/>
                  </a:lnTo>
                  <a:lnTo>
                    <a:pt x="256" y="927"/>
                  </a:lnTo>
                  <a:lnTo>
                    <a:pt x="254" y="929"/>
                  </a:lnTo>
                  <a:lnTo>
                    <a:pt x="254" y="927"/>
                  </a:lnTo>
                  <a:lnTo>
                    <a:pt x="256" y="927"/>
                  </a:lnTo>
                  <a:lnTo>
                    <a:pt x="256" y="929"/>
                  </a:lnTo>
                  <a:lnTo>
                    <a:pt x="256" y="927"/>
                  </a:lnTo>
                  <a:lnTo>
                    <a:pt x="256" y="929"/>
                  </a:lnTo>
                  <a:lnTo>
                    <a:pt x="254" y="929"/>
                  </a:lnTo>
                  <a:lnTo>
                    <a:pt x="254" y="931"/>
                  </a:lnTo>
                  <a:close/>
                  <a:moveTo>
                    <a:pt x="254" y="927"/>
                  </a:moveTo>
                  <a:lnTo>
                    <a:pt x="251" y="927"/>
                  </a:lnTo>
                  <a:lnTo>
                    <a:pt x="254" y="927"/>
                  </a:lnTo>
                  <a:close/>
                  <a:moveTo>
                    <a:pt x="254" y="924"/>
                  </a:moveTo>
                  <a:lnTo>
                    <a:pt x="254" y="927"/>
                  </a:lnTo>
                  <a:lnTo>
                    <a:pt x="254" y="924"/>
                  </a:lnTo>
                  <a:lnTo>
                    <a:pt x="254" y="927"/>
                  </a:lnTo>
                  <a:lnTo>
                    <a:pt x="251" y="927"/>
                  </a:lnTo>
                  <a:lnTo>
                    <a:pt x="254" y="927"/>
                  </a:lnTo>
                  <a:lnTo>
                    <a:pt x="254" y="924"/>
                  </a:lnTo>
                  <a:lnTo>
                    <a:pt x="251" y="924"/>
                  </a:lnTo>
                  <a:lnTo>
                    <a:pt x="251" y="927"/>
                  </a:lnTo>
                  <a:lnTo>
                    <a:pt x="254" y="924"/>
                  </a:lnTo>
                  <a:lnTo>
                    <a:pt x="251" y="927"/>
                  </a:lnTo>
                  <a:lnTo>
                    <a:pt x="254" y="924"/>
                  </a:lnTo>
                  <a:close/>
                  <a:moveTo>
                    <a:pt x="254" y="924"/>
                  </a:moveTo>
                  <a:lnTo>
                    <a:pt x="254" y="922"/>
                  </a:lnTo>
                  <a:lnTo>
                    <a:pt x="254" y="924"/>
                  </a:lnTo>
                  <a:close/>
                  <a:moveTo>
                    <a:pt x="258" y="922"/>
                  </a:moveTo>
                  <a:lnTo>
                    <a:pt x="258" y="924"/>
                  </a:lnTo>
                  <a:lnTo>
                    <a:pt x="258" y="922"/>
                  </a:lnTo>
                  <a:lnTo>
                    <a:pt x="258" y="924"/>
                  </a:lnTo>
                  <a:lnTo>
                    <a:pt x="258" y="922"/>
                  </a:lnTo>
                  <a:close/>
                  <a:moveTo>
                    <a:pt x="251" y="922"/>
                  </a:moveTo>
                  <a:lnTo>
                    <a:pt x="254" y="924"/>
                  </a:lnTo>
                  <a:lnTo>
                    <a:pt x="251" y="924"/>
                  </a:lnTo>
                  <a:lnTo>
                    <a:pt x="254" y="924"/>
                  </a:lnTo>
                  <a:lnTo>
                    <a:pt x="251" y="924"/>
                  </a:lnTo>
                  <a:lnTo>
                    <a:pt x="254" y="924"/>
                  </a:lnTo>
                  <a:lnTo>
                    <a:pt x="251" y="924"/>
                  </a:lnTo>
                  <a:lnTo>
                    <a:pt x="251" y="922"/>
                  </a:lnTo>
                  <a:close/>
                  <a:moveTo>
                    <a:pt x="249" y="922"/>
                  </a:moveTo>
                  <a:lnTo>
                    <a:pt x="251" y="922"/>
                  </a:lnTo>
                  <a:lnTo>
                    <a:pt x="249" y="924"/>
                  </a:lnTo>
                  <a:lnTo>
                    <a:pt x="249" y="922"/>
                  </a:lnTo>
                  <a:lnTo>
                    <a:pt x="249" y="924"/>
                  </a:lnTo>
                  <a:lnTo>
                    <a:pt x="249" y="922"/>
                  </a:lnTo>
                  <a:lnTo>
                    <a:pt x="249" y="924"/>
                  </a:lnTo>
                  <a:lnTo>
                    <a:pt x="249" y="922"/>
                  </a:lnTo>
                  <a:close/>
                  <a:moveTo>
                    <a:pt x="254" y="922"/>
                  </a:moveTo>
                  <a:lnTo>
                    <a:pt x="251" y="922"/>
                  </a:lnTo>
                  <a:lnTo>
                    <a:pt x="254" y="922"/>
                  </a:lnTo>
                  <a:close/>
                  <a:moveTo>
                    <a:pt x="263" y="922"/>
                  </a:moveTo>
                  <a:lnTo>
                    <a:pt x="261" y="922"/>
                  </a:lnTo>
                  <a:lnTo>
                    <a:pt x="263" y="922"/>
                  </a:lnTo>
                  <a:close/>
                  <a:moveTo>
                    <a:pt x="263" y="919"/>
                  </a:moveTo>
                  <a:lnTo>
                    <a:pt x="263" y="922"/>
                  </a:lnTo>
                  <a:lnTo>
                    <a:pt x="261" y="922"/>
                  </a:lnTo>
                  <a:lnTo>
                    <a:pt x="263" y="919"/>
                  </a:lnTo>
                  <a:close/>
                  <a:moveTo>
                    <a:pt x="254" y="919"/>
                  </a:moveTo>
                  <a:lnTo>
                    <a:pt x="251" y="919"/>
                  </a:lnTo>
                  <a:lnTo>
                    <a:pt x="254" y="919"/>
                  </a:lnTo>
                  <a:close/>
                  <a:moveTo>
                    <a:pt x="246" y="919"/>
                  </a:moveTo>
                  <a:lnTo>
                    <a:pt x="246" y="922"/>
                  </a:lnTo>
                  <a:lnTo>
                    <a:pt x="246" y="919"/>
                  </a:lnTo>
                  <a:lnTo>
                    <a:pt x="244" y="922"/>
                  </a:lnTo>
                  <a:lnTo>
                    <a:pt x="246" y="919"/>
                  </a:lnTo>
                  <a:close/>
                  <a:moveTo>
                    <a:pt x="246" y="919"/>
                  </a:moveTo>
                  <a:lnTo>
                    <a:pt x="244" y="919"/>
                  </a:lnTo>
                  <a:lnTo>
                    <a:pt x="246" y="919"/>
                  </a:lnTo>
                  <a:close/>
                  <a:moveTo>
                    <a:pt x="256" y="917"/>
                  </a:moveTo>
                  <a:lnTo>
                    <a:pt x="256" y="915"/>
                  </a:lnTo>
                  <a:lnTo>
                    <a:pt x="256" y="917"/>
                  </a:lnTo>
                  <a:close/>
                  <a:moveTo>
                    <a:pt x="258" y="915"/>
                  </a:moveTo>
                  <a:lnTo>
                    <a:pt x="256" y="915"/>
                  </a:lnTo>
                  <a:lnTo>
                    <a:pt x="256" y="917"/>
                  </a:lnTo>
                  <a:lnTo>
                    <a:pt x="256" y="915"/>
                  </a:lnTo>
                  <a:lnTo>
                    <a:pt x="258" y="915"/>
                  </a:lnTo>
                  <a:close/>
                  <a:moveTo>
                    <a:pt x="277" y="915"/>
                  </a:moveTo>
                  <a:lnTo>
                    <a:pt x="275" y="915"/>
                  </a:lnTo>
                  <a:lnTo>
                    <a:pt x="277" y="915"/>
                  </a:lnTo>
                  <a:close/>
                  <a:moveTo>
                    <a:pt x="256" y="915"/>
                  </a:moveTo>
                  <a:lnTo>
                    <a:pt x="254" y="915"/>
                  </a:lnTo>
                  <a:lnTo>
                    <a:pt x="254" y="917"/>
                  </a:lnTo>
                  <a:lnTo>
                    <a:pt x="254" y="915"/>
                  </a:lnTo>
                  <a:lnTo>
                    <a:pt x="254" y="917"/>
                  </a:lnTo>
                  <a:lnTo>
                    <a:pt x="254" y="915"/>
                  </a:lnTo>
                  <a:lnTo>
                    <a:pt x="256" y="915"/>
                  </a:lnTo>
                  <a:lnTo>
                    <a:pt x="256" y="912"/>
                  </a:lnTo>
                  <a:lnTo>
                    <a:pt x="256" y="915"/>
                  </a:lnTo>
                  <a:close/>
                  <a:moveTo>
                    <a:pt x="258" y="915"/>
                  </a:moveTo>
                  <a:lnTo>
                    <a:pt x="256" y="915"/>
                  </a:lnTo>
                  <a:lnTo>
                    <a:pt x="256" y="912"/>
                  </a:lnTo>
                  <a:lnTo>
                    <a:pt x="258" y="912"/>
                  </a:lnTo>
                  <a:lnTo>
                    <a:pt x="258" y="915"/>
                  </a:lnTo>
                  <a:close/>
                  <a:moveTo>
                    <a:pt x="268" y="912"/>
                  </a:moveTo>
                  <a:lnTo>
                    <a:pt x="270" y="912"/>
                  </a:lnTo>
                  <a:lnTo>
                    <a:pt x="268" y="912"/>
                  </a:lnTo>
                  <a:lnTo>
                    <a:pt x="268" y="915"/>
                  </a:lnTo>
                  <a:lnTo>
                    <a:pt x="270" y="915"/>
                  </a:lnTo>
                  <a:lnTo>
                    <a:pt x="268" y="915"/>
                  </a:lnTo>
                  <a:lnTo>
                    <a:pt x="268" y="912"/>
                  </a:lnTo>
                  <a:lnTo>
                    <a:pt x="268" y="915"/>
                  </a:lnTo>
                  <a:lnTo>
                    <a:pt x="268" y="912"/>
                  </a:lnTo>
                  <a:close/>
                  <a:moveTo>
                    <a:pt x="277" y="912"/>
                  </a:moveTo>
                  <a:lnTo>
                    <a:pt x="275" y="912"/>
                  </a:lnTo>
                  <a:lnTo>
                    <a:pt x="275" y="915"/>
                  </a:lnTo>
                  <a:lnTo>
                    <a:pt x="273" y="915"/>
                  </a:lnTo>
                  <a:lnTo>
                    <a:pt x="273" y="912"/>
                  </a:lnTo>
                  <a:lnTo>
                    <a:pt x="275" y="912"/>
                  </a:lnTo>
                  <a:lnTo>
                    <a:pt x="277" y="912"/>
                  </a:lnTo>
                  <a:close/>
                  <a:moveTo>
                    <a:pt x="251" y="910"/>
                  </a:moveTo>
                  <a:lnTo>
                    <a:pt x="251" y="912"/>
                  </a:lnTo>
                  <a:lnTo>
                    <a:pt x="251" y="910"/>
                  </a:lnTo>
                  <a:lnTo>
                    <a:pt x="251" y="912"/>
                  </a:lnTo>
                  <a:lnTo>
                    <a:pt x="251" y="910"/>
                  </a:lnTo>
                  <a:close/>
                  <a:moveTo>
                    <a:pt x="254" y="910"/>
                  </a:moveTo>
                  <a:lnTo>
                    <a:pt x="251" y="910"/>
                  </a:lnTo>
                  <a:lnTo>
                    <a:pt x="254" y="910"/>
                  </a:lnTo>
                  <a:close/>
                  <a:moveTo>
                    <a:pt x="265" y="910"/>
                  </a:moveTo>
                  <a:lnTo>
                    <a:pt x="263" y="910"/>
                  </a:lnTo>
                  <a:lnTo>
                    <a:pt x="265" y="910"/>
                  </a:lnTo>
                  <a:lnTo>
                    <a:pt x="265" y="912"/>
                  </a:lnTo>
                  <a:lnTo>
                    <a:pt x="265" y="915"/>
                  </a:lnTo>
                  <a:lnTo>
                    <a:pt x="263" y="915"/>
                  </a:lnTo>
                  <a:lnTo>
                    <a:pt x="263" y="917"/>
                  </a:lnTo>
                  <a:lnTo>
                    <a:pt x="263" y="915"/>
                  </a:lnTo>
                  <a:lnTo>
                    <a:pt x="263" y="917"/>
                  </a:lnTo>
                  <a:lnTo>
                    <a:pt x="263" y="915"/>
                  </a:lnTo>
                  <a:lnTo>
                    <a:pt x="265" y="915"/>
                  </a:lnTo>
                  <a:lnTo>
                    <a:pt x="263" y="915"/>
                  </a:lnTo>
                  <a:lnTo>
                    <a:pt x="265" y="915"/>
                  </a:lnTo>
                  <a:lnTo>
                    <a:pt x="263" y="915"/>
                  </a:lnTo>
                  <a:lnTo>
                    <a:pt x="265" y="917"/>
                  </a:lnTo>
                  <a:lnTo>
                    <a:pt x="265" y="915"/>
                  </a:lnTo>
                  <a:lnTo>
                    <a:pt x="265" y="917"/>
                  </a:lnTo>
                  <a:lnTo>
                    <a:pt x="268" y="917"/>
                  </a:lnTo>
                  <a:lnTo>
                    <a:pt x="265" y="917"/>
                  </a:lnTo>
                  <a:lnTo>
                    <a:pt x="263" y="919"/>
                  </a:lnTo>
                  <a:lnTo>
                    <a:pt x="261" y="919"/>
                  </a:lnTo>
                  <a:lnTo>
                    <a:pt x="261" y="922"/>
                  </a:lnTo>
                  <a:lnTo>
                    <a:pt x="258" y="922"/>
                  </a:lnTo>
                  <a:lnTo>
                    <a:pt x="256" y="922"/>
                  </a:lnTo>
                  <a:lnTo>
                    <a:pt x="254" y="922"/>
                  </a:lnTo>
                  <a:lnTo>
                    <a:pt x="256" y="922"/>
                  </a:lnTo>
                  <a:lnTo>
                    <a:pt x="256" y="919"/>
                  </a:lnTo>
                  <a:lnTo>
                    <a:pt x="258" y="919"/>
                  </a:lnTo>
                  <a:lnTo>
                    <a:pt x="256" y="919"/>
                  </a:lnTo>
                  <a:lnTo>
                    <a:pt x="258" y="919"/>
                  </a:lnTo>
                  <a:lnTo>
                    <a:pt x="261" y="919"/>
                  </a:lnTo>
                  <a:lnTo>
                    <a:pt x="261" y="917"/>
                  </a:lnTo>
                  <a:lnTo>
                    <a:pt x="258" y="919"/>
                  </a:lnTo>
                  <a:lnTo>
                    <a:pt x="261" y="917"/>
                  </a:lnTo>
                  <a:lnTo>
                    <a:pt x="258" y="919"/>
                  </a:lnTo>
                  <a:lnTo>
                    <a:pt x="258" y="917"/>
                  </a:lnTo>
                  <a:lnTo>
                    <a:pt x="258" y="919"/>
                  </a:lnTo>
                  <a:lnTo>
                    <a:pt x="256" y="919"/>
                  </a:lnTo>
                  <a:lnTo>
                    <a:pt x="256" y="917"/>
                  </a:lnTo>
                  <a:lnTo>
                    <a:pt x="258" y="917"/>
                  </a:lnTo>
                  <a:lnTo>
                    <a:pt x="261" y="917"/>
                  </a:lnTo>
                  <a:lnTo>
                    <a:pt x="261" y="915"/>
                  </a:lnTo>
                  <a:lnTo>
                    <a:pt x="263" y="915"/>
                  </a:lnTo>
                  <a:lnTo>
                    <a:pt x="263" y="912"/>
                  </a:lnTo>
                  <a:lnTo>
                    <a:pt x="261" y="912"/>
                  </a:lnTo>
                  <a:lnTo>
                    <a:pt x="261" y="915"/>
                  </a:lnTo>
                  <a:lnTo>
                    <a:pt x="258" y="915"/>
                  </a:lnTo>
                  <a:lnTo>
                    <a:pt x="261" y="915"/>
                  </a:lnTo>
                  <a:lnTo>
                    <a:pt x="261" y="912"/>
                  </a:lnTo>
                  <a:lnTo>
                    <a:pt x="258" y="915"/>
                  </a:lnTo>
                  <a:lnTo>
                    <a:pt x="261" y="912"/>
                  </a:lnTo>
                  <a:lnTo>
                    <a:pt x="258" y="912"/>
                  </a:lnTo>
                  <a:lnTo>
                    <a:pt x="261" y="912"/>
                  </a:lnTo>
                  <a:lnTo>
                    <a:pt x="258" y="912"/>
                  </a:lnTo>
                  <a:lnTo>
                    <a:pt x="261" y="912"/>
                  </a:lnTo>
                  <a:lnTo>
                    <a:pt x="258" y="912"/>
                  </a:lnTo>
                  <a:lnTo>
                    <a:pt x="261" y="912"/>
                  </a:lnTo>
                  <a:lnTo>
                    <a:pt x="258" y="912"/>
                  </a:lnTo>
                  <a:lnTo>
                    <a:pt x="261" y="912"/>
                  </a:lnTo>
                  <a:lnTo>
                    <a:pt x="263" y="912"/>
                  </a:lnTo>
                  <a:lnTo>
                    <a:pt x="263" y="910"/>
                  </a:lnTo>
                  <a:lnTo>
                    <a:pt x="265" y="910"/>
                  </a:lnTo>
                  <a:close/>
                  <a:moveTo>
                    <a:pt x="254" y="910"/>
                  </a:moveTo>
                  <a:lnTo>
                    <a:pt x="251" y="910"/>
                  </a:lnTo>
                  <a:lnTo>
                    <a:pt x="254" y="910"/>
                  </a:lnTo>
                  <a:lnTo>
                    <a:pt x="251" y="910"/>
                  </a:lnTo>
                  <a:lnTo>
                    <a:pt x="254" y="910"/>
                  </a:lnTo>
                  <a:close/>
                  <a:moveTo>
                    <a:pt x="254" y="910"/>
                  </a:moveTo>
                  <a:lnTo>
                    <a:pt x="254" y="908"/>
                  </a:lnTo>
                  <a:lnTo>
                    <a:pt x="254" y="910"/>
                  </a:lnTo>
                  <a:close/>
                  <a:moveTo>
                    <a:pt x="282" y="908"/>
                  </a:moveTo>
                  <a:lnTo>
                    <a:pt x="284" y="908"/>
                  </a:lnTo>
                  <a:lnTo>
                    <a:pt x="282" y="908"/>
                  </a:lnTo>
                  <a:lnTo>
                    <a:pt x="280" y="908"/>
                  </a:lnTo>
                  <a:lnTo>
                    <a:pt x="280" y="910"/>
                  </a:lnTo>
                  <a:lnTo>
                    <a:pt x="277" y="910"/>
                  </a:lnTo>
                  <a:lnTo>
                    <a:pt x="275" y="910"/>
                  </a:lnTo>
                  <a:lnTo>
                    <a:pt x="277" y="910"/>
                  </a:lnTo>
                  <a:lnTo>
                    <a:pt x="277" y="908"/>
                  </a:lnTo>
                  <a:lnTo>
                    <a:pt x="280" y="908"/>
                  </a:lnTo>
                  <a:lnTo>
                    <a:pt x="282" y="908"/>
                  </a:lnTo>
                  <a:close/>
                  <a:moveTo>
                    <a:pt x="273" y="908"/>
                  </a:moveTo>
                  <a:lnTo>
                    <a:pt x="275" y="908"/>
                  </a:lnTo>
                  <a:lnTo>
                    <a:pt x="275" y="910"/>
                  </a:lnTo>
                  <a:lnTo>
                    <a:pt x="273" y="910"/>
                  </a:lnTo>
                  <a:lnTo>
                    <a:pt x="273" y="912"/>
                  </a:lnTo>
                  <a:lnTo>
                    <a:pt x="270" y="912"/>
                  </a:lnTo>
                  <a:lnTo>
                    <a:pt x="273" y="910"/>
                  </a:lnTo>
                  <a:lnTo>
                    <a:pt x="270" y="912"/>
                  </a:lnTo>
                  <a:lnTo>
                    <a:pt x="273" y="910"/>
                  </a:lnTo>
                  <a:lnTo>
                    <a:pt x="270" y="910"/>
                  </a:lnTo>
                  <a:lnTo>
                    <a:pt x="270" y="912"/>
                  </a:lnTo>
                  <a:lnTo>
                    <a:pt x="270" y="910"/>
                  </a:lnTo>
                  <a:lnTo>
                    <a:pt x="270" y="912"/>
                  </a:lnTo>
                  <a:lnTo>
                    <a:pt x="270" y="910"/>
                  </a:lnTo>
                  <a:lnTo>
                    <a:pt x="268" y="910"/>
                  </a:lnTo>
                  <a:lnTo>
                    <a:pt x="268" y="908"/>
                  </a:lnTo>
                  <a:lnTo>
                    <a:pt x="270" y="908"/>
                  </a:lnTo>
                  <a:lnTo>
                    <a:pt x="270" y="905"/>
                  </a:lnTo>
                  <a:lnTo>
                    <a:pt x="270" y="908"/>
                  </a:lnTo>
                  <a:lnTo>
                    <a:pt x="273" y="908"/>
                  </a:lnTo>
                  <a:lnTo>
                    <a:pt x="273" y="905"/>
                  </a:lnTo>
                  <a:lnTo>
                    <a:pt x="273" y="908"/>
                  </a:lnTo>
                  <a:close/>
                  <a:moveTo>
                    <a:pt x="270" y="908"/>
                  </a:moveTo>
                  <a:lnTo>
                    <a:pt x="270" y="905"/>
                  </a:lnTo>
                  <a:lnTo>
                    <a:pt x="270" y="908"/>
                  </a:lnTo>
                  <a:close/>
                  <a:moveTo>
                    <a:pt x="265" y="905"/>
                  </a:moveTo>
                  <a:lnTo>
                    <a:pt x="265" y="908"/>
                  </a:lnTo>
                  <a:lnTo>
                    <a:pt x="265" y="905"/>
                  </a:lnTo>
                  <a:close/>
                  <a:moveTo>
                    <a:pt x="265" y="905"/>
                  </a:moveTo>
                  <a:lnTo>
                    <a:pt x="263" y="905"/>
                  </a:lnTo>
                  <a:lnTo>
                    <a:pt x="265" y="905"/>
                  </a:lnTo>
                  <a:close/>
                  <a:moveTo>
                    <a:pt x="258" y="903"/>
                  </a:moveTo>
                  <a:lnTo>
                    <a:pt x="258" y="905"/>
                  </a:lnTo>
                  <a:lnTo>
                    <a:pt x="258" y="903"/>
                  </a:lnTo>
                  <a:lnTo>
                    <a:pt x="258" y="905"/>
                  </a:lnTo>
                  <a:lnTo>
                    <a:pt x="258" y="903"/>
                  </a:lnTo>
                  <a:close/>
                  <a:moveTo>
                    <a:pt x="268" y="903"/>
                  </a:moveTo>
                  <a:lnTo>
                    <a:pt x="270" y="903"/>
                  </a:lnTo>
                  <a:lnTo>
                    <a:pt x="268" y="905"/>
                  </a:lnTo>
                  <a:lnTo>
                    <a:pt x="268" y="903"/>
                  </a:lnTo>
                  <a:close/>
                  <a:moveTo>
                    <a:pt x="265" y="903"/>
                  </a:moveTo>
                  <a:lnTo>
                    <a:pt x="265" y="905"/>
                  </a:lnTo>
                  <a:lnTo>
                    <a:pt x="263" y="905"/>
                  </a:lnTo>
                  <a:lnTo>
                    <a:pt x="263" y="903"/>
                  </a:lnTo>
                  <a:lnTo>
                    <a:pt x="263" y="905"/>
                  </a:lnTo>
                  <a:lnTo>
                    <a:pt x="263" y="903"/>
                  </a:lnTo>
                  <a:lnTo>
                    <a:pt x="265" y="903"/>
                  </a:lnTo>
                  <a:lnTo>
                    <a:pt x="263" y="903"/>
                  </a:lnTo>
                  <a:lnTo>
                    <a:pt x="263" y="905"/>
                  </a:lnTo>
                  <a:lnTo>
                    <a:pt x="263" y="903"/>
                  </a:lnTo>
                  <a:lnTo>
                    <a:pt x="265" y="903"/>
                  </a:lnTo>
                  <a:lnTo>
                    <a:pt x="263" y="903"/>
                  </a:lnTo>
                  <a:lnTo>
                    <a:pt x="265" y="903"/>
                  </a:lnTo>
                  <a:close/>
                  <a:moveTo>
                    <a:pt x="268" y="903"/>
                  </a:moveTo>
                  <a:lnTo>
                    <a:pt x="265" y="903"/>
                  </a:lnTo>
                  <a:lnTo>
                    <a:pt x="268" y="903"/>
                  </a:lnTo>
                  <a:lnTo>
                    <a:pt x="265" y="903"/>
                  </a:lnTo>
                  <a:lnTo>
                    <a:pt x="268" y="903"/>
                  </a:lnTo>
                  <a:close/>
                  <a:moveTo>
                    <a:pt x="273" y="903"/>
                  </a:moveTo>
                  <a:lnTo>
                    <a:pt x="275" y="903"/>
                  </a:lnTo>
                  <a:lnTo>
                    <a:pt x="273" y="903"/>
                  </a:lnTo>
                  <a:close/>
                  <a:moveTo>
                    <a:pt x="265" y="903"/>
                  </a:moveTo>
                  <a:lnTo>
                    <a:pt x="263" y="903"/>
                  </a:lnTo>
                  <a:lnTo>
                    <a:pt x="263" y="905"/>
                  </a:lnTo>
                  <a:lnTo>
                    <a:pt x="263" y="903"/>
                  </a:lnTo>
                  <a:lnTo>
                    <a:pt x="263" y="905"/>
                  </a:lnTo>
                  <a:lnTo>
                    <a:pt x="263" y="903"/>
                  </a:lnTo>
                  <a:lnTo>
                    <a:pt x="263" y="905"/>
                  </a:lnTo>
                  <a:lnTo>
                    <a:pt x="263" y="903"/>
                  </a:lnTo>
                  <a:lnTo>
                    <a:pt x="263" y="905"/>
                  </a:lnTo>
                  <a:lnTo>
                    <a:pt x="261" y="905"/>
                  </a:lnTo>
                  <a:lnTo>
                    <a:pt x="263" y="903"/>
                  </a:lnTo>
                  <a:lnTo>
                    <a:pt x="261" y="905"/>
                  </a:lnTo>
                  <a:lnTo>
                    <a:pt x="263" y="903"/>
                  </a:lnTo>
                  <a:lnTo>
                    <a:pt x="261" y="905"/>
                  </a:lnTo>
                  <a:lnTo>
                    <a:pt x="261" y="903"/>
                  </a:lnTo>
                  <a:lnTo>
                    <a:pt x="263" y="903"/>
                  </a:lnTo>
                  <a:lnTo>
                    <a:pt x="261" y="903"/>
                  </a:lnTo>
                  <a:lnTo>
                    <a:pt x="263" y="903"/>
                  </a:lnTo>
                  <a:lnTo>
                    <a:pt x="265" y="903"/>
                  </a:lnTo>
                  <a:close/>
                  <a:moveTo>
                    <a:pt x="256" y="903"/>
                  </a:moveTo>
                  <a:lnTo>
                    <a:pt x="254" y="903"/>
                  </a:lnTo>
                  <a:lnTo>
                    <a:pt x="256" y="903"/>
                  </a:lnTo>
                  <a:close/>
                  <a:moveTo>
                    <a:pt x="265" y="903"/>
                  </a:moveTo>
                  <a:lnTo>
                    <a:pt x="265" y="900"/>
                  </a:lnTo>
                  <a:lnTo>
                    <a:pt x="265" y="903"/>
                  </a:lnTo>
                  <a:close/>
                  <a:moveTo>
                    <a:pt x="263" y="900"/>
                  </a:moveTo>
                  <a:lnTo>
                    <a:pt x="263" y="903"/>
                  </a:lnTo>
                  <a:lnTo>
                    <a:pt x="263" y="900"/>
                  </a:lnTo>
                  <a:close/>
                  <a:moveTo>
                    <a:pt x="258" y="900"/>
                  </a:moveTo>
                  <a:lnTo>
                    <a:pt x="258" y="903"/>
                  </a:lnTo>
                  <a:lnTo>
                    <a:pt x="258" y="900"/>
                  </a:lnTo>
                  <a:close/>
                  <a:moveTo>
                    <a:pt x="263" y="900"/>
                  </a:moveTo>
                  <a:lnTo>
                    <a:pt x="261" y="900"/>
                  </a:lnTo>
                  <a:lnTo>
                    <a:pt x="263" y="900"/>
                  </a:lnTo>
                  <a:close/>
                  <a:moveTo>
                    <a:pt x="273" y="900"/>
                  </a:moveTo>
                  <a:lnTo>
                    <a:pt x="270" y="900"/>
                  </a:lnTo>
                  <a:lnTo>
                    <a:pt x="273" y="900"/>
                  </a:lnTo>
                  <a:lnTo>
                    <a:pt x="270" y="900"/>
                  </a:lnTo>
                  <a:lnTo>
                    <a:pt x="273" y="900"/>
                  </a:lnTo>
                  <a:close/>
                  <a:moveTo>
                    <a:pt x="261" y="900"/>
                  </a:moveTo>
                  <a:lnTo>
                    <a:pt x="258" y="900"/>
                  </a:lnTo>
                  <a:lnTo>
                    <a:pt x="261" y="900"/>
                  </a:lnTo>
                  <a:close/>
                  <a:moveTo>
                    <a:pt x="261" y="900"/>
                  </a:moveTo>
                  <a:lnTo>
                    <a:pt x="258" y="900"/>
                  </a:lnTo>
                  <a:lnTo>
                    <a:pt x="261" y="900"/>
                  </a:lnTo>
                  <a:close/>
                  <a:moveTo>
                    <a:pt x="277" y="903"/>
                  </a:moveTo>
                  <a:lnTo>
                    <a:pt x="277" y="900"/>
                  </a:lnTo>
                  <a:lnTo>
                    <a:pt x="280" y="898"/>
                  </a:lnTo>
                  <a:lnTo>
                    <a:pt x="282" y="898"/>
                  </a:lnTo>
                  <a:lnTo>
                    <a:pt x="282" y="900"/>
                  </a:lnTo>
                  <a:lnTo>
                    <a:pt x="280" y="900"/>
                  </a:lnTo>
                  <a:lnTo>
                    <a:pt x="277" y="903"/>
                  </a:lnTo>
                  <a:close/>
                  <a:moveTo>
                    <a:pt x="275" y="898"/>
                  </a:moveTo>
                  <a:lnTo>
                    <a:pt x="275" y="900"/>
                  </a:lnTo>
                  <a:lnTo>
                    <a:pt x="273" y="900"/>
                  </a:lnTo>
                  <a:lnTo>
                    <a:pt x="275" y="900"/>
                  </a:lnTo>
                  <a:lnTo>
                    <a:pt x="273" y="900"/>
                  </a:lnTo>
                  <a:lnTo>
                    <a:pt x="275" y="900"/>
                  </a:lnTo>
                  <a:lnTo>
                    <a:pt x="273" y="900"/>
                  </a:lnTo>
                  <a:lnTo>
                    <a:pt x="275" y="903"/>
                  </a:lnTo>
                  <a:lnTo>
                    <a:pt x="273" y="903"/>
                  </a:lnTo>
                  <a:lnTo>
                    <a:pt x="273" y="900"/>
                  </a:lnTo>
                  <a:lnTo>
                    <a:pt x="270" y="903"/>
                  </a:lnTo>
                  <a:lnTo>
                    <a:pt x="270" y="900"/>
                  </a:lnTo>
                  <a:lnTo>
                    <a:pt x="273" y="900"/>
                  </a:lnTo>
                  <a:lnTo>
                    <a:pt x="273" y="898"/>
                  </a:lnTo>
                  <a:lnTo>
                    <a:pt x="273" y="900"/>
                  </a:lnTo>
                  <a:lnTo>
                    <a:pt x="273" y="898"/>
                  </a:lnTo>
                  <a:lnTo>
                    <a:pt x="275" y="898"/>
                  </a:lnTo>
                  <a:close/>
                  <a:moveTo>
                    <a:pt x="277" y="898"/>
                  </a:moveTo>
                  <a:lnTo>
                    <a:pt x="275" y="898"/>
                  </a:lnTo>
                  <a:lnTo>
                    <a:pt x="275" y="900"/>
                  </a:lnTo>
                  <a:lnTo>
                    <a:pt x="277" y="900"/>
                  </a:lnTo>
                  <a:lnTo>
                    <a:pt x="275" y="900"/>
                  </a:lnTo>
                  <a:lnTo>
                    <a:pt x="275" y="898"/>
                  </a:lnTo>
                  <a:lnTo>
                    <a:pt x="277" y="898"/>
                  </a:lnTo>
                  <a:lnTo>
                    <a:pt x="277" y="896"/>
                  </a:lnTo>
                  <a:lnTo>
                    <a:pt x="277" y="898"/>
                  </a:lnTo>
                  <a:close/>
                  <a:moveTo>
                    <a:pt x="277" y="896"/>
                  </a:moveTo>
                  <a:lnTo>
                    <a:pt x="275" y="896"/>
                  </a:lnTo>
                  <a:lnTo>
                    <a:pt x="277" y="896"/>
                  </a:lnTo>
                  <a:close/>
                  <a:moveTo>
                    <a:pt x="275" y="896"/>
                  </a:moveTo>
                  <a:lnTo>
                    <a:pt x="273" y="896"/>
                  </a:lnTo>
                  <a:lnTo>
                    <a:pt x="275" y="896"/>
                  </a:lnTo>
                  <a:lnTo>
                    <a:pt x="273" y="896"/>
                  </a:lnTo>
                  <a:lnTo>
                    <a:pt x="275" y="896"/>
                  </a:lnTo>
                  <a:close/>
                  <a:moveTo>
                    <a:pt x="249" y="896"/>
                  </a:moveTo>
                  <a:lnTo>
                    <a:pt x="246" y="896"/>
                  </a:lnTo>
                  <a:lnTo>
                    <a:pt x="249" y="896"/>
                  </a:lnTo>
                  <a:close/>
                  <a:moveTo>
                    <a:pt x="249" y="893"/>
                  </a:moveTo>
                  <a:lnTo>
                    <a:pt x="249" y="896"/>
                  </a:lnTo>
                  <a:lnTo>
                    <a:pt x="246" y="896"/>
                  </a:lnTo>
                  <a:lnTo>
                    <a:pt x="246" y="893"/>
                  </a:lnTo>
                  <a:lnTo>
                    <a:pt x="249" y="893"/>
                  </a:lnTo>
                  <a:close/>
                  <a:moveTo>
                    <a:pt x="246" y="893"/>
                  </a:moveTo>
                  <a:lnTo>
                    <a:pt x="246" y="896"/>
                  </a:lnTo>
                  <a:lnTo>
                    <a:pt x="244" y="896"/>
                  </a:lnTo>
                  <a:lnTo>
                    <a:pt x="244" y="893"/>
                  </a:lnTo>
                  <a:lnTo>
                    <a:pt x="246" y="896"/>
                  </a:lnTo>
                  <a:lnTo>
                    <a:pt x="246" y="893"/>
                  </a:lnTo>
                  <a:close/>
                  <a:moveTo>
                    <a:pt x="251" y="893"/>
                  </a:moveTo>
                  <a:lnTo>
                    <a:pt x="249" y="893"/>
                  </a:lnTo>
                  <a:lnTo>
                    <a:pt x="251" y="893"/>
                  </a:lnTo>
                  <a:close/>
                  <a:moveTo>
                    <a:pt x="246" y="893"/>
                  </a:moveTo>
                  <a:lnTo>
                    <a:pt x="244" y="893"/>
                  </a:lnTo>
                  <a:lnTo>
                    <a:pt x="246" y="893"/>
                  </a:lnTo>
                  <a:close/>
                  <a:moveTo>
                    <a:pt x="251" y="893"/>
                  </a:moveTo>
                  <a:lnTo>
                    <a:pt x="249" y="893"/>
                  </a:lnTo>
                  <a:lnTo>
                    <a:pt x="251" y="893"/>
                  </a:lnTo>
                  <a:lnTo>
                    <a:pt x="249" y="893"/>
                  </a:lnTo>
                  <a:lnTo>
                    <a:pt x="251" y="893"/>
                  </a:lnTo>
                  <a:close/>
                  <a:moveTo>
                    <a:pt x="251" y="893"/>
                  </a:moveTo>
                  <a:lnTo>
                    <a:pt x="254" y="893"/>
                  </a:lnTo>
                  <a:lnTo>
                    <a:pt x="251" y="893"/>
                  </a:lnTo>
                  <a:close/>
                  <a:moveTo>
                    <a:pt x="249" y="893"/>
                  </a:moveTo>
                  <a:lnTo>
                    <a:pt x="251" y="893"/>
                  </a:lnTo>
                  <a:lnTo>
                    <a:pt x="249" y="893"/>
                  </a:lnTo>
                  <a:lnTo>
                    <a:pt x="251" y="893"/>
                  </a:lnTo>
                  <a:lnTo>
                    <a:pt x="249" y="893"/>
                  </a:lnTo>
                  <a:close/>
                  <a:moveTo>
                    <a:pt x="263" y="891"/>
                  </a:moveTo>
                  <a:lnTo>
                    <a:pt x="263" y="893"/>
                  </a:lnTo>
                  <a:lnTo>
                    <a:pt x="263" y="891"/>
                  </a:lnTo>
                  <a:close/>
                  <a:moveTo>
                    <a:pt x="254" y="891"/>
                  </a:moveTo>
                  <a:lnTo>
                    <a:pt x="254" y="893"/>
                  </a:lnTo>
                  <a:lnTo>
                    <a:pt x="254" y="891"/>
                  </a:lnTo>
                  <a:close/>
                  <a:moveTo>
                    <a:pt x="273" y="891"/>
                  </a:moveTo>
                  <a:lnTo>
                    <a:pt x="273" y="893"/>
                  </a:lnTo>
                  <a:lnTo>
                    <a:pt x="275" y="893"/>
                  </a:lnTo>
                  <a:lnTo>
                    <a:pt x="273" y="893"/>
                  </a:lnTo>
                  <a:lnTo>
                    <a:pt x="270" y="893"/>
                  </a:lnTo>
                  <a:lnTo>
                    <a:pt x="273" y="893"/>
                  </a:lnTo>
                  <a:lnTo>
                    <a:pt x="270" y="893"/>
                  </a:lnTo>
                  <a:lnTo>
                    <a:pt x="273" y="893"/>
                  </a:lnTo>
                  <a:lnTo>
                    <a:pt x="273" y="891"/>
                  </a:lnTo>
                  <a:lnTo>
                    <a:pt x="270" y="893"/>
                  </a:lnTo>
                  <a:lnTo>
                    <a:pt x="270" y="891"/>
                  </a:lnTo>
                  <a:lnTo>
                    <a:pt x="273" y="891"/>
                  </a:lnTo>
                  <a:close/>
                  <a:moveTo>
                    <a:pt x="265" y="891"/>
                  </a:moveTo>
                  <a:lnTo>
                    <a:pt x="263" y="891"/>
                  </a:lnTo>
                  <a:lnTo>
                    <a:pt x="265" y="891"/>
                  </a:lnTo>
                  <a:close/>
                  <a:moveTo>
                    <a:pt x="280" y="891"/>
                  </a:moveTo>
                  <a:lnTo>
                    <a:pt x="277" y="891"/>
                  </a:lnTo>
                  <a:lnTo>
                    <a:pt x="280" y="891"/>
                  </a:lnTo>
                  <a:close/>
                  <a:moveTo>
                    <a:pt x="270" y="891"/>
                  </a:moveTo>
                  <a:lnTo>
                    <a:pt x="270" y="889"/>
                  </a:lnTo>
                  <a:lnTo>
                    <a:pt x="270" y="891"/>
                  </a:lnTo>
                  <a:close/>
                  <a:moveTo>
                    <a:pt x="275" y="889"/>
                  </a:moveTo>
                  <a:lnTo>
                    <a:pt x="275" y="891"/>
                  </a:lnTo>
                  <a:lnTo>
                    <a:pt x="275" y="889"/>
                  </a:lnTo>
                  <a:close/>
                  <a:moveTo>
                    <a:pt x="265" y="889"/>
                  </a:moveTo>
                  <a:lnTo>
                    <a:pt x="263" y="891"/>
                  </a:lnTo>
                  <a:lnTo>
                    <a:pt x="263" y="889"/>
                  </a:lnTo>
                  <a:lnTo>
                    <a:pt x="265" y="889"/>
                  </a:lnTo>
                  <a:close/>
                  <a:moveTo>
                    <a:pt x="254" y="889"/>
                  </a:moveTo>
                  <a:lnTo>
                    <a:pt x="251" y="889"/>
                  </a:lnTo>
                  <a:lnTo>
                    <a:pt x="254" y="889"/>
                  </a:lnTo>
                  <a:lnTo>
                    <a:pt x="251" y="889"/>
                  </a:lnTo>
                  <a:lnTo>
                    <a:pt x="254" y="889"/>
                  </a:lnTo>
                  <a:close/>
                  <a:moveTo>
                    <a:pt x="280" y="889"/>
                  </a:moveTo>
                  <a:lnTo>
                    <a:pt x="277" y="889"/>
                  </a:lnTo>
                  <a:lnTo>
                    <a:pt x="280" y="889"/>
                  </a:lnTo>
                  <a:close/>
                  <a:moveTo>
                    <a:pt x="265" y="889"/>
                  </a:moveTo>
                  <a:lnTo>
                    <a:pt x="268" y="889"/>
                  </a:lnTo>
                  <a:lnTo>
                    <a:pt x="265" y="889"/>
                  </a:lnTo>
                  <a:lnTo>
                    <a:pt x="265" y="891"/>
                  </a:lnTo>
                  <a:lnTo>
                    <a:pt x="265" y="889"/>
                  </a:lnTo>
                  <a:lnTo>
                    <a:pt x="268" y="889"/>
                  </a:lnTo>
                  <a:lnTo>
                    <a:pt x="268" y="891"/>
                  </a:lnTo>
                  <a:lnTo>
                    <a:pt x="265" y="891"/>
                  </a:lnTo>
                  <a:lnTo>
                    <a:pt x="268" y="891"/>
                  </a:lnTo>
                  <a:lnTo>
                    <a:pt x="265" y="891"/>
                  </a:lnTo>
                  <a:lnTo>
                    <a:pt x="268" y="891"/>
                  </a:lnTo>
                  <a:lnTo>
                    <a:pt x="265" y="891"/>
                  </a:lnTo>
                  <a:lnTo>
                    <a:pt x="265" y="893"/>
                  </a:lnTo>
                  <a:lnTo>
                    <a:pt x="265" y="891"/>
                  </a:lnTo>
                  <a:lnTo>
                    <a:pt x="265" y="889"/>
                  </a:lnTo>
                  <a:close/>
                  <a:moveTo>
                    <a:pt x="270" y="889"/>
                  </a:moveTo>
                  <a:lnTo>
                    <a:pt x="268" y="889"/>
                  </a:lnTo>
                  <a:lnTo>
                    <a:pt x="270" y="889"/>
                  </a:lnTo>
                  <a:close/>
                  <a:moveTo>
                    <a:pt x="275" y="889"/>
                  </a:moveTo>
                  <a:lnTo>
                    <a:pt x="275" y="886"/>
                  </a:lnTo>
                  <a:lnTo>
                    <a:pt x="275" y="889"/>
                  </a:lnTo>
                  <a:close/>
                  <a:moveTo>
                    <a:pt x="282" y="889"/>
                  </a:moveTo>
                  <a:lnTo>
                    <a:pt x="282" y="891"/>
                  </a:lnTo>
                  <a:lnTo>
                    <a:pt x="282" y="889"/>
                  </a:lnTo>
                  <a:lnTo>
                    <a:pt x="282" y="891"/>
                  </a:lnTo>
                  <a:lnTo>
                    <a:pt x="280" y="889"/>
                  </a:lnTo>
                  <a:lnTo>
                    <a:pt x="282" y="889"/>
                  </a:lnTo>
                  <a:lnTo>
                    <a:pt x="280" y="889"/>
                  </a:lnTo>
                  <a:lnTo>
                    <a:pt x="282" y="889"/>
                  </a:lnTo>
                  <a:lnTo>
                    <a:pt x="280" y="889"/>
                  </a:lnTo>
                  <a:lnTo>
                    <a:pt x="282" y="889"/>
                  </a:lnTo>
                  <a:lnTo>
                    <a:pt x="282" y="886"/>
                  </a:lnTo>
                  <a:lnTo>
                    <a:pt x="282" y="889"/>
                  </a:lnTo>
                  <a:lnTo>
                    <a:pt x="282" y="886"/>
                  </a:lnTo>
                  <a:lnTo>
                    <a:pt x="282" y="889"/>
                  </a:lnTo>
                  <a:close/>
                  <a:moveTo>
                    <a:pt x="277" y="886"/>
                  </a:moveTo>
                  <a:lnTo>
                    <a:pt x="277" y="889"/>
                  </a:lnTo>
                  <a:lnTo>
                    <a:pt x="277" y="886"/>
                  </a:lnTo>
                  <a:close/>
                  <a:moveTo>
                    <a:pt x="280" y="889"/>
                  </a:moveTo>
                  <a:lnTo>
                    <a:pt x="277" y="889"/>
                  </a:lnTo>
                  <a:lnTo>
                    <a:pt x="277" y="886"/>
                  </a:lnTo>
                  <a:lnTo>
                    <a:pt x="280" y="886"/>
                  </a:lnTo>
                  <a:lnTo>
                    <a:pt x="280" y="889"/>
                  </a:lnTo>
                  <a:close/>
                  <a:moveTo>
                    <a:pt x="277" y="886"/>
                  </a:moveTo>
                  <a:lnTo>
                    <a:pt x="280" y="886"/>
                  </a:lnTo>
                  <a:lnTo>
                    <a:pt x="277" y="886"/>
                  </a:lnTo>
                  <a:close/>
                  <a:moveTo>
                    <a:pt x="277" y="886"/>
                  </a:moveTo>
                  <a:lnTo>
                    <a:pt x="277" y="884"/>
                  </a:lnTo>
                  <a:lnTo>
                    <a:pt x="277" y="886"/>
                  </a:lnTo>
                  <a:close/>
                  <a:moveTo>
                    <a:pt x="275" y="884"/>
                  </a:moveTo>
                  <a:lnTo>
                    <a:pt x="275" y="886"/>
                  </a:lnTo>
                  <a:lnTo>
                    <a:pt x="275" y="884"/>
                  </a:lnTo>
                  <a:lnTo>
                    <a:pt x="275" y="886"/>
                  </a:lnTo>
                  <a:lnTo>
                    <a:pt x="275" y="884"/>
                  </a:lnTo>
                  <a:close/>
                  <a:moveTo>
                    <a:pt x="277" y="884"/>
                  </a:moveTo>
                  <a:lnTo>
                    <a:pt x="275" y="884"/>
                  </a:lnTo>
                  <a:lnTo>
                    <a:pt x="277" y="884"/>
                  </a:lnTo>
                  <a:lnTo>
                    <a:pt x="275" y="884"/>
                  </a:lnTo>
                  <a:lnTo>
                    <a:pt x="277" y="884"/>
                  </a:lnTo>
                  <a:close/>
                  <a:moveTo>
                    <a:pt x="282" y="884"/>
                  </a:moveTo>
                  <a:lnTo>
                    <a:pt x="280" y="884"/>
                  </a:lnTo>
                  <a:lnTo>
                    <a:pt x="282" y="884"/>
                  </a:lnTo>
                  <a:lnTo>
                    <a:pt x="280" y="884"/>
                  </a:lnTo>
                  <a:lnTo>
                    <a:pt x="280" y="886"/>
                  </a:lnTo>
                  <a:lnTo>
                    <a:pt x="280" y="884"/>
                  </a:lnTo>
                  <a:lnTo>
                    <a:pt x="282" y="884"/>
                  </a:lnTo>
                  <a:close/>
                  <a:moveTo>
                    <a:pt x="261" y="879"/>
                  </a:moveTo>
                  <a:lnTo>
                    <a:pt x="261" y="881"/>
                  </a:lnTo>
                  <a:lnTo>
                    <a:pt x="261" y="879"/>
                  </a:lnTo>
                  <a:lnTo>
                    <a:pt x="261" y="881"/>
                  </a:lnTo>
                  <a:lnTo>
                    <a:pt x="261" y="879"/>
                  </a:lnTo>
                  <a:close/>
                  <a:moveTo>
                    <a:pt x="282" y="879"/>
                  </a:moveTo>
                  <a:lnTo>
                    <a:pt x="282" y="881"/>
                  </a:lnTo>
                  <a:lnTo>
                    <a:pt x="282" y="879"/>
                  </a:lnTo>
                  <a:lnTo>
                    <a:pt x="282" y="881"/>
                  </a:lnTo>
                  <a:lnTo>
                    <a:pt x="282" y="879"/>
                  </a:lnTo>
                  <a:lnTo>
                    <a:pt x="282" y="881"/>
                  </a:lnTo>
                  <a:lnTo>
                    <a:pt x="282" y="879"/>
                  </a:lnTo>
                  <a:lnTo>
                    <a:pt x="282" y="881"/>
                  </a:lnTo>
                  <a:lnTo>
                    <a:pt x="282" y="879"/>
                  </a:lnTo>
                  <a:close/>
                  <a:moveTo>
                    <a:pt x="265" y="879"/>
                  </a:moveTo>
                  <a:lnTo>
                    <a:pt x="263" y="879"/>
                  </a:lnTo>
                  <a:lnTo>
                    <a:pt x="265" y="879"/>
                  </a:lnTo>
                  <a:close/>
                  <a:moveTo>
                    <a:pt x="289" y="879"/>
                  </a:moveTo>
                  <a:lnTo>
                    <a:pt x="292" y="879"/>
                  </a:lnTo>
                  <a:lnTo>
                    <a:pt x="294" y="879"/>
                  </a:lnTo>
                  <a:lnTo>
                    <a:pt x="292" y="881"/>
                  </a:lnTo>
                  <a:lnTo>
                    <a:pt x="289" y="881"/>
                  </a:lnTo>
                  <a:lnTo>
                    <a:pt x="287" y="881"/>
                  </a:lnTo>
                  <a:lnTo>
                    <a:pt x="287" y="879"/>
                  </a:lnTo>
                  <a:lnTo>
                    <a:pt x="289" y="879"/>
                  </a:lnTo>
                  <a:close/>
                  <a:moveTo>
                    <a:pt x="282" y="879"/>
                  </a:moveTo>
                  <a:lnTo>
                    <a:pt x="280" y="879"/>
                  </a:lnTo>
                  <a:lnTo>
                    <a:pt x="282" y="879"/>
                  </a:lnTo>
                  <a:close/>
                  <a:moveTo>
                    <a:pt x="292" y="879"/>
                  </a:moveTo>
                  <a:lnTo>
                    <a:pt x="294" y="879"/>
                  </a:lnTo>
                  <a:lnTo>
                    <a:pt x="292" y="879"/>
                  </a:lnTo>
                  <a:close/>
                  <a:moveTo>
                    <a:pt x="280" y="877"/>
                  </a:moveTo>
                  <a:lnTo>
                    <a:pt x="280" y="879"/>
                  </a:lnTo>
                  <a:lnTo>
                    <a:pt x="280" y="877"/>
                  </a:lnTo>
                  <a:close/>
                  <a:moveTo>
                    <a:pt x="284" y="877"/>
                  </a:moveTo>
                  <a:lnTo>
                    <a:pt x="284" y="879"/>
                  </a:lnTo>
                  <a:lnTo>
                    <a:pt x="284" y="877"/>
                  </a:lnTo>
                  <a:close/>
                  <a:moveTo>
                    <a:pt x="299" y="877"/>
                  </a:moveTo>
                  <a:lnTo>
                    <a:pt x="296" y="877"/>
                  </a:lnTo>
                  <a:lnTo>
                    <a:pt x="299" y="877"/>
                  </a:lnTo>
                  <a:close/>
                  <a:moveTo>
                    <a:pt x="287" y="874"/>
                  </a:moveTo>
                  <a:lnTo>
                    <a:pt x="287" y="877"/>
                  </a:lnTo>
                  <a:lnTo>
                    <a:pt x="287" y="874"/>
                  </a:lnTo>
                  <a:lnTo>
                    <a:pt x="287" y="877"/>
                  </a:lnTo>
                  <a:lnTo>
                    <a:pt x="284" y="877"/>
                  </a:lnTo>
                  <a:lnTo>
                    <a:pt x="287" y="874"/>
                  </a:lnTo>
                  <a:lnTo>
                    <a:pt x="284" y="874"/>
                  </a:lnTo>
                  <a:lnTo>
                    <a:pt x="287" y="874"/>
                  </a:lnTo>
                  <a:close/>
                  <a:moveTo>
                    <a:pt x="292" y="874"/>
                  </a:moveTo>
                  <a:lnTo>
                    <a:pt x="294" y="874"/>
                  </a:lnTo>
                  <a:lnTo>
                    <a:pt x="296" y="874"/>
                  </a:lnTo>
                  <a:lnTo>
                    <a:pt x="296" y="877"/>
                  </a:lnTo>
                  <a:lnTo>
                    <a:pt x="294" y="877"/>
                  </a:lnTo>
                  <a:lnTo>
                    <a:pt x="292" y="877"/>
                  </a:lnTo>
                  <a:lnTo>
                    <a:pt x="289" y="877"/>
                  </a:lnTo>
                  <a:lnTo>
                    <a:pt x="292" y="874"/>
                  </a:lnTo>
                  <a:lnTo>
                    <a:pt x="292" y="877"/>
                  </a:lnTo>
                  <a:lnTo>
                    <a:pt x="292" y="874"/>
                  </a:lnTo>
                  <a:lnTo>
                    <a:pt x="292" y="877"/>
                  </a:lnTo>
                  <a:lnTo>
                    <a:pt x="292" y="874"/>
                  </a:lnTo>
                  <a:close/>
                  <a:moveTo>
                    <a:pt x="287" y="874"/>
                  </a:moveTo>
                  <a:lnTo>
                    <a:pt x="284" y="874"/>
                  </a:lnTo>
                  <a:lnTo>
                    <a:pt x="287" y="874"/>
                  </a:lnTo>
                  <a:close/>
                  <a:moveTo>
                    <a:pt x="301" y="874"/>
                  </a:moveTo>
                  <a:lnTo>
                    <a:pt x="299" y="874"/>
                  </a:lnTo>
                  <a:lnTo>
                    <a:pt x="301" y="874"/>
                  </a:lnTo>
                  <a:lnTo>
                    <a:pt x="299" y="874"/>
                  </a:lnTo>
                  <a:lnTo>
                    <a:pt x="301" y="874"/>
                  </a:lnTo>
                  <a:lnTo>
                    <a:pt x="299" y="877"/>
                  </a:lnTo>
                  <a:lnTo>
                    <a:pt x="299" y="874"/>
                  </a:lnTo>
                  <a:lnTo>
                    <a:pt x="301" y="874"/>
                  </a:lnTo>
                  <a:close/>
                  <a:moveTo>
                    <a:pt x="294" y="872"/>
                  </a:moveTo>
                  <a:lnTo>
                    <a:pt x="294" y="874"/>
                  </a:lnTo>
                  <a:lnTo>
                    <a:pt x="294" y="872"/>
                  </a:lnTo>
                  <a:lnTo>
                    <a:pt x="294" y="874"/>
                  </a:lnTo>
                  <a:lnTo>
                    <a:pt x="292" y="874"/>
                  </a:lnTo>
                  <a:lnTo>
                    <a:pt x="294" y="874"/>
                  </a:lnTo>
                  <a:lnTo>
                    <a:pt x="294" y="872"/>
                  </a:lnTo>
                  <a:close/>
                  <a:moveTo>
                    <a:pt x="292" y="872"/>
                  </a:moveTo>
                  <a:lnTo>
                    <a:pt x="292" y="874"/>
                  </a:lnTo>
                  <a:lnTo>
                    <a:pt x="292" y="872"/>
                  </a:lnTo>
                  <a:lnTo>
                    <a:pt x="292" y="874"/>
                  </a:lnTo>
                  <a:lnTo>
                    <a:pt x="292" y="872"/>
                  </a:lnTo>
                  <a:close/>
                  <a:moveTo>
                    <a:pt x="299" y="874"/>
                  </a:moveTo>
                  <a:lnTo>
                    <a:pt x="296" y="874"/>
                  </a:lnTo>
                  <a:lnTo>
                    <a:pt x="296" y="872"/>
                  </a:lnTo>
                  <a:lnTo>
                    <a:pt x="299" y="872"/>
                  </a:lnTo>
                  <a:lnTo>
                    <a:pt x="299" y="874"/>
                  </a:lnTo>
                  <a:close/>
                  <a:moveTo>
                    <a:pt x="292" y="872"/>
                  </a:moveTo>
                  <a:lnTo>
                    <a:pt x="289" y="872"/>
                  </a:lnTo>
                  <a:lnTo>
                    <a:pt x="292" y="872"/>
                  </a:lnTo>
                  <a:close/>
                  <a:moveTo>
                    <a:pt x="294" y="870"/>
                  </a:moveTo>
                  <a:lnTo>
                    <a:pt x="294" y="872"/>
                  </a:lnTo>
                  <a:lnTo>
                    <a:pt x="294" y="870"/>
                  </a:lnTo>
                  <a:lnTo>
                    <a:pt x="294" y="872"/>
                  </a:lnTo>
                  <a:lnTo>
                    <a:pt x="292" y="872"/>
                  </a:lnTo>
                  <a:lnTo>
                    <a:pt x="292" y="870"/>
                  </a:lnTo>
                  <a:lnTo>
                    <a:pt x="294" y="870"/>
                  </a:lnTo>
                  <a:close/>
                  <a:moveTo>
                    <a:pt x="292" y="870"/>
                  </a:moveTo>
                  <a:lnTo>
                    <a:pt x="292" y="872"/>
                  </a:lnTo>
                  <a:lnTo>
                    <a:pt x="292" y="870"/>
                  </a:lnTo>
                  <a:close/>
                  <a:moveTo>
                    <a:pt x="299" y="865"/>
                  </a:moveTo>
                  <a:lnTo>
                    <a:pt x="296" y="865"/>
                  </a:lnTo>
                  <a:lnTo>
                    <a:pt x="299" y="865"/>
                  </a:lnTo>
                  <a:lnTo>
                    <a:pt x="299" y="862"/>
                  </a:lnTo>
                  <a:lnTo>
                    <a:pt x="299" y="865"/>
                  </a:lnTo>
                  <a:close/>
                  <a:moveTo>
                    <a:pt x="299" y="865"/>
                  </a:moveTo>
                  <a:lnTo>
                    <a:pt x="299" y="862"/>
                  </a:lnTo>
                  <a:lnTo>
                    <a:pt x="299" y="865"/>
                  </a:lnTo>
                  <a:close/>
                  <a:moveTo>
                    <a:pt x="299" y="862"/>
                  </a:moveTo>
                  <a:lnTo>
                    <a:pt x="299" y="865"/>
                  </a:lnTo>
                  <a:lnTo>
                    <a:pt x="299" y="862"/>
                  </a:lnTo>
                  <a:close/>
                  <a:moveTo>
                    <a:pt x="301" y="862"/>
                  </a:moveTo>
                  <a:lnTo>
                    <a:pt x="301" y="865"/>
                  </a:lnTo>
                  <a:lnTo>
                    <a:pt x="301" y="862"/>
                  </a:lnTo>
                  <a:lnTo>
                    <a:pt x="301" y="865"/>
                  </a:lnTo>
                  <a:lnTo>
                    <a:pt x="301" y="862"/>
                  </a:lnTo>
                  <a:close/>
                  <a:moveTo>
                    <a:pt x="308" y="862"/>
                  </a:moveTo>
                  <a:lnTo>
                    <a:pt x="311" y="862"/>
                  </a:lnTo>
                  <a:lnTo>
                    <a:pt x="311" y="865"/>
                  </a:lnTo>
                  <a:lnTo>
                    <a:pt x="308" y="865"/>
                  </a:lnTo>
                  <a:lnTo>
                    <a:pt x="311" y="865"/>
                  </a:lnTo>
                  <a:lnTo>
                    <a:pt x="308" y="865"/>
                  </a:lnTo>
                  <a:lnTo>
                    <a:pt x="308" y="862"/>
                  </a:lnTo>
                  <a:lnTo>
                    <a:pt x="308" y="865"/>
                  </a:lnTo>
                  <a:lnTo>
                    <a:pt x="308" y="862"/>
                  </a:lnTo>
                  <a:close/>
                  <a:moveTo>
                    <a:pt x="306" y="862"/>
                  </a:moveTo>
                  <a:lnTo>
                    <a:pt x="303" y="862"/>
                  </a:lnTo>
                  <a:lnTo>
                    <a:pt x="303" y="865"/>
                  </a:lnTo>
                  <a:lnTo>
                    <a:pt x="303" y="862"/>
                  </a:lnTo>
                  <a:lnTo>
                    <a:pt x="306" y="862"/>
                  </a:lnTo>
                  <a:close/>
                  <a:moveTo>
                    <a:pt x="306" y="860"/>
                  </a:moveTo>
                  <a:lnTo>
                    <a:pt x="308" y="860"/>
                  </a:lnTo>
                  <a:lnTo>
                    <a:pt x="306" y="860"/>
                  </a:lnTo>
                  <a:close/>
                  <a:moveTo>
                    <a:pt x="311" y="858"/>
                  </a:moveTo>
                  <a:lnTo>
                    <a:pt x="311" y="860"/>
                  </a:lnTo>
                  <a:lnTo>
                    <a:pt x="311" y="858"/>
                  </a:lnTo>
                  <a:lnTo>
                    <a:pt x="308" y="860"/>
                  </a:lnTo>
                  <a:lnTo>
                    <a:pt x="308" y="858"/>
                  </a:lnTo>
                  <a:lnTo>
                    <a:pt x="311" y="858"/>
                  </a:lnTo>
                  <a:close/>
                  <a:moveTo>
                    <a:pt x="303" y="858"/>
                  </a:moveTo>
                  <a:lnTo>
                    <a:pt x="301" y="858"/>
                  </a:lnTo>
                  <a:lnTo>
                    <a:pt x="303" y="858"/>
                  </a:lnTo>
                  <a:close/>
                  <a:moveTo>
                    <a:pt x="318" y="855"/>
                  </a:moveTo>
                  <a:lnTo>
                    <a:pt x="318" y="858"/>
                  </a:lnTo>
                  <a:lnTo>
                    <a:pt x="318" y="855"/>
                  </a:lnTo>
                  <a:lnTo>
                    <a:pt x="318" y="858"/>
                  </a:lnTo>
                  <a:lnTo>
                    <a:pt x="315" y="858"/>
                  </a:lnTo>
                  <a:lnTo>
                    <a:pt x="318" y="858"/>
                  </a:lnTo>
                  <a:lnTo>
                    <a:pt x="315" y="858"/>
                  </a:lnTo>
                  <a:lnTo>
                    <a:pt x="318" y="855"/>
                  </a:lnTo>
                  <a:close/>
                  <a:moveTo>
                    <a:pt x="303" y="855"/>
                  </a:moveTo>
                  <a:lnTo>
                    <a:pt x="301" y="855"/>
                  </a:lnTo>
                  <a:lnTo>
                    <a:pt x="303" y="855"/>
                  </a:lnTo>
                  <a:close/>
                  <a:moveTo>
                    <a:pt x="320" y="855"/>
                  </a:moveTo>
                  <a:lnTo>
                    <a:pt x="320" y="858"/>
                  </a:lnTo>
                  <a:lnTo>
                    <a:pt x="320" y="860"/>
                  </a:lnTo>
                  <a:lnTo>
                    <a:pt x="318" y="860"/>
                  </a:lnTo>
                  <a:lnTo>
                    <a:pt x="318" y="862"/>
                  </a:lnTo>
                  <a:lnTo>
                    <a:pt x="318" y="865"/>
                  </a:lnTo>
                  <a:lnTo>
                    <a:pt x="318" y="867"/>
                  </a:lnTo>
                  <a:lnTo>
                    <a:pt x="315" y="867"/>
                  </a:lnTo>
                  <a:lnTo>
                    <a:pt x="318" y="865"/>
                  </a:lnTo>
                  <a:lnTo>
                    <a:pt x="315" y="865"/>
                  </a:lnTo>
                  <a:lnTo>
                    <a:pt x="315" y="862"/>
                  </a:lnTo>
                  <a:lnTo>
                    <a:pt x="313" y="862"/>
                  </a:lnTo>
                  <a:lnTo>
                    <a:pt x="313" y="860"/>
                  </a:lnTo>
                  <a:lnTo>
                    <a:pt x="311" y="860"/>
                  </a:lnTo>
                  <a:lnTo>
                    <a:pt x="311" y="862"/>
                  </a:lnTo>
                  <a:lnTo>
                    <a:pt x="311" y="860"/>
                  </a:lnTo>
                  <a:lnTo>
                    <a:pt x="313" y="860"/>
                  </a:lnTo>
                  <a:lnTo>
                    <a:pt x="313" y="858"/>
                  </a:lnTo>
                  <a:lnTo>
                    <a:pt x="313" y="860"/>
                  </a:lnTo>
                  <a:lnTo>
                    <a:pt x="313" y="858"/>
                  </a:lnTo>
                  <a:lnTo>
                    <a:pt x="315" y="858"/>
                  </a:lnTo>
                  <a:lnTo>
                    <a:pt x="315" y="860"/>
                  </a:lnTo>
                  <a:lnTo>
                    <a:pt x="315" y="858"/>
                  </a:lnTo>
                  <a:lnTo>
                    <a:pt x="315" y="860"/>
                  </a:lnTo>
                  <a:lnTo>
                    <a:pt x="318" y="858"/>
                  </a:lnTo>
                  <a:lnTo>
                    <a:pt x="318" y="855"/>
                  </a:lnTo>
                  <a:lnTo>
                    <a:pt x="320" y="855"/>
                  </a:lnTo>
                  <a:close/>
                  <a:moveTo>
                    <a:pt x="341" y="853"/>
                  </a:moveTo>
                  <a:lnTo>
                    <a:pt x="341" y="851"/>
                  </a:lnTo>
                  <a:lnTo>
                    <a:pt x="341" y="853"/>
                  </a:lnTo>
                  <a:close/>
                  <a:moveTo>
                    <a:pt x="311" y="851"/>
                  </a:moveTo>
                  <a:lnTo>
                    <a:pt x="308" y="851"/>
                  </a:lnTo>
                  <a:lnTo>
                    <a:pt x="311" y="851"/>
                  </a:lnTo>
                  <a:close/>
                  <a:moveTo>
                    <a:pt x="311" y="851"/>
                  </a:moveTo>
                  <a:lnTo>
                    <a:pt x="308" y="851"/>
                  </a:lnTo>
                  <a:lnTo>
                    <a:pt x="311" y="851"/>
                  </a:lnTo>
                  <a:close/>
                  <a:moveTo>
                    <a:pt x="322" y="851"/>
                  </a:moveTo>
                  <a:lnTo>
                    <a:pt x="322" y="848"/>
                  </a:lnTo>
                  <a:lnTo>
                    <a:pt x="322" y="851"/>
                  </a:lnTo>
                  <a:close/>
                  <a:moveTo>
                    <a:pt x="322" y="848"/>
                  </a:moveTo>
                  <a:lnTo>
                    <a:pt x="322" y="851"/>
                  </a:lnTo>
                  <a:lnTo>
                    <a:pt x="320" y="851"/>
                  </a:lnTo>
                  <a:lnTo>
                    <a:pt x="322" y="848"/>
                  </a:lnTo>
                  <a:close/>
                  <a:moveTo>
                    <a:pt x="329" y="843"/>
                  </a:moveTo>
                  <a:lnTo>
                    <a:pt x="329" y="846"/>
                  </a:lnTo>
                  <a:lnTo>
                    <a:pt x="327" y="846"/>
                  </a:lnTo>
                  <a:lnTo>
                    <a:pt x="329" y="843"/>
                  </a:lnTo>
                  <a:close/>
                  <a:moveTo>
                    <a:pt x="318" y="843"/>
                  </a:moveTo>
                  <a:lnTo>
                    <a:pt x="318" y="846"/>
                  </a:lnTo>
                  <a:lnTo>
                    <a:pt x="318" y="843"/>
                  </a:lnTo>
                  <a:close/>
                  <a:moveTo>
                    <a:pt x="308" y="843"/>
                  </a:moveTo>
                  <a:lnTo>
                    <a:pt x="306" y="843"/>
                  </a:lnTo>
                  <a:lnTo>
                    <a:pt x="308" y="843"/>
                  </a:lnTo>
                  <a:close/>
                  <a:moveTo>
                    <a:pt x="308" y="843"/>
                  </a:moveTo>
                  <a:lnTo>
                    <a:pt x="311" y="843"/>
                  </a:lnTo>
                  <a:lnTo>
                    <a:pt x="308" y="843"/>
                  </a:lnTo>
                  <a:close/>
                  <a:moveTo>
                    <a:pt x="313" y="841"/>
                  </a:moveTo>
                  <a:lnTo>
                    <a:pt x="313" y="843"/>
                  </a:lnTo>
                  <a:lnTo>
                    <a:pt x="313" y="841"/>
                  </a:lnTo>
                  <a:close/>
                  <a:moveTo>
                    <a:pt x="308" y="841"/>
                  </a:moveTo>
                  <a:lnTo>
                    <a:pt x="308" y="843"/>
                  </a:lnTo>
                  <a:lnTo>
                    <a:pt x="306" y="843"/>
                  </a:lnTo>
                  <a:lnTo>
                    <a:pt x="308" y="843"/>
                  </a:lnTo>
                  <a:lnTo>
                    <a:pt x="306" y="843"/>
                  </a:lnTo>
                  <a:lnTo>
                    <a:pt x="308" y="841"/>
                  </a:lnTo>
                  <a:close/>
                  <a:moveTo>
                    <a:pt x="311" y="841"/>
                  </a:moveTo>
                  <a:lnTo>
                    <a:pt x="311" y="843"/>
                  </a:lnTo>
                  <a:lnTo>
                    <a:pt x="308" y="843"/>
                  </a:lnTo>
                  <a:lnTo>
                    <a:pt x="311" y="841"/>
                  </a:lnTo>
                  <a:lnTo>
                    <a:pt x="311" y="843"/>
                  </a:lnTo>
                  <a:lnTo>
                    <a:pt x="308" y="843"/>
                  </a:lnTo>
                  <a:lnTo>
                    <a:pt x="308" y="841"/>
                  </a:lnTo>
                  <a:lnTo>
                    <a:pt x="311" y="841"/>
                  </a:lnTo>
                  <a:close/>
                  <a:moveTo>
                    <a:pt x="322" y="841"/>
                  </a:moveTo>
                  <a:lnTo>
                    <a:pt x="325" y="841"/>
                  </a:lnTo>
                  <a:lnTo>
                    <a:pt x="322" y="841"/>
                  </a:lnTo>
                  <a:lnTo>
                    <a:pt x="325" y="841"/>
                  </a:lnTo>
                  <a:lnTo>
                    <a:pt x="325" y="843"/>
                  </a:lnTo>
                  <a:lnTo>
                    <a:pt x="322" y="843"/>
                  </a:lnTo>
                  <a:lnTo>
                    <a:pt x="325" y="843"/>
                  </a:lnTo>
                  <a:lnTo>
                    <a:pt x="322" y="843"/>
                  </a:lnTo>
                  <a:lnTo>
                    <a:pt x="320" y="843"/>
                  </a:lnTo>
                  <a:lnTo>
                    <a:pt x="320" y="846"/>
                  </a:lnTo>
                  <a:lnTo>
                    <a:pt x="318" y="846"/>
                  </a:lnTo>
                  <a:lnTo>
                    <a:pt x="318" y="843"/>
                  </a:lnTo>
                  <a:lnTo>
                    <a:pt x="320" y="843"/>
                  </a:lnTo>
                  <a:lnTo>
                    <a:pt x="318" y="843"/>
                  </a:lnTo>
                  <a:lnTo>
                    <a:pt x="320" y="843"/>
                  </a:lnTo>
                  <a:lnTo>
                    <a:pt x="320" y="841"/>
                  </a:lnTo>
                  <a:lnTo>
                    <a:pt x="322" y="841"/>
                  </a:lnTo>
                  <a:close/>
                  <a:moveTo>
                    <a:pt x="332" y="841"/>
                  </a:moveTo>
                  <a:lnTo>
                    <a:pt x="332" y="839"/>
                  </a:lnTo>
                  <a:lnTo>
                    <a:pt x="332" y="841"/>
                  </a:lnTo>
                  <a:close/>
                  <a:moveTo>
                    <a:pt x="334" y="836"/>
                  </a:moveTo>
                  <a:lnTo>
                    <a:pt x="337" y="836"/>
                  </a:lnTo>
                  <a:lnTo>
                    <a:pt x="334" y="836"/>
                  </a:lnTo>
                  <a:close/>
                  <a:moveTo>
                    <a:pt x="251" y="836"/>
                  </a:moveTo>
                  <a:lnTo>
                    <a:pt x="249" y="836"/>
                  </a:lnTo>
                  <a:lnTo>
                    <a:pt x="251" y="836"/>
                  </a:lnTo>
                  <a:close/>
                  <a:moveTo>
                    <a:pt x="332" y="834"/>
                  </a:moveTo>
                  <a:lnTo>
                    <a:pt x="334" y="834"/>
                  </a:lnTo>
                  <a:lnTo>
                    <a:pt x="332" y="834"/>
                  </a:lnTo>
                  <a:close/>
                  <a:moveTo>
                    <a:pt x="334" y="832"/>
                  </a:moveTo>
                  <a:lnTo>
                    <a:pt x="337" y="832"/>
                  </a:lnTo>
                  <a:lnTo>
                    <a:pt x="334" y="832"/>
                  </a:lnTo>
                  <a:close/>
                  <a:moveTo>
                    <a:pt x="332" y="832"/>
                  </a:moveTo>
                  <a:lnTo>
                    <a:pt x="334" y="832"/>
                  </a:lnTo>
                  <a:lnTo>
                    <a:pt x="332" y="832"/>
                  </a:lnTo>
                  <a:close/>
                  <a:moveTo>
                    <a:pt x="351" y="832"/>
                  </a:moveTo>
                  <a:lnTo>
                    <a:pt x="348" y="832"/>
                  </a:lnTo>
                  <a:lnTo>
                    <a:pt x="351" y="832"/>
                  </a:lnTo>
                  <a:close/>
                  <a:moveTo>
                    <a:pt x="348" y="827"/>
                  </a:moveTo>
                  <a:lnTo>
                    <a:pt x="348" y="829"/>
                  </a:lnTo>
                  <a:lnTo>
                    <a:pt x="346" y="829"/>
                  </a:lnTo>
                  <a:lnTo>
                    <a:pt x="344" y="829"/>
                  </a:lnTo>
                  <a:lnTo>
                    <a:pt x="346" y="829"/>
                  </a:lnTo>
                  <a:lnTo>
                    <a:pt x="344" y="829"/>
                  </a:lnTo>
                  <a:lnTo>
                    <a:pt x="346" y="829"/>
                  </a:lnTo>
                  <a:lnTo>
                    <a:pt x="346" y="827"/>
                  </a:lnTo>
                  <a:lnTo>
                    <a:pt x="348" y="827"/>
                  </a:lnTo>
                  <a:close/>
                  <a:moveTo>
                    <a:pt x="268" y="827"/>
                  </a:moveTo>
                  <a:lnTo>
                    <a:pt x="268" y="829"/>
                  </a:lnTo>
                  <a:lnTo>
                    <a:pt x="268" y="827"/>
                  </a:lnTo>
                  <a:lnTo>
                    <a:pt x="268" y="829"/>
                  </a:lnTo>
                  <a:lnTo>
                    <a:pt x="268" y="827"/>
                  </a:lnTo>
                  <a:lnTo>
                    <a:pt x="265" y="829"/>
                  </a:lnTo>
                  <a:lnTo>
                    <a:pt x="265" y="827"/>
                  </a:lnTo>
                  <a:lnTo>
                    <a:pt x="265" y="829"/>
                  </a:lnTo>
                  <a:lnTo>
                    <a:pt x="263" y="829"/>
                  </a:lnTo>
                  <a:lnTo>
                    <a:pt x="265" y="829"/>
                  </a:lnTo>
                  <a:lnTo>
                    <a:pt x="265" y="827"/>
                  </a:lnTo>
                  <a:lnTo>
                    <a:pt x="268" y="827"/>
                  </a:lnTo>
                  <a:close/>
                  <a:moveTo>
                    <a:pt x="337" y="824"/>
                  </a:moveTo>
                  <a:lnTo>
                    <a:pt x="334" y="824"/>
                  </a:lnTo>
                  <a:lnTo>
                    <a:pt x="337" y="824"/>
                  </a:lnTo>
                  <a:close/>
                  <a:moveTo>
                    <a:pt x="329" y="822"/>
                  </a:moveTo>
                  <a:lnTo>
                    <a:pt x="329" y="824"/>
                  </a:lnTo>
                  <a:lnTo>
                    <a:pt x="329" y="822"/>
                  </a:lnTo>
                  <a:close/>
                  <a:moveTo>
                    <a:pt x="270" y="822"/>
                  </a:moveTo>
                  <a:lnTo>
                    <a:pt x="270" y="824"/>
                  </a:lnTo>
                  <a:lnTo>
                    <a:pt x="268" y="824"/>
                  </a:lnTo>
                  <a:lnTo>
                    <a:pt x="270" y="824"/>
                  </a:lnTo>
                  <a:lnTo>
                    <a:pt x="270" y="822"/>
                  </a:lnTo>
                  <a:close/>
                  <a:moveTo>
                    <a:pt x="337" y="822"/>
                  </a:moveTo>
                  <a:lnTo>
                    <a:pt x="334" y="822"/>
                  </a:lnTo>
                  <a:lnTo>
                    <a:pt x="337" y="822"/>
                  </a:lnTo>
                  <a:close/>
                  <a:moveTo>
                    <a:pt x="334" y="820"/>
                  </a:moveTo>
                  <a:lnTo>
                    <a:pt x="332" y="820"/>
                  </a:lnTo>
                  <a:lnTo>
                    <a:pt x="334" y="820"/>
                  </a:lnTo>
                  <a:close/>
                  <a:moveTo>
                    <a:pt x="337" y="817"/>
                  </a:moveTo>
                  <a:lnTo>
                    <a:pt x="334" y="820"/>
                  </a:lnTo>
                  <a:lnTo>
                    <a:pt x="334" y="817"/>
                  </a:lnTo>
                  <a:lnTo>
                    <a:pt x="337" y="817"/>
                  </a:lnTo>
                  <a:close/>
                  <a:moveTo>
                    <a:pt x="334" y="817"/>
                  </a:moveTo>
                  <a:lnTo>
                    <a:pt x="334" y="820"/>
                  </a:lnTo>
                  <a:lnTo>
                    <a:pt x="334" y="817"/>
                  </a:lnTo>
                  <a:lnTo>
                    <a:pt x="334" y="820"/>
                  </a:lnTo>
                  <a:lnTo>
                    <a:pt x="334" y="817"/>
                  </a:lnTo>
                  <a:lnTo>
                    <a:pt x="334" y="820"/>
                  </a:lnTo>
                  <a:lnTo>
                    <a:pt x="334" y="817"/>
                  </a:lnTo>
                  <a:lnTo>
                    <a:pt x="337" y="817"/>
                  </a:lnTo>
                  <a:lnTo>
                    <a:pt x="334" y="817"/>
                  </a:lnTo>
                  <a:close/>
                  <a:moveTo>
                    <a:pt x="341" y="813"/>
                  </a:moveTo>
                  <a:lnTo>
                    <a:pt x="341" y="815"/>
                  </a:lnTo>
                  <a:lnTo>
                    <a:pt x="339" y="813"/>
                  </a:lnTo>
                  <a:lnTo>
                    <a:pt x="339" y="815"/>
                  </a:lnTo>
                  <a:lnTo>
                    <a:pt x="339" y="813"/>
                  </a:lnTo>
                  <a:lnTo>
                    <a:pt x="341" y="813"/>
                  </a:lnTo>
                  <a:close/>
                  <a:moveTo>
                    <a:pt x="337" y="815"/>
                  </a:moveTo>
                  <a:lnTo>
                    <a:pt x="339" y="813"/>
                  </a:lnTo>
                  <a:lnTo>
                    <a:pt x="337" y="815"/>
                  </a:lnTo>
                  <a:close/>
                  <a:moveTo>
                    <a:pt x="339" y="815"/>
                  </a:moveTo>
                  <a:lnTo>
                    <a:pt x="339" y="813"/>
                  </a:lnTo>
                  <a:lnTo>
                    <a:pt x="339" y="815"/>
                  </a:lnTo>
                  <a:close/>
                  <a:moveTo>
                    <a:pt x="282" y="813"/>
                  </a:moveTo>
                  <a:lnTo>
                    <a:pt x="280" y="813"/>
                  </a:lnTo>
                  <a:lnTo>
                    <a:pt x="282" y="813"/>
                  </a:lnTo>
                  <a:close/>
                  <a:moveTo>
                    <a:pt x="356" y="810"/>
                  </a:moveTo>
                  <a:lnTo>
                    <a:pt x="358" y="810"/>
                  </a:lnTo>
                  <a:lnTo>
                    <a:pt x="356" y="810"/>
                  </a:lnTo>
                  <a:close/>
                  <a:moveTo>
                    <a:pt x="358" y="810"/>
                  </a:moveTo>
                  <a:lnTo>
                    <a:pt x="360" y="810"/>
                  </a:lnTo>
                  <a:lnTo>
                    <a:pt x="358" y="810"/>
                  </a:lnTo>
                  <a:lnTo>
                    <a:pt x="360" y="810"/>
                  </a:lnTo>
                  <a:lnTo>
                    <a:pt x="358" y="810"/>
                  </a:lnTo>
                  <a:close/>
                  <a:moveTo>
                    <a:pt x="358" y="808"/>
                  </a:moveTo>
                  <a:lnTo>
                    <a:pt x="358" y="810"/>
                  </a:lnTo>
                  <a:lnTo>
                    <a:pt x="358" y="808"/>
                  </a:lnTo>
                  <a:close/>
                  <a:moveTo>
                    <a:pt x="360" y="808"/>
                  </a:moveTo>
                  <a:lnTo>
                    <a:pt x="360" y="810"/>
                  </a:lnTo>
                  <a:lnTo>
                    <a:pt x="360" y="808"/>
                  </a:lnTo>
                  <a:close/>
                  <a:moveTo>
                    <a:pt x="346" y="808"/>
                  </a:moveTo>
                  <a:lnTo>
                    <a:pt x="348" y="808"/>
                  </a:lnTo>
                  <a:lnTo>
                    <a:pt x="348" y="810"/>
                  </a:lnTo>
                  <a:lnTo>
                    <a:pt x="346" y="810"/>
                  </a:lnTo>
                  <a:lnTo>
                    <a:pt x="348" y="810"/>
                  </a:lnTo>
                  <a:lnTo>
                    <a:pt x="348" y="813"/>
                  </a:lnTo>
                  <a:lnTo>
                    <a:pt x="348" y="810"/>
                  </a:lnTo>
                  <a:lnTo>
                    <a:pt x="348" y="813"/>
                  </a:lnTo>
                  <a:lnTo>
                    <a:pt x="348" y="810"/>
                  </a:lnTo>
                  <a:lnTo>
                    <a:pt x="351" y="810"/>
                  </a:lnTo>
                  <a:lnTo>
                    <a:pt x="351" y="813"/>
                  </a:lnTo>
                  <a:lnTo>
                    <a:pt x="353" y="813"/>
                  </a:lnTo>
                  <a:lnTo>
                    <a:pt x="351" y="813"/>
                  </a:lnTo>
                  <a:lnTo>
                    <a:pt x="353" y="813"/>
                  </a:lnTo>
                  <a:lnTo>
                    <a:pt x="351" y="813"/>
                  </a:lnTo>
                  <a:lnTo>
                    <a:pt x="348" y="813"/>
                  </a:lnTo>
                  <a:lnTo>
                    <a:pt x="348" y="815"/>
                  </a:lnTo>
                  <a:lnTo>
                    <a:pt x="348" y="813"/>
                  </a:lnTo>
                  <a:lnTo>
                    <a:pt x="348" y="815"/>
                  </a:lnTo>
                  <a:lnTo>
                    <a:pt x="348" y="813"/>
                  </a:lnTo>
                  <a:lnTo>
                    <a:pt x="346" y="813"/>
                  </a:lnTo>
                  <a:lnTo>
                    <a:pt x="344" y="813"/>
                  </a:lnTo>
                  <a:lnTo>
                    <a:pt x="341" y="813"/>
                  </a:lnTo>
                  <a:lnTo>
                    <a:pt x="344" y="813"/>
                  </a:lnTo>
                  <a:lnTo>
                    <a:pt x="341" y="813"/>
                  </a:lnTo>
                  <a:lnTo>
                    <a:pt x="344" y="813"/>
                  </a:lnTo>
                  <a:lnTo>
                    <a:pt x="341" y="813"/>
                  </a:lnTo>
                  <a:lnTo>
                    <a:pt x="341" y="815"/>
                  </a:lnTo>
                  <a:lnTo>
                    <a:pt x="341" y="813"/>
                  </a:lnTo>
                  <a:lnTo>
                    <a:pt x="341" y="810"/>
                  </a:lnTo>
                  <a:lnTo>
                    <a:pt x="344" y="810"/>
                  </a:lnTo>
                  <a:lnTo>
                    <a:pt x="344" y="813"/>
                  </a:lnTo>
                  <a:lnTo>
                    <a:pt x="344" y="810"/>
                  </a:lnTo>
                  <a:lnTo>
                    <a:pt x="341" y="810"/>
                  </a:lnTo>
                  <a:lnTo>
                    <a:pt x="344" y="810"/>
                  </a:lnTo>
                  <a:lnTo>
                    <a:pt x="346" y="810"/>
                  </a:lnTo>
                  <a:lnTo>
                    <a:pt x="346" y="808"/>
                  </a:lnTo>
                  <a:lnTo>
                    <a:pt x="346" y="810"/>
                  </a:lnTo>
                  <a:lnTo>
                    <a:pt x="346" y="808"/>
                  </a:lnTo>
                  <a:close/>
                  <a:moveTo>
                    <a:pt x="284" y="808"/>
                  </a:moveTo>
                  <a:lnTo>
                    <a:pt x="284" y="810"/>
                  </a:lnTo>
                  <a:lnTo>
                    <a:pt x="284" y="808"/>
                  </a:lnTo>
                  <a:close/>
                  <a:moveTo>
                    <a:pt x="365" y="805"/>
                  </a:moveTo>
                  <a:lnTo>
                    <a:pt x="367" y="808"/>
                  </a:lnTo>
                  <a:lnTo>
                    <a:pt x="370" y="808"/>
                  </a:lnTo>
                  <a:lnTo>
                    <a:pt x="372" y="808"/>
                  </a:lnTo>
                  <a:lnTo>
                    <a:pt x="375" y="808"/>
                  </a:lnTo>
                  <a:lnTo>
                    <a:pt x="375" y="810"/>
                  </a:lnTo>
                  <a:lnTo>
                    <a:pt x="375" y="808"/>
                  </a:lnTo>
                  <a:lnTo>
                    <a:pt x="375" y="810"/>
                  </a:lnTo>
                  <a:lnTo>
                    <a:pt x="372" y="810"/>
                  </a:lnTo>
                  <a:lnTo>
                    <a:pt x="370" y="810"/>
                  </a:lnTo>
                  <a:lnTo>
                    <a:pt x="370" y="808"/>
                  </a:lnTo>
                  <a:lnTo>
                    <a:pt x="367" y="808"/>
                  </a:lnTo>
                  <a:lnTo>
                    <a:pt x="370" y="808"/>
                  </a:lnTo>
                  <a:lnTo>
                    <a:pt x="367" y="808"/>
                  </a:lnTo>
                  <a:lnTo>
                    <a:pt x="365" y="808"/>
                  </a:lnTo>
                  <a:lnTo>
                    <a:pt x="367" y="808"/>
                  </a:lnTo>
                  <a:lnTo>
                    <a:pt x="367" y="810"/>
                  </a:lnTo>
                  <a:lnTo>
                    <a:pt x="365" y="810"/>
                  </a:lnTo>
                  <a:lnTo>
                    <a:pt x="363" y="810"/>
                  </a:lnTo>
                  <a:lnTo>
                    <a:pt x="360" y="810"/>
                  </a:lnTo>
                  <a:lnTo>
                    <a:pt x="360" y="808"/>
                  </a:lnTo>
                  <a:lnTo>
                    <a:pt x="358" y="808"/>
                  </a:lnTo>
                  <a:lnTo>
                    <a:pt x="360" y="808"/>
                  </a:lnTo>
                  <a:lnTo>
                    <a:pt x="358" y="808"/>
                  </a:lnTo>
                  <a:lnTo>
                    <a:pt x="360" y="808"/>
                  </a:lnTo>
                  <a:lnTo>
                    <a:pt x="363" y="808"/>
                  </a:lnTo>
                  <a:lnTo>
                    <a:pt x="365" y="808"/>
                  </a:lnTo>
                  <a:lnTo>
                    <a:pt x="365" y="805"/>
                  </a:lnTo>
                  <a:close/>
                  <a:moveTo>
                    <a:pt x="360" y="805"/>
                  </a:moveTo>
                  <a:lnTo>
                    <a:pt x="360" y="808"/>
                  </a:lnTo>
                  <a:lnTo>
                    <a:pt x="360" y="805"/>
                  </a:lnTo>
                  <a:close/>
                  <a:moveTo>
                    <a:pt x="351" y="805"/>
                  </a:moveTo>
                  <a:lnTo>
                    <a:pt x="351" y="808"/>
                  </a:lnTo>
                  <a:lnTo>
                    <a:pt x="353" y="808"/>
                  </a:lnTo>
                  <a:lnTo>
                    <a:pt x="353" y="810"/>
                  </a:lnTo>
                  <a:lnTo>
                    <a:pt x="351" y="810"/>
                  </a:lnTo>
                  <a:lnTo>
                    <a:pt x="348" y="810"/>
                  </a:lnTo>
                  <a:lnTo>
                    <a:pt x="348" y="808"/>
                  </a:lnTo>
                  <a:lnTo>
                    <a:pt x="351" y="808"/>
                  </a:lnTo>
                  <a:lnTo>
                    <a:pt x="351" y="805"/>
                  </a:lnTo>
                  <a:close/>
                  <a:moveTo>
                    <a:pt x="299" y="805"/>
                  </a:moveTo>
                  <a:lnTo>
                    <a:pt x="299" y="803"/>
                  </a:lnTo>
                  <a:lnTo>
                    <a:pt x="299" y="805"/>
                  </a:lnTo>
                  <a:close/>
                  <a:moveTo>
                    <a:pt x="386" y="803"/>
                  </a:moveTo>
                  <a:lnTo>
                    <a:pt x="386" y="805"/>
                  </a:lnTo>
                  <a:lnTo>
                    <a:pt x="384" y="805"/>
                  </a:lnTo>
                  <a:lnTo>
                    <a:pt x="382" y="805"/>
                  </a:lnTo>
                  <a:lnTo>
                    <a:pt x="384" y="805"/>
                  </a:lnTo>
                  <a:lnTo>
                    <a:pt x="384" y="803"/>
                  </a:lnTo>
                  <a:lnTo>
                    <a:pt x="386" y="803"/>
                  </a:lnTo>
                  <a:close/>
                  <a:moveTo>
                    <a:pt x="282" y="803"/>
                  </a:moveTo>
                  <a:lnTo>
                    <a:pt x="284" y="803"/>
                  </a:lnTo>
                  <a:lnTo>
                    <a:pt x="282" y="803"/>
                  </a:lnTo>
                  <a:lnTo>
                    <a:pt x="282" y="805"/>
                  </a:lnTo>
                  <a:lnTo>
                    <a:pt x="280" y="805"/>
                  </a:lnTo>
                  <a:lnTo>
                    <a:pt x="280" y="808"/>
                  </a:lnTo>
                  <a:lnTo>
                    <a:pt x="280" y="805"/>
                  </a:lnTo>
                  <a:lnTo>
                    <a:pt x="280" y="808"/>
                  </a:lnTo>
                  <a:lnTo>
                    <a:pt x="282" y="808"/>
                  </a:lnTo>
                  <a:lnTo>
                    <a:pt x="282" y="805"/>
                  </a:lnTo>
                  <a:lnTo>
                    <a:pt x="282" y="808"/>
                  </a:lnTo>
                  <a:lnTo>
                    <a:pt x="284" y="808"/>
                  </a:lnTo>
                  <a:lnTo>
                    <a:pt x="282" y="808"/>
                  </a:lnTo>
                  <a:lnTo>
                    <a:pt x="284" y="808"/>
                  </a:lnTo>
                  <a:lnTo>
                    <a:pt x="282" y="808"/>
                  </a:lnTo>
                  <a:lnTo>
                    <a:pt x="284" y="808"/>
                  </a:lnTo>
                  <a:lnTo>
                    <a:pt x="282" y="808"/>
                  </a:lnTo>
                  <a:lnTo>
                    <a:pt x="284" y="808"/>
                  </a:lnTo>
                  <a:lnTo>
                    <a:pt x="282" y="810"/>
                  </a:lnTo>
                  <a:lnTo>
                    <a:pt x="284" y="810"/>
                  </a:lnTo>
                  <a:lnTo>
                    <a:pt x="282" y="810"/>
                  </a:lnTo>
                  <a:lnTo>
                    <a:pt x="282" y="813"/>
                  </a:lnTo>
                  <a:lnTo>
                    <a:pt x="282" y="810"/>
                  </a:lnTo>
                  <a:lnTo>
                    <a:pt x="280" y="810"/>
                  </a:lnTo>
                  <a:lnTo>
                    <a:pt x="280" y="813"/>
                  </a:lnTo>
                  <a:lnTo>
                    <a:pt x="280" y="810"/>
                  </a:lnTo>
                  <a:lnTo>
                    <a:pt x="277" y="810"/>
                  </a:lnTo>
                  <a:lnTo>
                    <a:pt x="280" y="810"/>
                  </a:lnTo>
                  <a:lnTo>
                    <a:pt x="277" y="810"/>
                  </a:lnTo>
                  <a:lnTo>
                    <a:pt x="277" y="813"/>
                  </a:lnTo>
                  <a:lnTo>
                    <a:pt x="280" y="813"/>
                  </a:lnTo>
                  <a:lnTo>
                    <a:pt x="280" y="815"/>
                  </a:lnTo>
                  <a:lnTo>
                    <a:pt x="277" y="815"/>
                  </a:lnTo>
                  <a:lnTo>
                    <a:pt x="280" y="815"/>
                  </a:lnTo>
                  <a:lnTo>
                    <a:pt x="277" y="815"/>
                  </a:lnTo>
                  <a:lnTo>
                    <a:pt x="275" y="815"/>
                  </a:lnTo>
                  <a:lnTo>
                    <a:pt x="275" y="817"/>
                  </a:lnTo>
                  <a:lnTo>
                    <a:pt x="273" y="817"/>
                  </a:lnTo>
                  <a:lnTo>
                    <a:pt x="273" y="820"/>
                  </a:lnTo>
                  <a:lnTo>
                    <a:pt x="270" y="820"/>
                  </a:lnTo>
                  <a:lnTo>
                    <a:pt x="270" y="817"/>
                  </a:lnTo>
                  <a:lnTo>
                    <a:pt x="273" y="817"/>
                  </a:lnTo>
                  <a:lnTo>
                    <a:pt x="270" y="817"/>
                  </a:lnTo>
                  <a:lnTo>
                    <a:pt x="273" y="817"/>
                  </a:lnTo>
                  <a:lnTo>
                    <a:pt x="273" y="815"/>
                  </a:lnTo>
                  <a:lnTo>
                    <a:pt x="273" y="813"/>
                  </a:lnTo>
                  <a:lnTo>
                    <a:pt x="275" y="813"/>
                  </a:lnTo>
                  <a:lnTo>
                    <a:pt x="275" y="810"/>
                  </a:lnTo>
                  <a:lnTo>
                    <a:pt x="277" y="810"/>
                  </a:lnTo>
                  <a:lnTo>
                    <a:pt x="275" y="808"/>
                  </a:lnTo>
                  <a:lnTo>
                    <a:pt x="277" y="808"/>
                  </a:lnTo>
                  <a:lnTo>
                    <a:pt x="275" y="808"/>
                  </a:lnTo>
                  <a:lnTo>
                    <a:pt x="277" y="808"/>
                  </a:lnTo>
                  <a:lnTo>
                    <a:pt x="277" y="805"/>
                  </a:lnTo>
                  <a:lnTo>
                    <a:pt x="280" y="805"/>
                  </a:lnTo>
                  <a:lnTo>
                    <a:pt x="280" y="803"/>
                  </a:lnTo>
                  <a:lnTo>
                    <a:pt x="282" y="803"/>
                  </a:lnTo>
                  <a:close/>
                  <a:moveTo>
                    <a:pt x="318" y="798"/>
                  </a:moveTo>
                  <a:lnTo>
                    <a:pt x="318" y="801"/>
                  </a:lnTo>
                  <a:lnTo>
                    <a:pt x="318" y="798"/>
                  </a:lnTo>
                  <a:close/>
                  <a:moveTo>
                    <a:pt x="370" y="798"/>
                  </a:moveTo>
                  <a:lnTo>
                    <a:pt x="370" y="801"/>
                  </a:lnTo>
                  <a:lnTo>
                    <a:pt x="372" y="798"/>
                  </a:lnTo>
                  <a:lnTo>
                    <a:pt x="372" y="801"/>
                  </a:lnTo>
                  <a:lnTo>
                    <a:pt x="370" y="801"/>
                  </a:lnTo>
                  <a:lnTo>
                    <a:pt x="372" y="801"/>
                  </a:lnTo>
                  <a:lnTo>
                    <a:pt x="370" y="801"/>
                  </a:lnTo>
                  <a:lnTo>
                    <a:pt x="372" y="801"/>
                  </a:lnTo>
                  <a:lnTo>
                    <a:pt x="370" y="801"/>
                  </a:lnTo>
                  <a:lnTo>
                    <a:pt x="367" y="801"/>
                  </a:lnTo>
                  <a:lnTo>
                    <a:pt x="370" y="801"/>
                  </a:lnTo>
                  <a:lnTo>
                    <a:pt x="370" y="798"/>
                  </a:lnTo>
                  <a:close/>
                  <a:moveTo>
                    <a:pt x="292" y="798"/>
                  </a:moveTo>
                  <a:lnTo>
                    <a:pt x="292" y="801"/>
                  </a:lnTo>
                  <a:lnTo>
                    <a:pt x="294" y="801"/>
                  </a:lnTo>
                  <a:lnTo>
                    <a:pt x="292" y="801"/>
                  </a:lnTo>
                  <a:lnTo>
                    <a:pt x="292" y="803"/>
                  </a:lnTo>
                  <a:lnTo>
                    <a:pt x="292" y="805"/>
                  </a:lnTo>
                  <a:lnTo>
                    <a:pt x="292" y="808"/>
                  </a:lnTo>
                  <a:lnTo>
                    <a:pt x="289" y="808"/>
                  </a:lnTo>
                  <a:lnTo>
                    <a:pt x="289" y="805"/>
                  </a:lnTo>
                  <a:lnTo>
                    <a:pt x="289" y="808"/>
                  </a:lnTo>
                  <a:lnTo>
                    <a:pt x="287" y="808"/>
                  </a:lnTo>
                  <a:lnTo>
                    <a:pt x="287" y="805"/>
                  </a:lnTo>
                  <a:lnTo>
                    <a:pt x="284" y="805"/>
                  </a:lnTo>
                  <a:lnTo>
                    <a:pt x="284" y="808"/>
                  </a:lnTo>
                  <a:lnTo>
                    <a:pt x="284" y="805"/>
                  </a:lnTo>
                  <a:lnTo>
                    <a:pt x="282" y="805"/>
                  </a:lnTo>
                  <a:lnTo>
                    <a:pt x="284" y="805"/>
                  </a:lnTo>
                  <a:lnTo>
                    <a:pt x="284" y="803"/>
                  </a:lnTo>
                  <a:lnTo>
                    <a:pt x="284" y="805"/>
                  </a:lnTo>
                  <a:lnTo>
                    <a:pt x="284" y="803"/>
                  </a:lnTo>
                  <a:lnTo>
                    <a:pt x="287" y="803"/>
                  </a:lnTo>
                  <a:lnTo>
                    <a:pt x="284" y="803"/>
                  </a:lnTo>
                  <a:lnTo>
                    <a:pt x="287" y="803"/>
                  </a:lnTo>
                  <a:lnTo>
                    <a:pt x="289" y="803"/>
                  </a:lnTo>
                  <a:lnTo>
                    <a:pt x="287" y="803"/>
                  </a:lnTo>
                  <a:lnTo>
                    <a:pt x="289" y="803"/>
                  </a:lnTo>
                  <a:lnTo>
                    <a:pt x="289" y="805"/>
                  </a:lnTo>
                  <a:lnTo>
                    <a:pt x="289" y="803"/>
                  </a:lnTo>
                  <a:lnTo>
                    <a:pt x="289" y="805"/>
                  </a:lnTo>
                  <a:lnTo>
                    <a:pt x="289" y="803"/>
                  </a:lnTo>
                  <a:lnTo>
                    <a:pt x="289" y="801"/>
                  </a:lnTo>
                  <a:lnTo>
                    <a:pt x="287" y="801"/>
                  </a:lnTo>
                  <a:lnTo>
                    <a:pt x="289" y="801"/>
                  </a:lnTo>
                  <a:lnTo>
                    <a:pt x="287" y="798"/>
                  </a:lnTo>
                  <a:lnTo>
                    <a:pt x="289" y="798"/>
                  </a:lnTo>
                  <a:lnTo>
                    <a:pt x="292" y="798"/>
                  </a:lnTo>
                  <a:close/>
                  <a:moveTo>
                    <a:pt x="308" y="798"/>
                  </a:moveTo>
                  <a:lnTo>
                    <a:pt x="306" y="798"/>
                  </a:lnTo>
                  <a:lnTo>
                    <a:pt x="308" y="798"/>
                  </a:lnTo>
                  <a:close/>
                  <a:moveTo>
                    <a:pt x="334" y="798"/>
                  </a:moveTo>
                  <a:lnTo>
                    <a:pt x="337" y="798"/>
                  </a:lnTo>
                  <a:lnTo>
                    <a:pt x="334" y="798"/>
                  </a:lnTo>
                  <a:close/>
                  <a:moveTo>
                    <a:pt x="379" y="798"/>
                  </a:moveTo>
                  <a:lnTo>
                    <a:pt x="377" y="798"/>
                  </a:lnTo>
                  <a:lnTo>
                    <a:pt x="379" y="798"/>
                  </a:lnTo>
                  <a:lnTo>
                    <a:pt x="379" y="796"/>
                  </a:lnTo>
                  <a:lnTo>
                    <a:pt x="379" y="798"/>
                  </a:lnTo>
                  <a:close/>
                  <a:moveTo>
                    <a:pt x="389" y="798"/>
                  </a:moveTo>
                  <a:lnTo>
                    <a:pt x="386" y="798"/>
                  </a:lnTo>
                  <a:lnTo>
                    <a:pt x="389" y="798"/>
                  </a:lnTo>
                  <a:lnTo>
                    <a:pt x="389" y="796"/>
                  </a:lnTo>
                  <a:lnTo>
                    <a:pt x="389" y="798"/>
                  </a:lnTo>
                  <a:close/>
                  <a:moveTo>
                    <a:pt x="337" y="796"/>
                  </a:moveTo>
                  <a:lnTo>
                    <a:pt x="339" y="796"/>
                  </a:lnTo>
                  <a:lnTo>
                    <a:pt x="337" y="796"/>
                  </a:lnTo>
                  <a:lnTo>
                    <a:pt x="337" y="798"/>
                  </a:lnTo>
                  <a:lnTo>
                    <a:pt x="334" y="798"/>
                  </a:lnTo>
                  <a:lnTo>
                    <a:pt x="334" y="796"/>
                  </a:lnTo>
                  <a:lnTo>
                    <a:pt x="337" y="796"/>
                  </a:lnTo>
                  <a:close/>
                  <a:moveTo>
                    <a:pt x="320" y="794"/>
                  </a:moveTo>
                  <a:lnTo>
                    <a:pt x="318" y="794"/>
                  </a:lnTo>
                  <a:lnTo>
                    <a:pt x="320" y="794"/>
                  </a:lnTo>
                  <a:close/>
                  <a:moveTo>
                    <a:pt x="348" y="794"/>
                  </a:moveTo>
                  <a:lnTo>
                    <a:pt x="346" y="794"/>
                  </a:lnTo>
                  <a:lnTo>
                    <a:pt x="348" y="794"/>
                  </a:lnTo>
                  <a:close/>
                  <a:moveTo>
                    <a:pt x="360" y="791"/>
                  </a:moveTo>
                  <a:lnTo>
                    <a:pt x="358" y="791"/>
                  </a:lnTo>
                  <a:lnTo>
                    <a:pt x="360" y="791"/>
                  </a:lnTo>
                  <a:close/>
                  <a:moveTo>
                    <a:pt x="353" y="791"/>
                  </a:moveTo>
                  <a:lnTo>
                    <a:pt x="356" y="791"/>
                  </a:lnTo>
                  <a:lnTo>
                    <a:pt x="353" y="791"/>
                  </a:lnTo>
                  <a:close/>
                  <a:moveTo>
                    <a:pt x="394" y="791"/>
                  </a:moveTo>
                  <a:lnTo>
                    <a:pt x="391" y="791"/>
                  </a:lnTo>
                  <a:lnTo>
                    <a:pt x="394" y="791"/>
                  </a:lnTo>
                  <a:close/>
                  <a:moveTo>
                    <a:pt x="341" y="791"/>
                  </a:moveTo>
                  <a:lnTo>
                    <a:pt x="341" y="794"/>
                  </a:lnTo>
                  <a:lnTo>
                    <a:pt x="339" y="794"/>
                  </a:lnTo>
                  <a:lnTo>
                    <a:pt x="341" y="794"/>
                  </a:lnTo>
                  <a:lnTo>
                    <a:pt x="339" y="794"/>
                  </a:lnTo>
                  <a:lnTo>
                    <a:pt x="339" y="796"/>
                  </a:lnTo>
                  <a:lnTo>
                    <a:pt x="337" y="796"/>
                  </a:lnTo>
                  <a:lnTo>
                    <a:pt x="339" y="796"/>
                  </a:lnTo>
                  <a:lnTo>
                    <a:pt x="337" y="796"/>
                  </a:lnTo>
                  <a:lnTo>
                    <a:pt x="337" y="794"/>
                  </a:lnTo>
                  <a:lnTo>
                    <a:pt x="339" y="791"/>
                  </a:lnTo>
                  <a:lnTo>
                    <a:pt x="341" y="791"/>
                  </a:lnTo>
                  <a:close/>
                  <a:moveTo>
                    <a:pt x="367" y="791"/>
                  </a:moveTo>
                  <a:lnTo>
                    <a:pt x="365" y="791"/>
                  </a:lnTo>
                  <a:lnTo>
                    <a:pt x="367" y="791"/>
                  </a:lnTo>
                  <a:close/>
                  <a:moveTo>
                    <a:pt x="356" y="791"/>
                  </a:moveTo>
                  <a:lnTo>
                    <a:pt x="353" y="791"/>
                  </a:lnTo>
                  <a:lnTo>
                    <a:pt x="353" y="789"/>
                  </a:lnTo>
                  <a:lnTo>
                    <a:pt x="356" y="789"/>
                  </a:lnTo>
                  <a:lnTo>
                    <a:pt x="353" y="789"/>
                  </a:lnTo>
                  <a:lnTo>
                    <a:pt x="356" y="791"/>
                  </a:lnTo>
                  <a:close/>
                  <a:moveTo>
                    <a:pt x="363" y="791"/>
                  </a:moveTo>
                  <a:lnTo>
                    <a:pt x="360" y="791"/>
                  </a:lnTo>
                  <a:lnTo>
                    <a:pt x="363" y="791"/>
                  </a:lnTo>
                  <a:lnTo>
                    <a:pt x="360" y="791"/>
                  </a:lnTo>
                  <a:lnTo>
                    <a:pt x="360" y="789"/>
                  </a:lnTo>
                  <a:lnTo>
                    <a:pt x="363" y="789"/>
                  </a:lnTo>
                  <a:lnTo>
                    <a:pt x="363" y="791"/>
                  </a:lnTo>
                  <a:close/>
                  <a:moveTo>
                    <a:pt x="353" y="789"/>
                  </a:moveTo>
                  <a:lnTo>
                    <a:pt x="353" y="791"/>
                  </a:lnTo>
                  <a:lnTo>
                    <a:pt x="351" y="791"/>
                  </a:lnTo>
                  <a:lnTo>
                    <a:pt x="353" y="791"/>
                  </a:lnTo>
                  <a:lnTo>
                    <a:pt x="353" y="789"/>
                  </a:lnTo>
                  <a:lnTo>
                    <a:pt x="353" y="791"/>
                  </a:lnTo>
                  <a:lnTo>
                    <a:pt x="353" y="789"/>
                  </a:lnTo>
                  <a:close/>
                  <a:moveTo>
                    <a:pt x="318" y="789"/>
                  </a:moveTo>
                  <a:lnTo>
                    <a:pt x="320" y="789"/>
                  </a:lnTo>
                  <a:lnTo>
                    <a:pt x="318" y="789"/>
                  </a:lnTo>
                  <a:close/>
                  <a:moveTo>
                    <a:pt x="386" y="789"/>
                  </a:moveTo>
                  <a:lnTo>
                    <a:pt x="384" y="789"/>
                  </a:lnTo>
                  <a:lnTo>
                    <a:pt x="386" y="789"/>
                  </a:lnTo>
                  <a:close/>
                  <a:moveTo>
                    <a:pt x="384" y="789"/>
                  </a:moveTo>
                  <a:lnTo>
                    <a:pt x="382" y="789"/>
                  </a:lnTo>
                  <a:lnTo>
                    <a:pt x="384" y="789"/>
                  </a:lnTo>
                  <a:close/>
                  <a:moveTo>
                    <a:pt x="382" y="789"/>
                  </a:moveTo>
                  <a:lnTo>
                    <a:pt x="379" y="789"/>
                  </a:lnTo>
                  <a:lnTo>
                    <a:pt x="377" y="789"/>
                  </a:lnTo>
                  <a:lnTo>
                    <a:pt x="379" y="789"/>
                  </a:lnTo>
                  <a:lnTo>
                    <a:pt x="382" y="789"/>
                  </a:lnTo>
                  <a:close/>
                  <a:moveTo>
                    <a:pt x="325" y="789"/>
                  </a:moveTo>
                  <a:lnTo>
                    <a:pt x="322" y="789"/>
                  </a:lnTo>
                  <a:lnTo>
                    <a:pt x="325" y="789"/>
                  </a:lnTo>
                  <a:lnTo>
                    <a:pt x="322" y="789"/>
                  </a:lnTo>
                  <a:lnTo>
                    <a:pt x="322" y="786"/>
                  </a:lnTo>
                  <a:lnTo>
                    <a:pt x="322" y="789"/>
                  </a:lnTo>
                  <a:lnTo>
                    <a:pt x="325" y="786"/>
                  </a:lnTo>
                  <a:lnTo>
                    <a:pt x="325" y="789"/>
                  </a:lnTo>
                  <a:close/>
                  <a:moveTo>
                    <a:pt x="344" y="789"/>
                  </a:moveTo>
                  <a:lnTo>
                    <a:pt x="344" y="786"/>
                  </a:lnTo>
                  <a:lnTo>
                    <a:pt x="346" y="786"/>
                  </a:lnTo>
                  <a:lnTo>
                    <a:pt x="346" y="789"/>
                  </a:lnTo>
                  <a:lnTo>
                    <a:pt x="344" y="789"/>
                  </a:lnTo>
                  <a:close/>
                  <a:moveTo>
                    <a:pt x="325" y="786"/>
                  </a:moveTo>
                  <a:lnTo>
                    <a:pt x="325" y="789"/>
                  </a:lnTo>
                  <a:lnTo>
                    <a:pt x="325" y="786"/>
                  </a:lnTo>
                  <a:close/>
                  <a:moveTo>
                    <a:pt x="325" y="786"/>
                  </a:moveTo>
                  <a:lnTo>
                    <a:pt x="322" y="786"/>
                  </a:lnTo>
                  <a:lnTo>
                    <a:pt x="325" y="786"/>
                  </a:lnTo>
                  <a:close/>
                  <a:moveTo>
                    <a:pt x="356" y="786"/>
                  </a:moveTo>
                  <a:lnTo>
                    <a:pt x="353" y="786"/>
                  </a:lnTo>
                  <a:lnTo>
                    <a:pt x="356" y="786"/>
                  </a:lnTo>
                  <a:lnTo>
                    <a:pt x="353" y="786"/>
                  </a:lnTo>
                  <a:lnTo>
                    <a:pt x="356" y="786"/>
                  </a:lnTo>
                  <a:close/>
                  <a:moveTo>
                    <a:pt x="351" y="779"/>
                  </a:moveTo>
                  <a:lnTo>
                    <a:pt x="351" y="782"/>
                  </a:lnTo>
                  <a:lnTo>
                    <a:pt x="348" y="782"/>
                  </a:lnTo>
                  <a:lnTo>
                    <a:pt x="348" y="779"/>
                  </a:lnTo>
                  <a:lnTo>
                    <a:pt x="348" y="782"/>
                  </a:lnTo>
                  <a:lnTo>
                    <a:pt x="348" y="779"/>
                  </a:lnTo>
                  <a:lnTo>
                    <a:pt x="351" y="779"/>
                  </a:lnTo>
                  <a:close/>
                  <a:moveTo>
                    <a:pt x="408" y="782"/>
                  </a:moveTo>
                  <a:lnTo>
                    <a:pt x="405" y="782"/>
                  </a:lnTo>
                  <a:lnTo>
                    <a:pt x="408" y="779"/>
                  </a:lnTo>
                  <a:lnTo>
                    <a:pt x="408" y="782"/>
                  </a:lnTo>
                  <a:close/>
                  <a:moveTo>
                    <a:pt x="389" y="777"/>
                  </a:moveTo>
                  <a:lnTo>
                    <a:pt x="391" y="777"/>
                  </a:lnTo>
                  <a:lnTo>
                    <a:pt x="391" y="779"/>
                  </a:lnTo>
                  <a:lnTo>
                    <a:pt x="394" y="779"/>
                  </a:lnTo>
                  <a:lnTo>
                    <a:pt x="394" y="782"/>
                  </a:lnTo>
                  <a:lnTo>
                    <a:pt x="391" y="782"/>
                  </a:lnTo>
                  <a:lnTo>
                    <a:pt x="391" y="784"/>
                  </a:lnTo>
                  <a:lnTo>
                    <a:pt x="389" y="784"/>
                  </a:lnTo>
                  <a:lnTo>
                    <a:pt x="386" y="784"/>
                  </a:lnTo>
                  <a:lnTo>
                    <a:pt x="384" y="784"/>
                  </a:lnTo>
                  <a:lnTo>
                    <a:pt x="384" y="786"/>
                  </a:lnTo>
                  <a:lnTo>
                    <a:pt x="382" y="786"/>
                  </a:lnTo>
                  <a:lnTo>
                    <a:pt x="379" y="786"/>
                  </a:lnTo>
                  <a:lnTo>
                    <a:pt x="379" y="784"/>
                  </a:lnTo>
                  <a:lnTo>
                    <a:pt x="379" y="786"/>
                  </a:lnTo>
                  <a:lnTo>
                    <a:pt x="379" y="784"/>
                  </a:lnTo>
                  <a:lnTo>
                    <a:pt x="382" y="784"/>
                  </a:lnTo>
                  <a:lnTo>
                    <a:pt x="382" y="782"/>
                  </a:lnTo>
                  <a:lnTo>
                    <a:pt x="384" y="784"/>
                  </a:lnTo>
                  <a:lnTo>
                    <a:pt x="384" y="782"/>
                  </a:lnTo>
                  <a:lnTo>
                    <a:pt x="382" y="782"/>
                  </a:lnTo>
                  <a:lnTo>
                    <a:pt x="379" y="782"/>
                  </a:lnTo>
                  <a:lnTo>
                    <a:pt x="382" y="782"/>
                  </a:lnTo>
                  <a:lnTo>
                    <a:pt x="382" y="779"/>
                  </a:lnTo>
                  <a:lnTo>
                    <a:pt x="384" y="779"/>
                  </a:lnTo>
                  <a:lnTo>
                    <a:pt x="384" y="777"/>
                  </a:lnTo>
                  <a:lnTo>
                    <a:pt x="386" y="777"/>
                  </a:lnTo>
                  <a:lnTo>
                    <a:pt x="389" y="777"/>
                  </a:lnTo>
                  <a:close/>
                  <a:moveTo>
                    <a:pt x="341" y="775"/>
                  </a:moveTo>
                  <a:lnTo>
                    <a:pt x="341" y="777"/>
                  </a:lnTo>
                  <a:lnTo>
                    <a:pt x="341" y="775"/>
                  </a:lnTo>
                  <a:close/>
                  <a:moveTo>
                    <a:pt x="334" y="775"/>
                  </a:moveTo>
                  <a:lnTo>
                    <a:pt x="337" y="775"/>
                  </a:lnTo>
                  <a:lnTo>
                    <a:pt x="339" y="775"/>
                  </a:lnTo>
                  <a:lnTo>
                    <a:pt x="341" y="775"/>
                  </a:lnTo>
                  <a:lnTo>
                    <a:pt x="341" y="777"/>
                  </a:lnTo>
                  <a:lnTo>
                    <a:pt x="344" y="777"/>
                  </a:lnTo>
                  <a:lnTo>
                    <a:pt x="341" y="777"/>
                  </a:lnTo>
                  <a:lnTo>
                    <a:pt x="341" y="779"/>
                  </a:lnTo>
                  <a:lnTo>
                    <a:pt x="339" y="779"/>
                  </a:lnTo>
                  <a:lnTo>
                    <a:pt x="337" y="779"/>
                  </a:lnTo>
                  <a:lnTo>
                    <a:pt x="334" y="779"/>
                  </a:lnTo>
                  <a:lnTo>
                    <a:pt x="334" y="777"/>
                  </a:lnTo>
                  <a:lnTo>
                    <a:pt x="334" y="779"/>
                  </a:lnTo>
                  <a:lnTo>
                    <a:pt x="332" y="777"/>
                  </a:lnTo>
                  <a:lnTo>
                    <a:pt x="332" y="779"/>
                  </a:lnTo>
                  <a:lnTo>
                    <a:pt x="332" y="777"/>
                  </a:lnTo>
                  <a:lnTo>
                    <a:pt x="332" y="775"/>
                  </a:lnTo>
                  <a:lnTo>
                    <a:pt x="334" y="775"/>
                  </a:lnTo>
                  <a:close/>
                  <a:moveTo>
                    <a:pt x="337" y="775"/>
                  </a:moveTo>
                  <a:lnTo>
                    <a:pt x="339" y="775"/>
                  </a:lnTo>
                  <a:lnTo>
                    <a:pt x="337" y="775"/>
                  </a:lnTo>
                  <a:close/>
                  <a:moveTo>
                    <a:pt x="322" y="775"/>
                  </a:moveTo>
                  <a:lnTo>
                    <a:pt x="320" y="775"/>
                  </a:lnTo>
                  <a:lnTo>
                    <a:pt x="322" y="775"/>
                  </a:lnTo>
                  <a:close/>
                  <a:moveTo>
                    <a:pt x="322" y="772"/>
                  </a:moveTo>
                  <a:lnTo>
                    <a:pt x="322" y="775"/>
                  </a:lnTo>
                  <a:lnTo>
                    <a:pt x="320" y="775"/>
                  </a:lnTo>
                  <a:lnTo>
                    <a:pt x="320" y="772"/>
                  </a:lnTo>
                  <a:lnTo>
                    <a:pt x="322" y="772"/>
                  </a:lnTo>
                  <a:lnTo>
                    <a:pt x="320" y="772"/>
                  </a:lnTo>
                  <a:lnTo>
                    <a:pt x="322" y="772"/>
                  </a:lnTo>
                  <a:close/>
                  <a:moveTo>
                    <a:pt x="372" y="772"/>
                  </a:moveTo>
                  <a:lnTo>
                    <a:pt x="370" y="772"/>
                  </a:lnTo>
                  <a:lnTo>
                    <a:pt x="372" y="772"/>
                  </a:lnTo>
                  <a:close/>
                  <a:moveTo>
                    <a:pt x="360" y="772"/>
                  </a:moveTo>
                  <a:lnTo>
                    <a:pt x="358" y="772"/>
                  </a:lnTo>
                  <a:lnTo>
                    <a:pt x="358" y="770"/>
                  </a:lnTo>
                  <a:lnTo>
                    <a:pt x="360" y="772"/>
                  </a:lnTo>
                  <a:close/>
                  <a:moveTo>
                    <a:pt x="332" y="770"/>
                  </a:moveTo>
                  <a:lnTo>
                    <a:pt x="334" y="770"/>
                  </a:lnTo>
                  <a:lnTo>
                    <a:pt x="332" y="770"/>
                  </a:lnTo>
                  <a:close/>
                  <a:moveTo>
                    <a:pt x="396" y="770"/>
                  </a:moveTo>
                  <a:lnTo>
                    <a:pt x="398" y="770"/>
                  </a:lnTo>
                  <a:lnTo>
                    <a:pt x="396" y="770"/>
                  </a:lnTo>
                  <a:close/>
                  <a:moveTo>
                    <a:pt x="398" y="765"/>
                  </a:moveTo>
                  <a:lnTo>
                    <a:pt x="398" y="767"/>
                  </a:lnTo>
                  <a:lnTo>
                    <a:pt x="398" y="765"/>
                  </a:lnTo>
                  <a:close/>
                  <a:moveTo>
                    <a:pt x="382" y="765"/>
                  </a:moveTo>
                  <a:lnTo>
                    <a:pt x="379" y="765"/>
                  </a:lnTo>
                  <a:lnTo>
                    <a:pt x="379" y="763"/>
                  </a:lnTo>
                  <a:lnTo>
                    <a:pt x="382" y="765"/>
                  </a:lnTo>
                  <a:close/>
                  <a:moveTo>
                    <a:pt x="337" y="763"/>
                  </a:moveTo>
                  <a:lnTo>
                    <a:pt x="334" y="763"/>
                  </a:lnTo>
                  <a:lnTo>
                    <a:pt x="337" y="763"/>
                  </a:lnTo>
                  <a:lnTo>
                    <a:pt x="337" y="760"/>
                  </a:lnTo>
                  <a:lnTo>
                    <a:pt x="337" y="763"/>
                  </a:lnTo>
                  <a:close/>
                  <a:moveTo>
                    <a:pt x="341" y="760"/>
                  </a:moveTo>
                  <a:lnTo>
                    <a:pt x="339" y="763"/>
                  </a:lnTo>
                  <a:lnTo>
                    <a:pt x="339" y="760"/>
                  </a:lnTo>
                  <a:lnTo>
                    <a:pt x="341" y="760"/>
                  </a:lnTo>
                  <a:lnTo>
                    <a:pt x="339" y="760"/>
                  </a:lnTo>
                  <a:lnTo>
                    <a:pt x="341" y="760"/>
                  </a:lnTo>
                  <a:close/>
                  <a:moveTo>
                    <a:pt x="339" y="760"/>
                  </a:moveTo>
                  <a:lnTo>
                    <a:pt x="339" y="763"/>
                  </a:lnTo>
                  <a:lnTo>
                    <a:pt x="337" y="763"/>
                  </a:lnTo>
                  <a:lnTo>
                    <a:pt x="337" y="760"/>
                  </a:lnTo>
                  <a:lnTo>
                    <a:pt x="339" y="760"/>
                  </a:lnTo>
                  <a:close/>
                  <a:moveTo>
                    <a:pt x="339" y="760"/>
                  </a:moveTo>
                  <a:lnTo>
                    <a:pt x="337" y="760"/>
                  </a:lnTo>
                  <a:lnTo>
                    <a:pt x="339" y="760"/>
                  </a:lnTo>
                  <a:close/>
                  <a:moveTo>
                    <a:pt x="337" y="760"/>
                  </a:moveTo>
                  <a:lnTo>
                    <a:pt x="334" y="760"/>
                  </a:lnTo>
                  <a:lnTo>
                    <a:pt x="337" y="760"/>
                  </a:lnTo>
                  <a:lnTo>
                    <a:pt x="334" y="760"/>
                  </a:lnTo>
                  <a:lnTo>
                    <a:pt x="337" y="760"/>
                  </a:lnTo>
                  <a:lnTo>
                    <a:pt x="334" y="760"/>
                  </a:lnTo>
                  <a:lnTo>
                    <a:pt x="337" y="758"/>
                  </a:lnTo>
                  <a:lnTo>
                    <a:pt x="337" y="760"/>
                  </a:lnTo>
                  <a:close/>
                  <a:moveTo>
                    <a:pt x="410" y="758"/>
                  </a:moveTo>
                  <a:lnTo>
                    <a:pt x="410" y="760"/>
                  </a:lnTo>
                  <a:lnTo>
                    <a:pt x="413" y="760"/>
                  </a:lnTo>
                  <a:lnTo>
                    <a:pt x="413" y="763"/>
                  </a:lnTo>
                  <a:lnTo>
                    <a:pt x="415" y="763"/>
                  </a:lnTo>
                  <a:lnTo>
                    <a:pt x="415" y="765"/>
                  </a:lnTo>
                  <a:lnTo>
                    <a:pt x="413" y="765"/>
                  </a:lnTo>
                  <a:lnTo>
                    <a:pt x="410" y="765"/>
                  </a:lnTo>
                  <a:lnTo>
                    <a:pt x="408" y="765"/>
                  </a:lnTo>
                  <a:lnTo>
                    <a:pt x="405" y="765"/>
                  </a:lnTo>
                  <a:lnTo>
                    <a:pt x="405" y="767"/>
                  </a:lnTo>
                  <a:lnTo>
                    <a:pt x="403" y="767"/>
                  </a:lnTo>
                  <a:lnTo>
                    <a:pt x="403" y="765"/>
                  </a:lnTo>
                  <a:lnTo>
                    <a:pt x="405" y="765"/>
                  </a:lnTo>
                  <a:lnTo>
                    <a:pt x="405" y="763"/>
                  </a:lnTo>
                  <a:lnTo>
                    <a:pt x="408" y="763"/>
                  </a:lnTo>
                  <a:lnTo>
                    <a:pt x="408" y="760"/>
                  </a:lnTo>
                  <a:lnTo>
                    <a:pt x="410" y="760"/>
                  </a:lnTo>
                  <a:lnTo>
                    <a:pt x="410" y="758"/>
                  </a:lnTo>
                  <a:close/>
                  <a:moveTo>
                    <a:pt x="375" y="760"/>
                  </a:moveTo>
                  <a:lnTo>
                    <a:pt x="377" y="758"/>
                  </a:lnTo>
                  <a:lnTo>
                    <a:pt x="377" y="760"/>
                  </a:lnTo>
                  <a:lnTo>
                    <a:pt x="375" y="760"/>
                  </a:lnTo>
                  <a:close/>
                  <a:moveTo>
                    <a:pt x="401" y="758"/>
                  </a:moveTo>
                  <a:lnTo>
                    <a:pt x="398" y="758"/>
                  </a:lnTo>
                  <a:lnTo>
                    <a:pt x="401" y="758"/>
                  </a:lnTo>
                  <a:close/>
                  <a:moveTo>
                    <a:pt x="398" y="758"/>
                  </a:moveTo>
                  <a:lnTo>
                    <a:pt x="398" y="756"/>
                  </a:lnTo>
                  <a:lnTo>
                    <a:pt x="401" y="756"/>
                  </a:lnTo>
                  <a:lnTo>
                    <a:pt x="398" y="758"/>
                  </a:lnTo>
                  <a:close/>
                  <a:moveTo>
                    <a:pt x="434" y="758"/>
                  </a:moveTo>
                  <a:lnTo>
                    <a:pt x="434" y="756"/>
                  </a:lnTo>
                  <a:lnTo>
                    <a:pt x="434" y="758"/>
                  </a:lnTo>
                  <a:close/>
                  <a:moveTo>
                    <a:pt x="353" y="756"/>
                  </a:moveTo>
                  <a:lnTo>
                    <a:pt x="356" y="756"/>
                  </a:lnTo>
                  <a:lnTo>
                    <a:pt x="353" y="756"/>
                  </a:lnTo>
                  <a:lnTo>
                    <a:pt x="356" y="756"/>
                  </a:lnTo>
                  <a:lnTo>
                    <a:pt x="353" y="756"/>
                  </a:lnTo>
                  <a:close/>
                  <a:moveTo>
                    <a:pt x="417" y="756"/>
                  </a:moveTo>
                  <a:lnTo>
                    <a:pt x="420" y="756"/>
                  </a:lnTo>
                  <a:lnTo>
                    <a:pt x="422" y="756"/>
                  </a:lnTo>
                  <a:lnTo>
                    <a:pt x="424" y="758"/>
                  </a:lnTo>
                  <a:lnTo>
                    <a:pt x="427" y="758"/>
                  </a:lnTo>
                  <a:lnTo>
                    <a:pt x="424" y="758"/>
                  </a:lnTo>
                  <a:lnTo>
                    <a:pt x="424" y="760"/>
                  </a:lnTo>
                  <a:lnTo>
                    <a:pt x="422" y="760"/>
                  </a:lnTo>
                  <a:lnTo>
                    <a:pt x="420" y="760"/>
                  </a:lnTo>
                  <a:lnTo>
                    <a:pt x="420" y="763"/>
                  </a:lnTo>
                  <a:lnTo>
                    <a:pt x="417" y="763"/>
                  </a:lnTo>
                  <a:lnTo>
                    <a:pt x="415" y="763"/>
                  </a:lnTo>
                  <a:lnTo>
                    <a:pt x="415" y="760"/>
                  </a:lnTo>
                  <a:lnTo>
                    <a:pt x="415" y="758"/>
                  </a:lnTo>
                  <a:lnTo>
                    <a:pt x="413" y="758"/>
                  </a:lnTo>
                  <a:lnTo>
                    <a:pt x="413" y="756"/>
                  </a:lnTo>
                  <a:lnTo>
                    <a:pt x="415" y="756"/>
                  </a:lnTo>
                  <a:lnTo>
                    <a:pt x="417" y="758"/>
                  </a:lnTo>
                  <a:lnTo>
                    <a:pt x="420" y="758"/>
                  </a:lnTo>
                  <a:lnTo>
                    <a:pt x="417" y="758"/>
                  </a:lnTo>
                  <a:lnTo>
                    <a:pt x="417" y="756"/>
                  </a:lnTo>
                  <a:lnTo>
                    <a:pt x="415" y="756"/>
                  </a:lnTo>
                  <a:lnTo>
                    <a:pt x="417" y="756"/>
                  </a:lnTo>
                  <a:close/>
                  <a:moveTo>
                    <a:pt x="341" y="756"/>
                  </a:moveTo>
                  <a:lnTo>
                    <a:pt x="344" y="756"/>
                  </a:lnTo>
                  <a:lnTo>
                    <a:pt x="344" y="758"/>
                  </a:lnTo>
                  <a:lnTo>
                    <a:pt x="341" y="758"/>
                  </a:lnTo>
                  <a:lnTo>
                    <a:pt x="339" y="758"/>
                  </a:lnTo>
                  <a:lnTo>
                    <a:pt x="339" y="756"/>
                  </a:lnTo>
                  <a:lnTo>
                    <a:pt x="339" y="753"/>
                  </a:lnTo>
                  <a:lnTo>
                    <a:pt x="341" y="756"/>
                  </a:lnTo>
                  <a:close/>
                  <a:moveTo>
                    <a:pt x="401" y="753"/>
                  </a:moveTo>
                  <a:lnTo>
                    <a:pt x="398" y="756"/>
                  </a:lnTo>
                  <a:lnTo>
                    <a:pt x="398" y="753"/>
                  </a:lnTo>
                  <a:lnTo>
                    <a:pt x="401" y="751"/>
                  </a:lnTo>
                  <a:lnTo>
                    <a:pt x="401" y="753"/>
                  </a:lnTo>
                  <a:close/>
                  <a:moveTo>
                    <a:pt x="351" y="753"/>
                  </a:moveTo>
                  <a:lnTo>
                    <a:pt x="351" y="751"/>
                  </a:lnTo>
                  <a:lnTo>
                    <a:pt x="351" y="753"/>
                  </a:lnTo>
                  <a:close/>
                  <a:moveTo>
                    <a:pt x="386" y="751"/>
                  </a:moveTo>
                  <a:lnTo>
                    <a:pt x="389" y="751"/>
                  </a:lnTo>
                  <a:lnTo>
                    <a:pt x="391" y="751"/>
                  </a:lnTo>
                  <a:lnTo>
                    <a:pt x="391" y="753"/>
                  </a:lnTo>
                  <a:lnTo>
                    <a:pt x="394" y="753"/>
                  </a:lnTo>
                  <a:lnTo>
                    <a:pt x="396" y="753"/>
                  </a:lnTo>
                  <a:lnTo>
                    <a:pt x="398" y="753"/>
                  </a:lnTo>
                  <a:lnTo>
                    <a:pt x="398" y="756"/>
                  </a:lnTo>
                  <a:lnTo>
                    <a:pt x="398" y="753"/>
                  </a:lnTo>
                  <a:lnTo>
                    <a:pt x="396" y="756"/>
                  </a:lnTo>
                  <a:lnTo>
                    <a:pt x="398" y="756"/>
                  </a:lnTo>
                  <a:lnTo>
                    <a:pt x="396" y="756"/>
                  </a:lnTo>
                  <a:lnTo>
                    <a:pt x="396" y="758"/>
                  </a:lnTo>
                  <a:lnTo>
                    <a:pt x="394" y="758"/>
                  </a:lnTo>
                  <a:lnTo>
                    <a:pt x="391" y="758"/>
                  </a:lnTo>
                  <a:lnTo>
                    <a:pt x="391" y="756"/>
                  </a:lnTo>
                  <a:lnTo>
                    <a:pt x="389" y="756"/>
                  </a:lnTo>
                  <a:lnTo>
                    <a:pt x="389" y="753"/>
                  </a:lnTo>
                  <a:lnTo>
                    <a:pt x="386" y="753"/>
                  </a:lnTo>
                  <a:lnTo>
                    <a:pt x="384" y="753"/>
                  </a:lnTo>
                  <a:lnTo>
                    <a:pt x="384" y="751"/>
                  </a:lnTo>
                  <a:lnTo>
                    <a:pt x="386" y="751"/>
                  </a:lnTo>
                  <a:close/>
                  <a:moveTo>
                    <a:pt x="389" y="751"/>
                  </a:moveTo>
                  <a:lnTo>
                    <a:pt x="389" y="748"/>
                  </a:lnTo>
                  <a:lnTo>
                    <a:pt x="389" y="751"/>
                  </a:lnTo>
                  <a:close/>
                  <a:moveTo>
                    <a:pt x="394" y="748"/>
                  </a:moveTo>
                  <a:lnTo>
                    <a:pt x="394" y="751"/>
                  </a:lnTo>
                  <a:lnTo>
                    <a:pt x="396" y="751"/>
                  </a:lnTo>
                  <a:lnTo>
                    <a:pt x="394" y="751"/>
                  </a:lnTo>
                  <a:lnTo>
                    <a:pt x="391" y="751"/>
                  </a:lnTo>
                  <a:lnTo>
                    <a:pt x="391" y="748"/>
                  </a:lnTo>
                  <a:lnTo>
                    <a:pt x="394" y="748"/>
                  </a:lnTo>
                  <a:close/>
                  <a:moveTo>
                    <a:pt x="394" y="748"/>
                  </a:moveTo>
                  <a:lnTo>
                    <a:pt x="391" y="748"/>
                  </a:lnTo>
                  <a:lnTo>
                    <a:pt x="394" y="748"/>
                  </a:lnTo>
                  <a:close/>
                  <a:moveTo>
                    <a:pt x="348" y="748"/>
                  </a:moveTo>
                  <a:lnTo>
                    <a:pt x="346" y="748"/>
                  </a:lnTo>
                  <a:lnTo>
                    <a:pt x="348" y="748"/>
                  </a:lnTo>
                  <a:close/>
                  <a:moveTo>
                    <a:pt x="408" y="748"/>
                  </a:moveTo>
                  <a:lnTo>
                    <a:pt x="405" y="748"/>
                  </a:lnTo>
                  <a:lnTo>
                    <a:pt x="408" y="748"/>
                  </a:lnTo>
                  <a:close/>
                  <a:moveTo>
                    <a:pt x="394" y="748"/>
                  </a:moveTo>
                  <a:lnTo>
                    <a:pt x="396" y="748"/>
                  </a:lnTo>
                  <a:lnTo>
                    <a:pt x="394" y="748"/>
                  </a:lnTo>
                  <a:close/>
                  <a:moveTo>
                    <a:pt x="394" y="748"/>
                  </a:moveTo>
                  <a:lnTo>
                    <a:pt x="391" y="748"/>
                  </a:lnTo>
                  <a:lnTo>
                    <a:pt x="394" y="748"/>
                  </a:lnTo>
                  <a:lnTo>
                    <a:pt x="391" y="748"/>
                  </a:lnTo>
                  <a:lnTo>
                    <a:pt x="394" y="748"/>
                  </a:lnTo>
                  <a:lnTo>
                    <a:pt x="394" y="746"/>
                  </a:lnTo>
                  <a:lnTo>
                    <a:pt x="394" y="748"/>
                  </a:lnTo>
                  <a:close/>
                  <a:moveTo>
                    <a:pt x="394" y="746"/>
                  </a:moveTo>
                  <a:lnTo>
                    <a:pt x="394" y="748"/>
                  </a:lnTo>
                  <a:lnTo>
                    <a:pt x="394" y="746"/>
                  </a:lnTo>
                  <a:close/>
                  <a:moveTo>
                    <a:pt x="429" y="744"/>
                  </a:moveTo>
                  <a:lnTo>
                    <a:pt x="429" y="746"/>
                  </a:lnTo>
                  <a:lnTo>
                    <a:pt x="427" y="746"/>
                  </a:lnTo>
                  <a:lnTo>
                    <a:pt x="427" y="748"/>
                  </a:lnTo>
                  <a:lnTo>
                    <a:pt x="424" y="748"/>
                  </a:lnTo>
                  <a:lnTo>
                    <a:pt x="424" y="751"/>
                  </a:lnTo>
                  <a:lnTo>
                    <a:pt x="422" y="751"/>
                  </a:lnTo>
                  <a:lnTo>
                    <a:pt x="420" y="751"/>
                  </a:lnTo>
                  <a:lnTo>
                    <a:pt x="422" y="751"/>
                  </a:lnTo>
                  <a:lnTo>
                    <a:pt x="422" y="748"/>
                  </a:lnTo>
                  <a:lnTo>
                    <a:pt x="422" y="746"/>
                  </a:lnTo>
                  <a:lnTo>
                    <a:pt x="424" y="746"/>
                  </a:lnTo>
                  <a:lnTo>
                    <a:pt x="427" y="746"/>
                  </a:lnTo>
                  <a:lnTo>
                    <a:pt x="429" y="746"/>
                  </a:lnTo>
                  <a:lnTo>
                    <a:pt x="429" y="744"/>
                  </a:lnTo>
                  <a:close/>
                  <a:moveTo>
                    <a:pt x="424" y="741"/>
                  </a:moveTo>
                  <a:lnTo>
                    <a:pt x="422" y="741"/>
                  </a:lnTo>
                  <a:lnTo>
                    <a:pt x="424" y="741"/>
                  </a:lnTo>
                  <a:close/>
                  <a:moveTo>
                    <a:pt x="427" y="741"/>
                  </a:moveTo>
                  <a:lnTo>
                    <a:pt x="424" y="741"/>
                  </a:lnTo>
                  <a:lnTo>
                    <a:pt x="427" y="741"/>
                  </a:lnTo>
                  <a:close/>
                  <a:moveTo>
                    <a:pt x="458" y="737"/>
                  </a:moveTo>
                  <a:lnTo>
                    <a:pt x="460" y="737"/>
                  </a:lnTo>
                  <a:lnTo>
                    <a:pt x="458" y="737"/>
                  </a:lnTo>
                  <a:close/>
                  <a:moveTo>
                    <a:pt x="474" y="732"/>
                  </a:moveTo>
                  <a:lnTo>
                    <a:pt x="472" y="732"/>
                  </a:lnTo>
                  <a:lnTo>
                    <a:pt x="474" y="732"/>
                  </a:lnTo>
                  <a:close/>
                  <a:moveTo>
                    <a:pt x="413" y="725"/>
                  </a:moveTo>
                  <a:lnTo>
                    <a:pt x="415" y="725"/>
                  </a:lnTo>
                  <a:lnTo>
                    <a:pt x="413" y="725"/>
                  </a:lnTo>
                  <a:close/>
                  <a:moveTo>
                    <a:pt x="467" y="718"/>
                  </a:moveTo>
                  <a:lnTo>
                    <a:pt x="465" y="718"/>
                  </a:lnTo>
                  <a:lnTo>
                    <a:pt x="467" y="718"/>
                  </a:lnTo>
                  <a:close/>
                  <a:moveTo>
                    <a:pt x="436" y="715"/>
                  </a:moveTo>
                  <a:lnTo>
                    <a:pt x="439" y="715"/>
                  </a:lnTo>
                  <a:lnTo>
                    <a:pt x="436" y="715"/>
                  </a:lnTo>
                  <a:close/>
                  <a:moveTo>
                    <a:pt x="443" y="713"/>
                  </a:moveTo>
                  <a:lnTo>
                    <a:pt x="443" y="715"/>
                  </a:lnTo>
                  <a:lnTo>
                    <a:pt x="443" y="713"/>
                  </a:lnTo>
                  <a:close/>
                  <a:moveTo>
                    <a:pt x="439" y="713"/>
                  </a:moveTo>
                  <a:lnTo>
                    <a:pt x="441" y="713"/>
                  </a:lnTo>
                  <a:lnTo>
                    <a:pt x="441" y="715"/>
                  </a:lnTo>
                  <a:lnTo>
                    <a:pt x="439" y="715"/>
                  </a:lnTo>
                  <a:lnTo>
                    <a:pt x="439" y="713"/>
                  </a:lnTo>
                  <a:close/>
                  <a:moveTo>
                    <a:pt x="472" y="713"/>
                  </a:moveTo>
                  <a:lnTo>
                    <a:pt x="469" y="713"/>
                  </a:lnTo>
                  <a:lnTo>
                    <a:pt x="472" y="713"/>
                  </a:lnTo>
                  <a:lnTo>
                    <a:pt x="469" y="713"/>
                  </a:lnTo>
                  <a:lnTo>
                    <a:pt x="472" y="713"/>
                  </a:lnTo>
                  <a:close/>
                  <a:moveTo>
                    <a:pt x="441" y="713"/>
                  </a:moveTo>
                  <a:lnTo>
                    <a:pt x="443" y="713"/>
                  </a:lnTo>
                  <a:lnTo>
                    <a:pt x="441" y="713"/>
                  </a:lnTo>
                  <a:lnTo>
                    <a:pt x="443" y="713"/>
                  </a:lnTo>
                  <a:lnTo>
                    <a:pt x="441" y="713"/>
                  </a:lnTo>
                  <a:close/>
                  <a:moveTo>
                    <a:pt x="469" y="710"/>
                  </a:moveTo>
                  <a:lnTo>
                    <a:pt x="469" y="713"/>
                  </a:lnTo>
                  <a:lnTo>
                    <a:pt x="467" y="713"/>
                  </a:lnTo>
                  <a:lnTo>
                    <a:pt x="467" y="710"/>
                  </a:lnTo>
                  <a:lnTo>
                    <a:pt x="469" y="710"/>
                  </a:lnTo>
                  <a:close/>
                  <a:moveTo>
                    <a:pt x="519" y="710"/>
                  </a:moveTo>
                  <a:lnTo>
                    <a:pt x="522" y="710"/>
                  </a:lnTo>
                  <a:lnTo>
                    <a:pt x="519" y="713"/>
                  </a:lnTo>
                  <a:lnTo>
                    <a:pt x="519" y="710"/>
                  </a:lnTo>
                  <a:close/>
                  <a:moveTo>
                    <a:pt x="446" y="710"/>
                  </a:moveTo>
                  <a:lnTo>
                    <a:pt x="448" y="710"/>
                  </a:lnTo>
                  <a:lnTo>
                    <a:pt x="448" y="713"/>
                  </a:lnTo>
                  <a:lnTo>
                    <a:pt x="446" y="713"/>
                  </a:lnTo>
                  <a:lnTo>
                    <a:pt x="446" y="710"/>
                  </a:lnTo>
                  <a:lnTo>
                    <a:pt x="448" y="710"/>
                  </a:lnTo>
                  <a:lnTo>
                    <a:pt x="446" y="710"/>
                  </a:lnTo>
                  <a:close/>
                  <a:moveTo>
                    <a:pt x="448" y="710"/>
                  </a:moveTo>
                  <a:lnTo>
                    <a:pt x="448" y="708"/>
                  </a:lnTo>
                  <a:lnTo>
                    <a:pt x="448" y="710"/>
                  </a:lnTo>
                  <a:close/>
                  <a:moveTo>
                    <a:pt x="477" y="708"/>
                  </a:moveTo>
                  <a:lnTo>
                    <a:pt x="477" y="710"/>
                  </a:lnTo>
                  <a:lnTo>
                    <a:pt x="474" y="710"/>
                  </a:lnTo>
                  <a:lnTo>
                    <a:pt x="474" y="713"/>
                  </a:lnTo>
                  <a:lnTo>
                    <a:pt x="472" y="713"/>
                  </a:lnTo>
                  <a:lnTo>
                    <a:pt x="472" y="710"/>
                  </a:lnTo>
                  <a:lnTo>
                    <a:pt x="474" y="710"/>
                  </a:lnTo>
                  <a:lnTo>
                    <a:pt x="474" y="708"/>
                  </a:lnTo>
                  <a:lnTo>
                    <a:pt x="477" y="708"/>
                  </a:lnTo>
                  <a:close/>
                  <a:moveTo>
                    <a:pt x="446" y="706"/>
                  </a:moveTo>
                  <a:lnTo>
                    <a:pt x="446" y="708"/>
                  </a:lnTo>
                  <a:lnTo>
                    <a:pt x="443" y="708"/>
                  </a:lnTo>
                  <a:lnTo>
                    <a:pt x="443" y="706"/>
                  </a:lnTo>
                  <a:lnTo>
                    <a:pt x="446" y="706"/>
                  </a:lnTo>
                  <a:close/>
                  <a:moveTo>
                    <a:pt x="854" y="706"/>
                  </a:moveTo>
                  <a:lnTo>
                    <a:pt x="851" y="706"/>
                  </a:lnTo>
                  <a:lnTo>
                    <a:pt x="854" y="706"/>
                  </a:lnTo>
                  <a:lnTo>
                    <a:pt x="851" y="706"/>
                  </a:lnTo>
                  <a:lnTo>
                    <a:pt x="854" y="706"/>
                  </a:lnTo>
                  <a:close/>
                  <a:moveTo>
                    <a:pt x="450" y="708"/>
                  </a:moveTo>
                  <a:lnTo>
                    <a:pt x="448" y="708"/>
                  </a:lnTo>
                  <a:lnTo>
                    <a:pt x="448" y="706"/>
                  </a:lnTo>
                  <a:lnTo>
                    <a:pt x="450" y="706"/>
                  </a:lnTo>
                  <a:lnTo>
                    <a:pt x="450" y="708"/>
                  </a:lnTo>
                  <a:close/>
                  <a:moveTo>
                    <a:pt x="448" y="706"/>
                  </a:moveTo>
                  <a:lnTo>
                    <a:pt x="446" y="706"/>
                  </a:lnTo>
                  <a:lnTo>
                    <a:pt x="448" y="706"/>
                  </a:lnTo>
                  <a:close/>
                  <a:moveTo>
                    <a:pt x="842" y="703"/>
                  </a:moveTo>
                  <a:lnTo>
                    <a:pt x="844" y="703"/>
                  </a:lnTo>
                  <a:lnTo>
                    <a:pt x="842" y="703"/>
                  </a:lnTo>
                  <a:close/>
                  <a:moveTo>
                    <a:pt x="488" y="703"/>
                  </a:moveTo>
                  <a:lnTo>
                    <a:pt x="488" y="701"/>
                  </a:lnTo>
                  <a:lnTo>
                    <a:pt x="488" y="703"/>
                  </a:lnTo>
                  <a:close/>
                  <a:moveTo>
                    <a:pt x="455" y="701"/>
                  </a:moveTo>
                  <a:lnTo>
                    <a:pt x="458" y="701"/>
                  </a:lnTo>
                  <a:lnTo>
                    <a:pt x="455" y="701"/>
                  </a:lnTo>
                  <a:close/>
                  <a:moveTo>
                    <a:pt x="460" y="701"/>
                  </a:moveTo>
                  <a:lnTo>
                    <a:pt x="462" y="701"/>
                  </a:lnTo>
                  <a:lnTo>
                    <a:pt x="460" y="701"/>
                  </a:lnTo>
                  <a:lnTo>
                    <a:pt x="458" y="701"/>
                  </a:lnTo>
                  <a:lnTo>
                    <a:pt x="460" y="701"/>
                  </a:lnTo>
                  <a:lnTo>
                    <a:pt x="460" y="699"/>
                  </a:lnTo>
                  <a:lnTo>
                    <a:pt x="460" y="701"/>
                  </a:lnTo>
                  <a:close/>
                  <a:moveTo>
                    <a:pt x="462" y="699"/>
                  </a:moveTo>
                  <a:lnTo>
                    <a:pt x="460" y="699"/>
                  </a:lnTo>
                  <a:lnTo>
                    <a:pt x="462" y="699"/>
                  </a:lnTo>
                  <a:close/>
                  <a:moveTo>
                    <a:pt x="840" y="699"/>
                  </a:moveTo>
                  <a:lnTo>
                    <a:pt x="842" y="699"/>
                  </a:lnTo>
                  <a:lnTo>
                    <a:pt x="840" y="699"/>
                  </a:lnTo>
                  <a:lnTo>
                    <a:pt x="842" y="699"/>
                  </a:lnTo>
                  <a:lnTo>
                    <a:pt x="842" y="701"/>
                  </a:lnTo>
                  <a:lnTo>
                    <a:pt x="840" y="701"/>
                  </a:lnTo>
                  <a:lnTo>
                    <a:pt x="840" y="699"/>
                  </a:lnTo>
                  <a:close/>
                  <a:moveTo>
                    <a:pt x="462" y="699"/>
                  </a:moveTo>
                  <a:lnTo>
                    <a:pt x="460" y="699"/>
                  </a:lnTo>
                  <a:lnTo>
                    <a:pt x="462" y="699"/>
                  </a:lnTo>
                  <a:close/>
                  <a:moveTo>
                    <a:pt x="534" y="696"/>
                  </a:moveTo>
                  <a:lnTo>
                    <a:pt x="531" y="699"/>
                  </a:lnTo>
                  <a:lnTo>
                    <a:pt x="531" y="701"/>
                  </a:lnTo>
                  <a:lnTo>
                    <a:pt x="534" y="701"/>
                  </a:lnTo>
                  <a:lnTo>
                    <a:pt x="531" y="701"/>
                  </a:lnTo>
                  <a:lnTo>
                    <a:pt x="531" y="703"/>
                  </a:lnTo>
                  <a:lnTo>
                    <a:pt x="529" y="703"/>
                  </a:lnTo>
                  <a:lnTo>
                    <a:pt x="526" y="703"/>
                  </a:lnTo>
                  <a:lnTo>
                    <a:pt x="526" y="701"/>
                  </a:lnTo>
                  <a:lnTo>
                    <a:pt x="526" y="699"/>
                  </a:lnTo>
                  <a:lnTo>
                    <a:pt x="526" y="696"/>
                  </a:lnTo>
                  <a:lnTo>
                    <a:pt x="529" y="696"/>
                  </a:lnTo>
                  <a:lnTo>
                    <a:pt x="531" y="696"/>
                  </a:lnTo>
                  <a:lnTo>
                    <a:pt x="534" y="696"/>
                  </a:lnTo>
                  <a:close/>
                  <a:moveTo>
                    <a:pt x="567" y="696"/>
                  </a:moveTo>
                  <a:lnTo>
                    <a:pt x="569" y="696"/>
                  </a:lnTo>
                  <a:lnTo>
                    <a:pt x="569" y="699"/>
                  </a:lnTo>
                  <a:lnTo>
                    <a:pt x="567" y="696"/>
                  </a:lnTo>
                  <a:close/>
                  <a:moveTo>
                    <a:pt x="460" y="696"/>
                  </a:moveTo>
                  <a:lnTo>
                    <a:pt x="458" y="696"/>
                  </a:lnTo>
                  <a:lnTo>
                    <a:pt x="460" y="696"/>
                  </a:lnTo>
                  <a:close/>
                  <a:moveTo>
                    <a:pt x="564" y="694"/>
                  </a:moveTo>
                  <a:lnTo>
                    <a:pt x="564" y="696"/>
                  </a:lnTo>
                  <a:lnTo>
                    <a:pt x="567" y="696"/>
                  </a:lnTo>
                  <a:lnTo>
                    <a:pt x="564" y="696"/>
                  </a:lnTo>
                  <a:lnTo>
                    <a:pt x="562" y="696"/>
                  </a:lnTo>
                  <a:lnTo>
                    <a:pt x="564" y="694"/>
                  </a:lnTo>
                  <a:close/>
                  <a:moveTo>
                    <a:pt x="465" y="691"/>
                  </a:moveTo>
                  <a:lnTo>
                    <a:pt x="465" y="694"/>
                  </a:lnTo>
                  <a:lnTo>
                    <a:pt x="465" y="691"/>
                  </a:lnTo>
                  <a:close/>
                  <a:moveTo>
                    <a:pt x="460" y="691"/>
                  </a:moveTo>
                  <a:lnTo>
                    <a:pt x="458" y="691"/>
                  </a:lnTo>
                  <a:lnTo>
                    <a:pt x="460" y="691"/>
                  </a:lnTo>
                  <a:close/>
                  <a:moveTo>
                    <a:pt x="460" y="691"/>
                  </a:moveTo>
                  <a:lnTo>
                    <a:pt x="460" y="694"/>
                  </a:lnTo>
                  <a:lnTo>
                    <a:pt x="460" y="691"/>
                  </a:lnTo>
                  <a:close/>
                  <a:moveTo>
                    <a:pt x="531" y="696"/>
                  </a:moveTo>
                  <a:lnTo>
                    <a:pt x="529" y="696"/>
                  </a:lnTo>
                  <a:lnTo>
                    <a:pt x="529" y="694"/>
                  </a:lnTo>
                  <a:lnTo>
                    <a:pt x="529" y="691"/>
                  </a:lnTo>
                  <a:lnTo>
                    <a:pt x="531" y="691"/>
                  </a:lnTo>
                  <a:lnTo>
                    <a:pt x="531" y="694"/>
                  </a:lnTo>
                  <a:lnTo>
                    <a:pt x="531" y="696"/>
                  </a:lnTo>
                  <a:close/>
                  <a:moveTo>
                    <a:pt x="505" y="694"/>
                  </a:moveTo>
                  <a:lnTo>
                    <a:pt x="503" y="694"/>
                  </a:lnTo>
                  <a:lnTo>
                    <a:pt x="503" y="696"/>
                  </a:lnTo>
                  <a:lnTo>
                    <a:pt x="500" y="696"/>
                  </a:lnTo>
                  <a:lnTo>
                    <a:pt x="500" y="699"/>
                  </a:lnTo>
                  <a:lnTo>
                    <a:pt x="500" y="701"/>
                  </a:lnTo>
                  <a:lnTo>
                    <a:pt x="498" y="701"/>
                  </a:lnTo>
                  <a:lnTo>
                    <a:pt x="496" y="701"/>
                  </a:lnTo>
                  <a:lnTo>
                    <a:pt x="493" y="701"/>
                  </a:lnTo>
                  <a:lnTo>
                    <a:pt x="491" y="701"/>
                  </a:lnTo>
                  <a:lnTo>
                    <a:pt x="488" y="701"/>
                  </a:lnTo>
                  <a:lnTo>
                    <a:pt x="491" y="699"/>
                  </a:lnTo>
                  <a:lnTo>
                    <a:pt x="491" y="696"/>
                  </a:lnTo>
                  <a:lnTo>
                    <a:pt x="493" y="696"/>
                  </a:lnTo>
                  <a:lnTo>
                    <a:pt x="496" y="696"/>
                  </a:lnTo>
                  <a:lnTo>
                    <a:pt x="498" y="694"/>
                  </a:lnTo>
                  <a:lnTo>
                    <a:pt x="500" y="694"/>
                  </a:lnTo>
                  <a:lnTo>
                    <a:pt x="500" y="691"/>
                  </a:lnTo>
                  <a:lnTo>
                    <a:pt x="503" y="691"/>
                  </a:lnTo>
                  <a:lnTo>
                    <a:pt x="505" y="691"/>
                  </a:lnTo>
                  <a:lnTo>
                    <a:pt x="505" y="694"/>
                  </a:lnTo>
                  <a:close/>
                  <a:moveTo>
                    <a:pt x="543" y="691"/>
                  </a:moveTo>
                  <a:lnTo>
                    <a:pt x="543" y="689"/>
                  </a:lnTo>
                  <a:lnTo>
                    <a:pt x="545" y="689"/>
                  </a:lnTo>
                  <a:lnTo>
                    <a:pt x="545" y="691"/>
                  </a:lnTo>
                  <a:lnTo>
                    <a:pt x="543" y="691"/>
                  </a:lnTo>
                  <a:close/>
                  <a:moveTo>
                    <a:pt x="505" y="689"/>
                  </a:moveTo>
                  <a:lnTo>
                    <a:pt x="505" y="691"/>
                  </a:lnTo>
                  <a:lnTo>
                    <a:pt x="507" y="691"/>
                  </a:lnTo>
                  <a:lnTo>
                    <a:pt x="505" y="691"/>
                  </a:lnTo>
                  <a:lnTo>
                    <a:pt x="503" y="691"/>
                  </a:lnTo>
                  <a:lnTo>
                    <a:pt x="505" y="691"/>
                  </a:lnTo>
                  <a:lnTo>
                    <a:pt x="503" y="691"/>
                  </a:lnTo>
                  <a:lnTo>
                    <a:pt x="503" y="689"/>
                  </a:lnTo>
                  <a:lnTo>
                    <a:pt x="505" y="689"/>
                  </a:lnTo>
                  <a:close/>
                  <a:moveTo>
                    <a:pt x="538" y="691"/>
                  </a:moveTo>
                  <a:lnTo>
                    <a:pt x="541" y="691"/>
                  </a:lnTo>
                  <a:lnTo>
                    <a:pt x="543" y="691"/>
                  </a:lnTo>
                  <a:lnTo>
                    <a:pt x="541" y="691"/>
                  </a:lnTo>
                  <a:lnTo>
                    <a:pt x="541" y="694"/>
                  </a:lnTo>
                  <a:lnTo>
                    <a:pt x="538" y="694"/>
                  </a:lnTo>
                  <a:lnTo>
                    <a:pt x="541" y="694"/>
                  </a:lnTo>
                  <a:lnTo>
                    <a:pt x="538" y="694"/>
                  </a:lnTo>
                  <a:lnTo>
                    <a:pt x="538" y="696"/>
                  </a:lnTo>
                  <a:lnTo>
                    <a:pt x="536" y="696"/>
                  </a:lnTo>
                  <a:lnTo>
                    <a:pt x="534" y="696"/>
                  </a:lnTo>
                  <a:lnTo>
                    <a:pt x="534" y="694"/>
                  </a:lnTo>
                  <a:lnTo>
                    <a:pt x="534" y="691"/>
                  </a:lnTo>
                  <a:lnTo>
                    <a:pt x="531" y="691"/>
                  </a:lnTo>
                  <a:lnTo>
                    <a:pt x="531" y="689"/>
                  </a:lnTo>
                  <a:lnTo>
                    <a:pt x="534" y="689"/>
                  </a:lnTo>
                  <a:lnTo>
                    <a:pt x="536" y="689"/>
                  </a:lnTo>
                  <a:lnTo>
                    <a:pt x="538" y="691"/>
                  </a:lnTo>
                  <a:close/>
                  <a:moveTo>
                    <a:pt x="465" y="689"/>
                  </a:moveTo>
                  <a:lnTo>
                    <a:pt x="462" y="689"/>
                  </a:lnTo>
                  <a:lnTo>
                    <a:pt x="465" y="689"/>
                  </a:lnTo>
                  <a:close/>
                  <a:moveTo>
                    <a:pt x="562" y="689"/>
                  </a:moveTo>
                  <a:lnTo>
                    <a:pt x="564" y="689"/>
                  </a:lnTo>
                  <a:lnTo>
                    <a:pt x="567" y="691"/>
                  </a:lnTo>
                  <a:lnTo>
                    <a:pt x="564" y="691"/>
                  </a:lnTo>
                  <a:lnTo>
                    <a:pt x="562" y="691"/>
                  </a:lnTo>
                  <a:lnTo>
                    <a:pt x="560" y="691"/>
                  </a:lnTo>
                  <a:lnTo>
                    <a:pt x="560" y="689"/>
                  </a:lnTo>
                  <a:lnTo>
                    <a:pt x="560" y="691"/>
                  </a:lnTo>
                  <a:lnTo>
                    <a:pt x="560" y="689"/>
                  </a:lnTo>
                  <a:lnTo>
                    <a:pt x="562" y="689"/>
                  </a:lnTo>
                  <a:lnTo>
                    <a:pt x="560" y="689"/>
                  </a:lnTo>
                  <a:lnTo>
                    <a:pt x="562" y="689"/>
                  </a:lnTo>
                  <a:close/>
                  <a:moveTo>
                    <a:pt x="460" y="689"/>
                  </a:moveTo>
                  <a:lnTo>
                    <a:pt x="462" y="689"/>
                  </a:lnTo>
                  <a:lnTo>
                    <a:pt x="460" y="689"/>
                  </a:lnTo>
                  <a:close/>
                  <a:moveTo>
                    <a:pt x="550" y="689"/>
                  </a:moveTo>
                  <a:lnTo>
                    <a:pt x="548" y="689"/>
                  </a:lnTo>
                  <a:lnTo>
                    <a:pt x="550" y="689"/>
                  </a:lnTo>
                  <a:close/>
                  <a:moveTo>
                    <a:pt x="541" y="687"/>
                  </a:moveTo>
                  <a:lnTo>
                    <a:pt x="541" y="689"/>
                  </a:lnTo>
                  <a:lnTo>
                    <a:pt x="543" y="689"/>
                  </a:lnTo>
                  <a:lnTo>
                    <a:pt x="541" y="689"/>
                  </a:lnTo>
                  <a:lnTo>
                    <a:pt x="541" y="691"/>
                  </a:lnTo>
                  <a:lnTo>
                    <a:pt x="538" y="691"/>
                  </a:lnTo>
                  <a:lnTo>
                    <a:pt x="538" y="689"/>
                  </a:lnTo>
                  <a:lnTo>
                    <a:pt x="541" y="689"/>
                  </a:lnTo>
                  <a:lnTo>
                    <a:pt x="541" y="687"/>
                  </a:lnTo>
                  <a:close/>
                  <a:moveTo>
                    <a:pt x="830" y="687"/>
                  </a:moveTo>
                  <a:lnTo>
                    <a:pt x="828" y="687"/>
                  </a:lnTo>
                  <a:lnTo>
                    <a:pt x="830" y="687"/>
                  </a:lnTo>
                  <a:close/>
                  <a:moveTo>
                    <a:pt x="488" y="687"/>
                  </a:moveTo>
                  <a:lnTo>
                    <a:pt x="488" y="689"/>
                  </a:lnTo>
                  <a:lnTo>
                    <a:pt x="486" y="687"/>
                  </a:lnTo>
                  <a:lnTo>
                    <a:pt x="488" y="687"/>
                  </a:lnTo>
                  <a:close/>
                  <a:moveTo>
                    <a:pt x="460" y="684"/>
                  </a:moveTo>
                  <a:lnTo>
                    <a:pt x="460" y="687"/>
                  </a:lnTo>
                  <a:lnTo>
                    <a:pt x="458" y="684"/>
                  </a:lnTo>
                  <a:lnTo>
                    <a:pt x="458" y="687"/>
                  </a:lnTo>
                  <a:lnTo>
                    <a:pt x="458" y="684"/>
                  </a:lnTo>
                  <a:lnTo>
                    <a:pt x="460" y="684"/>
                  </a:lnTo>
                  <a:close/>
                  <a:moveTo>
                    <a:pt x="553" y="687"/>
                  </a:moveTo>
                  <a:lnTo>
                    <a:pt x="553" y="684"/>
                  </a:lnTo>
                  <a:lnTo>
                    <a:pt x="550" y="684"/>
                  </a:lnTo>
                  <a:lnTo>
                    <a:pt x="553" y="684"/>
                  </a:lnTo>
                  <a:lnTo>
                    <a:pt x="550" y="684"/>
                  </a:lnTo>
                  <a:lnTo>
                    <a:pt x="553" y="684"/>
                  </a:lnTo>
                  <a:lnTo>
                    <a:pt x="553" y="687"/>
                  </a:lnTo>
                  <a:close/>
                  <a:moveTo>
                    <a:pt x="467" y="684"/>
                  </a:moveTo>
                  <a:lnTo>
                    <a:pt x="469" y="684"/>
                  </a:lnTo>
                  <a:lnTo>
                    <a:pt x="469" y="687"/>
                  </a:lnTo>
                  <a:lnTo>
                    <a:pt x="469" y="689"/>
                  </a:lnTo>
                  <a:lnTo>
                    <a:pt x="469" y="687"/>
                  </a:lnTo>
                  <a:lnTo>
                    <a:pt x="472" y="687"/>
                  </a:lnTo>
                  <a:lnTo>
                    <a:pt x="472" y="684"/>
                  </a:lnTo>
                  <a:lnTo>
                    <a:pt x="472" y="687"/>
                  </a:lnTo>
                  <a:lnTo>
                    <a:pt x="474" y="687"/>
                  </a:lnTo>
                  <a:lnTo>
                    <a:pt x="472" y="687"/>
                  </a:lnTo>
                  <a:lnTo>
                    <a:pt x="474" y="687"/>
                  </a:lnTo>
                  <a:lnTo>
                    <a:pt x="474" y="689"/>
                  </a:lnTo>
                  <a:lnTo>
                    <a:pt x="472" y="689"/>
                  </a:lnTo>
                  <a:lnTo>
                    <a:pt x="469" y="689"/>
                  </a:lnTo>
                  <a:lnTo>
                    <a:pt x="467" y="689"/>
                  </a:lnTo>
                  <a:lnTo>
                    <a:pt x="467" y="691"/>
                  </a:lnTo>
                  <a:lnTo>
                    <a:pt x="465" y="691"/>
                  </a:lnTo>
                  <a:lnTo>
                    <a:pt x="465" y="689"/>
                  </a:lnTo>
                  <a:lnTo>
                    <a:pt x="467" y="689"/>
                  </a:lnTo>
                  <a:lnTo>
                    <a:pt x="465" y="689"/>
                  </a:lnTo>
                  <a:lnTo>
                    <a:pt x="465" y="687"/>
                  </a:lnTo>
                  <a:lnTo>
                    <a:pt x="467" y="687"/>
                  </a:lnTo>
                  <a:lnTo>
                    <a:pt x="465" y="687"/>
                  </a:lnTo>
                  <a:lnTo>
                    <a:pt x="467" y="687"/>
                  </a:lnTo>
                  <a:lnTo>
                    <a:pt x="465" y="684"/>
                  </a:lnTo>
                  <a:lnTo>
                    <a:pt x="467" y="684"/>
                  </a:lnTo>
                  <a:close/>
                  <a:moveTo>
                    <a:pt x="474" y="684"/>
                  </a:moveTo>
                  <a:lnTo>
                    <a:pt x="477" y="684"/>
                  </a:lnTo>
                  <a:lnTo>
                    <a:pt x="477" y="687"/>
                  </a:lnTo>
                  <a:lnTo>
                    <a:pt x="477" y="684"/>
                  </a:lnTo>
                  <a:lnTo>
                    <a:pt x="477" y="687"/>
                  </a:lnTo>
                  <a:lnTo>
                    <a:pt x="477" y="684"/>
                  </a:lnTo>
                  <a:lnTo>
                    <a:pt x="477" y="687"/>
                  </a:lnTo>
                  <a:lnTo>
                    <a:pt x="474" y="687"/>
                  </a:lnTo>
                  <a:lnTo>
                    <a:pt x="477" y="687"/>
                  </a:lnTo>
                  <a:lnTo>
                    <a:pt x="474" y="687"/>
                  </a:lnTo>
                  <a:lnTo>
                    <a:pt x="474" y="684"/>
                  </a:lnTo>
                  <a:lnTo>
                    <a:pt x="474" y="687"/>
                  </a:lnTo>
                  <a:lnTo>
                    <a:pt x="474" y="684"/>
                  </a:lnTo>
                  <a:close/>
                  <a:moveTo>
                    <a:pt x="469" y="684"/>
                  </a:moveTo>
                  <a:lnTo>
                    <a:pt x="472" y="684"/>
                  </a:lnTo>
                  <a:lnTo>
                    <a:pt x="469" y="684"/>
                  </a:lnTo>
                  <a:lnTo>
                    <a:pt x="469" y="687"/>
                  </a:lnTo>
                  <a:lnTo>
                    <a:pt x="469" y="684"/>
                  </a:lnTo>
                  <a:close/>
                  <a:moveTo>
                    <a:pt x="799" y="684"/>
                  </a:moveTo>
                  <a:lnTo>
                    <a:pt x="797" y="684"/>
                  </a:lnTo>
                  <a:lnTo>
                    <a:pt x="797" y="682"/>
                  </a:lnTo>
                  <a:lnTo>
                    <a:pt x="799" y="682"/>
                  </a:lnTo>
                  <a:lnTo>
                    <a:pt x="799" y="684"/>
                  </a:lnTo>
                  <a:close/>
                  <a:moveTo>
                    <a:pt x="778" y="684"/>
                  </a:moveTo>
                  <a:lnTo>
                    <a:pt x="778" y="682"/>
                  </a:lnTo>
                  <a:lnTo>
                    <a:pt x="778" y="684"/>
                  </a:lnTo>
                  <a:close/>
                  <a:moveTo>
                    <a:pt x="676" y="682"/>
                  </a:moveTo>
                  <a:lnTo>
                    <a:pt x="678" y="682"/>
                  </a:lnTo>
                  <a:lnTo>
                    <a:pt x="676" y="682"/>
                  </a:lnTo>
                  <a:close/>
                  <a:moveTo>
                    <a:pt x="614" y="682"/>
                  </a:moveTo>
                  <a:lnTo>
                    <a:pt x="617" y="682"/>
                  </a:lnTo>
                  <a:lnTo>
                    <a:pt x="614" y="682"/>
                  </a:lnTo>
                  <a:lnTo>
                    <a:pt x="614" y="684"/>
                  </a:lnTo>
                  <a:lnTo>
                    <a:pt x="612" y="682"/>
                  </a:lnTo>
                  <a:lnTo>
                    <a:pt x="614" y="682"/>
                  </a:lnTo>
                  <a:lnTo>
                    <a:pt x="612" y="682"/>
                  </a:lnTo>
                  <a:lnTo>
                    <a:pt x="614" y="682"/>
                  </a:lnTo>
                  <a:close/>
                  <a:moveTo>
                    <a:pt x="536" y="687"/>
                  </a:moveTo>
                  <a:lnTo>
                    <a:pt x="534" y="687"/>
                  </a:lnTo>
                  <a:lnTo>
                    <a:pt x="534" y="684"/>
                  </a:lnTo>
                  <a:lnTo>
                    <a:pt x="536" y="682"/>
                  </a:lnTo>
                  <a:lnTo>
                    <a:pt x="538" y="684"/>
                  </a:lnTo>
                  <a:lnTo>
                    <a:pt x="538" y="687"/>
                  </a:lnTo>
                  <a:lnTo>
                    <a:pt x="536" y="687"/>
                  </a:lnTo>
                  <a:close/>
                  <a:moveTo>
                    <a:pt x="678" y="682"/>
                  </a:moveTo>
                  <a:lnTo>
                    <a:pt x="681" y="682"/>
                  </a:lnTo>
                  <a:lnTo>
                    <a:pt x="678" y="682"/>
                  </a:lnTo>
                  <a:close/>
                  <a:moveTo>
                    <a:pt x="493" y="684"/>
                  </a:moveTo>
                  <a:lnTo>
                    <a:pt x="496" y="684"/>
                  </a:lnTo>
                  <a:lnTo>
                    <a:pt x="493" y="684"/>
                  </a:lnTo>
                  <a:lnTo>
                    <a:pt x="493" y="687"/>
                  </a:lnTo>
                  <a:lnTo>
                    <a:pt x="491" y="687"/>
                  </a:lnTo>
                  <a:lnTo>
                    <a:pt x="491" y="684"/>
                  </a:lnTo>
                  <a:lnTo>
                    <a:pt x="488" y="684"/>
                  </a:lnTo>
                  <a:lnTo>
                    <a:pt x="486" y="684"/>
                  </a:lnTo>
                  <a:lnTo>
                    <a:pt x="486" y="682"/>
                  </a:lnTo>
                  <a:lnTo>
                    <a:pt x="488" y="682"/>
                  </a:lnTo>
                  <a:lnTo>
                    <a:pt x="491" y="682"/>
                  </a:lnTo>
                  <a:lnTo>
                    <a:pt x="493" y="684"/>
                  </a:lnTo>
                  <a:close/>
                  <a:moveTo>
                    <a:pt x="681" y="682"/>
                  </a:moveTo>
                  <a:lnTo>
                    <a:pt x="678" y="682"/>
                  </a:lnTo>
                  <a:lnTo>
                    <a:pt x="681" y="682"/>
                  </a:lnTo>
                  <a:close/>
                  <a:moveTo>
                    <a:pt x="477" y="680"/>
                  </a:moveTo>
                  <a:lnTo>
                    <a:pt x="477" y="682"/>
                  </a:lnTo>
                  <a:lnTo>
                    <a:pt x="477" y="680"/>
                  </a:lnTo>
                  <a:lnTo>
                    <a:pt x="477" y="682"/>
                  </a:lnTo>
                  <a:lnTo>
                    <a:pt x="474" y="682"/>
                  </a:lnTo>
                  <a:lnTo>
                    <a:pt x="477" y="680"/>
                  </a:lnTo>
                  <a:lnTo>
                    <a:pt x="474" y="682"/>
                  </a:lnTo>
                  <a:lnTo>
                    <a:pt x="477" y="682"/>
                  </a:lnTo>
                  <a:lnTo>
                    <a:pt x="477" y="680"/>
                  </a:lnTo>
                  <a:lnTo>
                    <a:pt x="477" y="682"/>
                  </a:lnTo>
                  <a:lnTo>
                    <a:pt x="477" y="680"/>
                  </a:lnTo>
                  <a:close/>
                  <a:moveTo>
                    <a:pt x="507" y="682"/>
                  </a:moveTo>
                  <a:lnTo>
                    <a:pt x="510" y="682"/>
                  </a:lnTo>
                  <a:lnTo>
                    <a:pt x="507" y="682"/>
                  </a:lnTo>
                  <a:lnTo>
                    <a:pt x="507" y="680"/>
                  </a:lnTo>
                  <a:lnTo>
                    <a:pt x="507" y="682"/>
                  </a:lnTo>
                  <a:close/>
                  <a:moveTo>
                    <a:pt x="474" y="680"/>
                  </a:moveTo>
                  <a:lnTo>
                    <a:pt x="474" y="682"/>
                  </a:lnTo>
                  <a:lnTo>
                    <a:pt x="474" y="680"/>
                  </a:lnTo>
                  <a:close/>
                  <a:moveTo>
                    <a:pt x="469" y="680"/>
                  </a:moveTo>
                  <a:lnTo>
                    <a:pt x="472" y="680"/>
                  </a:lnTo>
                  <a:lnTo>
                    <a:pt x="472" y="682"/>
                  </a:lnTo>
                  <a:lnTo>
                    <a:pt x="469" y="682"/>
                  </a:lnTo>
                  <a:lnTo>
                    <a:pt x="467" y="682"/>
                  </a:lnTo>
                  <a:lnTo>
                    <a:pt x="469" y="682"/>
                  </a:lnTo>
                  <a:lnTo>
                    <a:pt x="467" y="682"/>
                  </a:lnTo>
                  <a:lnTo>
                    <a:pt x="469" y="682"/>
                  </a:lnTo>
                  <a:lnTo>
                    <a:pt x="469" y="680"/>
                  </a:lnTo>
                  <a:close/>
                  <a:moveTo>
                    <a:pt x="681" y="680"/>
                  </a:moveTo>
                  <a:lnTo>
                    <a:pt x="678" y="680"/>
                  </a:lnTo>
                  <a:lnTo>
                    <a:pt x="681" y="680"/>
                  </a:lnTo>
                  <a:lnTo>
                    <a:pt x="678" y="680"/>
                  </a:lnTo>
                  <a:lnTo>
                    <a:pt x="681" y="680"/>
                  </a:lnTo>
                  <a:close/>
                  <a:moveTo>
                    <a:pt x="778" y="680"/>
                  </a:moveTo>
                  <a:lnTo>
                    <a:pt x="778" y="677"/>
                  </a:lnTo>
                  <a:lnTo>
                    <a:pt x="778" y="680"/>
                  </a:lnTo>
                  <a:close/>
                  <a:moveTo>
                    <a:pt x="681" y="677"/>
                  </a:moveTo>
                  <a:lnTo>
                    <a:pt x="678" y="677"/>
                  </a:lnTo>
                  <a:lnTo>
                    <a:pt x="678" y="680"/>
                  </a:lnTo>
                  <a:lnTo>
                    <a:pt x="678" y="677"/>
                  </a:lnTo>
                  <a:lnTo>
                    <a:pt x="681" y="677"/>
                  </a:lnTo>
                  <a:close/>
                  <a:moveTo>
                    <a:pt x="493" y="677"/>
                  </a:moveTo>
                  <a:lnTo>
                    <a:pt x="491" y="677"/>
                  </a:lnTo>
                  <a:lnTo>
                    <a:pt x="493" y="677"/>
                  </a:lnTo>
                  <a:close/>
                  <a:moveTo>
                    <a:pt x="678" y="677"/>
                  </a:moveTo>
                  <a:lnTo>
                    <a:pt x="676" y="677"/>
                  </a:lnTo>
                  <a:lnTo>
                    <a:pt x="678" y="677"/>
                  </a:lnTo>
                  <a:close/>
                  <a:moveTo>
                    <a:pt x="564" y="677"/>
                  </a:moveTo>
                  <a:lnTo>
                    <a:pt x="564" y="675"/>
                  </a:lnTo>
                  <a:lnTo>
                    <a:pt x="564" y="677"/>
                  </a:lnTo>
                  <a:close/>
                  <a:moveTo>
                    <a:pt x="481" y="675"/>
                  </a:moveTo>
                  <a:lnTo>
                    <a:pt x="481" y="677"/>
                  </a:lnTo>
                  <a:lnTo>
                    <a:pt x="484" y="677"/>
                  </a:lnTo>
                  <a:lnTo>
                    <a:pt x="484" y="680"/>
                  </a:lnTo>
                  <a:lnTo>
                    <a:pt x="484" y="682"/>
                  </a:lnTo>
                  <a:lnTo>
                    <a:pt x="484" y="684"/>
                  </a:lnTo>
                  <a:lnTo>
                    <a:pt x="481" y="684"/>
                  </a:lnTo>
                  <a:lnTo>
                    <a:pt x="479" y="684"/>
                  </a:lnTo>
                  <a:lnTo>
                    <a:pt x="477" y="684"/>
                  </a:lnTo>
                  <a:lnTo>
                    <a:pt x="477" y="682"/>
                  </a:lnTo>
                  <a:lnTo>
                    <a:pt x="474" y="682"/>
                  </a:lnTo>
                  <a:lnTo>
                    <a:pt x="477" y="682"/>
                  </a:lnTo>
                  <a:lnTo>
                    <a:pt x="479" y="682"/>
                  </a:lnTo>
                  <a:lnTo>
                    <a:pt x="479" y="680"/>
                  </a:lnTo>
                  <a:lnTo>
                    <a:pt x="481" y="680"/>
                  </a:lnTo>
                  <a:lnTo>
                    <a:pt x="479" y="680"/>
                  </a:lnTo>
                  <a:lnTo>
                    <a:pt x="479" y="677"/>
                  </a:lnTo>
                  <a:lnTo>
                    <a:pt x="481" y="677"/>
                  </a:lnTo>
                  <a:lnTo>
                    <a:pt x="481" y="675"/>
                  </a:lnTo>
                  <a:lnTo>
                    <a:pt x="481" y="677"/>
                  </a:lnTo>
                  <a:lnTo>
                    <a:pt x="481" y="675"/>
                  </a:lnTo>
                  <a:close/>
                  <a:moveTo>
                    <a:pt x="685" y="677"/>
                  </a:moveTo>
                  <a:lnTo>
                    <a:pt x="685" y="675"/>
                  </a:lnTo>
                  <a:lnTo>
                    <a:pt x="685" y="677"/>
                  </a:lnTo>
                  <a:close/>
                  <a:moveTo>
                    <a:pt x="500" y="677"/>
                  </a:moveTo>
                  <a:lnTo>
                    <a:pt x="498" y="677"/>
                  </a:lnTo>
                  <a:lnTo>
                    <a:pt x="500" y="677"/>
                  </a:lnTo>
                  <a:lnTo>
                    <a:pt x="500" y="675"/>
                  </a:lnTo>
                  <a:lnTo>
                    <a:pt x="500" y="677"/>
                  </a:lnTo>
                  <a:close/>
                  <a:moveTo>
                    <a:pt x="498" y="675"/>
                  </a:moveTo>
                  <a:lnTo>
                    <a:pt x="498" y="677"/>
                  </a:lnTo>
                  <a:lnTo>
                    <a:pt x="498" y="675"/>
                  </a:lnTo>
                  <a:close/>
                  <a:moveTo>
                    <a:pt x="688" y="675"/>
                  </a:moveTo>
                  <a:lnTo>
                    <a:pt x="685" y="675"/>
                  </a:lnTo>
                  <a:lnTo>
                    <a:pt x="688" y="675"/>
                  </a:lnTo>
                  <a:close/>
                  <a:moveTo>
                    <a:pt x="500" y="675"/>
                  </a:moveTo>
                  <a:lnTo>
                    <a:pt x="500" y="672"/>
                  </a:lnTo>
                  <a:lnTo>
                    <a:pt x="500" y="675"/>
                  </a:lnTo>
                  <a:close/>
                  <a:moveTo>
                    <a:pt x="688" y="675"/>
                  </a:moveTo>
                  <a:lnTo>
                    <a:pt x="685" y="675"/>
                  </a:lnTo>
                  <a:lnTo>
                    <a:pt x="685" y="672"/>
                  </a:lnTo>
                  <a:lnTo>
                    <a:pt x="685" y="675"/>
                  </a:lnTo>
                  <a:lnTo>
                    <a:pt x="688" y="672"/>
                  </a:lnTo>
                  <a:lnTo>
                    <a:pt x="688" y="675"/>
                  </a:lnTo>
                  <a:close/>
                  <a:moveTo>
                    <a:pt x="683" y="675"/>
                  </a:moveTo>
                  <a:lnTo>
                    <a:pt x="685" y="675"/>
                  </a:lnTo>
                  <a:lnTo>
                    <a:pt x="683" y="675"/>
                  </a:lnTo>
                  <a:lnTo>
                    <a:pt x="683" y="677"/>
                  </a:lnTo>
                  <a:lnTo>
                    <a:pt x="681" y="677"/>
                  </a:lnTo>
                  <a:lnTo>
                    <a:pt x="681" y="675"/>
                  </a:lnTo>
                  <a:lnTo>
                    <a:pt x="683" y="675"/>
                  </a:lnTo>
                  <a:lnTo>
                    <a:pt x="683" y="672"/>
                  </a:lnTo>
                  <a:lnTo>
                    <a:pt x="683" y="675"/>
                  </a:lnTo>
                  <a:close/>
                  <a:moveTo>
                    <a:pt x="517" y="677"/>
                  </a:moveTo>
                  <a:lnTo>
                    <a:pt x="515" y="680"/>
                  </a:lnTo>
                  <a:lnTo>
                    <a:pt x="515" y="677"/>
                  </a:lnTo>
                  <a:lnTo>
                    <a:pt x="515" y="675"/>
                  </a:lnTo>
                  <a:lnTo>
                    <a:pt x="515" y="672"/>
                  </a:lnTo>
                  <a:lnTo>
                    <a:pt x="517" y="675"/>
                  </a:lnTo>
                  <a:lnTo>
                    <a:pt x="519" y="675"/>
                  </a:lnTo>
                  <a:lnTo>
                    <a:pt x="517" y="675"/>
                  </a:lnTo>
                  <a:lnTo>
                    <a:pt x="517" y="677"/>
                  </a:lnTo>
                  <a:close/>
                  <a:moveTo>
                    <a:pt x="685" y="672"/>
                  </a:moveTo>
                  <a:lnTo>
                    <a:pt x="683" y="672"/>
                  </a:lnTo>
                  <a:lnTo>
                    <a:pt x="685" y="672"/>
                  </a:lnTo>
                  <a:close/>
                  <a:moveTo>
                    <a:pt x="681" y="672"/>
                  </a:moveTo>
                  <a:lnTo>
                    <a:pt x="678" y="672"/>
                  </a:lnTo>
                  <a:lnTo>
                    <a:pt x="681" y="672"/>
                  </a:lnTo>
                  <a:close/>
                  <a:moveTo>
                    <a:pt x="555" y="672"/>
                  </a:moveTo>
                  <a:lnTo>
                    <a:pt x="553" y="672"/>
                  </a:lnTo>
                  <a:lnTo>
                    <a:pt x="555" y="672"/>
                  </a:lnTo>
                  <a:close/>
                  <a:moveTo>
                    <a:pt x="555" y="668"/>
                  </a:moveTo>
                  <a:lnTo>
                    <a:pt x="555" y="670"/>
                  </a:lnTo>
                  <a:lnTo>
                    <a:pt x="557" y="670"/>
                  </a:lnTo>
                  <a:lnTo>
                    <a:pt x="555" y="670"/>
                  </a:lnTo>
                  <a:lnTo>
                    <a:pt x="557" y="670"/>
                  </a:lnTo>
                  <a:lnTo>
                    <a:pt x="557" y="672"/>
                  </a:lnTo>
                  <a:lnTo>
                    <a:pt x="555" y="672"/>
                  </a:lnTo>
                  <a:lnTo>
                    <a:pt x="555" y="670"/>
                  </a:lnTo>
                  <a:lnTo>
                    <a:pt x="555" y="668"/>
                  </a:lnTo>
                  <a:close/>
                  <a:moveTo>
                    <a:pt x="567" y="670"/>
                  </a:moveTo>
                  <a:lnTo>
                    <a:pt x="569" y="670"/>
                  </a:lnTo>
                  <a:lnTo>
                    <a:pt x="567" y="672"/>
                  </a:lnTo>
                  <a:lnTo>
                    <a:pt x="567" y="675"/>
                  </a:lnTo>
                  <a:lnTo>
                    <a:pt x="564" y="675"/>
                  </a:lnTo>
                  <a:lnTo>
                    <a:pt x="564" y="672"/>
                  </a:lnTo>
                  <a:lnTo>
                    <a:pt x="564" y="670"/>
                  </a:lnTo>
                  <a:lnTo>
                    <a:pt x="564" y="668"/>
                  </a:lnTo>
                  <a:lnTo>
                    <a:pt x="564" y="670"/>
                  </a:lnTo>
                  <a:lnTo>
                    <a:pt x="567" y="670"/>
                  </a:lnTo>
                  <a:close/>
                  <a:moveTo>
                    <a:pt x="875" y="668"/>
                  </a:moveTo>
                  <a:lnTo>
                    <a:pt x="878" y="668"/>
                  </a:lnTo>
                  <a:lnTo>
                    <a:pt x="875" y="668"/>
                  </a:lnTo>
                  <a:close/>
                  <a:moveTo>
                    <a:pt x="875" y="670"/>
                  </a:moveTo>
                  <a:lnTo>
                    <a:pt x="875" y="668"/>
                  </a:lnTo>
                  <a:lnTo>
                    <a:pt x="875" y="670"/>
                  </a:lnTo>
                  <a:lnTo>
                    <a:pt x="873" y="668"/>
                  </a:lnTo>
                  <a:lnTo>
                    <a:pt x="875" y="668"/>
                  </a:lnTo>
                  <a:lnTo>
                    <a:pt x="875" y="670"/>
                  </a:lnTo>
                  <a:close/>
                  <a:moveTo>
                    <a:pt x="685" y="668"/>
                  </a:moveTo>
                  <a:lnTo>
                    <a:pt x="683" y="668"/>
                  </a:lnTo>
                  <a:lnTo>
                    <a:pt x="685" y="668"/>
                  </a:lnTo>
                  <a:close/>
                  <a:moveTo>
                    <a:pt x="726" y="665"/>
                  </a:moveTo>
                  <a:lnTo>
                    <a:pt x="728" y="665"/>
                  </a:lnTo>
                  <a:lnTo>
                    <a:pt x="726" y="665"/>
                  </a:lnTo>
                  <a:lnTo>
                    <a:pt x="726" y="668"/>
                  </a:lnTo>
                  <a:lnTo>
                    <a:pt x="723" y="665"/>
                  </a:lnTo>
                  <a:lnTo>
                    <a:pt x="726" y="665"/>
                  </a:lnTo>
                  <a:close/>
                  <a:moveTo>
                    <a:pt x="783" y="665"/>
                  </a:moveTo>
                  <a:lnTo>
                    <a:pt x="783" y="663"/>
                  </a:lnTo>
                  <a:lnTo>
                    <a:pt x="783" y="665"/>
                  </a:lnTo>
                  <a:close/>
                  <a:moveTo>
                    <a:pt x="685" y="661"/>
                  </a:moveTo>
                  <a:lnTo>
                    <a:pt x="685" y="663"/>
                  </a:lnTo>
                  <a:lnTo>
                    <a:pt x="683" y="663"/>
                  </a:lnTo>
                  <a:lnTo>
                    <a:pt x="683" y="661"/>
                  </a:lnTo>
                  <a:lnTo>
                    <a:pt x="685" y="661"/>
                  </a:lnTo>
                  <a:close/>
                  <a:moveTo>
                    <a:pt x="730" y="661"/>
                  </a:moveTo>
                  <a:lnTo>
                    <a:pt x="733" y="661"/>
                  </a:lnTo>
                  <a:lnTo>
                    <a:pt x="733" y="663"/>
                  </a:lnTo>
                  <a:lnTo>
                    <a:pt x="730" y="663"/>
                  </a:lnTo>
                  <a:lnTo>
                    <a:pt x="730" y="661"/>
                  </a:lnTo>
                  <a:close/>
                  <a:moveTo>
                    <a:pt x="598" y="661"/>
                  </a:moveTo>
                  <a:lnTo>
                    <a:pt x="595" y="661"/>
                  </a:lnTo>
                  <a:lnTo>
                    <a:pt x="598" y="661"/>
                  </a:lnTo>
                  <a:close/>
                  <a:moveTo>
                    <a:pt x="619" y="658"/>
                  </a:moveTo>
                  <a:lnTo>
                    <a:pt x="619" y="656"/>
                  </a:lnTo>
                  <a:lnTo>
                    <a:pt x="621" y="656"/>
                  </a:lnTo>
                  <a:lnTo>
                    <a:pt x="619" y="658"/>
                  </a:lnTo>
                  <a:close/>
                  <a:moveTo>
                    <a:pt x="735" y="656"/>
                  </a:moveTo>
                  <a:lnTo>
                    <a:pt x="738" y="656"/>
                  </a:lnTo>
                  <a:lnTo>
                    <a:pt x="735" y="656"/>
                  </a:lnTo>
                  <a:close/>
                  <a:moveTo>
                    <a:pt x="621" y="653"/>
                  </a:moveTo>
                  <a:lnTo>
                    <a:pt x="621" y="651"/>
                  </a:lnTo>
                  <a:lnTo>
                    <a:pt x="624" y="651"/>
                  </a:lnTo>
                  <a:lnTo>
                    <a:pt x="624" y="653"/>
                  </a:lnTo>
                  <a:lnTo>
                    <a:pt x="621" y="653"/>
                  </a:lnTo>
                  <a:close/>
                  <a:moveTo>
                    <a:pt x="628" y="651"/>
                  </a:moveTo>
                  <a:lnTo>
                    <a:pt x="626" y="651"/>
                  </a:lnTo>
                  <a:lnTo>
                    <a:pt x="628" y="651"/>
                  </a:lnTo>
                  <a:close/>
                  <a:moveTo>
                    <a:pt x="702" y="649"/>
                  </a:moveTo>
                  <a:lnTo>
                    <a:pt x="702" y="651"/>
                  </a:lnTo>
                  <a:lnTo>
                    <a:pt x="700" y="651"/>
                  </a:lnTo>
                  <a:lnTo>
                    <a:pt x="700" y="649"/>
                  </a:lnTo>
                  <a:lnTo>
                    <a:pt x="702" y="649"/>
                  </a:lnTo>
                  <a:close/>
                  <a:moveTo>
                    <a:pt x="702" y="646"/>
                  </a:moveTo>
                  <a:lnTo>
                    <a:pt x="700" y="646"/>
                  </a:lnTo>
                  <a:lnTo>
                    <a:pt x="702" y="646"/>
                  </a:lnTo>
                  <a:close/>
                  <a:moveTo>
                    <a:pt x="605" y="646"/>
                  </a:moveTo>
                  <a:lnTo>
                    <a:pt x="607" y="646"/>
                  </a:lnTo>
                  <a:lnTo>
                    <a:pt x="605" y="646"/>
                  </a:lnTo>
                  <a:close/>
                  <a:moveTo>
                    <a:pt x="730" y="644"/>
                  </a:moveTo>
                  <a:lnTo>
                    <a:pt x="730" y="646"/>
                  </a:lnTo>
                  <a:lnTo>
                    <a:pt x="730" y="644"/>
                  </a:lnTo>
                  <a:close/>
                  <a:moveTo>
                    <a:pt x="647" y="644"/>
                  </a:moveTo>
                  <a:lnTo>
                    <a:pt x="645" y="644"/>
                  </a:lnTo>
                  <a:lnTo>
                    <a:pt x="647" y="644"/>
                  </a:lnTo>
                  <a:close/>
                  <a:moveTo>
                    <a:pt x="745" y="644"/>
                  </a:moveTo>
                  <a:lnTo>
                    <a:pt x="747" y="644"/>
                  </a:lnTo>
                  <a:lnTo>
                    <a:pt x="745" y="644"/>
                  </a:lnTo>
                  <a:close/>
                  <a:moveTo>
                    <a:pt x="700" y="642"/>
                  </a:moveTo>
                  <a:lnTo>
                    <a:pt x="702" y="644"/>
                  </a:lnTo>
                  <a:lnTo>
                    <a:pt x="700" y="644"/>
                  </a:lnTo>
                  <a:lnTo>
                    <a:pt x="700" y="642"/>
                  </a:lnTo>
                  <a:close/>
                  <a:moveTo>
                    <a:pt x="733" y="642"/>
                  </a:moveTo>
                  <a:lnTo>
                    <a:pt x="730" y="642"/>
                  </a:lnTo>
                  <a:lnTo>
                    <a:pt x="733" y="642"/>
                  </a:lnTo>
                  <a:close/>
                  <a:moveTo>
                    <a:pt x="609" y="639"/>
                  </a:moveTo>
                  <a:lnTo>
                    <a:pt x="609" y="642"/>
                  </a:lnTo>
                  <a:lnTo>
                    <a:pt x="607" y="642"/>
                  </a:lnTo>
                  <a:lnTo>
                    <a:pt x="609" y="642"/>
                  </a:lnTo>
                  <a:lnTo>
                    <a:pt x="609" y="639"/>
                  </a:lnTo>
                  <a:close/>
                  <a:moveTo>
                    <a:pt x="647" y="642"/>
                  </a:moveTo>
                  <a:lnTo>
                    <a:pt x="647" y="639"/>
                  </a:lnTo>
                  <a:lnTo>
                    <a:pt x="650" y="639"/>
                  </a:lnTo>
                  <a:lnTo>
                    <a:pt x="647" y="639"/>
                  </a:lnTo>
                  <a:lnTo>
                    <a:pt x="647" y="642"/>
                  </a:lnTo>
                  <a:close/>
                  <a:moveTo>
                    <a:pt x="650" y="639"/>
                  </a:moveTo>
                  <a:lnTo>
                    <a:pt x="647" y="639"/>
                  </a:lnTo>
                  <a:lnTo>
                    <a:pt x="650" y="639"/>
                  </a:lnTo>
                  <a:close/>
                  <a:moveTo>
                    <a:pt x="657" y="637"/>
                  </a:moveTo>
                  <a:lnTo>
                    <a:pt x="655" y="637"/>
                  </a:lnTo>
                  <a:lnTo>
                    <a:pt x="657" y="637"/>
                  </a:lnTo>
                  <a:close/>
                  <a:moveTo>
                    <a:pt x="655" y="637"/>
                  </a:moveTo>
                  <a:lnTo>
                    <a:pt x="655" y="634"/>
                  </a:lnTo>
                  <a:lnTo>
                    <a:pt x="655" y="637"/>
                  </a:lnTo>
                  <a:close/>
                  <a:moveTo>
                    <a:pt x="700" y="634"/>
                  </a:moveTo>
                  <a:lnTo>
                    <a:pt x="702" y="634"/>
                  </a:lnTo>
                  <a:lnTo>
                    <a:pt x="700" y="634"/>
                  </a:lnTo>
                  <a:close/>
                  <a:moveTo>
                    <a:pt x="640" y="630"/>
                  </a:moveTo>
                  <a:lnTo>
                    <a:pt x="643" y="630"/>
                  </a:lnTo>
                  <a:lnTo>
                    <a:pt x="643" y="632"/>
                  </a:lnTo>
                  <a:lnTo>
                    <a:pt x="645" y="632"/>
                  </a:lnTo>
                  <a:lnTo>
                    <a:pt x="647" y="632"/>
                  </a:lnTo>
                  <a:lnTo>
                    <a:pt x="645" y="632"/>
                  </a:lnTo>
                  <a:lnTo>
                    <a:pt x="643" y="632"/>
                  </a:lnTo>
                  <a:lnTo>
                    <a:pt x="643" y="634"/>
                  </a:lnTo>
                  <a:lnTo>
                    <a:pt x="643" y="632"/>
                  </a:lnTo>
                  <a:lnTo>
                    <a:pt x="645" y="634"/>
                  </a:lnTo>
                  <a:lnTo>
                    <a:pt x="645" y="632"/>
                  </a:lnTo>
                  <a:lnTo>
                    <a:pt x="645" y="634"/>
                  </a:lnTo>
                  <a:lnTo>
                    <a:pt x="647" y="634"/>
                  </a:lnTo>
                  <a:lnTo>
                    <a:pt x="645" y="634"/>
                  </a:lnTo>
                  <a:lnTo>
                    <a:pt x="645" y="637"/>
                  </a:lnTo>
                  <a:lnTo>
                    <a:pt x="643" y="634"/>
                  </a:lnTo>
                  <a:lnTo>
                    <a:pt x="643" y="637"/>
                  </a:lnTo>
                  <a:lnTo>
                    <a:pt x="640" y="637"/>
                  </a:lnTo>
                  <a:lnTo>
                    <a:pt x="638" y="637"/>
                  </a:lnTo>
                  <a:lnTo>
                    <a:pt x="638" y="634"/>
                  </a:lnTo>
                  <a:lnTo>
                    <a:pt x="640" y="634"/>
                  </a:lnTo>
                  <a:lnTo>
                    <a:pt x="638" y="634"/>
                  </a:lnTo>
                  <a:lnTo>
                    <a:pt x="636" y="634"/>
                  </a:lnTo>
                  <a:lnTo>
                    <a:pt x="638" y="634"/>
                  </a:lnTo>
                  <a:lnTo>
                    <a:pt x="638" y="632"/>
                  </a:lnTo>
                  <a:lnTo>
                    <a:pt x="640" y="632"/>
                  </a:lnTo>
                  <a:lnTo>
                    <a:pt x="638" y="632"/>
                  </a:lnTo>
                  <a:lnTo>
                    <a:pt x="636" y="632"/>
                  </a:lnTo>
                  <a:lnTo>
                    <a:pt x="638" y="632"/>
                  </a:lnTo>
                  <a:lnTo>
                    <a:pt x="636" y="632"/>
                  </a:lnTo>
                  <a:lnTo>
                    <a:pt x="638" y="632"/>
                  </a:lnTo>
                  <a:lnTo>
                    <a:pt x="636" y="632"/>
                  </a:lnTo>
                  <a:lnTo>
                    <a:pt x="638" y="630"/>
                  </a:lnTo>
                  <a:lnTo>
                    <a:pt x="636" y="630"/>
                  </a:lnTo>
                  <a:lnTo>
                    <a:pt x="638" y="630"/>
                  </a:lnTo>
                  <a:lnTo>
                    <a:pt x="636" y="630"/>
                  </a:lnTo>
                  <a:lnTo>
                    <a:pt x="638" y="630"/>
                  </a:lnTo>
                  <a:lnTo>
                    <a:pt x="640" y="630"/>
                  </a:lnTo>
                  <a:close/>
                  <a:moveTo>
                    <a:pt x="674" y="630"/>
                  </a:moveTo>
                  <a:lnTo>
                    <a:pt x="676" y="630"/>
                  </a:lnTo>
                  <a:lnTo>
                    <a:pt x="674" y="630"/>
                  </a:lnTo>
                  <a:lnTo>
                    <a:pt x="674" y="632"/>
                  </a:lnTo>
                  <a:lnTo>
                    <a:pt x="671" y="632"/>
                  </a:lnTo>
                  <a:lnTo>
                    <a:pt x="674" y="632"/>
                  </a:lnTo>
                  <a:lnTo>
                    <a:pt x="671" y="632"/>
                  </a:lnTo>
                  <a:lnTo>
                    <a:pt x="671" y="630"/>
                  </a:lnTo>
                  <a:lnTo>
                    <a:pt x="674" y="630"/>
                  </a:lnTo>
                  <a:close/>
                  <a:moveTo>
                    <a:pt x="704" y="627"/>
                  </a:moveTo>
                  <a:lnTo>
                    <a:pt x="707" y="627"/>
                  </a:lnTo>
                  <a:lnTo>
                    <a:pt x="704" y="630"/>
                  </a:lnTo>
                  <a:lnTo>
                    <a:pt x="704" y="627"/>
                  </a:lnTo>
                  <a:close/>
                  <a:moveTo>
                    <a:pt x="647" y="627"/>
                  </a:moveTo>
                  <a:lnTo>
                    <a:pt x="645" y="627"/>
                  </a:lnTo>
                  <a:lnTo>
                    <a:pt x="647" y="627"/>
                  </a:lnTo>
                  <a:close/>
                  <a:moveTo>
                    <a:pt x="643" y="627"/>
                  </a:moveTo>
                  <a:lnTo>
                    <a:pt x="645" y="627"/>
                  </a:lnTo>
                  <a:lnTo>
                    <a:pt x="643" y="627"/>
                  </a:lnTo>
                  <a:lnTo>
                    <a:pt x="645" y="627"/>
                  </a:lnTo>
                  <a:lnTo>
                    <a:pt x="645" y="630"/>
                  </a:lnTo>
                  <a:lnTo>
                    <a:pt x="643" y="630"/>
                  </a:lnTo>
                  <a:lnTo>
                    <a:pt x="640" y="630"/>
                  </a:lnTo>
                  <a:lnTo>
                    <a:pt x="638" y="630"/>
                  </a:lnTo>
                  <a:lnTo>
                    <a:pt x="638" y="627"/>
                  </a:lnTo>
                  <a:lnTo>
                    <a:pt x="640" y="627"/>
                  </a:lnTo>
                  <a:lnTo>
                    <a:pt x="643" y="627"/>
                  </a:lnTo>
                  <a:lnTo>
                    <a:pt x="640" y="627"/>
                  </a:lnTo>
                  <a:lnTo>
                    <a:pt x="643" y="627"/>
                  </a:lnTo>
                  <a:lnTo>
                    <a:pt x="640" y="627"/>
                  </a:lnTo>
                  <a:lnTo>
                    <a:pt x="643" y="627"/>
                  </a:lnTo>
                  <a:lnTo>
                    <a:pt x="640" y="627"/>
                  </a:lnTo>
                  <a:lnTo>
                    <a:pt x="643" y="627"/>
                  </a:lnTo>
                  <a:close/>
                  <a:moveTo>
                    <a:pt x="643" y="627"/>
                  </a:moveTo>
                  <a:lnTo>
                    <a:pt x="643" y="625"/>
                  </a:lnTo>
                  <a:lnTo>
                    <a:pt x="643" y="627"/>
                  </a:lnTo>
                  <a:close/>
                  <a:moveTo>
                    <a:pt x="664" y="625"/>
                  </a:moveTo>
                  <a:lnTo>
                    <a:pt x="666" y="625"/>
                  </a:lnTo>
                  <a:lnTo>
                    <a:pt x="669" y="625"/>
                  </a:lnTo>
                  <a:lnTo>
                    <a:pt x="666" y="627"/>
                  </a:lnTo>
                  <a:lnTo>
                    <a:pt x="669" y="627"/>
                  </a:lnTo>
                  <a:lnTo>
                    <a:pt x="666" y="627"/>
                  </a:lnTo>
                  <a:lnTo>
                    <a:pt x="666" y="630"/>
                  </a:lnTo>
                  <a:lnTo>
                    <a:pt x="664" y="630"/>
                  </a:lnTo>
                  <a:lnTo>
                    <a:pt x="662" y="630"/>
                  </a:lnTo>
                  <a:lnTo>
                    <a:pt x="662" y="627"/>
                  </a:lnTo>
                  <a:lnTo>
                    <a:pt x="659" y="627"/>
                  </a:lnTo>
                  <a:lnTo>
                    <a:pt x="662" y="627"/>
                  </a:lnTo>
                  <a:lnTo>
                    <a:pt x="662" y="625"/>
                  </a:lnTo>
                  <a:lnTo>
                    <a:pt x="664" y="627"/>
                  </a:lnTo>
                  <a:lnTo>
                    <a:pt x="664" y="625"/>
                  </a:lnTo>
                  <a:close/>
                  <a:moveTo>
                    <a:pt x="685" y="625"/>
                  </a:moveTo>
                  <a:lnTo>
                    <a:pt x="685" y="623"/>
                  </a:lnTo>
                  <a:lnTo>
                    <a:pt x="685" y="625"/>
                  </a:lnTo>
                  <a:close/>
                  <a:moveTo>
                    <a:pt x="685" y="623"/>
                  </a:moveTo>
                  <a:lnTo>
                    <a:pt x="683" y="623"/>
                  </a:lnTo>
                  <a:lnTo>
                    <a:pt x="685" y="623"/>
                  </a:lnTo>
                  <a:close/>
                  <a:moveTo>
                    <a:pt x="394" y="288"/>
                  </a:moveTo>
                  <a:lnTo>
                    <a:pt x="396" y="290"/>
                  </a:lnTo>
                  <a:lnTo>
                    <a:pt x="394" y="290"/>
                  </a:lnTo>
                  <a:lnTo>
                    <a:pt x="394" y="288"/>
                  </a:lnTo>
                  <a:lnTo>
                    <a:pt x="394" y="290"/>
                  </a:lnTo>
                  <a:lnTo>
                    <a:pt x="394" y="288"/>
                  </a:lnTo>
                  <a:lnTo>
                    <a:pt x="391" y="288"/>
                  </a:lnTo>
                  <a:lnTo>
                    <a:pt x="394" y="288"/>
                  </a:lnTo>
                  <a:close/>
                  <a:moveTo>
                    <a:pt x="674" y="292"/>
                  </a:moveTo>
                  <a:lnTo>
                    <a:pt x="671" y="292"/>
                  </a:lnTo>
                  <a:lnTo>
                    <a:pt x="674" y="290"/>
                  </a:lnTo>
                  <a:lnTo>
                    <a:pt x="674" y="288"/>
                  </a:lnTo>
                  <a:lnTo>
                    <a:pt x="676" y="288"/>
                  </a:lnTo>
                  <a:lnTo>
                    <a:pt x="676" y="285"/>
                  </a:lnTo>
                  <a:lnTo>
                    <a:pt x="678" y="285"/>
                  </a:lnTo>
                  <a:lnTo>
                    <a:pt x="681" y="283"/>
                  </a:lnTo>
                  <a:lnTo>
                    <a:pt x="683" y="283"/>
                  </a:lnTo>
                  <a:lnTo>
                    <a:pt x="683" y="280"/>
                  </a:lnTo>
                  <a:lnTo>
                    <a:pt x="685" y="280"/>
                  </a:lnTo>
                  <a:lnTo>
                    <a:pt x="688" y="278"/>
                  </a:lnTo>
                  <a:lnTo>
                    <a:pt x="688" y="276"/>
                  </a:lnTo>
                  <a:lnTo>
                    <a:pt x="693" y="276"/>
                  </a:lnTo>
                  <a:lnTo>
                    <a:pt x="688" y="278"/>
                  </a:lnTo>
                  <a:lnTo>
                    <a:pt x="688" y="280"/>
                  </a:lnTo>
                  <a:lnTo>
                    <a:pt x="685" y="280"/>
                  </a:lnTo>
                  <a:lnTo>
                    <a:pt x="683" y="283"/>
                  </a:lnTo>
                  <a:lnTo>
                    <a:pt x="681" y="283"/>
                  </a:lnTo>
                  <a:lnTo>
                    <a:pt x="681" y="285"/>
                  </a:lnTo>
                  <a:lnTo>
                    <a:pt x="678" y="288"/>
                  </a:lnTo>
                  <a:lnTo>
                    <a:pt x="676" y="288"/>
                  </a:lnTo>
                  <a:lnTo>
                    <a:pt x="676" y="290"/>
                  </a:lnTo>
                  <a:lnTo>
                    <a:pt x="674" y="290"/>
                  </a:lnTo>
                  <a:lnTo>
                    <a:pt x="674" y="292"/>
                  </a:lnTo>
                  <a:close/>
                  <a:moveTo>
                    <a:pt x="408" y="266"/>
                  </a:moveTo>
                  <a:lnTo>
                    <a:pt x="408" y="269"/>
                  </a:lnTo>
                  <a:lnTo>
                    <a:pt x="408" y="266"/>
                  </a:lnTo>
                  <a:close/>
                  <a:moveTo>
                    <a:pt x="572" y="257"/>
                  </a:moveTo>
                  <a:lnTo>
                    <a:pt x="574" y="257"/>
                  </a:lnTo>
                  <a:lnTo>
                    <a:pt x="572" y="257"/>
                  </a:lnTo>
                  <a:close/>
                  <a:moveTo>
                    <a:pt x="569" y="257"/>
                  </a:moveTo>
                  <a:lnTo>
                    <a:pt x="572" y="257"/>
                  </a:lnTo>
                  <a:lnTo>
                    <a:pt x="569" y="257"/>
                  </a:lnTo>
                  <a:close/>
                  <a:moveTo>
                    <a:pt x="389" y="257"/>
                  </a:moveTo>
                  <a:lnTo>
                    <a:pt x="389" y="254"/>
                  </a:lnTo>
                  <a:lnTo>
                    <a:pt x="389" y="257"/>
                  </a:lnTo>
                  <a:close/>
                  <a:moveTo>
                    <a:pt x="389" y="254"/>
                  </a:moveTo>
                  <a:lnTo>
                    <a:pt x="386" y="254"/>
                  </a:lnTo>
                  <a:lnTo>
                    <a:pt x="389" y="254"/>
                  </a:lnTo>
                  <a:close/>
                  <a:moveTo>
                    <a:pt x="341" y="252"/>
                  </a:moveTo>
                  <a:lnTo>
                    <a:pt x="344" y="252"/>
                  </a:lnTo>
                  <a:lnTo>
                    <a:pt x="341" y="252"/>
                  </a:lnTo>
                  <a:close/>
                  <a:moveTo>
                    <a:pt x="344" y="252"/>
                  </a:moveTo>
                  <a:lnTo>
                    <a:pt x="341" y="252"/>
                  </a:lnTo>
                  <a:lnTo>
                    <a:pt x="344" y="252"/>
                  </a:lnTo>
                  <a:close/>
                  <a:moveTo>
                    <a:pt x="590" y="252"/>
                  </a:moveTo>
                  <a:lnTo>
                    <a:pt x="588" y="252"/>
                  </a:lnTo>
                  <a:lnTo>
                    <a:pt x="590" y="252"/>
                  </a:lnTo>
                  <a:close/>
                  <a:moveTo>
                    <a:pt x="600" y="247"/>
                  </a:moveTo>
                  <a:lnTo>
                    <a:pt x="598" y="247"/>
                  </a:lnTo>
                  <a:lnTo>
                    <a:pt x="598" y="245"/>
                  </a:lnTo>
                  <a:lnTo>
                    <a:pt x="600" y="247"/>
                  </a:lnTo>
                  <a:close/>
                  <a:moveTo>
                    <a:pt x="602" y="247"/>
                  </a:moveTo>
                  <a:lnTo>
                    <a:pt x="602" y="245"/>
                  </a:lnTo>
                  <a:lnTo>
                    <a:pt x="602" y="247"/>
                  </a:lnTo>
                  <a:close/>
                  <a:moveTo>
                    <a:pt x="602" y="247"/>
                  </a:moveTo>
                  <a:lnTo>
                    <a:pt x="600" y="247"/>
                  </a:lnTo>
                  <a:lnTo>
                    <a:pt x="602" y="247"/>
                  </a:lnTo>
                  <a:lnTo>
                    <a:pt x="602" y="245"/>
                  </a:lnTo>
                  <a:lnTo>
                    <a:pt x="602" y="247"/>
                  </a:lnTo>
                  <a:close/>
                  <a:moveTo>
                    <a:pt x="605" y="245"/>
                  </a:moveTo>
                  <a:lnTo>
                    <a:pt x="602" y="245"/>
                  </a:lnTo>
                  <a:lnTo>
                    <a:pt x="605" y="245"/>
                  </a:lnTo>
                  <a:lnTo>
                    <a:pt x="602" y="245"/>
                  </a:lnTo>
                  <a:lnTo>
                    <a:pt x="605" y="245"/>
                  </a:lnTo>
                  <a:close/>
                  <a:moveTo>
                    <a:pt x="576" y="242"/>
                  </a:moveTo>
                  <a:lnTo>
                    <a:pt x="574" y="242"/>
                  </a:lnTo>
                  <a:lnTo>
                    <a:pt x="576" y="242"/>
                  </a:lnTo>
                  <a:close/>
                  <a:moveTo>
                    <a:pt x="564" y="238"/>
                  </a:moveTo>
                  <a:lnTo>
                    <a:pt x="562" y="238"/>
                  </a:lnTo>
                  <a:lnTo>
                    <a:pt x="564" y="238"/>
                  </a:lnTo>
                  <a:close/>
                  <a:moveTo>
                    <a:pt x="555" y="238"/>
                  </a:moveTo>
                  <a:lnTo>
                    <a:pt x="553" y="238"/>
                  </a:lnTo>
                  <a:lnTo>
                    <a:pt x="555" y="238"/>
                  </a:lnTo>
                  <a:close/>
                  <a:moveTo>
                    <a:pt x="617" y="238"/>
                  </a:moveTo>
                  <a:lnTo>
                    <a:pt x="614" y="238"/>
                  </a:lnTo>
                  <a:lnTo>
                    <a:pt x="612" y="238"/>
                  </a:lnTo>
                  <a:lnTo>
                    <a:pt x="612" y="240"/>
                  </a:lnTo>
                  <a:lnTo>
                    <a:pt x="609" y="240"/>
                  </a:lnTo>
                  <a:lnTo>
                    <a:pt x="609" y="238"/>
                  </a:lnTo>
                  <a:lnTo>
                    <a:pt x="612" y="238"/>
                  </a:lnTo>
                  <a:lnTo>
                    <a:pt x="614" y="238"/>
                  </a:lnTo>
                  <a:lnTo>
                    <a:pt x="617" y="238"/>
                  </a:lnTo>
                  <a:close/>
                  <a:moveTo>
                    <a:pt x="590" y="231"/>
                  </a:moveTo>
                  <a:lnTo>
                    <a:pt x="593" y="231"/>
                  </a:lnTo>
                  <a:lnTo>
                    <a:pt x="590" y="233"/>
                  </a:lnTo>
                  <a:lnTo>
                    <a:pt x="590" y="231"/>
                  </a:lnTo>
                  <a:close/>
                  <a:moveTo>
                    <a:pt x="588" y="231"/>
                  </a:moveTo>
                  <a:lnTo>
                    <a:pt x="586" y="231"/>
                  </a:lnTo>
                  <a:lnTo>
                    <a:pt x="588" y="231"/>
                  </a:lnTo>
                  <a:lnTo>
                    <a:pt x="590" y="231"/>
                  </a:lnTo>
                  <a:lnTo>
                    <a:pt x="588" y="231"/>
                  </a:lnTo>
                  <a:close/>
                  <a:moveTo>
                    <a:pt x="536" y="219"/>
                  </a:moveTo>
                  <a:lnTo>
                    <a:pt x="538" y="219"/>
                  </a:lnTo>
                  <a:lnTo>
                    <a:pt x="536" y="219"/>
                  </a:lnTo>
                  <a:close/>
                  <a:moveTo>
                    <a:pt x="341" y="219"/>
                  </a:moveTo>
                  <a:lnTo>
                    <a:pt x="341" y="216"/>
                  </a:lnTo>
                  <a:lnTo>
                    <a:pt x="341" y="219"/>
                  </a:lnTo>
                  <a:close/>
                  <a:moveTo>
                    <a:pt x="595" y="219"/>
                  </a:moveTo>
                  <a:lnTo>
                    <a:pt x="593" y="216"/>
                  </a:lnTo>
                  <a:lnTo>
                    <a:pt x="595" y="216"/>
                  </a:lnTo>
                  <a:lnTo>
                    <a:pt x="595" y="219"/>
                  </a:lnTo>
                  <a:close/>
                  <a:moveTo>
                    <a:pt x="595" y="216"/>
                  </a:moveTo>
                  <a:lnTo>
                    <a:pt x="593" y="216"/>
                  </a:lnTo>
                  <a:lnTo>
                    <a:pt x="595" y="216"/>
                  </a:lnTo>
                  <a:close/>
                  <a:moveTo>
                    <a:pt x="595" y="216"/>
                  </a:moveTo>
                  <a:lnTo>
                    <a:pt x="593" y="216"/>
                  </a:lnTo>
                  <a:lnTo>
                    <a:pt x="595" y="216"/>
                  </a:lnTo>
                  <a:close/>
                  <a:moveTo>
                    <a:pt x="337" y="209"/>
                  </a:moveTo>
                  <a:lnTo>
                    <a:pt x="337" y="212"/>
                  </a:lnTo>
                  <a:lnTo>
                    <a:pt x="337" y="209"/>
                  </a:lnTo>
                  <a:lnTo>
                    <a:pt x="334" y="209"/>
                  </a:lnTo>
                  <a:lnTo>
                    <a:pt x="334" y="212"/>
                  </a:lnTo>
                  <a:lnTo>
                    <a:pt x="337" y="212"/>
                  </a:lnTo>
                  <a:lnTo>
                    <a:pt x="334" y="212"/>
                  </a:lnTo>
                  <a:lnTo>
                    <a:pt x="334" y="209"/>
                  </a:lnTo>
                  <a:lnTo>
                    <a:pt x="332" y="209"/>
                  </a:lnTo>
                  <a:lnTo>
                    <a:pt x="329" y="207"/>
                  </a:lnTo>
                  <a:lnTo>
                    <a:pt x="332" y="209"/>
                  </a:lnTo>
                  <a:lnTo>
                    <a:pt x="334" y="209"/>
                  </a:lnTo>
                  <a:lnTo>
                    <a:pt x="337" y="209"/>
                  </a:lnTo>
                  <a:close/>
                  <a:moveTo>
                    <a:pt x="678" y="204"/>
                  </a:moveTo>
                  <a:lnTo>
                    <a:pt x="676" y="204"/>
                  </a:lnTo>
                  <a:lnTo>
                    <a:pt x="678" y="204"/>
                  </a:lnTo>
                  <a:close/>
                  <a:moveTo>
                    <a:pt x="676" y="204"/>
                  </a:moveTo>
                  <a:lnTo>
                    <a:pt x="676" y="202"/>
                  </a:lnTo>
                  <a:lnTo>
                    <a:pt x="676" y="204"/>
                  </a:lnTo>
                  <a:close/>
                  <a:moveTo>
                    <a:pt x="678" y="202"/>
                  </a:moveTo>
                  <a:lnTo>
                    <a:pt x="676" y="202"/>
                  </a:lnTo>
                  <a:lnTo>
                    <a:pt x="678" y="202"/>
                  </a:lnTo>
                  <a:close/>
                  <a:moveTo>
                    <a:pt x="534" y="181"/>
                  </a:moveTo>
                  <a:lnTo>
                    <a:pt x="536" y="181"/>
                  </a:lnTo>
                  <a:lnTo>
                    <a:pt x="534" y="181"/>
                  </a:lnTo>
                  <a:close/>
                  <a:moveTo>
                    <a:pt x="524" y="178"/>
                  </a:moveTo>
                  <a:lnTo>
                    <a:pt x="522" y="178"/>
                  </a:lnTo>
                  <a:lnTo>
                    <a:pt x="524" y="178"/>
                  </a:lnTo>
                  <a:lnTo>
                    <a:pt x="522" y="178"/>
                  </a:lnTo>
                  <a:lnTo>
                    <a:pt x="524" y="178"/>
                  </a:lnTo>
                  <a:close/>
                  <a:moveTo>
                    <a:pt x="524" y="176"/>
                  </a:moveTo>
                  <a:lnTo>
                    <a:pt x="524" y="178"/>
                  </a:lnTo>
                  <a:lnTo>
                    <a:pt x="522" y="178"/>
                  </a:lnTo>
                  <a:lnTo>
                    <a:pt x="524" y="176"/>
                  </a:lnTo>
                  <a:lnTo>
                    <a:pt x="524" y="178"/>
                  </a:lnTo>
                  <a:lnTo>
                    <a:pt x="524" y="176"/>
                  </a:lnTo>
                  <a:close/>
                  <a:moveTo>
                    <a:pt x="534" y="178"/>
                  </a:moveTo>
                  <a:lnTo>
                    <a:pt x="531" y="178"/>
                  </a:lnTo>
                  <a:lnTo>
                    <a:pt x="529" y="178"/>
                  </a:lnTo>
                  <a:lnTo>
                    <a:pt x="529" y="176"/>
                  </a:lnTo>
                  <a:lnTo>
                    <a:pt x="531" y="178"/>
                  </a:lnTo>
                  <a:lnTo>
                    <a:pt x="531" y="176"/>
                  </a:lnTo>
                  <a:lnTo>
                    <a:pt x="534" y="176"/>
                  </a:lnTo>
                  <a:lnTo>
                    <a:pt x="534" y="178"/>
                  </a:lnTo>
                  <a:close/>
                  <a:moveTo>
                    <a:pt x="367" y="176"/>
                  </a:moveTo>
                  <a:lnTo>
                    <a:pt x="370" y="176"/>
                  </a:lnTo>
                  <a:lnTo>
                    <a:pt x="367" y="176"/>
                  </a:lnTo>
                  <a:close/>
                  <a:moveTo>
                    <a:pt x="230" y="169"/>
                  </a:moveTo>
                  <a:lnTo>
                    <a:pt x="232" y="169"/>
                  </a:lnTo>
                  <a:lnTo>
                    <a:pt x="230" y="169"/>
                  </a:lnTo>
                  <a:close/>
                  <a:moveTo>
                    <a:pt x="275" y="166"/>
                  </a:moveTo>
                  <a:lnTo>
                    <a:pt x="273" y="166"/>
                  </a:lnTo>
                  <a:lnTo>
                    <a:pt x="275" y="166"/>
                  </a:lnTo>
                  <a:close/>
                  <a:moveTo>
                    <a:pt x="273" y="166"/>
                  </a:moveTo>
                  <a:lnTo>
                    <a:pt x="273" y="164"/>
                  </a:lnTo>
                  <a:lnTo>
                    <a:pt x="273" y="166"/>
                  </a:lnTo>
                  <a:close/>
                  <a:moveTo>
                    <a:pt x="318" y="164"/>
                  </a:moveTo>
                  <a:lnTo>
                    <a:pt x="315" y="164"/>
                  </a:lnTo>
                  <a:lnTo>
                    <a:pt x="318" y="164"/>
                  </a:lnTo>
                  <a:close/>
                  <a:moveTo>
                    <a:pt x="384" y="162"/>
                  </a:moveTo>
                  <a:lnTo>
                    <a:pt x="384" y="159"/>
                  </a:lnTo>
                  <a:lnTo>
                    <a:pt x="384" y="162"/>
                  </a:lnTo>
                  <a:close/>
                  <a:moveTo>
                    <a:pt x="496" y="157"/>
                  </a:moveTo>
                  <a:lnTo>
                    <a:pt x="498" y="157"/>
                  </a:lnTo>
                  <a:lnTo>
                    <a:pt x="496" y="157"/>
                  </a:lnTo>
                  <a:close/>
                  <a:moveTo>
                    <a:pt x="251" y="155"/>
                  </a:moveTo>
                  <a:lnTo>
                    <a:pt x="254" y="155"/>
                  </a:lnTo>
                  <a:lnTo>
                    <a:pt x="251" y="155"/>
                  </a:lnTo>
                  <a:close/>
                  <a:moveTo>
                    <a:pt x="536" y="152"/>
                  </a:moveTo>
                  <a:lnTo>
                    <a:pt x="536" y="155"/>
                  </a:lnTo>
                  <a:lnTo>
                    <a:pt x="536" y="152"/>
                  </a:lnTo>
                  <a:close/>
                  <a:moveTo>
                    <a:pt x="351" y="152"/>
                  </a:moveTo>
                  <a:lnTo>
                    <a:pt x="348" y="152"/>
                  </a:lnTo>
                  <a:lnTo>
                    <a:pt x="348" y="150"/>
                  </a:lnTo>
                  <a:lnTo>
                    <a:pt x="348" y="152"/>
                  </a:lnTo>
                  <a:lnTo>
                    <a:pt x="351" y="152"/>
                  </a:lnTo>
                  <a:close/>
                  <a:moveTo>
                    <a:pt x="515" y="150"/>
                  </a:moveTo>
                  <a:lnTo>
                    <a:pt x="512" y="150"/>
                  </a:lnTo>
                  <a:lnTo>
                    <a:pt x="515" y="150"/>
                  </a:lnTo>
                  <a:close/>
                  <a:moveTo>
                    <a:pt x="553" y="150"/>
                  </a:moveTo>
                  <a:lnTo>
                    <a:pt x="550" y="150"/>
                  </a:lnTo>
                  <a:lnTo>
                    <a:pt x="550" y="147"/>
                  </a:lnTo>
                  <a:lnTo>
                    <a:pt x="553" y="150"/>
                  </a:lnTo>
                  <a:close/>
                  <a:moveTo>
                    <a:pt x="329" y="147"/>
                  </a:moveTo>
                  <a:lnTo>
                    <a:pt x="332" y="147"/>
                  </a:lnTo>
                  <a:lnTo>
                    <a:pt x="329" y="147"/>
                  </a:lnTo>
                  <a:close/>
                  <a:moveTo>
                    <a:pt x="550" y="147"/>
                  </a:moveTo>
                  <a:lnTo>
                    <a:pt x="548" y="147"/>
                  </a:lnTo>
                  <a:lnTo>
                    <a:pt x="550" y="147"/>
                  </a:lnTo>
                  <a:close/>
                  <a:moveTo>
                    <a:pt x="337" y="145"/>
                  </a:moveTo>
                  <a:lnTo>
                    <a:pt x="334" y="145"/>
                  </a:lnTo>
                  <a:lnTo>
                    <a:pt x="334" y="147"/>
                  </a:lnTo>
                  <a:lnTo>
                    <a:pt x="334" y="145"/>
                  </a:lnTo>
                  <a:lnTo>
                    <a:pt x="337" y="145"/>
                  </a:lnTo>
                  <a:close/>
                  <a:moveTo>
                    <a:pt x="227" y="143"/>
                  </a:moveTo>
                  <a:lnTo>
                    <a:pt x="230" y="143"/>
                  </a:lnTo>
                  <a:lnTo>
                    <a:pt x="232" y="140"/>
                  </a:lnTo>
                  <a:lnTo>
                    <a:pt x="230" y="143"/>
                  </a:lnTo>
                  <a:lnTo>
                    <a:pt x="227" y="143"/>
                  </a:lnTo>
                  <a:close/>
                  <a:moveTo>
                    <a:pt x="797" y="140"/>
                  </a:moveTo>
                  <a:lnTo>
                    <a:pt x="795" y="140"/>
                  </a:lnTo>
                  <a:lnTo>
                    <a:pt x="792" y="140"/>
                  </a:lnTo>
                  <a:lnTo>
                    <a:pt x="795" y="140"/>
                  </a:lnTo>
                  <a:lnTo>
                    <a:pt x="797" y="140"/>
                  </a:lnTo>
                  <a:close/>
                  <a:moveTo>
                    <a:pt x="795" y="138"/>
                  </a:moveTo>
                  <a:lnTo>
                    <a:pt x="792" y="138"/>
                  </a:lnTo>
                  <a:lnTo>
                    <a:pt x="795" y="138"/>
                  </a:lnTo>
                  <a:close/>
                  <a:moveTo>
                    <a:pt x="799" y="133"/>
                  </a:moveTo>
                  <a:lnTo>
                    <a:pt x="797" y="133"/>
                  </a:lnTo>
                  <a:lnTo>
                    <a:pt x="799" y="133"/>
                  </a:lnTo>
                  <a:close/>
                  <a:moveTo>
                    <a:pt x="256" y="128"/>
                  </a:moveTo>
                  <a:lnTo>
                    <a:pt x="254" y="128"/>
                  </a:lnTo>
                  <a:lnTo>
                    <a:pt x="256" y="128"/>
                  </a:lnTo>
                  <a:close/>
                  <a:moveTo>
                    <a:pt x="254" y="128"/>
                  </a:moveTo>
                  <a:lnTo>
                    <a:pt x="251" y="128"/>
                  </a:lnTo>
                  <a:lnTo>
                    <a:pt x="254" y="128"/>
                  </a:lnTo>
                  <a:close/>
                  <a:moveTo>
                    <a:pt x="567" y="128"/>
                  </a:moveTo>
                  <a:lnTo>
                    <a:pt x="564" y="128"/>
                  </a:lnTo>
                  <a:lnTo>
                    <a:pt x="567" y="128"/>
                  </a:lnTo>
                  <a:close/>
                  <a:moveTo>
                    <a:pt x="847" y="126"/>
                  </a:moveTo>
                  <a:lnTo>
                    <a:pt x="844" y="126"/>
                  </a:lnTo>
                  <a:lnTo>
                    <a:pt x="847" y="126"/>
                  </a:lnTo>
                  <a:close/>
                  <a:moveTo>
                    <a:pt x="564" y="126"/>
                  </a:moveTo>
                  <a:lnTo>
                    <a:pt x="567" y="126"/>
                  </a:lnTo>
                  <a:lnTo>
                    <a:pt x="569" y="126"/>
                  </a:lnTo>
                  <a:lnTo>
                    <a:pt x="567" y="126"/>
                  </a:lnTo>
                  <a:lnTo>
                    <a:pt x="564" y="126"/>
                  </a:lnTo>
                  <a:lnTo>
                    <a:pt x="562" y="126"/>
                  </a:lnTo>
                  <a:lnTo>
                    <a:pt x="564" y="126"/>
                  </a:lnTo>
                  <a:lnTo>
                    <a:pt x="562" y="126"/>
                  </a:lnTo>
                  <a:lnTo>
                    <a:pt x="564" y="126"/>
                  </a:lnTo>
                  <a:close/>
                  <a:moveTo>
                    <a:pt x="254" y="126"/>
                  </a:moveTo>
                  <a:lnTo>
                    <a:pt x="254" y="124"/>
                  </a:lnTo>
                  <a:lnTo>
                    <a:pt x="254" y="126"/>
                  </a:lnTo>
                  <a:close/>
                  <a:moveTo>
                    <a:pt x="557" y="126"/>
                  </a:moveTo>
                  <a:lnTo>
                    <a:pt x="555" y="126"/>
                  </a:lnTo>
                  <a:lnTo>
                    <a:pt x="555" y="124"/>
                  </a:lnTo>
                  <a:lnTo>
                    <a:pt x="557" y="124"/>
                  </a:lnTo>
                  <a:lnTo>
                    <a:pt x="557" y="126"/>
                  </a:lnTo>
                  <a:close/>
                  <a:moveTo>
                    <a:pt x="251" y="124"/>
                  </a:moveTo>
                  <a:lnTo>
                    <a:pt x="254" y="126"/>
                  </a:lnTo>
                  <a:lnTo>
                    <a:pt x="251" y="126"/>
                  </a:lnTo>
                  <a:lnTo>
                    <a:pt x="249" y="126"/>
                  </a:lnTo>
                  <a:lnTo>
                    <a:pt x="246" y="126"/>
                  </a:lnTo>
                  <a:lnTo>
                    <a:pt x="244" y="126"/>
                  </a:lnTo>
                  <a:lnTo>
                    <a:pt x="244" y="124"/>
                  </a:lnTo>
                  <a:lnTo>
                    <a:pt x="246" y="124"/>
                  </a:lnTo>
                  <a:lnTo>
                    <a:pt x="249" y="124"/>
                  </a:lnTo>
                  <a:lnTo>
                    <a:pt x="251" y="124"/>
                  </a:lnTo>
                  <a:close/>
                  <a:moveTo>
                    <a:pt x="386" y="124"/>
                  </a:moveTo>
                  <a:lnTo>
                    <a:pt x="384" y="124"/>
                  </a:lnTo>
                  <a:lnTo>
                    <a:pt x="386" y="124"/>
                  </a:lnTo>
                  <a:close/>
                  <a:moveTo>
                    <a:pt x="538" y="124"/>
                  </a:moveTo>
                  <a:lnTo>
                    <a:pt x="541" y="124"/>
                  </a:lnTo>
                  <a:lnTo>
                    <a:pt x="538" y="124"/>
                  </a:lnTo>
                  <a:close/>
                  <a:moveTo>
                    <a:pt x="851" y="124"/>
                  </a:moveTo>
                  <a:lnTo>
                    <a:pt x="849" y="124"/>
                  </a:lnTo>
                  <a:lnTo>
                    <a:pt x="851" y="124"/>
                  </a:lnTo>
                  <a:lnTo>
                    <a:pt x="849" y="124"/>
                  </a:lnTo>
                  <a:lnTo>
                    <a:pt x="847" y="124"/>
                  </a:lnTo>
                  <a:lnTo>
                    <a:pt x="844" y="124"/>
                  </a:lnTo>
                  <a:lnTo>
                    <a:pt x="844" y="126"/>
                  </a:lnTo>
                  <a:lnTo>
                    <a:pt x="847" y="126"/>
                  </a:lnTo>
                  <a:lnTo>
                    <a:pt x="844" y="126"/>
                  </a:lnTo>
                  <a:lnTo>
                    <a:pt x="847" y="126"/>
                  </a:lnTo>
                  <a:lnTo>
                    <a:pt x="844" y="126"/>
                  </a:lnTo>
                  <a:lnTo>
                    <a:pt x="842" y="126"/>
                  </a:lnTo>
                  <a:lnTo>
                    <a:pt x="842" y="124"/>
                  </a:lnTo>
                  <a:lnTo>
                    <a:pt x="840" y="124"/>
                  </a:lnTo>
                  <a:lnTo>
                    <a:pt x="842" y="124"/>
                  </a:lnTo>
                  <a:lnTo>
                    <a:pt x="844" y="124"/>
                  </a:lnTo>
                  <a:lnTo>
                    <a:pt x="849" y="124"/>
                  </a:lnTo>
                  <a:lnTo>
                    <a:pt x="851" y="124"/>
                  </a:lnTo>
                  <a:close/>
                  <a:moveTo>
                    <a:pt x="541" y="121"/>
                  </a:moveTo>
                  <a:lnTo>
                    <a:pt x="543" y="121"/>
                  </a:lnTo>
                  <a:lnTo>
                    <a:pt x="541" y="121"/>
                  </a:lnTo>
                  <a:lnTo>
                    <a:pt x="541" y="124"/>
                  </a:lnTo>
                  <a:lnTo>
                    <a:pt x="538" y="124"/>
                  </a:lnTo>
                  <a:lnTo>
                    <a:pt x="541" y="124"/>
                  </a:lnTo>
                  <a:lnTo>
                    <a:pt x="541" y="121"/>
                  </a:lnTo>
                  <a:lnTo>
                    <a:pt x="538" y="121"/>
                  </a:lnTo>
                  <a:lnTo>
                    <a:pt x="541" y="121"/>
                  </a:lnTo>
                  <a:close/>
                  <a:moveTo>
                    <a:pt x="548" y="121"/>
                  </a:moveTo>
                  <a:lnTo>
                    <a:pt x="545" y="121"/>
                  </a:lnTo>
                  <a:lnTo>
                    <a:pt x="545" y="124"/>
                  </a:lnTo>
                  <a:lnTo>
                    <a:pt x="545" y="121"/>
                  </a:lnTo>
                  <a:lnTo>
                    <a:pt x="545" y="124"/>
                  </a:lnTo>
                  <a:lnTo>
                    <a:pt x="545" y="121"/>
                  </a:lnTo>
                  <a:lnTo>
                    <a:pt x="545" y="124"/>
                  </a:lnTo>
                  <a:lnTo>
                    <a:pt x="543" y="121"/>
                  </a:lnTo>
                  <a:lnTo>
                    <a:pt x="543" y="124"/>
                  </a:lnTo>
                  <a:lnTo>
                    <a:pt x="543" y="121"/>
                  </a:lnTo>
                  <a:lnTo>
                    <a:pt x="545" y="121"/>
                  </a:lnTo>
                  <a:lnTo>
                    <a:pt x="548" y="121"/>
                  </a:lnTo>
                  <a:close/>
                  <a:moveTo>
                    <a:pt x="505" y="119"/>
                  </a:moveTo>
                  <a:lnTo>
                    <a:pt x="503" y="119"/>
                  </a:lnTo>
                  <a:lnTo>
                    <a:pt x="505" y="119"/>
                  </a:lnTo>
                  <a:close/>
                  <a:moveTo>
                    <a:pt x="498" y="109"/>
                  </a:moveTo>
                  <a:lnTo>
                    <a:pt x="500" y="109"/>
                  </a:lnTo>
                  <a:lnTo>
                    <a:pt x="498" y="109"/>
                  </a:lnTo>
                  <a:close/>
                  <a:moveTo>
                    <a:pt x="493" y="109"/>
                  </a:moveTo>
                  <a:lnTo>
                    <a:pt x="491" y="109"/>
                  </a:lnTo>
                  <a:lnTo>
                    <a:pt x="488" y="109"/>
                  </a:lnTo>
                  <a:lnTo>
                    <a:pt x="486" y="109"/>
                  </a:lnTo>
                  <a:lnTo>
                    <a:pt x="488" y="109"/>
                  </a:lnTo>
                  <a:lnTo>
                    <a:pt x="491" y="109"/>
                  </a:lnTo>
                  <a:lnTo>
                    <a:pt x="493" y="109"/>
                  </a:lnTo>
                  <a:close/>
                  <a:moveTo>
                    <a:pt x="515" y="107"/>
                  </a:moveTo>
                  <a:lnTo>
                    <a:pt x="517" y="107"/>
                  </a:lnTo>
                  <a:lnTo>
                    <a:pt x="515" y="107"/>
                  </a:lnTo>
                  <a:lnTo>
                    <a:pt x="512" y="107"/>
                  </a:lnTo>
                  <a:lnTo>
                    <a:pt x="515" y="107"/>
                  </a:lnTo>
                  <a:close/>
                  <a:moveTo>
                    <a:pt x="510" y="105"/>
                  </a:moveTo>
                  <a:lnTo>
                    <a:pt x="512" y="105"/>
                  </a:lnTo>
                  <a:lnTo>
                    <a:pt x="512" y="107"/>
                  </a:lnTo>
                  <a:lnTo>
                    <a:pt x="510" y="107"/>
                  </a:lnTo>
                  <a:lnTo>
                    <a:pt x="512" y="107"/>
                  </a:lnTo>
                  <a:lnTo>
                    <a:pt x="510" y="107"/>
                  </a:lnTo>
                  <a:lnTo>
                    <a:pt x="510" y="109"/>
                  </a:lnTo>
                  <a:lnTo>
                    <a:pt x="512" y="109"/>
                  </a:lnTo>
                  <a:lnTo>
                    <a:pt x="510" y="109"/>
                  </a:lnTo>
                  <a:lnTo>
                    <a:pt x="507" y="107"/>
                  </a:lnTo>
                  <a:lnTo>
                    <a:pt x="507" y="109"/>
                  </a:lnTo>
                  <a:lnTo>
                    <a:pt x="505" y="109"/>
                  </a:lnTo>
                  <a:lnTo>
                    <a:pt x="505" y="107"/>
                  </a:lnTo>
                  <a:lnTo>
                    <a:pt x="507" y="107"/>
                  </a:lnTo>
                  <a:lnTo>
                    <a:pt x="505" y="107"/>
                  </a:lnTo>
                  <a:lnTo>
                    <a:pt x="507" y="107"/>
                  </a:lnTo>
                  <a:lnTo>
                    <a:pt x="510" y="107"/>
                  </a:lnTo>
                  <a:lnTo>
                    <a:pt x="510" y="105"/>
                  </a:lnTo>
                  <a:lnTo>
                    <a:pt x="507" y="105"/>
                  </a:lnTo>
                  <a:lnTo>
                    <a:pt x="507" y="107"/>
                  </a:lnTo>
                  <a:lnTo>
                    <a:pt x="507" y="105"/>
                  </a:lnTo>
                  <a:lnTo>
                    <a:pt x="507" y="107"/>
                  </a:lnTo>
                  <a:lnTo>
                    <a:pt x="505" y="107"/>
                  </a:lnTo>
                  <a:lnTo>
                    <a:pt x="505" y="105"/>
                  </a:lnTo>
                  <a:lnTo>
                    <a:pt x="507" y="105"/>
                  </a:lnTo>
                  <a:lnTo>
                    <a:pt x="510" y="105"/>
                  </a:lnTo>
                  <a:lnTo>
                    <a:pt x="507" y="105"/>
                  </a:lnTo>
                  <a:lnTo>
                    <a:pt x="510" y="105"/>
                  </a:lnTo>
                  <a:close/>
                  <a:moveTo>
                    <a:pt x="498" y="105"/>
                  </a:moveTo>
                  <a:lnTo>
                    <a:pt x="500" y="105"/>
                  </a:lnTo>
                  <a:lnTo>
                    <a:pt x="498" y="105"/>
                  </a:lnTo>
                  <a:close/>
                  <a:moveTo>
                    <a:pt x="543" y="105"/>
                  </a:moveTo>
                  <a:lnTo>
                    <a:pt x="545" y="105"/>
                  </a:lnTo>
                  <a:lnTo>
                    <a:pt x="548" y="105"/>
                  </a:lnTo>
                  <a:lnTo>
                    <a:pt x="545" y="105"/>
                  </a:lnTo>
                  <a:lnTo>
                    <a:pt x="543" y="105"/>
                  </a:lnTo>
                  <a:close/>
                  <a:moveTo>
                    <a:pt x="496" y="105"/>
                  </a:moveTo>
                  <a:lnTo>
                    <a:pt x="493" y="105"/>
                  </a:lnTo>
                  <a:lnTo>
                    <a:pt x="496" y="105"/>
                  </a:lnTo>
                  <a:close/>
                  <a:moveTo>
                    <a:pt x="545" y="105"/>
                  </a:moveTo>
                  <a:lnTo>
                    <a:pt x="545" y="102"/>
                  </a:lnTo>
                  <a:lnTo>
                    <a:pt x="545" y="105"/>
                  </a:lnTo>
                  <a:close/>
                  <a:moveTo>
                    <a:pt x="481" y="102"/>
                  </a:moveTo>
                  <a:lnTo>
                    <a:pt x="479" y="102"/>
                  </a:lnTo>
                  <a:lnTo>
                    <a:pt x="481" y="102"/>
                  </a:lnTo>
                  <a:close/>
                  <a:moveTo>
                    <a:pt x="493" y="102"/>
                  </a:moveTo>
                  <a:lnTo>
                    <a:pt x="496" y="102"/>
                  </a:lnTo>
                  <a:lnTo>
                    <a:pt x="493" y="102"/>
                  </a:lnTo>
                  <a:close/>
                  <a:moveTo>
                    <a:pt x="529" y="102"/>
                  </a:moveTo>
                  <a:lnTo>
                    <a:pt x="531" y="102"/>
                  </a:lnTo>
                  <a:lnTo>
                    <a:pt x="529" y="102"/>
                  </a:lnTo>
                  <a:lnTo>
                    <a:pt x="526" y="100"/>
                  </a:lnTo>
                  <a:lnTo>
                    <a:pt x="529" y="100"/>
                  </a:lnTo>
                  <a:lnTo>
                    <a:pt x="529" y="102"/>
                  </a:lnTo>
                  <a:close/>
                  <a:moveTo>
                    <a:pt x="486" y="100"/>
                  </a:moveTo>
                  <a:lnTo>
                    <a:pt x="484" y="100"/>
                  </a:lnTo>
                  <a:lnTo>
                    <a:pt x="486" y="100"/>
                  </a:lnTo>
                  <a:close/>
                  <a:moveTo>
                    <a:pt x="500" y="98"/>
                  </a:moveTo>
                  <a:lnTo>
                    <a:pt x="503" y="98"/>
                  </a:lnTo>
                  <a:lnTo>
                    <a:pt x="505" y="98"/>
                  </a:lnTo>
                  <a:lnTo>
                    <a:pt x="507" y="100"/>
                  </a:lnTo>
                  <a:lnTo>
                    <a:pt x="510" y="100"/>
                  </a:lnTo>
                  <a:lnTo>
                    <a:pt x="512" y="100"/>
                  </a:lnTo>
                  <a:lnTo>
                    <a:pt x="512" y="102"/>
                  </a:lnTo>
                  <a:lnTo>
                    <a:pt x="512" y="100"/>
                  </a:lnTo>
                  <a:lnTo>
                    <a:pt x="512" y="102"/>
                  </a:lnTo>
                  <a:lnTo>
                    <a:pt x="515" y="102"/>
                  </a:lnTo>
                  <a:lnTo>
                    <a:pt x="512" y="102"/>
                  </a:lnTo>
                  <a:lnTo>
                    <a:pt x="510" y="102"/>
                  </a:lnTo>
                  <a:lnTo>
                    <a:pt x="507" y="102"/>
                  </a:lnTo>
                  <a:lnTo>
                    <a:pt x="507" y="100"/>
                  </a:lnTo>
                  <a:lnTo>
                    <a:pt x="505" y="102"/>
                  </a:lnTo>
                  <a:lnTo>
                    <a:pt x="500" y="102"/>
                  </a:lnTo>
                  <a:lnTo>
                    <a:pt x="498" y="102"/>
                  </a:lnTo>
                  <a:lnTo>
                    <a:pt x="496" y="102"/>
                  </a:lnTo>
                  <a:lnTo>
                    <a:pt x="496" y="100"/>
                  </a:lnTo>
                  <a:lnTo>
                    <a:pt x="498" y="100"/>
                  </a:lnTo>
                  <a:lnTo>
                    <a:pt x="498" y="98"/>
                  </a:lnTo>
                  <a:lnTo>
                    <a:pt x="496" y="98"/>
                  </a:lnTo>
                  <a:lnTo>
                    <a:pt x="498" y="98"/>
                  </a:lnTo>
                  <a:lnTo>
                    <a:pt x="500" y="98"/>
                  </a:lnTo>
                  <a:close/>
                  <a:moveTo>
                    <a:pt x="493" y="98"/>
                  </a:moveTo>
                  <a:lnTo>
                    <a:pt x="491" y="98"/>
                  </a:lnTo>
                  <a:lnTo>
                    <a:pt x="493" y="98"/>
                  </a:lnTo>
                  <a:close/>
                  <a:moveTo>
                    <a:pt x="493" y="95"/>
                  </a:moveTo>
                  <a:lnTo>
                    <a:pt x="496" y="95"/>
                  </a:lnTo>
                  <a:lnTo>
                    <a:pt x="498" y="95"/>
                  </a:lnTo>
                  <a:lnTo>
                    <a:pt x="496" y="95"/>
                  </a:lnTo>
                  <a:lnTo>
                    <a:pt x="493" y="95"/>
                  </a:lnTo>
                  <a:close/>
                  <a:moveTo>
                    <a:pt x="441" y="88"/>
                  </a:moveTo>
                  <a:lnTo>
                    <a:pt x="439" y="88"/>
                  </a:lnTo>
                  <a:lnTo>
                    <a:pt x="441" y="88"/>
                  </a:lnTo>
                  <a:close/>
                  <a:moveTo>
                    <a:pt x="474" y="88"/>
                  </a:moveTo>
                  <a:lnTo>
                    <a:pt x="472" y="88"/>
                  </a:lnTo>
                  <a:lnTo>
                    <a:pt x="474" y="88"/>
                  </a:lnTo>
                  <a:close/>
                  <a:moveTo>
                    <a:pt x="268" y="86"/>
                  </a:moveTo>
                  <a:lnTo>
                    <a:pt x="265" y="86"/>
                  </a:lnTo>
                  <a:lnTo>
                    <a:pt x="268" y="86"/>
                  </a:lnTo>
                  <a:close/>
                  <a:moveTo>
                    <a:pt x="273" y="86"/>
                  </a:moveTo>
                  <a:lnTo>
                    <a:pt x="270" y="86"/>
                  </a:lnTo>
                  <a:lnTo>
                    <a:pt x="273" y="86"/>
                  </a:lnTo>
                  <a:close/>
                  <a:moveTo>
                    <a:pt x="270" y="86"/>
                  </a:moveTo>
                  <a:lnTo>
                    <a:pt x="268" y="86"/>
                  </a:lnTo>
                  <a:lnTo>
                    <a:pt x="270" y="86"/>
                  </a:lnTo>
                  <a:close/>
                  <a:moveTo>
                    <a:pt x="486" y="86"/>
                  </a:moveTo>
                  <a:lnTo>
                    <a:pt x="484" y="86"/>
                  </a:lnTo>
                  <a:lnTo>
                    <a:pt x="486" y="86"/>
                  </a:lnTo>
                  <a:close/>
                  <a:moveTo>
                    <a:pt x="481" y="86"/>
                  </a:moveTo>
                  <a:lnTo>
                    <a:pt x="484" y="86"/>
                  </a:lnTo>
                  <a:lnTo>
                    <a:pt x="481" y="86"/>
                  </a:lnTo>
                  <a:close/>
                  <a:moveTo>
                    <a:pt x="268" y="86"/>
                  </a:moveTo>
                  <a:lnTo>
                    <a:pt x="270" y="86"/>
                  </a:lnTo>
                  <a:lnTo>
                    <a:pt x="268" y="86"/>
                  </a:lnTo>
                  <a:close/>
                  <a:moveTo>
                    <a:pt x="294" y="83"/>
                  </a:moveTo>
                  <a:lnTo>
                    <a:pt x="292" y="83"/>
                  </a:lnTo>
                  <a:lnTo>
                    <a:pt x="294" y="83"/>
                  </a:lnTo>
                  <a:close/>
                  <a:moveTo>
                    <a:pt x="498" y="79"/>
                  </a:moveTo>
                  <a:lnTo>
                    <a:pt x="500" y="79"/>
                  </a:lnTo>
                  <a:lnTo>
                    <a:pt x="498" y="79"/>
                  </a:lnTo>
                  <a:close/>
                  <a:moveTo>
                    <a:pt x="287" y="79"/>
                  </a:moveTo>
                  <a:lnTo>
                    <a:pt x="284" y="79"/>
                  </a:lnTo>
                  <a:lnTo>
                    <a:pt x="287" y="79"/>
                  </a:lnTo>
                  <a:close/>
                  <a:moveTo>
                    <a:pt x="289" y="79"/>
                  </a:moveTo>
                  <a:lnTo>
                    <a:pt x="292" y="79"/>
                  </a:lnTo>
                  <a:lnTo>
                    <a:pt x="289" y="79"/>
                  </a:lnTo>
                  <a:lnTo>
                    <a:pt x="292" y="79"/>
                  </a:lnTo>
                  <a:lnTo>
                    <a:pt x="289" y="79"/>
                  </a:lnTo>
                  <a:close/>
                  <a:moveTo>
                    <a:pt x="500" y="79"/>
                  </a:moveTo>
                  <a:lnTo>
                    <a:pt x="503" y="79"/>
                  </a:lnTo>
                  <a:lnTo>
                    <a:pt x="500" y="79"/>
                  </a:lnTo>
                  <a:lnTo>
                    <a:pt x="498" y="79"/>
                  </a:lnTo>
                  <a:lnTo>
                    <a:pt x="500" y="79"/>
                  </a:lnTo>
                  <a:close/>
                  <a:moveTo>
                    <a:pt x="208" y="76"/>
                  </a:moveTo>
                  <a:lnTo>
                    <a:pt x="211" y="76"/>
                  </a:lnTo>
                  <a:lnTo>
                    <a:pt x="213" y="76"/>
                  </a:lnTo>
                  <a:lnTo>
                    <a:pt x="213" y="79"/>
                  </a:lnTo>
                  <a:lnTo>
                    <a:pt x="211" y="79"/>
                  </a:lnTo>
                  <a:lnTo>
                    <a:pt x="213" y="79"/>
                  </a:lnTo>
                  <a:lnTo>
                    <a:pt x="211" y="79"/>
                  </a:lnTo>
                  <a:lnTo>
                    <a:pt x="213" y="79"/>
                  </a:lnTo>
                  <a:lnTo>
                    <a:pt x="213" y="81"/>
                  </a:lnTo>
                  <a:lnTo>
                    <a:pt x="213" y="79"/>
                  </a:lnTo>
                  <a:lnTo>
                    <a:pt x="211" y="81"/>
                  </a:lnTo>
                  <a:lnTo>
                    <a:pt x="208" y="81"/>
                  </a:lnTo>
                  <a:lnTo>
                    <a:pt x="206" y="81"/>
                  </a:lnTo>
                  <a:lnTo>
                    <a:pt x="204" y="81"/>
                  </a:lnTo>
                  <a:lnTo>
                    <a:pt x="204" y="79"/>
                  </a:lnTo>
                  <a:lnTo>
                    <a:pt x="206" y="79"/>
                  </a:lnTo>
                  <a:lnTo>
                    <a:pt x="208" y="79"/>
                  </a:lnTo>
                  <a:lnTo>
                    <a:pt x="206" y="79"/>
                  </a:lnTo>
                  <a:lnTo>
                    <a:pt x="206" y="76"/>
                  </a:lnTo>
                  <a:lnTo>
                    <a:pt x="206" y="79"/>
                  </a:lnTo>
                  <a:lnTo>
                    <a:pt x="204" y="76"/>
                  </a:lnTo>
                  <a:lnTo>
                    <a:pt x="201" y="76"/>
                  </a:lnTo>
                  <a:lnTo>
                    <a:pt x="204" y="76"/>
                  </a:lnTo>
                  <a:lnTo>
                    <a:pt x="206" y="76"/>
                  </a:lnTo>
                  <a:lnTo>
                    <a:pt x="208" y="76"/>
                  </a:lnTo>
                  <a:close/>
                  <a:moveTo>
                    <a:pt x="465" y="74"/>
                  </a:moveTo>
                  <a:lnTo>
                    <a:pt x="462" y="74"/>
                  </a:lnTo>
                  <a:lnTo>
                    <a:pt x="465" y="74"/>
                  </a:lnTo>
                  <a:close/>
                  <a:moveTo>
                    <a:pt x="460" y="71"/>
                  </a:moveTo>
                  <a:lnTo>
                    <a:pt x="458" y="71"/>
                  </a:lnTo>
                  <a:lnTo>
                    <a:pt x="460" y="71"/>
                  </a:lnTo>
                  <a:close/>
                  <a:moveTo>
                    <a:pt x="206" y="71"/>
                  </a:moveTo>
                  <a:lnTo>
                    <a:pt x="206" y="74"/>
                  </a:lnTo>
                  <a:lnTo>
                    <a:pt x="208" y="74"/>
                  </a:lnTo>
                  <a:lnTo>
                    <a:pt x="208" y="71"/>
                  </a:lnTo>
                  <a:lnTo>
                    <a:pt x="208" y="74"/>
                  </a:lnTo>
                  <a:lnTo>
                    <a:pt x="211" y="74"/>
                  </a:lnTo>
                  <a:lnTo>
                    <a:pt x="211" y="76"/>
                  </a:lnTo>
                  <a:lnTo>
                    <a:pt x="211" y="74"/>
                  </a:lnTo>
                  <a:lnTo>
                    <a:pt x="208" y="74"/>
                  </a:lnTo>
                  <a:lnTo>
                    <a:pt x="206" y="74"/>
                  </a:lnTo>
                  <a:lnTo>
                    <a:pt x="204" y="74"/>
                  </a:lnTo>
                  <a:lnTo>
                    <a:pt x="201" y="74"/>
                  </a:lnTo>
                  <a:lnTo>
                    <a:pt x="201" y="71"/>
                  </a:lnTo>
                  <a:lnTo>
                    <a:pt x="204" y="71"/>
                  </a:lnTo>
                  <a:lnTo>
                    <a:pt x="206" y="71"/>
                  </a:lnTo>
                  <a:close/>
                  <a:moveTo>
                    <a:pt x="223" y="69"/>
                  </a:moveTo>
                  <a:lnTo>
                    <a:pt x="225" y="71"/>
                  </a:lnTo>
                  <a:lnTo>
                    <a:pt x="223" y="71"/>
                  </a:lnTo>
                  <a:lnTo>
                    <a:pt x="220" y="71"/>
                  </a:lnTo>
                  <a:lnTo>
                    <a:pt x="220" y="69"/>
                  </a:lnTo>
                  <a:lnTo>
                    <a:pt x="223" y="69"/>
                  </a:lnTo>
                  <a:close/>
                  <a:moveTo>
                    <a:pt x="230" y="69"/>
                  </a:moveTo>
                  <a:lnTo>
                    <a:pt x="230" y="67"/>
                  </a:lnTo>
                  <a:lnTo>
                    <a:pt x="232" y="67"/>
                  </a:lnTo>
                  <a:lnTo>
                    <a:pt x="232" y="69"/>
                  </a:lnTo>
                  <a:lnTo>
                    <a:pt x="230" y="69"/>
                  </a:lnTo>
                  <a:close/>
                  <a:moveTo>
                    <a:pt x="232" y="67"/>
                  </a:moveTo>
                  <a:lnTo>
                    <a:pt x="230" y="67"/>
                  </a:lnTo>
                  <a:lnTo>
                    <a:pt x="232" y="67"/>
                  </a:lnTo>
                  <a:close/>
                  <a:moveTo>
                    <a:pt x="223" y="69"/>
                  </a:moveTo>
                  <a:lnTo>
                    <a:pt x="220" y="67"/>
                  </a:lnTo>
                  <a:lnTo>
                    <a:pt x="223" y="67"/>
                  </a:lnTo>
                  <a:lnTo>
                    <a:pt x="223" y="69"/>
                  </a:lnTo>
                  <a:close/>
                  <a:moveTo>
                    <a:pt x="227" y="67"/>
                  </a:moveTo>
                  <a:lnTo>
                    <a:pt x="225" y="67"/>
                  </a:lnTo>
                  <a:lnTo>
                    <a:pt x="227" y="67"/>
                  </a:lnTo>
                  <a:close/>
                  <a:moveTo>
                    <a:pt x="453" y="59"/>
                  </a:moveTo>
                  <a:lnTo>
                    <a:pt x="455" y="59"/>
                  </a:lnTo>
                  <a:lnTo>
                    <a:pt x="453" y="59"/>
                  </a:lnTo>
                  <a:lnTo>
                    <a:pt x="450" y="59"/>
                  </a:lnTo>
                  <a:lnTo>
                    <a:pt x="448" y="59"/>
                  </a:lnTo>
                  <a:lnTo>
                    <a:pt x="446" y="62"/>
                  </a:lnTo>
                  <a:lnTo>
                    <a:pt x="446" y="59"/>
                  </a:lnTo>
                  <a:lnTo>
                    <a:pt x="448" y="59"/>
                  </a:lnTo>
                  <a:lnTo>
                    <a:pt x="450" y="59"/>
                  </a:lnTo>
                  <a:lnTo>
                    <a:pt x="453" y="59"/>
                  </a:lnTo>
                  <a:lnTo>
                    <a:pt x="453" y="57"/>
                  </a:lnTo>
                  <a:lnTo>
                    <a:pt x="453" y="59"/>
                  </a:lnTo>
                  <a:close/>
                  <a:moveTo>
                    <a:pt x="455" y="57"/>
                  </a:moveTo>
                  <a:lnTo>
                    <a:pt x="458" y="57"/>
                  </a:lnTo>
                  <a:lnTo>
                    <a:pt x="458" y="59"/>
                  </a:lnTo>
                  <a:lnTo>
                    <a:pt x="455" y="59"/>
                  </a:lnTo>
                  <a:lnTo>
                    <a:pt x="455" y="57"/>
                  </a:lnTo>
                  <a:lnTo>
                    <a:pt x="453" y="57"/>
                  </a:lnTo>
                  <a:lnTo>
                    <a:pt x="455" y="57"/>
                  </a:lnTo>
                  <a:lnTo>
                    <a:pt x="453" y="57"/>
                  </a:lnTo>
                  <a:lnTo>
                    <a:pt x="455" y="57"/>
                  </a:lnTo>
                  <a:close/>
                  <a:moveTo>
                    <a:pt x="448" y="57"/>
                  </a:moveTo>
                  <a:lnTo>
                    <a:pt x="446" y="57"/>
                  </a:lnTo>
                  <a:lnTo>
                    <a:pt x="448" y="57"/>
                  </a:lnTo>
                  <a:close/>
                  <a:moveTo>
                    <a:pt x="450" y="57"/>
                  </a:moveTo>
                  <a:lnTo>
                    <a:pt x="448" y="57"/>
                  </a:lnTo>
                  <a:lnTo>
                    <a:pt x="450" y="55"/>
                  </a:lnTo>
                  <a:lnTo>
                    <a:pt x="450" y="57"/>
                  </a:lnTo>
                  <a:close/>
                  <a:moveTo>
                    <a:pt x="458" y="57"/>
                  </a:moveTo>
                  <a:lnTo>
                    <a:pt x="458" y="55"/>
                  </a:lnTo>
                  <a:lnTo>
                    <a:pt x="458" y="57"/>
                  </a:lnTo>
                  <a:close/>
                  <a:moveTo>
                    <a:pt x="455" y="57"/>
                  </a:moveTo>
                  <a:lnTo>
                    <a:pt x="455" y="55"/>
                  </a:lnTo>
                  <a:lnTo>
                    <a:pt x="455" y="57"/>
                  </a:lnTo>
                  <a:close/>
                  <a:moveTo>
                    <a:pt x="460" y="55"/>
                  </a:moveTo>
                  <a:lnTo>
                    <a:pt x="458" y="55"/>
                  </a:lnTo>
                  <a:lnTo>
                    <a:pt x="460" y="55"/>
                  </a:lnTo>
                  <a:close/>
                  <a:moveTo>
                    <a:pt x="329" y="55"/>
                  </a:moveTo>
                  <a:lnTo>
                    <a:pt x="327" y="55"/>
                  </a:lnTo>
                  <a:lnTo>
                    <a:pt x="327" y="57"/>
                  </a:lnTo>
                  <a:lnTo>
                    <a:pt x="327" y="55"/>
                  </a:lnTo>
                  <a:lnTo>
                    <a:pt x="329" y="55"/>
                  </a:lnTo>
                  <a:close/>
                  <a:moveTo>
                    <a:pt x="446" y="55"/>
                  </a:moveTo>
                  <a:lnTo>
                    <a:pt x="443" y="55"/>
                  </a:lnTo>
                  <a:lnTo>
                    <a:pt x="443" y="52"/>
                  </a:lnTo>
                  <a:lnTo>
                    <a:pt x="446" y="55"/>
                  </a:lnTo>
                  <a:close/>
                  <a:moveTo>
                    <a:pt x="586" y="55"/>
                  </a:moveTo>
                  <a:lnTo>
                    <a:pt x="586" y="52"/>
                  </a:lnTo>
                  <a:lnTo>
                    <a:pt x="583" y="52"/>
                  </a:lnTo>
                  <a:lnTo>
                    <a:pt x="586" y="52"/>
                  </a:lnTo>
                  <a:lnTo>
                    <a:pt x="588" y="52"/>
                  </a:lnTo>
                  <a:lnTo>
                    <a:pt x="588" y="55"/>
                  </a:lnTo>
                  <a:lnTo>
                    <a:pt x="586" y="55"/>
                  </a:lnTo>
                  <a:close/>
                  <a:moveTo>
                    <a:pt x="588" y="52"/>
                  </a:moveTo>
                  <a:lnTo>
                    <a:pt x="586" y="52"/>
                  </a:lnTo>
                  <a:lnTo>
                    <a:pt x="586" y="50"/>
                  </a:lnTo>
                  <a:lnTo>
                    <a:pt x="588" y="52"/>
                  </a:lnTo>
                  <a:close/>
                  <a:moveTo>
                    <a:pt x="773" y="48"/>
                  </a:moveTo>
                  <a:lnTo>
                    <a:pt x="776" y="48"/>
                  </a:lnTo>
                  <a:lnTo>
                    <a:pt x="778" y="50"/>
                  </a:lnTo>
                  <a:lnTo>
                    <a:pt x="780" y="50"/>
                  </a:lnTo>
                  <a:lnTo>
                    <a:pt x="780" y="52"/>
                  </a:lnTo>
                  <a:lnTo>
                    <a:pt x="780" y="50"/>
                  </a:lnTo>
                  <a:lnTo>
                    <a:pt x="780" y="52"/>
                  </a:lnTo>
                  <a:lnTo>
                    <a:pt x="778" y="52"/>
                  </a:lnTo>
                  <a:lnTo>
                    <a:pt x="780" y="52"/>
                  </a:lnTo>
                  <a:lnTo>
                    <a:pt x="778" y="52"/>
                  </a:lnTo>
                  <a:lnTo>
                    <a:pt x="776" y="52"/>
                  </a:lnTo>
                  <a:lnTo>
                    <a:pt x="776" y="55"/>
                  </a:lnTo>
                  <a:lnTo>
                    <a:pt x="776" y="52"/>
                  </a:lnTo>
                  <a:lnTo>
                    <a:pt x="776" y="55"/>
                  </a:lnTo>
                  <a:lnTo>
                    <a:pt x="773" y="52"/>
                  </a:lnTo>
                  <a:lnTo>
                    <a:pt x="773" y="55"/>
                  </a:lnTo>
                  <a:lnTo>
                    <a:pt x="773" y="52"/>
                  </a:lnTo>
                  <a:lnTo>
                    <a:pt x="771" y="52"/>
                  </a:lnTo>
                  <a:lnTo>
                    <a:pt x="771" y="50"/>
                  </a:lnTo>
                  <a:lnTo>
                    <a:pt x="768" y="50"/>
                  </a:lnTo>
                  <a:lnTo>
                    <a:pt x="768" y="48"/>
                  </a:lnTo>
                  <a:lnTo>
                    <a:pt x="771" y="48"/>
                  </a:lnTo>
                  <a:lnTo>
                    <a:pt x="773" y="48"/>
                  </a:lnTo>
                  <a:close/>
                  <a:moveTo>
                    <a:pt x="576" y="48"/>
                  </a:moveTo>
                  <a:lnTo>
                    <a:pt x="574" y="48"/>
                  </a:lnTo>
                  <a:lnTo>
                    <a:pt x="576" y="48"/>
                  </a:lnTo>
                  <a:close/>
                  <a:moveTo>
                    <a:pt x="586" y="48"/>
                  </a:moveTo>
                  <a:lnTo>
                    <a:pt x="583" y="48"/>
                  </a:lnTo>
                  <a:lnTo>
                    <a:pt x="586" y="48"/>
                  </a:lnTo>
                  <a:close/>
                  <a:moveTo>
                    <a:pt x="488" y="45"/>
                  </a:moveTo>
                  <a:lnTo>
                    <a:pt x="488" y="48"/>
                  </a:lnTo>
                  <a:lnTo>
                    <a:pt x="486" y="48"/>
                  </a:lnTo>
                  <a:lnTo>
                    <a:pt x="488" y="48"/>
                  </a:lnTo>
                  <a:lnTo>
                    <a:pt x="488" y="45"/>
                  </a:lnTo>
                  <a:close/>
                  <a:moveTo>
                    <a:pt x="709" y="43"/>
                  </a:moveTo>
                  <a:lnTo>
                    <a:pt x="711" y="43"/>
                  </a:lnTo>
                  <a:lnTo>
                    <a:pt x="709" y="45"/>
                  </a:lnTo>
                  <a:lnTo>
                    <a:pt x="711" y="45"/>
                  </a:lnTo>
                  <a:lnTo>
                    <a:pt x="709" y="45"/>
                  </a:lnTo>
                  <a:lnTo>
                    <a:pt x="707" y="45"/>
                  </a:lnTo>
                  <a:lnTo>
                    <a:pt x="709" y="45"/>
                  </a:lnTo>
                  <a:lnTo>
                    <a:pt x="709" y="43"/>
                  </a:lnTo>
                  <a:close/>
                  <a:moveTo>
                    <a:pt x="619" y="43"/>
                  </a:moveTo>
                  <a:lnTo>
                    <a:pt x="617" y="43"/>
                  </a:lnTo>
                  <a:lnTo>
                    <a:pt x="619" y="43"/>
                  </a:lnTo>
                  <a:close/>
                  <a:moveTo>
                    <a:pt x="619" y="43"/>
                  </a:moveTo>
                  <a:lnTo>
                    <a:pt x="617" y="43"/>
                  </a:lnTo>
                  <a:lnTo>
                    <a:pt x="619" y="43"/>
                  </a:lnTo>
                  <a:lnTo>
                    <a:pt x="617" y="43"/>
                  </a:lnTo>
                  <a:lnTo>
                    <a:pt x="619" y="43"/>
                  </a:lnTo>
                  <a:close/>
                  <a:moveTo>
                    <a:pt x="697" y="43"/>
                  </a:moveTo>
                  <a:lnTo>
                    <a:pt x="695" y="43"/>
                  </a:lnTo>
                  <a:lnTo>
                    <a:pt x="697" y="43"/>
                  </a:lnTo>
                  <a:close/>
                  <a:moveTo>
                    <a:pt x="543" y="40"/>
                  </a:moveTo>
                  <a:lnTo>
                    <a:pt x="541" y="40"/>
                  </a:lnTo>
                  <a:lnTo>
                    <a:pt x="543" y="40"/>
                  </a:lnTo>
                  <a:close/>
                  <a:moveTo>
                    <a:pt x="702" y="40"/>
                  </a:moveTo>
                  <a:lnTo>
                    <a:pt x="700" y="40"/>
                  </a:lnTo>
                  <a:lnTo>
                    <a:pt x="702" y="40"/>
                  </a:lnTo>
                  <a:close/>
                  <a:moveTo>
                    <a:pt x="695" y="40"/>
                  </a:moveTo>
                  <a:lnTo>
                    <a:pt x="697" y="40"/>
                  </a:lnTo>
                  <a:lnTo>
                    <a:pt x="695" y="40"/>
                  </a:lnTo>
                  <a:close/>
                  <a:moveTo>
                    <a:pt x="548" y="40"/>
                  </a:moveTo>
                  <a:lnTo>
                    <a:pt x="548" y="38"/>
                  </a:lnTo>
                  <a:lnTo>
                    <a:pt x="548" y="40"/>
                  </a:lnTo>
                  <a:close/>
                  <a:moveTo>
                    <a:pt x="548" y="38"/>
                  </a:moveTo>
                  <a:lnTo>
                    <a:pt x="550" y="38"/>
                  </a:lnTo>
                  <a:lnTo>
                    <a:pt x="548" y="38"/>
                  </a:lnTo>
                  <a:close/>
                  <a:moveTo>
                    <a:pt x="550" y="38"/>
                  </a:moveTo>
                  <a:lnTo>
                    <a:pt x="548" y="38"/>
                  </a:lnTo>
                  <a:lnTo>
                    <a:pt x="550" y="36"/>
                  </a:lnTo>
                  <a:lnTo>
                    <a:pt x="550" y="38"/>
                  </a:lnTo>
                  <a:close/>
                  <a:moveTo>
                    <a:pt x="638" y="36"/>
                  </a:moveTo>
                  <a:lnTo>
                    <a:pt x="638" y="38"/>
                  </a:lnTo>
                  <a:lnTo>
                    <a:pt x="636" y="36"/>
                  </a:lnTo>
                  <a:lnTo>
                    <a:pt x="638" y="36"/>
                  </a:lnTo>
                  <a:close/>
                  <a:moveTo>
                    <a:pt x="467" y="36"/>
                  </a:moveTo>
                  <a:lnTo>
                    <a:pt x="467" y="33"/>
                  </a:lnTo>
                  <a:lnTo>
                    <a:pt x="467" y="36"/>
                  </a:lnTo>
                  <a:close/>
                  <a:moveTo>
                    <a:pt x="469" y="33"/>
                  </a:moveTo>
                  <a:lnTo>
                    <a:pt x="467" y="33"/>
                  </a:lnTo>
                  <a:lnTo>
                    <a:pt x="469" y="33"/>
                  </a:lnTo>
                  <a:close/>
                  <a:moveTo>
                    <a:pt x="666" y="33"/>
                  </a:moveTo>
                  <a:lnTo>
                    <a:pt x="664" y="33"/>
                  </a:lnTo>
                  <a:lnTo>
                    <a:pt x="666" y="33"/>
                  </a:lnTo>
                  <a:close/>
                  <a:moveTo>
                    <a:pt x="453" y="38"/>
                  </a:moveTo>
                  <a:lnTo>
                    <a:pt x="455" y="38"/>
                  </a:lnTo>
                  <a:lnTo>
                    <a:pt x="453" y="38"/>
                  </a:lnTo>
                  <a:lnTo>
                    <a:pt x="450" y="38"/>
                  </a:lnTo>
                  <a:lnTo>
                    <a:pt x="453" y="38"/>
                  </a:lnTo>
                  <a:lnTo>
                    <a:pt x="450" y="38"/>
                  </a:lnTo>
                  <a:lnTo>
                    <a:pt x="448" y="38"/>
                  </a:lnTo>
                  <a:lnTo>
                    <a:pt x="450" y="38"/>
                  </a:lnTo>
                  <a:lnTo>
                    <a:pt x="448" y="38"/>
                  </a:lnTo>
                  <a:lnTo>
                    <a:pt x="446" y="38"/>
                  </a:lnTo>
                  <a:lnTo>
                    <a:pt x="446" y="36"/>
                  </a:lnTo>
                  <a:lnTo>
                    <a:pt x="446" y="38"/>
                  </a:lnTo>
                  <a:lnTo>
                    <a:pt x="446" y="36"/>
                  </a:lnTo>
                  <a:lnTo>
                    <a:pt x="448" y="36"/>
                  </a:lnTo>
                  <a:lnTo>
                    <a:pt x="446" y="36"/>
                  </a:lnTo>
                  <a:lnTo>
                    <a:pt x="448" y="36"/>
                  </a:lnTo>
                  <a:lnTo>
                    <a:pt x="448" y="33"/>
                  </a:lnTo>
                  <a:lnTo>
                    <a:pt x="450" y="33"/>
                  </a:lnTo>
                  <a:lnTo>
                    <a:pt x="448" y="33"/>
                  </a:lnTo>
                  <a:lnTo>
                    <a:pt x="448" y="36"/>
                  </a:lnTo>
                  <a:lnTo>
                    <a:pt x="450" y="36"/>
                  </a:lnTo>
                  <a:lnTo>
                    <a:pt x="450" y="33"/>
                  </a:lnTo>
                  <a:lnTo>
                    <a:pt x="453" y="33"/>
                  </a:lnTo>
                  <a:lnTo>
                    <a:pt x="453" y="31"/>
                  </a:lnTo>
                  <a:lnTo>
                    <a:pt x="453" y="33"/>
                  </a:lnTo>
                  <a:lnTo>
                    <a:pt x="453" y="31"/>
                  </a:lnTo>
                  <a:lnTo>
                    <a:pt x="453" y="33"/>
                  </a:lnTo>
                  <a:lnTo>
                    <a:pt x="455" y="33"/>
                  </a:lnTo>
                  <a:lnTo>
                    <a:pt x="458" y="33"/>
                  </a:lnTo>
                  <a:lnTo>
                    <a:pt x="460" y="33"/>
                  </a:lnTo>
                  <a:lnTo>
                    <a:pt x="462" y="33"/>
                  </a:lnTo>
                  <a:lnTo>
                    <a:pt x="460" y="33"/>
                  </a:lnTo>
                  <a:lnTo>
                    <a:pt x="460" y="36"/>
                  </a:lnTo>
                  <a:lnTo>
                    <a:pt x="462" y="36"/>
                  </a:lnTo>
                  <a:lnTo>
                    <a:pt x="465" y="36"/>
                  </a:lnTo>
                  <a:lnTo>
                    <a:pt x="462" y="36"/>
                  </a:lnTo>
                  <a:lnTo>
                    <a:pt x="465" y="36"/>
                  </a:lnTo>
                  <a:lnTo>
                    <a:pt x="467" y="36"/>
                  </a:lnTo>
                  <a:lnTo>
                    <a:pt x="467" y="38"/>
                  </a:lnTo>
                  <a:lnTo>
                    <a:pt x="465" y="38"/>
                  </a:lnTo>
                  <a:lnTo>
                    <a:pt x="462" y="38"/>
                  </a:lnTo>
                  <a:lnTo>
                    <a:pt x="462" y="40"/>
                  </a:lnTo>
                  <a:lnTo>
                    <a:pt x="460" y="40"/>
                  </a:lnTo>
                  <a:lnTo>
                    <a:pt x="458" y="40"/>
                  </a:lnTo>
                  <a:lnTo>
                    <a:pt x="455" y="40"/>
                  </a:lnTo>
                  <a:lnTo>
                    <a:pt x="458" y="40"/>
                  </a:lnTo>
                  <a:lnTo>
                    <a:pt x="455" y="40"/>
                  </a:lnTo>
                  <a:lnTo>
                    <a:pt x="455" y="38"/>
                  </a:lnTo>
                  <a:lnTo>
                    <a:pt x="455" y="40"/>
                  </a:lnTo>
                  <a:lnTo>
                    <a:pt x="455" y="38"/>
                  </a:lnTo>
                  <a:lnTo>
                    <a:pt x="453" y="38"/>
                  </a:lnTo>
                  <a:close/>
                  <a:moveTo>
                    <a:pt x="555" y="33"/>
                  </a:moveTo>
                  <a:lnTo>
                    <a:pt x="553" y="33"/>
                  </a:lnTo>
                  <a:lnTo>
                    <a:pt x="555" y="33"/>
                  </a:lnTo>
                  <a:lnTo>
                    <a:pt x="555" y="31"/>
                  </a:lnTo>
                  <a:lnTo>
                    <a:pt x="557" y="31"/>
                  </a:lnTo>
                  <a:lnTo>
                    <a:pt x="557" y="33"/>
                  </a:lnTo>
                  <a:lnTo>
                    <a:pt x="555" y="33"/>
                  </a:lnTo>
                  <a:close/>
                  <a:moveTo>
                    <a:pt x="652" y="31"/>
                  </a:moveTo>
                  <a:lnTo>
                    <a:pt x="650" y="31"/>
                  </a:lnTo>
                  <a:lnTo>
                    <a:pt x="647" y="31"/>
                  </a:lnTo>
                  <a:lnTo>
                    <a:pt x="645" y="31"/>
                  </a:lnTo>
                  <a:lnTo>
                    <a:pt x="645" y="29"/>
                  </a:lnTo>
                  <a:lnTo>
                    <a:pt x="645" y="26"/>
                  </a:lnTo>
                  <a:lnTo>
                    <a:pt x="647" y="26"/>
                  </a:lnTo>
                  <a:lnTo>
                    <a:pt x="650" y="26"/>
                  </a:lnTo>
                  <a:lnTo>
                    <a:pt x="650" y="29"/>
                  </a:lnTo>
                  <a:lnTo>
                    <a:pt x="652" y="29"/>
                  </a:lnTo>
                  <a:lnTo>
                    <a:pt x="652" y="31"/>
                  </a:lnTo>
                  <a:close/>
                  <a:moveTo>
                    <a:pt x="711" y="26"/>
                  </a:moveTo>
                  <a:lnTo>
                    <a:pt x="714" y="26"/>
                  </a:lnTo>
                  <a:lnTo>
                    <a:pt x="711" y="26"/>
                  </a:lnTo>
                  <a:close/>
                  <a:moveTo>
                    <a:pt x="707" y="26"/>
                  </a:moveTo>
                  <a:lnTo>
                    <a:pt x="704" y="26"/>
                  </a:lnTo>
                  <a:lnTo>
                    <a:pt x="707" y="26"/>
                  </a:lnTo>
                  <a:close/>
                  <a:moveTo>
                    <a:pt x="515" y="24"/>
                  </a:moveTo>
                  <a:lnTo>
                    <a:pt x="517" y="24"/>
                  </a:lnTo>
                  <a:lnTo>
                    <a:pt x="515" y="24"/>
                  </a:lnTo>
                  <a:close/>
                  <a:moveTo>
                    <a:pt x="647" y="24"/>
                  </a:moveTo>
                  <a:lnTo>
                    <a:pt x="645" y="24"/>
                  </a:lnTo>
                  <a:lnTo>
                    <a:pt x="643" y="24"/>
                  </a:lnTo>
                  <a:lnTo>
                    <a:pt x="640" y="24"/>
                  </a:lnTo>
                  <a:lnTo>
                    <a:pt x="643" y="24"/>
                  </a:lnTo>
                  <a:lnTo>
                    <a:pt x="645" y="24"/>
                  </a:lnTo>
                  <a:lnTo>
                    <a:pt x="647" y="24"/>
                  </a:lnTo>
                  <a:close/>
                  <a:moveTo>
                    <a:pt x="519" y="24"/>
                  </a:moveTo>
                  <a:lnTo>
                    <a:pt x="517" y="24"/>
                  </a:lnTo>
                  <a:lnTo>
                    <a:pt x="517" y="21"/>
                  </a:lnTo>
                  <a:lnTo>
                    <a:pt x="519" y="21"/>
                  </a:lnTo>
                  <a:lnTo>
                    <a:pt x="519" y="24"/>
                  </a:lnTo>
                  <a:close/>
                  <a:moveTo>
                    <a:pt x="510" y="21"/>
                  </a:moveTo>
                  <a:lnTo>
                    <a:pt x="512" y="21"/>
                  </a:lnTo>
                  <a:lnTo>
                    <a:pt x="512" y="24"/>
                  </a:lnTo>
                  <a:lnTo>
                    <a:pt x="510" y="24"/>
                  </a:lnTo>
                  <a:lnTo>
                    <a:pt x="507" y="24"/>
                  </a:lnTo>
                  <a:lnTo>
                    <a:pt x="505" y="24"/>
                  </a:lnTo>
                  <a:lnTo>
                    <a:pt x="505" y="21"/>
                  </a:lnTo>
                  <a:lnTo>
                    <a:pt x="507" y="21"/>
                  </a:lnTo>
                  <a:lnTo>
                    <a:pt x="505" y="21"/>
                  </a:lnTo>
                  <a:lnTo>
                    <a:pt x="507" y="21"/>
                  </a:lnTo>
                  <a:lnTo>
                    <a:pt x="510" y="21"/>
                  </a:lnTo>
                  <a:close/>
                  <a:moveTo>
                    <a:pt x="503" y="14"/>
                  </a:moveTo>
                  <a:lnTo>
                    <a:pt x="500" y="14"/>
                  </a:lnTo>
                  <a:lnTo>
                    <a:pt x="503" y="14"/>
                  </a:lnTo>
                  <a:close/>
                  <a:moveTo>
                    <a:pt x="531" y="12"/>
                  </a:moveTo>
                  <a:lnTo>
                    <a:pt x="534" y="12"/>
                  </a:lnTo>
                  <a:lnTo>
                    <a:pt x="536" y="12"/>
                  </a:lnTo>
                  <a:lnTo>
                    <a:pt x="536" y="14"/>
                  </a:lnTo>
                  <a:lnTo>
                    <a:pt x="534" y="14"/>
                  </a:lnTo>
                  <a:lnTo>
                    <a:pt x="531" y="14"/>
                  </a:lnTo>
                  <a:lnTo>
                    <a:pt x="534" y="14"/>
                  </a:lnTo>
                  <a:lnTo>
                    <a:pt x="531" y="14"/>
                  </a:lnTo>
                  <a:lnTo>
                    <a:pt x="529" y="14"/>
                  </a:lnTo>
                  <a:lnTo>
                    <a:pt x="526" y="12"/>
                  </a:lnTo>
                  <a:lnTo>
                    <a:pt x="524" y="12"/>
                  </a:lnTo>
                  <a:lnTo>
                    <a:pt x="526" y="12"/>
                  </a:lnTo>
                  <a:lnTo>
                    <a:pt x="529" y="12"/>
                  </a:lnTo>
                  <a:lnTo>
                    <a:pt x="531" y="12"/>
                  </a:lnTo>
                  <a:close/>
                  <a:moveTo>
                    <a:pt x="553" y="10"/>
                  </a:moveTo>
                  <a:lnTo>
                    <a:pt x="555" y="12"/>
                  </a:lnTo>
                  <a:lnTo>
                    <a:pt x="553" y="12"/>
                  </a:lnTo>
                  <a:lnTo>
                    <a:pt x="550" y="12"/>
                  </a:lnTo>
                  <a:lnTo>
                    <a:pt x="548" y="12"/>
                  </a:lnTo>
                  <a:lnTo>
                    <a:pt x="545" y="12"/>
                  </a:lnTo>
                  <a:lnTo>
                    <a:pt x="543" y="12"/>
                  </a:lnTo>
                  <a:lnTo>
                    <a:pt x="545" y="10"/>
                  </a:lnTo>
                  <a:lnTo>
                    <a:pt x="545" y="12"/>
                  </a:lnTo>
                  <a:lnTo>
                    <a:pt x="545" y="10"/>
                  </a:lnTo>
                  <a:lnTo>
                    <a:pt x="543" y="10"/>
                  </a:lnTo>
                  <a:lnTo>
                    <a:pt x="545" y="10"/>
                  </a:lnTo>
                  <a:lnTo>
                    <a:pt x="548" y="10"/>
                  </a:lnTo>
                  <a:lnTo>
                    <a:pt x="550" y="10"/>
                  </a:lnTo>
                  <a:lnTo>
                    <a:pt x="553" y="10"/>
                  </a:lnTo>
                  <a:lnTo>
                    <a:pt x="555" y="10"/>
                  </a:lnTo>
                  <a:lnTo>
                    <a:pt x="553" y="10"/>
                  </a:lnTo>
                  <a:close/>
                  <a:moveTo>
                    <a:pt x="524" y="5"/>
                  </a:moveTo>
                  <a:lnTo>
                    <a:pt x="522" y="5"/>
                  </a:lnTo>
                  <a:lnTo>
                    <a:pt x="524" y="5"/>
                  </a:lnTo>
                  <a:lnTo>
                    <a:pt x="522" y="5"/>
                  </a:lnTo>
                  <a:lnTo>
                    <a:pt x="524" y="5"/>
                  </a:lnTo>
                  <a:close/>
                  <a:moveTo>
                    <a:pt x="529" y="5"/>
                  </a:moveTo>
                  <a:lnTo>
                    <a:pt x="531" y="5"/>
                  </a:lnTo>
                  <a:lnTo>
                    <a:pt x="531" y="7"/>
                  </a:lnTo>
                  <a:lnTo>
                    <a:pt x="534" y="7"/>
                  </a:lnTo>
                  <a:lnTo>
                    <a:pt x="536" y="7"/>
                  </a:lnTo>
                  <a:lnTo>
                    <a:pt x="536" y="10"/>
                  </a:lnTo>
                  <a:lnTo>
                    <a:pt x="538" y="10"/>
                  </a:lnTo>
                  <a:lnTo>
                    <a:pt x="541" y="7"/>
                  </a:lnTo>
                  <a:lnTo>
                    <a:pt x="541" y="10"/>
                  </a:lnTo>
                  <a:lnTo>
                    <a:pt x="543" y="10"/>
                  </a:lnTo>
                  <a:lnTo>
                    <a:pt x="545" y="10"/>
                  </a:lnTo>
                  <a:lnTo>
                    <a:pt x="541" y="10"/>
                  </a:lnTo>
                  <a:lnTo>
                    <a:pt x="538" y="10"/>
                  </a:lnTo>
                  <a:lnTo>
                    <a:pt x="538" y="12"/>
                  </a:lnTo>
                  <a:lnTo>
                    <a:pt x="536" y="12"/>
                  </a:lnTo>
                  <a:lnTo>
                    <a:pt x="536" y="10"/>
                  </a:lnTo>
                  <a:lnTo>
                    <a:pt x="534" y="10"/>
                  </a:lnTo>
                  <a:lnTo>
                    <a:pt x="531" y="10"/>
                  </a:lnTo>
                  <a:lnTo>
                    <a:pt x="531" y="7"/>
                  </a:lnTo>
                  <a:lnTo>
                    <a:pt x="529" y="7"/>
                  </a:lnTo>
                  <a:lnTo>
                    <a:pt x="526" y="7"/>
                  </a:lnTo>
                  <a:lnTo>
                    <a:pt x="526" y="5"/>
                  </a:lnTo>
                  <a:lnTo>
                    <a:pt x="529" y="5"/>
                  </a:lnTo>
                  <a:close/>
                  <a:moveTo>
                    <a:pt x="522" y="0"/>
                  </a:moveTo>
                  <a:lnTo>
                    <a:pt x="519" y="0"/>
                  </a:lnTo>
                  <a:lnTo>
                    <a:pt x="52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8" name="Freeform 53598"/>
            <p:cNvSpPr>
              <a:spLocks noEditPoints="1"/>
            </p:cNvSpPr>
            <p:nvPr/>
          </p:nvSpPr>
          <p:spPr bwMode="auto">
            <a:xfrm>
              <a:off x="2262185" y="1955808"/>
              <a:ext cx="1393824" cy="2108207"/>
            </a:xfrm>
            <a:custGeom>
              <a:avLst/>
              <a:gdLst>
                <a:gd name="T0" fmla="*/ 79 w 878"/>
                <a:gd name="T1" fmla="*/ 1323 h 1328"/>
                <a:gd name="T2" fmla="*/ 29 w 878"/>
                <a:gd name="T3" fmla="*/ 1273 h 1328"/>
                <a:gd name="T4" fmla="*/ 200 w 878"/>
                <a:gd name="T5" fmla="*/ 1264 h 1328"/>
                <a:gd name="T6" fmla="*/ 19 w 878"/>
                <a:gd name="T7" fmla="*/ 1240 h 1328"/>
                <a:gd name="T8" fmla="*/ 17 w 878"/>
                <a:gd name="T9" fmla="*/ 1219 h 1328"/>
                <a:gd name="T10" fmla="*/ 19 w 878"/>
                <a:gd name="T11" fmla="*/ 1200 h 1328"/>
                <a:gd name="T12" fmla="*/ 12 w 878"/>
                <a:gd name="T13" fmla="*/ 1181 h 1328"/>
                <a:gd name="T14" fmla="*/ 5 w 878"/>
                <a:gd name="T15" fmla="*/ 1169 h 1328"/>
                <a:gd name="T16" fmla="*/ 7 w 878"/>
                <a:gd name="T17" fmla="*/ 1145 h 1328"/>
                <a:gd name="T18" fmla="*/ 19 w 878"/>
                <a:gd name="T19" fmla="*/ 1133 h 1328"/>
                <a:gd name="T20" fmla="*/ 55 w 878"/>
                <a:gd name="T21" fmla="*/ 1090 h 1328"/>
                <a:gd name="T22" fmla="*/ 67 w 878"/>
                <a:gd name="T23" fmla="*/ 1069 h 1328"/>
                <a:gd name="T24" fmla="*/ 138 w 878"/>
                <a:gd name="T25" fmla="*/ 1062 h 1328"/>
                <a:gd name="T26" fmla="*/ 114 w 878"/>
                <a:gd name="T27" fmla="*/ 1048 h 1328"/>
                <a:gd name="T28" fmla="*/ 119 w 878"/>
                <a:gd name="T29" fmla="*/ 1043 h 1328"/>
                <a:gd name="T30" fmla="*/ 109 w 878"/>
                <a:gd name="T31" fmla="*/ 1038 h 1328"/>
                <a:gd name="T32" fmla="*/ 124 w 878"/>
                <a:gd name="T33" fmla="*/ 1031 h 1328"/>
                <a:gd name="T34" fmla="*/ 155 w 878"/>
                <a:gd name="T35" fmla="*/ 1024 h 1328"/>
                <a:gd name="T36" fmla="*/ 133 w 878"/>
                <a:gd name="T37" fmla="*/ 1022 h 1328"/>
                <a:gd name="T38" fmla="*/ 138 w 878"/>
                <a:gd name="T39" fmla="*/ 1017 h 1328"/>
                <a:gd name="T40" fmla="*/ 128 w 878"/>
                <a:gd name="T41" fmla="*/ 1014 h 1328"/>
                <a:gd name="T42" fmla="*/ 133 w 878"/>
                <a:gd name="T43" fmla="*/ 1010 h 1328"/>
                <a:gd name="T44" fmla="*/ 152 w 878"/>
                <a:gd name="T45" fmla="*/ 1003 h 1328"/>
                <a:gd name="T46" fmla="*/ 226 w 878"/>
                <a:gd name="T47" fmla="*/ 979 h 1328"/>
                <a:gd name="T48" fmla="*/ 209 w 878"/>
                <a:gd name="T49" fmla="*/ 969 h 1328"/>
                <a:gd name="T50" fmla="*/ 221 w 878"/>
                <a:gd name="T51" fmla="*/ 960 h 1328"/>
                <a:gd name="T52" fmla="*/ 216 w 878"/>
                <a:gd name="T53" fmla="*/ 957 h 1328"/>
                <a:gd name="T54" fmla="*/ 226 w 878"/>
                <a:gd name="T55" fmla="*/ 953 h 1328"/>
                <a:gd name="T56" fmla="*/ 216 w 878"/>
                <a:gd name="T57" fmla="*/ 948 h 1328"/>
                <a:gd name="T58" fmla="*/ 247 w 878"/>
                <a:gd name="T59" fmla="*/ 934 h 1328"/>
                <a:gd name="T60" fmla="*/ 238 w 878"/>
                <a:gd name="T61" fmla="*/ 915 h 1328"/>
                <a:gd name="T62" fmla="*/ 249 w 878"/>
                <a:gd name="T63" fmla="*/ 910 h 1328"/>
                <a:gd name="T64" fmla="*/ 247 w 878"/>
                <a:gd name="T65" fmla="*/ 903 h 1328"/>
                <a:gd name="T66" fmla="*/ 266 w 878"/>
                <a:gd name="T67" fmla="*/ 900 h 1328"/>
                <a:gd name="T68" fmla="*/ 252 w 878"/>
                <a:gd name="T69" fmla="*/ 898 h 1328"/>
                <a:gd name="T70" fmla="*/ 240 w 878"/>
                <a:gd name="T71" fmla="*/ 891 h 1328"/>
                <a:gd name="T72" fmla="*/ 266 w 878"/>
                <a:gd name="T73" fmla="*/ 886 h 1328"/>
                <a:gd name="T74" fmla="*/ 254 w 878"/>
                <a:gd name="T75" fmla="*/ 879 h 1328"/>
                <a:gd name="T76" fmla="*/ 273 w 878"/>
                <a:gd name="T77" fmla="*/ 874 h 1328"/>
                <a:gd name="T78" fmla="*/ 283 w 878"/>
                <a:gd name="T79" fmla="*/ 867 h 1328"/>
                <a:gd name="T80" fmla="*/ 268 w 878"/>
                <a:gd name="T81" fmla="*/ 860 h 1328"/>
                <a:gd name="T82" fmla="*/ 273 w 878"/>
                <a:gd name="T83" fmla="*/ 855 h 1328"/>
                <a:gd name="T84" fmla="*/ 268 w 878"/>
                <a:gd name="T85" fmla="*/ 848 h 1328"/>
                <a:gd name="T86" fmla="*/ 280 w 878"/>
                <a:gd name="T87" fmla="*/ 846 h 1328"/>
                <a:gd name="T88" fmla="*/ 306 w 878"/>
                <a:gd name="T89" fmla="*/ 829 h 1328"/>
                <a:gd name="T90" fmla="*/ 314 w 878"/>
                <a:gd name="T91" fmla="*/ 822 h 1328"/>
                <a:gd name="T92" fmla="*/ 328 w 878"/>
                <a:gd name="T93" fmla="*/ 812 h 1328"/>
                <a:gd name="T94" fmla="*/ 335 w 878"/>
                <a:gd name="T95" fmla="*/ 805 h 1328"/>
                <a:gd name="T96" fmla="*/ 342 w 878"/>
                <a:gd name="T97" fmla="*/ 791 h 1328"/>
                <a:gd name="T98" fmla="*/ 354 w 878"/>
                <a:gd name="T99" fmla="*/ 784 h 1328"/>
                <a:gd name="T100" fmla="*/ 302 w 878"/>
                <a:gd name="T101" fmla="*/ 772 h 1328"/>
                <a:gd name="T102" fmla="*/ 337 w 878"/>
                <a:gd name="T103" fmla="*/ 767 h 1328"/>
                <a:gd name="T104" fmla="*/ 304 w 878"/>
                <a:gd name="T105" fmla="*/ 760 h 1328"/>
                <a:gd name="T106" fmla="*/ 368 w 878"/>
                <a:gd name="T107" fmla="*/ 755 h 1328"/>
                <a:gd name="T108" fmla="*/ 399 w 878"/>
                <a:gd name="T109" fmla="*/ 732 h 1328"/>
                <a:gd name="T110" fmla="*/ 394 w 878"/>
                <a:gd name="T111" fmla="*/ 715 h 1328"/>
                <a:gd name="T112" fmla="*/ 582 w 878"/>
                <a:gd name="T113" fmla="*/ 675 h 1328"/>
                <a:gd name="T114" fmla="*/ 679 w 878"/>
                <a:gd name="T115" fmla="*/ 653 h 1328"/>
                <a:gd name="T116" fmla="*/ 786 w 878"/>
                <a:gd name="T117" fmla="*/ 634 h 1328"/>
                <a:gd name="T118" fmla="*/ 684 w 878"/>
                <a:gd name="T119" fmla="*/ 599 h 1328"/>
                <a:gd name="T120" fmla="*/ 425 w 878"/>
                <a:gd name="T121" fmla="*/ 164 h 1328"/>
                <a:gd name="T122" fmla="*/ 779 w 878"/>
                <a:gd name="T123" fmla="*/ 105 h 1328"/>
                <a:gd name="T124" fmla="*/ 461 w 878"/>
                <a:gd name="T125" fmla="*/ 43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8" h="1328">
                  <a:moveTo>
                    <a:pt x="105" y="1328"/>
                  </a:moveTo>
                  <a:lnTo>
                    <a:pt x="102" y="1328"/>
                  </a:lnTo>
                  <a:lnTo>
                    <a:pt x="105" y="1328"/>
                  </a:lnTo>
                  <a:close/>
                  <a:moveTo>
                    <a:pt x="98" y="1328"/>
                  </a:moveTo>
                  <a:lnTo>
                    <a:pt x="98" y="1326"/>
                  </a:lnTo>
                  <a:lnTo>
                    <a:pt x="98" y="1328"/>
                  </a:lnTo>
                  <a:close/>
                  <a:moveTo>
                    <a:pt x="105" y="1328"/>
                  </a:moveTo>
                  <a:lnTo>
                    <a:pt x="105" y="1326"/>
                  </a:lnTo>
                  <a:lnTo>
                    <a:pt x="105" y="1328"/>
                  </a:lnTo>
                  <a:close/>
                  <a:moveTo>
                    <a:pt x="105" y="1328"/>
                  </a:moveTo>
                  <a:lnTo>
                    <a:pt x="105" y="1326"/>
                  </a:lnTo>
                  <a:lnTo>
                    <a:pt x="105" y="1328"/>
                  </a:lnTo>
                  <a:close/>
                  <a:moveTo>
                    <a:pt x="102" y="1326"/>
                  </a:moveTo>
                  <a:lnTo>
                    <a:pt x="102" y="1328"/>
                  </a:lnTo>
                  <a:lnTo>
                    <a:pt x="102" y="1326"/>
                  </a:lnTo>
                  <a:close/>
                  <a:moveTo>
                    <a:pt x="90" y="1328"/>
                  </a:moveTo>
                  <a:lnTo>
                    <a:pt x="88" y="1328"/>
                  </a:lnTo>
                  <a:lnTo>
                    <a:pt x="90" y="1326"/>
                  </a:lnTo>
                  <a:lnTo>
                    <a:pt x="90" y="1328"/>
                  </a:lnTo>
                  <a:close/>
                  <a:moveTo>
                    <a:pt x="100" y="1326"/>
                  </a:moveTo>
                  <a:lnTo>
                    <a:pt x="100" y="1328"/>
                  </a:lnTo>
                  <a:lnTo>
                    <a:pt x="100" y="1326"/>
                  </a:lnTo>
                  <a:close/>
                  <a:moveTo>
                    <a:pt x="107" y="1326"/>
                  </a:moveTo>
                  <a:lnTo>
                    <a:pt x="105" y="1326"/>
                  </a:lnTo>
                  <a:lnTo>
                    <a:pt x="107" y="1326"/>
                  </a:lnTo>
                  <a:close/>
                  <a:moveTo>
                    <a:pt x="109" y="1326"/>
                  </a:moveTo>
                  <a:lnTo>
                    <a:pt x="109" y="1323"/>
                  </a:lnTo>
                  <a:lnTo>
                    <a:pt x="109" y="1326"/>
                  </a:lnTo>
                  <a:close/>
                  <a:moveTo>
                    <a:pt x="105" y="1323"/>
                  </a:moveTo>
                  <a:lnTo>
                    <a:pt x="105" y="1326"/>
                  </a:lnTo>
                  <a:lnTo>
                    <a:pt x="105" y="1323"/>
                  </a:lnTo>
                  <a:close/>
                  <a:moveTo>
                    <a:pt x="109" y="1326"/>
                  </a:moveTo>
                  <a:lnTo>
                    <a:pt x="109" y="1323"/>
                  </a:lnTo>
                  <a:lnTo>
                    <a:pt x="109" y="1326"/>
                  </a:lnTo>
                  <a:close/>
                  <a:moveTo>
                    <a:pt x="107" y="1326"/>
                  </a:moveTo>
                  <a:lnTo>
                    <a:pt x="107" y="1323"/>
                  </a:lnTo>
                  <a:lnTo>
                    <a:pt x="107" y="1326"/>
                  </a:lnTo>
                  <a:close/>
                  <a:moveTo>
                    <a:pt x="109" y="1326"/>
                  </a:moveTo>
                  <a:lnTo>
                    <a:pt x="109" y="1323"/>
                  </a:lnTo>
                  <a:lnTo>
                    <a:pt x="109" y="1326"/>
                  </a:lnTo>
                  <a:close/>
                  <a:moveTo>
                    <a:pt x="107" y="1326"/>
                  </a:moveTo>
                  <a:lnTo>
                    <a:pt x="105" y="1323"/>
                  </a:lnTo>
                  <a:lnTo>
                    <a:pt x="107" y="1323"/>
                  </a:lnTo>
                  <a:lnTo>
                    <a:pt x="107" y="1326"/>
                  </a:lnTo>
                  <a:close/>
                  <a:moveTo>
                    <a:pt x="107" y="1323"/>
                  </a:moveTo>
                  <a:lnTo>
                    <a:pt x="107" y="1326"/>
                  </a:lnTo>
                  <a:lnTo>
                    <a:pt x="107" y="1323"/>
                  </a:lnTo>
                  <a:close/>
                  <a:moveTo>
                    <a:pt x="107" y="1326"/>
                  </a:moveTo>
                  <a:lnTo>
                    <a:pt x="107" y="1323"/>
                  </a:lnTo>
                  <a:lnTo>
                    <a:pt x="107" y="1326"/>
                  </a:lnTo>
                  <a:close/>
                  <a:moveTo>
                    <a:pt x="109" y="1323"/>
                  </a:moveTo>
                  <a:lnTo>
                    <a:pt x="109" y="1326"/>
                  </a:lnTo>
                  <a:lnTo>
                    <a:pt x="109" y="1323"/>
                  </a:lnTo>
                  <a:close/>
                  <a:moveTo>
                    <a:pt x="83" y="1323"/>
                  </a:moveTo>
                  <a:lnTo>
                    <a:pt x="86" y="1323"/>
                  </a:lnTo>
                  <a:lnTo>
                    <a:pt x="83" y="1323"/>
                  </a:lnTo>
                  <a:close/>
                  <a:moveTo>
                    <a:pt x="114" y="1323"/>
                  </a:moveTo>
                  <a:lnTo>
                    <a:pt x="112" y="1323"/>
                  </a:lnTo>
                  <a:lnTo>
                    <a:pt x="114" y="1323"/>
                  </a:lnTo>
                  <a:close/>
                  <a:moveTo>
                    <a:pt x="79" y="1323"/>
                  </a:moveTo>
                  <a:lnTo>
                    <a:pt x="76" y="1323"/>
                  </a:lnTo>
                  <a:lnTo>
                    <a:pt x="79" y="1323"/>
                  </a:lnTo>
                  <a:close/>
                  <a:moveTo>
                    <a:pt x="114" y="1323"/>
                  </a:moveTo>
                  <a:lnTo>
                    <a:pt x="112" y="1323"/>
                  </a:lnTo>
                  <a:lnTo>
                    <a:pt x="114" y="1323"/>
                  </a:lnTo>
                  <a:close/>
                  <a:moveTo>
                    <a:pt x="76" y="1323"/>
                  </a:moveTo>
                  <a:lnTo>
                    <a:pt x="79" y="1323"/>
                  </a:lnTo>
                  <a:lnTo>
                    <a:pt x="76" y="1323"/>
                  </a:lnTo>
                  <a:close/>
                  <a:moveTo>
                    <a:pt x="79" y="1323"/>
                  </a:moveTo>
                  <a:lnTo>
                    <a:pt x="76" y="1323"/>
                  </a:lnTo>
                  <a:lnTo>
                    <a:pt x="79" y="1323"/>
                  </a:lnTo>
                  <a:close/>
                  <a:moveTo>
                    <a:pt x="119" y="1321"/>
                  </a:moveTo>
                  <a:lnTo>
                    <a:pt x="119" y="1323"/>
                  </a:lnTo>
                  <a:lnTo>
                    <a:pt x="119" y="1321"/>
                  </a:lnTo>
                  <a:close/>
                  <a:moveTo>
                    <a:pt x="119" y="1321"/>
                  </a:moveTo>
                  <a:lnTo>
                    <a:pt x="117" y="1321"/>
                  </a:lnTo>
                  <a:lnTo>
                    <a:pt x="119" y="1321"/>
                  </a:lnTo>
                  <a:close/>
                  <a:moveTo>
                    <a:pt x="124" y="1321"/>
                  </a:moveTo>
                  <a:lnTo>
                    <a:pt x="126" y="1321"/>
                  </a:lnTo>
                  <a:lnTo>
                    <a:pt x="124" y="1321"/>
                  </a:lnTo>
                  <a:close/>
                  <a:moveTo>
                    <a:pt x="117" y="1318"/>
                  </a:moveTo>
                  <a:lnTo>
                    <a:pt x="117" y="1321"/>
                  </a:lnTo>
                  <a:lnTo>
                    <a:pt x="117" y="1318"/>
                  </a:lnTo>
                  <a:close/>
                  <a:moveTo>
                    <a:pt x="128" y="1316"/>
                  </a:moveTo>
                  <a:lnTo>
                    <a:pt x="126" y="1316"/>
                  </a:lnTo>
                  <a:lnTo>
                    <a:pt x="128" y="1316"/>
                  </a:lnTo>
                  <a:close/>
                  <a:moveTo>
                    <a:pt x="128" y="1316"/>
                  </a:moveTo>
                  <a:lnTo>
                    <a:pt x="128" y="1314"/>
                  </a:lnTo>
                  <a:lnTo>
                    <a:pt x="128" y="1316"/>
                  </a:lnTo>
                  <a:close/>
                  <a:moveTo>
                    <a:pt x="136" y="1309"/>
                  </a:moveTo>
                  <a:lnTo>
                    <a:pt x="136" y="1311"/>
                  </a:lnTo>
                  <a:lnTo>
                    <a:pt x="136" y="1309"/>
                  </a:lnTo>
                  <a:close/>
                  <a:moveTo>
                    <a:pt x="143" y="1307"/>
                  </a:moveTo>
                  <a:lnTo>
                    <a:pt x="140" y="1307"/>
                  </a:lnTo>
                  <a:lnTo>
                    <a:pt x="143" y="1307"/>
                  </a:lnTo>
                  <a:close/>
                  <a:moveTo>
                    <a:pt x="50" y="1307"/>
                  </a:moveTo>
                  <a:lnTo>
                    <a:pt x="50" y="1304"/>
                  </a:lnTo>
                  <a:lnTo>
                    <a:pt x="50" y="1307"/>
                  </a:lnTo>
                  <a:close/>
                  <a:moveTo>
                    <a:pt x="147" y="1299"/>
                  </a:moveTo>
                  <a:lnTo>
                    <a:pt x="147" y="1297"/>
                  </a:lnTo>
                  <a:lnTo>
                    <a:pt x="147" y="1299"/>
                  </a:lnTo>
                  <a:close/>
                  <a:moveTo>
                    <a:pt x="155" y="1292"/>
                  </a:moveTo>
                  <a:lnTo>
                    <a:pt x="155" y="1295"/>
                  </a:lnTo>
                  <a:lnTo>
                    <a:pt x="155" y="1292"/>
                  </a:lnTo>
                  <a:close/>
                  <a:moveTo>
                    <a:pt x="162" y="1280"/>
                  </a:moveTo>
                  <a:lnTo>
                    <a:pt x="162" y="1283"/>
                  </a:lnTo>
                  <a:lnTo>
                    <a:pt x="162" y="1280"/>
                  </a:lnTo>
                  <a:close/>
                  <a:moveTo>
                    <a:pt x="169" y="1280"/>
                  </a:moveTo>
                  <a:lnTo>
                    <a:pt x="169" y="1278"/>
                  </a:lnTo>
                  <a:lnTo>
                    <a:pt x="169" y="1280"/>
                  </a:lnTo>
                  <a:close/>
                  <a:moveTo>
                    <a:pt x="181" y="1278"/>
                  </a:moveTo>
                  <a:lnTo>
                    <a:pt x="178" y="1278"/>
                  </a:lnTo>
                  <a:lnTo>
                    <a:pt x="181" y="1278"/>
                  </a:lnTo>
                  <a:close/>
                  <a:moveTo>
                    <a:pt x="171" y="1278"/>
                  </a:moveTo>
                  <a:lnTo>
                    <a:pt x="171" y="1276"/>
                  </a:lnTo>
                  <a:lnTo>
                    <a:pt x="171" y="1278"/>
                  </a:lnTo>
                  <a:close/>
                  <a:moveTo>
                    <a:pt x="31" y="1276"/>
                  </a:moveTo>
                  <a:lnTo>
                    <a:pt x="31" y="1278"/>
                  </a:lnTo>
                  <a:lnTo>
                    <a:pt x="31" y="1276"/>
                  </a:lnTo>
                  <a:close/>
                  <a:moveTo>
                    <a:pt x="178" y="1276"/>
                  </a:moveTo>
                  <a:lnTo>
                    <a:pt x="176" y="1276"/>
                  </a:lnTo>
                  <a:lnTo>
                    <a:pt x="178" y="1276"/>
                  </a:lnTo>
                  <a:close/>
                  <a:moveTo>
                    <a:pt x="178" y="1276"/>
                  </a:moveTo>
                  <a:lnTo>
                    <a:pt x="178" y="1278"/>
                  </a:lnTo>
                  <a:lnTo>
                    <a:pt x="178" y="1276"/>
                  </a:lnTo>
                  <a:close/>
                  <a:moveTo>
                    <a:pt x="188" y="1276"/>
                  </a:moveTo>
                  <a:lnTo>
                    <a:pt x="190" y="1276"/>
                  </a:lnTo>
                  <a:lnTo>
                    <a:pt x="188" y="1276"/>
                  </a:lnTo>
                  <a:close/>
                  <a:moveTo>
                    <a:pt x="45" y="1276"/>
                  </a:moveTo>
                  <a:lnTo>
                    <a:pt x="45" y="1273"/>
                  </a:lnTo>
                  <a:lnTo>
                    <a:pt x="45" y="1276"/>
                  </a:lnTo>
                  <a:close/>
                  <a:moveTo>
                    <a:pt x="45" y="1273"/>
                  </a:moveTo>
                  <a:lnTo>
                    <a:pt x="43" y="1273"/>
                  </a:lnTo>
                  <a:lnTo>
                    <a:pt x="45" y="1273"/>
                  </a:lnTo>
                  <a:close/>
                  <a:moveTo>
                    <a:pt x="43" y="1273"/>
                  </a:moveTo>
                  <a:lnTo>
                    <a:pt x="41" y="1273"/>
                  </a:lnTo>
                  <a:lnTo>
                    <a:pt x="43" y="1273"/>
                  </a:lnTo>
                  <a:close/>
                  <a:moveTo>
                    <a:pt x="29" y="1273"/>
                  </a:moveTo>
                  <a:lnTo>
                    <a:pt x="31" y="1273"/>
                  </a:lnTo>
                  <a:lnTo>
                    <a:pt x="29" y="1273"/>
                  </a:lnTo>
                  <a:close/>
                  <a:moveTo>
                    <a:pt x="219" y="1271"/>
                  </a:moveTo>
                  <a:lnTo>
                    <a:pt x="216" y="1273"/>
                  </a:lnTo>
                  <a:lnTo>
                    <a:pt x="216" y="1271"/>
                  </a:lnTo>
                  <a:lnTo>
                    <a:pt x="219" y="1271"/>
                  </a:lnTo>
                  <a:close/>
                  <a:moveTo>
                    <a:pt x="31" y="1271"/>
                  </a:moveTo>
                  <a:lnTo>
                    <a:pt x="31" y="1273"/>
                  </a:lnTo>
                  <a:lnTo>
                    <a:pt x="29" y="1273"/>
                  </a:lnTo>
                  <a:lnTo>
                    <a:pt x="29" y="1271"/>
                  </a:lnTo>
                  <a:lnTo>
                    <a:pt x="31" y="1271"/>
                  </a:lnTo>
                  <a:close/>
                  <a:moveTo>
                    <a:pt x="31" y="1271"/>
                  </a:moveTo>
                  <a:lnTo>
                    <a:pt x="31" y="1273"/>
                  </a:lnTo>
                  <a:lnTo>
                    <a:pt x="31" y="1271"/>
                  </a:lnTo>
                  <a:close/>
                  <a:moveTo>
                    <a:pt x="219" y="1273"/>
                  </a:moveTo>
                  <a:lnTo>
                    <a:pt x="219" y="1271"/>
                  </a:lnTo>
                  <a:lnTo>
                    <a:pt x="219" y="1273"/>
                  </a:lnTo>
                  <a:close/>
                  <a:moveTo>
                    <a:pt x="176" y="1271"/>
                  </a:moveTo>
                  <a:lnTo>
                    <a:pt x="174" y="1271"/>
                  </a:lnTo>
                  <a:lnTo>
                    <a:pt x="176" y="1271"/>
                  </a:lnTo>
                  <a:close/>
                  <a:moveTo>
                    <a:pt x="38" y="1271"/>
                  </a:moveTo>
                  <a:lnTo>
                    <a:pt x="36" y="1271"/>
                  </a:lnTo>
                  <a:lnTo>
                    <a:pt x="38" y="1271"/>
                  </a:lnTo>
                  <a:close/>
                  <a:moveTo>
                    <a:pt x="197" y="1271"/>
                  </a:moveTo>
                  <a:lnTo>
                    <a:pt x="195" y="1271"/>
                  </a:lnTo>
                  <a:lnTo>
                    <a:pt x="197" y="1271"/>
                  </a:lnTo>
                  <a:close/>
                  <a:moveTo>
                    <a:pt x="34" y="1271"/>
                  </a:moveTo>
                  <a:lnTo>
                    <a:pt x="31" y="1271"/>
                  </a:lnTo>
                  <a:lnTo>
                    <a:pt x="34" y="1271"/>
                  </a:lnTo>
                  <a:close/>
                  <a:moveTo>
                    <a:pt x="188" y="1271"/>
                  </a:moveTo>
                  <a:lnTo>
                    <a:pt x="190" y="1271"/>
                  </a:lnTo>
                  <a:lnTo>
                    <a:pt x="188" y="1271"/>
                  </a:lnTo>
                  <a:close/>
                  <a:moveTo>
                    <a:pt x="34" y="1271"/>
                  </a:moveTo>
                  <a:lnTo>
                    <a:pt x="34" y="1269"/>
                  </a:lnTo>
                  <a:lnTo>
                    <a:pt x="34" y="1271"/>
                  </a:lnTo>
                  <a:close/>
                  <a:moveTo>
                    <a:pt x="36" y="1269"/>
                  </a:moveTo>
                  <a:lnTo>
                    <a:pt x="36" y="1271"/>
                  </a:lnTo>
                  <a:lnTo>
                    <a:pt x="36" y="1269"/>
                  </a:lnTo>
                  <a:close/>
                  <a:moveTo>
                    <a:pt x="219" y="1269"/>
                  </a:moveTo>
                  <a:lnTo>
                    <a:pt x="216" y="1269"/>
                  </a:lnTo>
                  <a:lnTo>
                    <a:pt x="219" y="1269"/>
                  </a:lnTo>
                  <a:close/>
                  <a:moveTo>
                    <a:pt x="216" y="1269"/>
                  </a:moveTo>
                  <a:lnTo>
                    <a:pt x="214" y="1269"/>
                  </a:lnTo>
                  <a:lnTo>
                    <a:pt x="216" y="1269"/>
                  </a:lnTo>
                  <a:close/>
                  <a:moveTo>
                    <a:pt x="45" y="1269"/>
                  </a:moveTo>
                  <a:lnTo>
                    <a:pt x="45" y="1266"/>
                  </a:lnTo>
                  <a:lnTo>
                    <a:pt x="45" y="1269"/>
                  </a:lnTo>
                  <a:close/>
                  <a:moveTo>
                    <a:pt x="211" y="1266"/>
                  </a:moveTo>
                  <a:lnTo>
                    <a:pt x="211" y="1269"/>
                  </a:lnTo>
                  <a:lnTo>
                    <a:pt x="211" y="1266"/>
                  </a:lnTo>
                  <a:close/>
                  <a:moveTo>
                    <a:pt x="195" y="1269"/>
                  </a:moveTo>
                  <a:lnTo>
                    <a:pt x="195" y="1266"/>
                  </a:lnTo>
                  <a:lnTo>
                    <a:pt x="195" y="1269"/>
                  </a:lnTo>
                  <a:close/>
                  <a:moveTo>
                    <a:pt x="24" y="1266"/>
                  </a:moveTo>
                  <a:lnTo>
                    <a:pt x="24" y="1269"/>
                  </a:lnTo>
                  <a:lnTo>
                    <a:pt x="24" y="1266"/>
                  </a:lnTo>
                  <a:close/>
                  <a:moveTo>
                    <a:pt x="219" y="1266"/>
                  </a:moveTo>
                  <a:lnTo>
                    <a:pt x="219" y="1269"/>
                  </a:lnTo>
                  <a:lnTo>
                    <a:pt x="219" y="1266"/>
                  </a:lnTo>
                  <a:close/>
                  <a:moveTo>
                    <a:pt x="202" y="1266"/>
                  </a:moveTo>
                  <a:lnTo>
                    <a:pt x="202" y="1264"/>
                  </a:lnTo>
                  <a:lnTo>
                    <a:pt x="202" y="1266"/>
                  </a:lnTo>
                  <a:close/>
                  <a:moveTo>
                    <a:pt x="221" y="1266"/>
                  </a:moveTo>
                  <a:lnTo>
                    <a:pt x="221" y="1264"/>
                  </a:lnTo>
                  <a:lnTo>
                    <a:pt x="221" y="1266"/>
                  </a:lnTo>
                  <a:close/>
                  <a:moveTo>
                    <a:pt x="31" y="1266"/>
                  </a:moveTo>
                  <a:lnTo>
                    <a:pt x="31" y="1264"/>
                  </a:lnTo>
                  <a:lnTo>
                    <a:pt x="31" y="1266"/>
                  </a:lnTo>
                  <a:close/>
                  <a:moveTo>
                    <a:pt x="200" y="1264"/>
                  </a:moveTo>
                  <a:lnTo>
                    <a:pt x="200" y="1266"/>
                  </a:lnTo>
                  <a:lnTo>
                    <a:pt x="200" y="1264"/>
                  </a:lnTo>
                  <a:close/>
                  <a:moveTo>
                    <a:pt x="204" y="1264"/>
                  </a:moveTo>
                  <a:lnTo>
                    <a:pt x="207" y="1264"/>
                  </a:lnTo>
                  <a:lnTo>
                    <a:pt x="204" y="1264"/>
                  </a:lnTo>
                  <a:close/>
                  <a:moveTo>
                    <a:pt x="200" y="1264"/>
                  </a:moveTo>
                  <a:lnTo>
                    <a:pt x="200" y="1266"/>
                  </a:lnTo>
                  <a:lnTo>
                    <a:pt x="200" y="1264"/>
                  </a:lnTo>
                  <a:close/>
                  <a:moveTo>
                    <a:pt x="202" y="1264"/>
                  </a:moveTo>
                  <a:lnTo>
                    <a:pt x="200" y="1264"/>
                  </a:lnTo>
                  <a:lnTo>
                    <a:pt x="202" y="1264"/>
                  </a:lnTo>
                  <a:close/>
                  <a:moveTo>
                    <a:pt x="200" y="1264"/>
                  </a:moveTo>
                  <a:lnTo>
                    <a:pt x="200" y="1261"/>
                  </a:lnTo>
                  <a:lnTo>
                    <a:pt x="200" y="1264"/>
                  </a:lnTo>
                  <a:close/>
                  <a:moveTo>
                    <a:pt x="207" y="1264"/>
                  </a:moveTo>
                  <a:lnTo>
                    <a:pt x="207" y="1261"/>
                  </a:lnTo>
                  <a:lnTo>
                    <a:pt x="207" y="1264"/>
                  </a:lnTo>
                  <a:close/>
                  <a:moveTo>
                    <a:pt x="200" y="1264"/>
                  </a:moveTo>
                  <a:lnTo>
                    <a:pt x="197" y="1264"/>
                  </a:lnTo>
                  <a:lnTo>
                    <a:pt x="197" y="1261"/>
                  </a:lnTo>
                  <a:lnTo>
                    <a:pt x="200" y="1261"/>
                  </a:lnTo>
                  <a:lnTo>
                    <a:pt x="200" y="1264"/>
                  </a:lnTo>
                  <a:close/>
                  <a:moveTo>
                    <a:pt x="197" y="1261"/>
                  </a:moveTo>
                  <a:lnTo>
                    <a:pt x="197" y="1264"/>
                  </a:lnTo>
                  <a:lnTo>
                    <a:pt x="197" y="1261"/>
                  </a:lnTo>
                  <a:close/>
                  <a:moveTo>
                    <a:pt x="200" y="1261"/>
                  </a:moveTo>
                  <a:lnTo>
                    <a:pt x="197" y="1261"/>
                  </a:lnTo>
                  <a:lnTo>
                    <a:pt x="200" y="1261"/>
                  </a:lnTo>
                  <a:close/>
                  <a:moveTo>
                    <a:pt x="43" y="1261"/>
                  </a:moveTo>
                  <a:lnTo>
                    <a:pt x="43" y="1259"/>
                  </a:lnTo>
                  <a:lnTo>
                    <a:pt x="43" y="1261"/>
                  </a:lnTo>
                  <a:close/>
                  <a:moveTo>
                    <a:pt x="31" y="1261"/>
                  </a:moveTo>
                  <a:lnTo>
                    <a:pt x="31" y="1259"/>
                  </a:lnTo>
                  <a:lnTo>
                    <a:pt x="31" y="1261"/>
                  </a:lnTo>
                  <a:close/>
                  <a:moveTo>
                    <a:pt x="29" y="1259"/>
                  </a:moveTo>
                  <a:lnTo>
                    <a:pt x="29" y="1261"/>
                  </a:lnTo>
                  <a:lnTo>
                    <a:pt x="29" y="1259"/>
                  </a:lnTo>
                  <a:close/>
                  <a:moveTo>
                    <a:pt x="24" y="1259"/>
                  </a:moveTo>
                  <a:lnTo>
                    <a:pt x="22" y="1259"/>
                  </a:lnTo>
                  <a:lnTo>
                    <a:pt x="24" y="1259"/>
                  </a:lnTo>
                  <a:close/>
                  <a:moveTo>
                    <a:pt x="24" y="1259"/>
                  </a:moveTo>
                  <a:lnTo>
                    <a:pt x="22" y="1259"/>
                  </a:lnTo>
                  <a:lnTo>
                    <a:pt x="24" y="1259"/>
                  </a:lnTo>
                  <a:close/>
                  <a:moveTo>
                    <a:pt x="24" y="1257"/>
                  </a:moveTo>
                  <a:lnTo>
                    <a:pt x="22" y="1257"/>
                  </a:lnTo>
                  <a:lnTo>
                    <a:pt x="24" y="1257"/>
                  </a:lnTo>
                  <a:close/>
                  <a:moveTo>
                    <a:pt x="204" y="1257"/>
                  </a:moveTo>
                  <a:lnTo>
                    <a:pt x="202" y="1257"/>
                  </a:lnTo>
                  <a:lnTo>
                    <a:pt x="204" y="1257"/>
                  </a:lnTo>
                  <a:close/>
                  <a:moveTo>
                    <a:pt x="22" y="1254"/>
                  </a:moveTo>
                  <a:lnTo>
                    <a:pt x="24" y="1254"/>
                  </a:lnTo>
                  <a:lnTo>
                    <a:pt x="22" y="1254"/>
                  </a:lnTo>
                  <a:close/>
                  <a:moveTo>
                    <a:pt x="202" y="1252"/>
                  </a:moveTo>
                  <a:lnTo>
                    <a:pt x="200" y="1252"/>
                  </a:lnTo>
                  <a:lnTo>
                    <a:pt x="202" y="1252"/>
                  </a:lnTo>
                  <a:close/>
                  <a:moveTo>
                    <a:pt x="19" y="1242"/>
                  </a:moveTo>
                  <a:lnTo>
                    <a:pt x="22" y="1242"/>
                  </a:lnTo>
                  <a:lnTo>
                    <a:pt x="19" y="1242"/>
                  </a:lnTo>
                  <a:close/>
                  <a:moveTo>
                    <a:pt x="22" y="1242"/>
                  </a:moveTo>
                  <a:lnTo>
                    <a:pt x="19" y="1242"/>
                  </a:lnTo>
                  <a:lnTo>
                    <a:pt x="22" y="1242"/>
                  </a:lnTo>
                  <a:close/>
                  <a:moveTo>
                    <a:pt x="22" y="1242"/>
                  </a:moveTo>
                  <a:lnTo>
                    <a:pt x="19" y="1242"/>
                  </a:lnTo>
                  <a:lnTo>
                    <a:pt x="22" y="1242"/>
                  </a:lnTo>
                  <a:close/>
                  <a:moveTo>
                    <a:pt x="31" y="1242"/>
                  </a:moveTo>
                  <a:lnTo>
                    <a:pt x="31" y="1240"/>
                  </a:lnTo>
                  <a:lnTo>
                    <a:pt x="31" y="1242"/>
                  </a:lnTo>
                  <a:close/>
                  <a:moveTo>
                    <a:pt x="22" y="1240"/>
                  </a:moveTo>
                  <a:lnTo>
                    <a:pt x="19" y="1240"/>
                  </a:lnTo>
                  <a:lnTo>
                    <a:pt x="22" y="1240"/>
                  </a:lnTo>
                  <a:close/>
                  <a:moveTo>
                    <a:pt x="22" y="1240"/>
                  </a:moveTo>
                  <a:lnTo>
                    <a:pt x="19" y="1240"/>
                  </a:lnTo>
                  <a:lnTo>
                    <a:pt x="22" y="1240"/>
                  </a:lnTo>
                  <a:close/>
                  <a:moveTo>
                    <a:pt x="31" y="1240"/>
                  </a:moveTo>
                  <a:lnTo>
                    <a:pt x="31" y="1238"/>
                  </a:lnTo>
                  <a:lnTo>
                    <a:pt x="31" y="1240"/>
                  </a:lnTo>
                  <a:close/>
                  <a:moveTo>
                    <a:pt x="202" y="1240"/>
                  </a:moveTo>
                  <a:lnTo>
                    <a:pt x="202" y="1238"/>
                  </a:lnTo>
                  <a:lnTo>
                    <a:pt x="202" y="1240"/>
                  </a:lnTo>
                  <a:close/>
                  <a:moveTo>
                    <a:pt x="22" y="1238"/>
                  </a:moveTo>
                  <a:lnTo>
                    <a:pt x="19" y="1238"/>
                  </a:lnTo>
                  <a:lnTo>
                    <a:pt x="22" y="1238"/>
                  </a:lnTo>
                  <a:close/>
                  <a:moveTo>
                    <a:pt x="24" y="1235"/>
                  </a:moveTo>
                  <a:lnTo>
                    <a:pt x="22" y="1235"/>
                  </a:lnTo>
                  <a:lnTo>
                    <a:pt x="24" y="1235"/>
                  </a:lnTo>
                  <a:close/>
                  <a:moveTo>
                    <a:pt x="24" y="1235"/>
                  </a:moveTo>
                  <a:lnTo>
                    <a:pt x="22" y="1235"/>
                  </a:lnTo>
                  <a:lnTo>
                    <a:pt x="24" y="1235"/>
                  </a:lnTo>
                  <a:close/>
                  <a:moveTo>
                    <a:pt x="45" y="1235"/>
                  </a:moveTo>
                  <a:lnTo>
                    <a:pt x="43" y="1235"/>
                  </a:lnTo>
                  <a:lnTo>
                    <a:pt x="45" y="1235"/>
                  </a:lnTo>
                  <a:close/>
                  <a:moveTo>
                    <a:pt x="22" y="1233"/>
                  </a:moveTo>
                  <a:lnTo>
                    <a:pt x="19" y="1233"/>
                  </a:lnTo>
                  <a:lnTo>
                    <a:pt x="22" y="1233"/>
                  </a:lnTo>
                  <a:close/>
                  <a:moveTo>
                    <a:pt x="22" y="1231"/>
                  </a:moveTo>
                  <a:lnTo>
                    <a:pt x="19" y="1231"/>
                  </a:lnTo>
                  <a:lnTo>
                    <a:pt x="22" y="1231"/>
                  </a:lnTo>
                  <a:close/>
                  <a:moveTo>
                    <a:pt x="36" y="1231"/>
                  </a:moveTo>
                  <a:lnTo>
                    <a:pt x="38" y="1231"/>
                  </a:lnTo>
                  <a:lnTo>
                    <a:pt x="36" y="1231"/>
                  </a:lnTo>
                  <a:close/>
                  <a:moveTo>
                    <a:pt x="200" y="1228"/>
                  </a:moveTo>
                  <a:lnTo>
                    <a:pt x="200" y="1231"/>
                  </a:lnTo>
                  <a:lnTo>
                    <a:pt x="200" y="1228"/>
                  </a:lnTo>
                  <a:close/>
                  <a:moveTo>
                    <a:pt x="200" y="1231"/>
                  </a:moveTo>
                  <a:lnTo>
                    <a:pt x="200" y="1228"/>
                  </a:lnTo>
                  <a:lnTo>
                    <a:pt x="200" y="1231"/>
                  </a:lnTo>
                  <a:close/>
                  <a:moveTo>
                    <a:pt x="204" y="1228"/>
                  </a:moveTo>
                  <a:lnTo>
                    <a:pt x="207" y="1228"/>
                  </a:lnTo>
                  <a:lnTo>
                    <a:pt x="204" y="1228"/>
                  </a:lnTo>
                  <a:lnTo>
                    <a:pt x="207" y="1228"/>
                  </a:lnTo>
                  <a:lnTo>
                    <a:pt x="204" y="1228"/>
                  </a:lnTo>
                  <a:close/>
                  <a:moveTo>
                    <a:pt x="19" y="1228"/>
                  </a:moveTo>
                  <a:lnTo>
                    <a:pt x="17" y="1228"/>
                  </a:lnTo>
                  <a:lnTo>
                    <a:pt x="19" y="1228"/>
                  </a:lnTo>
                  <a:close/>
                  <a:moveTo>
                    <a:pt x="22" y="1226"/>
                  </a:moveTo>
                  <a:lnTo>
                    <a:pt x="22" y="1228"/>
                  </a:lnTo>
                  <a:lnTo>
                    <a:pt x="22" y="1226"/>
                  </a:lnTo>
                  <a:close/>
                  <a:moveTo>
                    <a:pt x="24" y="1226"/>
                  </a:moveTo>
                  <a:lnTo>
                    <a:pt x="24" y="1228"/>
                  </a:lnTo>
                  <a:lnTo>
                    <a:pt x="24" y="1226"/>
                  </a:lnTo>
                  <a:close/>
                  <a:moveTo>
                    <a:pt x="19" y="1226"/>
                  </a:moveTo>
                  <a:lnTo>
                    <a:pt x="22" y="1226"/>
                  </a:lnTo>
                  <a:lnTo>
                    <a:pt x="19" y="1226"/>
                  </a:lnTo>
                  <a:close/>
                  <a:moveTo>
                    <a:pt x="24" y="1223"/>
                  </a:moveTo>
                  <a:lnTo>
                    <a:pt x="24" y="1226"/>
                  </a:lnTo>
                  <a:lnTo>
                    <a:pt x="24" y="1223"/>
                  </a:lnTo>
                  <a:close/>
                  <a:moveTo>
                    <a:pt x="29" y="1223"/>
                  </a:moveTo>
                  <a:lnTo>
                    <a:pt x="26" y="1223"/>
                  </a:lnTo>
                  <a:lnTo>
                    <a:pt x="29" y="1223"/>
                  </a:lnTo>
                  <a:close/>
                  <a:moveTo>
                    <a:pt x="41" y="1223"/>
                  </a:moveTo>
                  <a:lnTo>
                    <a:pt x="41" y="1221"/>
                  </a:lnTo>
                  <a:lnTo>
                    <a:pt x="41" y="1223"/>
                  </a:lnTo>
                  <a:close/>
                  <a:moveTo>
                    <a:pt x="17" y="1221"/>
                  </a:moveTo>
                  <a:lnTo>
                    <a:pt x="17" y="1219"/>
                  </a:lnTo>
                  <a:lnTo>
                    <a:pt x="17" y="1221"/>
                  </a:lnTo>
                  <a:close/>
                  <a:moveTo>
                    <a:pt x="17" y="1219"/>
                  </a:moveTo>
                  <a:lnTo>
                    <a:pt x="19" y="1219"/>
                  </a:lnTo>
                  <a:lnTo>
                    <a:pt x="17" y="1219"/>
                  </a:lnTo>
                  <a:close/>
                  <a:moveTo>
                    <a:pt x="22" y="1216"/>
                  </a:moveTo>
                  <a:lnTo>
                    <a:pt x="22" y="1219"/>
                  </a:lnTo>
                  <a:lnTo>
                    <a:pt x="22" y="1216"/>
                  </a:lnTo>
                  <a:close/>
                  <a:moveTo>
                    <a:pt x="24" y="1216"/>
                  </a:moveTo>
                  <a:lnTo>
                    <a:pt x="22" y="1216"/>
                  </a:lnTo>
                  <a:lnTo>
                    <a:pt x="24" y="1216"/>
                  </a:lnTo>
                  <a:close/>
                  <a:moveTo>
                    <a:pt x="24" y="1216"/>
                  </a:moveTo>
                  <a:lnTo>
                    <a:pt x="22" y="1216"/>
                  </a:lnTo>
                  <a:lnTo>
                    <a:pt x="24" y="1216"/>
                  </a:lnTo>
                  <a:close/>
                  <a:moveTo>
                    <a:pt x="24" y="1216"/>
                  </a:moveTo>
                  <a:lnTo>
                    <a:pt x="22" y="1216"/>
                  </a:lnTo>
                  <a:lnTo>
                    <a:pt x="24" y="1216"/>
                  </a:lnTo>
                  <a:close/>
                  <a:moveTo>
                    <a:pt x="24" y="1216"/>
                  </a:moveTo>
                  <a:lnTo>
                    <a:pt x="26" y="1216"/>
                  </a:lnTo>
                  <a:lnTo>
                    <a:pt x="24" y="1216"/>
                  </a:lnTo>
                  <a:close/>
                  <a:moveTo>
                    <a:pt x="26" y="1216"/>
                  </a:moveTo>
                  <a:lnTo>
                    <a:pt x="24" y="1216"/>
                  </a:lnTo>
                  <a:lnTo>
                    <a:pt x="26" y="1216"/>
                  </a:lnTo>
                  <a:close/>
                  <a:moveTo>
                    <a:pt x="26" y="1216"/>
                  </a:moveTo>
                  <a:lnTo>
                    <a:pt x="24" y="1216"/>
                  </a:lnTo>
                  <a:lnTo>
                    <a:pt x="26" y="1216"/>
                  </a:lnTo>
                  <a:close/>
                  <a:moveTo>
                    <a:pt x="43" y="1214"/>
                  </a:moveTo>
                  <a:lnTo>
                    <a:pt x="41" y="1214"/>
                  </a:lnTo>
                  <a:lnTo>
                    <a:pt x="43" y="1214"/>
                  </a:lnTo>
                  <a:close/>
                  <a:moveTo>
                    <a:pt x="36" y="1214"/>
                  </a:moveTo>
                  <a:lnTo>
                    <a:pt x="36" y="1212"/>
                  </a:lnTo>
                  <a:lnTo>
                    <a:pt x="36" y="1214"/>
                  </a:lnTo>
                  <a:close/>
                  <a:moveTo>
                    <a:pt x="29" y="1212"/>
                  </a:moveTo>
                  <a:lnTo>
                    <a:pt x="29" y="1214"/>
                  </a:lnTo>
                  <a:lnTo>
                    <a:pt x="29" y="1212"/>
                  </a:lnTo>
                  <a:close/>
                  <a:moveTo>
                    <a:pt x="17" y="1214"/>
                  </a:moveTo>
                  <a:lnTo>
                    <a:pt x="17" y="1212"/>
                  </a:lnTo>
                  <a:lnTo>
                    <a:pt x="17" y="1214"/>
                  </a:lnTo>
                  <a:close/>
                  <a:moveTo>
                    <a:pt x="29" y="1212"/>
                  </a:moveTo>
                  <a:lnTo>
                    <a:pt x="26" y="1212"/>
                  </a:lnTo>
                  <a:lnTo>
                    <a:pt x="29" y="1212"/>
                  </a:lnTo>
                  <a:close/>
                  <a:moveTo>
                    <a:pt x="29" y="1212"/>
                  </a:moveTo>
                  <a:lnTo>
                    <a:pt x="26" y="1212"/>
                  </a:lnTo>
                  <a:lnTo>
                    <a:pt x="29" y="1212"/>
                  </a:lnTo>
                  <a:close/>
                  <a:moveTo>
                    <a:pt x="29" y="1209"/>
                  </a:moveTo>
                  <a:lnTo>
                    <a:pt x="26" y="1209"/>
                  </a:lnTo>
                  <a:lnTo>
                    <a:pt x="29" y="1209"/>
                  </a:lnTo>
                  <a:close/>
                  <a:moveTo>
                    <a:pt x="17" y="1209"/>
                  </a:moveTo>
                  <a:lnTo>
                    <a:pt x="15" y="1209"/>
                  </a:lnTo>
                  <a:lnTo>
                    <a:pt x="17" y="1209"/>
                  </a:lnTo>
                  <a:close/>
                  <a:moveTo>
                    <a:pt x="29" y="1207"/>
                  </a:moveTo>
                  <a:lnTo>
                    <a:pt x="26" y="1207"/>
                  </a:lnTo>
                  <a:lnTo>
                    <a:pt x="29" y="1207"/>
                  </a:lnTo>
                  <a:close/>
                  <a:moveTo>
                    <a:pt x="24" y="1207"/>
                  </a:moveTo>
                  <a:lnTo>
                    <a:pt x="22" y="1207"/>
                  </a:lnTo>
                  <a:lnTo>
                    <a:pt x="24" y="1207"/>
                  </a:lnTo>
                  <a:close/>
                  <a:moveTo>
                    <a:pt x="22" y="1207"/>
                  </a:moveTo>
                  <a:lnTo>
                    <a:pt x="22" y="1204"/>
                  </a:lnTo>
                  <a:lnTo>
                    <a:pt x="22" y="1207"/>
                  </a:lnTo>
                  <a:close/>
                  <a:moveTo>
                    <a:pt x="17" y="1204"/>
                  </a:moveTo>
                  <a:lnTo>
                    <a:pt x="15" y="1204"/>
                  </a:lnTo>
                  <a:lnTo>
                    <a:pt x="17" y="1204"/>
                  </a:lnTo>
                  <a:close/>
                  <a:moveTo>
                    <a:pt x="60" y="1202"/>
                  </a:moveTo>
                  <a:lnTo>
                    <a:pt x="57" y="1202"/>
                  </a:lnTo>
                  <a:lnTo>
                    <a:pt x="60" y="1202"/>
                  </a:lnTo>
                  <a:close/>
                  <a:moveTo>
                    <a:pt x="15" y="1202"/>
                  </a:moveTo>
                  <a:lnTo>
                    <a:pt x="17" y="1202"/>
                  </a:lnTo>
                  <a:lnTo>
                    <a:pt x="15" y="1202"/>
                  </a:lnTo>
                  <a:close/>
                  <a:moveTo>
                    <a:pt x="15" y="1200"/>
                  </a:moveTo>
                  <a:lnTo>
                    <a:pt x="15" y="1202"/>
                  </a:lnTo>
                  <a:lnTo>
                    <a:pt x="15" y="1200"/>
                  </a:lnTo>
                  <a:close/>
                  <a:moveTo>
                    <a:pt x="19" y="1200"/>
                  </a:moveTo>
                  <a:lnTo>
                    <a:pt x="19" y="1202"/>
                  </a:lnTo>
                  <a:lnTo>
                    <a:pt x="19" y="1200"/>
                  </a:lnTo>
                  <a:close/>
                  <a:moveTo>
                    <a:pt x="15" y="1200"/>
                  </a:moveTo>
                  <a:lnTo>
                    <a:pt x="12" y="1200"/>
                  </a:lnTo>
                  <a:lnTo>
                    <a:pt x="15" y="1200"/>
                  </a:lnTo>
                  <a:close/>
                  <a:moveTo>
                    <a:pt x="15" y="1197"/>
                  </a:moveTo>
                  <a:lnTo>
                    <a:pt x="15" y="1200"/>
                  </a:lnTo>
                  <a:lnTo>
                    <a:pt x="15" y="1197"/>
                  </a:lnTo>
                  <a:close/>
                  <a:moveTo>
                    <a:pt x="19" y="1197"/>
                  </a:moveTo>
                  <a:lnTo>
                    <a:pt x="19" y="1200"/>
                  </a:lnTo>
                  <a:lnTo>
                    <a:pt x="19" y="1197"/>
                  </a:lnTo>
                  <a:close/>
                  <a:moveTo>
                    <a:pt x="15" y="1200"/>
                  </a:moveTo>
                  <a:lnTo>
                    <a:pt x="15" y="1197"/>
                  </a:lnTo>
                  <a:lnTo>
                    <a:pt x="15" y="1200"/>
                  </a:lnTo>
                  <a:close/>
                  <a:moveTo>
                    <a:pt x="15" y="1197"/>
                  </a:moveTo>
                  <a:lnTo>
                    <a:pt x="12" y="1197"/>
                  </a:lnTo>
                  <a:lnTo>
                    <a:pt x="15" y="1197"/>
                  </a:lnTo>
                  <a:close/>
                  <a:moveTo>
                    <a:pt x="19" y="1197"/>
                  </a:moveTo>
                  <a:lnTo>
                    <a:pt x="17" y="1197"/>
                  </a:lnTo>
                  <a:lnTo>
                    <a:pt x="19" y="1197"/>
                  </a:lnTo>
                  <a:close/>
                  <a:moveTo>
                    <a:pt x="15" y="1195"/>
                  </a:moveTo>
                  <a:lnTo>
                    <a:pt x="12" y="1195"/>
                  </a:lnTo>
                  <a:lnTo>
                    <a:pt x="15" y="1195"/>
                  </a:lnTo>
                  <a:close/>
                  <a:moveTo>
                    <a:pt x="12" y="1195"/>
                  </a:moveTo>
                  <a:lnTo>
                    <a:pt x="10" y="1195"/>
                  </a:lnTo>
                  <a:lnTo>
                    <a:pt x="12" y="1195"/>
                  </a:lnTo>
                  <a:close/>
                  <a:moveTo>
                    <a:pt x="15" y="1195"/>
                  </a:moveTo>
                  <a:lnTo>
                    <a:pt x="15" y="1193"/>
                  </a:lnTo>
                  <a:lnTo>
                    <a:pt x="15" y="1195"/>
                  </a:lnTo>
                  <a:close/>
                  <a:moveTo>
                    <a:pt x="17" y="1193"/>
                  </a:moveTo>
                  <a:lnTo>
                    <a:pt x="15" y="1193"/>
                  </a:lnTo>
                  <a:lnTo>
                    <a:pt x="17" y="1193"/>
                  </a:lnTo>
                  <a:close/>
                  <a:moveTo>
                    <a:pt x="10" y="1190"/>
                  </a:moveTo>
                  <a:lnTo>
                    <a:pt x="10" y="1193"/>
                  </a:lnTo>
                  <a:lnTo>
                    <a:pt x="10" y="1190"/>
                  </a:lnTo>
                  <a:lnTo>
                    <a:pt x="10" y="1193"/>
                  </a:lnTo>
                  <a:lnTo>
                    <a:pt x="10" y="1190"/>
                  </a:lnTo>
                  <a:close/>
                  <a:moveTo>
                    <a:pt x="17" y="1190"/>
                  </a:moveTo>
                  <a:lnTo>
                    <a:pt x="15" y="1190"/>
                  </a:lnTo>
                  <a:lnTo>
                    <a:pt x="17" y="1190"/>
                  </a:lnTo>
                  <a:close/>
                  <a:moveTo>
                    <a:pt x="10" y="1190"/>
                  </a:moveTo>
                  <a:lnTo>
                    <a:pt x="7" y="1190"/>
                  </a:lnTo>
                  <a:lnTo>
                    <a:pt x="10" y="1190"/>
                  </a:lnTo>
                  <a:close/>
                  <a:moveTo>
                    <a:pt x="12" y="1190"/>
                  </a:moveTo>
                  <a:lnTo>
                    <a:pt x="12" y="1188"/>
                  </a:lnTo>
                  <a:lnTo>
                    <a:pt x="12" y="1190"/>
                  </a:lnTo>
                  <a:close/>
                  <a:moveTo>
                    <a:pt x="10" y="1188"/>
                  </a:moveTo>
                  <a:lnTo>
                    <a:pt x="7" y="1188"/>
                  </a:lnTo>
                  <a:lnTo>
                    <a:pt x="10" y="1188"/>
                  </a:lnTo>
                  <a:close/>
                  <a:moveTo>
                    <a:pt x="15" y="1185"/>
                  </a:moveTo>
                  <a:lnTo>
                    <a:pt x="15" y="1188"/>
                  </a:lnTo>
                  <a:lnTo>
                    <a:pt x="15" y="1185"/>
                  </a:lnTo>
                  <a:close/>
                  <a:moveTo>
                    <a:pt x="22" y="1185"/>
                  </a:moveTo>
                  <a:lnTo>
                    <a:pt x="19" y="1185"/>
                  </a:lnTo>
                  <a:lnTo>
                    <a:pt x="22" y="1185"/>
                  </a:lnTo>
                  <a:close/>
                  <a:moveTo>
                    <a:pt x="10" y="1185"/>
                  </a:moveTo>
                  <a:lnTo>
                    <a:pt x="7" y="1185"/>
                  </a:lnTo>
                  <a:lnTo>
                    <a:pt x="10" y="1185"/>
                  </a:lnTo>
                  <a:close/>
                  <a:moveTo>
                    <a:pt x="7" y="1185"/>
                  </a:moveTo>
                  <a:lnTo>
                    <a:pt x="7" y="1183"/>
                  </a:lnTo>
                  <a:lnTo>
                    <a:pt x="7" y="1185"/>
                  </a:lnTo>
                  <a:close/>
                  <a:moveTo>
                    <a:pt x="12" y="1183"/>
                  </a:moveTo>
                  <a:lnTo>
                    <a:pt x="12" y="1181"/>
                  </a:lnTo>
                  <a:lnTo>
                    <a:pt x="12" y="1183"/>
                  </a:lnTo>
                  <a:close/>
                  <a:moveTo>
                    <a:pt x="17" y="1181"/>
                  </a:moveTo>
                  <a:lnTo>
                    <a:pt x="17" y="1183"/>
                  </a:lnTo>
                  <a:lnTo>
                    <a:pt x="17" y="1181"/>
                  </a:lnTo>
                  <a:close/>
                  <a:moveTo>
                    <a:pt x="15" y="1181"/>
                  </a:moveTo>
                  <a:lnTo>
                    <a:pt x="12" y="1181"/>
                  </a:lnTo>
                  <a:lnTo>
                    <a:pt x="15" y="1181"/>
                  </a:lnTo>
                  <a:close/>
                  <a:moveTo>
                    <a:pt x="12" y="1181"/>
                  </a:moveTo>
                  <a:lnTo>
                    <a:pt x="10" y="1181"/>
                  </a:lnTo>
                  <a:lnTo>
                    <a:pt x="12" y="1181"/>
                  </a:lnTo>
                  <a:close/>
                  <a:moveTo>
                    <a:pt x="17" y="1181"/>
                  </a:moveTo>
                  <a:lnTo>
                    <a:pt x="15" y="1181"/>
                  </a:lnTo>
                  <a:lnTo>
                    <a:pt x="17" y="1181"/>
                  </a:lnTo>
                  <a:close/>
                  <a:moveTo>
                    <a:pt x="17" y="1181"/>
                  </a:moveTo>
                  <a:lnTo>
                    <a:pt x="15" y="1181"/>
                  </a:lnTo>
                  <a:lnTo>
                    <a:pt x="17" y="1181"/>
                  </a:lnTo>
                  <a:close/>
                  <a:moveTo>
                    <a:pt x="10" y="1178"/>
                  </a:moveTo>
                  <a:lnTo>
                    <a:pt x="10" y="1181"/>
                  </a:lnTo>
                  <a:lnTo>
                    <a:pt x="10" y="1178"/>
                  </a:lnTo>
                  <a:close/>
                  <a:moveTo>
                    <a:pt x="10" y="1181"/>
                  </a:moveTo>
                  <a:lnTo>
                    <a:pt x="10" y="1178"/>
                  </a:lnTo>
                  <a:lnTo>
                    <a:pt x="10" y="1181"/>
                  </a:lnTo>
                  <a:close/>
                  <a:moveTo>
                    <a:pt x="7" y="1181"/>
                  </a:moveTo>
                  <a:lnTo>
                    <a:pt x="7" y="1178"/>
                  </a:lnTo>
                  <a:lnTo>
                    <a:pt x="7" y="1181"/>
                  </a:lnTo>
                  <a:close/>
                  <a:moveTo>
                    <a:pt x="5" y="1178"/>
                  </a:moveTo>
                  <a:lnTo>
                    <a:pt x="5" y="1181"/>
                  </a:lnTo>
                  <a:lnTo>
                    <a:pt x="5" y="1178"/>
                  </a:lnTo>
                  <a:close/>
                  <a:moveTo>
                    <a:pt x="10" y="1178"/>
                  </a:moveTo>
                  <a:lnTo>
                    <a:pt x="10" y="1181"/>
                  </a:lnTo>
                  <a:lnTo>
                    <a:pt x="10" y="1178"/>
                  </a:lnTo>
                  <a:close/>
                  <a:moveTo>
                    <a:pt x="5" y="1178"/>
                  </a:moveTo>
                  <a:lnTo>
                    <a:pt x="5" y="1181"/>
                  </a:lnTo>
                  <a:lnTo>
                    <a:pt x="5" y="1178"/>
                  </a:lnTo>
                  <a:close/>
                  <a:moveTo>
                    <a:pt x="7" y="1181"/>
                  </a:moveTo>
                  <a:lnTo>
                    <a:pt x="7" y="1178"/>
                  </a:lnTo>
                  <a:lnTo>
                    <a:pt x="7" y="1181"/>
                  </a:lnTo>
                  <a:close/>
                  <a:moveTo>
                    <a:pt x="12" y="1178"/>
                  </a:moveTo>
                  <a:lnTo>
                    <a:pt x="10" y="1178"/>
                  </a:lnTo>
                  <a:lnTo>
                    <a:pt x="12" y="1178"/>
                  </a:lnTo>
                  <a:close/>
                  <a:moveTo>
                    <a:pt x="15" y="1178"/>
                  </a:moveTo>
                  <a:lnTo>
                    <a:pt x="12" y="1178"/>
                  </a:lnTo>
                  <a:lnTo>
                    <a:pt x="15" y="1178"/>
                  </a:lnTo>
                  <a:close/>
                  <a:moveTo>
                    <a:pt x="24" y="1176"/>
                  </a:moveTo>
                  <a:lnTo>
                    <a:pt x="24" y="1178"/>
                  </a:lnTo>
                  <a:lnTo>
                    <a:pt x="24" y="1176"/>
                  </a:lnTo>
                  <a:close/>
                  <a:moveTo>
                    <a:pt x="12" y="1176"/>
                  </a:moveTo>
                  <a:lnTo>
                    <a:pt x="10" y="1176"/>
                  </a:lnTo>
                  <a:lnTo>
                    <a:pt x="12" y="1176"/>
                  </a:lnTo>
                  <a:close/>
                  <a:moveTo>
                    <a:pt x="10" y="1176"/>
                  </a:moveTo>
                  <a:lnTo>
                    <a:pt x="10" y="1174"/>
                  </a:lnTo>
                  <a:lnTo>
                    <a:pt x="10" y="1176"/>
                  </a:lnTo>
                  <a:close/>
                  <a:moveTo>
                    <a:pt x="7" y="1176"/>
                  </a:moveTo>
                  <a:lnTo>
                    <a:pt x="7" y="1174"/>
                  </a:lnTo>
                  <a:lnTo>
                    <a:pt x="7" y="1176"/>
                  </a:lnTo>
                  <a:close/>
                  <a:moveTo>
                    <a:pt x="15" y="1174"/>
                  </a:moveTo>
                  <a:lnTo>
                    <a:pt x="15" y="1176"/>
                  </a:lnTo>
                  <a:lnTo>
                    <a:pt x="15" y="1174"/>
                  </a:lnTo>
                  <a:close/>
                  <a:moveTo>
                    <a:pt x="12" y="1176"/>
                  </a:moveTo>
                  <a:lnTo>
                    <a:pt x="12" y="1174"/>
                  </a:lnTo>
                  <a:lnTo>
                    <a:pt x="12" y="1176"/>
                  </a:lnTo>
                  <a:close/>
                  <a:moveTo>
                    <a:pt x="12" y="1174"/>
                  </a:moveTo>
                  <a:lnTo>
                    <a:pt x="10" y="1174"/>
                  </a:lnTo>
                  <a:lnTo>
                    <a:pt x="12" y="1174"/>
                  </a:lnTo>
                  <a:close/>
                  <a:moveTo>
                    <a:pt x="12" y="1169"/>
                  </a:moveTo>
                  <a:lnTo>
                    <a:pt x="15" y="1169"/>
                  </a:lnTo>
                  <a:lnTo>
                    <a:pt x="12" y="1169"/>
                  </a:lnTo>
                  <a:close/>
                  <a:moveTo>
                    <a:pt x="3" y="1169"/>
                  </a:moveTo>
                  <a:lnTo>
                    <a:pt x="5" y="1169"/>
                  </a:lnTo>
                  <a:lnTo>
                    <a:pt x="3" y="1169"/>
                  </a:lnTo>
                  <a:close/>
                  <a:moveTo>
                    <a:pt x="5" y="1169"/>
                  </a:moveTo>
                  <a:lnTo>
                    <a:pt x="3" y="1169"/>
                  </a:lnTo>
                  <a:lnTo>
                    <a:pt x="5" y="1169"/>
                  </a:lnTo>
                  <a:close/>
                  <a:moveTo>
                    <a:pt x="17" y="1166"/>
                  </a:moveTo>
                  <a:lnTo>
                    <a:pt x="15" y="1166"/>
                  </a:lnTo>
                  <a:lnTo>
                    <a:pt x="17" y="1166"/>
                  </a:lnTo>
                  <a:close/>
                  <a:moveTo>
                    <a:pt x="5" y="1169"/>
                  </a:moveTo>
                  <a:lnTo>
                    <a:pt x="5" y="1166"/>
                  </a:lnTo>
                  <a:lnTo>
                    <a:pt x="5" y="1169"/>
                  </a:lnTo>
                  <a:close/>
                  <a:moveTo>
                    <a:pt x="3" y="1166"/>
                  </a:moveTo>
                  <a:lnTo>
                    <a:pt x="0" y="1166"/>
                  </a:lnTo>
                  <a:lnTo>
                    <a:pt x="3" y="1166"/>
                  </a:lnTo>
                  <a:close/>
                  <a:moveTo>
                    <a:pt x="15" y="1166"/>
                  </a:moveTo>
                  <a:lnTo>
                    <a:pt x="12" y="1166"/>
                  </a:lnTo>
                  <a:lnTo>
                    <a:pt x="15" y="1166"/>
                  </a:lnTo>
                  <a:close/>
                  <a:moveTo>
                    <a:pt x="10" y="1166"/>
                  </a:moveTo>
                  <a:lnTo>
                    <a:pt x="10" y="1164"/>
                  </a:lnTo>
                  <a:lnTo>
                    <a:pt x="10" y="1166"/>
                  </a:lnTo>
                  <a:close/>
                  <a:moveTo>
                    <a:pt x="10" y="1166"/>
                  </a:moveTo>
                  <a:lnTo>
                    <a:pt x="10" y="1164"/>
                  </a:lnTo>
                  <a:lnTo>
                    <a:pt x="10" y="1166"/>
                  </a:lnTo>
                  <a:close/>
                  <a:moveTo>
                    <a:pt x="7" y="1166"/>
                  </a:moveTo>
                  <a:lnTo>
                    <a:pt x="7" y="1164"/>
                  </a:lnTo>
                  <a:lnTo>
                    <a:pt x="7" y="1166"/>
                  </a:lnTo>
                  <a:close/>
                  <a:moveTo>
                    <a:pt x="5" y="1164"/>
                  </a:moveTo>
                  <a:lnTo>
                    <a:pt x="5" y="1162"/>
                  </a:lnTo>
                  <a:lnTo>
                    <a:pt x="5" y="1164"/>
                  </a:lnTo>
                  <a:close/>
                  <a:moveTo>
                    <a:pt x="10" y="1162"/>
                  </a:moveTo>
                  <a:lnTo>
                    <a:pt x="10" y="1164"/>
                  </a:lnTo>
                  <a:lnTo>
                    <a:pt x="10" y="1162"/>
                  </a:lnTo>
                  <a:close/>
                  <a:moveTo>
                    <a:pt x="7" y="1162"/>
                  </a:moveTo>
                  <a:lnTo>
                    <a:pt x="5" y="1162"/>
                  </a:lnTo>
                  <a:lnTo>
                    <a:pt x="7" y="1162"/>
                  </a:lnTo>
                  <a:close/>
                  <a:moveTo>
                    <a:pt x="10" y="1162"/>
                  </a:moveTo>
                  <a:lnTo>
                    <a:pt x="7" y="1162"/>
                  </a:lnTo>
                  <a:lnTo>
                    <a:pt x="10" y="1162"/>
                  </a:lnTo>
                  <a:close/>
                  <a:moveTo>
                    <a:pt x="15" y="1157"/>
                  </a:moveTo>
                  <a:lnTo>
                    <a:pt x="15" y="1159"/>
                  </a:lnTo>
                  <a:lnTo>
                    <a:pt x="15" y="1157"/>
                  </a:lnTo>
                  <a:close/>
                  <a:moveTo>
                    <a:pt x="15" y="1157"/>
                  </a:moveTo>
                  <a:lnTo>
                    <a:pt x="15" y="1159"/>
                  </a:lnTo>
                  <a:lnTo>
                    <a:pt x="15" y="1157"/>
                  </a:lnTo>
                  <a:close/>
                  <a:moveTo>
                    <a:pt x="10" y="1157"/>
                  </a:moveTo>
                  <a:lnTo>
                    <a:pt x="7" y="1157"/>
                  </a:lnTo>
                  <a:lnTo>
                    <a:pt x="10" y="1157"/>
                  </a:lnTo>
                  <a:close/>
                  <a:moveTo>
                    <a:pt x="15" y="1155"/>
                  </a:moveTo>
                  <a:lnTo>
                    <a:pt x="15" y="1157"/>
                  </a:lnTo>
                  <a:lnTo>
                    <a:pt x="15" y="1155"/>
                  </a:lnTo>
                  <a:close/>
                  <a:moveTo>
                    <a:pt x="7" y="1155"/>
                  </a:moveTo>
                  <a:lnTo>
                    <a:pt x="7" y="1152"/>
                  </a:lnTo>
                  <a:lnTo>
                    <a:pt x="7" y="1155"/>
                  </a:lnTo>
                  <a:close/>
                  <a:moveTo>
                    <a:pt x="15" y="1152"/>
                  </a:moveTo>
                  <a:lnTo>
                    <a:pt x="15" y="1155"/>
                  </a:lnTo>
                  <a:lnTo>
                    <a:pt x="15" y="1152"/>
                  </a:lnTo>
                  <a:close/>
                  <a:moveTo>
                    <a:pt x="10" y="1155"/>
                  </a:moveTo>
                  <a:lnTo>
                    <a:pt x="10" y="1152"/>
                  </a:lnTo>
                  <a:lnTo>
                    <a:pt x="10" y="1155"/>
                  </a:lnTo>
                  <a:close/>
                  <a:moveTo>
                    <a:pt x="7" y="1152"/>
                  </a:moveTo>
                  <a:lnTo>
                    <a:pt x="7" y="1155"/>
                  </a:lnTo>
                  <a:lnTo>
                    <a:pt x="7" y="1152"/>
                  </a:lnTo>
                  <a:close/>
                  <a:moveTo>
                    <a:pt x="5" y="1152"/>
                  </a:moveTo>
                  <a:lnTo>
                    <a:pt x="3" y="1152"/>
                  </a:lnTo>
                  <a:lnTo>
                    <a:pt x="5" y="1152"/>
                  </a:lnTo>
                  <a:close/>
                  <a:moveTo>
                    <a:pt x="7" y="1152"/>
                  </a:moveTo>
                  <a:lnTo>
                    <a:pt x="7" y="1150"/>
                  </a:lnTo>
                  <a:lnTo>
                    <a:pt x="7" y="1152"/>
                  </a:lnTo>
                  <a:close/>
                  <a:moveTo>
                    <a:pt x="29" y="1150"/>
                  </a:moveTo>
                  <a:lnTo>
                    <a:pt x="29" y="1147"/>
                  </a:lnTo>
                  <a:lnTo>
                    <a:pt x="29" y="1150"/>
                  </a:lnTo>
                  <a:close/>
                  <a:moveTo>
                    <a:pt x="12" y="1147"/>
                  </a:moveTo>
                  <a:lnTo>
                    <a:pt x="12" y="1150"/>
                  </a:lnTo>
                  <a:lnTo>
                    <a:pt x="12" y="1147"/>
                  </a:lnTo>
                  <a:close/>
                  <a:moveTo>
                    <a:pt x="15" y="1147"/>
                  </a:moveTo>
                  <a:lnTo>
                    <a:pt x="12" y="1147"/>
                  </a:lnTo>
                  <a:lnTo>
                    <a:pt x="15" y="1147"/>
                  </a:lnTo>
                  <a:close/>
                  <a:moveTo>
                    <a:pt x="7" y="1145"/>
                  </a:moveTo>
                  <a:lnTo>
                    <a:pt x="5" y="1145"/>
                  </a:lnTo>
                  <a:lnTo>
                    <a:pt x="7" y="1145"/>
                  </a:lnTo>
                  <a:close/>
                  <a:moveTo>
                    <a:pt x="15" y="1145"/>
                  </a:moveTo>
                  <a:lnTo>
                    <a:pt x="12" y="1145"/>
                  </a:lnTo>
                  <a:lnTo>
                    <a:pt x="12" y="1147"/>
                  </a:lnTo>
                  <a:lnTo>
                    <a:pt x="12" y="1145"/>
                  </a:lnTo>
                  <a:lnTo>
                    <a:pt x="15" y="1145"/>
                  </a:lnTo>
                  <a:close/>
                  <a:moveTo>
                    <a:pt x="34" y="1143"/>
                  </a:moveTo>
                  <a:lnTo>
                    <a:pt x="34" y="1145"/>
                  </a:lnTo>
                  <a:lnTo>
                    <a:pt x="34" y="1143"/>
                  </a:lnTo>
                  <a:close/>
                  <a:moveTo>
                    <a:pt x="17" y="1143"/>
                  </a:moveTo>
                  <a:lnTo>
                    <a:pt x="17" y="1140"/>
                  </a:lnTo>
                  <a:lnTo>
                    <a:pt x="17" y="1143"/>
                  </a:lnTo>
                  <a:close/>
                  <a:moveTo>
                    <a:pt x="12" y="1143"/>
                  </a:moveTo>
                  <a:lnTo>
                    <a:pt x="12" y="1140"/>
                  </a:lnTo>
                  <a:lnTo>
                    <a:pt x="12" y="1143"/>
                  </a:lnTo>
                  <a:close/>
                  <a:moveTo>
                    <a:pt x="22" y="1143"/>
                  </a:moveTo>
                  <a:lnTo>
                    <a:pt x="22" y="1140"/>
                  </a:lnTo>
                  <a:lnTo>
                    <a:pt x="22" y="1143"/>
                  </a:lnTo>
                  <a:close/>
                  <a:moveTo>
                    <a:pt x="17" y="1140"/>
                  </a:moveTo>
                  <a:lnTo>
                    <a:pt x="17" y="1143"/>
                  </a:lnTo>
                  <a:lnTo>
                    <a:pt x="17" y="1140"/>
                  </a:lnTo>
                  <a:close/>
                  <a:moveTo>
                    <a:pt x="17" y="1138"/>
                  </a:moveTo>
                  <a:lnTo>
                    <a:pt x="15" y="1138"/>
                  </a:lnTo>
                  <a:lnTo>
                    <a:pt x="17" y="1138"/>
                  </a:lnTo>
                  <a:close/>
                  <a:moveTo>
                    <a:pt x="17" y="1138"/>
                  </a:moveTo>
                  <a:lnTo>
                    <a:pt x="19" y="1138"/>
                  </a:lnTo>
                  <a:lnTo>
                    <a:pt x="17" y="1138"/>
                  </a:lnTo>
                  <a:close/>
                  <a:moveTo>
                    <a:pt x="5" y="1138"/>
                  </a:moveTo>
                  <a:lnTo>
                    <a:pt x="7" y="1138"/>
                  </a:lnTo>
                  <a:lnTo>
                    <a:pt x="5" y="1138"/>
                  </a:lnTo>
                  <a:close/>
                  <a:moveTo>
                    <a:pt x="12" y="1138"/>
                  </a:moveTo>
                  <a:lnTo>
                    <a:pt x="12" y="1136"/>
                  </a:lnTo>
                  <a:lnTo>
                    <a:pt x="12" y="1138"/>
                  </a:lnTo>
                  <a:close/>
                  <a:moveTo>
                    <a:pt x="15" y="1138"/>
                  </a:moveTo>
                  <a:lnTo>
                    <a:pt x="15" y="1136"/>
                  </a:lnTo>
                  <a:lnTo>
                    <a:pt x="15" y="1138"/>
                  </a:lnTo>
                  <a:close/>
                  <a:moveTo>
                    <a:pt x="12" y="1136"/>
                  </a:moveTo>
                  <a:lnTo>
                    <a:pt x="12" y="1138"/>
                  </a:lnTo>
                  <a:lnTo>
                    <a:pt x="12" y="1136"/>
                  </a:lnTo>
                  <a:close/>
                  <a:moveTo>
                    <a:pt x="12" y="1136"/>
                  </a:moveTo>
                  <a:lnTo>
                    <a:pt x="12" y="1138"/>
                  </a:lnTo>
                  <a:lnTo>
                    <a:pt x="12" y="1136"/>
                  </a:lnTo>
                  <a:close/>
                  <a:moveTo>
                    <a:pt x="7" y="1136"/>
                  </a:moveTo>
                  <a:lnTo>
                    <a:pt x="7" y="1138"/>
                  </a:lnTo>
                  <a:lnTo>
                    <a:pt x="7" y="1136"/>
                  </a:lnTo>
                  <a:close/>
                  <a:moveTo>
                    <a:pt x="26" y="1136"/>
                  </a:moveTo>
                  <a:lnTo>
                    <a:pt x="24" y="1136"/>
                  </a:lnTo>
                  <a:lnTo>
                    <a:pt x="26" y="1136"/>
                  </a:lnTo>
                  <a:close/>
                  <a:moveTo>
                    <a:pt x="12" y="1136"/>
                  </a:moveTo>
                  <a:lnTo>
                    <a:pt x="15" y="1136"/>
                  </a:lnTo>
                  <a:lnTo>
                    <a:pt x="12" y="1136"/>
                  </a:lnTo>
                  <a:close/>
                  <a:moveTo>
                    <a:pt x="24" y="1136"/>
                  </a:moveTo>
                  <a:lnTo>
                    <a:pt x="22" y="1136"/>
                  </a:lnTo>
                  <a:lnTo>
                    <a:pt x="24" y="1136"/>
                  </a:lnTo>
                  <a:close/>
                  <a:moveTo>
                    <a:pt x="22" y="1136"/>
                  </a:moveTo>
                  <a:lnTo>
                    <a:pt x="19" y="1136"/>
                  </a:lnTo>
                  <a:lnTo>
                    <a:pt x="22" y="1133"/>
                  </a:lnTo>
                  <a:lnTo>
                    <a:pt x="19" y="1136"/>
                  </a:lnTo>
                  <a:lnTo>
                    <a:pt x="22" y="1136"/>
                  </a:lnTo>
                  <a:close/>
                  <a:moveTo>
                    <a:pt x="10" y="1133"/>
                  </a:moveTo>
                  <a:lnTo>
                    <a:pt x="12" y="1136"/>
                  </a:lnTo>
                  <a:lnTo>
                    <a:pt x="10" y="1136"/>
                  </a:lnTo>
                  <a:lnTo>
                    <a:pt x="10" y="1133"/>
                  </a:lnTo>
                  <a:close/>
                  <a:moveTo>
                    <a:pt x="12" y="1133"/>
                  </a:moveTo>
                  <a:lnTo>
                    <a:pt x="12" y="1136"/>
                  </a:lnTo>
                  <a:lnTo>
                    <a:pt x="12" y="1133"/>
                  </a:lnTo>
                  <a:close/>
                  <a:moveTo>
                    <a:pt x="19" y="1136"/>
                  </a:moveTo>
                  <a:lnTo>
                    <a:pt x="19" y="1133"/>
                  </a:lnTo>
                  <a:lnTo>
                    <a:pt x="19" y="1136"/>
                  </a:lnTo>
                  <a:close/>
                  <a:moveTo>
                    <a:pt x="12" y="1136"/>
                  </a:moveTo>
                  <a:lnTo>
                    <a:pt x="12" y="1133"/>
                  </a:lnTo>
                  <a:lnTo>
                    <a:pt x="12" y="1136"/>
                  </a:lnTo>
                  <a:close/>
                  <a:moveTo>
                    <a:pt x="15" y="1133"/>
                  </a:moveTo>
                  <a:lnTo>
                    <a:pt x="15" y="1131"/>
                  </a:lnTo>
                  <a:lnTo>
                    <a:pt x="15" y="1133"/>
                  </a:lnTo>
                  <a:close/>
                  <a:moveTo>
                    <a:pt x="12" y="1128"/>
                  </a:moveTo>
                  <a:lnTo>
                    <a:pt x="10" y="1128"/>
                  </a:lnTo>
                  <a:lnTo>
                    <a:pt x="12" y="1128"/>
                  </a:lnTo>
                  <a:close/>
                  <a:moveTo>
                    <a:pt x="10" y="1128"/>
                  </a:moveTo>
                  <a:lnTo>
                    <a:pt x="12" y="1128"/>
                  </a:lnTo>
                  <a:lnTo>
                    <a:pt x="10" y="1128"/>
                  </a:lnTo>
                  <a:close/>
                  <a:moveTo>
                    <a:pt x="10" y="1128"/>
                  </a:moveTo>
                  <a:lnTo>
                    <a:pt x="10" y="1126"/>
                  </a:lnTo>
                  <a:lnTo>
                    <a:pt x="10" y="1128"/>
                  </a:lnTo>
                  <a:close/>
                  <a:moveTo>
                    <a:pt x="22" y="1121"/>
                  </a:moveTo>
                  <a:lnTo>
                    <a:pt x="19" y="1121"/>
                  </a:lnTo>
                  <a:lnTo>
                    <a:pt x="22" y="1121"/>
                  </a:lnTo>
                  <a:close/>
                  <a:moveTo>
                    <a:pt x="22" y="1119"/>
                  </a:moveTo>
                  <a:lnTo>
                    <a:pt x="19" y="1119"/>
                  </a:lnTo>
                  <a:lnTo>
                    <a:pt x="22" y="1119"/>
                  </a:lnTo>
                  <a:close/>
                  <a:moveTo>
                    <a:pt x="31" y="1119"/>
                  </a:moveTo>
                  <a:lnTo>
                    <a:pt x="29" y="1119"/>
                  </a:lnTo>
                  <a:lnTo>
                    <a:pt x="31" y="1119"/>
                  </a:lnTo>
                  <a:close/>
                  <a:moveTo>
                    <a:pt x="15" y="1119"/>
                  </a:moveTo>
                  <a:lnTo>
                    <a:pt x="15" y="1117"/>
                  </a:lnTo>
                  <a:lnTo>
                    <a:pt x="15" y="1119"/>
                  </a:lnTo>
                  <a:close/>
                  <a:moveTo>
                    <a:pt x="29" y="1112"/>
                  </a:moveTo>
                  <a:lnTo>
                    <a:pt x="26" y="1112"/>
                  </a:lnTo>
                  <a:lnTo>
                    <a:pt x="29" y="1112"/>
                  </a:lnTo>
                  <a:close/>
                  <a:moveTo>
                    <a:pt x="26" y="1107"/>
                  </a:moveTo>
                  <a:lnTo>
                    <a:pt x="26" y="1105"/>
                  </a:lnTo>
                  <a:lnTo>
                    <a:pt x="26" y="1107"/>
                  </a:lnTo>
                  <a:close/>
                  <a:moveTo>
                    <a:pt x="31" y="1105"/>
                  </a:moveTo>
                  <a:lnTo>
                    <a:pt x="29" y="1105"/>
                  </a:lnTo>
                  <a:lnTo>
                    <a:pt x="31" y="1105"/>
                  </a:lnTo>
                  <a:close/>
                  <a:moveTo>
                    <a:pt x="29" y="1105"/>
                  </a:moveTo>
                  <a:lnTo>
                    <a:pt x="29" y="1102"/>
                  </a:lnTo>
                  <a:lnTo>
                    <a:pt x="29" y="1105"/>
                  </a:lnTo>
                  <a:close/>
                  <a:moveTo>
                    <a:pt x="45" y="1102"/>
                  </a:moveTo>
                  <a:lnTo>
                    <a:pt x="45" y="1100"/>
                  </a:lnTo>
                  <a:lnTo>
                    <a:pt x="45" y="1102"/>
                  </a:lnTo>
                  <a:close/>
                  <a:moveTo>
                    <a:pt x="50" y="1100"/>
                  </a:moveTo>
                  <a:lnTo>
                    <a:pt x="48" y="1100"/>
                  </a:lnTo>
                  <a:lnTo>
                    <a:pt x="50" y="1100"/>
                  </a:lnTo>
                  <a:close/>
                  <a:moveTo>
                    <a:pt x="43" y="1100"/>
                  </a:moveTo>
                  <a:lnTo>
                    <a:pt x="45" y="1100"/>
                  </a:lnTo>
                  <a:lnTo>
                    <a:pt x="43" y="1100"/>
                  </a:lnTo>
                  <a:close/>
                  <a:moveTo>
                    <a:pt x="45" y="1100"/>
                  </a:moveTo>
                  <a:lnTo>
                    <a:pt x="43" y="1100"/>
                  </a:lnTo>
                  <a:lnTo>
                    <a:pt x="45" y="1100"/>
                  </a:lnTo>
                  <a:close/>
                  <a:moveTo>
                    <a:pt x="45" y="1100"/>
                  </a:moveTo>
                  <a:lnTo>
                    <a:pt x="43" y="1100"/>
                  </a:lnTo>
                  <a:lnTo>
                    <a:pt x="45" y="1100"/>
                  </a:lnTo>
                  <a:close/>
                  <a:moveTo>
                    <a:pt x="43" y="1100"/>
                  </a:moveTo>
                  <a:lnTo>
                    <a:pt x="45" y="1100"/>
                  </a:lnTo>
                  <a:lnTo>
                    <a:pt x="43" y="1100"/>
                  </a:lnTo>
                  <a:close/>
                  <a:moveTo>
                    <a:pt x="43" y="1098"/>
                  </a:moveTo>
                  <a:lnTo>
                    <a:pt x="41" y="1098"/>
                  </a:lnTo>
                  <a:lnTo>
                    <a:pt x="43" y="1098"/>
                  </a:lnTo>
                  <a:close/>
                  <a:moveTo>
                    <a:pt x="41" y="1098"/>
                  </a:moveTo>
                  <a:lnTo>
                    <a:pt x="38" y="1098"/>
                  </a:lnTo>
                  <a:lnTo>
                    <a:pt x="41" y="1098"/>
                  </a:lnTo>
                  <a:close/>
                  <a:moveTo>
                    <a:pt x="45" y="1090"/>
                  </a:moveTo>
                  <a:lnTo>
                    <a:pt x="43" y="1090"/>
                  </a:lnTo>
                  <a:lnTo>
                    <a:pt x="45" y="1090"/>
                  </a:lnTo>
                  <a:close/>
                  <a:moveTo>
                    <a:pt x="57" y="1090"/>
                  </a:moveTo>
                  <a:lnTo>
                    <a:pt x="55" y="1090"/>
                  </a:lnTo>
                  <a:lnTo>
                    <a:pt x="57" y="1090"/>
                  </a:lnTo>
                  <a:close/>
                  <a:moveTo>
                    <a:pt x="74" y="1088"/>
                  </a:moveTo>
                  <a:lnTo>
                    <a:pt x="71" y="1088"/>
                  </a:lnTo>
                  <a:lnTo>
                    <a:pt x="74" y="1088"/>
                  </a:lnTo>
                  <a:close/>
                  <a:moveTo>
                    <a:pt x="62" y="1088"/>
                  </a:moveTo>
                  <a:lnTo>
                    <a:pt x="60" y="1088"/>
                  </a:lnTo>
                  <a:lnTo>
                    <a:pt x="62" y="1088"/>
                  </a:lnTo>
                  <a:close/>
                  <a:moveTo>
                    <a:pt x="64" y="1088"/>
                  </a:moveTo>
                  <a:lnTo>
                    <a:pt x="64" y="1086"/>
                  </a:lnTo>
                  <a:lnTo>
                    <a:pt x="64" y="1088"/>
                  </a:lnTo>
                  <a:close/>
                  <a:moveTo>
                    <a:pt x="64" y="1086"/>
                  </a:moveTo>
                  <a:lnTo>
                    <a:pt x="64" y="1088"/>
                  </a:lnTo>
                  <a:lnTo>
                    <a:pt x="64" y="1086"/>
                  </a:lnTo>
                  <a:close/>
                  <a:moveTo>
                    <a:pt x="69" y="1088"/>
                  </a:moveTo>
                  <a:lnTo>
                    <a:pt x="69" y="1086"/>
                  </a:lnTo>
                  <a:lnTo>
                    <a:pt x="69" y="1088"/>
                  </a:lnTo>
                  <a:close/>
                  <a:moveTo>
                    <a:pt x="60" y="1086"/>
                  </a:moveTo>
                  <a:lnTo>
                    <a:pt x="57" y="1086"/>
                  </a:lnTo>
                  <a:lnTo>
                    <a:pt x="60" y="1086"/>
                  </a:lnTo>
                  <a:close/>
                  <a:moveTo>
                    <a:pt x="50" y="1083"/>
                  </a:moveTo>
                  <a:lnTo>
                    <a:pt x="50" y="1086"/>
                  </a:lnTo>
                  <a:lnTo>
                    <a:pt x="50" y="1083"/>
                  </a:lnTo>
                  <a:close/>
                  <a:moveTo>
                    <a:pt x="71" y="1081"/>
                  </a:moveTo>
                  <a:lnTo>
                    <a:pt x="69" y="1081"/>
                  </a:lnTo>
                  <a:lnTo>
                    <a:pt x="71" y="1081"/>
                  </a:lnTo>
                  <a:close/>
                  <a:moveTo>
                    <a:pt x="53" y="1081"/>
                  </a:moveTo>
                  <a:lnTo>
                    <a:pt x="55" y="1081"/>
                  </a:lnTo>
                  <a:lnTo>
                    <a:pt x="53" y="1081"/>
                  </a:lnTo>
                  <a:close/>
                  <a:moveTo>
                    <a:pt x="86" y="1081"/>
                  </a:moveTo>
                  <a:lnTo>
                    <a:pt x="86" y="1079"/>
                  </a:lnTo>
                  <a:lnTo>
                    <a:pt x="86" y="1081"/>
                  </a:lnTo>
                  <a:close/>
                  <a:moveTo>
                    <a:pt x="64" y="1079"/>
                  </a:moveTo>
                  <a:lnTo>
                    <a:pt x="62" y="1079"/>
                  </a:lnTo>
                  <a:lnTo>
                    <a:pt x="64" y="1079"/>
                  </a:lnTo>
                  <a:close/>
                  <a:moveTo>
                    <a:pt x="71" y="1079"/>
                  </a:moveTo>
                  <a:lnTo>
                    <a:pt x="71" y="1076"/>
                  </a:lnTo>
                  <a:lnTo>
                    <a:pt x="71" y="1079"/>
                  </a:lnTo>
                  <a:close/>
                  <a:moveTo>
                    <a:pt x="57" y="1079"/>
                  </a:moveTo>
                  <a:lnTo>
                    <a:pt x="57" y="1076"/>
                  </a:lnTo>
                  <a:lnTo>
                    <a:pt x="57" y="1079"/>
                  </a:lnTo>
                  <a:close/>
                  <a:moveTo>
                    <a:pt x="88" y="1076"/>
                  </a:moveTo>
                  <a:lnTo>
                    <a:pt x="88" y="1074"/>
                  </a:lnTo>
                  <a:lnTo>
                    <a:pt x="88" y="1076"/>
                  </a:lnTo>
                  <a:close/>
                  <a:moveTo>
                    <a:pt x="81" y="1074"/>
                  </a:moveTo>
                  <a:lnTo>
                    <a:pt x="79" y="1074"/>
                  </a:lnTo>
                  <a:lnTo>
                    <a:pt x="81" y="1074"/>
                  </a:lnTo>
                  <a:close/>
                  <a:moveTo>
                    <a:pt x="64" y="1074"/>
                  </a:moveTo>
                  <a:lnTo>
                    <a:pt x="62" y="1074"/>
                  </a:lnTo>
                  <a:lnTo>
                    <a:pt x="64" y="1074"/>
                  </a:lnTo>
                  <a:close/>
                  <a:moveTo>
                    <a:pt x="79" y="1071"/>
                  </a:moveTo>
                  <a:lnTo>
                    <a:pt x="76" y="1071"/>
                  </a:lnTo>
                  <a:lnTo>
                    <a:pt x="79" y="1071"/>
                  </a:lnTo>
                  <a:close/>
                  <a:moveTo>
                    <a:pt x="71" y="1071"/>
                  </a:moveTo>
                  <a:lnTo>
                    <a:pt x="69" y="1071"/>
                  </a:lnTo>
                  <a:lnTo>
                    <a:pt x="71" y="1071"/>
                  </a:lnTo>
                  <a:close/>
                  <a:moveTo>
                    <a:pt x="76" y="1071"/>
                  </a:moveTo>
                  <a:lnTo>
                    <a:pt x="74" y="1071"/>
                  </a:lnTo>
                  <a:lnTo>
                    <a:pt x="76" y="1071"/>
                  </a:lnTo>
                  <a:close/>
                  <a:moveTo>
                    <a:pt x="74" y="1071"/>
                  </a:moveTo>
                  <a:lnTo>
                    <a:pt x="71" y="1071"/>
                  </a:lnTo>
                  <a:lnTo>
                    <a:pt x="74" y="1071"/>
                  </a:lnTo>
                  <a:close/>
                  <a:moveTo>
                    <a:pt x="74" y="1071"/>
                  </a:moveTo>
                  <a:lnTo>
                    <a:pt x="76" y="1071"/>
                  </a:lnTo>
                  <a:lnTo>
                    <a:pt x="74" y="1071"/>
                  </a:lnTo>
                  <a:close/>
                  <a:moveTo>
                    <a:pt x="76" y="1069"/>
                  </a:moveTo>
                  <a:lnTo>
                    <a:pt x="74" y="1071"/>
                  </a:lnTo>
                  <a:lnTo>
                    <a:pt x="74" y="1069"/>
                  </a:lnTo>
                  <a:lnTo>
                    <a:pt x="76" y="1069"/>
                  </a:lnTo>
                  <a:close/>
                  <a:moveTo>
                    <a:pt x="67" y="1069"/>
                  </a:moveTo>
                  <a:lnTo>
                    <a:pt x="67" y="1071"/>
                  </a:lnTo>
                  <a:lnTo>
                    <a:pt x="67" y="1069"/>
                  </a:lnTo>
                  <a:close/>
                  <a:moveTo>
                    <a:pt x="64" y="1069"/>
                  </a:moveTo>
                  <a:lnTo>
                    <a:pt x="62" y="1069"/>
                  </a:lnTo>
                  <a:lnTo>
                    <a:pt x="64" y="1069"/>
                  </a:lnTo>
                  <a:close/>
                  <a:moveTo>
                    <a:pt x="74" y="1069"/>
                  </a:moveTo>
                  <a:lnTo>
                    <a:pt x="76" y="1069"/>
                  </a:lnTo>
                  <a:lnTo>
                    <a:pt x="74" y="1069"/>
                  </a:lnTo>
                  <a:close/>
                  <a:moveTo>
                    <a:pt x="69" y="1069"/>
                  </a:moveTo>
                  <a:lnTo>
                    <a:pt x="67" y="1069"/>
                  </a:lnTo>
                  <a:lnTo>
                    <a:pt x="69" y="1069"/>
                  </a:lnTo>
                  <a:close/>
                  <a:moveTo>
                    <a:pt x="88" y="1069"/>
                  </a:moveTo>
                  <a:lnTo>
                    <a:pt x="86" y="1069"/>
                  </a:lnTo>
                  <a:lnTo>
                    <a:pt x="88" y="1069"/>
                  </a:lnTo>
                  <a:close/>
                  <a:moveTo>
                    <a:pt x="76" y="1069"/>
                  </a:moveTo>
                  <a:lnTo>
                    <a:pt x="74" y="1069"/>
                  </a:lnTo>
                  <a:lnTo>
                    <a:pt x="76" y="1069"/>
                  </a:lnTo>
                  <a:lnTo>
                    <a:pt x="76" y="1067"/>
                  </a:lnTo>
                  <a:lnTo>
                    <a:pt x="76" y="1069"/>
                  </a:lnTo>
                  <a:close/>
                  <a:moveTo>
                    <a:pt x="67" y="1069"/>
                  </a:moveTo>
                  <a:lnTo>
                    <a:pt x="67" y="1067"/>
                  </a:lnTo>
                  <a:lnTo>
                    <a:pt x="67" y="1069"/>
                  </a:lnTo>
                  <a:close/>
                  <a:moveTo>
                    <a:pt x="79" y="1069"/>
                  </a:moveTo>
                  <a:lnTo>
                    <a:pt x="79" y="1067"/>
                  </a:lnTo>
                  <a:lnTo>
                    <a:pt x="79" y="1069"/>
                  </a:lnTo>
                  <a:close/>
                  <a:moveTo>
                    <a:pt x="81" y="1067"/>
                  </a:moveTo>
                  <a:lnTo>
                    <a:pt x="79" y="1067"/>
                  </a:lnTo>
                  <a:lnTo>
                    <a:pt x="81" y="1067"/>
                  </a:lnTo>
                  <a:close/>
                  <a:moveTo>
                    <a:pt x="79" y="1067"/>
                  </a:moveTo>
                  <a:lnTo>
                    <a:pt x="76" y="1067"/>
                  </a:lnTo>
                  <a:lnTo>
                    <a:pt x="79" y="1067"/>
                  </a:lnTo>
                  <a:close/>
                  <a:moveTo>
                    <a:pt x="76" y="1067"/>
                  </a:moveTo>
                  <a:lnTo>
                    <a:pt x="74" y="1067"/>
                  </a:lnTo>
                  <a:lnTo>
                    <a:pt x="76" y="1067"/>
                  </a:lnTo>
                  <a:close/>
                  <a:moveTo>
                    <a:pt x="79" y="1067"/>
                  </a:moveTo>
                  <a:lnTo>
                    <a:pt x="76" y="1067"/>
                  </a:lnTo>
                  <a:lnTo>
                    <a:pt x="79" y="1067"/>
                  </a:lnTo>
                  <a:close/>
                  <a:moveTo>
                    <a:pt x="79" y="1067"/>
                  </a:moveTo>
                  <a:lnTo>
                    <a:pt x="79" y="1064"/>
                  </a:lnTo>
                  <a:lnTo>
                    <a:pt x="79" y="1067"/>
                  </a:lnTo>
                  <a:close/>
                  <a:moveTo>
                    <a:pt x="81" y="1064"/>
                  </a:moveTo>
                  <a:lnTo>
                    <a:pt x="81" y="1067"/>
                  </a:lnTo>
                  <a:lnTo>
                    <a:pt x="81" y="1064"/>
                  </a:lnTo>
                  <a:close/>
                  <a:moveTo>
                    <a:pt x="76" y="1067"/>
                  </a:moveTo>
                  <a:lnTo>
                    <a:pt x="76" y="1064"/>
                  </a:lnTo>
                  <a:lnTo>
                    <a:pt x="76" y="1067"/>
                  </a:lnTo>
                  <a:close/>
                  <a:moveTo>
                    <a:pt x="76" y="1064"/>
                  </a:moveTo>
                  <a:lnTo>
                    <a:pt x="76" y="1067"/>
                  </a:lnTo>
                  <a:lnTo>
                    <a:pt x="76" y="1064"/>
                  </a:lnTo>
                  <a:close/>
                  <a:moveTo>
                    <a:pt x="81" y="1064"/>
                  </a:moveTo>
                  <a:lnTo>
                    <a:pt x="79" y="1064"/>
                  </a:lnTo>
                  <a:lnTo>
                    <a:pt x="81" y="1064"/>
                  </a:lnTo>
                  <a:close/>
                  <a:moveTo>
                    <a:pt x="81" y="1062"/>
                  </a:moveTo>
                  <a:lnTo>
                    <a:pt x="81" y="1064"/>
                  </a:lnTo>
                  <a:lnTo>
                    <a:pt x="81" y="1062"/>
                  </a:lnTo>
                  <a:close/>
                  <a:moveTo>
                    <a:pt x="109" y="1062"/>
                  </a:moveTo>
                  <a:lnTo>
                    <a:pt x="107" y="1062"/>
                  </a:lnTo>
                  <a:lnTo>
                    <a:pt x="109" y="1062"/>
                  </a:lnTo>
                  <a:close/>
                  <a:moveTo>
                    <a:pt x="117" y="1062"/>
                  </a:moveTo>
                  <a:lnTo>
                    <a:pt x="114" y="1062"/>
                  </a:lnTo>
                  <a:lnTo>
                    <a:pt x="117" y="1062"/>
                  </a:lnTo>
                  <a:close/>
                  <a:moveTo>
                    <a:pt x="81" y="1062"/>
                  </a:moveTo>
                  <a:lnTo>
                    <a:pt x="81" y="1060"/>
                  </a:lnTo>
                  <a:lnTo>
                    <a:pt x="81" y="1062"/>
                  </a:lnTo>
                  <a:close/>
                  <a:moveTo>
                    <a:pt x="83" y="1062"/>
                  </a:moveTo>
                  <a:lnTo>
                    <a:pt x="83" y="1060"/>
                  </a:lnTo>
                  <a:lnTo>
                    <a:pt x="83" y="1062"/>
                  </a:lnTo>
                  <a:close/>
                  <a:moveTo>
                    <a:pt x="138" y="1060"/>
                  </a:moveTo>
                  <a:lnTo>
                    <a:pt x="138" y="1062"/>
                  </a:lnTo>
                  <a:lnTo>
                    <a:pt x="138" y="1060"/>
                  </a:lnTo>
                  <a:close/>
                  <a:moveTo>
                    <a:pt x="90" y="1060"/>
                  </a:moveTo>
                  <a:lnTo>
                    <a:pt x="88" y="1060"/>
                  </a:lnTo>
                  <a:lnTo>
                    <a:pt x="90" y="1060"/>
                  </a:lnTo>
                  <a:close/>
                  <a:moveTo>
                    <a:pt x="93" y="1060"/>
                  </a:moveTo>
                  <a:lnTo>
                    <a:pt x="90" y="1060"/>
                  </a:lnTo>
                  <a:lnTo>
                    <a:pt x="93" y="1060"/>
                  </a:lnTo>
                  <a:close/>
                  <a:moveTo>
                    <a:pt x="98" y="1060"/>
                  </a:moveTo>
                  <a:lnTo>
                    <a:pt x="95" y="1060"/>
                  </a:lnTo>
                  <a:lnTo>
                    <a:pt x="98" y="1060"/>
                  </a:lnTo>
                  <a:close/>
                  <a:moveTo>
                    <a:pt x="98" y="1060"/>
                  </a:moveTo>
                  <a:lnTo>
                    <a:pt x="95" y="1060"/>
                  </a:lnTo>
                  <a:lnTo>
                    <a:pt x="98" y="1060"/>
                  </a:lnTo>
                  <a:close/>
                  <a:moveTo>
                    <a:pt x="90" y="1060"/>
                  </a:moveTo>
                  <a:lnTo>
                    <a:pt x="90" y="1057"/>
                  </a:lnTo>
                  <a:lnTo>
                    <a:pt x="90" y="1060"/>
                  </a:lnTo>
                  <a:close/>
                  <a:moveTo>
                    <a:pt x="102" y="1057"/>
                  </a:moveTo>
                  <a:lnTo>
                    <a:pt x="100" y="1057"/>
                  </a:lnTo>
                  <a:lnTo>
                    <a:pt x="102" y="1057"/>
                  </a:lnTo>
                  <a:close/>
                  <a:moveTo>
                    <a:pt x="98" y="1057"/>
                  </a:moveTo>
                  <a:lnTo>
                    <a:pt x="95" y="1057"/>
                  </a:lnTo>
                  <a:lnTo>
                    <a:pt x="98" y="1057"/>
                  </a:lnTo>
                  <a:close/>
                  <a:moveTo>
                    <a:pt x="100" y="1055"/>
                  </a:moveTo>
                  <a:lnTo>
                    <a:pt x="100" y="1057"/>
                  </a:lnTo>
                  <a:lnTo>
                    <a:pt x="100" y="1055"/>
                  </a:lnTo>
                  <a:close/>
                  <a:moveTo>
                    <a:pt x="100" y="1055"/>
                  </a:moveTo>
                  <a:lnTo>
                    <a:pt x="100" y="1057"/>
                  </a:lnTo>
                  <a:lnTo>
                    <a:pt x="100" y="1055"/>
                  </a:lnTo>
                  <a:close/>
                  <a:moveTo>
                    <a:pt x="105" y="1057"/>
                  </a:moveTo>
                  <a:lnTo>
                    <a:pt x="105" y="1055"/>
                  </a:lnTo>
                  <a:lnTo>
                    <a:pt x="105" y="1057"/>
                  </a:lnTo>
                  <a:close/>
                  <a:moveTo>
                    <a:pt x="100" y="1057"/>
                  </a:moveTo>
                  <a:lnTo>
                    <a:pt x="100" y="1055"/>
                  </a:lnTo>
                  <a:lnTo>
                    <a:pt x="100" y="1057"/>
                  </a:lnTo>
                  <a:close/>
                  <a:moveTo>
                    <a:pt x="100" y="1055"/>
                  </a:moveTo>
                  <a:lnTo>
                    <a:pt x="98" y="1055"/>
                  </a:lnTo>
                  <a:lnTo>
                    <a:pt x="100" y="1055"/>
                  </a:lnTo>
                  <a:close/>
                  <a:moveTo>
                    <a:pt x="98" y="1055"/>
                  </a:moveTo>
                  <a:lnTo>
                    <a:pt x="95" y="1055"/>
                  </a:lnTo>
                  <a:lnTo>
                    <a:pt x="98" y="1055"/>
                  </a:lnTo>
                  <a:close/>
                  <a:moveTo>
                    <a:pt x="102" y="1055"/>
                  </a:moveTo>
                  <a:lnTo>
                    <a:pt x="100" y="1055"/>
                  </a:lnTo>
                  <a:lnTo>
                    <a:pt x="102" y="1055"/>
                  </a:lnTo>
                  <a:close/>
                  <a:moveTo>
                    <a:pt x="93" y="1055"/>
                  </a:moveTo>
                  <a:lnTo>
                    <a:pt x="90" y="1055"/>
                  </a:lnTo>
                  <a:lnTo>
                    <a:pt x="93" y="1055"/>
                  </a:lnTo>
                  <a:close/>
                  <a:moveTo>
                    <a:pt x="90" y="1052"/>
                  </a:moveTo>
                  <a:lnTo>
                    <a:pt x="90" y="1055"/>
                  </a:lnTo>
                  <a:lnTo>
                    <a:pt x="90" y="1052"/>
                  </a:lnTo>
                  <a:close/>
                  <a:moveTo>
                    <a:pt x="117" y="1052"/>
                  </a:moveTo>
                  <a:lnTo>
                    <a:pt x="117" y="1055"/>
                  </a:lnTo>
                  <a:lnTo>
                    <a:pt x="117" y="1052"/>
                  </a:lnTo>
                  <a:close/>
                  <a:moveTo>
                    <a:pt x="114" y="1052"/>
                  </a:moveTo>
                  <a:lnTo>
                    <a:pt x="114" y="1050"/>
                  </a:lnTo>
                  <a:lnTo>
                    <a:pt x="114" y="1052"/>
                  </a:lnTo>
                  <a:close/>
                  <a:moveTo>
                    <a:pt x="114" y="1050"/>
                  </a:moveTo>
                  <a:lnTo>
                    <a:pt x="112" y="1050"/>
                  </a:lnTo>
                  <a:lnTo>
                    <a:pt x="114" y="1050"/>
                  </a:lnTo>
                  <a:close/>
                  <a:moveTo>
                    <a:pt x="114" y="1050"/>
                  </a:moveTo>
                  <a:lnTo>
                    <a:pt x="112" y="1050"/>
                  </a:lnTo>
                  <a:lnTo>
                    <a:pt x="114" y="1050"/>
                  </a:lnTo>
                  <a:close/>
                  <a:moveTo>
                    <a:pt x="105" y="1048"/>
                  </a:moveTo>
                  <a:lnTo>
                    <a:pt x="105" y="1050"/>
                  </a:lnTo>
                  <a:lnTo>
                    <a:pt x="105" y="1048"/>
                  </a:lnTo>
                  <a:close/>
                  <a:moveTo>
                    <a:pt x="114" y="1050"/>
                  </a:moveTo>
                  <a:lnTo>
                    <a:pt x="114" y="1048"/>
                  </a:lnTo>
                  <a:lnTo>
                    <a:pt x="114" y="1050"/>
                  </a:lnTo>
                  <a:close/>
                  <a:moveTo>
                    <a:pt x="114" y="1050"/>
                  </a:moveTo>
                  <a:lnTo>
                    <a:pt x="114" y="1048"/>
                  </a:lnTo>
                  <a:lnTo>
                    <a:pt x="114" y="1050"/>
                  </a:lnTo>
                  <a:close/>
                  <a:moveTo>
                    <a:pt x="114" y="1048"/>
                  </a:moveTo>
                  <a:lnTo>
                    <a:pt x="112" y="1050"/>
                  </a:lnTo>
                  <a:lnTo>
                    <a:pt x="114" y="1048"/>
                  </a:lnTo>
                  <a:close/>
                  <a:moveTo>
                    <a:pt x="119" y="1045"/>
                  </a:moveTo>
                  <a:lnTo>
                    <a:pt x="119" y="1048"/>
                  </a:lnTo>
                  <a:lnTo>
                    <a:pt x="119" y="1045"/>
                  </a:lnTo>
                  <a:close/>
                  <a:moveTo>
                    <a:pt x="112" y="1045"/>
                  </a:moveTo>
                  <a:lnTo>
                    <a:pt x="109" y="1045"/>
                  </a:lnTo>
                  <a:lnTo>
                    <a:pt x="112" y="1045"/>
                  </a:lnTo>
                  <a:close/>
                  <a:moveTo>
                    <a:pt x="112" y="1045"/>
                  </a:moveTo>
                  <a:lnTo>
                    <a:pt x="109" y="1045"/>
                  </a:lnTo>
                  <a:lnTo>
                    <a:pt x="112" y="1045"/>
                  </a:lnTo>
                  <a:close/>
                  <a:moveTo>
                    <a:pt x="107" y="1045"/>
                  </a:moveTo>
                  <a:lnTo>
                    <a:pt x="109" y="1045"/>
                  </a:lnTo>
                  <a:lnTo>
                    <a:pt x="107" y="1045"/>
                  </a:lnTo>
                  <a:close/>
                  <a:moveTo>
                    <a:pt x="126" y="1045"/>
                  </a:moveTo>
                  <a:lnTo>
                    <a:pt x="124" y="1045"/>
                  </a:lnTo>
                  <a:lnTo>
                    <a:pt x="126" y="1045"/>
                  </a:lnTo>
                  <a:close/>
                  <a:moveTo>
                    <a:pt x="128" y="1043"/>
                  </a:moveTo>
                  <a:lnTo>
                    <a:pt x="128" y="1045"/>
                  </a:lnTo>
                  <a:lnTo>
                    <a:pt x="128" y="1043"/>
                  </a:lnTo>
                  <a:close/>
                  <a:moveTo>
                    <a:pt x="109" y="1045"/>
                  </a:moveTo>
                  <a:lnTo>
                    <a:pt x="109" y="1043"/>
                  </a:lnTo>
                  <a:lnTo>
                    <a:pt x="109" y="1045"/>
                  </a:lnTo>
                  <a:close/>
                  <a:moveTo>
                    <a:pt x="117" y="1045"/>
                  </a:moveTo>
                  <a:lnTo>
                    <a:pt x="117" y="1043"/>
                  </a:lnTo>
                  <a:lnTo>
                    <a:pt x="117" y="1045"/>
                  </a:lnTo>
                  <a:close/>
                  <a:moveTo>
                    <a:pt x="117" y="1043"/>
                  </a:moveTo>
                  <a:lnTo>
                    <a:pt x="117" y="1045"/>
                  </a:lnTo>
                  <a:lnTo>
                    <a:pt x="117" y="1043"/>
                  </a:lnTo>
                  <a:close/>
                  <a:moveTo>
                    <a:pt x="119" y="1045"/>
                  </a:moveTo>
                  <a:lnTo>
                    <a:pt x="119" y="1043"/>
                  </a:lnTo>
                  <a:lnTo>
                    <a:pt x="119" y="1045"/>
                  </a:lnTo>
                  <a:close/>
                  <a:moveTo>
                    <a:pt x="126" y="1045"/>
                  </a:moveTo>
                  <a:lnTo>
                    <a:pt x="126" y="1043"/>
                  </a:lnTo>
                  <a:lnTo>
                    <a:pt x="126" y="1045"/>
                  </a:lnTo>
                  <a:close/>
                  <a:moveTo>
                    <a:pt x="109" y="1043"/>
                  </a:moveTo>
                  <a:lnTo>
                    <a:pt x="109" y="1045"/>
                  </a:lnTo>
                  <a:lnTo>
                    <a:pt x="109" y="1043"/>
                  </a:lnTo>
                  <a:close/>
                  <a:moveTo>
                    <a:pt x="131" y="1043"/>
                  </a:moveTo>
                  <a:lnTo>
                    <a:pt x="131" y="1045"/>
                  </a:lnTo>
                  <a:lnTo>
                    <a:pt x="131" y="1043"/>
                  </a:lnTo>
                  <a:close/>
                  <a:moveTo>
                    <a:pt x="112" y="1043"/>
                  </a:moveTo>
                  <a:lnTo>
                    <a:pt x="109" y="1043"/>
                  </a:lnTo>
                  <a:lnTo>
                    <a:pt x="112" y="1043"/>
                  </a:lnTo>
                  <a:lnTo>
                    <a:pt x="109" y="1043"/>
                  </a:lnTo>
                  <a:lnTo>
                    <a:pt x="112" y="1043"/>
                  </a:lnTo>
                  <a:close/>
                  <a:moveTo>
                    <a:pt x="112" y="1043"/>
                  </a:moveTo>
                  <a:lnTo>
                    <a:pt x="109" y="1043"/>
                  </a:lnTo>
                  <a:lnTo>
                    <a:pt x="112" y="1043"/>
                  </a:lnTo>
                  <a:close/>
                  <a:moveTo>
                    <a:pt x="117" y="1043"/>
                  </a:moveTo>
                  <a:lnTo>
                    <a:pt x="114" y="1043"/>
                  </a:lnTo>
                  <a:lnTo>
                    <a:pt x="117" y="1043"/>
                  </a:lnTo>
                  <a:close/>
                  <a:moveTo>
                    <a:pt x="112" y="1043"/>
                  </a:moveTo>
                  <a:lnTo>
                    <a:pt x="109" y="1043"/>
                  </a:lnTo>
                  <a:lnTo>
                    <a:pt x="112" y="1043"/>
                  </a:lnTo>
                  <a:close/>
                  <a:moveTo>
                    <a:pt x="131" y="1043"/>
                  </a:moveTo>
                  <a:lnTo>
                    <a:pt x="133" y="1043"/>
                  </a:lnTo>
                  <a:lnTo>
                    <a:pt x="131" y="1043"/>
                  </a:lnTo>
                  <a:close/>
                  <a:moveTo>
                    <a:pt x="119" y="1043"/>
                  </a:moveTo>
                  <a:lnTo>
                    <a:pt x="117" y="1043"/>
                  </a:lnTo>
                  <a:lnTo>
                    <a:pt x="119" y="1043"/>
                  </a:lnTo>
                  <a:close/>
                  <a:moveTo>
                    <a:pt x="121" y="1043"/>
                  </a:moveTo>
                  <a:lnTo>
                    <a:pt x="119" y="1043"/>
                  </a:lnTo>
                  <a:lnTo>
                    <a:pt x="121" y="1043"/>
                  </a:lnTo>
                  <a:close/>
                  <a:moveTo>
                    <a:pt x="119" y="1043"/>
                  </a:moveTo>
                  <a:lnTo>
                    <a:pt x="117" y="1043"/>
                  </a:lnTo>
                  <a:lnTo>
                    <a:pt x="119" y="1043"/>
                  </a:lnTo>
                  <a:close/>
                  <a:moveTo>
                    <a:pt x="133" y="1043"/>
                  </a:moveTo>
                  <a:lnTo>
                    <a:pt x="131" y="1043"/>
                  </a:lnTo>
                  <a:lnTo>
                    <a:pt x="133" y="1043"/>
                  </a:lnTo>
                  <a:close/>
                  <a:moveTo>
                    <a:pt x="121" y="1043"/>
                  </a:moveTo>
                  <a:lnTo>
                    <a:pt x="119" y="1043"/>
                  </a:lnTo>
                  <a:lnTo>
                    <a:pt x="121" y="1043"/>
                  </a:lnTo>
                  <a:close/>
                  <a:moveTo>
                    <a:pt x="121" y="1043"/>
                  </a:moveTo>
                  <a:lnTo>
                    <a:pt x="119" y="1043"/>
                  </a:lnTo>
                  <a:lnTo>
                    <a:pt x="121" y="1043"/>
                  </a:lnTo>
                  <a:close/>
                  <a:moveTo>
                    <a:pt x="114" y="1041"/>
                  </a:moveTo>
                  <a:lnTo>
                    <a:pt x="114" y="1043"/>
                  </a:lnTo>
                  <a:lnTo>
                    <a:pt x="114" y="1041"/>
                  </a:lnTo>
                  <a:close/>
                  <a:moveTo>
                    <a:pt x="114" y="1043"/>
                  </a:moveTo>
                  <a:lnTo>
                    <a:pt x="114" y="1041"/>
                  </a:lnTo>
                  <a:lnTo>
                    <a:pt x="114" y="1043"/>
                  </a:lnTo>
                  <a:close/>
                  <a:moveTo>
                    <a:pt x="114" y="1043"/>
                  </a:moveTo>
                  <a:lnTo>
                    <a:pt x="114" y="1041"/>
                  </a:lnTo>
                  <a:lnTo>
                    <a:pt x="114" y="1043"/>
                  </a:lnTo>
                  <a:close/>
                  <a:moveTo>
                    <a:pt x="121" y="1041"/>
                  </a:moveTo>
                  <a:lnTo>
                    <a:pt x="121" y="1043"/>
                  </a:lnTo>
                  <a:lnTo>
                    <a:pt x="121" y="1041"/>
                  </a:lnTo>
                  <a:close/>
                  <a:moveTo>
                    <a:pt x="112" y="1041"/>
                  </a:moveTo>
                  <a:lnTo>
                    <a:pt x="109" y="1041"/>
                  </a:lnTo>
                  <a:lnTo>
                    <a:pt x="112" y="1041"/>
                  </a:lnTo>
                  <a:close/>
                  <a:moveTo>
                    <a:pt x="121" y="1041"/>
                  </a:moveTo>
                  <a:lnTo>
                    <a:pt x="119" y="1041"/>
                  </a:lnTo>
                  <a:lnTo>
                    <a:pt x="121" y="1041"/>
                  </a:lnTo>
                  <a:close/>
                  <a:moveTo>
                    <a:pt x="109" y="1041"/>
                  </a:moveTo>
                  <a:lnTo>
                    <a:pt x="107" y="1041"/>
                  </a:lnTo>
                  <a:lnTo>
                    <a:pt x="109" y="1041"/>
                  </a:lnTo>
                  <a:close/>
                  <a:moveTo>
                    <a:pt x="124" y="1041"/>
                  </a:moveTo>
                  <a:lnTo>
                    <a:pt x="121" y="1041"/>
                  </a:lnTo>
                  <a:lnTo>
                    <a:pt x="124" y="1041"/>
                  </a:lnTo>
                  <a:close/>
                  <a:moveTo>
                    <a:pt x="109" y="1041"/>
                  </a:moveTo>
                  <a:lnTo>
                    <a:pt x="107" y="1041"/>
                  </a:lnTo>
                  <a:lnTo>
                    <a:pt x="109" y="1041"/>
                  </a:lnTo>
                  <a:close/>
                  <a:moveTo>
                    <a:pt x="109" y="1041"/>
                  </a:moveTo>
                  <a:lnTo>
                    <a:pt x="107" y="1041"/>
                  </a:lnTo>
                  <a:lnTo>
                    <a:pt x="109" y="1041"/>
                  </a:lnTo>
                  <a:close/>
                  <a:moveTo>
                    <a:pt x="190" y="1041"/>
                  </a:moveTo>
                  <a:lnTo>
                    <a:pt x="188" y="1041"/>
                  </a:lnTo>
                  <a:lnTo>
                    <a:pt x="190" y="1041"/>
                  </a:lnTo>
                  <a:close/>
                  <a:moveTo>
                    <a:pt x="124" y="1041"/>
                  </a:moveTo>
                  <a:lnTo>
                    <a:pt x="121" y="1041"/>
                  </a:lnTo>
                  <a:lnTo>
                    <a:pt x="124" y="1041"/>
                  </a:lnTo>
                  <a:close/>
                  <a:moveTo>
                    <a:pt x="107" y="1041"/>
                  </a:moveTo>
                  <a:lnTo>
                    <a:pt x="109" y="1041"/>
                  </a:lnTo>
                  <a:lnTo>
                    <a:pt x="107" y="1041"/>
                  </a:lnTo>
                  <a:close/>
                  <a:moveTo>
                    <a:pt x="124" y="1041"/>
                  </a:moveTo>
                  <a:lnTo>
                    <a:pt x="121" y="1041"/>
                  </a:lnTo>
                  <a:lnTo>
                    <a:pt x="124" y="1041"/>
                  </a:lnTo>
                  <a:close/>
                  <a:moveTo>
                    <a:pt x="107" y="1038"/>
                  </a:moveTo>
                  <a:lnTo>
                    <a:pt x="107" y="1041"/>
                  </a:lnTo>
                  <a:lnTo>
                    <a:pt x="107" y="1038"/>
                  </a:lnTo>
                  <a:close/>
                  <a:moveTo>
                    <a:pt x="107" y="1041"/>
                  </a:moveTo>
                  <a:lnTo>
                    <a:pt x="107" y="1038"/>
                  </a:lnTo>
                  <a:lnTo>
                    <a:pt x="107" y="1041"/>
                  </a:lnTo>
                  <a:close/>
                  <a:moveTo>
                    <a:pt x="109" y="1038"/>
                  </a:moveTo>
                  <a:lnTo>
                    <a:pt x="107" y="1038"/>
                  </a:lnTo>
                  <a:lnTo>
                    <a:pt x="109" y="1038"/>
                  </a:lnTo>
                  <a:close/>
                  <a:moveTo>
                    <a:pt x="109" y="1038"/>
                  </a:moveTo>
                  <a:lnTo>
                    <a:pt x="107" y="1038"/>
                  </a:lnTo>
                  <a:lnTo>
                    <a:pt x="109" y="1038"/>
                  </a:lnTo>
                  <a:close/>
                  <a:moveTo>
                    <a:pt x="109" y="1038"/>
                  </a:moveTo>
                  <a:lnTo>
                    <a:pt x="107" y="1038"/>
                  </a:lnTo>
                  <a:lnTo>
                    <a:pt x="109" y="1038"/>
                  </a:lnTo>
                  <a:close/>
                  <a:moveTo>
                    <a:pt x="109" y="1038"/>
                  </a:moveTo>
                  <a:lnTo>
                    <a:pt x="107" y="1038"/>
                  </a:lnTo>
                  <a:lnTo>
                    <a:pt x="109" y="1038"/>
                  </a:lnTo>
                  <a:close/>
                  <a:moveTo>
                    <a:pt x="107" y="1038"/>
                  </a:moveTo>
                  <a:lnTo>
                    <a:pt x="107" y="1036"/>
                  </a:lnTo>
                  <a:lnTo>
                    <a:pt x="107" y="1038"/>
                  </a:lnTo>
                  <a:close/>
                  <a:moveTo>
                    <a:pt x="109" y="1036"/>
                  </a:moveTo>
                  <a:lnTo>
                    <a:pt x="109" y="1038"/>
                  </a:lnTo>
                  <a:lnTo>
                    <a:pt x="109" y="1036"/>
                  </a:lnTo>
                  <a:close/>
                  <a:moveTo>
                    <a:pt x="147" y="1036"/>
                  </a:moveTo>
                  <a:lnTo>
                    <a:pt x="145" y="1036"/>
                  </a:lnTo>
                  <a:lnTo>
                    <a:pt x="147" y="1036"/>
                  </a:lnTo>
                  <a:close/>
                  <a:moveTo>
                    <a:pt x="124" y="1036"/>
                  </a:moveTo>
                  <a:lnTo>
                    <a:pt x="126" y="1036"/>
                  </a:lnTo>
                  <a:lnTo>
                    <a:pt x="124" y="1036"/>
                  </a:lnTo>
                  <a:close/>
                  <a:moveTo>
                    <a:pt x="112" y="1036"/>
                  </a:moveTo>
                  <a:lnTo>
                    <a:pt x="109" y="1036"/>
                  </a:lnTo>
                  <a:lnTo>
                    <a:pt x="112" y="1036"/>
                  </a:lnTo>
                  <a:close/>
                  <a:moveTo>
                    <a:pt x="109" y="1036"/>
                  </a:moveTo>
                  <a:lnTo>
                    <a:pt x="109" y="1033"/>
                  </a:lnTo>
                  <a:lnTo>
                    <a:pt x="109" y="1036"/>
                  </a:lnTo>
                  <a:close/>
                  <a:moveTo>
                    <a:pt x="109" y="1036"/>
                  </a:moveTo>
                  <a:lnTo>
                    <a:pt x="109" y="1033"/>
                  </a:lnTo>
                  <a:lnTo>
                    <a:pt x="109" y="1036"/>
                  </a:lnTo>
                  <a:close/>
                  <a:moveTo>
                    <a:pt x="147" y="1033"/>
                  </a:moveTo>
                  <a:lnTo>
                    <a:pt x="145" y="1033"/>
                  </a:lnTo>
                  <a:lnTo>
                    <a:pt x="147" y="1033"/>
                  </a:lnTo>
                  <a:close/>
                  <a:moveTo>
                    <a:pt x="109" y="1036"/>
                  </a:moveTo>
                  <a:lnTo>
                    <a:pt x="109" y="1033"/>
                  </a:lnTo>
                  <a:lnTo>
                    <a:pt x="109" y="1036"/>
                  </a:lnTo>
                  <a:close/>
                  <a:moveTo>
                    <a:pt x="155" y="1033"/>
                  </a:moveTo>
                  <a:lnTo>
                    <a:pt x="155" y="1036"/>
                  </a:lnTo>
                  <a:lnTo>
                    <a:pt x="155" y="1033"/>
                  </a:lnTo>
                  <a:close/>
                  <a:moveTo>
                    <a:pt x="112" y="1033"/>
                  </a:moveTo>
                  <a:lnTo>
                    <a:pt x="112" y="1036"/>
                  </a:lnTo>
                  <a:lnTo>
                    <a:pt x="112" y="1033"/>
                  </a:lnTo>
                  <a:close/>
                  <a:moveTo>
                    <a:pt x="121" y="1033"/>
                  </a:moveTo>
                  <a:lnTo>
                    <a:pt x="119" y="1033"/>
                  </a:lnTo>
                  <a:lnTo>
                    <a:pt x="121" y="1033"/>
                  </a:lnTo>
                  <a:close/>
                  <a:moveTo>
                    <a:pt x="112" y="1033"/>
                  </a:moveTo>
                  <a:lnTo>
                    <a:pt x="109" y="1033"/>
                  </a:lnTo>
                  <a:lnTo>
                    <a:pt x="112" y="1033"/>
                  </a:lnTo>
                  <a:close/>
                  <a:moveTo>
                    <a:pt x="114" y="1033"/>
                  </a:moveTo>
                  <a:lnTo>
                    <a:pt x="112" y="1033"/>
                  </a:lnTo>
                  <a:lnTo>
                    <a:pt x="114" y="1033"/>
                  </a:lnTo>
                  <a:close/>
                  <a:moveTo>
                    <a:pt x="119" y="1033"/>
                  </a:moveTo>
                  <a:lnTo>
                    <a:pt x="117" y="1033"/>
                  </a:lnTo>
                  <a:lnTo>
                    <a:pt x="119" y="1033"/>
                  </a:lnTo>
                  <a:close/>
                  <a:moveTo>
                    <a:pt x="117" y="1033"/>
                  </a:moveTo>
                  <a:lnTo>
                    <a:pt x="119" y="1033"/>
                  </a:lnTo>
                  <a:lnTo>
                    <a:pt x="117" y="1033"/>
                  </a:lnTo>
                  <a:close/>
                  <a:moveTo>
                    <a:pt x="114" y="1033"/>
                  </a:moveTo>
                  <a:lnTo>
                    <a:pt x="112" y="1033"/>
                  </a:lnTo>
                  <a:lnTo>
                    <a:pt x="114" y="1033"/>
                  </a:lnTo>
                  <a:close/>
                  <a:moveTo>
                    <a:pt x="150" y="1033"/>
                  </a:moveTo>
                  <a:lnTo>
                    <a:pt x="150" y="1031"/>
                  </a:lnTo>
                  <a:lnTo>
                    <a:pt x="150" y="1033"/>
                  </a:lnTo>
                  <a:close/>
                  <a:moveTo>
                    <a:pt x="150" y="1031"/>
                  </a:moveTo>
                  <a:lnTo>
                    <a:pt x="150" y="1033"/>
                  </a:lnTo>
                  <a:lnTo>
                    <a:pt x="150" y="1031"/>
                  </a:lnTo>
                  <a:close/>
                  <a:moveTo>
                    <a:pt x="126" y="1033"/>
                  </a:moveTo>
                  <a:lnTo>
                    <a:pt x="124" y="1033"/>
                  </a:lnTo>
                  <a:lnTo>
                    <a:pt x="126" y="1031"/>
                  </a:lnTo>
                  <a:lnTo>
                    <a:pt x="126" y="1033"/>
                  </a:lnTo>
                  <a:close/>
                  <a:moveTo>
                    <a:pt x="126" y="1033"/>
                  </a:moveTo>
                  <a:lnTo>
                    <a:pt x="126" y="1031"/>
                  </a:lnTo>
                  <a:lnTo>
                    <a:pt x="126" y="1033"/>
                  </a:lnTo>
                  <a:close/>
                  <a:moveTo>
                    <a:pt x="150" y="1031"/>
                  </a:moveTo>
                  <a:lnTo>
                    <a:pt x="152" y="1031"/>
                  </a:lnTo>
                  <a:lnTo>
                    <a:pt x="150" y="1031"/>
                  </a:lnTo>
                  <a:close/>
                  <a:moveTo>
                    <a:pt x="126" y="1031"/>
                  </a:moveTo>
                  <a:lnTo>
                    <a:pt x="124" y="1031"/>
                  </a:lnTo>
                  <a:lnTo>
                    <a:pt x="126" y="1031"/>
                  </a:lnTo>
                  <a:close/>
                  <a:moveTo>
                    <a:pt x="128" y="1031"/>
                  </a:moveTo>
                  <a:lnTo>
                    <a:pt x="126" y="1031"/>
                  </a:lnTo>
                  <a:lnTo>
                    <a:pt x="128" y="1031"/>
                  </a:lnTo>
                  <a:close/>
                  <a:moveTo>
                    <a:pt x="126" y="1031"/>
                  </a:moveTo>
                  <a:lnTo>
                    <a:pt x="126" y="1029"/>
                  </a:lnTo>
                  <a:lnTo>
                    <a:pt x="126" y="1031"/>
                  </a:lnTo>
                  <a:close/>
                  <a:moveTo>
                    <a:pt x="128" y="1029"/>
                  </a:moveTo>
                  <a:lnTo>
                    <a:pt x="126" y="1029"/>
                  </a:lnTo>
                  <a:lnTo>
                    <a:pt x="128" y="1029"/>
                  </a:lnTo>
                  <a:close/>
                  <a:moveTo>
                    <a:pt x="128" y="1029"/>
                  </a:moveTo>
                  <a:lnTo>
                    <a:pt x="126" y="1029"/>
                  </a:lnTo>
                  <a:lnTo>
                    <a:pt x="128" y="1029"/>
                  </a:lnTo>
                  <a:close/>
                  <a:moveTo>
                    <a:pt x="128" y="1029"/>
                  </a:moveTo>
                  <a:lnTo>
                    <a:pt x="126" y="1029"/>
                  </a:lnTo>
                  <a:lnTo>
                    <a:pt x="128" y="1029"/>
                  </a:lnTo>
                  <a:close/>
                  <a:moveTo>
                    <a:pt x="128" y="1029"/>
                  </a:moveTo>
                  <a:lnTo>
                    <a:pt x="126" y="1029"/>
                  </a:lnTo>
                  <a:lnTo>
                    <a:pt x="128" y="1029"/>
                  </a:lnTo>
                  <a:close/>
                  <a:moveTo>
                    <a:pt x="128" y="1029"/>
                  </a:moveTo>
                  <a:lnTo>
                    <a:pt x="126" y="1029"/>
                  </a:lnTo>
                  <a:lnTo>
                    <a:pt x="128" y="1026"/>
                  </a:lnTo>
                  <a:lnTo>
                    <a:pt x="128" y="1029"/>
                  </a:lnTo>
                  <a:close/>
                  <a:moveTo>
                    <a:pt x="128" y="1029"/>
                  </a:moveTo>
                  <a:lnTo>
                    <a:pt x="128" y="1026"/>
                  </a:lnTo>
                  <a:lnTo>
                    <a:pt x="128" y="1029"/>
                  </a:lnTo>
                  <a:close/>
                  <a:moveTo>
                    <a:pt x="131" y="1026"/>
                  </a:moveTo>
                  <a:lnTo>
                    <a:pt x="128" y="1026"/>
                  </a:lnTo>
                  <a:lnTo>
                    <a:pt x="131" y="1026"/>
                  </a:lnTo>
                  <a:close/>
                  <a:moveTo>
                    <a:pt x="128" y="1026"/>
                  </a:moveTo>
                  <a:lnTo>
                    <a:pt x="126" y="1026"/>
                  </a:lnTo>
                  <a:lnTo>
                    <a:pt x="128" y="1026"/>
                  </a:lnTo>
                  <a:close/>
                  <a:moveTo>
                    <a:pt x="131" y="1026"/>
                  </a:moveTo>
                  <a:lnTo>
                    <a:pt x="128" y="1026"/>
                  </a:lnTo>
                  <a:lnTo>
                    <a:pt x="131" y="1026"/>
                  </a:lnTo>
                  <a:close/>
                  <a:moveTo>
                    <a:pt x="128" y="1026"/>
                  </a:moveTo>
                  <a:lnTo>
                    <a:pt x="126" y="1026"/>
                  </a:lnTo>
                  <a:lnTo>
                    <a:pt x="128" y="1026"/>
                  </a:lnTo>
                  <a:close/>
                  <a:moveTo>
                    <a:pt x="131" y="1026"/>
                  </a:moveTo>
                  <a:lnTo>
                    <a:pt x="133" y="1026"/>
                  </a:lnTo>
                  <a:lnTo>
                    <a:pt x="131" y="1026"/>
                  </a:lnTo>
                  <a:close/>
                  <a:moveTo>
                    <a:pt x="131" y="1026"/>
                  </a:moveTo>
                  <a:lnTo>
                    <a:pt x="128" y="1026"/>
                  </a:lnTo>
                  <a:lnTo>
                    <a:pt x="131" y="1026"/>
                  </a:lnTo>
                  <a:close/>
                  <a:moveTo>
                    <a:pt x="128" y="1026"/>
                  </a:moveTo>
                  <a:lnTo>
                    <a:pt x="126" y="1026"/>
                  </a:lnTo>
                  <a:lnTo>
                    <a:pt x="128" y="1026"/>
                  </a:lnTo>
                  <a:close/>
                  <a:moveTo>
                    <a:pt x="131" y="1026"/>
                  </a:moveTo>
                  <a:lnTo>
                    <a:pt x="128" y="1026"/>
                  </a:lnTo>
                  <a:lnTo>
                    <a:pt x="131" y="1026"/>
                  </a:lnTo>
                  <a:close/>
                  <a:moveTo>
                    <a:pt x="128" y="1026"/>
                  </a:moveTo>
                  <a:lnTo>
                    <a:pt x="126" y="1026"/>
                  </a:lnTo>
                  <a:lnTo>
                    <a:pt x="128" y="1026"/>
                  </a:lnTo>
                  <a:close/>
                  <a:moveTo>
                    <a:pt x="128" y="1026"/>
                  </a:moveTo>
                  <a:lnTo>
                    <a:pt x="131" y="1026"/>
                  </a:lnTo>
                  <a:lnTo>
                    <a:pt x="128" y="1026"/>
                  </a:lnTo>
                  <a:close/>
                  <a:moveTo>
                    <a:pt x="131" y="1026"/>
                  </a:moveTo>
                  <a:lnTo>
                    <a:pt x="128" y="1026"/>
                  </a:lnTo>
                  <a:lnTo>
                    <a:pt x="131" y="1026"/>
                  </a:lnTo>
                  <a:close/>
                  <a:moveTo>
                    <a:pt x="150" y="1026"/>
                  </a:moveTo>
                  <a:lnTo>
                    <a:pt x="150" y="1024"/>
                  </a:lnTo>
                  <a:lnTo>
                    <a:pt x="150" y="1026"/>
                  </a:lnTo>
                  <a:close/>
                  <a:moveTo>
                    <a:pt x="150" y="1026"/>
                  </a:moveTo>
                  <a:lnTo>
                    <a:pt x="150" y="1024"/>
                  </a:lnTo>
                  <a:lnTo>
                    <a:pt x="150" y="1026"/>
                  </a:lnTo>
                  <a:close/>
                  <a:moveTo>
                    <a:pt x="136" y="1024"/>
                  </a:moveTo>
                  <a:lnTo>
                    <a:pt x="136" y="1026"/>
                  </a:lnTo>
                  <a:lnTo>
                    <a:pt x="136" y="1024"/>
                  </a:lnTo>
                  <a:close/>
                  <a:moveTo>
                    <a:pt x="155" y="1024"/>
                  </a:moveTo>
                  <a:lnTo>
                    <a:pt x="155" y="1026"/>
                  </a:lnTo>
                  <a:lnTo>
                    <a:pt x="155" y="1024"/>
                  </a:lnTo>
                  <a:close/>
                  <a:moveTo>
                    <a:pt x="136" y="1026"/>
                  </a:moveTo>
                  <a:lnTo>
                    <a:pt x="136" y="1024"/>
                  </a:lnTo>
                  <a:lnTo>
                    <a:pt x="136" y="1026"/>
                  </a:lnTo>
                  <a:close/>
                  <a:moveTo>
                    <a:pt x="136" y="1024"/>
                  </a:moveTo>
                  <a:lnTo>
                    <a:pt x="136" y="1026"/>
                  </a:lnTo>
                  <a:lnTo>
                    <a:pt x="136" y="1024"/>
                  </a:lnTo>
                  <a:close/>
                  <a:moveTo>
                    <a:pt x="138" y="1024"/>
                  </a:moveTo>
                  <a:lnTo>
                    <a:pt x="136" y="1024"/>
                  </a:lnTo>
                  <a:lnTo>
                    <a:pt x="138" y="1024"/>
                  </a:lnTo>
                  <a:close/>
                  <a:moveTo>
                    <a:pt x="136" y="1024"/>
                  </a:moveTo>
                  <a:lnTo>
                    <a:pt x="133" y="1024"/>
                  </a:lnTo>
                  <a:lnTo>
                    <a:pt x="136" y="1024"/>
                  </a:lnTo>
                  <a:close/>
                  <a:moveTo>
                    <a:pt x="145" y="1024"/>
                  </a:moveTo>
                  <a:lnTo>
                    <a:pt x="143" y="1024"/>
                  </a:lnTo>
                  <a:lnTo>
                    <a:pt x="145" y="1024"/>
                  </a:lnTo>
                  <a:close/>
                  <a:moveTo>
                    <a:pt x="126" y="1024"/>
                  </a:moveTo>
                  <a:lnTo>
                    <a:pt x="124" y="1024"/>
                  </a:lnTo>
                  <a:lnTo>
                    <a:pt x="126" y="1024"/>
                  </a:lnTo>
                  <a:close/>
                  <a:moveTo>
                    <a:pt x="159" y="1024"/>
                  </a:moveTo>
                  <a:lnTo>
                    <a:pt x="159" y="1022"/>
                  </a:lnTo>
                  <a:lnTo>
                    <a:pt x="159" y="1024"/>
                  </a:lnTo>
                  <a:close/>
                  <a:moveTo>
                    <a:pt x="145" y="1022"/>
                  </a:moveTo>
                  <a:lnTo>
                    <a:pt x="145" y="1024"/>
                  </a:lnTo>
                  <a:lnTo>
                    <a:pt x="145" y="1022"/>
                  </a:lnTo>
                  <a:close/>
                  <a:moveTo>
                    <a:pt x="131" y="1024"/>
                  </a:moveTo>
                  <a:lnTo>
                    <a:pt x="131" y="1022"/>
                  </a:lnTo>
                  <a:lnTo>
                    <a:pt x="131" y="1024"/>
                  </a:lnTo>
                  <a:close/>
                  <a:moveTo>
                    <a:pt x="136" y="1022"/>
                  </a:moveTo>
                  <a:lnTo>
                    <a:pt x="136" y="1024"/>
                  </a:lnTo>
                  <a:lnTo>
                    <a:pt x="136" y="1022"/>
                  </a:lnTo>
                  <a:close/>
                  <a:moveTo>
                    <a:pt x="159" y="1022"/>
                  </a:moveTo>
                  <a:lnTo>
                    <a:pt x="159" y="1024"/>
                  </a:lnTo>
                  <a:lnTo>
                    <a:pt x="159" y="1022"/>
                  </a:lnTo>
                  <a:close/>
                  <a:moveTo>
                    <a:pt x="145" y="1024"/>
                  </a:moveTo>
                  <a:lnTo>
                    <a:pt x="143" y="1024"/>
                  </a:lnTo>
                  <a:lnTo>
                    <a:pt x="145" y="1022"/>
                  </a:lnTo>
                  <a:lnTo>
                    <a:pt x="145" y="1024"/>
                  </a:lnTo>
                  <a:close/>
                  <a:moveTo>
                    <a:pt x="138" y="1022"/>
                  </a:moveTo>
                  <a:lnTo>
                    <a:pt x="138" y="1024"/>
                  </a:lnTo>
                  <a:lnTo>
                    <a:pt x="136" y="1024"/>
                  </a:lnTo>
                  <a:lnTo>
                    <a:pt x="138" y="1022"/>
                  </a:lnTo>
                  <a:close/>
                  <a:moveTo>
                    <a:pt x="162" y="1022"/>
                  </a:moveTo>
                  <a:lnTo>
                    <a:pt x="162" y="1024"/>
                  </a:lnTo>
                  <a:lnTo>
                    <a:pt x="162" y="1022"/>
                  </a:lnTo>
                  <a:close/>
                  <a:moveTo>
                    <a:pt x="128" y="1024"/>
                  </a:moveTo>
                  <a:lnTo>
                    <a:pt x="128" y="1022"/>
                  </a:lnTo>
                  <a:lnTo>
                    <a:pt x="128" y="1024"/>
                  </a:lnTo>
                  <a:close/>
                  <a:moveTo>
                    <a:pt x="150" y="1022"/>
                  </a:moveTo>
                  <a:lnTo>
                    <a:pt x="150" y="1024"/>
                  </a:lnTo>
                  <a:lnTo>
                    <a:pt x="150" y="1022"/>
                  </a:lnTo>
                  <a:close/>
                  <a:moveTo>
                    <a:pt x="136" y="1024"/>
                  </a:moveTo>
                  <a:lnTo>
                    <a:pt x="136" y="1022"/>
                  </a:lnTo>
                  <a:lnTo>
                    <a:pt x="136" y="1024"/>
                  </a:lnTo>
                  <a:close/>
                  <a:moveTo>
                    <a:pt x="140" y="1022"/>
                  </a:moveTo>
                  <a:lnTo>
                    <a:pt x="138" y="1022"/>
                  </a:lnTo>
                  <a:lnTo>
                    <a:pt x="140" y="1022"/>
                  </a:lnTo>
                  <a:close/>
                  <a:moveTo>
                    <a:pt x="143" y="1022"/>
                  </a:moveTo>
                  <a:lnTo>
                    <a:pt x="140" y="1022"/>
                  </a:lnTo>
                  <a:lnTo>
                    <a:pt x="143" y="1022"/>
                  </a:lnTo>
                  <a:close/>
                  <a:moveTo>
                    <a:pt x="131" y="1022"/>
                  </a:moveTo>
                  <a:lnTo>
                    <a:pt x="131" y="1019"/>
                  </a:lnTo>
                  <a:lnTo>
                    <a:pt x="131" y="1022"/>
                  </a:lnTo>
                  <a:close/>
                  <a:moveTo>
                    <a:pt x="145" y="1019"/>
                  </a:moveTo>
                  <a:lnTo>
                    <a:pt x="145" y="1022"/>
                  </a:lnTo>
                  <a:lnTo>
                    <a:pt x="145" y="1019"/>
                  </a:lnTo>
                  <a:close/>
                  <a:moveTo>
                    <a:pt x="133" y="1019"/>
                  </a:moveTo>
                  <a:lnTo>
                    <a:pt x="133" y="1022"/>
                  </a:lnTo>
                  <a:lnTo>
                    <a:pt x="133" y="1019"/>
                  </a:lnTo>
                  <a:close/>
                  <a:moveTo>
                    <a:pt x="133" y="1019"/>
                  </a:moveTo>
                  <a:lnTo>
                    <a:pt x="133" y="1022"/>
                  </a:lnTo>
                  <a:lnTo>
                    <a:pt x="133" y="1019"/>
                  </a:lnTo>
                  <a:close/>
                  <a:moveTo>
                    <a:pt x="136" y="1019"/>
                  </a:moveTo>
                  <a:lnTo>
                    <a:pt x="133" y="1019"/>
                  </a:lnTo>
                  <a:lnTo>
                    <a:pt x="136" y="1019"/>
                  </a:lnTo>
                  <a:close/>
                  <a:moveTo>
                    <a:pt x="183" y="1019"/>
                  </a:moveTo>
                  <a:lnTo>
                    <a:pt x="181" y="1019"/>
                  </a:lnTo>
                  <a:lnTo>
                    <a:pt x="183" y="1019"/>
                  </a:lnTo>
                  <a:close/>
                  <a:moveTo>
                    <a:pt x="136" y="1019"/>
                  </a:moveTo>
                  <a:lnTo>
                    <a:pt x="133" y="1019"/>
                  </a:lnTo>
                  <a:lnTo>
                    <a:pt x="136" y="1019"/>
                  </a:lnTo>
                  <a:close/>
                  <a:moveTo>
                    <a:pt x="133" y="1019"/>
                  </a:moveTo>
                  <a:lnTo>
                    <a:pt x="136" y="1019"/>
                  </a:lnTo>
                  <a:lnTo>
                    <a:pt x="133" y="1019"/>
                  </a:lnTo>
                  <a:close/>
                  <a:moveTo>
                    <a:pt x="138" y="1019"/>
                  </a:moveTo>
                  <a:lnTo>
                    <a:pt x="136" y="1019"/>
                  </a:lnTo>
                  <a:lnTo>
                    <a:pt x="138" y="1019"/>
                  </a:lnTo>
                  <a:close/>
                  <a:moveTo>
                    <a:pt x="133" y="1019"/>
                  </a:moveTo>
                  <a:lnTo>
                    <a:pt x="133" y="1017"/>
                  </a:lnTo>
                  <a:lnTo>
                    <a:pt x="133" y="1019"/>
                  </a:lnTo>
                  <a:close/>
                  <a:moveTo>
                    <a:pt x="133" y="1017"/>
                  </a:moveTo>
                  <a:lnTo>
                    <a:pt x="133" y="1019"/>
                  </a:lnTo>
                  <a:lnTo>
                    <a:pt x="133" y="1017"/>
                  </a:lnTo>
                  <a:close/>
                  <a:moveTo>
                    <a:pt x="133" y="1017"/>
                  </a:moveTo>
                  <a:lnTo>
                    <a:pt x="133" y="1019"/>
                  </a:lnTo>
                  <a:lnTo>
                    <a:pt x="133" y="1017"/>
                  </a:lnTo>
                  <a:close/>
                  <a:moveTo>
                    <a:pt x="128" y="1019"/>
                  </a:moveTo>
                  <a:lnTo>
                    <a:pt x="128" y="1017"/>
                  </a:lnTo>
                  <a:lnTo>
                    <a:pt x="128" y="1019"/>
                  </a:lnTo>
                  <a:close/>
                  <a:moveTo>
                    <a:pt x="131" y="1019"/>
                  </a:moveTo>
                  <a:lnTo>
                    <a:pt x="131" y="1017"/>
                  </a:lnTo>
                  <a:lnTo>
                    <a:pt x="131" y="1019"/>
                  </a:lnTo>
                  <a:close/>
                  <a:moveTo>
                    <a:pt x="138" y="1017"/>
                  </a:moveTo>
                  <a:lnTo>
                    <a:pt x="138" y="1019"/>
                  </a:lnTo>
                  <a:lnTo>
                    <a:pt x="138" y="1017"/>
                  </a:lnTo>
                  <a:close/>
                  <a:moveTo>
                    <a:pt x="131" y="1017"/>
                  </a:moveTo>
                  <a:lnTo>
                    <a:pt x="131" y="1019"/>
                  </a:lnTo>
                  <a:lnTo>
                    <a:pt x="131" y="1017"/>
                  </a:lnTo>
                  <a:close/>
                  <a:moveTo>
                    <a:pt x="145" y="1017"/>
                  </a:moveTo>
                  <a:lnTo>
                    <a:pt x="145" y="1019"/>
                  </a:lnTo>
                  <a:lnTo>
                    <a:pt x="145" y="1017"/>
                  </a:lnTo>
                  <a:close/>
                  <a:moveTo>
                    <a:pt x="128" y="1017"/>
                  </a:moveTo>
                  <a:lnTo>
                    <a:pt x="128" y="1019"/>
                  </a:lnTo>
                  <a:lnTo>
                    <a:pt x="128" y="1017"/>
                  </a:lnTo>
                  <a:lnTo>
                    <a:pt x="128" y="1019"/>
                  </a:lnTo>
                  <a:lnTo>
                    <a:pt x="128" y="1017"/>
                  </a:lnTo>
                  <a:close/>
                  <a:moveTo>
                    <a:pt x="133" y="1017"/>
                  </a:moveTo>
                  <a:lnTo>
                    <a:pt x="133" y="1019"/>
                  </a:lnTo>
                  <a:lnTo>
                    <a:pt x="133" y="1017"/>
                  </a:lnTo>
                  <a:close/>
                  <a:moveTo>
                    <a:pt x="138" y="1017"/>
                  </a:moveTo>
                  <a:lnTo>
                    <a:pt x="138" y="1019"/>
                  </a:lnTo>
                  <a:lnTo>
                    <a:pt x="138" y="1017"/>
                  </a:lnTo>
                  <a:close/>
                  <a:moveTo>
                    <a:pt x="131" y="1017"/>
                  </a:moveTo>
                  <a:lnTo>
                    <a:pt x="128" y="1017"/>
                  </a:lnTo>
                  <a:lnTo>
                    <a:pt x="131" y="1017"/>
                  </a:lnTo>
                  <a:close/>
                  <a:moveTo>
                    <a:pt x="138" y="1017"/>
                  </a:moveTo>
                  <a:lnTo>
                    <a:pt x="136" y="1017"/>
                  </a:lnTo>
                  <a:lnTo>
                    <a:pt x="138" y="1017"/>
                  </a:lnTo>
                  <a:close/>
                  <a:moveTo>
                    <a:pt x="145" y="1017"/>
                  </a:moveTo>
                  <a:lnTo>
                    <a:pt x="143" y="1017"/>
                  </a:lnTo>
                  <a:lnTo>
                    <a:pt x="145" y="1017"/>
                  </a:lnTo>
                  <a:close/>
                  <a:moveTo>
                    <a:pt x="133" y="1017"/>
                  </a:moveTo>
                  <a:lnTo>
                    <a:pt x="131" y="1017"/>
                  </a:lnTo>
                  <a:lnTo>
                    <a:pt x="133" y="1017"/>
                  </a:lnTo>
                  <a:close/>
                  <a:moveTo>
                    <a:pt x="138" y="1017"/>
                  </a:moveTo>
                  <a:lnTo>
                    <a:pt x="136" y="1017"/>
                  </a:lnTo>
                  <a:lnTo>
                    <a:pt x="138" y="1017"/>
                  </a:lnTo>
                  <a:close/>
                  <a:moveTo>
                    <a:pt x="147" y="1017"/>
                  </a:moveTo>
                  <a:lnTo>
                    <a:pt x="145" y="1017"/>
                  </a:lnTo>
                  <a:lnTo>
                    <a:pt x="147" y="1017"/>
                  </a:lnTo>
                  <a:close/>
                  <a:moveTo>
                    <a:pt x="147" y="1017"/>
                  </a:moveTo>
                  <a:lnTo>
                    <a:pt x="145" y="1017"/>
                  </a:lnTo>
                  <a:lnTo>
                    <a:pt x="147" y="1017"/>
                  </a:lnTo>
                  <a:close/>
                  <a:moveTo>
                    <a:pt x="133" y="1014"/>
                  </a:moveTo>
                  <a:lnTo>
                    <a:pt x="133" y="1017"/>
                  </a:lnTo>
                  <a:lnTo>
                    <a:pt x="133" y="1014"/>
                  </a:lnTo>
                  <a:close/>
                  <a:moveTo>
                    <a:pt x="145" y="1014"/>
                  </a:moveTo>
                  <a:lnTo>
                    <a:pt x="147" y="1017"/>
                  </a:lnTo>
                  <a:lnTo>
                    <a:pt x="145" y="1017"/>
                  </a:lnTo>
                  <a:lnTo>
                    <a:pt x="145" y="1014"/>
                  </a:lnTo>
                  <a:close/>
                  <a:moveTo>
                    <a:pt x="140" y="1017"/>
                  </a:moveTo>
                  <a:lnTo>
                    <a:pt x="140" y="1014"/>
                  </a:lnTo>
                  <a:lnTo>
                    <a:pt x="140" y="1017"/>
                  </a:lnTo>
                  <a:close/>
                  <a:moveTo>
                    <a:pt x="145" y="1017"/>
                  </a:moveTo>
                  <a:lnTo>
                    <a:pt x="145" y="1014"/>
                  </a:lnTo>
                  <a:lnTo>
                    <a:pt x="145" y="1017"/>
                  </a:lnTo>
                  <a:close/>
                  <a:moveTo>
                    <a:pt x="143" y="1014"/>
                  </a:moveTo>
                  <a:lnTo>
                    <a:pt x="143" y="1017"/>
                  </a:lnTo>
                  <a:lnTo>
                    <a:pt x="143" y="1014"/>
                  </a:lnTo>
                  <a:close/>
                  <a:moveTo>
                    <a:pt x="164" y="1017"/>
                  </a:moveTo>
                  <a:lnTo>
                    <a:pt x="164" y="1014"/>
                  </a:lnTo>
                  <a:lnTo>
                    <a:pt x="164" y="1017"/>
                  </a:lnTo>
                  <a:close/>
                  <a:moveTo>
                    <a:pt x="145" y="1014"/>
                  </a:moveTo>
                  <a:lnTo>
                    <a:pt x="145" y="1017"/>
                  </a:lnTo>
                  <a:lnTo>
                    <a:pt x="145" y="1014"/>
                  </a:lnTo>
                  <a:close/>
                  <a:moveTo>
                    <a:pt x="128" y="1017"/>
                  </a:moveTo>
                  <a:lnTo>
                    <a:pt x="128" y="1014"/>
                  </a:lnTo>
                  <a:lnTo>
                    <a:pt x="128" y="1017"/>
                  </a:lnTo>
                  <a:close/>
                  <a:moveTo>
                    <a:pt x="145" y="1014"/>
                  </a:moveTo>
                  <a:lnTo>
                    <a:pt x="147" y="1014"/>
                  </a:lnTo>
                  <a:lnTo>
                    <a:pt x="145" y="1014"/>
                  </a:lnTo>
                  <a:close/>
                  <a:moveTo>
                    <a:pt x="140" y="1014"/>
                  </a:moveTo>
                  <a:lnTo>
                    <a:pt x="138" y="1014"/>
                  </a:lnTo>
                  <a:lnTo>
                    <a:pt x="140" y="1014"/>
                  </a:lnTo>
                  <a:close/>
                  <a:moveTo>
                    <a:pt x="140" y="1014"/>
                  </a:moveTo>
                  <a:lnTo>
                    <a:pt x="138" y="1014"/>
                  </a:lnTo>
                  <a:lnTo>
                    <a:pt x="140" y="1014"/>
                  </a:lnTo>
                  <a:close/>
                  <a:moveTo>
                    <a:pt x="128" y="1014"/>
                  </a:moveTo>
                  <a:lnTo>
                    <a:pt x="126" y="1014"/>
                  </a:lnTo>
                  <a:lnTo>
                    <a:pt x="128" y="1014"/>
                  </a:lnTo>
                  <a:close/>
                  <a:moveTo>
                    <a:pt x="131" y="1014"/>
                  </a:moveTo>
                  <a:lnTo>
                    <a:pt x="128" y="1014"/>
                  </a:lnTo>
                  <a:lnTo>
                    <a:pt x="131" y="1014"/>
                  </a:lnTo>
                  <a:close/>
                  <a:moveTo>
                    <a:pt x="166" y="1014"/>
                  </a:moveTo>
                  <a:lnTo>
                    <a:pt x="164" y="1014"/>
                  </a:lnTo>
                  <a:lnTo>
                    <a:pt x="166" y="1014"/>
                  </a:lnTo>
                  <a:close/>
                  <a:moveTo>
                    <a:pt x="166" y="1014"/>
                  </a:moveTo>
                  <a:lnTo>
                    <a:pt x="164" y="1014"/>
                  </a:lnTo>
                  <a:lnTo>
                    <a:pt x="166" y="1014"/>
                  </a:lnTo>
                  <a:close/>
                  <a:moveTo>
                    <a:pt x="166" y="1012"/>
                  </a:moveTo>
                  <a:lnTo>
                    <a:pt x="166" y="1014"/>
                  </a:lnTo>
                  <a:lnTo>
                    <a:pt x="166" y="1012"/>
                  </a:lnTo>
                  <a:close/>
                  <a:moveTo>
                    <a:pt x="166" y="1012"/>
                  </a:moveTo>
                  <a:lnTo>
                    <a:pt x="166" y="1014"/>
                  </a:lnTo>
                  <a:lnTo>
                    <a:pt x="166" y="1012"/>
                  </a:lnTo>
                  <a:close/>
                  <a:moveTo>
                    <a:pt x="131" y="1014"/>
                  </a:moveTo>
                  <a:lnTo>
                    <a:pt x="131" y="1012"/>
                  </a:lnTo>
                  <a:lnTo>
                    <a:pt x="131" y="1014"/>
                  </a:lnTo>
                  <a:close/>
                  <a:moveTo>
                    <a:pt x="136" y="1012"/>
                  </a:moveTo>
                  <a:lnTo>
                    <a:pt x="136" y="1014"/>
                  </a:lnTo>
                  <a:lnTo>
                    <a:pt x="136" y="1012"/>
                  </a:lnTo>
                  <a:close/>
                  <a:moveTo>
                    <a:pt x="166" y="1012"/>
                  </a:moveTo>
                  <a:lnTo>
                    <a:pt x="166" y="1014"/>
                  </a:lnTo>
                  <a:lnTo>
                    <a:pt x="166" y="1012"/>
                  </a:lnTo>
                  <a:close/>
                  <a:moveTo>
                    <a:pt x="128" y="1012"/>
                  </a:moveTo>
                  <a:lnTo>
                    <a:pt x="128" y="1014"/>
                  </a:lnTo>
                  <a:lnTo>
                    <a:pt x="128" y="1012"/>
                  </a:lnTo>
                  <a:close/>
                  <a:moveTo>
                    <a:pt x="140" y="1012"/>
                  </a:moveTo>
                  <a:lnTo>
                    <a:pt x="140" y="1014"/>
                  </a:lnTo>
                  <a:lnTo>
                    <a:pt x="140" y="1012"/>
                  </a:lnTo>
                  <a:close/>
                  <a:moveTo>
                    <a:pt x="131" y="1012"/>
                  </a:moveTo>
                  <a:lnTo>
                    <a:pt x="131" y="1014"/>
                  </a:lnTo>
                  <a:lnTo>
                    <a:pt x="131" y="1012"/>
                  </a:lnTo>
                  <a:close/>
                  <a:moveTo>
                    <a:pt x="166" y="1012"/>
                  </a:moveTo>
                  <a:lnTo>
                    <a:pt x="166" y="1014"/>
                  </a:lnTo>
                  <a:lnTo>
                    <a:pt x="166" y="1012"/>
                  </a:lnTo>
                  <a:close/>
                  <a:moveTo>
                    <a:pt x="131" y="1012"/>
                  </a:moveTo>
                  <a:lnTo>
                    <a:pt x="131" y="1014"/>
                  </a:lnTo>
                  <a:lnTo>
                    <a:pt x="128" y="1014"/>
                  </a:lnTo>
                  <a:lnTo>
                    <a:pt x="128" y="1012"/>
                  </a:lnTo>
                  <a:lnTo>
                    <a:pt x="131" y="1012"/>
                  </a:lnTo>
                  <a:close/>
                  <a:moveTo>
                    <a:pt x="131" y="1012"/>
                  </a:moveTo>
                  <a:lnTo>
                    <a:pt x="128" y="1012"/>
                  </a:lnTo>
                  <a:lnTo>
                    <a:pt x="131" y="1012"/>
                  </a:lnTo>
                  <a:close/>
                  <a:moveTo>
                    <a:pt x="133" y="1012"/>
                  </a:moveTo>
                  <a:lnTo>
                    <a:pt x="131" y="1012"/>
                  </a:lnTo>
                  <a:lnTo>
                    <a:pt x="133" y="1012"/>
                  </a:lnTo>
                  <a:close/>
                  <a:moveTo>
                    <a:pt x="131" y="1012"/>
                  </a:moveTo>
                  <a:lnTo>
                    <a:pt x="128" y="1012"/>
                  </a:lnTo>
                  <a:lnTo>
                    <a:pt x="131" y="1012"/>
                  </a:lnTo>
                  <a:close/>
                  <a:moveTo>
                    <a:pt x="133" y="1012"/>
                  </a:moveTo>
                  <a:lnTo>
                    <a:pt x="131" y="1012"/>
                  </a:lnTo>
                  <a:lnTo>
                    <a:pt x="133" y="1012"/>
                  </a:lnTo>
                  <a:close/>
                  <a:moveTo>
                    <a:pt x="133" y="1012"/>
                  </a:moveTo>
                  <a:lnTo>
                    <a:pt x="131" y="1012"/>
                  </a:lnTo>
                  <a:lnTo>
                    <a:pt x="133" y="1012"/>
                  </a:lnTo>
                  <a:close/>
                  <a:moveTo>
                    <a:pt x="136" y="1012"/>
                  </a:moveTo>
                  <a:lnTo>
                    <a:pt x="133" y="1012"/>
                  </a:lnTo>
                  <a:lnTo>
                    <a:pt x="136" y="1012"/>
                  </a:lnTo>
                  <a:lnTo>
                    <a:pt x="133" y="1012"/>
                  </a:lnTo>
                  <a:lnTo>
                    <a:pt x="136" y="1012"/>
                  </a:lnTo>
                  <a:close/>
                  <a:moveTo>
                    <a:pt x="174" y="1012"/>
                  </a:moveTo>
                  <a:lnTo>
                    <a:pt x="171" y="1012"/>
                  </a:lnTo>
                  <a:lnTo>
                    <a:pt x="174" y="1012"/>
                  </a:lnTo>
                  <a:close/>
                  <a:moveTo>
                    <a:pt x="136" y="1012"/>
                  </a:moveTo>
                  <a:lnTo>
                    <a:pt x="133" y="1012"/>
                  </a:lnTo>
                  <a:lnTo>
                    <a:pt x="136" y="1012"/>
                  </a:lnTo>
                  <a:close/>
                  <a:moveTo>
                    <a:pt x="136" y="1012"/>
                  </a:moveTo>
                  <a:lnTo>
                    <a:pt x="133" y="1012"/>
                  </a:lnTo>
                  <a:lnTo>
                    <a:pt x="136" y="1012"/>
                  </a:lnTo>
                  <a:close/>
                  <a:moveTo>
                    <a:pt x="136" y="1012"/>
                  </a:moveTo>
                  <a:lnTo>
                    <a:pt x="133" y="1012"/>
                  </a:lnTo>
                  <a:lnTo>
                    <a:pt x="136" y="1012"/>
                  </a:lnTo>
                  <a:close/>
                  <a:moveTo>
                    <a:pt x="133" y="1010"/>
                  </a:moveTo>
                  <a:lnTo>
                    <a:pt x="133" y="1012"/>
                  </a:lnTo>
                  <a:lnTo>
                    <a:pt x="133" y="1010"/>
                  </a:lnTo>
                  <a:close/>
                  <a:moveTo>
                    <a:pt x="169" y="1012"/>
                  </a:moveTo>
                  <a:lnTo>
                    <a:pt x="169" y="1010"/>
                  </a:lnTo>
                  <a:lnTo>
                    <a:pt x="169" y="1012"/>
                  </a:lnTo>
                  <a:close/>
                  <a:moveTo>
                    <a:pt x="171" y="1012"/>
                  </a:moveTo>
                  <a:lnTo>
                    <a:pt x="171" y="1010"/>
                  </a:lnTo>
                  <a:lnTo>
                    <a:pt x="171" y="1012"/>
                  </a:lnTo>
                  <a:close/>
                  <a:moveTo>
                    <a:pt x="143" y="1012"/>
                  </a:moveTo>
                  <a:lnTo>
                    <a:pt x="140" y="1012"/>
                  </a:lnTo>
                  <a:lnTo>
                    <a:pt x="140" y="1010"/>
                  </a:lnTo>
                  <a:lnTo>
                    <a:pt x="143" y="1012"/>
                  </a:lnTo>
                  <a:close/>
                  <a:moveTo>
                    <a:pt x="133" y="1010"/>
                  </a:moveTo>
                  <a:lnTo>
                    <a:pt x="133" y="1012"/>
                  </a:lnTo>
                  <a:lnTo>
                    <a:pt x="133" y="1010"/>
                  </a:lnTo>
                  <a:close/>
                  <a:moveTo>
                    <a:pt x="136" y="1010"/>
                  </a:moveTo>
                  <a:lnTo>
                    <a:pt x="133" y="1010"/>
                  </a:lnTo>
                  <a:lnTo>
                    <a:pt x="136" y="1010"/>
                  </a:lnTo>
                  <a:close/>
                  <a:moveTo>
                    <a:pt x="133" y="1010"/>
                  </a:moveTo>
                  <a:lnTo>
                    <a:pt x="133" y="1012"/>
                  </a:lnTo>
                  <a:lnTo>
                    <a:pt x="133" y="1010"/>
                  </a:lnTo>
                  <a:close/>
                  <a:moveTo>
                    <a:pt x="216" y="1010"/>
                  </a:moveTo>
                  <a:lnTo>
                    <a:pt x="219" y="1010"/>
                  </a:lnTo>
                  <a:lnTo>
                    <a:pt x="216" y="1010"/>
                  </a:lnTo>
                  <a:close/>
                  <a:moveTo>
                    <a:pt x="145" y="1010"/>
                  </a:moveTo>
                  <a:lnTo>
                    <a:pt x="143" y="1010"/>
                  </a:lnTo>
                  <a:lnTo>
                    <a:pt x="145" y="1010"/>
                  </a:lnTo>
                  <a:close/>
                  <a:moveTo>
                    <a:pt x="143" y="1010"/>
                  </a:moveTo>
                  <a:lnTo>
                    <a:pt x="145" y="1010"/>
                  </a:lnTo>
                  <a:lnTo>
                    <a:pt x="143" y="1010"/>
                  </a:lnTo>
                  <a:close/>
                  <a:moveTo>
                    <a:pt x="145" y="1010"/>
                  </a:moveTo>
                  <a:lnTo>
                    <a:pt x="147" y="1010"/>
                  </a:lnTo>
                  <a:lnTo>
                    <a:pt x="145" y="1010"/>
                  </a:lnTo>
                  <a:close/>
                  <a:moveTo>
                    <a:pt x="178" y="1010"/>
                  </a:moveTo>
                  <a:lnTo>
                    <a:pt x="176" y="1010"/>
                  </a:lnTo>
                  <a:lnTo>
                    <a:pt x="178" y="1010"/>
                  </a:lnTo>
                  <a:close/>
                  <a:moveTo>
                    <a:pt x="178" y="1007"/>
                  </a:moveTo>
                  <a:lnTo>
                    <a:pt x="178" y="1010"/>
                  </a:lnTo>
                  <a:lnTo>
                    <a:pt x="178" y="1007"/>
                  </a:lnTo>
                  <a:close/>
                  <a:moveTo>
                    <a:pt x="181" y="1007"/>
                  </a:moveTo>
                  <a:lnTo>
                    <a:pt x="181" y="1010"/>
                  </a:lnTo>
                  <a:lnTo>
                    <a:pt x="181" y="1007"/>
                  </a:lnTo>
                  <a:close/>
                  <a:moveTo>
                    <a:pt x="147" y="1007"/>
                  </a:moveTo>
                  <a:lnTo>
                    <a:pt x="145" y="1007"/>
                  </a:lnTo>
                  <a:lnTo>
                    <a:pt x="147" y="1007"/>
                  </a:lnTo>
                  <a:close/>
                  <a:moveTo>
                    <a:pt x="147" y="1007"/>
                  </a:moveTo>
                  <a:lnTo>
                    <a:pt x="150" y="1007"/>
                  </a:lnTo>
                  <a:lnTo>
                    <a:pt x="147" y="1007"/>
                  </a:lnTo>
                  <a:close/>
                  <a:moveTo>
                    <a:pt x="150" y="1007"/>
                  </a:moveTo>
                  <a:lnTo>
                    <a:pt x="147" y="1007"/>
                  </a:lnTo>
                  <a:lnTo>
                    <a:pt x="150" y="1007"/>
                  </a:lnTo>
                  <a:close/>
                  <a:moveTo>
                    <a:pt x="145" y="1007"/>
                  </a:moveTo>
                  <a:lnTo>
                    <a:pt x="143" y="1007"/>
                  </a:lnTo>
                  <a:lnTo>
                    <a:pt x="145" y="1007"/>
                  </a:lnTo>
                  <a:lnTo>
                    <a:pt x="143" y="1007"/>
                  </a:lnTo>
                  <a:lnTo>
                    <a:pt x="145" y="1007"/>
                  </a:lnTo>
                  <a:close/>
                  <a:moveTo>
                    <a:pt x="169" y="1007"/>
                  </a:moveTo>
                  <a:lnTo>
                    <a:pt x="166" y="1007"/>
                  </a:lnTo>
                  <a:lnTo>
                    <a:pt x="169" y="1007"/>
                  </a:lnTo>
                  <a:close/>
                  <a:moveTo>
                    <a:pt x="150" y="1007"/>
                  </a:moveTo>
                  <a:lnTo>
                    <a:pt x="152" y="1007"/>
                  </a:lnTo>
                  <a:lnTo>
                    <a:pt x="150" y="1007"/>
                  </a:lnTo>
                  <a:close/>
                  <a:moveTo>
                    <a:pt x="150" y="1007"/>
                  </a:moveTo>
                  <a:lnTo>
                    <a:pt x="150" y="1005"/>
                  </a:lnTo>
                  <a:lnTo>
                    <a:pt x="150" y="1007"/>
                  </a:lnTo>
                  <a:close/>
                  <a:moveTo>
                    <a:pt x="152" y="1007"/>
                  </a:moveTo>
                  <a:lnTo>
                    <a:pt x="152" y="1005"/>
                  </a:lnTo>
                  <a:lnTo>
                    <a:pt x="152" y="1007"/>
                  </a:lnTo>
                  <a:close/>
                  <a:moveTo>
                    <a:pt x="143" y="1005"/>
                  </a:moveTo>
                  <a:lnTo>
                    <a:pt x="143" y="1007"/>
                  </a:lnTo>
                  <a:lnTo>
                    <a:pt x="143" y="1005"/>
                  </a:lnTo>
                  <a:close/>
                  <a:moveTo>
                    <a:pt x="147" y="1007"/>
                  </a:moveTo>
                  <a:lnTo>
                    <a:pt x="147" y="1005"/>
                  </a:lnTo>
                  <a:lnTo>
                    <a:pt x="147" y="1007"/>
                  </a:lnTo>
                  <a:close/>
                  <a:moveTo>
                    <a:pt x="150" y="1005"/>
                  </a:moveTo>
                  <a:lnTo>
                    <a:pt x="150" y="1007"/>
                  </a:lnTo>
                  <a:lnTo>
                    <a:pt x="150" y="1005"/>
                  </a:lnTo>
                  <a:close/>
                  <a:moveTo>
                    <a:pt x="169" y="1005"/>
                  </a:moveTo>
                  <a:lnTo>
                    <a:pt x="169" y="1007"/>
                  </a:lnTo>
                  <a:lnTo>
                    <a:pt x="169" y="1005"/>
                  </a:lnTo>
                  <a:close/>
                  <a:moveTo>
                    <a:pt x="150" y="1005"/>
                  </a:moveTo>
                  <a:lnTo>
                    <a:pt x="147" y="1005"/>
                  </a:lnTo>
                  <a:lnTo>
                    <a:pt x="150" y="1005"/>
                  </a:lnTo>
                  <a:close/>
                  <a:moveTo>
                    <a:pt x="150" y="1005"/>
                  </a:moveTo>
                  <a:lnTo>
                    <a:pt x="147" y="1005"/>
                  </a:lnTo>
                  <a:lnTo>
                    <a:pt x="150" y="1005"/>
                  </a:lnTo>
                  <a:close/>
                  <a:moveTo>
                    <a:pt x="155" y="1005"/>
                  </a:moveTo>
                  <a:lnTo>
                    <a:pt x="152" y="1005"/>
                  </a:lnTo>
                  <a:lnTo>
                    <a:pt x="155" y="1005"/>
                  </a:lnTo>
                  <a:close/>
                  <a:moveTo>
                    <a:pt x="152" y="1003"/>
                  </a:moveTo>
                  <a:lnTo>
                    <a:pt x="152" y="1005"/>
                  </a:lnTo>
                  <a:lnTo>
                    <a:pt x="152" y="1003"/>
                  </a:lnTo>
                  <a:close/>
                  <a:moveTo>
                    <a:pt x="223" y="1003"/>
                  </a:moveTo>
                  <a:lnTo>
                    <a:pt x="226" y="1003"/>
                  </a:lnTo>
                  <a:lnTo>
                    <a:pt x="223" y="1003"/>
                  </a:lnTo>
                  <a:close/>
                  <a:moveTo>
                    <a:pt x="183" y="1003"/>
                  </a:moveTo>
                  <a:lnTo>
                    <a:pt x="181" y="1003"/>
                  </a:lnTo>
                  <a:lnTo>
                    <a:pt x="183" y="1003"/>
                  </a:lnTo>
                  <a:close/>
                  <a:moveTo>
                    <a:pt x="176" y="1003"/>
                  </a:moveTo>
                  <a:lnTo>
                    <a:pt x="178" y="1003"/>
                  </a:lnTo>
                  <a:lnTo>
                    <a:pt x="176" y="1003"/>
                  </a:lnTo>
                  <a:close/>
                  <a:moveTo>
                    <a:pt x="181" y="1003"/>
                  </a:moveTo>
                  <a:lnTo>
                    <a:pt x="178" y="1003"/>
                  </a:lnTo>
                  <a:lnTo>
                    <a:pt x="181" y="1003"/>
                  </a:lnTo>
                  <a:close/>
                  <a:moveTo>
                    <a:pt x="157" y="1003"/>
                  </a:moveTo>
                  <a:lnTo>
                    <a:pt x="155" y="1003"/>
                  </a:lnTo>
                  <a:lnTo>
                    <a:pt x="157" y="1003"/>
                  </a:lnTo>
                  <a:close/>
                  <a:moveTo>
                    <a:pt x="178" y="1003"/>
                  </a:moveTo>
                  <a:lnTo>
                    <a:pt x="176" y="1003"/>
                  </a:lnTo>
                  <a:lnTo>
                    <a:pt x="178" y="1003"/>
                  </a:lnTo>
                  <a:close/>
                  <a:moveTo>
                    <a:pt x="157" y="1003"/>
                  </a:moveTo>
                  <a:lnTo>
                    <a:pt x="157" y="1000"/>
                  </a:lnTo>
                  <a:lnTo>
                    <a:pt x="157" y="1003"/>
                  </a:lnTo>
                  <a:close/>
                  <a:moveTo>
                    <a:pt x="157" y="1000"/>
                  </a:moveTo>
                  <a:lnTo>
                    <a:pt x="157" y="1003"/>
                  </a:lnTo>
                  <a:lnTo>
                    <a:pt x="157" y="1000"/>
                  </a:lnTo>
                  <a:close/>
                  <a:moveTo>
                    <a:pt x="157" y="1000"/>
                  </a:moveTo>
                  <a:lnTo>
                    <a:pt x="155" y="1000"/>
                  </a:lnTo>
                  <a:lnTo>
                    <a:pt x="157" y="1000"/>
                  </a:lnTo>
                  <a:close/>
                  <a:moveTo>
                    <a:pt x="157" y="1000"/>
                  </a:moveTo>
                  <a:lnTo>
                    <a:pt x="155" y="1000"/>
                  </a:lnTo>
                  <a:lnTo>
                    <a:pt x="157" y="1000"/>
                  </a:lnTo>
                  <a:close/>
                  <a:moveTo>
                    <a:pt x="188" y="995"/>
                  </a:moveTo>
                  <a:lnTo>
                    <a:pt x="185" y="995"/>
                  </a:lnTo>
                  <a:lnTo>
                    <a:pt x="188" y="995"/>
                  </a:lnTo>
                  <a:close/>
                  <a:moveTo>
                    <a:pt x="164" y="995"/>
                  </a:moveTo>
                  <a:lnTo>
                    <a:pt x="162" y="995"/>
                  </a:lnTo>
                  <a:lnTo>
                    <a:pt x="164" y="995"/>
                  </a:lnTo>
                  <a:close/>
                  <a:moveTo>
                    <a:pt x="185" y="993"/>
                  </a:moveTo>
                  <a:lnTo>
                    <a:pt x="183" y="993"/>
                  </a:lnTo>
                  <a:lnTo>
                    <a:pt x="185" y="993"/>
                  </a:lnTo>
                  <a:close/>
                  <a:moveTo>
                    <a:pt x="195" y="986"/>
                  </a:moveTo>
                  <a:lnTo>
                    <a:pt x="192" y="986"/>
                  </a:lnTo>
                  <a:lnTo>
                    <a:pt x="195" y="986"/>
                  </a:lnTo>
                  <a:close/>
                  <a:moveTo>
                    <a:pt x="197" y="986"/>
                  </a:moveTo>
                  <a:lnTo>
                    <a:pt x="197" y="984"/>
                  </a:lnTo>
                  <a:lnTo>
                    <a:pt x="197" y="986"/>
                  </a:lnTo>
                  <a:close/>
                  <a:moveTo>
                    <a:pt x="207" y="981"/>
                  </a:moveTo>
                  <a:lnTo>
                    <a:pt x="207" y="984"/>
                  </a:lnTo>
                  <a:lnTo>
                    <a:pt x="207" y="981"/>
                  </a:lnTo>
                  <a:close/>
                  <a:moveTo>
                    <a:pt x="209" y="981"/>
                  </a:moveTo>
                  <a:lnTo>
                    <a:pt x="207" y="981"/>
                  </a:lnTo>
                  <a:lnTo>
                    <a:pt x="209" y="981"/>
                  </a:lnTo>
                  <a:close/>
                  <a:moveTo>
                    <a:pt x="226" y="979"/>
                  </a:moveTo>
                  <a:lnTo>
                    <a:pt x="226" y="981"/>
                  </a:lnTo>
                  <a:lnTo>
                    <a:pt x="226" y="979"/>
                  </a:lnTo>
                  <a:close/>
                  <a:moveTo>
                    <a:pt x="200" y="979"/>
                  </a:moveTo>
                  <a:lnTo>
                    <a:pt x="200" y="981"/>
                  </a:lnTo>
                  <a:lnTo>
                    <a:pt x="200" y="979"/>
                  </a:lnTo>
                  <a:close/>
                  <a:moveTo>
                    <a:pt x="200" y="981"/>
                  </a:moveTo>
                  <a:lnTo>
                    <a:pt x="200" y="979"/>
                  </a:lnTo>
                  <a:lnTo>
                    <a:pt x="200" y="981"/>
                  </a:lnTo>
                  <a:close/>
                  <a:moveTo>
                    <a:pt x="230" y="981"/>
                  </a:moveTo>
                  <a:lnTo>
                    <a:pt x="230" y="979"/>
                  </a:lnTo>
                  <a:lnTo>
                    <a:pt x="230" y="981"/>
                  </a:lnTo>
                  <a:close/>
                  <a:moveTo>
                    <a:pt x="228" y="979"/>
                  </a:moveTo>
                  <a:lnTo>
                    <a:pt x="226" y="979"/>
                  </a:lnTo>
                  <a:lnTo>
                    <a:pt x="228" y="979"/>
                  </a:lnTo>
                  <a:lnTo>
                    <a:pt x="226" y="979"/>
                  </a:lnTo>
                  <a:lnTo>
                    <a:pt x="228" y="979"/>
                  </a:lnTo>
                  <a:close/>
                  <a:moveTo>
                    <a:pt x="204" y="976"/>
                  </a:moveTo>
                  <a:lnTo>
                    <a:pt x="202" y="976"/>
                  </a:lnTo>
                  <a:lnTo>
                    <a:pt x="204" y="976"/>
                  </a:lnTo>
                  <a:close/>
                  <a:moveTo>
                    <a:pt x="204" y="976"/>
                  </a:moveTo>
                  <a:lnTo>
                    <a:pt x="202" y="976"/>
                  </a:lnTo>
                  <a:lnTo>
                    <a:pt x="204" y="976"/>
                  </a:lnTo>
                  <a:close/>
                  <a:moveTo>
                    <a:pt x="204" y="976"/>
                  </a:moveTo>
                  <a:lnTo>
                    <a:pt x="202" y="976"/>
                  </a:lnTo>
                  <a:lnTo>
                    <a:pt x="204" y="976"/>
                  </a:lnTo>
                  <a:close/>
                  <a:moveTo>
                    <a:pt x="230" y="976"/>
                  </a:moveTo>
                  <a:lnTo>
                    <a:pt x="233" y="976"/>
                  </a:lnTo>
                  <a:lnTo>
                    <a:pt x="230" y="976"/>
                  </a:lnTo>
                  <a:close/>
                  <a:moveTo>
                    <a:pt x="202" y="976"/>
                  </a:moveTo>
                  <a:lnTo>
                    <a:pt x="202" y="974"/>
                  </a:lnTo>
                  <a:lnTo>
                    <a:pt x="202" y="976"/>
                  </a:lnTo>
                  <a:close/>
                  <a:moveTo>
                    <a:pt x="230" y="974"/>
                  </a:moveTo>
                  <a:lnTo>
                    <a:pt x="230" y="976"/>
                  </a:lnTo>
                  <a:lnTo>
                    <a:pt x="230" y="974"/>
                  </a:lnTo>
                  <a:close/>
                  <a:moveTo>
                    <a:pt x="204" y="976"/>
                  </a:moveTo>
                  <a:lnTo>
                    <a:pt x="204" y="974"/>
                  </a:lnTo>
                  <a:lnTo>
                    <a:pt x="204" y="976"/>
                  </a:lnTo>
                  <a:close/>
                  <a:moveTo>
                    <a:pt x="204" y="976"/>
                  </a:moveTo>
                  <a:lnTo>
                    <a:pt x="204" y="974"/>
                  </a:lnTo>
                  <a:lnTo>
                    <a:pt x="204" y="976"/>
                  </a:lnTo>
                  <a:close/>
                  <a:moveTo>
                    <a:pt x="219" y="974"/>
                  </a:moveTo>
                  <a:lnTo>
                    <a:pt x="219" y="976"/>
                  </a:lnTo>
                  <a:lnTo>
                    <a:pt x="219" y="974"/>
                  </a:lnTo>
                  <a:close/>
                  <a:moveTo>
                    <a:pt x="211" y="976"/>
                  </a:moveTo>
                  <a:lnTo>
                    <a:pt x="211" y="974"/>
                  </a:lnTo>
                  <a:lnTo>
                    <a:pt x="211" y="976"/>
                  </a:lnTo>
                  <a:close/>
                  <a:moveTo>
                    <a:pt x="230" y="974"/>
                  </a:moveTo>
                  <a:lnTo>
                    <a:pt x="228" y="974"/>
                  </a:lnTo>
                  <a:lnTo>
                    <a:pt x="230" y="974"/>
                  </a:lnTo>
                  <a:close/>
                  <a:moveTo>
                    <a:pt x="207" y="974"/>
                  </a:moveTo>
                  <a:lnTo>
                    <a:pt x="204" y="974"/>
                  </a:lnTo>
                  <a:lnTo>
                    <a:pt x="207" y="974"/>
                  </a:lnTo>
                  <a:close/>
                  <a:moveTo>
                    <a:pt x="233" y="972"/>
                  </a:moveTo>
                  <a:lnTo>
                    <a:pt x="233" y="974"/>
                  </a:lnTo>
                  <a:lnTo>
                    <a:pt x="233" y="972"/>
                  </a:lnTo>
                  <a:close/>
                  <a:moveTo>
                    <a:pt x="235" y="974"/>
                  </a:moveTo>
                  <a:lnTo>
                    <a:pt x="235" y="972"/>
                  </a:lnTo>
                  <a:lnTo>
                    <a:pt x="235" y="974"/>
                  </a:lnTo>
                  <a:close/>
                  <a:moveTo>
                    <a:pt x="233" y="972"/>
                  </a:moveTo>
                  <a:lnTo>
                    <a:pt x="235" y="972"/>
                  </a:lnTo>
                  <a:lnTo>
                    <a:pt x="233" y="972"/>
                  </a:lnTo>
                  <a:close/>
                  <a:moveTo>
                    <a:pt x="211" y="972"/>
                  </a:moveTo>
                  <a:lnTo>
                    <a:pt x="211" y="974"/>
                  </a:lnTo>
                  <a:lnTo>
                    <a:pt x="211" y="972"/>
                  </a:lnTo>
                  <a:lnTo>
                    <a:pt x="211" y="974"/>
                  </a:lnTo>
                  <a:lnTo>
                    <a:pt x="211" y="972"/>
                  </a:lnTo>
                  <a:close/>
                  <a:moveTo>
                    <a:pt x="235" y="972"/>
                  </a:moveTo>
                  <a:lnTo>
                    <a:pt x="233" y="972"/>
                  </a:lnTo>
                  <a:lnTo>
                    <a:pt x="235" y="972"/>
                  </a:lnTo>
                  <a:close/>
                  <a:moveTo>
                    <a:pt x="233" y="972"/>
                  </a:moveTo>
                  <a:lnTo>
                    <a:pt x="235" y="972"/>
                  </a:lnTo>
                  <a:lnTo>
                    <a:pt x="233" y="972"/>
                  </a:lnTo>
                  <a:close/>
                  <a:moveTo>
                    <a:pt x="211" y="969"/>
                  </a:moveTo>
                  <a:lnTo>
                    <a:pt x="214" y="972"/>
                  </a:lnTo>
                  <a:lnTo>
                    <a:pt x="211" y="972"/>
                  </a:lnTo>
                  <a:lnTo>
                    <a:pt x="211" y="969"/>
                  </a:lnTo>
                  <a:close/>
                  <a:moveTo>
                    <a:pt x="214" y="972"/>
                  </a:moveTo>
                  <a:lnTo>
                    <a:pt x="214" y="969"/>
                  </a:lnTo>
                  <a:lnTo>
                    <a:pt x="214" y="972"/>
                  </a:lnTo>
                  <a:close/>
                  <a:moveTo>
                    <a:pt x="216" y="972"/>
                  </a:moveTo>
                  <a:lnTo>
                    <a:pt x="216" y="969"/>
                  </a:lnTo>
                  <a:lnTo>
                    <a:pt x="216" y="972"/>
                  </a:lnTo>
                  <a:close/>
                  <a:moveTo>
                    <a:pt x="209" y="972"/>
                  </a:moveTo>
                  <a:lnTo>
                    <a:pt x="209" y="969"/>
                  </a:lnTo>
                  <a:lnTo>
                    <a:pt x="209" y="972"/>
                  </a:lnTo>
                  <a:close/>
                  <a:moveTo>
                    <a:pt x="221" y="967"/>
                  </a:moveTo>
                  <a:lnTo>
                    <a:pt x="223" y="967"/>
                  </a:lnTo>
                  <a:lnTo>
                    <a:pt x="221" y="967"/>
                  </a:lnTo>
                  <a:close/>
                  <a:moveTo>
                    <a:pt x="216" y="967"/>
                  </a:moveTo>
                  <a:lnTo>
                    <a:pt x="219" y="967"/>
                  </a:lnTo>
                  <a:lnTo>
                    <a:pt x="216" y="967"/>
                  </a:lnTo>
                  <a:close/>
                  <a:moveTo>
                    <a:pt x="219" y="965"/>
                  </a:moveTo>
                  <a:lnTo>
                    <a:pt x="221" y="965"/>
                  </a:lnTo>
                  <a:lnTo>
                    <a:pt x="219" y="965"/>
                  </a:lnTo>
                  <a:close/>
                  <a:moveTo>
                    <a:pt x="223" y="965"/>
                  </a:moveTo>
                  <a:lnTo>
                    <a:pt x="221" y="965"/>
                  </a:lnTo>
                  <a:lnTo>
                    <a:pt x="223" y="965"/>
                  </a:lnTo>
                  <a:close/>
                  <a:moveTo>
                    <a:pt x="221" y="962"/>
                  </a:moveTo>
                  <a:lnTo>
                    <a:pt x="221" y="965"/>
                  </a:lnTo>
                  <a:lnTo>
                    <a:pt x="221" y="962"/>
                  </a:lnTo>
                  <a:close/>
                  <a:moveTo>
                    <a:pt x="221" y="965"/>
                  </a:moveTo>
                  <a:lnTo>
                    <a:pt x="221" y="962"/>
                  </a:lnTo>
                  <a:lnTo>
                    <a:pt x="221" y="965"/>
                  </a:lnTo>
                  <a:close/>
                  <a:moveTo>
                    <a:pt x="209" y="962"/>
                  </a:moveTo>
                  <a:lnTo>
                    <a:pt x="207" y="962"/>
                  </a:lnTo>
                  <a:lnTo>
                    <a:pt x="209" y="962"/>
                  </a:lnTo>
                  <a:close/>
                  <a:moveTo>
                    <a:pt x="207" y="965"/>
                  </a:moveTo>
                  <a:lnTo>
                    <a:pt x="207" y="962"/>
                  </a:lnTo>
                  <a:lnTo>
                    <a:pt x="207" y="965"/>
                  </a:lnTo>
                  <a:close/>
                  <a:moveTo>
                    <a:pt x="209" y="962"/>
                  </a:moveTo>
                  <a:lnTo>
                    <a:pt x="207" y="962"/>
                  </a:lnTo>
                  <a:lnTo>
                    <a:pt x="209" y="962"/>
                  </a:lnTo>
                  <a:close/>
                  <a:moveTo>
                    <a:pt x="228" y="962"/>
                  </a:moveTo>
                  <a:lnTo>
                    <a:pt x="226" y="962"/>
                  </a:lnTo>
                  <a:lnTo>
                    <a:pt x="228" y="962"/>
                  </a:lnTo>
                  <a:close/>
                  <a:moveTo>
                    <a:pt x="223" y="962"/>
                  </a:moveTo>
                  <a:lnTo>
                    <a:pt x="221" y="962"/>
                  </a:lnTo>
                  <a:lnTo>
                    <a:pt x="223" y="962"/>
                  </a:lnTo>
                  <a:close/>
                  <a:moveTo>
                    <a:pt x="209" y="962"/>
                  </a:moveTo>
                  <a:lnTo>
                    <a:pt x="207" y="962"/>
                  </a:lnTo>
                  <a:lnTo>
                    <a:pt x="209" y="962"/>
                  </a:lnTo>
                  <a:close/>
                  <a:moveTo>
                    <a:pt x="202" y="962"/>
                  </a:moveTo>
                  <a:lnTo>
                    <a:pt x="200" y="962"/>
                  </a:lnTo>
                  <a:lnTo>
                    <a:pt x="202" y="962"/>
                  </a:lnTo>
                  <a:close/>
                  <a:moveTo>
                    <a:pt x="223" y="962"/>
                  </a:moveTo>
                  <a:lnTo>
                    <a:pt x="221" y="962"/>
                  </a:lnTo>
                  <a:lnTo>
                    <a:pt x="223" y="962"/>
                  </a:lnTo>
                  <a:close/>
                  <a:moveTo>
                    <a:pt x="209" y="962"/>
                  </a:moveTo>
                  <a:lnTo>
                    <a:pt x="207" y="962"/>
                  </a:lnTo>
                  <a:lnTo>
                    <a:pt x="209" y="962"/>
                  </a:lnTo>
                  <a:close/>
                  <a:moveTo>
                    <a:pt x="230" y="962"/>
                  </a:moveTo>
                  <a:lnTo>
                    <a:pt x="228" y="962"/>
                  </a:lnTo>
                  <a:lnTo>
                    <a:pt x="230" y="962"/>
                  </a:lnTo>
                  <a:close/>
                  <a:moveTo>
                    <a:pt x="230" y="962"/>
                  </a:moveTo>
                  <a:lnTo>
                    <a:pt x="230" y="960"/>
                  </a:lnTo>
                  <a:lnTo>
                    <a:pt x="230" y="962"/>
                  </a:lnTo>
                  <a:close/>
                  <a:moveTo>
                    <a:pt x="214" y="962"/>
                  </a:moveTo>
                  <a:lnTo>
                    <a:pt x="214" y="960"/>
                  </a:lnTo>
                  <a:lnTo>
                    <a:pt x="214" y="962"/>
                  </a:lnTo>
                  <a:close/>
                  <a:moveTo>
                    <a:pt x="223" y="962"/>
                  </a:moveTo>
                  <a:lnTo>
                    <a:pt x="223" y="960"/>
                  </a:lnTo>
                  <a:lnTo>
                    <a:pt x="223" y="962"/>
                  </a:lnTo>
                  <a:close/>
                  <a:moveTo>
                    <a:pt x="223" y="960"/>
                  </a:moveTo>
                  <a:lnTo>
                    <a:pt x="221" y="960"/>
                  </a:lnTo>
                  <a:lnTo>
                    <a:pt x="223" y="960"/>
                  </a:lnTo>
                  <a:close/>
                  <a:moveTo>
                    <a:pt x="204" y="960"/>
                  </a:moveTo>
                  <a:lnTo>
                    <a:pt x="202" y="960"/>
                  </a:lnTo>
                  <a:lnTo>
                    <a:pt x="204" y="960"/>
                  </a:lnTo>
                  <a:close/>
                  <a:moveTo>
                    <a:pt x="235" y="960"/>
                  </a:moveTo>
                  <a:lnTo>
                    <a:pt x="233" y="960"/>
                  </a:lnTo>
                  <a:lnTo>
                    <a:pt x="235" y="960"/>
                  </a:lnTo>
                  <a:close/>
                  <a:moveTo>
                    <a:pt x="219" y="960"/>
                  </a:moveTo>
                  <a:lnTo>
                    <a:pt x="221" y="960"/>
                  </a:lnTo>
                  <a:lnTo>
                    <a:pt x="219" y="960"/>
                  </a:lnTo>
                  <a:close/>
                  <a:moveTo>
                    <a:pt x="223" y="960"/>
                  </a:moveTo>
                  <a:lnTo>
                    <a:pt x="221" y="960"/>
                  </a:lnTo>
                  <a:lnTo>
                    <a:pt x="223" y="960"/>
                  </a:lnTo>
                  <a:close/>
                  <a:moveTo>
                    <a:pt x="216" y="960"/>
                  </a:moveTo>
                  <a:lnTo>
                    <a:pt x="214" y="960"/>
                  </a:lnTo>
                  <a:lnTo>
                    <a:pt x="216" y="960"/>
                  </a:lnTo>
                  <a:close/>
                  <a:moveTo>
                    <a:pt x="221" y="960"/>
                  </a:moveTo>
                  <a:lnTo>
                    <a:pt x="219" y="960"/>
                  </a:lnTo>
                  <a:lnTo>
                    <a:pt x="221" y="960"/>
                  </a:lnTo>
                  <a:close/>
                  <a:moveTo>
                    <a:pt x="207" y="960"/>
                  </a:moveTo>
                  <a:lnTo>
                    <a:pt x="207" y="957"/>
                  </a:lnTo>
                  <a:lnTo>
                    <a:pt x="207" y="960"/>
                  </a:lnTo>
                  <a:close/>
                  <a:moveTo>
                    <a:pt x="202" y="957"/>
                  </a:moveTo>
                  <a:lnTo>
                    <a:pt x="202" y="960"/>
                  </a:lnTo>
                  <a:lnTo>
                    <a:pt x="202" y="957"/>
                  </a:lnTo>
                  <a:close/>
                  <a:moveTo>
                    <a:pt x="207" y="960"/>
                  </a:moveTo>
                  <a:lnTo>
                    <a:pt x="207" y="957"/>
                  </a:lnTo>
                  <a:lnTo>
                    <a:pt x="207" y="960"/>
                  </a:lnTo>
                  <a:close/>
                  <a:moveTo>
                    <a:pt x="209" y="957"/>
                  </a:moveTo>
                  <a:lnTo>
                    <a:pt x="209" y="960"/>
                  </a:lnTo>
                  <a:lnTo>
                    <a:pt x="209" y="957"/>
                  </a:lnTo>
                  <a:close/>
                  <a:moveTo>
                    <a:pt x="214" y="957"/>
                  </a:moveTo>
                  <a:lnTo>
                    <a:pt x="214" y="960"/>
                  </a:lnTo>
                  <a:lnTo>
                    <a:pt x="214" y="957"/>
                  </a:lnTo>
                  <a:close/>
                  <a:moveTo>
                    <a:pt x="216" y="957"/>
                  </a:moveTo>
                  <a:lnTo>
                    <a:pt x="216" y="960"/>
                  </a:lnTo>
                  <a:lnTo>
                    <a:pt x="216" y="957"/>
                  </a:lnTo>
                  <a:close/>
                  <a:moveTo>
                    <a:pt x="202" y="957"/>
                  </a:moveTo>
                  <a:lnTo>
                    <a:pt x="202" y="960"/>
                  </a:lnTo>
                  <a:lnTo>
                    <a:pt x="202" y="957"/>
                  </a:lnTo>
                  <a:close/>
                  <a:moveTo>
                    <a:pt x="209" y="957"/>
                  </a:moveTo>
                  <a:lnTo>
                    <a:pt x="207" y="957"/>
                  </a:lnTo>
                  <a:lnTo>
                    <a:pt x="209" y="957"/>
                  </a:lnTo>
                  <a:close/>
                  <a:moveTo>
                    <a:pt x="216" y="957"/>
                  </a:moveTo>
                  <a:lnTo>
                    <a:pt x="216" y="960"/>
                  </a:lnTo>
                  <a:lnTo>
                    <a:pt x="216" y="957"/>
                  </a:lnTo>
                  <a:close/>
                  <a:moveTo>
                    <a:pt x="209" y="957"/>
                  </a:moveTo>
                  <a:lnTo>
                    <a:pt x="209" y="960"/>
                  </a:lnTo>
                  <a:lnTo>
                    <a:pt x="209" y="957"/>
                  </a:lnTo>
                  <a:close/>
                  <a:moveTo>
                    <a:pt x="214" y="957"/>
                  </a:moveTo>
                  <a:lnTo>
                    <a:pt x="214" y="960"/>
                  </a:lnTo>
                  <a:lnTo>
                    <a:pt x="214" y="957"/>
                  </a:lnTo>
                  <a:close/>
                  <a:moveTo>
                    <a:pt x="219" y="957"/>
                  </a:moveTo>
                  <a:lnTo>
                    <a:pt x="219" y="960"/>
                  </a:lnTo>
                  <a:lnTo>
                    <a:pt x="219" y="957"/>
                  </a:lnTo>
                  <a:close/>
                  <a:moveTo>
                    <a:pt x="216" y="957"/>
                  </a:moveTo>
                  <a:lnTo>
                    <a:pt x="216" y="960"/>
                  </a:lnTo>
                  <a:lnTo>
                    <a:pt x="216" y="957"/>
                  </a:lnTo>
                  <a:close/>
                  <a:moveTo>
                    <a:pt x="219" y="957"/>
                  </a:moveTo>
                  <a:lnTo>
                    <a:pt x="219" y="960"/>
                  </a:lnTo>
                  <a:lnTo>
                    <a:pt x="219" y="957"/>
                  </a:lnTo>
                  <a:close/>
                  <a:moveTo>
                    <a:pt x="223" y="957"/>
                  </a:moveTo>
                  <a:lnTo>
                    <a:pt x="223" y="960"/>
                  </a:lnTo>
                  <a:lnTo>
                    <a:pt x="223" y="957"/>
                  </a:lnTo>
                  <a:close/>
                  <a:moveTo>
                    <a:pt x="214" y="957"/>
                  </a:moveTo>
                  <a:lnTo>
                    <a:pt x="216" y="957"/>
                  </a:lnTo>
                  <a:lnTo>
                    <a:pt x="214" y="957"/>
                  </a:lnTo>
                  <a:close/>
                  <a:moveTo>
                    <a:pt x="207" y="957"/>
                  </a:moveTo>
                  <a:lnTo>
                    <a:pt x="204" y="957"/>
                  </a:lnTo>
                  <a:lnTo>
                    <a:pt x="207" y="957"/>
                  </a:lnTo>
                  <a:close/>
                  <a:moveTo>
                    <a:pt x="204" y="957"/>
                  </a:moveTo>
                  <a:lnTo>
                    <a:pt x="202" y="957"/>
                  </a:lnTo>
                  <a:lnTo>
                    <a:pt x="204" y="957"/>
                  </a:lnTo>
                  <a:close/>
                  <a:moveTo>
                    <a:pt x="214" y="957"/>
                  </a:moveTo>
                  <a:lnTo>
                    <a:pt x="211" y="957"/>
                  </a:lnTo>
                  <a:lnTo>
                    <a:pt x="214" y="957"/>
                  </a:lnTo>
                  <a:close/>
                  <a:moveTo>
                    <a:pt x="219" y="957"/>
                  </a:moveTo>
                  <a:lnTo>
                    <a:pt x="216" y="957"/>
                  </a:lnTo>
                  <a:lnTo>
                    <a:pt x="219" y="957"/>
                  </a:lnTo>
                  <a:close/>
                  <a:moveTo>
                    <a:pt x="204" y="957"/>
                  </a:moveTo>
                  <a:lnTo>
                    <a:pt x="202" y="957"/>
                  </a:lnTo>
                  <a:lnTo>
                    <a:pt x="204" y="957"/>
                  </a:lnTo>
                  <a:close/>
                  <a:moveTo>
                    <a:pt x="216" y="957"/>
                  </a:moveTo>
                  <a:lnTo>
                    <a:pt x="214" y="957"/>
                  </a:lnTo>
                  <a:lnTo>
                    <a:pt x="216" y="957"/>
                  </a:lnTo>
                  <a:close/>
                  <a:moveTo>
                    <a:pt x="204" y="957"/>
                  </a:moveTo>
                  <a:lnTo>
                    <a:pt x="204" y="955"/>
                  </a:lnTo>
                  <a:lnTo>
                    <a:pt x="204" y="957"/>
                  </a:lnTo>
                  <a:close/>
                  <a:moveTo>
                    <a:pt x="202" y="955"/>
                  </a:moveTo>
                  <a:lnTo>
                    <a:pt x="202" y="957"/>
                  </a:lnTo>
                  <a:lnTo>
                    <a:pt x="202" y="955"/>
                  </a:lnTo>
                  <a:close/>
                  <a:moveTo>
                    <a:pt x="204" y="955"/>
                  </a:moveTo>
                  <a:lnTo>
                    <a:pt x="202" y="955"/>
                  </a:lnTo>
                  <a:lnTo>
                    <a:pt x="204" y="955"/>
                  </a:lnTo>
                  <a:close/>
                  <a:moveTo>
                    <a:pt x="204" y="955"/>
                  </a:moveTo>
                  <a:lnTo>
                    <a:pt x="202" y="955"/>
                  </a:lnTo>
                  <a:lnTo>
                    <a:pt x="204" y="955"/>
                  </a:lnTo>
                  <a:close/>
                  <a:moveTo>
                    <a:pt x="202" y="955"/>
                  </a:moveTo>
                  <a:lnTo>
                    <a:pt x="204" y="955"/>
                  </a:lnTo>
                  <a:lnTo>
                    <a:pt x="202" y="955"/>
                  </a:lnTo>
                  <a:close/>
                  <a:moveTo>
                    <a:pt x="207" y="953"/>
                  </a:moveTo>
                  <a:lnTo>
                    <a:pt x="207" y="955"/>
                  </a:lnTo>
                  <a:lnTo>
                    <a:pt x="207" y="953"/>
                  </a:lnTo>
                  <a:close/>
                  <a:moveTo>
                    <a:pt x="202" y="953"/>
                  </a:moveTo>
                  <a:lnTo>
                    <a:pt x="202" y="955"/>
                  </a:lnTo>
                  <a:lnTo>
                    <a:pt x="202" y="953"/>
                  </a:lnTo>
                  <a:close/>
                  <a:moveTo>
                    <a:pt x="223" y="953"/>
                  </a:moveTo>
                  <a:lnTo>
                    <a:pt x="223" y="955"/>
                  </a:lnTo>
                  <a:lnTo>
                    <a:pt x="223" y="953"/>
                  </a:lnTo>
                  <a:lnTo>
                    <a:pt x="223" y="955"/>
                  </a:lnTo>
                  <a:lnTo>
                    <a:pt x="223" y="953"/>
                  </a:lnTo>
                  <a:close/>
                  <a:moveTo>
                    <a:pt x="226" y="953"/>
                  </a:moveTo>
                  <a:lnTo>
                    <a:pt x="226" y="955"/>
                  </a:lnTo>
                  <a:lnTo>
                    <a:pt x="226" y="953"/>
                  </a:lnTo>
                  <a:close/>
                  <a:moveTo>
                    <a:pt x="202" y="953"/>
                  </a:moveTo>
                  <a:lnTo>
                    <a:pt x="202" y="955"/>
                  </a:lnTo>
                  <a:lnTo>
                    <a:pt x="202" y="953"/>
                  </a:lnTo>
                  <a:close/>
                  <a:moveTo>
                    <a:pt x="223" y="953"/>
                  </a:moveTo>
                  <a:lnTo>
                    <a:pt x="223" y="955"/>
                  </a:lnTo>
                  <a:lnTo>
                    <a:pt x="223" y="953"/>
                  </a:lnTo>
                  <a:close/>
                  <a:moveTo>
                    <a:pt x="204" y="953"/>
                  </a:moveTo>
                  <a:lnTo>
                    <a:pt x="204" y="955"/>
                  </a:lnTo>
                  <a:lnTo>
                    <a:pt x="204" y="953"/>
                  </a:lnTo>
                  <a:close/>
                  <a:moveTo>
                    <a:pt x="204" y="953"/>
                  </a:moveTo>
                  <a:lnTo>
                    <a:pt x="204" y="955"/>
                  </a:lnTo>
                  <a:lnTo>
                    <a:pt x="204" y="953"/>
                  </a:lnTo>
                  <a:close/>
                  <a:moveTo>
                    <a:pt x="204" y="953"/>
                  </a:moveTo>
                  <a:lnTo>
                    <a:pt x="207" y="953"/>
                  </a:lnTo>
                  <a:lnTo>
                    <a:pt x="204" y="953"/>
                  </a:lnTo>
                  <a:close/>
                  <a:moveTo>
                    <a:pt x="211" y="953"/>
                  </a:moveTo>
                  <a:lnTo>
                    <a:pt x="209" y="953"/>
                  </a:lnTo>
                  <a:lnTo>
                    <a:pt x="211" y="953"/>
                  </a:lnTo>
                  <a:close/>
                  <a:moveTo>
                    <a:pt x="223" y="953"/>
                  </a:moveTo>
                  <a:lnTo>
                    <a:pt x="223" y="950"/>
                  </a:lnTo>
                  <a:lnTo>
                    <a:pt x="223" y="953"/>
                  </a:lnTo>
                  <a:close/>
                  <a:moveTo>
                    <a:pt x="221" y="950"/>
                  </a:moveTo>
                  <a:lnTo>
                    <a:pt x="221" y="953"/>
                  </a:lnTo>
                  <a:lnTo>
                    <a:pt x="221" y="950"/>
                  </a:lnTo>
                  <a:close/>
                  <a:moveTo>
                    <a:pt x="207" y="953"/>
                  </a:moveTo>
                  <a:lnTo>
                    <a:pt x="207" y="950"/>
                  </a:lnTo>
                  <a:lnTo>
                    <a:pt x="207" y="953"/>
                  </a:lnTo>
                  <a:close/>
                  <a:moveTo>
                    <a:pt x="207" y="953"/>
                  </a:moveTo>
                  <a:lnTo>
                    <a:pt x="207" y="950"/>
                  </a:lnTo>
                  <a:lnTo>
                    <a:pt x="209" y="950"/>
                  </a:lnTo>
                  <a:lnTo>
                    <a:pt x="209" y="953"/>
                  </a:lnTo>
                  <a:lnTo>
                    <a:pt x="207" y="953"/>
                  </a:lnTo>
                  <a:close/>
                  <a:moveTo>
                    <a:pt x="226" y="953"/>
                  </a:moveTo>
                  <a:lnTo>
                    <a:pt x="226" y="950"/>
                  </a:lnTo>
                  <a:lnTo>
                    <a:pt x="226" y="953"/>
                  </a:lnTo>
                  <a:close/>
                  <a:moveTo>
                    <a:pt x="209" y="950"/>
                  </a:moveTo>
                  <a:lnTo>
                    <a:pt x="207" y="950"/>
                  </a:lnTo>
                  <a:lnTo>
                    <a:pt x="209" y="950"/>
                  </a:lnTo>
                  <a:close/>
                  <a:moveTo>
                    <a:pt x="204" y="950"/>
                  </a:moveTo>
                  <a:lnTo>
                    <a:pt x="202" y="950"/>
                  </a:lnTo>
                  <a:lnTo>
                    <a:pt x="204" y="950"/>
                  </a:lnTo>
                  <a:close/>
                  <a:moveTo>
                    <a:pt x="207" y="950"/>
                  </a:moveTo>
                  <a:lnTo>
                    <a:pt x="204" y="950"/>
                  </a:lnTo>
                  <a:lnTo>
                    <a:pt x="207" y="950"/>
                  </a:lnTo>
                  <a:close/>
                  <a:moveTo>
                    <a:pt x="202" y="950"/>
                  </a:moveTo>
                  <a:lnTo>
                    <a:pt x="204" y="950"/>
                  </a:lnTo>
                  <a:lnTo>
                    <a:pt x="202" y="950"/>
                  </a:lnTo>
                  <a:close/>
                  <a:moveTo>
                    <a:pt x="233" y="950"/>
                  </a:moveTo>
                  <a:lnTo>
                    <a:pt x="230" y="950"/>
                  </a:lnTo>
                  <a:lnTo>
                    <a:pt x="233" y="950"/>
                  </a:lnTo>
                  <a:close/>
                  <a:moveTo>
                    <a:pt x="230" y="950"/>
                  </a:moveTo>
                  <a:lnTo>
                    <a:pt x="228" y="950"/>
                  </a:lnTo>
                  <a:lnTo>
                    <a:pt x="230" y="950"/>
                  </a:lnTo>
                  <a:close/>
                  <a:moveTo>
                    <a:pt x="233" y="950"/>
                  </a:moveTo>
                  <a:lnTo>
                    <a:pt x="230" y="950"/>
                  </a:lnTo>
                  <a:lnTo>
                    <a:pt x="233" y="950"/>
                  </a:lnTo>
                  <a:close/>
                  <a:moveTo>
                    <a:pt x="230" y="950"/>
                  </a:moveTo>
                  <a:lnTo>
                    <a:pt x="233" y="950"/>
                  </a:lnTo>
                  <a:lnTo>
                    <a:pt x="230" y="950"/>
                  </a:lnTo>
                  <a:close/>
                  <a:moveTo>
                    <a:pt x="233" y="950"/>
                  </a:moveTo>
                  <a:lnTo>
                    <a:pt x="230" y="950"/>
                  </a:lnTo>
                  <a:lnTo>
                    <a:pt x="233" y="950"/>
                  </a:lnTo>
                  <a:close/>
                  <a:moveTo>
                    <a:pt x="204" y="950"/>
                  </a:moveTo>
                  <a:lnTo>
                    <a:pt x="202" y="950"/>
                  </a:lnTo>
                  <a:lnTo>
                    <a:pt x="204" y="950"/>
                  </a:lnTo>
                  <a:close/>
                  <a:moveTo>
                    <a:pt x="216" y="950"/>
                  </a:moveTo>
                  <a:lnTo>
                    <a:pt x="214" y="950"/>
                  </a:lnTo>
                  <a:lnTo>
                    <a:pt x="216" y="950"/>
                  </a:lnTo>
                  <a:close/>
                  <a:moveTo>
                    <a:pt x="207" y="950"/>
                  </a:moveTo>
                  <a:lnTo>
                    <a:pt x="204" y="950"/>
                  </a:lnTo>
                  <a:lnTo>
                    <a:pt x="207" y="950"/>
                  </a:lnTo>
                  <a:close/>
                  <a:moveTo>
                    <a:pt x="214" y="950"/>
                  </a:moveTo>
                  <a:lnTo>
                    <a:pt x="214" y="948"/>
                  </a:lnTo>
                  <a:lnTo>
                    <a:pt x="214" y="950"/>
                  </a:lnTo>
                  <a:close/>
                  <a:moveTo>
                    <a:pt x="216" y="950"/>
                  </a:moveTo>
                  <a:lnTo>
                    <a:pt x="216" y="948"/>
                  </a:lnTo>
                  <a:lnTo>
                    <a:pt x="216" y="950"/>
                  </a:lnTo>
                  <a:close/>
                  <a:moveTo>
                    <a:pt x="214" y="948"/>
                  </a:moveTo>
                  <a:lnTo>
                    <a:pt x="214" y="950"/>
                  </a:lnTo>
                  <a:lnTo>
                    <a:pt x="214" y="948"/>
                  </a:lnTo>
                  <a:close/>
                  <a:moveTo>
                    <a:pt x="216" y="948"/>
                  </a:moveTo>
                  <a:lnTo>
                    <a:pt x="216" y="950"/>
                  </a:lnTo>
                  <a:lnTo>
                    <a:pt x="216" y="948"/>
                  </a:lnTo>
                  <a:close/>
                  <a:moveTo>
                    <a:pt x="216" y="948"/>
                  </a:moveTo>
                  <a:lnTo>
                    <a:pt x="216" y="950"/>
                  </a:lnTo>
                  <a:lnTo>
                    <a:pt x="216" y="948"/>
                  </a:lnTo>
                  <a:close/>
                  <a:moveTo>
                    <a:pt x="235" y="948"/>
                  </a:moveTo>
                  <a:lnTo>
                    <a:pt x="233" y="948"/>
                  </a:lnTo>
                  <a:lnTo>
                    <a:pt x="235" y="948"/>
                  </a:lnTo>
                  <a:close/>
                  <a:moveTo>
                    <a:pt x="219" y="948"/>
                  </a:moveTo>
                  <a:lnTo>
                    <a:pt x="216" y="948"/>
                  </a:lnTo>
                  <a:lnTo>
                    <a:pt x="219" y="948"/>
                  </a:lnTo>
                  <a:close/>
                  <a:moveTo>
                    <a:pt x="214" y="948"/>
                  </a:moveTo>
                  <a:lnTo>
                    <a:pt x="216" y="948"/>
                  </a:lnTo>
                  <a:lnTo>
                    <a:pt x="214" y="948"/>
                  </a:lnTo>
                  <a:close/>
                  <a:moveTo>
                    <a:pt x="219" y="948"/>
                  </a:moveTo>
                  <a:lnTo>
                    <a:pt x="216" y="948"/>
                  </a:lnTo>
                  <a:lnTo>
                    <a:pt x="219" y="948"/>
                  </a:lnTo>
                  <a:close/>
                  <a:moveTo>
                    <a:pt x="240" y="948"/>
                  </a:moveTo>
                  <a:lnTo>
                    <a:pt x="238" y="948"/>
                  </a:lnTo>
                  <a:lnTo>
                    <a:pt x="240" y="948"/>
                  </a:lnTo>
                  <a:close/>
                  <a:moveTo>
                    <a:pt x="216" y="948"/>
                  </a:moveTo>
                  <a:lnTo>
                    <a:pt x="214" y="948"/>
                  </a:lnTo>
                  <a:lnTo>
                    <a:pt x="216" y="948"/>
                  </a:lnTo>
                  <a:close/>
                  <a:moveTo>
                    <a:pt x="230" y="946"/>
                  </a:moveTo>
                  <a:lnTo>
                    <a:pt x="230" y="948"/>
                  </a:lnTo>
                  <a:lnTo>
                    <a:pt x="230" y="946"/>
                  </a:lnTo>
                  <a:close/>
                  <a:moveTo>
                    <a:pt x="216" y="948"/>
                  </a:moveTo>
                  <a:lnTo>
                    <a:pt x="216" y="946"/>
                  </a:lnTo>
                  <a:lnTo>
                    <a:pt x="216" y="948"/>
                  </a:lnTo>
                  <a:close/>
                  <a:moveTo>
                    <a:pt x="216" y="946"/>
                  </a:moveTo>
                  <a:lnTo>
                    <a:pt x="219" y="946"/>
                  </a:lnTo>
                  <a:lnTo>
                    <a:pt x="216" y="948"/>
                  </a:lnTo>
                  <a:lnTo>
                    <a:pt x="216" y="946"/>
                  </a:lnTo>
                  <a:close/>
                  <a:moveTo>
                    <a:pt x="230" y="946"/>
                  </a:moveTo>
                  <a:lnTo>
                    <a:pt x="228" y="946"/>
                  </a:lnTo>
                  <a:lnTo>
                    <a:pt x="230" y="946"/>
                  </a:lnTo>
                  <a:close/>
                  <a:moveTo>
                    <a:pt x="252" y="943"/>
                  </a:moveTo>
                  <a:lnTo>
                    <a:pt x="252" y="941"/>
                  </a:lnTo>
                  <a:lnTo>
                    <a:pt x="252" y="943"/>
                  </a:lnTo>
                  <a:close/>
                  <a:moveTo>
                    <a:pt x="242" y="943"/>
                  </a:moveTo>
                  <a:lnTo>
                    <a:pt x="242" y="941"/>
                  </a:lnTo>
                  <a:lnTo>
                    <a:pt x="242" y="943"/>
                  </a:lnTo>
                  <a:close/>
                  <a:moveTo>
                    <a:pt x="252" y="941"/>
                  </a:moveTo>
                  <a:lnTo>
                    <a:pt x="252" y="943"/>
                  </a:lnTo>
                  <a:lnTo>
                    <a:pt x="252" y="941"/>
                  </a:lnTo>
                  <a:close/>
                  <a:moveTo>
                    <a:pt x="238" y="943"/>
                  </a:moveTo>
                  <a:lnTo>
                    <a:pt x="238" y="941"/>
                  </a:lnTo>
                  <a:lnTo>
                    <a:pt x="240" y="941"/>
                  </a:lnTo>
                  <a:lnTo>
                    <a:pt x="238" y="943"/>
                  </a:lnTo>
                  <a:close/>
                  <a:moveTo>
                    <a:pt x="238" y="941"/>
                  </a:moveTo>
                  <a:lnTo>
                    <a:pt x="238" y="943"/>
                  </a:lnTo>
                  <a:lnTo>
                    <a:pt x="238" y="941"/>
                  </a:lnTo>
                  <a:lnTo>
                    <a:pt x="238" y="943"/>
                  </a:lnTo>
                  <a:lnTo>
                    <a:pt x="238" y="941"/>
                  </a:lnTo>
                  <a:close/>
                  <a:moveTo>
                    <a:pt x="245" y="941"/>
                  </a:moveTo>
                  <a:lnTo>
                    <a:pt x="242" y="941"/>
                  </a:lnTo>
                  <a:lnTo>
                    <a:pt x="245" y="941"/>
                  </a:lnTo>
                  <a:close/>
                  <a:moveTo>
                    <a:pt x="266" y="941"/>
                  </a:moveTo>
                  <a:lnTo>
                    <a:pt x="264" y="941"/>
                  </a:lnTo>
                  <a:lnTo>
                    <a:pt x="266" y="941"/>
                  </a:lnTo>
                  <a:close/>
                  <a:moveTo>
                    <a:pt x="228" y="938"/>
                  </a:moveTo>
                  <a:lnTo>
                    <a:pt x="230" y="938"/>
                  </a:lnTo>
                  <a:lnTo>
                    <a:pt x="228" y="938"/>
                  </a:lnTo>
                  <a:close/>
                  <a:moveTo>
                    <a:pt x="259" y="938"/>
                  </a:moveTo>
                  <a:lnTo>
                    <a:pt x="259" y="936"/>
                  </a:lnTo>
                  <a:lnTo>
                    <a:pt x="259" y="938"/>
                  </a:lnTo>
                  <a:close/>
                  <a:moveTo>
                    <a:pt x="233" y="938"/>
                  </a:moveTo>
                  <a:lnTo>
                    <a:pt x="233" y="936"/>
                  </a:lnTo>
                  <a:lnTo>
                    <a:pt x="233" y="938"/>
                  </a:lnTo>
                  <a:close/>
                  <a:moveTo>
                    <a:pt x="228" y="938"/>
                  </a:moveTo>
                  <a:lnTo>
                    <a:pt x="230" y="936"/>
                  </a:lnTo>
                  <a:lnTo>
                    <a:pt x="230" y="938"/>
                  </a:lnTo>
                  <a:lnTo>
                    <a:pt x="228" y="938"/>
                  </a:lnTo>
                  <a:close/>
                  <a:moveTo>
                    <a:pt x="230" y="938"/>
                  </a:moveTo>
                  <a:lnTo>
                    <a:pt x="230" y="936"/>
                  </a:lnTo>
                  <a:lnTo>
                    <a:pt x="230" y="938"/>
                  </a:lnTo>
                  <a:close/>
                  <a:moveTo>
                    <a:pt x="230" y="938"/>
                  </a:moveTo>
                  <a:lnTo>
                    <a:pt x="230" y="936"/>
                  </a:lnTo>
                  <a:lnTo>
                    <a:pt x="230" y="938"/>
                  </a:lnTo>
                  <a:close/>
                  <a:moveTo>
                    <a:pt x="230" y="936"/>
                  </a:moveTo>
                  <a:lnTo>
                    <a:pt x="228" y="936"/>
                  </a:lnTo>
                  <a:lnTo>
                    <a:pt x="230" y="936"/>
                  </a:lnTo>
                  <a:close/>
                  <a:moveTo>
                    <a:pt x="247" y="936"/>
                  </a:moveTo>
                  <a:lnTo>
                    <a:pt x="245" y="936"/>
                  </a:lnTo>
                  <a:lnTo>
                    <a:pt x="247" y="936"/>
                  </a:lnTo>
                  <a:close/>
                  <a:moveTo>
                    <a:pt x="228" y="936"/>
                  </a:moveTo>
                  <a:lnTo>
                    <a:pt x="226" y="936"/>
                  </a:lnTo>
                  <a:lnTo>
                    <a:pt x="228" y="936"/>
                  </a:lnTo>
                  <a:close/>
                  <a:moveTo>
                    <a:pt x="247" y="936"/>
                  </a:moveTo>
                  <a:lnTo>
                    <a:pt x="247" y="934"/>
                  </a:lnTo>
                  <a:lnTo>
                    <a:pt x="247" y="936"/>
                  </a:lnTo>
                  <a:close/>
                  <a:moveTo>
                    <a:pt x="252" y="931"/>
                  </a:moveTo>
                  <a:lnTo>
                    <a:pt x="249" y="931"/>
                  </a:lnTo>
                  <a:lnTo>
                    <a:pt x="252" y="931"/>
                  </a:lnTo>
                  <a:close/>
                  <a:moveTo>
                    <a:pt x="249" y="931"/>
                  </a:moveTo>
                  <a:lnTo>
                    <a:pt x="249" y="929"/>
                  </a:lnTo>
                  <a:lnTo>
                    <a:pt x="249" y="931"/>
                  </a:lnTo>
                  <a:close/>
                  <a:moveTo>
                    <a:pt x="249" y="929"/>
                  </a:moveTo>
                  <a:lnTo>
                    <a:pt x="247" y="929"/>
                  </a:lnTo>
                  <a:lnTo>
                    <a:pt x="249" y="929"/>
                  </a:lnTo>
                  <a:close/>
                  <a:moveTo>
                    <a:pt x="252" y="929"/>
                  </a:moveTo>
                  <a:lnTo>
                    <a:pt x="249" y="929"/>
                  </a:lnTo>
                  <a:lnTo>
                    <a:pt x="252" y="929"/>
                  </a:lnTo>
                  <a:close/>
                  <a:moveTo>
                    <a:pt x="247" y="929"/>
                  </a:moveTo>
                  <a:lnTo>
                    <a:pt x="245" y="929"/>
                  </a:lnTo>
                  <a:lnTo>
                    <a:pt x="247" y="929"/>
                  </a:lnTo>
                  <a:close/>
                  <a:moveTo>
                    <a:pt x="254" y="929"/>
                  </a:moveTo>
                  <a:lnTo>
                    <a:pt x="254" y="927"/>
                  </a:lnTo>
                  <a:lnTo>
                    <a:pt x="254" y="929"/>
                  </a:lnTo>
                  <a:close/>
                  <a:moveTo>
                    <a:pt x="254" y="927"/>
                  </a:moveTo>
                  <a:lnTo>
                    <a:pt x="252" y="927"/>
                  </a:lnTo>
                  <a:lnTo>
                    <a:pt x="254" y="927"/>
                  </a:lnTo>
                  <a:close/>
                  <a:moveTo>
                    <a:pt x="249" y="927"/>
                  </a:moveTo>
                  <a:lnTo>
                    <a:pt x="247" y="927"/>
                  </a:lnTo>
                  <a:lnTo>
                    <a:pt x="249" y="927"/>
                  </a:lnTo>
                  <a:close/>
                  <a:moveTo>
                    <a:pt x="254" y="927"/>
                  </a:moveTo>
                  <a:lnTo>
                    <a:pt x="252" y="927"/>
                  </a:lnTo>
                  <a:lnTo>
                    <a:pt x="254" y="927"/>
                  </a:lnTo>
                  <a:close/>
                  <a:moveTo>
                    <a:pt x="257" y="924"/>
                  </a:moveTo>
                  <a:lnTo>
                    <a:pt x="254" y="924"/>
                  </a:lnTo>
                  <a:lnTo>
                    <a:pt x="257" y="924"/>
                  </a:lnTo>
                  <a:close/>
                  <a:moveTo>
                    <a:pt x="252" y="924"/>
                  </a:moveTo>
                  <a:lnTo>
                    <a:pt x="254" y="924"/>
                  </a:lnTo>
                  <a:lnTo>
                    <a:pt x="252" y="924"/>
                  </a:lnTo>
                  <a:close/>
                  <a:moveTo>
                    <a:pt x="249" y="924"/>
                  </a:moveTo>
                  <a:lnTo>
                    <a:pt x="247" y="924"/>
                  </a:lnTo>
                  <a:lnTo>
                    <a:pt x="249" y="924"/>
                  </a:lnTo>
                  <a:close/>
                  <a:moveTo>
                    <a:pt x="266" y="924"/>
                  </a:moveTo>
                  <a:lnTo>
                    <a:pt x="266" y="922"/>
                  </a:lnTo>
                  <a:lnTo>
                    <a:pt x="266" y="924"/>
                  </a:lnTo>
                  <a:close/>
                  <a:moveTo>
                    <a:pt x="257" y="924"/>
                  </a:moveTo>
                  <a:lnTo>
                    <a:pt x="257" y="922"/>
                  </a:lnTo>
                  <a:lnTo>
                    <a:pt x="257" y="924"/>
                  </a:lnTo>
                  <a:close/>
                  <a:moveTo>
                    <a:pt x="257" y="922"/>
                  </a:moveTo>
                  <a:lnTo>
                    <a:pt x="254" y="922"/>
                  </a:lnTo>
                  <a:lnTo>
                    <a:pt x="257" y="922"/>
                  </a:lnTo>
                  <a:close/>
                  <a:moveTo>
                    <a:pt x="254" y="922"/>
                  </a:moveTo>
                  <a:lnTo>
                    <a:pt x="254" y="919"/>
                  </a:lnTo>
                  <a:lnTo>
                    <a:pt x="254" y="922"/>
                  </a:lnTo>
                  <a:close/>
                  <a:moveTo>
                    <a:pt x="254" y="919"/>
                  </a:moveTo>
                  <a:lnTo>
                    <a:pt x="252" y="919"/>
                  </a:lnTo>
                  <a:lnTo>
                    <a:pt x="254" y="919"/>
                  </a:lnTo>
                  <a:close/>
                  <a:moveTo>
                    <a:pt x="252" y="917"/>
                  </a:moveTo>
                  <a:lnTo>
                    <a:pt x="252" y="919"/>
                  </a:lnTo>
                  <a:lnTo>
                    <a:pt x="252" y="917"/>
                  </a:lnTo>
                  <a:lnTo>
                    <a:pt x="252" y="919"/>
                  </a:lnTo>
                  <a:lnTo>
                    <a:pt x="252" y="917"/>
                  </a:lnTo>
                  <a:close/>
                  <a:moveTo>
                    <a:pt x="252" y="917"/>
                  </a:moveTo>
                  <a:lnTo>
                    <a:pt x="252" y="919"/>
                  </a:lnTo>
                  <a:lnTo>
                    <a:pt x="252" y="917"/>
                  </a:lnTo>
                  <a:close/>
                  <a:moveTo>
                    <a:pt x="245" y="915"/>
                  </a:moveTo>
                  <a:lnTo>
                    <a:pt x="245" y="917"/>
                  </a:lnTo>
                  <a:lnTo>
                    <a:pt x="245" y="915"/>
                  </a:lnTo>
                  <a:close/>
                  <a:moveTo>
                    <a:pt x="247" y="915"/>
                  </a:moveTo>
                  <a:lnTo>
                    <a:pt x="245" y="917"/>
                  </a:lnTo>
                  <a:lnTo>
                    <a:pt x="245" y="915"/>
                  </a:lnTo>
                  <a:lnTo>
                    <a:pt x="247" y="915"/>
                  </a:lnTo>
                  <a:close/>
                  <a:moveTo>
                    <a:pt x="240" y="915"/>
                  </a:moveTo>
                  <a:lnTo>
                    <a:pt x="238" y="915"/>
                  </a:lnTo>
                  <a:lnTo>
                    <a:pt x="240" y="915"/>
                  </a:lnTo>
                  <a:close/>
                  <a:moveTo>
                    <a:pt x="235" y="915"/>
                  </a:moveTo>
                  <a:lnTo>
                    <a:pt x="235" y="912"/>
                  </a:lnTo>
                  <a:lnTo>
                    <a:pt x="235" y="915"/>
                  </a:lnTo>
                  <a:close/>
                  <a:moveTo>
                    <a:pt x="257" y="915"/>
                  </a:moveTo>
                  <a:lnTo>
                    <a:pt x="257" y="912"/>
                  </a:lnTo>
                  <a:lnTo>
                    <a:pt x="257" y="915"/>
                  </a:lnTo>
                  <a:close/>
                  <a:moveTo>
                    <a:pt x="228" y="915"/>
                  </a:moveTo>
                  <a:lnTo>
                    <a:pt x="228" y="912"/>
                  </a:lnTo>
                  <a:lnTo>
                    <a:pt x="228" y="915"/>
                  </a:lnTo>
                  <a:close/>
                  <a:moveTo>
                    <a:pt x="249" y="912"/>
                  </a:moveTo>
                  <a:lnTo>
                    <a:pt x="247" y="912"/>
                  </a:lnTo>
                  <a:lnTo>
                    <a:pt x="249" y="912"/>
                  </a:lnTo>
                  <a:close/>
                  <a:moveTo>
                    <a:pt x="235" y="912"/>
                  </a:moveTo>
                  <a:lnTo>
                    <a:pt x="233" y="912"/>
                  </a:lnTo>
                  <a:lnTo>
                    <a:pt x="235" y="912"/>
                  </a:lnTo>
                  <a:close/>
                  <a:moveTo>
                    <a:pt x="249" y="912"/>
                  </a:moveTo>
                  <a:lnTo>
                    <a:pt x="247" y="912"/>
                  </a:lnTo>
                  <a:lnTo>
                    <a:pt x="249" y="912"/>
                  </a:lnTo>
                  <a:close/>
                  <a:moveTo>
                    <a:pt x="249" y="912"/>
                  </a:moveTo>
                  <a:lnTo>
                    <a:pt x="247" y="912"/>
                  </a:lnTo>
                  <a:lnTo>
                    <a:pt x="249" y="912"/>
                  </a:lnTo>
                  <a:close/>
                  <a:moveTo>
                    <a:pt x="249" y="912"/>
                  </a:moveTo>
                  <a:lnTo>
                    <a:pt x="247" y="912"/>
                  </a:lnTo>
                  <a:lnTo>
                    <a:pt x="249" y="912"/>
                  </a:lnTo>
                  <a:close/>
                  <a:moveTo>
                    <a:pt x="254" y="912"/>
                  </a:moveTo>
                  <a:lnTo>
                    <a:pt x="252" y="912"/>
                  </a:lnTo>
                  <a:lnTo>
                    <a:pt x="254" y="912"/>
                  </a:lnTo>
                  <a:close/>
                  <a:moveTo>
                    <a:pt x="257" y="910"/>
                  </a:moveTo>
                  <a:lnTo>
                    <a:pt x="257" y="912"/>
                  </a:lnTo>
                  <a:lnTo>
                    <a:pt x="257" y="910"/>
                  </a:lnTo>
                  <a:close/>
                  <a:moveTo>
                    <a:pt x="259" y="910"/>
                  </a:moveTo>
                  <a:lnTo>
                    <a:pt x="257" y="912"/>
                  </a:lnTo>
                  <a:lnTo>
                    <a:pt x="259" y="910"/>
                  </a:lnTo>
                  <a:close/>
                  <a:moveTo>
                    <a:pt x="240" y="910"/>
                  </a:moveTo>
                  <a:lnTo>
                    <a:pt x="242" y="910"/>
                  </a:lnTo>
                  <a:lnTo>
                    <a:pt x="240" y="910"/>
                  </a:lnTo>
                  <a:close/>
                  <a:moveTo>
                    <a:pt x="238" y="910"/>
                  </a:moveTo>
                  <a:lnTo>
                    <a:pt x="240" y="910"/>
                  </a:lnTo>
                  <a:lnTo>
                    <a:pt x="238" y="910"/>
                  </a:lnTo>
                  <a:close/>
                  <a:moveTo>
                    <a:pt x="240" y="910"/>
                  </a:moveTo>
                  <a:lnTo>
                    <a:pt x="238" y="910"/>
                  </a:lnTo>
                  <a:lnTo>
                    <a:pt x="240" y="910"/>
                  </a:lnTo>
                  <a:close/>
                  <a:moveTo>
                    <a:pt x="268" y="910"/>
                  </a:moveTo>
                  <a:lnTo>
                    <a:pt x="266" y="910"/>
                  </a:lnTo>
                  <a:lnTo>
                    <a:pt x="268" y="910"/>
                  </a:lnTo>
                  <a:close/>
                  <a:moveTo>
                    <a:pt x="252" y="910"/>
                  </a:moveTo>
                  <a:lnTo>
                    <a:pt x="249" y="910"/>
                  </a:lnTo>
                  <a:lnTo>
                    <a:pt x="252" y="910"/>
                  </a:lnTo>
                  <a:close/>
                  <a:moveTo>
                    <a:pt x="247" y="908"/>
                  </a:moveTo>
                  <a:lnTo>
                    <a:pt x="247" y="910"/>
                  </a:lnTo>
                  <a:lnTo>
                    <a:pt x="247" y="908"/>
                  </a:lnTo>
                  <a:close/>
                  <a:moveTo>
                    <a:pt x="242" y="908"/>
                  </a:moveTo>
                  <a:lnTo>
                    <a:pt x="242" y="910"/>
                  </a:lnTo>
                  <a:lnTo>
                    <a:pt x="242" y="908"/>
                  </a:lnTo>
                  <a:close/>
                  <a:moveTo>
                    <a:pt x="249" y="908"/>
                  </a:moveTo>
                  <a:lnTo>
                    <a:pt x="249" y="910"/>
                  </a:lnTo>
                  <a:lnTo>
                    <a:pt x="249" y="908"/>
                  </a:lnTo>
                  <a:close/>
                  <a:moveTo>
                    <a:pt x="245" y="908"/>
                  </a:moveTo>
                  <a:lnTo>
                    <a:pt x="245" y="910"/>
                  </a:lnTo>
                  <a:lnTo>
                    <a:pt x="245" y="908"/>
                  </a:lnTo>
                  <a:close/>
                  <a:moveTo>
                    <a:pt x="242" y="910"/>
                  </a:moveTo>
                  <a:lnTo>
                    <a:pt x="242" y="908"/>
                  </a:lnTo>
                  <a:lnTo>
                    <a:pt x="242" y="910"/>
                  </a:lnTo>
                  <a:close/>
                  <a:moveTo>
                    <a:pt x="249" y="908"/>
                  </a:moveTo>
                  <a:lnTo>
                    <a:pt x="247" y="908"/>
                  </a:lnTo>
                  <a:lnTo>
                    <a:pt x="249" y="908"/>
                  </a:lnTo>
                  <a:close/>
                  <a:moveTo>
                    <a:pt x="249" y="908"/>
                  </a:moveTo>
                  <a:lnTo>
                    <a:pt x="249" y="910"/>
                  </a:lnTo>
                  <a:lnTo>
                    <a:pt x="249" y="908"/>
                  </a:lnTo>
                  <a:close/>
                  <a:moveTo>
                    <a:pt x="259" y="908"/>
                  </a:moveTo>
                  <a:lnTo>
                    <a:pt x="257" y="908"/>
                  </a:lnTo>
                  <a:lnTo>
                    <a:pt x="259" y="908"/>
                  </a:lnTo>
                  <a:close/>
                  <a:moveTo>
                    <a:pt x="261" y="908"/>
                  </a:moveTo>
                  <a:lnTo>
                    <a:pt x="259" y="908"/>
                  </a:lnTo>
                  <a:lnTo>
                    <a:pt x="261" y="908"/>
                  </a:lnTo>
                  <a:close/>
                  <a:moveTo>
                    <a:pt x="252" y="908"/>
                  </a:moveTo>
                  <a:lnTo>
                    <a:pt x="249" y="908"/>
                  </a:lnTo>
                  <a:lnTo>
                    <a:pt x="252" y="908"/>
                  </a:lnTo>
                  <a:close/>
                  <a:moveTo>
                    <a:pt x="240" y="908"/>
                  </a:moveTo>
                  <a:lnTo>
                    <a:pt x="238" y="908"/>
                  </a:lnTo>
                  <a:lnTo>
                    <a:pt x="240" y="908"/>
                  </a:lnTo>
                  <a:close/>
                  <a:moveTo>
                    <a:pt x="252" y="908"/>
                  </a:moveTo>
                  <a:lnTo>
                    <a:pt x="249" y="908"/>
                  </a:lnTo>
                  <a:lnTo>
                    <a:pt x="252" y="908"/>
                  </a:lnTo>
                  <a:close/>
                  <a:moveTo>
                    <a:pt x="238" y="908"/>
                  </a:moveTo>
                  <a:lnTo>
                    <a:pt x="238" y="905"/>
                  </a:lnTo>
                  <a:lnTo>
                    <a:pt x="238" y="908"/>
                  </a:lnTo>
                  <a:close/>
                  <a:moveTo>
                    <a:pt x="238" y="908"/>
                  </a:moveTo>
                  <a:lnTo>
                    <a:pt x="238" y="905"/>
                  </a:lnTo>
                  <a:lnTo>
                    <a:pt x="238" y="908"/>
                  </a:lnTo>
                  <a:close/>
                  <a:moveTo>
                    <a:pt x="257" y="908"/>
                  </a:moveTo>
                  <a:lnTo>
                    <a:pt x="257" y="905"/>
                  </a:lnTo>
                  <a:lnTo>
                    <a:pt x="257" y="908"/>
                  </a:lnTo>
                  <a:close/>
                  <a:moveTo>
                    <a:pt x="238" y="908"/>
                  </a:moveTo>
                  <a:lnTo>
                    <a:pt x="238" y="905"/>
                  </a:lnTo>
                  <a:lnTo>
                    <a:pt x="238" y="908"/>
                  </a:lnTo>
                  <a:close/>
                  <a:moveTo>
                    <a:pt x="252" y="908"/>
                  </a:moveTo>
                  <a:lnTo>
                    <a:pt x="252" y="905"/>
                  </a:lnTo>
                  <a:lnTo>
                    <a:pt x="252" y="908"/>
                  </a:lnTo>
                  <a:close/>
                  <a:moveTo>
                    <a:pt x="238" y="908"/>
                  </a:moveTo>
                  <a:lnTo>
                    <a:pt x="238" y="905"/>
                  </a:lnTo>
                  <a:lnTo>
                    <a:pt x="238" y="908"/>
                  </a:lnTo>
                  <a:close/>
                  <a:moveTo>
                    <a:pt x="249" y="905"/>
                  </a:moveTo>
                  <a:lnTo>
                    <a:pt x="249" y="908"/>
                  </a:lnTo>
                  <a:lnTo>
                    <a:pt x="249" y="905"/>
                  </a:lnTo>
                  <a:close/>
                  <a:moveTo>
                    <a:pt x="257" y="908"/>
                  </a:moveTo>
                  <a:lnTo>
                    <a:pt x="257" y="905"/>
                  </a:lnTo>
                  <a:lnTo>
                    <a:pt x="257" y="908"/>
                  </a:lnTo>
                  <a:close/>
                  <a:moveTo>
                    <a:pt x="249" y="905"/>
                  </a:moveTo>
                  <a:lnTo>
                    <a:pt x="247" y="905"/>
                  </a:lnTo>
                  <a:lnTo>
                    <a:pt x="249" y="905"/>
                  </a:lnTo>
                  <a:close/>
                  <a:moveTo>
                    <a:pt x="254" y="905"/>
                  </a:moveTo>
                  <a:lnTo>
                    <a:pt x="257" y="905"/>
                  </a:lnTo>
                  <a:lnTo>
                    <a:pt x="254" y="905"/>
                  </a:lnTo>
                  <a:close/>
                  <a:moveTo>
                    <a:pt x="254" y="905"/>
                  </a:moveTo>
                  <a:lnTo>
                    <a:pt x="257" y="905"/>
                  </a:lnTo>
                  <a:lnTo>
                    <a:pt x="254" y="905"/>
                  </a:lnTo>
                  <a:close/>
                  <a:moveTo>
                    <a:pt x="252" y="903"/>
                  </a:moveTo>
                  <a:lnTo>
                    <a:pt x="252" y="905"/>
                  </a:lnTo>
                  <a:lnTo>
                    <a:pt x="252" y="903"/>
                  </a:lnTo>
                  <a:close/>
                  <a:moveTo>
                    <a:pt x="252" y="905"/>
                  </a:moveTo>
                  <a:lnTo>
                    <a:pt x="252" y="903"/>
                  </a:lnTo>
                  <a:lnTo>
                    <a:pt x="252" y="905"/>
                  </a:lnTo>
                  <a:close/>
                  <a:moveTo>
                    <a:pt x="249" y="903"/>
                  </a:moveTo>
                  <a:lnTo>
                    <a:pt x="252" y="903"/>
                  </a:lnTo>
                  <a:lnTo>
                    <a:pt x="249" y="903"/>
                  </a:lnTo>
                  <a:close/>
                  <a:moveTo>
                    <a:pt x="247" y="903"/>
                  </a:moveTo>
                  <a:lnTo>
                    <a:pt x="247" y="905"/>
                  </a:lnTo>
                  <a:lnTo>
                    <a:pt x="247" y="903"/>
                  </a:lnTo>
                  <a:close/>
                  <a:moveTo>
                    <a:pt x="257" y="903"/>
                  </a:moveTo>
                  <a:lnTo>
                    <a:pt x="257" y="905"/>
                  </a:lnTo>
                  <a:lnTo>
                    <a:pt x="257" y="903"/>
                  </a:lnTo>
                  <a:close/>
                  <a:moveTo>
                    <a:pt x="257" y="905"/>
                  </a:moveTo>
                  <a:lnTo>
                    <a:pt x="257" y="903"/>
                  </a:lnTo>
                  <a:lnTo>
                    <a:pt x="257" y="905"/>
                  </a:lnTo>
                  <a:close/>
                  <a:moveTo>
                    <a:pt x="249" y="903"/>
                  </a:moveTo>
                  <a:lnTo>
                    <a:pt x="247" y="903"/>
                  </a:lnTo>
                  <a:lnTo>
                    <a:pt x="249" y="903"/>
                  </a:lnTo>
                  <a:close/>
                  <a:moveTo>
                    <a:pt x="252" y="903"/>
                  </a:moveTo>
                  <a:lnTo>
                    <a:pt x="249" y="903"/>
                  </a:lnTo>
                  <a:lnTo>
                    <a:pt x="252" y="903"/>
                  </a:lnTo>
                  <a:close/>
                  <a:moveTo>
                    <a:pt x="261" y="903"/>
                  </a:moveTo>
                  <a:lnTo>
                    <a:pt x="264" y="903"/>
                  </a:lnTo>
                  <a:lnTo>
                    <a:pt x="261" y="903"/>
                  </a:lnTo>
                  <a:close/>
                  <a:moveTo>
                    <a:pt x="252" y="903"/>
                  </a:moveTo>
                  <a:lnTo>
                    <a:pt x="249" y="903"/>
                  </a:lnTo>
                  <a:lnTo>
                    <a:pt x="252" y="903"/>
                  </a:lnTo>
                  <a:close/>
                  <a:moveTo>
                    <a:pt x="252" y="903"/>
                  </a:moveTo>
                  <a:lnTo>
                    <a:pt x="249" y="903"/>
                  </a:lnTo>
                  <a:lnTo>
                    <a:pt x="252" y="903"/>
                  </a:lnTo>
                  <a:close/>
                  <a:moveTo>
                    <a:pt x="257" y="903"/>
                  </a:moveTo>
                  <a:lnTo>
                    <a:pt x="254" y="903"/>
                  </a:lnTo>
                  <a:lnTo>
                    <a:pt x="257" y="903"/>
                  </a:lnTo>
                  <a:close/>
                  <a:moveTo>
                    <a:pt x="252" y="903"/>
                  </a:moveTo>
                  <a:lnTo>
                    <a:pt x="249" y="903"/>
                  </a:lnTo>
                  <a:lnTo>
                    <a:pt x="252" y="903"/>
                  </a:lnTo>
                  <a:close/>
                  <a:moveTo>
                    <a:pt x="252" y="903"/>
                  </a:moveTo>
                  <a:lnTo>
                    <a:pt x="252" y="900"/>
                  </a:lnTo>
                  <a:lnTo>
                    <a:pt x="252" y="903"/>
                  </a:lnTo>
                  <a:close/>
                  <a:moveTo>
                    <a:pt x="240" y="900"/>
                  </a:moveTo>
                  <a:lnTo>
                    <a:pt x="240" y="903"/>
                  </a:lnTo>
                  <a:lnTo>
                    <a:pt x="240" y="900"/>
                  </a:lnTo>
                  <a:close/>
                  <a:moveTo>
                    <a:pt x="257" y="900"/>
                  </a:moveTo>
                  <a:lnTo>
                    <a:pt x="257" y="903"/>
                  </a:lnTo>
                  <a:lnTo>
                    <a:pt x="257" y="900"/>
                  </a:lnTo>
                  <a:close/>
                  <a:moveTo>
                    <a:pt x="252" y="903"/>
                  </a:moveTo>
                  <a:lnTo>
                    <a:pt x="252" y="900"/>
                  </a:lnTo>
                  <a:lnTo>
                    <a:pt x="252" y="903"/>
                  </a:lnTo>
                  <a:close/>
                  <a:moveTo>
                    <a:pt x="254" y="900"/>
                  </a:moveTo>
                  <a:lnTo>
                    <a:pt x="254" y="903"/>
                  </a:lnTo>
                  <a:lnTo>
                    <a:pt x="254" y="900"/>
                  </a:lnTo>
                  <a:close/>
                  <a:moveTo>
                    <a:pt x="252" y="903"/>
                  </a:moveTo>
                  <a:lnTo>
                    <a:pt x="252" y="900"/>
                  </a:lnTo>
                  <a:lnTo>
                    <a:pt x="252" y="903"/>
                  </a:lnTo>
                  <a:close/>
                  <a:moveTo>
                    <a:pt x="252" y="903"/>
                  </a:moveTo>
                  <a:lnTo>
                    <a:pt x="252" y="900"/>
                  </a:lnTo>
                  <a:lnTo>
                    <a:pt x="252" y="903"/>
                  </a:lnTo>
                  <a:close/>
                  <a:moveTo>
                    <a:pt x="257" y="900"/>
                  </a:moveTo>
                  <a:lnTo>
                    <a:pt x="257" y="903"/>
                  </a:lnTo>
                  <a:lnTo>
                    <a:pt x="257" y="900"/>
                  </a:lnTo>
                  <a:close/>
                  <a:moveTo>
                    <a:pt x="257" y="900"/>
                  </a:moveTo>
                  <a:lnTo>
                    <a:pt x="257" y="903"/>
                  </a:lnTo>
                  <a:lnTo>
                    <a:pt x="257" y="900"/>
                  </a:lnTo>
                  <a:lnTo>
                    <a:pt x="257" y="903"/>
                  </a:lnTo>
                  <a:lnTo>
                    <a:pt x="257" y="900"/>
                  </a:lnTo>
                  <a:close/>
                  <a:moveTo>
                    <a:pt x="254" y="900"/>
                  </a:moveTo>
                  <a:lnTo>
                    <a:pt x="254" y="903"/>
                  </a:lnTo>
                  <a:lnTo>
                    <a:pt x="254" y="900"/>
                  </a:lnTo>
                  <a:close/>
                  <a:moveTo>
                    <a:pt x="254" y="900"/>
                  </a:moveTo>
                  <a:lnTo>
                    <a:pt x="254" y="903"/>
                  </a:lnTo>
                  <a:lnTo>
                    <a:pt x="254" y="900"/>
                  </a:lnTo>
                  <a:close/>
                  <a:moveTo>
                    <a:pt x="264" y="900"/>
                  </a:moveTo>
                  <a:lnTo>
                    <a:pt x="261" y="900"/>
                  </a:lnTo>
                  <a:lnTo>
                    <a:pt x="264" y="900"/>
                  </a:lnTo>
                  <a:close/>
                  <a:moveTo>
                    <a:pt x="266" y="900"/>
                  </a:moveTo>
                  <a:lnTo>
                    <a:pt x="264" y="900"/>
                  </a:lnTo>
                  <a:lnTo>
                    <a:pt x="266" y="900"/>
                  </a:lnTo>
                  <a:close/>
                  <a:moveTo>
                    <a:pt x="254" y="900"/>
                  </a:moveTo>
                  <a:lnTo>
                    <a:pt x="252" y="900"/>
                  </a:lnTo>
                  <a:lnTo>
                    <a:pt x="254" y="900"/>
                  </a:lnTo>
                  <a:close/>
                  <a:moveTo>
                    <a:pt x="247" y="900"/>
                  </a:moveTo>
                  <a:lnTo>
                    <a:pt x="245" y="900"/>
                  </a:lnTo>
                  <a:lnTo>
                    <a:pt x="247" y="900"/>
                  </a:lnTo>
                  <a:close/>
                  <a:moveTo>
                    <a:pt x="266" y="900"/>
                  </a:moveTo>
                  <a:lnTo>
                    <a:pt x="264" y="900"/>
                  </a:lnTo>
                  <a:lnTo>
                    <a:pt x="266" y="900"/>
                  </a:lnTo>
                  <a:close/>
                  <a:moveTo>
                    <a:pt x="242" y="900"/>
                  </a:moveTo>
                  <a:lnTo>
                    <a:pt x="240" y="900"/>
                  </a:lnTo>
                  <a:lnTo>
                    <a:pt x="242" y="900"/>
                  </a:lnTo>
                  <a:close/>
                  <a:moveTo>
                    <a:pt x="247" y="900"/>
                  </a:moveTo>
                  <a:lnTo>
                    <a:pt x="245" y="900"/>
                  </a:lnTo>
                  <a:lnTo>
                    <a:pt x="247" y="900"/>
                  </a:lnTo>
                  <a:close/>
                  <a:moveTo>
                    <a:pt x="249" y="900"/>
                  </a:moveTo>
                  <a:lnTo>
                    <a:pt x="247" y="900"/>
                  </a:lnTo>
                  <a:lnTo>
                    <a:pt x="249" y="900"/>
                  </a:lnTo>
                  <a:close/>
                  <a:moveTo>
                    <a:pt x="259" y="898"/>
                  </a:moveTo>
                  <a:lnTo>
                    <a:pt x="259" y="900"/>
                  </a:lnTo>
                  <a:lnTo>
                    <a:pt x="259" y="898"/>
                  </a:lnTo>
                  <a:close/>
                  <a:moveTo>
                    <a:pt x="252" y="900"/>
                  </a:moveTo>
                  <a:lnTo>
                    <a:pt x="252" y="898"/>
                  </a:lnTo>
                  <a:lnTo>
                    <a:pt x="252" y="900"/>
                  </a:lnTo>
                  <a:close/>
                  <a:moveTo>
                    <a:pt x="247" y="898"/>
                  </a:moveTo>
                  <a:lnTo>
                    <a:pt x="247" y="900"/>
                  </a:lnTo>
                  <a:lnTo>
                    <a:pt x="247" y="898"/>
                  </a:lnTo>
                  <a:close/>
                  <a:moveTo>
                    <a:pt x="257" y="898"/>
                  </a:moveTo>
                  <a:lnTo>
                    <a:pt x="257" y="900"/>
                  </a:lnTo>
                  <a:lnTo>
                    <a:pt x="257" y="898"/>
                  </a:lnTo>
                  <a:close/>
                  <a:moveTo>
                    <a:pt x="242" y="900"/>
                  </a:moveTo>
                  <a:lnTo>
                    <a:pt x="242" y="898"/>
                  </a:lnTo>
                  <a:lnTo>
                    <a:pt x="242" y="900"/>
                  </a:lnTo>
                  <a:close/>
                  <a:moveTo>
                    <a:pt x="254" y="898"/>
                  </a:moveTo>
                  <a:lnTo>
                    <a:pt x="254" y="900"/>
                  </a:lnTo>
                  <a:lnTo>
                    <a:pt x="254" y="898"/>
                  </a:lnTo>
                  <a:close/>
                  <a:moveTo>
                    <a:pt x="259" y="898"/>
                  </a:moveTo>
                  <a:lnTo>
                    <a:pt x="257" y="898"/>
                  </a:lnTo>
                  <a:lnTo>
                    <a:pt x="259" y="898"/>
                  </a:lnTo>
                  <a:close/>
                  <a:moveTo>
                    <a:pt x="257" y="898"/>
                  </a:moveTo>
                  <a:lnTo>
                    <a:pt x="254" y="898"/>
                  </a:lnTo>
                  <a:lnTo>
                    <a:pt x="257" y="898"/>
                  </a:lnTo>
                  <a:close/>
                  <a:moveTo>
                    <a:pt x="249" y="898"/>
                  </a:moveTo>
                  <a:lnTo>
                    <a:pt x="247" y="898"/>
                  </a:lnTo>
                  <a:lnTo>
                    <a:pt x="249" y="898"/>
                  </a:lnTo>
                  <a:close/>
                  <a:moveTo>
                    <a:pt x="247" y="898"/>
                  </a:moveTo>
                  <a:lnTo>
                    <a:pt x="249" y="898"/>
                  </a:lnTo>
                  <a:lnTo>
                    <a:pt x="247" y="898"/>
                  </a:lnTo>
                  <a:close/>
                  <a:moveTo>
                    <a:pt x="247" y="898"/>
                  </a:moveTo>
                  <a:lnTo>
                    <a:pt x="249" y="898"/>
                  </a:lnTo>
                  <a:lnTo>
                    <a:pt x="247" y="898"/>
                  </a:lnTo>
                  <a:close/>
                  <a:moveTo>
                    <a:pt x="259" y="898"/>
                  </a:moveTo>
                  <a:lnTo>
                    <a:pt x="257" y="898"/>
                  </a:lnTo>
                  <a:lnTo>
                    <a:pt x="259" y="898"/>
                  </a:lnTo>
                  <a:close/>
                  <a:moveTo>
                    <a:pt x="249" y="898"/>
                  </a:moveTo>
                  <a:lnTo>
                    <a:pt x="247" y="898"/>
                  </a:lnTo>
                  <a:lnTo>
                    <a:pt x="249" y="898"/>
                  </a:lnTo>
                  <a:close/>
                  <a:moveTo>
                    <a:pt x="252" y="898"/>
                  </a:moveTo>
                  <a:lnTo>
                    <a:pt x="249" y="898"/>
                  </a:lnTo>
                  <a:lnTo>
                    <a:pt x="252" y="898"/>
                  </a:lnTo>
                  <a:close/>
                  <a:moveTo>
                    <a:pt x="249" y="898"/>
                  </a:moveTo>
                  <a:lnTo>
                    <a:pt x="247" y="898"/>
                  </a:lnTo>
                  <a:lnTo>
                    <a:pt x="249" y="898"/>
                  </a:lnTo>
                  <a:close/>
                  <a:moveTo>
                    <a:pt x="252" y="898"/>
                  </a:moveTo>
                  <a:lnTo>
                    <a:pt x="252" y="896"/>
                  </a:lnTo>
                  <a:lnTo>
                    <a:pt x="252" y="898"/>
                  </a:lnTo>
                  <a:close/>
                  <a:moveTo>
                    <a:pt x="257" y="898"/>
                  </a:moveTo>
                  <a:lnTo>
                    <a:pt x="257" y="896"/>
                  </a:lnTo>
                  <a:lnTo>
                    <a:pt x="257" y="898"/>
                  </a:lnTo>
                  <a:close/>
                  <a:moveTo>
                    <a:pt x="254" y="896"/>
                  </a:moveTo>
                  <a:lnTo>
                    <a:pt x="254" y="898"/>
                  </a:lnTo>
                  <a:lnTo>
                    <a:pt x="254" y="896"/>
                  </a:lnTo>
                  <a:close/>
                  <a:moveTo>
                    <a:pt x="249" y="898"/>
                  </a:moveTo>
                  <a:lnTo>
                    <a:pt x="249" y="896"/>
                  </a:lnTo>
                  <a:lnTo>
                    <a:pt x="249" y="898"/>
                  </a:lnTo>
                  <a:close/>
                  <a:moveTo>
                    <a:pt x="252" y="898"/>
                  </a:moveTo>
                  <a:lnTo>
                    <a:pt x="252" y="896"/>
                  </a:lnTo>
                  <a:lnTo>
                    <a:pt x="252" y="898"/>
                  </a:lnTo>
                  <a:close/>
                  <a:moveTo>
                    <a:pt x="252" y="898"/>
                  </a:moveTo>
                  <a:lnTo>
                    <a:pt x="252" y="896"/>
                  </a:lnTo>
                  <a:lnTo>
                    <a:pt x="252" y="898"/>
                  </a:lnTo>
                  <a:close/>
                  <a:moveTo>
                    <a:pt x="249" y="898"/>
                  </a:moveTo>
                  <a:lnTo>
                    <a:pt x="249" y="896"/>
                  </a:lnTo>
                  <a:lnTo>
                    <a:pt x="249" y="898"/>
                  </a:lnTo>
                  <a:close/>
                  <a:moveTo>
                    <a:pt x="252" y="896"/>
                  </a:moveTo>
                  <a:lnTo>
                    <a:pt x="252" y="898"/>
                  </a:lnTo>
                  <a:lnTo>
                    <a:pt x="252" y="896"/>
                  </a:lnTo>
                  <a:close/>
                  <a:moveTo>
                    <a:pt x="252" y="896"/>
                  </a:moveTo>
                  <a:lnTo>
                    <a:pt x="252" y="898"/>
                  </a:lnTo>
                  <a:lnTo>
                    <a:pt x="252" y="896"/>
                  </a:lnTo>
                  <a:close/>
                  <a:moveTo>
                    <a:pt x="254" y="896"/>
                  </a:moveTo>
                  <a:lnTo>
                    <a:pt x="257" y="896"/>
                  </a:lnTo>
                  <a:lnTo>
                    <a:pt x="254" y="896"/>
                  </a:lnTo>
                  <a:close/>
                  <a:moveTo>
                    <a:pt x="259" y="893"/>
                  </a:moveTo>
                  <a:lnTo>
                    <a:pt x="259" y="896"/>
                  </a:lnTo>
                  <a:lnTo>
                    <a:pt x="259" y="893"/>
                  </a:lnTo>
                  <a:close/>
                  <a:moveTo>
                    <a:pt x="261" y="893"/>
                  </a:moveTo>
                  <a:lnTo>
                    <a:pt x="261" y="896"/>
                  </a:lnTo>
                  <a:lnTo>
                    <a:pt x="261" y="893"/>
                  </a:lnTo>
                  <a:close/>
                  <a:moveTo>
                    <a:pt x="254" y="893"/>
                  </a:moveTo>
                  <a:lnTo>
                    <a:pt x="257" y="893"/>
                  </a:lnTo>
                  <a:lnTo>
                    <a:pt x="254" y="893"/>
                  </a:lnTo>
                  <a:close/>
                  <a:moveTo>
                    <a:pt x="261" y="893"/>
                  </a:moveTo>
                  <a:lnTo>
                    <a:pt x="259" y="893"/>
                  </a:lnTo>
                  <a:lnTo>
                    <a:pt x="261" y="893"/>
                  </a:lnTo>
                  <a:close/>
                  <a:moveTo>
                    <a:pt x="252" y="893"/>
                  </a:moveTo>
                  <a:lnTo>
                    <a:pt x="254" y="893"/>
                  </a:lnTo>
                  <a:lnTo>
                    <a:pt x="252" y="893"/>
                  </a:lnTo>
                  <a:close/>
                  <a:moveTo>
                    <a:pt x="261" y="893"/>
                  </a:moveTo>
                  <a:lnTo>
                    <a:pt x="259" y="893"/>
                  </a:lnTo>
                  <a:lnTo>
                    <a:pt x="261" y="893"/>
                  </a:lnTo>
                  <a:close/>
                  <a:moveTo>
                    <a:pt x="247" y="893"/>
                  </a:moveTo>
                  <a:lnTo>
                    <a:pt x="247" y="891"/>
                  </a:lnTo>
                  <a:lnTo>
                    <a:pt x="247" y="893"/>
                  </a:lnTo>
                  <a:close/>
                  <a:moveTo>
                    <a:pt x="249" y="893"/>
                  </a:moveTo>
                  <a:lnTo>
                    <a:pt x="249" y="891"/>
                  </a:lnTo>
                  <a:lnTo>
                    <a:pt x="249" y="893"/>
                  </a:lnTo>
                  <a:close/>
                  <a:moveTo>
                    <a:pt x="257" y="893"/>
                  </a:moveTo>
                  <a:lnTo>
                    <a:pt x="257" y="891"/>
                  </a:lnTo>
                  <a:lnTo>
                    <a:pt x="257" y="893"/>
                  </a:lnTo>
                  <a:close/>
                  <a:moveTo>
                    <a:pt x="249" y="893"/>
                  </a:moveTo>
                  <a:lnTo>
                    <a:pt x="249" y="891"/>
                  </a:lnTo>
                  <a:lnTo>
                    <a:pt x="249" y="893"/>
                  </a:lnTo>
                  <a:close/>
                  <a:moveTo>
                    <a:pt x="249" y="893"/>
                  </a:moveTo>
                  <a:lnTo>
                    <a:pt x="249" y="891"/>
                  </a:lnTo>
                  <a:lnTo>
                    <a:pt x="249" y="893"/>
                  </a:lnTo>
                  <a:close/>
                  <a:moveTo>
                    <a:pt x="257" y="891"/>
                  </a:moveTo>
                  <a:lnTo>
                    <a:pt x="257" y="893"/>
                  </a:lnTo>
                  <a:lnTo>
                    <a:pt x="257" y="891"/>
                  </a:lnTo>
                  <a:close/>
                  <a:moveTo>
                    <a:pt x="252" y="893"/>
                  </a:moveTo>
                  <a:lnTo>
                    <a:pt x="252" y="891"/>
                  </a:lnTo>
                  <a:lnTo>
                    <a:pt x="252" y="893"/>
                  </a:lnTo>
                  <a:close/>
                  <a:moveTo>
                    <a:pt x="252" y="893"/>
                  </a:moveTo>
                  <a:lnTo>
                    <a:pt x="252" y="891"/>
                  </a:lnTo>
                  <a:lnTo>
                    <a:pt x="252" y="893"/>
                  </a:lnTo>
                  <a:close/>
                  <a:moveTo>
                    <a:pt x="257" y="891"/>
                  </a:moveTo>
                  <a:lnTo>
                    <a:pt x="257" y="893"/>
                  </a:lnTo>
                  <a:lnTo>
                    <a:pt x="257" y="891"/>
                  </a:lnTo>
                  <a:close/>
                  <a:moveTo>
                    <a:pt x="249" y="891"/>
                  </a:moveTo>
                  <a:lnTo>
                    <a:pt x="249" y="893"/>
                  </a:lnTo>
                  <a:lnTo>
                    <a:pt x="249" y="891"/>
                  </a:lnTo>
                  <a:close/>
                  <a:moveTo>
                    <a:pt x="247" y="891"/>
                  </a:moveTo>
                  <a:lnTo>
                    <a:pt x="245" y="891"/>
                  </a:lnTo>
                  <a:lnTo>
                    <a:pt x="247" y="891"/>
                  </a:lnTo>
                  <a:close/>
                  <a:moveTo>
                    <a:pt x="240" y="891"/>
                  </a:moveTo>
                  <a:lnTo>
                    <a:pt x="242" y="891"/>
                  </a:lnTo>
                  <a:lnTo>
                    <a:pt x="240" y="891"/>
                  </a:lnTo>
                  <a:close/>
                  <a:moveTo>
                    <a:pt x="245" y="891"/>
                  </a:moveTo>
                  <a:lnTo>
                    <a:pt x="242" y="891"/>
                  </a:lnTo>
                  <a:lnTo>
                    <a:pt x="245" y="891"/>
                  </a:lnTo>
                  <a:close/>
                  <a:moveTo>
                    <a:pt x="247" y="888"/>
                  </a:moveTo>
                  <a:lnTo>
                    <a:pt x="247" y="891"/>
                  </a:lnTo>
                  <a:lnTo>
                    <a:pt x="247" y="888"/>
                  </a:lnTo>
                  <a:close/>
                  <a:moveTo>
                    <a:pt x="242" y="891"/>
                  </a:moveTo>
                  <a:lnTo>
                    <a:pt x="242" y="888"/>
                  </a:lnTo>
                  <a:lnTo>
                    <a:pt x="242" y="891"/>
                  </a:lnTo>
                  <a:close/>
                  <a:moveTo>
                    <a:pt x="247" y="891"/>
                  </a:moveTo>
                  <a:lnTo>
                    <a:pt x="247" y="888"/>
                  </a:lnTo>
                  <a:lnTo>
                    <a:pt x="247" y="891"/>
                  </a:lnTo>
                  <a:close/>
                  <a:moveTo>
                    <a:pt x="245" y="888"/>
                  </a:moveTo>
                  <a:lnTo>
                    <a:pt x="242" y="888"/>
                  </a:lnTo>
                  <a:lnTo>
                    <a:pt x="245" y="888"/>
                  </a:lnTo>
                  <a:close/>
                  <a:moveTo>
                    <a:pt x="247" y="891"/>
                  </a:moveTo>
                  <a:lnTo>
                    <a:pt x="247" y="888"/>
                  </a:lnTo>
                  <a:lnTo>
                    <a:pt x="247" y="891"/>
                  </a:lnTo>
                  <a:close/>
                  <a:moveTo>
                    <a:pt x="254" y="888"/>
                  </a:moveTo>
                  <a:lnTo>
                    <a:pt x="252" y="888"/>
                  </a:lnTo>
                  <a:lnTo>
                    <a:pt x="254" y="888"/>
                  </a:lnTo>
                  <a:close/>
                  <a:moveTo>
                    <a:pt x="249" y="891"/>
                  </a:moveTo>
                  <a:lnTo>
                    <a:pt x="249" y="888"/>
                  </a:lnTo>
                  <a:lnTo>
                    <a:pt x="249" y="891"/>
                  </a:lnTo>
                  <a:close/>
                  <a:moveTo>
                    <a:pt x="247" y="888"/>
                  </a:moveTo>
                  <a:lnTo>
                    <a:pt x="245" y="888"/>
                  </a:lnTo>
                  <a:lnTo>
                    <a:pt x="247" y="888"/>
                  </a:lnTo>
                  <a:close/>
                  <a:moveTo>
                    <a:pt x="247" y="888"/>
                  </a:moveTo>
                  <a:lnTo>
                    <a:pt x="249" y="888"/>
                  </a:lnTo>
                  <a:lnTo>
                    <a:pt x="247" y="888"/>
                  </a:lnTo>
                  <a:close/>
                  <a:moveTo>
                    <a:pt x="249" y="886"/>
                  </a:moveTo>
                  <a:lnTo>
                    <a:pt x="247" y="886"/>
                  </a:lnTo>
                  <a:lnTo>
                    <a:pt x="249" y="886"/>
                  </a:lnTo>
                  <a:close/>
                  <a:moveTo>
                    <a:pt x="261" y="886"/>
                  </a:moveTo>
                  <a:lnTo>
                    <a:pt x="264" y="886"/>
                  </a:lnTo>
                  <a:lnTo>
                    <a:pt x="261" y="886"/>
                  </a:lnTo>
                  <a:close/>
                  <a:moveTo>
                    <a:pt x="261" y="886"/>
                  </a:moveTo>
                  <a:lnTo>
                    <a:pt x="264" y="886"/>
                  </a:lnTo>
                  <a:lnTo>
                    <a:pt x="261" y="886"/>
                  </a:lnTo>
                  <a:close/>
                  <a:moveTo>
                    <a:pt x="259" y="886"/>
                  </a:moveTo>
                  <a:lnTo>
                    <a:pt x="257" y="886"/>
                  </a:lnTo>
                  <a:lnTo>
                    <a:pt x="259" y="886"/>
                  </a:lnTo>
                  <a:close/>
                  <a:moveTo>
                    <a:pt x="247" y="886"/>
                  </a:moveTo>
                  <a:lnTo>
                    <a:pt x="247" y="884"/>
                  </a:lnTo>
                  <a:lnTo>
                    <a:pt x="247" y="886"/>
                  </a:lnTo>
                  <a:close/>
                  <a:moveTo>
                    <a:pt x="249" y="884"/>
                  </a:moveTo>
                  <a:lnTo>
                    <a:pt x="249" y="886"/>
                  </a:lnTo>
                  <a:lnTo>
                    <a:pt x="249" y="884"/>
                  </a:lnTo>
                  <a:close/>
                  <a:moveTo>
                    <a:pt x="249" y="884"/>
                  </a:moveTo>
                  <a:lnTo>
                    <a:pt x="249" y="886"/>
                  </a:lnTo>
                  <a:lnTo>
                    <a:pt x="249" y="884"/>
                  </a:lnTo>
                  <a:close/>
                  <a:moveTo>
                    <a:pt x="245" y="884"/>
                  </a:moveTo>
                  <a:lnTo>
                    <a:pt x="245" y="886"/>
                  </a:lnTo>
                  <a:lnTo>
                    <a:pt x="245" y="884"/>
                  </a:lnTo>
                  <a:close/>
                  <a:moveTo>
                    <a:pt x="264" y="886"/>
                  </a:moveTo>
                  <a:lnTo>
                    <a:pt x="264" y="884"/>
                  </a:lnTo>
                  <a:lnTo>
                    <a:pt x="264" y="886"/>
                  </a:lnTo>
                  <a:close/>
                  <a:moveTo>
                    <a:pt x="247" y="884"/>
                  </a:moveTo>
                  <a:lnTo>
                    <a:pt x="247" y="886"/>
                  </a:lnTo>
                  <a:lnTo>
                    <a:pt x="247" y="884"/>
                  </a:lnTo>
                  <a:close/>
                  <a:moveTo>
                    <a:pt x="249" y="886"/>
                  </a:moveTo>
                  <a:lnTo>
                    <a:pt x="249" y="884"/>
                  </a:lnTo>
                  <a:lnTo>
                    <a:pt x="249" y="886"/>
                  </a:lnTo>
                  <a:close/>
                  <a:moveTo>
                    <a:pt x="247" y="886"/>
                  </a:moveTo>
                  <a:lnTo>
                    <a:pt x="247" y="884"/>
                  </a:lnTo>
                  <a:lnTo>
                    <a:pt x="247" y="886"/>
                  </a:lnTo>
                  <a:close/>
                  <a:moveTo>
                    <a:pt x="266" y="886"/>
                  </a:moveTo>
                  <a:lnTo>
                    <a:pt x="266" y="884"/>
                  </a:lnTo>
                  <a:lnTo>
                    <a:pt x="266" y="886"/>
                  </a:lnTo>
                  <a:close/>
                  <a:moveTo>
                    <a:pt x="257" y="884"/>
                  </a:moveTo>
                  <a:lnTo>
                    <a:pt x="257" y="886"/>
                  </a:lnTo>
                  <a:lnTo>
                    <a:pt x="257" y="884"/>
                  </a:lnTo>
                  <a:close/>
                  <a:moveTo>
                    <a:pt x="257" y="886"/>
                  </a:moveTo>
                  <a:lnTo>
                    <a:pt x="257" y="884"/>
                  </a:lnTo>
                  <a:lnTo>
                    <a:pt x="257" y="886"/>
                  </a:lnTo>
                  <a:close/>
                  <a:moveTo>
                    <a:pt x="247" y="884"/>
                  </a:moveTo>
                  <a:lnTo>
                    <a:pt x="245" y="884"/>
                  </a:lnTo>
                  <a:lnTo>
                    <a:pt x="247" y="884"/>
                  </a:lnTo>
                  <a:close/>
                  <a:moveTo>
                    <a:pt x="247" y="886"/>
                  </a:moveTo>
                  <a:lnTo>
                    <a:pt x="247" y="884"/>
                  </a:lnTo>
                  <a:lnTo>
                    <a:pt x="247" y="886"/>
                  </a:lnTo>
                  <a:close/>
                  <a:moveTo>
                    <a:pt x="266" y="884"/>
                  </a:moveTo>
                  <a:lnTo>
                    <a:pt x="266" y="886"/>
                  </a:lnTo>
                  <a:lnTo>
                    <a:pt x="266" y="884"/>
                  </a:lnTo>
                  <a:close/>
                  <a:moveTo>
                    <a:pt x="264" y="884"/>
                  </a:moveTo>
                  <a:lnTo>
                    <a:pt x="264" y="886"/>
                  </a:lnTo>
                  <a:lnTo>
                    <a:pt x="264" y="884"/>
                  </a:lnTo>
                  <a:close/>
                  <a:moveTo>
                    <a:pt x="261" y="884"/>
                  </a:moveTo>
                  <a:lnTo>
                    <a:pt x="261" y="886"/>
                  </a:lnTo>
                  <a:lnTo>
                    <a:pt x="261" y="884"/>
                  </a:lnTo>
                  <a:close/>
                  <a:moveTo>
                    <a:pt x="259" y="884"/>
                  </a:moveTo>
                  <a:lnTo>
                    <a:pt x="259" y="886"/>
                  </a:lnTo>
                  <a:lnTo>
                    <a:pt x="259" y="884"/>
                  </a:lnTo>
                  <a:close/>
                  <a:moveTo>
                    <a:pt x="264" y="884"/>
                  </a:moveTo>
                  <a:lnTo>
                    <a:pt x="261" y="884"/>
                  </a:lnTo>
                  <a:lnTo>
                    <a:pt x="264" y="884"/>
                  </a:lnTo>
                  <a:close/>
                  <a:moveTo>
                    <a:pt x="261" y="884"/>
                  </a:moveTo>
                  <a:lnTo>
                    <a:pt x="264" y="884"/>
                  </a:lnTo>
                  <a:lnTo>
                    <a:pt x="261" y="884"/>
                  </a:lnTo>
                  <a:close/>
                  <a:moveTo>
                    <a:pt x="257" y="884"/>
                  </a:moveTo>
                  <a:lnTo>
                    <a:pt x="254" y="884"/>
                  </a:lnTo>
                  <a:lnTo>
                    <a:pt x="257" y="884"/>
                  </a:lnTo>
                  <a:lnTo>
                    <a:pt x="254" y="884"/>
                  </a:lnTo>
                  <a:lnTo>
                    <a:pt x="257" y="884"/>
                  </a:lnTo>
                  <a:close/>
                  <a:moveTo>
                    <a:pt x="257" y="881"/>
                  </a:moveTo>
                  <a:lnTo>
                    <a:pt x="257" y="884"/>
                  </a:lnTo>
                  <a:lnTo>
                    <a:pt x="257" y="881"/>
                  </a:lnTo>
                  <a:close/>
                  <a:moveTo>
                    <a:pt x="273" y="884"/>
                  </a:moveTo>
                  <a:lnTo>
                    <a:pt x="273" y="881"/>
                  </a:lnTo>
                  <a:lnTo>
                    <a:pt x="273" y="884"/>
                  </a:lnTo>
                  <a:close/>
                  <a:moveTo>
                    <a:pt x="259" y="881"/>
                  </a:moveTo>
                  <a:lnTo>
                    <a:pt x="259" y="884"/>
                  </a:lnTo>
                  <a:lnTo>
                    <a:pt x="259" y="881"/>
                  </a:lnTo>
                  <a:close/>
                  <a:moveTo>
                    <a:pt x="259" y="881"/>
                  </a:moveTo>
                  <a:lnTo>
                    <a:pt x="259" y="884"/>
                  </a:lnTo>
                  <a:lnTo>
                    <a:pt x="259" y="881"/>
                  </a:lnTo>
                  <a:close/>
                  <a:moveTo>
                    <a:pt x="273" y="881"/>
                  </a:moveTo>
                  <a:lnTo>
                    <a:pt x="273" y="884"/>
                  </a:lnTo>
                  <a:lnTo>
                    <a:pt x="273" y="881"/>
                  </a:lnTo>
                  <a:close/>
                  <a:moveTo>
                    <a:pt x="252" y="881"/>
                  </a:moveTo>
                  <a:lnTo>
                    <a:pt x="249" y="881"/>
                  </a:lnTo>
                  <a:lnTo>
                    <a:pt x="252" y="881"/>
                  </a:lnTo>
                  <a:close/>
                  <a:moveTo>
                    <a:pt x="254" y="881"/>
                  </a:moveTo>
                  <a:lnTo>
                    <a:pt x="252" y="881"/>
                  </a:lnTo>
                  <a:lnTo>
                    <a:pt x="254" y="881"/>
                  </a:lnTo>
                  <a:close/>
                  <a:moveTo>
                    <a:pt x="254" y="881"/>
                  </a:moveTo>
                  <a:lnTo>
                    <a:pt x="254" y="879"/>
                  </a:lnTo>
                  <a:lnTo>
                    <a:pt x="254" y="881"/>
                  </a:lnTo>
                  <a:close/>
                  <a:moveTo>
                    <a:pt x="252" y="879"/>
                  </a:moveTo>
                  <a:lnTo>
                    <a:pt x="252" y="881"/>
                  </a:lnTo>
                  <a:lnTo>
                    <a:pt x="252" y="879"/>
                  </a:lnTo>
                  <a:close/>
                  <a:moveTo>
                    <a:pt x="259" y="879"/>
                  </a:moveTo>
                  <a:lnTo>
                    <a:pt x="257" y="879"/>
                  </a:lnTo>
                  <a:lnTo>
                    <a:pt x="259" y="879"/>
                  </a:lnTo>
                  <a:close/>
                  <a:moveTo>
                    <a:pt x="254" y="879"/>
                  </a:moveTo>
                  <a:lnTo>
                    <a:pt x="252" y="879"/>
                  </a:lnTo>
                  <a:lnTo>
                    <a:pt x="254" y="879"/>
                  </a:lnTo>
                  <a:close/>
                  <a:moveTo>
                    <a:pt x="254" y="879"/>
                  </a:moveTo>
                  <a:lnTo>
                    <a:pt x="252" y="879"/>
                  </a:lnTo>
                  <a:lnTo>
                    <a:pt x="254" y="879"/>
                  </a:lnTo>
                  <a:close/>
                  <a:moveTo>
                    <a:pt x="257" y="879"/>
                  </a:moveTo>
                  <a:lnTo>
                    <a:pt x="254" y="879"/>
                  </a:lnTo>
                  <a:lnTo>
                    <a:pt x="257" y="879"/>
                  </a:lnTo>
                  <a:close/>
                  <a:moveTo>
                    <a:pt x="254" y="879"/>
                  </a:moveTo>
                  <a:lnTo>
                    <a:pt x="252" y="879"/>
                  </a:lnTo>
                  <a:lnTo>
                    <a:pt x="254" y="879"/>
                  </a:lnTo>
                  <a:lnTo>
                    <a:pt x="252" y="879"/>
                  </a:lnTo>
                  <a:lnTo>
                    <a:pt x="254" y="879"/>
                  </a:lnTo>
                  <a:lnTo>
                    <a:pt x="252" y="879"/>
                  </a:lnTo>
                  <a:lnTo>
                    <a:pt x="254" y="879"/>
                  </a:lnTo>
                  <a:close/>
                  <a:moveTo>
                    <a:pt x="254" y="879"/>
                  </a:moveTo>
                  <a:lnTo>
                    <a:pt x="257" y="879"/>
                  </a:lnTo>
                  <a:lnTo>
                    <a:pt x="254" y="879"/>
                  </a:lnTo>
                  <a:close/>
                  <a:moveTo>
                    <a:pt x="254" y="879"/>
                  </a:moveTo>
                  <a:lnTo>
                    <a:pt x="257" y="879"/>
                  </a:lnTo>
                  <a:lnTo>
                    <a:pt x="254" y="879"/>
                  </a:lnTo>
                  <a:close/>
                  <a:moveTo>
                    <a:pt x="257" y="879"/>
                  </a:moveTo>
                  <a:lnTo>
                    <a:pt x="257" y="877"/>
                  </a:lnTo>
                  <a:lnTo>
                    <a:pt x="257" y="879"/>
                  </a:lnTo>
                  <a:close/>
                  <a:moveTo>
                    <a:pt x="257" y="877"/>
                  </a:moveTo>
                  <a:lnTo>
                    <a:pt x="257" y="879"/>
                  </a:lnTo>
                  <a:lnTo>
                    <a:pt x="257" y="877"/>
                  </a:lnTo>
                  <a:close/>
                  <a:moveTo>
                    <a:pt x="259" y="877"/>
                  </a:moveTo>
                  <a:lnTo>
                    <a:pt x="257" y="877"/>
                  </a:lnTo>
                  <a:lnTo>
                    <a:pt x="259" y="877"/>
                  </a:lnTo>
                  <a:close/>
                  <a:moveTo>
                    <a:pt x="268" y="877"/>
                  </a:moveTo>
                  <a:lnTo>
                    <a:pt x="268" y="874"/>
                  </a:lnTo>
                  <a:lnTo>
                    <a:pt x="268" y="877"/>
                  </a:lnTo>
                  <a:close/>
                  <a:moveTo>
                    <a:pt x="266" y="877"/>
                  </a:moveTo>
                  <a:lnTo>
                    <a:pt x="264" y="877"/>
                  </a:lnTo>
                  <a:lnTo>
                    <a:pt x="266" y="874"/>
                  </a:lnTo>
                  <a:lnTo>
                    <a:pt x="266" y="877"/>
                  </a:lnTo>
                  <a:close/>
                  <a:moveTo>
                    <a:pt x="268" y="877"/>
                  </a:moveTo>
                  <a:lnTo>
                    <a:pt x="266" y="877"/>
                  </a:lnTo>
                  <a:lnTo>
                    <a:pt x="268" y="874"/>
                  </a:lnTo>
                  <a:lnTo>
                    <a:pt x="268" y="877"/>
                  </a:lnTo>
                  <a:close/>
                  <a:moveTo>
                    <a:pt x="264" y="877"/>
                  </a:moveTo>
                  <a:lnTo>
                    <a:pt x="264" y="874"/>
                  </a:lnTo>
                  <a:lnTo>
                    <a:pt x="264" y="877"/>
                  </a:lnTo>
                  <a:close/>
                  <a:moveTo>
                    <a:pt x="268" y="874"/>
                  </a:moveTo>
                  <a:lnTo>
                    <a:pt x="268" y="877"/>
                  </a:lnTo>
                  <a:lnTo>
                    <a:pt x="268" y="874"/>
                  </a:lnTo>
                  <a:close/>
                  <a:moveTo>
                    <a:pt x="268" y="877"/>
                  </a:moveTo>
                  <a:lnTo>
                    <a:pt x="268" y="874"/>
                  </a:lnTo>
                  <a:lnTo>
                    <a:pt x="268" y="877"/>
                  </a:lnTo>
                  <a:close/>
                  <a:moveTo>
                    <a:pt x="266" y="874"/>
                  </a:moveTo>
                  <a:lnTo>
                    <a:pt x="264" y="874"/>
                  </a:lnTo>
                  <a:lnTo>
                    <a:pt x="266" y="874"/>
                  </a:lnTo>
                  <a:close/>
                  <a:moveTo>
                    <a:pt x="276" y="874"/>
                  </a:moveTo>
                  <a:lnTo>
                    <a:pt x="273" y="874"/>
                  </a:lnTo>
                  <a:lnTo>
                    <a:pt x="276" y="874"/>
                  </a:lnTo>
                  <a:close/>
                  <a:moveTo>
                    <a:pt x="257" y="874"/>
                  </a:moveTo>
                  <a:lnTo>
                    <a:pt x="254" y="874"/>
                  </a:lnTo>
                  <a:lnTo>
                    <a:pt x="257" y="874"/>
                  </a:lnTo>
                  <a:close/>
                  <a:moveTo>
                    <a:pt x="264" y="874"/>
                  </a:moveTo>
                  <a:lnTo>
                    <a:pt x="261" y="874"/>
                  </a:lnTo>
                  <a:lnTo>
                    <a:pt x="264" y="874"/>
                  </a:lnTo>
                  <a:close/>
                  <a:moveTo>
                    <a:pt x="264" y="874"/>
                  </a:moveTo>
                  <a:lnTo>
                    <a:pt x="266" y="874"/>
                  </a:lnTo>
                  <a:lnTo>
                    <a:pt x="264" y="874"/>
                  </a:lnTo>
                  <a:close/>
                  <a:moveTo>
                    <a:pt x="259" y="874"/>
                  </a:moveTo>
                  <a:lnTo>
                    <a:pt x="259" y="872"/>
                  </a:lnTo>
                  <a:lnTo>
                    <a:pt x="259" y="874"/>
                  </a:lnTo>
                  <a:close/>
                  <a:moveTo>
                    <a:pt x="271" y="872"/>
                  </a:moveTo>
                  <a:lnTo>
                    <a:pt x="271" y="874"/>
                  </a:lnTo>
                  <a:lnTo>
                    <a:pt x="271" y="872"/>
                  </a:lnTo>
                  <a:close/>
                  <a:moveTo>
                    <a:pt x="273" y="874"/>
                  </a:moveTo>
                  <a:lnTo>
                    <a:pt x="273" y="872"/>
                  </a:lnTo>
                  <a:lnTo>
                    <a:pt x="273" y="874"/>
                  </a:lnTo>
                  <a:close/>
                  <a:moveTo>
                    <a:pt x="271" y="872"/>
                  </a:moveTo>
                  <a:lnTo>
                    <a:pt x="268" y="872"/>
                  </a:lnTo>
                  <a:lnTo>
                    <a:pt x="271" y="872"/>
                  </a:lnTo>
                  <a:close/>
                  <a:moveTo>
                    <a:pt x="261" y="872"/>
                  </a:moveTo>
                  <a:lnTo>
                    <a:pt x="264" y="872"/>
                  </a:lnTo>
                  <a:lnTo>
                    <a:pt x="261" y="872"/>
                  </a:lnTo>
                  <a:close/>
                  <a:moveTo>
                    <a:pt x="264" y="872"/>
                  </a:moveTo>
                  <a:lnTo>
                    <a:pt x="266" y="872"/>
                  </a:lnTo>
                  <a:lnTo>
                    <a:pt x="264" y="872"/>
                  </a:lnTo>
                  <a:close/>
                  <a:moveTo>
                    <a:pt x="261" y="872"/>
                  </a:moveTo>
                  <a:lnTo>
                    <a:pt x="264" y="872"/>
                  </a:lnTo>
                  <a:lnTo>
                    <a:pt x="261" y="872"/>
                  </a:lnTo>
                  <a:close/>
                  <a:moveTo>
                    <a:pt x="261" y="872"/>
                  </a:moveTo>
                  <a:lnTo>
                    <a:pt x="264" y="872"/>
                  </a:lnTo>
                  <a:lnTo>
                    <a:pt x="261" y="872"/>
                  </a:lnTo>
                  <a:close/>
                  <a:moveTo>
                    <a:pt x="266" y="872"/>
                  </a:moveTo>
                  <a:lnTo>
                    <a:pt x="264" y="872"/>
                  </a:lnTo>
                  <a:lnTo>
                    <a:pt x="266" y="872"/>
                  </a:lnTo>
                  <a:close/>
                  <a:moveTo>
                    <a:pt x="259" y="872"/>
                  </a:moveTo>
                  <a:lnTo>
                    <a:pt x="257" y="872"/>
                  </a:lnTo>
                  <a:lnTo>
                    <a:pt x="259" y="872"/>
                  </a:lnTo>
                  <a:close/>
                  <a:moveTo>
                    <a:pt x="259" y="872"/>
                  </a:moveTo>
                  <a:lnTo>
                    <a:pt x="261" y="872"/>
                  </a:lnTo>
                  <a:lnTo>
                    <a:pt x="259" y="872"/>
                  </a:lnTo>
                  <a:close/>
                  <a:moveTo>
                    <a:pt x="266" y="872"/>
                  </a:moveTo>
                  <a:lnTo>
                    <a:pt x="264" y="872"/>
                  </a:lnTo>
                  <a:lnTo>
                    <a:pt x="266" y="872"/>
                  </a:lnTo>
                  <a:close/>
                  <a:moveTo>
                    <a:pt x="266" y="872"/>
                  </a:moveTo>
                  <a:lnTo>
                    <a:pt x="264" y="872"/>
                  </a:lnTo>
                  <a:lnTo>
                    <a:pt x="266" y="872"/>
                  </a:lnTo>
                  <a:close/>
                  <a:moveTo>
                    <a:pt x="264" y="869"/>
                  </a:moveTo>
                  <a:lnTo>
                    <a:pt x="264" y="872"/>
                  </a:lnTo>
                  <a:lnTo>
                    <a:pt x="264" y="869"/>
                  </a:lnTo>
                  <a:close/>
                  <a:moveTo>
                    <a:pt x="261" y="869"/>
                  </a:moveTo>
                  <a:lnTo>
                    <a:pt x="259" y="869"/>
                  </a:lnTo>
                  <a:lnTo>
                    <a:pt x="261" y="869"/>
                  </a:lnTo>
                  <a:close/>
                  <a:moveTo>
                    <a:pt x="266" y="869"/>
                  </a:moveTo>
                  <a:lnTo>
                    <a:pt x="264" y="872"/>
                  </a:lnTo>
                  <a:lnTo>
                    <a:pt x="264" y="869"/>
                  </a:lnTo>
                  <a:lnTo>
                    <a:pt x="264" y="872"/>
                  </a:lnTo>
                  <a:lnTo>
                    <a:pt x="266" y="869"/>
                  </a:lnTo>
                  <a:close/>
                  <a:moveTo>
                    <a:pt x="264" y="869"/>
                  </a:moveTo>
                  <a:lnTo>
                    <a:pt x="264" y="872"/>
                  </a:lnTo>
                  <a:lnTo>
                    <a:pt x="264" y="869"/>
                  </a:lnTo>
                  <a:close/>
                  <a:moveTo>
                    <a:pt x="266" y="872"/>
                  </a:moveTo>
                  <a:lnTo>
                    <a:pt x="264" y="872"/>
                  </a:lnTo>
                  <a:lnTo>
                    <a:pt x="266" y="869"/>
                  </a:lnTo>
                  <a:lnTo>
                    <a:pt x="266" y="872"/>
                  </a:lnTo>
                  <a:close/>
                  <a:moveTo>
                    <a:pt x="261" y="869"/>
                  </a:moveTo>
                  <a:lnTo>
                    <a:pt x="259" y="869"/>
                  </a:lnTo>
                  <a:lnTo>
                    <a:pt x="261" y="869"/>
                  </a:lnTo>
                  <a:close/>
                  <a:moveTo>
                    <a:pt x="276" y="869"/>
                  </a:moveTo>
                  <a:lnTo>
                    <a:pt x="273" y="869"/>
                  </a:lnTo>
                  <a:lnTo>
                    <a:pt x="276" y="869"/>
                  </a:lnTo>
                  <a:close/>
                  <a:moveTo>
                    <a:pt x="261" y="869"/>
                  </a:moveTo>
                  <a:lnTo>
                    <a:pt x="259" y="869"/>
                  </a:lnTo>
                  <a:lnTo>
                    <a:pt x="261" y="869"/>
                  </a:lnTo>
                  <a:close/>
                  <a:moveTo>
                    <a:pt x="264" y="869"/>
                  </a:moveTo>
                  <a:lnTo>
                    <a:pt x="261" y="869"/>
                  </a:lnTo>
                  <a:lnTo>
                    <a:pt x="264" y="869"/>
                  </a:lnTo>
                  <a:close/>
                  <a:moveTo>
                    <a:pt x="261" y="869"/>
                  </a:moveTo>
                  <a:lnTo>
                    <a:pt x="264" y="869"/>
                  </a:lnTo>
                  <a:lnTo>
                    <a:pt x="261" y="869"/>
                  </a:lnTo>
                  <a:close/>
                  <a:moveTo>
                    <a:pt x="276" y="867"/>
                  </a:moveTo>
                  <a:lnTo>
                    <a:pt x="276" y="869"/>
                  </a:lnTo>
                  <a:lnTo>
                    <a:pt x="276" y="867"/>
                  </a:lnTo>
                  <a:close/>
                  <a:moveTo>
                    <a:pt x="283" y="867"/>
                  </a:moveTo>
                  <a:lnTo>
                    <a:pt x="280" y="867"/>
                  </a:lnTo>
                  <a:lnTo>
                    <a:pt x="283" y="867"/>
                  </a:lnTo>
                  <a:close/>
                  <a:moveTo>
                    <a:pt x="271" y="867"/>
                  </a:moveTo>
                  <a:lnTo>
                    <a:pt x="271" y="865"/>
                  </a:lnTo>
                  <a:lnTo>
                    <a:pt x="271" y="867"/>
                  </a:lnTo>
                  <a:close/>
                  <a:moveTo>
                    <a:pt x="280" y="867"/>
                  </a:moveTo>
                  <a:lnTo>
                    <a:pt x="280" y="865"/>
                  </a:lnTo>
                  <a:lnTo>
                    <a:pt x="280" y="867"/>
                  </a:lnTo>
                  <a:close/>
                  <a:moveTo>
                    <a:pt x="247" y="867"/>
                  </a:moveTo>
                  <a:lnTo>
                    <a:pt x="247" y="865"/>
                  </a:lnTo>
                  <a:lnTo>
                    <a:pt x="247" y="867"/>
                  </a:lnTo>
                  <a:close/>
                  <a:moveTo>
                    <a:pt x="247" y="867"/>
                  </a:moveTo>
                  <a:lnTo>
                    <a:pt x="247" y="865"/>
                  </a:lnTo>
                  <a:lnTo>
                    <a:pt x="247" y="867"/>
                  </a:lnTo>
                  <a:close/>
                  <a:moveTo>
                    <a:pt x="271" y="867"/>
                  </a:moveTo>
                  <a:lnTo>
                    <a:pt x="271" y="865"/>
                  </a:lnTo>
                  <a:lnTo>
                    <a:pt x="271" y="867"/>
                  </a:lnTo>
                  <a:close/>
                  <a:moveTo>
                    <a:pt x="273" y="865"/>
                  </a:moveTo>
                  <a:lnTo>
                    <a:pt x="271" y="865"/>
                  </a:lnTo>
                  <a:lnTo>
                    <a:pt x="273" y="865"/>
                  </a:lnTo>
                  <a:close/>
                  <a:moveTo>
                    <a:pt x="273" y="865"/>
                  </a:moveTo>
                  <a:lnTo>
                    <a:pt x="271" y="865"/>
                  </a:lnTo>
                  <a:lnTo>
                    <a:pt x="273" y="865"/>
                  </a:lnTo>
                  <a:close/>
                  <a:moveTo>
                    <a:pt x="252" y="865"/>
                  </a:moveTo>
                  <a:lnTo>
                    <a:pt x="249" y="865"/>
                  </a:lnTo>
                  <a:lnTo>
                    <a:pt x="252" y="865"/>
                  </a:lnTo>
                  <a:close/>
                  <a:moveTo>
                    <a:pt x="278" y="865"/>
                  </a:moveTo>
                  <a:lnTo>
                    <a:pt x="276" y="865"/>
                  </a:lnTo>
                  <a:lnTo>
                    <a:pt x="278" y="865"/>
                  </a:lnTo>
                  <a:close/>
                  <a:moveTo>
                    <a:pt x="278" y="865"/>
                  </a:moveTo>
                  <a:lnTo>
                    <a:pt x="276" y="865"/>
                  </a:lnTo>
                  <a:lnTo>
                    <a:pt x="278" y="865"/>
                  </a:lnTo>
                  <a:close/>
                  <a:moveTo>
                    <a:pt x="252" y="865"/>
                  </a:moveTo>
                  <a:lnTo>
                    <a:pt x="252" y="862"/>
                  </a:lnTo>
                  <a:lnTo>
                    <a:pt x="252" y="865"/>
                  </a:lnTo>
                  <a:close/>
                  <a:moveTo>
                    <a:pt x="268" y="862"/>
                  </a:moveTo>
                  <a:lnTo>
                    <a:pt x="268" y="865"/>
                  </a:lnTo>
                  <a:lnTo>
                    <a:pt x="268" y="862"/>
                  </a:lnTo>
                  <a:close/>
                  <a:moveTo>
                    <a:pt x="276" y="862"/>
                  </a:moveTo>
                  <a:lnTo>
                    <a:pt x="276" y="865"/>
                  </a:lnTo>
                  <a:lnTo>
                    <a:pt x="276" y="862"/>
                  </a:lnTo>
                  <a:close/>
                  <a:moveTo>
                    <a:pt x="271" y="862"/>
                  </a:moveTo>
                  <a:lnTo>
                    <a:pt x="268" y="862"/>
                  </a:lnTo>
                  <a:lnTo>
                    <a:pt x="271" y="862"/>
                  </a:lnTo>
                  <a:close/>
                  <a:moveTo>
                    <a:pt x="271" y="862"/>
                  </a:moveTo>
                  <a:lnTo>
                    <a:pt x="268" y="862"/>
                  </a:lnTo>
                  <a:lnTo>
                    <a:pt x="271" y="862"/>
                  </a:lnTo>
                  <a:close/>
                  <a:moveTo>
                    <a:pt x="257" y="862"/>
                  </a:moveTo>
                  <a:lnTo>
                    <a:pt x="254" y="862"/>
                  </a:lnTo>
                  <a:lnTo>
                    <a:pt x="257" y="862"/>
                  </a:lnTo>
                  <a:close/>
                  <a:moveTo>
                    <a:pt x="271" y="862"/>
                  </a:moveTo>
                  <a:lnTo>
                    <a:pt x="268" y="862"/>
                  </a:lnTo>
                  <a:lnTo>
                    <a:pt x="271" y="862"/>
                  </a:lnTo>
                  <a:close/>
                  <a:moveTo>
                    <a:pt x="266" y="860"/>
                  </a:moveTo>
                  <a:lnTo>
                    <a:pt x="266" y="862"/>
                  </a:lnTo>
                  <a:lnTo>
                    <a:pt x="266" y="860"/>
                  </a:lnTo>
                  <a:close/>
                  <a:moveTo>
                    <a:pt x="249" y="860"/>
                  </a:moveTo>
                  <a:lnTo>
                    <a:pt x="249" y="862"/>
                  </a:lnTo>
                  <a:lnTo>
                    <a:pt x="249" y="860"/>
                  </a:lnTo>
                  <a:close/>
                  <a:moveTo>
                    <a:pt x="257" y="862"/>
                  </a:moveTo>
                  <a:lnTo>
                    <a:pt x="254" y="862"/>
                  </a:lnTo>
                  <a:lnTo>
                    <a:pt x="254" y="860"/>
                  </a:lnTo>
                  <a:lnTo>
                    <a:pt x="257" y="860"/>
                  </a:lnTo>
                  <a:lnTo>
                    <a:pt x="257" y="862"/>
                  </a:lnTo>
                  <a:close/>
                  <a:moveTo>
                    <a:pt x="257" y="860"/>
                  </a:moveTo>
                  <a:lnTo>
                    <a:pt x="257" y="862"/>
                  </a:lnTo>
                  <a:lnTo>
                    <a:pt x="257" y="860"/>
                  </a:lnTo>
                  <a:close/>
                  <a:moveTo>
                    <a:pt x="271" y="860"/>
                  </a:moveTo>
                  <a:lnTo>
                    <a:pt x="268" y="860"/>
                  </a:lnTo>
                  <a:lnTo>
                    <a:pt x="271" y="860"/>
                  </a:lnTo>
                  <a:close/>
                  <a:moveTo>
                    <a:pt x="268" y="860"/>
                  </a:moveTo>
                  <a:lnTo>
                    <a:pt x="266" y="860"/>
                  </a:lnTo>
                  <a:lnTo>
                    <a:pt x="268" y="860"/>
                  </a:lnTo>
                  <a:close/>
                  <a:moveTo>
                    <a:pt x="280" y="860"/>
                  </a:moveTo>
                  <a:lnTo>
                    <a:pt x="278" y="860"/>
                  </a:lnTo>
                  <a:lnTo>
                    <a:pt x="280" y="860"/>
                  </a:lnTo>
                  <a:close/>
                  <a:moveTo>
                    <a:pt x="257" y="860"/>
                  </a:moveTo>
                  <a:lnTo>
                    <a:pt x="254" y="860"/>
                  </a:lnTo>
                  <a:lnTo>
                    <a:pt x="257" y="860"/>
                  </a:lnTo>
                  <a:close/>
                  <a:moveTo>
                    <a:pt x="254" y="860"/>
                  </a:moveTo>
                  <a:lnTo>
                    <a:pt x="252" y="860"/>
                  </a:lnTo>
                  <a:lnTo>
                    <a:pt x="254" y="860"/>
                  </a:lnTo>
                  <a:close/>
                  <a:moveTo>
                    <a:pt x="276" y="860"/>
                  </a:moveTo>
                  <a:lnTo>
                    <a:pt x="273" y="860"/>
                  </a:lnTo>
                  <a:lnTo>
                    <a:pt x="276" y="860"/>
                  </a:lnTo>
                  <a:close/>
                  <a:moveTo>
                    <a:pt x="254" y="860"/>
                  </a:moveTo>
                  <a:lnTo>
                    <a:pt x="254" y="858"/>
                  </a:lnTo>
                  <a:lnTo>
                    <a:pt x="254" y="860"/>
                  </a:lnTo>
                  <a:close/>
                  <a:moveTo>
                    <a:pt x="254" y="860"/>
                  </a:moveTo>
                  <a:lnTo>
                    <a:pt x="254" y="858"/>
                  </a:lnTo>
                  <a:lnTo>
                    <a:pt x="254" y="860"/>
                  </a:lnTo>
                  <a:close/>
                  <a:moveTo>
                    <a:pt x="254" y="860"/>
                  </a:moveTo>
                  <a:lnTo>
                    <a:pt x="254" y="858"/>
                  </a:lnTo>
                  <a:lnTo>
                    <a:pt x="254" y="860"/>
                  </a:lnTo>
                  <a:close/>
                  <a:moveTo>
                    <a:pt x="280" y="860"/>
                  </a:moveTo>
                  <a:lnTo>
                    <a:pt x="278" y="860"/>
                  </a:lnTo>
                  <a:lnTo>
                    <a:pt x="280" y="858"/>
                  </a:lnTo>
                  <a:lnTo>
                    <a:pt x="280" y="860"/>
                  </a:lnTo>
                  <a:close/>
                  <a:moveTo>
                    <a:pt x="268" y="860"/>
                  </a:moveTo>
                  <a:lnTo>
                    <a:pt x="268" y="858"/>
                  </a:lnTo>
                  <a:lnTo>
                    <a:pt x="268" y="860"/>
                  </a:lnTo>
                  <a:close/>
                  <a:moveTo>
                    <a:pt x="254" y="858"/>
                  </a:moveTo>
                  <a:lnTo>
                    <a:pt x="254" y="860"/>
                  </a:lnTo>
                  <a:lnTo>
                    <a:pt x="254" y="858"/>
                  </a:lnTo>
                  <a:close/>
                  <a:moveTo>
                    <a:pt x="276" y="858"/>
                  </a:moveTo>
                  <a:lnTo>
                    <a:pt x="276" y="860"/>
                  </a:lnTo>
                  <a:lnTo>
                    <a:pt x="276" y="858"/>
                  </a:lnTo>
                  <a:close/>
                  <a:moveTo>
                    <a:pt x="268" y="858"/>
                  </a:moveTo>
                  <a:lnTo>
                    <a:pt x="268" y="860"/>
                  </a:lnTo>
                  <a:lnTo>
                    <a:pt x="268" y="858"/>
                  </a:lnTo>
                  <a:close/>
                  <a:moveTo>
                    <a:pt x="283" y="858"/>
                  </a:moveTo>
                  <a:lnTo>
                    <a:pt x="280" y="858"/>
                  </a:lnTo>
                  <a:lnTo>
                    <a:pt x="283" y="858"/>
                  </a:lnTo>
                  <a:close/>
                  <a:moveTo>
                    <a:pt x="268" y="858"/>
                  </a:moveTo>
                  <a:lnTo>
                    <a:pt x="271" y="858"/>
                  </a:lnTo>
                  <a:lnTo>
                    <a:pt x="268" y="858"/>
                  </a:lnTo>
                  <a:close/>
                  <a:moveTo>
                    <a:pt x="276" y="858"/>
                  </a:moveTo>
                  <a:lnTo>
                    <a:pt x="273" y="858"/>
                  </a:lnTo>
                  <a:lnTo>
                    <a:pt x="276" y="858"/>
                  </a:lnTo>
                  <a:close/>
                  <a:moveTo>
                    <a:pt x="271" y="858"/>
                  </a:moveTo>
                  <a:lnTo>
                    <a:pt x="268" y="858"/>
                  </a:lnTo>
                  <a:lnTo>
                    <a:pt x="271" y="858"/>
                  </a:lnTo>
                  <a:close/>
                  <a:moveTo>
                    <a:pt x="285" y="858"/>
                  </a:moveTo>
                  <a:lnTo>
                    <a:pt x="283" y="858"/>
                  </a:lnTo>
                  <a:lnTo>
                    <a:pt x="285" y="858"/>
                  </a:lnTo>
                  <a:close/>
                  <a:moveTo>
                    <a:pt x="273" y="858"/>
                  </a:moveTo>
                  <a:lnTo>
                    <a:pt x="271" y="858"/>
                  </a:lnTo>
                  <a:lnTo>
                    <a:pt x="273" y="858"/>
                  </a:lnTo>
                  <a:close/>
                  <a:moveTo>
                    <a:pt x="254" y="858"/>
                  </a:moveTo>
                  <a:lnTo>
                    <a:pt x="254" y="855"/>
                  </a:lnTo>
                  <a:lnTo>
                    <a:pt x="254" y="858"/>
                  </a:lnTo>
                  <a:close/>
                  <a:moveTo>
                    <a:pt x="278" y="855"/>
                  </a:moveTo>
                  <a:lnTo>
                    <a:pt x="278" y="858"/>
                  </a:lnTo>
                  <a:lnTo>
                    <a:pt x="278" y="855"/>
                  </a:lnTo>
                  <a:close/>
                  <a:moveTo>
                    <a:pt x="290" y="855"/>
                  </a:moveTo>
                  <a:lnTo>
                    <a:pt x="290" y="858"/>
                  </a:lnTo>
                  <a:lnTo>
                    <a:pt x="290" y="855"/>
                  </a:lnTo>
                  <a:close/>
                  <a:moveTo>
                    <a:pt x="273" y="855"/>
                  </a:moveTo>
                  <a:lnTo>
                    <a:pt x="273" y="858"/>
                  </a:lnTo>
                  <a:lnTo>
                    <a:pt x="273" y="855"/>
                  </a:lnTo>
                  <a:close/>
                  <a:moveTo>
                    <a:pt x="280" y="858"/>
                  </a:moveTo>
                  <a:lnTo>
                    <a:pt x="278" y="858"/>
                  </a:lnTo>
                  <a:lnTo>
                    <a:pt x="278" y="855"/>
                  </a:lnTo>
                  <a:lnTo>
                    <a:pt x="280" y="855"/>
                  </a:lnTo>
                  <a:lnTo>
                    <a:pt x="278" y="858"/>
                  </a:lnTo>
                  <a:lnTo>
                    <a:pt x="280" y="858"/>
                  </a:lnTo>
                  <a:close/>
                  <a:moveTo>
                    <a:pt x="257" y="855"/>
                  </a:moveTo>
                  <a:lnTo>
                    <a:pt x="254" y="855"/>
                  </a:lnTo>
                  <a:lnTo>
                    <a:pt x="257" y="855"/>
                  </a:lnTo>
                  <a:close/>
                  <a:moveTo>
                    <a:pt x="292" y="853"/>
                  </a:moveTo>
                  <a:lnTo>
                    <a:pt x="292" y="855"/>
                  </a:lnTo>
                  <a:lnTo>
                    <a:pt x="292" y="853"/>
                  </a:lnTo>
                  <a:close/>
                  <a:moveTo>
                    <a:pt x="280" y="855"/>
                  </a:moveTo>
                  <a:lnTo>
                    <a:pt x="280" y="853"/>
                  </a:lnTo>
                  <a:lnTo>
                    <a:pt x="283" y="853"/>
                  </a:lnTo>
                  <a:lnTo>
                    <a:pt x="280" y="855"/>
                  </a:lnTo>
                  <a:close/>
                  <a:moveTo>
                    <a:pt x="280" y="855"/>
                  </a:moveTo>
                  <a:lnTo>
                    <a:pt x="280" y="853"/>
                  </a:lnTo>
                  <a:lnTo>
                    <a:pt x="280" y="855"/>
                  </a:lnTo>
                  <a:close/>
                  <a:moveTo>
                    <a:pt x="280" y="855"/>
                  </a:moveTo>
                  <a:lnTo>
                    <a:pt x="280" y="853"/>
                  </a:lnTo>
                  <a:lnTo>
                    <a:pt x="280" y="855"/>
                  </a:lnTo>
                  <a:close/>
                  <a:moveTo>
                    <a:pt x="290" y="853"/>
                  </a:moveTo>
                  <a:lnTo>
                    <a:pt x="287" y="853"/>
                  </a:lnTo>
                  <a:lnTo>
                    <a:pt x="290" y="853"/>
                  </a:lnTo>
                  <a:close/>
                  <a:moveTo>
                    <a:pt x="280" y="853"/>
                  </a:moveTo>
                  <a:lnTo>
                    <a:pt x="278" y="853"/>
                  </a:lnTo>
                  <a:lnTo>
                    <a:pt x="280" y="853"/>
                  </a:lnTo>
                  <a:close/>
                  <a:moveTo>
                    <a:pt x="290" y="853"/>
                  </a:moveTo>
                  <a:lnTo>
                    <a:pt x="287" y="853"/>
                  </a:lnTo>
                  <a:lnTo>
                    <a:pt x="290" y="853"/>
                  </a:lnTo>
                  <a:close/>
                  <a:moveTo>
                    <a:pt x="290" y="853"/>
                  </a:moveTo>
                  <a:lnTo>
                    <a:pt x="287" y="853"/>
                  </a:lnTo>
                  <a:lnTo>
                    <a:pt x="290" y="850"/>
                  </a:lnTo>
                  <a:lnTo>
                    <a:pt x="290" y="853"/>
                  </a:lnTo>
                  <a:close/>
                  <a:moveTo>
                    <a:pt x="264" y="850"/>
                  </a:moveTo>
                  <a:lnTo>
                    <a:pt x="264" y="853"/>
                  </a:lnTo>
                  <a:lnTo>
                    <a:pt x="264" y="850"/>
                  </a:lnTo>
                  <a:close/>
                  <a:moveTo>
                    <a:pt x="287" y="853"/>
                  </a:moveTo>
                  <a:lnTo>
                    <a:pt x="287" y="850"/>
                  </a:lnTo>
                  <a:lnTo>
                    <a:pt x="287" y="853"/>
                  </a:lnTo>
                  <a:close/>
                  <a:moveTo>
                    <a:pt x="285" y="850"/>
                  </a:moveTo>
                  <a:lnTo>
                    <a:pt x="283" y="850"/>
                  </a:lnTo>
                  <a:lnTo>
                    <a:pt x="285" y="850"/>
                  </a:lnTo>
                  <a:close/>
                  <a:moveTo>
                    <a:pt x="285" y="850"/>
                  </a:moveTo>
                  <a:lnTo>
                    <a:pt x="283" y="850"/>
                  </a:lnTo>
                  <a:lnTo>
                    <a:pt x="285" y="850"/>
                  </a:lnTo>
                  <a:close/>
                  <a:moveTo>
                    <a:pt x="285" y="850"/>
                  </a:moveTo>
                  <a:lnTo>
                    <a:pt x="283" y="850"/>
                  </a:lnTo>
                  <a:lnTo>
                    <a:pt x="285" y="850"/>
                  </a:lnTo>
                  <a:close/>
                  <a:moveTo>
                    <a:pt x="290" y="850"/>
                  </a:moveTo>
                  <a:lnTo>
                    <a:pt x="287" y="850"/>
                  </a:lnTo>
                  <a:lnTo>
                    <a:pt x="290" y="850"/>
                  </a:lnTo>
                  <a:close/>
                  <a:moveTo>
                    <a:pt x="268" y="848"/>
                  </a:moveTo>
                  <a:lnTo>
                    <a:pt x="268" y="850"/>
                  </a:lnTo>
                  <a:lnTo>
                    <a:pt x="268" y="848"/>
                  </a:lnTo>
                  <a:close/>
                  <a:moveTo>
                    <a:pt x="287" y="850"/>
                  </a:moveTo>
                  <a:lnTo>
                    <a:pt x="285" y="850"/>
                  </a:lnTo>
                  <a:lnTo>
                    <a:pt x="285" y="848"/>
                  </a:lnTo>
                  <a:lnTo>
                    <a:pt x="287" y="848"/>
                  </a:lnTo>
                  <a:lnTo>
                    <a:pt x="287" y="850"/>
                  </a:lnTo>
                  <a:close/>
                  <a:moveTo>
                    <a:pt x="264" y="850"/>
                  </a:moveTo>
                  <a:lnTo>
                    <a:pt x="264" y="848"/>
                  </a:lnTo>
                  <a:lnTo>
                    <a:pt x="264" y="850"/>
                  </a:lnTo>
                  <a:close/>
                  <a:moveTo>
                    <a:pt x="268" y="848"/>
                  </a:moveTo>
                  <a:lnTo>
                    <a:pt x="268" y="850"/>
                  </a:lnTo>
                  <a:lnTo>
                    <a:pt x="268" y="848"/>
                  </a:lnTo>
                  <a:close/>
                  <a:moveTo>
                    <a:pt x="264" y="848"/>
                  </a:moveTo>
                  <a:lnTo>
                    <a:pt x="261" y="850"/>
                  </a:lnTo>
                  <a:lnTo>
                    <a:pt x="261" y="848"/>
                  </a:lnTo>
                  <a:lnTo>
                    <a:pt x="264" y="848"/>
                  </a:lnTo>
                  <a:close/>
                  <a:moveTo>
                    <a:pt x="264" y="848"/>
                  </a:moveTo>
                  <a:lnTo>
                    <a:pt x="261" y="848"/>
                  </a:lnTo>
                  <a:lnTo>
                    <a:pt x="264" y="848"/>
                  </a:lnTo>
                  <a:close/>
                  <a:moveTo>
                    <a:pt x="285" y="848"/>
                  </a:moveTo>
                  <a:lnTo>
                    <a:pt x="283" y="848"/>
                  </a:lnTo>
                  <a:lnTo>
                    <a:pt x="285" y="848"/>
                  </a:lnTo>
                  <a:close/>
                  <a:moveTo>
                    <a:pt x="264" y="848"/>
                  </a:moveTo>
                  <a:lnTo>
                    <a:pt x="261" y="848"/>
                  </a:lnTo>
                  <a:lnTo>
                    <a:pt x="264" y="848"/>
                  </a:lnTo>
                  <a:close/>
                  <a:moveTo>
                    <a:pt x="283" y="848"/>
                  </a:moveTo>
                  <a:lnTo>
                    <a:pt x="285" y="848"/>
                  </a:lnTo>
                  <a:lnTo>
                    <a:pt x="283" y="848"/>
                  </a:lnTo>
                  <a:close/>
                  <a:moveTo>
                    <a:pt x="297" y="848"/>
                  </a:moveTo>
                  <a:lnTo>
                    <a:pt x="295" y="848"/>
                  </a:lnTo>
                  <a:lnTo>
                    <a:pt x="297" y="848"/>
                  </a:lnTo>
                  <a:close/>
                  <a:moveTo>
                    <a:pt x="285" y="848"/>
                  </a:moveTo>
                  <a:lnTo>
                    <a:pt x="287" y="848"/>
                  </a:lnTo>
                  <a:lnTo>
                    <a:pt x="285" y="848"/>
                  </a:lnTo>
                  <a:close/>
                  <a:moveTo>
                    <a:pt x="287" y="848"/>
                  </a:moveTo>
                  <a:lnTo>
                    <a:pt x="285" y="848"/>
                  </a:lnTo>
                  <a:lnTo>
                    <a:pt x="287" y="848"/>
                  </a:lnTo>
                  <a:close/>
                  <a:moveTo>
                    <a:pt x="297" y="848"/>
                  </a:moveTo>
                  <a:lnTo>
                    <a:pt x="297" y="846"/>
                  </a:lnTo>
                  <a:lnTo>
                    <a:pt x="297" y="848"/>
                  </a:lnTo>
                  <a:close/>
                  <a:moveTo>
                    <a:pt x="287" y="846"/>
                  </a:moveTo>
                  <a:lnTo>
                    <a:pt x="287" y="848"/>
                  </a:lnTo>
                  <a:lnTo>
                    <a:pt x="287" y="846"/>
                  </a:lnTo>
                  <a:close/>
                  <a:moveTo>
                    <a:pt x="287" y="848"/>
                  </a:moveTo>
                  <a:lnTo>
                    <a:pt x="287" y="846"/>
                  </a:lnTo>
                  <a:lnTo>
                    <a:pt x="287" y="848"/>
                  </a:lnTo>
                  <a:close/>
                  <a:moveTo>
                    <a:pt x="287" y="846"/>
                  </a:moveTo>
                  <a:lnTo>
                    <a:pt x="287" y="848"/>
                  </a:lnTo>
                  <a:lnTo>
                    <a:pt x="287" y="846"/>
                  </a:lnTo>
                  <a:close/>
                  <a:moveTo>
                    <a:pt x="287" y="846"/>
                  </a:moveTo>
                  <a:lnTo>
                    <a:pt x="285" y="846"/>
                  </a:lnTo>
                  <a:lnTo>
                    <a:pt x="287" y="846"/>
                  </a:lnTo>
                  <a:close/>
                  <a:moveTo>
                    <a:pt x="287" y="846"/>
                  </a:moveTo>
                  <a:lnTo>
                    <a:pt x="287" y="848"/>
                  </a:lnTo>
                  <a:lnTo>
                    <a:pt x="287" y="846"/>
                  </a:lnTo>
                  <a:close/>
                  <a:moveTo>
                    <a:pt x="271" y="848"/>
                  </a:moveTo>
                  <a:lnTo>
                    <a:pt x="271" y="846"/>
                  </a:lnTo>
                  <a:lnTo>
                    <a:pt x="271" y="848"/>
                  </a:lnTo>
                  <a:close/>
                  <a:moveTo>
                    <a:pt x="285" y="846"/>
                  </a:moveTo>
                  <a:lnTo>
                    <a:pt x="285" y="848"/>
                  </a:lnTo>
                  <a:lnTo>
                    <a:pt x="285" y="846"/>
                  </a:lnTo>
                  <a:close/>
                  <a:moveTo>
                    <a:pt x="273" y="848"/>
                  </a:moveTo>
                  <a:lnTo>
                    <a:pt x="273" y="846"/>
                  </a:lnTo>
                  <a:lnTo>
                    <a:pt x="273" y="848"/>
                  </a:lnTo>
                  <a:close/>
                  <a:moveTo>
                    <a:pt x="285" y="846"/>
                  </a:moveTo>
                  <a:lnTo>
                    <a:pt x="285" y="848"/>
                  </a:lnTo>
                  <a:lnTo>
                    <a:pt x="285" y="846"/>
                  </a:lnTo>
                  <a:close/>
                  <a:moveTo>
                    <a:pt x="273" y="846"/>
                  </a:moveTo>
                  <a:lnTo>
                    <a:pt x="271" y="846"/>
                  </a:lnTo>
                  <a:lnTo>
                    <a:pt x="273" y="846"/>
                  </a:lnTo>
                  <a:close/>
                  <a:moveTo>
                    <a:pt x="299" y="846"/>
                  </a:moveTo>
                  <a:lnTo>
                    <a:pt x="297" y="846"/>
                  </a:lnTo>
                  <a:lnTo>
                    <a:pt x="299" y="846"/>
                  </a:lnTo>
                  <a:close/>
                  <a:moveTo>
                    <a:pt x="283" y="846"/>
                  </a:moveTo>
                  <a:lnTo>
                    <a:pt x="280" y="846"/>
                  </a:lnTo>
                  <a:lnTo>
                    <a:pt x="283" y="846"/>
                  </a:lnTo>
                  <a:close/>
                  <a:moveTo>
                    <a:pt x="285" y="846"/>
                  </a:moveTo>
                  <a:lnTo>
                    <a:pt x="283" y="846"/>
                  </a:lnTo>
                  <a:lnTo>
                    <a:pt x="285" y="846"/>
                  </a:lnTo>
                  <a:close/>
                  <a:moveTo>
                    <a:pt x="283" y="846"/>
                  </a:moveTo>
                  <a:lnTo>
                    <a:pt x="280" y="846"/>
                  </a:lnTo>
                  <a:lnTo>
                    <a:pt x="283" y="846"/>
                  </a:lnTo>
                  <a:close/>
                  <a:moveTo>
                    <a:pt x="292" y="846"/>
                  </a:moveTo>
                  <a:lnTo>
                    <a:pt x="290" y="846"/>
                  </a:lnTo>
                  <a:lnTo>
                    <a:pt x="292" y="846"/>
                  </a:lnTo>
                  <a:close/>
                  <a:moveTo>
                    <a:pt x="280" y="846"/>
                  </a:moveTo>
                  <a:lnTo>
                    <a:pt x="283" y="846"/>
                  </a:lnTo>
                  <a:lnTo>
                    <a:pt x="280" y="846"/>
                  </a:lnTo>
                  <a:close/>
                  <a:moveTo>
                    <a:pt x="287" y="846"/>
                  </a:moveTo>
                  <a:lnTo>
                    <a:pt x="287" y="843"/>
                  </a:lnTo>
                  <a:lnTo>
                    <a:pt x="287" y="846"/>
                  </a:lnTo>
                  <a:close/>
                  <a:moveTo>
                    <a:pt x="280" y="846"/>
                  </a:moveTo>
                  <a:lnTo>
                    <a:pt x="280" y="843"/>
                  </a:lnTo>
                  <a:lnTo>
                    <a:pt x="280" y="846"/>
                  </a:lnTo>
                  <a:close/>
                  <a:moveTo>
                    <a:pt x="290" y="843"/>
                  </a:moveTo>
                  <a:lnTo>
                    <a:pt x="290" y="846"/>
                  </a:lnTo>
                  <a:lnTo>
                    <a:pt x="290" y="843"/>
                  </a:lnTo>
                  <a:lnTo>
                    <a:pt x="290" y="846"/>
                  </a:lnTo>
                  <a:lnTo>
                    <a:pt x="290" y="843"/>
                  </a:lnTo>
                  <a:close/>
                  <a:moveTo>
                    <a:pt x="292" y="846"/>
                  </a:moveTo>
                  <a:lnTo>
                    <a:pt x="292" y="843"/>
                  </a:lnTo>
                  <a:lnTo>
                    <a:pt x="292" y="846"/>
                  </a:lnTo>
                  <a:close/>
                  <a:moveTo>
                    <a:pt x="292" y="843"/>
                  </a:moveTo>
                  <a:lnTo>
                    <a:pt x="290" y="843"/>
                  </a:lnTo>
                  <a:lnTo>
                    <a:pt x="292" y="843"/>
                  </a:lnTo>
                  <a:close/>
                  <a:moveTo>
                    <a:pt x="304" y="843"/>
                  </a:moveTo>
                  <a:lnTo>
                    <a:pt x="302" y="843"/>
                  </a:lnTo>
                  <a:lnTo>
                    <a:pt x="304" y="843"/>
                  </a:lnTo>
                  <a:close/>
                  <a:moveTo>
                    <a:pt x="295" y="843"/>
                  </a:moveTo>
                  <a:lnTo>
                    <a:pt x="295" y="841"/>
                  </a:lnTo>
                  <a:lnTo>
                    <a:pt x="295" y="843"/>
                  </a:lnTo>
                  <a:close/>
                  <a:moveTo>
                    <a:pt x="295" y="843"/>
                  </a:moveTo>
                  <a:lnTo>
                    <a:pt x="295" y="841"/>
                  </a:lnTo>
                  <a:lnTo>
                    <a:pt x="295" y="843"/>
                  </a:lnTo>
                  <a:close/>
                  <a:moveTo>
                    <a:pt x="295" y="839"/>
                  </a:moveTo>
                  <a:lnTo>
                    <a:pt x="292" y="839"/>
                  </a:lnTo>
                  <a:lnTo>
                    <a:pt x="292" y="841"/>
                  </a:lnTo>
                  <a:lnTo>
                    <a:pt x="292" y="839"/>
                  </a:lnTo>
                  <a:lnTo>
                    <a:pt x="295" y="839"/>
                  </a:lnTo>
                  <a:close/>
                  <a:moveTo>
                    <a:pt x="297" y="839"/>
                  </a:moveTo>
                  <a:lnTo>
                    <a:pt x="295" y="839"/>
                  </a:lnTo>
                  <a:lnTo>
                    <a:pt x="297" y="839"/>
                  </a:lnTo>
                  <a:close/>
                  <a:moveTo>
                    <a:pt x="290" y="836"/>
                  </a:moveTo>
                  <a:lnTo>
                    <a:pt x="290" y="839"/>
                  </a:lnTo>
                  <a:lnTo>
                    <a:pt x="290" y="836"/>
                  </a:lnTo>
                  <a:close/>
                  <a:moveTo>
                    <a:pt x="285" y="834"/>
                  </a:moveTo>
                  <a:lnTo>
                    <a:pt x="285" y="836"/>
                  </a:lnTo>
                  <a:lnTo>
                    <a:pt x="285" y="834"/>
                  </a:lnTo>
                  <a:close/>
                  <a:moveTo>
                    <a:pt x="302" y="834"/>
                  </a:moveTo>
                  <a:lnTo>
                    <a:pt x="304" y="834"/>
                  </a:lnTo>
                  <a:lnTo>
                    <a:pt x="302" y="834"/>
                  </a:lnTo>
                  <a:close/>
                  <a:moveTo>
                    <a:pt x="304" y="831"/>
                  </a:moveTo>
                  <a:lnTo>
                    <a:pt x="304" y="834"/>
                  </a:lnTo>
                  <a:lnTo>
                    <a:pt x="304" y="831"/>
                  </a:lnTo>
                  <a:close/>
                  <a:moveTo>
                    <a:pt x="306" y="831"/>
                  </a:moveTo>
                  <a:lnTo>
                    <a:pt x="304" y="831"/>
                  </a:lnTo>
                  <a:lnTo>
                    <a:pt x="306" y="831"/>
                  </a:lnTo>
                  <a:close/>
                  <a:moveTo>
                    <a:pt x="304" y="831"/>
                  </a:moveTo>
                  <a:lnTo>
                    <a:pt x="302" y="831"/>
                  </a:lnTo>
                  <a:lnTo>
                    <a:pt x="304" y="831"/>
                  </a:lnTo>
                  <a:lnTo>
                    <a:pt x="302" y="831"/>
                  </a:lnTo>
                  <a:lnTo>
                    <a:pt x="304" y="831"/>
                  </a:lnTo>
                  <a:close/>
                  <a:moveTo>
                    <a:pt x="302" y="831"/>
                  </a:moveTo>
                  <a:lnTo>
                    <a:pt x="304" y="831"/>
                  </a:lnTo>
                  <a:lnTo>
                    <a:pt x="302" y="831"/>
                  </a:lnTo>
                  <a:close/>
                  <a:moveTo>
                    <a:pt x="306" y="829"/>
                  </a:moveTo>
                  <a:lnTo>
                    <a:pt x="306" y="831"/>
                  </a:lnTo>
                  <a:lnTo>
                    <a:pt x="306" y="829"/>
                  </a:lnTo>
                  <a:close/>
                  <a:moveTo>
                    <a:pt x="309" y="829"/>
                  </a:moveTo>
                  <a:lnTo>
                    <a:pt x="306" y="829"/>
                  </a:lnTo>
                  <a:lnTo>
                    <a:pt x="309" y="829"/>
                  </a:lnTo>
                  <a:close/>
                  <a:moveTo>
                    <a:pt x="309" y="829"/>
                  </a:moveTo>
                  <a:lnTo>
                    <a:pt x="306" y="829"/>
                  </a:lnTo>
                  <a:lnTo>
                    <a:pt x="309" y="829"/>
                  </a:lnTo>
                  <a:lnTo>
                    <a:pt x="306" y="829"/>
                  </a:lnTo>
                  <a:lnTo>
                    <a:pt x="309" y="829"/>
                  </a:lnTo>
                  <a:close/>
                  <a:moveTo>
                    <a:pt x="314" y="829"/>
                  </a:moveTo>
                  <a:lnTo>
                    <a:pt x="311" y="829"/>
                  </a:lnTo>
                  <a:lnTo>
                    <a:pt x="314" y="829"/>
                  </a:lnTo>
                  <a:close/>
                  <a:moveTo>
                    <a:pt x="314" y="829"/>
                  </a:moveTo>
                  <a:lnTo>
                    <a:pt x="311" y="829"/>
                  </a:lnTo>
                  <a:lnTo>
                    <a:pt x="314" y="829"/>
                  </a:lnTo>
                  <a:close/>
                  <a:moveTo>
                    <a:pt x="314" y="829"/>
                  </a:moveTo>
                  <a:lnTo>
                    <a:pt x="314" y="827"/>
                  </a:lnTo>
                  <a:lnTo>
                    <a:pt x="314" y="829"/>
                  </a:lnTo>
                  <a:close/>
                  <a:moveTo>
                    <a:pt x="314" y="829"/>
                  </a:moveTo>
                  <a:lnTo>
                    <a:pt x="314" y="827"/>
                  </a:lnTo>
                  <a:lnTo>
                    <a:pt x="314" y="829"/>
                  </a:lnTo>
                  <a:close/>
                  <a:moveTo>
                    <a:pt x="306" y="827"/>
                  </a:moveTo>
                  <a:lnTo>
                    <a:pt x="304" y="827"/>
                  </a:lnTo>
                  <a:lnTo>
                    <a:pt x="306" y="827"/>
                  </a:lnTo>
                  <a:close/>
                  <a:moveTo>
                    <a:pt x="304" y="827"/>
                  </a:moveTo>
                  <a:lnTo>
                    <a:pt x="306" y="827"/>
                  </a:lnTo>
                  <a:lnTo>
                    <a:pt x="304" y="827"/>
                  </a:lnTo>
                  <a:close/>
                  <a:moveTo>
                    <a:pt x="314" y="827"/>
                  </a:moveTo>
                  <a:lnTo>
                    <a:pt x="311" y="827"/>
                  </a:lnTo>
                  <a:lnTo>
                    <a:pt x="314" y="827"/>
                  </a:lnTo>
                  <a:close/>
                  <a:moveTo>
                    <a:pt x="306" y="827"/>
                  </a:moveTo>
                  <a:lnTo>
                    <a:pt x="304" y="827"/>
                  </a:lnTo>
                  <a:lnTo>
                    <a:pt x="306" y="827"/>
                  </a:lnTo>
                  <a:close/>
                  <a:moveTo>
                    <a:pt x="306" y="827"/>
                  </a:moveTo>
                  <a:lnTo>
                    <a:pt x="306" y="824"/>
                  </a:lnTo>
                  <a:lnTo>
                    <a:pt x="306" y="827"/>
                  </a:lnTo>
                  <a:close/>
                  <a:moveTo>
                    <a:pt x="306" y="827"/>
                  </a:moveTo>
                  <a:lnTo>
                    <a:pt x="306" y="824"/>
                  </a:lnTo>
                  <a:lnTo>
                    <a:pt x="306" y="827"/>
                  </a:lnTo>
                  <a:close/>
                  <a:moveTo>
                    <a:pt x="304" y="827"/>
                  </a:moveTo>
                  <a:lnTo>
                    <a:pt x="304" y="824"/>
                  </a:lnTo>
                  <a:lnTo>
                    <a:pt x="304" y="827"/>
                  </a:lnTo>
                  <a:close/>
                  <a:moveTo>
                    <a:pt x="306" y="827"/>
                  </a:moveTo>
                  <a:lnTo>
                    <a:pt x="306" y="824"/>
                  </a:lnTo>
                  <a:lnTo>
                    <a:pt x="306" y="827"/>
                  </a:lnTo>
                  <a:close/>
                  <a:moveTo>
                    <a:pt x="304" y="824"/>
                  </a:moveTo>
                  <a:lnTo>
                    <a:pt x="304" y="827"/>
                  </a:lnTo>
                  <a:lnTo>
                    <a:pt x="304" y="824"/>
                  </a:lnTo>
                  <a:close/>
                  <a:moveTo>
                    <a:pt x="306" y="824"/>
                  </a:moveTo>
                  <a:lnTo>
                    <a:pt x="306" y="827"/>
                  </a:lnTo>
                  <a:lnTo>
                    <a:pt x="306" y="824"/>
                  </a:lnTo>
                  <a:close/>
                  <a:moveTo>
                    <a:pt x="304" y="824"/>
                  </a:moveTo>
                  <a:lnTo>
                    <a:pt x="306" y="824"/>
                  </a:lnTo>
                  <a:lnTo>
                    <a:pt x="306" y="827"/>
                  </a:lnTo>
                  <a:lnTo>
                    <a:pt x="304" y="824"/>
                  </a:lnTo>
                  <a:close/>
                  <a:moveTo>
                    <a:pt x="306" y="824"/>
                  </a:moveTo>
                  <a:lnTo>
                    <a:pt x="309" y="824"/>
                  </a:lnTo>
                  <a:lnTo>
                    <a:pt x="306" y="824"/>
                  </a:lnTo>
                  <a:close/>
                  <a:moveTo>
                    <a:pt x="304" y="824"/>
                  </a:moveTo>
                  <a:lnTo>
                    <a:pt x="306" y="824"/>
                  </a:lnTo>
                  <a:lnTo>
                    <a:pt x="304" y="824"/>
                  </a:lnTo>
                  <a:close/>
                  <a:moveTo>
                    <a:pt x="304" y="824"/>
                  </a:moveTo>
                  <a:lnTo>
                    <a:pt x="306" y="824"/>
                  </a:lnTo>
                  <a:lnTo>
                    <a:pt x="304" y="824"/>
                  </a:lnTo>
                  <a:close/>
                  <a:moveTo>
                    <a:pt x="344" y="824"/>
                  </a:moveTo>
                  <a:lnTo>
                    <a:pt x="344" y="822"/>
                  </a:lnTo>
                  <a:lnTo>
                    <a:pt x="344" y="824"/>
                  </a:lnTo>
                  <a:close/>
                  <a:moveTo>
                    <a:pt x="314" y="822"/>
                  </a:moveTo>
                  <a:lnTo>
                    <a:pt x="311" y="822"/>
                  </a:lnTo>
                  <a:lnTo>
                    <a:pt x="314" y="822"/>
                  </a:lnTo>
                  <a:close/>
                  <a:moveTo>
                    <a:pt x="311" y="822"/>
                  </a:moveTo>
                  <a:lnTo>
                    <a:pt x="314" y="822"/>
                  </a:lnTo>
                  <a:lnTo>
                    <a:pt x="311" y="822"/>
                  </a:lnTo>
                  <a:close/>
                  <a:moveTo>
                    <a:pt x="314" y="822"/>
                  </a:moveTo>
                  <a:lnTo>
                    <a:pt x="311" y="822"/>
                  </a:lnTo>
                  <a:lnTo>
                    <a:pt x="314" y="822"/>
                  </a:lnTo>
                  <a:close/>
                  <a:moveTo>
                    <a:pt x="335" y="822"/>
                  </a:moveTo>
                  <a:lnTo>
                    <a:pt x="332" y="822"/>
                  </a:lnTo>
                  <a:lnTo>
                    <a:pt x="335" y="822"/>
                  </a:lnTo>
                  <a:close/>
                  <a:moveTo>
                    <a:pt x="311" y="822"/>
                  </a:moveTo>
                  <a:lnTo>
                    <a:pt x="314" y="822"/>
                  </a:lnTo>
                  <a:lnTo>
                    <a:pt x="311" y="822"/>
                  </a:lnTo>
                  <a:close/>
                  <a:moveTo>
                    <a:pt x="314" y="822"/>
                  </a:moveTo>
                  <a:lnTo>
                    <a:pt x="311" y="822"/>
                  </a:lnTo>
                  <a:lnTo>
                    <a:pt x="314" y="822"/>
                  </a:lnTo>
                  <a:close/>
                  <a:moveTo>
                    <a:pt x="314" y="822"/>
                  </a:moveTo>
                  <a:lnTo>
                    <a:pt x="311" y="822"/>
                  </a:lnTo>
                  <a:lnTo>
                    <a:pt x="314" y="822"/>
                  </a:lnTo>
                  <a:close/>
                  <a:moveTo>
                    <a:pt x="316" y="822"/>
                  </a:moveTo>
                  <a:lnTo>
                    <a:pt x="316" y="820"/>
                  </a:lnTo>
                  <a:lnTo>
                    <a:pt x="316" y="822"/>
                  </a:lnTo>
                  <a:close/>
                  <a:moveTo>
                    <a:pt x="304" y="817"/>
                  </a:moveTo>
                  <a:lnTo>
                    <a:pt x="304" y="820"/>
                  </a:lnTo>
                  <a:lnTo>
                    <a:pt x="304" y="817"/>
                  </a:lnTo>
                  <a:close/>
                  <a:moveTo>
                    <a:pt x="297" y="817"/>
                  </a:moveTo>
                  <a:lnTo>
                    <a:pt x="297" y="820"/>
                  </a:lnTo>
                  <a:lnTo>
                    <a:pt x="297" y="817"/>
                  </a:lnTo>
                  <a:close/>
                  <a:moveTo>
                    <a:pt x="304" y="817"/>
                  </a:moveTo>
                  <a:lnTo>
                    <a:pt x="304" y="820"/>
                  </a:lnTo>
                  <a:lnTo>
                    <a:pt x="304" y="817"/>
                  </a:lnTo>
                  <a:close/>
                  <a:moveTo>
                    <a:pt x="304" y="817"/>
                  </a:moveTo>
                  <a:lnTo>
                    <a:pt x="304" y="820"/>
                  </a:lnTo>
                  <a:lnTo>
                    <a:pt x="304" y="817"/>
                  </a:lnTo>
                  <a:close/>
                  <a:moveTo>
                    <a:pt x="299" y="817"/>
                  </a:moveTo>
                  <a:lnTo>
                    <a:pt x="297" y="817"/>
                  </a:lnTo>
                  <a:lnTo>
                    <a:pt x="299" y="817"/>
                  </a:lnTo>
                  <a:close/>
                  <a:moveTo>
                    <a:pt x="325" y="817"/>
                  </a:moveTo>
                  <a:lnTo>
                    <a:pt x="323" y="817"/>
                  </a:lnTo>
                  <a:lnTo>
                    <a:pt x="325" y="817"/>
                  </a:lnTo>
                  <a:close/>
                  <a:moveTo>
                    <a:pt x="314" y="817"/>
                  </a:moveTo>
                  <a:lnTo>
                    <a:pt x="316" y="817"/>
                  </a:lnTo>
                  <a:lnTo>
                    <a:pt x="314" y="817"/>
                  </a:lnTo>
                  <a:close/>
                  <a:moveTo>
                    <a:pt x="316" y="817"/>
                  </a:moveTo>
                  <a:lnTo>
                    <a:pt x="314" y="817"/>
                  </a:lnTo>
                  <a:lnTo>
                    <a:pt x="316" y="817"/>
                  </a:lnTo>
                  <a:close/>
                  <a:moveTo>
                    <a:pt x="304" y="817"/>
                  </a:moveTo>
                  <a:lnTo>
                    <a:pt x="306" y="817"/>
                  </a:lnTo>
                  <a:lnTo>
                    <a:pt x="304" y="817"/>
                  </a:lnTo>
                  <a:close/>
                  <a:moveTo>
                    <a:pt x="321" y="817"/>
                  </a:moveTo>
                  <a:lnTo>
                    <a:pt x="318" y="817"/>
                  </a:lnTo>
                  <a:lnTo>
                    <a:pt x="321" y="817"/>
                  </a:lnTo>
                  <a:close/>
                  <a:moveTo>
                    <a:pt x="332" y="815"/>
                  </a:moveTo>
                  <a:lnTo>
                    <a:pt x="330" y="815"/>
                  </a:lnTo>
                  <a:lnTo>
                    <a:pt x="332" y="815"/>
                  </a:lnTo>
                  <a:close/>
                  <a:moveTo>
                    <a:pt x="330" y="815"/>
                  </a:moveTo>
                  <a:lnTo>
                    <a:pt x="330" y="812"/>
                  </a:lnTo>
                  <a:lnTo>
                    <a:pt x="330" y="815"/>
                  </a:lnTo>
                  <a:close/>
                  <a:moveTo>
                    <a:pt x="321" y="815"/>
                  </a:moveTo>
                  <a:lnTo>
                    <a:pt x="321" y="812"/>
                  </a:lnTo>
                  <a:lnTo>
                    <a:pt x="321" y="815"/>
                  </a:lnTo>
                  <a:close/>
                  <a:moveTo>
                    <a:pt x="330" y="815"/>
                  </a:moveTo>
                  <a:lnTo>
                    <a:pt x="330" y="812"/>
                  </a:lnTo>
                  <a:lnTo>
                    <a:pt x="330" y="815"/>
                  </a:lnTo>
                  <a:close/>
                  <a:moveTo>
                    <a:pt x="325" y="812"/>
                  </a:moveTo>
                  <a:lnTo>
                    <a:pt x="325" y="815"/>
                  </a:lnTo>
                  <a:lnTo>
                    <a:pt x="325" y="812"/>
                  </a:lnTo>
                  <a:close/>
                  <a:moveTo>
                    <a:pt x="323" y="812"/>
                  </a:moveTo>
                  <a:lnTo>
                    <a:pt x="323" y="815"/>
                  </a:lnTo>
                  <a:lnTo>
                    <a:pt x="323" y="812"/>
                  </a:lnTo>
                  <a:close/>
                  <a:moveTo>
                    <a:pt x="330" y="812"/>
                  </a:moveTo>
                  <a:lnTo>
                    <a:pt x="328" y="812"/>
                  </a:lnTo>
                  <a:lnTo>
                    <a:pt x="330" y="812"/>
                  </a:lnTo>
                  <a:close/>
                  <a:moveTo>
                    <a:pt x="309" y="812"/>
                  </a:moveTo>
                  <a:lnTo>
                    <a:pt x="311" y="812"/>
                  </a:lnTo>
                  <a:lnTo>
                    <a:pt x="309" y="812"/>
                  </a:lnTo>
                  <a:close/>
                  <a:moveTo>
                    <a:pt x="311" y="812"/>
                  </a:moveTo>
                  <a:lnTo>
                    <a:pt x="309" y="812"/>
                  </a:lnTo>
                  <a:lnTo>
                    <a:pt x="311" y="812"/>
                  </a:lnTo>
                  <a:close/>
                  <a:moveTo>
                    <a:pt x="314" y="812"/>
                  </a:moveTo>
                  <a:lnTo>
                    <a:pt x="311" y="812"/>
                  </a:lnTo>
                  <a:lnTo>
                    <a:pt x="314" y="812"/>
                  </a:lnTo>
                  <a:close/>
                  <a:moveTo>
                    <a:pt x="335" y="812"/>
                  </a:moveTo>
                  <a:lnTo>
                    <a:pt x="335" y="810"/>
                  </a:lnTo>
                  <a:lnTo>
                    <a:pt x="335" y="812"/>
                  </a:lnTo>
                  <a:close/>
                  <a:moveTo>
                    <a:pt x="309" y="812"/>
                  </a:moveTo>
                  <a:lnTo>
                    <a:pt x="309" y="810"/>
                  </a:lnTo>
                  <a:lnTo>
                    <a:pt x="309" y="812"/>
                  </a:lnTo>
                  <a:close/>
                  <a:moveTo>
                    <a:pt x="311" y="810"/>
                  </a:moveTo>
                  <a:lnTo>
                    <a:pt x="311" y="812"/>
                  </a:lnTo>
                  <a:lnTo>
                    <a:pt x="311" y="810"/>
                  </a:lnTo>
                  <a:close/>
                  <a:moveTo>
                    <a:pt x="309" y="810"/>
                  </a:moveTo>
                  <a:lnTo>
                    <a:pt x="309" y="812"/>
                  </a:lnTo>
                  <a:lnTo>
                    <a:pt x="309" y="810"/>
                  </a:lnTo>
                  <a:close/>
                  <a:moveTo>
                    <a:pt x="328" y="812"/>
                  </a:moveTo>
                  <a:lnTo>
                    <a:pt x="328" y="810"/>
                  </a:lnTo>
                  <a:lnTo>
                    <a:pt x="328" y="812"/>
                  </a:lnTo>
                  <a:close/>
                  <a:moveTo>
                    <a:pt x="316" y="812"/>
                  </a:moveTo>
                  <a:lnTo>
                    <a:pt x="314" y="812"/>
                  </a:lnTo>
                  <a:lnTo>
                    <a:pt x="316" y="810"/>
                  </a:lnTo>
                  <a:lnTo>
                    <a:pt x="316" y="812"/>
                  </a:lnTo>
                  <a:close/>
                  <a:moveTo>
                    <a:pt x="318" y="810"/>
                  </a:moveTo>
                  <a:lnTo>
                    <a:pt x="316" y="810"/>
                  </a:lnTo>
                  <a:lnTo>
                    <a:pt x="318" y="808"/>
                  </a:lnTo>
                  <a:lnTo>
                    <a:pt x="318" y="810"/>
                  </a:lnTo>
                  <a:close/>
                  <a:moveTo>
                    <a:pt x="316" y="810"/>
                  </a:moveTo>
                  <a:lnTo>
                    <a:pt x="316" y="808"/>
                  </a:lnTo>
                  <a:lnTo>
                    <a:pt x="316" y="810"/>
                  </a:lnTo>
                  <a:close/>
                  <a:moveTo>
                    <a:pt x="316" y="810"/>
                  </a:moveTo>
                  <a:lnTo>
                    <a:pt x="316" y="808"/>
                  </a:lnTo>
                  <a:lnTo>
                    <a:pt x="316" y="810"/>
                  </a:lnTo>
                  <a:close/>
                  <a:moveTo>
                    <a:pt x="316" y="810"/>
                  </a:moveTo>
                  <a:lnTo>
                    <a:pt x="316" y="808"/>
                  </a:lnTo>
                  <a:lnTo>
                    <a:pt x="316" y="810"/>
                  </a:lnTo>
                  <a:close/>
                  <a:moveTo>
                    <a:pt x="335" y="808"/>
                  </a:moveTo>
                  <a:lnTo>
                    <a:pt x="335" y="810"/>
                  </a:lnTo>
                  <a:lnTo>
                    <a:pt x="335" y="808"/>
                  </a:lnTo>
                  <a:close/>
                  <a:moveTo>
                    <a:pt x="337" y="808"/>
                  </a:moveTo>
                  <a:lnTo>
                    <a:pt x="335" y="808"/>
                  </a:lnTo>
                  <a:lnTo>
                    <a:pt x="337" y="808"/>
                  </a:lnTo>
                  <a:close/>
                  <a:moveTo>
                    <a:pt x="356" y="805"/>
                  </a:moveTo>
                  <a:lnTo>
                    <a:pt x="356" y="808"/>
                  </a:lnTo>
                  <a:lnTo>
                    <a:pt x="354" y="808"/>
                  </a:lnTo>
                  <a:lnTo>
                    <a:pt x="356" y="805"/>
                  </a:lnTo>
                  <a:close/>
                  <a:moveTo>
                    <a:pt x="337" y="805"/>
                  </a:moveTo>
                  <a:lnTo>
                    <a:pt x="337" y="808"/>
                  </a:lnTo>
                  <a:lnTo>
                    <a:pt x="337" y="805"/>
                  </a:lnTo>
                  <a:close/>
                  <a:moveTo>
                    <a:pt x="337" y="805"/>
                  </a:moveTo>
                  <a:lnTo>
                    <a:pt x="335" y="805"/>
                  </a:lnTo>
                  <a:lnTo>
                    <a:pt x="337" y="805"/>
                  </a:lnTo>
                  <a:close/>
                  <a:moveTo>
                    <a:pt x="335" y="805"/>
                  </a:moveTo>
                  <a:lnTo>
                    <a:pt x="332" y="805"/>
                  </a:lnTo>
                  <a:lnTo>
                    <a:pt x="335" y="805"/>
                  </a:lnTo>
                  <a:close/>
                  <a:moveTo>
                    <a:pt x="335" y="805"/>
                  </a:moveTo>
                  <a:lnTo>
                    <a:pt x="332" y="805"/>
                  </a:lnTo>
                  <a:lnTo>
                    <a:pt x="335" y="805"/>
                  </a:lnTo>
                  <a:close/>
                  <a:moveTo>
                    <a:pt x="335" y="805"/>
                  </a:moveTo>
                  <a:lnTo>
                    <a:pt x="335" y="803"/>
                  </a:lnTo>
                  <a:lnTo>
                    <a:pt x="335" y="805"/>
                  </a:lnTo>
                  <a:close/>
                  <a:moveTo>
                    <a:pt x="335" y="803"/>
                  </a:moveTo>
                  <a:lnTo>
                    <a:pt x="335" y="805"/>
                  </a:lnTo>
                  <a:lnTo>
                    <a:pt x="332" y="805"/>
                  </a:lnTo>
                  <a:lnTo>
                    <a:pt x="332" y="803"/>
                  </a:lnTo>
                  <a:lnTo>
                    <a:pt x="335" y="803"/>
                  </a:lnTo>
                  <a:close/>
                  <a:moveTo>
                    <a:pt x="335" y="803"/>
                  </a:moveTo>
                  <a:lnTo>
                    <a:pt x="335" y="805"/>
                  </a:lnTo>
                  <a:lnTo>
                    <a:pt x="335" y="803"/>
                  </a:lnTo>
                  <a:close/>
                  <a:moveTo>
                    <a:pt x="335" y="803"/>
                  </a:moveTo>
                  <a:lnTo>
                    <a:pt x="332" y="803"/>
                  </a:lnTo>
                  <a:lnTo>
                    <a:pt x="335" y="803"/>
                  </a:lnTo>
                  <a:close/>
                  <a:moveTo>
                    <a:pt x="337" y="803"/>
                  </a:moveTo>
                  <a:lnTo>
                    <a:pt x="335" y="803"/>
                  </a:lnTo>
                  <a:lnTo>
                    <a:pt x="337" y="803"/>
                  </a:lnTo>
                  <a:close/>
                  <a:moveTo>
                    <a:pt x="337" y="801"/>
                  </a:moveTo>
                  <a:lnTo>
                    <a:pt x="335" y="801"/>
                  </a:lnTo>
                  <a:lnTo>
                    <a:pt x="337" y="801"/>
                  </a:lnTo>
                  <a:close/>
                  <a:moveTo>
                    <a:pt x="337" y="801"/>
                  </a:moveTo>
                  <a:lnTo>
                    <a:pt x="340" y="801"/>
                  </a:lnTo>
                  <a:lnTo>
                    <a:pt x="337" y="801"/>
                  </a:lnTo>
                  <a:close/>
                  <a:moveTo>
                    <a:pt x="344" y="798"/>
                  </a:moveTo>
                  <a:lnTo>
                    <a:pt x="342" y="798"/>
                  </a:lnTo>
                  <a:lnTo>
                    <a:pt x="344" y="798"/>
                  </a:lnTo>
                  <a:close/>
                  <a:moveTo>
                    <a:pt x="340" y="798"/>
                  </a:moveTo>
                  <a:lnTo>
                    <a:pt x="337" y="798"/>
                  </a:lnTo>
                  <a:lnTo>
                    <a:pt x="340" y="798"/>
                  </a:lnTo>
                  <a:close/>
                  <a:moveTo>
                    <a:pt x="340" y="798"/>
                  </a:moveTo>
                  <a:lnTo>
                    <a:pt x="337" y="798"/>
                  </a:lnTo>
                  <a:lnTo>
                    <a:pt x="340" y="798"/>
                  </a:lnTo>
                  <a:close/>
                  <a:moveTo>
                    <a:pt x="335" y="798"/>
                  </a:moveTo>
                  <a:lnTo>
                    <a:pt x="335" y="796"/>
                  </a:lnTo>
                  <a:lnTo>
                    <a:pt x="335" y="798"/>
                  </a:lnTo>
                  <a:close/>
                  <a:moveTo>
                    <a:pt x="337" y="796"/>
                  </a:moveTo>
                  <a:lnTo>
                    <a:pt x="337" y="798"/>
                  </a:lnTo>
                  <a:lnTo>
                    <a:pt x="337" y="796"/>
                  </a:lnTo>
                  <a:close/>
                  <a:moveTo>
                    <a:pt x="335" y="798"/>
                  </a:moveTo>
                  <a:lnTo>
                    <a:pt x="335" y="796"/>
                  </a:lnTo>
                  <a:lnTo>
                    <a:pt x="335" y="798"/>
                  </a:lnTo>
                  <a:close/>
                  <a:moveTo>
                    <a:pt x="335" y="796"/>
                  </a:moveTo>
                  <a:lnTo>
                    <a:pt x="335" y="798"/>
                  </a:lnTo>
                  <a:lnTo>
                    <a:pt x="335" y="796"/>
                  </a:lnTo>
                  <a:close/>
                  <a:moveTo>
                    <a:pt x="337" y="796"/>
                  </a:moveTo>
                  <a:lnTo>
                    <a:pt x="335" y="796"/>
                  </a:lnTo>
                  <a:lnTo>
                    <a:pt x="337" y="796"/>
                  </a:lnTo>
                  <a:close/>
                  <a:moveTo>
                    <a:pt x="273" y="796"/>
                  </a:moveTo>
                  <a:lnTo>
                    <a:pt x="271" y="796"/>
                  </a:lnTo>
                  <a:lnTo>
                    <a:pt x="273" y="796"/>
                  </a:lnTo>
                  <a:close/>
                  <a:moveTo>
                    <a:pt x="340" y="793"/>
                  </a:moveTo>
                  <a:lnTo>
                    <a:pt x="337" y="793"/>
                  </a:lnTo>
                  <a:lnTo>
                    <a:pt x="340" y="793"/>
                  </a:lnTo>
                  <a:close/>
                  <a:moveTo>
                    <a:pt x="335" y="793"/>
                  </a:moveTo>
                  <a:lnTo>
                    <a:pt x="332" y="793"/>
                  </a:lnTo>
                  <a:lnTo>
                    <a:pt x="335" y="793"/>
                  </a:lnTo>
                  <a:close/>
                  <a:moveTo>
                    <a:pt x="335" y="793"/>
                  </a:moveTo>
                  <a:lnTo>
                    <a:pt x="332" y="793"/>
                  </a:lnTo>
                  <a:lnTo>
                    <a:pt x="335" y="793"/>
                  </a:lnTo>
                  <a:close/>
                  <a:moveTo>
                    <a:pt x="337" y="793"/>
                  </a:moveTo>
                  <a:lnTo>
                    <a:pt x="340" y="793"/>
                  </a:lnTo>
                  <a:lnTo>
                    <a:pt x="337" y="793"/>
                  </a:lnTo>
                  <a:close/>
                  <a:moveTo>
                    <a:pt x="332" y="793"/>
                  </a:moveTo>
                  <a:lnTo>
                    <a:pt x="332" y="791"/>
                  </a:lnTo>
                  <a:lnTo>
                    <a:pt x="332" y="793"/>
                  </a:lnTo>
                  <a:close/>
                  <a:moveTo>
                    <a:pt x="335" y="791"/>
                  </a:moveTo>
                  <a:lnTo>
                    <a:pt x="335" y="793"/>
                  </a:lnTo>
                  <a:lnTo>
                    <a:pt x="335" y="791"/>
                  </a:lnTo>
                  <a:close/>
                  <a:moveTo>
                    <a:pt x="347" y="791"/>
                  </a:moveTo>
                  <a:lnTo>
                    <a:pt x="344" y="791"/>
                  </a:lnTo>
                  <a:lnTo>
                    <a:pt x="347" y="791"/>
                  </a:lnTo>
                  <a:close/>
                  <a:moveTo>
                    <a:pt x="342" y="791"/>
                  </a:moveTo>
                  <a:lnTo>
                    <a:pt x="340" y="791"/>
                  </a:lnTo>
                  <a:lnTo>
                    <a:pt x="342" y="791"/>
                  </a:lnTo>
                  <a:close/>
                  <a:moveTo>
                    <a:pt x="342" y="791"/>
                  </a:moveTo>
                  <a:lnTo>
                    <a:pt x="340" y="791"/>
                  </a:lnTo>
                  <a:lnTo>
                    <a:pt x="342" y="791"/>
                  </a:lnTo>
                  <a:close/>
                  <a:moveTo>
                    <a:pt x="337" y="791"/>
                  </a:moveTo>
                  <a:lnTo>
                    <a:pt x="335" y="791"/>
                  </a:lnTo>
                  <a:lnTo>
                    <a:pt x="337" y="791"/>
                  </a:lnTo>
                  <a:close/>
                  <a:moveTo>
                    <a:pt x="337" y="791"/>
                  </a:moveTo>
                  <a:lnTo>
                    <a:pt x="337" y="789"/>
                  </a:lnTo>
                  <a:lnTo>
                    <a:pt x="337" y="791"/>
                  </a:lnTo>
                  <a:close/>
                  <a:moveTo>
                    <a:pt x="337" y="789"/>
                  </a:moveTo>
                  <a:lnTo>
                    <a:pt x="337" y="791"/>
                  </a:lnTo>
                  <a:lnTo>
                    <a:pt x="337" y="789"/>
                  </a:lnTo>
                  <a:close/>
                  <a:moveTo>
                    <a:pt x="340" y="789"/>
                  </a:moveTo>
                  <a:lnTo>
                    <a:pt x="337" y="789"/>
                  </a:lnTo>
                  <a:lnTo>
                    <a:pt x="340" y="789"/>
                  </a:lnTo>
                  <a:close/>
                  <a:moveTo>
                    <a:pt x="337" y="789"/>
                  </a:moveTo>
                  <a:lnTo>
                    <a:pt x="335" y="789"/>
                  </a:lnTo>
                  <a:lnTo>
                    <a:pt x="337" y="789"/>
                  </a:lnTo>
                  <a:close/>
                  <a:moveTo>
                    <a:pt x="335" y="789"/>
                  </a:moveTo>
                  <a:lnTo>
                    <a:pt x="332" y="789"/>
                  </a:lnTo>
                  <a:lnTo>
                    <a:pt x="335" y="789"/>
                  </a:lnTo>
                  <a:close/>
                  <a:moveTo>
                    <a:pt x="337" y="789"/>
                  </a:moveTo>
                  <a:lnTo>
                    <a:pt x="340" y="789"/>
                  </a:lnTo>
                  <a:lnTo>
                    <a:pt x="337" y="789"/>
                  </a:lnTo>
                  <a:close/>
                  <a:moveTo>
                    <a:pt x="337" y="789"/>
                  </a:moveTo>
                  <a:lnTo>
                    <a:pt x="335" y="789"/>
                  </a:lnTo>
                  <a:lnTo>
                    <a:pt x="337" y="789"/>
                  </a:lnTo>
                  <a:close/>
                  <a:moveTo>
                    <a:pt x="337" y="789"/>
                  </a:moveTo>
                  <a:lnTo>
                    <a:pt x="335" y="789"/>
                  </a:lnTo>
                  <a:lnTo>
                    <a:pt x="337" y="789"/>
                  </a:lnTo>
                  <a:close/>
                  <a:moveTo>
                    <a:pt x="332" y="786"/>
                  </a:moveTo>
                  <a:lnTo>
                    <a:pt x="335" y="786"/>
                  </a:lnTo>
                  <a:lnTo>
                    <a:pt x="332" y="786"/>
                  </a:lnTo>
                  <a:close/>
                  <a:moveTo>
                    <a:pt x="335" y="786"/>
                  </a:moveTo>
                  <a:lnTo>
                    <a:pt x="332" y="786"/>
                  </a:lnTo>
                  <a:lnTo>
                    <a:pt x="335" y="786"/>
                  </a:lnTo>
                  <a:close/>
                  <a:moveTo>
                    <a:pt x="335" y="786"/>
                  </a:moveTo>
                  <a:lnTo>
                    <a:pt x="332" y="786"/>
                  </a:lnTo>
                  <a:lnTo>
                    <a:pt x="335" y="786"/>
                  </a:lnTo>
                  <a:close/>
                  <a:moveTo>
                    <a:pt x="342" y="786"/>
                  </a:moveTo>
                  <a:lnTo>
                    <a:pt x="340" y="786"/>
                  </a:lnTo>
                  <a:lnTo>
                    <a:pt x="342" y="786"/>
                  </a:lnTo>
                  <a:close/>
                  <a:moveTo>
                    <a:pt x="337" y="786"/>
                  </a:moveTo>
                  <a:lnTo>
                    <a:pt x="335" y="786"/>
                  </a:lnTo>
                  <a:lnTo>
                    <a:pt x="337" y="786"/>
                  </a:lnTo>
                  <a:close/>
                  <a:moveTo>
                    <a:pt x="335" y="784"/>
                  </a:moveTo>
                  <a:lnTo>
                    <a:pt x="335" y="786"/>
                  </a:lnTo>
                  <a:lnTo>
                    <a:pt x="335" y="784"/>
                  </a:lnTo>
                  <a:close/>
                  <a:moveTo>
                    <a:pt x="337" y="784"/>
                  </a:moveTo>
                  <a:lnTo>
                    <a:pt x="337" y="786"/>
                  </a:lnTo>
                  <a:lnTo>
                    <a:pt x="337" y="784"/>
                  </a:lnTo>
                  <a:close/>
                  <a:moveTo>
                    <a:pt x="335" y="784"/>
                  </a:moveTo>
                  <a:lnTo>
                    <a:pt x="335" y="786"/>
                  </a:lnTo>
                  <a:lnTo>
                    <a:pt x="335" y="784"/>
                  </a:lnTo>
                  <a:close/>
                  <a:moveTo>
                    <a:pt x="335" y="784"/>
                  </a:moveTo>
                  <a:lnTo>
                    <a:pt x="337" y="784"/>
                  </a:lnTo>
                  <a:lnTo>
                    <a:pt x="335" y="784"/>
                  </a:lnTo>
                  <a:close/>
                  <a:moveTo>
                    <a:pt x="337" y="784"/>
                  </a:moveTo>
                  <a:lnTo>
                    <a:pt x="335" y="784"/>
                  </a:lnTo>
                  <a:lnTo>
                    <a:pt x="337" y="784"/>
                  </a:lnTo>
                  <a:close/>
                  <a:moveTo>
                    <a:pt x="337" y="784"/>
                  </a:moveTo>
                  <a:lnTo>
                    <a:pt x="335" y="784"/>
                  </a:lnTo>
                  <a:lnTo>
                    <a:pt x="337" y="784"/>
                  </a:lnTo>
                  <a:close/>
                  <a:moveTo>
                    <a:pt x="337" y="784"/>
                  </a:moveTo>
                  <a:lnTo>
                    <a:pt x="340" y="784"/>
                  </a:lnTo>
                  <a:lnTo>
                    <a:pt x="337" y="784"/>
                  </a:lnTo>
                  <a:close/>
                  <a:moveTo>
                    <a:pt x="354" y="784"/>
                  </a:moveTo>
                  <a:lnTo>
                    <a:pt x="351" y="784"/>
                  </a:lnTo>
                  <a:lnTo>
                    <a:pt x="354" y="784"/>
                  </a:lnTo>
                  <a:close/>
                  <a:moveTo>
                    <a:pt x="354" y="784"/>
                  </a:moveTo>
                  <a:lnTo>
                    <a:pt x="351" y="784"/>
                  </a:lnTo>
                  <a:lnTo>
                    <a:pt x="354" y="784"/>
                  </a:lnTo>
                  <a:close/>
                  <a:moveTo>
                    <a:pt x="340" y="784"/>
                  </a:moveTo>
                  <a:lnTo>
                    <a:pt x="340" y="782"/>
                  </a:lnTo>
                  <a:lnTo>
                    <a:pt x="340" y="784"/>
                  </a:lnTo>
                  <a:close/>
                  <a:moveTo>
                    <a:pt x="342" y="782"/>
                  </a:moveTo>
                  <a:lnTo>
                    <a:pt x="342" y="784"/>
                  </a:lnTo>
                  <a:lnTo>
                    <a:pt x="342" y="782"/>
                  </a:lnTo>
                  <a:close/>
                  <a:moveTo>
                    <a:pt x="340" y="782"/>
                  </a:moveTo>
                  <a:lnTo>
                    <a:pt x="340" y="784"/>
                  </a:lnTo>
                  <a:lnTo>
                    <a:pt x="340" y="782"/>
                  </a:lnTo>
                  <a:close/>
                  <a:moveTo>
                    <a:pt x="342" y="784"/>
                  </a:moveTo>
                  <a:lnTo>
                    <a:pt x="342" y="782"/>
                  </a:lnTo>
                  <a:lnTo>
                    <a:pt x="342" y="784"/>
                  </a:lnTo>
                  <a:close/>
                  <a:moveTo>
                    <a:pt x="344" y="782"/>
                  </a:moveTo>
                  <a:lnTo>
                    <a:pt x="342" y="782"/>
                  </a:lnTo>
                  <a:lnTo>
                    <a:pt x="344" y="782"/>
                  </a:lnTo>
                  <a:close/>
                  <a:moveTo>
                    <a:pt x="344" y="782"/>
                  </a:moveTo>
                  <a:lnTo>
                    <a:pt x="342" y="782"/>
                  </a:lnTo>
                  <a:lnTo>
                    <a:pt x="344" y="782"/>
                  </a:lnTo>
                  <a:close/>
                  <a:moveTo>
                    <a:pt x="344" y="782"/>
                  </a:moveTo>
                  <a:lnTo>
                    <a:pt x="342" y="782"/>
                  </a:lnTo>
                  <a:lnTo>
                    <a:pt x="344" y="782"/>
                  </a:lnTo>
                  <a:close/>
                  <a:moveTo>
                    <a:pt x="344" y="779"/>
                  </a:moveTo>
                  <a:lnTo>
                    <a:pt x="344" y="782"/>
                  </a:lnTo>
                  <a:lnTo>
                    <a:pt x="344" y="779"/>
                  </a:lnTo>
                  <a:close/>
                  <a:moveTo>
                    <a:pt x="361" y="779"/>
                  </a:moveTo>
                  <a:lnTo>
                    <a:pt x="359" y="779"/>
                  </a:lnTo>
                  <a:lnTo>
                    <a:pt x="361" y="779"/>
                  </a:lnTo>
                  <a:close/>
                  <a:moveTo>
                    <a:pt x="373" y="777"/>
                  </a:moveTo>
                  <a:lnTo>
                    <a:pt x="370" y="777"/>
                  </a:lnTo>
                  <a:lnTo>
                    <a:pt x="373" y="777"/>
                  </a:lnTo>
                  <a:close/>
                  <a:moveTo>
                    <a:pt x="351" y="777"/>
                  </a:moveTo>
                  <a:lnTo>
                    <a:pt x="349" y="777"/>
                  </a:lnTo>
                  <a:lnTo>
                    <a:pt x="351" y="777"/>
                  </a:lnTo>
                  <a:close/>
                  <a:moveTo>
                    <a:pt x="354" y="777"/>
                  </a:moveTo>
                  <a:lnTo>
                    <a:pt x="351" y="777"/>
                  </a:lnTo>
                  <a:lnTo>
                    <a:pt x="354" y="777"/>
                  </a:lnTo>
                  <a:close/>
                  <a:moveTo>
                    <a:pt x="299" y="774"/>
                  </a:moveTo>
                  <a:lnTo>
                    <a:pt x="297" y="774"/>
                  </a:lnTo>
                  <a:lnTo>
                    <a:pt x="299" y="774"/>
                  </a:lnTo>
                  <a:lnTo>
                    <a:pt x="297" y="774"/>
                  </a:lnTo>
                  <a:lnTo>
                    <a:pt x="299" y="774"/>
                  </a:lnTo>
                  <a:close/>
                  <a:moveTo>
                    <a:pt x="299" y="774"/>
                  </a:moveTo>
                  <a:lnTo>
                    <a:pt x="297" y="774"/>
                  </a:lnTo>
                  <a:lnTo>
                    <a:pt x="299" y="774"/>
                  </a:lnTo>
                  <a:close/>
                  <a:moveTo>
                    <a:pt x="302" y="774"/>
                  </a:moveTo>
                  <a:lnTo>
                    <a:pt x="302" y="772"/>
                  </a:lnTo>
                  <a:lnTo>
                    <a:pt x="302" y="774"/>
                  </a:lnTo>
                  <a:close/>
                  <a:moveTo>
                    <a:pt x="302" y="774"/>
                  </a:moveTo>
                  <a:lnTo>
                    <a:pt x="302" y="772"/>
                  </a:lnTo>
                  <a:lnTo>
                    <a:pt x="302" y="774"/>
                  </a:lnTo>
                  <a:close/>
                  <a:moveTo>
                    <a:pt x="302" y="774"/>
                  </a:moveTo>
                  <a:lnTo>
                    <a:pt x="302" y="772"/>
                  </a:lnTo>
                  <a:lnTo>
                    <a:pt x="302" y="774"/>
                  </a:lnTo>
                  <a:close/>
                  <a:moveTo>
                    <a:pt x="302" y="774"/>
                  </a:moveTo>
                  <a:lnTo>
                    <a:pt x="302" y="772"/>
                  </a:lnTo>
                  <a:lnTo>
                    <a:pt x="302" y="774"/>
                  </a:lnTo>
                  <a:close/>
                  <a:moveTo>
                    <a:pt x="302" y="772"/>
                  </a:moveTo>
                  <a:lnTo>
                    <a:pt x="302" y="774"/>
                  </a:lnTo>
                  <a:lnTo>
                    <a:pt x="302" y="772"/>
                  </a:lnTo>
                  <a:close/>
                  <a:moveTo>
                    <a:pt x="287" y="774"/>
                  </a:moveTo>
                  <a:lnTo>
                    <a:pt x="287" y="772"/>
                  </a:lnTo>
                  <a:lnTo>
                    <a:pt x="287" y="774"/>
                  </a:lnTo>
                  <a:close/>
                  <a:moveTo>
                    <a:pt x="356" y="772"/>
                  </a:moveTo>
                  <a:lnTo>
                    <a:pt x="356" y="774"/>
                  </a:lnTo>
                  <a:lnTo>
                    <a:pt x="356" y="772"/>
                  </a:lnTo>
                  <a:close/>
                  <a:moveTo>
                    <a:pt x="302" y="772"/>
                  </a:moveTo>
                  <a:lnTo>
                    <a:pt x="302" y="774"/>
                  </a:lnTo>
                  <a:lnTo>
                    <a:pt x="302" y="772"/>
                  </a:lnTo>
                  <a:close/>
                  <a:moveTo>
                    <a:pt x="304" y="774"/>
                  </a:moveTo>
                  <a:lnTo>
                    <a:pt x="302" y="774"/>
                  </a:lnTo>
                  <a:lnTo>
                    <a:pt x="304" y="772"/>
                  </a:lnTo>
                  <a:lnTo>
                    <a:pt x="304" y="774"/>
                  </a:lnTo>
                  <a:close/>
                  <a:moveTo>
                    <a:pt x="306" y="772"/>
                  </a:moveTo>
                  <a:lnTo>
                    <a:pt x="304" y="772"/>
                  </a:lnTo>
                  <a:lnTo>
                    <a:pt x="306" y="772"/>
                  </a:lnTo>
                  <a:close/>
                  <a:moveTo>
                    <a:pt x="304" y="772"/>
                  </a:moveTo>
                  <a:lnTo>
                    <a:pt x="306" y="772"/>
                  </a:lnTo>
                  <a:lnTo>
                    <a:pt x="304" y="772"/>
                  </a:lnTo>
                  <a:close/>
                  <a:moveTo>
                    <a:pt x="309" y="772"/>
                  </a:moveTo>
                  <a:lnTo>
                    <a:pt x="306" y="772"/>
                  </a:lnTo>
                  <a:lnTo>
                    <a:pt x="309" y="772"/>
                  </a:lnTo>
                  <a:close/>
                  <a:moveTo>
                    <a:pt x="309" y="772"/>
                  </a:moveTo>
                  <a:lnTo>
                    <a:pt x="309" y="770"/>
                  </a:lnTo>
                  <a:lnTo>
                    <a:pt x="309" y="772"/>
                  </a:lnTo>
                  <a:close/>
                  <a:moveTo>
                    <a:pt x="285" y="770"/>
                  </a:moveTo>
                  <a:lnTo>
                    <a:pt x="285" y="772"/>
                  </a:lnTo>
                  <a:lnTo>
                    <a:pt x="285" y="770"/>
                  </a:lnTo>
                  <a:close/>
                  <a:moveTo>
                    <a:pt x="363" y="770"/>
                  </a:moveTo>
                  <a:lnTo>
                    <a:pt x="363" y="772"/>
                  </a:lnTo>
                  <a:lnTo>
                    <a:pt x="363" y="770"/>
                  </a:lnTo>
                  <a:close/>
                  <a:moveTo>
                    <a:pt x="370" y="770"/>
                  </a:moveTo>
                  <a:lnTo>
                    <a:pt x="373" y="770"/>
                  </a:lnTo>
                  <a:lnTo>
                    <a:pt x="370" y="770"/>
                  </a:lnTo>
                  <a:close/>
                  <a:moveTo>
                    <a:pt x="306" y="770"/>
                  </a:moveTo>
                  <a:lnTo>
                    <a:pt x="304" y="770"/>
                  </a:lnTo>
                  <a:lnTo>
                    <a:pt x="306" y="770"/>
                  </a:lnTo>
                  <a:close/>
                  <a:moveTo>
                    <a:pt x="337" y="770"/>
                  </a:moveTo>
                  <a:lnTo>
                    <a:pt x="335" y="770"/>
                  </a:lnTo>
                  <a:lnTo>
                    <a:pt x="337" y="770"/>
                  </a:lnTo>
                  <a:close/>
                  <a:moveTo>
                    <a:pt x="328" y="767"/>
                  </a:moveTo>
                  <a:lnTo>
                    <a:pt x="328" y="770"/>
                  </a:lnTo>
                  <a:lnTo>
                    <a:pt x="328" y="767"/>
                  </a:lnTo>
                  <a:close/>
                  <a:moveTo>
                    <a:pt x="335" y="770"/>
                  </a:moveTo>
                  <a:lnTo>
                    <a:pt x="335" y="767"/>
                  </a:lnTo>
                  <a:lnTo>
                    <a:pt x="335" y="770"/>
                  </a:lnTo>
                  <a:close/>
                  <a:moveTo>
                    <a:pt x="311" y="767"/>
                  </a:moveTo>
                  <a:lnTo>
                    <a:pt x="311" y="770"/>
                  </a:lnTo>
                  <a:lnTo>
                    <a:pt x="311" y="767"/>
                  </a:lnTo>
                  <a:close/>
                  <a:moveTo>
                    <a:pt x="321" y="770"/>
                  </a:moveTo>
                  <a:lnTo>
                    <a:pt x="321" y="767"/>
                  </a:lnTo>
                  <a:lnTo>
                    <a:pt x="321" y="770"/>
                  </a:lnTo>
                  <a:close/>
                  <a:moveTo>
                    <a:pt x="321" y="767"/>
                  </a:moveTo>
                  <a:lnTo>
                    <a:pt x="321" y="770"/>
                  </a:lnTo>
                  <a:lnTo>
                    <a:pt x="321" y="767"/>
                  </a:lnTo>
                  <a:close/>
                  <a:moveTo>
                    <a:pt x="323" y="767"/>
                  </a:moveTo>
                  <a:lnTo>
                    <a:pt x="321" y="767"/>
                  </a:lnTo>
                  <a:lnTo>
                    <a:pt x="323" y="767"/>
                  </a:lnTo>
                  <a:close/>
                  <a:moveTo>
                    <a:pt x="323" y="767"/>
                  </a:moveTo>
                  <a:lnTo>
                    <a:pt x="321" y="767"/>
                  </a:lnTo>
                  <a:lnTo>
                    <a:pt x="323" y="767"/>
                  </a:lnTo>
                  <a:close/>
                  <a:moveTo>
                    <a:pt x="373" y="767"/>
                  </a:moveTo>
                  <a:lnTo>
                    <a:pt x="370" y="767"/>
                  </a:lnTo>
                  <a:lnTo>
                    <a:pt x="373" y="767"/>
                  </a:lnTo>
                  <a:close/>
                  <a:moveTo>
                    <a:pt x="337" y="767"/>
                  </a:moveTo>
                  <a:lnTo>
                    <a:pt x="335" y="767"/>
                  </a:lnTo>
                  <a:lnTo>
                    <a:pt x="337" y="767"/>
                  </a:lnTo>
                  <a:close/>
                  <a:moveTo>
                    <a:pt x="314" y="767"/>
                  </a:moveTo>
                  <a:lnTo>
                    <a:pt x="311" y="767"/>
                  </a:lnTo>
                  <a:lnTo>
                    <a:pt x="314" y="767"/>
                  </a:lnTo>
                  <a:close/>
                  <a:moveTo>
                    <a:pt x="314" y="767"/>
                  </a:moveTo>
                  <a:lnTo>
                    <a:pt x="311" y="767"/>
                  </a:lnTo>
                  <a:lnTo>
                    <a:pt x="314" y="767"/>
                  </a:lnTo>
                  <a:close/>
                  <a:moveTo>
                    <a:pt x="337" y="767"/>
                  </a:moveTo>
                  <a:lnTo>
                    <a:pt x="335" y="767"/>
                  </a:lnTo>
                  <a:lnTo>
                    <a:pt x="337" y="767"/>
                  </a:lnTo>
                  <a:close/>
                  <a:moveTo>
                    <a:pt x="311" y="767"/>
                  </a:moveTo>
                  <a:lnTo>
                    <a:pt x="309" y="767"/>
                  </a:lnTo>
                  <a:lnTo>
                    <a:pt x="311" y="767"/>
                  </a:lnTo>
                  <a:close/>
                  <a:moveTo>
                    <a:pt x="340" y="767"/>
                  </a:moveTo>
                  <a:lnTo>
                    <a:pt x="337" y="767"/>
                  </a:lnTo>
                  <a:lnTo>
                    <a:pt x="340" y="767"/>
                  </a:lnTo>
                  <a:close/>
                  <a:moveTo>
                    <a:pt x="314" y="767"/>
                  </a:moveTo>
                  <a:lnTo>
                    <a:pt x="311" y="767"/>
                  </a:lnTo>
                  <a:lnTo>
                    <a:pt x="314" y="767"/>
                  </a:lnTo>
                  <a:lnTo>
                    <a:pt x="311" y="767"/>
                  </a:lnTo>
                  <a:lnTo>
                    <a:pt x="314" y="767"/>
                  </a:lnTo>
                  <a:close/>
                  <a:moveTo>
                    <a:pt x="340" y="767"/>
                  </a:moveTo>
                  <a:lnTo>
                    <a:pt x="337" y="767"/>
                  </a:lnTo>
                  <a:lnTo>
                    <a:pt x="340" y="767"/>
                  </a:lnTo>
                  <a:close/>
                  <a:moveTo>
                    <a:pt x="318" y="767"/>
                  </a:moveTo>
                  <a:lnTo>
                    <a:pt x="316" y="767"/>
                  </a:lnTo>
                  <a:lnTo>
                    <a:pt x="318" y="767"/>
                  </a:lnTo>
                  <a:close/>
                  <a:moveTo>
                    <a:pt x="321" y="765"/>
                  </a:moveTo>
                  <a:lnTo>
                    <a:pt x="318" y="765"/>
                  </a:lnTo>
                  <a:lnTo>
                    <a:pt x="321" y="765"/>
                  </a:lnTo>
                  <a:close/>
                  <a:moveTo>
                    <a:pt x="332" y="765"/>
                  </a:moveTo>
                  <a:lnTo>
                    <a:pt x="332" y="763"/>
                  </a:lnTo>
                  <a:lnTo>
                    <a:pt x="332" y="765"/>
                  </a:lnTo>
                  <a:close/>
                  <a:moveTo>
                    <a:pt x="342" y="763"/>
                  </a:moveTo>
                  <a:lnTo>
                    <a:pt x="342" y="765"/>
                  </a:lnTo>
                  <a:lnTo>
                    <a:pt x="342" y="763"/>
                  </a:lnTo>
                  <a:close/>
                  <a:moveTo>
                    <a:pt x="340" y="763"/>
                  </a:moveTo>
                  <a:lnTo>
                    <a:pt x="340" y="765"/>
                  </a:lnTo>
                  <a:lnTo>
                    <a:pt x="340" y="763"/>
                  </a:lnTo>
                  <a:close/>
                  <a:moveTo>
                    <a:pt x="349" y="763"/>
                  </a:moveTo>
                  <a:lnTo>
                    <a:pt x="347" y="763"/>
                  </a:lnTo>
                  <a:lnTo>
                    <a:pt x="349" y="763"/>
                  </a:lnTo>
                  <a:close/>
                  <a:moveTo>
                    <a:pt x="351" y="763"/>
                  </a:moveTo>
                  <a:lnTo>
                    <a:pt x="349" y="763"/>
                  </a:lnTo>
                  <a:lnTo>
                    <a:pt x="351" y="763"/>
                  </a:lnTo>
                  <a:close/>
                  <a:moveTo>
                    <a:pt x="351" y="763"/>
                  </a:moveTo>
                  <a:lnTo>
                    <a:pt x="349" y="763"/>
                  </a:lnTo>
                  <a:lnTo>
                    <a:pt x="351" y="763"/>
                  </a:lnTo>
                  <a:close/>
                  <a:moveTo>
                    <a:pt x="363" y="763"/>
                  </a:moveTo>
                  <a:lnTo>
                    <a:pt x="363" y="760"/>
                  </a:lnTo>
                  <a:lnTo>
                    <a:pt x="363" y="763"/>
                  </a:lnTo>
                  <a:close/>
                  <a:moveTo>
                    <a:pt x="356" y="763"/>
                  </a:moveTo>
                  <a:lnTo>
                    <a:pt x="356" y="760"/>
                  </a:lnTo>
                  <a:lnTo>
                    <a:pt x="356" y="763"/>
                  </a:lnTo>
                  <a:close/>
                  <a:moveTo>
                    <a:pt x="356" y="760"/>
                  </a:moveTo>
                  <a:lnTo>
                    <a:pt x="356" y="763"/>
                  </a:lnTo>
                  <a:lnTo>
                    <a:pt x="356" y="760"/>
                  </a:lnTo>
                  <a:close/>
                  <a:moveTo>
                    <a:pt x="354" y="763"/>
                  </a:moveTo>
                  <a:lnTo>
                    <a:pt x="354" y="760"/>
                  </a:lnTo>
                  <a:lnTo>
                    <a:pt x="354" y="763"/>
                  </a:lnTo>
                  <a:close/>
                  <a:moveTo>
                    <a:pt x="366" y="760"/>
                  </a:moveTo>
                  <a:lnTo>
                    <a:pt x="363" y="760"/>
                  </a:lnTo>
                  <a:lnTo>
                    <a:pt x="366" y="760"/>
                  </a:lnTo>
                  <a:close/>
                  <a:moveTo>
                    <a:pt x="356" y="760"/>
                  </a:moveTo>
                  <a:lnTo>
                    <a:pt x="356" y="763"/>
                  </a:lnTo>
                  <a:lnTo>
                    <a:pt x="356" y="760"/>
                  </a:lnTo>
                  <a:close/>
                  <a:moveTo>
                    <a:pt x="363" y="763"/>
                  </a:moveTo>
                  <a:lnTo>
                    <a:pt x="363" y="760"/>
                  </a:lnTo>
                  <a:lnTo>
                    <a:pt x="363" y="763"/>
                  </a:lnTo>
                  <a:close/>
                  <a:moveTo>
                    <a:pt x="366" y="760"/>
                  </a:moveTo>
                  <a:lnTo>
                    <a:pt x="363" y="760"/>
                  </a:lnTo>
                  <a:lnTo>
                    <a:pt x="366" y="760"/>
                  </a:lnTo>
                  <a:close/>
                  <a:moveTo>
                    <a:pt x="361" y="760"/>
                  </a:moveTo>
                  <a:lnTo>
                    <a:pt x="359" y="760"/>
                  </a:lnTo>
                  <a:lnTo>
                    <a:pt x="361" y="760"/>
                  </a:lnTo>
                  <a:close/>
                  <a:moveTo>
                    <a:pt x="359" y="760"/>
                  </a:moveTo>
                  <a:lnTo>
                    <a:pt x="356" y="760"/>
                  </a:lnTo>
                  <a:lnTo>
                    <a:pt x="359" y="760"/>
                  </a:lnTo>
                  <a:close/>
                  <a:moveTo>
                    <a:pt x="304" y="760"/>
                  </a:moveTo>
                  <a:lnTo>
                    <a:pt x="306" y="760"/>
                  </a:lnTo>
                  <a:lnTo>
                    <a:pt x="304" y="760"/>
                  </a:lnTo>
                  <a:close/>
                  <a:moveTo>
                    <a:pt x="356" y="760"/>
                  </a:moveTo>
                  <a:lnTo>
                    <a:pt x="354" y="760"/>
                  </a:lnTo>
                  <a:lnTo>
                    <a:pt x="356" y="760"/>
                  </a:lnTo>
                  <a:close/>
                  <a:moveTo>
                    <a:pt x="309" y="760"/>
                  </a:moveTo>
                  <a:lnTo>
                    <a:pt x="306" y="760"/>
                  </a:lnTo>
                  <a:lnTo>
                    <a:pt x="309" y="760"/>
                  </a:lnTo>
                  <a:close/>
                  <a:moveTo>
                    <a:pt x="359" y="760"/>
                  </a:moveTo>
                  <a:lnTo>
                    <a:pt x="356" y="760"/>
                  </a:lnTo>
                  <a:lnTo>
                    <a:pt x="359" y="760"/>
                  </a:lnTo>
                  <a:close/>
                  <a:moveTo>
                    <a:pt x="309" y="760"/>
                  </a:moveTo>
                  <a:lnTo>
                    <a:pt x="306" y="760"/>
                  </a:lnTo>
                  <a:lnTo>
                    <a:pt x="309" y="760"/>
                  </a:lnTo>
                  <a:close/>
                  <a:moveTo>
                    <a:pt x="361" y="760"/>
                  </a:moveTo>
                  <a:lnTo>
                    <a:pt x="359" y="760"/>
                  </a:lnTo>
                  <a:lnTo>
                    <a:pt x="361" y="760"/>
                  </a:lnTo>
                  <a:close/>
                  <a:moveTo>
                    <a:pt x="309" y="760"/>
                  </a:moveTo>
                  <a:lnTo>
                    <a:pt x="306" y="760"/>
                  </a:lnTo>
                  <a:lnTo>
                    <a:pt x="309" y="760"/>
                  </a:lnTo>
                  <a:close/>
                  <a:moveTo>
                    <a:pt x="309" y="760"/>
                  </a:moveTo>
                  <a:lnTo>
                    <a:pt x="306" y="760"/>
                  </a:lnTo>
                  <a:lnTo>
                    <a:pt x="309" y="760"/>
                  </a:lnTo>
                  <a:close/>
                  <a:moveTo>
                    <a:pt x="361" y="760"/>
                  </a:moveTo>
                  <a:lnTo>
                    <a:pt x="361" y="758"/>
                  </a:lnTo>
                  <a:lnTo>
                    <a:pt x="361" y="760"/>
                  </a:lnTo>
                  <a:close/>
                  <a:moveTo>
                    <a:pt x="370" y="760"/>
                  </a:moveTo>
                  <a:lnTo>
                    <a:pt x="368" y="760"/>
                  </a:lnTo>
                  <a:lnTo>
                    <a:pt x="368" y="758"/>
                  </a:lnTo>
                  <a:lnTo>
                    <a:pt x="370" y="758"/>
                  </a:lnTo>
                  <a:lnTo>
                    <a:pt x="370" y="760"/>
                  </a:lnTo>
                  <a:close/>
                  <a:moveTo>
                    <a:pt x="363" y="758"/>
                  </a:moveTo>
                  <a:lnTo>
                    <a:pt x="363" y="760"/>
                  </a:lnTo>
                  <a:lnTo>
                    <a:pt x="363" y="758"/>
                  </a:lnTo>
                  <a:close/>
                  <a:moveTo>
                    <a:pt x="302" y="760"/>
                  </a:moveTo>
                  <a:lnTo>
                    <a:pt x="302" y="758"/>
                  </a:lnTo>
                  <a:lnTo>
                    <a:pt x="302" y="760"/>
                  </a:lnTo>
                  <a:close/>
                  <a:moveTo>
                    <a:pt x="351" y="760"/>
                  </a:moveTo>
                  <a:lnTo>
                    <a:pt x="351" y="758"/>
                  </a:lnTo>
                  <a:lnTo>
                    <a:pt x="351" y="760"/>
                  </a:lnTo>
                  <a:close/>
                  <a:moveTo>
                    <a:pt x="361" y="760"/>
                  </a:moveTo>
                  <a:lnTo>
                    <a:pt x="359" y="760"/>
                  </a:lnTo>
                  <a:lnTo>
                    <a:pt x="361" y="758"/>
                  </a:lnTo>
                  <a:lnTo>
                    <a:pt x="359" y="758"/>
                  </a:lnTo>
                  <a:lnTo>
                    <a:pt x="361" y="758"/>
                  </a:lnTo>
                  <a:lnTo>
                    <a:pt x="361" y="760"/>
                  </a:lnTo>
                  <a:close/>
                  <a:moveTo>
                    <a:pt x="366" y="758"/>
                  </a:moveTo>
                  <a:lnTo>
                    <a:pt x="363" y="758"/>
                  </a:lnTo>
                  <a:lnTo>
                    <a:pt x="366" y="758"/>
                  </a:lnTo>
                  <a:close/>
                  <a:moveTo>
                    <a:pt x="323" y="758"/>
                  </a:moveTo>
                  <a:lnTo>
                    <a:pt x="321" y="758"/>
                  </a:lnTo>
                  <a:lnTo>
                    <a:pt x="323" y="758"/>
                  </a:lnTo>
                  <a:close/>
                  <a:moveTo>
                    <a:pt x="359" y="758"/>
                  </a:moveTo>
                  <a:lnTo>
                    <a:pt x="361" y="758"/>
                  </a:lnTo>
                  <a:lnTo>
                    <a:pt x="359" y="758"/>
                  </a:lnTo>
                  <a:close/>
                  <a:moveTo>
                    <a:pt x="328" y="758"/>
                  </a:moveTo>
                  <a:lnTo>
                    <a:pt x="325" y="758"/>
                  </a:lnTo>
                  <a:lnTo>
                    <a:pt x="328" y="758"/>
                  </a:lnTo>
                  <a:close/>
                  <a:moveTo>
                    <a:pt x="359" y="758"/>
                  </a:moveTo>
                  <a:lnTo>
                    <a:pt x="361" y="758"/>
                  </a:lnTo>
                  <a:lnTo>
                    <a:pt x="359" y="758"/>
                  </a:lnTo>
                  <a:close/>
                  <a:moveTo>
                    <a:pt x="354" y="758"/>
                  </a:moveTo>
                  <a:lnTo>
                    <a:pt x="354" y="755"/>
                  </a:lnTo>
                  <a:lnTo>
                    <a:pt x="354" y="758"/>
                  </a:lnTo>
                  <a:close/>
                  <a:moveTo>
                    <a:pt x="411" y="755"/>
                  </a:moveTo>
                  <a:lnTo>
                    <a:pt x="408" y="755"/>
                  </a:lnTo>
                  <a:lnTo>
                    <a:pt x="411" y="755"/>
                  </a:lnTo>
                  <a:close/>
                  <a:moveTo>
                    <a:pt x="370" y="755"/>
                  </a:moveTo>
                  <a:lnTo>
                    <a:pt x="368" y="755"/>
                  </a:lnTo>
                  <a:lnTo>
                    <a:pt x="370" y="755"/>
                  </a:lnTo>
                  <a:close/>
                  <a:moveTo>
                    <a:pt x="359" y="755"/>
                  </a:moveTo>
                  <a:lnTo>
                    <a:pt x="356" y="755"/>
                  </a:lnTo>
                  <a:lnTo>
                    <a:pt x="359" y="755"/>
                  </a:lnTo>
                  <a:close/>
                  <a:moveTo>
                    <a:pt x="328" y="755"/>
                  </a:moveTo>
                  <a:lnTo>
                    <a:pt x="325" y="755"/>
                  </a:lnTo>
                  <a:lnTo>
                    <a:pt x="328" y="755"/>
                  </a:lnTo>
                  <a:close/>
                  <a:moveTo>
                    <a:pt x="342" y="753"/>
                  </a:moveTo>
                  <a:lnTo>
                    <a:pt x="340" y="753"/>
                  </a:lnTo>
                  <a:lnTo>
                    <a:pt x="342" y="753"/>
                  </a:lnTo>
                  <a:close/>
                  <a:moveTo>
                    <a:pt x="380" y="751"/>
                  </a:moveTo>
                  <a:lnTo>
                    <a:pt x="382" y="751"/>
                  </a:lnTo>
                  <a:lnTo>
                    <a:pt x="380" y="751"/>
                  </a:lnTo>
                  <a:close/>
                  <a:moveTo>
                    <a:pt x="382" y="751"/>
                  </a:moveTo>
                  <a:lnTo>
                    <a:pt x="380" y="751"/>
                  </a:lnTo>
                  <a:lnTo>
                    <a:pt x="382" y="751"/>
                  </a:lnTo>
                  <a:close/>
                  <a:moveTo>
                    <a:pt x="411" y="751"/>
                  </a:moveTo>
                  <a:lnTo>
                    <a:pt x="408" y="751"/>
                  </a:lnTo>
                  <a:lnTo>
                    <a:pt x="411" y="751"/>
                  </a:lnTo>
                  <a:close/>
                  <a:moveTo>
                    <a:pt x="435" y="751"/>
                  </a:moveTo>
                  <a:lnTo>
                    <a:pt x="432" y="751"/>
                  </a:lnTo>
                  <a:lnTo>
                    <a:pt x="435" y="751"/>
                  </a:lnTo>
                  <a:close/>
                  <a:moveTo>
                    <a:pt x="354" y="748"/>
                  </a:moveTo>
                  <a:lnTo>
                    <a:pt x="351" y="748"/>
                  </a:lnTo>
                  <a:lnTo>
                    <a:pt x="354" y="748"/>
                  </a:lnTo>
                  <a:close/>
                  <a:moveTo>
                    <a:pt x="347" y="746"/>
                  </a:moveTo>
                  <a:lnTo>
                    <a:pt x="344" y="746"/>
                  </a:lnTo>
                  <a:lnTo>
                    <a:pt x="347" y="746"/>
                  </a:lnTo>
                  <a:close/>
                  <a:moveTo>
                    <a:pt x="399" y="746"/>
                  </a:moveTo>
                  <a:lnTo>
                    <a:pt x="397" y="746"/>
                  </a:lnTo>
                  <a:lnTo>
                    <a:pt x="399" y="746"/>
                  </a:lnTo>
                  <a:close/>
                  <a:moveTo>
                    <a:pt x="399" y="744"/>
                  </a:moveTo>
                  <a:lnTo>
                    <a:pt x="399" y="746"/>
                  </a:lnTo>
                  <a:lnTo>
                    <a:pt x="399" y="744"/>
                  </a:lnTo>
                  <a:close/>
                  <a:moveTo>
                    <a:pt x="359" y="741"/>
                  </a:moveTo>
                  <a:lnTo>
                    <a:pt x="359" y="744"/>
                  </a:lnTo>
                  <a:lnTo>
                    <a:pt x="359" y="741"/>
                  </a:lnTo>
                  <a:close/>
                  <a:moveTo>
                    <a:pt x="361" y="741"/>
                  </a:moveTo>
                  <a:lnTo>
                    <a:pt x="361" y="744"/>
                  </a:lnTo>
                  <a:lnTo>
                    <a:pt x="361" y="741"/>
                  </a:lnTo>
                  <a:close/>
                  <a:moveTo>
                    <a:pt x="328" y="741"/>
                  </a:moveTo>
                  <a:lnTo>
                    <a:pt x="328" y="744"/>
                  </a:lnTo>
                  <a:lnTo>
                    <a:pt x="328" y="741"/>
                  </a:lnTo>
                  <a:close/>
                  <a:moveTo>
                    <a:pt x="340" y="741"/>
                  </a:moveTo>
                  <a:lnTo>
                    <a:pt x="340" y="744"/>
                  </a:lnTo>
                  <a:lnTo>
                    <a:pt x="340" y="741"/>
                  </a:lnTo>
                  <a:close/>
                  <a:moveTo>
                    <a:pt x="335" y="739"/>
                  </a:moveTo>
                  <a:lnTo>
                    <a:pt x="335" y="741"/>
                  </a:lnTo>
                  <a:lnTo>
                    <a:pt x="335" y="739"/>
                  </a:lnTo>
                  <a:close/>
                  <a:moveTo>
                    <a:pt x="337" y="739"/>
                  </a:moveTo>
                  <a:lnTo>
                    <a:pt x="335" y="739"/>
                  </a:lnTo>
                  <a:lnTo>
                    <a:pt x="337" y="739"/>
                  </a:lnTo>
                  <a:close/>
                  <a:moveTo>
                    <a:pt x="340" y="739"/>
                  </a:moveTo>
                  <a:lnTo>
                    <a:pt x="337" y="739"/>
                  </a:lnTo>
                  <a:lnTo>
                    <a:pt x="340" y="739"/>
                  </a:lnTo>
                  <a:close/>
                  <a:moveTo>
                    <a:pt x="337" y="736"/>
                  </a:moveTo>
                  <a:lnTo>
                    <a:pt x="337" y="739"/>
                  </a:lnTo>
                  <a:lnTo>
                    <a:pt x="337" y="736"/>
                  </a:lnTo>
                  <a:close/>
                  <a:moveTo>
                    <a:pt x="351" y="734"/>
                  </a:moveTo>
                  <a:lnTo>
                    <a:pt x="349" y="734"/>
                  </a:lnTo>
                  <a:lnTo>
                    <a:pt x="351" y="734"/>
                  </a:lnTo>
                  <a:close/>
                  <a:moveTo>
                    <a:pt x="399" y="732"/>
                  </a:moveTo>
                  <a:lnTo>
                    <a:pt x="399" y="734"/>
                  </a:lnTo>
                  <a:lnTo>
                    <a:pt x="399" y="732"/>
                  </a:lnTo>
                  <a:close/>
                  <a:moveTo>
                    <a:pt x="344" y="732"/>
                  </a:moveTo>
                  <a:lnTo>
                    <a:pt x="342" y="732"/>
                  </a:lnTo>
                  <a:lnTo>
                    <a:pt x="344" y="732"/>
                  </a:lnTo>
                  <a:close/>
                  <a:moveTo>
                    <a:pt x="401" y="732"/>
                  </a:moveTo>
                  <a:lnTo>
                    <a:pt x="399" y="732"/>
                  </a:lnTo>
                  <a:lnTo>
                    <a:pt x="401" y="732"/>
                  </a:lnTo>
                  <a:close/>
                  <a:moveTo>
                    <a:pt x="401" y="732"/>
                  </a:moveTo>
                  <a:lnTo>
                    <a:pt x="399" y="732"/>
                  </a:lnTo>
                  <a:lnTo>
                    <a:pt x="401" y="732"/>
                  </a:lnTo>
                  <a:close/>
                  <a:moveTo>
                    <a:pt x="340" y="732"/>
                  </a:moveTo>
                  <a:lnTo>
                    <a:pt x="340" y="729"/>
                  </a:lnTo>
                  <a:lnTo>
                    <a:pt x="340" y="732"/>
                  </a:lnTo>
                  <a:close/>
                  <a:moveTo>
                    <a:pt x="335" y="729"/>
                  </a:moveTo>
                  <a:lnTo>
                    <a:pt x="332" y="729"/>
                  </a:lnTo>
                  <a:lnTo>
                    <a:pt x="335" y="729"/>
                  </a:lnTo>
                  <a:close/>
                  <a:moveTo>
                    <a:pt x="399" y="729"/>
                  </a:moveTo>
                  <a:lnTo>
                    <a:pt x="401" y="729"/>
                  </a:lnTo>
                  <a:lnTo>
                    <a:pt x="399" y="729"/>
                  </a:lnTo>
                  <a:close/>
                  <a:moveTo>
                    <a:pt x="361" y="729"/>
                  </a:moveTo>
                  <a:lnTo>
                    <a:pt x="359" y="729"/>
                  </a:lnTo>
                  <a:lnTo>
                    <a:pt x="361" y="729"/>
                  </a:lnTo>
                  <a:close/>
                  <a:moveTo>
                    <a:pt x="347" y="729"/>
                  </a:moveTo>
                  <a:lnTo>
                    <a:pt x="347" y="727"/>
                  </a:lnTo>
                  <a:lnTo>
                    <a:pt x="347" y="729"/>
                  </a:lnTo>
                  <a:close/>
                  <a:moveTo>
                    <a:pt x="337" y="727"/>
                  </a:moveTo>
                  <a:lnTo>
                    <a:pt x="337" y="725"/>
                  </a:lnTo>
                  <a:lnTo>
                    <a:pt x="337" y="727"/>
                  </a:lnTo>
                  <a:close/>
                  <a:moveTo>
                    <a:pt x="385" y="725"/>
                  </a:moveTo>
                  <a:lnTo>
                    <a:pt x="385" y="727"/>
                  </a:lnTo>
                  <a:lnTo>
                    <a:pt x="385" y="725"/>
                  </a:lnTo>
                  <a:close/>
                  <a:moveTo>
                    <a:pt x="359" y="727"/>
                  </a:moveTo>
                  <a:lnTo>
                    <a:pt x="359" y="725"/>
                  </a:lnTo>
                  <a:lnTo>
                    <a:pt x="359" y="727"/>
                  </a:lnTo>
                  <a:close/>
                  <a:moveTo>
                    <a:pt x="354" y="722"/>
                  </a:moveTo>
                  <a:lnTo>
                    <a:pt x="354" y="725"/>
                  </a:lnTo>
                  <a:lnTo>
                    <a:pt x="354" y="722"/>
                  </a:lnTo>
                  <a:close/>
                  <a:moveTo>
                    <a:pt x="354" y="722"/>
                  </a:moveTo>
                  <a:lnTo>
                    <a:pt x="351" y="725"/>
                  </a:lnTo>
                  <a:lnTo>
                    <a:pt x="351" y="722"/>
                  </a:lnTo>
                  <a:lnTo>
                    <a:pt x="354" y="722"/>
                  </a:lnTo>
                  <a:close/>
                  <a:moveTo>
                    <a:pt x="389" y="722"/>
                  </a:moveTo>
                  <a:lnTo>
                    <a:pt x="387" y="722"/>
                  </a:lnTo>
                  <a:lnTo>
                    <a:pt x="389" y="722"/>
                  </a:lnTo>
                  <a:close/>
                  <a:moveTo>
                    <a:pt x="351" y="722"/>
                  </a:moveTo>
                  <a:lnTo>
                    <a:pt x="354" y="722"/>
                  </a:lnTo>
                  <a:lnTo>
                    <a:pt x="351" y="722"/>
                  </a:lnTo>
                  <a:close/>
                  <a:moveTo>
                    <a:pt x="387" y="722"/>
                  </a:moveTo>
                  <a:lnTo>
                    <a:pt x="387" y="720"/>
                  </a:lnTo>
                  <a:lnTo>
                    <a:pt x="387" y="722"/>
                  </a:lnTo>
                  <a:close/>
                  <a:moveTo>
                    <a:pt x="387" y="722"/>
                  </a:moveTo>
                  <a:lnTo>
                    <a:pt x="387" y="720"/>
                  </a:lnTo>
                  <a:lnTo>
                    <a:pt x="387" y="722"/>
                  </a:lnTo>
                  <a:close/>
                  <a:moveTo>
                    <a:pt x="387" y="720"/>
                  </a:moveTo>
                  <a:lnTo>
                    <a:pt x="387" y="722"/>
                  </a:lnTo>
                  <a:lnTo>
                    <a:pt x="387" y="720"/>
                  </a:lnTo>
                  <a:close/>
                  <a:moveTo>
                    <a:pt x="418" y="717"/>
                  </a:moveTo>
                  <a:lnTo>
                    <a:pt x="418" y="720"/>
                  </a:lnTo>
                  <a:lnTo>
                    <a:pt x="418" y="717"/>
                  </a:lnTo>
                  <a:close/>
                  <a:moveTo>
                    <a:pt x="430" y="717"/>
                  </a:moveTo>
                  <a:lnTo>
                    <a:pt x="427" y="717"/>
                  </a:lnTo>
                  <a:lnTo>
                    <a:pt x="430" y="717"/>
                  </a:lnTo>
                  <a:close/>
                  <a:moveTo>
                    <a:pt x="399" y="717"/>
                  </a:moveTo>
                  <a:lnTo>
                    <a:pt x="397" y="717"/>
                  </a:lnTo>
                  <a:lnTo>
                    <a:pt x="399" y="717"/>
                  </a:lnTo>
                  <a:close/>
                  <a:moveTo>
                    <a:pt x="389" y="717"/>
                  </a:moveTo>
                  <a:lnTo>
                    <a:pt x="389" y="715"/>
                  </a:lnTo>
                  <a:lnTo>
                    <a:pt x="392" y="715"/>
                  </a:lnTo>
                  <a:lnTo>
                    <a:pt x="389" y="717"/>
                  </a:lnTo>
                  <a:close/>
                  <a:moveTo>
                    <a:pt x="392" y="715"/>
                  </a:moveTo>
                  <a:lnTo>
                    <a:pt x="389" y="715"/>
                  </a:lnTo>
                  <a:lnTo>
                    <a:pt x="392" y="715"/>
                  </a:lnTo>
                  <a:close/>
                  <a:moveTo>
                    <a:pt x="394" y="715"/>
                  </a:moveTo>
                  <a:lnTo>
                    <a:pt x="397" y="715"/>
                  </a:lnTo>
                  <a:lnTo>
                    <a:pt x="394" y="715"/>
                  </a:lnTo>
                  <a:close/>
                  <a:moveTo>
                    <a:pt x="397" y="715"/>
                  </a:moveTo>
                  <a:lnTo>
                    <a:pt x="394" y="715"/>
                  </a:lnTo>
                  <a:lnTo>
                    <a:pt x="397" y="715"/>
                  </a:lnTo>
                  <a:close/>
                  <a:moveTo>
                    <a:pt x="370" y="710"/>
                  </a:moveTo>
                  <a:lnTo>
                    <a:pt x="368" y="710"/>
                  </a:lnTo>
                  <a:lnTo>
                    <a:pt x="370" y="710"/>
                  </a:lnTo>
                  <a:close/>
                  <a:moveTo>
                    <a:pt x="401" y="710"/>
                  </a:moveTo>
                  <a:lnTo>
                    <a:pt x="399" y="710"/>
                  </a:lnTo>
                  <a:lnTo>
                    <a:pt x="401" y="710"/>
                  </a:lnTo>
                  <a:close/>
                  <a:moveTo>
                    <a:pt x="463" y="708"/>
                  </a:moveTo>
                  <a:lnTo>
                    <a:pt x="463" y="710"/>
                  </a:lnTo>
                  <a:lnTo>
                    <a:pt x="463" y="708"/>
                  </a:lnTo>
                  <a:close/>
                  <a:moveTo>
                    <a:pt x="375" y="708"/>
                  </a:moveTo>
                  <a:lnTo>
                    <a:pt x="373" y="708"/>
                  </a:lnTo>
                  <a:lnTo>
                    <a:pt x="375" y="708"/>
                  </a:lnTo>
                  <a:close/>
                  <a:moveTo>
                    <a:pt x="406" y="708"/>
                  </a:moveTo>
                  <a:lnTo>
                    <a:pt x="408" y="708"/>
                  </a:lnTo>
                  <a:lnTo>
                    <a:pt x="406" y="708"/>
                  </a:lnTo>
                  <a:close/>
                  <a:moveTo>
                    <a:pt x="406" y="708"/>
                  </a:moveTo>
                  <a:lnTo>
                    <a:pt x="408" y="708"/>
                  </a:lnTo>
                  <a:lnTo>
                    <a:pt x="406" y="708"/>
                  </a:lnTo>
                  <a:close/>
                  <a:moveTo>
                    <a:pt x="449" y="706"/>
                  </a:moveTo>
                  <a:lnTo>
                    <a:pt x="446" y="708"/>
                  </a:lnTo>
                  <a:lnTo>
                    <a:pt x="446" y="706"/>
                  </a:lnTo>
                  <a:lnTo>
                    <a:pt x="449" y="706"/>
                  </a:lnTo>
                  <a:close/>
                  <a:moveTo>
                    <a:pt x="406" y="703"/>
                  </a:moveTo>
                  <a:lnTo>
                    <a:pt x="406" y="701"/>
                  </a:lnTo>
                  <a:lnTo>
                    <a:pt x="406" y="703"/>
                  </a:lnTo>
                  <a:close/>
                  <a:moveTo>
                    <a:pt x="413" y="701"/>
                  </a:moveTo>
                  <a:lnTo>
                    <a:pt x="411" y="701"/>
                  </a:lnTo>
                  <a:lnTo>
                    <a:pt x="413" y="701"/>
                  </a:lnTo>
                  <a:close/>
                  <a:moveTo>
                    <a:pt x="446" y="698"/>
                  </a:moveTo>
                  <a:lnTo>
                    <a:pt x="446" y="701"/>
                  </a:lnTo>
                  <a:lnTo>
                    <a:pt x="446" y="698"/>
                  </a:lnTo>
                  <a:close/>
                  <a:moveTo>
                    <a:pt x="501" y="696"/>
                  </a:moveTo>
                  <a:lnTo>
                    <a:pt x="499" y="696"/>
                  </a:lnTo>
                  <a:lnTo>
                    <a:pt x="501" y="696"/>
                  </a:lnTo>
                  <a:close/>
                  <a:moveTo>
                    <a:pt x="418" y="694"/>
                  </a:moveTo>
                  <a:lnTo>
                    <a:pt x="418" y="696"/>
                  </a:lnTo>
                  <a:lnTo>
                    <a:pt x="418" y="694"/>
                  </a:lnTo>
                  <a:close/>
                  <a:moveTo>
                    <a:pt x="418" y="694"/>
                  </a:moveTo>
                  <a:lnTo>
                    <a:pt x="416" y="694"/>
                  </a:lnTo>
                  <a:lnTo>
                    <a:pt x="418" y="694"/>
                  </a:lnTo>
                  <a:close/>
                  <a:moveTo>
                    <a:pt x="418" y="694"/>
                  </a:moveTo>
                  <a:lnTo>
                    <a:pt x="416" y="694"/>
                  </a:lnTo>
                  <a:lnTo>
                    <a:pt x="418" y="691"/>
                  </a:lnTo>
                  <a:lnTo>
                    <a:pt x="418" y="694"/>
                  </a:lnTo>
                  <a:close/>
                  <a:moveTo>
                    <a:pt x="418" y="691"/>
                  </a:moveTo>
                  <a:lnTo>
                    <a:pt x="416" y="691"/>
                  </a:lnTo>
                  <a:lnTo>
                    <a:pt x="418" y="691"/>
                  </a:lnTo>
                  <a:close/>
                  <a:moveTo>
                    <a:pt x="520" y="687"/>
                  </a:moveTo>
                  <a:lnTo>
                    <a:pt x="520" y="689"/>
                  </a:lnTo>
                  <a:lnTo>
                    <a:pt x="520" y="687"/>
                  </a:lnTo>
                  <a:close/>
                  <a:moveTo>
                    <a:pt x="442" y="684"/>
                  </a:moveTo>
                  <a:lnTo>
                    <a:pt x="442" y="687"/>
                  </a:lnTo>
                  <a:lnTo>
                    <a:pt x="442" y="684"/>
                  </a:lnTo>
                  <a:close/>
                  <a:moveTo>
                    <a:pt x="446" y="682"/>
                  </a:moveTo>
                  <a:lnTo>
                    <a:pt x="446" y="684"/>
                  </a:lnTo>
                  <a:lnTo>
                    <a:pt x="446" y="682"/>
                  </a:lnTo>
                  <a:close/>
                  <a:moveTo>
                    <a:pt x="456" y="684"/>
                  </a:moveTo>
                  <a:lnTo>
                    <a:pt x="456" y="682"/>
                  </a:lnTo>
                  <a:lnTo>
                    <a:pt x="456" y="684"/>
                  </a:lnTo>
                  <a:close/>
                  <a:moveTo>
                    <a:pt x="446" y="682"/>
                  </a:moveTo>
                  <a:lnTo>
                    <a:pt x="444" y="682"/>
                  </a:lnTo>
                  <a:lnTo>
                    <a:pt x="446" y="682"/>
                  </a:lnTo>
                  <a:close/>
                  <a:moveTo>
                    <a:pt x="449" y="679"/>
                  </a:moveTo>
                  <a:lnTo>
                    <a:pt x="446" y="679"/>
                  </a:lnTo>
                  <a:lnTo>
                    <a:pt x="449" y="679"/>
                  </a:lnTo>
                  <a:close/>
                  <a:moveTo>
                    <a:pt x="582" y="675"/>
                  </a:moveTo>
                  <a:lnTo>
                    <a:pt x="579" y="675"/>
                  </a:lnTo>
                  <a:lnTo>
                    <a:pt x="582" y="675"/>
                  </a:lnTo>
                  <a:close/>
                  <a:moveTo>
                    <a:pt x="529" y="675"/>
                  </a:moveTo>
                  <a:lnTo>
                    <a:pt x="527" y="675"/>
                  </a:lnTo>
                  <a:lnTo>
                    <a:pt x="529" y="675"/>
                  </a:lnTo>
                  <a:close/>
                  <a:moveTo>
                    <a:pt x="544" y="672"/>
                  </a:moveTo>
                  <a:lnTo>
                    <a:pt x="546" y="672"/>
                  </a:lnTo>
                  <a:lnTo>
                    <a:pt x="544" y="672"/>
                  </a:lnTo>
                  <a:close/>
                  <a:moveTo>
                    <a:pt x="546" y="672"/>
                  </a:moveTo>
                  <a:lnTo>
                    <a:pt x="544" y="672"/>
                  </a:lnTo>
                  <a:lnTo>
                    <a:pt x="546" y="672"/>
                  </a:lnTo>
                  <a:close/>
                  <a:moveTo>
                    <a:pt x="449" y="672"/>
                  </a:moveTo>
                  <a:lnTo>
                    <a:pt x="451" y="672"/>
                  </a:lnTo>
                  <a:lnTo>
                    <a:pt x="449" y="672"/>
                  </a:lnTo>
                  <a:close/>
                  <a:moveTo>
                    <a:pt x="857" y="670"/>
                  </a:moveTo>
                  <a:lnTo>
                    <a:pt x="857" y="672"/>
                  </a:lnTo>
                  <a:lnTo>
                    <a:pt x="857" y="670"/>
                  </a:lnTo>
                  <a:close/>
                  <a:moveTo>
                    <a:pt x="857" y="670"/>
                  </a:moveTo>
                  <a:lnTo>
                    <a:pt x="857" y="672"/>
                  </a:lnTo>
                  <a:lnTo>
                    <a:pt x="857" y="670"/>
                  </a:lnTo>
                  <a:close/>
                  <a:moveTo>
                    <a:pt x="494" y="670"/>
                  </a:moveTo>
                  <a:lnTo>
                    <a:pt x="491" y="670"/>
                  </a:lnTo>
                  <a:lnTo>
                    <a:pt x="494" y="670"/>
                  </a:lnTo>
                  <a:close/>
                  <a:moveTo>
                    <a:pt x="845" y="670"/>
                  </a:moveTo>
                  <a:lnTo>
                    <a:pt x="845" y="668"/>
                  </a:lnTo>
                  <a:lnTo>
                    <a:pt x="845" y="670"/>
                  </a:lnTo>
                  <a:close/>
                  <a:moveTo>
                    <a:pt x="463" y="670"/>
                  </a:moveTo>
                  <a:lnTo>
                    <a:pt x="463" y="668"/>
                  </a:lnTo>
                  <a:lnTo>
                    <a:pt x="463" y="670"/>
                  </a:lnTo>
                  <a:close/>
                  <a:moveTo>
                    <a:pt x="847" y="668"/>
                  </a:moveTo>
                  <a:lnTo>
                    <a:pt x="845" y="668"/>
                  </a:lnTo>
                  <a:lnTo>
                    <a:pt x="847" y="668"/>
                  </a:lnTo>
                  <a:close/>
                  <a:moveTo>
                    <a:pt x="461" y="665"/>
                  </a:moveTo>
                  <a:lnTo>
                    <a:pt x="461" y="668"/>
                  </a:lnTo>
                  <a:lnTo>
                    <a:pt x="461" y="665"/>
                  </a:lnTo>
                  <a:close/>
                  <a:moveTo>
                    <a:pt x="463" y="665"/>
                  </a:moveTo>
                  <a:lnTo>
                    <a:pt x="461" y="665"/>
                  </a:lnTo>
                  <a:lnTo>
                    <a:pt x="463" y="665"/>
                  </a:lnTo>
                  <a:close/>
                  <a:moveTo>
                    <a:pt x="572" y="663"/>
                  </a:moveTo>
                  <a:lnTo>
                    <a:pt x="570" y="663"/>
                  </a:lnTo>
                  <a:lnTo>
                    <a:pt x="572" y="663"/>
                  </a:lnTo>
                  <a:close/>
                  <a:moveTo>
                    <a:pt x="463" y="663"/>
                  </a:moveTo>
                  <a:lnTo>
                    <a:pt x="461" y="663"/>
                  </a:lnTo>
                  <a:lnTo>
                    <a:pt x="463" y="663"/>
                  </a:lnTo>
                  <a:close/>
                  <a:moveTo>
                    <a:pt x="570" y="663"/>
                  </a:moveTo>
                  <a:lnTo>
                    <a:pt x="570" y="660"/>
                  </a:lnTo>
                  <a:lnTo>
                    <a:pt x="570" y="663"/>
                  </a:lnTo>
                  <a:close/>
                  <a:moveTo>
                    <a:pt x="463" y="660"/>
                  </a:moveTo>
                  <a:lnTo>
                    <a:pt x="461" y="663"/>
                  </a:lnTo>
                  <a:lnTo>
                    <a:pt x="463" y="660"/>
                  </a:lnTo>
                  <a:lnTo>
                    <a:pt x="461" y="660"/>
                  </a:lnTo>
                  <a:lnTo>
                    <a:pt x="463" y="660"/>
                  </a:lnTo>
                  <a:close/>
                  <a:moveTo>
                    <a:pt x="624" y="660"/>
                  </a:moveTo>
                  <a:lnTo>
                    <a:pt x="622" y="660"/>
                  </a:lnTo>
                  <a:lnTo>
                    <a:pt x="624" y="660"/>
                  </a:lnTo>
                  <a:close/>
                  <a:moveTo>
                    <a:pt x="463" y="660"/>
                  </a:moveTo>
                  <a:lnTo>
                    <a:pt x="461" y="660"/>
                  </a:lnTo>
                  <a:lnTo>
                    <a:pt x="463" y="660"/>
                  </a:lnTo>
                  <a:close/>
                  <a:moveTo>
                    <a:pt x="463" y="658"/>
                  </a:moveTo>
                  <a:lnTo>
                    <a:pt x="463" y="660"/>
                  </a:lnTo>
                  <a:lnTo>
                    <a:pt x="463" y="658"/>
                  </a:lnTo>
                  <a:close/>
                  <a:moveTo>
                    <a:pt x="465" y="658"/>
                  </a:moveTo>
                  <a:lnTo>
                    <a:pt x="463" y="658"/>
                  </a:lnTo>
                  <a:lnTo>
                    <a:pt x="465" y="658"/>
                  </a:lnTo>
                  <a:close/>
                  <a:moveTo>
                    <a:pt x="802" y="656"/>
                  </a:moveTo>
                  <a:lnTo>
                    <a:pt x="800" y="656"/>
                  </a:lnTo>
                  <a:lnTo>
                    <a:pt x="802" y="656"/>
                  </a:lnTo>
                  <a:close/>
                  <a:moveTo>
                    <a:pt x="679" y="656"/>
                  </a:moveTo>
                  <a:lnTo>
                    <a:pt x="679" y="653"/>
                  </a:lnTo>
                  <a:lnTo>
                    <a:pt x="679" y="656"/>
                  </a:lnTo>
                  <a:close/>
                  <a:moveTo>
                    <a:pt x="679" y="656"/>
                  </a:moveTo>
                  <a:lnTo>
                    <a:pt x="679" y="653"/>
                  </a:lnTo>
                  <a:lnTo>
                    <a:pt x="679" y="656"/>
                  </a:lnTo>
                  <a:close/>
                  <a:moveTo>
                    <a:pt x="472" y="653"/>
                  </a:moveTo>
                  <a:lnTo>
                    <a:pt x="470" y="653"/>
                  </a:lnTo>
                  <a:lnTo>
                    <a:pt x="472" y="653"/>
                  </a:lnTo>
                  <a:close/>
                  <a:moveTo>
                    <a:pt x="681" y="651"/>
                  </a:moveTo>
                  <a:lnTo>
                    <a:pt x="679" y="651"/>
                  </a:lnTo>
                  <a:lnTo>
                    <a:pt x="681" y="651"/>
                  </a:lnTo>
                  <a:close/>
                  <a:moveTo>
                    <a:pt x="470" y="651"/>
                  </a:moveTo>
                  <a:lnTo>
                    <a:pt x="468" y="651"/>
                  </a:lnTo>
                  <a:lnTo>
                    <a:pt x="470" y="651"/>
                  </a:lnTo>
                  <a:close/>
                  <a:moveTo>
                    <a:pt x="513" y="651"/>
                  </a:moveTo>
                  <a:lnTo>
                    <a:pt x="513" y="649"/>
                  </a:lnTo>
                  <a:lnTo>
                    <a:pt x="513" y="651"/>
                  </a:lnTo>
                  <a:close/>
                  <a:moveTo>
                    <a:pt x="480" y="651"/>
                  </a:moveTo>
                  <a:lnTo>
                    <a:pt x="480" y="649"/>
                  </a:lnTo>
                  <a:lnTo>
                    <a:pt x="480" y="651"/>
                  </a:lnTo>
                  <a:close/>
                  <a:moveTo>
                    <a:pt x="681" y="651"/>
                  </a:moveTo>
                  <a:lnTo>
                    <a:pt x="681" y="649"/>
                  </a:lnTo>
                  <a:lnTo>
                    <a:pt x="681" y="651"/>
                  </a:lnTo>
                  <a:close/>
                  <a:moveTo>
                    <a:pt x="684" y="649"/>
                  </a:moveTo>
                  <a:lnTo>
                    <a:pt x="684" y="651"/>
                  </a:lnTo>
                  <a:lnTo>
                    <a:pt x="684" y="649"/>
                  </a:lnTo>
                  <a:close/>
                  <a:moveTo>
                    <a:pt x="679" y="649"/>
                  </a:moveTo>
                  <a:lnTo>
                    <a:pt x="679" y="646"/>
                  </a:lnTo>
                  <a:lnTo>
                    <a:pt x="679" y="649"/>
                  </a:lnTo>
                  <a:close/>
                  <a:moveTo>
                    <a:pt x="496" y="646"/>
                  </a:moveTo>
                  <a:lnTo>
                    <a:pt x="496" y="644"/>
                  </a:lnTo>
                  <a:lnTo>
                    <a:pt x="496" y="646"/>
                  </a:lnTo>
                  <a:close/>
                  <a:moveTo>
                    <a:pt x="489" y="646"/>
                  </a:moveTo>
                  <a:lnTo>
                    <a:pt x="489" y="644"/>
                  </a:lnTo>
                  <a:lnTo>
                    <a:pt x="489" y="646"/>
                  </a:lnTo>
                  <a:close/>
                  <a:moveTo>
                    <a:pt x="489" y="644"/>
                  </a:moveTo>
                  <a:lnTo>
                    <a:pt x="487" y="644"/>
                  </a:lnTo>
                  <a:lnTo>
                    <a:pt x="489" y="644"/>
                  </a:lnTo>
                  <a:close/>
                  <a:moveTo>
                    <a:pt x="489" y="644"/>
                  </a:moveTo>
                  <a:lnTo>
                    <a:pt x="487" y="644"/>
                  </a:lnTo>
                  <a:lnTo>
                    <a:pt x="489" y="644"/>
                  </a:lnTo>
                  <a:close/>
                  <a:moveTo>
                    <a:pt x="487" y="644"/>
                  </a:moveTo>
                  <a:lnTo>
                    <a:pt x="484" y="644"/>
                  </a:lnTo>
                  <a:lnTo>
                    <a:pt x="487" y="644"/>
                  </a:lnTo>
                  <a:close/>
                  <a:moveTo>
                    <a:pt x="622" y="641"/>
                  </a:moveTo>
                  <a:lnTo>
                    <a:pt x="620" y="641"/>
                  </a:lnTo>
                  <a:lnTo>
                    <a:pt x="622" y="639"/>
                  </a:lnTo>
                  <a:lnTo>
                    <a:pt x="622" y="641"/>
                  </a:lnTo>
                  <a:close/>
                  <a:moveTo>
                    <a:pt x="681" y="639"/>
                  </a:moveTo>
                  <a:lnTo>
                    <a:pt x="679" y="639"/>
                  </a:lnTo>
                  <a:lnTo>
                    <a:pt x="681" y="637"/>
                  </a:lnTo>
                  <a:lnTo>
                    <a:pt x="681" y="639"/>
                  </a:lnTo>
                  <a:close/>
                  <a:moveTo>
                    <a:pt x="783" y="637"/>
                  </a:moveTo>
                  <a:lnTo>
                    <a:pt x="781" y="637"/>
                  </a:lnTo>
                  <a:lnTo>
                    <a:pt x="783" y="637"/>
                  </a:lnTo>
                  <a:close/>
                  <a:moveTo>
                    <a:pt x="878" y="637"/>
                  </a:moveTo>
                  <a:lnTo>
                    <a:pt x="876" y="637"/>
                  </a:lnTo>
                  <a:lnTo>
                    <a:pt x="878" y="637"/>
                  </a:lnTo>
                  <a:close/>
                  <a:moveTo>
                    <a:pt x="786" y="634"/>
                  </a:moveTo>
                  <a:lnTo>
                    <a:pt x="783" y="634"/>
                  </a:lnTo>
                  <a:lnTo>
                    <a:pt x="786" y="634"/>
                  </a:lnTo>
                  <a:close/>
                  <a:moveTo>
                    <a:pt x="786" y="634"/>
                  </a:moveTo>
                  <a:lnTo>
                    <a:pt x="783" y="634"/>
                  </a:lnTo>
                  <a:lnTo>
                    <a:pt x="786" y="634"/>
                  </a:lnTo>
                  <a:close/>
                  <a:moveTo>
                    <a:pt x="786" y="634"/>
                  </a:moveTo>
                  <a:lnTo>
                    <a:pt x="783" y="634"/>
                  </a:lnTo>
                  <a:lnTo>
                    <a:pt x="786" y="634"/>
                  </a:lnTo>
                  <a:close/>
                  <a:moveTo>
                    <a:pt x="786" y="634"/>
                  </a:moveTo>
                  <a:lnTo>
                    <a:pt x="783" y="634"/>
                  </a:lnTo>
                  <a:lnTo>
                    <a:pt x="786" y="634"/>
                  </a:lnTo>
                  <a:lnTo>
                    <a:pt x="783" y="634"/>
                  </a:lnTo>
                  <a:lnTo>
                    <a:pt x="786" y="634"/>
                  </a:lnTo>
                  <a:close/>
                  <a:moveTo>
                    <a:pt x="731" y="632"/>
                  </a:moveTo>
                  <a:lnTo>
                    <a:pt x="731" y="634"/>
                  </a:lnTo>
                  <a:lnTo>
                    <a:pt x="731" y="632"/>
                  </a:lnTo>
                  <a:close/>
                  <a:moveTo>
                    <a:pt x="686" y="632"/>
                  </a:moveTo>
                  <a:lnTo>
                    <a:pt x="684" y="632"/>
                  </a:lnTo>
                  <a:lnTo>
                    <a:pt x="686" y="632"/>
                  </a:lnTo>
                  <a:close/>
                  <a:moveTo>
                    <a:pt x="653" y="632"/>
                  </a:moveTo>
                  <a:lnTo>
                    <a:pt x="650" y="632"/>
                  </a:lnTo>
                  <a:lnTo>
                    <a:pt x="653" y="632"/>
                  </a:lnTo>
                  <a:close/>
                  <a:moveTo>
                    <a:pt x="596" y="632"/>
                  </a:moveTo>
                  <a:lnTo>
                    <a:pt x="596" y="630"/>
                  </a:lnTo>
                  <a:lnTo>
                    <a:pt x="596" y="632"/>
                  </a:lnTo>
                  <a:close/>
                  <a:moveTo>
                    <a:pt x="593" y="630"/>
                  </a:moveTo>
                  <a:lnTo>
                    <a:pt x="593" y="632"/>
                  </a:lnTo>
                  <a:lnTo>
                    <a:pt x="593" y="630"/>
                  </a:lnTo>
                  <a:close/>
                  <a:moveTo>
                    <a:pt x="688" y="630"/>
                  </a:moveTo>
                  <a:lnTo>
                    <a:pt x="686" y="630"/>
                  </a:lnTo>
                  <a:lnTo>
                    <a:pt x="688" y="630"/>
                  </a:lnTo>
                  <a:close/>
                  <a:moveTo>
                    <a:pt x="781" y="627"/>
                  </a:moveTo>
                  <a:lnTo>
                    <a:pt x="779" y="627"/>
                  </a:lnTo>
                  <a:lnTo>
                    <a:pt x="781" y="627"/>
                  </a:lnTo>
                  <a:close/>
                  <a:moveTo>
                    <a:pt x="741" y="625"/>
                  </a:moveTo>
                  <a:lnTo>
                    <a:pt x="741" y="627"/>
                  </a:lnTo>
                  <a:lnTo>
                    <a:pt x="741" y="625"/>
                  </a:lnTo>
                  <a:close/>
                  <a:moveTo>
                    <a:pt x="741" y="625"/>
                  </a:moveTo>
                  <a:lnTo>
                    <a:pt x="741" y="622"/>
                  </a:lnTo>
                  <a:lnTo>
                    <a:pt x="741" y="625"/>
                  </a:lnTo>
                  <a:close/>
                  <a:moveTo>
                    <a:pt x="575" y="622"/>
                  </a:moveTo>
                  <a:lnTo>
                    <a:pt x="577" y="622"/>
                  </a:lnTo>
                  <a:lnTo>
                    <a:pt x="575" y="622"/>
                  </a:lnTo>
                  <a:close/>
                  <a:moveTo>
                    <a:pt x="577" y="622"/>
                  </a:moveTo>
                  <a:lnTo>
                    <a:pt x="575" y="622"/>
                  </a:lnTo>
                  <a:lnTo>
                    <a:pt x="577" y="622"/>
                  </a:lnTo>
                  <a:close/>
                  <a:moveTo>
                    <a:pt x="598" y="622"/>
                  </a:moveTo>
                  <a:lnTo>
                    <a:pt x="596" y="622"/>
                  </a:lnTo>
                  <a:lnTo>
                    <a:pt x="598" y="622"/>
                  </a:lnTo>
                  <a:close/>
                  <a:moveTo>
                    <a:pt x="847" y="622"/>
                  </a:moveTo>
                  <a:lnTo>
                    <a:pt x="845" y="622"/>
                  </a:lnTo>
                  <a:lnTo>
                    <a:pt x="847" y="622"/>
                  </a:lnTo>
                  <a:close/>
                  <a:moveTo>
                    <a:pt x="610" y="620"/>
                  </a:moveTo>
                  <a:lnTo>
                    <a:pt x="608" y="620"/>
                  </a:lnTo>
                  <a:lnTo>
                    <a:pt x="610" y="620"/>
                  </a:lnTo>
                  <a:close/>
                  <a:moveTo>
                    <a:pt x="819" y="620"/>
                  </a:moveTo>
                  <a:lnTo>
                    <a:pt x="817" y="620"/>
                  </a:lnTo>
                  <a:lnTo>
                    <a:pt x="819" y="620"/>
                  </a:lnTo>
                  <a:close/>
                  <a:moveTo>
                    <a:pt x="603" y="620"/>
                  </a:moveTo>
                  <a:lnTo>
                    <a:pt x="601" y="620"/>
                  </a:lnTo>
                  <a:lnTo>
                    <a:pt x="603" y="620"/>
                  </a:lnTo>
                  <a:close/>
                  <a:moveTo>
                    <a:pt x="821" y="615"/>
                  </a:moveTo>
                  <a:lnTo>
                    <a:pt x="821" y="618"/>
                  </a:lnTo>
                  <a:lnTo>
                    <a:pt x="821" y="615"/>
                  </a:lnTo>
                  <a:close/>
                  <a:moveTo>
                    <a:pt x="821" y="615"/>
                  </a:moveTo>
                  <a:lnTo>
                    <a:pt x="819" y="615"/>
                  </a:lnTo>
                  <a:lnTo>
                    <a:pt x="821" y="615"/>
                  </a:lnTo>
                  <a:close/>
                  <a:moveTo>
                    <a:pt x="662" y="611"/>
                  </a:moveTo>
                  <a:lnTo>
                    <a:pt x="662" y="613"/>
                  </a:lnTo>
                  <a:lnTo>
                    <a:pt x="662" y="611"/>
                  </a:lnTo>
                  <a:close/>
                  <a:moveTo>
                    <a:pt x="783" y="599"/>
                  </a:moveTo>
                  <a:lnTo>
                    <a:pt x="783" y="601"/>
                  </a:lnTo>
                  <a:lnTo>
                    <a:pt x="783" y="599"/>
                  </a:lnTo>
                  <a:close/>
                  <a:moveTo>
                    <a:pt x="783" y="601"/>
                  </a:moveTo>
                  <a:lnTo>
                    <a:pt x="783" y="599"/>
                  </a:lnTo>
                  <a:lnTo>
                    <a:pt x="783" y="601"/>
                  </a:lnTo>
                  <a:close/>
                  <a:moveTo>
                    <a:pt x="669" y="599"/>
                  </a:moveTo>
                  <a:lnTo>
                    <a:pt x="669" y="596"/>
                  </a:lnTo>
                  <a:lnTo>
                    <a:pt x="669" y="599"/>
                  </a:lnTo>
                  <a:close/>
                  <a:moveTo>
                    <a:pt x="684" y="599"/>
                  </a:moveTo>
                  <a:lnTo>
                    <a:pt x="684" y="596"/>
                  </a:lnTo>
                  <a:lnTo>
                    <a:pt x="684" y="599"/>
                  </a:lnTo>
                  <a:close/>
                  <a:moveTo>
                    <a:pt x="707" y="596"/>
                  </a:moveTo>
                  <a:lnTo>
                    <a:pt x="705" y="596"/>
                  </a:lnTo>
                  <a:lnTo>
                    <a:pt x="707" y="596"/>
                  </a:lnTo>
                  <a:close/>
                  <a:moveTo>
                    <a:pt x="774" y="596"/>
                  </a:moveTo>
                  <a:lnTo>
                    <a:pt x="774" y="594"/>
                  </a:lnTo>
                  <a:lnTo>
                    <a:pt x="774" y="596"/>
                  </a:lnTo>
                  <a:close/>
                  <a:moveTo>
                    <a:pt x="691" y="594"/>
                  </a:moveTo>
                  <a:lnTo>
                    <a:pt x="691" y="596"/>
                  </a:lnTo>
                  <a:lnTo>
                    <a:pt x="691" y="594"/>
                  </a:lnTo>
                  <a:close/>
                  <a:moveTo>
                    <a:pt x="648" y="596"/>
                  </a:moveTo>
                  <a:lnTo>
                    <a:pt x="648" y="594"/>
                  </a:lnTo>
                  <a:lnTo>
                    <a:pt x="648" y="596"/>
                  </a:lnTo>
                  <a:close/>
                  <a:moveTo>
                    <a:pt x="643" y="594"/>
                  </a:moveTo>
                  <a:lnTo>
                    <a:pt x="643" y="596"/>
                  </a:lnTo>
                  <a:lnTo>
                    <a:pt x="643" y="594"/>
                  </a:lnTo>
                  <a:lnTo>
                    <a:pt x="643" y="596"/>
                  </a:lnTo>
                  <a:lnTo>
                    <a:pt x="643" y="594"/>
                  </a:lnTo>
                  <a:close/>
                  <a:moveTo>
                    <a:pt x="688" y="594"/>
                  </a:moveTo>
                  <a:lnTo>
                    <a:pt x="686" y="594"/>
                  </a:lnTo>
                  <a:lnTo>
                    <a:pt x="688" y="594"/>
                  </a:lnTo>
                  <a:close/>
                  <a:moveTo>
                    <a:pt x="693" y="589"/>
                  </a:moveTo>
                  <a:lnTo>
                    <a:pt x="693" y="592"/>
                  </a:lnTo>
                  <a:lnTo>
                    <a:pt x="693" y="589"/>
                  </a:lnTo>
                  <a:close/>
                  <a:moveTo>
                    <a:pt x="579" y="226"/>
                  </a:moveTo>
                  <a:lnTo>
                    <a:pt x="579" y="228"/>
                  </a:lnTo>
                  <a:lnTo>
                    <a:pt x="579" y="226"/>
                  </a:lnTo>
                  <a:close/>
                  <a:moveTo>
                    <a:pt x="589" y="223"/>
                  </a:moveTo>
                  <a:lnTo>
                    <a:pt x="589" y="226"/>
                  </a:lnTo>
                  <a:lnTo>
                    <a:pt x="589" y="223"/>
                  </a:lnTo>
                  <a:close/>
                  <a:moveTo>
                    <a:pt x="596" y="221"/>
                  </a:moveTo>
                  <a:lnTo>
                    <a:pt x="593" y="221"/>
                  </a:lnTo>
                  <a:lnTo>
                    <a:pt x="596" y="221"/>
                  </a:lnTo>
                  <a:close/>
                  <a:moveTo>
                    <a:pt x="349" y="219"/>
                  </a:moveTo>
                  <a:lnTo>
                    <a:pt x="347" y="219"/>
                  </a:lnTo>
                  <a:lnTo>
                    <a:pt x="349" y="219"/>
                  </a:lnTo>
                  <a:close/>
                  <a:moveTo>
                    <a:pt x="582" y="219"/>
                  </a:moveTo>
                  <a:lnTo>
                    <a:pt x="579" y="219"/>
                  </a:lnTo>
                  <a:lnTo>
                    <a:pt x="582" y="219"/>
                  </a:lnTo>
                  <a:close/>
                  <a:moveTo>
                    <a:pt x="617" y="209"/>
                  </a:moveTo>
                  <a:lnTo>
                    <a:pt x="615" y="209"/>
                  </a:lnTo>
                  <a:lnTo>
                    <a:pt x="617" y="209"/>
                  </a:lnTo>
                  <a:close/>
                  <a:moveTo>
                    <a:pt x="427" y="207"/>
                  </a:moveTo>
                  <a:lnTo>
                    <a:pt x="425" y="207"/>
                  </a:lnTo>
                  <a:lnTo>
                    <a:pt x="427" y="207"/>
                  </a:lnTo>
                  <a:close/>
                  <a:moveTo>
                    <a:pt x="332" y="192"/>
                  </a:moveTo>
                  <a:lnTo>
                    <a:pt x="330" y="192"/>
                  </a:lnTo>
                  <a:lnTo>
                    <a:pt x="332" y="192"/>
                  </a:lnTo>
                  <a:close/>
                  <a:moveTo>
                    <a:pt x="456" y="190"/>
                  </a:moveTo>
                  <a:lnTo>
                    <a:pt x="456" y="188"/>
                  </a:lnTo>
                  <a:lnTo>
                    <a:pt x="456" y="190"/>
                  </a:lnTo>
                  <a:close/>
                  <a:moveTo>
                    <a:pt x="456" y="188"/>
                  </a:moveTo>
                  <a:lnTo>
                    <a:pt x="453" y="188"/>
                  </a:lnTo>
                  <a:lnTo>
                    <a:pt x="456" y="188"/>
                  </a:lnTo>
                  <a:close/>
                  <a:moveTo>
                    <a:pt x="406" y="166"/>
                  </a:moveTo>
                  <a:lnTo>
                    <a:pt x="404" y="166"/>
                  </a:lnTo>
                  <a:lnTo>
                    <a:pt x="406" y="166"/>
                  </a:lnTo>
                  <a:close/>
                  <a:moveTo>
                    <a:pt x="655" y="166"/>
                  </a:moveTo>
                  <a:lnTo>
                    <a:pt x="653" y="166"/>
                  </a:lnTo>
                  <a:lnTo>
                    <a:pt x="655" y="166"/>
                  </a:lnTo>
                  <a:close/>
                  <a:moveTo>
                    <a:pt x="413" y="164"/>
                  </a:moveTo>
                  <a:lnTo>
                    <a:pt x="411" y="166"/>
                  </a:lnTo>
                  <a:lnTo>
                    <a:pt x="411" y="164"/>
                  </a:lnTo>
                  <a:lnTo>
                    <a:pt x="413" y="164"/>
                  </a:lnTo>
                  <a:close/>
                  <a:moveTo>
                    <a:pt x="423" y="164"/>
                  </a:moveTo>
                  <a:lnTo>
                    <a:pt x="420" y="164"/>
                  </a:lnTo>
                  <a:lnTo>
                    <a:pt x="423" y="164"/>
                  </a:lnTo>
                  <a:close/>
                  <a:moveTo>
                    <a:pt x="425" y="164"/>
                  </a:moveTo>
                  <a:lnTo>
                    <a:pt x="423" y="164"/>
                  </a:lnTo>
                  <a:lnTo>
                    <a:pt x="425" y="164"/>
                  </a:lnTo>
                  <a:close/>
                  <a:moveTo>
                    <a:pt x="427" y="164"/>
                  </a:moveTo>
                  <a:lnTo>
                    <a:pt x="425" y="164"/>
                  </a:lnTo>
                  <a:lnTo>
                    <a:pt x="427" y="162"/>
                  </a:lnTo>
                  <a:lnTo>
                    <a:pt x="427" y="164"/>
                  </a:lnTo>
                  <a:close/>
                  <a:moveTo>
                    <a:pt x="620" y="159"/>
                  </a:moveTo>
                  <a:lnTo>
                    <a:pt x="620" y="162"/>
                  </a:lnTo>
                  <a:lnTo>
                    <a:pt x="620" y="159"/>
                  </a:lnTo>
                  <a:close/>
                  <a:moveTo>
                    <a:pt x="539" y="154"/>
                  </a:moveTo>
                  <a:lnTo>
                    <a:pt x="537" y="154"/>
                  </a:lnTo>
                  <a:lnTo>
                    <a:pt x="539" y="154"/>
                  </a:lnTo>
                  <a:close/>
                  <a:moveTo>
                    <a:pt x="373" y="145"/>
                  </a:moveTo>
                  <a:lnTo>
                    <a:pt x="370" y="145"/>
                  </a:lnTo>
                  <a:lnTo>
                    <a:pt x="373" y="145"/>
                  </a:lnTo>
                  <a:close/>
                  <a:moveTo>
                    <a:pt x="373" y="145"/>
                  </a:moveTo>
                  <a:lnTo>
                    <a:pt x="370" y="145"/>
                  </a:lnTo>
                  <a:lnTo>
                    <a:pt x="373" y="145"/>
                  </a:lnTo>
                  <a:close/>
                  <a:moveTo>
                    <a:pt x="247" y="145"/>
                  </a:moveTo>
                  <a:lnTo>
                    <a:pt x="245" y="145"/>
                  </a:lnTo>
                  <a:lnTo>
                    <a:pt x="247" y="145"/>
                  </a:lnTo>
                  <a:close/>
                  <a:moveTo>
                    <a:pt x="306" y="143"/>
                  </a:moveTo>
                  <a:lnTo>
                    <a:pt x="304" y="143"/>
                  </a:lnTo>
                  <a:lnTo>
                    <a:pt x="306" y="143"/>
                  </a:lnTo>
                  <a:close/>
                  <a:moveTo>
                    <a:pt x="567" y="143"/>
                  </a:moveTo>
                  <a:lnTo>
                    <a:pt x="570" y="143"/>
                  </a:lnTo>
                  <a:lnTo>
                    <a:pt x="567" y="143"/>
                  </a:lnTo>
                  <a:close/>
                  <a:moveTo>
                    <a:pt x="567" y="143"/>
                  </a:moveTo>
                  <a:lnTo>
                    <a:pt x="570" y="143"/>
                  </a:lnTo>
                  <a:lnTo>
                    <a:pt x="567" y="143"/>
                  </a:lnTo>
                  <a:close/>
                  <a:moveTo>
                    <a:pt x="311" y="140"/>
                  </a:moveTo>
                  <a:lnTo>
                    <a:pt x="309" y="140"/>
                  </a:lnTo>
                  <a:lnTo>
                    <a:pt x="311" y="140"/>
                  </a:lnTo>
                  <a:close/>
                  <a:moveTo>
                    <a:pt x="537" y="138"/>
                  </a:moveTo>
                  <a:lnTo>
                    <a:pt x="534" y="138"/>
                  </a:lnTo>
                  <a:lnTo>
                    <a:pt x="537" y="138"/>
                  </a:lnTo>
                  <a:close/>
                  <a:moveTo>
                    <a:pt x="389" y="131"/>
                  </a:moveTo>
                  <a:lnTo>
                    <a:pt x="387" y="131"/>
                  </a:lnTo>
                  <a:lnTo>
                    <a:pt x="389" y="131"/>
                  </a:lnTo>
                  <a:close/>
                  <a:moveTo>
                    <a:pt x="328" y="126"/>
                  </a:moveTo>
                  <a:lnTo>
                    <a:pt x="325" y="126"/>
                  </a:lnTo>
                  <a:lnTo>
                    <a:pt x="328" y="126"/>
                  </a:lnTo>
                  <a:close/>
                  <a:moveTo>
                    <a:pt x="579" y="121"/>
                  </a:moveTo>
                  <a:lnTo>
                    <a:pt x="577" y="121"/>
                  </a:lnTo>
                  <a:lnTo>
                    <a:pt x="579" y="121"/>
                  </a:lnTo>
                  <a:close/>
                  <a:moveTo>
                    <a:pt x="221" y="119"/>
                  </a:moveTo>
                  <a:lnTo>
                    <a:pt x="219" y="119"/>
                  </a:lnTo>
                  <a:lnTo>
                    <a:pt x="221" y="119"/>
                  </a:lnTo>
                  <a:close/>
                  <a:moveTo>
                    <a:pt x="332" y="116"/>
                  </a:moveTo>
                  <a:lnTo>
                    <a:pt x="330" y="116"/>
                  </a:lnTo>
                  <a:lnTo>
                    <a:pt x="332" y="116"/>
                  </a:lnTo>
                  <a:close/>
                  <a:moveTo>
                    <a:pt x="551" y="116"/>
                  </a:moveTo>
                  <a:lnTo>
                    <a:pt x="551" y="114"/>
                  </a:lnTo>
                  <a:lnTo>
                    <a:pt x="551" y="116"/>
                  </a:lnTo>
                  <a:close/>
                  <a:moveTo>
                    <a:pt x="529" y="114"/>
                  </a:moveTo>
                  <a:lnTo>
                    <a:pt x="527" y="114"/>
                  </a:lnTo>
                  <a:lnTo>
                    <a:pt x="529" y="114"/>
                  </a:lnTo>
                  <a:close/>
                  <a:moveTo>
                    <a:pt x="233" y="112"/>
                  </a:moveTo>
                  <a:lnTo>
                    <a:pt x="230" y="112"/>
                  </a:lnTo>
                  <a:lnTo>
                    <a:pt x="233" y="112"/>
                  </a:lnTo>
                  <a:close/>
                  <a:moveTo>
                    <a:pt x="800" y="107"/>
                  </a:moveTo>
                  <a:lnTo>
                    <a:pt x="798" y="107"/>
                  </a:lnTo>
                  <a:lnTo>
                    <a:pt x="800" y="107"/>
                  </a:lnTo>
                  <a:close/>
                  <a:moveTo>
                    <a:pt x="798" y="107"/>
                  </a:moveTo>
                  <a:lnTo>
                    <a:pt x="800" y="107"/>
                  </a:lnTo>
                  <a:lnTo>
                    <a:pt x="798" y="107"/>
                  </a:lnTo>
                  <a:close/>
                  <a:moveTo>
                    <a:pt x="779" y="105"/>
                  </a:moveTo>
                  <a:lnTo>
                    <a:pt x="779" y="107"/>
                  </a:lnTo>
                  <a:lnTo>
                    <a:pt x="779" y="105"/>
                  </a:lnTo>
                  <a:close/>
                  <a:moveTo>
                    <a:pt x="551" y="100"/>
                  </a:moveTo>
                  <a:lnTo>
                    <a:pt x="548" y="100"/>
                  </a:lnTo>
                  <a:lnTo>
                    <a:pt x="551" y="100"/>
                  </a:lnTo>
                  <a:close/>
                  <a:moveTo>
                    <a:pt x="781" y="100"/>
                  </a:moveTo>
                  <a:lnTo>
                    <a:pt x="779" y="100"/>
                  </a:lnTo>
                  <a:lnTo>
                    <a:pt x="781" y="100"/>
                  </a:lnTo>
                  <a:close/>
                  <a:moveTo>
                    <a:pt x="558" y="97"/>
                  </a:moveTo>
                  <a:lnTo>
                    <a:pt x="560" y="97"/>
                  </a:lnTo>
                  <a:lnTo>
                    <a:pt x="558" y="97"/>
                  </a:lnTo>
                  <a:close/>
                  <a:moveTo>
                    <a:pt x="575" y="95"/>
                  </a:moveTo>
                  <a:lnTo>
                    <a:pt x="572" y="95"/>
                  </a:lnTo>
                  <a:lnTo>
                    <a:pt x="575" y="95"/>
                  </a:lnTo>
                  <a:close/>
                  <a:moveTo>
                    <a:pt x="563" y="93"/>
                  </a:moveTo>
                  <a:lnTo>
                    <a:pt x="563" y="95"/>
                  </a:lnTo>
                  <a:lnTo>
                    <a:pt x="563" y="93"/>
                  </a:lnTo>
                  <a:close/>
                  <a:moveTo>
                    <a:pt x="252" y="93"/>
                  </a:moveTo>
                  <a:lnTo>
                    <a:pt x="249" y="93"/>
                  </a:lnTo>
                  <a:lnTo>
                    <a:pt x="252" y="93"/>
                  </a:lnTo>
                  <a:close/>
                  <a:moveTo>
                    <a:pt x="389" y="93"/>
                  </a:moveTo>
                  <a:lnTo>
                    <a:pt x="387" y="93"/>
                  </a:lnTo>
                  <a:lnTo>
                    <a:pt x="389" y="93"/>
                  </a:lnTo>
                  <a:close/>
                  <a:moveTo>
                    <a:pt x="558" y="93"/>
                  </a:moveTo>
                  <a:lnTo>
                    <a:pt x="556" y="93"/>
                  </a:lnTo>
                  <a:lnTo>
                    <a:pt x="558" y="93"/>
                  </a:lnTo>
                  <a:close/>
                  <a:moveTo>
                    <a:pt x="510" y="93"/>
                  </a:moveTo>
                  <a:lnTo>
                    <a:pt x="508" y="93"/>
                  </a:lnTo>
                  <a:lnTo>
                    <a:pt x="510" y="93"/>
                  </a:lnTo>
                  <a:close/>
                  <a:moveTo>
                    <a:pt x="370" y="86"/>
                  </a:moveTo>
                  <a:lnTo>
                    <a:pt x="368" y="86"/>
                  </a:lnTo>
                  <a:lnTo>
                    <a:pt x="370" y="86"/>
                  </a:lnTo>
                  <a:close/>
                  <a:moveTo>
                    <a:pt x="520" y="76"/>
                  </a:moveTo>
                  <a:lnTo>
                    <a:pt x="518" y="76"/>
                  </a:lnTo>
                  <a:lnTo>
                    <a:pt x="520" y="76"/>
                  </a:lnTo>
                  <a:close/>
                  <a:moveTo>
                    <a:pt x="496" y="67"/>
                  </a:moveTo>
                  <a:lnTo>
                    <a:pt x="494" y="67"/>
                  </a:lnTo>
                  <a:lnTo>
                    <a:pt x="496" y="67"/>
                  </a:lnTo>
                  <a:close/>
                  <a:moveTo>
                    <a:pt x="295" y="64"/>
                  </a:moveTo>
                  <a:lnTo>
                    <a:pt x="297" y="64"/>
                  </a:lnTo>
                  <a:lnTo>
                    <a:pt x="295" y="64"/>
                  </a:lnTo>
                  <a:close/>
                  <a:moveTo>
                    <a:pt x="361" y="62"/>
                  </a:moveTo>
                  <a:lnTo>
                    <a:pt x="359" y="62"/>
                  </a:lnTo>
                  <a:lnTo>
                    <a:pt x="361" y="62"/>
                  </a:lnTo>
                  <a:close/>
                  <a:moveTo>
                    <a:pt x="499" y="62"/>
                  </a:moveTo>
                  <a:lnTo>
                    <a:pt x="496" y="62"/>
                  </a:lnTo>
                  <a:lnTo>
                    <a:pt x="499" y="62"/>
                  </a:lnTo>
                  <a:close/>
                  <a:moveTo>
                    <a:pt x="470" y="52"/>
                  </a:moveTo>
                  <a:lnTo>
                    <a:pt x="468" y="52"/>
                  </a:lnTo>
                  <a:lnTo>
                    <a:pt x="470" y="52"/>
                  </a:lnTo>
                  <a:close/>
                  <a:moveTo>
                    <a:pt x="299" y="52"/>
                  </a:moveTo>
                  <a:lnTo>
                    <a:pt x="297" y="52"/>
                  </a:lnTo>
                  <a:lnTo>
                    <a:pt x="299" y="52"/>
                  </a:lnTo>
                  <a:close/>
                  <a:moveTo>
                    <a:pt x="273" y="52"/>
                  </a:moveTo>
                  <a:lnTo>
                    <a:pt x="271" y="52"/>
                  </a:lnTo>
                  <a:lnTo>
                    <a:pt x="273" y="52"/>
                  </a:lnTo>
                  <a:close/>
                  <a:moveTo>
                    <a:pt x="207" y="50"/>
                  </a:moveTo>
                  <a:lnTo>
                    <a:pt x="204" y="50"/>
                  </a:lnTo>
                  <a:lnTo>
                    <a:pt x="207" y="50"/>
                  </a:lnTo>
                  <a:close/>
                  <a:moveTo>
                    <a:pt x="292" y="48"/>
                  </a:moveTo>
                  <a:lnTo>
                    <a:pt x="290" y="48"/>
                  </a:lnTo>
                  <a:lnTo>
                    <a:pt x="292" y="48"/>
                  </a:lnTo>
                  <a:close/>
                  <a:moveTo>
                    <a:pt x="304" y="48"/>
                  </a:moveTo>
                  <a:lnTo>
                    <a:pt x="302" y="48"/>
                  </a:lnTo>
                  <a:lnTo>
                    <a:pt x="304" y="48"/>
                  </a:lnTo>
                  <a:close/>
                  <a:moveTo>
                    <a:pt x="292" y="48"/>
                  </a:moveTo>
                  <a:lnTo>
                    <a:pt x="290" y="48"/>
                  </a:lnTo>
                  <a:lnTo>
                    <a:pt x="292" y="48"/>
                  </a:lnTo>
                  <a:close/>
                  <a:moveTo>
                    <a:pt x="461" y="43"/>
                  </a:moveTo>
                  <a:lnTo>
                    <a:pt x="461" y="40"/>
                  </a:lnTo>
                  <a:lnTo>
                    <a:pt x="461" y="43"/>
                  </a:lnTo>
                  <a:close/>
                  <a:moveTo>
                    <a:pt x="458" y="40"/>
                  </a:moveTo>
                  <a:lnTo>
                    <a:pt x="456" y="40"/>
                  </a:lnTo>
                  <a:lnTo>
                    <a:pt x="458" y="40"/>
                  </a:lnTo>
                  <a:close/>
                  <a:moveTo>
                    <a:pt x="233" y="38"/>
                  </a:moveTo>
                  <a:lnTo>
                    <a:pt x="230" y="38"/>
                  </a:lnTo>
                  <a:lnTo>
                    <a:pt x="233" y="38"/>
                  </a:lnTo>
                  <a:close/>
                  <a:moveTo>
                    <a:pt x="382" y="33"/>
                  </a:moveTo>
                  <a:lnTo>
                    <a:pt x="382" y="36"/>
                  </a:lnTo>
                  <a:lnTo>
                    <a:pt x="382" y="33"/>
                  </a:lnTo>
                  <a:close/>
                  <a:moveTo>
                    <a:pt x="382" y="33"/>
                  </a:moveTo>
                  <a:lnTo>
                    <a:pt x="382" y="36"/>
                  </a:lnTo>
                  <a:lnTo>
                    <a:pt x="382" y="33"/>
                  </a:lnTo>
                  <a:close/>
                  <a:moveTo>
                    <a:pt x="458" y="28"/>
                  </a:moveTo>
                  <a:lnTo>
                    <a:pt x="461" y="28"/>
                  </a:lnTo>
                  <a:lnTo>
                    <a:pt x="458" y="28"/>
                  </a:lnTo>
                  <a:close/>
                  <a:moveTo>
                    <a:pt x="465" y="26"/>
                  </a:moveTo>
                  <a:lnTo>
                    <a:pt x="463" y="26"/>
                  </a:lnTo>
                  <a:lnTo>
                    <a:pt x="465" y="26"/>
                  </a:lnTo>
                  <a:close/>
                  <a:moveTo>
                    <a:pt x="453" y="24"/>
                  </a:moveTo>
                  <a:lnTo>
                    <a:pt x="453" y="26"/>
                  </a:lnTo>
                  <a:lnTo>
                    <a:pt x="453" y="24"/>
                  </a:lnTo>
                  <a:close/>
                  <a:moveTo>
                    <a:pt x="332" y="24"/>
                  </a:moveTo>
                  <a:lnTo>
                    <a:pt x="330" y="24"/>
                  </a:lnTo>
                  <a:lnTo>
                    <a:pt x="332" y="24"/>
                  </a:lnTo>
                  <a:close/>
                  <a:moveTo>
                    <a:pt x="387" y="21"/>
                  </a:moveTo>
                  <a:lnTo>
                    <a:pt x="385" y="21"/>
                  </a:lnTo>
                  <a:lnTo>
                    <a:pt x="387" y="21"/>
                  </a:lnTo>
                  <a:close/>
                  <a:moveTo>
                    <a:pt x="589" y="17"/>
                  </a:moveTo>
                  <a:lnTo>
                    <a:pt x="586" y="17"/>
                  </a:lnTo>
                  <a:lnTo>
                    <a:pt x="589" y="17"/>
                  </a:lnTo>
                  <a:close/>
                  <a:moveTo>
                    <a:pt x="482" y="17"/>
                  </a:moveTo>
                  <a:lnTo>
                    <a:pt x="480" y="17"/>
                  </a:lnTo>
                  <a:lnTo>
                    <a:pt x="482" y="17"/>
                  </a:lnTo>
                  <a:close/>
                  <a:moveTo>
                    <a:pt x="631" y="14"/>
                  </a:moveTo>
                  <a:lnTo>
                    <a:pt x="629" y="14"/>
                  </a:lnTo>
                  <a:lnTo>
                    <a:pt x="631" y="14"/>
                  </a:lnTo>
                  <a:close/>
                  <a:moveTo>
                    <a:pt x="636" y="9"/>
                  </a:moveTo>
                  <a:lnTo>
                    <a:pt x="634" y="9"/>
                  </a:lnTo>
                  <a:lnTo>
                    <a:pt x="636" y="9"/>
                  </a:lnTo>
                  <a:close/>
                  <a:moveTo>
                    <a:pt x="669" y="7"/>
                  </a:moveTo>
                  <a:lnTo>
                    <a:pt x="667" y="7"/>
                  </a:lnTo>
                  <a:lnTo>
                    <a:pt x="669" y="7"/>
                  </a:lnTo>
                  <a:close/>
                  <a:moveTo>
                    <a:pt x="641" y="5"/>
                  </a:moveTo>
                  <a:lnTo>
                    <a:pt x="639" y="5"/>
                  </a:lnTo>
                  <a:lnTo>
                    <a:pt x="641" y="5"/>
                  </a:lnTo>
                  <a:close/>
                  <a:moveTo>
                    <a:pt x="553" y="2"/>
                  </a:moveTo>
                  <a:lnTo>
                    <a:pt x="556" y="2"/>
                  </a:lnTo>
                  <a:lnTo>
                    <a:pt x="553" y="2"/>
                  </a:lnTo>
                  <a:close/>
                  <a:moveTo>
                    <a:pt x="556" y="2"/>
                  </a:moveTo>
                  <a:lnTo>
                    <a:pt x="553" y="2"/>
                  </a:lnTo>
                  <a:lnTo>
                    <a:pt x="556" y="2"/>
                  </a:lnTo>
                  <a:close/>
                  <a:moveTo>
                    <a:pt x="658" y="0"/>
                  </a:moveTo>
                  <a:lnTo>
                    <a:pt x="655" y="0"/>
                  </a:lnTo>
                  <a:lnTo>
                    <a:pt x="658" y="0"/>
                  </a:lnTo>
                  <a:close/>
                  <a:moveTo>
                    <a:pt x="506" y="0"/>
                  </a:moveTo>
                  <a:lnTo>
                    <a:pt x="503" y="0"/>
                  </a:lnTo>
                  <a:lnTo>
                    <a:pt x="50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89" name="Freeform 55036"/>
            <p:cNvSpPr>
              <a:spLocks noEditPoints="1"/>
            </p:cNvSpPr>
            <p:nvPr/>
          </p:nvSpPr>
          <p:spPr bwMode="auto">
            <a:xfrm>
              <a:off x="2767011" y="4321189"/>
              <a:ext cx="523875" cy="455614"/>
            </a:xfrm>
            <a:custGeom>
              <a:avLst/>
              <a:gdLst>
                <a:gd name="T0" fmla="*/ 17 w 330"/>
                <a:gd name="T1" fmla="*/ 73 h 287"/>
                <a:gd name="T2" fmla="*/ 7 w 330"/>
                <a:gd name="T3" fmla="*/ 73 h 287"/>
                <a:gd name="T4" fmla="*/ 5 w 330"/>
                <a:gd name="T5" fmla="*/ 47 h 287"/>
                <a:gd name="T6" fmla="*/ 159 w 330"/>
                <a:gd name="T7" fmla="*/ 40 h 287"/>
                <a:gd name="T8" fmla="*/ 176 w 330"/>
                <a:gd name="T9" fmla="*/ 28 h 287"/>
                <a:gd name="T10" fmla="*/ 216 w 330"/>
                <a:gd name="T11" fmla="*/ 23 h 287"/>
                <a:gd name="T12" fmla="*/ 261 w 330"/>
                <a:gd name="T13" fmla="*/ 23 h 287"/>
                <a:gd name="T14" fmla="*/ 299 w 330"/>
                <a:gd name="T15" fmla="*/ 28 h 287"/>
                <a:gd name="T16" fmla="*/ 311 w 330"/>
                <a:gd name="T17" fmla="*/ 54 h 287"/>
                <a:gd name="T18" fmla="*/ 323 w 330"/>
                <a:gd name="T19" fmla="*/ 92 h 287"/>
                <a:gd name="T20" fmla="*/ 302 w 330"/>
                <a:gd name="T21" fmla="*/ 121 h 287"/>
                <a:gd name="T22" fmla="*/ 316 w 330"/>
                <a:gd name="T23" fmla="*/ 142 h 287"/>
                <a:gd name="T24" fmla="*/ 311 w 330"/>
                <a:gd name="T25" fmla="*/ 156 h 287"/>
                <a:gd name="T26" fmla="*/ 316 w 330"/>
                <a:gd name="T27" fmla="*/ 175 h 287"/>
                <a:gd name="T28" fmla="*/ 323 w 330"/>
                <a:gd name="T29" fmla="*/ 187 h 287"/>
                <a:gd name="T30" fmla="*/ 325 w 330"/>
                <a:gd name="T31" fmla="*/ 199 h 287"/>
                <a:gd name="T32" fmla="*/ 318 w 330"/>
                <a:gd name="T33" fmla="*/ 220 h 287"/>
                <a:gd name="T34" fmla="*/ 292 w 330"/>
                <a:gd name="T35" fmla="*/ 247 h 287"/>
                <a:gd name="T36" fmla="*/ 285 w 330"/>
                <a:gd name="T37" fmla="*/ 273 h 287"/>
                <a:gd name="T38" fmla="*/ 287 w 330"/>
                <a:gd name="T39" fmla="*/ 282 h 287"/>
                <a:gd name="T40" fmla="*/ 271 w 330"/>
                <a:gd name="T41" fmla="*/ 280 h 287"/>
                <a:gd name="T42" fmla="*/ 245 w 330"/>
                <a:gd name="T43" fmla="*/ 266 h 287"/>
                <a:gd name="T44" fmla="*/ 226 w 330"/>
                <a:gd name="T45" fmla="*/ 270 h 287"/>
                <a:gd name="T46" fmla="*/ 209 w 330"/>
                <a:gd name="T47" fmla="*/ 268 h 287"/>
                <a:gd name="T48" fmla="*/ 185 w 330"/>
                <a:gd name="T49" fmla="*/ 278 h 287"/>
                <a:gd name="T50" fmla="*/ 173 w 330"/>
                <a:gd name="T51" fmla="*/ 261 h 287"/>
                <a:gd name="T52" fmla="*/ 154 w 330"/>
                <a:gd name="T53" fmla="*/ 261 h 287"/>
                <a:gd name="T54" fmla="*/ 145 w 330"/>
                <a:gd name="T55" fmla="*/ 244 h 287"/>
                <a:gd name="T56" fmla="*/ 128 w 330"/>
                <a:gd name="T57" fmla="*/ 237 h 287"/>
                <a:gd name="T58" fmla="*/ 119 w 330"/>
                <a:gd name="T59" fmla="*/ 230 h 287"/>
                <a:gd name="T60" fmla="*/ 107 w 330"/>
                <a:gd name="T61" fmla="*/ 223 h 287"/>
                <a:gd name="T62" fmla="*/ 95 w 330"/>
                <a:gd name="T63" fmla="*/ 228 h 287"/>
                <a:gd name="T64" fmla="*/ 76 w 330"/>
                <a:gd name="T65" fmla="*/ 225 h 287"/>
                <a:gd name="T66" fmla="*/ 76 w 330"/>
                <a:gd name="T67" fmla="*/ 211 h 287"/>
                <a:gd name="T68" fmla="*/ 55 w 330"/>
                <a:gd name="T69" fmla="*/ 204 h 287"/>
                <a:gd name="T70" fmla="*/ 38 w 330"/>
                <a:gd name="T71" fmla="*/ 194 h 287"/>
                <a:gd name="T72" fmla="*/ 22 w 330"/>
                <a:gd name="T73" fmla="*/ 197 h 287"/>
                <a:gd name="T74" fmla="*/ 29 w 330"/>
                <a:gd name="T75" fmla="*/ 175 h 287"/>
                <a:gd name="T76" fmla="*/ 22 w 330"/>
                <a:gd name="T77" fmla="*/ 163 h 287"/>
                <a:gd name="T78" fmla="*/ 14 w 330"/>
                <a:gd name="T79" fmla="*/ 149 h 287"/>
                <a:gd name="T80" fmla="*/ 19 w 330"/>
                <a:gd name="T81" fmla="*/ 130 h 287"/>
                <a:gd name="T82" fmla="*/ 12 w 330"/>
                <a:gd name="T83" fmla="*/ 109 h 287"/>
                <a:gd name="T84" fmla="*/ 7 w 330"/>
                <a:gd name="T85" fmla="*/ 87 h 287"/>
                <a:gd name="T86" fmla="*/ 17 w 330"/>
                <a:gd name="T87" fmla="*/ 66 h 287"/>
                <a:gd name="T88" fmla="*/ 19 w 330"/>
                <a:gd name="T89" fmla="*/ 45 h 287"/>
                <a:gd name="T90" fmla="*/ 48 w 330"/>
                <a:gd name="T91" fmla="*/ 33 h 287"/>
                <a:gd name="T92" fmla="*/ 79 w 330"/>
                <a:gd name="T93" fmla="*/ 14 h 287"/>
                <a:gd name="T94" fmla="*/ 112 w 330"/>
                <a:gd name="T95" fmla="*/ 2 h 287"/>
                <a:gd name="T96" fmla="*/ 143 w 330"/>
                <a:gd name="T97" fmla="*/ 2 h 287"/>
                <a:gd name="T98" fmla="*/ 140 w 330"/>
                <a:gd name="T99" fmla="*/ 2 h 287"/>
                <a:gd name="T100" fmla="*/ 154 w 330"/>
                <a:gd name="T101" fmla="*/ 23 h 287"/>
                <a:gd name="T102" fmla="*/ 154 w 330"/>
                <a:gd name="T103" fmla="*/ 35 h 287"/>
                <a:gd name="T104" fmla="*/ 152 w 330"/>
                <a:gd name="T105" fmla="*/ 61 h 287"/>
                <a:gd name="T106" fmla="*/ 133 w 330"/>
                <a:gd name="T107" fmla="*/ 83 h 287"/>
                <a:gd name="T108" fmla="*/ 150 w 330"/>
                <a:gd name="T109" fmla="*/ 95 h 287"/>
                <a:gd name="T110" fmla="*/ 157 w 330"/>
                <a:gd name="T111" fmla="*/ 99 h 287"/>
                <a:gd name="T112" fmla="*/ 133 w 330"/>
                <a:gd name="T113" fmla="*/ 87 h 287"/>
                <a:gd name="T114" fmla="*/ 152 w 330"/>
                <a:gd name="T115" fmla="*/ 64 h 287"/>
                <a:gd name="T116" fmla="*/ 154 w 330"/>
                <a:gd name="T117" fmla="*/ 38 h 287"/>
                <a:gd name="T118" fmla="*/ 181 w 330"/>
                <a:gd name="T119" fmla="*/ 19 h 287"/>
                <a:gd name="T120" fmla="*/ 169 w 330"/>
                <a:gd name="T121" fmla="*/ 3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0" h="287">
                  <a:moveTo>
                    <a:pt x="5" y="54"/>
                  </a:moveTo>
                  <a:lnTo>
                    <a:pt x="7" y="54"/>
                  </a:lnTo>
                  <a:lnTo>
                    <a:pt x="7" y="57"/>
                  </a:lnTo>
                  <a:lnTo>
                    <a:pt x="10" y="57"/>
                  </a:lnTo>
                  <a:lnTo>
                    <a:pt x="12" y="57"/>
                  </a:lnTo>
                  <a:lnTo>
                    <a:pt x="12" y="59"/>
                  </a:lnTo>
                  <a:lnTo>
                    <a:pt x="14" y="59"/>
                  </a:lnTo>
                  <a:lnTo>
                    <a:pt x="14" y="61"/>
                  </a:lnTo>
                  <a:lnTo>
                    <a:pt x="14" y="64"/>
                  </a:lnTo>
                  <a:lnTo>
                    <a:pt x="17" y="64"/>
                  </a:lnTo>
                  <a:lnTo>
                    <a:pt x="17" y="66"/>
                  </a:lnTo>
                  <a:lnTo>
                    <a:pt x="17" y="68"/>
                  </a:lnTo>
                  <a:lnTo>
                    <a:pt x="14" y="68"/>
                  </a:lnTo>
                  <a:lnTo>
                    <a:pt x="14" y="71"/>
                  </a:lnTo>
                  <a:lnTo>
                    <a:pt x="17" y="71"/>
                  </a:lnTo>
                  <a:lnTo>
                    <a:pt x="17" y="73"/>
                  </a:lnTo>
                  <a:lnTo>
                    <a:pt x="14" y="73"/>
                  </a:lnTo>
                  <a:lnTo>
                    <a:pt x="12" y="73"/>
                  </a:lnTo>
                  <a:lnTo>
                    <a:pt x="14" y="73"/>
                  </a:lnTo>
                  <a:lnTo>
                    <a:pt x="12" y="73"/>
                  </a:lnTo>
                  <a:lnTo>
                    <a:pt x="12" y="76"/>
                  </a:lnTo>
                  <a:lnTo>
                    <a:pt x="12" y="78"/>
                  </a:lnTo>
                  <a:lnTo>
                    <a:pt x="12" y="80"/>
                  </a:lnTo>
                  <a:lnTo>
                    <a:pt x="10" y="80"/>
                  </a:lnTo>
                  <a:lnTo>
                    <a:pt x="10" y="83"/>
                  </a:lnTo>
                  <a:lnTo>
                    <a:pt x="7" y="85"/>
                  </a:lnTo>
                  <a:lnTo>
                    <a:pt x="7" y="83"/>
                  </a:lnTo>
                  <a:lnTo>
                    <a:pt x="7" y="80"/>
                  </a:lnTo>
                  <a:lnTo>
                    <a:pt x="10" y="80"/>
                  </a:lnTo>
                  <a:lnTo>
                    <a:pt x="10" y="78"/>
                  </a:lnTo>
                  <a:lnTo>
                    <a:pt x="10" y="76"/>
                  </a:lnTo>
                  <a:lnTo>
                    <a:pt x="7" y="73"/>
                  </a:lnTo>
                  <a:lnTo>
                    <a:pt x="10" y="73"/>
                  </a:lnTo>
                  <a:lnTo>
                    <a:pt x="7" y="73"/>
                  </a:lnTo>
                  <a:lnTo>
                    <a:pt x="7" y="71"/>
                  </a:lnTo>
                  <a:lnTo>
                    <a:pt x="7" y="68"/>
                  </a:lnTo>
                  <a:lnTo>
                    <a:pt x="7" y="66"/>
                  </a:lnTo>
                  <a:lnTo>
                    <a:pt x="5" y="66"/>
                  </a:lnTo>
                  <a:lnTo>
                    <a:pt x="5" y="64"/>
                  </a:lnTo>
                  <a:lnTo>
                    <a:pt x="5" y="61"/>
                  </a:lnTo>
                  <a:lnTo>
                    <a:pt x="5" y="59"/>
                  </a:lnTo>
                  <a:lnTo>
                    <a:pt x="5" y="57"/>
                  </a:lnTo>
                  <a:lnTo>
                    <a:pt x="5" y="54"/>
                  </a:lnTo>
                  <a:lnTo>
                    <a:pt x="5" y="57"/>
                  </a:lnTo>
                  <a:lnTo>
                    <a:pt x="5" y="54"/>
                  </a:lnTo>
                  <a:close/>
                  <a:moveTo>
                    <a:pt x="3" y="45"/>
                  </a:moveTo>
                  <a:lnTo>
                    <a:pt x="5" y="45"/>
                  </a:lnTo>
                  <a:lnTo>
                    <a:pt x="5" y="47"/>
                  </a:lnTo>
                  <a:lnTo>
                    <a:pt x="5" y="49"/>
                  </a:lnTo>
                  <a:lnTo>
                    <a:pt x="7" y="52"/>
                  </a:lnTo>
                  <a:lnTo>
                    <a:pt x="5" y="52"/>
                  </a:lnTo>
                  <a:lnTo>
                    <a:pt x="5" y="49"/>
                  </a:lnTo>
                  <a:lnTo>
                    <a:pt x="3" y="49"/>
                  </a:lnTo>
                  <a:lnTo>
                    <a:pt x="3" y="47"/>
                  </a:lnTo>
                  <a:lnTo>
                    <a:pt x="3" y="45"/>
                  </a:lnTo>
                  <a:close/>
                  <a:moveTo>
                    <a:pt x="164" y="40"/>
                  </a:moveTo>
                  <a:lnTo>
                    <a:pt x="162" y="40"/>
                  </a:lnTo>
                  <a:lnTo>
                    <a:pt x="162" y="38"/>
                  </a:lnTo>
                  <a:lnTo>
                    <a:pt x="162" y="40"/>
                  </a:lnTo>
                  <a:lnTo>
                    <a:pt x="159" y="40"/>
                  </a:lnTo>
                  <a:lnTo>
                    <a:pt x="159" y="42"/>
                  </a:lnTo>
                  <a:lnTo>
                    <a:pt x="157" y="42"/>
                  </a:lnTo>
                  <a:lnTo>
                    <a:pt x="159" y="42"/>
                  </a:lnTo>
                  <a:lnTo>
                    <a:pt x="159" y="40"/>
                  </a:lnTo>
                  <a:lnTo>
                    <a:pt x="162" y="40"/>
                  </a:lnTo>
                  <a:lnTo>
                    <a:pt x="164" y="40"/>
                  </a:lnTo>
                  <a:lnTo>
                    <a:pt x="164" y="38"/>
                  </a:lnTo>
                  <a:lnTo>
                    <a:pt x="166" y="38"/>
                  </a:lnTo>
                  <a:lnTo>
                    <a:pt x="166" y="35"/>
                  </a:lnTo>
                  <a:lnTo>
                    <a:pt x="169" y="35"/>
                  </a:lnTo>
                  <a:lnTo>
                    <a:pt x="169" y="33"/>
                  </a:lnTo>
                  <a:lnTo>
                    <a:pt x="171" y="33"/>
                  </a:lnTo>
                  <a:lnTo>
                    <a:pt x="171" y="30"/>
                  </a:lnTo>
                  <a:lnTo>
                    <a:pt x="171" y="28"/>
                  </a:lnTo>
                  <a:lnTo>
                    <a:pt x="169" y="28"/>
                  </a:lnTo>
                  <a:lnTo>
                    <a:pt x="171" y="28"/>
                  </a:lnTo>
                  <a:lnTo>
                    <a:pt x="173" y="28"/>
                  </a:lnTo>
                  <a:lnTo>
                    <a:pt x="173" y="30"/>
                  </a:lnTo>
                  <a:lnTo>
                    <a:pt x="173" y="28"/>
                  </a:lnTo>
                  <a:lnTo>
                    <a:pt x="176" y="28"/>
                  </a:lnTo>
                  <a:lnTo>
                    <a:pt x="176" y="26"/>
                  </a:lnTo>
                  <a:lnTo>
                    <a:pt x="178" y="26"/>
                  </a:lnTo>
                  <a:lnTo>
                    <a:pt x="178" y="23"/>
                  </a:lnTo>
                  <a:lnTo>
                    <a:pt x="181" y="23"/>
                  </a:lnTo>
                  <a:lnTo>
                    <a:pt x="183" y="23"/>
                  </a:lnTo>
                  <a:lnTo>
                    <a:pt x="183" y="21"/>
                  </a:lnTo>
                  <a:lnTo>
                    <a:pt x="185" y="21"/>
                  </a:lnTo>
                  <a:lnTo>
                    <a:pt x="185" y="19"/>
                  </a:lnTo>
                  <a:lnTo>
                    <a:pt x="188" y="19"/>
                  </a:lnTo>
                  <a:lnTo>
                    <a:pt x="190" y="19"/>
                  </a:lnTo>
                  <a:lnTo>
                    <a:pt x="195" y="21"/>
                  </a:lnTo>
                  <a:lnTo>
                    <a:pt x="200" y="21"/>
                  </a:lnTo>
                  <a:lnTo>
                    <a:pt x="202" y="21"/>
                  </a:lnTo>
                  <a:lnTo>
                    <a:pt x="207" y="21"/>
                  </a:lnTo>
                  <a:lnTo>
                    <a:pt x="214" y="23"/>
                  </a:lnTo>
                  <a:lnTo>
                    <a:pt x="216" y="23"/>
                  </a:lnTo>
                  <a:lnTo>
                    <a:pt x="219" y="23"/>
                  </a:lnTo>
                  <a:lnTo>
                    <a:pt x="221" y="23"/>
                  </a:lnTo>
                  <a:lnTo>
                    <a:pt x="228" y="23"/>
                  </a:lnTo>
                  <a:lnTo>
                    <a:pt x="230" y="23"/>
                  </a:lnTo>
                  <a:lnTo>
                    <a:pt x="233" y="23"/>
                  </a:lnTo>
                  <a:lnTo>
                    <a:pt x="235" y="26"/>
                  </a:lnTo>
                  <a:lnTo>
                    <a:pt x="238" y="26"/>
                  </a:lnTo>
                  <a:lnTo>
                    <a:pt x="240" y="26"/>
                  </a:lnTo>
                  <a:lnTo>
                    <a:pt x="242" y="26"/>
                  </a:lnTo>
                  <a:lnTo>
                    <a:pt x="245" y="26"/>
                  </a:lnTo>
                  <a:lnTo>
                    <a:pt x="247" y="26"/>
                  </a:lnTo>
                  <a:lnTo>
                    <a:pt x="252" y="26"/>
                  </a:lnTo>
                  <a:lnTo>
                    <a:pt x="257" y="26"/>
                  </a:lnTo>
                  <a:lnTo>
                    <a:pt x="259" y="26"/>
                  </a:lnTo>
                  <a:lnTo>
                    <a:pt x="259" y="23"/>
                  </a:lnTo>
                  <a:lnTo>
                    <a:pt x="261" y="23"/>
                  </a:lnTo>
                  <a:lnTo>
                    <a:pt x="264" y="23"/>
                  </a:lnTo>
                  <a:lnTo>
                    <a:pt x="266" y="23"/>
                  </a:lnTo>
                  <a:lnTo>
                    <a:pt x="271" y="23"/>
                  </a:lnTo>
                  <a:lnTo>
                    <a:pt x="273" y="23"/>
                  </a:lnTo>
                  <a:lnTo>
                    <a:pt x="280" y="23"/>
                  </a:lnTo>
                  <a:lnTo>
                    <a:pt x="283" y="23"/>
                  </a:lnTo>
                  <a:lnTo>
                    <a:pt x="285" y="23"/>
                  </a:lnTo>
                  <a:lnTo>
                    <a:pt x="287" y="21"/>
                  </a:lnTo>
                  <a:lnTo>
                    <a:pt x="290" y="21"/>
                  </a:lnTo>
                  <a:lnTo>
                    <a:pt x="292" y="21"/>
                  </a:lnTo>
                  <a:lnTo>
                    <a:pt x="292" y="23"/>
                  </a:lnTo>
                  <a:lnTo>
                    <a:pt x="294" y="23"/>
                  </a:lnTo>
                  <a:lnTo>
                    <a:pt x="294" y="26"/>
                  </a:lnTo>
                  <a:lnTo>
                    <a:pt x="297" y="26"/>
                  </a:lnTo>
                  <a:lnTo>
                    <a:pt x="299" y="26"/>
                  </a:lnTo>
                  <a:lnTo>
                    <a:pt x="299" y="28"/>
                  </a:lnTo>
                  <a:lnTo>
                    <a:pt x="302" y="28"/>
                  </a:lnTo>
                  <a:lnTo>
                    <a:pt x="304" y="28"/>
                  </a:lnTo>
                  <a:lnTo>
                    <a:pt x="304" y="30"/>
                  </a:lnTo>
                  <a:lnTo>
                    <a:pt x="306" y="30"/>
                  </a:lnTo>
                  <a:lnTo>
                    <a:pt x="306" y="33"/>
                  </a:lnTo>
                  <a:lnTo>
                    <a:pt x="309" y="33"/>
                  </a:lnTo>
                  <a:lnTo>
                    <a:pt x="309" y="35"/>
                  </a:lnTo>
                  <a:lnTo>
                    <a:pt x="309" y="38"/>
                  </a:lnTo>
                  <a:lnTo>
                    <a:pt x="309" y="40"/>
                  </a:lnTo>
                  <a:lnTo>
                    <a:pt x="309" y="42"/>
                  </a:lnTo>
                  <a:lnTo>
                    <a:pt x="309" y="45"/>
                  </a:lnTo>
                  <a:lnTo>
                    <a:pt x="309" y="47"/>
                  </a:lnTo>
                  <a:lnTo>
                    <a:pt x="309" y="49"/>
                  </a:lnTo>
                  <a:lnTo>
                    <a:pt x="311" y="49"/>
                  </a:lnTo>
                  <a:lnTo>
                    <a:pt x="311" y="52"/>
                  </a:lnTo>
                  <a:lnTo>
                    <a:pt x="311" y="54"/>
                  </a:lnTo>
                  <a:lnTo>
                    <a:pt x="311" y="57"/>
                  </a:lnTo>
                  <a:lnTo>
                    <a:pt x="313" y="61"/>
                  </a:lnTo>
                  <a:lnTo>
                    <a:pt x="313" y="64"/>
                  </a:lnTo>
                  <a:lnTo>
                    <a:pt x="313" y="66"/>
                  </a:lnTo>
                  <a:lnTo>
                    <a:pt x="316" y="68"/>
                  </a:lnTo>
                  <a:lnTo>
                    <a:pt x="316" y="71"/>
                  </a:lnTo>
                  <a:lnTo>
                    <a:pt x="318" y="76"/>
                  </a:lnTo>
                  <a:lnTo>
                    <a:pt x="321" y="80"/>
                  </a:lnTo>
                  <a:lnTo>
                    <a:pt x="321" y="83"/>
                  </a:lnTo>
                  <a:lnTo>
                    <a:pt x="323" y="83"/>
                  </a:lnTo>
                  <a:lnTo>
                    <a:pt x="323" y="85"/>
                  </a:lnTo>
                  <a:lnTo>
                    <a:pt x="321" y="85"/>
                  </a:lnTo>
                  <a:lnTo>
                    <a:pt x="321" y="87"/>
                  </a:lnTo>
                  <a:lnTo>
                    <a:pt x="323" y="87"/>
                  </a:lnTo>
                  <a:lnTo>
                    <a:pt x="323" y="90"/>
                  </a:lnTo>
                  <a:lnTo>
                    <a:pt x="323" y="92"/>
                  </a:lnTo>
                  <a:lnTo>
                    <a:pt x="323" y="95"/>
                  </a:lnTo>
                  <a:lnTo>
                    <a:pt x="323" y="97"/>
                  </a:lnTo>
                  <a:lnTo>
                    <a:pt x="323" y="99"/>
                  </a:lnTo>
                  <a:lnTo>
                    <a:pt x="323" y="102"/>
                  </a:lnTo>
                  <a:lnTo>
                    <a:pt x="323" y="106"/>
                  </a:lnTo>
                  <a:lnTo>
                    <a:pt x="321" y="106"/>
                  </a:lnTo>
                  <a:lnTo>
                    <a:pt x="318" y="109"/>
                  </a:lnTo>
                  <a:lnTo>
                    <a:pt x="316" y="111"/>
                  </a:lnTo>
                  <a:lnTo>
                    <a:pt x="313" y="111"/>
                  </a:lnTo>
                  <a:lnTo>
                    <a:pt x="311" y="111"/>
                  </a:lnTo>
                  <a:lnTo>
                    <a:pt x="309" y="114"/>
                  </a:lnTo>
                  <a:lnTo>
                    <a:pt x="306" y="114"/>
                  </a:lnTo>
                  <a:lnTo>
                    <a:pt x="306" y="116"/>
                  </a:lnTo>
                  <a:lnTo>
                    <a:pt x="304" y="118"/>
                  </a:lnTo>
                  <a:lnTo>
                    <a:pt x="304" y="121"/>
                  </a:lnTo>
                  <a:lnTo>
                    <a:pt x="302" y="121"/>
                  </a:lnTo>
                  <a:lnTo>
                    <a:pt x="299" y="123"/>
                  </a:lnTo>
                  <a:lnTo>
                    <a:pt x="299" y="125"/>
                  </a:lnTo>
                  <a:lnTo>
                    <a:pt x="299" y="128"/>
                  </a:lnTo>
                  <a:lnTo>
                    <a:pt x="299" y="130"/>
                  </a:lnTo>
                  <a:lnTo>
                    <a:pt x="302" y="130"/>
                  </a:lnTo>
                  <a:lnTo>
                    <a:pt x="304" y="130"/>
                  </a:lnTo>
                  <a:lnTo>
                    <a:pt x="306" y="130"/>
                  </a:lnTo>
                  <a:lnTo>
                    <a:pt x="306" y="133"/>
                  </a:lnTo>
                  <a:lnTo>
                    <a:pt x="309" y="133"/>
                  </a:lnTo>
                  <a:lnTo>
                    <a:pt x="309" y="135"/>
                  </a:lnTo>
                  <a:lnTo>
                    <a:pt x="311" y="135"/>
                  </a:lnTo>
                  <a:lnTo>
                    <a:pt x="313" y="135"/>
                  </a:lnTo>
                  <a:lnTo>
                    <a:pt x="313" y="137"/>
                  </a:lnTo>
                  <a:lnTo>
                    <a:pt x="313" y="140"/>
                  </a:lnTo>
                  <a:lnTo>
                    <a:pt x="316" y="140"/>
                  </a:lnTo>
                  <a:lnTo>
                    <a:pt x="316" y="142"/>
                  </a:lnTo>
                  <a:lnTo>
                    <a:pt x="313" y="142"/>
                  </a:lnTo>
                  <a:lnTo>
                    <a:pt x="313" y="144"/>
                  </a:lnTo>
                  <a:lnTo>
                    <a:pt x="313" y="147"/>
                  </a:lnTo>
                  <a:lnTo>
                    <a:pt x="313" y="149"/>
                  </a:lnTo>
                  <a:lnTo>
                    <a:pt x="311" y="149"/>
                  </a:lnTo>
                  <a:lnTo>
                    <a:pt x="313" y="149"/>
                  </a:lnTo>
                  <a:lnTo>
                    <a:pt x="311" y="149"/>
                  </a:lnTo>
                  <a:lnTo>
                    <a:pt x="313" y="149"/>
                  </a:lnTo>
                  <a:lnTo>
                    <a:pt x="313" y="152"/>
                  </a:lnTo>
                  <a:lnTo>
                    <a:pt x="311" y="152"/>
                  </a:lnTo>
                  <a:lnTo>
                    <a:pt x="311" y="154"/>
                  </a:lnTo>
                  <a:lnTo>
                    <a:pt x="311" y="152"/>
                  </a:lnTo>
                  <a:lnTo>
                    <a:pt x="311" y="154"/>
                  </a:lnTo>
                  <a:lnTo>
                    <a:pt x="309" y="154"/>
                  </a:lnTo>
                  <a:lnTo>
                    <a:pt x="311" y="154"/>
                  </a:lnTo>
                  <a:lnTo>
                    <a:pt x="311" y="156"/>
                  </a:lnTo>
                  <a:lnTo>
                    <a:pt x="311" y="159"/>
                  </a:lnTo>
                  <a:lnTo>
                    <a:pt x="311" y="161"/>
                  </a:lnTo>
                  <a:lnTo>
                    <a:pt x="311" y="163"/>
                  </a:lnTo>
                  <a:lnTo>
                    <a:pt x="313" y="163"/>
                  </a:lnTo>
                  <a:lnTo>
                    <a:pt x="313" y="166"/>
                  </a:lnTo>
                  <a:lnTo>
                    <a:pt x="316" y="166"/>
                  </a:lnTo>
                  <a:lnTo>
                    <a:pt x="313" y="166"/>
                  </a:lnTo>
                  <a:lnTo>
                    <a:pt x="313" y="168"/>
                  </a:lnTo>
                  <a:lnTo>
                    <a:pt x="316" y="168"/>
                  </a:lnTo>
                  <a:lnTo>
                    <a:pt x="316" y="171"/>
                  </a:lnTo>
                  <a:lnTo>
                    <a:pt x="316" y="168"/>
                  </a:lnTo>
                  <a:lnTo>
                    <a:pt x="316" y="171"/>
                  </a:lnTo>
                  <a:lnTo>
                    <a:pt x="316" y="173"/>
                  </a:lnTo>
                  <a:lnTo>
                    <a:pt x="313" y="173"/>
                  </a:lnTo>
                  <a:lnTo>
                    <a:pt x="313" y="175"/>
                  </a:lnTo>
                  <a:lnTo>
                    <a:pt x="316" y="175"/>
                  </a:lnTo>
                  <a:lnTo>
                    <a:pt x="316" y="178"/>
                  </a:lnTo>
                  <a:lnTo>
                    <a:pt x="316" y="175"/>
                  </a:lnTo>
                  <a:lnTo>
                    <a:pt x="316" y="178"/>
                  </a:lnTo>
                  <a:lnTo>
                    <a:pt x="316" y="180"/>
                  </a:lnTo>
                  <a:lnTo>
                    <a:pt x="318" y="180"/>
                  </a:lnTo>
                  <a:lnTo>
                    <a:pt x="318" y="182"/>
                  </a:lnTo>
                  <a:lnTo>
                    <a:pt x="321" y="182"/>
                  </a:lnTo>
                  <a:lnTo>
                    <a:pt x="321" y="185"/>
                  </a:lnTo>
                  <a:lnTo>
                    <a:pt x="321" y="182"/>
                  </a:lnTo>
                  <a:lnTo>
                    <a:pt x="321" y="185"/>
                  </a:lnTo>
                  <a:lnTo>
                    <a:pt x="321" y="182"/>
                  </a:lnTo>
                  <a:lnTo>
                    <a:pt x="321" y="185"/>
                  </a:lnTo>
                  <a:lnTo>
                    <a:pt x="321" y="187"/>
                  </a:lnTo>
                  <a:lnTo>
                    <a:pt x="321" y="185"/>
                  </a:lnTo>
                  <a:lnTo>
                    <a:pt x="321" y="187"/>
                  </a:lnTo>
                  <a:lnTo>
                    <a:pt x="323" y="187"/>
                  </a:lnTo>
                  <a:lnTo>
                    <a:pt x="323" y="190"/>
                  </a:lnTo>
                  <a:lnTo>
                    <a:pt x="325" y="192"/>
                  </a:lnTo>
                  <a:lnTo>
                    <a:pt x="325" y="194"/>
                  </a:lnTo>
                  <a:lnTo>
                    <a:pt x="328" y="194"/>
                  </a:lnTo>
                  <a:lnTo>
                    <a:pt x="328" y="197"/>
                  </a:lnTo>
                  <a:lnTo>
                    <a:pt x="330" y="197"/>
                  </a:lnTo>
                  <a:lnTo>
                    <a:pt x="330" y="199"/>
                  </a:lnTo>
                  <a:lnTo>
                    <a:pt x="328" y="199"/>
                  </a:lnTo>
                  <a:lnTo>
                    <a:pt x="328" y="197"/>
                  </a:lnTo>
                  <a:lnTo>
                    <a:pt x="325" y="199"/>
                  </a:lnTo>
                  <a:lnTo>
                    <a:pt x="325" y="197"/>
                  </a:lnTo>
                  <a:lnTo>
                    <a:pt x="325" y="199"/>
                  </a:lnTo>
                  <a:lnTo>
                    <a:pt x="325" y="197"/>
                  </a:lnTo>
                  <a:lnTo>
                    <a:pt x="325" y="199"/>
                  </a:lnTo>
                  <a:lnTo>
                    <a:pt x="325" y="197"/>
                  </a:lnTo>
                  <a:lnTo>
                    <a:pt x="325" y="199"/>
                  </a:lnTo>
                  <a:lnTo>
                    <a:pt x="325" y="197"/>
                  </a:lnTo>
                  <a:lnTo>
                    <a:pt x="325" y="199"/>
                  </a:lnTo>
                  <a:lnTo>
                    <a:pt x="323" y="199"/>
                  </a:lnTo>
                  <a:lnTo>
                    <a:pt x="325" y="201"/>
                  </a:lnTo>
                  <a:lnTo>
                    <a:pt x="325" y="204"/>
                  </a:lnTo>
                  <a:lnTo>
                    <a:pt x="328" y="204"/>
                  </a:lnTo>
                  <a:lnTo>
                    <a:pt x="328" y="206"/>
                  </a:lnTo>
                  <a:lnTo>
                    <a:pt x="328" y="209"/>
                  </a:lnTo>
                  <a:lnTo>
                    <a:pt x="328" y="211"/>
                  </a:lnTo>
                  <a:lnTo>
                    <a:pt x="328" y="213"/>
                  </a:lnTo>
                  <a:lnTo>
                    <a:pt x="328" y="216"/>
                  </a:lnTo>
                  <a:lnTo>
                    <a:pt x="328" y="218"/>
                  </a:lnTo>
                  <a:lnTo>
                    <a:pt x="325" y="218"/>
                  </a:lnTo>
                  <a:lnTo>
                    <a:pt x="323" y="218"/>
                  </a:lnTo>
                  <a:lnTo>
                    <a:pt x="318" y="218"/>
                  </a:lnTo>
                  <a:lnTo>
                    <a:pt x="318" y="220"/>
                  </a:lnTo>
                  <a:lnTo>
                    <a:pt x="316" y="220"/>
                  </a:lnTo>
                  <a:lnTo>
                    <a:pt x="316" y="223"/>
                  </a:lnTo>
                  <a:lnTo>
                    <a:pt x="313" y="223"/>
                  </a:lnTo>
                  <a:lnTo>
                    <a:pt x="313" y="225"/>
                  </a:lnTo>
                  <a:lnTo>
                    <a:pt x="311" y="225"/>
                  </a:lnTo>
                  <a:lnTo>
                    <a:pt x="311" y="228"/>
                  </a:lnTo>
                  <a:lnTo>
                    <a:pt x="309" y="228"/>
                  </a:lnTo>
                  <a:lnTo>
                    <a:pt x="306" y="230"/>
                  </a:lnTo>
                  <a:lnTo>
                    <a:pt x="304" y="232"/>
                  </a:lnTo>
                  <a:lnTo>
                    <a:pt x="302" y="235"/>
                  </a:lnTo>
                  <a:lnTo>
                    <a:pt x="299" y="237"/>
                  </a:lnTo>
                  <a:lnTo>
                    <a:pt x="297" y="239"/>
                  </a:lnTo>
                  <a:lnTo>
                    <a:pt x="297" y="242"/>
                  </a:lnTo>
                  <a:lnTo>
                    <a:pt x="294" y="242"/>
                  </a:lnTo>
                  <a:lnTo>
                    <a:pt x="294" y="244"/>
                  </a:lnTo>
                  <a:lnTo>
                    <a:pt x="292" y="247"/>
                  </a:lnTo>
                  <a:lnTo>
                    <a:pt x="292" y="249"/>
                  </a:lnTo>
                  <a:lnTo>
                    <a:pt x="290" y="249"/>
                  </a:lnTo>
                  <a:lnTo>
                    <a:pt x="290" y="251"/>
                  </a:lnTo>
                  <a:lnTo>
                    <a:pt x="287" y="251"/>
                  </a:lnTo>
                  <a:lnTo>
                    <a:pt x="287" y="254"/>
                  </a:lnTo>
                  <a:lnTo>
                    <a:pt x="285" y="254"/>
                  </a:lnTo>
                  <a:lnTo>
                    <a:pt x="285" y="256"/>
                  </a:lnTo>
                  <a:lnTo>
                    <a:pt x="283" y="258"/>
                  </a:lnTo>
                  <a:lnTo>
                    <a:pt x="283" y="261"/>
                  </a:lnTo>
                  <a:lnTo>
                    <a:pt x="280" y="261"/>
                  </a:lnTo>
                  <a:lnTo>
                    <a:pt x="280" y="263"/>
                  </a:lnTo>
                  <a:lnTo>
                    <a:pt x="283" y="263"/>
                  </a:lnTo>
                  <a:lnTo>
                    <a:pt x="283" y="266"/>
                  </a:lnTo>
                  <a:lnTo>
                    <a:pt x="285" y="268"/>
                  </a:lnTo>
                  <a:lnTo>
                    <a:pt x="285" y="270"/>
                  </a:lnTo>
                  <a:lnTo>
                    <a:pt x="285" y="273"/>
                  </a:lnTo>
                  <a:lnTo>
                    <a:pt x="283" y="275"/>
                  </a:lnTo>
                  <a:lnTo>
                    <a:pt x="283" y="278"/>
                  </a:lnTo>
                  <a:lnTo>
                    <a:pt x="285" y="278"/>
                  </a:lnTo>
                  <a:lnTo>
                    <a:pt x="283" y="278"/>
                  </a:lnTo>
                  <a:lnTo>
                    <a:pt x="283" y="280"/>
                  </a:lnTo>
                  <a:lnTo>
                    <a:pt x="283" y="278"/>
                  </a:lnTo>
                  <a:lnTo>
                    <a:pt x="285" y="278"/>
                  </a:lnTo>
                  <a:lnTo>
                    <a:pt x="285" y="280"/>
                  </a:lnTo>
                  <a:lnTo>
                    <a:pt x="283" y="280"/>
                  </a:lnTo>
                  <a:lnTo>
                    <a:pt x="285" y="280"/>
                  </a:lnTo>
                  <a:lnTo>
                    <a:pt x="287" y="280"/>
                  </a:lnTo>
                  <a:lnTo>
                    <a:pt x="287" y="282"/>
                  </a:lnTo>
                  <a:lnTo>
                    <a:pt x="287" y="280"/>
                  </a:lnTo>
                  <a:lnTo>
                    <a:pt x="287" y="282"/>
                  </a:lnTo>
                  <a:lnTo>
                    <a:pt x="290" y="282"/>
                  </a:lnTo>
                  <a:lnTo>
                    <a:pt x="287" y="282"/>
                  </a:lnTo>
                  <a:lnTo>
                    <a:pt x="290" y="282"/>
                  </a:lnTo>
                  <a:lnTo>
                    <a:pt x="287" y="282"/>
                  </a:lnTo>
                  <a:lnTo>
                    <a:pt x="287" y="285"/>
                  </a:lnTo>
                  <a:lnTo>
                    <a:pt x="287" y="287"/>
                  </a:lnTo>
                  <a:lnTo>
                    <a:pt x="290" y="287"/>
                  </a:lnTo>
                  <a:lnTo>
                    <a:pt x="287" y="287"/>
                  </a:lnTo>
                  <a:lnTo>
                    <a:pt x="287" y="285"/>
                  </a:lnTo>
                  <a:lnTo>
                    <a:pt x="285" y="285"/>
                  </a:lnTo>
                  <a:lnTo>
                    <a:pt x="283" y="285"/>
                  </a:lnTo>
                  <a:lnTo>
                    <a:pt x="280" y="285"/>
                  </a:lnTo>
                  <a:lnTo>
                    <a:pt x="280" y="282"/>
                  </a:lnTo>
                  <a:lnTo>
                    <a:pt x="278" y="282"/>
                  </a:lnTo>
                  <a:lnTo>
                    <a:pt x="275" y="282"/>
                  </a:lnTo>
                  <a:lnTo>
                    <a:pt x="273" y="282"/>
                  </a:lnTo>
                  <a:lnTo>
                    <a:pt x="273" y="280"/>
                  </a:lnTo>
                  <a:lnTo>
                    <a:pt x="271" y="280"/>
                  </a:lnTo>
                  <a:lnTo>
                    <a:pt x="268" y="280"/>
                  </a:lnTo>
                  <a:lnTo>
                    <a:pt x="266" y="280"/>
                  </a:lnTo>
                  <a:lnTo>
                    <a:pt x="266" y="278"/>
                  </a:lnTo>
                  <a:lnTo>
                    <a:pt x="264" y="278"/>
                  </a:lnTo>
                  <a:lnTo>
                    <a:pt x="261" y="278"/>
                  </a:lnTo>
                  <a:lnTo>
                    <a:pt x="261" y="275"/>
                  </a:lnTo>
                  <a:lnTo>
                    <a:pt x="261" y="273"/>
                  </a:lnTo>
                  <a:lnTo>
                    <a:pt x="259" y="273"/>
                  </a:lnTo>
                  <a:lnTo>
                    <a:pt x="259" y="270"/>
                  </a:lnTo>
                  <a:lnTo>
                    <a:pt x="257" y="270"/>
                  </a:lnTo>
                  <a:lnTo>
                    <a:pt x="254" y="268"/>
                  </a:lnTo>
                  <a:lnTo>
                    <a:pt x="252" y="270"/>
                  </a:lnTo>
                  <a:lnTo>
                    <a:pt x="252" y="268"/>
                  </a:lnTo>
                  <a:lnTo>
                    <a:pt x="249" y="268"/>
                  </a:lnTo>
                  <a:lnTo>
                    <a:pt x="247" y="266"/>
                  </a:lnTo>
                  <a:lnTo>
                    <a:pt x="245" y="266"/>
                  </a:lnTo>
                  <a:lnTo>
                    <a:pt x="245" y="268"/>
                  </a:lnTo>
                  <a:lnTo>
                    <a:pt x="242" y="266"/>
                  </a:lnTo>
                  <a:lnTo>
                    <a:pt x="242" y="268"/>
                  </a:lnTo>
                  <a:lnTo>
                    <a:pt x="240" y="268"/>
                  </a:lnTo>
                  <a:lnTo>
                    <a:pt x="240" y="266"/>
                  </a:lnTo>
                  <a:lnTo>
                    <a:pt x="238" y="266"/>
                  </a:lnTo>
                  <a:lnTo>
                    <a:pt x="235" y="266"/>
                  </a:lnTo>
                  <a:lnTo>
                    <a:pt x="233" y="266"/>
                  </a:lnTo>
                  <a:lnTo>
                    <a:pt x="233" y="268"/>
                  </a:lnTo>
                  <a:lnTo>
                    <a:pt x="230" y="266"/>
                  </a:lnTo>
                  <a:lnTo>
                    <a:pt x="228" y="266"/>
                  </a:lnTo>
                  <a:lnTo>
                    <a:pt x="228" y="268"/>
                  </a:lnTo>
                  <a:lnTo>
                    <a:pt x="230" y="268"/>
                  </a:lnTo>
                  <a:lnTo>
                    <a:pt x="230" y="270"/>
                  </a:lnTo>
                  <a:lnTo>
                    <a:pt x="228" y="270"/>
                  </a:lnTo>
                  <a:lnTo>
                    <a:pt x="226" y="270"/>
                  </a:lnTo>
                  <a:lnTo>
                    <a:pt x="226" y="273"/>
                  </a:lnTo>
                  <a:lnTo>
                    <a:pt x="223" y="273"/>
                  </a:lnTo>
                  <a:lnTo>
                    <a:pt x="223" y="270"/>
                  </a:lnTo>
                  <a:lnTo>
                    <a:pt x="223" y="273"/>
                  </a:lnTo>
                  <a:lnTo>
                    <a:pt x="223" y="270"/>
                  </a:lnTo>
                  <a:lnTo>
                    <a:pt x="221" y="270"/>
                  </a:lnTo>
                  <a:lnTo>
                    <a:pt x="219" y="270"/>
                  </a:lnTo>
                  <a:lnTo>
                    <a:pt x="221" y="270"/>
                  </a:lnTo>
                  <a:lnTo>
                    <a:pt x="219" y="270"/>
                  </a:lnTo>
                  <a:lnTo>
                    <a:pt x="219" y="268"/>
                  </a:lnTo>
                  <a:lnTo>
                    <a:pt x="219" y="270"/>
                  </a:lnTo>
                  <a:lnTo>
                    <a:pt x="219" y="268"/>
                  </a:lnTo>
                  <a:lnTo>
                    <a:pt x="216" y="268"/>
                  </a:lnTo>
                  <a:lnTo>
                    <a:pt x="214" y="268"/>
                  </a:lnTo>
                  <a:lnTo>
                    <a:pt x="211" y="268"/>
                  </a:lnTo>
                  <a:lnTo>
                    <a:pt x="209" y="268"/>
                  </a:lnTo>
                  <a:lnTo>
                    <a:pt x="207" y="268"/>
                  </a:lnTo>
                  <a:lnTo>
                    <a:pt x="204" y="268"/>
                  </a:lnTo>
                  <a:lnTo>
                    <a:pt x="204" y="270"/>
                  </a:lnTo>
                  <a:lnTo>
                    <a:pt x="202" y="270"/>
                  </a:lnTo>
                  <a:lnTo>
                    <a:pt x="200" y="270"/>
                  </a:lnTo>
                  <a:lnTo>
                    <a:pt x="200" y="273"/>
                  </a:lnTo>
                  <a:lnTo>
                    <a:pt x="197" y="273"/>
                  </a:lnTo>
                  <a:lnTo>
                    <a:pt x="197" y="275"/>
                  </a:lnTo>
                  <a:lnTo>
                    <a:pt x="197" y="278"/>
                  </a:lnTo>
                  <a:lnTo>
                    <a:pt x="195" y="278"/>
                  </a:lnTo>
                  <a:lnTo>
                    <a:pt x="192" y="278"/>
                  </a:lnTo>
                  <a:lnTo>
                    <a:pt x="192" y="275"/>
                  </a:lnTo>
                  <a:lnTo>
                    <a:pt x="190" y="275"/>
                  </a:lnTo>
                  <a:lnTo>
                    <a:pt x="190" y="278"/>
                  </a:lnTo>
                  <a:lnTo>
                    <a:pt x="188" y="278"/>
                  </a:lnTo>
                  <a:lnTo>
                    <a:pt x="185" y="278"/>
                  </a:lnTo>
                  <a:lnTo>
                    <a:pt x="185" y="275"/>
                  </a:lnTo>
                  <a:lnTo>
                    <a:pt x="188" y="275"/>
                  </a:lnTo>
                  <a:lnTo>
                    <a:pt x="188" y="273"/>
                  </a:lnTo>
                  <a:lnTo>
                    <a:pt x="188" y="270"/>
                  </a:lnTo>
                  <a:lnTo>
                    <a:pt x="188" y="268"/>
                  </a:lnTo>
                  <a:lnTo>
                    <a:pt x="185" y="268"/>
                  </a:lnTo>
                  <a:lnTo>
                    <a:pt x="183" y="268"/>
                  </a:lnTo>
                  <a:lnTo>
                    <a:pt x="181" y="268"/>
                  </a:lnTo>
                  <a:lnTo>
                    <a:pt x="183" y="266"/>
                  </a:lnTo>
                  <a:lnTo>
                    <a:pt x="181" y="266"/>
                  </a:lnTo>
                  <a:lnTo>
                    <a:pt x="178" y="263"/>
                  </a:lnTo>
                  <a:lnTo>
                    <a:pt x="178" y="261"/>
                  </a:lnTo>
                  <a:lnTo>
                    <a:pt x="178" y="258"/>
                  </a:lnTo>
                  <a:lnTo>
                    <a:pt x="176" y="258"/>
                  </a:lnTo>
                  <a:lnTo>
                    <a:pt x="173" y="258"/>
                  </a:lnTo>
                  <a:lnTo>
                    <a:pt x="173" y="261"/>
                  </a:lnTo>
                  <a:lnTo>
                    <a:pt x="171" y="261"/>
                  </a:lnTo>
                  <a:lnTo>
                    <a:pt x="169" y="261"/>
                  </a:lnTo>
                  <a:lnTo>
                    <a:pt x="169" y="263"/>
                  </a:lnTo>
                  <a:lnTo>
                    <a:pt x="169" y="266"/>
                  </a:lnTo>
                  <a:lnTo>
                    <a:pt x="166" y="266"/>
                  </a:lnTo>
                  <a:lnTo>
                    <a:pt x="166" y="268"/>
                  </a:lnTo>
                  <a:lnTo>
                    <a:pt x="164" y="268"/>
                  </a:lnTo>
                  <a:lnTo>
                    <a:pt x="162" y="268"/>
                  </a:lnTo>
                  <a:lnTo>
                    <a:pt x="159" y="268"/>
                  </a:lnTo>
                  <a:lnTo>
                    <a:pt x="159" y="266"/>
                  </a:lnTo>
                  <a:lnTo>
                    <a:pt x="159" y="263"/>
                  </a:lnTo>
                  <a:lnTo>
                    <a:pt x="159" y="261"/>
                  </a:lnTo>
                  <a:lnTo>
                    <a:pt x="157" y="261"/>
                  </a:lnTo>
                  <a:lnTo>
                    <a:pt x="157" y="263"/>
                  </a:lnTo>
                  <a:lnTo>
                    <a:pt x="157" y="261"/>
                  </a:lnTo>
                  <a:lnTo>
                    <a:pt x="154" y="261"/>
                  </a:lnTo>
                  <a:lnTo>
                    <a:pt x="157" y="261"/>
                  </a:lnTo>
                  <a:lnTo>
                    <a:pt x="154" y="261"/>
                  </a:lnTo>
                  <a:lnTo>
                    <a:pt x="154" y="258"/>
                  </a:lnTo>
                  <a:lnTo>
                    <a:pt x="154" y="256"/>
                  </a:lnTo>
                  <a:lnTo>
                    <a:pt x="154" y="254"/>
                  </a:lnTo>
                  <a:lnTo>
                    <a:pt x="152" y="254"/>
                  </a:lnTo>
                  <a:lnTo>
                    <a:pt x="150" y="254"/>
                  </a:lnTo>
                  <a:lnTo>
                    <a:pt x="147" y="251"/>
                  </a:lnTo>
                  <a:lnTo>
                    <a:pt x="147" y="249"/>
                  </a:lnTo>
                  <a:lnTo>
                    <a:pt x="147" y="247"/>
                  </a:lnTo>
                  <a:lnTo>
                    <a:pt x="147" y="244"/>
                  </a:lnTo>
                  <a:lnTo>
                    <a:pt x="145" y="244"/>
                  </a:lnTo>
                  <a:lnTo>
                    <a:pt x="147" y="244"/>
                  </a:lnTo>
                  <a:lnTo>
                    <a:pt x="147" y="242"/>
                  </a:lnTo>
                  <a:lnTo>
                    <a:pt x="145" y="242"/>
                  </a:lnTo>
                  <a:lnTo>
                    <a:pt x="145" y="244"/>
                  </a:lnTo>
                  <a:lnTo>
                    <a:pt x="143" y="244"/>
                  </a:lnTo>
                  <a:lnTo>
                    <a:pt x="143" y="242"/>
                  </a:lnTo>
                  <a:lnTo>
                    <a:pt x="140" y="242"/>
                  </a:lnTo>
                  <a:lnTo>
                    <a:pt x="138" y="242"/>
                  </a:lnTo>
                  <a:lnTo>
                    <a:pt x="140" y="242"/>
                  </a:lnTo>
                  <a:lnTo>
                    <a:pt x="138" y="242"/>
                  </a:lnTo>
                  <a:lnTo>
                    <a:pt x="138" y="239"/>
                  </a:lnTo>
                  <a:lnTo>
                    <a:pt x="135" y="239"/>
                  </a:lnTo>
                  <a:lnTo>
                    <a:pt x="133" y="239"/>
                  </a:lnTo>
                  <a:lnTo>
                    <a:pt x="131" y="239"/>
                  </a:lnTo>
                  <a:lnTo>
                    <a:pt x="131" y="237"/>
                  </a:lnTo>
                  <a:lnTo>
                    <a:pt x="128" y="237"/>
                  </a:lnTo>
                  <a:lnTo>
                    <a:pt x="128" y="235"/>
                  </a:lnTo>
                  <a:lnTo>
                    <a:pt x="128" y="237"/>
                  </a:lnTo>
                  <a:lnTo>
                    <a:pt x="128" y="239"/>
                  </a:lnTo>
                  <a:lnTo>
                    <a:pt x="128" y="237"/>
                  </a:lnTo>
                  <a:lnTo>
                    <a:pt x="126" y="237"/>
                  </a:lnTo>
                  <a:lnTo>
                    <a:pt x="126" y="239"/>
                  </a:lnTo>
                  <a:lnTo>
                    <a:pt x="124" y="239"/>
                  </a:lnTo>
                  <a:lnTo>
                    <a:pt x="121" y="239"/>
                  </a:lnTo>
                  <a:lnTo>
                    <a:pt x="121" y="237"/>
                  </a:lnTo>
                  <a:lnTo>
                    <a:pt x="119" y="237"/>
                  </a:lnTo>
                  <a:lnTo>
                    <a:pt x="121" y="237"/>
                  </a:lnTo>
                  <a:lnTo>
                    <a:pt x="119" y="237"/>
                  </a:lnTo>
                  <a:lnTo>
                    <a:pt x="119" y="235"/>
                  </a:lnTo>
                  <a:lnTo>
                    <a:pt x="117" y="232"/>
                  </a:lnTo>
                  <a:lnTo>
                    <a:pt x="117" y="235"/>
                  </a:lnTo>
                  <a:lnTo>
                    <a:pt x="117" y="232"/>
                  </a:lnTo>
                  <a:lnTo>
                    <a:pt x="114" y="232"/>
                  </a:lnTo>
                  <a:lnTo>
                    <a:pt x="114" y="230"/>
                  </a:lnTo>
                  <a:lnTo>
                    <a:pt x="117" y="230"/>
                  </a:lnTo>
                  <a:lnTo>
                    <a:pt x="119" y="230"/>
                  </a:lnTo>
                  <a:lnTo>
                    <a:pt x="119" y="228"/>
                  </a:lnTo>
                  <a:lnTo>
                    <a:pt x="119" y="230"/>
                  </a:lnTo>
                  <a:lnTo>
                    <a:pt x="119" y="228"/>
                  </a:lnTo>
                  <a:lnTo>
                    <a:pt x="119" y="225"/>
                  </a:lnTo>
                  <a:lnTo>
                    <a:pt x="119" y="223"/>
                  </a:lnTo>
                  <a:lnTo>
                    <a:pt x="117" y="223"/>
                  </a:lnTo>
                  <a:lnTo>
                    <a:pt x="117" y="225"/>
                  </a:lnTo>
                  <a:lnTo>
                    <a:pt x="114" y="225"/>
                  </a:lnTo>
                  <a:lnTo>
                    <a:pt x="112" y="225"/>
                  </a:lnTo>
                  <a:lnTo>
                    <a:pt x="109" y="225"/>
                  </a:lnTo>
                  <a:lnTo>
                    <a:pt x="109" y="228"/>
                  </a:lnTo>
                  <a:lnTo>
                    <a:pt x="109" y="225"/>
                  </a:lnTo>
                  <a:lnTo>
                    <a:pt x="107" y="225"/>
                  </a:lnTo>
                  <a:lnTo>
                    <a:pt x="105" y="225"/>
                  </a:lnTo>
                  <a:lnTo>
                    <a:pt x="107" y="225"/>
                  </a:lnTo>
                  <a:lnTo>
                    <a:pt x="107" y="223"/>
                  </a:lnTo>
                  <a:lnTo>
                    <a:pt x="105" y="223"/>
                  </a:lnTo>
                  <a:lnTo>
                    <a:pt x="102" y="223"/>
                  </a:lnTo>
                  <a:lnTo>
                    <a:pt x="102" y="220"/>
                  </a:lnTo>
                  <a:lnTo>
                    <a:pt x="100" y="220"/>
                  </a:lnTo>
                  <a:lnTo>
                    <a:pt x="102" y="220"/>
                  </a:lnTo>
                  <a:lnTo>
                    <a:pt x="100" y="220"/>
                  </a:lnTo>
                  <a:lnTo>
                    <a:pt x="98" y="220"/>
                  </a:lnTo>
                  <a:lnTo>
                    <a:pt x="98" y="218"/>
                  </a:lnTo>
                  <a:lnTo>
                    <a:pt x="95" y="218"/>
                  </a:lnTo>
                  <a:lnTo>
                    <a:pt x="93" y="218"/>
                  </a:lnTo>
                  <a:lnTo>
                    <a:pt x="90" y="218"/>
                  </a:lnTo>
                  <a:lnTo>
                    <a:pt x="90" y="220"/>
                  </a:lnTo>
                  <a:lnTo>
                    <a:pt x="93" y="220"/>
                  </a:lnTo>
                  <a:lnTo>
                    <a:pt x="93" y="223"/>
                  </a:lnTo>
                  <a:lnTo>
                    <a:pt x="95" y="225"/>
                  </a:lnTo>
                  <a:lnTo>
                    <a:pt x="95" y="228"/>
                  </a:lnTo>
                  <a:lnTo>
                    <a:pt x="93" y="228"/>
                  </a:lnTo>
                  <a:lnTo>
                    <a:pt x="90" y="228"/>
                  </a:lnTo>
                  <a:lnTo>
                    <a:pt x="90" y="230"/>
                  </a:lnTo>
                  <a:lnTo>
                    <a:pt x="90" y="228"/>
                  </a:lnTo>
                  <a:lnTo>
                    <a:pt x="88" y="230"/>
                  </a:lnTo>
                  <a:lnTo>
                    <a:pt x="88" y="232"/>
                  </a:lnTo>
                  <a:lnTo>
                    <a:pt x="86" y="232"/>
                  </a:lnTo>
                  <a:lnTo>
                    <a:pt x="86" y="235"/>
                  </a:lnTo>
                  <a:lnTo>
                    <a:pt x="83" y="235"/>
                  </a:lnTo>
                  <a:lnTo>
                    <a:pt x="83" y="232"/>
                  </a:lnTo>
                  <a:lnTo>
                    <a:pt x="81" y="232"/>
                  </a:lnTo>
                  <a:lnTo>
                    <a:pt x="81" y="230"/>
                  </a:lnTo>
                  <a:lnTo>
                    <a:pt x="81" y="228"/>
                  </a:lnTo>
                  <a:lnTo>
                    <a:pt x="79" y="228"/>
                  </a:lnTo>
                  <a:lnTo>
                    <a:pt x="79" y="225"/>
                  </a:lnTo>
                  <a:lnTo>
                    <a:pt x="76" y="225"/>
                  </a:lnTo>
                  <a:lnTo>
                    <a:pt x="76" y="223"/>
                  </a:lnTo>
                  <a:lnTo>
                    <a:pt x="74" y="223"/>
                  </a:lnTo>
                  <a:lnTo>
                    <a:pt x="74" y="220"/>
                  </a:lnTo>
                  <a:lnTo>
                    <a:pt x="71" y="220"/>
                  </a:lnTo>
                  <a:lnTo>
                    <a:pt x="69" y="220"/>
                  </a:lnTo>
                  <a:lnTo>
                    <a:pt x="69" y="218"/>
                  </a:lnTo>
                  <a:lnTo>
                    <a:pt x="69" y="216"/>
                  </a:lnTo>
                  <a:lnTo>
                    <a:pt x="69" y="218"/>
                  </a:lnTo>
                  <a:lnTo>
                    <a:pt x="69" y="216"/>
                  </a:lnTo>
                  <a:lnTo>
                    <a:pt x="71" y="216"/>
                  </a:lnTo>
                  <a:lnTo>
                    <a:pt x="71" y="213"/>
                  </a:lnTo>
                  <a:lnTo>
                    <a:pt x="74" y="213"/>
                  </a:lnTo>
                  <a:lnTo>
                    <a:pt x="74" y="211"/>
                  </a:lnTo>
                  <a:lnTo>
                    <a:pt x="76" y="211"/>
                  </a:lnTo>
                  <a:lnTo>
                    <a:pt x="74" y="211"/>
                  </a:lnTo>
                  <a:lnTo>
                    <a:pt x="76" y="211"/>
                  </a:lnTo>
                  <a:lnTo>
                    <a:pt x="76" y="209"/>
                  </a:lnTo>
                  <a:lnTo>
                    <a:pt x="74" y="209"/>
                  </a:lnTo>
                  <a:lnTo>
                    <a:pt x="74" y="206"/>
                  </a:lnTo>
                  <a:lnTo>
                    <a:pt x="71" y="206"/>
                  </a:lnTo>
                  <a:lnTo>
                    <a:pt x="69" y="206"/>
                  </a:lnTo>
                  <a:lnTo>
                    <a:pt x="69" y="209"/>
                  </a:lnTo>
                  <a:lnTo>
                    <a:pt x="67" y="209"/>
                  </a:lnTo>
                  <a:lnTo>
                    <a:pt x="67" y="206"/>
                  </a:lnTo>
                  <a:lnTo>
                    <a:pt x="64" y="206"/>
                  </a:lnTo>
                  <a:lnTo>
                    <a:pt x="64" y="209"/>
                  </a:lnTo>
                  <a:lnTo>
                    <a:pt x="62" y="209"/>
                  </a:lnTo>
                  <a:lnTo>
                    <a:pt x="62" y="206"/>
                  </a:lnTo>
                  <a:lnTo>
                    <a:pt x="60" y="206"/>
                  </a:lnTo>
                  <a:lnTo>
                    <a:pt x="57" y="206"/>
                  </a:lnTo>
                  <a:lnTo>
                    <a:pt x="57" y="204"/>
                  </a:lnTo>
                  <a:lnTo>
                    <a:pt x="55" y="204"/>
                  </a:lnTo>
                  <a:lnTo>
                    <a:pt x="55" y="201"/>
                  </a:lnTo>
                  <a:lnTo>
                    <a:pt x="52" y="201"/>
                  </a:lnTo>
                  <a:lnTo>
                    <a:pt x="52" y="204"/>
                  </a:lnTo>
                  <a:lnTo>
                    <a:pt x="50" y="201"/>
                  </a:lnTo>
                  <a:lnTo>
                    <a:pt x="48" y="201"/>
                  </a:lnTo>
                  <a:lnTo>
                    <a:pt x="45" y="201"/>
                  </a:lnTo>
                  <a:lnTo>
                    <a:pt x="45" y="199"/>
                  </a:lnTo>
                  <a:lnTo>
                    <a:pt x="45" y="201"/>
                  </a:lnTo>
                  <a:lnTo>
                    <a:pt x="45" y="199"/>
                  </a:lnTo>
                  <a:lnTo>
                    <a:pt x="43" y="199"/>
                  </a:lnTo>
                  <a:lnTo>
                    <a:pt x="43" y="201"/>
                  </a:lnTo>
                  <a:lnTo>
                    <a:pt x="41" y="201"/>
                  </a:lnTo>
                  <a:lnTo>
                    <a:pt x="41" y="199"/>
                  </a:lnTo>
                  <a:lnTo>
                    <a:pt x="41" y="197"/>
                  </a:lnTo>
                  <a:lnTo>
                    <a:pt x="38" y="197"/>
                  </a:lnTo>
                  <a:lnTo>
                    <a:pt x="38" y="194"/>
                  </a:lnTo>
                  <a:lnTo>
                    <a:pt x="38" y="192"/>
                  </a:lnTo>
                  <a:lnTo>
                    <a:pt x="36" y="192"/>
                  </a:lnTo>
                  <a:lnTo>
                    <a:pt x="36" y="190"/>
                  </a:lnTo>
                  <a:lnTo>
                    <a:pt x="36" y="192"/>
                  </a:lnTo>
                  <a:lnTo>
                    <a:pt x="33" y="192"/>
                  </a:lnTo>
                  <a:lnTo>
                    <a:pt x="33" y="190"/>
                  </a:lnTo>
                  <a:lnTo>
                    <a:pt x="31" y="190"/>
                  </a:lnTo>
                  <a:lnTo>
                    <a:pt x="29" y="190"/>
                  </a:lnTo>
                  <a:lnTo>
                    <a:pt x="29" y="192"/>
                  </a:lnTo>
                  <a:lnTo>
                    <a:pt x="29" y="190"/>
                  </a:lnTo>
                  <a:lnTo>
                    <a:pt x="29" y="192"/>
                  </a:lnTo>
                  <a:lnTo>
                    <a:pt x="29" y="194"/>
                  </a:lnTo>
                  <a:lnTo>
                    <a:pt x="29" y="197"/>
                  </a:lnTo>
                  <a:lnTo>
                    <a:pt x="26" y="197"/>
                  </a:lnTo>
                  <a:lnTo>
                    <a:pt x="24" y="197"/>
                  </a:lnTo>
                  <a:lnTo>
                    <a:pt x="22" y="197"/>
                  </a:lnTo>
                  <a:lnTo>
                    <a:pt x="22" y="194"/>
                  </a:lnTo>
                  <a:lnTo>
                    <a:pt x="24" y="194"/>
                  </a:lnTo>
                  <a:lnTo>
                    <a:pt x="24" y="192"/>
                  </a:lnTo>
                  <a:lnTo>
                    <a:pt x="26" y="192"/>
                  </a:lnTo>
                  <a:lnTo>
                    <a:pt x="26" y="190"/>
                  </a:lnTo>
                  <a:lnTo>
                    <a:pt x="26" y="187"/>
                  </a:lnTo>
                  <a:lnTo>
                    <a:pt x="29" y="187"/>
                  </a:lnTo>
                  <a:lnTo>
                    <a:pt x="26" y="187"/>
                  </a:lnTo>
                  <a:lnTo>
                    <a:pt x="29" y="187"/>
                  </a:lnTo>
                  <a:lnTo>
                    <a:pt x="29" y="185"/>
                  </a:lnTo>
                  <a:lnTo>
                    <a:pt x="29" y="182"/>
                  </a:lnTo>
                  <a:lnTo>
                    <a:pt x="29" y="180"/>
                  </a:lnTo>
                  <a:lnTo>
                    <a:pt x="29" y="178"/>
                  </a:lnTo>
                  <a:lnTo>
                    <a:pt x="31" y="178"/>
                  </a:lnTo>
                  <a:lnTo>
                    <a:pt x="29" y="178"/>
                  </a:lnTo>
                  <a:lnTo>
                    <a:pt x="29" y="175"/>
                  </a:lnTo>
                  <a:lnTo>
                    <a:pt x="29" y="173"/>
                  </a:lnTo>
                  <a:lnTo>
                    <a:pt x="26" y="173"/>
                  </a:lnTo>
                  <a:lnTo>
                    <a:pt x="29" y="173"/>
                  </a:lnTo>
                  <a:lnTo>
                    <a:pt x="29" y="171"/>
                  </a:lnTo>
                  <a:lnTo>
                    <a:pt x="26" y="171"/>
                  </a:lnTo>
                  <a:lnTo>
                    <a:pt x="26" y="168"/>
                  </a:lnTo>
                  <a:lnTo>
                    <a:pt x="29" y="168"/>
                  </a:lnTo>
                  <a:lnTo>
                    <a:pt x="26" y="168"/>
                  </a:lnTo>
                  <a:lnTo>
                    <a:pt x="26" y="166"/>
                  </a:lnTo>
                  <a:lnTo>
                    <a:pt x="24" y="166"/>
                  </a:lnTo>
                  <a:lnTo>
                    <a:pt x="22" y="166"/>
                  </a:lnTo>
                  <a:lnTo>
                    <a:pt x="22" y="163"/>
                  </a:lnTo>
                  <a:lnTo>
                    <a:pt x="22" y="166"/>
                  </a:lnTo>
                  <a:lnTo>
                    <a:pt x="22" y="163"/>
                  </a:lnTo>
                  <a:lnTo>
                    <a:pt x="22" y="166"/>
                  </a:lnTo>
                  <a:lnTo>
                    <a:pt x="22" y="163"/>
                  </a:lnTo>
                  <a:lnTo>
                    <a:pt x="19" y="163"/>
                  </a:lnTo>
                  <a:lnTo>
                    <a:pt x="19" y="161"/>
                  </a:lnTo>
                  <a:lnTo>
                    <a:pt x="22" y="161"/>
                  </a:lnTo>
                  <a:lnTo>
                    <a:pt x="22" y="159"/>
                  </a:lnTo>
                  <a:lnTo>
                    <a:pt x="19" y="159"/>
                  </a:lnTo>
                  <a:lnTo>
                    <a:pt x="22" y="159"/>
                  </a:lnTo>
                  <a:lnTo>
                    <a:pt x="19" y="159"/>
                  </a:lnTo>
                  <a:lnTo>
                    <a:pt x="22" y="159"/>
                  </a:lnTo>
                  <a:lnTo>
                    <a:pt x="19" y="156"/>
                  </a:lnTo>
                  <a:lnTo>
                    <a:pt x="19" y="154"/>
                  </a:lnTo>
                  <a:lnTo>
                    <a:pt x="17" y="154"/>
                  </a:lnTo>
                  <a:lnTo>
                    <a:pt x="17" y="152"/>
                  </a:lnTo>
                  <a:lnTo>
                    <a:pt x="14" y="152"/>
                  </a:lnTo>
                  <a:lnTo>
                    <a:pt x="14" y="149"/>
                  </a:lnTo>
                  <a:lnTo>
                    <a:pt x="17" y="149"/>
                  </a:lnTo>
                  <a:lnTo>
                    <a:pt x="14" y="149"/>
                  </a:lnTo>
                  <a:lnTo>
                    <a:pt x="17" y="149"/>
                  </a:lnTo>
                  <a:lnTo>
                    <a:pt x="17" y="147"/>
                  </a:lnTo>
                  <a:lnTo>
                    <a:pt x="19" y="147"/>
                  </a:lnTo>
                  <a:lnTo>
                    <a:pt x="19" y="144"/>
                  </a:lnTo>
                  <a:lnTo>
                    <a:pt x="19" y="142"/>
                  </a:lnTo>
                  <a:lnTo>
                    <a:pt x="19" y="140"/>
                  </a:lnTo>
                  <a:lnTo>
                    <a:pt x="19" y="137"/>
                  </a:lnTo>
                  <a:lnTo>
                    <a:pt x="22" y="137"/>
                  </a:lnTo>
                  <a:lnTo>
                    <a:pt x="19" y="137"/>
                  </a:lnTo>
                  <a:lnTo>
                    <a:pt x="19" y="135"/>
                  </a:lnTo>
                  <a:lnTo>
                    <a:pt x="17" y="135"/>
                  </a:lnTo>
                  <a:lnTo>
                    <a:pt x="19" y="135"/>
                  </a:lnTo>
                  <a:lnTo>
                    <a:pt x="17" y="135"/>
                  </a:lnTo>
                  <a:lnTo>
                    <a:pt x="17" y="133"/>
                  </a:lnTo>
                  <a:lnTo>
                    <a:pt x="19" y="133"/>
                  </a:lnTo>
                  <a:lnTo>
                    <a:pt x="19" y="130"/>
                  </a:lnTo>
                  <a:lnTo>
                    <a:pt x="19" y="128"/>
                  </a:lnTo>
                  <a:lnTo>
                    <a:pt x="17" y="128"/>
                  </a:lnTo>
                  <a:lnTo>
                    <a:pt x="14" y="128"/>
                  </a:lnTo>
                  <a:lnTo>
                    <a:pt x="14" y="125"/>
                  </a:lnTo>
                  <a:lnTo>
                    <a:pt x="14" y="123"/>
                  </a:lnTo>
                  <a:lnTo>
                    <a:pt x="12" y="121"/>
                  </a:lnTo>
                  <a:lnTo>
                    <a:pt x="14" y="121"/>
                  </a:lnTo>
                  <a:lnTo>
                    <a:pt x="14" y="118"/>
                  </a:lnTo>
                  <a:lnTo>
                    <a:pt x="17" y="118"/>
                  </a:lnTo>
                  <a:lnTo>
                    <a:pt x="17" y="116"/>
                  </a:lnTo>
                  <a:lnTo>
                    <a:pt x="14" y="114"/>
                  </a:lnTo>
                  <a:lnTo>
                    <a:pt x="17" y="114"/>
                  </a:lnTo>
                  <a:lnTo>
                    <a:pt x="17" y="111"/>
                  </a:lnTo>
                  <a:lnTo>
                    <a:pt x="14" y="111"/>
                  </a:lnTo>
                  <a:lnTo>
                    <a:pt x="14" y="109"/>
                  </a:lnTo>
                  <a:lnTo>
                    <a:pt x="12" y="109"/>
                  </a:lnTo>
                  <a:lnTo>
                    <a:pt x="10" y="109"/>
                  </a:lnTo>
                  <a:lnTo>
                    <a:pt x="10" y="106"/>
                  </a:lnTo>
                  <a:lnTo>
                    <a:pt x="7" y="104"/>
                  </a:lnTo>
                  <a:lnTo>
                    <a:pt x="5" y="104"/>
                  </a:lnTo>
                  <a:lnTo>
                    <a:pt x="5" y="102"/>
                  </a:lnTo>
                  <a:lnTo>
                    <a:pt x="3" y="102"/>
                  </a:lnTo>
                  <a:lnTo>
                    <a:pt x="3" y="99"/>
                  </a:lnTo>
                  <a:lnTo>
                    <a:pt x="0" y="99"/>
                  </a:lnTo>
                  <a:lnTo>
                    <a:pt x="0" y="97"/>
                  </a:lnTo>
                  <a:lnTo>
                    <a:pt x="0" y="95"/>
                  </a:lnTo>
                  <a:lnTo>
                    <a:pt x="0" y="92"/>
                  </a:lnTo>
                  <a:lnTo>
                    <a:pt x="3" y="92"/>
                  </a:lnTo>
                  <a:lnTo>
                    <a:pt x="5" y="92"/>
                  </a:lnTo>
                  <a:lnTo>
                    <a:pt x="5" y="90"/>
                  </a:lnTo>
                  <a:lnTo>
                    <a:pt x="7" y="90"/>
                  </a:lnTo>
                  <a:lnTo>
                    <a:pt x="7" y="87"/>
                  </a:lnTo>
                  <a:lnTo>
                    <a:pt x="7" y="85"/>
                  </a:lnTo>
                  <a:lnTo>
                    <a:pt x="10" y="83"/>
                  </a:lnTo>
                  <a:lnTo>
                    <a:pt x="10" y="80"/>
                  </a:lnTo>
                  <a:lnTo>
                    <a:pt x="12" y="80"/>
                  </a:lnTo>
                  <a:lnTo>
                    <a:pt x="12" y="78"/>
                  </a:lnTo>
                  <a:lnTo>
                    <a:pt x="12" y="76"/>
                  </a:lnTo>
                  <a:lnTo>
                    <a:pt x="14" y="73"/>
                  </a:lnTo>
                  <a:lnTo>
                    <a:pt x="17" y="73"/>
                  </a:lnTo>
                  <a:lnTo>
                    <a:pt x="17" y="71"/>
                  </a:lnTo>
                  <a:lnTo>
                    <a:pt x="19" y="68"/>
                  </a:lnTo>
                  <a:lnTo>
                    <a:pt x="19" y="71"/>
                  </a:lnTo>
                  <a:lnTo>
                    <a:pt x="19" y="68"/>
                  </a:lnTo>
                  <a:lnTo>
                    <a:pt x="19" y="66"/>
                  </a:lnTo>
                  <a:lnTo>
                    <a:pt x="17" y="66"/>
                  </a:lnTo>
                  <a:lnTo>
                    <a:pt x="17" y="64"/>
                  </a:lnTo>
                  <a:lnTo>
                    <a:pt x="17" y="66"/>
                  </a:lnTo>
                  <a:lnTo>
                    <a:pt x="17" y="64"/>
                  </a:lnTo>
                  <a:lnTo>
                    <a:pt x="14" y="64"/>
                  </a:lnTo>
                  <a:lnTo>
                    <a:pt x="14" y="61"/>
                  </a:lnTo>
                  <a:lnTo>
                    <a:pt x="14" y="59"/>
                  </a:lnTo>
                  <a:lnTo>
                    <a:pt x="17" y="59"/>
                  </a:lnTo>
                  <a:lnTo>
                    <a:pt x="14" y="59"/>
                  </a:lnTo>
                  <a:lnTo>
                    <a:pt x="17" y="59"/>
                  </a:lnTo>
                  <a:lnTo>
                    <a:pt x="14" y="59"/>
                  </a:lnTo>
                  <a:lnTo>
                    <a:pt x="14" y="57"/>
                  </a:lnTo>
                  <a:lnTo>
                    <a:pt x="14" y="54"/>
                  </a:lnTo>
                  <a:lnTo>
                    <a:pt x="17" y="54"/>
                  </a:lnTo>
                  <a:lnTo>
                    <a:pt x="17" y="52"/>
                  </a:lnTo>
                  <a:lnTo>
                    <a:pt x="14" y="49"/>
                  </a:lnTo>
                  <a:lnTo>
                    <a:pt x="17" y="49"/>
                  </a:lnTo>
                  <a:lnTo>
                    <a:pt x="17" y="47"/>
                  </a:lnTo>
                  <a:lnTo>
                    <a:pt x="19" y="45"/>
                  </a:lnTo>
                  <a:lnTo>
                    <a:pt x="22" y="45"/>
                  </a:lnTo>
                  <a:lnTo>
                    <a:pt x="22" y="42"/>
                  </a:lnTo>
                  <a:lnTo>
                    <a:pt x="22" y="40"/>
                  </a:lnTo>
                  <a:lnTo>
                    <a:pt x="19" y="40"/>
                  </a:lnTo>
                  <a:lnTo>
                    <a:pt x="22" y="40"/>
                  </a:lnTo>
                  <a:lnTo>
                    <a:pt x="26" y="38"/>
                  </a:lnTo>
                  <a:lnTo>
                    <a:pt x="29" y="38"/>
                  </a:lnTo>
                  <a:lnTo>
                    <a:pt x="31" y="38"/>
                  </a:lnTo>
                  <a:lnTo>
                    <a:pt x="33" y="35"/>
                  </a:lnTo>
                  <a:lnTo>
                    <a:pt x="36" y="35"/>
                  </a:lnTo>
                  <a:lnTo>
                    <a:pt x="38" y="35"/>
                  </a:lnTo>
                  <a:lnTo>
                    <a:pt x="38" y="33"/>
                  </a:lnTo>
                  <a:lnTo>
                    <a:pt x="41" y="33"/>
                  </a:lnTo>
                  <a:lnTo>
                    <a:pt x="43" y="33"/>
                  </a:lnTo>
                  <a:lnTo>
                    <a:pt x="45" y="33"/>
                  </a:lnTo>
                  <a:lnTo>
                    <a:pt x="48" y="33"/>
                  </a:lnTo>
                  <a:lnTo>
                    <a:pt x="50" y="30"/>
                  </a:lnTo>
                  <a:lnTo>
                    <a:pt x="52" y="30"/>
                  </a:lnTo>
                  <a:lnTo>
                    <a:pt x="55" y="30"/>
                  </a:lnTo>
                  <a:lnTo>
                    <a:pt x="57" y="28"/>
                  </a:lnTo>
                  <a:lnTo>
                    <a:pt x="60" y="28"/>
                  </a:lnTo>
                  <a:lnTo>
                    <a:pt x="62" y="28"/>
                  </a:lnTo>
                  <a:lnTo>
                    <a:pt x="64" y="28"/>
                  </a:lnTo>
                  <a:lnTo>
                    <a:pt x="67" y="26"/>
                  </a:lnTo>
                  <a:lnTo>
                    <a:pt x="69" y="26"/>
                  </a:lnTo>
                  <a:lnTo>
                    <a:pt x="69" y="23"/>
                  </a:lnTo>
                  <a:lnTo>
                    <a:pt x="71" y="23"/>
                  </a:lnTo>
                  <a:lnTo>
                    <a:pt x="71" y="21"/>
                  </a:lnTo>
                  <a:lnTo>
                    <a:pt x="74" y="19"/>
                  </a:lnTo>
                  <a:lnTo>
                    <a:pt x="76" y="16"/>
                  </a:lnTo>
                  <a:lnTo>
                    <a:pt x="79" y="16"/>
                  </a:lnTo>
                  <a:lnTo>
                    <a:pt x="79" y="14"/>
                  </a:lnTo>
                  <a:lnTo>
                    <a:pt x="81" y="14"/>
                  </a:lnTo>
                  <a:lnTo>
                    <a:pt x="83" y="14"/>
                  </a:lnTo>
                  <a:lnTo>
                    <a:pt x="86" y="14"/>
                  </a:lnTo>
                  <a:lnTo>
                    <a:pt x="88" y="11"/>
                  </a:lnTo>
                  <a:lnTo>
                    <a:pt x="90" y="11"/>
                  </a:lnTo>
                  <a:lnTo>
                    <a:pt x="93" y="11"/>
                  </a:lnTo>
                  <a:lnTo>
                    <a:pt x="93" y="9"/>
                  </a:lnTo>
                  <a:lnTo>
                    <a:pt x="95" y="9"/>
                  </a:lnTo>
                  <a:lnTo>
                    <a:pt x="95" y="7"/>
                  </a:lnTo>
                  <a:lnTo>
                    <a:pt x="98" y="7"/>
                  </a:lnTo>
                  <a:lnTo>
                    <a:pt x="100" y="7"/>
                  </a:lnTo>
                  <a:lnTo>
                    <a:pt x="102" y="4"/>
                  </a:lnTo>
                  <a:lnTo>
                    <a:pt x="105" y="4"/>
                  </a:lnTo>
                  <a:lnTo>
                    <a:pt x="107" y="4"/>
                  </a:lnTo>
                  <a:lnTo>
                    <a:pt x="109" y="4"/>
                  </a:lnTo>
                  <a:lnTo>
                    <a:pt x="112" y="2"/>
                  </a:lnTo>
                  <a:lnTo>
                    <a:pt x="114" y="2"/>
                  </a:lnTo>
                  <a:lnTo>
                    <a:pt x="117" y="2"/>
                  </a:lnTo>
                  <a:lnTo>
                    <a:pt x="119" y="2"/>
                  </a:lnTo>
                  <a:lnTo>
                    <a:pt x="121" y="0"/>
                  </a:lnTo>
                  <a:lnTo>
                    <a:pt x="124" y="0"/>
                  </a:lnTo>
                  <a:lnTo>
                    <a:pt x="126" y="0"/>
                  </a:lnTo>
                  <a:lnTo>
                    <a:pt x="128" y="0"/>
                  </a:lnTo>
                  <a:lnTo>
                    <a:pt x="131" y="0"/>
                  </a:lnTo>
                  <a:lnTo>
                    <a:pt x="133" y="0"/>
                  </a:lnTo>
                  <a:lnTo>
                    <a:pt x="135" y="0"/>
                  </a:lnTo>
                  <a:lnTo>
                    <a:pt x="138" y="0"/>
                  </a:lnTo>
                  <a:lnTo>
                    <a:pt x="140" y="0"/>
                  </a:lnTo>
                  <a:lnTo>
                    <a:pt x="140" y="2"/>
                  </a:lnTo>
                  <a:lnTo>
                    <a:pt x="143" y="2"/>
                  </a:lnTo>
                  <a:lnTo>
                    <a:pt x="140" y="2"/>
                  </a:lnTo>
                  <a:lnTo>
                    <a:pt x="143" y="2"/>
                  </a:lnTo>
                  <a:lnTo>
                    <a:pt x="145" y="4"/>
                  </a:lnTo>
                  <a:lnTo>
                    <a:pt x="147" y="4"/>
                  </a:lnTo>
                  <a:lnTo>
                    <a:pt x="150" y="7"/>
                  </a:lnTo>
                  <a:lnTo>
                    <a:pt x="152" y="7"/>
                  </a:lnTo>
                  <a:lnTo>
                    <a:pt x="152" y="9"/>
                  </a:lnTo>
                  <a:lnTo>
                    <a:pt x="154" y="9"/>
                  </a:lnTo>
                  <a:lnTo>
                    <a:pt x="154" y="11"/>
                  </a:lnTo>
                  <a:lnTo>
                    <a:pt x="152" y="11"/>
                  </a:lnTo>
                  <a:lnTo>
                    <a:pt x="152" y="9"/>
                  </a:lnTo>
                  <a:lnTo>
                    <a:pt x="152" y="7"/>
                  </a:lnTo>
                  <a:lnTo>
                    <a:pt x="150" y="7"/>
                  </a:lnTo>
                  <a:lnTo>
                    <a:pt x="150" y="4"/>
                  </a:lnTo>
                  <a:lnTo>
                    <a:pt x="147" y="4"/>
                  </a:lnTo>
                  <a:lnTo>
                    <a:pt x="145" y="4"/>
                  </a:lnTo>
                  <a:lnTo>
                    <a:pt x="143" y="2"/>
                  </a:lnTo>
                  <a:lnTo>
                    <a:pt x="140" y="2"/>
                  </a:lnTo>
                  <a:lnTo>
                    <a:pt x="140" y="4"/>
                  </a:lnTo>
                  <a:lnTo>
                    <a:pt x="143" y="7"/>
                  </a:lnTo>
                  <a:lnTo>
                    <a:pt x="143" y="9"/>
                  </a:lnTo>
                  <a:lnTo>
                    <a:pt x="145" y="9"/>
                  </a:lnTo>
                  <a:lnTo>
                    <a:pt x="145" y="11"/>
                  </a:lnTo>
                  <a:lnTo>
                    <a:pt x="145" y="14"/>
                  </a:lnTo>
                  <a:lnTo>
                    <a:pt x="145" y="16"/>
                  </a:lnTo>
                  <a:lnTo>
                    <a:pt x="147" y="16"/>
                  </a:lnTo>
                  <a:lnTo>
                    <a:pt x="145" y="16"/>
                  </a:lnTo>
                  <a:lnTo>
                    <a:pt x="145" y="19"/>
                  </a:lnTo>
                  <a:lnTo>
                    <a:pt x="147" y="19"/>
                  </a:lnTo>
                  <a:lnTo>
                    <a:pt x="147" y="21"/>
                  </a:lnTo>
                  <a:lnTo>
                    <a:pt x="150" y="21"/>
                  </a:lnTo>
                  <a:lnTo>
                    <a:pt x="150" y="23"/>
                  </a:lnTo>
                  <a:lnTo>
                    <a:pt x="152" y="23"/>
                  </a:lnTo>
                  <a:lnTo>
                    <a:pt x="154" y="23"/>
                  </a:lnTo>
                  <a:lnTo>
                    <a:pt x="154" y="26"/>
                  </a:lnTo>
                  <a:lnTo>
                    <a:pt x="157" y="26"/>
                  </a:lnTo>
                  <a:lnTo>
                    <a:pt x="159" y="28"/>
                  </a:lnTo>
                  <a:lnTo>
                    <a:pt x="159" y="26"/>
                  </a:lnTo>
                  <a:lnTo>
                    <a:pt x="157" y="26"/>
                  </a:lnTo>
                  <a:lnTo>
                    <a:pt x="154" y="26"/>
                  </a:lnTo>
                  <a:lnTo>
                    <a:pt x="154" y="23"/>
                  </a:lnTo>
                  <a:lnTo>
                    <a:pt x="157" y="23"/>
                  </a:lnTo>
                  <a:lnTo>
                    <a:pt x="159" y="23"/>
                  </a:lnTo>
                  <a:lnTo>
                    <a:pt x="159" y="26"/>
                  </a:lnTo>
                  <a:lnTo>
                    <a:pt x="159" y="28"/>
                  </a:lnTo>
                  <a:lnTo>
                    <a:pt x="159" y="30"/>
                  </a:lnTo>
                  <a:lnTo>
                    <a:pt x="157" y="30"/>
                  </a:lnTo>
                  <a:lnTo>
                    <a:pt x="157" y="33"/>
                  </a:lnTo>
                  <a:lnTo>
                    <a:pt x="154" y="33"/>
                  </a:lnTo>
                  <a:lnTo>
                    <a:pt x="154" y="35"/>
                  </a:lnTo>
                  <a:lnTo>
                    <a:pt x="154" y="38"/>
                  </a:lnTo>
                  <a:lnTo>
                    <a:pt x="154" y="40"/>
                  </a:lnTo>
                  <a:lnTo>
                    <a:pt x="154" y="42"/>
                  </a:lnTo>
                  <a:lnTo>
                    <a:pt x="157" y="42"/>
                  </a:lnTo>
                  <a:lnTo>
                    <a:pt x="157" y="45"/>
                  </a:lnTo>
                  <a:lnTo>
                    <a:pt x="157" y="47"/>
                  </a:lnTo>
                  <a:lnTo>
                    <a:pt x="157" y="49"/>
                  </a:lnTo>
                  <a:lnTo>
                    <a:pt x="154" y="49"/>
                  </a:lnTo>
                  <a:lnTo>
                    <a:pt x="154" y="52"/>
                  </a:lnTo>
                  <a:lnTo>
                    <a:pt x="154" y="54"/>
                  </a:lnTo>
                  <a:lnTo>
                    <a:pt x="157" y="54"/>
                  </a:lnTo>
                  <a:lnTo>
                    <a:pt x="154" y="54"/>
                  </a:lnTo>
                  <a:lnTo>
                    <a:pt x="154" y="57"/>
                  </a:lnTo>
                  <a:lnTo>
                    <a:pt x="152" y="57"/>
                  </a:lnTo>
                  <a:lnTo>
                    <a:pt x="152" y="59"/>
                  </a:lnTo>
                  <a:lnTo>
                    <a:pt x="152" y="61"/>
                  </a:lnTo>
                  <a:lnTo>
                    <a:pt x="152" y="64"/>
                  </a:lnTo>
                  <a:lnTo>
                    <a:pt x="152" y="66"/>
                  </a:lnTo>
                  <a:lnTo>
                    <a:pt x="152" y="68"/>
                  </a:lnTo>
                  <a:lnTo>
                    <a:pt x="150" y="68"/>
                  </a:lnTo>
                  <a:lnTo>
                    <a:pt x="150" y="71"/>
                  </a:lnTo>
                  <a:lnTo>
                    <a:pt x="147" y="71"/>
                  </a:lnTo>
                  <a:lnTo>
                    <a:pt x="145" y="71"/>
                  </a:lnTo>
                  <a:lnTo>
                    <a:pt x="143" y="71"/>
                  </a:lnTo>
                  <a:lnTo>
                    <a:pt x="143" y="73"/>
                  </a:lnTo>
                  <a:lnTo>
                    <a:pt x="140" y="73"/>
                  </a:lnTo>
                  <a:lnTo>
                    <a:pt x="138" y="76"/>
                  </a:lnTo>
                  <a:lnTo>
                    <a:pt x="138" y="78"/>
                  </a:lnTo>
                  <a:lnTo>
                    <a:pt x="135" y="78"/>
                  </a:lnTo>
                  <a:lnTo>
                    <a:pt x="135" y="80"/>
                  </a:lnTo>
                  <a:lnTo>
                    <a:pt x="133" y="80"/>
                  </a:lnTo>
                  <a:lnTo>
                    <a:pt x="133" y="83"/>
                  </a:lnTo>
                  <a:lnTo>
                    <a:pt x="133" y="85"/>
                  </a:lnTo>
                  <a:lnTo>
                    <a:pt x="131" y="85"/>
                  </a:lnTo>
                  <a:lnTo>
                    <a:pt x="133" y="85"/>
                  </a:lnTo>
                  <a:lnTo>
                    <a:pt x="133" y="87"/>
                  </a:lnTo>
                  <a:lnTo>
                    <a:pt x="135" y="87"/>
                  </a:lnTo>
                  <a:lnTo>
                    <a:pt x="138" y="87"/>
                  </a:lnTo>
                  <a:lnTo>
                    <a:pt x="140" y="90"/>
                  </a:lnTo>
                  <a:lnTo>
                    <a:pt x="143" y="90"/>
                  </a:lnTo>
                  <a:lnTo>
                    <a:pt x="145" y="92"/>
                  </a:lnTo>
                  <a:lnTo>
                    <a:pt x="145" y="90"/>
                  </a:lnTo>
                  <a:lnTo>
                    <a:pt x="145" y="92"/>
                  </a:lnTo>
                  <a:lnTo>
                    <a:pt x="147" y="92"/>
                  </a:lnTo>
                  <a:lnTo>
                    <a:pt x="147" y="90"/>
                  </a:lnTo>
                  <a:lnTo>
                    <a:pt x="150" y="90"/>
                  </a:lnTo>
                  <a:lnTo>
                    <a:pt x="150" y="92"/>
                  </a:lnTo>
                  <a:lnTo>
                    <a:pt x="150" y="95"/>
                  </a:lnTo>
                  <a:lnTo>
                    <a:pt x="152" y="95"/>
                  </a:lnTo>
                  <a:lnTo>
                    <a:pt x="152" y="97"/>
                  </a:lnTo>
                  <a:lnTo>
                    <a:pt x="154" y="97"/>
                  </a:lnTo>
                  <a:lnTo>
                    <a:pt x="157" y="99"/>
                  </a:lnTo>
                  <a:lnTo>
                    <a:pt x="157" y="102"/>
                  </a:lnTo>
                  <a:lnTo>
                    <a:pt x="159" y="102"/>
                  </a:lnTo>
                  <a:lnTo>
                    <a:pt x="159" y="104"/>
                  </a:lnTo>
                  <a:lnTo>
                    <a:pt x="159" y="106"/>
                  </a:lnTo>
                  <a:lnTo>
                    <a:pt x="162" y="106"/>
                  </a:lnTo>
                  <a:lnTo>
                    <a:pt x="162" y="109"/>
                  </a:lnTo>
                  <a:lnTo>
                    <a:pt x="164" y="109"/>
                  </a:lnTo>
                  <a:lnTo>
                    <a:pt x="162" y="109"/>
                  </a:lnTo>
                  <a:lnTo>
                    <a:pt x="162" y="106"/>
                  </a:lnTo>
                  <a:lnTo>
                    <a:pt x="159" y="104"/>
                  </a:lnTo>
                  <a:lnTo>
                    <a:pt x="159" y="102"/>
                  </a:lnTo>
                  <a:lnTo>
                    <a:pt x="157" y="99"/>
                  </a:lnTo>
                  <a:lnTo>
                    <a:pt x="157" y="97"/>
                  </a:lnTo>
                  <a:lnTo>
                    <a:pt x="154" y="97"/>
                  </a:lnTo>
                  <a:lnTo>
                    <a:pt x="154" y="95"/>
                  </a:lnTo>
                  <a:lnTo>
                    <a:pt x="152" y="95"/>
                  </a:lnTo>
                  <a:lnTo>
                    <a:pt x="150" y="95"/>
                  </a:lnTo>
                  <a:lnTo>
                    <a:pt x="150" y="92"/>
                  </a:lnTo>
                  <a:lnTo>
                    <a:pt x="150" y="90"/>
                  </a:lnTo>
                  <a:lnTo>
                    <a:pt x="147" y="90"/>
                  </a:lnTo>
                  <a:lnTo>
                    <a:pt x="147" y="92"/>
                  </a:lnTo>
                  <a:lnTo>
                    <a:pt x="145" y="92"/>
                  </a:lnTo>
                  <a:lnTo>
                    <a:pt x="145" y="90"/>
                  </a:lnTo>
                  <a:lnTo>
                    <a:pt x="143" y="90"/>
                  </a:lnTo>
                  <a:lnTo>
                    <a:pt x="140" y="90"/>
                  </a:lnTo>
                  <a:lnTo>
                    <a:pt x="138" y="87"/>
                  </a:lnTo>
                  <a:lnTo>
                    <a:pt x="135" y="87"/>
                  </a:lnTo>
                  <a:lnTo>
                    <a:pt x="133" y="87"/>
                  </a:lnTo>
                  <a:lnTo>
                    <a:pt x="133" y="85"/>
                  </a:lnTo>
                  <a:lnTo>
                    <a:pt x="133" y="83"/>
                  </a:lnTo>
                  <a:lnTo>
                    <a:pt x="133" y="80"/>
                  </a:lnTo>
                  <a:lnTo>
                    <a:pt x="135" y="80"/>
                  </a:lnTo>
                  <a:lnTo>
                    <a:pt x="138" y="78"/>
                  </a:lnTo>
                  <a:lnTo>
                    <a:pt x="138" y="76"/>
                  </a:lnTo>
                  <a:lnTo>
                    <a:pt x="140" y="73"/>
                  </a:lnTo>
                  <a:lnTo>
                    <a:pt x="143" y="73"/>
                  </a:lnTo>
                  <a:lnTo>
                    <a:pt x="143" y="71"/>
                  </a:lnTo>
                  <a:lnTo>
                    <a:pt x="145" y="71"/>
                  </a:lnTo>
                  <a:lnTo>
                    <a:pt x="147" y="71"/>
                  </a:lnTo>
                  <a:lnTo>
                    <a:pt x="150" y="71"/>
                  </a:lnTo>
                  <a:lnTo>
                    <a:pt x="150" y="68"/>
                  </a:lnTo>
                  <a:lnTo>
                    <a:pt x="152" y="68"/>
                  </a:lnTo>
                  <a:lnTo>
                    <a:pt x="152" y="66"/>
                  </a:lnTo>
                  <a:lnTo>
                    <a:pt x="152" y="64"/>
                  </a:lnTo>
                  <a:lnTo>
                    <a:pt x="152" y="61"/>
                  </a:lnTo>
                  <a:lnTo>
                    <a:pt x="152" y="59"/>
                  </a:lnTo>
                  <a:lnTo>
                    <a:pt x="152" y="57"/>
                  </a:lnTo>
                  <a:lnTo>
                    <a:pt x="154" y="57"/>
                  </a:lnTo>
                  <a:lnTo>
                    <a:pt x="154" y="54"/>
                  </a:lnTo>
                  <a:lnTo>
                    <a:pt x="157" y="54"/>
                  </a:lnTo>
                  <a:lnTo>
                    <a:pt x="154" y="54"/>
                  </a:lnTo>
                  <a:lnTo>
                    <a:pt x="154" y="52"/>
                  </a:lnTo>
                  <a:lnTo>
                    <a:pt x="154" y="49"/>
                  </a:lnTo>
                  <a:lnTo>
                    <a:pt x="157" y="49"/>
                  </a:lnTo>
                  <a:lnTo>
                    <a:pt x="157" y="47"/>
                  </a:lnTo>
                  <a:lnTo>
                    <a:pt x="157" y="45"/>
                  </a:lnTo>
                  <a:lnTo>
                    <a:pt x="157" y="42"/>
                  </a:lnTo>
                  <a:lnTo>
                    <a:pt x="154" y="42"/>
                  </a:lnTo>
                  <a:lnTo>
                    <a:pt x="154" y="40"/>
                  </a:lnTo>
                  <a:lnTo>
                    <a:pt x="154" y="38"/>
                  </a:lnTo>
                  <a:lnTo>
                    <a:pt x="154" y="35"/>
                  </a:lnTo>
                  <a:lnTo>
                    <a:pt x="154" y="33"/>
                  </a:lnTo>
                  <a:lnTo>
                    <a:pt x="157" y="33"/>
                  </a:lnTo>
                  <a:lnTo>
                    <a:pt x="157" y="30"/>
                  </a:lnTo>
                  <a:lnTo>
                    <a:pt x="159" y="30"/>
                  </a:lnTo>
                  <a:lnTo>
                    <a:pt x="159" y="28"/>
                  </a:lnTo>
                  <a:lnTo>
                    <a:pt x="159" y="26"/>
                  </a:lnTo>
                  <a:lnTo>
                    <a:pt x="159" y="23"/>
                  </a:lnTo>
                  <a:lnTo>
                    <a:pt x="162" y="23"/>
                  </a:lnTo>
                  <a:lnTo>
                    <a:pt x="166" y="23"/>
                  </a:lnTo>
                  <a:lnTo>
                    <a:pt x="169" y="23"/>
                  </a:lnTo>
                  <a:lnTo>
                    <a:pt x="171" y="23"/>
                  </a:lnTo>
                  <a:lnTo>
                    <a:pt x="173" y="23"/>
                  </a:lnTo>
                  <a:lnTo>
                    <a:pt x="176" y="21"/>
                  </a:lnTo>
                  <a:lnTo>
                    <a:pt x="178" y="21"/>
                  </a:lnTo>
                  <a:lnTo>
                    <a:pt x="181" y="19"/>
                  </a:lnTo>
                  <a:lnTo>
                    <a:pt x="183" y="19"/>
                  </a:lnTo>
                  <a:lnTo>
                    <a:pt x="181" y="19"/>
                  </a:lnTo>
                  <a:lnTo>
                    <a:pt x="181" y="21"/>
                  </a:lnTo>
                  <a:lnTo>
                    <a:pt x="178" y="21"/>
                  </a:lnTo>
                  <a:lnTo>
                    <a:pt x="176" y="21"/>
                  </a:lnTo>
                  <a:lnTo>
                    <a:pt x="176" y="23"/>
                  </a:lnTo>
                  <a:lnTo>
                    <a:pt x="173" y="23"/>
                  </a:lnTo>
                  <a:lnTo>
                    <a:pt x="171" y="23"/>
                  </a:lnTo>
                  <a:lnTo>
                    <a:pt x="169" y="23"/>
                  </a:lnTo>
                  <a:lnTo>
                    <a:pt x="169" y="26"/>
                  </a:lnTo>
                  <a:lnTo>
                    <a:pt x="169" y="28"/>
                  </a:lnTo>
                  <a:lnTo>
                    <a:pt x="171" y="28"/>
                  </a:lnTo>
                  <a:lnTo>
                    <a:pt x="171" y="30"/>
                  </a:lnTo>
                  <a:lnTo>
                    <a:pt x="171" y="33"/>
                  </a:lnTo>
                  <a:lnTo>
                    <a:pt x="169" y="33"/>
                  </a:lnTo>
                  <a:lnTo>
                    <a:pt x="169" y="35"/>
                  </a:lnTo>
                  <a:lnTo>
                    <a:pt x="166" y="38"/>
                  </a:lnTo>
                  <a:lnTo>
                    <a:pt x="164" y="38"/>
                  </a:lnTo>
                  <a:lnTo>
                    <a:pt x="164" y="40"/>
                  </a:lnTo>
                  <a:close/>
                  <a:moveTo>
                    <a:pt x="171" y="123"/>
                  </a:moveTo>
                  <a:lnTo>
                    <a:pt x="169" y="123"/>
                  </a:lnTo>
                  <a:lnTo>
                    <a:pt x="171" y="12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0" name="Freeform 55037"/>
            <p:cNvSpPr>
              <a:spLocks noEditPoints="1"/>
            </p:cNvSpPr>
            <p:nvPr/>
          </p:nvSpPr>
          <p:spPr bwMode="auto">
            <a:xfrm>
              <a:off x="2774948" y="4354528"/>
              <a:ext cx="236538" cy="79375"/>
            </a:xfrm>
            <a:custGeom>
              <a:avLst/>
              <a:gdLst>
                <a:gd name="T0" fmla="*/ 12 w 149"/>
                <a:gd name="T1" fmla="*/ 47 h 50"/>
                <a:gd name="T2" fmla="*/ 12 w 149"/>
                <a:gd name="T3" fmla="*/ 47 h 50"/>
                <a:gd name="T4" fmla="*/ 9 w 149"/>
                <a:gd name="T5" fmla="*/ 47 h 50"/>
                <a:gd name="T6" fmla="*/ 12 w 149"/>
                <a:gd name="T7" fmla="*/ 50 h 50"/>
                <a:gd name="T8" fmla="*/ 9 w 149"/>
                <a:gd name="T9" fmla="*/ 47 h 50"/>
                <a:gd name="T10" fmla="*/ 12 w 149"/>
                <a:gd name="T11" fmla="*/ 47 h 50"/>
                <a:gd name="T12" fmla="*/ 12 w 149"/>
                <a:gd name="T13" fmla="*/ 45 h 50"/>
                <a:gd name="T14" fmla="*/ 12 w 149"/>
                <a:gd name="T15" fmla="*/ 47 h 50"/>
                <a:gd name="T16" fmla="*/ 12 w 149"/>
                <a:gd name="T17" fmla="*/ 45 h 50"/>
                <a:gd name="T18" fmla="*/ 9 w 149"/>
                <a:gd name="T19" fmla="*/ 40 h 50"/>
                <a:gd name="T20" fmla="*/ 9 w 149"/>
                <a:gd name="T21" fmla="*/ 43 h 50"/>
                <a:gd name="T22" fmla="*/ 7 w 149"/>
                <a:gd name="T23" fmla="*/ 36 h 50"/>
                <a:gd name="T24" fmla="*/ 2 w 149"/>
                <a:gd name="T25" fmla="*/ 28 h 50"/>
                <a:gd name="T26" fmla="*/ 5 w 149"/>
                <a:gd name="T27" fmla="*/ 26 h 50"/>
                <a:gd name="T28" fmla="*/ 5 w 149"/>
                <a:gd name="T29" fmla="*/ 28 h 50"/>
                <a:gd name="T30" fmla="*/ 5 w 149"/>
                <a:gd name="T31" fmla="*/ 26 h 50"/>
                <a:gd name="T32" fmla="*/ 2 w 149"/>
                <a:gd name="T33" fmla="*/ 28 h 50"/>
                <a:gd name="T34" fmla="*/ 2 w 149"/>
                <a:gd name="T35" fmla="*/ 28 h 50"/>
                <a:gd name="T36" fmla="*/ 2 w 149"/>
                <a:gd name="T37" fmla="*/ 28 h 50"/>
                <a:gd name="T38" fmla="*/ 0 w 149"/>
                <a:gd name="T39" fmla="*/ 28 h 50"/>
                <a:gd name="T40" fmla="*/ 2 w 149"/>
                <a:gd name="T41" fmla="*/ 26 h 50"/>
                <a:gd name="T42" fmla="*/ 2 w 149"/>
                <a:gd name="T43" fmla="*/ 28 h 50"/>
                <a:gd name="T44" fmla="*/ 0 w 149"/>
                <a:gd name="T45" fmla="*/ 26 h 50"/>
                <a:gd name="T46" fmla="*/ 17 w 149"/>
                <a:gd name="T47" fmla="*/ 21 h 50"/>
                <a:gd name="T48" fmla="*/ 14 w 149"/>
                <a:gd name="T49" fmla="*/ 24 h 50"/>
                <a:gd name="T50" fmla="*/ 14 w 149"/>
                <a:gd name="T51" fmla="*/ 24 h 50"/>
                <a:gd name="T52" fmla="*/ 14 w 149"/>
                <a:gd name="T53" fmla="*/ 21 h 50"/>
                <a:gd name="T54" fmla="*/ 17 w 149"/>
                <a:gd name="T55" fmla="*/ 21 h 50"/>
                <a:gd name="T56" fmla="*/ 14 w 149"/>
                <a:gd name="T57" fmla="*/ 21 h 50"/>
                <a:gd name="T58" fmla="*/ 14 w 149"/>
                <a:gd name="T59" fmla="*/ 21 h 50"/>
                <a:gd name="T60" fmla="*/ 14 w 149"/>
                <a:gd name="T61" fmla="*/ 24 h 50"/>
                <a:gd name="T62" fmla="*/ 12 w 149"/>
                <a:gd name="T63" fmla="*/ 26 h 50"/>
                <a:gd name="T64" fmla="*/ 12 w 149"/>
                <a:gd name="T65" fmla="*/ 26 h 50"/>
                <a:gd name="T66" fmla="*/ 12 w 149"/>
                <a:gd name="T67" fmla="*/ 28 h 50"/>
                <a:gd name="T68" fmla="*/ 9 w 149"/>
                <a:gd name="T69" fmla="*/ 28 h 50"/>
                <a:gd name="T70" fmla="*/ 9 w 149"/>
                <a:gd name="T71" fmla="*/ 31 h 50"/>
                <a:gd name="T72" fmla="*/ 9 w 149"/>
                <a:gd name="T73" fmla="*/ 28 h 50"/>
                <a:gd name="T74" fmla="*/ 7 w 149"/>
                <a:gd name="T75" fmla="*/ 26 h 50"/>
                <a:gd name="T76" fmla="*/ 5 w 149"/>
                <a:gd name="T77" fmla="*/ 28 h 50"/>
                <a:gd name="T78" fmla="*/ 5 w 149"/>
                <a:gd name="T79" fmla="*/ 26 h 50"/>
                <a:gd name="T80" fmla="*/ 5 w 149"/>
                <a:gd name="T81" fmla="*/ 26 h 50"/>
                <a:gd name="T82" fmla="*/ 5 w 149"/>
                <a:gd name="T83" fmla="*/ 26 h 50"/>
                <a:gd name="T84" fmla="*/ 2 w 149"/>
                <a:gd name="T85" fmla="*/ 26 h 50"/>
                <a:gd name="T86" fmla="*/ 2 w 149"/>
                <a:gd name="T87" fmla="*/ 26 h 50"/>
                <a:gd name="T88" fmla="*/ 2 w 149"/>
                <a:gd name="T89" fmla="*/ 28 h 50"/>
                <a:gd name="T90" fmla="*/ 0 w 149"/>
                <a:gd name="T91" fmla="*/ 26 h 50"/>
                <a:gd name="T92" fmla="*/ 0 w 149"/>
                <a:gd name="T93" fmla="*/ 26 h 50"/>
                <a:gd name="T94" fmla="*/ 2 w 149"/>
                <a:gd name="T95" fmla="*/ 24 h 50"/>
                <a:gd name="T96" fmla="*/ 7 w 149"/>
                <a:gd name="T97" fmla="*/ 21 h 50"/>
                <a:gd name="T98" fmla="*/ 12 w 149"/>
                <a:gd name="T99" fmla="*/ 21 h 50"/>
                <a:gd name="T100" fmla="*/ 14 w 149"/>
                <a:gd name="T101" fmla="*/ 19 h 50"/>
                <a:gd name="T102" fmla="*/ 17 w 149"/>
                <a:gd name="T103" fmla="*/ 19 h 50"/>
                <a:gd name="T104" fmla="*/ 145 w 149"/>
                <a:gd name="T105" fmla="*/ 0 h 50"/>
                <a:gd name="T106" fmla="*/ 147 w 149"/>
                <a:gd name="T107" fmla="*/ 0 h 50"/>
                <a:gd name="T108" fmla="*/ 145 w 149"/>
                <a:gd name="T109" fmla="*/ 0 h 50"/>
                <a:gd name="T110" fmla="*/ 147 w 149"/>
                <a:gd name="T111" fmla="*/ 0 h 50"/>
                <a:gd name="T112" fmla="*/ 147 w 149"/>
                <a:gd name="T113" fmla="*/ 2 h 50"/>
                <a:gd name="T114" fmla="*/ 147 w 149"/>
                <a:gd name="T115" fmla="*/ 2 h 50"/>
                <a:gd name="T116" fmla="*/ 147 w 149"/>
                <a:gd name="T117" fmla="*/ 2 h 50"/>
                <a:gd name="T118" fmla="*/ 145 w 149"/>
                <a:gd name="T119" fmla="*/ 2 h 50"/>
                <a:gd name="T120" fmla="*/ 145 w 149"/>
                <a:gd name="T121" fmla="*/ 2 h 50"/>
                <a:gd name="T122" fmla="*/ 145 w 149"/>
                <a:gd name="T12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 h="50">
                  <a:moveTo>
                    <a:pt x="12" y="47"/>
                  </a:moveTo>
                  <a:lnTo>
                    <a:pt x="12" y="47"/>
                  </a:lnTo>
                  <a:lnTo>
                    <a:pt x="12" y="47"/>
                  </a:lnTo>
                  <a:lnTo>
                    <a:pt x="12" y="47"/>
                  </a:lnTo>
                  <a:lnTo>
                    <a:pt x="12" y="47"/>
                  </a:lnTo>
                  <a:lnTo>
                    <a:pt x="12" y="47"/>
                  </a:lnTo>
                  <a:lnTo>
                    <a:pt x="12" y="47"/>
                  </a:lnTo>
                  <a:lnTo>
                    <a:pt x="12" y="47"/>
                  </a:lnTo>
                  <a:lnTo>
                    <a:pt x="12" y="47"/>
                  </a:lnTo>
                  <a:lnTo>
                    <a:pt x="12" y="47"/>
                  </a:lnTo>
                  <a:lnTo>
                    <a:pt x="12" y="47"/>
                  </a:lnTo>
                  <a:lnTo>
                    <a:pt x="12" y="47"/>
                  </a:lnTo>
                  <a:lnTo>
                    <a:pt x="12" y="47"/>
                  </a:lnTo>
                  <a:lnTo>
                    <a:pt x="12" y="47"/>
                  </a:lnTo>
                  <a:lnTo>
                    <a:pt x="12" y="47"/>
                  </a:lnTo>
                  <a:lnTo>
                    <a:pt x="9" y="47"/>
                  </a:lnTo>
                  <a:lnTo>
                    <a:pt x="9" y="47"/>
                  </a:lnTo>
                  <a:lnTo>
                    <a:pt x="9" y="47"/>
                  </a:lnTo>
                  <a:lnTo>
                    <a:pt x="9" y="47"/>
                  </a:lnTo>
                  <a:lnTo>
                    <a:pt x="9" y="47"/>
                  </a:lnTo>
                  <a:lnTo>
                    <a:pt x="9" y="47"/>
                  </a:lnTo>
                  <a:lnTo>
                    <a:pt x="9" y="47"/>
                  </a:lnTo>
                  <a:lnTo>
                    <a:pt x="12" y="50"/>
                  </a:lnTo>
                  <a:lnTo>
                    <a:pt x="12" y="50"/>
                  </a:lnTo>
                  <a:lnTo>
                    <a:pt x="12" y="50"/>
                  </a:lnTo>
                  <a:lnTo>
                    <a:pt x="12" y="50"/>
                  </a:lnTo>
                  <a:lnTo>
                    <a:pt x="12" y="50"/>
                  </a:lnTo>
                  <a:lnTo>
                    <a:pt x="12" y="50"/>
                  </a:lnTo>
                  <a:lnTo>
                    <a:pt x="12" y="50"/>
                  </a:lnTo>
                  <a:lnTo>
                    <a:pt x="12" y="50"/>
                  </a:lnTo>
                  <a:lnTo>
                    <a:pt x="12" y="50"/>
                  </a:lnTo>
                  <a:lnTo>
                    <a:pt x="12" y="50"/>
                  </a:lnTo>
                  <a:lnTo>
                    <a:pt x="12" y="50"/>
                  </a:lnTo>
                  <a:lnTo>
                    <a:pt x="12" y="50"/>
                  </a:lnTo>
                  <a:lnTo>
                    <a:pt x="9" y="47"/>
                  </a:lnTo>
                  <a:lnTo>
                    <a:pt x="9" y="47"/>
                  </a:lnTo>
                  <a:lnTo>
                    <a:pt x="9" y="47"/>
                  </a:lnTo>
                  <a:lnTo>
                    <a:pt x="9" y="47"/>
                  </a:lnTo>
                  <a:lnTo>
                    <a:pt x="9" y="47"/>
                  </a:lnTo>
                  <a:lnTo>
                    <a:pt x="9" y="47"/>
                  </a:lnTo>
                  <a:lnTo>
                    <a:pt x="12" y="47"/>
                  </a:lnTo>
                  <a:lnTo>
                    <a:pt x="12" y="47"/>
                  </a:lnTo>
                  <a:lnTo>
                    <a:pt x="12" y="45"/>
                  </a:lnTo>
                  <a:lnTo>
                    <a:pt x="12" y="45"/>
                  </a:lnTo>
                  <a:lnTo>
                    <a:pt x="12" y="45"/>
                  </a:lnTo>
                  <a:lnTo>
                    <a:pt x="12" y="45"/>
                  </a:lnTo>
                  <a:lnTo>
                    <a:pt x="12" y="45"/>
                  </a:lnTo>
                  <a:lnTo>
                    <a:pt x="12" y="45"/>
                  </a:lnTo>
                  <a:lnTo>
                    <a:pt x="12" y="45"/>
                  </a:lnTo>
                  <a:lnTo>
                    <a:pt x="12" y="45"/>
                  </a:lnTo>
                  <a:lnTo>
                    <a:pt x="12" y="45"/>
                  </a:lnTo>
                  <a:lnTo>
                    <a:pt x="12" y="47"/>
                  </a:lnTo>
                  <a:lnTo>
                    <a:pt x="12" y="47"/>
                  </a:lnTo>
                  <a:lnTo>
                    <a:pt x="12" y="47"/>
                  </a:lnTo>
                  <a:lnTo>
                    <a:pt x="12" y="47"/>
                  </a:lnTo>
                  <a:lnTo>
                    <a:pt x="12" y="47"/>
                  </a:lnTo>
                  <a:lnTo>
                    <a:pt x="12" y="47"/>
                  </a:lnTo>
                  <a:close/>
                  <a:moveTo>
                    <a:pt x="12" y="45"/>
                  </a:moveTo>
                  <a:lnTo>
                    <a:pt x="12" y="45"/>
                  </a:lnTo>
                  <a:lnTo>
                    <a:pt x="12" y="45"/>
                  </a:lnTo>
                  <a:lnTo>
                    <a:pt x="12" y="45"/>
                  </a:lnTo>
                  <a:lnTo>
                    <a:pt x="12" y="45"/>
                  </a:lnTo>
                  <a:lnTo>
                    <a:pt x="12" y="45"/>
                  </a:lnTo>
                  <a:lnTo>
                    <a:pt x="12" y="45"/>
                  </a:lnTo>
                  <a:lnTo>
                    <a:pt x="12" y="45"/>
                  </a:lnTo>
                  <a:lnTo>
                    <a:pt x="12" y="45"/>
                  </a:lnTo>
                  <a:close/>
                  <a:moveTo>
                    <a:pt x="9" y="43"/>
                  </a:moveTo>
                  <a:lnTo>
                    <a:pt x="9" y="43"/>
                  </a:lnTo>
                  <a:lnTo>
                    <a:pt x="9" y="40"/>
                  </a:lnTo>
                  <a:lnTo>
                    <a:pt x="9" y="40"/>
                  </a:lnTo>
                  <a:lnTo>
                    <a:pt x="9" y="40"/>
                  </a:lnTo>
                  <a:lnTo>
                    <a:pt x="9" y="40"/>
                  </a:lnTo>
                  <a:lnTo>
                    <a:pt x="9" y="40"/>
                  </a:lnTo>
                  <a:lnTo>
                    <a:pt x="9" y="40"/>
                  </a:lnTo>
                  <a:lnTo>
                    <a:pt x="9" y="43"/>
                  </a:lnTo>
                  <a:lnTo>
                    <a:pt x="9" y="43"/>
                  </a:lnTo>
                  <a:lnTo>
                    <a:pt x="9" y="43"/>
                  </a:lnTo>
                  <a:close/>
                  <a:moveTo>
                    <a:pt x="7" y="36"/>
                  </a:moveTo>
                  <a:lnTo>
                    <a:pt x="7" y="38"/>
                  </a:lnTo>
                  <a:lnTo>
                    <a:pt x="7" y="36"/>
                  </a:lnTo>
                  <a:lnTo>
                    <a:pt x="7" y="36"/>
                  </a:lnTo>
                  <a:lnTo>
                    <a:pt x="7" y="36"/>
                  </a:lnTo>
                  <a:lnTo>
                    <a:pt x="7" y="36"/>
                  </a:lnTo>
                  <a:lnTo>
                    <a:pt x="7" y="36"/>
                  </a:lnTo>
                  <a:lnTo>
                    <a:pt x="7" y="36"/>
                  </a:lnTo>
                  <a:close/>
                  <a:moveTo>
                    <a:pt x="5" y="28"/>
                  </a:moveTo>
                  <a:lnTo>
                    <a:pt x="5" y="28"/>
                  </a:lnTo>
                  <a:lnTo>
                    <a:pt x="5" y="28"/>
                  </a:lnTo>
                  <a:lnTo>
                    <a:pt x="2" y="28"/>
                  </a:lnTo>
                  <a:lnTo>
                    <a:pt x="2" y="28"/>
                  </a:lnTo>
                  <a:lnTo>
                    <a:pt x="2" y="28"/>
                  </a:lnTo>
                  <a:lnTo>
                    <a:pt x="2" y="28"/>
                  </a:lnTo>
                  <a:lnTo>
                    <a:pt x="2" y="28"/>
                  </a:lnTo>
                  <a:lnTo>
                    <a:pt x="2" y="28"/>
                  </a:lnTo>
                  <a:lnTo>
                    <a:pt x="2" y="28"/>
                  </a:lnTo>
                  <a:lnTo>
                    <a:pt x="5" y="26"/>
                  </a:lnTo>
                  <a:lnTo>
                    <a:pt x="5" y="26"/>
                  </a:lnTo>
                  <a:lnTo>
                    <a:pt x="5" y="26"/>
                  </a:lnTo>
                  <a:lnTo>
                    <a:pt x="5" y="28"/>
                  </a:lnTo>
                  <a:lnTo>
                    <a:pt x="5" y="28"/>
                  </a:lnTo>
                  <a:lnTo>
                    <a:pt x="5" y="28"/>
                  </a:lnTo>
                  <a:lnTo>
                    <a:pt x="5" y="28"/>
                  </a:lnTo>
                  <a:lnTo>
                    <a:pt x="5" y="28"/>
                  </a:lnTo>
                  <a:lnTo>
                    <a:pt x="5" y="28"/>
                  </a:lnTo>
                  <a:lnTo>
                    <a:pt x="5" y="28"/>
                  </a:lnTo>
                  <a:close/>
                  <a:moveTo>
                    <a:pt x="2" y="28"/>
                  </a:moveTo>
                  <a:lnTo>
                    <a:pt x="2" y="28"/>
                  </a:lnTo>
                  <a:lnTo>
                    <a:pt x="2" y="28"/>
                  </a:lnTo>
                  <a:lnTo>
                    <a:pt x="2" y="26"/>
                  </a:lnTo>
                  <a:lnTo>
                    <a:pt x="5" y="26"/>
                  </a:lnTo>
                  <a:lnTo>
                    <a:pt x="5" y="26"/>
                  </a:lnTo>
                  <a:lnTo>
                    <a:pt x="5" y="26"/>
                  </a:lnTo>
                  <a:lnTo>
                    <a:pt x="5" y="26"/>
                  </a:lnTo>
                  <a:lnTo>
                    <a:pt x="5" y="26"/>
                  </a:lnTo>
                  <a:lnTo>
                    <a:pt x="2" y="28"/>
                  </a:lnTo>
                  <a:close/>
                  <a:moveTo>
                    <a:pt x="2" y="28"/>
                  </a:move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28"/>
                  </a:lnTo>
                  <a:lnTo>
                    <a:pt x="2" y="31"/>
                  </a:lnTo>
                  <a:lnTo>
                    <a:pt x="2" y="31"/>
                  </a:lnTo>
                  <a:lnTo>
                    <a:pt x="0" y="28"/>
                  </a:lnTo>
                  <a:lnTo>
                    <a:pt x="0" y="28"/>
                  </a:lnTo>
                  <a:lnTo>
                    <a:pt x="0" y="28"/>
                  </a:lnTo>
                  <a:lnTo>
                    <a:pt x="0" y="28"/>
                  </a:lnTo>
                  <a:lnTo>
                    <a:pt x="0" y="28"/>
                  </a:lnTo>
                  <a:lnTo>
                    <a:pt x="0" y="28"/>
                  </a:lnTo>
                  <a:lnTo>
                    <a:pt x="0" y="28"/>
                  </a:lnTo>
                  <a:lnTo>
                    <a:pt x="0" y="28"/>
                  </a:lnTo>
                  <a:lnTo>
                    <a:pt x="0" y="28"/>
                  </a:lnTo>
                  <a:lnTo>
                    <a:pt x="0" y="26"/>
                  </a:lnTo>
                  <a:lnTo>
                    <a:pt x="0" y="26"/>
                  </a:lnTo>
                  <a:lnTo>
                    <a:pt x="2" y="26"/>
                  </a:lnTo>
                  <a:lnTo>
                    <a:pt x="2" y="26"/>
                  </a:lnTo>
                  <a:lnTo>
                    <a:pt x="2" y="26"/>
                  </a:lnTo>
                  <a:lnTo>
                    <a:pt x="2" y="26"/>
                  </a:lnTo>
                  <a:lnTo>
                    <a:pt x="2" y="26"/>
                  </a:lnTo>
                  <a:lnTo>
                    <a:pt x="2" y="26"/>
                  </a:lnTo>
                  <a:lnTo>
                    <a:pt x="2" y="28"/>
                  </a:lnTo>
                  <a:lnTo>
                    <a:pt x="2" y="28"/>
                  </a:lnTo>
                  <a:close/>
                  <a:moveTo>
                    <a:pt x="0" y="26"/>
                  </a:moveTo>
                  <a:lnTo>
                    <a:pt x="0" y="26"/>
                  </a:lnTo>
                  <a:lnTo>
                    <a:pt x="0" y="26"/>
                  </a:lnTo>
                  <a:lnTo>
                    <a:pt x="0" y="26"/>
                  </a:lnTo>
                  <a:lnTo>
                    <a:pt x="0" y="26"/>
                  </a:lnTo>
                  <a:lnTo>
                    <a:pt x="0" y="26"/>
                  </a:lnTo>
                  <a:lnTo>
                    <a:pt x="0" y="26"/>
                  </a:lnTo>
                  <a:lnTo>
                    <a:pt x="0" y="26"/>
                  </a:lnTo>
                  <a:lnTo>
                    <a:pt x="0" y="26"/>
                  </a:lnTo>
                  <a:lnTo>
                    <a:pt x="0" y="26"/>
                  </a:lnTo>
                  <a:lnTo>
                    <a:pt x="0" y="26"/>
                  </a:lnTo>
                  <a:lnTo>
                    <a:pt x="0" y="26"/>
                  </a:lnTo>
                  <a:close/>
                  <a:moveTo>
                    <a:pt x="17" y="21"/>
                  </a:moveTo>
                  <a:lnTo>
                    <a:pt x="17" y="21"/>
                  </a:lnTo>
                  <a:lnTo>
                    <a:pt x="17" y="21"/>
                  </a:lnTo>
                  <a:lnTo>
                    <a:pt x="17" y="21"/>
                  </a:lnTo>
                  <a:lnTo>
                    <a:pt x="17" y="24"/>
                  </a:lnTo>
                  <a:lnTo>
                    <a:pt x="14" y="24"/>
                  </a:lnTo>
                  <a:lnTo>
                    <a:pt x="14" y="24"/>
                  </a:lnTo>
                  <a:lnTo>
                    <a:pt x="14" y="24"/>
                  </a:lnTo>
                  <a:lnTo>
                    <a:pt x="14" y="24"/>
                  </a:lnTo>
                  <a:lnTo>
                    <a:pt x="14" y="24"/>
                  </a:lnTo>
                  <a:lnTo>
                    <a:pt x="14" y="24"/>
                  </a:lnTo>
                  <a:lnTo>
                    <a:pt x="14" y="24"/>
                  </a:lnTo>
                  <a:lnTo>
                    <a:pt x="14" y="24"/>
                  </a:lnTo>
                  <a:lnTo>
                    <a:pt x="14" y="24"/>
                  </a:lnTo>
                  <a:lnTo>
                    <a:pt x="14" y="24"/>
                  </a:lnTo>
                  <a:lnTo>
                    <a:pt x="14" y="24"/>
                  </a:lnTo>
                  <a:lnTo>
                    <a:pt x="14" y="24"/>
                  </a:lnTo>
                  <a:lnTo>
                    <a:pt x="14" y="24"/>
                  </a:lnTo>
                  <a:lnTo>
                    <a:pt x="14" y="21"/>
                  </a:lnTo>
                  <a:lnTo>
                    <a:pt x="14" y="21"/>
                  </a:lnTo>
                  <a:lnTo>
                    <a:pt x="14" y="21"/>
                  </a:lnTo>
                  <a:lnTo>
                    <a:pt x="14" y="21"/>
                  </a:lnTo>
                  <a:lnTo>
                    <a:pt x="14" y="21"/>
                  </a:lnTo>
                  <a:lnTo>
                    <a:pt x="14" y="21"/>
                  </a:lnTo>
                  <a:lnTo>
                    <a:pt x="14" y="21"/>
                  </a:lnTo>
                  <a:lnTo>
                    <a:pt x="14" y="21"/>
                  </a:lnTo>
                  <a:lnTo>
                    <a:pt x="14" y="21"/>
                  </a:lnTo>
                  <a:lnTo>
                    <a:pt x="14" y="21"/>
                  </a:lnTo>
                  <a:lnTo>
                    <a:pt x="14" y="21"/>
                  </a:lnTo>
                  <a:lnTo>
                    <a:pt x="17" y="21"/>
                  </a:lnTo>
                  <a:lnTo>
                    <a:pt x="17" y="21"/>
                  </a:lnTo>
                  <a:close/>
                  <a:moveTo>
                    <a:pt x="17" y="19"/>
                  </a:moveTo>
                  <a:lnTo>
                    <a:pt x="17" y="19"/>
                  </a:lnTo>
                  <a:lnTo>
                    <a:pt x="17" y="19"/>
                  </a:lnTo>
                  <a:lnTo>
                    <a:pt x="14" y="19"/>
                  </a:lnTo>
                  <a:lnTo>
                    <a:pt x="14" y="19"/>
                  </a:lnTo>
                  <a:lnTo>
                    <a:pt x="14" y="21"/>
                  </a:lnTo>
                  <a:lnTo>
                    <a:pt x="14" y="21"/>
                  </a:lnTo>
                  <a:lnTo>
                    <a:pt x="14" y="21"/>
                  </a:lnTo>
                  <a:lnTo>
                    <a:pt x="14" y="21"/>
                  </a:lnTo>
                  <a:lnTo>
                    <a:pt x="14" y="21"/>
                  </a:lnTo>
                  <a:lnTo>
                    <a:pt x="14" y="21"/>
                  </a:lnTo>
                  <a:lnTo>
                    <a:pt x="14" y="21"/>
                  </a:lnTo>
                  <a:lnTo>
                    <a:pt x="14" y="21"/>
                  </a:lnTo>
                  <a:lnTo>
                    <a:pt x="14" y="21"/>
                  </a:lnTo>
                  <a:lnTo>
                    <a:pt x="14" y="21"/>
                  </a:lnTo>
                  <a:lnTo>
                    <a:pt x="14" y="21"/>
                  </a:lnTo>
                  <a:lnTo>
                    <a:pt x="14" y="24"/>
                  </a:lnTo>
                  <a:lnTo>
                    <a:pt x="14" y="24"/>
                  </a:lnTo>
                  <a:lnTo>
                    <a:pt x="14" y="24"/>
                  </a:lnTo>
                  <a:lnTo>
                    <a:pt x="14" y="24"/>
                  </a:lnTo>
                  <a:lnTo>
                    <a:pt x="14" y="24"/>
                  </a:lnTo>
                  <a:lnTo>
                    <a:pt x="12" y="24"/>
                  </a:lnTo>
                  <a:lnTo>
                    <a:pt x="12" y="24"/>
                  </a:lnTo>
                  <a:lnTo>
                    <a:pt x="12" y="24"/>
                  </a:lnTo>
                  <a:lnTo>
                    <a:pt x="12" y="24"/>
                  </a:lnTo>
                  <a:lnTo>
                    <a:pt x="12" y="26"/>
                  </a:lnTo>
                  <a:lnTo>
                    <a:pt x="12" y="26"/>
                  </a:lnTo>
                  <a:lnTo>
                    <a:pt x="12" y="26"/>
                  </a:lnTo>
                  <a:lnTo>
                    <a:pt x="12" y="26"/>
                  </a:lnTo>
                  <a:lnTo>
                    <a:pt x="12" y="26"/>
                  </a:lnTo>
                  <a:lnTo>
                    <a:pt x="12" y="26"/>
                  </a:lnTo>
                  <a:lnTo>
                    <a:pt x="12" y="26"/>
                  </a:lnTo>
                  <a:lnTo>
                    <a:pt x="12" y="26"/>
                  </a:lnTo>
                  <a:lnTo>
                    <a:pt x="12" y="26"/>
                  </a:lnTo>
                  <a:lnTo>
                    <a:pt x="12" y="26"/>
                  </a:lnTo>
                  <a:lnTo>
                    <a:pt x="12" y="28"/>
                  </a:lnTo>
                  <a:lnTo>
                    <a:pt x="12" y="28"/>
                  </a:lnTo>
                  <a:lnTo>
                    <a:pt x="12" y="28"/>
                  </a:lnTo>
                  <a:lnTo>
                    <a:pt x="12" y="28"/>
                  </a:lnTo>
                  <a:lnTo>
                    <a:pt x="12" y="28"/>
                  </a:lnTo>
                  <a:lnTo>
                    <a:pt x="12" y="28"/>
                  </a:lnTo>
                  <a:lnTo>
                    <a:pt x="12" y="28"/>
                  </a:lnTo>
                  <a:lnTo>
                    <a:pt x="9" y="28"/>
                  </a:lnTo>
                  <a:lnTo>
                    <a:pt x="9" y="28"/>
                  </a:lnTo>
                  <a:lnTo>
                    <a:pt x="9" y="28"/>
                  </a:lnTo>
                  <a:lnTo>
                    <a:pt x="9" y="28"/>
                  </a:lnTo>
                  <a:lnTo>
                    <a:pt x="9" y="28"/>
                  </a:lnTo>
                  <a:lnTo>
                    <a:pt x="9" y="28"/>
                  </a:lnTo>
                  <a:lnTo>
                    <a:pt x="9" y="31"/>
                  </a:lnTo>
                  <a:lnTo>
                    <a:pt x="9" y="31"/>
                  </a:lnTo>
                  <a:lnTo>
                    <a:pt x="9" y="31"/>
                  </a:lnTo>
                  <a:lnTo>
                    <a:pt x="9" y="31"/>
                  </a:lnTo>
                  <a:lnTo>
                    <a:pt x="9" y="31"/>
                  </a:lnTo>
                  <a:lnTo>
                    <a:pt x="9" y="31"/>
                  </a:lnTo>
                  <a:lnTo>
                    <a:pt x="9" y="31"/>
                  </a:lnTo>
                  <a:lnTo>
                    <a:pt x="9" y="31"/>
                  </a:lnTo>
                  <a:lnTo>
                    <a:pt x="9" y="28"/>
                  </a:lnTo>
                  <a:lnTo>
                    <a:pt x="9" y="28"/>
                  </a:lnTo>
                  <a:lnTo>
                    <a:pt x="9" y="28"/>
                  </a:lnTo>
                  <a:lnTo>
                    <a:pt x="9" y="28"/>
                  </a:lnTo>
                  <a:lnTo>
                    <a:pt x="9" y="28"/>
                  </a:lnTo>
                  <a:lnTo>
                    <a:pt x="9" y="28"/>
                  </a:lnTo>
                  <a:lnTo>
                    <a:pt x="9" y="28"/>
                  </a:lnTo>
                  <a:lnTo>
                    <a:pt x="9" y="28"/>
                  </a:lnTo>
                  <a:lnTo>
                    <a:pt x="9" y="28"/>
                  </a:lnTo>
                  <a:lnTo>
                    <a:pt x="7" y="28"/>
                  </a:lnTo>
                  <a:lnTo>
                    <a:pt x="7" y="28"/>
                  </a:lnTo>
                  <a:lnTo>
                    <a:pt x="7" y="28"/>
                  </a:lnTo>
                  <a:lnTo>
                    <a:pt x="7" y="26"/>
                  </a:lnTo>
                  <a:lnTo>
                    <a:pt x="7" y="28"/>
                  </a:lnTo>
                  <a:lnTo>
                    <a:pt x="7" y="26"/>
                  </a:lnTo>
                  <a:lnTo>
                    <a:pt x="5" y="26"/>
                  </a:lnTo>
                  <a:lnTo>
                    <a:pt x="5" y="26"/>
                  </a:lnTo>
                  <a:lnTo>
                    <a:pt x="5" y="26"/>
                  </a:lnTo>
                  <a:lnTo>
                    <a:pt x="5" y="28"/>
                  </a:lnTo>
                  <a:lnTo>
                    <a:pt x="5" y="28"/>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5"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6"/>
                  </a:lnTo>
                  <a:lnTo>
                    <a:pt x="2" y="28"/>
                  </a:lnTo>
                  <a:lnTo>
                    <a:pt x="2" y="28"/>
                  </a:lnTo>
                  <a:lnTo>
                    <a:pt x="2" y="28"/>
                  </a:lnTo>
                  <a:lnTo>
                    <a:pt x="2" y="28"/>
                  </a:lnTo>
                  <a:lnTo>
                    <a:pt x="2" y="26"/>
                  </a:lnTo>
                  <a:lnTo>
                    <a:pt x="2" y="26"/>
                  </a:lnTo>
                  <a:lnTo>
                    <a:pt x="2" y="26"/>
                  </a:lnTo>
                  <a:lnTo>
                    <a:pt x="0" y="26"/>
                  </a:lnTo>
                  <a:lnTo>
                    <a:pt x="0" y="26"/>
                  </a:lnTo>
                  <a:lnTo>
                    <a:pt x="0" y="28"/>
                  </a:lnTo>
                  <a:lnTo>
                    <a:pt x="0" y="28"/>
                  </a:lnTo>
                  <a:lnTo>
                    <a:pt x="0" y="28"/>
                  </a:lnTo>
                  <a:lnTo>
                    <a:pt x="0" y="26"/>
                  </a:lnTo>
                  <a:lnTo>
                    <a:pt x="0" y="26"/>
                  </a:lnTo>
                  <a:lnTo>
                    <a:pt x="0" y="26"/>
                  </a:lnTo>
                  <a:lnTo>
                    <a:pt x="0" y="26"/>
                  </a:lnTo>
                  <a:lnTo>
                    <a:pt x="0" y="26"/>
                  </a:lnTo>
                  <a:lnTo>
                    <a:pt x="0" y="26"/>
                  </a:lnTo>
                  <a:lnTo>
                    <a:pt x="0" y="26"/>
                  </a:lnTo>
                  <a:lnTo>
                    <a:pt x="0" y="24"/>
                  </a:lnTo>
                  <a:lnTo>
                    <a:pt x="0" y="24"/>
                  </a:lnTo>
                  <a:lnTo>
                    <a:pt x="2" y="24"/>
                  </a:lnTo>
                  <a:lnTo>
                    <a:pt x="2" y="24"/>
                  </a:lnTo>
                  <a:lnTo>
                    <a:pt x="2" y="24"/>
                  </a:lnTo>
                  <a:lnTo>
                    <a:pt x="2" y="24"/>
                  </a:lnTo>
                  <a:lnTo>
                    <a:pt x="5" y="24"/>
                  </a:lnTo>
                  <a:lnTo>
                    <a:pt x="5" y="24"/>
                  </a:lnTo>
                  <a:lnTo>
                    <a:pt x="5" y="24"/>
                  </a:lnTo>
                  <a:lnTo>
                    <a:pt x="7" y="21"/>
                  </a:lnTo>
                  <a:lnTo>
                    <a:pt x="7" y="21"/>
                  </a:lnTo>
                  <a:lnTo>
                    <a:pt x="7" y="21"/>
                  </a:lnTo>
                  <a:lnTo>
                    <a:pt x="7" y="21"/>
                  </a:lnTo>
                  <a:lnTo>
                    <a:pt x="7" y="21"/>
                  </a:lnTo>
                  <a:lnTo>
                    <a:pt x="9" y="21"/>
                  </a:lnTo>
                  <a:lnTo>
                    <a:pt x="9" y="21"/>
                  </a:lnTo>
                  <a:lnTo>
                    <a:pt x="12" y="21"/>
                  </a:lnTo>
                  <a:lnTo>
                    <a:pt x="12" y="21"/>
                  </a:lnTo>
                  <a:lnTo>
                    <a:pt x="12" y="21"/>
                  </a:lnTo>
                  <a:lnTo>
                    <a:pt x="12" y="21"/>
                  </a:lnTo>
                  <a:lnTo>
                    <a:pt x="12" y="21"/>
                  </a:lnTo>
                  <a:lnTo>
                    <a:pt x="14" y="19"/>
                  </a:lnTo>
                  <a:lnTo>
                    <a:pt x="14" y="19"/>
                  </a:lnTo>
                  <a:lnTo>
                    <a:pt x="14" y="19"/>
                  </a:lnTo>
                  <a:lnTo>
                    <a:pt x="14" y="19"/>
                  </a:lnTo>
                  <a:lnTo>
                    <a:pt x="14" y="19"/>
                  </a:lnTo>
                  <a:lnTo>
                    <a:pt x="14" y="19"/>
                  </a:lnTo>
                  <a:lnTo>
                    <a:pt x="17" y="19"/>
                  </a:lnTo>
                  <a:lnTo>
                    <a:pt x="17" y="19"/>
                  </a:lnTo>
                  <a:lnTo>
                    <a:pt x="17" y="19"/>
                  </a:lnTo>
                  <a:lnTo>
                    <a:pt x="17" y="19"/>
                  </a:lnTo>
                  <a:close/>
                  <a:moveTo>
                    <a:pt x="145" y="0"/>
                  </a:moveTo>
                  <a:lnTo>
                    <a:pt x="145" y="0"/>
                  </a:lnTo>
                  <a:lnTo>
                    <a:pt x="145" y="0"/>
                  </a:lnTo>
                  <a:lnTo>
                    <a:pt x="145" y="0"/>
                  </a:lnTo>
                  <a:lnTo>
                    <a:pt x="145" y="0"/>
                  </a:lnTo>
                  <a:lnTo>
                    <a:pt x="147" y="0"/>
                  </a:lnTo>
                  <a:lnTo>
                    <a:pt x="145" y="0"/>
                  </a:lnTo>
                  <a:lnTo>
                    <a:pt x="147" y="0"/>
                  </a:lnTo>
                  <a:lnTo>
                    <a:pt x="147" y="0"/>
                  </a:lnTo>
                  <a:lnTo>
                    <a:pt x="147" y="0"/>
                  </a:lnTo>
                  <a:lnTo>
                    <a:pt x="147" y="0"/>
                  </a:lnTo>
                  <a:lnTo>
                    <a:pt x="147" y="0"/>
                  </a:lnTo>
                  <a:lnTo>
                    <a:pt x="147" y="0"/>
                  </a:lnTo>
                  <a:lnTo>
                    <a:pt x="147" y="0"/>
                  </a:lnTo>
                  <a:lnTo>
                    <a:pt x="145" y="0"/>
                  </a:lnTo>
                  <a:lnTo>
                    <a:pt x="145" y="0"/>
                  </a:lnTo>
                  <a:lnTo>
                    <a:pt x="145" y="0"/>
                  </a:lnTo>
                  <a:lnTo>
                    <a:pt x="145" y="0"/>
                  </a:lnTo>
                  <a:lnTo>
                    <a:pt x="145" y="0"/>
                  </a:lnTo>
                  <a:lnTo>
                    <a:pt x="145" y="0"/>
                  </a:lnTo>
                  <a:lnTo>
                    <a:pt x="145" y="0"/>
                  </a:lnTo>
                  <a:lnTo>
                    <a:pt x="145" y="0"/>
                  </a:lnTo>
                  <a:lnTo>
                    <a:pt x="145" y="0"/>
                  </a:lnTo>
                  <a:lnTo>
                    <a:pt x="145" y="0"/>
                  </a:lnTo>
                  <a:lnTo>
                    <a:pt x="145" y="0"/>
                  </a:lnTo>
                  <a:lnTo>
                    <a:pt x="145" y="0"/>
                  </a:lnTo>
                  <a:lnTo>
                    <a:pt x="145" y="0"/>
                  </a:lnTo>
                  <a:lnTo>
                    <a:pt x="147" y="0"/>
                  </a:lnTo>
                  <a:lnTo>
                    <a:pt x="147" y="0"/>
                  </a:lnTo>
                  <a:lnTo>
                    <a:pt x="145" y="0"/>
                  </a:lnTo>
                  <a:lnTo>
                    <a:pt x="147" y="0"/>
                  </a:lnTo>
                  <a:lnTo>
                    <a:pt x="145" y="0"/>
                  </a:lnTo>
                  <a:lnTo>
                    <a:pt x="147" y="0"/>
                  </a:lnTo>
                  <a:lnTo>
                    <a:pt x="147" y="2"/>
                  </a:lnTo>
                  <a:lnTo>
                    <a:pt x="147" y="2"/>
                  </a:lnTo>
                  <a:lnTo>
                    <a:pt x="147" y="2"/>
                  </a:lnTo>
                  <a:lnTo>
                    <a:pt x="147" y="2"/>
                  </a:lnTo>
                  <a:lnTo>
                    <a:pt x="147" y="2"/>
                  </a:lnTo>
                  <a:lnTo>
                    <a:pt x="147" y="2"/>
                  </a:lnTo>
                  <a:lnTo>
                    <a:pt x="147" y="2"/>
                  </a:lnTo>
                  <a:lnTo>
                    <a:pt x="147" y="2"/>
                  </a:lnTo>
                  <a:lnTo>
                    <a:pt x="147" y="2"/>
                  </a:lnTo>
                  <a:lnTo>
                    <a:pt x="147" y="2"/>
                  </a:lnTo>
                  <a:lnTo>
                    <a:pt x="147" y="2"/>
                  </a:lnTo>
                  <a:lnTo>
                    <a:pt x="149" y="2"/>
                  </a:lnTo>
                  <a:lnTo>
                    <a:pt x="149" y="2"/>
                  </a:lnTo>
                  <a:lnTo>
                    <a:pt x="149" y="2"/>
                  </a:lnTo>
                  <a:lnTo>
                    <a:pt x="147" y="2"/>
                  </a:lnTo>
                  <a:lnTo>
                    <a:pt x="147" y="2"/>
                  </a:lnTo>
                  <a:lnTo>
                    <a:pt x="147" y="2"/>
                  </a:lnTo>
                  <a:lnTo>
                    <a:pt x="147" y="2"/>
                  </a:lnTo>
                  <a:lnTo>
                    <a:pt x="147" y="2"/>
                  </a:lnTo>
                  <a:lnTo>
                    <a:pt x="147" y="2"/>
                  </a:lnTo>
                  <a:lnTo>
                    <a:pt x="145" y="2"/>
                  </a:lnTo>
                  <a:lnTo>
                    <a:pt x="145" y="2"/>
                  </a:lnTo>
                  <a:lnTo>
                    <a:pt x="145" y="2"/>
                  </a:lnTo>
                  <a:lnTo>
                    <a:pt x="145" y="2"/>
                  </a:lnTo>
                  <a:lnTo>
                    <a:pt x="145" y="2"/>
                  </a:lnTo>
                  <a:lnTo>
                    <a:pt x="145" y="2"/>
                  </a:lnTo>
                  <a:lnTo>
                    <a:pt x="145" y="2"/>
                  </a:lnTo>
                  <a:lnTo>
                    <a:pt x="145" y="2"/>
                  </a:lnTo>
                  <a:lnTo>
                    <a:pt x="145" y="2"/>
                  </a:lnTo>
                  <a:lnTo>
                    <a:pt x="145" y="2"/>
                  </a:lnTo>
                  <a:lnTo>
                    <a:pt x="145" y="2"/>
                  </a:lnTo>
                  <a:lnTo>
                    <a:pt x="145" y="2"/>
                  </a:lnTo>
                  <a:lnTo>
                    <a:pt x="145" y="0"/>
                  </a:lnTo>
                  <a:lnTo>
                    <a:pt x="145" y="0"/>
                  </a:lnTo>
                  <a:lnTo>
                    <a:pt x="145" y="0"/>
                  </a:lnTo>
                  <a:lnTo>
                    <a:pt x="145" y="0"/>
                  </a:lnTo>
                  <a:lnTo>
                    <a:pt x="145" y="0"/>
                  </a:lnTo>
                  <a:lnTo>
                    <a:pt x="145" y="0"/>
                  </a:lnTo>
                  <a:lnTo>
                    <a:pt x="14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1" name="Freeform 55038"/>
            <p:cNvSpPr>
              <a:spLocks noEditPoints="1"/>
            </p:cNvSpPr>
            <p:nvPr/>
          </p:nvSpPr>
          <p:spPr bwMode="auto">
            <a:xfrm>
              <a:off x="2774948" y="4357703"/>
              <a:ext cx="236538" cy="79375"/>
            </a:xfrm>
            <a:custGeom>
              <a:avLst/>
              <a:gdLst>
                <a:gd name="T0" fmla="*/ 12 w 149"/>
                <a:gd name="T1" fmla="*/ 50 h 50"/>
                <a:gd name="T2" fmla="*/ 12 w 149"/>
                <a:gd name="T3" fmla="*/ 50 h 50"/>
                <a:gd name="T4" fmla="*/ 12 w 149"/>
                <a:gd name="T5" fmla="*/ 50 h 50"/>
                <a:gd name="T6" fmla="*/ 12 w 149"/>
                <a:gd name="T7" fmla="*/ 43 h 50"/>
                <a:gd name="T8" fmla="*/ 12 w 149"/>
                <a:gd name="T9" fmla="*/ 43 h 50"/>
                <a:gd name="T10" fmla="*/ 12 w 149"/>
                <a:gd name="T11" fmla="*/ 43 h 50"/>
                <a:gd name="T12" fmla="*/ 12 w 149"/>
                <a:gd name="T13" fmla="*/ 43 h 50"/>
                <a:gd name="T14" fmla="*/ 12 w 149"/>
                <a:gd name="T15" fmla="*/ 43 h 50"/>
                <a:gd name="T16" fmla="*/ 12 w 149"/>
                <a:gd name="T17" fmla="*/ 41 h 50"/>
                <a:gd name="T18" fmla="*/ 12 w 149"/>
                <a:gd name="T19" fmla="*/ 41 h 50"/>
                <a:gd name="T20" fmla="*/ 12 w 149"/>
                <a:gd name="T21" fmla="*/ 41 h 50"/>
                <a:gd name="T22" fmla="*/ 12 w 149"/>
                <a:gd name="T23" fmla="*/ 41 h 50"/>
                <a:gd name="T24" fmla="*/ 9 w 149"/>
                <a:gd name="T25" fmla="*/ 36 h 50"/>
                <a:gd name="T26" fmla="*/ 9 w 149"/>
                <a:gd name="T27" fmla="*/ 36 h 50"/>
                <a:gd name="T28" fmla="*/ 9 w 149"/>
                <a:gd name="T29" fmla="*/ 36 h 50"/>
                <a:gd name="T30" fmla="*/ 9 w 149"/>
                <a:gd name="T31" fmla="*/ 36 h 50"/>
                <a:gd name="T32" fmla="*/ 9 w 149"/>
                <a:gd name="T33" fmla="*/ 36 h 50"/>
                <a:gd name="T34" fmla="*/ 0 w 149"/>
                <a:gd name="T35" fmla="*/ 31 h 50"/>
                <a:gd name="T36" fmla="*/ 0 w 149"/>
                <a:gd name="T37" fmla="*/ 31 h 50"/>
                <a:gd name="T38" fmla="*/ 0 w 149"/>
                <a:gd name="T39" fmla="*/ 31 h 50"/>
                <a:gd name="T40" fmla="*/ 0 w 149"/>
                <a:gd name="T41" fmla="*/ 31 h 50"/>
                <a:gd name="T42" fmla="*/ 0 w 149"/>
                <a:gd name="T43" fmla="*/ 26 h 50"/>
                <a:gd name="T44" fmla="*/ 0 w 149"/>
                <a:gd name="T45" fmla="*/ 24 h 50"/>
                <a:gd name="T46" fmla="*/ 0 w 149"/>
                <a:gd name="T47" fmla="*/ 26 h 50"/>
                <a:gd name="T48" fmla="*/ 0 w 149"/>
                <a:gd name="T49" fmla="*/ 24 h 50"/>
                <a:gd name="T50" fmla="*/ 0 w 149"/>
                <a:gd name="T51" fmla="*/ 26 h 50"/>
                <a:gd name="T52" fmla="*/ 0 w 149"/>
                <a:gd name="T53" fmla="*/ 24 h 50"/>
                <a:gd name="T54" fmla="*/ 0 w 149"/>
                <a:gd name="T55" fmla="*/ 26 h 50"/>
                <a:gd name="T56" fmla="*/ 0 w 149"/>
                <a:gd name="T57" fmla="*/ 24 h 50"/>
                <a:gd name="T58" fmla="*/ 5 w 149"/>
                <a:gd name="T59" fmla="*/ 24 h 50"/>
                <a:gd name="T60" fmla="*/ 5 w 149"/>
                <a:gd name="T61" fmla="*/ 24 h 50"/>
                <a:gd name="T62" fmla="*/ 5 w 149"/>
                <a:gd name="T63" fmla="*/ 24 h 50"/>
                <a:gd name="T64" fmla="*/ 2 w 149"/>
                <a:gd name="T65" fmla="*/ 24 h 50"/>
                <a:gd name="T66" fmla="*/ 2 w 149"/>
                <a:gd name="T67" fmla="*/ 24 h 50"/>
                <a:gd name="T68" fmla="*/ 5 w 149"/>
                <a:gd name="T69" fmla="*/ 24 h 50"/>
                <a:gd name="T70" fmla="*/ 2 w 149"/>
                <a:gd name="T71" fmla="*/ 24 h 50"/>
                <a:gd name="T72" fmla="*/ 5 w 149"/>
                <a:gd name="T73" fmla="*/ 24 h 50"/>
                <a:gd name="T74" fmla="*/ 149 w 149"/>
                <a:gd name="T75" fmla="*/ 0 h 50"/>
                <a:gd name="T76" fmla="*/ 149 w 149"/>
                <a:gd name="T77" fmla="*/ 0 h 50"/>
                <a:gd name="T78" fmla="*/ 149 w 149"/>
                <a:gd name="T7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50">
                  <a:moveTo>
                    <a:pt x="12" y="50"/>
                  </a:moveTo>
                  <a:lnTo>
                    <a:pt x="12" y="50"/>
                  </a:lnTo>
                  <a:lnTo>
                    <a:pt x="12" y="48"/>
                  </a:lnTo>
                  <a:lnTo>
                    <a:pt x="12" y="50"/>
                  </a:lnTo>
                  <a:lnTo>
                    <a:pt x="12" y="50"/>
                  </a:lnTo>
                  <a:lnTo>
                    <a:pt x="12" y="50"/>
                  </a:lnTo>
                  <a:close/>
                  <a:moveTo>
                    <a:pt x="12" y="43"/>
                  </a:moveTo>
                  <a:lnTo>
                    <a:pt x="12" y="43"/>
                  </a:lnTo>
                  <a:lnTo>
                    <a:pt x="12" y="43"/>
                  </a:lnTo>
                  <a:lnTo>
                    <a:pt x="12" y="43"/>
                  </a:lnTo>
                  <a:lnTo>
                    <a:pt x="12" y="43"/>
                  </a:lnTo>
                  <a:lnTo>
                    <a:pt x="12" y="43"/>
                  </a:lnTo>
                  <a:close/>
                  <a:moveTo>
                    <a:pt x="12" y="43"/>
                  </a:moveTo>
                  <a:lnTo>
                    <a:pt x="12" y="43"/>
                  </a:lnTo>
                  <a:lnTo>
                    <a:pt x="12" y="43"/>
                  </a:lnTo>
                  <a:lnTo>
                    <a:pt x="12" y="43"/>
                  </a:lnTo>
                  <a:lnTo>
                    <a:pt x="12" y="43"/>
                  </a:lnTo>
                  <a:close/>
                  <a:moveTo>
                    <a:pt x="12" y="41"/>
                  </a:moveTo>
                  <a:lnTo>
                    <a:pt x="12" y="41"/>
                  </a:lnTo>
                  <a:lnTo>
                    <a:pt x="12" y="41"/>
                  </a:lnTo>
                  <a:lnTo>
                    <a:pt x="12" y="41"/>
                  </a:lnTo>
                  <a:lnTo>
                    <a:pt x="12" y="41"/>
                  </a:lnTo>
                  <a:lnTo>
                    <a:pt x="12" y="41"/>
                  </a:lnTo>
                  <a:lnTo>
                    <a:pt x="12" y="41"/>
                  </a:lnTo>
                  <a:lnTo>
                    <a:pt x="12" y="41"/>
                  </a:lnTo>
                  <a:close/>
                  <a:moveTo>
                    <a:pt x="9" y="36"/>
                  </a:moveTo>
                  <a:lnTo>
                    <a:pt x="9" y="36"/>
                  </a:lnTo>
                  <a:lnTo>
                    <a:pt x="9" y="36"/>
                  </a:lnTo>
                  <a:lnTo>
                    <a:pt x="9" y="36"/>
                  </a:lnTo>
                  <a:lnTo>
                    <a:pt x="9" y="36"/>
                  </a:lnTo>
                  <a:lnTo>
                    <a:pt x="9" y="36"/>
                  </a:lnTo>
                  <a:lnTo>
                    <a:pt x="9" y="36"/>
                  </a:lnTo>
                  <a:lnTo>
                    <a:pt x="9" y="36"/>
                  </a:lnTo>
                  <a:lnTo>
                    <a:pt x="9" y="36"/>
                  </a:lnTo>
                  <a:close/>
                  <a:moveTo>
                    <a:pt x="0" y="31"/>
                  </a:moveTo>
                  <a:lnTo>
                    <a:pt x="0" y="31"/>
                  </a:lnTo>
                  <a:lnTo>
                    <a:pt x="0" y="31"/>
                  </a:lnTo>
                  <a:lnTo>
                    <a:pt x="0" y="31"/>
                  </a:lnTo>
                  <a:lnTo>
                    <a:pt x="0" y="31"/>
                  </a:lnTo>
                  <a:lnTo>
                    <a:pt x="0" y="31"/>
                  </a:lnTo>
                  <a:lnTo>
                    <a:pt x="0" y="31"/>
                  </a:lnTo>
                  <a:lnTo>
                    <a:pt x="0" y="31"/>
                  </a:lnTo>
                  <a:lnTo>
                    <a:pt x="0" y="31"/>
                  </a:lnTo>
                  <a:close/>
                  <a:moveTo>
                    <a:pt x="0" y="26"/>
                  </a:moveTo>
                  <a:lnTo>
                    <a:pt x="0" y="26"/>
                  </a:lnTo>
                  <a:lnTo>
                    <a:pt x="0" y="24"/>
                  </a:lnTo>
                  <a:lnTo>
                    <a:pt x="0" y="24"/>
                  </a:lnTo>
                  <a:lnTo>
                    <a:pt x="0" y="26"/>
                  </a:lnTo>
                  <a:lnTo>
                    <a:pt x="0" y="26"/>
                  </a:lnTo>
                  <a:close/>
                  <a:moveTo>
                    <a:pt x="0" y="24"/>
                  </a:moveTo>
                  <a:lnTo>
                    <a:pt x="0" y="26"/>
                  </a:lnTo>
                  <a:lnTo>
                    <a:pt x="0" y="26"/>
                  </a:lnTo>
                  <a:lnTo>
                    <a:pt x="0" y="24"/>
                  </a:lnTo>
                  <a:lnTo>
                    <a:pt x="0" y="24"/>
                  </a:lnTo>
                  <a:close/>
                  <a:moveTo>
                    <a:pt x="0" y="24"/>
                  </a:moveTo>
                  <a:lnTo>
                    <a:pt x="0" y="26"/>
                  </a:lnTo>
                  <a:lnTo>
                    <a:pt x="0" y="24"/>
                  </a:lnTo>
                  <a:lnTo>
                    <a:pt x="0" y="24"/>
                  </a:lnTo>
                  <a:lnTo>
                    <a:pt x="0" y="24"/>
                  </a:lnTo>
                  <a:close/>
                  <a:moveTo>
                    <a:pt x="5" y="24"/>
                  </a:moveTo>
                  <a:lnTo>
                    <a:pt x="5" y="24"/>
                  </a:lnTo>
                  <a:lnTo>
                    <a:pt x="5" y="24"/>
                  </a:lnTo>
                  <a:lnTo>
                    <a:pt x="5" y="24"/>
                  </a:lnTo>
                  <a:lnTo>
                    <a:pt x="5" y="24"/>
                  </a:lnTo>
                  <a:close/>
                  <a:moveTo>
                    <a:pt x="2" y="24"/>
                  </a:moveTo>
                  <a:lnTo>
                    <a:pt x="2" y="24"/>
                  </a:lnTo>
                  <a:lnTo>
                    <a:pt x="2" y="24"/>
                  </a:lnTo>
                  <a:lnTo>
                    <a:pt x="2" y="24"/>
                  </a:lnTo>
                  <a:lnTo>
                    <a:pt x="2" y="24"/>
                  </a:lnTo>
                  <a:close/>
                  <a:moveTo>
                    <a:pt x="5" y="24"/>
                  </a:moveTo>
                  <a:lnTo>
                    <a:pt x="2" y="24"/>
                  </a:lnTo>
                  <a:lnTo>
                    <a:pt x="2" y="24"/>
                  </a:lnTo>
                  <a:lnTo>
                    <a:pt x="2" y="24"/>
                  </a:lnTo>
                  <a:lnTo>
                    <a:pt x="5" y="24"/>
                  </a:lnTo>
                  <a:close/>
                  <a:moveTo>
                    <a:pt x="149" y="0"/>
                  </a:moveTo>
                  <a:lnTo>
                    <a:pt x="149" y="0"/>
                  </a:lnTo>
                  <a:lnTo>
                    <a:pt x="149" y="0"/>
                  </a:lnTo>
                  <a:lnTo>
                    <a:pt x="149" y="0"/>
                  </a:lnTo>
                  <a:lnTo>
                    <a:pt x="149" y="0"/>
                  </a:lnTo>
                  <a:lnTo>
                    <a:pt x="14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2" name="Freeform 55039"/>
            <p:cNvSpPr>
              <a:spLocks/>
            </p:cNvSpPr>
            <p:nvPr/>
          </p:nvSpPr>
          <p:spPr bwMode="auto">
            <a:xfrm>
              <a:off x="1120774" y="5942032"/>
              <a:ext cx="34925" cy="15875"/>
            </a:xfrm>
            <a:custGeom>
              <a:avLst/>
              <a:gdLst>
                <a:gd name="T0" fmla="*/ 5 w 22"/>
                <a:gd name="T1" fmla="*/ 0 h 10"/>
                <a:gd name="T2" fmla="*/ 5 w 22"/>
                <a:gd name="T3" fmla="*/ 0 h 10"/>
                <a:gd name="T4" fmla="*/ 5 w 22"/>
                <a:gd name="T5" fmla="*/ 2 h 10"/>
                <a:gd name="T6" fmla="*/ 5 w 22"/>
                <a:gd name="T7" fmla="*/ 2 h 10"/>
                <a:gd name="T8" fmla="*/ 8 w 22"/>
                <a:gd name="T9" fmla="*/ 2 h 10"/>
                <a:gd name="T10" fmla="*/ 8 w 22"/>
                <a:gd name="T11" fmla="*/ 2 h 10"/>
                <a:gd name="T12" fmla="*/ 8 w 22"/>
                <a:gd name="T13" fmla="*/ 2 h 10"/>
                <a:gd name="T14" fmla="*/ 8 w 22"/>
                <a:gd name="T15" fmla="*/ 2 h 10"/>
                <a:gd name="T16" fmla="*/ 8 w 22"/>
                <a:gd name="T17" fmla="*/ 2 h 10"/>
                <a:gd name="T18" fmla="*/ 10 w 22"/>
                <a:gd name="T19" fmla="*/ 2 h 10"/>
                <a:gd name="T20" fmla="*/ 10 w 22"/>
                <a:gd name="T21" fmla="*/ 2 h 10"/>
                <a:gd name="T22" fmla="*/ 12 w 22"/>
                <a:gd name="T23" fmla="*/ 2 h 10"/>
                <a:gd name="T24" fmla="*/ 12 w 22"/>
                <a:gd name="T25" fmla="*/ 2 h 10"/>
                <a:gd name="T26" fmla="*/ 12 w 22"/>
                <a:gd name="T27" fmla="*/ 2 h 10"/>
                <a:gd name="T28" fmla="*/ 15 w 22"/>
                <a:gd name="T29" fmla="*/ 2 h 10"/>
                <a:gd name="T30" fmla="*/ 15 w 22"/>
                <a:gd name="T31" fmla="*/ 2 h 10"/>
                <a:gd name="T32" fmla="*/ 15 w 22"/>
                <a:gd name="T33" fmla="*/ 2 h 10"/>
                <a:gd name="T34" fmla="*/ 15 w 22"/>
                <a:gd name="T35" fmla="*/ 2 h 10"/>
                <a:gd name="T36" fmla="*/ 15 w 22"/>
                <a:gd name="T37" fmla="*/ 2 h 10"/>
                <a:gd name="T38" fmla="*/ 15 w 22"/>
                <a:gd name="T39" fmla="*/ 5 h 10"/>
                <a:gd name="T40" fmla="*/ 15 w 22"/>
                <a:gd name="T41" fmla="*/ 5 h 10"/>
                <a:gd name="T42" fmla="*/ 17 w 22"/>
                <a:gd name="T43" fmla="*/ 5 h 10"/>
                <a:gd name="T44" fmla="*/ 17 w 22"/>
                <a:gd name="T45" fmla="*/ 5 h 10"/>
                <a:gd name="T46" fmla="*/ 17 w 22"/>
                <a:gd name="T47" fmla="*/ 5 h 10"/>
                <a:gd name="T48" fmla="*/ 19 w 22"/>
                <a:gd name="T49" fmla="*/ 5 h 10"/>
                <a:gd name="T50" fmla="*/ 19 w 22"/>
                <a:gd name="T51" fmla="*/ 5 h 10"/>
                <a:gd name="T52" fmla="*/ 19 w 22"/>
                <a:gd name="T53" fmla="*/ 5 h 10"/>
                <a:gd name="T54" fmla="*/ 19 w 22"/>
                <a:gd name="T55" fmla="*/ 5 h 10"/>
                <a:gd name="T56" fmla="*/ 19 w 22"/>
                <a:gd name="T57" fmla="*/ 5 h 10"/>
                <a:gd name="T58" fmla="*/ 22 w 22"/>
                <a:gd name="T59" fmla="*/ 7 h 10"/>
                <a:gd name="T60" fmla="*/ 19 w 22"/>
                <a:gd name="T61" fmla="*/ 5 h 10"/>
                <a:gd name="T62" fmla="*/ 19 w 22"/>
                <a:gd name="T63" fmla="*/ 7 h 10"/>
                <a:gd name="T64" fmla="*/ 19 w 22"/>
                <a:gd name="T65" fmla="*/ 5 h 10"/>
                <a:gd name="T66" fmla="*/ 19 w 22"/>
                <a:gd name="T67" fmla="*/ 7 h 10"/>
                <a:gd name="T68" fmla="*/ 19 w 22"/>
                <a:gd name="T69" fmla="*/ 7 h 10"/>
                <a:gd name="T70" fmla="*/ 19 w 22"/>
                <a:gd name="T71" fmla="*/ 7 h 10"/>
                <a:gd name="T72" fmla="*/ 17 w 22"/>
                <a:gd name="T73" fmla="*/ 7 h 10"/>
                <a:gd name="T74" fmla="*/ 17 w 22"/>
                <a:gd name="T75" fmla="*/ 7 h 10"/>
                <a:gd name="T76" fmla="*/ 17 w 22"/>
                <a:gd name="T77" fmla="*/ 10 h 10"/>
                <a:gd name="T78" fmla="*/ 17 w 22"/>
                <a:gd name="T79" fmla="*/ 10 h 10"/>
                <a:gd name="T80" fmla="*/ 15 w 22"/>
                <a:gd name="T81" fmla="*/ 10 h 10"/>
                <a:gd name="T82" fmla="*/ 15 w 22"/>
                <a:gd name="T83" fmla="*/ 10 h 10"/>
                <a:gd name="T84" fmla="*/ 12 w 22"/>
                <a:gd name="T85" fmla="*/ 10 h 10"/>
                <a:gd name="T86" fmla="*/ 12 w 22"/>
                <a:gd name="T87" fmla="*/ 10 h 10"/>
                <a:gd name="T88" fmla="*/ 12 w 22"/>
                <a:gd name="T89" fmla="*/ 10 h 10"/>
                <a:gd name="T90" fmla="*/ 10 w 22"/>
                <a:gd name="T91" fmla="*/ 10 h 10"/>
                <a:gd name="T92" fmla="*/ 10 w 22"/>
                <a:gd name="T93" fmla="*/ 10 h 10"/>
                <a:gd name="T94" fmla="*/ 8 w 22"/>
                <a:gd name="T95" fmla="*/ 10 h 10"/>
                <a:gd name="T96" fmla="*/ 8 w 22"/>
                <a:gd name="T97" fmla="*/ 10 h 10"/>
                <a:gd name="T98" fmla="*/ 8 w 22"/>
                <a:gd name="T99" fmla="*/ 7 h 10"/>
                <a:gd name="T100" fmla="*/ 5 w 22"/>
                <a:gd name="T101" fmla="*/ 7 h 10"/>
                <a:gd name="T102" fmla="*/ 5 w 22"/>
                <a:gd name="T103" fmla="*/ 7 h 10"/>
                <a:gd name="T104" fmla="*/ 5 w 22"/>
                <a:gd name="T105" fmla="*/ 7 h 10"/>
                <a:gd name="T106" fmla="*/ 3 w 22"/>
                <a:gd name="T107" fmla="*/ 7 h 10"/>
                <a:gd name="T108" fmla="*/ 3 w 22"/>
                <a:gd name="T109" fmla="*/ 5 h 10"/>
                <a:gd name="T110" fmla="*/ 3 w 22"/>
                <a:gd name="T111" fmla="*/ 5 h 10"/>
                <a:gd name="T112" fmla="*/ 0 w 22"/>
                <a:gd name="T113" fmla="*/ 2 h 10"/>
                <a:gd name="T114" fmla="*/ 3 w 22"/>
                <a:gd name="T115" fmla="*/ 2 h 10"/>
                <a:gd name="T116" fmla="*/ 3 w 22"/>
                <a:gd name="T117" fmla="*/ 0 h 10"/>
                <a:gd name="T118" fmla="*/ 3 w 22"/>
                <a:gd name="T1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0">
                  <a:moveTo>
                    <a:pt x="3" y="0"/>
                  </a:moveTo>
                  <a:lnTo>
                    <a:pt x="5" y="0"/>
                  </a:lnTo>
                  <a:lnTo>
                    <a:pt x="5" y="0"/>
                  </a:lnTo>
                  <a:lnTo>
                    <a:pt x="5" y="0"/>
                  </a:lnTo>
                  <a:lnTo>
                    <a:pt x="5" y="0"/>
                  </a:lnTo>
                  <a:lnTo>
                    <a:pt x="5" y="0"/>
                  </a:lnTo>
                  <a:lnTo>
                    <a:pt x="5" y="0"/>
                  </a:lnTo>
                  <a:lnTo>
                    <a:pt x="5" y="0"/>
                  </a:lnTo>
                  <a:lnTo>
                    <a:pt x="5" y="0"/>
                  </a:lnTo>
                  <a:lnTo>
                    <a:pt x="5" y="0"/>
                  </a:lnTo>
                  <a:lnTo>
                    <a:pt x="5" y="0"/>
                  </a:lnTo>
                  <a:lnTo>
                    <a:pt x="5" y="0"/>
                  </a:lnTo>
                  <a:lnTo>
                    <a:pt x="5" y="2"/>
                  </a:lnTo>
                  <a:lnTo>
                    <a:pt x="5" y="2"/>
                  </a:lnTo>
                  <a:lnTo>
                    <a:pt x="5" y="2"/>
                  </a:lnTo>
                  <a:lnTo>
                    <a:pt x="5" y="2"/>
                  </a:lnTo>
                  <a:lnTo>
                    <a:pt x="5" y="2"/>
                  </a:lnTo>
                  <a:lnTo>
                    <a:pt x="5" y="2"/>
                  </a:lnTo>
                  <a:lnTo>
                    <a:pt x="5" y="2"/>
                  </a:lnTo>
                  <a:lnTo>
                    <a:pt x="5" y="2"/>
                  </a:lnTo>
                  <a:lnTo>
                    <a:pt x="5" y="2"/>
                  </a:lnTo>
                  <a:lnTo>
                    <a:pt x="5" y="2"/>
                  </a:lnTo>
                  <a:lnTo>
                    <a:pt x="5" y="2"/>
                  </a:lnTo>
                  <a:lnTo>
                    <a:pt x="5"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8" y="2"/>
                  </a:lnTo>
                  <a:lnTo>
                    <a:pt x="10" y="2"/>
                  </a:lnTo>
                  <a:lnTo>
                    <a:pt x="10" y="2"/>
                  </a:lnTo>
                  <a:lnTo>
                    <a:pt x="10" y="2"/>
                  </a:lnTo>
                  <a:lnTo>
                    <a:pt x="10" y="2"/>
                  </a:lnTo>
                  <a:lnTo>
                    <a:pt x="10" y="2"/>
                  </a:lnTo>
                  <a:lnTo>
                    <a:pt x="10" y="2"/>
                  </a:lnTo>
                  <a:lnTo>
                    <a:pt x="10" y="2"/>
                  </a:lnTo>
                  <a:lnTo>
                    <a:pt x="10" y="2"/>
                  </a:lnTo>
                  <a:lnTo>
                    <a:pt x="10" y="2"/>
                  </a:lnTo>
                  <a:lnTo>
                    <a:pt x="10"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5" y="2"/>
                  </a:lnTo>
                  <a:lnTo>
                    <a:pt x="15" y="2"/>
                  </a:lnTo>
                  <a:lnTo>
                    <a:pt x="12"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5"/>
                  </a:lnTo>
                  <a:lnTo>
                    <a:pt x="15" y="5"/>
                  </a:lnTo>
                  <a:lnTo>
                    <a:pt x="15" y="2"/>
                  </a:lnTo>
                  <a:lnTo>
                    <a:pt x="15" y="5"/>
                  </a:lnTo>
                  <a:lnTo>
                    <a:pt x="15" y="5"/>
                  </a:lnTo>
                  <a:lnTo>
                    <a:pt x="15" y="5"/>
                  </a:lnTo>
                  <a:lnTo>
                    <a:pt x="15" y="5"/>
                  </a:lnTo>
                  <a:lnTo>
                    <a:pt x="15" y="5"/>
                  </a:lnTo>
                  <a:lnTo>
                    <a:pt x="15" y="5"/>
                  </a:lnTo>
                  <a:lnTo>
                    <a:pt x="15" y="5"/>
                  </a:lnTo>
                  <a:lnTo>
                    <a:pt x="15" y="5"/>
                  </a:lnTo>
                  <a:lnTo>
                    <a:pt x="15" y="5"/>
                  </a:lnTo>
                  <a:lnTo>
                    <a:pt x="15"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7"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19" y="5"/>
                  </a:lnTo>
                  <a:lnTo>
                    <a:pt x="22" y="5"/>
                  </a:lnTo>
                  <a:lnTo>
                    <a:pt x="22" y="5"/>
                  </a:lnTo>
                  <a:lnTo>
                    <a:pt x="22" y="5"/>
                  </a:lnTo>
                  <a:lnTo>
                    <a:pt x="22" y="7"/>
                  </a:lnTo>
                  <a:lnTo>
                    <a:pt x="22" y="7"/>
                  </a:lnTo>
                  <a:lnTo>
                    <a:pt x="22" y="7"/>
                  </a:lnTo>
                  <a:lnTo>
                    <a:pt x="22" y="5"/>
                  </a:lnTo>
                  <a:lnTo>
                    <a:pt x="19" y="5"/>
                  </a:lnTo>
                  <a:lnTo>
                    <a:pt x="19" y="5"/>
                  </a:lnTo>
                  <a:lnTo>
                    <a:pt x="19" y="5"/>
                  </a:lnTo>
                  <a:lnTo>
                    <a:pt x="19" y="5"/>
                  </a:lnTo>
                  <a:lnTo>
                    <a:pt x="19" y="5"/>
                  </a:lnTo>
                  <a:lnTo>
                    <a:pt x="19" y="5"/>
                  </a:lnTo>
                  <a:lnTo>
                    <a:pt x="19" y="7"/>
                  </a:lnTo>
                  <a:lnTo>
                    <a:pt x="19" y="7"/>
                  </a:lnTo>
                  <a:lnTo>
                    <a:pt x="19" y="5"/>
                  </a:lnTo>
                  <a:lnTo>
                    <a:pt x="19" y="5"/>
                  </a:lnTo>
                  <a:lnTo>
                    <a:pt x="19" y="5"/>
                  </a:lnTo>
                  <a:lnTo>
                    <a:pt x="19" y="5"/>
                  </a:lnTo>
                  <a:lnTo>
                    <a:pt x="19" y="5"/>
                  </a:lnTo>
                  <a:lnTo>
                    <a:pt x="19" y="5"/>
                  </a:lnTo>
                  <a:lnTo>
                    <a:pt x="19" y="5"/>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7" y="7"/>
                  </a:lnTo>
                  <a:lnTo>
                    <a:pt x="17" y="7"/>
                  </a:lnTo>
                  <a:lnTo>
                    <a:pt x="17" y="7"/>
                  </a:lnTo>
                  <a:lnTo>
                    <a:pt x="17" y="7"/>
                  </a:lnTo>
                  <a:lnTo>
                    <a:pt x="17" y="7"/>
                  </a:lnTo>
                  <a:lnTo>
                    <a:pt x="17" y="7"/>
                  </a:lnTo>
                  <a:lnTo>
                    <a:pt x="17" y="7"/>
                  </a:lnTo>
                  <a:lnTo>
                    <a:pt x="17" y="7"/>
                  </a:lnTo>
                  <a:lnTo>
                    <a:pt x="17" y="7"/>
                  </a:lnTo>
                  <a:lnTo>
                    <a:pt x="17" y="7"/>
                  </a:lnTo>
                  <a:lnTo>
                    <a:pt x="17" y="7"/>
                  </a:lnTo>
                  <a:lnTo>
                    <a:pt x="17" y="10"/>
                  </a:lnTo>
                  <a:lnTo>
                    <a:pt x="17" y="10"/>
                  </a:lnTo>
                  <a:lnTo>
                    <a:pt x="17" y="10"/>
                  </a:lnTo>
                  <a:lnTo>
                    <a:pt x="17" y="10"/>
                  </a:lnTo>
                  <a:lnTo>
                    <a:pt x="17" y="10"/>
                  </a:lnTo>
                  <a:lnTo>
                    <a:pt x="17" y="10"/>
                  </a:lnTo>
                  <a:lnTo>
                    <a:pt x="17" y="10"/>
                  </a:lnTo>
                  <a:lnTo>
                    <a:pt x="17" y="10"/>
                  </a:lnTo>
                  <a:lnTo>
                    <a:pt x="17" y="10"/>
                  </a:lnTo>
                  <a:lnTo>
                    <a:pt x="15" y="10"/>
                  </a:lnTo>
                  <a:lnTo>
                    <a:pt x="15" y="10"/>
                  </a:lnTo>
                  <a:lnTo>
                    <a:pt x="15" y="10"/>
                  </a:lnTo>
                  <a:lnTo>
                    <a:pt x="15" y="10"/>
                  </a:lnTo>
                  <a:lnTo>
                    <a:pt x="15" y="10"/>
                  </a:lnTo>
                  <a:lnTo>
                    <a:pt x="15" y="10"/>
                  </a:lnTo>
                  <a:lnTo>
                    <a:pt x="15" y="10"/>
                  </a:lnTo>
                  <a:lnTo>
                    <a:pt x="15" y="10"/>
                  </a:lnTo>
                  <a:lnTo>
                    <a:pt x="15" y="10"/>
                  </a:lnTo>
                  <a:lnTo>
                    <a:pt x="15"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0" y="10"/>
                  </a:lnTo>
                  <a:lnTo>
                    <a:pt x="10" y="10"/>
                  </a:lnTo>
                  <a:lnTo>
                    <a:pt x="10" y="10"/>
                  </a:lnTo>
                  <a:lnTo>
                    <a:pt x="10" y="10"/>
                  </a:lnTo>
                  <a:lnTo>
                    <a:pt x="10" y="10"/>
                  </a:lnTo>
                  <a:lnTo>
                    <a:pt x="10" y="10"/>
                  </a:lnTo>
                  <a:lnTo>
                    <a:pt x="10" y="10"/>
                  </a:lnTo>
                  <a:lnTo>
                    <a:pt x="10" y="10"/>
                  </a:lnTo>
                  <a:lnTo>
                    <a:pt x="10" y="10"/>
                  </a:lnTo>
                  <a:lnTo>
                    <a:pt x="10" y="10"/>
                  </a:lnTo>
                  <a:lnTo>
                    <a:pt x="8" y="10"/>
                  </a:lnTo>
                  <a:lnTo>
                    <a:pt x="8" y="10"/>
                  </a:lnTo>
                  <a:lnTo>
                    <a:pt x="8" y="10"/>
                  </a:lnTo>
                  <a:lnTo>
                    <a:pt x="8" y="10"/>
                  </a:lnTo>
                  <a:lnTo>
                    <a:pt x="8" y="10"/>
                  </a:lnTo>
                  <a:lnTo>
                    <a:pt x="8" y="10"/>
                  </a:lnTo>
                  <a:lnTo>
                    <a:pt x="8" y="10"/>
                  </a:lnTo>
                  <a:lnTo>
                    <a:pt x="8" y="10"/>
                  </a:lnTo>
                  <a:lnTo>
                    <a:pt x="8" y="10"/>
                  </a:lnTo>
                  <a:lnTo>
                    <a:pt x="8" y="10"/>
                  </a:lnTo>
                  <a:lnTo>
                    <a:pt x="8"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3" y="7"/>
                  </a:lnTo>
                  <a:lnTo>
                    <a:pt x="3" y="7"/>
                  </a:lnTo>
                  <a:lnTo>
                    <a:pt x="3" y="7"/>
                  </a:lnTo>
                  <a:lnTo>
                    <a:pt x="3" y="7"/>
                  </a:lnTo>
                  <a:lnTo>
                    <a:pt x="3" y="7"/>
                  </a:lnTo>
                  <a:lnTo>
                    <a:pt x="3" y="7"/>
                  </a:lnTo>
                  <a:lnTo>
                    <a:pt x="3" y="5"/>
                  </a:lnTo>
                  <a:lnTo>
                    <a:pt x="3" y="5"/>
                  </a:lnTo>
                  <a:lnTo>
                    <a:pt x="3" y="5"/>
                  </a:lnTo>
                  <a:lnTo>
                    <a:pt x="3" y="5"/>
                  </a:lnTo>
                  <a:lnTo>
                    <a:pt x="3" y="5"/>
                  </a:lnTo>
                  <a:lnTo>
                    <a:pt x="3" y="5"/>
                  </a:lnTo>
                  <a:lnTo>
                    <a:pt x="3" y="5"/>
                  </a:lnTo>
                  <a:lnTo>
                    <a:pt x="3" y="5"/>
                  </a:lnTo>
                  <a:lnTo>
                    <a:pt x="3" y="5"/>
                  </a:lnTo>
                  <a:lnTo>
                    <a:pt x="3" y="5"/>
                  </a:lnTo>
                  <a:lnTo>
                    <a:pt x="3" y="5"/>
                  </a:lnTo>
                  <a:lnTo>
                    <a:pt x="3" y="2"/>
                  </a:lnTo>
                  <a:lnTo>
                    <a:pt x="0" y="2"/>
                  </a:lnTo>
                  <a:lnTo>
                    <a:pt x="0" y="2"/>
                  </a:lnTo>
                  <a:lnTo>
                    <a:pt x="3" y="2"/>
                  </a:lnTo>
                  <a:lnTo>
                    <a:pt x="3" y="2"/>
                  </a:lnTo>
                  <a:lnTo>
                    <a:pt x="3" y="2"/>
                  </a:lnTo>
                  <a:lnTo>
                    <a:pt x="3" y="2"/>
                  </a:lnTo>
                  <a:lnTo>
                    <a:pt x="3" y="2"/>
                  </a:lnTo>
                  <a:lnTo>
                    <a:pt x="3" y="2"/>
                  </a:lnTo>
                  <a:lnTo>
                    <a:pt x="3" y="2"/>
                  </a:lnTo>
                  <a:lnTo>
                    <a:pt x="3" y="2"/>
                  </a:lnTo>
                  <a:lnTo>
                    <a:pt x="3" y="2"/>
                  </a:lnTo>
                  <a:lnTo>
                    <a:pt x="3" y="0"/>
                  </a:lnTo>
                  <a:lnTo>
                    <a:pt x="3" y="0"/>
                  </a:lnTo>
                  <a:lnTo>
                    <a:pt x="3" y="0"/>
                  </a:ln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3" name="Freeform 55040"/>
            <p:cNvSpPr>
              <a:spLocks/>
            </p:cNvSpPr>
            <p:nvPr/>
          </p:nvSpPr>
          <p:spPr bwMode="auto">
            <a:xfrm>
              <a:off x="673099" y="5591193"/>
              <a:ext cx="38100" cy="15875"/>
            </a:xfrm>
            <a:custGeom>
              <a:avLst/>
              <a:gdLst>
                <a:gd name="T0" fmla="*/ 5 w 24"/>
                <a:gd name="T1" fmla="*/ 0 h 10"/>
                <a:gd name="T2" fmla="*/ 5 w 24"/>
                <a:gd name="T3" fmla="*/ 3 h 10"/>
                <a:gd name="T4" fmla="*/ 5 w 24"/>
                <a:gd name="T5" fmla="*/ 3 h 10"/>
                <a:gd name="T6" fmla="*/ 5 w 24"/>
                <a:gd name="T7" fmla="*/ 3 h 10"/>
                <a:gd name="T8" fmla="*/ 7 w 24"/>
                <a:gd name="T9" fmla="*/ 3 h 10"/>
                <a:gd name="T10" fmla="*/ 7 w 24"/>
                <a:gd name="T11" fmla="*/ 3 h 10"/>
                <a:gd name="T12" fmla="*/ 7 w 24"/>
                <a:gd name="T13" fmla="*/ 3 h 10"/>
                <a:gd name="T14" fmla="*/ 10 w 24"/>
                <a:gd name="T15" fmla="*/ 5 h 10"/>
                <a:gd name="T16" fmla="*/ 10 w 24"/>
                <a:gd name="T17" fmla="*/ 5 h 10"/>
                <a:gd name="T18" fmla="*/ 10 w 24"/>
                <a:gd name="T19" fmla="*/ 5 h 10"/>
                <a:gd name="T20" fmla="*/ 12 w 24"/>
                <a:gd name="T21" fmla="*/ 5 h 10"/>
                <a:gd name="T22" fmla="*/ 12 w 24"/>
                <a:gd name="T23" fmla="*/ 3 h 10"/>
                <a:gd name="T24" fmla="*/ 12 w 24"/>
                <a:gd name="T25" fmla="*/ 3 h 10"/>
                <a:gd name="T26" fmla="*/ 12 w 24"/>
                <a:gd name="T27" fmla="*/ 3 h 10"/>
                <a:gd name="T28" fmla="*/ 12 w 24"/>
                <a:gd name="T29" fmla="*/ 3 h 10"/>
                <a:gd name="T30" fmla="*/ 14 w 24"/>
                <a:gd name="T31" fmla="*/ 3 h 10"/>
                <a:gd name="T32" fmla="*/ 14 w 24"/>
                <a:gd name="T33" fmla="*/ 3 h 10"/>
                <a:gd name="T34" fmla="*/ 14 w 24"/>
                <a:gd name="T35" fmla="*/ 5 h 10"/>
                <a:gd name="T36" fmla="*/ 14 w 24"/>
                <a:gd name="T37" fmla="*/ 3 h 10"/>
                <a:gd name="T38" fmla="*/ 17 w 24"/>
                <a:gd name="T39" fmla="*/ 3 h 10"/>
                <a:gd name="T40" fmla="*/ 17 w 24"/>
                <a:gd name="T41" fmla="*/ 3 h 10"/>
                <a:gd name="T42" fmla="*/ 17 w 24"/>
                <a:gd name="T43" fmla="*/ 3 h 10"/>
                <a:gd name="T44" fmla="*/ 19 w 24"/>
                <a:gd name="T45" fmla="*/ 3 h 10"/>
                <a:gd name="T46" fmla="*/ 19 w 24"/>
                <a:gd name="T47" fmla="*/ 3 h 10"/>
                <a:gd name="T48" fmla="*/ 19 w 24"/>
                <a:gd name="T49" fmla="*/ 3 h 10"/>
                <a:gd name="T50" fmla="*/ 21 w 24"/>
                <a:gd name="T51" fmla="*/ 3 h 10"/>
                <a:gd name="T52" fmla="*/ 24 w 24"/>
                <a:gd name="T53" fmla="*/ 3 h 10"/>
                <a:gd name="T54" fmla="*/ 24 w 24"/>
                <a:gd name="T55" fmla="*/ 5 h 10"/>
                <a:gd name="T56" fmla="*/ 24 w 24"/>
                <a:gd name="T57" fmla="*/ 5 h 10"/>
                <a:gd name="T58" fmla="*/ 24 w 24"/>
                <a:gd name="T59" fmla="*/ 7 h 10"/>
                <a:gd name="T60" fmla="*/ 21 w 24"/>
                <a:gd name="T61" fmla="*/ 7 h 10"/>
                <a:gd name="T62" fmla="*/ 21 w 24"/>
                <a:gd name="T63" fmla="*/ 7 h 10"/>
                <a:gd name="T64" fmla="*/ 21 w 24"/>
                <a:gd name="T65" fmla="*/ 7 h 10"/>
                <a:gd name="T66" fmla="*/ 19 w 24"/>
                <a:gd name="T67" fmla="*/ 7 h 10"/>
                <a:gd name="T68" fmla="*/ 19 w 24"/>
                <a:gd name="T69" fmla="*/ 7 h 10"/>
                <a:gd name="T70" fmla="*/ 19 w 24"/>
                <a:gd name="T71" fmla="*/ 7 h 10"/>
                <a:gd name="T72" fmla="*/ 17 w 24"/>
                <a:gd name="T73" fmla="*/ 7 h 10"/>
                <a:gd name="T74" fmla="*/ 17 w 24"/>
                <a:gd name="T75" fmla="*/ 7 h 10"/>
                <a:gd name="T76" fmla="*/ 17 w 24"/>
                <a:gd name="T77" fmla="*/ 10 h 10"/>
                <a:gd name="T78" fmla="*/ 14 w 24"/>
                <a:gd name="T79" fmla="*/ 10 h 10"/>
                <a:gd name="T80" fmla="*/ 14 w 24"/>
                <a:gd name="T81" fmla="*/ 10 h 10"/>
                <a:gd name="T82" fmla="*/ 12 w 24"/>
                <a:gd name="T83" fmla="*/ 10 h 10"/>
                <a:gd name="T84" fmla="*/ 12 w 24"/>
                <a:gd name="T85" fmla="*/ 10 h 10"/>
                <a:gd name="T86" fmla="*/ 12 w 24"/>
                <a:gd name="T87" fmla="*/ 10 h 10"/>
                <a:gd name="T88" fmla="*/ 10 w 24"/>
                <a:gd name="T89" fmla="*/ 7 h 10"/>
                <a:gd name="T90" fmla="*/ 10 w 24"/>
                <a:gd name="T91" fmla="*/ 7 h 10"/>
                <a:gd name="T92" fmla="*/ 10 w 24"/>
                <a:gd name="T93" fmla="*/ 7 h 10"/>
                <a:gd name="T94" fmla="*/ 7 w 24"/>
                <a:gd name="T95" fmla="*/ 7 h 10"/>
                <a:gd name="T96" fmla="*/ 7 w 24"/>
                <a:gd name="T97" fmla="*/ 7 h 10"/>
                <a:gd name="T98" fmla="*/ 7 w 24"/>
                <a:gd name="T99" fmla="*/ 7 h 10"/>
                <a:gd name="T100" fmla="*/ 7 w 24"/>
                <a:gd name="T101" fmla="*/ 7 h 10"/>
                <a:gd name="T102" fmla="*/ 7 w 24"/>
                <a:gd name="T103" fmla="*/ 7 h 10"/>
                <a:gd name="T104" fmla="*/ 5 w 24"/>
                <a:gd name="T105" fmla="*/ 7 h 10"/>
                <a:gd name="T106" fmla="*/ 5 w 24"/>
                <a:gd name="T107" fmla="*/ 7 h 10"/>
                <a:gd name="T108" fmla="*/ 2 w 24"/>
                <a:gd name="T109" fmla="*/ 5 h 10"/>
                <a:gd name="T110" fmla="*/ 2 w 24"/>
                <a:gd name="T111" fmla="*/ 5 h 10"/>
                <a:gd name="T112" fmla="*/ 2 w 24"/>
                <a:gd name="T113" fmla="*/ 5 h 10"/>
                <a:gd name="T114" fmla="*/ 0 w 24"/>
                <a:gd name="T115" fmla="*/ 3 h 10"/>
                <a:gd name="T116" fmla="*/ 0 w 24"/>
                <a:gd name="T117" fmla="*/ 3 h 10"/>
                <a:gd name="T118" fmla="*/ 0 w 24"/>
                <a:gd name="T119" fmla="*/ 3 h 10"/>
                <a:gd name="T120" fmla="*/ 0 w 24"/>
                <a:gd name="T121" fmla="*/ 0 h 10"/>
                <a:gd name="T122" fmla="*/ 2 w 24"/>
                <a:gd name="T123" fmla="*/ 0 h 10"/>
                <a:gd name="T124" fmla="*/ 2 w 24"/>
                <a:gd name="T1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 h="10">
                  <a:moveTo>
                    <a:pt x="2" y="0"/>
                  </a:moveTo>
                  <a:lnTo>
                    <a:pt x="5" y="0"/>
                  </a:lnTo>
                  <a:lnTo>
                    <a:pt x="5" y="0"/>
                  </a:lnTo>
                  <a:lnTo>
                    <a:pt x="5" y="0"/>
                  </a:lnTo>
                  <a:lnTo>
                    <a:pt x="5" y="0"/>
                  </a:lnTo>
                  <a:lnTo>
                    <a:pt x="5" y="0"/>
                  </a:lnTo>
                  <a:lnTo>
                    <a:pt x="5" y="0"/>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5"/>
                  </a:lnTo>
                  <a:lnTo>
                    <a:pt x="7"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2" y="5"/>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3"/>
                  </a:lnTo>
                  <a:lnTo>
                    <a:pt x="12" y="5"/>
                  </a:lnTo>
                  <a:lnTo>
                    <a:pt x="12" y="3"/>
                  </a:lnTo>
                  <a:lnTo>
                    <a:pt x="14" y="5"/>
                  </a:lnTo>
                  <a:lnTo>
                    <a:pt x="14" y="3"/>
                  </a:lnTo>
                  <a:lnTo>
                    <a:pt x="14" y="3"/>
                  </a:lnTo>
                  <a:lnTo>
                    <a:pt x="14" y="5"/>
                  </a:lnTo>
                  <a:lnTo>
                    <a:pt x="14" y="5"/>
                  </a:lnTo>
                  <a:lnTo>
                    <a:pt x="14" y="3"/>
                  </a:lnTo>
                  <a:lnTo>
                    <a:pt x="14" y="3"/>
                  </a:lnTo>
                  <a:lnTo>
                    <a:pt x="14" y="3"/>
                  </a:lnTo>
                  <a:lnTo>
                    <a:pt x="14" y="3"/>
                  </a:lnTo>
                  <a:lnTo>
                    <a:pt x="14" y="3"/>
                  </a:lnTo>
                  <a:lnTo>
                    <a:pt x="14" y="5"/>
                  </a:lnTo>
                  <a:lnTo>
                    <a:pt x="14" y="5"/>
                  </a:lnTo>
                  <a:lnTo>
                    <a:pt x="14" y="5"/>
                  </a:lnTo>
                  <a:lnTo>
                    <a:pt x="14" y="5"/>
                  </a:lnTo>
                  <a:lnTo>
                    <a:pt x="14" y="3"/>
                  </a:lnTo>
                  <a:lnTo>
                    <a:pt x="14" y="3"/>
                  </a:lnTo>
                  <a:lnTo>
                    <a:pt x="14" y="3"/>
                  </a:lnTo>
                  <a:lnTo>
                    <a:pt x="14" y="3"/>
                  </a:lnTo>
                  <a:lnTo>
                    <a:pt x="14"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7" y="3"/>
                  </a:lnTo>
                  <a:lnTo>
                    <a:pt x="19" y="3"/>
                  </a:lnTo>
                  <a:lnTo>
                    <a:pt x="19" y="3"/>
                  </a:lnTo>
                  <a:lnTo>
                    <a:pt x="19" y="3"/>
                  </a:lnTo>
                  <a:lnTo>
                    <a:pt x="19" y="3"/>
                  </a:lnTo>
                  <a:lnTo>
                    <a:pt x="19" y="3"/>
                  </a:lnTo>
                  <a:lnTo>
                    <a:pt x="19" y="3"/>
                  </a:lnTo>
                  <a:lnTo>
                    <a:pt x="19" y="3"/>
                  </a:lnTo>
                  <a:lnTo>
                    <a:pt x="19" y="3"/>
                  </a:lnTo>
                  <a:lnTo>
                    <a:pt x="19" y="3"/>
                  </a:lnTo>
                  <a:lnTo>
                    <a:pt x="19" y="3"/>
                  </a:lnTo>
                  <a:lnTo>
                    <a:pt x="19" y="3"/>
                  </a:lnTo>
                  <a:lnTo>
                    <a:pt x="19" y="3"/>
                  </a:lnTo>
                  <a:lnTo>
                    <a:pt x="19" y="3"/>
                  </a:lnTo>
                  <a:lnTo>
                    <a:pt x="19" y="3"/>
                  </a:lnTo>
                  <a:lnTo>
                    <a:pt x="21" y="3"/>
                  </a:lnTo>
                  <a:lnTo>
                    <a:pt x="21" y="3"/>
                  </a:lnTo>
                  <a:lnTo>
                    <a:pt x="21" y="3"/>
                  </a:lnTo>
                  <a:lnTo>
                    <a:pt x="21" y="3"/>
                  </a:lnTo>
                  <a:lnTo>
                    <a:pt x="21" y="3"/>
                  </a:lnTo>
                  <a:lnTo>
                    <a:pt x="21" y="3"/>
                  </a:lnTo>
                  <a:lnTo>
                    <a:pt x="21" y="3"/>
                  </a:lnTo>
                  <a:lnTo>
                    <a:pt x="21" y="3"/>
                  </a:lnTo>
                  <a:lnTo>
                    <a:pt x="24" y="3"/>
                  </a:lnTo>
                  <a:lnTo>
                    <a:pt x="24" y="3"/>
                  </a:lnTo>
                  <a:lnTo>
                    <a:pt x="24" y="3"/>
                  </a:lnTo>
                  <a:lnTo>
                    <a:pt x="24" y="3"/>
                  </a:lnTo>
                  <a:lnTo>
                    <a:pt x="24" y="3"/>
                  </a:lnTo>
                  <a:lnTo>
                    <a:pt x="24" y="5"/>
                  </a:lnTo>
                  <a:lnTo>
                    <a:pt x="24" y="5"/>
                  </a:lnTo>
                  <a:lnTo>
                    <a:pt x="24" y="5"/>
                  </a:lnTo>
                  <a:lnTo>
                    <a:pt x="24" y="5"/>
                  </a:lnTo>
                  <a:lnTo>
                    <a:pt x="24" y="5"/>
                  </a:lnTo>
                  <a:lnTo>
                    <a:pt x="24" y="5"/>
                  </a:lnTo>
                  <a:lnTo>
                    <a:pt x="24" y="5"/>
                  </a:lnTo>
                  <a:lnTo>
                    <a:pt x="24" y="5"/>
                  </a:lnTo>
                  <a:lnTo>
                    <a:pt x="24" y="5"/>
                  </a:lnTo>
                  <a:lnTo>
                    <a:pt x="24" y="7"/>
                  </a:lnTo>
                  <a:lnTo>
                    <a:pt x="24" y="7"/>
                  </a:lnTo>
                  <a:lnTo>
                    <a:pt x="24" y="7"/>
                  </a:lnTo>
                  <a:lnTo>
                    <a:pt x="24" y="7"/>
                  </a:lnTo>
                  <a:lnTo>
                    <a:pt x="24" y="7"/>
                  </a:lnTo>
                  <a:lnTo>
                    <a:pt x="24" y="7"/>
                  </a:lnTo>
                  <a:lnTo>
                    <a:pt x="21" y="7"/>
                  </a:lnTo>
                  <a:lnTo>
                    <a:pt x="21" y="7"/>
                  </a:lnTo>
                  <a:lnTo>
                    <a:pt x="21" y="7"/>
                  </a:lnTo>
                  <a:lnTo>
                    <a:pt x="21" y="7"/>
                  </a:lnTo>
                  <a:lnTo>
                    <a:pt x="21" y="7"/>
                  </a:lnTo>
                  <a:lnTo>
                    <a:pt x="21" y="7"/>
                  </a:lnTo>
                  <a:lnTo>
                    <a:pt x="21" y="7"/>
                  </a:lnTo>
                  <a:lnTo>
                    <a:pt x="21" y="7"/>
                  </a:lnTo>
                  <a:lnTo>
                    <a:pt x="21" y="7"/>
                  </a:lnTo>
                  <a:lnTo>
                    <a:pt x="21" y="7"/>
                  </a:lnTo>
                  <a:lnTo>
                    <a:pt x="21"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9" y="7"/>
                  </a:lnTo>
                  <a:lnTo>
                    <a:pt x="17" y="7"/>
                  </a:lnTo>
                  <a:lnTo>
                    <a:pt x="17" y="7"/>
                  </a:lnTo>
                  <a:lnTo>
                    <a:pt x="17" y="7"/>
                  </a:lnTo>
                  <a:lnTo>
                    <a:pt x="17" y="7"/>
                  </a:lnTo>
                  <a:lnTo>
                    <a:pt x="17" y="7"/>
                  </a:lnTo>
                  <a:lnTo>
                    <a:pt x="17" y="7"/>
                  </a:lnTo>
                  <a:lnTo>
                    <a:pt x="17" y="7"/>
                  </a:lnTo>
                  <a:lnTo>
                    <a:pt x="17" y="7"/>
                  </a:lnTo>
                  <a:lnTo>
                    <a:pt x="17" y="7"/>
                  </a:lnTo>
                  <a:lnTo>
                    <a:pt x="17" y="10"/>
                  </a:lnTo>
                  <a:lnTo>
                    <a:pt x="17" y="10"/>
                  </a:lnTo>
                  <a:lnTo>
                    <a:pt x="17" y="10"/>
                  </a:lnTo>
                  <a:lnTo>
                    <a:pt x="14" y="10"/>
                  </a:lnTo>
                  <a:lnTo>
                    <a:pt x="14" y="10"/>
                  </a:lnTo>
                  <a:lnTo>
                    <a:pt x="14" y="10"/>
                  </a:lnTo>
                  <a:lnTo>
                    <a:pt x="14" y="10"/>
                  </a:lnTo>
                  <a:lnTo>
                    <a:pt x="14" y="10"/>
                  </a:lnTo>
                  <a:lnTo>
                    <a:pt x="14" y="10"/>
                  </a:lnTo>
                  <a:lnTo>
                    <a:pt x="14" y="10"/>
                  </a:lnTo>
                  <a:lnTo>
                    <a:pt x="14" y="10"/>
                  </a:lnTo>
                  <a:lnTo>
                    <a:pt x="14" y="10"/>
                  </a:lnTo>
                  <a:lnTo>
                    <a:pt x="14" y="10"/>
                  </a:lnTo>
                  <a:lnTo>
                    <a:pt x="14"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2" y="10"/>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2" y="7"/>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0" y="3"/>
                  </a:lnTo>
                  <a:lnTo>
                    <a:pt x="0" y="3"/>
                  </a:lnTo>
                  <a:lnTo>
                    <a:pt x="0" y="3"/>
                  </a:lnTo>
                  <a:lnTo>
                    <a:pt x="0" y="3"/>
                  </a:lnTo>
                  <a:lnTo>
                    <a:pt x="0" y="3"/>
                  </a:lnTo>
                  <a:lnTo>
                    <a:pt x="0" y="3"/>
                  </a:lnTo>
                  <a:lnTo>
                    <a:pt x="0" y="3"/>
                  </a:lnTo>
                  <a:lnTo>
                    <a:pt x="0" y="3"/>
                  </a:lnTo>
                  <a:lnTo>
                    <a:pt x="0" y="3"/>
                  </a:lnTo>
                  <a:lnTo>
                    <a:pt x="0" y="3"/>
                  </a:lnTo>
                  <a:lnTo>
                    <a:pt x="0" y="3"/>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4" name="Freeform 55041"/>
            <p:cNvSpPr>
              <a:spLocks/>
            </p:cNvSpPr>
            <p:nvPr/>
          </p:nvSpPr>
          <p:spPr bwMode="auto">
            <a:xfrm>
              <a:off x="1528761" y="5286392"/>
              <a:ext cx="173038" cy="369889"/>
            </a:xfrm>
            <a:custGeom>
              <a:avLst/>
              <a:gdLst>
                <a:gd name="T0" fmla="*/ 30 w 109"/>
                <a:gd name="T1" fmla="*/ 47 h 233"/>
                <a:gd name="T2" fmla="*/ 26 w 109"/>
                <a:gd name="T3" fmla="*/ 38 h 233"/>
                <a:gd name="T4" fmla="*/ 23 w 109"/>
                <a:gd name="T5" fmla="*/ 23 h 233"/>
                <a:gd name="T6" fmla="*/ 23 w 109"/>
                <a:gd name="T7" fmla="*/ 14 h 233"/>
                <a:gd name="T8" fmla="*/ 38 w 109"/>
                <a:gd name="T9" fmla="*/ 2 h 233"/>
                <a:gd name="T10" fmla="*/ 45 w 109"/>
                <a:gd name="T11" fmla="*/ 7 h 233"/>
                <a:gd name="T12" fmla="*/ 52 w 109"/>
                <a:gd name="T13" fmla="*/ 14 h 233"/>
                <a:gd name="T14" fmla="*/ 66 w 109"/>
                <a:gd name="T15" fmla="*/ 14 h 233"/>
                <a:gd name="T16" fmla="*/ 80 w 109"/>
                <a:gd name="T17" fmla="*/ 9 h 233"/>
                <a:gd name="T18" fmla="*/ 97 w 109"/>
                <a:gd name="T19" fmla="*/ 9 h 233"/>
                <a:gd name="T20" fmla="*/ 99 w 109"/>
                <a:gd name="T21" fmla="*/ 23 h 233"/>
                <a:gd name="T22" fmla="*/ 106 w 109"/>
                <a:gd name="T23" fmla="*/ 33 h 233"/>
                <a:gd name="T24" fmla="*/ 97 w 109"/>
                <a:gd name="T25" fmla="*/ 42 h 233"/>
                <a:gd name="T26" fmla="*/ 87 w 109"/>
                <a:gd name="T27" fmla="*/ 52 h 233"/>
                <a:gd name="T28" fmla="*/ 90 w 109"/>
                <a:gd name="T29" fmla="*/ 64 h 233"/>
                <a:gd name="T30" fmla="*/ 87 w 109"/>
                <a:gd name="T31" fmla="*/ 76 h 233"/>
                <a:gd name="T32" fmla="*/ 83 w 109"/>
                <a:gd name="T33" fmla="*/ 92 h 233"/>
                <a:gd name="T34" fmla="*/ 87 w 109"/>
                <a:gd name="T35" fmla="*/ 102 h 233"/>
                <a:gd name="T36" fmla="*/ 76 w 109"/>
                <a:gd name="T37" fmla="*/ 114 h 233"/>
                <a:gd name="T38" fmla="*/ 73 w 109"/>
                <a:gd name="T39" fmla="*/ 121 h 233"/>
                <a:gd name="T40" fmla="*/ 80 w 109"/>
                <a:gd name="T41" fmla="*/ 138 h 233"/>
                <a:gd name="T42" fmla="*/ 80 w 109"/>
                <a:gd name="T43" fmla="*/ 149 h 233"/>
                <a:gd name="T44" fmla="*/ 73 w 109"/>
                <a:gd name="T45" fmla="*/ 161 h 233"/>
                <a:gd name="T46" fmla="*/ 83 w 109"/>
                <a:gd name="T47" fmla="*/ 180 h 233"/>
                <a:gd name="T48" fmla="*/ 76 w 109"/>
                <a:gd name="T49" fmla="*/ 187 h 233"/>
                <a:gd name="T50" fmla="*/ 68 w 109"/>
                <a:gd name="T51" fmla="*/ 202 h 233"/>
                <a:gd name="T52" fmla="*/ 68 w 109"/>
                <a:gd name="T53" fmla="*/ 216 h 233"/>
                <a:gd name="T54" fmla="*/ 61 w 109"/>
                <a:gd name="T55" fmla="*/ 228 h 233"/>
                <a:gd name="T56" fmla="*/ 49 w 109"/>
                <a:gd name="T57" fmla="*/ 233 h 233"/>
                <a:gd name="T58" fmla="*/ 40 w 109"/>
                <a:gd name="T59" fmla="*/ 228 h 233"/>
                <a:gd name="T60" fmla="*/ 28 w 109"/>
                <a:gd name="T61" fmla="*/ 228 h 233"/>
                <a:gd name="T62" fmla="*/ 19 w 109"/>
                <a:gd name="T63" fmla="*/ 233 h 233"/>
                <a:gd name="T64" fmla="*/ 19 w 109"/>
                <a:gd name="T65" fmla="*/ 223 h 233"/>
                <a:gd name="T66" fmla="*/ 23 w 109"/>
                <a:gd name="T67" fmla="*/ 209 h 233"/>
                <a:gd name="T68" fmla="*/ 23 w 109"/>
                <a:gd name="T69" fmla="*/ 199 h 233"/>
                <a:gd name="T70" fmla="*/ 23 w 109"/>
                <a:gd name="T71" fmla="*/ 185 h 233"/>
                <a:gd name="T72" fmla="*/ 21 w 109"/>
                <a:gd name="T73" fmla="*/ 168 h 233"/>
                <a:gd name="T74" fmla="*/ 26 w 109"/>
                <a:gd name="T75" fmla="*/ 168 h 233"/>
                <a:gd name="T76" fmla="*/ 28 w 109"/>
                <a:gd name="T77" fmla="*/ 168 h 233"/>
                <a:gd name="T78" fmla="*/ 26 w 109"/>
                <a:gd name="T79" fmla="*/ 161 h 233"/>
                <a:gd name="T80" fmla="*/ 21 w 109"/>
                <a:gd name="T81" fmla="*/ 166 h 233"/>
                <a:gd name="T82" fmla="*/ 11 w 109"/>
                <a:gd name="T83" fmla="*/ 168 h 233"/>
                <a:gd name="T84" fmla="*/ 14 w 109"/>
                <a:gd name="T85" fmla="*/ 159 h 233"/>
                <a:gd name="T86" fmla="*/ 16 w 109"/>
                <a:gd name="T87" fmla="*/ 157 h 233"/>
                <a:gd name="T88" fmla="*/ 19 w 109"/>
                <a:gd name="T89" fmla="*/ 149 h 233"/>
                <a:gd name="T90" fmla="*/ 19 w 109"/>
                <a:gd name="T91" fmla="*/ 142 h 233"/>
                <a:gd name="T92" fmla="*/ 9 w 109"/>
                <a:gd name="T93" fmla="*/ 157 h 233"/>
                <a:gd name="T94" fmla="*/ 0 w 109"/>
                <a:gd name="T95" fmla="*/ 152 h 233"/>
                <a:gd name="T96" fmla="*/ 2 w 109"/>
                <a:gd name="T97" fmla="*/ 140 h 233"/>
                <a:gd name="T98" fmla="*/ 7 w 109"/>
                <a:gd name="T99" fmla="*/ 130 h 233"/>
                <a:gd name="T100" fmla="*/ 9 w 109"/>
                <a:gd name="T101" fmla="*/ 123 h 233"/>
                <a:gd name="T102" fmla="*/ 16 w 109"/>
                <a:gd name="T103" fmla="*/ 107 h 233"/>
                <a:gd name="T104" fmla="*/ 21 w 109"/>
                <a:gd name="T105" fmla="*/ 92 h 233"/>
                <a:gd name="T106" fmla="*/ 26 w 109"/>
                <a:gd name="T107" fmla="*/ 69 h 233"/>
                <a:gd name="T108" fmla="*/ 30 w 109"/>
                <a:gd name="T109" fmla="*/ 64 h 233"/>
                <a:gd name="T110" fmla="*/ 28 w 109"/>
                <a:gd name="T111" fmla="*/ 64 h 233"/>
                <a:gd name="T112" fmla="*/ 28 w 109"/>
                <a:gd name="T113" fmla="*/ 61 h 233"/>
                <a:gd name="T114" fmla="*/ 35 w 109"/>
                <a:gd name="T115" fmla="*/ 5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 h="233">
                  <a:moveTo>
                    <a:pt x="42" y="50"/>
                  </a:moveTo>
                  <a:lnTo>
                    <a:pt x="40" y="50"/>
                  </a:lnTo>
                  <a:lnTo>
                    <a:pt x="38" y="52"/>
                  </a:lnTo>
                  <a:lnTo>
                    <a:pt x="38" y="50"/>
                  </a:lnTo>
                  <a:lnTo>
                    <a:pt x="35" y="50"/>
                  </a:lnTo>
                  <a:lnTo>
                    <a:pt x="35" y="52"/>
                  </a:lnTo>
                  <a:lnTo>
                    <a:pt x="35" y="50"/>
                  </a:lnTo>
                  <a:lnTo>
                    <a:pt x="33" y="50"/>
                  </a:lnTo>
                  <a:lnTo>
                    <a:pt x="33" y="47"/>
                  </a:lnTo>
                  <a:lnTo>
                    <a:pt x="30" y="47"/>
                  </a:lnTo>
                  <a:lnTo>
                    <a:pt x="28" y="47"/>
                  </a:lnTo>
                  <a:lnTo>
                    <a:pt x="28" y="45"/>
                  </a:lnTo>
                  <a:lnTo>
                    <a:pt x="26" y="45"/>
                  </a:lnTo>
                  <a:lnTo>
                    <a:pt x="28" y="45"/>
                  </a:lnTo>
                  <a:lnTo>
                    <a:pt x="26" y="45"/>
                  </a:lnTo>
                  <a:lnTo>
                    <a:pt x="28" y="45"/>
                  </a:lnTo>
                  <a:lnTo>
                    <a:pt x="26" y="45"/>
                  </a:lnTo>
                  <a:lnTo>
                    <a:pt x="26" y="42"/>
                  </a:lnTo>
                  <a:lnTo>
                    <a:pt x="26" y="40"/>
                  </a:lnTo>
                  <a:lnTo>
                    <a:pt x="26" y="38"/>
                  </a:lnTo>
                  <a:lnTo>
                    <a:pt x="26" y="35"/>
                  </a:lnTo>
                  <a:lnTo>
                    <a:pt x="23" y="35"/>
                  </a:lnTo>
                  <a:lnTo>
                    <a:pt x="23" y="33"/>
                  </a:lnTo>
                  <a:lnTo>
                    <a:pt x="23" y="31"/>
                  </a:lnTo>
                  <a:lnTo>
                    <a:pt x="23" y="28"/>
                  </a:lnTo>
                  <a:lnTo>
                    <a:pt x="23" y="31"/>
                  </a:lnTo>
                  <a:lnTo>
                    <a:pt x="26" y="31"/>
                  </a:lnTo>
                  <a:lnTo>
                    <a:pt x="23" y="28"/>
                  </a:lnTo>
                  <a:lnTo>
                    <a:pt x="23" y="26"/>
                  </a:lnTo>
                  <a:lnTo>
                    <a:pt x="23" y="23"/>
                  </a:lnTo>
                  <a:lnTo>
                    <a:pt x="23" y="21"/>
                  </a:lnTo>
                  <a:lnTo>
                    <a:pt x="26" y="21"/>
                  </a:lnTo>
                  <a:lnTo>
                    <a:pt x="28" y="21"/>
                  </a:lnTo>
                  <a:lnTo>
                    <a:pt x="26" y="21"/>
                  </a:lnTo>
                  <a:lnTo>
                    <a:pt x="23" y="21"/>
                  </a:lnTo>
                  <a:lnTo>
                    <a:pt x="21" y="21"/>
                  </a:lnTo>
                  <a:lnTo>
                    <a:pt x="21" y="19"/>
                  </a:lnTo>
                  <a:lnTo>
                    <a:pt x="21" y="16"/>
                  </a:lnTo>
                  <a:lnTo>
                    <a:pt x="21" y="14"/>
                  </a:lnTo>
                  <a:lnTo>
                    <a:pt x="23" y="14"/>
                  </a:lnTo>
                  <a:lnTo>
                    <a:pt x="23" y="12"/>
                  </a:lnTo>
                  <a:lnTo>
                    <a:pt x="26" y="12"/>
                  </a:lnTo>
                  <a:lnTo>
                    <a:pt x="26" y="9"/>
                  </a:lnTo>
                  <a:lnTo>
                    <a:pt x="28" y="7"/>
                  </a:lnTo>
                  <a:lnTo>
                    <a:pt x="28" y="4"/>
                  </a:lnTo>
                  <a:lnTo>
                    <a:pt x="30" y="4"/>
                  </a:lnTo>
                  <a:lnTo>
                    <a:pt x="33" y="4"/>
                  </a:lnTo>
                  <a:lnTo>
                    <a:pt x="35" y="4"/>
                  </a:lnTo>
                  <a:lnTo>
                    <a:pt x="38" y="4"/>
                  </a:lnTo>
                  <a:lnTo>
                    <a:pt x="38" y="2"/>
                  </a:lnTo>
                  <a:lnTo>
                    <a:pt x="38" y="4"/>
                  </a:lnTo>
                  <a:lnTo>
                    <a:pt x="40" y="4"/>
                  </a:lnTo>
                  <a:lnTo>
                    <a:pt x="40" y="2"/>
                  </a:lnTo>
                  <a:lnTo>
                    <a:pt x="42" y="2"/>
                  </a:lnTo>
                  <a:lnTo>
                    <a:pt x="42" y="0"/>
                  </a:lnTo>
                  <a:lnTo>
                    <a:pt x="45" y="2"/>
                  </a:lnTo>
                  <a:lnTo>
                    <a:pt x="45" y="4"/>
                  </a:lnTo>
                  <a:lnTo>
                    <a:pt x="47" y="4"/>
                  </a:lnTo>
                  <a:lnTo>
                    <a:pt x="47" y="7"/>
                  </a:lnTo>
                  <a:lnTo>
                    <a:pt x="45" y="7"/>
                  </a:lnTo>
                  <a:lnTo>
                    <a:pt x="45" y="9"/>
                  </a:lnTo>
                  <a:lnTo>
                    <a:pt x="42" y="9"/>
                  </a:lnTo>
                  <a:lnTo>
                    <a:pt x="42" y="12"/>
                  </a:lnTo>
                  <a:lnTo>
                    <a:pt x="42" y="14"/>
                  </a:lnTo>
                  <a:lnTo>
                    <a:pt x="45" y="14"/>
                  </a:lnTo>
                  <a:lnTo>
                    <a:pt x="45" y="16"/>
                  </a:lnTo>
                  <a:lnTo>
                    <a:pt x="47" y="16"/>
                  </a:lnTo>
                  <a:lnTo>
                    <a:pt x="49" y="16"/>
                  </a:lnTo>
                  <a:lnTo>
                    <a:pt x="49" y="14"/>
                  </a:lnTo>
                  <a:lnTo>
                    <a:pt x="52" y="14"/>
                  </a:lnTo>
                  <a:lnTo>
                    <a:pt x="52" y="12"/>
                  </a:lnTo>
                  <a:lnTo>
                    <a:pt x="54" y="12"/>
                  </a:lnTo>
                  <a:lnTo>
                    <a:pt x="54" y="14"/>
                  </a:lnTo>
                  <a:lnTo>
                    <a:pt x="57" y="12"/>
                  </a:lnTo>
                  <a:lnTo>
                    <a:pt x="59" y="12"/>
                  </a:lnTo>
                  <a:lnTo>
                    <a:pt x="61" y="12"/>
                  </a:lnTo>
                  <a:lnTo>
                    <a:pt x="61" y="14"/>
                  </a:lnTo>
                  <a:lnTo>
                    <a:pt x="64" y="12"/>
                  </a:lnTo>
                  <a:lnTo>
                    <a:pt x="64" y="14"/>
                  </a:lnTo>
                  <a:lnTo>
                    <a:pt x="66" y="14"/>
                  </a:lnTo>
                  <a:lnTo>
                    <a:pt x="68" y="14"/>
                  </a:lnTo>
                  <a:lnTo>
                    <a:pt x="68" y="16"/>
                  </a:lnTo>
                  <a:lnTo>
                    <a:pt x="71" y="14"/>
                  </a:lnTo>
                  <a:lnTo>
                    <a:pt x="73" y="14"/>
                  </a:lnTo>
                  <a:lnTo>
                    <a:pt x="76" y="14"/>
                  </a:lnTo>
                  <a:lnTo>
                    <a:pt x="76" y="12"/>
                  </a:lnTo>
                  <a:lnTo>
                    <a:pt x="78" y="12"/>
                  </a:lnTo>
                  <a:lnTo>
                    <a:pt x="78" y="9"/>
                  </a:lnTo>
                  <a:lnTo>
                    <a:pt x="78" y="7"/>
                  </a:lnTo>
                  <a:lnTo>
                    <a:pt x="80" y="9"/>
                  </a:lnTo>
                  <a:lnTo>
                    <a:pt x="83" y="9"/>
                  </a:lnTo>
                  <a:lnTo>
                    <a:pt x="85" y="9"/>
                  </a:lnTo>
                  <a:lnTo>
                    <a:pt x="87" y="9"/>
                  </a:lnTo>
                  <a:lnTo>
                    <a:pt x="90" y="9"/>
                  </a:lnTo>
                  <a:lnTo>
                    <a:pt x="90" y="7"/>
                  </a:lnTo>
                  <a:lnTo>
                    <a:pt x="90" y="9"/>
                  </a:lnTo>
                  <a:lnTo>
                    <a:pt x="92" y="9"/>
                  </a:lnTo>
                  <a:lnTo>
                    <a:pt x="92" y="12"/>
                  </a:lnTo>
                  <a:lnTo>
                    <a:pt x="95" y="9"/>
                  </a:lnTo>
                  <a:lnTo>
                    <a:pt x="97" y="9"/>
                  </a:lnTo>
                  <a:lnTo>
                    <a:pt x="97" y="12"/>
                  </a:lnTo>
                  <a:lnTo>
                    <a:pt x="97" y="14"/>
                  </a:lnTo>
                  <a:lnTo>
                    <a:pt x="99" y="14"/>
                  </a:lnTo>
                  <a:lnTo>
                    <a:pt x="99" y="16"/>
                  </a:lnTo>
                  <a:lnTo>
                    <a:pt x="97" y="16"/>
                  </a:lnTo>
                  <a:lnTo>
                    <a:pt x="99" y="16"/>
                  </a:lnTo>
                  <a:lnTo>
                    <a:pt x="97" y="16"/>
                  </a:lnTo>
                  <a:lnTo>
                    <a:pt x="97" y="19"/>
                  </a:lnTo>
                  <a:lnTo>
                    <a:pt x="97" y="21"/>
                  </a:lnTo>
                  <a:lnTo>
                    <a:pt x="99" y="23"/>
                  </a:lnTo>
                  <a:lnTo>
                    <a:pt x="102" y="21"/>
                  </a:lnTo>
                  <a:lnTo>
                    <a:pt x="104" y="21"/>
                  </a:lnTo>
                  <a:lnTo>
                    <a:pt x="106" y="23"/>
                  </a:lnTo>
                  <a:lnTo>
                    <a:pt x="109" y="26"/>
                  </a:lnTo>
                  <a:lnTo>
                    <a:pt x="109" y="28"/>
                  </a:lnTo>
                  <a:lnTo>
                    <a:pt x="109" y="31"/>
                  </a:lnTo>
                  <a:lnTo>
                    <a:pt x="106" y="31"/>
                  </a:lnTo>
                  <a:lnTo>
                    <a:pt x="109" y="31"/>
                  </a:lnTo>
                  <a:lnTo>
                    <a:pt x="106" y="31"/>
                  </a:lnTo>
                  <a:lnTo>
                    <a:pt x="106" y="33"/>
                  </a:lnTo>
                  <a:lnTo>
                    <a:pt x="104" y="33"/>
                  </a:lnTo>
                  <a:lnTo>
                    <a:pt x="104" y="35"/>
                  </a:lnTo>
                  <a:lnTo>
                    <a:pt x="106" y="35"/>
                  </a:lnTo>
                  <a:lnTo>
                    <a:pt x="104" y="35"/>
                  </a:lnTo>
                  <a:lnTo>
                    <a:pt x="104" y="38"/>
                  </a:lnTo>
                  <a:lnTo>
                    <a:pt x="102" y="38"/>
                  </a:lnTo>
                  <a:lnTo>
                    <a:pt x="102" y="40"/>
                  </a:lnTo>
                  <a:lnTo>
                    <a:pt x="99" y="40"/>
                  </a:lnTo>
                  <a:lnTo>
                    <a:pt x="97" y="40"/>
                  </a:lnTo>
                  <a:lnTo>
                    <a:pt x="97" y="42"/>
                  </a:lnTo>
                  <a:lnTo>
                    <a:pt x="95" y="42"/>
                  </a:lnTo>
                  <a:lnTo>
                    <a:pt x="92" y="42"/>
                  </a:lnTo>
                  <a:lnTo>
                    <a:pt x="92" y="45"/>
                  </a:lnTo>
                  <a:lnTo>
                    <a:pt x="92" y="47"/>
                  </a:lnTo>
                  <a:lnTo>
                    <a:pt x="90" y="47"/>
                  </a:lnTo>
                  <a:lnTo>
                    <a:pt x="92" y="47"/>
                  </a:lnTo>
                  <a:lnTo>
                    <a:pt x="90" y="47"/>
                  </a:lnTo>
                  <a:lnTo>
                    <a:pt x="90" y="50"/>
                  </a:lnTo>
                  <a:lnTo>
                    <a:pt x="90" y="52"/>
                  </a:lnTo>
                  <a:lnTo>
                    <a:pt x="87" y="52"/>
                  </a:lnTo>
                  <a:lnTo>
                    <a:pt x="85" y="52"/>
                  </a:lnTo>
                  <a:lnTo>
                    <a:pt x="85" y="54"/>
                  </a:lnTo>
                  <a:lnTo>
                    <a:pt x="87" y="54"/>
                  </a:lnTo>
                  <a:lnTo>
                    <a:pt x="87" y="57"/>
                  </a:lnTo>
                  <a:lnTo>
                    <a:pt x="87" y="59"/>
                  </a:lnTo>
                  <a:lnTo>
                    <a:pt x="90" y="59"/>
                  </a:lnTo>
                  <a:lnTo>
                    <a:pt x="90" y="61"/>
                  </a:lnTo>
                  <a:lnTo>
                    <a:pt x="87" y="61"/>
                  </a:lnTo>
                  <a:lnTo>
                    <a:pt x="87" y="64"/>
                  </a:lnTo>
                  <a:lnTo>
                    <a:pt x="90" y="64"/>
                  </a:lnTo>
                  <a:lnTo>
                    <a:pt x="87" y="64"/>
                  </a:lnTo>
                  <a:lnTo>
                    <a:pt x="87" y="66"/>
                  </a:lnTo>
                  <a:lnTo>
                    <a:pt x="90" y="66"/>
                  </a:lnTo>
                  <a:lnTo>
                    <a:pt x="90" y="69"/>
                  </a:lnTo>
                  <a:lnTo>
                    <a:pt x="90" y="71"/>
                  </a:lnTo>
                  <a:lnTo>
                    <a:pt x="87" y="71"/>
                  </a:lnTo>
                  <a:lnTo>
                    <a:pt x="87" y="73"/>
                  </a:lnTo>
                  <a:lnTo>
                    <a:pt x="90" y="73"/>
                  </a:lnTo>
                  <a:lnTo>
                    <a:pt x="90" y="76"/>
                  </a:lnTo>
                  <a:lnTo>
                    <a:pt x="87" y="76"/>
                  </a:lnTo>
                  <a:lnTo>
                    <a:pt x="87" y="78"/>
                  </a:lnTo>
                  <a:lnTo>
                    <a:pt x="87" y="80"/>
                  </a:lnTo>
                  <a:lnTo>
                    <a:pt x="90" y="80"/>
                  </a:lnTo>
                  <a:lnTo>
                    <a:pt x="90" y="83"/>
                  </a:lnTo>
                  <a:lnTo>
                    <a:pt x="87" y="85"/>
                  </a:lnTo>
                  <a:lnTo>
                    <a:pt x="87" y="88"/>
                  </a:lnTo>
                  <a:lnTo>
                    <a:pt x="85" y="88"/>
                  </a:lnTo>
                  <a:lnTo>
                    <a:pt x="83" y="88"/>
                  </a:lnTo>
                  <a:lnTo>
                    <a:pt x="83" y="90"/>
                  </a:lnTo>
                  <a:lnTo>
                    <a:pt x="83" y="92"/>
                  </a:lnTo>
                  <a:lnTo>
                    <a:pt x="85" y="92"/>
                  </a:lnTo>
                  <a:lnTo>
                    <a:pt x="85" y="95"/>
                  </a:lnTo>
                  <a:lnTo>
                    <a:pt x="87" y="95"/>
                  </a:lnTo>
                  <a:lnTo>
                    <a:pt x="87" y="97"/>
                  </a:lnTo>
                  <a:lnTo>
                    <a:pt x="87" y="100"/>
                  </a:lnTo>
                  <a:lnTo>
                    <a:pt x="87" y="102"/>
                  </a:lnTo>
                  <a:lnTo>
                    <a:pt x="85" y="102"/>
                  </a:lnTo>
                  <a:lnTo>
                    <a:pt x="87" y="102"/>
                  </a:lnTo>
                  <a:lnTo>
                    <a:pt x="85" y="102"/>
                  </a:lnTo>
                  <a:lnTo>
                    <a:pt x="87" y="102"/>
                  </a:lnTo>
                  <a:lnTo>
                    <a:pt x="85" y="102"/>
                  </a:lnTo>
                  <a:lnTo>
                    <a:pt x="85" y="104"/>
                  </a:lnTo>
                  <a:lnTo>
                    <a:pt x="85" y="107"/>
                  </a:lnTo>
                  <a:lnTo>
                    <a:pt x="83" y="107"/>
                  </a:lnTo>
                  <a:lnTo>
                    <a:pt x="83" y="109"/>
                  </a:lnTo>
                  <a:lnTo>
                    <a:pt x="83" y="111"/>
                  </a:lnTo>
                  <a:lnTo>
                    <a:pt x="83" y="114"/>
                  </a:lnTo>
                  <a:lnTo>
                    <a:pt x="80" y="114"/>
                  </a:lnTo>
                  <a:lnTo>
                    <a:pt x="78" y="114"/>
                  </a:lnTo>
                  <a:lnTo>
                    <a:pt x="76" y="114"/>
                  </a:lnTo>
                  <a:lnTo>
                    <a:pt x="73" y="114"/>
                  </a:lnTo>
                  <a:lnTo>
                    <a:pt x="71" y="114"/>
                  </a:lnTo>
                  <a:lnTo>
                    <a:pt x="68" y="114"/>
                  </a:lnTo>
                  <a:lnTo>
                    <a:pt x="66" y="114"/>
                  </a:lnTo>
                  <a:lnTo>
                    <a:pt x="66" y="116"/>
                  </a:lnTo>
                  <a:lnTo>
                    <a:pt x="68" y="116"/>
                  </a:lnTo>
                  <a:lnTo>
                    <a:pt x="68" y="119"/>
                  </a:lnTo>
                  <a:lnTo>
                    <a:pt x="71" y="119"/>
                  </a:lnTo>
                  <a:lnTo>
                    <a:pt x="71" y="121"/>
                  </a:lnTo>
                  <a:lnTo>
                    <a:pt x="73" y="121"/>
                  </a:lnTo>
                  <a:lnTo>
                    <a:pt x="73" y="123"/>
                  </a:lnTo>
                  <a:lnTo>
                    <a:pt x="73" y="126"/>
                  </a:lnTo>
                  <a:lnTo>
                    <a:pt x="73" y="128"/>
                  </a:lnTo>
                  <a:lnTo>
                    <a:pt x="73" y="130"/>
                  </a:lnTo>
                  <a:lnTo>
                    <a:pt x="76" y="130"/>
                  </a:lnTo>
                  <a:lnTo>
                    <a:pt x="76" y="133"/>
                  </a:lnTo>
                  <a:lnTo>
                    <a:pt x="76" y="135"/>
                  </a:lnTo>
                  <a:lnTo>
                    <a:pt x="78" y="135"/>
                  </a:lnTo>
                  <a:lnTo>
                    <a:pt x="78" y="138"/>
                  </a:lnTo>
                  <a:lnTo>
                    <a:pt x="80" y="138"/>
                  </a:lnTo>
                  <a:lnTo>
                    <a:pt x="83" y="138"/>
                  </a:lnTo>
                  <a:lnTo>
                    <a:pt x="83" y="140"/>
                  </a:lnTo>
                  <a:lnTo>
                    <a:pt x="85" y="140"/>
                  </a:lnTo>
                  <a:lnTo>
                    <a:pt x="85" y="142"/>
                  </a:lnTo>
                  <a:lnTo>
                    <a:pt x="83" y="145"/>
                  </a:lnTo>
                  <a:lnTo>
                    <a:pt x="83" y="147"/>
                  </a:lnTo>
                  <a:lnTo>
                    <a:pt x="80" y="147"/>
                  </a:lnTo>
                  <a:lnTo>
                    <a:pt x="83" y="147"/>
                  </a:lnTo>
                  <a:lnTo>
                    <a:pt x="83" y="149"/>
                  </a:lnTo>
                  <a:lnTo>
                    <a:pt x="80" y="149"/>
                  </a:lnTo>
                  <a:lnTo>
                    <a:pt x="80" y="152"/>
                  </a:lnTo>
                  <a:lnTo>
                    <a:pt x="78" y="152"/>
                  </a:lnTo>
                  <a:lnTo>
                    <a:pt x="78" y="154"/>
                  </a:lnTo>
                  <a:lnTo>
                    <a:pt x="76" y="154"/>
                  </a:lnTo>
                  <a:lnTo>
                    <a:pt x="76" y="157"/>
                  </a:lnTo>
                  <a:lnTo>
                    <a:pt x="73" y="157"/>
                  </a:lnTo>
                  <a:lnTo>
                    <a:pt x="73" y="159"/>
                  </a:lnTo>
                  <a:lnTo>
                    <a:pt x="76" y="159"/>
                  </a:lnTo>
                  <a:lnTo>
                    <a:pt x="76" y="161"/>
                  </a:lnTo>
                  <a:lnTo>
                    <a:pt x="73" y="161"/>
                  </a:lnTo>
                  <a:lnTo>
                    <a:pt x="73" y="164"/>
                  </a:lnTo>
                  <a:lnTo>
                    <a:pt x="73" y="166"/>
                  </a:lnTo>
                  <a:lnTo>
                    <a:pt x="73" y="168"/>
                  </a:lnTo>
                  <a:lnTo>
                    <a:pt x="73" y="171"/>
                  </a:lnTo>
                  <a:lnTo>
                    <a:pt x="76" y="171"/>
                  </a:lnTo>
                  <a:lnTo>
                    <a:pt x="76" y="173"/>
                  </a:lnTo>
                  <a:lnTo>
                    <a:pt x="78" y="176"/>
                  </a:lnTo>
                  <a:lnTo>
                    <a:pt x="78" y="178"/>
                  </a:lnTo>
                  <a:lnTo>
                    <a:pt x="80" y="180"/>
                  </a:lnTo>
                  <a:lnTo>
                    <a:pt x="83" y="180"/>
                  </a:lnTo>
                  <a:lnTo>
                    <a:pt x="83" y="178"/>
                  </a:lnTo>
                  <a:lnTo>
                    <a:pt x="85" y="178"/>
                  </a:lnTo>
                  <a:lnTo>
                    <a:pt x="85" y="180"/>
                  </a:lnTo>
                  <a:lnTo>
                    <a:pt x="83" y="183"/>
                  </a:lnTo>
                  <a:lnTo>
                    <a:pt x="83" y="185"/>
                  </a:lnTo>
                  <a:lnTo>
                    <a:pt x="83" y="187"/>
                  </a:lnTo>
                  <a:lnTo>
                    <a:pt x="80" y="187"/>
                  </a:lnTo>
                  <a:lnTo>
                    <a:pt x="80" y="185"/>
                  </a:lnTo>
                  <a:lnTo>
                    <a:pt x="78" y="187"/>
                  </a:lnTo>
                  <a:lnTo>
                    <a:pt x="76" y="187"/>
                  </a:lnTo>
                  <a:lnTo>
                    <a:pt x="73" y="190"/>
                  </a:lnTo>
                  <a:lnTo>
                    <a:pt x="76" y="190"/>
                  </a:lnTo>
                  <a:lnTo>
                    <a:pt x="76" y="192"/>
                  </a:lnTo>
                  <a:lnTo>
                    <a:pt x="73" y="192"/>
                  </a:lnTo>
                  <a:lnTo>
                    <a:pt x="73" y="195"/>
                  </a:lnTo>
                  <a:lnTo>
                    <a:pt x="73" y="197"/>
                  </a:lnTo>
                  <a:lnTo>
                    <a:pt x="71" y="197"/>
                  </a:lnTo>
                  <a:lnTo>
                    <a:pt x="71" y="199"/>
                  </a:lnTo>
                  <a:lnTo>
                    <a:pt x="68" y="199"/>
                  </a:lnTo>
                  <a:lnTo>
                    <a:pt x="68" y="202"/>
                  </a:lnTo>
                  <a:lnTo>
                    <a:pt x="68" y="204"/>
                  </a:lnTo>
                  <a:lnTo>
                    <a:pt x="66" y="204"/>
                  </a:lnTo>
                  <a:lnTo>
                    <a:pt x="66" y="206"/>
                  </a:lnTo>
                  <a:lnTo>
                    <a:pt x="66" y="209"/>
                  </a:lnTo>
                  <a:lnTo>
                    <a:pt x="66" y="206"/>
                  </a:lnTo>
                  <a:lnTo>
                    <a:pt x="66" y="209"/>
                  </a:lnTo>
                  <a:lnTo>
                    <a:pt x="66" y="211"/>
                  </a:lnTo>
                  <a:lnTo>
                    <a:pt x="68" y="211"/>
                  </a:lnTo>
                  <a:lnTo>
                    <a:pt x="68" y="214"/>
                  </a:lnTo>
                  <a:lnTo>
                    <a:pt x="68" y="216"/>
                  </a:lnTo>
                  <a:lnTo>
                    <a:pt x="68" y="218"/>
                  </a:lnTo>
                  <a:lnTo>
                    <a:pt x="68" y="221"/>
                  </a:lnTo>
                  <a:lnTo>
                    <a:pt x="68" y="223"/>
                  </a:lnTo>
                  <a:lnTo>
                    <a:pt x="68" y="225"/>
                  </a:lnTo>
                  <a:lnTo>
                    <a:pt x="71" y="225"/>
                  </a:lnTo>
                  <a:lnTo>
                    <a:pt x="68" y="225"/>
                  </a:lnTo>
                  <a:lnTo>
                    <a:pt x="66" y="225"/>
                  </a:lnTo>
                  <a:lnTo>
                    <a:pt x="64" y="225"/>
                  </a:lnTo>
                  <a:lnTo>
                    <a:pt x="64" y="228"/>
                  </a:lnTo>
                  <a:lnTo>
                    <a:pt x="61" y="228"/>
                  </a:lnTo>
                  <a:lnTo>
                    <a:pt x="64" y="228"/>
                  </a:lnTo>
                  <a:lnTo>
                    <a:pt x="61" y="228"/>
                  </a:lnTo>
                  <a:lnTo>
                    <a:pt x="61" y="230"/>
                  </a:lnTo>
                  <a:lnTo>
                    <a:pt x="59" y="230"/>
                  </a:lnTo>
                  <a:lnTo>
                    <a:pt x="57" y="230"/>
                  </a:lnTo>
                  <a:lnTo>
                    <a:pt x="57" y="233"/>
                  </a:lnTo>
                  <a:lnTo>
                    <a:pt x="57" y="230"/>
                  </a:lnTo>
                  <a:lnTo>
                    <a:pt x="54" y="233"/>
                  </a:lnTo>
                  <a:lnTo>
                    <a:pt x="52" y="233"/>
                  </a:lnTo>
                  <a:lnTo>
                    <a:pt x="49" y="233"/>
                  </a:lnTo>
                  <a:lnTo>
                    <a:pt x="49" y="230"/>
                  </a:lnTo>
                  <a:lnTo>
                    <a:pt x="49" y="233"/>
                  </a:lnTo>
                  <a:lnTo>
                    <a:pt x="52" y="233"/>
                  </a:lnTo>
                  <a:lnTo>
                    <a:pt x="49" y="233"/>
                  </a:lnTo>
                  <a:lnTo>
                    <a:pt x="47" y="230"/>
                  </a:lnTo>
                  <a:lnTo>
                    <a:pt x="45" y="230"/>
                  </a:lnTo>
                  <a:lnTo>
                    <a:pt x="45" y="228"/>
                  </a:lnTo>
                  <a:lnTo>
                    <a:pt x="42" y="228"/>
                  </a:lnTo>
                  <a:lnTo>
                    <a:pt x="40" y="230"/>
                  </a:lnTo>
                  <a:lnTo>
                    <a:pt x="40" y="228"/>
                  </a:lnTo>
                  <a:lnTo>
                    <a:pt x="38" y="228"/>
                  </a:lnTo>
                  <a:lnTo>
                    <a:pt x="35" y="228"/>
                  </a:lnTo>
                  <a:lnTo>
                    <a:pt x="33" y="228"/>
                  </a:lnTo>
                  <a:lnTo>
                    <a:pt x="33" y="225"/>
                  </a:lnTo>
                  <a:lnTo>
                    <a:pt x="33" y="228"/>
                  </a:lnTo>
                  <a:lnTo>
                    <a:pt x="30" y="228"/>
                  </a:lnTo>
                  <a:lnTo>
                    <a:pt x="30" y="225"/>
                  </a:lnTo>
                  <a:lnTo>
                    <a:pt x="30" y="228"/>
                  </a:lnTo>
                  <a:lnTo>
                    <a:pt x="30" y="225"/>
                  </a:lnTo>
                  <a:lnTo>
                    <a:pt x="28" y="228"/>
                  </a:lnTo>
                  <a:lnTo>
                    <a:pt x="30" y="228"/>
                  </a:lnTo>
                  <a:lnTo>
                    <a:pt x="28" y="228"/>
                  </a:lnTo>
                  <a:lnTo>
                    <a:pt x="26" y="228"/>
                  </a:lnTo>
                  <a:lnTo>
                    <a:pt x="26" y="230"/>
                  </a:lnTo>
                  <a:lnTo>
                    <a:pt x="23" y="230"/>
                  </a:lnTo>
                  <a:lnTo>
                    <a:pt x="21" y="230"/>
                  </a:lnTo>
                  <a:lnTo>
                    <a:pt x="21" y="233"/>
                  </a:lnTo>
                  <a:lnTo>
                    <a:pt x="21" y="230"/>
                  </a:lnTo>
                  <a:lnTo>
                    <a:pt x="21" y="233"/>
                  </a:lnTo>
                  <a:lnTo>
                    <a:pt x="19" y="233"/>
                  </a:lnTo>
                  <a:lnTo>
                    <a:pt x="19" y="230"/>
                  </a:lnTo>
                  <a:lnTo>
                    <a:pt x="19" y="233"/>
                  </a:lnTo>
                  <a:lnTo>
                    <a:pt x="16" y="233"/>
                  </a:lnTo>
                  <a:lnTo>
                    <a:pt x="16" y="230"/>
                  </a:lnTo>
                  <a:lnTo>
                    <a:pt x="19" y="230"/>
                  </a:lnTo>
                  <a:lnTo>
                    <a:pt x="19" y="228"/>
                  </a:lnTo>
                  <a:lnTo>
                    <a:pt x="19" y="225"/>
                  </a:lnTo>
                  <a:lnTo>
                    <a:pt x="21" y="225"/>
                  </a:lnTo>
                  <a:lnTo>
                    <a:pt x="21" y="223"/>
                  </a:lnTo>
                  <a:lnTo>
                    <a:pt x="19" y="223"/>
                  </a:lnTo>
                  <a:lnTo>
                    <a:pt x="21" y="223"/>
                  </a:lnTo>
                  <a:lnTo>
                    <a:pt x="21" y="221"/>
                  </a:lnTo>
                  <a:lnTo>
                    <a:pt x="21" y="218"/>
                  </a:lnTo>
                  <a:lnTo>
                    <a:pt x="21" y="216"/>
                  </a:lnTo>
                  <a:lnTo>
                    <a:pt x="23" y="218"/>
                  </a:lnTo>
                  <a:lnTo>
                    <a:pt x="21" y="216"/>
                  </a:lnTo>
                  <a:lnTo>
                    <a:pt x="23" y="216"/>
                  </a:lnTo>
                  <a:lnTo>
                    <a:pt x="23" y="214"/>
                  </a:lnTo>
                  <a:lnTo>
                    <a:pt x="23" y="211"/>
                  </a:lnTo>
                  <a:lnTo>
                    <a:pt x="23" y="209"/>
                  </a:lnTo>
                  <a:lnTo>
                    <a:pt x="23" y="206"/>
                  </a:lnTo>
                  <a:lnTo>
                    <a:pt x="23" y="204"/>
                  </a:lnTo>
                  <a:lnTo>
                    <a:pt x="23" y="202"/>
                  </a:lnTo>
                  <a:lnTo>
                    <a:pt x="23" y="199"/>
                  </a:lnTo>
                  <a:lnTo>
                    <a:pt x="26" y="199"/>
                  </a:lnTo>
                  <a:lnTo>
                    <a:pt x="26" y="202"/>
                  </a:lnTo>
                  <a:lnTo>
                    <a:pt x="26" y="199"/>
                  </a:lnTo>
                  <a:lnTo>
                    <a:pt x="23" y="199"/>
                  </a:lnTo>
                  <a:lnTo>
                    <a:pt x="23" y="202"/>
                  </a:lnTo>
                  <a:lnTo>
                    <a:pt x="23" y="199"/>
                  </a:lnTo>
                  <a:lnTo>
                    <a:pt x="23" y="197"/>
                  </a:lnTo>
                  <a:lnTo>
                    <a:pt x="23" y="195"/>
                  </a:lnTo>
                  <a:lnTo>
                    <a:pt x="23" y="192"/>
                  </a:lnTo>
                  <a:lnTo>
                    <a:pt x="23" y="190"/>
                  </a:lnTo>
                  <a:lnTo>
                    <a:pt x="21" y="190"/>
                  </a:lnTo>
                  <a:lnTo>
                    <a:pt x="21" y="192"/>
                  </a:lnTo>
                  <a:lnTo>
                    <a:pt x="21" y="190"/>
                  </a:lnTo>
                  <a:lnTo>
                    <a:pt x="21" y="187"/>
                  </a:lnTo>
                  <a:lnTo>
                    <a:pt x="23" y="187"/>
                  </a:lnTo>
                  <a:lnTo>
                    <a:pt x="23" y="185"/>
                  </a:lnTo>
                  <a:lnTo>
                    <a:pt x="23" y="183"/>
                  </a:lnTo>
                  <a:lnTo>
                    <a:pt x="23" y="180"/>
                  </a:lnTo>
                  <a:lnTo>
                    <a:pt x="23" y="178"/>
                  </a:lnTo>
                  <a:lnTo>
                    <a:pt x="23" y="176"/>
                  </a:lnTo>
                  <a:lnTo>
                    <a:pt x="23" y="173"/>
                  </a:lnTo>
                  <a:lnTo>
                    <a:pt x="23" y="171"/>
                  </a:lnTo>
                  <a:lnTo>
                    <a:pt x="23" y="168"/>
                  </a:lnTo>
                  <a:lnTo>
                    <a:pt x="21" y="168"/>
                  </a:lnTo>
                  <a:lnTo>
                    <a:pt x="21" y="166"/>
                  </a:lnTo>
                  <a:lnTo>
                    <a:pt x="21" y="168"/>
                  </a:lnTo>
                  <a:lnTo>
                    <a:pt x="23" y="168"/>
                  </a:lnTo>
                  <a:lnTo>
                    <a:pt x="23" y="171"/>
                  </a:lnTo>
                  <a:lnTo>
                    <a:pt x="23" y="168"/>
                  </a:lnTo>
                  <a:lnTo>
                    <a:pt x="26" y="168"/>
                  </a:lnTo>
                  <a:lnTo>
                    <a:pt x="23" y="168"/>
                  </a:lnTo>
                  <a:lnTo>
                    <a:pt x="23" y="171"/>
                  </a:lnTo>
                  <a:lnTo>
                    <a:pt x="23" y="168"/>
                  </a:lnTo>
                  <a:lnTo>
                    <a:pt x="26" y="168"/>
                  </a:lnTo>
                  <a:lnTo>
                    <a:pt x="26" y="171"/>
                  </a:lnTo>
                  <a:lnTo>
                    <a:pt x="26" y="168"/>
                  </a:lnTo>
                  <a:lnTo>
                    <a:pt x="28" y="168"/>
                  </a:lnTo>
                  <a:lnTo>
                    <a:pt x="28" y="171"/>
                  </a:lnTo>
                  <a:lnTo>
                    <a:pt x="30" y="171"/>
                  </a:lnTo>
                  <a:lnTo>
                    <a:pt x="30" y="168"/>
                  </a:lnTo>
                  <a:lnTo>
                    <a:pt x="33" y="171"/>
                  </a:lnTo>
                  <a:lnTo>
                    <a:pt x="33" y="168"/>
                  </a:lnTo>
                  <a:lnTo>
                    <a:pt x="30" y="168"/>
                  </a:lnTo>
                  <a:lnTo>
                    <a:pt x="30" y="171"/>
                  </a:lnTo>
                  <a:lnTo>
                    <a:pt x="28" y="171"/>
                  </a:lnTo>
                  <a:lnTo>
                    <a:pt x="28" y="168"/>
                  </a:lnTo>
                  <a:lnTo>
                    <a:pt x="28" y="171"/>
                  </a:lnTo>
                  <a:lnTo>
                    <a:pt x="28" y="168"/>
                  </a:lnTo>
                  <a:lnTo>
                    <a:pt x="26" y="168"/>
                  </a:lnTo>
                  <a:lnTo>
                    <a:pt x="26" y="166"/>
                  </a:lnTo>
                  <a:lnTo>
                    <a:pt x="26" y="164"/>
                  </a:lnTo>
                  <a:lnTo>
                    <a:pt x="26" y="166"/>
                  </a:lnTo>
                  <a:lnTo>
                    <a:pt x="26" y="164"/>
                  </a:lnTo>
                  <a:lnTo>
                    <a:pt x="26" y="161"/>
                  </a:lnTo>
                  <a:lnTo>
                    <a:pt x="26" y="164"/>
                  </a:lnTo>
                  <a:lnTo>
                    <a:pt x="26" y="161"/>
                  </a:lnTo>
                  <a:lnTo>
                    <a:pt x="26" y="164"/>
                  </a:lnTo>
                  <a:lnTo>
                    <a:pt x="26" y="161"/>
                  </a:lnTo>
                  <a:lnTo>
                    <a:pt x="26" y="164"/>
                  </a:lnTo>
                  <a:lnTo>
                    <a:pt x="23" y="164"/>
                  </a:lnTo>
                  <a:lnTo>
                    <a:pt x="23" y="166"/>
                  </a:lnTo>
                  <a:lnTo>
                    <a:pt x="26" y="166"/>
                  </a:lnTo>
                  <a:lnTo>
                    <a:pt x="23" y="166"/>
                  </a:lnTo>
                  <a:lnTo>
                    <a:pt x="21" y="166"/>
                  </a:lnTo>
                  <a:lnTo>
                    <a:pt x="23" y="166"/>
                  </a:lnTo>
                  <a:lnTo>
                    <a:pt x="21" y="166"/>
                  </a:lnTo>
                  <a:lnTo>
                    <a:pt x="21" y="164"/>
                  </a:lnTo>
                  <a:lnTo>
                    <a:pt x="21" y="166"/>
                  </a:lnTo>
                  <a:lnTo>
                    <a:pt x="19" y="166"/>
                  </a:lnTo>
                  <a:lnTo>
                    <a:pt x="16" y="168"/>
                  </a:lnTo>
                  <a:lnTo>
                    <a:pt x="14" y="168"/>
                  </a:lnTo>
                  <a:lnTo>
                    <a:pt x="11" y="168"/>
                  </a:lnTo>
                  <a:lnTo>
                    <a:pt x="11" y="171"/>
                  </a:lnTo>
                  <a:lnTo>
                    <a:pt x="9" y="171"/>
                  </a:lnTo>
                  <a:lnTo>
                    <a:pt x="9" y="168"/>
                  </a:lnTo>
                  <a:lnTo>
                    <a:pt x="11" y="168"/>
                  </a:lnTo>
                  <a:lnTo>
                    <a:pt x="11" y="166"/>
                  </a:lnTo>
                  <a:lnTo>
                    <a:pt x="11" y="164"/>
                  </a:lnTo>
                  <a:lnTo>
                    <a:pt x="11" y="166"/>
                  </a:lnTo>
                  <a:lnTo>
                    <a:pt x="11" y="164"/>
                  </a:lnTo>
                  <a:lnTo>
                    <a:pt x="9" y="161"/>
                  </a:lnTo>
                  <a:lnTo>
                    <a:pt x="9" y="159"/>
                  </a:lnTo>
                  <a:lnTo>
                    <a:pt x="9" y="157"/>
                  </a:lnTo>
                  <a:lnTo>
                    <a:pt x="11" y="157"/>
                  </a:lnTo>
                  <a:lnTo>
                    <a:pt x="11" y="159"/>
                  </a:lnTo>
                  <a:lnTo>
                    <a:pt x="14" y="159"/>
                  </a:lnTo>
                  <a:lnTo>
                    <a:pt x="11" y="159"/>
                  </a:lnTo>
                  <a:lnTo>
                    <a:pt x="14" y="159"/>
                  </a:lnTo>
                  <a:lnTo>
                    <a:pt x="14" y="161"/>
                  </a:lnTo>
                  <a:lnTo>
                    <a:pt x="14" y="159"/>
                  </a:lnTo>
                  <a:lnTo>
                    <a:pt x="14" y="161"/>
                  </a:lnTo>
                  <a:lnTo>
                    <a:pt x="16" y="161"/>
                  </a:lnTo>
                  <a:lnTo>
                    <a:pt x="16" y="159"/>
                  </a:lnTo>
                  <a:lnTo>
                    <a:pt x="14" y="159"/>
                  </a:lnTo>
                  <a:lnTo>
                    <a:pt x="14" y="157"/>
                  </a:lnTo>
                  <a:lnTo>
                    <a:pt x="16" y="157"/>
                  </a:lnTo>
                  <a:lnTo>
                    <a:pt x="16" y="159"/>
                  </a:lnTo>
                  <a:lnTo>
                    <a:pt x="16" y="157"/>
                  </a:lnTo>
                  <a:lnTo>
                    <a:pt x="19" y="157"/>
                  </a:lnTo>
                  <a:lnTo>
                    <a:pt x="16" y="157"/>
                  </a:lnTo>
                  <a:lnTo>
                    <a:pt x="19" y="157"/>
                  </a:lnTo>
                  <a:lnTo>
                    <a:pt x="16" y="157"/>
                  </a:lnTo>
                  <a:lnTo>
                    <a:pt x="16" y="154"/>
                  </a:lnTo>
                  <a:lnTo>
                    <a:pt x="19" y="154"/>
                  </a:lnTo>
                  <a:lnTo>
                    <a:pt x="19" y="152"/>
                  </a:lnTo>
                  <a:lnTo>
                    <a:pt x="19" y="149"/>
                  </a:lnTo>
                  <a:lnTo>
                    <a:pt x="19" y="152"/>
                  </a:lnTo>
                  <a:lnTo>
                    <a:pt x="19" y="149"/>
                  </a:lnTo>
                  <a:lnTo>
                    <a:pt x="16" y="149"/>
                  </a:lnTo>
                  <a:lnTo>
                    <a:pt x="19" y="149"/>
                  </a:lnTo>
                  <a:lnTo>
                    <a:pt x="16" y="149"/>
                  </a:lnTo>
                  <a:lnTo>
                    <a:pt x="16" y="147"/>
                  </a:lnTo>
                  <a:lnTo>
                    <a:pt x="19" y="145"/>
                  </a:lnTo>
                  <a:lnTo>
                    <a:pt x="19" y="142"/>
                  </a:lnTo>
                  <a:lnTo>
                    <a:pt x="21" y="142"/>
                  </a:lnTo>
                  <a:lnTo>
                    <a:pt x="19" y="142"/>
                  </a:lnTo>
                  <a:lnTo>
                    <a:pt x="19" y="145"/>
                  </a:lnTo>
                  <a:lnTo>
                    <a:pt x="16" y="145"/>
                  </a:lnTo>
                  <a:lnTo>
                    <a:pt x="16" y="147"/>
                  </a:lnTo>
                  <a:lnTo>
                    <a:pt x="16" y="149"/>
                  </a:lnTo>
                  <a:lnTo>
                    <a:pt x="14" y="149"/>
                  </a:lnTo>
                  <a:lnTo>
                    <a:pt x="14" y="152"/>
                  </a:lnTo>
                  <a:lnTo>
                    <a:pt x="14" y="154"/>
                  </a:lnTo>
                  <a:lnTo>
                    <a:pt x="14" y="157"/>
                  </a:lnTo>
                  <a:lnTo>
                    <a:pt x="11" y="157"/>
                  </a:lnTo>
                  <a:lnTo>
                    <a:pt x="9" y="157"/>
                  </a:lnTo>
                  <a:lnTo>
                    <a:pt x="7" y="157"/>
                  </a:lnTo>
                  <a:lnTo>
                    <a:pt x="7" y="159"/>
                  </a:lnTo>
                  <a:lnTo>
                    <a:pt x="7" y="157"/>
                  </a:lnTo>
                  <a:lnTo>
                    <a:pt x="4" y="157"/>
                  </a:lnTo>
                  <a:lnTo>
                    <a:pt x="2" y="157"/>
                  </a:lnTo>
                  <a:lnTo>
                    <a:pt x="4" y="157"/>
                  </a:lnTo>
                  <a:lnTo>
                    <a:pt x="2" y="157"/>
                  </a:lnTo>
                  <a:lnTo>
                    <a:pt x="2" y="154"/>
                  </a:lnTo>
                  <a:lnTo>
                    <a:pt x="0" y="154"/>
                  </a:lnTo>
                  <a:lnTo>
                    <a:pt x="0" y="152"/>
                  </a:lnTo>
                  <a:lnTo>
                    <a:pt x="2" y="152"/>
                  </a:lnTo>
                  <a:lnTo>
                    <a:pt x="2" y="149"/>
                  </a:lnTo>
                  <a:lnTo>
                    <a:pt x="2" y="147"/>
                  </a:lnTo>
                  <a:lnTo>
                    <a:pt x="4" y="145"/>
                  </a:lnTo>
                  <a:lnTo>
                    <a:pt x="4" y="147"/>
                  </a:lnTo>
                  <a:lnTo>
                    <a:pt x="4" y="145"/>
                  </a:lnTo>
                  <a:lnTo>
                    <a:pt x="2" y="145"/>
                  </a:lnTo>
                  <a:lnTo>
                    <a:pt x="2" y="142"/>
                  </a:lnTo>
                  <a:lnTo>
                    <a:pt x="4" y="142"/>
                  </a:lnTo>
                  <a:lnTo>
                    <a:pt x="2" y="140"/>
                  </a:lnTo>
                  <a:lnTo>
                    <a:pt x="4" y="140"/>
                  </a:lnTo>
                  <a:lnTo>
                    <a:pt x="2" y="140"/>
                  </a:lnTo>
                  <a:lnTo>
                    <a:pt x="4" y="140"/>
                  </a:lnTo>
                  <a:lnTo>
                    <a:pt x="4" y="138"/>
                  </a:lnTo>
                  <a:lnTo>
                    <a:pt x="4" y="135"/>
                  </a:lnTo>
                  <a:lnTo>
                    <a:pt x="7" y="135"/>
                  </a:lnTo>
                  <a:lnTo>
                    <a:pt x="7" y="133"/>
                  </a:lnTo>
                  <a:lnTo>
                    <a:pt x="4" y="133"/>
                  </a:lnTo>
                  <a:lnTo>
                    <a:pt x="7" y="133"/>
                  </a:lnTo>
                  <a:lnTo>
                    <a:pt x="7" y="130"/>
                  </a:lnTo>
                  <a:lnTo>
                    <a:pt x="4" y="130"/>
                  </a:lnTo>
                  <a:lnTo>
                    <a:pt x="7" y="130"/>
                  </a:lnTo>
                  <a:lnTo>
                    <a:pt x="4" y="130"/>
                  </a:lnTo>
                  <a:lnTo>
                    <a:pt x="4" y="128"/>
                  </a:lnTo>
                  <a:lnTo>
                    <a:pt x="4" y="126"/>
                  </a:lnTo>
                  <a:lnTo>
                    <a:pt x="7" y="126"/>
                  </a:lnTo>
                  <a:lnTo>
                    <a:pt x="9" y="123"/>
                  </a:lnTo>
                  <a:lnTo>
                    <a:pt x="9" y="126"/>
                  </a:lnTo>
                  <a:lnTo>
                    <a:pt x="11" y="126"/>
                  </a:lnTo>
                  <a:lnTo>
                    <a:pt x="9" y="123"/>
                  </a:lnTo>
                  <a:lnTo>
                    <a:pt x="9" y="121"/>
                  </a:lnTo>
                  <a:lnTo>
                    <a:pt x="11" y="121"/>
                  </a:lnTo>
                  <a:lnTo>
                    <a:pt x="11" y="119"/>
                  </a:lnTo>
                  <a:lnTo>
                    <a:pt x="14" y="119"/>
                  </a:lnTo>
                  <a:lnTo>
                    <a:pt x="14" y="116"/>
                  </a:lnTo>
                  <a:lnTo>
                    <a:pt x="14" y="114"/>
                  </a:lnTo>
                  <a:lnTo>
                    <a:pt x="14" y="111"/>
                  </a:lnTo>
                  <a:lnTo>
                    <a:pt x="16" y="111"/>
                  </a:lnTo>
                  <a:lnTo>
                    <a:pt x="16" y="109"/>
                  </a:lnTo>
                  <a:lnTo>
                    <a:pt x="16" y="107"/>
                  </a:lnTo>
                  <a:lnTo>
                    <a:pt x="19" y="104"/>
                  </a:lnTo>
                  <a:lnTo>
                    <a:pt x="19" y="102"/>
                  </a:lnTo>
                  <a:lnTo>
                    <a:pt x="19" y="100"/>
                  </a:lnTo>
                  <a:lnTo>
                    <a:pt x="21" y="97"/>
                  </a:lnTo>
                  <a:lnTo>
                    <a:pt x="21" y="95"/>
                  </a:lnTo>
                  <a:lnTo>
                    <a:pt x="21" y="92"/>
                  </a:lnTo>
                  <a:lnTo>
                    <a:pt x="23" y="92"/>
                  </a:lnTo>
                  <a:lnTo>
                    <a:pt x="21" y="92"/>
                  </a:lnTo>
                  <a:lnTo>
                    <a:pt x="23" y="92"/>
                  </a:lnTo>
                  <a:lnTo>
                    <a:pt x="21" y="92"/>
                  </a:lnTo>
                  <a:lnTo>
                    <a:pt x="21" y="90"/>
                  </a:lnTo>
                  <a:lnTo>
                    <a:pt x="21" y="88"/>
                  </a:lnTo>
                  <a:lnTo>
                    <a:pt x="23" y="83"/>
                  </a:lnTo>
                  <a:lnTo>
                    <a:pt x="23" y="80"/>
                  </a:lnTo>
                  <a:lnTo>
                    <a:pt x="23" y="78"/>
                  </a:lnTo>
                  <a:lnTo>
                    <a:pt x="23" y="76"/>
                  </a:lnTo>
                  <a:lnTo>
                    <a:pt x="23" y="73"/>
                  </a:lnTo>
                  <a:lnTo>
                    <a:pt x="26" y="73"/>
                  </a:lnTo>
                  <a:lnTo>
                    <a:pt x="26" y="71"/>
                  </a:lnTo>
                  <a:lnTo>
                    <a:pt x="26" y="69"/>
                  </a:lnTo>
                  <a:lnTo>
                    <a:pt x="28" y="69"/>
                  </a:lnTo>
                  <a:lnTo>
                    <a:pt x="26" y="69"/>
                  </a:lnTo>
                  <a:lnTo>
                    <a:pt x="28" y="69"/>
                  </a:lnTo>
                  <a:lnTo>
                    <a:pt x="28" y="66"/>
                  </a:lnTo>
                  <a:lnTo>
                    <a:pt x="28" y="69"/>
                  </a:lnTo>
                  <a:lnTo>
                    <a:pt x="28" y="66"/>
                  </a:lnTo>
                  <a:lnTo>
                    <a:pt x="28" y="69"/>
                  </a:lnTo>
                  <a:lnTo>
                    <a:pt x="28" y="66"/>
                  </a:lnTo>
                  <a:lnTo>
                    <a:pt x="30" y="66"/>
                  </a:lnTo>
                  <a:lnTo>
                    <a:pt x="30" y="64"/>
                  </a:lnTo>
                  <a:lnTo>
                    <a:pt x="28" y="66"/>
                  </a:lnTo>
                  <a:lnTo>
                    <a:pt x="28" y="64"/>
                  </a:lnTo>
                  <a:lnTo>
                    <a:pt x="28" y="61"/>
                  </a:lnTo>
                  <a:lnTo>
                    <a:pt x="30" y="61"/>
                  </a:lnTo>
                  <a:lnTo>
                    <a:pt x="28" y="61"/>
                  </a:lnTo>
                  <a:lnTo>
                    <a:pt x="28" y="59"/>
                  </a:lnTo>
                  <a:lnTo>
                    <a:pt x="28" y="61"/>
                  </a:lnTo>
                  <a:lnTo>
                    <a:pt x="28" y="59"/>
                  </a:lnTo>
                  <a:lnTo>
                    <a:pt x="28" y="61"/>
                  </a:lnTo>
                  <a:lnTo>
                    <a:pt x="28" y="64"/>
                  </a:lnTo>
                  <a:lnTo>
                    <a:pt x="26" y="64"/>
                  </a:lnTo>
                  <a:lnTo>
                    <a:pt x="28" y="64"/>
                  </a:lnTo>
                  <a:lnTo>
                    <a:pt x="28" y="66"/>
                  </a:lnTo>
                  <a:lnTo>
                    <a:pt x="26" y="66"/>
                  </a:lnTo>
                  <a:lnTo>
                    <a:pt x="28" y="66"/>
                  </a:lnTo>
                  <a:lnTo>
                    <a:pt x="26" y="66"/>
                  </a:lnTo>
                  <a:lnTo>
                    <a:pt x="26" y="69"/>
                  </a:lnTo>
                  <a:lnTo>
                    <a:pt x="26" y="66"/>
                  </a:lnTo>
                  <a:lnTo>
                    <a:pt x="26" y="64"/>
                  </a:lnTo>
                  <a:lnTo>
                    <a:pt x="28" y="61"/>
                  </a:lnTo>
                  <a:lnTo>
                    <a:pt x="28" y="59"/>
                  </a:lnTo>
                  <a:lnTo>
                    <a:pt x="28" y="57"/>
                  </a:lnTo>
                  <a:lnTo>
                    <a:pt x="28" y="54"/>
                  </a:lnTo>
                  <a:lnTo>
                    <a:pt x="28" y="52"/>
                  </a:lnTo>
                  <a:lnTo>
                    <a:pt x="28" y="50"/>
                  </a:lnTo>
                  <a:lnTo>
                    <a:pt x="28" y="47"/>
                  </a:lnTo>
                  <a:lnTo>
                    <a:pt x="30" y="47"/>
                  </a:lnTo>
                  <a:lnTo>
                    <a:pt x="33" y="47"/>
                  </a:lnTo>
                  <a:lnTo>
                    <a:pt x="33" y="50"/>
                  </a:lnTo>
                  <a:lnTo>
                    <a:pt x="35" y="50"/>
                  </a:lnTo>
                  <a:lnTo>
                    <a:pt x="35" y="52"/>
                  </a:lnTo>
                  <a:lnTo>
                    <a:pt x="35" y="50"/>
                  </a:lnTo>
                  <a:lnTo>
                    <a:pt x="38" y="50"/>
                  </a:lnTo>
                  <a:lnTo>
                    <a:pt x="38" y="52"/>
                  </a:lnTo>
                  <a:lnTo>
                    <a:pt x="40" y="50"/>
                  </a:lnTo>
                  <a:lnTo>
                    <a:pt x="42" y="5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5" name="Freeform 55042"/>
            <p:cNvSpPr>
              <a:spLocks noEditPoints="1"/>
            </p:cNvSpPr>
            <p:nvPr/>
          </p:nvSpPr>
          <p:spPr bwMode="auto">
            <a:xfrm>
              <a:off x="3087685" y="4833954"/>
              <a:ext cx="496888" cy="346076"/>
            </a:xfrm>
            <a:custGeom>
              <a:avLst/>
              <a:gdLst>
                <a:gd name="T0" fmla="*/ 254 w 313"/>
                <a:gd name="T1" fmla="*/ 202 h 218"/>
                <a:gd name="T2" fmla="*/ 230 w 313"/>
                <a:gd name="T3" fmla="*/ 194 h 218"/>
                <a:gd name="T4" fmla="*/ 204 w 313"/>
                <a:gd name="T5" fmla="*/ 199 h 218"/>
                <a:gd name="T6" fmla="*/ 185 w 313"/>
                <a:gd name="T7" fmla="*/ 209 h 218"/>
                <a:gd name="T8" fmla="*/ 164 w 313"/>
                <a:gd name="T9" fmla="*/ 213 h 218"/>
                <a:gd name="T10" fmla="*/ 145 w 313"/>
                <a:gd name="T11" fmla="*/ 211 h 218"/>
                <a:gd name="T12" fmla="*/ 123 w 313"/>
                <a:gd name="T13" fmla="*/ 211 h 218"/>
                <a:gd name="T14" fmla="*/ 102 w 313"/>
                <a:gd name="T15" fmla="*/ 206 h 218"/>
                <a:gd name="T16" fmla="*/ 88 w 313"/>
                <a:gd name="T17" fmla="*/ 202 h 218"/>
                <a:gd name="T18" fmla="*/ 78 w 313"/>
                <a:gd name="T19" fmla="*/ 187 h 218"/>
                <a:gd name="T20" fmla="*/ 81 w 313"/>
                <a:gd name="T21" fmla="*/ 173 h 218"/>
                <a:gd name="T22" fmla="*/ 64 w 313"/>
                <a:gd name="T23" fmla="*/ 178 h 218"/>
                <a:gd name="T24" fmla="*/ 45 w 313"/>
                <a:gd name="T25" fmla="*/ 168 h 218"/>
                <a:gd name="T26" fmla="*/ 43 w 313"/>
                <a:gd name="T27" fmla="*/ 159 h 218"/>
                <a:gd name="T28" fmla="*/ 40 w 313"/>
                <a:gd name="T29" fmla="*/ 147 h 218"/>
                <a:gd name="T30" fmla="*/ 26 w 313"/>
                <a:gd name="T31" fmla="*/ 140 h 218"/>
                <a:gd name="T32" fmla="*/ 17 w 313"/>
                <a:gd name="T33" fmla="*/ 126 h 218"/>
                <a:gd name="T34" fmla="*/ 14 w 313"/>
                <a:gd name="T35" fmla="*/ 116 h 218"/>
                <a:gd name="T36" fmla="*/ 7 w 313"/>
                <a:gd name="T37" fmla="*/ 99 h 218"/>
                <a:gd name="T38" fmla="*/ 24 w 313"/>
                <a:gd name="T39" fmla="*/ 95 h 218"/>
                <a:gd name="T40" fmla="*/ 36 w 313"/>
                <a:gd name="T41" fmla="*/ 80 h 218"/>
                <a:gd name="T42" fmla="*/ 43 w 313"/>
                <a:gd name="T43" fmla="*/ 71 h 218"/>
                <a:gd name="T44" fmla="*/ 47 w 313"/>
                <a:gd name="T45" fmla="*/ 57 h 218"/>
                <a:gd name="T46" fmla="*/ 57 w 313"/>
                <a:gd name="T47" fmla="*/ 38 h 218"/>
                <a:gd name="T48" fmla="*/ 69 w 313"/>
                <a:gd name="T49" fmla="*/ 23 h 218"/>
                <a:gd name="T50" fmla="*/ 85 w 313"/>
                <a:gd name="T51" fmla="*/ 16 h 218"/>
                <a:gd name="T52" fmla="*/ 100 w 313"/>
                <a:gd name="T53" fmla="*/ 7 h 218"/>
                <a:gd name="T54" fmla="*/ 116 w 313"/>
                <a:gd name="T55" fmla="*/ 12 h 218"/>
                <a:gd name="T56" fmla="*/ 130 w 313"/>
                <a:gd name="T57" fmla="*/ 16 h 218"/>
                <a:gd name="T58" fmla="*/ 149 w 313"/>
                <a:gd name="T59" fmla="*/ 19 h 218"/>
                <a:gd name="T60" fmla="*/ 161 w 313"/>
                <a:gd name="T61" fmla="*/ 21 h 218"/>
                <a:gd name="T62" fmla="*/ 187 w 313"/>
                <a:gd name="T63" fmla="*/ 14 h 218"/>
                <a:gd name="T64" fmla="*/ 199 w 313"/>
                <a:gd name="T65" fmla="*/ 4 h 218"/>
                <a:gd name="T66" fmla="*/ 216 w 313"/>
                <a:gd name="T67" fmla="*/ 0 h 218"/>
                <a:gd name="T68" fmla="*/ 223 w 313"/>
                <a:gd name="T69" fmla="*/ 7 h 218"/>
                <a:gd name="T70" fmla="*/ 230 w 313"/>
                <a:gd name="T71" fmla="*/ 23 h 218"/>
                <a:gd name="T72" fmla="*/ 240 w 313"/>
                <a:gd name="T73" fmla="*/ 35 h 218"/>
                <a:gd name="T74" fmla="*/ 242 w 313"/>
                <a:gd name="T75" fmla="*/ 42 h 218"/>
                <a:gd name="T76" fmla="*/ 249 w 313"/>
                <a:gd name="T77" fmla="*/ 50 h 218"/>
                <a:gd name="T78" fmla="*/ 256 w 313"/>
                <a:gd name="T79" fmla="*/ 59 h 218"/>
                <a:gd name="T80" fmla="*/ 261 w 313"/>
                <a:gd name="T81" fmla="*/ 73 h 218"/>
                <a:gd name="T82" fmla="*/ 263 w 313"/>
                <a:gd name="T83" fmla="*/ 85 h 218"/>
                <a:gd name="T84" fmla="*/ 261 w 313"/>
                <a:gd name="T85" fmla="*/ 92 h 218"/>
                <a:gd name="T86" fmla="*/ 261 w 313"/>
                <a:gd name="T87" fmla="*/ 97 h 218"/>
                <a:gd name="T88" fmla="*/ 259 w 313"/>
                <a:gd name="T89" fmla="*/ 107 h 218"/>
                <a:gd name="T90" fmla="*/ 259 w 313"/>
                <a:gd name="T91" fmla="*/ 123 h 218"/>
                <a:gd name="T92" fmla="*/ 266 w 313"/>
                <a:gd name="T93" fmla="*/ 135 h 218"/>
                <a:gd name="T94" fmla="*/ 282 w 313"/>
                <a:gd name="T95" fmla="*/ 145 h 218"/>
                <a:gd name="T96" fmla="*/ 282 w 313"/>
                <a:gd name="T97" fmla="*/ 145 h 218"/>
                <a:gd name="T98" fmla="*/ 289 w 313"/>
                <a:gd name="T99" fmla="*/ 137 h 218"/>
                <a:gd name="T100" fmla="*/ 304 w 313"/>
                <a:gd name="T101" fmla="*/ 135 h 218"/>
                <a:gd name="T102" fmla="*/ 308 w 313"/>
                <a:gd name="T103" fmla="*/ 147 h 218"/>
                <a:gd name="T104" fmla="*/ 301 w 313"/>
                <a:gd name="T105" fmla="*/ 154 h 218"/>
                <a:gd name="T106" fmla="*/ 301 w 313"/>
                <a:gd name="T107" fmla="*/ 161 h 218"/>
                <a:gd name="T108" fmla="*/ 285 w 313"/>
                <a:gd name="T109" fmla="*/ 175 h 218"/>
                <a:gd name="T110" fmla="*/ 278 w 313"/>
                <a:gd name="T111" fmla="*/ 192 h 218"/>
                <a:gd name="T112" fmla="*/ 278 w 313"/>
                <a:gd name="T113" fmla="*/ 194 h 218"/>
                <a:gd name="T114" fmla="*/ 301 w 313"/>
                <a:gd name="T115" fmla="*/ 154 h 218"/>
                <a:gd name="T116" fmla="*/ 292 w 313"/>
                <a:gd name="T117" fmla="*/ 149 h 218"/>
                <a:gd name="T118" fmla="*/ 292 w 313"/>
                <a:gd name="T119" fmla="*/ 14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3" h="218">
                  <a:moveTo>
                    <a:pt x="275" y="209"/>
                  </a:moveTo>
                  <a:lnTo>
                    <a:pt x="273" y="209"/>
                  </a:lnTo>
                  <a:lnTo>
                    <a:pt x="275" y="209"/>
                  </a:lnTo>
                  <a:lnTo>
                    <a:pt x="275" y="211"/>
                  </a:lnTo>
                  <a:lnTo>
                    <a:pt x="275" y="213"/>
                  </a:lnTo>
                  <a:lnTo>
                    <a:pt x="270" y="213"/>
                  </a:lnTo>
                  <a:lnTo>
                    <a:pt x="266" y="211"/>
                  </a:lnTo>
                  <a:lnTo>
                    <a:pt x="263" y="211"/>
                  </a:lnTo>
                  <a:lnTo>
                    <a:pt x="259" y="209"/>
                  </a:lnTo>
                  <a:lnTo>
                    <a:pt x="256" y="209"/>
                  </a:lnTo>
                  <a:lnTo>
                    <a:pt x="254" y="204"/>
                  </a:lnTo>
                  <a:lnTo>
                    <a:pt x="254" y="202"/>
                  </a:lnTo>
                  <a:lnTo>
                    <a:pt x="251" y="199"/>
                  </a:lnTo>
                  <a:lnTo>
                    <a:pt x="249" y="202"/>
                  </a:lnTo>
                  <a:lnTo>
                    <a:pt x="247" y="202"/>
                  </a:lnTo>
                  <a:lnTo>
                    <a:pt x="244" y="202"/>
                  </a:lnTo>
                  <a:lnTo>
                    <a:pt x="244" y="199"/>
                  </a:lnTo>
                  <a:lnTo>
                    <a:pt x="242" y="199"/>
                  </a:lnTo>
                  <a:lnTo>
                    <a:pt x="237" y="199"/>
                  </a:lnTo>
                  <a:lnTo>
                    <a:pt x="235" y="199"/>
                  </a:lnTo>
                  <a:lnTo>
                    <a:pt x="235" y="197"/>
                  </a:lnTo>
                  <a:lnTo>
                    <a:pt x="232" y="197"/>
                  </a:lnTo>
                  <a:lnTo>
                    <a:pt x="232" y="194"/>
                  </a:lnTo>
                  <a:lnTo>
                    <a:pt x="230" y="194"/>
                  </a:lnTo>
                  <a:lnTo>
                    <a:pt x="228" y="194"/>
                  </a:lnTo>
                  <a:lnTo>
                    <a:pt x="225" y="194"/>
                  </a:lnTo>
                  <a:lnTo>
                    <a:pt x="223" y="194"/>
                  </a:lnTo>
                  <a:lnTo>
                    <a:pt x="221" y="194"/>
                  </a:lnTo>
                  <a:lnTo>
                    <a:pt x="218" y="194"/>
                  </a:lnTo>
                  <a:lnTo>
                    <a:pt x="216" y="194"/>
                  </a:lnTo>
                  <a:lnTo>
                    <a:pt x="216" y="197"/>
                  </a:lnTo>
                  <a:lnTo>
                    <a:pt x="213" y="197"/>
                  </a:lnTo>
                  <a:lnTo>
                    <a:pt x="211" y="197"/>
                  </a:lnTo>
                  <a:lnTo>
                    <a:pt x="209" y="197"/>
                  </a:lnTo>
                  <a:lnTo>
                    <a:pt x="206" y="197"/>
                  </a:lnTo>
                  <a:lnTo>
                    <a:pt x="204" y="199"/>
                  </a:lnTo>
                  <a:lnTo>
                    <a:pt x="202" y="199"/>
                  </a:lnTo>
                  <a:lnTo>
                    <a:pt x="199" y="199"/>
                  </a:lnTo>
                  <a:lnTo>
                    <a:pt x="197" y="199"/>
                  </a:lnTo>
                  <a:lnTo>
                    <a:pt x="197" y="202"/>
                  </a:lnTo>
                  <a:lnTo>
                    <a:pt x="194" y="202"/>
                  </a:lnTo>
                  <a:lnTo>
                    <a:pt x="192" y="202"/>
                  </a:lnTo>
                  <a:lnTo>
                    <a:pt x="192" y="204"/>
                  </a:lnTo>
                  <a:lnTo>
                    <a:pt x="190" y="204"/>
                  </a:lnTo>
                  <a:lnTo>
                    <a:pt x="190" y="206"/>
                  </a:lnTo>
                  <a:lnTo>
                    <a:pt x="187" y="206"/>
                  </a:lnTo>
                  <a:lnTo>
                    <a:pt x="187" y="209"/>
                  </a:lnTo>
                  <a:lnTo>
                    <a:pt x="185" y="209"/>
                  </a:lnTo>
                  <a:lnTo>
                    <a:pt x="185" y="211"/>
                  </a:lnTo>
                  <a:lnTo>
                    <a:pt x="183" y="211"/>
                  </a:lnTo>
                  <a:lnTo>
                    <a:pt x="183" y="213"/>
                  </a:lnTo>
                  <a:lnTo>
                    <a:pt x="180" y="213"/>
                  </a:lnTo>
                  <a:lnTo>
                    <a:pt x="178" y="216"/>
                  </a:lnTo>
                  <a:lnTo>
                    <a:pt x="176" y="216"/>
                  </a:lnTo>
                  <a:lnTo>
                    <a:pt x="173" y="216"/>
                  </a:lnTo>
                  <a:lnTo>
                    <a:pt x="171" y="218"/>
                  </a:lnTo>
                  <a:lnTo>
                    <a:pt x="168" y="218"/>
                  </a:lnTo>
                  <a:lnTo>
                    <a:pt x="166" y="216"/>
                  </a:lnTo>
                  <a:lnTo>
                    <a:pt x="164" y="216"/>
                  </a:lnTo>
                  <a:lnTo>
                    <a:pt x="164" y="213"/>
                  </a:lnTo>
                  <a:lnTo>
                    <a:pt x="161" y="213"/>
                  </a:lnTo>
                  <a:lnTo>
                    <a:pt x="161" y="216"/>
                  </a:lnTo>
                  <a:lnTo>
                    <a:pt x="159" y="216"/>
                  </a:lnTo>
                  <a:lnTo>
                    <a:pt x="159" y="213"/>
                  </a:lnTo>
                  <a:lnTo>
                    <a:pt x="157" y="213"/>
                  </a:lnTo>
                  <a:lnTo>
                    <a:pt x="154" y="213"/>
                  </a:lnTo>
                  <a:lnTo>
                    <a:pt x="152" y="213"/>
                  </a:lnTo>
                  <a:lnTo>
                    <a:pt x="149" y="213"/>
                  </a:lnTo>
                  <a:lnTo>
                    <a:pt x="149" y="216"/>
                  </a:lnTo>
                  <a:lnTo>
                    <a:pt x="147" y="216"/>
                  </a:lnTo>
                  <a:lnTo>
                    <a:pt x="145" y="213"/>
                  </a:lnTo>
                  <a:lnTo>
                    <a:pt x="145" y="211"/>
                  </a:lnTo>
                  <a:lnTo>
                    <a:pt x="142" y="211"/>
                  </a:lnTo>
                  <a:lnTo>
                    <a:pt x="140" y="211"/>
                  </a:lnTo>
                  <a:lnTo>
                    <a:pt x="138" y="211"/>
                  </a:lnTo>
                  <a:lnTo>
                    <a:pt x="138" y="213"/>
                  </a:lnTo>
                  <a:lnTo>
                    <a:pt x="135" y="213"/>
                  </a:lnTo>
                  <a:lnTo>
                    <a:pt x="133" y="213"/>
                  </a:lnTo>
                  <a:lnTo>
                    <a:pt x="130" y="213"/>
                  </a:lnTo>
                  <a:lnTo>
                    <a:pt x="130" y="216"/>
                  </a:lnTo>
                  <a:lnTo>
                    <a:pt x="128" y="216"/>
                  </a:lnTo>
                  <a:lnTo>
                    <a:pt x="128" y="213"/>
                  </a:lnTo>
                  <a:lnTo>
                    <a:pt x="126" y="213"/>
                  </a:lnTo>
                  <a:lnTo>
                    <a:pt x="123" y="211"/>
                  </a:lnTo>
                  <a:lnTo>
                    <a:pt x="121" y="211"/>
                  </a:lnTo>
                  <a:lnTo>
                    <a:pt x="119" y="211"/>
                  </a:lnTo>
                  <a:lnTo>
                    <a:pt x="116" y="211"/>
                  </a:lnTo>
                  <a:lnTo>
                    <a:pt x="116" y="209"/>
                  </a:lnTo>
                  <a:lnTo>
                    <a:pt x="114" y="209"/>
                  </a:lnTo>
                  <a:lnTo>
                    <a:pt x="111" y="209"/>
                  </a:lnTo>
                  <a:lnTo>
                    <a:pt x="111" y="211"/>
                  </a:lnTo>
                  <a:lnTo>
                    <a:pt x="111" y="209"/>
                  </a:lnTo>
                  <a:lnTo>
                    <a:pt x="109" y="209"/>
                  </a:lnTo>
                  <a:lnTo>
                    <a:pt x="107" y="209"/>
                  </a:lnTo>
                  <a:lnTo>
                    <a:pt x="104" y="206"/>
                  </a:lnTo>
                  <a:lnTo>
                    <a:pt x="102" y="206"/>
                  </a:lnTo>
                  <a:lnTo>
                    <a:pt x="100" y="206"/>
                  </a:lnTo>
                  <a:lnTo>
                    <a:pt x="100" y="209"/>
                  </a:lnTo>
                  <a:lnTo>
                    <a:pt x="97" y="209"/>
                  </a:lnTo>
                  <a:lnTo>
                    <a:pt x="95" y="209"/>
                  </a:lnTo>
                  <a:lnTo>
                    <a:pt x="92" y="209"/>
                  </a:lnTo>
                  <a:lnTo>
                    <a:pt x="90" y="209"/>
                  </a:lnTo>
                  <a:lnTo>
                    <a:pt x="88" y="209"/>
                  </a:lnTo>
                  <a:lnTo>
                    <a:pt x="85" y="209"/>
                  </a:lnTo>
                  <a:lnTo>
                    <a:pt x="85" y="206"/>
                  </a:lnTo>
                  <a:lnTo>
                    <a:pt x="85" y="204"/>
                  </a:lnTo>
                  <a:lnTo>
                    <a:pt x="85" y="202"/>
                  </a:lnTo>
                  <a:lnTo>
                    <a:pt x="88" y="202"/>
                  </a:lnTo>
                  <a:lnTo>
                    <a:pt x="88" y="199"/>
                  </a:lnTo>
                  <a:lnTo>
                    <a:pt x="90" y="199"/>
                  </a:lnTo>
                  <a:lnTo>
                    <a:pt x="92" y="197"/>
                  </a:lnTo>
                  <a:lnTo>
                    <a:pt x="90" y="197"/>
                  </a:lnTo>
                  <a:lnTo>
                    <a:pt x="88" y="197"/>
                  </a:lnTo>
                  <a:lnTo>
                    <a:pt x="88" y="194"/>
                  </a:lnTo>
                  <a:lnTo>
                    <a:pt x="85" y="194"/>
                  </a:lnTo>
                  <a:lnTo>
                    <a:pt x="85" y="192"/>
                  </a:lnTo>
                  <a:lnTo>
                    <a:pt x="83" y="192"/>
                  </a:lnTo>
                  <a:lnTo>
                    <a:pt x="81" y="190"/>
                  </a:lnTo>
                  <a:lnTo>
                    <a:pt x="81" y="187"/>
                  </a:lnTo>
                  <a:lnTo>
                    <a:pt x="78" y="187"/>
                  </a:lnTo>
                  <a:lnTo>
                    <a:pt x="76" y="187"/>
                  </a:lnTo>
                  <a:lnTo>
                    <a:pt x="76" y="185"/>
                  </a:lnTo>
                  <a:lnTo>
                    <a:pt x="73" y="183"/>
                  </a:lnTo>
                  <a:lnTo>
                    <a:pt x="73" y="180"/>
                  </a:lnTo>
                  <a:lnTo>
                    <a:pt x="73" y="178"/>
                  </a:lnTo>
                  <a:lnTo>
                    <a:pt x="76" y="178"/>
                  </a:lnTo>
                  <a:lnTo>
                    <a:pt x="76" y="175"/>
                  </a:lnTo>
                  <a:lnTo>
                    <a:pt x="78" y="175"/>
                  </a:lnTo>
                  <a:lnTo>
                    <a:pt x="81" y="175"/>
                  </a:lnTo>
                  <a:lnTo>
                    <a:pt x="83" y="175"/>
                  </a:lnTo>
                  <a:lnTo>
                    <a:pt x="83" y="173"/>
                  </a:lnTo>
                  <a:lnTo>
                    <a:pt x="81" y="173"/>
                  </a:lnTo>
                  <a:lnTo>
                    <a:pt x="81" y="171"/>
                  </a:lnTo>
                  <a:lnTo>
                    <a:pt x="78" y="171"/>
                  </a:lnTo>
                  <a:lnTo>
                    <a:pt x="76" y="171"/>
                  </a:lnTo>
                  <a:lnTo>
                    <a:pt x="73" y="166"/>
                  </a:lnTo>
                  <a:lnTo>
                    <a:pt x="71" y="166"/>
                  </a:lnTo>
                  <a:lnTo>
                    <a:pt x="71" y="168"/>
                  </a:lnTo>
                  <a:lnTo>
                    <a:pt x="69" y="168"/>
                  </a:lnTo>
                  <a:lnTo>
                    <a:pt x="66" y="171"/>
                  </a:lnTo>
                  <a:lnTo>
                    <a:pt x="66" y="173"/>
                  </a:lnTo>
                  <a:lnTo>
                    <a:pt x="64" y="173"/>
                  </a:lnTo>
                  <a:lnTo>
                    <a:pt x="64" y="175"/>
                  </a:lnTo>
                  <a:lnTo>
                    <a:pt x="64" y="178"/>
                  </a:lnTo>
                  <a:lnTo>
                    <a:pt x="62" y="178"/>
                  </a:lnTo>
                  <a:lnTo>
                    <a:pt x="59" y="178"/>
                  </a:lnTo>
                  <a:lnTo>
                    <a:pt x="59" y="175"/>
                  </a:lnTo>
                  <a:lnTo>
                    <a:pt x="59" y="173"/>
                  </a:lnTo>
                  <a:lnTo>
                    <a:pt x="57" y="173"/>
                  </a:lnTo>
                  <a:lnTo>
                    <a:pt x="57" y="171"/>
                  </a:lnTo>
                  <a:lnTo>
                    <a:pt x="55" y="171"/>
                  </a:lnTo>
                  <a:lnTo>
                    <a:pt x="52" y="171"/>
                  </a:lnTo>
                  <a:lnTo>
                    <a:pt x="50" y="171"/>
                  </a:lnTo>
                  <a:lnTo>
                    <a:pt x="47" y="171"/>
                  </a:lnTo>
                  <a:lnTo>
                    <a:pt x="47" y="168"/>
                  </a:lnTo>
                  <a:lnTo>
                    <a:pt x="45" y="168"/>
                  </a:lnTo>
                  <a:lnTo>
                    <a:pt x="45" y="166"/>
                  </a:lnTo>
                  <a:lnTo>
                    <a:pt x="43" y="164"/>
                  </a:lnTo>
                  <a:lnTo>
                    <a:pt x="40" y="164"/>
                  </a:lnTo>
                  <a:lnTo>
                    <a:pt x="38" y="164"/>
                  </a:lnTo>
                  <a:lnTo>
                    <a:pt x="38" y="161"/>
                  </a:lnTo>
                  <a:lnTo>
                    <a:pt x="36" y="161"/>
                  </a:lnTo>
                  <a:lnTo>
                    <a:pt x="38" y="161"/>
                  </a:lnTo>
                  <a:lnTo>
                    <a:pt x="38" y="159"/>
                  </a:lnTo>
                  <a:lnTo>
                    <a:pt x="40" y="159"/>
                  </a:lnTo>
                  <a:lnTo>
                    <a:pt x="38" y="159"/>
                  </a:lnTo>
                  <a:lnTo>
                    <a:pt x="40" y="159"/>
                  </a:lnTo>
                  <a:lnTo>
                    <a:pt x="43" y="159"/>
                  </a:lnTo>
                  <a:lnTo>
                    <a:pt x="43" y="156"/>
                  </a:lnTo>
                  <a:lnTo>
                    <a:pt x="40" y="156"/>
                  </a:lnTo>
                  <a:lnTo>
                    <a:pt x="38" y="156"/>
                  </a:lnTo>
                  <a:lnTo>
                    <a:pt x="38" y="154"/>
                  </a:lnTo>
                  <a:lnTo>
                    <a:pt x="36" y="154"/>
                  </a:lnTo>
                  <a:lnTo>
                    <a:pt x="36" y="152"/>
                  </a:lnTo>
                  <a:lnTo>
                    <a:pt x="38" y="152"/>
                  </a:lnTo>
                  <a:lnTo>
                    <a:pt x="40" y="152"/>
                  </a:lnTo>
                  <a:lnTo>
                    <a:pt x="38" y="152"/>
                  </a:lnTo>
                  <a:lnTo>
                    <a:pt x="40" y="152"/>
                  </a:lnTo>
                  <a:lnTo>
                    <a:pt x="40" y="149"/>
                  </a:lnTo>
                  <a:lnTo>
                    <a:pt x="40" y="147"/>
                  </a:lnTo>
                  <a:lnTo>
                    <a:pt x="43" y="147"/>
                  </a:lnTo>
                  <a:lnTo>
                    <a:pt x="40" y="145"/>
                  </a:lnTo>
                  <a:lnTo>
                    <a:pt x="38" y="145"/>
                  </a:lnTo>
                  <a:lnTo>
                    <a:pt x="38" y="142"/>
                  </a:lnTo>
                  <a:lnTo>
                    <a:pt x="38" y="145"/>
                  </a:lnTo>
                  <a:lnTo>
                    <a:pt x="36" y="142"/>
                  </a:lnTo>
                  <a:lnTo>
                    <a:pt x="33" y="142"/>
                  </a:lnTo>
                  <a:lnTo>
                    <a:pt x="31" y="142"/>
                  </a:lnTo>
                  <a:lnTo>
                    <a:pt x="31" y="140"/>
                  </a:lnTo>
                  <a:lnTo>
                    <a:pt x="31" y="137"/>
                  </a:lnTo>
                  <a:lnTo>
                    <a:pt x="28" y="140"/>
                  </a:lnTo>
                  <a:lnTo>
                    <a:pt x="26" y="140"/>
                  </a:lnTo>
                  <a:lnTo>
                    <a:pt x="26" y="137"/>
                  </a:lnTo>
                  <a:lnTo>
                    <a:pt x="24" y="137"/>
                  </a:lnTo>
                  <a:lnTo>
                    <a:pt x="24" y="135"/>
                  </a:lnTo>
                  <a:lnTo>
                    <a:pt x="21" y="135"/>
                  </a:lnTo>
                  <a:lnTo>
                    <a:pt x="21" y="133"/>
                  </a:lnTo>
                  <a:lnTo>
                    <a:pt x="19" y="133"/>
                  </a:lnTo>
                  <a:lnTo>
                    <a:pt x="19" y="130"/>
                  </a:lnTo>
                  <a:lnTo>
                    <a:pt x="17" y="130"/>
                  </a:lnTo>
                  <a:lnTo>
                    <a:pt x="19" y="130"/>
                  </a:lnTo>
                  <a:lnTo>
                    <a:pt x="19" y="128"/>
                  </a:lnTo>
                  <a:lnTo>
                    <a:pt x="19" y="126"/>
                  </a:lnTo>
                  <a:lnTo>
                    <a:pt x="17" y="126"/>
                  </a:lnTo>
                  <a:lnTo>
                    <a:pt x="17" y="123"/>
                  </a:lnTo>
                  <a:lnTo>
                    <a:pt x="19" y="123"/>
                  </a:lnTo>
                  <a:lnTo>
                    <a:pt x="19" y="121"/>
                  </a:lnTo>
                  <a:lnTo>
                    <a:pt x="17" y="121"/>
                  </a:lnTo>
                  <a:lnTo>
                    <a:pt x="19" y="121"/>
                  </a:lnTo>
                  <a:lnTo>
                    <a:pt x="19" y="118"/>
                  </a:lnTo>
                  <a:lnTo>
                    <a:pt x="17" y="116"/>
                  </a:lnTo>
                  <a:lnTo>
                    <a:pt x="17" y="118"/>
                  </a:lnTo>
                  <a:lnTo>
                    <a:pt x="14" y="118"/>
                  </a:lnTo>
                  <a:lnTo>
                    <a:pt x="14" y="116"/>
                  </a:lnTo>
                  <a:lnTo>
                    <a:pt x="12" y="116"/>
                  </a:lnTo>
                  <a:lnTo>
                    <a:pt x="14" y="116"/>
                  </a:lnTo>
                  <a:lnTo>
                    <a:pt x="12" y="114"/>
                  </a:lnTo>
                  <a:lnTo>
                    <a:pt x="9" y="114"/>
                  </a:lnTo>
                  <a:lnTo>
                    <a:pt x="9" y="111"/>
                  </a:lnTo>
                  <a:lnTo>
                    <a:pt x="7" y="109"/>
                  </a:lnTo>
                  <a:lnTo>
                    <a:pt x="5" y="109"/>
                  </a:lnTo>
                  <a:lnTo>
                    <a:pt x="2" y="107"/>
                  </a:lnTo>
                  <a:lnTo>
                    <a:pt x="2" y="104"/>
                  </a:lnTo>
                  <a:lnTo>
                    <a:pt x="2" y="102"/>
                  </a:lnTo>
                  <a:lnTo>
                    <a:pt x="0" y="102"/>
                  </a:lnTo>
                  <a:lnTo>
                    <a:pt x="2" y="99"/>
                  </a:lnTo>
                  <a:lnTo>
                    <a:pt x="5" y="99"/>
                  </a:lnTo>
                  <a:lnTo>
                    <a:pt x="7" y="99"/>
                  </a:lnTo>
                  <a:lnTo>
                    <a:pt x="7" y="97"/>
                  </a:lnTo>
                  <a:lnTo>
                    <a:pt x="9" y="99"/>
                  </a:lnTo>
                  <a:lnTo>
                    <a:pt x="12" y="99"/>
                  </a:lnTo>
                  <a:lnTo>
                    <a:pt x="12" y="102"/>
                  </a:lnTo>
                  <a:lnTo>
                    <a:pt x="12" y="99"/>
                  </a:lnTo>
                  <a:lnTo>
                    <a:pt x="14" y="99"/>
                  </a:lnTo>
                  <a:lnTo>
                    <a:pt x="14" y="97"/>
                  </a:lnTo>
                  <a:lnTo>
                    <a:pt x="17" y="97"/>
                  </a:lnTo>
                  <a:lnTo>
                    <a:pt x="17" y="95"/>
                  </a:lnTo>
                  <a:lnTo>
                    <a:pt x="21" y="92"/>
                  </a:lnTo>
                  <a:lnTo>
                    <a:pt x="21" y="95"/>
                  </a:lnTo>
                  <a:lnTo>
                    <a:pt x="24" y="95"/>
                  </a:lnTo>
                  <a:lnTo>
                    <a:pt x="26" y="95"/>
                  </a:lnTo>
                  <a:lnTo>
                    <a:pt x="28" y="95"/>
                  </a:lnTo>
                  <a:lnTo>
                    <a:pt x="28" y="92"/>
                  </a:lnTo>
                  <a:lnTo>
                    <a:pt x="31" y="92"/>
                  </a:lnTo>
                  <a:lnTo>
                    <a:pt x="31" y="90"/>
                  </a:lnTo>
                  <a:lnTo>
                    <a:pt x="31" y="88"/>
                  </a:lnTo>
                  <a:lnTo>
                    <a:pt x="33" y="88"/>
                  </a:lnTo>
                  <a:lnTo>
                    <a:pt x="36" y="85"/>
                  </a:lnTo>
                  <a:lnTo>
                    <a:pt x="33" y="85"/>
                  </a:lnTo>
                  <a:lnTo>
                    <a:pt x="33" y="83"/>
                  </a:lnTo>
                  <a:lnTo>
                    <a:pt x="33" y="80"/>
                  </a:lnTo>
                  <a:lnTo>
                    <a:pt x="36" y="80"/>
                  </a:lnTo>
                  <a:lnTo>
                    <a:pt x="36" y="78"/>
                  </a:lnTo>
                  <a:lnTo>
                    <a:pt x="36" y="76"/>
                  </a:lnTo>
                  <a:lnTo>
                    <a:pt x="38" y="78"/>
                  </a:lnTo>
                  <a:lnTo>
                    <a:pt x="38" y="76"/>
                  </a:lnTo>
                  <a:lnTo>
                    <a:pt x="40" y="76"/>
                  </a:lnTo>
                  <a:lnTo>
                    <a:pt x="38" y="76"/>
                  </a:lnTo>
                  <a:lnTo>
                    <a:pt x="38" y="73"/>
                  </a:lnTo>
                  <a:lnTo>
                    <a:pt x="40" y="73"/>
                  </a:lnTo>
                  <a:lnTo>
                    <a:pt x="40" y="76"/>
                  </a:lnTo>
                  <a:lnTo>
                    <a:pt x="40" y="73"/>
                  </a:lnTo>
                  <a:lnTo>
                    <a:pt x="43" y="73"/>
                  </a:lnTo>
                  <a:lnTo>
                    <a:pt x="43" y="71"/>
                  </a:lnTo>
                  <a:lnTo>
                    <a:pt x="40" y="71"/>
                  </a:lnTo>
                  <a:lnTo>
                    <a:pt x="40" y="69"/>
                  </a:lnTo>
                  <a:lnTo>
                    <a:pt x="43" y="69"/>
                  </a:lnTo>
                  <a:lnTo>
                    <a:pt x="43" y="66"/>
                  </a:lnTo>
                  <a:lnTo>
                    <a:pt x="45" y="66"/>
                  </a:lnTo>
                  <a:lnTo>
                    <a:pt x="45" y="64"/>
                  </a:lnTo>
                  <a:lnTo>
                    <a:pt x="45" y="61"/>
                  </a:lnTo>
                  <a:lnTo>
                    <a:pt x="47" y="61"/>
                  </a:lnTo>
                  <a:lnTo>
                    <a:pt x="47" y="59"/>
                  </a:lnTo>
                  <a:lnTo>
                    <a:pt x="45" y="59"/>
                  </a:lnTo>
                  <a:lnTo>
                    <a:pt x="45" y="57"/>
                  </a:lnTo>
                  <a:lnTo>
                    <a:pt x="47" y="57"/>
                  </a:lnTo>
                  <a:lnTo>
                    <a:pt x="47" y="54"/>
                  </a:lnTo>
                  <a:lnTo>
                    <a:pt x="50" y="54"/>
                  </a:lnTo>
                  <a:lnTo>
                    <a:pt x="52" y="52"/>
                  </a:lnTo>
                  <a:lnTo>
                    <a:pt x="52" y="50"/>
                  </a:lnTo>
                  <a:lnTo>
                    <a:pt x="52" y="47"/>
                  </a:lnTo>
                  <a:lnTo>
                    <a:pt x="55" y="47"/>
                  </a:lnTo>
                  <a:lnTo>
                    <a:pt x="55" y="45"/>
                  </a:lnTo>
                  <a:lnTo>
                    <a:pt x="55" y="42"/>
                  </a:lnTo>
                  <a:lnTo>
                    <a:pt x="57" y="42"/>
                  </a:lnTo>
                  <a:lnTo>
                    <a:pt x="59" y="40"/>
                  </a:lnTo>
                  <a:lnTo>
                    <a:pt x="59" y="38"/>
                  </a:lnTo>
                  <a:lnTo>
                    <a:pt x="57" y="38"/>
                  </a:lnTo>
                  <a:lnTo>
                    <a:pt x="57" y="35"/>
                  </a:lnTo>
                  <a:lnTo>
                    <a:pt x="59" y="35"/>
                  </a:lnTo>
                  <a:lnTo>
                    <a:pt x="59" y="33"/>
                  </a:lnTo>
                  <a:lnTo>
                    <a:pt x="59" y="35"/>
                  </a:lnTo>
                  <a:lnTo>
                    <a:pt x="59" y="33"/>
                  </a:lnTo>
                  <a:lnTo>
                    <a:pt x="62" y="33"/>
                  </a:lnTo>
                  <a:lnTo>
                    <a:pt x="62" y="31"/>
                  </a:lnTo>
                  <a:lnTo>
                    <a:pt x="64" y="31"/>
                  </a:lnTo>
                  <a:lnTo>
                    <a:pt x="64" y="28"/>
                  </a:lnTo>
                  <a:lnTo>
                    <a:pt x="64" y="26"/>
                  </a:lnTo>
                  <a:lnTo>
                    <a:pt x="66" y="26"/>
                  </a:lnTo>
                  <a:lnTo>
                    <a:pt x="69" y="23"/>
                  </a:lnTo>
                  <a:lnTo>
                    <a:pt x="71" y="23"/>
                  </a:lnTo>
                  <a:lnTo>
                    <a:pt x="71" y="21"/>
                  </a:lnTo>
                  <a:lnTo>
                    <a:pt x="73" y="21"/>
                  </a:lnTo>
                  <a:lnTo>
                    <a:pt x="76" y="23"/>
                  </a:lnTo>
                  <a:lnTo>
                    <a:pt x="78" y="23"/>
                  </a:lnTo>
                  <a:lnTo>
                    <a:pt x="81" y="23"/>
                  </a:lnTo>
                  <a:lnTo>
                    <a:pt x="81" y="21"/>
                  </a:lnTo>
                  <a:lnTo>
                    <a:pt x="81" y="19"/>
                  </a:lnTo>
                  <a:lnTo>
                    <a:pt x="83" y="21"/>
                  </a:lnTo>
                  <a:lnTo>
                    <a:pt x="83" y="19"/>
                  </a:lnTo>
                  <a:lnTo>
                    <a:pt x="83" y="16"/>
                  </a:lnTo>
                  <a:lnTo>
                    <a:pt x="85" y="16"/>
                  </a:lnTo>
                  <a:lnTo>
                    <a:pt x="85" y="14"/>
                  </a:lnTo>
                  <a:lnTo>
                    <a:pt x="88" y="14"/>
                  </a:lnTo>
                  <a:lnTo>
                    <a:pt x="88" y="12"/>
                  </a:lnTo>
                  <a:lnTo>
                    <a:pt x="90" y="12"/>
                  </a:lnTo>
                  <a:lnTo>
                    <a:pt x="90" y="14"/>
                  </a:lnTo>
                  <a:lnTo>
                    <a:pt x="90" y="12"/>
                  </a:lnTo>
                  <a:lnTo>
                    <a:pt x="92" y="12"/>
                  </a:lnTo>
                  <a:lnTo>
                    <a:pt x="95" y="12"/>
                  </a:lnTo>
                  <a:lnTo>
                    <a:pt x="95" y="9"/>
                  </a:lnTo>
                  <a:lnTo>
                    <a:pt x="95" y="7"/>
                  </a:lnTo>
                  <a:lnTo>
                    <a:pt x="97" y="7"/>
                  </a:lnTo>
                  <a:lnTo>
                    <a:pt x="100" y="7"/>
                  </a:lnTo>
                  <a:lnTo>
                    <a:pt x="100" y="9"/>
                  </a:lnTo>
                  <a:lnTo>
                    <a:pt x="102" y="9"/>
                  </a:lnTo>
                  <a:lnTo>
                    <a:pt x="102" y="12"/>
                  </a:lnTo>
                  <a:lnTo>
                    <a:pt x="104" y="12"/>
                  </a:lnTo>
                  <a:lnTo>
                    <a:pt x="104" y="14"/>
                  </a:lnTo>
                  <a:lnTo>
                    <a:pt x="107" y="14"/>
                  </a:lnTo>
                  <a:lnTo>
                    <a:pt x="109" y="12"/>
                  </a:lnTo>
                  <a:lnTo>
                    <a:pt x="111" y="12"/>
                  </a:lnTo>
                  <a:lnTo>
                    <a:pt x="111" y="14"/>
                  </a:lnTo>
                  <a:lnTo>
                    <a:pt x="111" y="12"/>
                  </a:lnTo>
                  <a:lnTo>
                    <a:pt x="114" y="12"/>
                  </a:lnTo>
                  <a:lnTo>
                    <a:pt x="116" y="12"/>
                  </a:lnTo>
                  <a:lnTo>
                    <a:pt x="116" y="14"/>
                  </a:lnTo>
                  <a:lnTo>
                    <a:pt x="119" y="14"/>
                  </a:lnTo>
                  <a:lnTo>
                    <a:pt x="116" y="14"/>
                  </a:lnTo>
                  <a:lnTo>
                    <a:pt x="119" y="14"/>
                  </a:lnTo>
                  <a:lnTo>
                    <a:pt x="119" y="16"/>
                  </a:lnTo>
                  <a:lnTo>
                    <a:pt x="119" y="14"/>
                  </a:lnTo>
                  <a:lnTo>
                    <a:pt x="121" y="14"/>
                  </a:lnTo>
                  <a:lnTo>
                    <a:pt x="123" y="14"/>
                  </a:lnTo>
                  <a:lnTo>
                    <a:pt x="126" y="14"/>
                  </a:lnTo>
                  <a:lnTo>
                    <a:pt x="126" y="16"/>
                  </a:lnTo>
                  <a:lnTo>
                    <a:pt x="128" y="16"/>
                  </a:lnTo>
                  <a:lnTo>
                    <a:pt x="130" y="16"/>
                  </a:lnTo>
                  <a:lnTo>
                    <a:pt x="133" y="16"/>
                  </a:lnTo>
                  <a:lnTo>
                    <a:pt x="135" y="16"/>
                  </a:lnTo>
                  <a:lnTo>
                    <a:pt x="135" y="14"/>
                  </a:lnTo>
                  <a:lnTo>
                    <a:pt x="138" y="14"/>
                  </a:lnTo>
                  <a:lnTo>
                    <a:pt x="140" y="14"/>
                  </a:lnTo>
                  <a:lnTo>
                    <a:pt x="142" y="14"/>
                  </a:lnTo>
                  <a:lnTo>
                    <a:pt x="145" y="14"/>
                  </a:lnTo>
                  <a:lnTo>
                    <a:pt x="145" y="16"/>
                  </a:lnTo>
                  <a:lnTo>
                    <a:pt x="145" y="19"/>
                  </a:lnTo>
                  <a:lnTo>
                    <a:pt x="147" y="19"/>
                  </a:lnTo>
                  <a:lnTo>
                    <a:pt x="147" y="21"/>
                  </a:lnTo>
                  <a:lnTo>
                    <a:pt x="149" y="19"/>
                  </a:lnTo>
                  <a:lnTo>
                    <a:pt x="149" y="21"/>
                  </a:lnTo>
                  <a:lnTo>
                    <a:pt x="152" y="21"/>
                  </a:lnTo>
                  <a:lnTo>
                    <a:pt x="149" y="21"/>
                  </a:lnTo>
                  <a:lnTo>
                    <a:pt x="152" y="21"/>
                  </a:lnTo>
                  <a:lnTo>
                    <a:pt x="152" y="23"/>
                  </a:lnTo>
                  <a:lnTo>
                    <a:pt x="152" y="26"/>
                  </a:lnTo>
                  <a:lnTo>
                    <a:pt x="154" y="26"/>
                  </a:lnTo>
                  <a:lnTo>
                    <a:pt x="157" y="26"/>
                  </a:lnTo>
                  <a:lnTo>
                    <a:pt x="159" y="26"/>
                  </a:lnTo>
                  <a:lnTo>
                    <a:pt x="159" y="23"/>
                  </a:lnTo>
                  <a:lnTo>
                    <a:pt x="161" y="23"/>
                  </a:lnTo>
                  <a:lnTo>
                    <a:pt x="161" y="21"/>
                  </a:lnTo>
                  <a:lnTo>
                    <a:pt x="164" y="21"/>
                  </a:lnTo>
                  <a:lnTo>
                    <a:pt x="164" y="19"/>
                  </a:lnTo>
                  <a:lnTo>
                    <a:pt x="164" y="16"/>
                  </a:lnTo>
                  <a:lnTo>
                    <a:pt x="166" y="16"/>
                  </a:lnTo>
                  <a:lnTo>
                    <a:pt x="168" y="16"/>
                  </a:lnTo>
                  <a:lnTo>
                    <a:pt x="173" y="16"/>
                  </a:lnTo>
                  <a:lnTo>
                    <a:pt x="176" y="14"/>
                  </a:lnTo>
                  <a:lnTo>
                    <a:pt x="178" y="14"/>
                  </a:lnTo>
                  <a:lnTo>
                    <a:pt x="180" y="14"/>
                  </a:lnTo>
                  <a:lnTo>
                    <a:pt x="183" y="14"/>
                  </a:lnTo>
                  <a:lnTo>
                    <a:pt x="185" y="14"/>
                  </a:lnTo>
                  <a:lnTo>
                    <a:pt x="187" y="14"/>
                  </a:lnTo>
                  <a:lnTo>
                    <a:pt x="190" y="14"/>
                  </a:lnTo>
                  <a:lnTo>
                    <a:pt x="190" y="12"/>
                  </a:lnTo>
                  <a:lnTo>
                    <a:pt x="192" y="12"/>
                  </a:lnTo>
                  <a:lnTo>
                    <a:pt x="192" y="14"/>
                  </a:lnTo>
                  <a:lnTo>
                    <a:pt x="194" y="12"/>
                  </a:lnTo>
                  <a:lnTo>
                    <a:pt x="194" y="14"/>
                  </a:lnTo>
                  <a:lnTo>
                    <a:pt x="194" y="12"/>
                  </a:lnTo>
                  <a:lnTo>
                    <a:pt x="197" y="12"/>
                  </a:lnTo>
                  <a:lnTo>
                    <a:pt x="197" y="9"/>
                  </a:lnTo>
                  <a:lnTo>
                    <a:pt x="199" y="9"/>
                  </a:lnTo>
                  <a:lnTo>
                    <a:pt x="199" y="7"/>
                  </a:lnTo>
                  <a:lnTo>
                    <a:pt x="199" y="4"/>
                  </a:lnTo>
                  <a:lnTo>
                    <a:pt x="199" y="2"/>
                  </a:lnTo>
                  <a:lnTo>
                    <a:pt x="202" y="4"/>
                  </a:lnTo>
                  <a:lnTo>
                    <a:pt x="202" y="2"/>
                  </a:lnTo>
                  <a:lnTo>
                    <a:pt x="202" y="4"/>
                  </a:lnTo>
                  <a:lnTo>
                    <a:pt x="202" y="2"/>
                  </a:lnTo>
                  <a:lnTo>
                    <a:pt x="204" y="2"/>
                  </a:lnTo>
                  <a:lnTo>
                    <a:pt x="206" y="2"/>
                  </a:lnTo>
                  <a:lnTo>
                    <a:pt x="209" y="2"/>
                  </a:lnTo>
                  <a:lnTo>
                    <a:pt x="209" y="0"/>
                  </a:lnTo>
                  <a:lnTo>
                    <a:pt x="211" y="0"/>
                  </a:lnTo>
                  <a:lnTo>
                    <a:pt x="213" y="0"/>
                  </a:lnTo>
                  <a:lnTo>
                    <a:pt x="216" y="0"/>
                  </a:lnTo>
                  <a:lnTo>
                    <a:pt x="216" y="2"/>
                  </a:lnTo>
                  <a:lnTo>
                    <a:pt x="218" y="2"/>
                  </a:lnTo>
                  <a:lnTo>
                    <a:pt x="218" y="4"/>
                  </a:lnTo>
                  <a:lnTo>
                    <a:pt x="221" y="4"/>
                  </a:lnTo>
                  <a:lnTo>
                    <a:pt x="221" y="2"/>
                  </a:lnTo>
                  <a:lnTo>
                    <a:pt x="221" y="4"/>
                  </a:lnTo>
                  <a:lnTo>
                    <a:pt x="223" y="4"/>
                  </a:lnTo>
                  <a:lnTo>
                    <a:pt x="221" y="4"/>
                  </a:lnTo>
                  <a:lnTo>
                    <a:pt x="221" y="7"/>
                  </a:lnTo>
                  <a:lnTo>
                    <a:pt x="223" y="7"/>
                  </a:lnTo>
                  <a:lnTo>
                    <a:pt x="223" y="4"/>
                  </a:lnTo>
                  <a:lnTo>
                    <a:pt x="223" y="7"/>
                  </a:lnTo>
                  <a:lnTo>
                    <a:pt x="223" y="9"/>
                  </a:lnTo>
                  <a:lnTo>
                    <a:pt x="225" y="9"/>
                  </a:lnTo>
                  <a:lnTo>
                    <a:pt x="225" y="12"/>
                  </a:lnTo>
                  <a:lnTo>
                    <a:pt x="228" y="12"/>
                  </a:lnTo>
                  <a:lnTo>
                    <a:pt x="225" y="12"/>
                  </a:lnTo>
                  <a:lnTo>
                    <a:pt x="228" y="12"/>
                  </a:lnTo>
                  <a:lnTo>
                    <a:pt x="228" y="14"/>
                  </a:lnTo>
                  <a:lnTo>
                    <a:pt x="228" y="16"/>
                  </a:lnTo>
                  <a:lnTo>
                    <a:pt x="230" y="16"/>
                  </a:lnTo>
                  <a:lnTo>
                    <a:pt x="230" y="19"/>
                  </a:lnTo>
                  <a:lnTo>
                    <a:pt x="230" y="21"/>
                  </a:lnTo>
                  <a:lnTo>
                    <a:pt x="230" y="23"/>
                  </a:lnTo>
                  <a:lnTo>
                    <a:pt x="232" y="23"/>
                  </a:lnTo>
                  <a:lnTo>
                    <a:pt x="232" y="26"/>
                  </a:lnTo>
                  <a:lnTo>
                    <a:pt x="230" y="26"/>
                  </a:lnTo>
                  <a:lnTo>
                    <a:pt x="232" y="26"/>
                  </a:lnTo>
                  <a:lnTo>
                    <a:pt x="232" y="28"/>
                  </a:lnTo>
                  <a:lnTo>
                    <a:pt x="232" y="31"/>
                  </a:lnTo>
                  <a:lnTo>
                    <a:pt x="235" y="31"/>
                  </a:lnTo>
                  <a:lnTo>
                    <a:pt x="235" y="33"/>
                  </a:lnTo>
                  <a:lnTo>
                    <a:pt x="237" y="33"/>
                  </a:lnTo>
                  <a:lnTo>
                    <a:pt x="237" y="35"/>
                  </a:lnTo>
                  <a:lnTo>
                    <a:pt x="237" y="38"/>
                  </a:lnTo>
                  <a:lnTo>
                    <a:pt x="240" y="35"/>
                  </a:lnTo>
                  <a:lnTo>
                    <a:pt x="240" y="38"/>
                  </a:lnTo>
                  <a:lnTo>
                    <a:pt x="240" y="35"/>
                  </a:lnTo>
                  <a:lnTo>
                    <a:pt x="240" y="38"/>
                  </a:lnTo>
                  <a:lnTo>
                    <a:pt x="240" y="35"/>
                  </a:lnTo>
                  <a:lnTo>
                    <a:pt x="240" y="38"/>
                  </a:lnTo>
                  <a:lnTo>
                    <a:pt x="242" y="38"/>
                  </a:lnTo>
                  <a:lnTo>
                    <a:pt x="240" y="38"/>
                  </a:lnTo>
                  <a:lnTo>
                    <a:pt x="242" y="38"/>
                  </a:lnTo>
                  <a:lnTo>
                    <a:pt x="242" y="40"/>
                  </a:lnTo>
                  <a:lnTo>
                    <a:pt x="240" y="40"/>
                  </a:lnTo>
                  <a:lnTo>
                    <a:pt x="242" y="40"/>
                  </a:lnTo>
                  <a:lnTo>
                    <a:pt x="242" y="42"/>
                  </a:lnTo>
                  <a:lnTo>
                    <a:pt x="242" y="45"/>
                  </a:lnTo>
                  <a:lnTo>
                    <a:pt x="244" y="45"/>
                  </a:lnTo>
                  <a:lnTo>
                    <a:pt x="244" y="47"/>
                  </a:lnTo>
                  <a:lnTo>
                    <a:pt x="244" y="45"/>
                  </a:lnTo>
                  <a:lnTo>
                    <a:pt x="247" y="45"/>
                  </a:lnTo>
                  <a:lnTo>
                    <a:pt x="247" y="47"/>
                  </a:lnTo>
                  <a:lnTo>
                    <a:pt x="247" y="50"/>
                  </a:lnTo>
                  <a:lnTo>
                    <a:pt x="247" y="47"/>
                  </a:lnTo>
                  <a:lnTo>
                    <a:pt x="247" y="50"/>
                  </a:lnTo>
                  <a:lnTo>
                    <a:pt x="249" y="50"/>
                  </a:lnTo>
                  <a:lnTo>
                    <a:pt x="247" y="50"/>
                  </a:lnTo>
                  <a:lnTo>
                    <a:pt x="249" y="50"/>
                  </a:lnTo>
                  <a:lnTo>
                    <a:pt x="249" y="52"/>
                  </a:lnTo>
                  <a:lnTo>
                    <a:pt x="249" y="54"/>
                  </a:lnTo>
                  <a:lnTo>
                    <a:pt x="249" y="52"/>
                  </a:lnTo>
                  <a:lnTo>
                    <a:pt x="249" y="54"/>
                  </a:lnTo>
                  <a:lnTo>
                    <a:pt x="251" y="54"/>
                  </a:lnTo>
                  <a:lnTo>
                    <a:pt x="249" y="54"/>
                  </a:lnTo>
                  <a:lnTo>
                    <a:pt x="251" y="54"/>
                  </a:lnTo>
                  <a:lnTo>
                    <a:pt x="251" y="57"/>
                  </a:lnTo>
                  <a:lnTo>
                    <a:pt x="254" y="57"/>
                  </a:lnTo>
                  <a:lnTo>
                    <a:pt x="254" y="59"/>
                  </a:lnTo>
                  <a:lnTo>
                    <a:pt x="256" y="57"/>
                  </a:lnTo>
                  <a:lnTo>
                    <a:pt x="256" y="59"/>
                  </a:lnTo>
                  <a:lnTo>
                    <a:pt x="259" y="59"/>
                  </a:lnTo>
                  <a:lnTo>
                    <a:pt x="259" y="61"/>
                  </a:lnTo>
                  <a:lnTo>
                    <a:pt x="259" y="64"/>
                  </a:lnTo>
                  <a:lnTo>
                    <a:pt x="259" y="61"/>
                  </a:lnTo>
                  <a:lnTo>
                    <a:pt x="259" y="64"/>
                  </a:lnTo>
                  <a:lnTo>
                    <a:pt x="259" y="66"/>
                  </a:lnTo>
                  <a:lnTo>
                    <a:pt x="259" y="69"/>
                  </a:lnTo>
                  <a:lnTo>
                    <a:pt x="261" y="69"/>
                  </a:lnTo>
                  <a:lnTo>
                    <a:pt x="261" y="71"/>
                  </a:lnTo>
                  <a:lnTo>
                    <a:pt x="261" y="69"/>
                  </a:lnTo>
                  <a:lnTo>
                    <a:pt x="261" y="71"/>
                  </a:lnTo>
                  <a:lnTo>
                    <a:pt x="261" y="73"/>
                  </a:lnTo>
                  <a:lnTo>
                    <a:pt x="263" y="73"/>
                  </a:lnTo>
                  <a:lnTo>
                    <a:pt x="261" y="73"/>
                  </a:lnTo>
                  <a:lnTo>
                    <a:pt x="263" y="73"/>
                  </a:lnTo>
                  <a:lnTo>
                    <a:pt x="263" y="76"/>
                  </a:lnTo>
                  <a:lnTo>
                    <a:pt x="263" y="73"/>
                  </a:lnTo>
                  <a:lnTo>
                    <a:pt x="263" y="76"/>
                  </a:lnTo>
                  <a:lnTo>
                    <a:pt x="263" y="78"/>
                  </a:lnTo>
                  <a:lnTo>
                    <a:pt x="263" y="80"/>
                  </a:lnTo>
                  <a:lnTo>
                    <a:pt x="263" y="83"/>
                  </a:lnTo>
                  <a:lnTo>
                    <a:pt x="263" y="80"/>
                  </a:lnTo>
                  <a:lnTo>
                    <a:pt x="263" y="83"/>
                  </a:lnTo>
                  <a:lnTo>
                    <a:pt x="263" y="85"/>
                  </a:lnTo>
                  <a:lnTo>
                    <a:pt x="263" y="88"/>
                  </a:lnTo>
                  <a:lnTo>
                    <a:pt x="263" y="90"/>
                  </a:lnTo>
                  <a:lnTo>
                    <a:pt x="261" y="90"/>
                  </a:lnTo>
                  <a:lnTo>
                    <a:pt x="263" y="90"/>
                  </a:lnTo>
                  <a:lnTo>
                    <a:pt x="261" y="90"/>
                  </a:lnTo>
                  <a:lnTo>
                    <a:pt x="263" y="90"/>
                  </a:lnTo>
                  <a:lnTo>
                    <a:pt x="261" y="90"/>
                  </a:lnTo>
                  <a:lnTo>
                    <a:pt x="263" y="90"/>
                  </a:lnTo>
                  <a:lnTo>
                    <a:pt x="261" y="90"/>
                  </a:lnTo>
                  <a:lnTo>
                    <a:pt x="261" y="92"/>
                  </a:lnTo>
                  <a:lnTo>
                    <a:pt x="261" y="90"/>
                  </a:lnTo>
                  <a:lnTo>
                    <a:pt x="261" y="92"/>
                  </a:lnTo>
                  <a:lnTo>
                    <a:pt x="263" y="92"/>
                  </a:lnTo>
                  <a:lnTo>
                    <a:pt x="261" y="92"/>
                  </a:lnTo>
                  <a:lnTo>
                    <a:pt x="261" y="95"/>
                  </a:lnTo>
                  <a:lnTo>
                    <a:pt x="261" y="92"/>
                  </a:lnTo>
                  <a:lnTo>
                    <a:pt x="261" y="95"/>
                  </a:lnTo>
                  <a:lnTo>
                    <a:pt x="261" y="92"/>
                  </a:lnTo>
                  <a:lnTo>
                    <a:pt x="261" y="95"/>
                  </a:lnTo>
                  <a:lnTo>
                    <a:pt x="259" y="95"/>
                  </a:lnTo>
                  <a:lnTo>
                    <a:pt x="261" y="95"/>
                  </a:lnTo>
                  <a:lnTo>
                    <a:pt x="259" y="95"/>
                  </a:lnTo>
                  <a:lnTo>
                    <a:pt x="259" y="97"/>
                  </a:lnTo>
                  <a:lnTo>
                    <a:pt x="261" y="97"/>
                  </a:lnTo>
                  <a:lnTo>
                    <a:pt x="261" y="99"/>
                  </a:lnTo>
                  <a:lnTo>
                    <a:pt x="259" y="97"/>
                  </a:lnTo>
                  <a:lnTo>
                    <a:pt x="259" y="99"/>
                  </a:lnTo>
                  <a:lnTo>
                    <a:pt x="261" y="99"/>
                  </a:lnTo>
                  <a:lnTo>
                    <a:pt x="259" y="99"/>
                  </a:lnTo>
                  <a:lnTo>
                    <a:pt x="261" y="99"/>
                  </a:lnTo>
                  <a:lnTo>
                    <a:pt x="259" y="99"/>
                  </a:lnTo>
                  <a:lnTo>
                    <a:pt x="259" y="102"/>
                  </a:lnTo>
                  <a:lnTo>
                    <a:pt x="261" y="102"/>
                  </a:lnTo>
                  <a:lnTo>
                    <a:pt x="259" y="102"/>
                  </a:lnTo>
                  <a:lnTo>
                    <a:pt x="259" y="104"/>
                  </a:lnTo>
                  <a:lnTo>
                    <a:pt x="259" y="107"/>
                  </a:lnTo>
                  <a:lnTo>
                    <a:pt x="259" y="109"/>
                  </a:lnTo>
                  <a:lnTo>
                    <a:pt x="259" y="111"/>
                  </a:lnTo>
                  <a:lnTo>
                    <a:pt x="259" y="114"/>
                  </a:lnTo>
                  <a:lnTo>
                    <a:pt x="259" y="116"/>
                  </a:lnTo>
                  <a:lnTo>
                    <a:pt x="261" y="118"/>
                  </a:lnTo>
                  <a:lnTo>
                    <a:pt x="261" y="116"/>
                  </a:lnTo>
                  <a:lnTo>
                    <a:pt x="261" y="118"/>
                  </a:lnTo>
                  <a:lnTo>
                    <a:pt x="261" y="121"/>
                  </a:lnTo>
                  <a:lnTo>
                    <a:pt x="261" y="123"/>
                  </a:lnTo>
                  <a:lnTo>
                    <a:pt x="261" y="126"/>
                  </a:lnTo>
                  <a:lnTo>
                    <a:pt x="259" y="126"/>
                  </a:lnTo>
                  <a:lnTo>
                    <a:pt x="259" y="123"/>
                  </a:lnTo>
                  <a:lnTo>
                    <a:pt x="259" y="126"/>
                  </a:lnTo>
                  <a:lnTo>
                    <a:pt x="259" y="128"/>
                  </a:lnTo>
                  <a:lnTo>
                    <a:pt x="261" y="128"/>
                  </a:lnTo>
                  <a:lnTo>
                    <a:pt x="261" y="126"/>
                  </a:lnTo>
                  <a:lnTo>
                    <a:pt x="261" y="128"/>
                  </a:lnTo>
                  <a:lnTo>
                    <a:pt x="261" y="130"/>
                  </a:lnTo>
                  <a:lnTo>
                    <a:pt x="261" y="133"/>
                  </a:lnTo>
                  <a:lnTo>
                    <a:pt x="263" y="133"/>
                  </a:lnTo>
                  <a:lnTo>
                    <a:pt x="266" y="133"/>
                  </a:lnTo>
                  <a:lnTo>
                    <a:pt x="266" y="135"/>
                  </a:lnTo>
                  <a:lnTo>
                    <a:pt x="263" y="135"/>
                  </a:lnTo>
                  <a:lnTo>
                    <a:pt x="266" y="135"/>
                  </a:lnTo>
                  <a:lnTo>
                    <a:pt x="266" y="137"/>
                  </a:lnTo>
                  <a:lnTo>
                    <a:pt x="266" y="140"/>
                  </a:lnTo>
                  <a:lnTo>
                    <a:pt x="268" y="140"/>
                  </a:lnTo>
                  <a:lnTo>
                    <a:pt x="270" y="140"/>
                  </a:lnTo>
                  <a:lnTo>
                    <a:pt x="270" y="142"/>
                  </a:lnTo>
                  <a:lnTo>
                    <a:pt x="273" y="142"/>
                  </a:lnTo>
                  <a:lnTo>
                    <a:pt x="275" y="142"/>
                  </a:lnTo>
                  <a:lnTo>
                    <a:pt x="278" y="142"/>
                  </a:lnTo>
                  <a:lnTo>
                    <a:pt x="278" y="145"/>
                  </a:lnTo>
                  <a:lnTo>
                    <a:pt x="280" y="142"/>
                  </a:lnTo>
                  <a:lnTo>
                    <a:pt x="280" y="145"/>
                  </a:lnTo>
                  <a:lnTo>
                    <a:pt x="282" y="145"/>
                  </a:lnTo>
                  <a:lnTo>
                    <a:pt x="285" y="145"/>
                  </a:lnTo>
                  <a:lnTo>
                    <a:pt x="285" y="147"/>
                  </a:lnTo>
                  <a:lnTo>
                    <a:pt x="287" y="147"/>
                  </a:lnTo>
                  <a:lnTo>
                    <a:pt x="289" y="147"/>
                  </a:lnTo>
                  <a:lnTo>
                    <a:pt x="289" y="149"/>
                  </a:lnTo>
                  <a:lnTo>
                    <a:pt x="292" y="149"/>
                  </a:lnTo>
                  <a:lnTo>
                    <a:pt x="289" y="149"/>
                  </a:lnTo>
                  <a:lnTo>
                    <a:pt x="289" y="147"/>
                  </a:lnTo>
                  <a:lnTo>
                    <a:pt x="287" y="147"/>
                  </a:lnTo>
                  <a:lnTo>
                    <a:pt x="285" y="147"/>
                  </a:lnTo>
                  <a:lnTo>
                    <a:pt x="285" y="145"/>
                  </a:lnTo>
                  <a:lnTo>
                    <a:pt x="282" y="145"/>
                  </a:lnTo>
                  <a:lnTo>
                    <a:pt x="280" y="145"/>
                  </a:lnTo>
                  <a:lnTo>
                    <a:pt x="280" y="142"/>
                  </a:lnTo>
                  <a:lnTo>
                    <a:pt x="282" y="142"/>
                  </a:lnTo>
                  <a:lnTo>
                    <a:pt x="280" y="142"/>
                  </a:lnTo>
                  <a:lnTo>
                    <a:pt x="280" y="140"/>
                  </a:lnTo>
                  <a:lnTo>
                    <a:pt x="282" y="140"/>
                  </a:lnTo>
                  <a:lnTo>
                    <a:pt x="282" y="137"/>
                  </a:lnTo>
                  <a:lnTo>
                    <a:pt x="282" y="140"/>
                  </a:lnTo>
                  <a:lnTo>
                    <a:pt x="285" y="140"/>
                  </a:lnTo>
                  <a:lnTo>
                    <a:pt x="287" y="140"/>
                  </a:lnTo>
                  <a:lnTo>
                    <a:pt x="287" y="137"/>
                  </a:lnTo>
                  <a:lnTo>
                    <a:pt x="289" y="137"/>
                  </a:lnTo>
                  <a:lnTo>
                    <a:pt x="292" y="137"/>
                  </a:lnTo>
                  <a:lnTo>
                    <a:pt x="292" y="135"/>
                  </a:lnTo>
                  <a:lnTo>
                    <a:pt x="294" y="135"/>
                  </a:lnTo>
                  <a:lnTo>
                    <a:pt x="297" y="135"/>
                  </a:lnTo>
                  <a:lnTo>
                    <a:pt x="297" y="133"/>
                  </a:lnTo>
                  <a:lnTo>
                    <a:pt x="299" y="133"/>
                  </a:lnTo>
                  <a:lnTo>
                    <a:pt x="301" y="135"/>
                  </a:lnTo>
                  <a:lnTo>
                    <a:pt x="304" y="135"/>
                  </a:lnTo>
                  <a:lnTo>
                    <a:pt x="301" y="135"/>
                  </a:lnTo>
                  <a:lnTo>
                    <a:pt x="301" y="133"/>
                  </a:lnTo>
                  <a:lnTo>
                    <a:pt x="304" y="133"/>
                  </a:lnTo>
                  <a:lnTo>
                    <a:pt x="304" y="135"/>
                  </a:lnTo>
                  <a:lnTo>
                    <a:pt x="306" y="135"/>
                  </a:lnTo>
                  <a:lnTo>
                    <a:pt x="308" y="135"/>
                  </a:lnTo>
                  <a:lnTo>
                    <a:pt x="308" y="137"/>
                  </a:lnTo>
                  <a:lnTo>
                    <a:pt x="311" y="137"/>
                  </a:lnTo>
                  <a:lnTo>
                    <a:pt x="311" y="140"/>
                  </a:lnTo>
                  <a:lnTo>
                    <a:pt x="311" y="142"/>
                  </a:lnTo>
                  <a:lnTo>
                    <a:pt x="311" y="145"/>
                  </a:lnTo>
                  <a:lnTo>
                    <a:pt x="308" y="145"/>
                  </a:lnTo>
                  <a:lnTo>
                    <a:pt x="311" y="147"/>
                  </a:lnTo>
                  <a:lnTo>
                    <a:pt x="308" y="147"/>
                  </a:lnTo>
                  <a:lnTo>
                    <a:pt x="306" y="145"/>
                  </a:lnTo>
                  <a:lnTo>
                    <a:pt x="308" y="147"/>
                  </a:lnTo>
                  <a:lnTo>
                    <a:pt x="311" y="147"/>
                  </a:lnTo>
                  <a:lnTo>
                    <a:pt x="313" y="147"/>
                  </a:lnTo>
                  <a:lnTo>
                    <a:pt x="311" y="147"/>
                  </a:lnTo>
                  <a:lnTo>
                    <a:pt x="311" y="149"/>
                  </a:lnTo>
                  <a:lnTo>
                    <a:pt x="311" y="152"/>
                  </a:lnTo>
                  <a:lnTo>
                    <a:pt x="308" y="154"/>
                  </a:lnTo>
                  <a:lnTo>
                    <a:pt x="308" y="156"/>
                  </a:lnTo>
                  <a:lnTo>
                    <a:pt x="308" y="159"/>
                  </a:lnTo>
                  <a:lnTo>
                    <a:pt x="306" y="156"/>
                  </a:lnTo>
                  <a:lnTo>
                    <a:pt x="304" y="156"/>
                  </a:lnTo>
                  <a:lnTo>
                    <a:pt x="304" y="154"/>
                  </a:lnTo>
                  <a:lnTo>
                    <a:pt x="301" y="154"/>
                  </a:lnTo>
                  <a:lnTo>
                    <a:pt x="301" y="156"/>
                  </a:lnTo>
                  <a:lnTo>
                    <a:pt x="301" y="154"/>
                  </a:lnTo>
                  <a:lnTo>
                    <a:pt x="304" y="154"/>
                  </a:lnTo>
                  <a:lnTo>
                    <a:pt x="304" y="156"/>
                  </a:lnTo>
                  <a:lnTo>
                    <a:pt x="306" y="156"/>
                  </a:lnTo>
                  <a:lnTo>
                    <a:pt x="306" y="159"/>
                  </a:lnTo>
                  <a:lnTo>
                    <a:pt x="308" y="159"/>
                  </a:lnTo>
                  <a:lnTo>
                    <a:pt x="308" y="161"/>
                  </a:lnTo>
                  <a:lnTo>
                    <a:pt x="306" y="161"/>
                  </a:lnTo>
                  <a:lnTo>
                    <a:pt x="304" y="161"/>
                  </a:lnTo>
                  <a:lnTo>
                    <a:pt x="304" y="164"/>
                  </a:lnTo>
                  <a:lnTo>
                    <a:pt x="301" y="161"/>
                  </a:lnTo>
                  <a:lnTo>
                    <a:pt x="301" y="164"/>
                  </a:lnTo>
                  <a:lnTo>
                    <a:pt x="299" y="164"/>
                  </a:lnTo>
                  <a:lnTo>
                    <a:pt x="297" y="164"/>
                  </a:lnTo>
                  <a:lnTo>
                    <a:pt x="294" y="164"/>
                  </a:lnTo>
                  <a:lnTo>
                    <a:pt x="292" y="164"/>
                  </a:lnTo>
                  <a:lnTo>
                    <a:pt x="292" y="166"/>
                  </a:lnTo>
                  <a:lnTo>
                    <a:pt x="289" y="166"/>
                  </a:lnTo>
                  <a:lnTo>
                    <a:pt x="289" y="168"/>
                  </a:lnTo>
                  <a:lnTo>
                    <a:pt x="287" y="168"/>
                  </a:lnTo>
                  <a:lnTo>
                    <a:pt x="287" y="171"/>
                  </a:lnTo>
                  <a:lnTo>
                    <a:pt x="287" y="173"/>
                  </a:lnTo>
                  <a:lnTo>
                    <a:pt x="285" y="175"/>
                  </a:lnTo>
                  <a:lnTo>
                    <a:pt x="282" y="178"/>
                  </a:lnTo>
                  <a:lnTo>
                    <a:pt x="280" y="180"/>
                  </a:lnTo>
                  <a:lnTo>
                    <a:pt x="280" y="183"/>
                  </a:lnTo>
                  <a:lnTo>
                    <a:pt x="278" y="183"/>
                  </a:lnTo>
                  <a:lnTo>
                    <a:pt x="278" y="185"/>
                  </a:lnTo>
                  <a:lnTo>
                    <a:pt x="275" y="185"/>
                  </a:lnTo>
                  <a:lnTo>
                    <a:pt x="278" y="185"/>
                  </a:lnTo>
                  <a:lnTo>
                    <a:pt x="275" y="185"/>
                  </a:lnTo>
                  <a:lnTo>
                    <a:pt x="275" y="187"/>
                  </a:lnTo>
                  <a:lnTo>
                    <a:pt x="275" y="190"/>
                  </a:lnTo>
                  <a:lnTo>
                    <a:pt x="278" y="190"/>
                  </a:lnTo>
                  <a:lnTo>
                    <a:pt x="278" y="192"/>
                  </a:lnTo>
                  <a:lnTo>
                    <a:pt x="278" y="190"/>
                  </a:lnTo>
                  <a:lnTo>
                    <a:pt x="278" y="192"/>
                  </a:lnTo>
                  <a:lnTo>
                    <a:pt x="278" y="194"/>
                  </a:lnTo>
                  <a:lnTo>
                    <a:pt x="278" y="192"/>
                  </a:lnTo>
                  <a:lnTo>
                    <a:pt x="278" y="194"/>
                  </a:lnTo>
                  <a:lnTo>
                    <a:pt x="275" y="194"/>
                  </a:lnTo>
                  <a:lnTo>
                    <a:pt x="278" y="197"/>
                  </a:lnTo>
                  <a:lnTo>
                    <a:pt x="278" y="194"/>
                  </a:lnTo>
                  <a:lnTo>
                    <a:pt x="278" y="197"/>
                  </a:lnTo>
                  <a:lnTo>
                    <a:pt x="278" y="194"/>
                  </a:lnTo>
                  <a:lnTo>
                    <a:pt x="278" y="197"/>
                  </a:lnTo>
                  <a:lnTo>
                    <a:pt x="278" y="194"/>
                  </a:lnTo>
                  <a:lnTo>
                    <a:pt x="278" y="197"/>
                  </a:lnTo>
                  <a:lnTo>
                    <a:pt x="278" y="194"/>
                  </a:lnTo>
                  <a:lnTo>
                    <a:pt x="278" y="197"/>
                  </a:lnTo>
                  <a:lnTo>
                    <a:pt x="278" y="199"/>
                  </a:lnTo>
                  <a:lnTo>
                    <a:pt x="278" y="202"/>
                  </a:lnTo>
                  <a:lnTo>
                    <a:pt x="275" y="202"/>
                  </a:lnTo>
                  <a:lnTo>
                    <a:pt x="278" y="204"/>
                  </a:lnTo>
                  <a:lnTo>
                    <a:pt x="275" y="204"/>
                  </a:lnTo>
                  <a:lnTo>
                    <a:pt x="275" y="206"/>
                  </a:lnTo>
                  <a:lnTo>
                    <a:pt x="275" y="209"/>
                  </a:lnTo>
                  <a:close/>
                  <a:moveTo>
                    <a:pt x="301" y="156"/>
                  </a:moveTo>
                  <a:lnTo>
                    <a:pt x="301" y="154"/>
                  </a:lnTo>
                  <a:lnTo>
                    <a:pt x="301" y="156"/>
                  </a:lnTo>
                  <a:close/>
                  <a:moveTo>
                    <a:pt x="299" y="156"/>
                  </a:moveTo>
                  <a:lnTo>
                    <a:pt x="299" y="154"/>
                  </a:lnTo>
                  <a:lnTo>
                    <a:pt x="299" y="156"/>
                  </a:lnTo>
                  <a:close/>
                  <a:moveTo>
                    <a:pt x="299" y="154"/>
                  </a:moveTo>
                  <a:lnTo>
                    <a:pt x="299" y="152"/>
                  </a:lnTo>
                  <a:lnTo>
                    <a:pt x="297" y="152"/>
                  </a:lnTo>
                  <a:lnTo>
                    <a:pt x="294" y="152"/>
                  </a:lnTo>
                  <a:lnTo>
                    <a:pt x="297" y="152"/>
                  </a:lnTo>
                  <a:lnTo>
                    <a:pt x="297" y="149"/>
                  </a:lnTo>
                  <a:lnTo>
                    <a:pt x="294" y="149"/>
                  </a:lnTo>
                  <a:lnTo>
                    <a:pt x="292" y="149"/>
                  </a:lnTo>
                  <a:lnTo>
                    <a:pt x="294" y="149"/>
                  </a:lnTo>
                  <a:lnTo>
                    <a:pt x="297" y="149"/>
                  </a:lnTo>
                  <a:lnTo>
                    <a:pt x="297" y="152"/>
                  </a:lnTo>
                  <a:lnTo>
                    <a:pt x="294" y="152"/>
                  </a:lnTo>
                  <a:lnTo>
                    <a:pt x="297" y="152"/>
                  </a:lnTo>
                  <a:lnTo>
                    <a:pt x="299" y="152"/>
                  </a:lnTo>
                  <a:lnTo>
                    <a:pt x="299" y="154"/>
                  </a:lnTo>
                  <a:lnTo>
                    <a:pt x="297" y="154"/>
                  </a:lnTo>
                  <a:lnTo>
                    <a:pt x="299" y="154"/>
                  </a:lnTo>
                  <a:close/>
                  <a:moveTo>
                    <a:pt x="292" y="149"/>
                  </a:moveTo>
                  <a:lnTo>
                    <a:pt x="294" y="149"/>
                  </a:lnTo>
                  <a:lnTo>
                    <a:pt x="292" y="149"/>
                  </a:lnTo>
                  <a:close/>
                  <a:moveTo>
                    <a:pt x="301" y="156"/>
                  </a:moveTo>
                  <a:lnTo>
                    <a:pt x="299" y="156"/>
                  </a:lnTo>
                  <a:lnTo>
                    <a:pt x="301" y="156"/>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6" name="Freeform 55043"/>
            <p:cNvSpPr>
              <a:spLocks/>
            </p:cNvSpPr>
            <p:nvPr/>
          </p:nvSpPr>
          <p:spPr bwMode="auto">
            <a:xfrm>
              <a:off x="3570286" y="5089542"/>
              <a:ext cx="6350" cy="4763"/>
            </a:xfrm>
            <a:custGeom>
              <a:avLst/>
              <a:gdLst>
                <a:gd name="T0" fmla="*/ 2 w 4"/>
                <a:gd name="T1" fmla="*/ 3 h 3"/>
                <a:gd name="T2" fmla="*/ 2 w 4"/>
                <a:gd name="T3" fmla="*/ 3 h 3"/>
                <a:gd name="T4" fmla="*/ 2 w 4"/>
                <a:gd name="T5" fmla="*/ 3 h 3"/>
                <a:gd name="T6" fmla="*/ 2 w 4"/>
                <a:gd name="T7" fmla="*/ 3 h 3"/>
                <a:gd name="T8" fmla="*/ 2 w 4"/>
                <a:gd name="T9" fmla="*/ 3 h 3"/>
                <a:gd name="T10" fmla="*/ 2 w 4"/>
                <a:gd name="T11" fmla="*/ 3 h 3"/>
                <a:gd name="T12" fmla="*/ 2 w 4"/>
                <a:gd name="T13" fmla="*/ 3 h 3"/>
                <a:gd name="T14" fmla="*/ 2 w 4"/>
                <a:gd name="T15" fmla="*/ 3 h 3"/>
                <a:gd name="T16" fmla="*/ 2 w 4"/>
                <a:gd name="T17" fmla="*/ 3 h 3"/>
                <a:gd name="T18" fmla="*/ 2 w 4"/>
                <a:gd name="T19" fmla="*/ 3 h 3"/>
                <a:gd name="T20" fmla="*/ 2 w 4"/>
                <a:gd name="T21" fmla="*/ 3 h 3"/>
                <a:gd name="T22" fmla="*/ 2 w 4"/>
                <a:gd name="T23" fmla="*/ 3 h 3"/>
                <a:gd name="T24" fmla="*/ 2 w 4"/>
                <a:gd name="T25" fmla="*/ 3 h 3"/>
                <a:gd name="T26" fmla="*/ 0 w 4"/>
                <a:gd name="T27" fmla="*/ 3 h 3"/>
                <a:gd name="T28" fmla="*/ 0 w 4"/>
                <a:gd name="T29" fmla="*/ 3 h 3"/>
                <a:gd name="T30" fmla="*/ 0 w 4"/>
                <a:gd name="T31" fmla="*/ 3 h 3"/>
                <a:gd name="T32" fmla="*/ 0 w 4"/>
                <a:gd name="T33" fmla="*/ 3 h 3"/>
                <a:gd name="T34" fmla="*/ 0 w 4"/>
                <a:gd name="T35" fmla="*/ 3 h 3"/>
                <a:gd name="T36" fmla="*/ 0 w 4"/>
                <a:gd name="T37" fmla="*/ 3 h 3"/>
                <a:gd name="T38" fmla="*/ 0 w 4"/>
                <a:gd name="T39" fmla="*/ 3 h 3"/>
                <a:gd name="T40" fmla="*/ 2 w 4"/>
                <a:gd name="T41" fmla="*/ 3 h 3"/>
                <a:gd name="T42" fmla="*/ 2 w 4"/>
                <a:gd name="T43" fmla="*/ 3 h 3"/>
                <a:gd name="T44" fmla="*/ 2 w 4"/>
                <a:gd name="T45" fmla="*/ 3 h 3"/>
                <a:gd name="T46" fmla="*/ 2 w 4"/>
                <a:gd name="T47" fmla="*/ 3 h 3"/>
                <a:gd name="T48" fmla="*/ 2 w 4"/>
                <a:gd name="T49" fmla="*/ 3 h 3"/>
                <a:gd name="T50" fmla="*/ 2 w 4"/>
                <a:gd name="T51" fmla="*/ 3 h 3"/>
                <a:gd name="T52" fmla="*/ 2 w 4"/>
                <a:gd name="T53" fmla="*/ 3 h 3"/>
                <a:gd name="T54" fmla="*/ 2 w 4"/>
                <a:gd name="T55" fmla="*/ 3 h 3"/>
                <a:gd name="T56" fmla="*/ 2 w 4"/>
                <a:gd name="T57" fmla="*/ 3 h 3"/>
                <a:gd name="T58" fmla="*/ 2 w 4"/>
                <a:gd name="T59" fmla="*/ 3 h 3"/>
                <a:gd name="T60" fmla="*/ 2 w 4"/>
                <a:gd name="T61" fmla="*/ 3 h 3"/>
                <a:gd name="T62" fmla="*/ 2 w 4"/>
                <a:gd name="T63" fmla="*/ 3 h 3"/>
                <a:gd name="T64" fmla="*/ 2 w 4"/>
                <a:gd name="T65" fmla="*/ 3 h 3"/>
                <a:gd name="T66" fmla="*/ 2 w 4"/>
                <a:gd name="T67" fmla="*/ 3 h 3"/>
                <a:gd name="T68" fmla="*/ 2 w 4"/>
                <a:gd name="T69" fmla="*/ 3 h 3"/>
                <a:gd name="T70" fmla="*/ 2 w 4"/>
                <a:gd name="T71" fmla="*/ 3 h 3"/>
                <a:gd name="T72" fmla="*/ 2 w 4"/>
                <a:gd name="T73" fmla="*/ 3 h 3"/>
                <a:gd name="T74" fmla="*/ 2 w 4"/>
                <a:gd name="T75" fmla="*/ 3 h 3"/>
                <a:gd name="T76" fmla="*/ 2 w 4"/>
                <a:gd name="T77" fmla="*/ 3 h 3"/>
                <a:gd name="T78" fmla="*/ 4 w 4"/>
                <a:gd name="T79" fmla="*/ 0 h 3"/>
                <a:gd name="T80" fmla="*/ 4 w 4"/>
                <a:gd name="T81" fmla="*/ 0 h 3"/>
                <a:gd name="T82" fmla="*/ 4 w 4"/>
                <a:gd name="T83" fmla="*/ 3 h 3"/>
                <a:gd name="T84" fmla="*/ 2 w 4"/>
                <a:gd name="T85" fmla="*/ 3 h 3"/>
                <a:gd name="T86" fmla="*/ 2 w 4"/>
                <a:gd name="T8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 h="3">
                  <a:moveTo>
                    <a:pt x="2" y="3"/>
                  </a:moveTo>
                  <a:lnTo>
                    <a:pt x="2" y="3"/>
                  </a:lnTo>
                  <a:lnTo>
                    <a:pt x="2" y="3"/>
                  </a:lnTo>
                  <a:lnTo>
                    <a:pt x="2" y="3"/>
                  </a:lnTo>
                  <a:lnTo>
                    <a:pt x="2" y="3"/>
                  </a:lnTo>
                  <a:lnTo>
                    <a:pt x="2" y="3"/>
                  </a:lnTo>
                  <a:lnTo>
                    <a:pt x="2" y="3"/>
                  </a:lnTo>
                  <a:lnTo>
                    <a:pt x="2" y="3"/>
                  </a:lnTo>
                  <a:lnTo>
                    <a:pt x="2" y="3"/>
                  </a:lnTo>
                  <a:lnTo>
                    <a:pt x="2" y="3"/>
                  </a:lnTo>
                  <a:lnTo>
                    <a:pt x="2" y="3"/>
                  </a:lnTo>
                  <a:lnTo>
                    <a:pt x="2" y="3"/>
                  </a:lnTo>
                  <a:lnTo>
                    <a:pt x="2" y="3"/>
                  </a:lnTo>
                  <a:lnTo>
                    <a:pt x="0" y="3"/>
                  </a:lnTo>
                  <a:lnTo>
                    <a:pt x="0" y="3"/>
                  </a:lnTo>
                  <a:lnTo>
                    <a:pt x="0" y="3"/>
                  </a:lnTo>
                  <a:lnTo>
                    <a:pt x="0" y="3"/>
                  </a:lnTo>
                  <a:lnTo>
                    <a:pt x="0" y="3"/>
                  </a:lnTo>
                  <a:lnTo>
                    <a:pt x="0" y="3"/>
                  </a:lnTo>
                  <a:lnTo>
                    <a:pt x="0"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4" y="0"/>
                  </a:lnTo>
                  <a:lnTo>
                    <a:pt x="4" y="0"/>
                  </a:lnTo>
                  <a:lnTo>
                    <a:pt x="4" y="3"/>
                  </a:lnTo>
                  <a:lnTo>
                    <a:pt x="2" y="3"/>
                  </a:lnTo>
                  <a:lnTo>
                    <a:pt x="2" y="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7" name="Freeform 55044"/>
            <p:cNvSpPr>
              <a:spLocks noEditPoints="1"/>
            </p:cNvSpPr>
            <p:nvPr/>
          </p:nvSpPr>
          <p:spPr bwMode="auto">
            <a:xfrm>
              <a:off x="3516310" y="5056205"/>
              <a:ext cx="60325" cy="109538"/>
            </a:xfrm>
            <a:custGeom>
              <a:avLst/>
              <a:gdLst>
                <a:gd name="T0" fmla="*/ 5 w 38"/>
                <a:gd name="T1" fmla="*/ 69 h 69"/>
                <a:gd name="T2" fmla="*/ 5 w 38"/>
                <a:gd name="T3" fmla="*/ 69 h 69"/>
                <a:gd name="T4" fmla="*/ 5 w 38"/>
                <a:gd name="T5" fmla="*/ 69 h 69"/>
                <a:gd name="T6" fmla="*/ 5 w 38"/>
                <a:gd name="T7" fmla="*/ 69 h 69"/>
                <a:gd name="T8" fmla="*/ 5 w 38"/>
                <a:gd name="T9" fmla="*/ 69 h 69"/>
                <a:gd name="T10" fmla="*/ 8 w 38"/>
                <a:gd name="T11" fmla="*/ 54 h 69"/>
                <a:gd name="T12" fmla="*/ 8 w 38"/>
                <a:gd name="T13" fmla="*/ 54 h 69"/>
                <a:gd name="T14" fmla="*/ 8 w 38"/>
                <a:gd name="T15" fmla="*/ 54 h 69"/>
                <a:gd name="T16" fmla="*/ 8 w 38"/>
                <a:gd name="T17" fmla="*/ 54 h 69"/>
                <a:gd name="T18" fmla="*/ 8 w 38"/>
                <a:gd name="T19" fmla="*/ 54 h 69"/>
                <a:gd name="T20" fmla="*/ 8 w 38"/>
                <a:gd name="T21" fmla="*/ 54 h 69"/>
                <a:gd name="T22" fmla="*/ 8 w 38"/>
                <a:gd name="T23" fmla="*/ 54 h 69"/>
                <a:gd name="T24" fmla="*/ 8 w 38"/>
                <a:gd name="T25" fmla="*/ 45 h 69"/>
                <a:gd name="T26" fmla="*/ 8 w 38"/>
                <a:gd name="T27" fmla="*/ 45 h 69"/>
                <a:gd name="T28" fmla="*/ 8 w 38"/>
                <a:gd name="T29" fmla="*/ 45 h 69"/>
                <a:gd name="T30" fmla="*/ 8 w 38"/>
                <a:gd name="T31" fmla="*/ 45 h 69"/>
                <a:gd name="T32" fmla="*/ 8 w 38"/>
                <a:gd name="T33" fmla="*/ 45 h 69"/>
                <a:gd name="T34" fmla="*/ 8 w 38"/>
                <a:gd name="T35" fmla="*/ 45 h 69"/>
                <a:gd name="T36" fmla="*/ 8 w 38"/>
                <a:gd name="T37" fmla="*/ 45 h 69"/>
                <a:gd name="T38" fmla="*/ 8 w 38"/>
                <a:gd name="T39" fmla="*/ 45 h 69"/>
                <a:gd name="T40" fmla="*/ 36 w 38"/>
                <a:gd name="T41" fmla="*/ 24 h 69"/>
                <a:gd name="T42" fmla="*/ 36 w 38"/>
                <a:gd name="T43" fmla="*/ 24 h 69"/>
                <a:gd name="T44" fmla="*/ 36 w 38"/>
                <a:gd name="T45" fmla="*/ 24 h 69"/>
                <a:gd name="T46" fmla="*/ 36 w 38"/>
                <a:gd name="T47" fmla="*/ 24 h 69"/>
                <a:gd name="T48" fmla="*/ 36 w 38"/>
                <a:gd name="T49" fmla="*/ 24 h 69"/>
                <a:gd name="T50" fmla="*/ 36 w 38"/>
                <a:gd name="T51" fmla="*/ 24 h 69"/>
                <a:gd name="T52" fmla="*/ 38 w 38"/>
                <a:gd name="T53" fmla="*/ 21 h 69"/>
                <a:gd name="T54" fmla="*/ 38 w 38"/>
                <a:gd name="T55" fmla="*/ 21 h 69"/>
                <a:gd name="T56" fmla="*/ 38 w 38"/>
                <a:gd name="T57" fmla="*/ 21 h 69"/>
                <a:gd name="T58" fmla="*/ 38 w 38"/>
                <a:gd name="T59" fmla="*/ 21 h 69"/>
                <a:gd name="T60" fmla="*/ 38 w 38"/>
                <a:gd name="T61" fmla="*/ 21 h 69"/>
                <a:gd name="T62" fmla="*/ 38 w 38"/>
                <a:gd name="T63" fmla="*/ 21 h 69"/>
                <a:gd name="T64" fmla="*/ 38 w 38"/>
                <a:gd name="T65" fmla="*/ 21 h 69"/>
                <a:gd name="T66" fmla="*/ 17 w 38"/>
                <a:gd name="T67" fmla="*/ 7 h 69"/>
                <a:gd name="T68" fmla="*/ 17 w 38"/>
                <a:gd name="T69" fmla="*/ 7 h 69"/>
                <a:gd name="T70" fmla="*/ 17 w 38"/>
                <a:gd name="T71" fmla="*/ 7 h 69"/>
                <a:gd name="T72" fmla="*/ 17 w 38"/>
                <a:gd name="T73" fmla="*/ 7 h 69"/>
                <a:gd name="T74" fmla="*/ 17 w 38"/>
                <a:gd name="T75" fmla="*/ 7 h 69"/>
                <a:gd name="T76" fmla="*/ 0 w 38"/>
                <a:gd name="T77" fmla="*/ 0 h 69"/>
                <a:gd name="T78" fmla="*/ 0 w 38"/>
                <a:gd name="T79" fmla="*/ 0 h 69"/>
                <a:gd name="T80" fmla="*/ 0 w 38"/>
                <a:gd name="T81" fmla="*/ 0 h 69"/>
                <a:gd name="T82" fmla="*/ 0 w 38"/>
                <a:gd name="T83" fmla="*/ 0 h 69"/>
                <a:gd name="T84" fmla="*/ 0 w 38"/>
                <a:gd name="T85" fmla="*/ 0 h 69"/>
                <a:gd name="T86" fmla="*/ 0 w 38"/>
                <a:gd name="T8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69">
                  <a:moveTo>
                    <a:pt x="5" y="69"/>
                  </a:moveTo>
                  <a:lnTo>
                    <a:pt x="5" y="69"/>
                  </a:lnTo>
                  <a:lnTo>
                    <a:pt x="5" y="69"/>
                  </a:lnTo>
                  <a:lnTo>
                    <a:pt x="5" y="69"/>
                  </a:lnTo>
                  <a:lnTo>
                    <a:pt x="5" y="69"/>
                  </a:lnTo>
                  <a:close/>
                  <a:moveTo>
                    <a:pt x="8" y="54"/>
                  </a:moveTo>
                  <a:lnTo>
                    <a:pt x="8" y="54"/>
                  </a:lnTo>
                  <a:lnTo>
                    <a:pt x="8" y="54"/>
                  </a:lnTo>
                  <a:lnTo>
                    <a:pt x="8" y="54"/>
                  </a:lnTo>
                  <a:lnTo>
                    <a:pt x="8" y="54"/>
                  </a:lnTo>
                  <a:lnTo>
                    <a:pt x="8" y="54"/>
                  </a:lnTo>
                  <a:lnTo>
                    <a:pt x="8" y="54"/>
                  </a:lnTo>
                  <a:close/>
                  <a:moveTo>
                    <a:pt x="8" y="45"/>
                  </a:moveTo>
                  <a:lnTo>
                    <a:pt x="8" y="45"/>
                  </a:lnTo>
                  <a:lnTo>
                    <a:pt x="8" y="45"/>
                  </a:lnTo>
                  <a:lnTo>
                    <a:pt x="8" y="45"/>
                  </a:lnTo>
                  <a:lnTo>
                    <a:pt x="8" y="45"/>
                  </a:lnTo>
                  <a:lnTo>
                    <a:pt x="8" y="45"/>
                  </a:lnTo>
                  <a:lnTo>
                    <a:pt x="8" y="45"/>
                  </a:lnTo>
                  <a:lnTo>
                    <a:pt x="8" y="45"/>
                  </a:lnTo>
                  <a:close/>
                  <a:moveTo>
                    <a:pt x="36" y="24"/>
                  </a:moveTo>
                  <a:lnTo>
                    <a:pt x="36" y="24"/>
                  </a:lnTo>
                  <a:lnTo>
                    <a:pt x="36" y="24"/>
                  </a:lnTo>
                  <a:lnTo>
                    <a:pt x="36" y="24"/>
                  </a:lnTo>
                  <a:lnTo>
                    <a:pt x="36" y="24"/>
                  </a:lnTo>
                  <a:lnTo>
                    <a:pt x="36" y="24"/>
                  </a:lnTo>
                  <a:close/>
                  <a:moveTo>
                    <a:pt x="38" y="21"/>
                  </a:moveTo>
                  <a:lnTo>
                    <a:pt x="38" y="21"/>
                  </a:lnTo>
                  <a:lnTo>
                    <a:pt x="38" y="21"/>
                  </a:lnTo>
                  <a:lnTo>
                    <a:pt x="38" y="21"/>
                  </a:lnTo>
                  <a:lnTo>
                    <a:pt x="38" y="21"/>
                  </a:lnTo>
                  <a:lnTo>
                    <a:pt x="38" y="21"/>
                  </a:lnTo>
                  <a:lnTo>
                    <a:pt x="38" y="21"/>
                  </a:lnTo>
                  <a:close/>
                  <a:moveTo>
                    <a:pt x="17" y="7"/>
                  </a:moveTo>
                  <a:lnTo>
                    <a:pt x="17" y="7"/>
                  </a:lnTo>
                  <a:lnTo>
                    <a:pt x="17" y="7"/>
                  </a:lnTo>
                  <a:lnTo>
                    <a:pt x="17" y="7"/>
                  </a:lnTo>
                  <a:lnTo>
                    <a:pt x="17" y="7"/>
                  </a:lnTo>
                  <a:close/>
                  <a:moveTo>
                    <a:pt x="0" y="0"/>
                  </a:move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8" name="Freeform 55045"/>
            <p:cNvSpPr>
              <a:spLocks noEditPoints="1"/>
            </p:cNvSpPr>
            <p:nvPr/>
          </p:nvSpPr>
          <p:spPr bwMode="auto">
            <a:xfrm>
              <a:off x="4473572" y="1865320"/>
              <a:ext cx="979487" cy="1263653"/>
            </a:xfrm>
            <a:custGeom>
              <a:avLst/>
              <a:gdLst>
                <a:gd name="T0" fmla="*/ 107 w 617"/>
                <a:gd name="T1" fmla="*/ 774 h 796"/>
                <a:gd name="T2" fmla="*/ 102 w 617"/>
                <a:gd name="T3" fmla="*/ 779 h 796"/>
                <a:gd name="T4" fmla="*/ 100 w 617"/>
                <a:gd name="T5" fmla="*/ 782 h 796"/>
                <a:gd name="T6" fmla="*/ 93 w 617"/>
                <a:gd name="T7" fmla="*/ 786 h 796"/>
                <a:gd name="T8" fmla="*/ 74 w 617"/>
                <a:gd name="T9" fmla="*/ 793 h 796"/>
                <a:gd name="T10" fmla="*/ 67 w 617"/>
                <a:gd name="T11" fmla="*/ 793 h 796"/>
                <a:gd name="T12" fmla="*/ 59 w 617"/>
                <a:gd name="T13" fmla="*/ 791 h 796"/>
                <a:gd name="T14" fmla="*/ 50 w 617"/>
                <a:gd name="T15" fmla="*/ 784 h 796"/>
                <a:gd name="T16" fmla="*/ 55 w 617"/>
                <a:gd name="T17" fmla="*/ 793 h 796"/>
                <a:gd name="T18" fmla="*/ 52 w 617"/>
                <a:gd name="T19" fmla="*/ 763 h 796"/>
                <a:gd name="T20" fmla="*/ 78 w 617"/>
                <a:gd name="T21" fmla="*/ 746 h 796"/>
                <a:gd name="T22" fmla="*/ 102 w 617"/>
                <a:gd name="T23" fmla="*/ 758 h 796"/>
                <a:gd name="T24" fmla="*/ 112 w 617"/>
                <a:gd name="T25" fmla="*/ 774 h 796"/>
                <a:gd name="T26" fmla="*/ 112 w 617"/>
                <a:gd name="T27" fmla="*/ 770 h 796"/>
                <a:gd name="T28" fmla="*/ 427 w 617"/>
                <a:gd name="T29" fmla="*/ 708 h 796"/>
                <a:gd name="T30" fmla="*/ 451 w 617"/>
                <a:gd name="T31" fmla="*/ 722 h 796"/>
                <a:gd name="T32" fmla="*/ 441 w 617"/>
                <a:gd name="T33" fmla="*/ 734 h 796"/>
                <a:gd name="T34" fmla="*/ 425 w 617"/>
                <a:gd name="T35" fmla="*/ 729 h 796"/>
                <a:gd name="T36" fmla="*/ 406 w 617"/>
                <a:gd name="T37" fmla="*/ 720 h 796"/>
                <a:gd name="T38" fmla="*/ 394 w 617"/>
                <a:gd name="T39" fmla="*/ 717 h 796"/>
                <a:gd name="T40" fmla="*/ 387 w 617"/>
                <a:gd name="T41" fmla="*/ 708 h 796"/>
                <a:gd name="T42" fmla="*/ 384 w 617"/>
                <a:gd name="T43" fmla="*/ 703 h 796"/>
                <a:gd name="T44" fmla="*/ 394 w 617"/>
                <a:gd name="T45" fmla="*/ 701 h 796"/>
                <a:gd name="T46" fmla="*/ 406 w 617"/>
                <a:gd name="T47" fmla="*/ 691 h 796"/>
                <a:gd name="T48" fmla="*/ 510 w 617"/>
                <a:gd name="T49" fmla="*/ 33 h 796"/>
                <a:gd name="T50" fmla="*/ 491 w 617"/>
                <a:gd name="T51" fmla="*/ 50 h 796"/>
                <a:gd name="T52" fmla="*/ 458 w 617"/>
                <a:gd name="T53" fmla="*/ 57 h 796"/>
                <a:gd name="T54" fmla="*/ 422 w 617"/>
                <a:gd name="T55" fmla="*/ 55 h 796"/>
                <a:gd name="T56" fmla="*/ 420 w 617"/>
                <a:gd name="T57" fmla="*/ 36 h 796"/>
                <a:gd name="T58" fmla="*/ 434 w 617"/>
                <a:gd name="T59" fmla="*/ 28 h 796"/>
                <a:gd name="T60" fmla="*/ 449 w 617"/>
                <a:gd name="T61" fmla="*/ 31 h 796"/>
                <a:gd name="T62" fmla="*/ 486 w 617"/>
                <a:gd name="T63" fmla="*/ 26 h 796"/>
                <a:gd name="T64" fmla="*/ 121 w 617"/>
                <a:gd name="T65" fmla="*/ 28 h 796"/>
                <a:gd name="T66" fmla="*/ 123 w 617"/>
                <a:gd name="T67" fmla="*/ 33 h 796"/>
                <a:gd name="T68" fmla="*/ 152 w 617"/>
                <a:gd name="T69" fmla="*/ 28 h 796"/>
                <a:gd name="T70" fmla="*/ 150 w 617"/>
                <a:gd name="T71" fmla="*/ 40 h 796"/>
                <a:gd name="T72" fmla="*/ 109 w 617"/>
                <a:gd name="T73" fmla="*/ 47 h 796"/>
                <a:gd name="T74" fmla="*/ 95 w 617"/>
                <a:gd name="T75" fmla="*/ 59 h 796"/>
                <a:gd name="T76" fmla="*/ 67 w 617"/>
                <a:gd name="T77" fmla="*/ 62 h 796"/>
                <a:gd name="T78" fmla="*/ 74 w 617"/>
                <a:gd name="T79" fmla="*/ 66 h 796"/>
                <a:gd name="T80" fmla="*/ 67 w 617"/>
                <a:gd name="T81" fmla="*/ 74 h 796"/>
                <a:gd name="T82" fmla="*/ 45 w 617"/>
                <a:gd name="T83" fmla="*/ 76 h 796"/>
                <a:gd name="T84" fmla="*/ 48 w 617"/>
                <a:gd name="T85" fmla="*/ 69 h 796"/>
                <a:gd name="T86" fmla="*/ 26 w 617"/>
                <a:gd name="T87" fmla="*/ 66 h 796"/>
                <a:gd name="T88" fmla="*/ 7 w 617"/>
                <a:gd name="T89" fmla="*/ 66 h 796"/>
                <a:gd name="T90" fmla="*/ 21 w 617"/>
                <a:gd name="T91" fmla="*/ 62 h 796"/>
                <a:gd name="T92" fmla="*/ 48 w 617"/>
                <a:gd name="T93" fmla="*/ 59 h 796"/>
                <a:gd name="T94" fmla="*/ 50 w 617"/>
                <a:gd name="T95" fmla="*/ 55 h 796"/>
                <a:gd name="T96" fmla="*/ 26 w 617"/>
                <a:gd name="T97" fmla="*/ 50 h 796"/>
                <a:gd name="T98" fmla="*/ 64 w 617"/>
                <a:gd name="T99" fmla="*/ 47 h 796"/>
                <a:gd name="T100" fmla="*/ 83 w 617"/>
                <a:gd name="T101" fmla="*/ 43 h 796"/>
                <a:gd name="T102" fmla="*/ 95 w 617"/>
                <a:gd name="T103" fmla="*/ 36 h 796"/>
                <a:gd name="T104" fmla="*/ 81 w 617"/>
                <a:gd name="T105" fmla="*/ 33 h 796"/>
                <a:gd name="T106" fmla="*/ 90 w 617"/>
                <a:gd name="T107" fmla="*/ 26 h 796"/>
                <a:gd name="T108" fmla="*/ 123 w 617"/>
                <a:gd name="T109" fmla="*/ 19 h 796"/>
                <a:gd name="T110" fmla="*/ 116 w 617"/>
                <a:gd name="T111" fmla="*/ 24 h 796"/>
                <a:gd name="T112" fmla="*/ 596 w 617"/>
                <a:gd name="T113" fmla="*/ 2 h 796"/>
                <a:gd name="T114" fmla="*/ 612 w 617"/>
                <a:gd name="T115" fmla="*/ 14 h 796"/>
                <a:gd name="T116" fmla="*/ 593 w 617"/>
                <a:gd name="T117" fmla="*/ 31 h 796"/>
                <a:gd name="T118" fmla="*/ 560 w 617"/>
                <a:gd name="T119" fmla="*/ 36 h 796"/>
                <a:gd name="T120" fmla="*/ 529 w 617"/>
                <a:gd name="T121" fmla="*/ 33 h 796"/>
                <a:gd name="T122" fmla="*/ 543 w 617"/>
                <a:gd name="T123" fmla="*/ 17 h 796"/>
                <a:gd name="T124" fmla="*/ 574 w 617"/>
                <a:gd name="T125" fmla="*/ 1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7" h="796">
                  <a:moveTo>
                    <a:pt x="112" y="770"/>
                  </a:moveTo>
                  <a:lnTo>
                    <a:pt x="109" y="770"/>
                  </a:lnTo>
                  <a:lnTo>
                    <a:pt x="112" y="770"/>
                  </a:lnTo>
                  <a:lnTo>
                    <a:pt x="109" y="770"/>
                  </a:lnTo>
                  <a:lnTo>
                    <a:pt x="112" y="770"/>
                  </a:lnTo>
                  <a:lnTo>
                    <a:pt x="109" y="770"/>
                  </a:lnTo>
                  <a:lnTo>
                    <a:pt x="109" y="772"/>
                  </a:lnTo>
                  <a:lnTo>
                    <a:pt x="109" y="770"/>
                  </a:lnTo>
                  <a:lnTo>
                    <a:pt x="109" y="772"/>
                  </a:lnTo>
                  <a:lnTo>
                    <a:pt x="107" y="772"/>
                  </a:lnTo>
                  <a:lnTo>
                    <a:pt x="107" y="774"/>
                  </a:lnTo>
                  <a:lnTo>
                    <a:pt x="107" y="772"/>
                  </a:lnTo>
                  <a:lnTo>
                    <a:pt x="107" y="774"/>
                  </a:lnTo>
                  <a:lnTo>
                    <a:pt x="107" y="772"/>
                  </a:lnTo>
                  <a:lnTo>
                    <a:pt x="107" y="774"/>
                  </a:lnTo>
                  <a:lnTo>
                    <a:pt x="107" y="772"/>
                  </a:lnTo>
                  <a:lnTo>
                    <a:pt x="104" y="772"/>
                  </a:lnTo>
                  <a:lnTo>
                    <a:pt x="104" y="774"/>
                  </a:lnTo>
                  <a:lnTo>
                    <a:pt x="104" y="777"/>
                  </a:lnTo>
                  <a:lnTo>
                    <a:pt x="104" y="774"/>
                  </a:lnTo>
                  <a:lnTo>
                    <a:pt x="107" y="777"/>
                  </a:lnTo>
                  <a:lnTo>
                    <a:pt x="104" y="777"/>
                  </a:lnTo>
                  <a:lnTo>
                    <a:pt x="107" y="777"/>
                  </a:lnTo>
                  <a:lnTo>
                    <a:pt x="104" y="777"/>
                  </a:lnTo>
                  <a:lnTo>
                    <a:pt x="107" y="777"/>
                  </a:lnTo>
                  <a:lnTo>
                    <a:pt x="104" y="777"/>
                  </a:lnTo>
                  <a:lnTo>
                    <a:pt x="107" y="777"/>
                  </a:lnTo>
                  <a:lnTo>
                    <a:pt x="104" y="777"/>
                  </a:lnTo>
                  <a:lnTo>
                    <a:pt x="104" y="779"/>
                  </a:lnTo>
                  <a:lnTo>
                    <a:pt x="102" y="779"/>
                  </a:lnTo>
                  <a:lnTo>
                    <a:pt x="104" y="779"/>
                  </a:lnTo>
                  <a:lnTo>
                    <a:pt x="102" y="779"/>
                  </a:lnTo>
                  <a:lnTo>
                    <a:pt x="104" y="779"/>
                  </a:lnTo>
                  <a:lnTo>
                    <a:pt x="102" y="779"/>
                  </a:lnTo>
                  <a:lnTo>
                    <a:pt x="104" y="779"/>
                  </a:lnTo>
                  <a:lnTo>
                    <a:pt x="102" y="779"/>
                  </a:lnTo>
                  <a:lnTo>
                    <a:pt x="104" y="779"/>
                  </a:lnTo>
                  <a:lnTo>
                    <a:pt x="102" y="779"/>
                  </a:lnTo>
                  <a:lnTo>
                    <a:pt x="100" y="779"/>
                  </a:lnTo>
                  <a:lnTo>
                    <a:pt x="102" y="779"/>
                  </a:lnTo>
                  <a:lnTo>
                    <a:pt x="100" y="779"/>
                  </a:lnTo>
                  <a:lnTo>
                    <a:pt x="102" y="779"/>
                  </a:lnTo>
                  <a:lnTo>
                    <a:pt x="100" y="779"/>
                  </a:lnTo>
                  <a:lnTo>
                    <a:pt x="102" y="779"/>
                  </a:lnTo>
                  <a:lnTo>
                    <a:pt x="100" y="782"/>
                  </a:lnTo>
                  <a:lnTo>
                    <a:pt x="100" y="779"/>
                  </a:lnTo>
                  <a:lnTo>
                    <a:pt x="100" y="782"/>
                  </a:lnTo>
                  <a:lnTo>
                    <a:pt x="100" y="784"/>
                  </a:lnTo>
                  <a:lnTo>
                    <a:pt x="97" y="784"/>
                  </a:lnTo>
                  <a:lnTo>
                    <a:pt x="100" y="784"/>
                  </a:lnTo>
                  <a:lnTo>
                    <a:pt x="97" y="784"/>
                  </a:lnTo>
                  <a:lnTo>
                    <a:pt x="100" y="784"/>
                  </a:lnTo>
                  <a:lnTo>
                    <a:pt x="97" y="784"/>
                  </a:lnTo>
                  <a:lnTo>
                    <a:pt x="97" y="786"/>
                  </a:lnTo>
                  <a:lnTo>
                    <a:pt x="97" y="784"/>
                  </a:lnTo>
                  <a:lnTo>
                    <a:pt x="97" y="786"/>
                  </a:lnTo>
                  <a:lnTo>
                    <a:pt x="95" y="786"/>
                  </a:lnTo>
                  <a:lnTo>
                    <a:pt x="93" y="786"/>
                  </a:lnTo>
                  <a:lnTo>
                    <a:pt x="95" y="786"/>
                  </a:lnTo>
                  <a:lnTo>
                    <a:pt x="93" y="786"/>
                  </a:lnTo>
                  <a:lnTo>
                    <a:pt x="93" y="789"/>
                  </a:lnTo>
                  <a:lnTo>
                    <a:pt x="90" y="789"/>
                  </a:lnTo>
                  <a:lnTo>
                    <a:pt x="90" y="786"/>
                  </a:lnTo>
                  <a:lnTo>
                    <a:pt x="90" y="789"/>
                  </a:lnTo>
                  <a:lnTo>
                    <a:pt x="88" y="789"/>
                  </a:lnTo>
                  <a:lnTo>
                    <a:pt x="85" y="789"/>
                  </a:lnTo>
                  <a:lnTo>
                    <a:pt x="83" y="789"/>
                  </a:lnTo>
                  <a:lnTo>
                    <a:pt x="83" y="791"/>
                  </a:lnTo>
                  <a:lnTo>
                    <a:pt x="81" y="791"/>
                  </a:lnTo>
                  <a:lnTo>
                    <a:pt x="78" y="791"/>
                  </a:lnTo>
                  <a:lnTo>
                    <a:pt x="76" y="791"/>
                  </a:lnTo>
                  <a:lnTo>
                    <a:pt x="74" y="791"/>
                  </a:lnTo>
                  <a:lnTo>
                    <a:pt x="74" y="793"/>
                  </a:lnTo>
                  <a:lnTo>
                    <a:pt x="71" y="793"/>
                  </a:lnTo>
                  <a:lnTo>
                    <a:pt x="74" y="793"/>
                  </a:lnTo>
                  <a:lnTo>
                    <a:pt x="74" y="796"/>
                  </a:lnTo>
                  <a:lnTo>
                    <a:pt x="74" y="793"/>
                  </a:lnTo>
                  <a:lnTo>
                    <a:pt x="74" y="796"/>
                  </a:lnTo>
                  <a:lnTo>
                    <a:pt x="74" y="793"/>
                  </a:lnTo>
                  <a:lnTo>
                    <a:pt x="74" y="796"/>
                  </a:lnTo>
                  <a:lnTo>
                    <a:pt x="74" y="793"/>
                  </a:lnTo>
                  <a:lnTo>
                    <a:pt x="74" y="796"/>
                  </a:lnTo>
                  <a:lnTo>
                    <a:pt x="74" y="793"/>
                  </a:lnTo>
                  <a:lnTo>
                    <a:pt x="76" y="796"/>
                  </a:lnTo>
                  <a:lnTo>
                    <a:pt x="78" y="796"/>
                  </a:lnTo>
                  <a:lnTo>
                    <a:pt x="74" y="796"/>
                  </a:lnTo>
                  <a:lnTo>
                    <a:pt x="71" y="796"/>
                  </a:lnTo>
                  <a:lnTo>
                    <a:pt x="67" y="793"/>
                  </a:lnTo>
                  <a:lnTo>
                    <a:pt x="69" y="793"/>
                  </a:lnTo>
                  <a:lnTo>
                    <a:pt x="67" y="793"/>
                  </a:lnTo>
                  <a:lnTo>
                    <a:pt x="64" y="791"/>
                  </a:lnTo>
                  <a:lnTo>
                    <a:pt x="67" y="791"/>
                  </a:lnTo>
                  <a:lnTo>
                    <a:pt x="64" y="791"/>
                  </a:lnTo>
                  <a:lnTo>
                    <a:pt x="67" y="791"/>
                  </a:lnTo>
                  <a:lnTo>
                    <a:pt x="64" y="791"/>
                  </a:lnTo>
                  <a:lnTo>
                    <a:pt x="67" y="793"/>
                  </a:lnTo>
                  <a:lnTo>
                    <a:pt x="64" y="793"/>
                  </a:lnTo>
                  <a:lnTo>
                    <a:pt x="62" y="793"/>
                  </a:lnTo>
                  <a:lnTo>
                    <a:pt x="59" y="793"/>
                  </a:lnTo>
                  <a:lnTo>
                    <a:pt x="57" y="793"/>
                  </a:lnTo>
                  <a:lnTo>
                    <a:pt x="55" y="791"/>
                  </a:lnTo>
                  <a:lnTo>
                    <a:pt x="57" y="791"/>
                  </a:lnTo>
                  <a:lnTo>
                    <a:pt x="59" y="791"/>
                  </a:lnTo>
                  <a:lnTo>
                    <a:pt x="57" y="791"/>
                  </a:lnTo>
                  <a:lnTo>
                    <a:pt x="59" y="791"/>
                  </a:lnTo>
                  <a:lnTo>
                    <a:pt x="59" y="793"/>
                  </a:lnTo>
                  <a:lnTo>
                    <a:pt x="59" y="791"/>
                  </a:lnTo>
                  <a:lnTo>
                    <a:pt x="59" y="793"/>
                  </a:lnTo>
                  <a:lnTo>
                    <a:pt x="62" y="793"/>
                  </a:lnTo>
                  <a:lnTo>
                    <a:pt x="62" y="791"/>
                  </a:lnTo>
                  <a:lnTo>
                    <a:pt x="59" y="793"/>
                  </a:lnTo>
                  <a:lnTo>
                    <a:pt x="59" y="791"/>
                  </a:lnTo>
                  <a:lnTo>
                    <a:pt x="57" y="791"/>
                  </a:lnTo>
                  <a:lnTo>
                    <a:pt x="57" y="789"/>
                  </a:lnTo>
                  <a:lnTo>
                    <a:pt x="55" y="789"/>
                  </a:lnTo>
                  <a:lnTo>
                    <a:pt x="57" y="789"/>
                  </a:lnTo>
                  <a:lnTo>
                    <a:pt x="55" y="789"/>
                  </a:lnTo>
                  <a:lnTo>
                    <a:pt x="52" y="786"/>
                  </a:lnTo>
                  <a:lnTo>
                    <a:pt x="50" y="786"/>
                  </a:lnTo>
                  <a:lnTo>
                    <a:pt x="50" y="784"/>
                  </a:lnTo>
                  <a:lnTo>
                    <a:pt x="52" y="786"/>
                  </a:lnTo>
                  <a:lnTo>
                    <a:pt x="52" y="784"/>
                  </a:lnTo>
                  <a:lnTo>
                    <a:pt x="50" y="784"/>
                  </a:lnTo>
                  <a:lnTo>
                    <a:pt x="50" y="786"/>
                  </a:lnTo>
                  <a:lnTo>
                    <a:pt x="50" y="789"/>
                  </a:lnTo>
                  <a:lnTo>
                    <a:pt x="52" y="789"/>
                  </a:lnTo>
                  <a:lnTo>
                    <a:pt x="50" y="789"/>
                  </a:lnTo>
                  <a:lnTo>
                    <a:pt x="52" y="789"/>
                  </a:lnTo>
                  <a:lnTo>
                    <a:pt x="52" y="791"/>
                  </a:lnTo>
                  <a:lnTo>
                    <a:pt x="52" y="789"/>
                  </a:lnTo>
                  <a:lnTo>
                    <a:pt x="52" y="791"/>
                  </a:lnTo>
                  <a:lnTo>
                    <a:pt x="55" y="791"/>
                  </a:lnTo>
                  <a:lnTo>
                    <a:pt x="52" y="791"/>
                  </a:lnTo>
                  <a:lnTo>
                    <a:pt x="55" y="791"/>
                  </a:lnTo>
                  <a:lnTo>
                    <a:pt x="55" y="793"/>
                  </a:lnTo>
                  <a:lnTo>
                    <a:pt x="57" y="793"/>
                  </a:lnTo>
                  <a:lnTo>
                    <a:pt x="55" y="793"/>
                  </a:lnTo>
                  <a:lnTo>
                    <a:pt x="55" y="791"/>
                  </a:lnTo>
                  <a:lnTo>
                    <a:pt x="52" y="791"/>
                  </a:lnTo>
                  <a:lnTo>
                    <a:pt x="50" y="789"/>
                  </a:lnTo>
                  <a:lnTo>
                    <a:pt x="50" y="786"/>
                  </a:lnTo>
                  <a:lnTo>
                    <a:pt x="50" y="784"/>
                  </a:lnTo>
                  <a:lnTo>
                    <a:pt x="50" y="782"/>
                  </a:lnTo>
                  <a:lnTo>
                    <a:pt x="50" y="779"/>
                  </a:lnTo>
                  <a:lnTo>
                    <a:pt x="50" y="777"/>
                  </a:lnTo>
                  <a:lnTo>
                    <a:pt x="50" y="774"/>
                  </a:lnTo>
                  <a:lnTo>
                    <a:pt x="50" y="772"/>
                  </a:lnTo>
                  <a:lnTo>
                    <a:pt x="50" y="770"/>
                  </a:lnTo>
                  <a:lnTo>
                    <a:pt x="50" y="767"/>
                  </a:lnTo>
                  <a:lnTo>
                    <a:pt x="52" y="763"/>
                  </a:lnTo>
                  <a:lnTo>
                    <a:pt x="52" y="760"/>
                  </a:lnTo>
                  <a:lnTo>
                    <a:pt x="55" y="760"/>
                  </a:lnTo>
                  <a:lnTo>
                    <a:pt x="55" y="758"/>
                  </a:lnTo>
                  <a:lnTo>
                    <a:pt x="57" y="758"/>
                  </a:lnTo>
                  <a:lnTo>
                    <a:pt x="57" y="755"/>
                  </a:lnTo>
                  <a:lnTo>
                    <a:pt x="59" y="755"/>
                  </a:lnTo>
                  <a:lnTo>
                    <a:pt x="59" y="753"/>
                  </a:lnTo>
                  <a:lnTo>
                    <a:pt x="62" y="753"/>
                  </a:lnTo>
                  <a:lnTo>
                    <a:pt x="67" y="751"/>
                  </a:lnTo>
                  <a:lnTo>
                    <a:pt x="67" y="748"/>
                  </a:lnTo>
                  <a:lnTo>
                    <a:pt x="69" y="748"/>
                  </a:lnTo>
                  <a:lnTo>
                    <a:pt x="71" y="748"/>
                  </a:lnTo>
                  <a:lnTo>
                    <a:pt x="74" y="748"/>
                  </a:lnTo>
                  <a:lnTo>
                    <a:pt x="74" y="746"/>
                  </a:lnTo>
                  <a:lnTo>
                    <a:pt x="78" y="746"/>
                  </a:lnTo>
                  <a:lnTo>
                    <a:pt x="78" y="748"/>
                  </a:lnTo>
                  <a:lnTo>
                    <a:pt x="78" y="746"/>
                  </a:lnTo>
                  <a:lnTo>
                    <a:pt x="83" y="746"/>
                  </a:lnTo>
                  <a:lnTo>
                    <a:pt x="83" y="748"/>
                  </a:lnTo>
                  <a:lnTo>
                    <a:pt x="83" y="746"/>
                  </a:lnTo>
                  <a:lnTo>
                    <a:pt x="85" y="748"/>
                  </a:lnTo>
                  <a:lnTo>
                    <a:pt x="88" y="748"/>
                  </a:lnTo>
                  <a:lnTo>
                    <a:pt x="90" y="748"/>
                  </a:lnTo>
                  <a:lnTo>
                    <a:pt x="90" y="751"/>
                  </a:lnTo>
                  <a:lnTo>
                    <a:pt x="93" y="751"/>
                  </a:lnTo>
                  <a:lnTo>
                    <a:pt x="95" y="753"/>
                  </a:lnTo>
                  <a:lnTo>
                    <a:pt x="97" y="753"/>
                  </a:lnTo>
                  <a:lnTo>
                    <a:pt x="100" y="755"/>
                  </a:lnTo>
                  <a:lnTo>
                    <a:pt x="102" y="755"/>
                  </a:lnTo>
                  <a:lnTo>
                    <a:pt x="102" y="758"/>
                  </a:lnTo>
                  <a:lnTo>
                    <a:pt x="104" y="758"/>
                  </a:lnTo>
                  <a:lnTo>
                    <a:pt x="107" y="758"/>
                  </a:lnTo>
                  <a:lnTo>
                    <a:pt x="109" y="760"/>
                  </a:lnTo>
                  <a:lnTo>
                    <a:pt x="112" y="760"/>
                  </a:lnTo>
                  <a:lnTo>
                    <a:pt x="112" y="763"/>
                  </a:lnTo>
                  <a:lnTo>
                    <a:pt x="114" y="763"/>
                  </a:lnTo>
                  <a:lnTo>
                    <a:pt x="116" y="765"/>
                  </a:lnTo>
                  <a:lnTo>
                    <a:pt x="116" y="767"/>
                  </a:lnTo>
                  <a:lnTo>
                    <a:pt x="119" y="767"/>
                  </a:lnTo>
                  <a:lnTo>
                    <a:pt x="119" y="770"/>
                  </a:lnTo>
                  <a:lnTo>
                    <a:pt x="119" y="772"/>
                  </a:lnTo>
                  <a:lnTo>
                    <a:pt x="116" y="772"/>
                  </a:lnTo>
                  <a:lnTo>
                    <a:pt x="114" y="774"/>
                  </a:lnTo>
                  <a:lnTo>
                    <a:pt x="112" y="777"/>
                  </a:lnTo>
                  <a:lnTo>
                    <a:pt x="112" y="774"/>
                  </a:lnTo>
                  <a:lnTo>
                    <a:pt x="114" y="774"/>
                  </a:lnTo>
                  <a:lnTo>
                    <a:pt x="114" y="772"/>
                  </a:lnTo>
                  <a:lnTo>
                    <a:pt x="114" y="774"/>
                  </a:lnTo>
                  <a:lnTo>
                    <a:pt x="112" y="774"/>
                  </a:lnTo>
                  <a:lnTo>
                    <a:pt x="114" y="774"/>
                  </a:lnTo>
                  <a:lnTo>
                    <a:pt x="112" y="774"/>
                  </a:lnTo>
                  <a:lnTo>
                    <a:pt x="114" y="772"/>
                  </a:lnTo>
                  <a:lnTo>
                    <a:pt x="114" y="770"/>
                  </a:lnTo>
                  <a:lnTo>
                    <a:pt x="114" y="767"/>
                  </a:lnTo>
                  <a:lnTo>
                    <a:pt x="114" y="770"/>
                  </a:lnTo>
                  <a:lnTo>
                    <a:pt x="114" y="767"/>
                  </a:lnTo>
                  <a:lnTo>
                    <a:pt x="114" y="770"/>
                  </a:lnTo>
                  <a:lnTo>
                    <a:pt x="112" y="770"/>
                  </a:lnTo>
                  <a:lnTo>
                    <a:pt x="114" y="770"/>
                  </a:lnTo>
                  <a:lnTo>
                    <a:pt x="112" y="770"/>
                  </a:lnTo>
                  <a:close/>
                  <a:moveTo>
                    <a:pt x="408" y="691"/>
                  </a:moveTo>
                  <a:lnTo>
                    <a:pt x="406" y="691"/>
                  </a:lnTo>
                  <a:lnTo>
                    <a:pt x="408" y="691"/>
                  </a:lnTo>
                  <a:lnTo>
                    <a:pt x="411" y="694"/>
                  </a:lnTo>
                  <a:lnTo>
                    <a:pt x="413" y="694"/>
                  </a:lnTo>
                  <a:lnTo>
                    <a:pt x="415" y="696"/>
                  </a:lnTo>
                  <a:lnTo>
                    <a:pt x="418" y="696"/>
                  </a:lnTo>
                  <a:lnTo>
                    <a:pt x="418" y="698"/>
                  </a:lnTo>
                  <a:lnTo>
                    <a:pt x="420" y="701"/>
                  </a:lnTo>
                  <a:lnTo>
                    <a:pt x="422" y="701"/>
                  </a:lnTo>
                  <a:lnTo>
                    <a:pt x="422" y="703"/>
                  </a:lnTo>
                  <a:lnTo>
                    <a:pt x="425" y="703"/>
                  </a:lnTo>
                  <a:lnTo>
                    <a:pt x="425" y="706"/>
                  </a:lnTo>
                  <a:lnTo>
                    <a:pt x="427" y="706"/>
                  </a:lnTo>
                  <a:lnTo>
                    <a:pt x="427" y="708"/>
                  </a:lnTo>
                  <a:lnTo>
                    <a:pt x="430" y="708"/>
                  </a:lnTo>
                  <a:lnTo>
                    <a:pt x="432" y="708"/>
                  </a:lnTo>
                  <a:lnTo>
                    <a:pt x="432" y="710"/>
                  </a:lnTo>
                  <a:lnTo>
                    <a:pt x="434" y="710"/>
                  </a:lnTo>
                  <a:lnTo>
                    <a:pt x="434" y="713"/>
                  </a:lnTo>
                  <a:lnTo>
                    <a:pt x="437" y="713"/>
                  </a:lnTo>
                  <a:lnTo>
                    <a:pt x="439" y="713"/>
                  </a:lnTo>
                  <a:lnTo>
                    <a:pt x="441" y="715"/>
                  </a:lnTo>
                  <a:lnTo>
                    <a:pt x="444" y="715"/>
                  </a:lnTo>
                  <a:lnTo>
                    <a:pt x="444" y="717"/>
                  </a:lnTo>
                  <a:lnTo>
                    <a:pt x="446" y="720"/>
                  </a:lnTo>
                  <a:lnTo>
                    <a:pt x="449" y="720"/>
                  </a:lnTo>
                  <a:lnTo>
                    <a:pt x="449" y="722"/>
                  </a:lnTo>
                  <a:lnTo>
                    <a:pt x="451" y="720"/>
                  </a:lnTo>
                  <a:lnTo>
                    <a:pt x="451" y="722"/>
                  </a:lnTo>
                  <a:lnTo>
                    <a:pt x="453" y="722"/>
                  </a:lnTo>
                  <a:lnTo>
                    <a:pt x="453" y="725"/>
                  </a:lnTo>
                  <a:lnTo>
                    <a:pt x="453" y="727"/>
                  </a:lnTo>
                  <a:lnTo>
                    <a:pt x="456" y="727"/>
                  </a:lnTo>
                  <a:lnTo>
                    <a:pt x="456" y="729"/>
                  </a:lnTo>
                  <a:lnTo>
                    <a:pt x="453" y="732"/>
                  </a:lnTo>
                  <a:lnTo>
                    <a:pt x="453" y="734"/>
                  </a:lnTo>
                  <a:lnTo>
                    <a:pt x="451" y="734"/>
                  </a:lnTo>
                  <a:lnTo>
                    <a:pt x="449" y="734"/>
                  </a:lnTo>
                  <a:lnTo>
                    <a:pt x="449" y="736"/>
                  </a:lnTo>
                  <a:lnTo>
                    <a:pt x="446" y="736"/>
                  </a:lnTo>
                  <a:lnTo>
                    <a:pt x="444" y="736"/>
                  </a:lnTo>
                  <a:lnTo>
                    <a:pt x="441" y="734"/>
                  </a:lnTo>
                  <a:lnTo>
                    <a:pt x="439" y="734"/>
                  </a:lnTo>
                  <a:lnTo>
                    <a:pt x="441" y="734"/>
                  </a:lnTo>
                  <a:lnTo>
                    <a:pt x="439" y="734"/>
                  </a:lnTo>
                  <a:lnTo>
                    <a:pt x="437" y="734"/>
                  </a:lnTo>
                  <a:lnTo>
                    <a:pt x="439" y="736"/>
                  </a:lnTo>
                  <a:lnTo>
                    <a:pt x="437" y="734"/>
                  </a:lnTo>
                  <a:lnTo>
                    <a:pt x="437" y="736"/>
                  </a:lnTo>
                  <a:lnTo>
                    <a:pt x="434" y="736"/>
                  </a:lnTo>
                  <a:lnTo>
                    <a:pt x="432" y="736"/>
                  </a:lnTo>
                  <a:lnTo>
                    <a:pt x="430" y="736"/>
                  </a:lnTo>
                  <a:lnTo>
                    <a:pt x="430" y="734"/>
                  </a:lnTo>
                  <a:lnTo>
                    <a:pt x="427" y="734"/>
                  </a:lnTo>
                  <a:lnTo>
                    <a:pt x="425" y="734"/>
                  </a:lnTo>
                  <a:lnTo>
                    <a:pt x="425" y="732"/>
                  </a:lnTo>
                  <a:lnTo>
                    <a:pt x="425" y="729"/>
                  </a:lnTo>
                  <a:lnTo>
                    <a:pt x="425" y="732"/>
                  </a:lnTo>
                  <a:lnTo>
                    <a:pt x="425" y="729"/>
                  </a:lnTo>
                  <a:lnTo>
                    <a:pt x="427" y="729"/>
                  </a:lnTo>
                  <a:lnTo>
                    <a:pt x="427" y="732"/>
                  </a:lnTo>
                  <a:lnTo>
                    <a:pt x="430" y="729"/>
                  </a:lnTo>
                  <a:lnTo>
                    <a:pt x="427" y="729"/>
                  </a:lnTo>
                  <a:lnTo>
                    <a:pt x="425" y="727"/>
                  </a:lnTo>
                  <a:lnTo>
                    <a:pt x="422" y="725"/>
                  </a:lnTo>
                  <a:lnTo>
                    <a:pt x="420" y="725"/>
                  </a:lnTo>
                  <a:lnTo>
                    <a:pt x="418" y="725"/>
                  </a:lnTo>
                  <a:lnTo>
                    <a:pt x="415" y="725"/>
                  </a:lnTo>
                  <a:lnTo>
                    <a:pt x="413" y="725"/>
                  </a:lnTo>
                  <a:lnTo>
                    <a:pt x="413" y="722"/>
                  </a:lnTo>
                  <a:lnTo>
                    <a:pt x="411" y="722"/>
                  </a:lnTo>
                  <a:lnTo>
                    <a:pt x="408" y="722"/>
                  </a:lnTo>
                  <a:lnTo>
                    <a:pt x="406" y="722"/>
                  </a:lnTo>
                  <a:lnTo>
                    <a:pt x="406" y="720"/>
                  </a:lnTo>
                  <a:lnTo>
                    <a:pt x="406" y="722"/>
                  </a:lnTo>
                  <a:lnTo>
                    <a:pt x="403" y="722"/>
                  </a:lnTo>
                  <a:lnTo>
                    <a:pt x="406" y="722"/>
                  </a:lnTo>
                  <a:lnTo>
                    <a:pt x="408" y="722"/>
                  </a:lnTo>
                  <a:lnTo>
                    <a:pt x="408" y="725"/>
                  </a:lnTo>
                  <a:lnTo>
                    <a:pt x="411" y="725"/>
                  </a:lnTo>
                  <a:lnTo>
                    <a:pt x="411" y="727"/>
                  </a:lnTo>
                  <a:lnTo>
                    <a:pt x="408" y="727"/>
                  </a:lnTo>
                  <a:lnTo>
                    <a:pt x="406" y="727"/>
                  </a:lnTo>
                  <a:lnTo>
                    <a:pt x="406" y="725"/>
                  </a:lnTo>
                  <a:lnTo>
                    <a:pt x="403" y="722"/>
                  </a:lnTo>
                  <a:lnTo>
                    <a:pt x="401" y="720"/>
                  </a:lnTo>
                  <a:lnTo>
                    <a:pt x="399" y="720"/>
                  </a:lnTo>
                  <a:lnTo>
                    <a:pt x="396" y="717"/>
                  </a:lnTo>
                  <a:lnTo>
                    <a:pt x="394" y="717"/>
                  </a:lnTo>
                  <a:lnTo>
                    <a:pt x="394" y="715"/>
                  </a:lnTo>
                  <a:lnTo>
                    <a:pt x="392" y="713"/>
                  </a:lnTo>
                  <a:lnTo>
                    <a:pt x="392" y="710"/>
                  </a:lnTo>
                  <a:lnTo>
                    <a:pt x="394" y="713"/>
                  </a:lnTo>
                  <a:lnTo>
                    <a:pt x="392" y="710"/>
                  </a:lnTo>
                  <a:lnTo>
                    <a:pt x="389" y="710"/>
                  </a:lnTo>
                  <a:lnTo>
                    <a:pt x="392" y="710"/>
                  </a:lnTo>
                  <a:lnTo>
                    <a:pt x="394" y="710"/>
                  </a:lnTo>
                  <a:lnTo>
                    <a:pt x="392" y="708"/>
                  </a:lnTo>
                  <a:lnTo>
                    <a:pt x="392" y="706"/>
                  </a:lnTo>
                  <a:lnTo>
                    <a:pt x="392" y="708"/>
                  </a:lnTo>
                  <a:lnTo>
                    <a:pt x="389" y="708"/>
                  </a:lnTo>
                  <a:lnTo>
                    <a:pt x="389" y="706"/>
                  </a:lnTo>
                  <a:lnTo>
                    <a:pt x="389" y="708"/>
                  </a:lnTo>
                  <a:lnTo>
                    <a:pt x="387" y="708"/>
                  </a:lnTo>
                  <a:lnTo>
                    <a:pt x="387" y="706"/>
                  </a:lnTo>
                  <a:lnTo>
                    <a:pt x="389" y="706"/>
                  </a:lnTo>
                  <a:lnTo>
                    <a:pt x="392" y="706"/>
                  </a:lnTo>
                  <a:lnTo>
                    <a:pt x="389" y="706"/>
                  </a:lnTo>
                  <a:lnTo>
                    <a:pt x="389" y="703"/>
                  </a:lnTo>
                  <a:lnTo>
                    <a:pt x="387" y="703"/>
                  </a:lnTo>
                  <a:lnTo>
                    <a:pt x="389" y="703"/>
                  </a:lnTo>
                  <a:lnTo>
                    <a:pt x="387" y="703"/>
                  </a:lnTo>
                  <a:lnTo>
                    <a:pt x="387" y="706"/>
                  </a:lnTo>
                  <a:lnTo>
                    <a:pt x="389" y="706"/>
                  </a:lnTo>
                  <a:lnTo>
                    <a:pt x="387" y="706"/>
                  </a:lnTo>
                  <a:lnTo>
                    <a:pt x="389" y="706"/>
                  </a:lnTo>
                  <a:lnTo>
                    <a:pt x="387" y="706"/>
                  </a:lnTo>
                  <a:lnTo>
                    <a:pt x="387" y="703"/>
                  </a:lnTo>
                  <a:lnTo>
                    <a:pt x="384" y="703"/>
                  </a:lnTo>
                  <a:lnTo>
                    <a:pt x="387" y="703"/>
                  </a:lnTo>
                  <a:lnTo>
                    <a:pt x="384" y="703"/>
                  </a:lnTo>
                  <a:lnTo>
                    <a:pt x="384" y="701"/>
                  </a:lnTo>
                  <a:lnTo>
                    <a:pt x="387" y="701"/>
                  </a:lnTo>
                  <a:lnTo>
                    <a:pt x="387" y="703"/>
                  </a:lnTo>
                  <a:lnTo>
                    <a:pt x="389" y="703"/>
                  </a:lnTo>
                  <a:lnTo>
                    <a:pt x="392" y="703"/>
                  </a:lnTo>
                  <a:lnTo>
                    <a:pt x="394" y="703"/>
                  </a:lnTo>
                  <a:lnTo>
                    <a:pt x="394" y="706"/>
                  </a:lnTo>
                  <a:lnTo>
                    <a:pt x="396" y="706"/>
                  </a:lnTo>
                  <a:lnTo>
                    <a:pt x="399" y="706"/>
                  </a:lnTo>
                  <a:lnTo>
                    <a:pt x="399" y="703"/>
                  </a:lnTo>
                  <a:lnTo>
                    <a:pt x="396" y="703"/>
                  </a:lnTo>
                  <a:lnTo>
                    <a:pt x="396" y="701"/>
                  </a:lnTo>
                  <a:lnTo>
                    <a:pt x="394" y="701"/>
                  </a:lnTo>
                  <a:lnTo>
                    <a:pt x="392" y="701"/>
                  </a:lnTo>
                  <a:lnTo>
                    <a:pt x="392" y="698"/>
                  </a:lnTo>
                  <a:lnTo>
                    <a:pt x="389" y="698"/>
                  </a:lnTo>
                  <a:lnTo>
                    <a:pt x="392" y="698"/>
                  </a:lnTo>
                  <a:lnTo>
                    <a:pt x="394" y="698"/>
                  </a:lnTo>
                  <a:lnTo>
                    <a:pt x="394" y="696"/>
                  </a:lnTo>
                  <a:lnTo>
                    <a:pt x="396" y="696"/>
                  </a:lnTo>
                  <a:lnTo>
                    <a:pt x="399" y="696"/>
                  </a:lnTo>
                  <a:lnTo>
                    <a:pt x="399" y="694"/>
                  </a:lnTo>
                  <a:lnTo>
                    <a:pt x="396" y="694"/>
                  </a:lnTo>
                  <a:lnTo>
                    <a:pt x="399" y="694"/>
                  </a:lnTo>
                  <a:lnTo>
                    <a:pt x="399" y="691"/>
                  </a:lnTo>
                  <a:lnTo>
                    <a:pt x="401" y="691"/>
                  </a:lnTo>
                  <a:lnTo>
                    <a:pt x="403" y="691"/>
                  </a:lnTo>
                  <a:lnTo>
                    <a:pt x="406" y="691"/>
                  </a:lnTo>
                  <a:lnTo>
                    <a:pt x="406" y="689"/>
                  </a:lnTo>
                  <a:lnTo>
                    <a:pt x="408" y="689"/>
                  </a:lnTo>
                  <a:lnTo>
                    <a:pt x="408" y="691"/>
                  </a:lnTo>
                  <a:lnTo>
                    <a:pt x="406" y="691"/>
                  </a:lnTo>
                  <a:lnTo>
                    <a:pt x="408" y="691"/>
                  </a:lnTo>
                  <a:close/>
                  <a:moveTo>
                    <a:pt x="498" y="24"/>
                  </a:moveTo>
                  <a:lnTo>
                    <a:pt x="501" y="24"/>
                  </a:lnTo>
                  <a:lnTo>
                    <a:pt x="503" y="24"/>
                  </a:lnTo>
                  <a:lnTo>
                    <a:pt x="505" y="24"/>
                  </a:lnTo>
                  <a:lnTo>
                    <a:pt x="505" y="26"/>
                  </a:lnTo>
                  <a:lnTo>
                    <a:pt x="508" y="26"/>
                  </a:lnTo>
                  <a:lnTo>
                    <a:pt x="508" y="28"/>
                  </a:lnTo>
                  <a:lnTo>
                    <a:pt x="510" y="28"/>
                  </a:lnTo>
                  <a:lnTo>
                    <a:pt x="510" y="31"/>
                  </a:lnTo>
                  <a:lnTo>
                    <a:pt x="510" y="33"/>
                  </a:lnTo>
                  <a:lnTo>
                    <a:pt x="510" y="36"/>
                  </a:lnTo>
                  <a:lnTo>
                    <a:pt x="510" y="38"/>
                  </a:lnTo>
                  <a:lnTo>
                    <a:pt x="508" y="38"/>
                  </a:lnTo>
                  <a:lnTo>
                    <a:pt x="505" y="40"/>
                  </a:lnTo>
                  <a:lnTo>
                    <a:pt x="505" y="43"/>
                  </a:lnTo>
                  <a:lnTo>
                    <a:pt x="508" y="43"/>
                  </a:lnTo>
                  <a:lnTo>
                    <a:pt x="505" y="43"/>
                  </a:lnTo>
                  <a:lnTo>
                    <a:pt x="503" y="43"/>
                  </a:lnTo>
                  <a:lnTo>
                    <a:pt x="501" y="45"/>
                  </a:lnTo>
                  <a:lnTo>
                    <a:pt x="498" y="45"/>
                  </a:lnTo>
                  <a:lnTo>
                    <a:pt x="496" y="45"/>
                  </a:lnTo>
                  <a:lnTo>
                    <a:pt x="494" y="45"/>
                  </a:lnTo>
                  <a:lnTo>
                    <a:pt x="494" y="47"/>
                  </a:lnTo>
                  <a:lnTo>
                    <a:pt x="491" y="47"/>
                  </a:lnTo>
                  <a:lnTo>
                    <a:pt x="491" y="50"/>
                  </a:lnTo>
                  <a:lnTo>
                    <a:pt x="494" y="50"/>
                  </a:lnTo>
                  <a:lnTo>
                    <a:pt x="491" y="52"/>
                  </a:lnTo>
                  <a:lnTo>
                    <a:pt x="489" y="52"/>
                  </a:lnTo>
                  <a:lnTo>
                    <a:pt x="486" y="52"/>
                  </a:lnTo>
                  <a:lnTo>
                    <a:pt x="484" y="52"/>
                  </a:lnTo>
                  <a:lnTo>
                    <a:pt x="484" y="55"/>
                  </a:lnTo>
                  <a:lnTo>
                    <a:pt x="482" y="55"/>
                  </a:lnTo>
                  <a:lnTo>
                    <a:pt x="482" y="57"/>
                  </a:lnTo>
                  <a:lnTo>
                    <a:pt x="479" y="57"/>
                  </a:lnTo>
                  <a:lnTo>
                    <a:pt x="477" y="57"/>
                  </a:lnTo>
                  <a:lnTo>
                    <a:pt x="475" y="59"/>
                  </a:lnTo>
                  <a:lnTo>
                    <a:pt x="470" y="57"/>
                  </a:lnTo>
                  <a:lnTo>
                    <a:pt x="468" y="57"/>
                  </a:lnTo>
                  <a:lnTo>
                    <a:pt x="460" y="57"/>
                  </a:lnTo>
                  <a:lnTo>
                    <a:pt x="458" y="57"/>
                  </a:lnTo>
                  <a:lnTo>
                    <a:pt x="456" y="55"/>
                  </a:lnTo>
                  <a:lnTo>
                    <a:pt x="453" y="55"/>
                  </a:lnTo>
                  <a:lnTo>
                    <a:pt x="451" y="52"/>
                  </a:lnTo>
                  <a:lnTo>
                    <a:pt x="449" y="52"/>
                  </a:lnTo>
                  <a:lnTo>
                    <a:pt x="444" y="52"/>
                  </a:lnTo>
                  <a:lnTo>
                    <a:pt x="444" y="55"/>
                  </a:lnTo>
                  <a:lnTo>
                    <a:pt x="441" y="55"/>
                  </a:lnTo>
                  <a:lnTo>
                    <a:pt x="439" y="55"/>
                  </a:lnTo>
                  <a:lnTo>
                    <a:pt x="437" y="55"/>
                  </a:lnTo>
                  <a:lnTo>
                    <a:pt x="437" y="57"/>
                  </a:lnTo>
                  <a:lnTo>
                    <a:pt x="430" y="57"/>
                  </a:lnTo>
                  <a:lnTo>
                    <a:pt x="427" y="57"/>
                  </a:lnTo>
                  <a:lnTo>
                    <a:pt x="427" y="55"/>
                  </a:lnTo>
                  <a:lnTo>
                    <a:pt x="425" y="55"/>
                  </a:lnTo>
                  <a:lnTo>
                    <a:pt x="422" y="55"/>
                  </a:lnTo>
                  <a:lnTo>
                    <a:pt x="422" y="52"/>
                  </a:lnTo>
                  <a:lnTo>
                    <a:pt x="420" y="52"/>
                  </a:lnTo>
                  <a:lnTo>
                    <a:pt x="418" y="52"/>
                  </a:lnTo>
                  <a:lnTo>
                    <a:pt x="418" y="50"/>
                  </a:lnTo>
                  <a:lnTo>
                    <a:pt x="420" y="50"/>
                  </a:lnTo>
                  <a:lnTo>
                    <a:pt x="420" y="47"/>
                  </a:lnTo>
                  <a:lnTo>
                    <a:pt x="418" y="47"/>
                  </a:lnTo>
                  <a:lnTo>
                    <a:pt x="418" y="45"/>
                  </a:lnTo>
                  <a:lnTo>
                    <a:pt x="418" y="43"/>
                  </a:lnTo>
                  <a:lnTo>
                    <a:pt x="420" y="43"/>
                  </a:lnTo>
                  <a:lnTo>
                    <a:pt x="420" y="40"/>
                  </a:lnTo>
                  <a:lnTo>
                    <a:pt x="418" y="40"/>
                  </a:lnTo>
                  <a:lnTo>
                    <a:pt x="418" y="38"/>
                  </a:lnTo>
                  <a:lnTo>
                    <a:pt x="420" y="38"/>
                  </a:lnTo>
                  <a:lnTo>
                    <a:pt x="420" y="36"/>
                  </a:lnTo>
                  <a:lnTo>
                    <a:pt x="422" y="33"/>
                  </a:lnTo>
                  <a:lnTo>
                    <a:pt x="425" y="33"/>
                  </a:lnTo>
                  <a:lnTo>
                    <a:pt x="427" y="33"/>
                  </a:lnTo>
                  <a:lnTo>
                    <a:pt x="425" y="31"/>
                  </a:lnTo>
                  <a:lnTo>
                    <a:pt x="427" y="31"/>
                  </a:lnTo>
                  <a:lnTo>
                    <a:pt x="427" y="28"/>
                  </a:lnTo>
                  <a:lnTo>
                    <a:pt x="430" y="28"/>
                  </a:lnTo>
                  <a:lnTo>
                    <a:pt x="432" y="28"/>
                  </a:lnTo>
                  <a:lnTo>
                    <a:pt x="434" y="28"/>
                  </a:lnTo>
                  <a:lnTo>
                    <a:pt x="437" y="28"/>
                  </a:lnTo>
                  <a:lnTo>
                    <a:pt x="434" y="28"/>
                  </a:lnTo>
                  <a:lnTo>
                    <a:pt x="432" y="28"/>
                  </a:lnTo>
                  <a:lnTo>
                    <a:pt x="430" y="28"/>
                  </a:lnTo>
                  <a:lnTo>
                    <a:pt x="432" y="28"/>
                  </a:lnTo>
                  <a:lnTo>
                    <a:pt x="434" y="28"/>
                  </a:lnTo>
                  <a:lnTo>
                    <a:pt x="434" y="26"/>
                  </a:lnTo>
                  <a:lnTo>
                    <a:pt x="437" y="26"/>
                  </a:lnTo>
                  <a:lnTo>
                    <a:pt x="439" y="26"/>
                  </a:lnTo>
                  <a:lnTo>
                    <a:pt x="441" y="26"/>
                  </a:lnTo>
                  <a:lnTo>
                    <a:pt x="444" y="26"/>
                  </a:lnTo>
                  <a:lnTo>
                    <a:pt x="446" y="26"/>
                  </a:lnTo>
                  <a:lnTo>
                    <a:pt x="449" y="28"/>
                  </a:lnTo>
                  <a:lnTo>
                    <a:pt x="446" y="28"/>
                  </a:lnTo>
                  <a:lnTo>
                    <a:pt x="444" y="28"/>
                  </a:lnTo>
                  <a:lnTo>
                    <a:pt x="441" y="28"/>
                  </a:lnTo>
                  <a:lnTo>
                    <a:pt x="439" y="28"/>
                  </a:lnTo>
                  <a:lnTo>
                    <a:pt x="444" y="28"/>
                  </a:lnTo>
                  <a:lnTo>
                    <a:pt x="446" y="28"/>
                  </a:lnTo>
                  <a:lnTo>
                    <a:pt x="449" y="28"/>
                  </a:lnTo>
                  <a:lnTo>
                    <a:pt x="449" y="31"/>
                  </a:lnTo>
                  <a:lnTo>
                    <a:pt x="451" y="31"/>
                  </a:lnTo>
                  <a:lnTo>
                    <a:pt x="453" y="31"/>
                  </a:lnTo>
                  <a:lnTo>
                    <a:pt x="456" y="31"/>
                  </a:lnTo>
                  <a:lnTo>
                    <a:pt x="458" y="28"/>
                  </a:lnTo>
                  <a:lnTo>
                    <a:pt x="460" y="28"/>
                  </a:lnTo>
                  <a:lnTo>
                    <a:pt x="463" y="28"/>
                  </a:lnTo>
                  <a:lnTo>
                    <a:pt x="465" y="28"/>
                  </a:lnTo>
                  <a:lnTo>
                    <a:pt x="468" y="28"/>
                  </a:lnTo>
                  <a:lnTo>
                    <a:pt x="470" y="28"/>
                  </a:lnTo>
                  <a:lnTo>
                    <a:pt x="472" y="28"/>
                  </a:lnTo>
                  <a:lnTo>
                    <a:pt x="477" y="26"/>
                  </a:lnTo>
                  <a:lnTo>
                    <a:pt x="479" y="26"/>
                  </a:lnTo>
                  <a:lnTo>
                    <a:pt x="482" y="26"/>
                  </a:lnTo>
                  <a:lnTo>
                    <a:pt x="484" y="26"/>
                  </a:lnTo>
                  <a:lnTo>
                    <a:pt x="486" y="26"/>
                  </a:lnTo>
                  <a:lnTo>
                    <a:pt x="489" y="26"/>
                  </a:lnTo>
                  <a:lnTo>
                    <a:pt x="489" y="24"/>
                  </a:lnTo>
                  <a:lnTo>
                    <a:pt x="491" y="24"/>
                  </a:lnTo>
                  <a:lnTo>
                    <a:pt x="494" y="24"/>
                  </a:lnTo>
                  <a:lnTo>
                    <a:pt x="496" y="24"/>
                  </a:lnTo>
                  <a:lnTo>
                    <a:pt x="498" y="24"/>
                  </a:lnTo>
                  <a:close/>
                  <a:moveTo>
                    <a:pt x="140" y="24"/>
                  </a:moveTo>
                  <a:lnTo>
                    <a:pt x="138" y="26"/>
                  </a:lnTo>
                  <a:lnTo>
                    <a:pt x="135" y="26"/>
                  </a:lnTo>
                  <a:lnTo>
                    <a:pt x="133" y="26"/>
                  </a:lnTo>
                  <a:lnTo>
                    <a:pt x="131" y="26"/>
                  </a:lnTo>
                  <a:lnTo>
                    <a:pt x="128" y="26"/>
                  </a:lnTo>
                  <a:lnTo>
                    <a:pt x="126" y="26"/>
                  </a:lnTo>
                  <a:lnTo>
                    <a:pt x="123" y="26"/>
                  </a:lnTo>
                  <a:lnTo>
                    <a:pt x="121" y="28"/>
                  </a:lnTo>
                  <a:lnTo>
                    <a:pt x="123" y="28"/>
                  </a:lnTo>
                  <a:lnTo>
                    <a:pt x="121" y="28"/>
                  </a:lnTo>
                  <a:lnTo>
                    <a:pt x="123" y="28"/>
                  </a:lnTo>
                  <a:lnTo>
                    <a:pt x="126" y="28"/>
                  </a:lnTo>
                  <a:lnTo>
                    <a:pt x="123" y="28"/>
                  </a:lnTo>
                  <a:lnTo>
                    <a:pt x="123" y="31"/>
                  </a:lnTo>
                  <a:lnTo>
                    <a:pt x="121" y="31"/>
                  </a:lnTo>
                  <a:lnTo>
                    <a:pt x="119" y="31"/>
                  </a:lnTo>
                  <a:lnTo>
                    <a:pt x="116" y="31"/>
                  </a:lnTo>
                  <a:lnTo>
                    <a:pt x="114" y="31"/>
                  </a:lnTo>
                  <a:lnTo>
                    <a:pt x="116" y="31"/>
                  </a:lnTo>
                  <a:lnTo>
                    <a:pt x="119" y="31"/>
                  </a:lnTo>
                  <a:lnTo>
                    <a:pt x="119" y="33"/>
                  </a:lnTo>
                  <a:lnTo>
                    <a:pt x="121" y="33"/>
                  </a:lnTo>
                  <a:lnTo>
                    <a:pt x="123" y="33"/>
                  </a:lnTo>
                  <a:lnTo>
                    <a:pt x="126" y="33"/>
                  </a:lnTo>
                  <a:lnTo>
                    <a:pt x="128" y="31"/>
                  </a:lnTo>
                  <a:lnTo>
                    <a:pt x="131" y="31"/>
                  </a:lnTo>
                  <a:lnTo>
                    <a:pt x="133" y="31"/>
                  </a:lnTo>
                  <a:lnTo>
                    <a:pt x="135" y="31"/>
                  </a:lnTo>
                  <a:lnTo>
                    <a:pt x="135" y="28"/>
                  </a:lnTo>
                  <a:lnTo>
                    <a:pt x="138" y="28"/>
                  </a:lnTo>
                  <a:lnTo>
                    <a:pt x="140" y="28"/>
                  </a:lnTo>
                  <a:lnTo>
                    <a:pt x="140" y="31"/>
                  </a:lnTo>
                  <a:lnTo>
                    <a:pt x="142" y="31"/>
                  </a:lnTo>
                  <a:lnTo>
                    <a:pt x="145" y="31"/>
                  </a:lnTo>
                  <a:lnTo>
                    <a:pt x="145" y="28"/>
                  </a:lnTo>
                  <a:lnTo>
                    <a:pt x="147" y="28"/>
                  </a:lnTo>
                  <a:lnTo>
                    <a:pt x="150" y="28"/>
                  </a:lnTo>
                  <a:lnTo>
                    <a:pt x="152" y="28"/>
                  </a:lnTo>
                  <a:lnTo>
                    <a:pt x="154" y="31"/>
                  </a:lnTo>
                  <a:lnTo>
                    <a:pt x="157" y="31"/>
                  </a:lnTo>
                  <a:lnTo>
                    <a:pt x="157" y="33"/>
                  </a:lnTo>
                  <a:lnTo>
                    <a:pt x="159" y="33"/>
                  </a:lnTo>
                  <a:lnTo>
                    <a:pt x="161" y="33"/>
                  </a:lnTo>
                  <a:lnTo>
                    <a:pt x="164" y="33"/>
                  </a:lnTo>
                  <a:lnTo>
                    <a:pt x="169" y="33"/>
                  </a:lnTo>
                  <a:lnTo>
                    <a:pt x="166" y="36"/>
                  </a:lnTo>
                  <a:lnTo>
                    <a:pt x="164" y="36"/>
                  </a:lnTo>
                  <a:lnTo>
                    <a:pt x="161" y="38"/>
                  </a:lnTo>
                  <a:lnTo>
                    <a:pt x="159" y="38"/>
                  </a:lnTo>
                  <a:lnTo>
                    <a:pt x="157" y="38"/>
                  </a:lnTo>
                  <a:lnTo>
                    <a:pt x="154" y="40"/>
                  </a:lnTo>
                  <a:lnTo>
                    <a:pt x="152" y="40"/>
                  </a:lnTo>
                  <a:lnTo>
                    <a:pt x="150" y="40"/>
                  </a:lnTo>
                  <a:lnTo>
                    <a:pt x="147" y="40"/>
                  </a:lnTo>
                  <a:lnTo>
                    <a:pt x="145" y="40"/>
                  </a:lnTo>
                  <a:lnTo>
                    <a:pt x="145" y="43"/>
                  </a:lnTo>
                  <a:lnTo>
                    <a:pt x="142" y="45"/>
                  </a:lnTo>
                  <a:lnTo>
                    <a:pt x="140" y="45"/>
                  </a:lnTo>
                  <a:lnTo>
                    <a:pt x="138" y="45"/>
                  </a:lnTo>
                  <a:lnTo>
                    <a:pt x="138" y="47"/>
                  </a:lnTo>
                  <a:lnTo>
                    <a:pt x="135" y="47"/>
                  </a:lnTo>
                  <a:lnTo>
                    <a:pt x="133" y="47"/>
                  </a:lnTo>
                  <a:lnTo>
                    <a:pt x="128" y="47"/>
                  </a:lnTo>
                  <a:lnTo>
                    <a:pt x="126" y="47"/>
                  </a:lnTo>
                  <a:lnTo>
                    <a:pt x="121" y="47"/>
                  </a:lnTo>
                  <a:lnTo>
                    <a:pt x="119" y="47"/>
                  </a:lnTo>
                  <a:lnTo>
                    <a:pt x="112" y="47"/>
                  </a:lnTo>
                  <a:lnTo>
                    <a:pt x="109" y="47"/>
                  </a:lnTo>
                  <a:lnTo>
                    <a:pt x="109" y="50"/>
                  </a:lnTo>
                  <a:lnTo>
                    <a:pt x="107" y="50"/>
                  </a:lnTo>
                  <a:lnTo>
                    <a:pt x="104" y="50"/>
                  </a:lnTo>
                  <a:lnTo>
                    <a:pt x="102" y="50"/>
                  </a:lnTo>
                  <a:lnTo>
                    <a:pt x="100" y="50"/>
                  </a:lnTo>
                  <a:lnTo>
                    <a:pt x="97" y="50"/>
                  </a:lnTo>
                  <a:lnTo>
                    <a:pt x="95" y="52"/>
                  </a:lnTo>
                  <a:lnTo>
                    <a:pt x="97" y="52"/>
                  </a:lnTo>
                  <a:lnTo>
                    <a:pt x="100" y="52"/>
                  </a:lnTo>
                  <a:lnTo>
                    <a:pt x="102" y="52"/>
                  </a:lnTo>
                  <a:lnTo>
                    <a:pt x="100" y="55"/>
                  </a:lnTo>
                  <a:lnTo>
                    <a:pt x="102" y="57"/>
                  </a:lnTo>
                  <a:lnTo>
                    <a:pt x="100" y="57"/>
                  </a:lnTo>
                  <a:lnTo>
                    <a:pt x="97" y="57"/>
                  </a:lnTo>
                  <a:lnTo>
                    <a:pt x="95" y="59"/>
                  </a:lnTo>
                  <a:lnTo>
                    <a:pt x="93" y="59"/>
                  </a:lnTo>
                  <a:lnTo>
                    <a:pt x="90" y="59"/>
                  </a:lnTo>
                  <a:lnTo>
                    <a:pt x="85" y="59"/>
                  </a:lnTo>
                  <a:lnTo>
                    <a:pt x="83" y="57"/>
                  </a:lnTo>
                  <a:lnTo>
                    <a:pt x="81" y="57"/>
                  </a:lnTo>
                  <a:lnTo>
                    <a:pt x="78" y="57"/>
                  </a:lnTo>
                  <a:lnTo>
                    <a:pt x="76" y="57"/>
                  </a:lnTo>
                  <a:lnTo>
                    <a:pt x="74" y="57"/>
                  </a:lnTo>
                  <a:lnTo>
                    <a:pt x="71" y="57"/>
                  </a:lnTo>
                  <a:lnTo>
                    <a:pt x="69" y="57"/>
                  </a:lnTo>
                  <a:lnTo>
                    <a:pt x="67" y="57"/>
                  </a:lnTo>
                  <a:lnTo>
                    <a:pt x="67" y="59"/>
                  </a:lnTo>
                  <a:lnTo>
                    <a:pt x="69" y="59"/>
                  </a:lnTo>
                  <a:lnTo>
                    <a:pt x="67" y="59"/>
                  </a:lnTo>
                  <a:lnTo>
                    <a:pt x="67" y="62"/>
                  </a:lnTo>
                  <a:lnTo>
                    <a:pt x="64" y="62"/>
                  </a:lnTo>
                  <a:lnTo>
                    <a:pt x="62" y="59"/>
                  </a:lnTo>
                  <a:lnTo>
                    <a:pt x="59" y="62"/>
                  </a:lnTo>
                  <a:lnTo>
                    <a:pt x="59" y="64"/>
                  </a:lnTo>
                  <a:lnTo>
                    <a:pt x="62" y="64"/>
                  </a:lnTo>
                  <a:lnTo>
                    <a:pt x="64" y="64"/>
                  </a:lnTo>
                  <a:lnTo>
                    <a:pt x="67" y="64"/>
                  </a:lnTo>
                  <a:lnTo>
                    <a:pt x="69" y="64"/>
                  </a:lnTo>
                  <a:lnTo>
                    <a:pt x="71" y="64"/>
                  </a:lnTo>
                  <a:lnTo>
                    <a:pt x="74" y="64"/>
                  </a:lnTo>
                  <a:lnTo>
                    <a:pt x="74" y="66"/>
                  </a:lnTo>
                  <a:lnTo>
                    <a:pt x="71" y="66"/>
                  </a:lnTo>
                  <a:lnTo>
                    <a:pt x="74" y="66"/>
                  </a:lnTo>
                  <a:lnTo>
                    <a:pt x="76" y="66"/>
                  </a:lnTo>
                  <a:lnTo>
                    <a:pt x="74" y="66"/>
                  </a:lnTo>
                  <a:lnTo>
                    <a:pt x="71" y="66"/>
                  </a:lnTo>
                  <a:lnTo>
                    <a:pt x="69" y="69"/>
                  </a:lnTo>
                  <a:lnTo>
                    <a:pt x="71" y="69"/>
                  </a:lnTo>
                  <a:lnTo>
                    <a:pt x="74" y="69"/>
                  </a:lnTo>
                  <a:lnTo>
                    <a:pt x="76" y="69"/>
                  </a:lnTo>
                  <a:lnTo>
                    <a:pt x="78" y="69"/>
                  </a:lnTo>
                  <a:lnTo>
                    <a:pt x="78" y="71"/>
                  </a:lnTo>
                  <a:lnTo>
                    <a:pt x="76" y="71"/>
                  </a:lnTo>
                  <a:lnTo>
                    <a:pt x="74" y="71"/>
                  </a:lnTo>
                  <a:lnTo>
                    <a:pt x="71" y="71"/>
                  </a:lnTo>
                  <a:lnTo>
                    <a:pt x="71" y="74"/>
                  </a:lnTo>
                  <a:lnTo>
                    <a:pt x="74" y="74"/>
                  </a:lnTo>
                  <a:lnTo>
                    <a:pt x="71" y="74"/>
                  </a:lnTo>
                  <a:lnTo>
                    <a:pt x="69" y="74"/>
                  </a:lnTo>
                  <a:lnTo>
                    <a:pt x="67" y="74"/>
                  </a:lnTo>
                  <a:lnTo>
                    <a:pt x="64" y="71"/>
                  </a:lnTo>
                  <a:lnTo>
                    <a:pt x="62" y="71"/>
                  </a:lnTo>
                  <a:lnTo>
                    <a:pt x="59" y="69"/>
                  </a:lnTo>
                  <a:lnTo>
                    <a:pt x="57" y="69"/>
                  </a:lnTo>
                  <a:lnTo>
                    <a:pt x="57" y="71"/>
                  </a:lnTo>
                  <a:lnTo>
                    <a:pt x="57" y="74"/>
                  </a:lnTo>
                  <a:lnTo>
                    <a:pt x="59" y="74"/>
                  </a:lnTo>
                  <a:lnTo>
                    <a:pt x="59" y="76"/>
                  </a:lnTo>
                  <a:lnTo>
                    <a:pt x="57" y="76"/>
                  </a:lnTo>
                  <a:lnTo>
                    <a:pt x="55" y="78"/>
                  </a:lnTo>
                  <a:lnTo>
                    <a:pt x="52" y="78"/>
                  </a:lnTo>
                  <a:lnTo>
                    <a:pt x="52" y="76"/>
                  </a:lnTo>
                  <a:lnTo>
                    <a:pt x="50" y="76"/>
                  </a:lnTo>
                  <a:lnTo>
                    <a:pt x="48" y="74"/>
                  </a:lnTo>
                  <a:lnTo>
                    <a:pt x="45" y="76"/>
                  </a:lnTo>
                  <a:lnTo>
                    <a:pt x="43" y="76"/>
                  </a:lnTo>
                  <a:lnTo>
                    <a:pt x="43" y="78"/>
                  </a:lnTo>
                  <a:lnTo>
                    <a:pt x="40" y="78"/>
                  </a:lnTo>
                  <a:lnTo>
                    <a:pt x="38" y="78"/>
                  </a:lnTo>
                  <a:lnTo>
                    <a:pt x="36" y="78"/>
                  </a:lnTo>
                  <a:lnTo>
                    <a:pt x="33" y="78"/>
                  </a:lnTo>
                  <a:lnTo>
                    <a:pt x="31" y="78"/>
                  </a:lnTo>
                  <a:lnTo>
                    <a:pt x="31" y="76"/>
                  </a:lnTo>
                  <a:lnTo>
                    <a:pt x="33" y="76"/>
                  </a:lnTo>
                  <a:lnTo>
                    <a:pt x="36" y="74"/>
                  </a:lnTo>
                  <a:lnTo>
                    <a:pt x="36" y="71"/>
                  </a:lnTo>
                  <a:lnTo>
                    <a:pt x="38" y="71"/>
                  </a:lnTo>
                  <a:lnTo>
                    <a:pt x="40" y="71"/>
                  </a:lnTo>
                  <a:lnTo>
                    <a:pt x="43" y="71"/>
                  </a:lnTo>
                  <a:lnTo>
                    <a:pt x="48" y="69"/>
                  </a:lnTo>
                  <a:lnTo>
                    <a:pt x="45" y="69"/>
                  </a:lnTo>
                  <a:lnTo>
                    <a:pt x="43" y="69"/>
                  </a:lnTo>
                  <a:lnTo>
                    <a:pt x="40" y="69"/>
                  </a:lnTo>
                  <a:lnTo>
                    <a:pt x="36" y="69"/>
                  </a:lnTo>
                  <a:lnTo>
                    <a:pt x="38" y="69"/>
                  </a:lnTo>
                  <a:lnTo>
                    <a:pt x="40" y="69"/>
                  </a:lnTo>
                  <a:lnTo>
                    <a:pt x="40" y="66"/>
                  </a:lnTo>
                  <a:lnTo>
                    <a:pt x="43" y="66"/>
                  </a:lnTo>
                  <a:lnTo>
                    <a:pt x="40" y="66"/>
                  </a:lnTo>
                  <a:lnTo>
                    <a:pt x="38" y="66"/>
                  </a:lnTo>
                  <a:lnTo>
                    <a:pt x="36" y="66"/>
                  </a:lnTo>
                  <a:lnTo>
                    <a:pt x="33" y="66"/>
                  </a:lnTo>
                  <a:lnTo>
                    <a:pt x="31" y="66"/>
                  </a:lnTo>
                  <a:lnTo>
                    <a:pt x="29" y="66"/>
                  </a:lnTo>
                  <a:lnTo>
                    <a:pt x="26" y="66"/>
                  </a:lnTo>
                  <a:lnTo>
                    <a:pt x="24" y="66"/>
                  </a:lnTo>
                  <a:lnTo>
                    <a:pt x="21" y="69"/>
                  </a:lnTo>
                  <a:lnTo>
                    <a:pt x="24" y="69"/>
                  </a:lnTo>
                  <a:lnTo>
                    <a:pt x="24" y="71"/>
                  </a:lnTo>
                  <a:lnTo>
                    <a:pt x="21" y="71"/>
                  </a:lnTo>
                  <a:lnTo>
                    <a:pt x="19" y="69"/>
                  </a:lnTo>
                  <a:lnTo>
                    <a:pt x="17" y="71"/>
                  </a:lnTo>
                  <a:lnTo>
                    <a:pt x="14" y="71"/>
                  </a:lnTo>
                  <a:lnTo>
                    <a:pt x="12" y="71"/>
                  </a:lnTo>
                  <a:lnTo>
                    <a:pt x="10" y="71"/>
                  </a:lnTo>
                  <a:lnTo>
                    <a:pt x="7" y="71"/>
                  </a:lnTo>
                  <a:lnTo>
                    <a:pt x="7" y="69"/>
                  </a:lnTo>
                  <a:lnTo>
                    <a:pt x="10" y="69"/>
                  </a:lnTo>
                  <a:lnTo>
                    <a:pt x="10" y="66"/>
                  </a:lnTo>
                  <a:lnTo>
                    <a:pt x="7" y="66"/>
                  </a:lnTo>
                  <a:lnTo>
                    <a:pt x="5" y="66"/>
                  </a:lnTo>
                  <a:lnTo>
                    <a:pt x="2" y="64"/>
                  </a:lnTo>
                  <a:lnTo>
                    <a:pt x="0" y="64"/>
                  </a:lnTo>
                  <a:lnTo>
                    <a:pt x="0" y="62"/>
                  </a:lnTo>
                  <a:lnTo>
                    <a:pt x="2" y="62"/>
                  </a:lnTo>
                  <a:lnTo>
                    <a:pt x="7" y="59"/>
                  </a:lnTo>
                  <a:lnTo>
                    <a:pt x="10" y="57"/>
                  </a:lnTo>
                  <a:lnTo>
                    <a:pt x="14" y="57"/>
                  </a:lnTo>
                  <a:lnTo>
                    <a:pt x="17" y="57"/>
                  </a:lnTo>
                  <a:lnTo>
                    <a:pt x="19" y="57"/>
                  </a:lnTo>
                  <a:lnTo>
                    <a:pt x="19" y="59"/>
                  </a:lnTo>
                  <a:lnTo>
                    <a:pt x="17" y="59"/>
                  </a:lnTo>
                  <a:lnTo>
                    <a:pt x="17" y="62"/>
                  </a:lnTo>
                  <a:lnTo>
                    <a:pt x="19" y="62"/>
                  </a:lnTo>
                  <a:lnTo>
                    <a:pt x="21" y="62"/>
                  </a:lnTo>
                  <a:lnTo>
                    <a:pt x="24" y="62"/>
                  </a:lnTo>
                  <a:lnTo>
                    <a:pt x="26" y="62"/>
                  </a:lnTo>
                  <a:lnTo>
                    <a:pt x="29" y="62"/>
                  </a:lnTo>
                  <a:lnTo>
                    <a:pt x="31" y="62"/>
                  </a:lnTo>
                  <a:lnTo>
                    <a:pt x="33" y="62"/>
                  </a:lnTo>
                  <a:lnTo>
                    <a:pt x="36" y="62"/>
                  </a:lnTo>
                  <a:lnTo>
                    <a:pt x="38" y="62"/>
                  </a:lnTo>
                  <a:lnTo>
                    <a:pt x="40" y="62"/>
                  </a:lnTo>
                  <a:lnTo>
                    <a:pt x="43" y="62"/>
                  </a:lnTo>
                  <a:lnTo>
                    <a:pt x="38" y="62"/>
                  </a:lnTo>
                  <a:lnTo>
                    <a:pt x="38" y="59"/>
                  </a:lnTo>
                  <a:lnTo>
                    <a:pt x="40" y="59"/>
                  </a:lnTo>
                  <a:lnTo>
                    <a:pt x="43" y="59"/>
                  </a:lnTo>
                  <a:lnTo>
                    <a:pt x="45" y="59"/>
                  </a:lnTo>
                  <a:lnTo>
                    <a:pt x="48" y="59"/>
                  </a:lnTo>
                  <a:lnTo>
                    <a:pt x="45" y="59"/>
                  </a:lnTo>
                  <a:lnTo>
                    <a:pt x="43" y="59"/>
                  </a:lnTo>
                  <a:lnTo>
                    <a:pt x="36" y="59"/>
                  </a:lnTo>
                  <a:lnTo>
                    <a:pt x="31" y="57"/>
                  </a:lnTo>
                  <a:lnTo>
                    <a:pt x="29" y="57"/>
                  </a:lnTo>
                  <a:lnTo>
                    <a:pt x="29" y="55"/>
                  </a:lnTo>
                  <a:lnTo>
                    <a:pt x="31" y="55"/>
                  </a:lnTo>
                  <a:lnTo>
                    <a:pt x="33" y="55"/>
                  </a:lnTo>
                  <a:lnTo>
                    <a:pt x="36" y="55"/>
                  </a:lnTo>
                  <a:lnTo>
                    <a:pt x="38" y="55"/>
                  </a:lnTo>
                  <a:lnTo>
                    <a:pt x="40" y="55"/>
                  </a:lnTo>
                  <a:lnTo>
                    <a:pt x="43" y="55"/>
                  </a:lnTo>
                  <a:lnTo>
                    <a:pt x="45" y="55"/>
                  </a:lnTo>
                  <a:lnTo>
                    <a:pt x="48" y="55"/>
                  </a:lnTo>
                  <a:lnTo>
                    <a:pt x="50" y="55"/>
                  </a:lnTo>
                  <a:lnTo>
                    <a:pt x="52" y="55"/>
                  </a:lnTo>
                  <a:lnTo>
                    <a:pt x="50" y="55"/>
                  </a:lnTo>
                  <a:lnTo>
                    <a:pt x="48" y="55"/>
                  </a:lnTo>
                  <a:lnTo>
                    <a:pt x="48" y="52"/>
                  </a:lnTo>
                  <a:lnTo>
                    <a:pt x="50" y="52"/>
                  </a:lnTo>
                  <a:lnTo>
                    <a:pt x="48" y="52"/>
                  </a:lnTo>
                  <a:lnTo>
                    <a:pt x="40" y="52"/>
                  </a:lnTo>
                  <a:lnTo>
                    <a:pt x="38" y="52"/>
                  </a:lnTo>
                  <a:lnTo>
                    <a:pt x="36" y="50"/>
                  </a:lnTo>
                  <a:lnTo>
                    <a:pt x="33" y="50"/>
                  </a:lnTo>
                  <a:lnTo>
                    <a:pt x="31" y="52"/>
                  </a:lnTo>
                  <a:lnTo>
                    <a:pt x="29" y="52"/>
                  </a:lnTo>
                  <a:lnTo>
                    <a:pt x="26" y="52"/>
                  </a:lnTo>
                  <a:lnTo>
                    <a:pt x="24" y="52"/>
                  </a:lnTo>
                  <a:lnTo>
                    <a:pt x="26" y="50"/>
                  </a:lnTo>
                  <a:lnTo>
                    <a:pt x="29" y="50"/>
                  </a:lnTo>
                  <a:lnTo>
                    <a:pt x="31" y="50"/>
                  </a:lnTo>
                  <a:lnTo>
                    <a:pt x="36" y="47"/>
                  </a:lnTo>
                  <a:lnTo>
                    <a:pt x="38" y="47"/>
                  </a:lnTo>
                  <a:lnTo>
                    <a:pt x="40" y="47"/>
                  </a:lnTo>
                  <a:lnTo>
                    <a:pt x="45" y="45"/>
                  </a:lnTo>
                  <a:lnTo>
                    <a:pt x="48" y="45"/>
                  </a:lnTo>
                  <a:lnTo>
                    <a:pt x="48" y="47"/>
                  </a:lnTo>
                  <a:lnTo>
                    <a:pt x="50" y="47"/>
                  </a:lnTo>
                  <a:lnTo>
                    <a:pt x="52" y="45"/>
                  </a:lnTo>
                  <a:lnTo>
                    <a:pt x="55" y="45"/>
                  </a:lnTo>
                  <a:lnTo>
                    <a:pt x="57" y="45"/>
                  </a:lnTo>
                  <a:lnTo>
                    <a:pt x="59" y="47"/>
                  </a:lnTo>
                  <a:lnTo>
                    <a:pt x="62" y="47"/>
                  </a:lnTo>
                  <a:lnTo>
                    <a:pt x="64" y="47"/>
                  </a:lnTo>
                  <a:lnTo>
                    <a:pt x="67" y="50"/>
                  </a:lnTo>
                  <a:lnTo>
                    <a:pt x="69" y="50"/>
                  </a:lnTo>
                  <a:lnTo>
                    <a:pt x="71" y="50"/>
                  </a:lnTo>
                  <a:lnTo>
                    <a:pt x="71" y="47"/>
                  </a:lnTo>
                  <a:lnTo>
                    <a:pt x="69" y="47"/>
                  </a:lnTo>
                  <a:lnTo>
                    <a:pt x="71" y="47"/>
                  </a:lnTo>
                  <a:lnTo>
                    <a:pt x="74" y="47"/>
                  </a:lnTo>
                  <a:lnTo>
                    <a:pt x="76" y="47"/>
                  </a:lnTo>
                  <a:lnTo>
                    <a:pt x="78" y="47"/>
                  </a:lnTo>
                  <a:lnTo>
                    <a:pt x="81" y="47"/>
                  </a:lnTo>
                  <a:lnTo>
                    <a:pt x="83" y="47"/>
                  </a:lnTo>
                  <a:lnTo>
                    <a:pt x="83" y="45"/>
                  </a:lnTo>
                  <a:lnTo>
                    <a:pt x="81" y="45"/>
                  </a:lnTo>
                  <a:lnTo>
                    <a:pt x="83" y="45"/>
                  </a:lnTo>
                  <a:lnTo>
                    <a:pt x="83" y="43"/>
                  </a:lnTo>
                  <a:lnTo>
                    <a:pt x="85" y="43"/>
                  </a:lnTo>
                  <a:lnTo>
                    <a:pt x="88" y="43"/>
                  </a:lnTo>
                  <a:lnTo>
                    <a:pt x="88" y="40"/>
                  </a:lnTo>
                  <a:lnTo>
                    <a:pt x="85" y="40"/>
                  </a:lnTo>
                  <a:lnTo>
                    <a:pt x="83" y="40"/>
                  </a:lnTo>
                  <a:lnTo>
                    <a:pt x="85" y="40"/>
                  </a:lnTo>
                  <a:lnTo>
                    <a:pt x="88" y="38"/>
                  </a:lnTo>
                  <a:lnTo>
                    <a:pt x="90" y="38"/>
                  </a:lnTo>
                  <a:lnTo>
                    <a:pt x="93" y="38"/>
                  </a:lnTo>
                  <a:lnTo>
                    <a:pt x="93" y="40"/>
                  </a:lnTo>
                  <a:lnTo>
                    <a:pt x="93" y="38"/>
                  </a:lnTo>
                  <a:lnTo>
                    <a:pt x="95" y="38"/>
                  </a:lnTo>
                  <a:lnTo>
                    <a:pt x="97" y="38"/>
                  </a:lnTo>
                  <a:lnTo>
                    <a:pt x="97" y="36"/>
                  </a:lnTo>
                  <a:lnTo>
                    <a:pt x="95" y="36"/>
                  </a:lnTo>
                  <a:lnTo>
                    <a:pt x="97" y="36"/>
                  </a:lnTo>
                  <a:lnTo>
                    <a:pt x="95" y="36"/>
                  </a:lnTo>
                  <a:lnTo>
                    <a:pt x="95" y="33"/>
                  </a:lnTo>
                  <a:lnTo>
                    <a:pt x="90" y="33"/>
                  </a:lnTo>
                  <a:lnTo>
                    <a:pt x="88" y="36"/>
                  </a:lnTo>
                  <a:lnTo>
                    <a:pt x="85" y="36"/>
                  </a:lnTo>
                  <a:lnTo>
                    <a:pt x="83" y="36"/>
                  </a:lnTo>
                  <a:lnTo>
                    <a:pt x="81" y="36"/>
                  </a:lnTo>
                  <a:lnTo>
                    <a:pt x="81" y="33"/>
                  </a:lnTo>
                  <a:lnTo>
                    <a:pt x="83" y="33"/>
                  </a:lnTo>
                  <a:lnTo>
                    <a:pt x="85" y="33"/>
                  </a:lnTo>
                  <a:lnTo>
                    <a:pt x="85" y="31"/>
                  </a:lnTo>
                  <a:lnTo>
                    <a:pt x="83" y="31"/>
                  </a:lnTo>
                  <a:lnTo>
                    <a:pt x="83" y="33"/>
                  </a:lnTo>
                  <a:lnTo>
                    <a:pt x="81" y="33"/>
                  </a:lnTo>
                  <a:lnTo>
                    <a:pt x="78" y="33"/>
                  </a:lnTo>
                  <a:lnTo>
                    <a:pt x="76" y="33"/>
                  </a:lnTo>
                  <a:lnTo>
                    <a:pt x="74" y="33"/>
                  </a:lnTo>
                  <a:lnTo>
                    <a:pt x="74" y="31"/>
                  </a:lnTo>
                  <a:lnTo>
                    <a:pt x="76" y="31"/>
                  </a:lnTo>
                  <a:lnTo>
                    <a:pt x="78" y="31"/>
                  </a:lnTo>
                  <a:lnTo>
                    <a:pt x="81" y="31"/>
                  </a:lnTo>
                  <a:lnTo>
                    <a:pt x="78" y="31"/>
                  </a:lnTo>
                  <a:lnTo>
                    <a:pt x="76" y="31"/>
                  </a:lnTo>
                  <a:lnTo>
                    <a:pt x="78" y="28"/>
                  </a:lnTo>
                  <a:lnTo>
                    <a:pt x="81" y="28"/>
                  </a:lnTo>
                  <a:lnTo>
                    <a:pt x="83" y="28"/>
                  </a:lnTo>
                  <a:lnTo>
                    <a:pt x="85" y="26"/>
                  </a:lnTo>
                  <a:lnTo>
                    <a:pt x="88" y="26"/>
                  </a:lnTo>
                  <a:lnTo>
                    <a:pt x="90" y="26"/>
                  </a:lnTo>
                  <a:lnTo>
                    <a:pt x="93" y="26"/>
                  </a:lnTo>
                  <a:lnTo>
                    <a:pt x="95" y="26"/>
                  </a:lnTo>
                  <a:lnTo>
                    <a:pt x="97" y="24"/>
                  </a:lnTo>
                  <a:lnTo>
                    <a:pt x="100" y="24"/>
                  </a:lnTo>
                  <a:lnTo>
                    <a:pt x="100" y="21"/>
                  </a:lnTo>
                  <a:lnTo>
                    <a:pt x="102" y="21"/>
                  </a:lnTo>
                  <a:lnTo>
                    <a:pt x="104" y="21"/>
                  </a:lnTo>
                  <a:lnTo>
                    <a:pt x="104" y="19"/>
                  </a:lnTo>
                  <a:lnTo>
                    <a:pt x="107" y="19"/>
                  </a:lnTo>
                  <a:lnTo>
                    <a:pt x="112" y="19"/>
                  </a:lnTo>
                  <a:lnTo>
                    <a:pt x="114" y="19"/>
                  </a:lnTo>
                  <a:lnTo>
                    <a:pt x="116" y="19"/>
                  </a:lnTo>
                  <a:lnTo>
                    <a:pt x="119" y="19"/>
                  </a:lnTo>
                  <a:lnTo>
                    <a:pt x="121" y="19"/>
                  </a:lnTo>
                  <a:lnTo>
                    <a:pt x="123" y="19"/>
                  </a:lnTo>
                  <a:lnTo>
                    <a:pt x="121" y="19"/>
                  </a:lnTo>
                  <a:lnTo>
                    <a:pt x="119" y="21"/>
                  </a:lnTo>
                  <a:lnTo>
                    <a:pt x="116" y="21"/>
                  </a:lnTo>
                  <a:lnTo>
                    <a:pt x="114" y="21"/>
                  </a:lnTo>
                  <a:lnTo>
                    <a:pt x="112" y="21"/>
                  </a:lnTo>
                  <a:lnTo>
                    <a:pt x="109" y="21"/>
                  </a:lnTo>
                  <a:lnTo>
                    <a:pt x="107" y="21"/>
                  </a:lnTo>
                  <a:lnTo>
                    <a:pt x="104" y="21"/>
                  </a:lnTo>
                  <a:lnTo>
                    <a:pt x="107" y="21"/>
                  </a:lnTo>
                  <a:lnTo>
                    <a:pt x="109" y="21"/>
                  </a:lnTo>
                  <a:lnTo>
                    <a:pt x="107" y="24"/>
                  </a:lnTo>
                  <a:lnTo>
                    <a:pt x="109" y="24"/>
                  </a:lnTo>
                  <a:lnTo>
                    <a:pt x="112" y="24"/>
                  </a:lnTo>
                  <a:lnTo>
                    <a:pt x="114" y="24"/>
                  </a:lnTo>
                  <a:lnTo>
                    <a:pt x="116" y="24"/>
                  </a:lnTo>
                  <a:lnTo>
                    <a:pt x="119" y="24"/>
                  </a:lnTo>
                  <a:lnTo>
                    <a:pt x="121" y="24"/>
                  </a:lnTo>
                  <a:lnTo>
                    <a:pt x="123" y="21"/>
                  </a:lnTo>
                  <a:lnTo>
                    <a:pt x="126" y="21"/>
                  </a:lnTo>
                  <a:lnTo>
                    <a:pt x="128" y="21"/>
                  </a:lnTo>
                  <a:lnTo>
                    <a:pt x="131" y="21"/>
                  </a:lnTo>
                  <a:lnTo>
                    <a:pt x="133" y="19"/>
                  </a:lnTo>
                  <a:lnTo>
                    <a:pt x="135" y="19"/>
                  </a:lnTo>
                  <a:lnTo>
                    <a:pt x="138" y="19"/>
                  </a:lnTo>
                  <a:lnTo>
                    <a:pt x="138" y="21"/>
                  </a:lnTo>
                  <a:lnTo>
                    <a:pt x="140" y="21"/>
                  </a:lnTo>
                  <a:lnTo>
                    <a:pt x="140" y="24"/>
                  </a:lnTo>
                  <a:close/>
                  <a:moveTo>
                    <a:pt x="591" y="0"/>
                  </a:moveTo>
                  <a:lnTo>
                    <a:pt x="593" y="2"/>
                  </a:lnTo>
                  <a:lnTo>
                    <a:pt x="596" y="2"/>
                  </a:lnTo>
                  <a:lnTo>
                    <a:pt x="598" y="2"/>
                  </a:lnTo>
                  <a:lnTo>
                    <a:pt x="600" y="2"/>
                  </a:lnTo>
                  <a:lnTo>
                    <a:pt x="603" y="2"/>
                  </a:lnTo>
                  <a:lnTo>
                    <a:pt x="605" y="2"/>
                  </a:lnTo>
                  <a:lnTo>
                    <a:pt x="607" y="5"/>
                  </a:lnTo>
                  <a:lnTo>
                    <a:pt x="610" y="5"/>
                  </a:lnTo>
                  <a:lnTo>
                    <a:pt x="612" y="5"/>
                  </a:lnTo>
                  <a:lnTo>
                    <a:pt x="612" y="7"/>
                  </a:lnTo>
                  <a:lnTo>
                    <a:pt x="612" y="9"/>
                  </a:lnTo>
                  <a:lnTo>
                    <a:pt x="610" y="9"/>
                  </a:lnTo>
                  <a:lnTo>
                    <a:pt x="612" y="9"/>
                  </a:lnTo>
                  <a:lnTo>
                    <a:pt x="615" y="9"/>
                  </a:lnTo>
                  <a:lnTo>
                    <a:pt x="615" y="12"/>
                  </a:lnTo>
                  <a:lnTo>
                    <a:pt x="615" y="14"/>
                  </a:lnTo>
                  <a:lnTo>
                    <a:pt x="612" y="14"/>
                  </a:lnTo>
                  <a:lnTo>
                    <a:pt x="610" y="14"/>
                  </a:lnTo>
                  <a:lnTo>
                    <a:pt x="610" y="17"/>
                  </a:lnTo>
                  <a:lnTo>
                    <a:pt x="612" y="17"/>
                  </a:lnTo>
                  <a:lnTo>
                    <a:pt x="615" y="17"/>
                  </a:lnTo>
                  <a:lnTo>
                    <a:pt x="617" y="19"/>
                  </a:lnTo>
                  <a:lnTo>
                    <a:pt x="615" y="19"/>
                  </a:lnTo>
                  <a:lnTo>
                    <a:pt x="615" y="21"/>
                  </a:lnTo>
                  <a:lnTo>
                    <a:pt x="612" y="24"/>
                  </a:lnTo>
                  <a:lnTo>
                    <a:pt x="610" y="26"/>
                  </a:lnTo>
                  <a:lnTo>
                    <a:pt x="607" y="26"/>
                  </a:lnTo>
                  <a:lnTo>
                    <a:pt x="603" y="28"/>
                  </a:lnTo>
                  <a:lnTo>
                    <a:pt x="600" y="31"/>
                  </a:lnTo>
                  <a:lnTo>
                    <a:pt x="598" y="31"/>
                  </a:lnTo>
                  <a:lnTo>
                    <a:pt x="596" y="31"/>
                  </a:lnTo>
                  <a:lnTo>
                    <a:pt x="593" y="31"/>
                  </a:lnTo>
                  <a:lnTo>
                    <a:pt x="591" y="33"/>
                  </a:lnTo>
                  <a:lnTo>
                    <a:pt x="589" y="33"/>
                  </a:lnTo>
                  <a:lnTo>
                    <a:pt x="584" y="36"/>
                  </a:lnTo>
                  <a:lnTo>
                    <a:pt x="581" y="36"/>
                  </a:lnTo>
                  <a:lnTo>
                    <a:pt x="579" y="36"/>
                  </a:lnTo>
                  <a:lnTo>
                    <a:pt x="577" y="36"/>
                  </a:lnTo>
                  <a:lnTo>
                    <a:pt x="574" y="36"/>
                  </a:lnTo>
                  <a:lnTo>
                    <a:pt x="570" y="36"/>
                  </a:lnTo>
                  <a:lnTo>
                    <a:pt x="567" y="36"/>
                  </a:lnTo>
                  <a:lnTo>
                    <a:pt x="565" y="36"/>
                  </a:lnTo>
                  <a:lnTo>
                    <a:pt x="562" y="38"/>
                  </a:lnTo>
                  <a:lnTo>
                    <a:pt x="560" y="38"/>
                  </a:lnTo>
                  <a:lnTo>
                    <a:pt x="560" y="36"/>
                  </a:lnTo>
                  <a:lnTo>
                    <a:pt x="562" y="36"/>
                  </a:lnTo>
                  <a:lnTo>
                    <a:pt x="560" y="36"/>
                  </a:lnTo>
                  <a:lnTo>
                    <a:pt x="558" y="36"/>
                  </a:lnTo>
                  <a:lnTo>
                    <a:pt x="555" y="38"/>
                  </a:lnTo>
                  <a:lnTo>
                    <a:pt x="551" y="38"/>
                  </a:lnTo>
                  <a:lnTo>
                    <a:pt x="548" y="38"/>
                  </a:lnTo>
                  <a:lnTo>
                    <a:pt x="546" y="38"/>
                  </a:lnTo>
                  <a:lnTo>
                    <a:pt x="543" y="38"/>
                  </a:lnTo>
                  <a:lnTo>
                    <a:pt x="546" y="38"/>
                  </a:lnTo>
                  <a:lnTo>
                    <a:pt x="543" y="38"/>
                  </a:lnTo>
                  <a:lnTo>
                    <a:pt x="543" y="40"/>
                  </a:lnTo>
                  <a:lnTo>
                    <a:pt x="541" y="40"/>
                  </a:lnTo>
                  <a:lnTo>
                    <a:pt x="539" y="40"/>
                  </a:lnTo>
                  <a:lnTo>
                    <a:pt x="539" y="38"/>
                  </a:lnTo>
                  <a:lnTo>
                    <a:pt x="536" y="38"/>
                  </a:lnTo>
                  <a:lnTo>
                    <a:pt x="536" y="36"/>
                  </a:lnTo>
                  <a:lnTo>
                    <a:pt x="529" y="33"/>
                  </a:lnTo>
                  <a:lnTo>
                    <a:pt x="527" y="33"/>
                  </a:lnTo>
                  <a:lnTo>
                    <a:pt x="527" y="31"/>
                  </a:lnTo>
                  <a:lnTo>
                    <a:pt x="522" y="31"/>
                  </a:lnTo>
                  <a:lnTo>
                    <a:pt x="520" y="28"/>
                  </a:lnTo>
                  <a:lnTo>
                    <a:pt x="522" y="28"/>
                  </a:lnTo>
                  <a:lnTo>
                    <a:pt x="527" y="24"/>
                  </a:lnTo>
                  <a:lnTo>
                    <a:pt x="532" y="24"/>
                  </a:lnTo>
                  <a:lnTo>
                    <a:pt x="534" y="24"/>
                  </a:lnTo>
                  <a:lnTo>
                    <a:pt x="534" y="21"/>
                  </a:lnTo>
                  <a:lnTo>
                    <a:pt x="536" y="21"/>
                  </a:lnTo>
                  <a:lnTo>
                    <a:pt x="539" y="21"/>
                  </a:lnTo>
                  <a:lnTo>
                    <a:pt x="541" y="21"/>
                  </a:lnTo>
                  <a:lnTo>
                    <a:pt x="541" y="19"/>
                  </a:lnTo>
                  <a:lnTo>
                    <a:pt x="543" y="19"/>
                  </a:lnTo>
                  <a:lnTo>
                    <a:pt x="543" y="17"/>
                  </a:lnTo>
                  <a:lnTo>
                    <a:pt x="546" y="19"/>
                  </a:lnTo>
                  <a:lnTo>
                    <a:pt x="546" y="17"/>
                  </a:lnTo>
                  <a:lnTo>
                    <a:pt x="548" y="17"/>
                  </a:lnTo>
                  <a:lnTo>
                    <a:pt x="551" y="17"/>
                  </a:lnTo>
                  <a:lnTo>
                    <a:pt x="553" y="17"/>
                  </a:lnTo>
                  <a:lnTo>
                    <a:pt x="555" y="17"/>
                  </a:lnTo>
                  <a:lnTo>
                    <a:pt x="558" y="17"/>
                  </a:lnTo>
                  <a:lnTo>
                    <a:pt x="560" y="17"/>
                  </a:lnTo>
                  <a:lnTo>
                    <a:pt x="562" y="17"/>
                  </a:lnTo>
                  <a:lnTo>
                    <a:pt x="565" y="17"/>
                  </a:lnTo>
                  <a:lnTo>
                    <a:pt x="567" y="17"/>
                  </a:lnTo>
                  <a:lnTo>
                    <a:pt x="570" y="17"/>
                  </a:lnTo>
                  <a:lnTo>
                    <a:pt x="572" y="17"/>
                  </a:lnTo>
                  <a:lnTo>
                    <a:pt x="574" y="17"/>
                  </a:lnTo>
                  <a:lnTo>
                    <a:pt x="574" y="14"/>
                  </a:lnTo>
                  <a:lnTo>
                    <a:pt x="577" y="14"/>
                  </a:lnTo>
                  <a:lnTo>
                    <a:pt x="574" y="12"/>
                  </a:lnTo>
                  <a:lnTo>
                    <a:pt x="574" y="9"/>
                  </a:lnTo>
                  <a:lnTo>
                    <a:pt x="574" y="7"/>
                  </a:lnTo>
                  <a:lnTo>
                    <a:pt x="577" y="7"/>
                  </a:lnTo>
                  <a:lnTo>
                    <a:pt x="577" y="5"/>
                  </a:lnTo>
                  <a:lnTo>
                    <a:pt x="579" y="2"/>
                  </a:lnTo>
                  <a:lnTo>
                    <a:pt x="584" y="2"/>
                  </a:lnTo>
                  <a:lnTo>
                    <a:pt x="584" y="0"/>
                  </a:lnTo>
                  <a:lnTo>
                    <a:pt x="586" y="0"/>
                  </a:lnTo>
                  <a:lnTo>
                    <a:pt x="589" y="0"/>
                  </a:lnTo>
                  <a:lnTo>
                    <a:pt x="59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99" name="Freeform 55046"/>
            <p:cNvSpPr>
              <a:spLocks noEditPoints="1"/>
            </p:cNvSpPr>
            <p:nvPr/>
          </p:nvSpPr>
          <p:spPr bwMode="auto">
            <a:xfrm>
              <a:off x="4383085" y="1793883"/>
              <a:ext cx="982662" cy="1112843"/>
            </a:xfrm>
            <a:custGeom>
              <a:avLst/>
              <a:gdLst>
                <a:gd name="T0" fmla="*/ 261 w 619"/>
                <a:gd name="T1" fmla="*/ 698 h 701"/>
                <a:gd name="T2" fmla="*/ 249 w 619"/>
                <a:gd name="T3" fmla="*/ 689 h 701"/>
                <a:gd name="T4" fmla="*/ 254 w 619"/>
                <a:gd name="T5" fmla="*/ 682 h 701"/>
                <a:gd name="T6" fmla="*/ 266 w 619"/>
                <a:gd name="T7" fmla="*/ 684 h 701"/>
                <a:gd name="T8" fmla="*/ 259 w 619"/>
                <a:gd name="T9" fmla="*/ 684 h 701"/>
                <a:gd name="T10" fmla="*/ 477 w 619"/>
                <a:gd name="T11" fmla="*/ 133 h 701"/>
                <a:gd name="T12" fmla="*/ 209 w 619"/>
                <a:gd name="T13" fmla="*/ 123 h 701"/>
                <a:gd name="T14" fmla="*/ 180 w 619"/>
                <a:gd name="T15" fmla="*/ 133 h 701"/>
                <a:gd name="T16" fmla="*/ 173 w 619"/>
                <a:gd name="T17" fmla="*/ 119 h 701"/>
                <a:gd name="T18" fmla="*/ 157 w 619"/>
                <a:gd name="T19" fmla="*/ 114 h 701"/>
                <a:gd name="T20" fmla="*/ 399 w 619"/>
                <a:gd name="T21" fmla="*/ 121 h 701"/>
                <a:gd name="T22" fmla="*/ 368 w 619"/>
                <a:gd name="T23" fmla="*/ 116 h 701"/>
                <a:gd name="T24" fmla="*/ 399 w 619"/>
                <a:gd name="T25" fmla="*/ 104 h 701"/>
                <a:gd name="T26" fmla="*/ 287 w 619"/>
                <a:gd name="T27" fmla="*/ 114 h 701"/>
                <a:gd name="T28" fmla="*/ 242 w 619"/>
                <a:gd name="T29" fmla="*/ 114 h 701"/>
                <a:gd name="T30" fmla="*/ 259 w 619"/>
                <a:gd name="T31" fmla="*/ 104 h 701"/>
                <a:gd name="T32" fmla="*/ 472 w 619"/>
                <a:gd name="T33" fmla="*/ 107 h 701"/>
                <a:gd name="T34" fmla="*/ 441 w 619"/>
                <a:gd name="T35" fmla="*/ 114 h 701"/>
                <a:gd name="T36" fmla="*/ 425 w 619"/>
                <a:gd name="T37" fmla="*/ 121 h 701"/>
                <a:gd name="T38" fmla="*/ 406 w 619"/>
                <a:gd name="T39" fmla="*/ 97 h 701"/>
                <a:gd name="T40" fmla="*/ 311 w 619"/>
                <a:gd name="T41" fmla="*/ 92 h 701"/>
                <a:gd name="T42" fmla="*/ 297 w 619"/>
                <a:gd name="T43" fmla="*/ 92 h 701"/>
                <a:gd name="T44" fmla="*/ 413 w 619"/>
                <a:gd name="T45" fmla="*/ 85 h 701"/>
                <a:gd name="T46" fmla="*/ 377 w 619"/>
                <a:gd name="T47" fmla="*/ 88 h 701"/>
                <a:gd name="T48" fmla="*/ 349 w 619"/>
                <a:gd name="T49" fmla="*/ 81 h 701"/>
                <a:gd name="T50" fmla="*/ 105 w 619"/>
                <a:gd name="T51" fmla="*/ 73 h 701"/>
                <a:gd name="T52" fmla="*/ 109 w 619"/>
                <a:gd name="T53" fmla="*/ 83 h 701"/>
                <a:gd name="T54" fmla="*/ 78 w 619"/>
                <a:gd name="T55" fmla="*/ 81 h 701"/>
                <a:gd name="T56" fmla="*/ 52 w 619"/>
                <a:gd name="T57" fmla="*/ 90 h 701"/>
                <a:gd name="T58" fmla="*/ 19 w 619"/>
                <a:gd name="T59" fmla="*/ 92 h 701"/>
                <a:gd name="T60" fmla="*/ 50 w 619"/>
                <a:gd name="T61" fmla="*/ 81 h 701"/>
                <a:gd name="T62" fmla="*/ 83 w 619"/>
                <a:gd name="T63" fmla="*/ 69 h 701"/>
                <a:gd name="T64" fmla="*/ 339 w 619"/>
                <a:gd name="T65" fmla="*/ 78 h 701"/>
                <a:gd name="T66" fmla="*/ 304 w 619"/>
                <a:gd name="T67" fmla="*/ 69 h 701"/>
                <a:gd name="T68" fmla="*/ 453 w 619"/>
                <a:gd name="T69" fmla="*/ 76 h 701"/>
                <a:gd name="T70" fmla="*/ 453 w 619"/>
                <a:gd name="T71" fmla="*/ 69 h 701"/>
                <a:gd name="T72" fmla="*/ 432 w 619"/>
                <a:gd name="T73" fmla="*/ 62 h 701"/>
                <a:gd name="T74" fmla="*/ 354 w 619"/>
                <a:gd name="T75" fmla="*/ 59 h 701"/>
                <a:gd name="T76" fmla="*/ 399 w 619"/>
                <a:gd name="T77" fmla="*/ 69 h 701"/>
                <a:gd name="T78" fmla="*/ 396 w 619"/>
                <a:gd name="T79" fmla="*/ 81 h 701"/>
                <a:gd name="T80" fmla="*/ 358 w 619"/>
                <a:gd name="T81" fmla="*/ 69 h 701"/>
                <a:gd name="T82" fmla="*/ 313 w 619"/>
                <a:gd name="T83" fmla="*/ 59 h 701"/>
                <a:gd name="T84" fmla="*/ 401 w 619"/>
                <a:gd name="T85" fmla="*/ 57 h 701"/>
                <a:gd name="T86" fmla="*/ 439 w 619"/>
                <a:gd name="T87" fmla="*/ 66 h 701"/>
                <a:gd name="T88" fmla="*/ 392 w 619"/>
                <a:gd name="T89" fmla="*/ 59 h 701"/>
                <a:gd name="T90" fmla="*/ 548 w 619"/>
                <a:gd name="T91" fmla="*/ 52 h 701"/>
                <a:gd name="T92" fmla="*/ 506 w 619"/>
                <a:gd name="T93" fmla="*/ 64 h 701"/>
                <a:gd name="T94" fmla="*/ 192 w 619"/>
                <a:gd name="T95" fmla="*/ 47 h 701"/>
                <a:gd name="T96" fmla="*/ 176 w 619"/>
                <a:gd name="T97" fmla="*/ 50 h 701"/>
                <a:gd name="T98" fmla="*/ 413 w 619"/>
                <a:gd name="T99" fmla="*/ 52 h 701"/>
                <a:gd name="T100" fmla="*/ 427 w 619"/>
                <a:gd name="T101" fmla="*/ 45 h 701"/>
                <a:gd name="T102" fmla="*/ 418 w 619"/>
                <a:gd name="T103" fmla="*/ 38 h 701"/>
                <a:gd name="T104" fmla="*/ 385 w 619"/>
                <a:gd name="T105" fmla="*/ 47 h 701"/>
                <a:gd name="T106" fmla="*/ 347 w 619"/>
                <a:gd name="T107" fmla="*/ 45 h 701"/>
                <a:gd name="T108" fmla="*/ 377 w 619"/>
                <a:gd name="T109" fmla="*/ 40 h 701"/>
                <a:gd name="T110" fmla="*/ 470 w 619"/>
                <a:gd name="T111" fmla="*/ 33 h 701"/>
                <a:gd name="T112" fmla="*/ 422 w 619"/>
                <a:gd name="T113" fmla="*/ 21 h 701"/>
                <a:gd name="T114" fmla="*/ 415 w 619"/>
                <a:gd name="T115" fmla="*/ 31 h 701"/>
                <a:gd name="T116" fmla="*/ 399 w 619"/>
                <a:gd name="T117" fmla="*/ 24 h 701"/>
                <a:gd name="T118" fmla="*/ 605 w 619"/>
                <a:gd name="T119" fmla="*/ 19 h 701"/>
                <a:gd name="T120" fmla="*/ 589 w 619"/>
                <a:gd name="T121" fmla="*/ 12 h 701"/>
                <a:gd name="T122" fmla="*/ 463 w 619"/>
                <a:gd name="T123" fmla="*/ 9 h 701"/>
                <a:gd name="T124" fmla="*/ 430 w 619"/>
                <a:gd name="T125" fmla="*/ 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9" h="701">
                  <a:moveTo>
                    <a:pt x="268" y="689"/>
                  </a:moveTo>
                  <a:lnTo>
                    <a:pt x="271" y="689"/>
                  </a:lnTo>
                  <a:lnTo>
                    <a:pt x="268" y="689"/>
                  </a:lnTo>
                  <a:lnTo>
                    <a:pt x="268" y="686"/>
                  </a:lnTo>
                  <a:lnTo>
                    <a:pt x="268" y="689"/>
                  </a:lnTo>
                  <a:lnTo>
                    <a:pt x="268" y="686"/>
                  </a:lnTo>
                  <a:lnTo>
                    <a:pt x="271" y="686"/>
                  </a:lnTo>
                  <a:lnTo>
                    <a:pt x="271" y="689"/>
                  </a:lnTo>
                  <a:lnTo>
                    <a:pt x="271" y="691"/>
                  </a:lnTo>
                  <a:lnTo>
                    <a:pt x="271" y="694"/>
                  </a:lnTo>
                  <a:lnTo>
                    <a:pt x="273" y="694"/>
                  </a:lnTo>
                  <a:lnTo>
                    <a:pt x="271" y="694"/>
                  </a:lnTo>
                  <a:lnTo>
                    <a:pt x="271" y="696"/>
                  </a:lnTo>
                  <a:lnTo>
                    <a:pt x="268" y="696"/>
                  </a:lnTo>
                  <a:lnTo>
                    <a:pt x="268" y="698"/>
                  </a:lnTo>
                  <a:lnTo>
                    <a:pt x="271" y="698"/>
                  </a:lnTo>
                  <a:lnTo>
                    <a:pt x="268" y="698"/>
                  </a:lnTo>
                  <a:lnTo>
                    <a:pt x="266" y="698"/>
                  </a:lnTo>
                  <a:lnTo>
                    <a:pt x="264" y="698"/>
                  </a:lnTo>
                  <a:lnTo>
                    <a:pt x="261" y="698"/>
                  </a:lnTo>
                  <a:lnTo>
                    <a:pt x="264" y="698"/>
                  </a:lnTo>
                  <a:lnTo>
                    <a:pt x="261" y="698"/>
                  </a:lnTo>
                  <a:lnTo>
                    <a:pt x="264" y="701"/>
                  </a:lnTo>
                  <a:lnTo>
                    <a:pt x="261" y="701"/>
                  </a:lnTo>
                  <a:lnTo>
                    <a:pt x="261" y="698"/>
                  </a:lnTo>
                  <a:lnTo>
                    <a:pt x="261" y="701"/>
                  </a:lnTo>
                  <a:lnTo>
                    <a:pt x="261" y="698"/>
                  </a:lnTo>
                  <a:lnTo>
                    <a:pt x="259" y="698"/>
                  </a:lnTo>
                  <a:lnTo>
                    <a:pt x="256" y="698"/>
                  </a:lnTo>
                  <a:lnTo>
                    <a:pt x="259" y="698"/>
                  </a:lnTo>
                  <a:lnTo>
                    <a:pt x="259" y="696"/>
                  </a:lnTo>
                  <a:lnTo>
                    <a:pt x="256" y="696"/>
                  </a:lnTo>
                  <a:lnTo>
                    <a:pt x="259" y="696"/>
                  </a:lnTo>
                  <a:lnTo>
                    <a:pt x="256" y="696"/>
                  </a:lnTo>
                  <a:lnTo>
                    <a:pt x="256" y="694"/>
                  </a:lnTo>
                  <a:lnTo>
                    <a:pt x="254" y="694"/>
                  </a:lnTo>
                  <a:lnTo>
                    <a:pt x="254" y="691"/>
                  </a:lnTo>
                  <a:lnTo>
                    <a:pt x="254" y="689"/>
                  </a:lnTo>
                  <a:lnTo>
                    <a:pt x="252" y="689"/>
                  </a:lnTo>
                  <a:lnTo>
                    <a:pt x="254" y="689"/>
                  </a:lnTo>
                  <a:lnTo>
                    <a:pt x="252" y="689"/>
                  </a:lnTo>
                  <a:lnTo>
                    <a:pt x="249" y="689"/>
                  </a:lnTo>
                  <a:lnTo>
                    <a:pt x="252" y="689"/>
                  </a:lnTo>
                  <a:lnTo>
                    <a:pt x="249" y="689"/>
                  </a:lnTo>
                  <a:lnTo>
                    <a:pt x="249" y="686"/>
                  </a:lnTo>
                  <a:lnTo>
                    <a:pt x="249" y="689"/>
                  </a:lnTo>
                  <a:lnTo>
                    <a:pt x="247" y="689"/>
                  </a:lnTo>
                  <a:lnTo>
                    <a:pt x="245" y="689"/>
                  </a:lnTo>
                  <a:lnTo>
                    <a:pt x="242" y="689"/>
                  </a:lnTo>
                  <a:lnTo>
                    <a:pt x="240" y="686"/>
                  </a:lnTo>
                  <a:lnTo>
                    <a:pt x="240" y="684"/>
                  </a:lnTo>
                  <a:lnTo>
                    <a:pt x="240" y="682"/>
                  </a:lnTo>
                  <a:lnTo>
                    <a:pt x="242" y="682"/>
                  </a:lnTo>
                  <a:lnTo>
                    <a:pt x="245" y="682"/>
                  </a:lnTo>
                  <a:lnTo>
                    <a:pt x="247" y="682"/>
                  </a:lnTo>
                  <a:lnTo>
                    <a:pt x="247" y="679"/>
                  </a:lnTo>
                  <a:lnTo>
                    <a:pt x="247" y="682"/>
                  </a:lnTo>
                  <a:lnTo>
                    <a:pt x="249" y="682"/>
                  </a:lnTo>
                  <a:lnTo>
                    <a:pt x="252" y="682"/>
                  </a:lnTo>
                  <a:lnTo>
                    <a:pt x="252" y="679"/>
                  </a:lnTo>
                  <a:lnTo>
                    <a:pt x="249" y="679"/>
                  </a:lnTo>
                  <a:lnTo>
                    <a:pt x="252" y="679"/>
                  </a:lnTo>
                  <a:lnTo>
                    <a:pt x="252" y="682"/>
                  </a:lnTo>
                  <a:lnTo>
                    <a:pt x="254" y="682"/>
                  </a:lnTo>
                  <a:lnTo>
                    <a:pt x="254" y="679"/>
                  </a:lnTo>
                  <a:lnTo>
                    <a:pt x="254" y="682"/>
                  </a:lnTo>
                  <a:lnTo>
                    <a:pt x="254" y="679"/>
                  </a:lnTo>
                  <a:lnTo>
                    <a:pt x="254" y="682"/>
                  </a:lnTo>
                  <a:lnTo>
                    <a:pt x="256" y="682"/>
                  </a:lnTo>
                  <a:lnTo>
                    <a:pt x="256" y="684"/>
                  </a:lnTo>
                  <a:lnTo>
                    <a:pt x="256" y="682"/>
                  </a:lnTo>
                  <a:lnTo>
                    <a:pt x="254" y="682"/>
                  </a:lnTo>
                  <a:lnTo>
                    <a:pt x="254" y="679"/>
                  </a:lnTo>
                  <a:lnTo>
                    <a:pt x="256" y="679"/>
                  </a:lnTo>
                  <a:lnTo>
                    <a:pt x="254" y="679"/>
                  </a:lnTo>
                  <a:lnTo>
                    <a:pt x="256" y="679"/>
                  </a:lnTo>
                  <a:lnTo>
                    <a:pt x="259" y="679"/>
                  </a:lnTo>
                  <a:lnTo>
                    <a:pt x="261" y="679"/>
                  </a:lnTo>
                  <a:lnTo>
                    <a:pt x="261" y="682"/>
                  </a:lnTo>
                  <a:lnTo>
                    <a:pt x="261" y="679"/>
                  </a:lnTo>
                  <a:lnTo>
                    <a:pt x="261" y="682"/>
                  </a:lnTo>
                  <a:lnTo>
                    <a:pt x="264" y="682"/>
                  </a:lnTo>
                  <a:lnTo>
                    <a:pt x="264" y="684"/>
                  </a:lnTo>
                  <a:lnTo>
                    <a:pt x="266" y="684"/>
                  </a:lnTo>
                  <a:lnTo>
                    <a:pt x="264" y="684"/>
                  </a:lnTo>
                  <a:lnTo>
                    <a:pt x="266" y="684"/>
                  </a:lnTo>
                  <a:lnTo>
                    <a:pt x="266" y="686"/>
                  </a:lnTo>
                  <a:lnTo>
                    <a:pt x="266" y="684"/>
                  </a:lnTo>
                  <a:lnTo>
                    <a:pt x="266" y="686"/>
                  </a:lnTo>
                  <a:lnTo>
                    <a:pt x="264" y="686"/>
                  </a:lnTo>
                  <a:lnTo>
                    <a:pt x="264" y="684"/>
                  </a:lnTo>
                  <a:lnTo>
                    <a:pt x="264" y="686"/>
                  </a:lnTo>
                  <a:lnTo>
                    <a:pt x="264" y="684"/>
                  </a:lnTo>
                  <a:lnTo>
                    <a:pt x="261" y="684"/>
                  </a:lnTo>
                  <a:lnTo>
                    <a:pt x="261" y="682"/>
                  </a:lnTo>
                  <a:lnTo>
                    <a:pt x="259" y="682"/>
                  </a:lnTo>
                  <a:lnTo>
                    <a:pt x="256" y="682"/>
                  </a:lnTo>
                  <a:lnTo>
                    <a:pt x="256" y="679"/>
                  </a:lnTo>
                  <a:lnTo>
                    <a:pt x="256" y="682"/>
                  </a:lnTo>
                  <a:lnTo>
                    <a:pt x="259" y="682"/>
                  </a:lnTo>
                  <a:lnTo>
                    <a:pt x="261" y="684"/>
                  </a:lnTo>
                  <a:lnTo>
                    <a:pt x="261" y="682"/>
                  </a:lnTo>
                  <a:lnTo>
                    <a:pt x="261" y="684"/>
                  </a:lnTo>
                  <a:lnTo>
                    <a:pt x="261" y="682"/>
                  </a:lnTo>
                  <a:lnTo>
                    <a:pt x="261" y="684"/>
                  </a:lnTo>
                  <a:lnTo>
                    <a:pt x="259" y="684"/>
                  </a:lnTo>
                  <a:lnTo>
                    <a:pt x="261" y="684"/>
                  </a:lnTo>
                  <a:lnTo>
                    <a:pt x="259" y="684"/>
                  </a:lnTo>
                  <a:lnTo>
                    <a:pt x="256" y="684"/>
                  </a:lnTo>
                  <a:lnTo>
                    <a:pt x="259" y="684"/>
                  </a:lnTo>
                  <a:lnTo>
                    <a:pt x="261" y="684"/>
                  </a:lnTo>
                  <a:lnTo>
                    <a:pt x="261" y="686"/>
                  </a:lnTo>
                  <a:lnTo>
                    <a:pt x="264" y="686"/>
                  </a:lnTo>
                  <a:lnTo>
                    <a:pt x="261" y="686"/>
                  </a:lnTo>
                  <a:lnTo>
                    <a:pt x="264" y="686"/>
                  </a:lnTo>
                  <a:lnTo>
                    <a:pt x="266" y="689"/>
                  </a:lnTo>
                  <a:lnTo>
                    <a:pt x="268" y="689"/>
                  </a:lnTo>
                  <a:close/>
                  <a:moveTo>
                    <a:pt x="477" y="121"/>
                  </a:moveTo>
                  <a:lnTo>
                    <a:pt x="479" y="121"/>
                  </a:lnTo>
                  <a:lnTo>
                    <a:pt x="482" y="121"/>
                  </a:lnTo>
                  <a:lnTo>
                    <a:pt x="484" y="123"/>
                  </a:lnTo>
                  <a:lnTo>
                    <a:pt x="487" y="123"/>
                  </a:lnTo>
                  <a:lnTo>
                    <a:pt x="489" y="123"/>
                  </a:lnTo>
                  <a:lnTo>
                    <a:pt x="491" y="126"/>
                  </a:lnTo>
                  <a:lnTo>
                    <a:pt x="491" y="128"/>
                  </a:lnTo>
                  <a:lnTo>
                    <a:pt x="489" y="128"/>
                  </a:lnTo>
                  <a:lnTo>
                    <a:pt x="487" y="130"/>
                  </a:lnTo>
                  <a:lnTo>
                    <a:pt x="484" y="130"/>
                  </a:lnTo>
                  <a:lnTo>
                    <a:pt x="484" y="133"/>
                  </a:lnTo>
                  <a:lnTo>
                    <a:pt x="482" y="133"/>
                  </a:lnTo>
                  <a:lnTo>
                    <a:pt x="479" y="133"/>
                  </a:lnTo>
                  <a:lnTo>
                    <a:pt x="477" y="133"/>
                  </a:lnTo>
                  <a:lnTo>
                    <a:pt x="475" y="133"/>
                  </a:lnTo>
                  <a:lnTo>
                    <a:pt x="475" y="135"/>
                  </a:lnTo>
                  <a:lnTo>
                    <a:pt x="472" y="133"/>
                  </a:lnTo>
                  <a:lnTo>
                    <a:pt x="470" y="133"/>
                  </a:lnTo>
                  <a:lnTo>
                    <a:pt x="468" y="133"/>
                  </a:lnTo>
                  <a:lnTo>
                    <a:pt x="468" y="130"/>
                  </a:lnTo>
                  <a:lnTo>
                    <a:pt x="465" y="130"/>
                  </a:lnTo>
                  <a:lnTo>
                    <a:pt x="463" y="130"/>
                  </a:lnTo>
                  <a:lnTo>
                    <a:pt x="460" y="130"/>
                  </a:lnTo>
                  <a:lnTo>
                    <a:pt x="458" y="128"/>
                  </a:lnTo>
                  <a:lnTo>
                    <a:pt x="456" y="128"/>
                  </a:lnTo>
                  <a:lnTo>
                    <a:pt x="456" y="126"/>
                  </a:lnTo>
                  <a:lnTo>
                    <a:pt x="458" y="126"/>
                  </a:lnTo>
                  <a:lnTo>
                    <a:pt x="460" y="126"/>
                  </a:lnTo>
                  <a:lnTo>
                    <a:pt x="463" y="123"/>
                  </a:lnTo>
                  <a:lnTo>
                    <a:pt x="465" y="123"/>
                  </a:lnTo>
                  <a:lnTo>
                    <a:pt x="468" y="123"/>
                  </a:lnTo>
                  <a:lnTo>
                    <a:pt x="472" y="121"/>
                  </a:lnTo>
                  <a:lnTo>
                    <a:pt x="475" y="121"/>
                  </a:lnTo>
                  <a:lnTo>
                    <a:pt x="477" y="121"/>
                  </a:lnTo>
                  <a:close/>
                  <a:moveTo>
                    <a:pt x="207" y="123"/>
                  </a:moveTo>
                  <a:lnTo>
                    <a:pt x="209" y="123"/>
                  </a:lnTo>
                  <a:lnTo>
                    <a:pt x="207" y="126"/>
                  </a:lnTo>
                  <a:lnTo>
                    <a:pt x="207" y="128"/>
                  </a:lnTo>
                  <a:lnTo>
                    <a:pt x="204" y="128"/>
                  </a:lnTo>
                  <a:lnTo>
                    <a:pt x="207" y="128"/>
                  </a:lnTo>
                  <a:lnTo>
                    <a:pt x="207" y="130"/>
                  </a:lnTo>
                  <a:lnTo>
                    <a:pt x="209" y="130"/>
                  </a:lnTo>
                  <a:lnTo>
                    <a:pt x="211" y="130"/>
                  </a:lnTo>
                  <a:lnTo>
                    <a:pt x="209" y="130"/>
                  </a:lnTo>
                  <a:lnTo>
                    <a:pt x="211" y="133"/>
                  </a:lnTo>
                  <a:lnTo>
                    <a:pt x="214" y="133"/>
                  </a:lnTo>
                  <a:lnTo>
                    <a:pt x="211" y="133"/>
                  </a:lnTo>
                  <a:lnTo>
                    <a:pt x="209" y="133"/>
                  </a:lnTo>
                  <a:lnTo>
                    <a:pt x="207" y="133"/>
                  </a:lnTo>
                  <a:lnTo>
                    <a:pt x="199" y="133"/>
                  </a:lnTo>
                  <a:lnTo>
                    <a:pt x="197" y="133"/>
                  </a:lnTo>
                  <a:lnTo>
                    <a:pt x="195" y="133"/>
                  </a:lnTo>
                  <a:lnTo>
                    <a:pt x="192" y="133"/>
                  </a:lnTo>
                  <a:lnTo>
                    <a:pt x="190" y="133"/>
                  </a:lnTo>
                  <a:lnTo>
                    <a:pt x="188" y="133"/>
                  </a:lnTo>
                  <a:lnTo>
                    <a:pt x="185" y="133"/>
                  </a:lnTo>
                  <a:lnTo>
                    <a:pt x="183" y="133"/>
                  </a:lnTo>
                  <a:lnTo>
                    <a:pt x="180" y="133"/>
                  </a:lnTo>
                  <a:lnTo>
                    <a:pt x="178" y="133"/>
                  </a:lnTo>
                  <a:lnTo>
                    <a:pt x="176" y="133"/>
                  </a:lnTo>
                  <a:lnTo>
                    <a:pt x="176" y="130"/>
                  </a:lnTo>
                  <a:lnTo>
                    <a:pt x="178" y="130"/>
                  </a:lnTo>
                  <a:lnTo>
                    <a:pt x="180" y="130"/>
                  </a:lnTo>
                  <a:lnTo>
                    <a:pt x="185" y="128"/>
                  </a:lnTo>
                  <a:lnTo>
                    <a:pt x="183" y="128"/>
                  </a:lnTo>
                  <a:lnTo>
                    <a:pt x="185" y="128"/>
                  </a:lnTo>
                  <a:lnTo>
                    <a:pt x="185" y="126"/>
                  </a:lnTo>
                  <a:lnTo>
                    <a:pt x="188" y="126"/>
                  </a:lnTo>
                  <a:lnTo>
                    <a:pt x="190" y="123"/>
                  </a:lnTo>
                  <a:lnTo>
                    <a:pt x="192" y="123"/>
                  </a:lnTo>
                  <a:lnTo>
                    <a:pt x="195" y="123"/>
                  </a:lnTo>
                  <a:lnTo>
                    <a:pt x="197" y="123"/>
                  </a:lnTo>
                  <a:lnTo>
                    <a:pt x="197" y="121"/>
                  </a:lnTo>
                  <a:lnTo>
                    <a:pt x="199" y="121"/>
                  </a:lnTo>
                  <a:lnTo>
                    <a:pt x="202" y="121"/>
                  </a:lnTo>
                  <a:lnTo>
                    <a:pt x="202" y="123"/>
                  </a:lnTo>
                  <a:lnTo>
                    <a:pt x="204" y="123"/>
                  </a:lnTo>
                  <a:lnTo>
                    <a:pt x="207" y="123"/>
                  </a:lnTo>
                  <a:close/>
                  <a:moveTo>
                    <a:pt x="176" y="119"/>
                  </a:moveTo>
                  <a:lnTo>
                    <a:pt x="173" y="119"/>
                  </a:lnTo>
                  <a:lnTo>
                    <a:pt x="171" y="119"/>
                  </a:lnTo>
                  <a:lnTo>
                    <a:pt x="169" y="119"/>
                  </a:lnTo>
                  <a:lnTo>
                    <a:pt x="169" y="121"/>
                  </a:lnTo>
                  <a:lnTo>
                    <a:pt x="169" y="123"/>
                  </a:lnTo>
                  <a:lnTo>
                    <a:pt x="171" y="123"/>
                  </a:lnTo>
                  <a:lnTo>
                    <a:pt x="169" y="123"/>
                  </a:lnTo>
                  <a:lnTo>
                    <a:pt x="169" y="126"/>
                  </a:lnTo>
                  <a:lnTo>
                    <a:pt x="166" y="126"/>
                  </a:lnTo>
                  <a:lnTo>
                    <a:pt x="164" y="126"/>
                  </a:lnTo>
                  <a:lnTo>
                    <a:pt x="164" y="123"/>
                  </a:lnTo>
                  <a:lnTo>
                    <a:pt x="161" y="123"/>
                  </a:lnTo>
                  <a:lnTo>
                    <a:pt x="161" y="121"/>
                  </a:lnTo>
                  <a:lnTo>
                    <a:pt x="159" y="121"/>
                  </a:lnTo>
                  <a:lnTo>
                    <a:pt x="157" y="121"/>
                  </a:lnTo>
                  <a:lnTo>
                    <a:pt x="154" y="121"/>
                  </a:lnTo>
                  <a:lnTo>
                    <a:pt x="154" y="119"/>
                  </a:lnTo>
                  <a:lnTo>
                    <a:pt x="152" y="119"/>
                  </a:lnTo>
                  <a:lnTo>
                    <a:pt x="150" y="119"/>
                  </a:lnTo>
                  <a:lnTo>
                    <a:pt x="150" y="116"/>
                  </a:lnTo>
                  <a:lnTo>
                    <a:pt x="152" y="116"/>
                  </a:lnTo>
                  <a:lnTo>
                    <a:pt x="154" y="116"/>
                  </a:lnTo>
                  <a:lnTo>
                    <a:pt x="157" y="114"/>
                  </a:lnTo>
                  <a:lnTo>
                    <a:pt x="159" y="114"/>
                  </a:lnTo>
                  <a:lnTo>
                    <a:pt x="161" y="114"/>
                  </a:lnTo>
                  <a:lnTo>
                    <a:pt x="164" y="114"/>
                  </a:lnTo>
                  <a:lnTo>
                    <a:pt x="166" y="111"/>
                  </a:lnTo>
                  <a:lnTo>
                    <a:pt x="169" y="111"/>
                  </a:lnTo>
                  <a:lnTo>
                    <a:pt x="171" y="114"/>
                  </a:lnTo>
                  <a:lnTo>
                    <a:pt x="173" y="114"/>
                  </a:lnTo>
                  <a:lnTo>
                    <a:pt x="176" y="114"/>
                  </a:lnTo>
                  <a:lnTo>
                    <a:pt x="178" y="114"/>
                  </a:lnTo>
                  <a:lnTo>
                    <a:pt x="178" y="116"/>
                  </a:lnTo>
                  <a:lnTo>
                    <a:pt x="176" y="116"/>
                  </a:lnTo>
                  <a:lnTo>
                    <a:pt x="176" y="119"/>
                  </a:lnTo>
                  <a:close/>
                  <a:moveTo>
                    <a:pt x="403" y="107"/>
                  </a:moveTo>
                  <a:lnTo>
                    <a:pt x="401" y="109"/>
                  </a:lnTo>
                  <a:lnTo>
                    <a:pt x="401" y="111"/>
                  </a:lnTo>
                  <a:lnTo>
                    <a:pt x="401" y="114"/>
                  </a:lnTo>
                  <a:lnTo>
                    <a:pt x="403" y="114"/>
                  </a:lnTo>
                  <a:lnTo>
                    <a:pt x="401" y="114"/>
                  </a:lnTo>
                  <a:lnTo>
                    <a:pt x="401" y="116"/>
                  </a:lnTo>
                  <a:lnTo>
                    <a:pt x="399" y="116"/>
                  </a:lnTo>
                  <a:lnTo>
                    <a:pt x="399" y="119"/>
                  </a:lnTo>
                  <a:lnTo>
                    <a:pt x="399" y="121"/>
                  </a:lnTo>
                  <a:lnTo>
                    <a:pt x="399" y="123"/>
                  </a:lnTo>
                  <a:lnTo>
                    <a:pt x="396" y="123"/>
                  </a:lnTo>
                  <a:lnTo>
                    <a:pt x="394" y="123"/>
                  </a:lnTo>
                  <a:lnTo>
                    <a:pt x="392" y="123"/>
                  </a:lnTo>
                  <a:lnTo>
                    <a:pt x="389" y="123"/>
                  </a:lnTo>
                  <a:lnTo>
                    <a:pt x="387" y="123"/>
                  </a:lnTo>
                  <a:lnTo>
                    <a:pt x="385" y="123"/>
                  </a:lnTo>
                  <a:lnTo>
                    <a:pt x="382" y="123"/>
                  </a:lnTo>
                  <a:lnTo>
                    <a:pt x="380" y="123"/>
                  </a:lnTo>
                  <a:lnTo>
                    <a:pt x="377" y="123"/>
                  </a:lnTo>
                  <a:lnTo>
                    <a:pt x="375" y="123"/>
                  </a:lnTo>
                  <a:lnTo>
                    <a:pt x="373" y="123"/>
                  </a:lnTo>
                  <a:lnTo>
                    <a:pt x="370" y="123"/>
                  </a:lnTo>
                  <a:lnTo>
                    <a:pt x="368" y="123"/>
                  </a:lnTo>
                  <a:lnTo>
                    <a:pt x="366" y="123"/>
                  </a:lnTo>
                  <a:lnTo>
                    <a:pt x="363" y="123"/>
                  </a:lnTo>
                  <a:lnTo>
                    <a:pt x="361" y="123"/>
                  </a:lnTo>
                  <a:lnTo>
                    <a:pt x="358" y="121"/>
                  </a:lnTo>
                  <a:lnTo>
                    <a:pt x="356" y="121"/>
                  </a:lnTo>
                  <a:lnTo>
                    <a:pt x="358" y="121"/>
                  </a:lnTo>
                  <a:lnTo>
                    <a:pt x="366" y="116"/>
                  </a:lnTo>
                  <a:lnTo>
                    <a:pt x="368" y="116"/>
                  </a:lnTo>
                  <a:lnTo>
                    <a:pt x="368" y="114"/>
                  </a:lnTo>
                  <a:lnTo>
                    <a:pt x="366" y="114"/>
                  </a:lnTo>
                  <a:lnTo>
                    <a:pt x="366" y="111"/>
                  </a:lnTo>
                  <a:lnTo>
                    <a:pt x="366" y="109"/>
                  </a:lnTo>
                  <a:lnTo>
                    <a:pt x="363" y="109"/>
                  </a:lnTo>
                  <a:lnTo>
                    <a:pt x="361" y="107"/>
                  </a:lnTo>
                  <a:lnTo>
                    <a:pt x="366" y="107"/>
                  </a:lnTo>
                  <a:lnTo>
                    <a:pt x="368" y="107"/>
                  </a:lnTo>
                  <a:lnTo>
                    <a:pt x="370" y="104"/>
                  </a:lnTo>
                  <a:lnTo>
                    <a:pt x="373" y="104"/>
                  </a:lnTo>
                  <a:lnTo>
                    <a:pt x="375" y="107"/>
                  </a:lnTo>
                  <a:lnTo>
                    <a:pt x="377" y="107"/>
                  </a:lnTo>
                  <a:lnTo>
                    <a:pt x="380" y="107"/>
                  </a:lnTo>
                  <a:lnTo>
                    <a:pt x="380" y="104"/>
                  </a:lnTo>
                  <a:lnTo>
                    <a:pt x="380" y="107"/>
                  </a:lnTo>
                  <a:lnTo>
                    <a:pt x="382" y="107"/>
                  </a:lnTo>
                  <a:lnTo>
                    <a:pt x="387" y="107"/>
                  </a:lnTo>
                  <a:lnTo>
                    <a:pt x="387" y="104"/>
                  </a:lnTo>
                  <a:lnTo>
                    <a:pt x="392" y="104"/>
                  </a:lnTo>
                  <a:lnTo>
                    <a:pt x="394" y="104"/>
                  </a:lnTo>
                  <a:lnTo>
                    <a:pt x="396" y="104"/>
                  </a:lnTo>
                  <a:lnTo>
                    <a:pt x="399" y="104"/>
                  </a:lnTo>
                  <a:lnTo>
                    <a:pt x="401" y="107"/>
                  </a:lnTo>
                  <a:lnTo>
                    <a:pt x="403" y="107"/>
                  </a:lnTo>
                  <a:close/>
                  <a:moveTo>
                    <a:pt x="268" y="102"/>
                  </a:moveTo>
                  <a:lnTo>
                    <a:pt x="271" y="102"/>
                  </a:lnTo>
                  <a:lnTo>
                    <a:pt x="273" y="102"/>
                  </a:lnTo>
                  <a:lnTo>
                    <a:pt x="275" y="102"/>
                  </a:lnTo>
                  <a:lnTo>
                    <a:pt x="278" y="102"/>
                  </a:lnTo>
                  <a:lnTo>
                    <a:pt x="278" y="104"/>
                  </a:lnTo>
                  <a:lnTo>
                    <a:pt x="278" y="107"/>
                  </a:lnTo>
                  <a:lnTo>
                    <a:pt x="280" y="107"/>
                  </a:lnTo>
                  <a:lnTo>
                    <a:pt x="282" y="107"/>
                  </a:lnTo>
                  <a:lnTo>
                    <a:pt x="285" y="107"/>
                  </a:lnTo>
                  <a:lnTo>
                    <a:pt x="285" y="109"/>
                  </a:lnTo>
                  <a:lnTo>
                    <a:pt x="287" y="109"/>
                  </a:lnTo>
                  <a:lnTo>
                    <a:pt x="290" y="109"/>
                  </a:lnTo>
                  <a:lnTo>
                    <a:pt x="292" y="111"/>
                  </a:lnTo>
                  <a:lnTo>
                    <a:pt x="294" y="111"/>
                  </a:lnTo>
                  <a:lnTo>
                    <a:pt x="290" y="114"/>
                  </a:lnTo>
                  <a:lnTo>
                    <a:pt x="290" y="116"/>
                  </a:lnTo>
                  <a:lnTo>
                    <a:pt x="287" y="114"/>
                  </a:lnTo>
                  <a:lnTo>
                    <a:pt x="290" y="114"/>
                  </a:lnTo>
                  <a:lnTo>
                    <a:pt x="287" y="114"/>
                  </a:lnTo>
                  <a:lnTo>
                    <a:pt x="285" y="114"/>
                  </a:lnTo>
                  <a:lnTo>
                    <a:pt x="282" y="114"/>
                  </a:lnTo>
                  <a:lnTo>
                    <a:pt x="282" y="116"/>
                  </a:lnTo>
                  <a:lnTo>
                    <a:pt x="282" y="119"/>
                  </a:lnTo>
                  <a:lnTo>
                    <a:pt x="280" y="119"/>
                  </a:lnTo>
                  <a:lnTo>
                    <a:pt x="278" y="119"/>
                  </a:lnTo>
                  <a:lnTo>
                    <a:pt x="275" y="119"/>
                  </a:lnTo>
                  <a:lnTo>
                    <a:pt x="275" y="116"/>
                  </a:lnTo>
                  <a:lnTo>
                    <a:pt x="273" y="116"/>
                  </a:lnTo>
                  <a:lnTo>
                    <a:pt x="271" y="119"/>
                  </a:lnTo>
                  <a:lnTo>
                    <a:pt x="268" y="116"/>
                  </a:lnTo>
                  <a:lnTo>
                    <a:pt x="266" y="119"/>
                  </a:lnTo>
                  <a:lnTo>
                    <a:pt x="264" y="119"/>
                  </a:lnTo>
                  <a:lnTo>
                    <a:pt x="261" y="116"/>
                  </a:lnTo>
                  <a:lnTo>
                    <a:pt x="259" y="116"/>
                  </a:lnTo>
                  <a:lnTo>
                    <a:pt x="254" y="116"/>
                  </a:lnTo>
                  <a:lnTo>
                    <a:pt x="252" y="116"/>
                  </a:lnTo>
                  <a:lnTo>
                    <a:pt x="249" y="116"/>
                  </a:lnTo>
                  <a:lnTo>
                    <a:pt x="247" y="114"/>
                  </a:lnTo>
                  <a:lnTo>
                    <a:pt x="245" y="114"/>
                  </a:lnTo>
                  <a:lnTo>
                    <a:pt x="245" y="116"/>
                  </a:lnTo>
                  <a:lnTo>
                    <a:pt x="242" y="114"/>
                  </a:lnTo>
                  <a:lnTo>
                    <a:pt x="240" y="114"/>
                  </a:lnTo>
                  <a:lnTo>
                    <a:pt x="240" y="111"/>
                  </a:lnTo>
                  <a:lnTo>
                    <a:pt x="240" y="109"/>
                  </a:lnTo>
                  <a:lnTo>
                    <a:pt x="242" y="109"/>
                  </a:lnTo>
                  <a:lnTo>
                    <a:pt x="245" y="109"/>
                  </a:lnTo>
                  <a:lnTo>
                    <a:pt x="247" y="109"/>
                  </a:lnTo>
                  <a:lnTo>
                    <a:pt x="249" y="109"/>
                  </a:lnTo>
                  <a:lnTo>
                    <a:pt x="252" y="109"/>
                  </a:lnTo>
                  <a:lnTo>
                    <a:pt x="254" y="109"/>
                  </a:lnTo>
                  <a:lnTo>
                    <a:pt x="256" y="107"/>
                  </a:lnTo>
                  <a:lnTo>
                    <a:pt x="256" y="109"/>
                  </a:lnTo>
                  <a:lnTo>
                    <a:pt x="256" y="107"/>
                  </a:lnTo>
                  <a:lnTo>
                    <a:pt x="259" y="107"/>
                  </a:lnTo>
                  <a:lnTo>
                    <a:pt x="261" y="107"/>
                  </a:lnTo>
                  <a:lnTo>
                    <a:pt x="259" y="107"/>
                  </a:lnTo>
                  <a:lnTo>
                    <a:pt x="256" y="107"/>
                  </a:lnTo>
                  <a:lnTo>
                    <a:pt x="259" y="107"/>
                  </a:lnTo>
                  <a:lnTo>
                    <a:pt x="261" y="107"/>
                  </a:lnTo>
                  <a:lnTo>
                    <a:pt x="261" y="104"/>
                  </a:lnTo>
                  <a:lnTo>
                    <a:pt x="259" y="104"/>
                  </a:lnTo>
                  <a:lnTo>
                    <a:pt x="256" y="104"/>
                  </a:lnTo>
                  <a:lnTo>
                    <a:pt x="259" y="104"/>
                  </a:lnTo>
                  <a:lnTo>
                    <a:pt x="261" y="102"/>
                  </a:lnTo>
                  <a:lnTo>
                    <a:pt x="264" y="102"/>
                  </a:lnTo>
                  <a:lnTo>
                    <a:pt x="266" y="102"/>
                  </a:lnTo>
                  <a:lnTo>
                    <a:pt x="268" y="102"/>
                  </a:lnTo>
                  <a:close/>
                  <a:moveTo>
                    <a:pt x="427" y="95"/>
                  </a:moveTo>
                  <a:lnTo>
                    <a:pt x="430" y="95"/>
                  </a:lnTo>
                  <a:lnTo>
                    <a:pt x="432" y="95"/>
                  </a:lnTo>
                  <a:lnTo>
                    <a:pt x="434" y="97"/>
                  </a:lnTo>
                  <a:lnTo>
                    <a:pt x="437" y="97"/>
                  </a:lnTo>
                  <a:lnTo>
                    <a:pt x="439" y="97"/>
                  </a:lnTo>
                  <a:lnTo>
                    <a:pt x="446" y="97"/>
                  </a:lnTo>
                  <a:lnTo>
                    <a:pt x="449" y="97"/>
                  </a:lnTo>
                  <a:lnTo>
                    <a:pt x="451" y="97"/>
                  </a:lnTo>
                  <a:lnTo>
                    <a:pt x="453" y="100"/>
                  </a:lnTo>
                  <a:lnTo>
                    <a:pt x="456" y="100"/>
                  </a:lnTo>
                  <a:lnTo>
                    <a:pt x="460" y="100"/>
                  </a:lnTo>
                  <a:lnTo>
                    <a:pt x="465" y="102"/>
                  </a:lnTo>
                  <a:lnTo>
                    <a:pt x="468" y="102"/>
                  </a:lnTo>
                  <a:lnTo>
                    <a:pt x="468" y="104"/>
                  </a:lnTo>
                  <a:lnTo>
                    <a:pt x="470" y="104"/>
                  </a:lnTo>
                  <a:lnTo>
                    <a:pt x="472" y="104"/>
                  </a:lnTo>
                  <a:lnTo>
                    <a:pt x="472" y="107"/>
                  </a:lnTo>
                  <a:lnTo>
                    <a:pt x="470" y="107"/>
                  </a:lnTo>
                  <a:lnTo>
                    <a:pt x="468" y="107"/>
                  </a:lnTo>
                  <a:lnTo>
                    <a:pt x="465" y="107"/>
                  </a:lnTo>
                  <a:lnTo>
                    <a:pt x="463" y="107"/>
                  </a:lnTo>
                  <a:lnTo>
                    <a:pt x="460" y="107"/>
                  </a:lnTo>
                  <a:lnTo>
                    <a:pt x="453" y="107"/>
                  </a:lnTo>
                  <a:lnTo>
                    <a:pt x="451" y="107"/>
                  </a:lnTo>
                  <a:lnTo>
                    <a:pt x="449" y="107"/>
                  </a:lnTo>
                  <a:lnTo>
                    <a:pt x="446" y="107"/>
                  </a:lnTo>
                  <a:lnTo>
                    <a:pt x="444" y="107"/>
                  </a:lnTo>
                  <a:lnTo>
                    <a:pt x="441" y="109"/>
                  </a:lnTo>
                  <a:lnTo>
                    <a:pt x="439" y="109"/>
                  </a:lnTo>
                  <a:lnTo>
                    <a:pt x="437" y="109"/>
                  </a:lnTo>
                  <a:lnTo>
                    <a:pt x="434" y="109"/>
                  </a:lnTo>
                  <a:lnTo>
                    <a:pt x="434" y="111"/>
                  </a:lnTo>
                  <a:lnTo>
                    <a:pt x="432" y="111"/>
                  </a:lnTo>
                  <a:lnTo>
                    <a:pt x="434" y="111"/>
                  </a:lnTo>
                  <a:lnTo>
                    <a:pt x="434" y="114"/>
                  </a:lnTo>
                  <a:lnTo>
                    <a:pt x="437" y="114"/>
                  </a:lnTo>
                  <a:lnTo>
                    <a:pt x="437" y="111"/>
                  </a:lnTo>
                  <a:lnTo>
                    <a:pt x="439" y="114"/>
                  </a:lnTo>
                  <a:lnTo>
                    <a:pt x="441" y="114"/>
                  </a:lnTo>
                  <a:lnTo>
                    <a:pt x="444" y="114"/>
                  </a:lnTo>
                  <a:lnTo>
                    <a:pt x="446" y="114"/>
                  </a:lnTo>
                  <a:lnTo>
                    <a:pt x="444" y="114"/>
                  </a:lnTo>
                  <a:lnTo>
                    <a:pt x="444" y="116"/>
                  </a:lnTo>
                  <a:lnTo>
                    <a:pt x="441" y="116"/>
                  </a:lnTo>
                  <a:lnTo>
                    <a:pt x="444" y="116"/>
                  </a:lnTo>
                  <a:lnTo>
                    <a:pt x="444" y="119"/>
                  </a:lnTo>
                  <a:lnTo>
                    <a:pt x="439" y="119"/>
                  </a:lnTo>
                  <a:lnTo>
                    <a:pt x="437" y="119"/>
                  </a:lnTo>
                  <a:lnTo>
                    <a:pt x="434" y="116"/>
                  </a:lnTo>
                  <a:lnTo>
                    <a:pt x="432" y="116"/>
                  </a:lnTo>
                  <a:lnTo>
                    <a:pt x="430" y="116"/>
                  </a:lnTo>
                  <a:lnTo>
                    <a:pt x="427" y="116"/>
                  </a:lnTo>
                  <a:lnTo>
                    <a:pt x="427" y="119"/>
                  </a:lnTo>
                  <a:lnTo>
                    <a:pt x="430" y="119"/>
                  </a:lnTo>
                  <a:lnTo>
                    <a:pt x="432" y="119"/>
                  </a:lnTo>
                  <a:lnTo>
                    <a:pt x="432" y="121"/>
                  </a:lnTo>
                  <a:lnTo>
                    <a:pt x="430" y="121"/>
                  </a:lnTo>
                  <a:lnTo>
                    <a:pt x="432" y="121"/>
                  </a:lnTo>
                  <a:lnTo>
                    <a:pt x="430" y="121"/>
                  </a:lnTo>
                  <a:lnTo>
                    <a:pt x="427" y="121"/>
                  </a:lnTo>
                  <a:lnTo>
                    <a:pt x="425" y="121"/>
                  </a:lnTo>
                  <a:lnTo>
                    <a:pt x="422" y="121"/>
                  </a:lnTo>
                  <a:lnTo>
                    <a:pt x="420" y="121"/>
                  </a:lnTo>
                  <a:lnTo>
                    <a:pt x="415" y="119"/>
                  </a:lnTo>
                  <a:lnTo>
                    <a:pt x="413" y="119"/>
                  </a:lnTo>
                  <a:lnTo>
                    <a:pt x="411" y="119"/>
                  </a:lnTo>
                  <a:lnTo>
                    <a:pt x="408" y="116"/>
                  </a:lnTo>
                  <a:lnTo>
                    <a:pt x="406" y="116"/>
                  </a:lnTo>
                  <a:lnTo>
                    <a:pt x="408" y="116"/>
                  </a:lnTo>
                  <a:lnTo>
                    <a:pt x="406" y="114"/>
                  </a:lnTo>
                  <a:lnTo>
                    <a:pt x="406" y="111"/>
                  </a:lnTo>
                  <a:lnTo>
                    <a:pt x="406" y="109"/>
                  </a:lnTo>
                  <a:lnTo>
                    <a:pt x="406" y="107"/>
                  </a:lnTo>
                  <a:lnTo>
                    <a:pt x="406" y="104"/>
                  </a:lnTo>
                  <a:lnTo>
                    <a:pt x="403" y="104"/>
                  </a:lnTo>
                  <a:lnTo>
                    <a:pt x="403" y="102"/>
                  </a:lnTo>
                  <a:lnTo>
                    <a:pt x="401" y="100"/>
                  </a:lnTo>
                  <a:lnTo>
                    <a:pt x="399" y="100"/>
                  </a:lnTo>
                  <a:lnTo>
                    <a:pt x="396" y="97"/>
                  </a:lnTo>
                  <a:lnTo>
                    <a:pt x="399" y="97"/>
                  </a:lnTo>
                  <a:lnTo>
                    <a:pt x="401" y="97"/>
                  </a:lnTo>
                  <a:lnTo>
                    <a:pt x="403" y="97"/>
                  </a:lnTo>
                  <a:lnTo>
                    <a:pt x="406" y="97"/>
                  </a:lnTo>
                  <a:lnTo>
                    <a:pt x="408" y="97"/>
                  </a:lnTo>
                  <a:lnTo>
                    <a:pt x="411" y="97"/>
                  </a:lnTo>
                  <a:lnTo>
                    <a:pt x="413" y="97"/>
                  </a:lnTo>
                  <a:lnTo>
                    <a:pt x="415" y="97"/>
                  </a:lnTo>
                  <a:lnTo>
                    <a:pt x="418" y="97"/>
                  </a:lnTo>
                  <a:lnTo>
                    <a:pt x="420" y="95"/>
                  </a:lnTo>
                  <a:lnTo>
                    <a:pt x="420" y="97"/>
                  </a:lnTo>
                  <a:lnTo>
                    <a:pt x="422" y="97"/>
                  </a:lnTo>
                  <a:lnTo>
                    <a:pt x="422" y="95"/>
                  </a:lnTo>
                  <a:lnTo>
                    <a:pt x="425" y="95"/>
                  </a:lnTo>
                  <a:lnTo>
                    <a:pt x="427" y="95"/>
                  </a:lnTo>
                  <a:close/>
                  <a:moveTo>
                    <a:pt x="297" y="88"/>
                  </a:moveTo>
                  <a:lnTo>
                    <a:pt x="299" y="88"/>
                  </a:lnTo>
                  <a:lnTo>
                    <a:pt x="301" y="88"/>
                  </a:lnTo>
                  <a:lnTo>
                    <a:pt x="306" y="88"/>
                  </a:lnTo>
                  <a:lnTo>
                    <a:pt x="306" y="90"/>
                  </a:lnTo>
                  <a:lnTo>
                    <a:pt x="301" y="90"/>
                  </a:lnTo>
                  <a:lnTo>
                    <a:pt x="304" y="90"/>
                  </a:lnTo>
                  <a:lnTo>
                    <a:pt x="306" y="90"/>
                  </a:lnTo>
                  <a:lnTo>
                    <a:pt x="306" y="92"/>
                  </a:lnTo>
                  <a:lnTo>
                    <a:pt x="309" y="92"/>
                  </a:lnTo>
                  <a:lnTo>
                    <a:pt x="311" y="92"/>
                  </a:lnTo>
                  <a:lnTo>
                    <a:pt x="309" y="92"/>
                  </a:lnTo>
                  <a:lnTo>
                    <a:pt x="309" y="95"/>
                  </a:lnTo>
                  <a:lnTo>
                    <a:pt x="311" y="95"/>
                  </a:lnTo>
                  <a:lnTo>
                    <a:pt x="313" y="95"/>
                  </a:lnTo>
                  <a:lnTo>
                    <a:pt x="311" y="95"/>
                  </a:lnTo>
                  <a:lnTo>
                    <a:pt x="311" y="97"/>
                  </a:lnTo>
                  <a:lnTo>
                    <a:pt x="309" y="97"/>
                  </a:lnTo>
                  <a:lnTo>
                    <a:pt x="311" y="100"/>
                  </a:lnTo>
                  <a:lnTo>
                    <a:pt x="309" y="100"/>
                  </a:lnTo>
                  <a:lnTo>
                    <a:pt x="306" y="100"/>
                  </a:lnTo>
                  <a:lnTo>
                    <a:pt x="304" y="100"/>
                  </a:lnTo>
                  <a:lnTo>
                    <a:pt x="304" y="97"/>
                  </a:lnTo>
                  <a:lnTo>
                    <a:pt x="301" y="97"/>
                  </a:lnTo>
                  <a:lnTo>
                    <a:pt x="299" y="97"/>
                  </a:lnTo>
                  <a:lnTo>
                    <a:pt x="297" y="97"/>
                  </a:lnTo>
                  <a:lnTo>
                    <a:pt x="294" y="97"/>
                  </a:lnTo>
                  <a:lnTo>
                    <a:pt x="292" y="97"/>
                  </a:lnTo>
                  <a:lnTo>
                    <a:pt x="294" y="95"/>
                  </a:lnTo>
                  <a:lnTo>
                    <a:pt x="292" y="95"/>
                  </a:lnTo>
                  <a:lnTo>
                    <a:pt x="294" y="95"/>
                  </a:lnTo>
                  <a:lnTo>
                    <a:pt x="294" y="92"/>
                  </a:lnTo>
                  <a:lnTo>
                    <a:pt x="297" y="92"/>
                  </a:lnTo>
                  <a:lnTo>
                    <a:pt x="294" y="92"/>
                  </a:lnTo>
                  <a:lnTo>
                    <a:pt x="294" y="90"/>
                  </a:lnTo>
                  <a:lnTo>
                    <a:pt x="292" y="90"/>
                  </a:lnTo>
                  <a:lnTo>
                    <a:pt x="292" y="88"/>
                  </a:lnTo>
                  <a:lnTo>
                    <a:pt x="294" y="88"/>
                  </a:lnTo>
                  <a:lnTo>
                    <a:pt x="297" y="88"/>
                  </a:lnTo>
                  <a:close/>
                  <a:moveTo>
                    <a:pt x="432" y="85"/>
                  </a:moveTo>
                  <a:lnTo>
                    <a:pt x="432" y="88"/>
                  </a:lnTo>
                  <a:lnTo>
                    <a:pt x="430" y="88"/>
                  </a:lnTo>
                  <a:lnTo>
                    <a:pt x="430" y="90"/>
                  </a:lnTo>
                  <a:lnTo>
                    <a:pt x="427" y="90"/>
                  </a:lnTo>
                  <a:lnTo>
                    <a:pt x="427" y="92"/>
                  </a:lnTo>
                  <a:lnTo>
                    <a:pt x="422" y="92"/>
                  </a:lnTo>
                  <a:lnTo>
                    <a:pt x="420" y="92"/>
                  </a:lnTo>
                  <a:lnTo>
                    <a:pt x="418" y="92"/>
                  </a:lnTo>
                  <a:lnTo>
                    <a:pt x="415" y="92"/>
                  </a:lnTo>
                  <a:lnTo>
                    <a:pt x="408" y="90"/>
                  </a:lnTo>
                  <a:lnTo>
                    <a:pt x="406" y="90"/>
                  </a:lnTo>
                  <a:lnTo>
                    <a:pt x="406" y="88"/>
                  </a:lnTo>
                  <a:lnTo>
                    <a:pt x="408" y="88"/>
                  </a:lnTo>
                  <a:lnTo>
                    <a:pt x="411" y="88"/>
                  </a:lnTo>
                  <a:lnTo>
                    <a:pt x="413" y="85"/>
                  </a:lnTo>
                  <a:lnTo>
                    <a:pt x="415" y="85"/>
                  </a:lnTo>
                  <a:lnTo>
                    <a:pt x="418" y="85"/>
                  </a:lnTo>
                  <a:lnTo>
                    <a:pt x="420" y="85"/>
                  </a:lnTo>
                  <a:lnTo>
                    <a:pt x="422" y="85"/>
                  </a:lnTo>
                  <a:lnTo>
                    <a:pt x="425" y="85"/>
                  </a:lnTo>
                  <a:lnTo>
                    <a:pt x="427" y="85"/>
                  </a:lnTo>
                  <a:lnTo>
                    <a:pt x="430" y="85"/>
                  </a:lnTo>
                  <a:lnTo>
                    <a:pt x="432" y="85"/>
                  </a:lnTo>
                  <a:close/>
                  <a:moveTo>
                    <a:pt x="380" y="76"/>
                  </a:moveTo>
                  <a:lnTo>
                    <a:pt x="382" y="78"/>
                  </a:lnTo>
                  <a:lnTo>
                    <a:pt x="387" y="78"/>
                  </a:lnTo>
                  <a:lnTo>
                    <a:pt x="389" y="78"/>
                  </a:lnTo>
                  <a:lnTo>
                    <a:pt x="394" y="81"/>
                  </a:lnTo>
                  <a:lnTo>
                    <a:pt x="396" y="83"/>
                  </a:lnTo>
                  <a:lnTo>
                    <a:pt x="394" y="83"/>
                  </a:lnTo>
                  <a:lnTo>
                    <a:pt x="394" y="85"/>
                  </a:lnTo>
                  <a:lnTo>
                    <a:pt x="392" y="85"/>
                  </a:lnTo>
                  <a:lnTo>
                    <a:pt x="387" y="88"/>
                  </a:lnTo>
                  <a:lnTo>
                    <a:pt x="385" y="88"/>
                  </a:lnTo>
                  <a:lnTo>
                    <a:pt x="382" y="88"/>
                  </a:lnTo>
                  <a:lnTo>
                    <a:pt x="380" y="88"/>
                  </a:lnTo>
                  <a:lnTo>
                    <a:pt x="377" y="88"/>
                  </a:lnTo>
                  <a:lnTo>
                    <a:pt x="373" y="88"/>
                  </a:lnTo>
                  <a:lnTo>
                    <a:pt x="373" y="85"/>
                  </a:lnTo>
                  <a:lnTo>
                    <a:pt x="370" y="85"/>
                  </a:lnTo>
                  <a:lnTo>
                    <a:pt x="368" y="85"/>
                  </a:lnTo>
                  <a:lnTo>
                    <a:pt x="366" y="85"/>
                  </a:lnTo>
                  <a:lnTo>
                    <a:pt x="366" y="88"/>
                  </a:lnTo>
                  <a:lnTo>
                    <a:pt x="363" y="88"/>
                  </a:lnTo>
                  <a:lnTo>
                    <a:pt x="361" y="88"/>
                  </a:lnTo>
                  <a:lnTo>
                    <a:pt x="358" y="88"/>
                  </a:lnTo>
                  <a:lnTo>
                    <a:pt x="354" y="85"/>
                  </a:lnTo>
                  <a:lnTo>
                    <a:pt x="351" y="85"/>
                  </a:lnTo>
                  <a:lnTo>
                    <a:pt x="349" y="85"/>
                  </a:lnTo>
                  <a:lnTo>
                    <a:pt x="347" y="85"/>
                  </a:lnTo>
                  <a:lnTo>
                    <a:pt x="349" y="85"/>
                  </a:lnTo>
                  <a:lnTo>
                    <a:pt x="349" y="83"/>
                  </a:lnTo>
                  <a:lnTo>
                    <a:pt x="351" y="83"/>
                  </a:lnTo>
                  <a:lnTo>
                    <a:pt x="351" y="81"/>
                  </a:lnTo>
                  <a:lnTo>
                    <a:pt x="349" y="81"/>
                  </a:lnTo>
                  <a:lnTo>
                    <a:pt x="342" y="81"/>
                  </a:lnTo>
                  <a:lnTo>
                    <a:pt x="344" y="81"/>
                  </a:lnTo>
                  <a:lnTo>
                    <a:pt x="347" y="81"/>
                  </a:lnTo>
                  <a:lnTo>
                    <a:pt x="349" y="81"/>
                  </a:lnTo>
                  <a:lnTo>
                    <a:pt x="354" y="81"/>
                  </a:lnTo>
                  <a:lnTo>
                    <a:pt x="354" y="78"/>
                  </a:lnTo>
                  <a:lnTo>
                    <a:pt x="356" y="78"/>
                  </a:lnTo>
                  <a:lnTo>
                    <a:pt x="358" y="78"/>
                  </a:lnTo>
                  <a:lnTo>
                    <a:pt x="361" y="78"/>
                  </a:lnTo>
                  <a:lnTo>
                    <a:pt x="363" y="78"/>
                  </a:lnTo>
                  <a:lnTo>
                    <a:pt x="368" y="78"/>
                  </a:lnTo>
                  <a:lnTo>
                    <a:pt x="370" y="76"/>
                  </a:lnTo>
                  <a:lnTo>
                    <a:pt x="375" y="76"/>
                  </a:lnTo>
                  <a:lnTo>
                    <a:pt x="377" y="76"/>
                  </a:lnTo>
                  <a:lnTo>
                    <a:pt x="380" y="76"/>
                  </a:lnTo>
                  <a:close/>
                  <a:moveTo>
                    <a:pt x="83" y="69"/>
                  </a:moveTo>
                  <a:lnTo>
                    <a:pt x="86" y="71"/>
                  </a:lnTo>
                  <a:lnTo>
                    <a:pt x="88" y="71"/>
                  </a:lnTo>
                  <a:lnTo>
                    <a:pt x="90" y="71"/>
                  </a:lnTo>
                  <a:lnTo>
                    <a:pt x="93" y="71"/>
                  </a:lnTo>
                  <a:lnTo>
                    <a:pt x="95" y="71"/>
                  </a:lnTo>
                  <a:lnTo>
                    <a:pt x="95" y="73"/>
                  </a:lnTo>
                  <a:lnTo>
                    <a:pt x="97" y="73"/>
                  </a:lnTo>
                  <a:lnTo>
                    <a:pt x="100" y="73"/>
                  </a:lnTo>
                  <a:lnTo>
                    <a:pt x="102" y="73"/>
                  </a:lnTo>
                  <a:lnTo>
                    <a:pt x="105" y="73"/>
                  </a:lnTo>
                  <a:lnTo>
                    <a:pt x="107" y="73"/>
                  </a:lnTo>
                  <a:lnTo>
                    <a:pt x="107" y="71"/>
                  </a:lnTo>
                  <a:lnTo>
                    <a:pt x="105" y="71"/>
                  </a:lnTo>
                  <a:lnTo>
                    <a:pt x="107" y="71"/>
                  </a:lnTo>
                  <a:lnTo>
                    <a:pt x="109" y="71"/>
                  </a:lnTo>
                  <a:lnTo>
                    <a:pt x="114" y="73"/>
                  </a:lnTo>
                  <a:lnTo>
                    <a:pt x="119" y="76"/>
                  </a:lnTo>
                  <a:lnTo>
                    <a:pt x="116" y="76"/>
                  </a:lnTo>
                  <a:lnTo>
                    <a:pt x="114" y="78"/>
                  </a:lnTo>
                  <a:lnTo>
                    <a:pt x="116" y="78"/>
                  </a:lnTo>
                  <a:lnTo>
                    <a:pt x="119" y="78"/>
                  </a:lnTo>
                  <a:lnTo>
                    <a:pt x="119" y="81"/>
                  </a:lnTo>
                  <a:lnTo>
                    <a:pt x="124" y="83"/>
                  </a:lnTo>
                  <a:lnTo>
                    <a:pt x="124" y="85"/>
                  </a:lnTo>
                  <a:lnTo>
                    <a:pt x="121" y="85"/>
                  </a:lnTo>
                  <a:lnTo>
                    <a:pt x="119" y="85"/>
                  </a:lnTo>
                  <a:lnTo>
                    <a:pt x="116" y="85"/>
                  </a:lnTo>
                  <a:lnTo>
                    <a:pt x="114" y="85"/>
                  </a:lnTo>
                  <a:lnTo>
                    <a:pt x="116" y="85"/>
                  </a:lnTo>
                  <a:lnTo>
                    <a:pt x="114" y="83"/>
                  </a:lnTo>
                  <a:lnTo>
                    <a:pt x="112" y="83"/>
                  </a:lnTo>
                  <a:lnTo>
                    <a:pt x="109" y="83"/>
                  </a:lnTo>
                  <a:lnTo>
                    <a:pt x="107" y="83"/>
                  </a:lnTo>
                  <a:lnTo>
                    <a:pt x="102" y="83"/>
                  </a:lnTo>
                  <a:lnTo>
                    <a:pt x="100" y="83"/>
                  </a:lnTo>
                  <a:lnTo>
                    <a:pt x="100" y="81"/>
                  </a:lnTo>
                  <a:lnTo>
                    <a:pt x="100" y="78"/>
                  </a:lnTo>
                  <a:lnTo>
                    <a:pt x="97" y="78"/>
                  </a:lnTo>
                  <a:lnTo>
                    <a:pt x="95" y="78"/>
                  </a:lnTo>
                  <a:lnTo>
                    <a:pt x="95" y="76"/>
                  </a:lnTo>
                  <a:lnTo>
                    <a:pt x="88" y="76"/>
                  </a:lnTo>
                  <a:lnTo>
                    <a:pt x="86" y="76"/>
                  </a:lnTo>
                  <a:lnTo>
                    <a:pt x="83" y="76"/>
                  </a:lnTo>
                  <a:lnTo>
                    <a:pt x="86" y="76"/>
                  </a:lnTo>
                  <a:lnTo>
                    <a:pt x="86" y="78"/>
                  </a:lnTo>
                  <a:lnTo>
                    <a:pt x="88" y="78"/>
                  </a:lnTo>
                  <a:lnTo>
                    <a:pt x="86" y="78"/>
                  </a:lnTo>
                  <a:lnTo>
                    <a:pt x="83" y="78"/>
                  </a:lnTo>
                  <a:lnTo>
                    <a:pt x="81" y="78"/>
                  </a:lnTo>
                  <a:lnTo>
                    <a:pt x="83" y="81"/>
                  </a:lnTo>
                  <a:lnTo>
                    <a:pt x="86" y="81"/>
                  </a:lnTo>
                  <a:lnTo>
                    <a:pt x="83" y="83"/>
                  </a:lnTo>
                  <a:lnTo>
                    <a:pt x="81" y="81"/>
                  </a:lnTo>
                  <a:lnTo>
                    <a:pt x="78" y="81"/>
                  </a:lnTo>
                  <a:lnTo>
                    <a:pt x="76" y="81"/>
                  </a:lnTo>
                  <a:lnTo>
                    <a:pt x="76" y="83"/>
                  </a:lnTo>
                  <a:lnTo>
                    <a:pt x="76" y="85"/>
                  </a:lnTo>
                  <a:lnTo>
                    <a:pt x="78" y="85"/>
                  </a:lnTo>
                  <a:lnTo>
                    <a:pt x="78" y="88"/>
                  </a:lnTo>
                  <a:lnTo>
                    <a:pt x="81" y="88"/>
                  </a:lnTo>
                  <a:lnTo>
                    <a:pt x="78" y="88"/>
                  </a:lnTo>
                  <a:lnTo>
                    <a:pt x="76" y="88"/>
                  </a:lnTo>
                  <a:lnTo>
                    <a:pt x="74" y="88"/>
                  </a:lnTo>
                  <a:lnTo>
                    <a:pt x="71" y="88"/>
                  </a:lnTo>
                  <a:lnTo>
                    <a:pt x="69" y="85"/>
                  </a:lnTo>
                  <a:lnTo>
                    <a:pt x="69" y="88"/>
                  </a:lnTo>
                  <a:lnTo>
                    <a:pt x="67" y="88"/>
                  </a:lnTo>
                  <a:lnTo>
                    <a:pt x="64" y="88"/>
                  </a:lnTo>
                  <a:lnTo>
                    <a:pt x="64" y="90"/>
                  </a:lnTo>
                  <a:lnTo>
                    <a:pt x="62" y="90"/>
                  </a:lnTo>
                  <a:lnTo>
                    <a:pt x="62" y="92"/>
                  </a:lnTo>
                  <a:lnTo>
                    <a:pt x="59" y="92"/>
                  </a:lnTo>
                  <a:lnTo>
                    <a:pt x="57" y="92"/>
                  </a:lnTo>
                  <a:lnTo>
                    <a:pt x="55" y="92"/>
                  </a:lnTo>
                  <a:lnTo>
                    <a:pt x="55" y="90"/>
                  </a:lnTo>
                  <a:lnTo>
                    <a:pt x="52" y="90"/>
                  </a:lnTo>
                  <a:lnTo>
                    <a:pt x="52" y="92"/>
                  </a:lnTo>
                  <a:lnTo>
                    <a:pt x="50" y="92"/>
                  </a:lnTo>
                  <a:lnTo>
                    <a:pt x="52" y="92"/>
                  </a:lnTo>
                  <a:lnTo>
                    <a:pt x="52" y="95"/>
                  </a:lnTo>
                  <a:lnTo>
                    <a:pt x="50" y="95"/>
                  </a:lnTo>
                  <a:lnTo>
                    <a:pt x="48" y="92"/>
                  </a:lnTo>
                  <a:lnTo>
                    <a:pt x="45" y="92"/>
                  </a:lnTo>
                  <a:lnTo>
                    <a:pt x="45" y="95"/>
                  </a:lnTo>
                  <a:lnTo>
                    <a:pt x="45" y="97"/>
                  </a:lnTo>
                  <a:lnTo>
                    <a:pt x="40" y="97"/>
                  </a:lnTo>
                  <a:lnTo>
                    <a:pt x="38" y="97"/>
                  </a:lnTo>
                  <a:lnTo>
                    <a:pt x="33" y="97"/>
                  </a:lnTo>
                  <a:lnTo>
                    <a:pt x="33" y="95"/>
                  </a:lnTo>
                  <a:lnTo>
                    <a:pt x="36" y="95"/>
                  </a:lnTo>
                  <a:lnTo>
                    <a:pt x="36" y="92"/>
                  </a:lnTo>
                  <a:lnTo>
                    <a:pt x="36" y="90"/>
                  </a:lnTo>
                  <a:lnTo>
                    <a:pt x="31" y="90"/>
                  </a:lnTo>
                  <a:lnTo>
                    <a:pt x="29" y="90"/>
                  </a:lnTo>
                  <a:lnTo>
                    <a:pt x="26" y="90"/>
                  </a:lnTo>
                  <a:lnTo>
                    <a:pt x="21" y="90"/>
                  </a:lnTo>
                  <a:lnTo>
                    <a:pt x="21" y="92"/>
                  </a:lnTo>
                  <a:lnTo>
                    <a:pt x="19" y="92"/>
                  </a:lnTo>
                  <a:lnTo>
                    <a:pt x="17" y="92"/>
                  </a:lnTo>
                  <a:lnTo>
                    <a:pt x="12" y="90"/>
                  </a:lnTo>
                  <a:lnTo>
                    <a:pt x="7" y="90"/>
                  </a:lnTo>
                  <a:lnTo>
                    <a:pt x="5" y="90"/>
                  </a:lnTo>
                  <a:lnTo>
                    <a:pt x="3" y="88"/>
                  </a:lnTo>
                  <a:lnTo>
                    <a:pt x="0" y="88"/>
                  </a:lnTo>
                  <a:lnTo>
                    <a:pt x="0" y="85"/>
                  </a:lnTo>
                  <a:lnTo>
                    <a:pt x="7" y="85"/>
                  </a:lnTo>
                  <a:lnTo>
                    <a:pt x="10" y="85"/>
                  </a:lnTo>
                  <a:lnTo>
                    <a:pt x="17" y="83"/>
                  </a:lnTo>
                  <a:lnTo>
                    <a:pt x="19" y="83"/>
                  </a:lnTo>
                  <a:lnTo>
                    <a:pt x="26" y="83"/>
                  </a:lnTo>
                  <a:lnTo>
                    <a:pt x="29" y="83"/>
                  </a:lnTo>
                  <a:lnTo>
                    <a:pt x="31" y="83"/>
                  </a:lnTo>
                  <a:lnTo>
                    <a:pt x="33" y="83"/>
                  </a:lnTo>
                  <a:lnTo>
                    <a:pt x="38" y="83"/>
                  </a:lnTo>
                  <a:lnTo>
                    <a:pt x="40" y="83"/>
                  </a:lnTo>
                  <a:lnTo>
                    <a:pt x="40" y="81"/>
                  </a:lnTo>
                  <a:lnTo>
                    <a:pt x="43" y="81"/>
                  </a:lnTo>
                  <a:lnTo>
                    <a:pt x="45" y="81"/>
                  </a:lnTo>
                  <a:lnTo>
                    <a:pt x="48" y="81"/>
                  </a:lnTo>
                  <a:lnTo>
                    <a:pt x="50" y="81"/>
                  </a:lnTo>
                  <a:lnTo>
                    <a:pt x="48" y="78"/>
                  </a:lnTo>
                  <a:lnTo>
                    <a:pt x="50" y="78"/>
                  </a:lnTo>
                  <a:lnTo>
                    <a:pt x="52" y="78"/>
                  </a:lnTo>
                  <a:lnTo>
                    <a:pt x="55" y="78"/>
                  </a:lnTo>
                  <a:lnTo>
                    <a:pt x="57" y="78"/>
                  </a:lnTo>
                  <a:lnTo>
                    <a:pt x="59" y="78"/>
                  </a:lnTo>
                  <a:lnTo>
                    <a:pt x="62" y="78"/>
                  </a:lnTo>
                  <a:lnTo>
                    <a:pt x="64" y="76"/>
                  </a:lnTo>
                  <a:lnTo>
                    <a:pt x="67" y="76"/>
                  </a:lnTo>
                  <a:lnTo>
                    <a:pt x="69" y="76"/>
                  </a:lnTo>
                  <a:lnTo>
                    <a:pt x="69" y="73"/>
                  </a:lnTo>
                  <a:lnTo>
                    <a:pt x="71" y="73"/>
                  </a:lnTo>
                  <a:lnTo>
                    <a:pt x="74" y="73"/>
                  </a:lnTo>
                  <a:lnTo>
                    <a:pt x="71" y="73"/>
                  </a:lnTo>
                  <a:lnTo>
                    <a:pt x="71" y="71"/>
                  </a:lnTo>
                  <a:lnTo>
                    <a:pt x="69" y="71"/>
                  </a:lnTo>
                  <a:lnTo>
                    <a:pt x="71" y="71"/>
                  </a:lnTo>
                  <a:lnTo>
                    <a:pt x="74" y="71"/>
                  </a:lnTo>
                  <a:lnTo>
                    <a:pt x="76" y="71"/>
                  </a:lnTo>
                  <a:lnTo>
                    <a:pt x="78" y="69"/>
                  </a:lnTo>
                  <a:lnTo>
                    <a:pt x="81" y="69"/>
                  </a:lnTo>
                  <a:lnTo>
                    <a:pt x="83" y="69"/>
                  </a:lnTo>
                  <a:close/>
                  <a:moveTo>
                    <a:pt x="330" y="69"/>
                  </a:moveTo>
                  <a:lnTo>
                    <a:pt x="332" y="69"/>
                  </a:lnTo>
                  <a:lnTo>
                    <a:pt x="335" y="69"/>
                  </a:lnTo>
                  <a:lnTo>
                    <a:pt x="337" y="69"/>
                  </a:lnTo>
                  <a:lnTo>
                    <a:pt x="339" y="69"/>
                  </a:lnTo>
                  <a:lnTo>
                    <a:pt x="339" y="71"/>
                  </a:lnTo>
                  <a:lnTo>
                    <a:pt x="342" y="71"/>
                  </a:lnTo>
                  <a:lnTo>
                    <a:pt x="344" y="71"/>
                  </a:lnTo>
                  <a:lnTo>
                    <a:pt x="347" y="71"/>
                  </a:lnTo>
                  <a:lnTo>
                    <a:pt x="349" y="71"/>
                  </a:lnTo>
                  <a:lnTo>
                    <a:pt x="349" y="73"/>
                  </a:lnTo>
                  <a:lnTo>
                    <a:pt x="351" y="73"/>
                  </a:lnTo>
                  <a:lnTo>
                    <a:pt x="354" y="73"/>
                  </a:lnTo>
                  <a:lnTo>
                    <a:pt x="356" y="73"/>
                  </a:lnTo>
                  <a:lnTo>
                    <a:pt x="358" y="76"/>
                  </a:lnTo>
                  <a:lnTo>
                    <a:pt x="356" y="76"/>
                  </a:lnTo>
                  <a:lnTo>
                    <a:pt x="354" y="76"/>
                  </a:lnTo>
                  <a:lnTo>
                    <a:pt x="351" y="76"/>
                  </a:lnTo>
                  <a:lnTo>
                    <a:pt x="347" y="76"/>
                  </a:lnTo>
                  <a:lnTo>
                    <a:pt x="344" y="78"/>
                  </a:lnTo>
                  <a:lnTo>
                    <a:pt x="342" y="78"/>
                  </a:lnTo>
                  <a:lnTo>
                    <a:pt x="339" y="78"/>
                  </a:lnTo>
                  <a:lnTo>
                    <a:pt x="337" y="78"/>
                  </a:lnTo>
                  <a:lnTo>
                    <a:pt x="335" y="78"/>
                  </a:lnTo>
                  <a:lnTo>
                    <a:pt x="332" y="78"/>
                  </a:lnTo>
                  <a:lnTo>
                    <a:pt x="330" y="78"/>
                  </a:lnTo>
                  <a:lnTo>
                    <a:pt x="328" y="78"/>
                  </a:lnTo>
                  <a:lnTo>
                    <a:pt x="325" y="78"/>
                  </a:lnTo>
                  <a:lnTo>
                    <a:pt x="323" y="78"/>
                  </a:lnTo>
                  <a:lnTo>
                    <a:pt x="320" y="78"/>
                  </a:lnTo>
                  <a:lnTo>
                    <a:pt x="318" y="78"/>
                  </a:lnTo>
                  <a:lnTo>
                    <a:pt x="320" y="76"/>
                  </a:lnTo>
                  <a:lnTo>
                    <a:pt x="320" y="73"/>
                  </a:lnTo>
                  <a:lnTo>
                    <a:pt x="316" y="73"/>
                  </a:lnTo>
                  <a:lnTo>
                    <a:pt x="313" y="73"/>
                  </a:lnTo>
                  <a:lnTo>
                    <a:pt x="311" y="73"/>
                  </a:lnTo>
                  <a:lnTo>
                    <a:pt x="309" y="73"/>
                  </a:lnTo>
                  <a:lnTo>
                    <a:pt x="306" y="76"/>
                  </a:lnTo>
                  <a:lnTo>
                    <a:pt x="304" y="73"/>
                  </a:lnTo>
                  <a:lnTo>
                    <a:pt x="301" y="73"/>
                  </a:lnTo>
                  <a:lnTo>
                    <a:pt x="299" y="73"/>
                  </a:lnTo>
                  <a:lnTo>
                    <a:pt x="299" y="71"/>
                  </a:lnTo>
                  <a:lnTo>
                    <a:pt x="301" y="71"/>
                  </a:lnTo>
                  <a:lnTo>
                    <a:pt x="304" y="69"/>
                  </a:lnTo>
                  <a:lnTo>
                    <a:pt x="306" y="69"/>
                  </a:lnTo>
                  <a:lnTo>
                    <a:pt x="309" y="69"/>
                  </a:lnTo>
                  <a:lnTo>
                    <a:pt x="311" y="69"/>
                  </a:lnTo>
                  <a:lnTo>
                    <a:pt x="313" y="69"/>
                  </a:lnTo>
                  <a:lnTo>
                    <a:pt x="316" y="69"/>
                  </a:lnTo>
                  <a:lnTo>
                    <a:pt x="320" y="69"/>
                  </a:lnTo>
                  <a:lnTo>
                    <a:pt x="323" y="69"/>
                  </a:lnTo>
                  <a:lnTo>
                    <a:pt x="323" y="71"/>
                  </a:lnTo>
                  <a:lnTo>
                    <a:pt x="325" y="71"/>
                  </a:lnTo>
                  <a:lnTo>
                    <a:pt x="325" y="69"/>
                  </a:lnTo>
                  <a:lnTo>
                    <a:pt x="328" y="69"/>
                  </a:lnTo>
                  <a:lnTo>
                    <a:pt x="330" y="69"/>
                  </a:lnTo>
                  <a:close/>
                  <a:moveTo>
                    <a:pt x="456" y="69"/>
                  </a:moveTo>
                  <a:lnTo>
                    <a:pt x="460" y="69"/>
                  </a:lnTo>
                  <a:lnTo>
                    <a:pt x="460" y="71"/>
                  </a:lnTo>
                  <a:lnTo>
                    <a:pt x="463" y="71"/>
                  </a:lnTo>
                  <a:lnTo>
                    <a:pt x="463" y="73"/>
                  </a:lnTo>
                  <a:lnTo>
                    <a:pt x="463" y="76"/>
                  </a:lnTo>
                  <a:lnTo>
                    <a:pt x="460" y="76"/>
                  </a:lnTo>
                  <a:lnTo>
                    <a:pt x="458" y="76"/>
                  </a:lnTo>
                  <a:lnTo>
                    <a:pt x="456" y="76"/>
                  </a:lnTo>
                  <a:lnTo>
                    <a:pt x="453" y="76"/>
                  </a:lnTo>
                  <a:lnTo>
                    <a:pt x="451" y="78"/>
                  </a:lnTo>
                  <a:lnTo>
                    <a:pt x="449" y="78"/>
                  </a:lnTo>
                  <a:lnTo>
                    <a:pt x="444" y="78"/>
                  </a:lnTo>
                  <a:lnTo>
                    <a:pt x="441" y="78"/>
                  </a:lnTo>
                  <a:lnTo>
                    <a:pt x="439" y="78"/>
                  </a:lnTo>
                  <a:lnTo>
                    <a:pt x="437" y="78"/>
                  </a:lnTo>
                  <a:lnTo>
                    <a:pt x="437" y="76"/>
                  </a:lnTo>
                  <a:lnTo>
                    <a:pt x="434" y="76"/>
                  </a:lnTo>
                  <a:lnTo>
                    <a:pt x="432" y="76"/>
                  </a:lnTo>
                  <a:lnTo>
                    <a:pt x="430" y="76"/>
                  </a:lnTo>
                  <a:lnTo>
                    <a:pt x="425" y="76"/>
                  </a:lnTo>
                  <a:lnTo>
                    <a:pt x="425" y="73"/>
                  </a:lnTo>
                  <a:lnTo>
                    <a:pt x="427" y="73"/>
                  </a:lnTo>
                  <a:lnTo>
                    <a:pt x="430" y="73"/>
                  </a:lnTo>
                  <a:lnTo>
                    <a:pt x="430" y="71"/>
                  </a:lnTo>
                  <a:lnTo>
                    <a:pt x="434" y="71"/>
                  </a:lnTo>
                  <a:lnTo>
                    <a:pt x="437" y="69"/>
                  </a:lnTo>
                  <a:lnTo>
                    <a:pt x="439" y="69"/>
                  </a:lnTo>
                  <a:lnTo>
                    <a:pt x="441" y="69"/>
                  </a:lnTo>
                  <a:lnTo>
                    <a:pt x="446" y="69"/>
                  </a:lnTo>
                  <a:lnTo>
                    <a:pt x="451" y="69"/>
                  </a:lnTo>
                  <a:lnTo>
                    <a:pt x="453" y="69"/>
                  </a:lnTo>
                  <a:lnTo>
                    <a:pt x="456" y="69"/>
                  </a:lnTo>
                  <a:close/>
                  <a:moveTo>
                    <a:pt x="437" y="54"/>
                  </a:moveTo>
                  <a:lnTo>
                    <a:pt x="439" y="54"/>
                  </a:lnTo>
                  <a:lnTo>
                    <a:pt x="441" y="54"/>
                  </a:lnTo>
                  <a:lnTo>
                    <a:pt x="444" y="57"/>
                  </a:lnTo>
                  <a:lnTo>
                    <a:pt x="446" y="57"/>
                  </a:lnTo>
                  <a:lnTo>
                    <a:pt x="449" y="57"/>
                  </a:lnTo>
                  <a:lnTo>
                    <a:pt x="451" y="57"/>
                  </a:lnTo>
                  <a:lnTo>
                    <a:pt x="451" y="59"/>
                  </a:lnTo>
                  <a:lnTo>
                    <a:pt x="453" y="59"/>
                  </a:lnTo>
                  <a:lnTo>
                    <a:pt x="453" y="62"/>
                  </a:lnTo>
                  <a:lnTo>
                    <a:pt x="451" y="62"/>
                  </a:lnTo>
                  <a:lnTo>
                    <a:pt x="449" y="62"/>
                  </a:lnTo>
                  <a:lnTo>
                    <a:pt x="449" y="64"/>
                  </a:lnTo>
                  <a:lnTo>
                    <a:pt x="446" y="64"/>
                  </a:lnTo>
                  <a:lnTo>
                    <a:pt x="444" y="64"/>
                  </a:lnTo>
                  <a:lnTo>
                    <a:pt x="441" y="64"/>
                  </a:lnTo>
                  <a:lnTo>
                    <a:pt x="439" y="64"/>
                  </a:lnTo>
                  <a:lnTo>
                    <a:pt x="437" y="64"/>
                  </a:lnTo>
                  <a:lnTo>
                    <a:pt x="437" y="62"/>
                  </a:lnTo>
                  <a:lnTo>
                    <a:pt x="434" y="62"/>
                  </a:lnTo>
                  <a:lnTo>
                    <a:pt x="432" y="62"/>
                  </a:lnTo>
                  <a:lnTo>
                    <a:pt x="432" y="59"/>
                  </a:lnTo>
                  <a:lnTo>
                    <a:pt x="430" y="59"/>
                  </a:lnTo>
                  <a:lnTo>
                    <a:pt x="427" y="57"/>
                  </a:lnTo>
                  <a:lnTo>
                    <a:pt x="425" y="57"/>
                  </a:lnTo>
                  <a:lnTo>
                    <a:pt x="427" y="57"/>
                  </a:lnTo>
                  <a:lnTo>
                    <a:pt x="430" y="57"/>
                  </a:lnTo>
                  <a:lnTo>
                    <a:pt x="432" y="57"/>
                  </a:lnTo>
                  <a:lnTo>
                    <a:pt x="432" y="54"/>
                  </a:lnTo>
                  <a:lnTo>
                    <a:pt x="434" y="54"/>
                  </a:lnTo>
                  <a:lnTo>
                    <a:pt x="437" y="54"/>
                  </a:lnTo>
                  <a:close/>
                  <a:moveTo>
                    <a:pt x="328" y="54"/>
                  </a:moveTo>
                  <a:lnTo>
                    <a:pt x="330" y="54"/>
                  </a:lnTo>
                  <a:lnTo>
                    <a:pt x="332" y="54"/>
                  </a:lnTo>
                  <a:lnTo>
                    <a:pt x="335" y="54"/>
                  </a:lnTo>
                  <a:lnTo>
                    <a:pt x="337" y="54"/>
                  </a:lnTo>
                  <a:lnTo>
                    <a:pt x="337" y="57"/>
                  </a:lnTo>
                  <a:lnTo>
                    <a:pt x="339" y="57"/>
                  </a:lnTo>
                  <a:lnTo>
                    <a:pt x="342" y="57"/>
                  </a:lnTo>
                  <a:lnTo>
                    <a:pt x="344" y="59"/>
                  </a:lnTo>
                  <a:lnTo>
                    <a:pt x="347" y="59"/>
                  </a:lnTo>
                  <a:lnTo>
                    <a:pt x="349" y="59"/>
                  </a:lnTo>
                  <a:lnTo>
                    <a:pt x="354" y="59"/>
                  </a:lnTo>
                  <a:lnTo>
                    <a:pt x="356" y="59"/>
                  </a:lnTo>
                  <a:lnTo>
                    <a:pt x="358" y="59"/>
                  </a:lnTo>
                  <a:lnTo>
                    <a:pt x="361" y="59"/>
                  </a:lnTo>
                  <a:lnTo>
                    <a:pt x="363" y="59"/>
                  </a:lnTo>
                  <a:lnTo>
                    <a:pt x="366" y="59"/>
                  </a:lnTo>
                  <a:lnTo>
                    <a:pt x="366" y="57"/>
                  </a:lnTo>
                  <a:lnTo>
                    <a:pt x="368" y="59"/>
                  </a:lnTo>
                  <a:lnTo>
                    <a:pt x="370" y="59"/>
                  </a:lnTo>
                  <a:lnTo>
                    <a:pt x="373" y="59"/>
                  </a:lnTo>
                  <a:lnTo>
                    <a:pt x="375" y="62"/>
                  </a:lnTo>
                  <a:lnTo>
                    <a:pt x="377" y="62"/>
                  </a:lnTo>
                  <a:lnTo>
                    <a:pt x="380" y="62"/>
                  </a:lnTo>
                  <a:lnTo>
                    <a:pt x="382" y="62"/>
                  </a:lnTo>
                  <a:lnTo>
                    <a:pt x="385" y="62"/>
                  </a:lnTo>
                  <a:lnTo>
                    <a:pt x="385" y="64"/>
                  </a:lnTo>
                  <a:lnTo>
                    <a:pt x="387" y="64"/>
                  </a:lnTo>
                  <a:lnTo>
                    <a:pt x="387" y="66"/>
                  </a:lnTo>
                  <a:lnTo>
                    <a:pt x="389" y="66"/>
                  </a:lnTo>
                  <a:lnTo>
                    <a:pt x="392" y="66"/>
                  </a:lnTo>
                  <a:lnTo>
                    <a:pt x="394" y="69"/>
                  </a:lnTo>
                  <a:lnTo>
                    <a:pt x="396" y="69"/>
                  </a:lnTo>
                  <a:lnTo>
                    <a:pt x="399" y="69"/>
                  </a:lnTo>
                  <a:lnTo>
                    <a:pt x="401" y="69"/>
                  </a:lnTo>
                  <a:lnTo>
                    <a:pt x="401" y="71"/>
                  </a:lnTo>
                  <a:lnTo>
                    <a:pt x="403" y="71"/>
                  </a:lnTo>
                  <a:lnTo>
                    <a:pt x="406" y="71"/>
                  </a:lnTo>
                  <a:lnTo>
                    <a:pt x="408" y="71"/>
                  </a:lnTo>
                  <a:lnTo>
                    <a:pt x="411" y="71"/>
                  </a:lnTo>
                  <a:lnTo>
                    <a:pt x="413" y="71"/>
                  </a:lnTo>
                  <a:lnTo>
                    <a:pt x="415" y="71"/>
                  </a:lnTo>
                  <a:lnTo>
                    <a:pt x="418" y="73"/>
                  </a:lnTo>
                  <a:lnTo>
                    <a:pt x="420" y="73"/>
                  </a:lnTo>
                  <a:lnTo>
                    <a:pt x="422" y="76"/>
                  </a:lnTo>
                  <a:lnTo>
                    <a:pt x="420" y="78"/>
                  </a:lnTo>
                  <a:lnTo>
                    <a:pt x="418" y="78"/>
                  </a:lnTo>
                  <a:lnTo>
                    <a:pt x="415" y="81"/>
                  </a:lnTo>
                  <a:lnTo>
                    <a:pt x="413" y="81"/>
                  </a:lnTo>
                  <a:lnTo>
                    <a:pt x="411" y="81"/>
                  </a:lnTo>
                  <a:lnTo>
                    <a:pt x="406" y="81"/>
                  </a:lnTo>
                  <a:lnTo>
                    <a:pt x="403" y="83"/>
                  </a:lnTo>
                  <a:lnTo>
                    <a:pt x="401" y="83"/>
                  </a:lnTo>
                  <a:lnTo>
                    <a:pt x="399" y="83"/>
                  </a:lnTo>
                  <a:lnTo>
                    <a:pt x="396" y="83"/>
                  </a:lnTo>
                  <a:lnTo>
                    <a:pt x="396" y="81"/>
                  </a:lnTo>
                  <a:lnTo>
                    <a:pt x="394" y="81"/>
                  </a:lnTo>
                  <a:lnTo>
                    <a:pt x="394" y="78"/>
                  </a:lnTo>
                  <a:lnTo>
                    <a:pt x="392" y="78"/>
                  </a:lnTo>
                  <a:lnTo>
                    <a:pt x="387" y="78"/>
                  </a:lnTo>
                  <a:lnTo>
                    <a:pt x="387" y="76"/>
                  </a:lnTo>
                  <a:lnTo>
                    <a:pt x="385" y="76"/>
                  </a:lnTo>
                  <a:lnTo>
                    <a:pt x="385" y="73"/>
                  </a:lnTo>
                  <a:lnTo>
                    <a:pt x="382" y="73"/>
                  </a:lnTo>
                  <a:lnTo>
                    <a:pt x="380" y="73"/>
                  </a:lnTo>
                  <a:lnTo>
                    <a:pt x="377" y="73"/>
                  </a:lnTo>
                  <a:lnTo>
                    <a:pt x="375" y="73"/>
                  </a:lnTo>
                  <a:lnTo>
                    <a:pt x="373" y="73"/>
                  </a:lnTo>
                  <a:lnTo>
                    <a:pt x="370" y="71"/>
                  </a:lnTo>
                  <a:lnTo>
                    <a:pt x="368" y="71"/>
                  </a:lnTo>
                  <a:lnTo>
                    <a:pt x="366" y="73"/>
                  </a:lnTo>
                  <a:lnTo>
                    <a:pt x="361" y="71"/>
                  </a:lnTo>
                  <a:lnTo>
                    <a:pt x="358" y="71"/>
                  </a:lnTo>
                  <a:lnTo>
                    <a:pt x="356" y="71"/>
                  </a:lnTo>
                  <a:lnTo>
                    <a:pt x="354" y="71"/>
                  </a:lnTo>
                  <a:lnTo>
                    <a:pt x="354" y="69"/>
                  </a:lnTo>
                  <a:lnTo>
                    <a:pt x="356" y="69"/>
                  </a:lnTo>
                  <a:lnTo>
                    <a:pt x="358" y="69"/>
                  </a:lnTo>
                  <a:lnTo>
                    <a:pt x="356" y="69"/>
                  </a:lnTo>
                  <a:lnTo>
                    <a:pt x="354" y="69"/>
                  </a:lnTo>
                  <a:lnTo>
                    <a:pt x="349" y="69"/>
                  </a:lnTo>
                  <a:lnTo>
                    <a:pt x="349" y="66"/>
                  </a:lnTo>
                  <a:lnTo>
                    <a:pt x="347" y="66"/>
                  </a:lnTo>
                  <a:lnTo>
                    <a:pt x="344" y="66"/>
                  </a:lnTo>
                  <a:lnTo>
                    <a:pt x="344" y="64"/>
                  </a:lnTo>
                  <a:lnTo>
                    <a:pt x="342" y="64"/>
                  </a:lnTo>
                  <a:lnTo>
                    <a:pt x="339" y="64"/>
                  </a:lnTo>
                  <a:lnTo>
                    <a:pt x="337" y="64"/>
                  </a:lnTo>
                  <a:lnTo>
                    <a:pt x="335" y="64"/>
                  </a:lnTo>
                  <a:lnTo>
                    <a:pt x="332" y="64"/>
                  </a:lnTo>
                  <a:lnTo>
                    <a:pt x="330" y="64"/>
                  </a:lnTo>
                  <a:lnTo>
                    <a:pt x="328" y="64"/>
                  </a:lnTo>
                  <a:lnTo>
                    <a:pt x="325" y="62"/>
                  </a:lnTo>
                  <a:lnTo>
                    <a:pt x="328" y="62"/>
                  </a:lnTo>
                  <a:lnTo>
                    <a:pt x="325" y="59"/>
                  </a:lnTo>
                  <a:lnTo>
                    <a:pt x="323" y="59"/>
                  </a:lnTo>
                  <a:lnTo>
                    <a:pt x="320" y="59"/>
                  </a:lnTo>
                  <a:lnTo>
                    <a:pt x="318" y="62"/>
                  </a:lnTo>
                  <a:lnTo>
                    <a:pt x="316" y="59"/>
                  </a:lnTo>
                  <a:lnTo>
                    <a:pt x="313" y="59"/>
                  </a:lnTo>
                  <a:lnTo>
                    <a:pt x="311" y="57"/>
                  </a:lnTo>
                  <a:lnTo>
                    <a:pt x="313" y="57"/>
                  </a:lnTo>
                  <a:lnTo>
                    <a:pt x="316" y="57"/>
                  </a:lnTo>
                  <a:lnTo>
                    <a:pt x="318" y="54"/>
                  </a:lnTo>
                  <a:lnTo>
                    <a:pt x="318" y="52"/>
                  </a:lnTo>
                  <a:lnTo>
                    <a:pt x="320" y="52"/>
                  </a:lnTo>
                  <a:lnTo>
                    <a:pt x="323" y="52"/>
                  </a:lnTo>
                  <a:lnTo>
                    <a:pt x="325" y="52"/>
                  </a:lnTo>
                  <a:lnTo>
                    <a:pt x="325" y="54"/>
                  </a:lnTo>
                  <a:lnTo>
                    <a:pt x="328" y="54"/>
                  </a:lnTo>
                  <a:close/>
                  <a:moveTo>
                    <a:pt x="377" y="54"/>
                  </a:moveTo>
                  <a:lnTo>
                    <a:pt x="380" y="54"/>
                  </a:lnTo>
                  <a:lnTo>
                    <a:pt x="382" y="52"/>
                  </a:lnTo>
                  <a:lnTo>
                    <a:pt x="385" y="52"/>
                  </a:lnTo>
                  <a:lnTo>
                    <a:pt x="387" y="54"/>
                  </a:lnTo>
                  <a:lnTo>
                    <a:pt x="389" y="54"/>
                  </a:lnTo>
                  <a:lnTo>
                    <a:pt x="392" y="54"/>
                  </a:lnTo>
                  <a:lnTo>
                    <a:pt x="394" y="54"/>
                  </a:lnTo>
                  <a:lnTo>
                    <a:pt x="394" y="57"/>
                  </a:lnTo>
                  <a:lnTo>
                    <a:pt x="396" y="57"/>
                  </a:lnTo>
                  <a:lnTo>
                    <a:pt x="399" y="57"/>
                  </a:lnTo>
                  <a:lnTo>
                    <a:pt x="401" y="57"/>
                  </a:lnTo>
                  <a:lnTo>
                    <a:pt x="403" y="57"/>
                  </a:lnTo>
                  <a:lnTo>
                    <a:pt x="406" y="57"/>
                  </a:lnTo>
                  <a:lnTo>
                    <a:pt x="408" y="57"/>
                  </a:lnTo>
                  <a:lnTo>
                    <a:pt x="411" y="57"/>
                  </a:lnTo>
                  <a:lnTo>
                    <a:pt x="413" y="57"/>
                  </a:lnTo>
                  <a:lnTo>
                    <a:pt x="415" y="57"/>
                  </a:lnTo>
                  <a:lnTo>
                    <a:pt x="415" y="59"/>
                  </a:lnTo>
                  <a:lnTo>
                    <a:pt x="418" y="59"/>
                  </a:lnTo>
                  <a:lnTo>
                    <a:pt x="420" y="59"/>
                  </a:lnTo>
                  <a:lnTo>
                    <a:pt x="418" y="59"/>
                  </a:lnTo>
                  <a:lnTo>
                    <a:pt x="420" y="62"/>
                  </a:lnTo>
                  <a:lnTo>
                    <a:pt x="422" y="62"/>
                  </a:lnTo>
                  <a:lnTo>
                    <a:pt x="425" y="62"/>
                  </a:lnTo>
                  <a:lnTo>
                    <a:pt x="427" y="64"/>
                  </a:lnTo>
                  <a:lnTo>
                    <a:pt x="430" y="64"/>
                  </a:lnTo>
                  <a:lnTo>
                    <a:pt x="427" y="64"/>
                  </a:lnTo>
                  <a:lnTo>
                    <a:pt x="430" y="64"/>
                  </a:lnTo>
                  <a:lnTo>
                    <a:pt x="432" y="64"/>
                  </a:lnTo>
                  <a:lnTo>
                    <a:pt x="434" y="64"/>
                  </a:lnTo>
                  <a:lnTo>
                    <a:pt x="437" y="64"/>
                  </a:lnTo>
                  <a:lnTo>
                    <a:pt x="439" y="64"/>
                  </a:lnTo>
                  <a:lnTo>
                    <a:pt x="439" y="66"/>
                  </a:lnTo>
                  <a:lnTo>
                    <a:pt x="437" y="66"/>
                  </a:lnTo>
                  <a:lnTo>
                    <a:pt x="434" y="66"/>
                  </a:lnTo>
                  <a:lnTo>
                    <a:pt x="434" y="69"/>
                  </a:lnTo>
                  <a:lnTo>
                    <a:pt x="432" y="69"/>
                  </a:lnTo>
                  <a:lnTo>
                    <a:pt x="430" y="69"/>
                  </a:lnTo>
                  <a:lnTo>
                    <a:pt x="430" y="71"/>
                  </a:lnTo>
                  <a:lnTo>
                    <a:pt x="425" y="71"/>
                  </a:lnTo>
                  <a:lnTo>
                    <a:pt x="422" y="71"/>
                  </a:lnTo>
                  <a:lnTo>
                    <a:pt x="420" y="71"/>
                  </a:lnTo>
                  <a:lnTo>
                    <a:pt x="418" y="71"/>
                  </a:lnTo>
                  <a:lnTo>
                    <a:pt x="415" y="71"/>
                  </a:lnTo>
                  <a:lnTo>
                    <a:pt x="413" y="71"/>
                  </a:lnTo>
                  <a:lnTo>
                    <a:pt x="411" y="71"/>
                  </a:lnTo>
                  <a:lnTo>
                    <a:pt x="408" y="69"/>
                  </a:lnTo>
                  <a:lnTo>
                    <a:pt x="406" y="69"/>
                  </a:lnTo>
                  <a:lnTo>
                    <a:pt x="406" y="66"/>
                  </a:lnTo>
                  <a:lnTo>
                    <a:pt x="403" y="64"/>
                  </a:lnTo>
                  <a:lnTo>
                    <a:pt x="401" y="64"/>
                  </a:lnTo>
                  <a:lnTo>
                    <a:pt x="396" y="64"/>
                  </a:lnTo>
                  <a:lnTo>
                    <a:pt x="394" y="62"/>
                  </a:lnTo>
                  <a:lnTo>
                    <a:pt x="394" y="59"/>
                  </a:lnTo>
                  <a:lnTo>
                    <a:pt x="392" y="59"/>
                  </a:lnTo>
                  <a:lnTo>
                    <a:pt x="389" y="59"/>
                  </a:lnTo>
                  <a:lnTo>
                    <a:pt x="389" y="57"/>
                  </a:lnTo>
                  <a:lnTo>
                    <a:pt x="387" y="57"/>
                  </a:lnTo>
                  <a:lnTo>
                    <a:pt x="385" y="57"/>
                  </a:lnTo>
                  <a:lnTo>
                    <a:pt x="380" y="57"/>
                  </a:lnTo>
                  <a:lnTo>
                    <a:pt x="377" y="57"/>
                  </a:lnTo>
                  <a:lnTo>
                    <a:pt x="375" y="54"/>
                  </a:lnTo>
                  <a:lnTo>
                    <a:pt x="373" y="54"/>
                  </a:lnTo>
                  <a:lnTo>
                    <a:pt x="370" y="54"/>
                  </a:lnTo>
                  <a:lnTo>
                    <a:pt x="368" y="54"/>
                  </a:lnTo>
                  <a:lnTo>
                    <a:pt x="366" y="54"/>
                  </a:lnTo>
                  <a:lnTo>
                    <a:pt x="366" y="52"/>
                  </a:lnTo>
                  <a:lnTo>
                    <a:pt x="368" y="52"/>
                  </a:lnTo>
                  <a:lnTo>
                    <a:pt x="370" y="52"/>
                  </a:lnTo>
                  <a:lnTo>
                    <a:pt x="373" y="52"/>
                  </a:lnTo>
                  <a:lnTo>
                    <a:pt x="375" y="54"/>
                  </a:lnTo>
                  <a:lnTo>
                    <a:pt x="377" y="54"/>
                  </a:lnTo>
                  <a:close/>
                  <a:moveTo>
                    <a:pt x="534" y="52"/>
                  </a:moveTo>
                  <a:lnTo>
                    <a:pt x="536" y="52"/>
                  </a:lnTo>
                  <a:lnTo>
                    <a:pt x="539" y="52"/>
                  </a:lnTo>
                  <a:lnTo>
                    <a:pt x="543" y="52"/>
                  </a:lnTo>
                  <a:lnTo>
                    <a:pt x="548" y="52"/>
                  </a:lnTo>
                  <a:lnTo>
                    <a:pt x="551" y="52"/>
                  </a:lnTo>
                  <a:lnTo>
                    <a:pt x="548" y="52"/>
                  </a:lnTo>
                  <a:lnTo>
                    <a:pt x="546" y="54"/>
                  </a:lnTo>
                  <a:lnTo>
                    <a:pt x="546" y="57"/>
                  </a:lnTo>
                  <a:lnTo>
                    <a:pt x="548" y="57"/>
                  </a:lnTo>
                  <a:lnTo>
                    <a:pt x="546" y="59"/>
                  </a:lnTo>
                  <a:lnTo>
                    <a:pt x="543" y="59"/>
                  </a:lnTo>
                  <a:lnTo>
                    <a:pt x="541" y="62"/>
                  </a:lnTo>
                  <a:lnTo>
                    <a:pt x="539" y="62"/>
                  </a:lnTo>
                  <a:lnTo>
                    <a:pt x="539" y="64"/>
                  </a:lnTo>
                  <a:lnTo>
                    <a:pt x="536" y="64"/>
                  </a:lnTo>
                  <a:lnTo>
                    <a:pt x="534" y="66"/>
                  </a:lnTo>
                  <a:lnTo>
                    <a:pt x="532" y="66"/>
                  </a:lnTo>
                  <a:lnTo>
                    <a:pt x="529" y="66"/>
                  </a:lnTo>
                  <a:lnTo>
                    <a:pt x="527" y="66"/>
                  </a:lnTo>
                  <a:lnTo>
                    <a:pt x="525" y="66"/>
                  </a:lnTo>
                  <a:lnTo>
                    <a:pt x="522" y="66"/>
                  </a:lnTo>
                  <a:lnTo>
                    <a:pt x="520" y="66"/>
                  </a:lnTo>
                  <a:lnTo>
                    <a:pt x="517" y="66"/>
                  </a:lnTo>
                  <a:lnTo>
                    <a:pt x="515" y="66"/>
                  </a:lnTo>
                  <a:lnTo>
                    <a:pt x="508" y="66"/>
                  </a:lnTo>
                  <a:lnTo>
                    <a:pt x="506" y="64"/>
                  </a:lnTo>
                  <a:lnTo>
                    <a:pt x="503" y="64"/>
                  </a:lnTo>
                  <a:lnTo>
                    <a:pt x="501" y="62"/>
                  </a:lnTo>
                  <a:lnTo>
                    <a:pt x="498" y="62"/>
                  </a:lnTo>
                  <a:lnTo>
                    <a:pt x="496" y="62"/>
                  </a:lnTo>
                  <a:lnTo>
                    <a:pt x="498" y="59"/>
                  </a:lnTo>
                  <a:lnTo>
                    <a:pt x="501" y="59"/>
                  </a:lnTo>
                  <a:lnTo>
                    <a:pt x="503" y="59"/>
                  </a:lnTo>
                  <a:lnTo>
                    <a:pt x="503" y="57"/>
                  </a:lnTo>
                  <a:lnTo>
                    <a:pt x="506" y="57"/>
                  </a:lnTo>
                  <a:lnTo>
                    <a:pt x="508" y="57"/>
                  </a:lnTo>
                  <a:lnTo>
                    <a:pt x="510" y="57"/>
                  </a:lnTo>
                  <a:lnTo>
                    <a:pt x="513" y="57"/>
                  </a:lnTo>
                  <a:lnTo>
                    <a:pt x="515" y="54"/>
                  </a:lnTo>
                  <a:lnTo>
                    <a:pt x="520" y="54"/>
                  </a:lnTo>
                  <a:lnTo>
                    <a:pt x="522" y="52"/>
                  </a:lnTo>
                  <a:lnTo>
                    <a:pt x="525" y="52"/>
                  </a:lnTo>
                  <a:lnTo>
                    <a:pt x="527" y="52"/>
                  </a:lnTo>
                  <a:lnTo>
                    <a:pt x="529" y="52"/>
                  </a:lnTo>
                  <a:lnTo>
                    <a:pt x="532" y="52"/>
                  </a:lnTo>
                  <a:lnTo>
                    <a:pt x="534" y="52"/>
                  </a:lnTo>
                  <a:close/>
                  <a:moveTo>
                    <a:pt x="190" y="47"/>
                  </a:moveTo>
                  <a:lnTo>
                    <a:pt x="192" y="47"/>
                  </a:lnTo>
                  <a:lnTo>
                    <a:pt x="195" y="47"/>
                  </a:lnTo>
                  <a:lnTo>
                    <a:pt x="197" y="50"/>
                  </a:lnTo>
                  <a:lnTo>
                    <a:pt x="199" y="50"/>
                  </a:lnTo>
                  <a:lnTo>
                    <a:pt x="199" y="52"/>
                  </a:lnTo>
                  <a:lnTo>
                    <a:pt x="197" y="52"/>
                  </a:lnTo>
                  <a:lnTo>
                    <a:pt x="195" y="52"/>
                  </a:lnTo>
                  <a:lnTo>
                    <a:pt x="192" y="52"/>
                  </a:lnTo>
                  <a:lnTo>
                    <a:pt x="190" y="52"/>
                  </a:lnTo>
                  <a:lnTo>
                    <a:pt x="190" y="54"/>
                  </a:lnTo>
                  <a:lnTo>
                    <a:pt x="192" y="54"/>
                  </a:lnTo>
                  <a:lnTo>
                    <a:pt x="190" y="54"/>
                  </a:lnTo>
                  <a:lnTo>
                    <a:pt x="188" y="54"/>
                  </a:lnTo>
                  <a:lnTo>
                    <a:pt x="185" y="54"/>
                  </a:lnTo>
                  <a:lnTo>
                    <a:pt x="185" y="57"/>
                  </a:lnTo>
                  <a:lnTo>
                    <a:pt x="183" y="57"/>
                  </a:lnTo>
                  <a:lnTo>
                    <a:pt x="180" y="57"/>
                  </a:lnTo>
                  <a:lnTo>
                    <a:pt x="178" y="57"/>
                  </a:lnTo>
                  <a:lnTo>
                    <a:pt x="180" y="54"/>
                  </a:lnTo>
                  <a:lnTo>
                    <a:pt x="178" y="52"/>
                  </a:lnTo>
                  <a:lnTo>
                    <a:pt x="180" y="52"/>
                  </a:lnTo>
                  <a:lnTo>
                    <a:pt x="178" y="50"/>
                  </a:lnTo>
                  <a:lnTo>
                    <a:pt x="176" y="50"/>
                  </a:lnTo>
                  <a:lnTo>
                    <a:pt x="178" y="50"/>
                  </a:lnTo>
                  <a:lnTo>
                    <a:pt x="180" y="50"/>
                  </a:lnTo>
                  <a:lnTo>
                    <a:pt x="183" y="50"/>
                  </a:lnTo>
                  <a:lnTo>
                    <a:pt x="183" y="47"/>
                  </a:lnTo>
                  <a:lnTo>
                    <a:pt x="180" y="47"/>
                  </a:lnTo>
                  <a:lnTo>
                    <a:pt x="185" y="47"/>
                  </a:lnTo>
                  <a:lnTo>
                    <a:pt x="188" y="47"/>
                  </a:lnTo>
                  <a:lnTo>
                    <a:pt x="190" y="47"/>
                  </a:lnTo>
                  <a:close/>
                  <a:moveTo>
                    <a:pt x="430" y="45"/>
                  </a:moveTo>
                  <a:lnTo>
                    <a:pt x="432" y="47"/>
                  </a:lnTo>
                  <a:lnTo>
                    <a:pt x="430" y="47"/>
                  </a:lnTo>
                  <a:lnTo>
                    <a:pt x="430" y="45"/>
                  </a:lnTo>
                  <a:lnTo>
                    <a:pt x="427" y="45"/>
                  </a:lnTo>
                  <a:lnTo>
                    <a:pt x="427" y="47"/>
                  </a:lnTo>
                  <a:lnTo>
                    <a:pt x="425" y="47"/>
                  </a:lnTo>
                  <a:lnTo>
                    <a:pt x="425" y="50"/>
                  </a:lnTo>
                  <a:lnTo>
                    <a:pt x="422" y="50"/>
                  </a:lnTo>
                  <a:lnTo>
                    <a:pt x="422" y="52"/>
                  </a:lnTo>
                  <a:lnTo>
                    <a:pt x="420" y="52"/>
                  </a:lnTo>
                  <a:lnTo>
                    <a:pt x="418" y="52"/>
                  </a:lnTo>
                  <a:lnTo>
                    <a:pt x="415" y="52"/>
                  </a:lnTo>
                  <a:lnTo>
                    <a:pt x="413" y="52"/>
                  </a:lnTo>
                  <a:lnTo>
                    <a:pt x="411" y="52"/>
                  </a:lnTo>
                  <a:lnTo>
                    <a:pt x="408" y="52"/>
                  </a:lnTo>
                  <a:lnTo>
                    <a:pt x="406" y="52"/>
                  </a:lnTo>
                  <a:lnTo>
                    <a:pt x="403" y="52"/>
                  </a:lnTo>
                  <a:lnTo>
                    <a:pt x="401" y="52"/>
                  </a:lnTo>
                  <a:lnTo>
                    <a:pt x="399" y="50"/>
                  </a:lnTo>
                  <a:lnTo>
                    <a:pt x="396" y="50"/>
                  </a:lnTo>
                  <a:lnTo>
                    <a:pt x="394" y="50"/>
                  </a:lnTo>
                  <a:lnTo>
                    <a:pt x="396" y="47"/>
                  </a:lnTo>
                  <a:lnTo>
                    <a:pt x="399" y="47"/>
                  </a:lnTo>
                  <a:lnTo>
                    <a:pt x="401" y="47"/>
                  </a:lnTo>
                  <a:lnTo>
                    <a:pt x="403" y="47"/>
                  </a:lnTo>
                  <a:lnTo>
                    <a:pt x="406" y="45"/>
                  </a:lnTo>
                  <a:lnTo>
                    <a:pt x="408" y="45"/>
                  </a:lnTo>
                  <a:lnTo>
                    <a:pt x="411" y="45"/>
                  </a:lnTo>
                  <a:lnTo>
                    <a:pt x="413" y="45"/>
                  </a:lnTo>
                  <a:lnTo>
                    <a:pt x="415" y="45"/>
                  </a:lnTo>
                  <a:lnTo>
                    <a:pt x="418" y="45"/>
                  </a:lnTo>
                  <a:lnTo>
                    <a:pt x="420" y="45"/>
                  </a:lnTo>
                  <a:lnTo>
                    <a:pt x="422" y="45"/>
                  </a:lnTo>
                  <a:lnTo>
                    <a:pt x="425" y="45"/>
                  </a:lnTo>
                  <a:lnTo>
                    <a:pt x="427" y="45"/>
                  </a:lnTo>
                  <a:lnTo>
                    <a:pt x="430" y="45"/>
                  </a:lnTo>
                  <a:close/>
                  <a:moveTo>
                    <a:pt x="385" y="31"/>
                  </a:moveTo>
                  <a:lnTo>
                    <a:pt x="387" y="31"/>
                  </a:lnTo>
                  <a:lnTo>
                    <a:pt x="389" y="31"/>
                  </a:lnTo>
                  <a:lnTo>
                    <a:pt x="389" y="33"/>
                  </a:lnTo>
                  <a:lnTo>
                    <a:pt x="392" y="33"/>
                  </a:lnTo>
                  <a:lnTo>
                    <a:pt x="394" y="33"/>
                  </a:lnTo>
                  <a:lnTo>
                    <a:pt x="396" y="33"/>
                  </a:lnTo>
                  <a:lnTo>
                    <a:pt x="399" y="33"/>
                  </a:lnTo>
                  <a:lnTo>
                    <a:pt x="401" y="33"/>
                  </a:lnTo>
                  <a:lnTo>
                    <a:pt x="403" y="35"/>
                  </a:lnTo>
                  <a:lnTo>
                    <a:pt x="406" y="35"/>
                  </a:lnTo>
                  <a:lnTo>
                    <a:pt x="408" y="35"/>
                  </a:lnTo>
                  <a:lnTo>
                    <a:pt x="411" y="38"/>
                  </a:lnTo>
                  <a:lnTo>
                    <a:pt x="413" y="38"/>
                  </a:lnTo>
                  <a:lnTo>
                    <a:pt x="411" y="38"/>
                  </a:lnTo>
                  <a:lnTo>
                    <a:pt x="413" y="38"/>
                  </a:lnTo>
                  <a:lnTo>
                    <a:pt x="415" y="38"/>
                  </a:lnTo>
                  <a:lnTo>
                    <a:pt x="418" y="38"/>
                  </a:lnTo>
                  <a:lnTo>
                    <a:pt x="415" y="38"/>
                  </a:lnTo>
                  <a:lnTo>
                    <a:pt x="418" y="35"/>
                  </a:lnTo>
                  <a:lnTo>
                    <a:pt x="418" y="38"/>
                  </a:lnTo>
                  <a:lnTo>
                    <a:pt x="420" y="38"/>
                  </a:lnTo>
                  <a:lnTo>
                    <a:pt x="422" y="38"/>
                  </a:lnTo>
                  <a:lnTo>
                    <a:pt x="425" y="38"/>
                  </a:lnTo>
                  <a:lnTo>
                    <a:pt x="427" y="40"/>
                  </a:lnTo>
                  <a:lnTo>
                    <a:pt x="425" y="40"/>
                  </a:lnTo>
                  <a:lnTo>
                    <a:pt x="422" y="40"/>
                  </a:lnTo>
                  <a:lnTo>
                    <a:pt x="420" y="40"/>
                  </a:lnTo>
                  <a:lnTo>
                    <a:pt x="418" y="40"/>
                  </a:lnTo>
                  <a:lnTo>
                    <a:pt x="415" y="40"/>
                  </a:lnTo>
                  <a:lnTo>
                    <a:pt x="413" y="40"/>
                  </a:lnTo>
                  <a:lnTo>
                    <a:pt x="411" y="40"/>
                  </a:lnTo>
                  <a:lnTo>
                    <a:pt x="408" y="40"/>
                  </a:lnTo>
                  <a:lnTo>
                    <a:pt x="403" y="43"/>
                  </a:lnTo>
                  <a:lnTo>
                    <a:pt x="401" y="43"/>
                  </a:lnTo>
                  <a:lnTo>
                    <a:pt x="399" y="43"/>
                  </a:lnTo>
                  <a:lnTo>
                    <a:pt x="396" y="43"/>
                  </a:lnTo>
                  <a:lnTo>
                    <a:pt x="394" y="45"/>
                  </a:lnTo>
                  <a:lnTo>
                    <a:pt x="392" y="45"/>
                  </a:lnTo>
                  <a:lnTo>
                    <a:pt x="389" y="45"/>
                  </a:lnTo>
                  <a:lnTo>
                    <a:pt x="389" y="47"/>
                  </a:lnTo>
                  <a:lnTo>
                    <a:pt x="387" y="47"/>
                  </a:lnTo>
                  <a:lnTo>
                    <a:pt x="385" y="47"/>
                  </a:lnTo>
                  <a:lnTo>
                    <a:pt x="382" y="47"/>
                  </a:lnTo>
                  <a:lnTo>
                    <a:pt x="380" y="50"/>
                  </a:lnTo>
                  <a:lnTo>
                    <a:pt x="377" y="50"/>
                  </a:lnTo>
                  <a:lnTo>
                    <a:pt x="375" y="47"/>
                  </a:lnTo>
                  <a:lnTo>
                    <a:pt x="375" y="45"/>
                  </a:lnTo>
                  <a:lnTo>
                    <a:pt x="373" y="45"/>
                  </a:lnTo>
                  <a:lnTo>
                    <a:pt x="370" y="45"/>
                  </a:lnTo>
                  <a:lnTo>
                    <a:pt x="368" y="45"/>
                  </a:lnTo>
                  <a:lnTo>
                    <a:pt x="368" y="47"/>
                  </a:lnTo>
                  <a:lnTo>
                    <a:pt x="368" y="45"/>
                  </a:lnTo>
                  <a:lnTo>
                    <a:pt x="366" y="45"/>
                  </a:lnTo>
                  <a:lnTo>
                    <a:pt x="363" y="45"/>
                  </a:lnTo>
                  <a:lnTo>
                    <a:pt x="363" y="47"/>
                  </a:lnTo>
                  <a:lnTo>
                    <a:pt x="361" y="47"/>
                  </a:lnTo>
                  <a:lnTo>
                    <a:pt x="358" y="47"/>
                  </a:lnTo>
                  <a:lnTo>
                    <a:pt x="356" y="47"/>
                  </a:lnTo>
                  <a:lnTo>
                    <a:pt x="358" y="47"/>
                  </a:lnTo>
                  <a:lnTo>
                    <a:pt x="356" y="47"/>
                  </a:lnTo>
                  <a:lnTo>
                    <a:pt x="354" y="45"/>
                  </a:lnTo>
                  <a:lnTo>
                    <a:pt x="351" y="45"/>
                  </a:lnTo>
                  <a:lnTo>
                    <a:pt x="349" y="45"/>
                  </a:lnTo>
                  <a:lnTo>
                    <a:pt x="347" y="45"/>
                  </a:lnTo>
                  <a:lnTo>
                    <a:pt x="349" y="45"/>
                  </a:lnTo>
                  <a:lnTo>
                    <a:pt x="349" y="43"/>
                  </a:lnTo>
                  <a:lnTo>
                    <a:pt x="347" y="43"/>
                  </a:lnTo>
                  <a:lnTo>
                    <a:pt x="344" y="40"/>
                  </a:lnTo>
                  <a:lnTo>
                    <a:pt x="347" y="40"/>
                  </a:lnTo>
                  <a:lnTo>
                    <a:pt x="347" y="38"/>
                  </a:lnTo>
                  <a:lnTo>
                    <a:pt x="344" y="38"/>
                  </a:lnTo>
                  <a:lnTo>
                    <a:pt x="347" y="38"/>
                  </a:lnTo>
                  <a:lnTo>
                    <a:pt x="349" y="38"/>
                  </a:lnTo>
                  <a:lnTo>
                    <a:pt x="351" y="38"/>
                  </a:lnTo>
                  <a:lnTo>
                    <a:pt x="354" y="38"/>
                  </a:lnTo>
                  <a:lnTo>
                    <a:pt x="356" y="38"/>
                  </a:lnTo>
                  <a:lnTo>
                    <a:pt x="358" y="38"/>
                  </a:lnTo>
                  <a:lnTo>
                    <a:pt x="361" y="38"/>
                  </a:lnTo>
                  <a:lnTo>
                    <a:pt x="363" y="38"/>
                  </a:lnTo>
                  <a:lnTo>
                    <a:pt x="363" y="40"/>
                  </a:lnTo>
                  <a:lnTo>
                    <a:pt x="366" y="40"/>
                  </a:lnTo>
                  <a:lnTo>
                    <a:pt x="368" y="40"/>
                  </a:lnTo>
                  <a:lnTo>
                    <a:pt x="370" y="40"/>
                  </a:lnTo>
                  <a:lnTo>
                    <a:pt x="373" y="40"/>
                  </a:lnTo>
                  <a:lnTo>
                    <a:pt x="375" y="40"/>
                  </a:lnTo>
                  <a:lnTo>
                    <a:pt x="377" y="40"/>
                  </a:lnTo>
                  <a:lnTo>
                    <a:pt x="380" y="43"/>
                  </a:lnTo>
                  <a:lnTo>
                    <a:pt x="382" y="43"/>
                  </a:lnTo>
                  <a:lnTo>
                    <a:pt x="385" y="43"/>
                  </a:lnTo>
                  <a:lnTo>
                    <a:pt x="382" y="40"/>
                  </a:lnTo>
                  <a:lnTo>
                    <a:pt x="380" y="40"/>
                  </a:lnTo>
                  <a:lnTo>
                    <a:pt x="377" y="38"/>
                  </a:lnTo>
                  <a:lnTo>
                    <a:pt x="377" y="35"/>
                  </a:lnTo>
                  <a:lnTo>
                    <a:pt x="380" y="35"/>
                  </a:lnTo>
                  <a:lnTo>
                    <a:pt x="377" y="35"/>
                  </a:lnTo>
                  <a:lnTo>
                    <a:pt x="375" y="33"/>
                  </a:lnTo>
                  <a:lnTo>
                    <a:pt x="377" y="33"/>
                  </a:lnTo>
                  <a:lnTo>
                    <a:pt x="375" y="33"/>
                  </a:lnTo>
                  <a:lnTo>
                    <a:pt x="377" y="31"/>
                  </a:lnTo>
                  <a:lnTo>
                    <a:pt x="380" y="31"/>
                  </a:lnTo>
                  <a:lnTo>
                    <a:pt x="382" y="31"/>
                  </a:lnTo>
                  <a:lnTo>
                    <a:pt x="385" y="31"/>
                  </a:lnTo>
                  <a:close/>
                  <a:moveTo>
                    <a:pt x="463" y="31"/>
                  </a:moveTo>
                  <a:lnTo>
                    <a:pt x="465" y="31"/>
                  </a:lnTo>
                  <a:lnTo>
                    <a:pt x="468" y="31"/>
                  </a:lnTo>
                  <a:lnTo>
                    <a:pt x="465" y="31"/>
                  </a:lnTo>
                  <a:lnTo>
                    <a:pt x="468" y="33"/>
                  </a:lnTo>
                  <a:lnTo>
                    <a:pt x="470" y="33"/>
                  </a:lnTo>
                  <a:lnTo>
                    <a:pt x="470" y="35"/>
                  </a:lnTo>
                  <a:lnTo>
                    <a:pt x="472" y="35"/>
                  </a:lnTo>
                  <a:lnTo>
                    <a:pt x="472" y="38"/>
                  </a:lnTo>
                  <a:lnTo>
                    <a:pt x="470" y="38"/>
                  </a:lnTo>
                  <a:lnTo>
                    <a:pt x="468" y="38"/>
                  </a:lnTo>
                  <a:lnTo>
                    <a:pt x="463" y="38"/>
                  </a:lnTo>
                  <a:lnTo>
                    <a:pt x="463" y="40"/>
                  </a:lnTo>
                  <a:lnTo>
                    <a:pt x="460" y="38"/>
                  </a:lnTo>
                  <a:lnTo>
                    <a:pt x="458" y="38"/>
                  </a:lnTo>
                  <a:lnTo>
                    <a:pt x="456" y="38"/>
                  </a:lnTo>
                  <a:lnTo>
                    <a:pt x="453" y="38"/>
                  </a:lnTo>
                  <a:lnTo>
                    <a:pt x="451" y="38"/>
                  </a:lnTo>
                  <a:lnTo>
                    <a:pt x="446" y="35"/>
                  </a:lnTo>
                  <a:lnTo>
                    <a:pt x="446" y="33"/>
                  </a:lnTo>
                  <a:lnTo>
                    <a:pt x="449" y="33"/>
                  </a:lnTo>
                  <a:lnTo>
                    <a:pt x="451" y="33"/>
                  </a:lnTo>
                  <a:lnTo>
                    <a:pt x="456" y="31"/>
                  </a:lnTo>
                  <a:lnTo>
                    <a:pt x="460" y="31"/>
                  </a:lnTo>
                  <a:lnTo>
                    <a:pt x="463" y="31"/>
                  </a:lnTo>
                  <a:close/>
                  <a:moveTo>
                    <a:pt x="418" y="21"/>
                  </a:moveTo>
                  <a:lnTo>
                    <a:pt x="420" y="21"/>
                  </a:lnTo>
                  <a:lnTo>
                    <a:pt x="422" y="21"/>
                  </a:lnTo>
                  <a:lnTo>
                    <a:pt x="422" y="24"/>
                  </a:lnTo>
                  <a:lnTo>
                    <a:pt x="425" y="24"/>
                  </a:lnTo>
                  <a:lnTo>
                    <a:pt x="427" y="26"/>
                  </a:lnTo>
                  <a:lnTo>
                    <a:pt x="430" y="26"/>
                  </a:lnTo>
                  <a:lnTo>
                    <a:pt x="432" y="26"/>
                  </a:lnTo>
                  <a:lnTo>
                    <a:pt x="434" y="26"/>
                  </a:lnTo>
                  <a:lnTo>
                    <a:pt x="439" y="26"/>
                  </a:lnTo>
                  <a:lnTo>
                    <a:pt x="444" y="28"/>
                  </a:lnTo>
                  <a:lnTo>
                    <a:pt x="446" y="28"/>
                  </a:lnTo>
                  <a:lnTo>
                    <a:pt x="446" y="31"/>
                  </a:lnTo>
                  <a:lnTo>
                    <a:pt x="444" y="33"/>
                  </a:lnTo>
                  <a:lnTo>
                    <a:pt x="441" y="33"/>
                  </a:lnTo>
                  <a:lnTo>
                    <a:pt x="439" y="33"/>
                  </a:lnTo>
                  <a:lnTo>
                    <a:pt x="437" y="33"/>
                  </a:lnTo>
                  <a:lnTo>
                    <a:pt x="434" y="33"/>
                  </a:lnTo>
                  <a:lnTo>
                    <a:pt x="432" y="33"/>
                  </a:lnTo>
                  <a:lnTo>
                    <a:pt x="427" y="33"/>
                  </a:lnTo>
                  <a:lnTo>
                    <a:pt x="422" y="33"/>
                  </a:lnTo>
                  <a:lnTo>
                    <a:pt x="418" y="33"/>
                  </a:lnTo>
                  <a:lnTo>
                    <a:pt x="415" y="31"/>
                  </a:lnTo>
                  <a:lnTo>
                    <a:pt x="415" y="33"/>
                  </a:lnTo>
                  <a:lnTo>
                    <a:pt x="415" y="31"/>
                  </a:lnTo>
                  <a:lnTo>
                    <a:pt x="413" y="31"/>
                  </a:lnTo>
                  <a:lnTo>
                    <a:pt x="411" y="31"/>
                  </a:lnTo>
                  <a:lnTo>
                    <a:pt x="411" y="28"/>
                  </a:lnTo>
                  <a:lnTo>
                    <a:pt x="408" y="28"/>
                  </a:lnTo>
                  <a:lnTo>
                    <a:pt x="408" y="31"/>
                  </a:lnTo>
                  <a:lnTo>
                    <a:pt x="406" y="28"/>
                  </a:lnTo>
                  <a:lnTo>
                    <a:pt x="403" y="28"/>
                  </a:lnTo>
                  <a:lnTo>
                    <a:pt x="401" y="31"/>
                  </a:lnTo>
                  <a:lnTo>
                    <a:pt x="401" y="28"/>
                  </a:lnTo>
                  <a:lnTo>
                    <a:pt x="399" y="28"/>
                  </a:lnTo>
                  <a:lnTo>
                    <a:pt x="396" y="28"/>
                  </a:lnTo>
                  <a:lnTo>
                    <a:pt x="394" y="28"/>
                  </a:lnTo>
                  <a:lnTo>
                    <a:pt x="392" y="28"/>
                  </a:lnTo>
                  <a:lnTo>
                    <a:pt x="389" y="28"/>
                  </a:lnTo>
                  <a:lnTo>
                    <a:pt x="389" y="26"/>
                  </a:lnTo>
                  <a:lnTo>
                    <a:pt x="392" y="26"/>
                  </a:lnTo>
                  <a:lnTo>
                    <a:pt x="394" y="26"/>
                  </a:lnTo>
                  <a:lnTo>
                    <a:pt x="394" y="24"/>
                  </a:lnTo>
                  <a:lnTo>
                    <a:pt x="396" y="24"/>
                  </a:lnTo>
                  <a:lnTo>
                    <a:pt x="394" y="24"/>
                  </a:lnTo>
                  <a:lnTo>
                    <a:pt x="396" y="24"/>
                  </a:lnTo>
                  <a:lnTo>
                    <a:pt x="399" y="24"/>
                  </a:lnTo>
                  <a:lnTo>
                    <a:pt x="399" y="21"/>
                  </a:lnTo>
                  <a:lnTo>
                    <a:pt x="401" y="21"/>
                  </a:lnTo>
                  <a:lnTo>
                    <a:pt x="403" y="24"/>
                  </a:lnTo>
                  <a:lnTo>
                    <a:pt x="406" y="24"/>
                  </a:lnTo>
                  <a:lnTo>
                    <a:pt x="406" y="21"/>
                  </a:lnTo>
                  <a:lnTo>
                    <a:pt x="408" y="21"/>
                  </a:lnTo>
                  <a:lnTo>
                    <a:pt x="411" y="21"/>
                  </a:lnTo>
                  <a:lnTo>
                    <a:pt x="408" y="21"/>
                  </a:lnTo>
                  <a:lnTo>
                    <a:pt x="411" y="21"/>
                  </a:lnTo>
                  <a:lnTo>
                    <a:pt x="413" y="21"/>
                  </a:lnTo>
                  <a:lnTo>
                    <a:pt x="415" y="21"/>
                  </a:lnTo>
                  <a:lnTo>
                    <a:pt x="418" y="21"/>
                  </a:lnTo>
                  <a:close/>
                  <a:moveTo>
                    <a:pt x="615" y="12"/>
                  </a:moveTo>
                  <a:lnTo>
                    <a:pt x="617" y="12"/>
                  </a:lnTo>
                  <a:lnTo>
                    <a:pt x="617" y="14"/>
                  </a:lnTo>
                  <a:lnTo>
                    <a:pt x="619" y="14"/>
                  </a:lnTo>
                  <a:lnTo>
                    <a:pt x="619" y="16"/>
                  </a:lnTo>
                  <a:lnTo>
                    <a:pt x="617" y="19"/>
                  </a:lnTo>
                  <a:lnTo>
                    <a:pt x="615" y="19"/>
                  </a:lnTo>
                  <a:lnTo>
                    <a:pt x="612" y="19"/>
                  </a:lnTo>
                  <a:lnTo>
                    <a:pt x="608" y="19"/>
                  </a:lnTo>
                  <a:lnTo>
                    <a:pt x="605" y="19"/>
                  </a:lnTo>
                  <a:lnTo>
                    <a:pt x="603" y="19"/>
                  </a:lnTo>
                  <a:lnTo>
                    <a:pt x="598" y="19"/>
                  </a:lnTo>
                  <a:lnTo>
                    <a:pt x="593" y="19"/>
                  </a:lnTo>
                  <a:lnTo>
                    <a:pt x="586" y="19"/>
                  </a:lnTo>
                  <a:lnTo>
                    <a:pt x="584" y="19"/>
                  </a:lnTo>
                  <a:lnTo>
                    <a:pt x="581" y="16"/>
                  </a:lnTo>
                  <a:lnTo>
                    <a:pt x="579" y="16"/>
                  </a:lnTo>
                  <a:lnTo>
                    <a:pt x="579" y="14"/>
                  </a:lnTo>
                  <a:lnTo>
                    <a:pt x="577" y="16"/>
                  </a:lnTo>
                  <a:lnTo>
                    <a:pt x="574" y="14"/>
                  </a:lnTo>
                  <a:lnTo>
                    <a:pt x="572" y="14"/>
                  </a:lnTo>
                  <a:lnTo>
                    <a:pt x="567" y="14"/>
                  </a:lnTo>
                  <a:lnTo>
                    <a:pt x="565" y="14"/>
                  </a:lnTo>
                  <a:lnTo>
                    <a:pt x="567" y="14"/>
                  </a:lnTo>
                  <a:lnTo>
                    <a:pt x="567" y="12"/>
                  </a:lnTo>
                  <a:lnTo>
                    <a:pt x="570" y="12"/>
                  </a:lnTo>
                  <a:lnTo>
                    <a:pt x="574" y="12"/>
                  </a:lnTo>
                  <a:lnTo>
                    <a:pt x="579" y="12"/>
                  </a:lnTo>
                  <a:lnTo>
                    <a:pt x="581" y="12"/>
                  </a:lnTo>
                  <a:lnTo>
                    <a:pt x="586" y="9"/>
                  </a:lnTo>
                  <a:lnTo>
                    <a:pt x="586" y="12"/>
                  </a:lnTo>
                  <a:lnTo>
                    <a:pt x="589" y="12"/>
                  </a:lnTo>
                  <a:lnTo>
                    <a:pt x="584" y="12"/>
                  </a:lnTo>
                  <a:lnTo>
                    <a:pt x="589" y="12"/>
                  </a:lnTo>
                  <a:lnTo>
                    <a:pt x="591" y="12"/>
                  </a:lnTo>
                  <a:lnTo>
                    <a:pt x="593" y="12"/>
                  </a:lnTo>
                  <a:lnTo>
                    <a:pt x="598" y="9"/>
                  </a:lnTo>
                  <a:lnTo>
                    <a:pt x="605" y="9"/>
                  </a:lnTo>
                  <a:lnTo>
                    <a:pt x="608" y="12"/>
                  </a:lnTo>
                  <a:lnTo>
                    <a:pt x="615" y="12"/>
                  </a:lnTo>
                  <a:close/>
                  <a:moveTo>
                    <a:pt x="458" y="0"/>
                  </a:moveTo>
                  <a:lnTo>
                    <a:pt x="460" y="0"/>
                  </a:lnTo>
                  <a:lnTo>
                    <a:pt x="463" y="0"/>
                  </a:lnTo>
                  <a:lnTo>
                    <a:pt x="465" y="0"/>
                  </a:lnTo>
                  <a:lnTo>
                    <a:pt x="468" y="0"/>
                  </a:lnTo>
                  <a:lnTo>
                    <a:pt x="470" y="0"/>
                  </a:lnTo>
                  <a:lnTo>
                    <a:pt x="470" y="2"/>
                  </a:lnTo>
                  <a:lnTo>
                    <a:pt x="472" y="2"/>
                  </a:lnTo>
                  <a:lnTo>
                    <a:pt x="472" y="5"/>
                  </a:lnTo>
                  <a:lnTo>
                    <a:pt x="470" y="5"/>
                  </a:lnTo>
                  <a:lnTo>
                    <a:pt x="472" y="7"/>
                  </a:lnTo>
                  <a:lnTo>
                    <a:pt x="470" y="9"/>
                  </a:lnTo>
                  <a:lnTo>
                    <a:pt x="465" y="9"/>
                  </a:lnTo>
                  <a:lnTo>
                    <a:pt x="463" y="9"/>
                  </a:lnTo>
                  <a:lnTo>
                    <a:pt x="456" y="9"/>
                  </a:lnTo>
                  <a:lnTo>
                    <a:pt x="453" y="9"/>
                  </a:lnTo>
                  <a:lnTo>
                    <a:pt x="451" y="9"/>
                  </a:lnTo>
                  <a:lnTo>
                    <a:pt x="449" y="9"/>
                  </a:lnTo>
                  <a:lnTo>
                    <a:pt x="446" y="9"/>
                  </a:lnTo>
                  <a:lnTo>
                    <a:pt x="444" y="9"/>
                  </a:lnTo>
                  <a:lnTo>
                    <a:pt x="441" y="9"/>
                  </a:lnTo>
                  <a:lnTo>
                    <a:pt x="439" y="9"/>
                  </a:lnTo>
                  <a:lnTo>
                    <a:pt x="439" y="12"/>
                  </a:lnTo>
                  <a:lnTo>
                    <a:pt x="437" y="12"/>
                  </a:lnTo>
                  <a:lnTo>
                    <a:pt x="434" y="12"/>
                  </a:lnTo>
                  <a:lnTo>
                    <a:pt x="432" y="12"/>
                  </a:lnTo>
                  <a:lnTo>
                    <a:pt x="430" y="9"/>
                  </a:lnTo>
                  <a:lnTo>
                    <a:pt x="427" y="9"/>
                  </a:lnTo>
                  <a:lnTo>
                    <a:pt x="427" y="7"/>
                  </a:lnTo>
                  <a:lnTo>
                    <a:pt x="430" y="7"/>
                  </a:lnTo>
                  <a:lnTo>
                    <a:pt x="430" y="5"/>
                  </a:lnTo>
                  <a:lnTo>
                    <a:pt x="427" y="5"/>
                  </a:lnTo>
                  <a:lnTo>
                    <a:pt x="425" y="5"/>
                  </a:lnTo>
                  <a:lnTo>
                    <a:pt x="425" y="2"/>
                  </a:lnTo>
                  <a:lnTo>
                    <a:pt x="427" y="2"/>
                  </a:lnTo>
                  <a:lnTo>
                    <a:pt x="430" y="2"/>
                  </a:lnTo>
                  <a:lnTo>
                    <a:pt x="432" y="2"/>
                  </a:lnTo>
                  <a:lnTo>
                    <a:pt x="434" y="2"/>
                  </a:lnTo>
                  <a:lnTo>
                    <a:pt x="437" y="2"/>
                  </a:lnTo>
                  <a:lnTo>
                    <a:pt x="439" y="2"/>
                  </a:lnTo>
                  <a:lnTo>
                    <a:pt x="441" y="2"/>
                  </a:lnTo>
                  <a:lnTo>
                    <a:pt x="444" y="2"/>
                  </a:lnTo>
                  <a:lnTo>
                    <a:pt x="446" y="2"/>
                  </a:lnTo>
                  <a:lnTo>
                    <a:pt x="449" y="0"/>
                  </a:lnTo>
                  <a:lnTo>
                    <a:pt x="451" y="0"/>
                  </a:lnTo>
                  <a:lnTo>
                    <a:pt x="456" y="0"/>
                  </a:lnTo>
                  <a:lnTo>
                    <a:pt x="45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0" name="Freeform 55071"/>
            <p:cNvSpPr>
              <a:spLocks noEditPoints="1"/>
            </p:cNvSpPr>
            <p:nvPr/>
          </p:nvSpPr>
          <p:spPr bwMode="auto">
            <a:xfrm>
              <a:off x="3054348" y="2314583"/>
              <a:ext cx="2587624" cy="3043247"/>
            </a:xfrm>
            <a:custGeom>
              <a:avLst/>
              <a:gdLst>
                <a:gd name="T0" fmla="*/ 690 w 1630"/>
                <a:gd name="T1" fmla="*/ 748 h 1917"/>
                <a:gd name="T2" fmla="*/ 1086 w 1630"/>
                <a:gd name="T3" fmla="*/ 651 h 1917"/>
                <a:gd name="T4" fmla="*/ 1096 w 1630"/>
                <a:gd name="T5" fmla="*/ 572 h 1917"/>
                <a:gd name="T6" fmla="*/ 1134 w 1630"/>
                <a:gd name="T7" fmla="*/ 544 h 1917"/>
                <a:gd name="T8" fmla="*/ 1143 w 1630"/>
                <a:gd name="T9" fmla="*/ 534 h 1917"/>
                <a:gd name="T10" fmla="*/ 415 w 1630"/>
                <a:gd name="T11" fmla="*/ 510 h 1917"/>
                <a:gd name="T12" fmla="*/ 619 w 1630"/>
                <a:gd name="T13" fmla="*/ 532 h 1917"/>
                <a:gd name="T14" fmla="*/ 692 w 1630"/>
                <a:gd name="T15" fmla="*/ 639 h 1917"/>
                <a:gd name="T16" fmla="*/ 443 w 1630"/>
                <a:gd name="T17" fmla="*/ 617 h 1917"/>
                <a:gd name="T18" fmla="*/ 481 w 1630"/>
                <a:gd name="T19" fmla="*/ 655 h 1917"/>
                <a:gd name="T20" fmla="*/ 472 w 1630"/>
                <a:gd name="T21" fmla="*/ 724 h 1917"/>
                <a:gd name="T22" fmla="*/ 666 w 1630"/>
                <a:gd name="T23" fmla="*/ 843 h 1917"/>
                <a:gd name="T24" fmla="*/ 567 w 1630"/>
                <a:gd name="T25" fmla="*/ 722 h 1917"/>
                <a:gd name="T26" fmla="*/ 740 w 1630"/>
                <a:gd name="T27" fmla="*/ 817 h 1917"/>
                <a:gd name="T28" fmla="*/ 745 w 1630"/>
                <a:gd name="T29" fmla="*/ 943 h 1917"/>
                <a:gd name="T30" fmla="*/ 828 w 1630"/>
                <a:gd name="T31" fmla="*/ 869 h 1917"/>
                <a:gd name="T32" fmla="*/ 787 w 1630"/>
                <a:gd name="T33" fmla="*/ 739 h 1917"/>
                <a:gd name="T34" fmla="*/ 794 w 1630"/>
                <a:gd name="T35" fmla="*/ 653 h 1917"/>
                <a:gd name="T36" fmla="*/ 809 w 1630"/>
                <a:gd name="T37" fmla="*/ 662 h 1917"/>
                <a:gd name="T38" fmla="*/ 892 w 1630"/>
                <a:gd name="T39" fmla="*/ 563 h 1917"/>
                <a:gd name="T40" fmla="*/ 930 w 1630"/>
                <a:gd name="T41" fmla="*/ 577 h 1917"/>
                <a:gd name="T42" fmla="*/ 1103 w 1630"/>
                <a:gd name="T43" fmla="*/ 508 h 1917"/>
                <a:gd name="T44" fmla="*/ 1103 w 1630"/>
                <a:gd name="T45" fmla="*/ 560 h 1917"/>
                <a:gd name="T46" fmla="*/ 1067 w 1630"/>
                <a:gd name="T47" fmla="*/ 696 h 1917"/>
                <a:gd name="T48" fmla="*/ 1115 w 1630"/>
                <a:gd name="T49" fmla="*/ 710 h 1917"/>
                <a:gd name="T50" fmla="*/ 1250 w 1630"/>
                <a:gd name="T51" fmla="*/ 767 h 1917"/>
                <a:gd name="T52" fmla="*/ 1262 w 1630"/>
                <a:gd name="T53" fmla="*/ 731 h 1917"/>
                <a:gd name="T54" fmla="*/ 1333 w 1630"/>
                <a:gd name="T55" fmla="*/ 646 h 1917"/>
                <a:gd name="T56" fmla="*/ 1252 w 1630"/>
                <a:gd name="T57" fmla="*/ 670 h 1917"/>
                <a:gd name="T58" fmla="*/ 1084 w 1630"/>
                <a:gd name="T59" fmla="*/ 605 h 1917"/>
                <a:gd name="T60" fmla="*/ 1179 w 1630"/>
                <a:gd name="T61" fmla="*/ 520 h 1917"/>
                <a:gd name="T62" fmla="*/ 1300 w 1630"/>
                <a:gd name="T63" fmla="*/ 494 h 1917"/>
                <a:gd name="T64" fmla="*/ 1380 w 1630"/>
                <a:gd name="T65" fmla="*/ 515 h 1917"/>
                <a:gd name="T66" fmla="*/ 1357 w 1630"/>
                <a:gd name="T67" fmla="*/ 446 h 1917"/>
                <a:gd name="T68" fmla="*/ 1532 w 1630"/>
                <a:gd name="T69" fmla="*/ 558 h 1917"/>
                <a:gd name="T70" fmla="*/ 1314 w 1630"/>
                <a:gd name="T71" fmla="*/ 893 h 1917"/>
                <a:gd name="T72" fmla="*/ 1312 w 1630"/>
                <a:gd name="T73" fmla="*/ 1223 h 1917"/>
                <a:gd name="T74" fmla="*/ 1293 w 1630"/>
                <a:gd name="T75" fmla="*/ 1375 h 1917"/>
                <a:gd name="T76" fmla="*/ 1153 w 1630"/>
                <a:gd name="T77" fmla="*/ 1456 h 1917"/>
                <a:gd name="T78" fmla="*/ 918 w 1630"/>
                <a:gd name="T79" fmla="*/ 1484 h 1917"/>
                <a:gd name="T80" fmla="*/ 965 w 1630"/>
                <a:gd name="T81" fmla="*/ 1705 h 1917"/>
                <a:gd name="T82" fmla="*/ 925 w 1630"/>
                <a:gd name="T83" fmla="*/ 1701 h 1917"/>
                <a:gd name="T84" fmla="*/ 937 w 1630"/>
                <a:gd name="T85" fmla="*/ 1862 h 1917"/>
                <a:gd name="T86" fmla="*/ 697 w 1630"/>
                <a:gd name="T87" fmla="*/ 1810 h 1917"/>
                <a:gd name="T88" fmla="*/ 638 w 1630"/>
                <a:gd name="T89" fmla="*/ 1648 h 1917"/>
                <a:gd name="T90" fmla="*/ 647 w 1630"/>
                <a:gd name="T91" fmla="*/ 1513 h 1917"/>
                <a:gd name="T92" fmla="*/ 398 w 1630"/>
                <a:gd name="T93" fmla="*/ 1392 h 1917"/>
                <a:gd name="T94" fmla="*/ 296 w 1630"/>
                <a:gd name="T95" fmla="*/ 1199 h 1917"/>
                <a:gd name="T96" fmla="*/ 341 w 1630"/>
                <a:gd name="T97" fmla="*/ 993 h 1917"/>
                <a:gd name="T98" fmla="*/ 360 w 1630"/>
                <a:gd name="T99" fmla="*/ 769 h 1917"/>
                <a:gd name="T100" fmla="*/ 417 w 1630"/>
                <a:gd name="T101" fmla="*/ 442 h 1917"/>
                <a:gd name="T102" fmla="*/ 1188 w 1630"/>
                <a:gd name="T103" fmla="*/ 273 h 1917"/>
                <a:gd name="T104" fmla="*/ 1224 w 1630"/>
                <a:gd name="T105" fmla="*/ 399 h 1917"/>
                <a:gd name="T106" fmla="*/ 1131 w 1630"/>
                <a:gd name="T107" fmla="*/ 389 h 1917"/>
                <a:gd name="T108" fmla="*/ 1074 w 1630"/>
                <a:gd name="T109" fmla="*/ 347 h 1917"/>
                <a:gd name="T110" fmla="*/ 1112 w 1630"/>
                <a:gd name="T111" fmla="*/ 259 h 1917"/>
                <a:gd name="T112" fmla="*/ 1601 w 1630"/>
                <a:gd name="T113" fmla="*/ 45 h 1917"/>
                <a:gd name="T114" fmla="*/ 1340 w 1630"/>
                <a:gd name="T115" fmla="*/ 137 h 1917"/>
                <a:gd name="T116" fmla="*/ 1259 w 1630"/>
                <a:gd name="T117" fmla="*/ 199 h 1917"/>
                <a:gd name="T118" fmla="*/ 1148 w 1630"/>
                <a:gd name="T119" fmla="*/ 218 h 1917"/>
                <a:gd name="T120" fmla="*/ 1188 w 1630"/>
                <a:gd name="T121" fmla="*/ 171 h 1917"/>
                <a:gd name="T122" fmla="*/ 1233 w 1630"/>
                <a:gd name="T123" fmla="*/ 104 h 1917"/>
                <a:gd name="T124" fmla="*/ 1414 w 1630"/>
                <a:gd name="T125" fmla="*/ 54 h 1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0" h="1917">
                  <a:moveTo>
                    <a:pt x="2" y="1283"/>
                  </a:moveTo>
                  <a:lnTo>
                    <a:pt x="0" y="1283"/>
                  </a:lnTo>
                  <a:lnTo>
                    <a:pt x="2" y="1283"/>
                  </a:lnTo>
                  <a:lnTo>
                    <a:pt x="2" y="1280"/>
                  </a:lnTo>
                  <a:lnTo>
                    <a:pt x="4" y="1280"/>
                  </a:lnTo>
                  <a:lnTo>
                    <a:pt x="4" y="1278"/>
                  </a:lnTo>
                  <a:lnTo>
                    <a:pt x="7" y="1278"/>
                  </a:lnTo>
                  <a:lnTo>
                    <a:pt x="7" y="1275"/>
                  </a:lnTo>
                  <a:lnTo>
                    <a:pt x="9" y="1273"/>
                  </a:lnTo>
                  <a:lnTo>
                    <a:pt x="9" y="1275"/>
                  </a:lnTo>
                  <a:lnTo>
                    <a:pt x="7" y="1275"/>
                  </a:lnTo>
                  <a:lnTo>
                    <a:pt x="7" y="1278"/>
                  </a:lnTo>
                  <a:lnTo>
                    <a:pt x="4" y="1278"/>
                  </a:lnTo>
                  <a:lnTo>
                    <a:pt x="4" y="1280"/>
                  </a:lnTo>
                  <a:lnTo>
                    <a:pt x="2" y="1280"/>
                  </a:lnTo>
                  <a:lnTo>
                    <a:pt x="2" y="1283"/>
                  </a:lnTo>
                  <a:close/>
                  <a:moveTo>
                    <a:pt x="33" y="1259"/>
                  </a:moveTo>
                  <a:lnTo>
                    <a:pt x="35" y="1259"/>
                  </a:lnTo>
                  <a:lnTo>
                    <a:pt x="38" y="1259"/>
                  </a:lnTo>
                  <a:lnTo>
                    <a:pt x="38" y="1256"/>
                  </a:lnTo>
                  <a:lnTo>
                    <a:pt x="38" y="1259"/>
                  </a:lnTo>
                  <a:lnTo>
                    <a:pt x="40" y="1259"/>
                  </a:lnTo>
                  <a:lnTo>
                    <a:pt x="42" y="1259"/>
                  </a:lnTo>
                  <a:lnTo>
                    <a:pt x="42" y="1261"/>
                  </a:lnTo>
                  <a:lnTo>
                    <a:pt x="42" y="1259"/>
                  </a:lnTo>
                  <a:lnTo>
                    <a:pt x="42" y="1261"/>
                  </a:lnTo>
                  <a:lnTo>
                    <a:pt x="45" y="1261"/>
                  </a:lnTo>
                  <a:lnTo>
                    <a:pt x="47" y="1261"/>
                  </a:lnTo>
                  <a:lnTo>
                    <a:pt x="47" y="1259"/>
                  </a:lnTo>
                  <a:lnTo>
                    <a:pt x="47" y="1261"/>
                  </a:lnTo>
                  <a:lnTo>
                    <a:pt x="49" y="1261"/>
                  </a:lnTo>
                  <a:lnTo>
                    <a:pt x="49" y="1259"/>
                  </a:lnTo>
                  <a:lnTo>
                    <a:pt x="52" y="1259"/>
                  </a:lnTo>
                  <a:lnTo>
                    <a:pt x="54" y="1259"/>
                  </a:lnTo>
                  <a:lnTo>
                    <a:pt x="54" y="1256"/>
                  </a:lnTo>
                  <a:lnTo>
                    <a:pt x="52" y="1256"/>
                  </a:lnTo>
                  <a:lnTo>
                    <a:pt x="54" y="1256"/>
                  </a:lnTo>
                  <a:lnTo>
                    <a:pt x="54" y="1254"/>
                  </a:lnTo>
                  <a:lnTo>
                    <a:pt x="52" y="1254"/>
                  </a:lnTo>
                  <a:lnTo>
                    <a:pt x="52" y="1252"/>
                  </a:lnTo>
                  <a:lnTo>
                    <a:pt x="52" y="1249"/>
                  </a:lnTo>
                  <a:lnTo>
                    <a:pt x="52" y="1247"/>
                  </a:lnTo>
                  <a:lnTo>
                    <a:pt x="52" y="1245"/>
                  </a:lnTo>
                  <a:lnTo>
                    <a:pt x="54" y="1245"/>
                  </a:lnTo>
                  <a:lnTo>
                    <a:pt x="52" y="1245"/>
                  </a:lnTo>
                  <a:lnTo>
                    <a:pt x="54" y="1245"/>
                  </a:lnTo>
                  <a:lnTo>
                    <a:pt x="54" y="1242"/>
                  </a:lnTo>
                  <a:lnTo>
                    <a:pt x="57" y="1242"/>
                  </a:lnTo>
                  <a:lnTo>
                    <a:pt x="57" y="1240"/>
                  </a:lnTo>
                  <a:lnTo>
                    <a:pt x="59" y="1240"/>
                  </a:lnTo>
                  <a:lnTo>
                    <a:pt x="59" y="1242"/>
                  </a:lnTo>
                  <a:lnTo>
                    <a:pt x="61" y="1245"/>
                  </a:lnTo>
                  <a:lnTo>
                    <a:pt x="64" y="1245"/>
                  </a:lnTo>
                  <a:lnTo>
                    <a:pt x="66" y="1245"/>
                  </a:lnTo>
                  <a:lnTo>
                    <a:pt x="66" y="1247"/>
                  </a:lnTo>
                  <a:lnTo>
                    <a:pt x="68" y="1247"/>
                  </a:lnTo>
                  <a:lnTo>
                    <a:pt x="68" y="1249"/>
                  </a:lnTo>
                  <a:lnTo>
                    <a:pt x="71" y="1249"/>
                  </a:lnTo>
                  <a:lnTo>
                    <a:pt x="73" y="1249"/>
                  </a:lnTo>
                  <a:lnTo>
                    <a:pt x="76" y="1249"/>
                  </a:lnTo>
                  <a:lnTo>
                    <a:pt x="76" y="1252"/>
                  </a:lnTo>
                  <a:lnTo>
                    <a:pt x="78" y="1252"/>
                  </a:lnTo>
                  <a:lnTo>
                    <a:pt x="80" y="1252"/>
                  </a:lnTo>
                  <a:lnTo>
                    <a:pt x="80" y="1254"/>
                  </a:lnTo>
                  <a:lnTo>
                    <a:pt x="83" y="1254"/>
                  </a:lnTo>
                  <a:lnTo>
                    <a:pt x="83" y="1252"/>
                  </a:lnTo>
                  <a:lnTo>
                    <a:pt x="85" y="1252"/>
                  </a:lnTo>
                  <a:lnTo>
                    <a:pt x="87" y="1252"/>
                  </a:lnTo>
                  <a:lnTo>
                    <a:pt x="90" y="1252"/>
                  </a:lnTo>
                  <a:lnTo>
                    <a:pt x="92" y="1252"/>
                  </a:lnTo>
                  <a:lnTo>
                    <a:pt x="94" y="1252"/>
                  </a:lnTo>
                  <a:lnTo>
                    <a:pt x="97" y="1252"/>
                  </a:lnTo>
                  <a:lnTo>
                    <a:pt x="97" y="1254"/>
                  </a:lnTo>
                  <a:lnTo>
                    <a:pt x="99" y="1254"/>
                  </a:lnTo>
                  <a:lnTo>
                    <a:pt x="99" y="1256"/>
                  </a:lnTo>
                  <a:lnTo>
                    <a:pt x="102" y="1256"/>
                  </a:lnTo>
                  <a:lnTo>
                    <a:pt x="99" y="1256"/>
                  </a:lnTo>
                  <a:lnTo>
                    <a:pt x="102" y="1256"/>
                  </a:lnTo>
                  <a:lnTo>
                    <a:pt x="104" y="1259"/>
                  </a:lnTo>
                  <a:lnTo>
                    <a:pt x="106" y="1259"/>
                  </a:lnTo>
                  <a:lnTo>
                    <a:pt x="106" y="1261"/>
                  </a:lnTo>
                  <a:lnTo>
                    <a:pt x="106" y="1264"/>
                  </a:lnTo>
                  <a:lnTo>
                    <a:pt x="109" y="1264"/>
                  </a:lnTo>
                  <a:lnTo>
                    <a:pt x="106" y="1264"/>
                  </a:lnTo>
                  <a:lnTo>
                    <a:pt x="106" y="1266"/>
                  </a:lnTo>
                  <a:lnTo>
                    <a:pt x="104" y="1268"/>
                  </a:lnTo>
                  <a:lnTo>
                    <a:pt x="102" y="1268"/>
                  </a:lnTo>
                  <a:lnTo>
                    <a:pt x="102" y="1271"/>
                  </a:lnTo>
                  <a:lnTo>
                    <a:pt x="104" y="1271"/>
                  </a:lnTo>
                  <a:lnTo>
                    <a:pt x="102" y="1271"/>
                  </a:lnTo>
                  <a:lnTo>
                    <a:pt x="102" y="1273"/>
                  </a:lnTo>
                  <a:lnTo>
                    <a:pt x="104" y="1273"/>
                  </a:lnTo>
                  <a:lnTo>
                    <a:pt x="102" y="1273"/>
                  </a:lnTo>
                  <a:lnTo>
                    <a:pt x="102" y="1275"/>
                  </a:lnTo>
                  <a:lnTo>
                    <a:pt x="102" y="1278"/>
                  </a:lnTo>
                  <a:lnTo>
                    <a:pt x="102" y="1280"/>
                  </a:lnTo>
                  <a:lnTo>
                    <a:pt x="102" y="1283"/>
                  </a:lnTo>
                  <a:lnTo>
                    <a:pt x="104" y="1285"/>
                  </a:lnTo>
                  <a:lnTo>
                    <a:pt x="104" y="1287"/>
                  </a:lnTo>
                  <a:lnTo>
                    <a:pt x="102" y="1287"/>
                  </a:lnTo>
                  <a:lnTo>
                    <a:pt x="99" y="1287"/>
                  </a:lnTo>
                  <a:lnTo>
                    <a:pt x="92" y="1287"/>
                  </a:lnTo>
                  <a:lnTo>
                    <a:pt x="90" y="1287"/>
                  </a:lnTo>
                  <a:lnTo>
                    <a:pt x="85" y="1287"/>
                  </a:lnTo>
                  <a:lnTo>
                    <a:pt x="83" y="1287"/>
                  </a:lnTo>
                  <a:lnTo>
                    <a:pt x="80" y="1287"/>
                  </a:lnTo>
                  <a:lnTo>
                    <a:pt x="78" y="1287"/>
                  </a:lnTo>
                  <a:lnTo>
                    <a:pt x="78" y="1290"/>
                  </a:lnTo>
                  <a:lnTo>
                    <a:pt x="76" y="1290"/>
                  </a:lnTo>
                  <a:lnTo>
                    <a:pt x="71" y="1290"/>
                  </a:lnTo>
                  <a:lnTo>
                    <a:pt x="66" y="1290"/>
                  </a:lnTo>
                  <a:lnTo>
                    <a:pt x="64" y="1290"/>
                  </a:lnTo>
                  <a:lnTo>
                    <a:pt x="61" y="1290"/>
                  </a:lnTo>
                  <a:lnTo>
                    <a:pt x="59" y="1290"/>
                  </a:lnTo>
                  <a:lnTo>
                    <a:pt x="57" y="1290"/>
                  </a:lnTo>
                  <a:lnTo>
                    <a:pt x="54" y="1290"/>
                  </a:lnTo>
                  <a:lnTo>
                    <a:pt x="52" y="1287"/>
                  </a:lnTo>
                  <a:lnTo>
                    <a:pt x="49" y="1287"/>
                  </a:lnTo>
                  <a:lnTo>
                    <a:pt x="47" y="1287"/>
                  </a:lnTo>
                  <a:lnTo>
                    <a:pt x="40" y="1287"/>
                  </a:lnTo>
                  <a:lnTo>
                    <a:pt x="38" y="1287"/>
                  </a:lnTo>
                  <a:lnTo>
                    <a:pt x="35" y="1287"/>
                  </a:lnTo>
                  <a:lnTo>
                    <a:pt x="33" y="1287"/>
                  </a:lnTo>
                  <a:lnTo>
                    <a:pt x="26" y="1285"/>
                  </a:lnTo>
                  <a:lnTo>
                    <a:pt x="21" y="1285"/>
                  </a:lnTo>
                  <a:lnTo>
                    <a:pt x="19" y="1285"/>
                  </a:lnTo>
                  <a:lnTo>
                    <a:pt x="14" y="1285"/>
                  </a:lnTo>
                  <a:lnTo>
                    <a:pt x="9" y="1283"/>
                  </a:lnTo>
                  <a:lnTo>
                    <a:pt x="7" y="1283"/>
                  </a:lnTo>
                  <a:lnTo>
                    <a:pt x="9" y="1280"/>
                  </a:lnTo>
                  <a:lnTo>
                    <a:pt x="11" y="1280"/>
                  </a:lnTo>
                  <a:lnTo>
                    <a:pt x="11" y="1278"/>
                  </a:lnTo>
                  <a:lnTo>
                    <a:pt x="11" y="1275"/>
                  </a:lnTo>
                  <a:lnTo>
                    <a:pt x="14" y="1275"/>
                  </a:lnTo>
                  <a:lnTo>
                    <a:pt x="14" y="1278"/>
                  </a:lnTo>
                  <a:lnTo>
                    <a:pt x="16" y="1278"/>
                  </a:lnTo>
                  <a:lnTo>
                    <a:pt x="16" y="1275"/>
                  </a:lnTo>
                  <a:lnTo>
                    <a:pt x="19" y="1275"/>
                  </a:lnTo>
                  <a:lnTo>
                    <a:pt x="21" y="1275"/>
                  </a:lnTo>
                  <a:lnTo>
                    <a:pt x="21" y="1273"/>
                  </a:lnTo>
                  <a:lnTo>
                    <a:pt x="23" y="1273"/>
                  </a:lnTo>
                  <a:lnTo>
                    <a:pt x="26" y="1273"/>
                  </a:lnTo>
                  <a:lnTo>
                    <a:pt x="26" y="1271"/>
                  </a:lnTo>
                  <a:lnTo>
                    <a:pt x="28" y="1271"/>
                  </a:lnTo>
                  <a:lnTo>
                    <a:pt x="26" y="1271"/>
                  </a:lnTo>
                  <a:lnTo>
                    <a:pt x="23" y="1271"/>
                  </a:lnTo>
                  <a:lnTo>
                    <a:pt x="21" y="1271"/>
                  </a:lnTo>
                  <a:lnTo>
                    <a:pt x="19" y="1271"/>
                  </a:lnTo>
                  <a:lnTo>
                    <a:pt x="16" y="1271"/>
                  </a:lnTo>
                  <a:lnTo>
                    <a:pt x="16" y="1273"/>
                  </a:lnTo>
                  <a:lnTo>
                    <a:pt x="16" y="1271"/>
                  </a:lnTo>
                  <a:lnTo>
                    <a:pt x="16" y="1273"/>
                  </a:lnTo>
                  <a:lnTo>
                    <a:pt x="14" y="1273"/>
                  </a:lnTo>
                  <a:lnTo>
                    <a:pt x="14" y="1271"/>
                  </a:lnTo>
                  <a:lnTo>
                    <a:pt x="14" y="1268"/>
                  </a:lnTo>
                  <a:lnTo>
                    <a:pt x="11" y="1268"/>
                  </a:lnTo>
                  <a:lnTo>
                    <a:pt x="11" y="1271"/>
                  </a:lnTo>
                  <a:lnTo>
                    <a:pt x="11" y="1273"/>
                  </a:lnTo>
                  <a:lnTo>
                    <a:pt x="9" y="1273"/>
                  </a:lnTo>
                  <a:lnTo>
                    <a:pt x="9" y="1271"/>
                  </a:lnTo>
                  <a:lnTo>
                    <a:pt x="11" y="1268"/>
                  </a:lnTo>
                  <a:lnTo>
                    <a:pt x="11" y="1266"/>
                  </a:lnTo>
                  <a:lnTo>
                    <a:pt x="11" y="1264"/>
                  </a:lnTo>
                  <a:lnTo>
                    <a:pt x="11" y="1261"/>
                  </a:lnTo>
                  <a:lnTo>
                    <a:pt x="9" y="1261"/>
                  </a:lnTo>
                  <a:lnTo>
                    <a:pt x="11" y="1261"/>
                  </a:lnTo>
                  <a:lnTo>
                    <a:pt x="9" y="1261"/>
                  </a:lnTo>
                  <a:lnTo>
                    <a:pt x="9" y="1259"/>
                  </a:lnTo>
                  <a:lnTo>
                    <a:pt x="11" y="1259"/>
                  </a:lnTo>
                  <a:lnTo>
                    <a:pt x="11" y="1256"/>
                  </a:lnTo>
                  <a:lnTo>
                    <a:pt x="14" y="1256"/>
                  </a:lnTo>
                  <a:lnTo>
                    <a:pt x="14" y="1259"/>
                  </a:lnTo>
                  <a:lnTo>
                    <a:pt x="14" y="1256"/>
                  </a:lnTo>
                  <a:lnTo>
                    <a:pt x="16" y="1256"/>
                  </a:lnTo>
                  <a:lnTo>
                    <a:pt x="16" y="1259"/>
                  </a:lnTo>
                  <a:lnTo>
                    <a:pt x="19" y="1256"/>
                  </a:lnTo>
                  <a:lnTo>
                    <a:pt x="21" y="1256"/>
                  </a:lnTo>
                  <a:lnTo>
                    <a:pt x="23" y="1259"/>
                  </a:lnTo>
                  <a:lnTo>
                    <a:pt x="26" y="1259"/>
                  </a:lnTo>
                  <a:lnTo>
                    <a:pt x="26" y="1256"/>
                  </a:lnTo>
                  <a:lnTo>
                    <a:pt x="28" y="1256"/>
                  </a:lnTo>
                  <a:lnTo>
                    <a:pt x="30" y="1256"/>
                  </a:lnTo>
                  <a:lnTo>
                    <a:pt x="30" y="1254"/>
                  </a:lnTo>
                  <a:lnTo>
                    <a:pt x="33" y="1254"/>
                  </a:lnTo>
                  <a:lnTo>
                    <a:pt x="35" y="1252"/>
                  </a:lnTo>
                  <a:lnTo>
                    <a:pt x="38" y="1249"/>
                  </a:lnTo>
                  <a:lnTo>
                    <a:pt x="38" y="1247"/>
                  </a:lnTo>
                  <a:lnTo>
                    <a:pt x="40" y="1245"/>
                  </a:lnTo>
                  <a:lnTo>
                    <a:pt x="42" y="1245"/>
                  </a:lnTo>
                  <a:lnTo>
                    <a:pt x="42" y="1242"/>
                  </a:lnTo>
                  <a:lnTo>
                    <a:pt x="45" y="1240"/>
                  </a:lnTo>
                  <a:lnTo>
                    <a:pt x="45" y="1242"/>
                  </a:lnTo>
                  <a:lnTo>
                    <a:pt x="42" y="1242"/>
                  </a:lnTo>
                  <a:lnTo>
                    <a:pt x="42" y="1245"/>
                  </a:lnTo>
                  <a:lnTo>
                    <a:pt x="42" y="1247"/>
                  </a:lnTo>
                  <a:lnTo>
                    <a:pt x="40" y="1247"/>
                  </a:lnTo>
                  <a:lnTo>
                    <a:pt x="40" y="1249"/>
                  </a:lnTo>
                  <a:lnTo>
                    <a:pt x="38" y="1249"/>
                  </a:lnTo>
                  <a:lnTo>
                    <a:pt x="38" y="1252"/>
                  </a:lnTo>
                  <a:lnTo>
                    <a:pt x="35" y="1252"/>
                  </a:lnTo>
                  <a:lnTo>
                    <a:pt x="35" y="1254"/>
                  </a:lnTo>
                  <a:lnTo>
                    <a:pt x="33" y="1254"/>
                  </a:lnTo>
                  <a:lnTo>
                    <a:pt x="30" y="1256"/>
                  </a:lnTo>
                  <a:lnTo>
                    <a:pt x="28" y="1256"/>
                  </a:lnTo>
                  <a:lnTo>
                    <a:pt x="30" y="1256"/>
                  </a:lnTo>
                  <a:lnTo>
                    <a:pt x="30" y="1259"/>
                  </a:lnTo>
                  <a:lnTo>
                    <a:pt x="30" y="1256"/>
                  </a:lnTo>
                  <a:lnTo>
                    <a:pt x="30" y="1259"/>
                  </a:lnTo>
                  <a:lnTo>
                    <a:pt x="33" y="1259"/>
                  </a:lnTo>
                  <a:close/>
                  <a:moveTo>
                    <a:pt x="334" y="997"/>
                  </a:moveTo>
                  <a:lnTo>
                    <a:pt x="336" y="997"/>
                  </a:lnTo>
                  <a:lnTo>
                    <a:pt x="334" y="997"/>
                  </a:lnTo>
                  <a:close/>
                  <a:moveTo>
                    <a:pt x="334" y="997"/>
                  </a:moveTo>
                  <a:lnTo>
                    <a:pt x="334" y="995"/>
                  </a:lnTo>
                  <a:lnTo>
                    <a:pt x="332" y="995"/>
                  </a:lnTo>
                  <a:lnTo>
                    <a:pt x="329" y="993"/>
                  </a:lnTo>
                  <a:lnTo>
                    <a:pt x="329" y="995"/>
                  </a:lnTo>
                  <a:lnTo>
                    <a:pt x="329" y="993"/>
                  </a:lnTo>
                  <a:lnTo>
                    <a:pt x="332" y="995"/>
                  </a:lnTo>
                  <a:lnTo>
                    <a:pt x="334" y="995"/>
                  </a:lnTo>
                  <a:lnTo>
                    <a:pt x="336" y="995"/>
                  </a:lnTo>
                  <a:lnTo>
                    <a:pt x="336" y="997"/>
                  </a:lnTo>
                  <a:lnTo>
                    <a:pt x="334" y="997"/>
                  </a:lnTo>
                  <a:lnTo>
                    <a:pt x="336" y="997"/>
                  </a:lnTo>
                  <a:lnTo>
                    <a:pt x="334" y="997"/>
                  </a:lnTo>
                  <a:close/>
                  <a:moveTo>
                    <a:pt x="270" y="971"/>
                  </a:moveTo>
                  <a:lnTo>
                    <a:pt x="268" y="971"/>
                  </a:lnTo>
                  <a:lnTo>
                    <a:pt x="270" y="971"/>
                  </a:lnTo>
                  <a:close/>
                  <a:moveTo>
                    <a:pt x="678" y="741"/>
                  </a:moveTo>
                  <a:lnTo>
                    <a:pt x="681" y="741"/>
                  </a:lnTo>
                  <a:lnTo>
                    <a:pt x="681" y="743"/>
                  </a:lnTo>
                  <a:lnTo>
                    <a:pt x="681" y="741"/>
                  </a:lnTo>
                  <a:lnTo>
                    <a:pt x="681" y="743"/>
                  </a:lnTo>
                  <a:lnTo>
                    <a:pt x="681" y="741"/>
                  </a:lnTo>
                  <a:lnTo>
                    <a:pt x="681" y="743"/>
                  </a:lnTo>
                  <a:lnTo>
                    <a:pt x="678" y="743"/>
                  </a:lnTo>
                  <a:lnTo>
                    <a:pt x="678" y="741"/>
                  </a:lnTo>
                  <a:close/>
                  <a:moveTo>
                    <a:pt x="690" y="743"/>
                  </a:moveTo>
                  <a:lnTo>
                    <a:pt x="690" y="741"/>
                  </a:lnTo>
                  <a:lnTo>
                    <a:pt x="688" y="741"/>
                  </a:lnTo>
                  <a:lnTo>
                    <a:pt x="688" y="739"/>
                  </a:lnTo>
                  <a:lnTo>
                    <a:pt x="690" y="739"/>
                  </a:lnTo>
                  <a:lnTo>
                    <a:pt x="692" y="739"/>
                  </a:lnTo>
                  <a:lnTo>
                    <a:pt x="690" y="739"/>
                  </a:lnTo>
                  <a:lnTo>
                    <a:pt x="692" y="739"/>
                  </a:lnTo>
                  <a:lnTo>
                    <a:pt x="692" y="741"/>
                  </a:lnTo>
                  <a:lnTo>
                    <a:pt x="695" y="741"/>
                  </a:lnTo>
                  <a:lnTo>
                    <a:pt x="692" y="741"/>
                  </a:lnTo>
                  <a:lnTo>
                    <a:pt x="692" y="743"/>
                  </a:lnTo>
                  <a:lnTo>
                    <a:pt x="692" y="746"/>
                  </a:lnTo>
                  <a:lnTo>
                    <a:pt x="690" y="746"/>
                  </a:lnTo>
                  <a:lnTo>
                    <a:pt x="690" y="748"/>
                  </a:lnTo>
                  <a:lnTo>
                    <a:pt x="688" y="748"/>
                  </a:lnTo>
                  <a:lnTo>
                    <a:pt x="690" y="748"/>
                  </a:lnTo>
                  <a:lnTo>
                    <a:pt x="690" y="746"/>
                  </a:lnTo>
                  <a:lnTo>
                    <a:pt x="688" y="746"/>
                  </a:lnTo>
                  <a:lnTo>
                    <a:pt x="688" y="743"/>
                  </a:lnTo>
                  <a:lnTo>
                    <a:pt x="690" y="743"/>
                  </a:lnTo>
                  <a:close/>
                  <a:moveTo>
                    <a:pt x="688" y="739"/>
                  </a:moveTo>
                  <a:lnTo>
                    <a:pt x="685" y="739"/>
                  </a:lnTo>
                  <a:lnTo>
                    <a:pt x="685" y="736"/>
                  </a:lnTo>
                  <a:lnTo>
                    <a:pt x="688" y="736"/>
                  </a:lnTo>
                  <a:lnTo>
                    <a:pt x="688" y="739"/>
                  </a:lnTo>
                  <a:lnTo>
                    <a:pt x="690" y="739"/>
                  </a:lnTo>
                  <a:lnTo>
                    <a:pt x="688" y="739"/>
                  </a:lnTo>
                  <a:lnTo>
                    <a:pt x="688" y="741"/>
                  </a:lnTo>
                  <a:lnTo>
                    <a:pt x="690" y="741"/>
                  </a:lnTo>
                  <a:lnTo>
                    <a:pt x="688" y="741"/>
                  </a:lnTo>
                  <a:lnTo>
                    <a:pt x="690" y="741"/>
                  </a:lnTo>
                  <a:lnTo>
                    <a:pt x="690" y="743"/>
                  </a:lnTo>
                  <a:lnTo>
                    <a:pt x="688" y="743"/>
                  </a:lnTo>
                  <a:lnTo>
                    <a:pt x="688" y="746"/>
                  </a:lnTo>
                  <a:lnTo>
                    <a:pt x="688" y="743"/>
                  </a:lnTo>
                  <a:lnTo>
                    <a:pt x="685" y="743"/>
                  </a:lnTo>
                  <a:lnTo>
                    <a:pt x="685" y="741"/>
                  </a:lnTo>
                  <a:lnTo>
                    <a:pt x="685" y="739"/>
                  </a:lnTo>
                  <a:lnTo>
                    <a:pt x="688" y="739"/>
                  </a:lnTo>
                  <a:close/>
                  <a:moveTo>
                    <a:pt x="683" y="736"/>
                  </a:moveTo>
                  <a:lnTo>
                    <a:pt x="683" y="739"/>
                  </a:lnTo>
                  <a:lnTo>
                    <a:pt x="685" y="739"/>
                  </a:lnTo>
                  <a:lnTo>
                    <a:pt x="685" y="741"/>
                  </a:lnTo>
                  <a:lnTo>
                    <a:pt x="685" y="743"/>
                  </a:lnTo>
                  <a:lnTo>
                    <a:pt x="683" y="743"/>
                  </a:lnTo>
                  <a:lnTo>
                    <a:pt x="683" y="741"/>
                  </a:lnTo>
                  <a:lnTo>
                    <a:pt x="681" y="741"/>
                  </a:lnTo>
                  <a:lnTo>
                    <a:pt x="681" y="739"/>
                  </a:lnTo>
                  <a:lnTo>
                    <a:pt x="678" y="739"/>
                  </a:lnTo>
                  <a:lnTo>
                    <a:pt x="678" y="736"/>
                  </a:lnTo>
                  <a:lnTo>
                    <a:pt x="678" y="739"/>
                  </a:lnTo>
                  <a:lnTo>
                    <a:pt x="676" y="739"/>
                  </a:lnTo>
                  <a:lnTo>
                    <a:pt x="676" y="736"/>
                  </a:lnTo>
                  <a:lnTo>
                    <a:pt x="678" y="736"/>
                  </a:lnTo>
                  <a:lnTo>
                    <a:pt x="681" y="736"/>
                  </a:lnTo>
                  <a:lnTo>
                    <a:pt x="681" y="739"/>
                  </a:lnTo>
                  <a:lnTo>
                    <a:pt x="681" y="736"/>
                  </a:lnTo>
                  <a:lnTo>
                    <a:pt x="681" y="739"/>
                  </a:lnTo>
                  <a:lnTo>
                    <a:pt x="678" y="739"/>
                  </a:lnTo>
                  <a:lnTo>
                    <a:pt x="678" y="736"/>
                  </a:lnTo>
                  <a:lnTo>
                    <a:pt x="678" y="739"/>
                  </a:lnTo>
                  <a:lnTo>
                    <a:pt x="678" y="736"/>
                  </a:lnTo>
                  <a:lnTo>
                    <a:pt x="678" y="739"/>
                  </a:lnTo>
                  <a:lnTo>
                    <a:pt x="681" y="739"/>
                  </a:lnTo>
                  <a:lnTo>
                    <a:pt x="681" y="736"/>
                  </a:lnTo>
                  <a:lnTo>
                    <a:pt x="681" y="739"/>
                  </a:lnTo>
                  <a:lnTo>
                    <a:pt x="681" y="736"/>
                  </a:lnTo>
                  <a:lnTo>
                    <a:pt x="683" y="736"/>
                  </a:lnTo>
                  <a:lnTo>
                    <a:pt x="681" y="736"/>
                  </a:lnTo>
                  <a:lnTo>
                    <a:pt x="683" y="736"/>
                  </a:lnTo>
                  <a:lnTo>
                    <a:pt x="681" y="736"/>
                  </a:lnTo>
                  <a:lnTo>
                    <a:pt x="683" y="736"/>
                  </a:lnTo>
                  <a:lnTo>
                    <a:pt x="681" y="736"/>
                  </a:lnTo>
                  <a:lnTo>
                    <a:pt x="683" y="736"/>
                  </a:lnTo>
                  <a:close/>
                  <a:moveTo>
                    <a:pt x="1262" y="739"/>
                  </a:moveTo>
                  <a:lnTo>
                    <a:pt x="1264" y="739"/>
                  </a:lnTo>
                  <a:lnTo>
                    <a:pt x="1264" y="736"/>
                  </a:lnTo>
                  <a:lnTo>
                    <a:pt x="1264" y="739"/>
                  </a:lnTo>
                  <a:lnTo>
                    <a:pt x="1262" y="739"/>
                  </a:lnTo>
                  <a:lnTo>
                    <a:pt x="1262" y="736"/>
                  </a:lnTo>
                  <a:lnTo>
                    <a:pt x="1264" y="736"/>
                  </a:lnTo>
                  <a:lnTo>
                    <a:pt x="1264" y="739"/>
                  </a:lnTo>
                  <a:lnTo>
                    <a:pt x="1262" y="739"/>
                  </a:lnTo>
                  <a:lnTo>
                    <a:pt x="1264" y="739"/>
                  </a:lnTo>
                  <a:lnTo>
                    <a:pt x="1262" y="741"/>
                  </a:lnTo>
                  <a:lnTo>
                    <a:pt x="1262" y="739"/>
                  </a:lnTo>
                  <a:close/>
                  <a:moveTo>
                    <a:pt x="1262" y="736"/>
                  </a:moveTo>
                  <a:lnTo>
                    <a:pt x="1262" y="734"/>
                  </a:lnTo>
                  <a:lnTo>
                    <a:pt x="1262" y="736"/>
                  </a:lnTo>
                  <a:close/>
                  <a:moveTo>
                    <a:pt x="1255" y="729"/>
                  </a:moveTo>
                  <a:lnTo>
                    <a:pt x="1255" y="727"/>
                  </a:lnTo>
                  <a:lnTo>
                    <a:pt x="1255" y="729"/>
                  </a:lnTo>
                  <a:lnTo>
                    <a:pt x="1255" y="731"/>
                  </a:lnTo>
                  <a:lnTo>
                    <a:pt x="1255" y="729"/>
                  </a:lnTo>
                  <a:lnTo>
                    <a:pt x="1255" y="731"/>
                  </a:lnTo>
                  <a:lnTo>
                    <a:pt x="1255" y="729"/>
                  </a:lnTo>
                  <a:close/>
                  <a:moveTo>
                    <a:pt x="1096" y="705"/>
                  </a:moveTo>
                  <a:lnTo>
                    <a:pt x="1098" y="705"/>
                  </a:lnTo>
                  <a:lnTo>
                    <a:pt x="1096" y="705"/>
                  </a:lnTo>
                  <a:lnTo>
                    <a:pt x="1098" y="705"/>
                  </a:lnTo>
                  <a:lnTo>
                    <a:pt x="1098" y="708"/>
                  </a:lnTo>
                  <a:lnTo>
                    <a:pt x="1096" y="708"/>
                  </a:lnTo>
                  <a:lnTo>
                    <a:pt x="1096" y="705"/>
                  </a:lnTo>
                  <a:close/>
                  <a:moveTo>
                    <a:pt x="1093" y="703"/>
                  </a:moveTo>
                  <a:lnTo>
                    <a:pt x="1096" y="703"/>
                  </a:lnTo>
                  <a:lnTo>
                    <a:pt x="1093" y="703"/>
                  </a:lnTo>
                  <a:lnTo>
                    <a:pt x="1091" y="703"/>
                  </a:lnTo>
                  <a:lnTo>
                    <a:pt x="1093" y="703"/>
                  </a:lnTo>
                  <a:close/>
                  <a:moveTo>
                    <a:pt x="1236" y="703"/>
                  </a:moveTo>
                  <a:lnTo>
                    <a:pt x="1233" y="703"/>
                  </a:lnTo>
                  <a:lnTo>
                    <a:pt x="1236" y="703"/>
                  </a:lnTo>
                  <a:lnTo>
                    <a:pt x="1236" y="705"/>
                  </a:lnTo>
                  <a:lnTo>
                    <a:pt x="1233" y="705"/>
                  </a:lnTo>
                  <a:lnTo>
                    <a:pt x="1236" y="705"/>
                  </a:lnTo>
                  <a:lnTo>
                    <a:pt x="1233" y="708"/>
                  </a:lnTo>
                  <a:lnTo>
                    <a:pt x="1233" y="705"/>
                  </a:lnTo>
                  <a:lnTo>
                    <a:pt x="1233" y="703"/>
                  </a:lnTo>
                  <a:lnTo>
                    <a:pt x="1236" y="703"/>
                  </a:lnTo>
                  <a:close/>
                  <a:moveTo>
                    <a:pt x="1236" y="691"/>
                  </a:moveTo>
                  <a:lnTo>
                    <a:pt x="1236" y="693"/>
                  </a:lnTo>
                  <a:lnTo>
                    <a:pt x="1233" y="693"/>
                  </a:lnTo>
                  <a:lnTo>
                    <a:pt x="1233" y="691"/>
                  </a:lnTo>
                  <a:lnTo>
                    <a:pt x="1233" y="693"/>
                  </a:lnTo>
                  <a:lnTo>
                    <a:pt x="1233" y="691"/>
                  </a:lnTo>
                  <a:lnTo>
                    <a:pt x="1236" y="691"/>
                  </a:lnTo>
                  <a:close/>
                  <a:moveTo>
                    <a:pt x="1074" y="684"/>
                  </a:moveTo>
                  <a:lnTo>
                    <a:pt x="1074" y="682"/>
                  </a:lnTo>
                  <a:lnTo>
                    <a:pt x="1074" y="684"/>
                  </a:lnTo>
                  <a:close/>
                  <a:moveTo>
                    <a:pt x="1165" y="677"/>
                  </a:moveTo>
                  <a:lnTo>
                    <a:pt x="1162" y="677"/>
                  </a:lnTo>
                  <a:lnTo>
                    <a:pt x="1162" y="679"/>
                  </a:lnTo>
                  <a:lnTo>
                    <a:pt x="1162" y="677"/>
                  </a:lnTo>
                  <a:lnTo>
                    <a:pt x="1165" y="677"/>
                  </a:lnTo>
                  <a:lnTo>
                    <a:pt x="1165" y="674"/>
                  </a:lnTo>
                  <a:lnTo>
                    <a:pt x="1167" y="674"/>
                  </a:lnTo>
                  <a:lnTo>
                    <a:pt x="1165" y="677"/>
                  </a:lnTo>
                  <a:lnTo>
                    <a:pt x="1162" y="679"/>
                  </a:lnTo>
                  <a:lnTo>
                    <a:pt x="1165" y="677"/>
                  </a:lnTo>
                  <a:lnTo>
                    <a:pt x="1162" y="679"/>
                  </a:lnTo>
                  <a:lnTo>
                    <a:pt x="1165" y="677"/>
                  </a:lnTo>
                  <a:close/>
                  <a:moveTo>
                    <a:pt x="1226" y="670"/>
                  </a:moveTo>
                  <a:lnTo>
                    <a:pt x="1229" y="670"/>
                  </a:lnTo>
                  <a:lnTo>
                    <a:pt x="1229" y="672"/>
                  </a:lnTo>
                  <a:lnTo>
                    <a:pt x="1229" y="670"/>
                  </a:lnTo>
                  <a:lnTo>
                    <a:pt x="1229" y="672"/>
                  </a:lnTo>
                  <a:lnTo>
                    <a:pt x="1226" y="672"/>
                  </a:lnTo>
                  <a:lnTo>
                    <a:pt x="1226" y="670"/>
                  </a:lnTo>
                  <a:close/>
                  <a:moveTo>
                    <a:pt x="1169" y="674"/>
                  </a:moveTo>
                  <a:lnTo>
                    <a:pt x="1169" y="672"/>
                  </a:lnTo>
                  <a:lnTo>
                    <a:pt x="1172" y="672"/>
                  </a:lnTo>
                  <a:lnTo>
                    <a:pt x="1172" y="670"/>
                  </a:lnTo>
                  <a:lnTo>
                    <a:pt x="1174" y="670"/>
                  </a:lnTo>
                  <a:lnTo>
                    <a:pt x="1174" y="667"/>
                  </a:lnTo>
                  <a:lnTo>
                    <a:pt x="1174" y="670"/>
                  </a:lnTo>
                  <a:lnTo>
                    <a:pt x="1174" y="672"/>
                  </a:lnTo>
                  <a:lnTo>
                    <a:pt x="1174" y="670"/>
                  </a:lnTo>
                  <a:lnTo>
                    <a:pt x="1172" y="670"/>
                  </a:lnTo>
                  <a:lnTo>
                    <a:pt x="1174" y="670"/>
                  </a:lnTo>
                  <a:lnTo>
                    <a:pt x="1174" y="672"/>
                  </a:lnTo>
                  <a:lnTo>
                    <a:pt x="1172" y="672"/>
                  </a:lnTo>
                  <a:lnTo>
                    <a:pt x="1172" y="674"/>
                  </a:lnTo>
                  <a:lnTo>
                    <a:pt x="1169" y="674"/>
                  </a:lnTo>
                  <a:close/>
                  <a:moveTo>
                    <a:pt x="1174" y="672"/>
                  </a:moveTo>
                  <a:lnTo>
                    <a:pt x="1172" y="672"/>
                  </a:lnTo>
                  <a:lnTo>
                    <a:pt x="1174" y="672"/>
                  </a:lnTo>
                  <a:close/>
                  <a:moveTo>
                    <a:pt x="1084" y="662"/>
                  </a:moveTo>
                  <a:lnTo>
                    <a:pt x="1084" y="665"/>
                  </a:lnTo>
                  <a:lnTo>
                    <a:pt x="1084" y="667"/>
                  </a:lnTo>
                  <a:lnTo>
                    <a:pt x="1084" y="665"/>
                  </a:lnTo>
                  <a:lnTo>
                    <a:pt x="1084" y="662"/>
                  </a:lnTo>
                  <a:lnTo>
                    <a:pt x="1084" y="665"/>
                  </a:lnTo>
                  <a:lnTo>
                    <a:pt x="1086" y="665"/>
                  </a:lnTo>
                  <a:lnTo>
                    <a:pt x="1086" y="667"/>
                  </a:lnTo>
                  <a:lnTo>
                    <a:pt x="1084" y="667"/>
                  </a:lnTo>
                  <a:lnTo>
                    <a:pt x="1084" y="670"/>
                  </a:lnTo>
                  <a:lnTo>
                    <a:pt x="1082" y="670"/>
                  </a:lnTo>
                  <a:lnTo>
                    <a:pt x="1082" y="672"/>
                  </a:lnTo>
                  <a:lnTo>
                    <a:pt x="1082" y="670"/>
                  </a:lnTo>
                  <a:lnTo>
                    <a:pt x="1082" y="667"/>
                  </a:lnTo>
                  <a:lnTo>
                    <a:pt x="1082" y="665"/>
                  </a:lnTo>
                  <a:lnTo>
                    <a:pt x="1084" y="665"/>
                  </a:lnTo>
                  <a:lnTo>
                    <a:pt x="1082" y="665"/>
                  </a:lnTo>
                  <a:lnTo>
                    <a:pt x="1082" y="662"/>
                  </a:lnTo>
                  <a:lnTo>
                    <a:pt x="1084" y="662"/>
                  </a:lnTo>
                  <a:close/>
                  <a:moveTo>
                    <a:pt x="1226" y="665"/>
                  </a:moveTo>
                  <a:lnTo>
                    <a:pt x="1224" y="665"/>
                  </a:lnTo>
                  <a:lnTo>
                    <a:pt x="1224" y="662"/>
                  </a:lnTo>
                  <a:lnTo>
                    <a:pt x="1226" y="662"/>
                  </a:lnTo>
                  <a:lnTo>
                    <a:pt x="1229" y="662"/>
                  </a:lnTo>
                  <a:lnTo>
                    <a:pt x="1229" y="665"/>
                  </a:lnTo>
                  <a:lnTo>
                    <a:pt x="1229" y="667"/>
                  </a:lnTo>
                  <a:lnTo>
                    <a:pt x="1229" y="665"/>
                  </a:lnTo>
                  <a:lnTo>
                    <a:pt x="1229" y="667"/>
                  </a:lnTo>
                  <a:lnTo>
                    <a:pt x="1226" y="667"/>
                  </a:lnTo>
                  <a:lnTo>
                    <a:pt x="1226" y="665"/>
                  </a:lnTo>
                  <a:close/>
                  <a:moveTo>
                    <a:pt x="1226" y="665"/>
                  </a:moveTo>
                  <a:lnTo>
                    <a:pt x="1229" y="665"/>
                  </a:lnTo>
                  <a:lnTo>
                    <a:pt x="1226" y="665"/>
                  </a:lnTo>
                  <a:close/>
                  <a:moveTo>
                    <a:pt x="1222" y="658"/>
                  </a:moveTo>
                  <a:lnTo>
                    <a:pt x="1222" y="660"/>
                  </a:lnTo>
                  <a:lnTo>
                    <a:pt x="1222" y="658"/>
                  </a:lnTo>
                  <a:lnTo>
                    <a:pt x="1224" y="658"/>
                  </a:lnTo>
                  <a:lnTo>
                    <a:pt x="1222" y="658"/>
                  </a:lnTo>
                  <a:lnTo>
                    <a:pt x="1224" y="658"/>
                  </a:lnTo>
                  <a:lnTo>
                    <a:pt x="1224" y="660"/>
                  </a:lnTo>
                  <a:lnTo>
                    <a:pt x="1222" y="660"/>
                  </a:lnTo>
                  <a:lnTo>
                    <a:pt x="1224" y="660"/>
                  </a:lnTo>
                  <a:lnTo>
                    <a:pt x="1224" y="662"/>
                  </a:lnTo>
                  <a:lnTo>
                    <a:pt x="1222" y="662"/>
                  </a:lnTo>
                  <a:lnTo>
                    <a:pt x="1222" y="660"/>
                  </a:lnTo>
                  <a:lnTo>
                    <a:pt x="1222" y="658"/>
                  </a:lnTo>
                  <a:close/>
                  <a:moveTo>
                    <a:pt x="1328" y="655"/>
                  </a:moveTo>
                  <a:lnTo>
                    <a:pt x="1328" y="658"/>
                  </a:lnTo>
                  <a:lnTo>
                    <a:pt x="1328" y="655"/>
                  </a:lnTo>
                  <a:close/>
                  <a:moveTo>
                    <a:pt x="1176" y="658"/>
                  </a:moveTo>
                  <a:lnTo>
                    <a:pt x="1174" y="658"/>
                  </a:lnTo>
                  <a:lnTo>
                    <a:pt x="1174" y="655"/>
                  </a:lnTo>
                  <a:lnTo>
                    <a:pt x="1176" y="655"/>
                  </a:lnTo>
                  <a:lnTo>
                    <a:pt x="1179" y="655"/>
                  </a:lnTo>
                  <a:lnTo>
                    <a:pt x="1179" y="658"/>
                  </a:lnTo>
                  <a:lnTo>
                    <a:pt x="1176" y="658"/>
                  </a:lnTo>
                  <a:lnTo>
                    <a:pt x="1174" y="658"/>
                  </a:lnTo>
                  <a:lnTo>
                    <a:pt x="1176" y="658"/>
                  </a:lnTo>
                  <a:close/>
                  <a:moveTo>
                    <a:pt x="1086" y="653"/>
                  </a:moveTo>
                  <a:lnTo>
                    <a:pt x="1086" y="655"/>
                  </a:lnTo>
                  <a:lnTo>
                    <a:pt x="1086" y="658"/>
                  </a:lnTo>
                  <a:lnTo>
                    <a:pt x="1086" y="655"/>
                  </a:lnTo>
                  <a:lnTo>
                    <a:pt x="1086" y="653"/>
                  </a:lnTo>
                  <a:close/>
                  <a:moveTo>
                    <a:pt x="1326" y="648"/>
                  </a:moveTo>
                  <a:lnTo>
                    <a:pt x="1326" y="651"/>
                  </a:lnTo>
                  <a:lnTo>
                    <a:pt x="1326" y="648"/>
                  </a:lnTo>
                  <a:close/>
                  <a:moveTo>
                    <a:pt x="1193" y="648"/>
                  </a:moveTo>
                  <a:lnTo>
                    <a:pt x="1191" y="651"/>
                  </a:lnTo>
                  <a:lnTo>
                    <a:pt x="1191" y="648"/>
                  </a:lnTo>
                  <a:lnTo>
                    <a:pt x="1193" y="648"/>
                  </a:lnTo>
                  <a:lnTo>
                    <a:pt x="1195" y="648"/>
                  </a:lnTo>
                  <a:lnTo>
                    <a:pt x="1195" y="651"/>
                  </a:lnTo>
                  <a:lnTo>
                    <a:pt x="1193" y="651"/>
                  </a:lnTo>
                  <a:lnTo>
                    <a:pt x="1191" y="651"/>
                  </a:lnTo>
                  <a:lnTo>
                    <a:pt x="1193" y="648"/>
                  </a:lnTo>
                  <a:close/>
                  <a:moveTo>
                    <a:pt x="1212" y="646"/>
                  </a:moveTo>
                  <a:lnTo>
                    <a:pt x="1214" y="646"/>
                  </a:lnTo>
                  <a:lnTo>
                    <a:pt x="1214" y="648"/>
                  </a:lnTo>
                  <a:lnTo>
                    <a:pt x="1212" y="648"/>
                  </a:lnTo>
                  <a:lnTo>
                    <a:pt x="1214" y="648"/>
                  </a:lnTo>
                  <a:lnTo>
                    <a:pt x="1212" y="648"/>
                  </a:lnTo>
                  <a:lnTo>
                    <a:pt x="1210" y="648"/>
                  </a:lnTo>
                  <a:lnTo>
                    <a:pt x="1207" y="648"/>
                  </a:lnTo>
                  <a:lnTo>
                    <a:pt x="1210" y="646"/>
                  </a:lnTo>
                  <a:lnTo>
                    <a:pt x="1207" y="648"/>
                  </a:lnTo>
                  <a:lnTo>
                    <a:pt x="1210" y="648"/>
                  </a:lnTo>
                  <a:lnTo>
                    <a:pt x="1210" y="646"/>
                  </a:lnTo>
                  <a:lnTo>
                    <a:pt x="1212" y="646"/>
                  </a:lnTo>
                  <a:close/>
                  <a:moveTo>
                    <a:pt x="1082" y="643"/>
                  </a:moveTo>
                  <a:lnTo>
                    <a:pt x="1084" y="643"/>
                  </a:lnTo>
                  <a:lnTo>
                    <a:pt x="1082" y="643"/>
                  </a:lnTo>
                  <a:lnTo>
                    <a:pt x="1084" y="643"/>
                  </a:lnTo>
                  <a:lnTo>
                    <a:pt x="1082" y="643"/>
                  </a:lnTo>
                  <a:lnTo>
                    <a:pt x="1084" y="643"/>
                  </a:lnTo>
                  <a:lnTo>
                    <a:pt x="1084" y="641"/>
                  </a:lnTo>
                  <a:lnTo>
                    <a:pt x="1084" y="643"/>
                  </a:lnTo>
                  <a:lnTo>
                    <a:pt x="1082" y="643"/>
                  </a:lnTo>
                  <a:close/>
                  <a:moveTo>
                    <a:pt x="1084" y="641"/>
                  </a:moveTo>
                  <a:lnTo>
                    <a:pt x="1084" y="643"/>
                  </a:lnTo>
                  <a:lnTo>
                    <a:pt x="1086" y="643"/>
                  </a:lnTo>
                  <a:lnTo>
                    <a:pt x="1086" y="646"/>
                  </a:lnTo>
                  <a:lnTo>
                    <a:pt x="1086" y="648"/>
                  </a:lnTo>
                  <a:lnTo>
                    <a:pt x="1084" y="648"/>
                  </a:lnTo>
                  <a:lnTo>
                    <a:pt x="1086" y="648"/>
                  </a:lnTo>
                  <a:lnTo>
                    <a:pt x="1086" y="651"/>
                  </a:lnTo>
                  <a:lnTo>
                    <a:pt x="1084" y="651"/>
                  </a:lnTo>
                  <a:lnTo>
                    <a:pt x="1084" y="648"/>
                  </a:lnTo>
                  <a:lnTo>
                    <a:pt x="1084" y="646"/>
                  </a:lnTo>
                  <a:lnTo>
                    <a:pt x="1082" y="646"/>
                  </a:lnTo>
                  <a:lnTo>
                    <a:pt x="1082" y="643"/>
                  </a:lnTo>
                  <a:lnTo>
                    <a:pt x="1084" y="643"/>
                  </a:lnTo>
                  <a:lnTo>
                    <a:pt x="1084" y="641"/>
                  </a:lnTo>
                  <a:lnTo>
                    <a:pt x="1084" y="643"/>
                  </a:lnTo>
                  <a:lnTo>
                    <a:pt x="1086" y="643"/>
                  </a:lnTo>
                  <a:lnTo>
                    <a:pt x="1084" y="643"/>
                  </a:lnTo>
                  <a:lnTo>
                    <a:pt x="1084" y="641"/>
                  </a:lnTo>
                  <a:close/>
                  <a:moveTo>
                    <a:pt x="1082" y="639"/>
                  </a:moveTo>
                  <a:lnTo>
                    <a:pt x="1082" y="641"/>
                  </a:lnTo>
                  <a:lnTo>
                    <a:pt x="1082" y="639"/>
                  </a:lnTo>
                  <a:lnTo>
                    <a:pt x="1082" y="641"/>
                  </a:lnTo>
                  <a:lnTo>
                    <a:pt x="1082" y="639"/>
                  </a:lnTo>
                  <a:lnTo>
                    <a:pt x="1082" y="641"/>
                  </a:lnTo>
                  <a:lnTo>
                    <a:pt x="1082" y="639"/>
                  </a:lnTo>
                  <a:lnTo>
                    <a:pt x="1084" y="641"/>
                  </a:lnTo>
                  <a:lnTo>
                    <a:pt x="1082" y="641"/>
                  </a:lnTo>
                  <a:lnTo>
                    <a:pt x="1084" y="641"/>
                  </a:lnTo>
                  <a:lnTo>
                    <a:pt x="1082" y="641"/>
                  </a:lnTo>
                  <a:lnTo>
                    <a:pt x="1082" y="643"/>
                  </a:lnTo>
                  <a:lnTo>
                    <a:pt x="1082" y="641"/>
                  </a:lnTo>
                  <a:lnTo>
                    <a:pt x="1082" y="639"/>
                  </a:lnTo>
                  <a:lnTo>
                    <a:pt x="1079" y="639"/>
                  </a:lnTo>
                  <a:lnTo>
                    <a:pt x="1082" y="639"/>
                  </a:lnTo>
                  <a:close/>
                  <a:moveTo>
                    <a:pt x="1086" y="632"/>
                  </a:moveTo>
                  <a:lnTo>
                    <a:pt x="1084" y="632"/>
                  </a:lnTo>
                  <a:lnTo>
                    <a:pt x="1086" y="632"/>
                  </a:lnTo>
                  <a:lnTo>
                    <a:pt x="1084" y="632"/>
                  </a:lnTo>
                  <a:lnTo>
                    <a:pt x="1086" y="632"/>
                  </a:lnTo>
                  <a:close/>
                  <a:moveTo>
                    <a:pt x="1082" y="629"/>
                  </a:moveTo>
                  <a:lnTo>
                    <a:pt x="1084" y="629"/>
                  </a:lnTo>
                  <a:lnTo>
                    <a:pt x="1082" y="629"/>
                  </a:lnTo>
                  <a:lnTo>
                    <a:pt x="1084" y="629"/>
                  </a:lnTo>
                  <a:lnTo>
                    <a:pt x="1084" y="632"/>
                  </a:lnTo>
                  <a:lnTo>
                    <a:pt x="1082" y="632"/>
                  </a:lnTo>
                  <a:lnTo>
                    <a:pt x="1082" y="629"/>
                  </a:lnTo>
                  <a:lnTo>
                    <a:pt x="1079" y="627"/>
                  </a:lnTo>
                  <a:lnTo>
                    <a:pt x="1082" y="627"/>
                  </a:lnTo>
                  <a:lnTo>
                    <a:pt x="1082" y="629"/>
                  </a:lnTo>
                  <a:lnTo>
                    <a:pt x="1082" y="627"/>
                  </a:lnTo>
                  <a:lnTo>
                    <a:pt x="1082" y="629"/>
                  </a:lnTo>
                  <a:lnTo>
                    <a:pt x="1084" y="629"/>
                  </a:lnTo>
                  <a:lnTo>
                    <a:pt x="1082" y="629"/>
                  </a:lnTo>
                  <a:lnTo>
                    <a:pt x="1082" y="627"/>
                  </a:lnTo>
                  <a:lnTo>
                    <a:pt x="1084" y="629"/>
                  </a:lnTo>
                  <a:lnTo>
                    <a:pt x="1082" y="629"/>
                  </a:lnTo>
                  <a:close/>
                  <a:moveTo>
                    <a:pt x="1082" y="624"/>
                  </a:moveTo>
                  <a:lnTo>
                    <a:pt x="1079" y="624"/>
                  </a:lnTo>
                  <a:lnTo>
                    <a:pt x="1082" y="624"/>
                  </a:lnTo>
                  <a:close/>
                  <a:moveTo>
                    <a:pt x="1079" y="622"/>
                  </a:moveTo>
                  <a:lnTo>
                    <a:pt x="1079" y="624"/>
                  </a:lnTo>
                  <a:lnTo>
                    <a:pt x="1079" y="622"/>
                  </a:lnTo>
                  <a:lnTo>
                    <a:pt x="1079" y="624"/>
                  </a:lnTo>
                  <a:lnTo>
                    <a:pt x="1079" y="622"/>
                  </a:lnTo>
                  <a:close/>
                  <a:moveTo>
                    <a:pt x="821" y="617"/>
                  </a:moveTo>
                  <a:lnTo>
                    <a:pt x="821" y="620"/>
                  </a:lnTo>
                  <a:lnTo>
                    <a:pt x="818" y="620"/>
                  </a:lnTo>
                  <a:lnTo>
                    <a:pt x="821" y="620"/>
                  </a:lnTo>
                  <a:lnTo>
                    <a:pt x="818" y="620"/>
                  </a:lnTo>
                  <a:lnTo>
                    <a:pt x="821" y="620"/>
                  </a:lnTo>
                  <a:lnTo>
                    <a:pt x="821" y="617"/>
                  </a:lnTo>
                  <a:close/>
                  <a:moveTo>
                    <a:pt x="1079" y="620"/>
                  </a:moveTo>
                  <a:lnTo>
                    <a:pt x="1079" y="617"/>
                  </a:lnTo>
                  <a:lnTo>
                    <a:pt x="1082" y="617"/>
                  </a:lnTo>
                  <a:lnTo>
                    <a:pt x="1079" y="620"/>
                  </a:lnTo>
                  <a:lnTo>
                    <a:pt x="1079" y="617"/>
                  </a:lnTo>
                  <a:lnTo>
                    <a:pt x="1079" y="620"/>
                  </a:lnTo>
                  <a:lnTo>
                    <a:pt x="1079" y="617"/>
                  </a:lnTo>
                  <a:lnTo>
                    <a:pt x="1079" y="620"/>
                  </a:lnTo>
                  <a:lnTo>
                    <a:pt x="1079" y="617"/>
                  </a:lnTo>
                  <a:lnTo>
                    <a:pt x="1079" y="620"/>
                  </a:lnTo>
                  <a:close/>
                  <a:moveTo>
                    <a:pt x="1082" y="613"/>
                  </a:moveTo>
                  <a:lnTo>
                    <a:pt x="1082" y="615"/>
                  </a:lnTo>
                  <a:lnTo>
                    <a:pt x="1082" y="613"/>
                  </a:lnTo>
                  <a:lnTo>
                    <a:pt x="1082" y="615"/>
                  </a:lnTo>
                  <a:lnTo>
                    <a:pt x="1079" y="615"/>
                  </a:lnTo>
                  <a:lnTo>
                    <a:pt x="1082" y="613"/>
                  </a:lnTo>
                  <a:lnTo>
                    <a:pt x="1079" y="613"/>
                  </a:lnTo>
                  <a:lnTo>
                    <a:pt x="1082" y="613"/>
                  </a:lnTo>
                  <a:close/>
                  <a:moveTo>
                    <a:pt x="1079" y="608"/>
                  </a:moveTo>
                  <a:lnTo>
                    <a:pt x="1082" y="610"/>
                  </a:lnTo>
                  <a:lnTo>
                    <a:pt x="1079" y="610"/>
                  </a:lnTo>
                  <a:lnTo>
                    <a:pt x="1079" y="608"/>
                  </a:lnTo>
                  <a:lnTo>
                    <a:pt x="1082" y="608"/>
                  </a:lnTo>
                  <a:lnTo>
                    <a:pt x="1079" y="608"/>
                  </a:lnTo>
                  <a:close/>
                  <a:moveTo>
                    <a:pt x="1089" y="608"/>
                  </a:moveTo>
                  <a:lnTo>
                    <a:pt x="1086" y="608"/>
                  </a:lnTo>
                  <a:lnTo>
                    <a:pt x="1089" y="608"/>
                  </a:lnTo>
                  <a:close/>
                  <a:moveTo>
                    <a:pt x="1086" y="608"/>
                  </a:moveTo>
                  <a:lnTo>
                    <a:pt x="1089" y="608"/>
                  </a:lnTo>
                  <a:lnTo>
                    <a:pt x="1086" y="608"/>
                  </a:lnTo>
                  <a:close/>
                  <a:moveTo>
                    <a:pt x="1082" y="603"/>
                  </a:moveTo>
                  <a:lnTo>
                    <a:pt x="1082" y="605"/>
                  </a:lnTo>
                  <a:lnTo>
                    <a:pt x="1082" y="603"/>
                  </a:lnTo>
                  <a:lnTo>
                    <a:pt x="1079" y="603"/>
                  </a:lnTo>
                  <a:lnTo>
                    <a:pt x="1082" y="603"/>
                  </a:lnTo>
                  <a:lnTo>
                    <a:pt x="1079" y="603"/>
                  </a:lnTo>
                  <a:lnTo>
                    <a:pt x="1082" y="603"/>
                  </a:lnTo>
                  <a:close/>
                  <a:moveTo>
                    <a:pt x="1079" y="603"/>
                  </a:moveTo>
                  <a:lnTo>
                    <a:pt x="1077" y="603"/>
                  </a:lnTo>
                  <a:lnTo>
                    <a:pt x="1077" y="601"/>
                  </a:lnTo>
                  <a:lnTo>
                    <a:pt x="1079" y="601"/>
                  </a:lnTo>
                  <a:lnTo>
                    <a:pt x="1079" y="603"/>
                  </a:lnTo>
                  <a:lnTo>
                    <a:pt x="1079" y="605"/>
                  </a:lnTo>
                  <a:lnTo>
                    <a:pt x="1082" y="605"/>
                  </a:lnTo>
                  <a:lnTo>
                    <a:pt x="1079" y="605"/>
                  </a:lnTo>
                  <a:lnTo>
                    <a:pt x="1079" y="608"/>
                  </a:lnTo>
                  <a:lnTo>
                    <a:pt x="1079" y="610"/>
                  </a:lnTo>
                  <a:lnTo>
                    <a:pt x="1079" y="608"/>
                  </a:lnTo>
                  <a:lnTo>
                    <a:pt x="1079" y="610"/>
                  </a:lnTo>
                  <a:lnTo>
                    <a:pt x="1079" y="613"/>
                  </a:lnTo>
                  <a:lnTo>
                    <a:pt x="1079" y="615"/>
                  </a:lnTo>
                  <a:lnTo>
                    <a:pt x="1077" y="615"/>
                  </a:lnTo>
                  <a:lnTo>
                    <a:pt x="1077" y="613"/>
                  </a:lnTo>
                  <a:lnTo>
                    <a:pt x="1074" y="613"/>
                  </a:lnTo>
                  <a:lnTo>
                    <a:pt x="1074" y="610"/>
                  </a:lnTo>
                  <a:lnTo>
                    <a:pt x="1072" y="610"/>
                  </a:lnTo>
                  <a:lnTo>
                    <a:pt x="1072" y="608"/>
                  </a:lnTo>
                  <a:lnTo>
                    <a:pt x="1074" y="605"/>
                  </a:lnTo>
                  <a:lnTo>
                    <a:pt x="1072" y="605"/>
                  </a:lnTo>
                  <a:lnTo>
                    <a:pt x="1074" y="605"/>
                  </a:lnTo>
                  <a:lnTo>
                    <a:pt x="1072" y="605"/>
                  </a:lnTo>
                  <a:lnTo>
                    <a:pt x="1074" y="605"/>
                  </a:lnTo>
                  <a:lnTo>
                    <a:pt x="1072" y="605"/>
                  </a:lnTo>
                  <a:lnTo>
                    <a:pt x="1070" y="605"/>
                  </a:lnTo>
                  <a:lnTo>
                    <a:pt x="1070" y="603"/>
                  </a:lnTo>
                  <a:lnTo>
                    <a:pt x="1067" y="603"/>
                  </a:lnTo>
                  <a:lnTo>
                    <a:pt x="1070" y="603"/>
                  </a:lnTo>
                  <a:lnTo>
                    <a:pt x="1072" y="603"/>
                  </a:lnTo>
                  <a:lnTo>
                    <a:pt x="1074" y="603"/>
                  </a:lnTo>
                  <a:lnTo>
                    <a:pt x="1072" y="603"/>
                  </a:lnTo>
                  <a:lnTo>
                    <a:pt x="1074" y="603"/>
                  </a:lnTo>
                  <a:lnTo>
                    <a:pt x="1072" y="601"/>
                  </a:lnTo>
                  <a:lnTo>
                    <a:pt x="1074" y="601"/>
                  </a:lnTo>
                  <a:lnTo>
                    <a:pt x="1072" y="601"/>
                  </a:lnTo>
                  <a:lnTo>
                    <a:pt x="1074" y="601"/>
                  </a:lnTo>
                  <a:lnTo>
                    <a:pt x="1072" y="601"/>
                  </a:lnTo>
                  <a:lnTo>
                    <a:pt x="1072" y="598"/>
                  </a:lnTo>
                  <a:lnTo>
                    <a:pt x="1074" y="598"/>
                  </a:lnTo>
                  <a:lnTo>
                    <a:pt x="1074" y="601"/>
                  </a:lnTo>
                  <a:lnTo>
                    <a:pt x="1077" y="601"/>
                  </a:lnTo>
                  <a:lnTo>
                    <a:pt x="1077" y="603"/>
                  </a:lnTo>
                  <a:lnTo>
                    <a:pt x="1079" y="603"/>
                  </a:lnTo>
                  <a:close/>
                  <a:moveTo>
                    <a:pt x="1074" y="601"/>
                  </a:moveTo>
                  <a:lnTo>
                    <a:pt x="1074" y="598"/>
                  </a:lnTo>
                  <a:lnTo>
                    <a:pt x="1074" y="601"/>
                  </a:lnTo>
                  <a:close/>
                  <a:moveTo>
                    <a:pt x="1060" y="598"/>
                  </a:moveTo>
                  <a:lnTo>
                    <a:pt x="1060" y="596"/>
                  </a:lnTo>
                  <a:lnTo>
                    <a:pt x="1060" y="598"/>
                  </a:lnTo>
                  <a:lnTo>
                    <a:pt x="1060" y="596"/>
                  </a:lnTo>
                  <a:lnTo>
                    <a:pt x="1060" y="598"/>
                  </a:lnTo>
                  <a:close/>
                  <a:moveTo>
                    <a:pt x="1060" y="598"/>
                  </a:moveTo>
                  <a:lnTo>
                    <a:pt x="1060" y="596"/>
                  </a:lnTo>
                  <a:lnTo>
                    <a:pt x="1060" y="598"/>
                  </a:lnTo>
                  <a:close/>
                  <a:moveTo>
                    <a:pt x="1074" y="596"/>
                  </a:moveTo>
                  <a:lnTo>
                    <a:pt x="1072" y="596"/>
                  </a:lnTo>
                  <a:lnTo>
                    <a:pt x="1074" y="596"/>
                  </a:lnTo>
                  <a:close/>
                  <a:moveTo>
                    <a:pt x="1060" y="596"/>
                  </a:moveTo>
                  <a:lnTo>
                    <a:pt x="1060" y="594"/>
                  </a:lnTo>
                  <a:lnTo>
                    <a:pt x="1060" y="596"/>
                  </a:lnTo>
                  <a:close/>
                  <a:moveTo>
                    <a:pt x="1060" y="594"/>
                  </a:moveTo>
                  <a:lnTo>
                    <a:pt x="1060" y="596"/>
                  </a:lnTo>
                  <a:lnTo>
                    <a:pt x="1060" y="594"/>
                  </a:lnTo>
                  <a:close/>
                  <a:moveTo>
                    <a:pt x="1074" y="596"/>
                  </a:moveTo>
                  <a:lnTo>
                    <a:pt x="1072" y="596"/>
                  </a:lnTo>
                  <a:lnTo>
                    <a:pt x="1072" y="594"/>
                  </a:lnTo>
                  <a:lnTo>
                    <a:pt x="1070" y="594"/>
                  </a:lnTo>
                  <a:lnTo>
                    <a:pt x="1070" y="596"/>
                  </a:lnTo>
                  <a:lnTo>
                    <a:pt x="1072" y="594"/>
                  </a:lnTo>
                  <a:lnTo>
                    <a:pt x="1074" y="594"/>
                  </a:lnTo>
                  <a:lnTo>
                    <a:pt x="1074" y="596"/>
                  </a:lnTo>
                  <a:close/>
                  <a:moveTo>
                    <a:pt x="1074" y="586"/>
                  </a:moveTo>
                  <a:lnTo>
                    <a:pt x="1074" y="589"/>
                  </a:lnTo>
                  <a:lnTo>
                    <a:pt x="1074" y="586"/>
                  </a:lnTo>
                  <a:close/>
                  <a:moveTo>
                    <a:pt x="1074" y="586"/>
                  </a:moveTo>
                  <a:lnTo>
                    <a:pt x="1074" y="589"/>
                  </a:lnTo>
                  <a:lnTo>
                    <a:pt x="1072" y="589"/>
                  </a:lnTo>
                  <a:lnTo>
                    <a:pt x="1072" y="591"/>
                  </a:lnTo>
                  <a:lnTo>
                    <a:pt x="1072" y="589"/>
                  </a:lnTo>
                  <a:lnTo>
                    <a:pt x="1074" y="589"/>
                  </a:lnTo>
                  <a:lnTo>
                    <a:pt x="1074" y="586"/>
                  </a:lnTo>
                  <a:close/>
                  <a:moveTo>
                    <a:pt x="1070" y="579"/>
                  </a:moveTo>
                  <a:lnTo>
                    <a:pt x="1067" y="579"/>
                  </a:lnTo>
                  <a:lnTo>
                    <a:pt x="1070" y="579"/>
                  </a:lnTo>
                  <a:close/>
                  <a:moveTo>
                    <a:pt x="1070" y="579"/>
                  </a:moveTo>
                  <a:lnTo>
                    <a:pt x="1070" y="582"/>
                  </a:lnTo>
                  <a:lnTo>
                    <a:pt x="1070" y="579"/>
                  </a:lnTo>
                  <a:lnTo>
                    <a:pt x="1067" y="579"/>
                  </a:lnTo>
                  <a:lnTo>
                    <a:pt x="1070" y="579"/>
                  </a:lnTo>
                  <a:lnTo>
                    <a:pt x="1067" y="579"/>
                  </a:lnTo>
                  <a:lnTo>
                    <a:pt x="1070" y="579"/>
                  </a:lnTo>
                  <a:close/>
                  <a:moveTo>
                    <a:pt x="1067" y="579"/>
                  </a:moveTo>
                  <a:lnTo>
                    <a:pt x="1070" y="579"/>
                  </a:lnTo>
                  <a:lnTo>
                    <a:pt x="1067" y="579"/>
                  </a:lnTo>
                  <a:close/>
                  <a:moveTo>
                    <a:pt x="1074" y="584"/>
                  </a:moveTo>
                  <a:lnTo>
                    <a:pt x="1072" y="584"/>
                  </a:lnTo>
                  <a:lnTo>
                    <a:pt x="1074" y="584"/>
                  </a:lnTo>
                  <a:lnTo>
                    <a:pt x="1077" y="584"/>
                  </a:lnTo>
                  <a:lnTo>
                    <a:pt x="1074" y="584"/>
                  </a:lnTo>
                  <a:lnTo>
                    <a:pt x="1074" y="586"/>
                  </a:lnTo>
                  <a:lnTo>
                    <a:pt x="1072" y="586"/>
                  </a:lnTo>
                  <a:lnTo>
                    <a:pt x="1072" y="589"/>
                  </a:lnTo>
                  <a:lnTo>
                    <a:pt x="1070" y="589"/>
                  </a:lnTo>
                  <a:lnTo>
                    <a:pt x="1072" y="591"/>
                  </a:lnTo>
                  <a:lnTo>
                    <a:pt x="1070" y="591"/>
                  </a:lnTo>
                  <a:lnTo>
                    <a:pt x="1067" y="591"/>
                  </a:lnTo>
                  <a:lnTo>
                    <a:pt x="1065" y="591"/>
                  </a:lnTo>
                  <a:lnTo>
                    <a:pt x="1065" y="589"/>
                  </a:lnTo>
                  <a:lnTo>
                    <a:pt x="1065" y="586"/>
                  </a:lnTo>
                  <a:lnTo>
                    <a:pt x="1065" y="584"/>
                  </a:lnTo>
                  <a:lnTo>
                    <a:pt x="1063" y="584"/>
                  </a:lnTo>
                  <a:lnTo>
                    <a:pt x="1063" y="582"/>
                  </a:lnTo>
                  <a:lnTo>
                    <a:pt x="1065" y="582"/>
                  </a:lnTo>
                  <a:lnTo>
                    <a:pt x="1065" y="579"/>
                  </a:lnTo>
                  <a:lnTo>
                    <a:pt x="1065" y="577"/>
                  </a:lnTo>
                  <a:lnTo>
                    <a:pt x="1067" y="577"/>
                  </a:lnTo>
                  <a:lnTo>
                    <a:pt x="1070" y="577"/>
                  </a:lnTo>
                  <a:lnTo>
                    <a:pt x="1070" y="579"/>
                  </a:lnTo>
                  <a:lnTo>
                    <a:pt x="1070" y="577"/>
                  </a:lnTo>
                  <a:lnTo>
                    <a:pt x="1067" y="577"/>
                  </a:lnTo>
                  <a:lnTo>
                    <a:pt x="1070" y="579"/>
                  </a:lnTo>
                  <a:lnTo>
                    <a:pt x="1067" y="579"/>
                  </a:lnTo>
                  <a:lnTo>
                    <a:pt x="1067" y="582"/>
                  </a:lnTo>
                  <a:lnTo>
                    <a:pt x="1067" y="579"/>
                  </a:lnTo>
                  <a:lnTo>
                    <a:pt x="1067" y="582"/>
                  </a:lnTo>
                  <a:lnTo>
                    <a:pt x="1070" y="582"/>
                  </a:lnTo>
                  <a:lnTo>
                    <a:pt x="1070" y="579"/>
                  </a:lnTo>
                  <a:lnTo>
                    <a:pt x="1070" y="582"/>
                  </a:lnTo>
                  <a:lnTo>
                    <a:pt x="1070" y="579"/>
                  </a:lnTo>
                  <a:lnTo>
                    <a:pt x="1070" y="582"/>
                  </a:lnTo>
                  <a:lnTo>
                    <a:pt x="1070" y="579"/>
                  </a:lnTo>
                  <a:lnTo>
                    <a:pt x="1070" y="582"/>
                  </a:lnTo>
                  <a:lnTo>
                    <a:pt x="1070" y="579"/>
                  </a:lnTo>
                  <a:lnTo>
                    <a:pt x="1070" y="577"/>
                  </a:lnTo>
                  <a:lnTo>
                    <a:pt x="1072" y="577"/>
                  </a:lnTo>
                  <a:lnTo>
                    <a:pt x="1070" y="577"/>
                  </a:lnTo>
                  <a:lnTo>
                    <a:pt x="1072" y="577"/>
                  </a:lnTo>
                  <a:lnTo>
                    <a:pt x="1070" y="577"/>
                  </a:lnTo>
                  <a:lnTo>
                    <a:pt x="1072" y="577"/>
                  </a:lnTo>
                  <a:lnTo>
                    <a:pt x="1072" y="579"/>
                  </a:lnTo>
                  <a:lnTo>
                    <a:pt x="1072" y="582"/>
                  </a:lnTo>
                  <a:lnTo>
                    <a:pt x="1072" y="584"/>
                  </a:lnTo>
                  <a:lnTo>
                    <a:pt x="1074" y="584"/>
                  </a:lnTo>
                  <a:close/>
                  <a:moveTo>
                    <a:pt x="1067" y="582"/>
                  </a:moveTo>
                  <a:lnTo>
                    <a:pt x="1065" y="582"/>
                  </a:lnTo>
                  <a:lnTo>
                    <a:pt x="1067" y="582"/>
                  </a:lnTo>
                  <a:lnTo>
                    <a:pt x="1067" y="584"/>
                  </a:lnTo>
                  <a:lnTo>
                    <a:pt x="1067" y="582"/>
                  </a:lnTo>
                  <a:close/>
                  <a:moveTo>
                    <a:pt x="1096" y="572"/>
                  </a:moveTo>
                  <a:lnTo>
                    <a:pt x="1096" y="570"/>
                  </a:lnTo>
                  <a:lnTo>
                    <a:pt x="1096" y="572"/>
                  </a:lnTo>
                  <a:lnTo>
                    <a:pt x="1093" y="570"/>
                  </a:lnTo>
                  <a:lnTo>
                    <a:pt x="1096" y="570"/>
                  </a:lnTo>
                  <a:lnTo>
                    <a:pt x="1098" y="572"/>
                  </a:lnTo>
                  <a:lnTo>
                    <a:pt x="1096" y="572"/>
                  </a:lnTo>
                  <a:close/>
                  <a:moveTo>
                    <a:pt x="1105" y="563"/>
                  </a:moveTo>
                  <a:lnTo>
                    <a:pt x="1105" y="565"/>
                  </a:lnTo>
                  <a:lnTo>
                    <a:pt x="1105" y="563"/>
                  </a:lnTo>
                  <a:lnTo>
                    <a:pt x="1105" y="565"/>
                  </a:lnTo>
                  <a:lnTo>
                    <a:pt x="1105" y="563"/>
                  </a:lnTo>
                  <a:lnTo>
                    <a:pt x="1105" y="565"/>
                  </a:lnTo>
                  <a:lnTo>
                    <a:pt x="1105" y="563"/>
                  </a:lnTo>
                  <a:lnTo>
                    <a:pt x="1108" y="563"/>
                  </a:lnTo>
                  <a:lnTo>
                    <a:pt x="1105" y="563"/>
                  </a:lnTo>
                  <a:lnTo>
                    <a:pt x="1108" y="563"/>
                  </a:lnTo>
                  <a:lnTo>
                    <a:pt x="1108" y="560"/>
                  </a:lnTo>
                  <a:lnTo>
                    <a:pt x="1108" y="563"/>
                  </a:lnTo>
                  <a:lnTo>
                    <a:pt x="1108" y="565"/>
                  </a:lnTo>
                  <a:lnTo>
                    <a:pt x="1105" y="565"/>
                  </a:lnTo>
                  <a:lnTo>
                    <a:pt x="1103" y="565"/>
                  </a:lnTo>
                  <a:lnTo>
                    <a:pt x="1101" y="565"/>
                  </a:lnTo>
                  <a:lnTo>
                    <a:pt x="1103" y="565"/>
                  </a:lnTo>
                  <a:lnTo>
                    <a:pt x="1105" y="565"/>
                  </a:lnTo>
                  <a:lnTo>
                    <a:pt x="1108" y="565"/>
                  </a:lnTo>
                  <a:lnTo>
                    <a:pt x="1108" y="563"/>
                  </a:lnTo>
                  <a:lnTo>
                    <a:pt x="1108" y="560"/>
                  </a:lnTo>
                  <a:lnTo>
                    <a:pt x="1110" y="560"/>
                  </a:lnTo>
                  <a:lnTo>
                    <a:pt x="1108" y="563"/>
                  </a:lnTo>
                  <a:lnTo>
                    <a:pt x="1108" y="565"/>
                  </a:lnTo>
                  <a:lnTo>
                    <a:pt x="1105" y="565"/>
                  </a:lnTo>
                  <a:lnTo>
                    <a:pt x="1108" y="565"/>
                  </a:lnTo>
                  <a:lnTo>
                    <a:pt x="1105" y="565"/>
                  </a:lnTo>
                  <a:lnTo>
                    <a:pt x="1108" y="565"/>
                  </a:lnTo>
                  <a:lnTo>
                    <a:pt x="1105" y="565"/>
                  </a:lnTo>
                  <a:lnTo>
                    <a:pt x="1103" y="565"/>
                  </a:lnTo>
                  <a:lnTo>
                    <a:pt x="1103" y="567"/>
                  </a:lnTo>
                  <a:lnTo>
                    <a:pt x="1103" y="565"/>
                  </a:lnTo>
                  <a:lnTo>
                    <a:pt x="1105" y="565"/>
                  </a:lnTo>
                  <a:lnTo>
                    <a:pt x="1108" y="565"/>
                  </a:lnTo>
                  <a:lnTo>
                    <a:pt x="1105" y="567"/>
                  </a:lnTo>
                  <a:lnTo>
                    <a:pt x="1103" y="567"/>
                  </a:lnTo>
                  <a:lnTo>
                    <a:pt x="1103" y="570"/>
                  </a:lnTo>
                  <a:lnTo>
                    <a:pt x="1103" y="567"/>
                  </a:lnTo>
                  <a:lnTo>
                    <a:pt x="1103" y="570"/>
                  </a:lnTo>
                  <a:lnTo>
                    <a:pt x="1101" y="570"/>
                  </a:lnTo>
                  <a:lnTo>
                    <a:pt x="1098" y="570"/>
                  </a:lnTo>
                  <a:lnTo>
                    <a:pt x="1101" y="570"/>
                  </a:lnTo>
                  <a:lnTo>
                    <a:pt x="1101" y="572"/>
                  </a:lnTo>
                  <a:lnTo>
                    <a:pt x="1098" y="572"/>
                  </a:lnTo>
                  <a:lnTo>
                    <a:pt x="1096" y="570"/>
                  </a:lnTo>
                  <a:lnTo>
                    <a:pt x="1093" y="570"/>
                  </a:lnTo>
                  <a:lnTo>
                    <a:pt x="1091" y="570"/>
                  </a:lnTo>
                  <a:lnTo>
                    <a:pt x="1091" y="567"/>
                  </a:lnTo>
                  <a:lnTo>
                    <a:pt x="1093" y="567"/>
                  </a:lnTo>
                  <a:lnTo>
                    <a:pt x="1096" y="567"/>
                  </a:lnTo>
                  <a:lnTo>
                    <a:pt x="1093" y="567"/>
                  </a:lnTo>
                  <a:lnTo>
                    <a:pt x="1091" y="567"/>
                  </a:lnTo>
                  <a:lnTo>
                    <a:pt x="1091" y="570"/>
                  </a:lnTo>
                  <a:lnTo>
                    <a:pt x="1089" y="570"/>
                  </a:lnTo>
                  <a:lnTo>
                    <a:pt x="1086" y="570"/>
                  </a:lnTo>
                  <a:lnTo>
                    <a:pt x="1086" y="567"/>
                  </a:lnTo>
                  <a:lnTo>
                    <a:pt x="1089" y="567"/>
                  </a:lnTo>
                  <a:lnTo>
                    <a:pt x="1091" y="567"/>
                  </a:lnTo>
                  <a:lnTo>
                    <a:pt x="1093" y="567"/>
                  </a:lnTo>
                  <a:lnTo>
                    <a:pt x="1091" y="567"/>
                  </a:lnTo>
                  <a:lnTo>
                    <a:pt x="1093" y="567"/>
                  </a:lnTo>
                  <a:lnTo>
                    <a:pt x="1093" y="565"/>
                  </a:lnTo>
                  <a:lnTo>
                    <a:pt x="1096" y="565"/>
                  </a:lnTo>
                  <a:lnTo>
                    <a:pt x="1098" y="565"/>
                  </a:lnTo>
                  <a:lnTo>
                    <a:pt x="1101" y="565"/>
                  </a:lnTo>
                  <a:lnTo>
                    <a:pt x="1101" y="563"/>
                  </a:lnTo>
                  <a:lnTo>
                    <a:pt x="1103" y="563"/>
                  </a:lnTo>
                  <a:lnTo>
                    <a:pt x="1103" y="565"/>
                  </a:lnTo>
                  <a:lnTo>
                    <a:pt x="1101" y="565"/>
                  </a:lnTo>
                  <a:lnTo>
                    <a:pt x="1103" y="565"/>
                  </a:lnTo>
                  <a:lnTo>
                    <a:pt x="1101" y="565"/>
                  </a:lnTo>
                  <a:lnTo>
                    <a:pt x="1098" y="565"/>
                  </a:lnTo>
                  <a:lnTo>
                    <a:pt x="1101" y="565"/>
                  </a:lnTo>
                  <a:lnTo>
                    <a:pt x="1098" y="565"/>
                  </a:lnTo>
                  <a:lnTo>
                    <a:pt x="1098" y="567"/>
                  </a:lnTo>
                  <a:lnTo>
                    <a:pt x="1098" y="565"/>
                  </a:lnTo>
                  <a:lnTo>
                    <a:pt x="1101" y="565"/>
                  </a:lnTo>
                  <a:lnTo>
                    <a:pt x="1098" y="565"/>
                  </a:lnTo>
                  <a:lnTo>
                    <a:pt x="1101" y="565"/>
                  </a:lnTo>
                  <a:lnTo>
                    <a:pt x="1103" y="565"/>
                  </a:lnTo>
                  <a:lnTo>
                    <a:pt x="1103" y="563"/>
                  </a:lnTo>
                  <a:lnTo>
                    <a:pt x="1105" y="563"/>
                  </a:lnTo>
                  <a:lnTo>
                    <a:pt x="1105" y="560"/>
                  </a:lnTo>
                  <a:lnTo>
                    <a:pt x="1108" y="560"/>
                  </a:lnTo>
                  <a:lnTo>
                    <a:pt x="1108" y="558"/>
                  </a:lnTo>
                  <a:lnTo>
                    <a:pt x="1110" y="558"/>
                  </a:lnTo>
                  <a:lnTo>
                    <a:pt x="1108" y="558"/>
                  </a:lnTo>
                  <a:lnTo>
                    <a:pt x="1108" y="560"/>
                  </a:lnTo>
                  <a:lnTo>
                    <a:pt x="1110" y="560"/>
                  </a:lnTo>
                  <a:lnTo>
                    <a:pt x="1108" y="560"/>
                  </a:lnTo>
                  <a:lnTo>
                    <a:pt x="1110" y="560"/>
                  </a:lnTo>
                  <a:lnTo>
                    <a:pt x="1108" y="560"/>
                  </a:lnTo>
                  <a:lnTo>
                    <a:pt x="1108" y="563"/>
                  </a:lnTo>
                  <a:lnTo>
                    <a:pt x="1105" y="563"/>
                  </a:lnTo>
                  <a:close/>
                  <a:moveTo>
                    <a:pt x="1103" y="567"/>
                  </a:moveTo>
                  <a:lnTo>
                    <a:pt x="1101" y="567"/>
                  </a:lnTo>
                  <a:lnTo>
                    <a:pt x="1103" y="567"/>
                  </a:lnTo>
                  <a:lnTo>
                    <a:pt x="1103" y="565"/>
                  </a:lnTo>
                  <a:lnTo>
                    <a:pt x="1103" y="567"/>
                  </a:lnTo>
                  <a:close/>
                  <a:moveTo>
                    <a:pt x="1093" y="567"/>
                  </a:moveTo>
                  <a:lnTo>
                    <a:pt x="1096" y="567"/>
                  </a:lnTo>
                  <a:lnTo>
                    <a:pt x="1093" y="565"/>
                  </a:lnTo>
                  <a:lnTo>
                    <a:pt x="1093" y="567"/>
                  </a:lnTo>
                  <a:close/>
                  <a:moveTo>
                    <a:pt x="1098" y="567"/>
                  </a:moveTo>
                  <a:lnTo>
                    <a:pt x="1096" y="567"/>
                  </a:lnTo>
                  <a:lnTo>
                    <a:pt x="1098" y="567"/>
                  </a:lnTo>
                  <a:close/>
                  <a:moveTo>
                    <a:pt x="1124" y="558"/>
                  </a:moveTo>
                  <a:lnTo>
                    <a:pt x="1122" y="558"/>
                  </a:lnTo>
                  <a:lnTo>
                    <a:pt x="1119" y="558"/>
                  </a:lnTo>
                  <a:lnTo>
                    <a:pt x="1122" y="558"/>
                  </a:lnTo>
                  <a:lnTo>
                    <a:pt x="1124" y="558"/>
                  </a:lnTo>
                  <a:lnTo>
                    <a:pt x="1122" y="558"/>
                  </a:lnTo>
                  <a:lnTo>
                    <a:pt x="1119" y="558"/>
                  </a:lnTo>
                  <a:lnTo>
                    <a:pt x="1119" y="560"/>
                  </a:lnTo>
                  <a:lnTo>
                    <a:pt x="1122" y="560"/>
                  </a:lnTo>
                  <a:lnTo>
                    <a:pt x="1122" y="558"/>
                  </a:lnTo>
                  <a:lnTo>
                    <a:pt x="1122" y="560"/>
                  </a:lnTo>
                  <a:lnTo>
                    <a:pt x="1122" y="558"/>
                  </a:lnTo>
                  <a:lnTo>
                    <a:pt x="1124" y="558"/>
                  </a:lnTo>
                  <a:lnTo>
                    <a:pt x="1124" y="560"/>
                  </a:lnTo>
                  <a:lnTo>
                    <a:pt x="1122" y="560"/>
                  </a:lnTo>
                  <a:lnTo>
                    <a:pt x="1119" y="560"/>
                  </a:lnTo>
                  <a:lnTo>
                    <a:pt x="1122" y="560"/>
                  </a:lnTo>
                  <a:lnTo>
                    <a:pt x="1119" y="560"/>
                  </a:lnTo>
                  <a:lnTo>
                    <a:pt x="1119" y="563"/>
                  </a:lnTo>
                  <a:lnTo>
                    <a:pt x="1117" y="563"/>
                  </a:lnTo>
                  <a:lnTo>
                    <a:pt x="1117" y="565"/>
                  </a:lnTo>
                  <a:lnTo>
                    <a:pt x="1115" y="565"/>
                  </a:lnTo>
                  <a:lnTo>
                    <a:pt x="1112" y="565"/>
                  </a:lnTo>
                  <a:lnTo>
                    <a:pt x="1110" y="565"/>
                  </a:lnTo>
                  <a:lnTo>
                    <a:pt x="1110" y="563"/>
                  </a:lnTo>
                  <a:lnTo>
                    <a:pt x="1112" y="563"/>
                  </a:lnTo>
                  <a:lnTo>
                    <a:pt x="1112" y="560"/>
                  </a:lnTo>
                  <a:lnTo>
                    <a:pt x="1115" y="558"/>
                  </a:lnTo>
                  <a:lnTo>
                    <a:pt x="1117" y="558"/>
                  </a:lnTo>
                  <a:lnTo>
                    <a:pt x="1119" y="558"/>
                  </a:lnTo>
                  <a:lnTo>
                    <a:pt x="1122" y="558"/>
                  </a:lnTo>
                  <a:lnTo>
                    <a:pt x="1124" y="558"/>
                  </a:lnTo>
                  <a:close/>
                  <a:moveTo>
                    <a:pt x="1122" y="544"/>
                  </a:moveTo>
                  <a:lnTo>
                    <a:pt x="1122" y="546"/>
                  </a:lnTo>
                  <a:lnTo>
                    <a:pt x="1122" y="544"/>
                  </a:lnTo>
                  <a:close/>
                  <a:moveTo>
                    <a:pt x="1138" y="537"/>
                  </a:moveTo>
                  <a:lnTo>
                    <a:pt x="1138" y="539"/>
                  </a:lnTo>
                  <a:lnTo>
                    <a:pt x="1141" y="539"/>
                  </a:lnTo>
                  <a:lnTo>
                    <a:pt x="1138" y="541"/>
                  </a:lnTo>
                  <a:lnTo>
                    <a:pt x="1138" y="544"/>
                  </a:lnTo>
                  <a:lnTo>
                    <a:pt x="1136" y="541"/>
                  </a:lnTo>
                  <a:lnTo>
                    <a:pt x="1136" y="539"/>
                  </a:lnTo>
                  <a:lnTo>
                    <a:pt x="1136" y="541"/>
                  </a:lnTo>
                  <a:lnTo>
                    <a:pt x="1138" y="539"/>
                  </a:lnTo>
                  <a:lnTo>
                    <a:pt x="1138" y="541"/>
                  </a:lnTo>
                  <a:lnTo>
                    <a:pt x="1136" y="541"/>
                  </a:lnTo>
                  <a:lnTo>
                    <a:pt x="1138" y="541"/>
                  </a:lnTo>
                  <a:lnTo>
                    <a:pt x="1138" y="539"/>
                  </a:lnTo>
                  <a:lnTo>
                    <a:pt x="1138" y="537"/>
                  </a:lnTo>
                  <a:close/>
                  <a:moveTo>
                    <a:pt x="1138" y="539"/>
                  </a:moveTo>
                  <a:lnTo>
                    <a:pt x="1138" y="541"/>
                  </a:lnTo>
                  <a:lnTo>
                    <a:pt x="1138" y="539"/>
                  </a:lnTo>
                  <a:close/>
                  <a:moveTo>
                    <a:pt x="1136" y="544"/>
                  </a:moveTo>
                  <a:lnTo>
                    <a:pt x="1138" y="544"/>
                  </a:lnTo>
                  <a:lnTo>
                    <a:pt x="1138" y="546"/>
                  </a:lnTo>
                  <a:lnTo>
                    <a:pt x="1138" y="544"/>
                  </a:lnTo>
                  <a:lnTo>
                    <a:pt x="1138" y="546"/>
                  </a:lnTo>
                  <a:lnTo>
                    <a:pt x="1136" y="548"/>
                  </a:lnTo>
                  <a:lnTo>
                    <a:pt x="1134" y="548"/>
                  </a:lnTo>
                  <a:lnTo>
                    <a:pt x="1134" y="551"/>
                  </a:lnTo>
                  <a:lnTo>
                    <a:pt x="1131" y="551"/>
                  </a:lnTo>
                  <a:lnTo>
                    <a:pt x="1129" y="551"/>
                  </a:lnTo>
                  <a:lnTo>
                    <a:pt x="1129" y="553"/>
                  </a:lnTo>
                  <a:lnTo>
                    <a:pt x="1129" y="551"/>
                  </a:lnTo>
                  <a:lnTo>
                    <a:pt x="1131" y="551"/>
                  </a:lnTo>
                  <a:lnTo>
                    <a:pt x="1129" y="551"/>
                  </a:lnTo>
                  <a:lnTo>
                    <a:pt x="1129" y="553"/>
                  </a:lnTo>
                  <a:lnTo>
                    <a:pt x="1129" y="551"/>
                  </a:lnTo>
                  <a:lnTo>
                    <a:pt x="1129" y="553"/>
                  </a:lnTo>
                  <a:lnTo>
                    <a:pt x="1127" y="551"/>
                  </a:lnTo>
                  <a:lnTo>
                    <a:pt x="1127" y="553"/>
                  </a:lnTo>
                  <a:lnTo>
                    <a:pt x="1127" y="551"/>
                  </a:lnTo>
                  <a:lnTo>
                    <a:pt x="1127" y="548"/>
                  </a:lnTo>
                  <a:lnTo>
                    <a:pt x="1129" y="548"/>
                  </a:lnTo>
                  <a:lnTo>
                    <a:pt x="1129" y="546"/>
                  </a:lnTo>
                  <a:lnTo>
                    <a:pt x="1131" y="546"/>
                  </a:lnTo>
                  <a:lnTo>
                    <a:pt x="1131" y="544"/>
                  </a:lnTo>
                  <a:lnTo>
                    <a:pt x="1131" y="541"/>
                  </a:lnTo>
                  <a:lnTo>
                    <a:pt x="1131" y="544"/>
                  </a:lnTo>
                  <a:lnTo>
                    <a:pt x="1131" y="546"/>
                  </a:lnTo>
                  <a:lnTo>
                    <a:pt x="1129" y="546"/>
                  </a:lnTo>
                  <a:lnTo>
                    <a:pt x="1129" y="548"/>
                  </a:lnTo>
                  <a:lnTo>
                    <a:pt x="1127" y="548"/>
                  </a:lnTo>
                  <a:lnTo>
                    <a:pt x="1127" y="551"/>
                  </a:lnTo>
                  <a:lnTo>
                    <a:pt x="1127" y="553"/>
                  </a:lnTo>
                  <a:lnTo>
                    <a:pt x="1127" y="551"/>
                  </a:lnTo>
                  <a:lnTo>
                    <a:pt x="1127" y="553"/>
                  </a:lnTo>
                  <a:lnTo>
                    <a:pt x="1124" y="556"/>
                  </a:lnTo>
                  <a:lnTo>
                    <a:pt x="1122" y="556"/>
                  </a:lnTo>
                  <a:lnTo>
                    <a:pt x="1119" y="558"/>
                  </a:lnTo>
                  <a:lnTo>
                    <a:pt x="1117" y="558"/>
                  </a:lnTo>
                  <a:lnTo>
                    <a:pt x="1115" y="558"/>
                  </a:lnTo>
                  <a:lnTo>
                    <a:pt x="1112" y="558"/>
                  </a:lnTo>
                  <a:lnTo>
                    <a:pt x="1115" y="558"/>
                  </a:lnTo>
                  <a:lnTo>
                    <a:pt x="1117" y="558"/>
                  </a:lnTo>
                  <a:lnTo>
                    <a:pt x="1115" y="558"/>
                  </a:lnTo>
                  <a:lnTo>
                    <a:pt x="1112" y="558"/>
                  </a:lnTo>
                  <a:lnTo>
                    <a:pt x="1110" y="560"/>
                  </a:lnTo>
                  <a:lnTo>
                    <a:pt x="1112" y="558"/>
                  </a:lnTo>
                  <a:lnTo>
                    <a:pt x="1112" y="560"/>
                  </a:lnTo>
                  <a:lnTo>
                    <a:pt x="1110" y="560"/>
                  </a:lnTo>
                  <a:lnTo>
                    <a:pt x="1110" y="558"/>
                  </a:lnTo>
                  <a:lnTo>
                    <a:pt x="1112" y="558"/>
                  </a:lnTo>
                  <a:lnTo>
                    <a:pt x="1112" y="556"/>
                  </a:lnTo>
                  <a:lnTo>
                    <a:pt x="1115" y="556"/>
                  </a:lnTo>
                  <a:lnTo>
                    <a:pt x="1112" y="556"/>
                  </a:lnTo>
                  <a:lnTo>
                    <a:pt x="1115" y="556"/>
                  </a:lnTo>
                  <a:lnTo>
                    <a:pt x="1115" y="553"/>
                  </a:lnTo>
                  <a:lnTo>
                    <a:pt x="1117" y="553"/>
                  </a:lnTo>
                  <a:lnTo>
                    <a:pt x="1119" y="553"/>
                  </a:lnTo>
                  <a:lnTo>
                    <a:pt x="1117" y="553"/>
                  </a:lnTo>
                  <a:lnTo>
                    <a:pt x="1117" y="551"/>
                  </a:lnTo>
                  <a:lnTo>
                    <a:pt x="1119" y="551"/>
                  </a:lnTo>
                  <a:lnTo>
                    <a:pt x="1122" y="551"/>
                  </a:lnTo>
                  <a:lnTo>
                    <a:pt x="1119" y="551"/>
                  </a:lnTo>
                  <a:lnTo>
                    <a:pt x="1122" y="551"/>
                  </a:lnTo>
                  <a:lnTo>
                    <a:pt x="1122" y="548"/>
                  </a:lnTo>
                  <a:lnTo>
                    <a:pt x="1122" y="546"/>
                  </a:lnTo>
                  <a:lnTo>
                    <a:pt x="1124" y="546"/>
                  </a:lnTo>
                  <a:lnTo>
                    <a:pt x="1122" y="544"/>
                  </a:lnTo>
                  <a:lnTo>
                    <a:pt x="1124" y="544"/>
                  </a:lnTo>
                  <a:lnTo>
                    <a:pt x="1124" y="541"/>
                  </a:lnTo>
                  <a:lnTo>
                    <a:pt x="1127" y="541"/>
                  </a:lnTo>
                  <a:lnTo>
                    <a:pt x="1127" y="544"/>
                  </a:lnTo>
                  <a:lnTo>
                    <a:pt x="1127" y="541"/>
                  </a:lnTo>
                  <a:lnTo>
                    <a:pt x="1129" y="541"/>
                  </a:lnTo>
                  <a:lnTo>
                    <a:pt x="1131" y="541"/>
                  </a:lnTo>
                  <a:lnTo>
                    <a:pt x="1129" y="541"/>
                  </a:lnTo>
                  <a:lnTo>
                    <a:pt x="1131" y="541"/>
                  </a:lnTo>
                  <a:lnTo>
                    <a:pt x="1131" y="539"/>
                  </a:lnTo>
                  <a:lnTo>
                    <a:pt x="1134" y="539"/>
                  </a:lnTo>
                  <a:lnTo>
                    <a:pt x="1131" y="541"/>
                  </a:lnTo>
                  <a:lnTo>
                    <a:pt x="1134" y="541"/>
                  </a:lnTo>
                  <a:lnTo>
                    <a:pt x="1131" y="541"/>
                  </a:lnTo>
                  <a:lnTo>
                    <a:pt x="1134" y="541"/>
                  </a:lnTo>
                  <a:lnTo>
                    <a:pt x="1131" y="541"/>
                  </a:lnTo>
                  <a:lnTo>
                    <a:pt x="1134" y="541"/>
                  </a:lnTo>
                  <a:lnTo>
                    <a:pt x="1134" y="539"/>
                  </a:lnTo>
                  <a:lnTo>
                    <a:pt x="1134" y="541"/>
                  </a:lnTo>
                  <a:lnTo>
                    <a:pt x="1134" y="544"/>
                  </a:lnTo>
                  <a:lnTo>
                    <a:pt x="1134" y="541"/>
                  </a:lnTo>
                  <a:lnTo>
                    <a:pt x="1134" y="544"/>
                  </a:lnTo>
                  <a:lnTo>
                    <a:pt x="1131" y="544"/>
                  </a:lnTo>
                  <a:lnTo>
                    <a:pt x="1134" y="544"/>
                  </a:lnTo>
                  <a:lnTo>
                    <a:pt x="1134" y="546"/>
                  </a:lnTo>
                  <a:lnTo>
                    <a:pt x="1131" y="546"/>
                  </a:lnTo>
                  <a:lnTo>
                    <a:pt x="1134" y="546"/>
                  </a:lnTo>
                  <a:lnTo>
                    <a:pt x="1134" y="544"/>
                  </a:lnTo>
                  <a:lnTo>
                    <a:pt x="1131" y="544"/>
                  </a:lnTo>
                  <a:lnTo>
                    <a:pt x="1134" y="544"/>
                  </a:lnTo>
                  <a:lnTo>
                    <a:pt x="1134" y="541"/>
                  </a:lnTo>
                  <a:lnTo>
                    <a:pt x="1134" y="539"/>
                  </a:lnTo>
                  <a:lnTo>
                    <a:pt x="1134" y="541"/>
                  </a:lnTo>
                  <a:lnTo>
                    <a:pt x="1134" y="544"/>
                  </a:lnTo>
                  <a:lnTo>
                    <a:pt x="1134" y="541"/>
                  </a:lnTo>
                  <a:lnTo>
                    <a:pt x="1136" y="541"/>
                  </a:lnTo>
                  <a:lnTo>
                    <a:pt x="1134" y="541"/>
                  </a:lnTo>
                  <a:lnTo>
                    <a:pt x="1134" y="539"/>
                  </a:lnTo>
                  <a:lnTo>
                    <a:pt x="1134" y="541"/>
                  </a:lnTo>
                  <a:lnTo>
                    <a:pt x="1136" y="541"/>
                  </a:lnTo>
                  <a:lnTo>
                    <a:pt x="1136" y="539"/>
                  </a:lnTo>
                  <a:lnTo>
                    <a:pt x="1136" y="537"/>
                  </a:lnTo>
                  <a:lnTo>
                    <a:pt x="1136" y="539"/>
                  </a:lnTo>
                  <a:lnTo>
                    <a:pt x="1138" y="539"/>
                  </a:lnTo>
                  <a:lnTo>
                    <a:pt x="1136" y="539"/>
                  </a:lnTo>
                  <a:lnTo>
                    <a:pt x="1136" y="541"/>
                  </a:lnTo>
                  <a:lnTo>
                    <a:pt x="1136" y="544"/>
                  </a:lnTo>
                  <a:close/>
                  <a:moveTo>
                    <a:pt x="1134" y="544"/>
                  </a:moveTo>
                  <a:lnTo>
                    <a:pt x="1131" y="544"/>
                  </a:lnTo>
                  <a:lnTo>
                    <a:pt x="1134" y="544"/>
                  </a:lnTo>
                  <a:close/>
                  <a:moveTo>
                    <a:pt x="1127" y="544"/>
                  </a:moveTo>
                  <a:lnTo>
                    <a:pt x="1124" y="544"/>
                  </a:lnTo>
                  <a:lnTo>
                    <a:pt x="1127" y="544"/>
                  </a:lnTo>
                  <a:lnTo>
                    <a:pt x="1124" y="544"/>
                  </a:lnTo>
                  <a:lnTo>
                    <a:pt x="1127" y="544"/>
                  </a:lnTo>
                  <a:lnTo>
                    <a:pt x="1127" y="546"/>
                  </a:lnTo>
                  <a:lnTo>
                    <a:pt x="1127" y="544"/>
                  </a:lnTo>
                  <a:close/>
                  <a:moveTo>
                    <a:pt x="1124" y="546"/>
                  </a:moveTo>
                  <a:lnTo>
                    <a:pt x="1127" y="546"/>
                  </a:lnTo>
                  <a:lnTo>
                    <a:pt x="1124" y="546"/>
                  </a:lnTo>
                  <a:close/>
                  <a:moveTo>
                    <a:pt x="1117" y="553"/>
                  </a:moveTo>
                  <a:lnTo>
                    <a:pt x="1117" y="556"/>
                  </a:lnTo>
                  <a:lnTo>
                    <a:pt x="1115" y="556"/>
                  </a:lnTo>
                  <a:lnTo>
                    <a:pt x="1117" y="556"/>
                  </a:lnTo>
                  <a:lnTo>
                    <a:pt x="1119" y="556"/>
                  </a:lnTo>
                  <a:lnTo>
                    <a:pt x="1117" y="556"/>
                  </a:lnTo>
                  <a:lnTo>
                    <a:pt x="1117" y="553"/>
                  </a:lnTo>
                  <a:lnTo>
                    <a:pt x="1119" y="553"/>
                  </a:lnTo>
                  <a:lnTo>
                    <a:pt x="1117" y="553"/>
                  </a:lnTo>
                  <a:close/>
                  <a:moveTo>
                    <a:pt x="1117" y="544"/>
                  </a:moveTo>
                  <a:lnTo>
                    <a:pt x="1119" y="544"/>
                  </a:lnTo>
                  <a:lnTo>
                    <a:pt x="1117" y="544"/>
                  </a:lnTo>
                  <a:lnTo>
                    <a:pt x="1119" y="544"/>
                  </a:lnTo>
                  <a:lnTo>
                    <a:pt x="1119" y="541"/>
                  </a:lnTo>
                  <a:lnTo>
                    <a:pt x="1119" y="544"/>
                  </a:lnTo>
                  <a:lnTo>
                    <a:pt x="1117" y="544"/>
                  </a:lnTo>
                  <a:lnTo>
                    <a:pt x="1117" y="546"/>
                  </a:lnTo>
                  <a:lnTo>
                    <a:pt x="1119" y="546"/>
                  </a:lnTo>
                  <a:lnTo>
                    <a:pt x="1117" y="546"/>
                  </a:lnTo>
                  <a:lnTo>
                    <a:pt x="1119" y="546"/>
                  </a:lnTo>
                  <a:lnTo>
                    <a:pt x="1117" y="546"/>
                  </a:lnTo>
                  <a:lnTo>
                    <a:pt x="1119" y="544"/>
                  </a:lnTo>
                  <a:lnTo>
                    <a:pt x="1122" y="544"/>
                  </a:lnTo>
                  <a:lnTo>
                    <a:pt x="1119" y="544"/>
                  </a:lnTo>
                  <a:lnTo>
                    <a:pt x="1122" y="546"/>
                  </a:lnTo>
                  <a:lnTo>
                    <a:pt x="1119" y="546"/>
                  </a:lnTo>
                  <a:lnTo>
                    <a:pt x="1119" y="548"/>
                  </a:lnTo>
                  <a:lnTo>
                    <a:pt x="1122" y="548"/>
                  </a:lnTo>
                  <a:lnTo>
                    <a:pt x="1122" y="551"/>
                  </a:lnTo>
                  <a:lnTo>
                    <a:pt x="1119" y="551"/>
                  </a:lnTo>
                  <a:lnTo>
                    <a:pt x="1117" y="551"/>
                  </a:lnTo>
                  <a:lnTo>
                    <a:pt x="1117" y="553"/>
                  </a:lnTo>
                  <a:lnTo>
                    <a:pt x="1115" y="553"/>
                  </a:lnTo>
                  <a:lnTo>
                    <a:pt x="1112" y="553"/>
                  </a:lnTo>
                  <a:lnTo>
                    <a:pt x="1112" y="551"/>
                  </a:lnTo>
                  <a:lnTo>
                    <a:pt x="1110" y="551"/>
                  </a:lnTo>
                  <a:lnTo>
                    <a:pt x="1112" y="551"/>
                  </a:lnTo>
                  <a:lnTo>
                    <a:pt x="1112" y="548"/>
                  </a:lnTo>
                  <a:lnTo>
                    <a:pt x="1115" y="548"/>
                  </a:lnTo>
                  <a:lnTo>
                    <a:pt x="1112" y="548"/>
                  </a:lnTo>
                  <a:lnTo>
                    <a:pt x="1112" y="551"/>
                  </a:lnTo>
                  <a:lnTo>
                    <a:pt x="1110" y="551"/>
                  </a:lnTo>
                  <a:lnTo>
                    <a:pt x="1112" y="551"/>
                  </a:lnTo>
                  <a:lnTo>
                    <a:pt x="1112" y="553"/>
                  </a:lnTo>
                  <a:lnTo>
                    <a:pt x="1112" y="556"/>
                  </a:lnTo>
                  <a:lnTo>
                    <a:pt x="1112" y="558"/>
                  </a:lnTo>
                  <a:lnTo>
                    <a:pt x="1110" y="558"/>
                  </a:lnTo>
                  <a:lnTo>
                    <a:pt x="1110" y="556"/>
                  </a:lnTo>
                  <a:lnTo>
                    <a:pt x="1108" y="556"/>
                  </a:lnTo>
                  <a:lnTo>
                    <a:pt x="1105" y="556"/>
                  </a:lnTo>
                  <a:lnTo>
                    <a:pt x="1103" y="556"/>
                  </a:lnTo>
                  <a:lnTo>
                    <a:pt x="1101" y="553"/>
                  </a:lnTo>
                  <a:lnTo>
                    <a:pt x="1103" y="553"/>
                  </a:lnTo>
                  <a:lnTo>
                    <a:pt x="1103" y="551"/>
                  </a:lnTo>
                  <a:lnTo>
                    <a:pt x="1105" y="551"/>
                  </a:lnTo>
                  <a:lnTo>
                    <a:pt x="1103" y="551"/>
                  </a:lnTo>
                  <a:lnTo>
                    <a:pt x="1101" y="551"/>
                  </a:lnTo>
                  <a:lnTo>
                    <a:pt x="1103" y="548"/>
                  </a:lnTo>
                  <a:lnTo>
                    <a:pt x="1103" y="546"/>
                  </a:lnTo>
                  <a:lnTo>
                    <a:pt x="1103" y="548"/>
                  </a:lnTo>
                  <a:lnTo>
                    <a:pt x="1103" y="546"/>
                  </a:lnTo>
                  <a:lnTo>
                    <a:pt x="1105" y="546"/>
                  </a:lnTo>
                  <a:lnTo>
                    <a:pt x="1105" y="544"/>
                  </a:lnTo>
                  <a:lnTo>
                    <a:pt x="1108" y="544"/>
                  </a:lnTo>
                  <a:lnTo>
                    <a:pt x="1105" y="544"/>
                  </a:lnTo>
                  <a:lnTo>
                    <a:pt x="1108" y="544"/>
                  </a:lnTo>
                  <a:lnTo>
                    <a:pt x="1108" y="541"/>
                  </a:lnTo>
                  <a:lnTo>
                    <a:pt x="1108" y="544"/>
                  </a:lnTo>
                  <a:lnTo>
                    <a:pt x="1108" y="541"/>
                  </a:lnTo>
                  <a:lnTo>
                    <a:pt x="1110" y="541"/>
                  </a:lnTo>
                  <a:lnTo>
                    <a:pt x="1110" y="544"/>
                  </a:lnTo>
                  <a:lnTo>
                    <a:pt x="1108" y="544"/>
                  </a:lnTo>
                  <a:lnTo>
                    <a:pt x="1110" y="541"/>
                  </a:lnTo>
                  <a:lnTo>
                    <a:pt x="1108" y="541"/>
                  </a:lnTo>
                  <a:lnTo>
                    <a:pt x="1110" y="541"/>
                  </a:lnTo>
                  <a:lnTo>
                    <a:pt x="1110" y="544"/>
                  </a:lnTo>
                  <a:lnTo>
                    <a:pt x="1108" y="544"/>
                  </a:lnTo>
                  <a:lnTo>
                    <a:pt x="1108" y="546"/>
                  </a:lnTo>
                  <a:lnTo>
                    <a:pt x="1110" y="546"/>
                  </a:lnTo>
                  <a:lnTo>
                    <a:pt x="1108" y="546"/>
                  </a:lnTo>
                  <a:lnTo>
                    <a:pt x="1110" y="546"/>
                  </a:lnTo>
                  <a:lnTo>
                    <a:pt x="1108" y="546"/>
                  </a:lnTo>
                  <a:lnTo>
                    <a:pt x="1108" y="544"/>
                  </a:lnTo>
                  <a:lnTo>
                    <a:pt x="1110" y="544"/>
                  </a:lnTo>
                  <a:lnTo>
                    <a:pt x="1110" y="541"/>
                  </a:lnTo>
                  <a:lnTo>
                    <a:pt x="1108" y="541"/>
                  </a:lnTo>
                  <a:lnTo>
                    <a:pt x="1108" y="539"/>
                  </a:lnTo>
                  <a:lnTo>
                    <a:pt x="1110" y="539"/>
                  </a:lnTo>
                  <a:lnTo>
                    <a:pt x="1112" y="539"/>
                  </a:lnTo>
                  <a:lnTo>
                    <a:pt x="1115" y="539"/>
                  </a:lnTo>
                  <a:lnTo>
                    <a:pt x="1115" y="537"/>
                  </a:lnTo>
                  <a:lnTo>
                    <a:pt x="1115" y="539"/>
                  </a:lnTo>
                  <a:lnTo>
                    <a:pt x="1117" y="539"/>
                  </a:lnTo>
                  <a:lnTo>
                    <a:pt x="1115" y="537"/>
                  </a:lnTo>
                  <a:lnTo>
                    <a:pt x="1117" y="537"/>
                  </a:lnTo>
                  <a:lnTo>
                    <a:pt x="1117" y="539"/>
                  </a:lnTo>
                  <a:lnTo>
                    <a:pt x="1117" y="537"/>
                  </a:lnTo>
                  <a:lnTo>
                    <a:pt x="1117" y="539"/>
                  </a:lnTo>
                  <a:lnTo>
                    <a:pt x="1117" y="541"/>
                  </a:lnTo>
                  <a:lnTo>
                    <a:pt x="1119" y="541"/>
                  </a:lnTo>
                  <a:lnTo>
                    <a:pt x="1117" y="544"/>
                  </a:lnTo>
                  <a:close/>
                  <a:moveTo>
                    <a:pt x="1112" y="541"/>
                  </a:moveTo>
                  <a:lnTo>
                    <a:pt x="1112" y="544"/>
                  </a:lnTo>
                  <a:lnTo>
                    <a:pt x="1112" y="541"/>
                  </a:lnTo>
                  <a:close/>
                  <a:moveTo>
                    <a:pt x="1112" y="541"/>
                  </a:moveTo>
                  <a:lnTo>
                    <a:pt x="1112" y="544"/>
                  </a:lnTo>
                  <a:lnTo>
                    <a:pt x="1112" y="541"/>
                  </a:lnTo>
                  <a:close/>
                  <a:moveTo>
                    <a:pt x="1112" y="541"/>
                  </a:moveTo>
                  <a:lnTo>
                    <a:pt x="1115" y="541"/>
                  </a:lnTo>
                  <a:lnTo>
                    <a:pt x="1112" y="541"/>
                  </a:lnTo>
                  <a:close/>
                  <a:moveTo>
                    <a:pt x="1115" y="539"/>
                  </a:moveTo>
                  <a:lnTo>
                    <a:pt x="1115" y="541"/>
                  </a:lnTo>
                  <a:lnTo>
                    <a:pt x="1115" y="539"/>
                  </a:lnTo>
                  <a:close/>
                  <a:moveTo>
                    <a:pt x="1112" y="546"/>
                  </a:moveTo>
                  <a:lnTo>
                    <a:pt x="1112" y="544"/>
                  </a:lnTo>
                  <a:lnTo>
                    <a:pt x="1112" y="546"/>
                  </a:lnTo>
                  <a:close/>
                  <a:moveTo>
                    <a:pt x="1110" y="548"/>
                  </a:moveTo>
                  <a:lnTo>
                    <a:pt x="1110" y="551"/>
                  </a:lnTo>
                  <a:lnTo>
                    <a:pt x="1110" y="548"/>
                  </a:lnTo>
                  <a:lnTo>
                    <a:pt x="1110" y="546"/>
                  </a:lnTo>
                  <a:lnTo>
                    <a:pt x="1112" y="546"/>
                  </a:lnTo>
                  <a:lnTo>
                    <a:pt x="1110" y="546"/>
                  </a:lnTo>
                  <a:lnTo>
                    <a:pt x="1110" y="548"/>
                  </a:lnTo>
                  <a:close/>
                  <a:moveTo>
                    <a:pt x="1115" y="546"/>
                  </a:moveTo>
                  <a:lnTo>
                    <a:pt x="1115" y="548"/>
                  </a:lnTo>
                  <a:lnTo>
                    <a:pt x="1115" y="546"/>
                  </a:lnTo>
                  <a:close/>
                  <a:moveTo>
                    <a:pt x="1105" y="551"/>
                  </a:moveTo>
                  <a:lnTo>
                    <a:pt x="1103" y="551"/>
                  </a:lnTo>
                  <a:lnTo>
                    <a:pt x="1105" y="551"/>
                  </a:lnTo>
                  <a:close/>
                  <a:moveTo>
                    <a:pt x="1105" y="551"/>
                  </a:moveTo>
                  <a:lnTo>
                    <a:pt x="1105" y="553"/>
                  </a:lnTo>
                  <a:lnTo>
                    <a:pt x="1105" y="551"/>
                  </a:lnTo>
                  <a:lnTo>
                    <a:pt x="1105" y="553"/>
                  </a:lnTo>
                  <a:lnTo>
                    <a:pt x="1105" y="551"/>
                  </a:lnTo>
                  <a:lnTo>
                    <a:pt x="1105" y="553"/>
                  </a:lnTo>
                  <a:lnTo>
                    <a:pt x="1105" y="551"/>
                  </a:lnTo>
                  <a:close/>
                  <a:moveTo>
                    <a:pt x="1108" y="553"/>
                  </a:moveTo>
                  <a:lnTo>
                    <a:pt x="1105" y="553"/>
                  </a:lnTo>
                  <a:lnTo>
                    <a:pt x="1108" y="553"/>
                  </a:lnTo>
                  <a:close/>
                  <a:moveTo>
                    <a:pt x="1112" y="556"/>
                  </a:moveTo>
                  <a:lnTo>
                    <a:pt x="1110" y="556"/>
                  </a:lnTo>
                  <a:lnTo>
                    <a:pt x="1110" y="558"/>
                  </a:lnTo>
                  <a:lnTo>
                    <a:pt x="1110" y="556"/>
                  </a:lnTo>
                  <a:lnTo>
                    <a:pt x="1112" y="556"/>
                  </a:lnTo>
                  <a:lnTo>
                    <a:pt x="1112" y="553"/>
                  </a:lnTo>
                  <a:lnTo>
                    <a:pt x="1112" y="556"/>
                  </a:lnTo>
                  <a:close/>
                  <a:moveTo>
                    <a:pt x="1129" y="539"/>
                  </a:moveTo>
                  <a:lnTo>
                    <a:pt x="1127" y="539"/>
                  </a:lnTo>
                  <a:lnTo>
                    <a:pt x="1129" y="539"/>
                  </a:lnTo>
                  <a:lnTo>
                    <a:pt x="1131" y="539"/>
                  </a:lnTo>
                  <a:lnTo>
                    <a:pt x="1129" y="539"/>
                  </a:lnTo>
                  <a:lnTo>
                    <a:pt x="1129" y="541"/>
                  </a:lnTo>
                  <a:lnTo>
                    <a:pt x="1127" y="541"/>
                  </a:lnTo>
                  <a:lnTo>
                    <a:pt x="1124" y="541"/>
                  </a:lnTo>
                  <a:lnTo>
                    <a:pt x="1127" y="541"/>
                  </a:lnTo>
                  <a:lnTo>
                    <a:pt x="1124" y="541"/>
                  </a:lnTo>
                  <a:lnTo>
                    <a:pt x="1124" y="539"/>
                  </a:lnTo>
                  <a:lnTo>
                    <a:pt x="1124" y="541"/>
                  </a:lnTo>
                  <a:lnTo>
                    <a:pt x="1122" y="541"/>
                  </a:lnTo>
                  <a:lnTo>
                    <a:pt x="1122" y="539"/>
                  </a:lnTo>
                  <a:lnTo>
                    <a:pt x="1124" y="537"/>
                  </a:lnTo>
                  <a:lnTo>
                    <a:pt x="1127" y="537"/>
                  </a:lnTo>
                  <a:lnTo>
                    <a:pt x="1124" y="537"/>
                  </a:lnTo>
                  <a:lnTo>
                    <a:pt x="1124" y="539"/>
                  </a:lnTo>
                  <a:lnTo>
                    <a:pt x="1127" y="539"/>
                  </a:lnTo>
                  <a:lnTo>
                    <a:pt x="1124" y="539"/>
                  </a:lnTo>
                  <a:lnTo>
                    <a:pt x="1127" y="539"/>
                  </a:lnTo>
                  <a:lnTo>
                    <a:pt x="1127" y="537"/>
                  </a:lnTo>
                  <a:lnTo>
                    <a:pt x="1127" y="539"/>
                  </a:lnTo>
                  <a:lnTo>
                    <a:pt x="1129" y="539"/>
                  </a:lnTo>
                  <a:lnTo>
                    <a:pt x="1127" y="539"/>
                  </a:lnTo>
                  <a:lnTo>
                    <a:pt x="1129" y="539"/>
                  </a:lnTo>
                  <a:close/>
                  <a:moveTo>
                    <a:pt x="1124" y="539"/>
                  </a:moveTo>
                  <a:lnTo>
                    <a:pt x="1127" y="539"/>
                  </a:lnTo>
                  <a:lnTo>
                    <a:pt x="1124" y="539"/>
                  </a:lnTo>
                  <a:lnTo>
                    <a:pt x="1127" y="539"/>
                  </a:lnTo>
                  <a:lnTo>
                    <a:pt x="1124" y="539"/>
                  </a:lnTo>
                  <a:close/>
                  <a:moveTo>
                    <a:pt x="1119" y="539"/>
                  </a:moveTo>
                  <a:lnTo>
                    <a:pt x="1119" y="537"/>
                  </a:lnTo>
                  <a:lnTo>
                    <a:pt x="1122" y="537"/>
                  </a:lnTo>
                  <a:lnTo>
                    <a:pt x="1122" y="539"/>
                  </a:lnTo>
                  <a:lnTo>
                    <a:pt x="1122" y="537"/>
                  </a:lnTo>
                  <a:lnTo>
                    <a:pt x="1122" y="539"/>
                  </a:lnTo>
                  <a:lnTo>
                    <a:pt x="1124" y="537"/>
                  </a:lnTo>
                  <a:lnTo>
                    <a:pt x="1122" y="539"/>
                  </a:lnTo>
                  <a:lnTo>
                    <a:pt x="1122" y="541"/>
                  </a:lnTo>
                  <a:lnTo>
                    <a:pt x="1124" y="541"/>
                  </a:lnTo>
                  <a:lnTo>
                    <a:pt x="1124" y="544"/>
                  </a:lnTo>
                  <a:lnTo>
                    <a:pt x="1122" y="544"/>
                  </a:lnTo>
                  <a:lnTo>
                    <a:pt x="1124" y="544"/>
                  </a:lnTo>
                  <a:lnTo>
                    <a:pt x="1122" y="544"/>
                  </a:lnTo>
                  <a:lnTo>
                    <a:pt x="1122" y="546"/>
                  </a:lnTo>
                  <a:lnTo>
                    <a:pt x="1119" y="544"/>
                  </a:lnTo>
                  <a:lnTo>
                    <a:pt x="1122" y="544"/>
                  </a:lnTo>
                  <a:lnTo>
                    <a:pt x="1119" y="544"/>
                  </a:lnTo>
                  <a:lnTo>
                    <a:pt x="1119" y="541"/>
                  </a:lnTo>
                  <a:lnTo>
                    <a:pt x="1117" y="541"/>
                  </a:lnTo>
                  <a:lnTo>
                    <a:pt x="1119" y="539"/>
                  </a:lnTo>
                  <a:lnTo>
                    <a:pt x="1119" y="541"/>
                  </a:lnTo>
                  <a:lnTo>
                    <a:pt x="1119" y="539"/>
                  </a:lnTo>
                  <a:close/>
                  <a:moveTo>
                    <a:pt x="1119" y="537"/>
                  </a:moveTo>
                  <a:lnTo>
                    <a:pt x="1119" y="539"/>
                  </a:lnTo>
                  <a:lnTo>
                    <a:pt x="1117" y="541"/>
                  </a:lnTo>
                  <a:lnTo>
                    <a:pt x="1117" y="539"/>
                  </a:lnTo>
                  <a:lnTo>
                    <a:pt x="1117" y="537"/>
                  </a:lnTo>
                  <a:lnTo>
                    <a:pt x="1119" y="537"/>
                  </a:lnTo>
                  <a:lnTo>
                    <a:pt x="1117" y="537"/>
                  </a:lnTo>
                  <a:lnTo>
                    <a:pt x="1119" y="539"/>
                  </a:lnTo>
                  <a:lnTo>
                    <a:pt x="1119" y="537"/>
                  </a:lnTo>
                  <a:lnTo>
                    <a:pt x="1119" y="539"/>
                  </a:lnTo>
                  <a:lnTo>
                    <a:pt x="1119" y="537"/>
                  </a:lnTo>
                  <a:close/>
                  <a:moveTo>
                    <a:pt x="1129" y="537"/>
                  </a:moveTo>
                  <a:lnTo>
                    <a:pt x="1131" y="537"/>
                  </a:lnTo>
                  <a:lnTo>
                    <a:pt x="1131" y="539"/>
                  </a:lnTo>
                  <a:lnTo>
                    <a:pt x="1129" y="539"/>
                  </a:lnTo>
                  <a:lnTo>
                    <a:pt x="1129" y="537"/>
                  </a:lnTo>
                  <a:close/>
                  <a:moveTo>
                    <a:pt x="1146" y="534"/>
                  </a:moveTo>
                  <a:lnTo>
                    <a:pt x="1143" y="534"/>
                  </a:lnTo>
                  <a:lnTo>
                    <a:pt x="1146" y="534"/>
                  </a:lnTo>
                  <a:lnTo>
                    <a:pt x="1146" y="537"/>
                  </a:lnTo>
                  <a:lnTo>
                    <a:pt x="1143" y="537"/>
                  </a:lnTo>
                  <a:lnTo>
                    <a:pt x="1141" y="537"/>
                  </a:lnTo>
                  <a:lnTo>
                    <a:pt x="1141" y="534"/>
                  </a:lnTo>
                  <a:lnTo>
                    <a:pt x="1143" y="534"/>
                  </a:lnTo>
                  <a:lnTo>
                    <a:pt x="1146" y="534"/>
                  </a:lnTo>
                  <a:close/>
                  <a:moveTo>
                    <a:pt x="1143" y="534"/>
                  </a:moveTo>
                  <a:lnTo>
                    <a:pt x="1141" y="534"/>
                  </a:lnTo>
                  <a:lnTo>
                    <a:pt x="1141" y="537"/>
                  </a:lnTo>
                  <a:lnTo>
                    <a:pt x="1141" y="534"/>
                  </a:lnTo>
                  <a:lnTo>
                    <a:pt x="1143" y="534"/>
                  </a:lnTo>
                  <a:lnTo>
                    <a:pt x="1143" y="532"/>
                  </a:lnTo>
                  <a:lnTo>
                    <a:pt x="1146" y="532"/>
                  </a:lnTo>
                  <a:lnTo>
                    <a:pt x="1143" y="534"/>
                  </a:lnTo>
                  <a:lnTo>
                    <a:pt x="1146" y="534"/>
                  </a:lnTo>
                  <a:lnTo>
                    <a:pt x="1143" y="534"/>
                  </a:lnTo>
                  <a:close/>
                  <a:moveTo>
                    <a:pt x="1079" y="525"/>
                  </a:moveTo>
                  <a:lnTo>
                    <a:pt x="1082" y="525"/>
                  </a:lnTo>
                  <a:lnTo>
                    <a:pt x="1079" y="525"/>
                  </a:lnTo>
                  <a:close/>
                  <a:moveTo>
                    <a:pt x="1302" y="515"/>
                  </a:moveTo>
                  <a:lnTo>
                    <a:pt x="1305" y="515"/>
                  </a:lnTo>
                  <a:lnTo>
                    <a:pt x="1302" y="515"/>
                  </a:lnTo>
                  <a:lnTo>
                    <a:pt x="1305" y="515"/>
                  </a:lnTo>
                  <a:lnTo>
                    <a:pt x="1302" y="515"/>
                  </a:lnTo>
                  <a:lnTo>
                    <a:pt x="1305" y="515"/>
                  </a:lnTo>
                  <a:lnTo>
                    <a:pt x="1302" y="515"/>
                  </a:lnTo>
                  <a:lnTo>
                    <a:pt x="1302" y="518"/>
                  </a:lnTo>
                  <a:lnTo>
                    <a:pt x="1302" y="515"/>
                  </a:lnTo>
                  <a:lnTo>
                    <a:pt x="1302" y="518"/>
                  </a:lnTo>
                  <a:lnTo>
                    <a:pt x="1302" y="515"/>
                  </a:lnTo>
                  <a:close/>
                  <a:moveTo>
                    <a:pt x="1302" y="515"/>
                  </a:moveTo>
                  <a:lnTo>
                    <a:pt x="1305" y="515"/>
                  </a:lnTo>
                  <a:lnTo>
                    <a:pt x="1302" y="515"/>
                  </a:lnTo>
                  <a:close/>
                  <a:moveTo>
                    <a:pt x="1319" y="499"/>
                  </a:moveTo>
                  <a:lnTo>
                    <a:pt x="1319" y="501"/>
                  </a:lnTo>
                  <a:lnTo>
                    <a:pt x="1319" y="499"/>
                  </a:lnTo>
                  <a:lnTo>
                    <a:pt x="1319" y="501"/>
                  </a:lnTo>
                  <a:lnTo>
                    <a:pt x="1319" y="499"/>
                  </a:lnTo>
                  <a:close/>
                  <a:moveTo>
                    <a:pt x="1316" y="499"/>
                  </a:moveTo>
                  <a:lnTo>
                    <a:pt x="1314" y="499"/>
                  </a:lnTo>
                  <a:lnTo>
                    <a:pt x="1316" y="499"/>
                  </a:lnTo>
                  <a:close/>
                  <a:moveTo>
                    <a:pt x="1001" y="491"/>
                  </a:moveTo>
                  <a:lnTo>
                    <a:pt x="1001" y="494"/>
                  </a:lnTo>
                  <a:lnTo>
                    <a:pt x="1001" y="491"/>
                  </a:lnTo>
                  <a:lnTo>
                    <a:pt x="1001" y="494"/>
                  </a:lnTo>
                  <a:lnTo>
                    <a:pt x="1001" y="491"/>
                  </a:lnTo>
                  <a:lnTo>
                    <a:pt x="998" y="491"/>
                  </a:lnTo>
                  <a:lnTo>
                    <a:pt x="1001" y="491"/>
                  </a:lnTo>
                  <a:close/>
                  <a:moveTo>
                    <a:pt x="1001" y="491"/>
                  </a:moveTo>
                  <a:lnTo>
                    <a:pt x="1003" y="491"/>
                  </a:lnTo>
                  <a:lnTo>
                    <a:pt x="1003" y="494"/>
                  </a:lnTo>
                  <a:lnTo>
                    <a:pt x="1001" y="494"/>
                  </a:lnTo>
                  <a:lnTo>
                    <a:pt x="1001" y="491"/>
                  </a:lnTo>
                  <a:lnTo>
                    <a:pt x="1001" y="494"/>
                  </a:lnTo>
                  <a:lnTo>
                    <a:pt x="1003" y="491"/>
                  </a:lnTo>
                  <a:lnTo>
                    <a:pt x="1001" y="491"/>
                  </a:lnTo>
                  <a:lnTo>
                    <a:pt x="1003" y="491"/>
                  </a:lnTo>
                  <a:lnTo>
                    <a:pt x="1001" y="491"/>
                  </a:lnTo>
                  <a:close/>
                  <a:moveTo>
                    <a:pt x="1001" y="491"/>
                  </a:moveTo>
                  <a:lnTo>
                    <a:pt x="998" y="491"/>
                  </a:lnTo>
                  <a:lnTo>
                    <a:pt x="1001" y="491"/>
                  </a:lnTo>
                  <a:close/>
                  <a:moveTo>
                    <a:pt x="1485" y="487"/>
                  </a:moveTo>
                  <a:lnTo>
                    <a:pt x="1487" y="487"/>
                  </a:lnTo>
                  <a:lnTo>
                    <a:pt x="1485" y="487"/>
                  </a:lnTo>
                  <a:lnTo>
                    <a:pt x="1485" y="489"/>
                  </a:lnTo>
                  <a:lnTo>
                    <a:pt x="1483" y="489"/>
                  </a:lnTo>
                  <a:lnTo>
                    <a:pt x="1480" y="489"/>
                  </a:lnTo>
                  <a:lnTo>
                    <a:pt x="1483" y="489"/>
                  </a:lnTo>
                  <a:lnTo>
                    <a:pt x="1483" y="487"/>
                  </a:lnTo>
                  <a:lnTo>
                    <a:pt x="1485" y="487"/>
                  </a:lnTo>
                  <a:close/>
                  <a:moveTo>
                    <a:pt x="424" y="465"/>
                  </a:moveTo>
                  <a:lnTo>
                    <a:pt x="422" y="465"/>
                  </a:lnTo>
                  <a:lnTo>
                    <a:pt x="422" y="468"/>
                  </a:lnTo>
                  <a:lnTo>
                    <a:pt x="420" y="468"/>
                  </a:lnTo>
                  <a:lnTo>
                    <a:pt x="420" y="465"/>
                  </a:lnTo>
                  <a:lnTo>
                    <a:pt x="420" y="468"/>
                  </a:lnTo>
                  <a:lnTo>
                    <a:pt x="417" y="468"/>
                  </a:lnTo>
                  <a:lnTo>
                    <a:pt x="417" y="470"/>
                  </a:lnTo>
                  <a:lnTo>
                    <a:pt x="417" y="468"/>
                  </a:lnTo>
                  <a:lnTo>
                    <a:pt x="415" y="468"/>
                  </a:lnTo>
                  <a:lnTo>
                    <a:pt x="415" y="470"/>
                  </a:lnTo>
                  <a:lnTo>
                    <a:pt x="412" y="470"/>
                  </a:lnTo>
                  <a:lnTo>
                    <a:pt x="415" y="470"/>
                  </a:lnTo>
                  <a:lnTo>
                    <a:pt x="415" y="468"/>
                  </a:lnTo>
                  <a:lnTo>
                    <a:pt x="415" y="470"/>
                  </a:lnTo>
                  <a:lnTo>
                    <a:pt x="417" y="470"/>
                  </a:lnTo>
                  <a:lnTo>
                    <a:pt x="417" y="468"/>
                  </a:lnTo>
                  <a:lnTo>
                    <a:pt x="420" y="468"/>
                  </a:lnTo>
                  <a:lnTo>
                    <a:pt x="422" y="468"/>
                  </a:lnTo>
                  <a:lnTo>
                    <a:pt x="422" y="465"/>
                  </a:lnTo>
                  <a:lnTo>
                    <a:pt x="424" y="465"/>
                  </a:lnTo>
                  <a:lnTo>
                    <a:pt x="427" y="465"/>
                  </a:lnTo>
                  <a:lnTo>
                    <a:pt x="427" y="468"/>
                  </a:lnTo>
                  <a:lnTo>
                    <a:pt x="429" y="468"/>
                  </a:lnTo>
                  <a:lnTo>
                    <a:pt x="427" y="468"/>
                  </a:lnTo>
                  <a:lnTo>
                    <a:pt x="429" y="468"/>
                  </a:lnTo>
                  <a:lnTo>
                    <a:pt x="427" y="468"/>
                  </a:lnTo>
                  <a:lnTo>
                    <a:pt x="429" y="468"/>
                  </a:lnTo>
                  <a:lnTo>
                    <a:pt x="429" y="465"/>
                  </a:lnTo>
                  <a:lnTo>
                    <a:pt x="431" y="465"/>
                  </a:lnTo>
                  <a:lnTo>
                    <a:pt x="429" y="465"/>
                  </a:lnTo>
                  <a:lnTo>
                    <a:pt x="431" y="465"/>
                  </a:lnTo>
                  <a:lnTo>
                    <a:pt x="434" y="465"/>
                  </a:lnTo>
                  <a:lnTo>
                    <a:pt x="431" y="465"/>
                  </a:lnTo>
                  <a:lnTo>
                    <a:pt x="434" y="465"/>
                  </a:lnTo>
                  <a:lnTo>
                    <a:pt x="431" y="465"/>
                  </a:lnTo>
                  <a:lnTo>
                    <a:pt x="434" y="465"/>
                  </a:lnTo>
                  <a:lnTo>
                    <a:pt x="436" y="465"/>
                  </a:lnTo>
                  <a:lnTo>
                    <a:pt x="439" y="465"/>
                  </a:lnTo>
                  <a:lnTo>
                    <a:pt x="436" y="468"/>
                  </a:lnTo>
                  <a:lnTo>
                    <a:pt x="434" y="470"/>
                  </a:lnTo>
                  <a:lnTo>
                    <a:pt x="436" y="470"/>
                  </a:lnTo>
                  <a:lnTo>
                    <a:pt x="434" y="470"/>
                  </a:lnTo>
                  <a:lnTo>
                    <a:pt x="434" y="472"/>
                  </a:lnTo>
                  <a:lnTo>
                    <a:pt x="434" y="470"/>
                  </a:lnTo>
                  <a:lnTo>
                    <a:pt x="436" y="470"/>
                  </a:lnTo>
                  <a:lnTo>
                    <a:pt x="436" y="468"/>
                  </a:lnTo>
                  <a:lnTo>
                    <a:pt x="439" y="468"/>
                  </a:lnTo>
                  <a:lnTo>
                    <a:pt x="441" y="468"/>
                  </a:lnTo>
                  <a:lnTo>
                    <a:pt x="441" y="465"/>
                  </a:lnTo>
                  <a:lnTo>
                    <a:pt x="441" y="468"/>
                  </a:lnTo>
                  <a:lnTo>
                    <a:pt x="443" y="468"/>
                  </a:lnTo>
                  <a:lnTo>
                    <a:pt x="443" y="465"/>
                  </a:lnTo>
                  <a:lnTo>
                    <a:pt x="443" y="468"/>
                  </a:lnTo>
                  <a:lnTo>
                    <a:pt x="441" y="468"/>
                  </a:lnTo>
                  <a:lnTo>
                    <a:pt x="441" y="470"/>
                  </a:lnTo>
                  <a:lnTo>
                    <a:pt x="439" y="470"/>
                  </a:lnTo>
                  <a:lnTo>
                    <a:pt x="439" y="472"/>
                  </a:lnTo>
                  <a:lnTo>
                    <a:pt x="439" y="475"/>
                  </a:lnTo>
                  <a:lnTo>
                    <a:pt x="436" y="475"/>
                  </a:lnTo>
                  <a:lnTo>
                    <a:pt x="436" y="477"/>
                  </a:lnTo>
                  <a:lnTo>
                    <a:pt x="434" y="477"/>
                  </a:lnTo>
                  <a:lnTo>
                    <a:pt x="436" y="477"/>
                  </a:lnTo>
                  <a:lnTo>
                    <a:pt x="436" y="475"/>
                  </a:lnTo>
                  <a:lnTo>
                    <a:pt x="436" y="477"/>
                  </a:lnTo>
                  <a:lnTo>
                    <a:pt x="439" y="477"/>
                  </a:lnTo>
                  <a:lnTo>
                    <a:pt x="439" y="475"/>
                  </a:lnTo>
                  <a:lnTo>
                    <a:pt x="439" y="472"/>
                  </a:lnTo>
                  <a:lnTo>
                    <a:pt x="441" y="472"/>
                  </a:lnTo>
                  <a:lnTo>
                    <a:pt x="443" y="472"/>
                  </a:lnTo>
                  <a:lnTo>
                    <a:pt x="443" y="470"/>
                  </a:lnTo>
                  <a:lnTo>
                    <a:pt x="446" y="470"/>
                  </a:lnTo>
                  <a:lnTo>
                    <a:pt x="448" y="470"/>
                  </a:lnTo>
                  <a:lnTo>
                    <a:pt x="450" y="470"/>
                  </a:lnTo>
                  <a:lnTo>
                    <a:pt x="450" y="468"/>
                  </a:lnTo>
                  <a:lnTo>
                    <a:pt x="453" y="468"/>
                  </a:lnTo>
                  <a:lnTo>
                    <a:pt x="453" y="470"/>
                  </a:lnTo>
                  <a:lnTo>
                    <a:pt x="453" y="468"/>
                  </a:lnTo>
                  <a:lnTo>
                    <a:pt x="453" y="470"/>
                  </a:lnTo>
                  <a:lnTo>
                    <a:pt x="455" y="470"/>
                  </a:lnTo>
                  <a:lnTo>
                    <a:pt x="455" y="468"/>
                  </a:lnTo>
                  <a:lnTo>
                    <a:pt x="455" y="470"/>
                  </a:lnTo>
                  <a:lnTo>
                    <a:pt x="458" y="470"/>
                  </a:lnTo>
                  <a:lnTo>
                    <a:pt x="458" y="472"/>
                  </a:lnTo>
                  <a:lnTo>
                    <a:pt x="455" y="472"/>
                  </a:lnTo>
                  <a:lnTo>
                    <a:pt x="458" y="472"/>
                  </a:lnTo>
                  <a:lnTo>
                    <a:pt x="458" y="475"/>
                  </a:lnTo>
                  <a:lnTo>
                    <a:pt x="455" y="475"/>
                  </a:lnTo>
                  <a:lnTo>
                    <a:pt x="458" y="475"/>
                  </a:lnTo>
                  <a:lnTo>
                    <a:pt x="455" y="475"/>
                  </a:lnTo>
                  <a:lnTo>
                    <a:pt x="453" y="475"/>
                  </a:lnTo>
                  <a:lnTo>
                    <a:pt x="453" y="477"/>
                  </a:lnTo>
                  <a:lnTo>
                    <a:pt x="455" y="477"/>
                  </a:lnTo>
                  <a:lnTo>
                    <a:pt x="453" y="477"/>
                  </a:lnTo>
                  <a:lnTo>
                    <a:pt x="450" y="477"/>
                  </a:lnTo>
                  <a:lnTo>
                    <a:pt x="448" y="477"/>
                  </a:lnTo>
                  <a:lnTo>
                    <a:pt x="448" y="480"/>
                  </a:lnTo>
                  <a:lnTo>
                    <a:pt x="448" y="477"/>
                  </a:lnTo>
                  <a:lnTo>
                    <a:pt x="448" y="480"/>
                  </a:lnTo>
                  <a:lnTo>
                    <a:pt x="450" y="480"/>
                  </a:lnTo>
                  <a:lnTo>
                    <a:pt x="448" y="480"/>
                  </a:lnTo>
                  <a:lnTo>
                    <a:pt x="450" y="480"/>
                  </a:lnTo>
                  <a:lnTo>
                    <a:pt x="450" y="477"/>
                  </a:lnTo>
                  <a:lnTo>
                    <a:pt x="453" y="477"/>
                  </a:lnTo>
                  <a:lnTo>
                    <a:pt x="455" y="477"/>
                  </a:lnTo>
                  <a:lnTo>
                    <a:pt x="458" y="477"/>
                  </a:lnTo>
                  <a:lnTo>
                    <a:pt x="455" y="480"/>
                  </a:lnTo>
                  <a:lnTo>
                    <a:pt x="458" y="480"/>
                  </a:lnTo>
                  <a:lnTo>
                    <a:pt x="455" y="480"/>
                  </a:lnTo>
                  <a:lnTo>
                    <a:pt x="453" y="480"/>
                  </a:lnTo>
                  <a:lnTo>
                    <a:pt x="450" y="480"/>
                  </a:lnTo>
                  <a:lnTo>
                    <a:pt x="450" y="482"/>
                  </a:lnTo>
                  <a:lnTo>
                    <a:pt x="450" y="480"/>
                  </a:lnTo>
                  <a:lnTo>
                    <a:pt x="450" y="482"/>
                  </a:lnTo>
                  <a:lnTo>
                    <a:pt x="450" y="480"/>
                  </a:lnTo>
                  <a:lnTo>
                    <a:pt x="453" y="480"/>
                  </a:lnTo>
                  <a:lnTo>
                    <a:pt x="450" y="480"/>
                  </a:lnTo>
                  <a:lnTo>
                    <a:pt x="453" y="480"/>
                  </a:lnTo>
                  <a:lnTo>
                    <a:pt x="453" y="482"/>
                  </a:lnTo>
                  <a:lnTo>
                    <a:pt x="453" y="480"/>
                  </a:lnTo>
                  <a:lnTo>
                    <a:pt x="453" y="482"/>
                  </a:lnTo>
                  <a:lnTo>
                    <a:pt x="455" y="480"/>
                  </a:lnTo>
                  <a:lnTo>
                    <a:pt x="453" y="480"/>
                  </a:lnTo>
                  <a:lnTo>
                    <a:pt x="455" y="480"/>
                  </a:lnTo>
                  <a:lnTo>
                    <a:pt x="455" y="482"/>
                  </a:lnTo>
                  <a:lnTo>
                    <a:pt x="453" y="482"/>
                  </a:lnTo>
                  <a:lnTo>
                    <a:pt x="455" y="482"/>
                  </a:lnTo>
                  <a:lnTo>
                    <a:pt x="455" y="480"/>
                  </a:lnTo>
                  <a:lnTo>
                    <a:pt x="455" y="482"/>
                  </a:lnTo>
                  <a:lnTo>
                    <a:pt x="458" y="482"/>
                  </a:lnTo>
                  <a:lnTo>
                    <a:pt x="458" y="484"/>
                  </a:lnTo>
                  <a:lnTo>
                    <a:pt x="455" y="484"/>
                  </a:lnTo>
                  <a:lnTo>
                    <a:pt x="455" y="487"/>
                  </a:lnTo>
                  <a:lnTo>
                    <a:pt x="453" y="487"/>
                  </a:lnTo>
                  <a:lnTo>
                    <a:pt x="450" y="487"/>
                  </a:lnTo>
                  <a:lnTo>
                    <a:pt x="450" y="489"/>
                  </a:lnTo>
                  <a:lnTo>
                    <a:pt x="448" y="489"/>
                  </a:lnTo>
                  <a:lnTo>
                    <a:pt x="446" y="489"/>
                  </a:lnTo>
                  <a:lnTo>
                    <a:pt x="443" y="489"/>
                  </a:lnTo>
                  <a:lnTo>
                    <a:pt x="443" y="491"/>
                  </a:lnTo>
                  <a:lnTo>
                    <a:pt x="441" y="491"/>
                  </a:lnTo>
                  <a:lnTo>
                    <a:pt x="441" y="494"/>
                  </a:lnTo>
                  <a:lnTo>
                    <a:pt x="443" y="494"/>
                  </a:lnTo>
                  <a:lnTo>
                    <a:pt x="441" y="496"/>
                  </a:lnTo>
                  <a:lnTo>
                    <a:pt x="441" y="499"/>
                  </a:lnTo>
                  <a:lnTo>
                    <a:pt x="443" y="499"/>
                  </a:lnTo>
                  <a:lnTo>
                    <a:pt x="441" y="499"/>
                  </a:lnTo>
                  <a:lnTo>
                    <a:pt x="441" y="501"/>
                  </a:lnTo>
                  <a:lnTo>
                    <a:pt x="439" y="501"/>
                  </a:lnTo>
                  <a:lnTo>
                    <a:pt x="436" y="503"/>
                  </a:lnTo>
                  <a:lnTo>
                    <a:pt x="434" y="503"/>
                  </a:lnTo>
                  <a:lnTo>
                    <a:pt x="431" y="503"/>
                  </a:lnTo>
                  <a:lnTo>
                    <a:pt x="431" y="506"/>
                  </a:lnTo>
                  <a:lnTo>
                    <a:pt x="431" y="503"/>
                  </a:lnTo>
                  <a:lnTo>
                    <a:pt x="431" y="506"/>
                  </a:lnTo>
                  <a:lnTo>
                    <a:pt x="429" y="506"/>
                  </a:lnTo>
                  <a:lnTo>
                    <a:pt x="427" y="506"/>
                  </a:lnTo>
                  <a:lnTo>
                    <a:pt x="424" y="506"/>
                  </a:lnTo>
                  <a:lnTo>
                    <a:pt x="422" y="506"/>
                  </a:lnTo>
                  <a:lnTo>
                    <a:pt x="422" y="508"/>
                  </a:lnTo>
                  <a:lnTo>
                    <a:pt x="420" y="508"/>
                  </a:lnTo>
                  <a:lnTo>
                    <a:pt x="417" y="508"/>
                  </a:lnTo>
                  <a:lnTo>
                    <a:pt x="420" y="508"/>
                  </a:lnTo>
                  <a:lnTo>
                    <a:pt x="417" y="508"/>
                  </a:lnTo>
                  <a:lnTo>
                    <a:pt x="415" y="508"/>
                  </a:lnTo>
                  <a:lnTo>
                    <a:pt x="415" y="510"/>
                  </a:lnTo>
                  <a:lnTo>
                    <a:pt x="412" y="510"/>
                  </a:lnTo>
                  <a:lnTo>
                    <a:pt x="410" y="510"/>
                  </a:lnTo>
                  <a:lnTo>
                    <a:pt x="410" y="513"/>
                  </a:lnTo>
                  <a:lnTo>
                    <a:pt x="408" y="513"/>
                  </a:lnTo>
                  <a:lnTo>
                    <a:pt x="405" y="513"/>
                  </a:lnTo>
                  <a:lnTo>
                    <a:pt x="405" y="515"/>
                  </a:lnTo>
                  <a:lnTo>
                    <a:pt x="405" y="513"/>
                  </a:lnTo>
                  <a:lnTo>
                    <a:pt x="405" y="515"/>
                  </a:lnTo>
                  <a:lnTo>
                    <a:pt x="405" y="513"/>
                  </a:lnTo>
                  <a:lnTo>
                    <a:pt x="408" y="513"/>
                  </a:lnTo>
                  <a:lnTo>
                    <a:pt x="410" y="513"/>
                  </a:lnTo>
                  <a:lnTo>
                    <a:pt x="412" y="510"/>
                  </a:lnTo>
                  <a:lnTo>
                    <a:pt x="412" y="513"/>
                  </a:lnTo>
                  <a:lnTo>
                    <a:pt x="412" y="510"/>
                  </a:lnTo>
                  <a:lnTo>
                    <a:pt x="415" y="510"/>
                  </a:lnTo>
                  <a:lnTo>
                    <a:pt x="412" y="510"/>
                  </a:lnTo>
                  <a:lnTo>
                    <a:pt x="415" y="510"/>
                  </a:lnTo>
                  <a:lnTo>
                    <a:pt x="412" y="510"/>
                  </a:lnTo>
                  <a:lnTo>
                    <a:pt x="415" y="510"/>
                  </a:lnTo>
                  <a:lnTo>
                    <a:pt x="417" y="510"/>
                  </a:lnTo>
                  <a:lnTo>
                    <a:pt x="417" y="508"/>
                  </a:lnTo>
                  <a:lnTo>
                    <a:pt x="420" y="508"/>
                  </a:lnTo>
                  <a:lnTo>
                    <a:pt x="422" y="508"/>
                  </a:lnTo>
                  <a:lnTo>
                    <a:pt x="424" y="506"/>
                  </a:lnTo>
                  <a:lnTo>
                    <a:pt x="427" y="506"/>
                  </a:lnTo>
                  <a:lnTo>
                    <a:pt x="429" y="506"/>
                  </a:lnTo>
                  <a:lnTo>
                    <a:pt x="431" y="506"/>
                  </a:lnTo>
                  <a:lnTo>
                    <a:pt x="434" y="503"/>
                  </a:lnTo>
                  <a:lnTo>
                    <a:pt x="436" y="503"/>
                  </a:lnTo>
                  <a:lnTo>
                    <a:pt x="439" y="503"/>
                  </a:lnTo>
                  <a:lnTo>
                    <a:pt x="439" y="501"/>
                  </a:lnTo>
                  <a:lnTo>
                    <a:pt x="441" y="501"/>
                  </a:lnTo>
                  <a:lnTo>
                    <a:pt x="443" y="501"/>
                  </a:lnTo>
                  <a:lnTo>
                    <a:pt x="443" y="499"/>
                  </a:lnTo>
                  <a:lnTo>
                    <a:pt x="443" y="496"/>
                  </a:lnTo>
                  <a:lnTo>
                    <a:pt x="443" y="494"/>
                  </a:lnTo>
                  <a:lnTo>
                    <a:pt x="443" y="491"/>
                  </a:lnTo>
                  <a:lnTo>
                    <a:pt x="446" y="489"/>
                  </a:lnTo>
                  <a:lnTo>
                    <a:pt x="446" y="491"/>
                  </a:lnTo>
                  <a:lnTo>
                    <a:pt x="446" y="489"/>
                  </a:lnTo>
                  <a:lnTo>
                    <a:pt x="448" y="489"/>
                  </a:lnTo>
                  <a:lnTo>
                    <a:pt x="448" y="491"/>
                  </a:lnTo>
                  <a:lnTo>
                    <a:pt x="448" y="489"/>
                  </a:lnTo>
                  <a:lnTo>
                    <a:pt x="450" y="489"/>
                  </a:lnTo>
                  <a:lnTo>
                    <a:pt x="450" y="491"/>
                  </a:lnTo>
                  <a:lnTo>
                    <a:pt x="450" y="489"/>
                  </a:lnTo>
                  <a:lnTo>
                    <a:pt x="453" y="489"/>
                  </a:lnTo>
                  <a:lnTo>
                    <a:pt x="455" y="489"/>
                  </a:lnTo>
                  <a:lnTo>
                    <a:pt x="458" y="489"/>
                  </a:lnTo>
                  <a:lnTo>
                    <a:pt x="455" y="489"/>
                  </a:lnTo>
                  <a:lnTo>
                    <a:pt x="458" y="489"/>
                  </a:lnTo>
                  <a:lnTo>
                    <a:pt x="458" y="487"/>
                  </a:lnTo>
                  <a:lnTo>
                    <a:pt x="455" y="487"/>
                  </a:lnTo>
                  <a:lnTo>
                    <a:pt x="458" y="487"/>
                  </a:lnTo>
                  <a:lnTo>
                    <a:pt x="458" y="484"/>
                  </a:lnTo>
                  <a:lnTo>
                    <a:pt x="460" y="484"/>
                  </a:lnTo>
                  <a:lnTo>
                    <a:pt x="460" y="487"/>
                  </a:lnTo>
                  <a:lnTo>
                    <a:pt x="460" y="484"/>
                  </a:lnTo>
                  <a:lnTo>
                    <a:pt x="460" y="482"/>
                  </a:lnTo>
                  <a:lnTo>
                    <a:pt x="462" y="482"/>
                  </a:lnTo>
                  <a:lnTo>
                    <a:pt x="462" y="484"/>
                  </a:lnTo>
                  <a:lnTo>
                    <a:pt x="462" y="482"/>
                  </a:lnTo>
                  <a:lnTo>
                    <a:pt x="462" y="484"/>
                  </a:lnTo>
                  <a:lnTo>
                    <a:pt x="462" y="482"/>
                  </a:lnTo>
                  <a:lnTo>
                    <a:pt x="460" y="482"/>
                  </a:lnTo>
                  <a:lnTo>
                    <a:pt x="460" y="480"/>
                  </a:lnTo>
                  <a:lnTo>
                    <a:pt x="460" y="477"/>
                  </a:lnTo>
                  <a:lnTo>
                    <a:pt x="462" y="477"/>
                  </a:lnTo>
                  <a:lnTo>
                    <a:pt x="460" y="477"/>
                  </a:lnTo>
                  <a:lnTo>
                    <a:pt x="460" y="480"/>
                  </a:lnTo>
                  <a:lnTo>
                    <a:pt x="460" y="477"/>
                  </a:lnTo>
                  <a:lnTo>
                    <a:pt x="460" y="475"/>
                  </a:lnTo>
                  <a:lnTo>
                    <a:pt x="462" y="475"/>
                  </a:lnTo>
                  <a:lnTo>
                    <a:pt x="462" y="477"/>
                  </a:lnTo>
                  <a:lnTo>
                    <a:pt x="462" y="475"/>
                  </a:lnTo>
                  <a:lnTo>
                    <a:pt x="465" y="475"/>
                  </a:lnTo>
                  <a:lnTo>
                    <a:pt x="467" y="475"/>
                  </a:lnTo>
                  <a:lnTo>
                    <a:pt x="465" y="477"/>
                  </a:lnTo>
                  <a:lnTo>
                    <a:pt x="467" y="477"/>
                  </a:lnTo>
                  <a:lnTo>
                    <a:pt x="467" y="475"/>
                  </a:lnTo>
                  <a:lnTo>
                    <a:pt x="467" y="477"/>
                  </a:lnTo>
                  <a:lnTo>
                    <a:pt x="469" y="477"/>
                  </a:lnTo>
                  <a:lnTo>
                    <a:pt x="469" y="475"/>
                  </a:lnTo>
                  <a:lnTo>
                    <a:pt x="472" y="475"/>
                  </a:lnTo>
                  <a:lnTo>
                    <a:pt x="472" y="477"/>
                  </a:lnTo>
                  <a:lnTo>
                    <a:pt x="472" y="475"/>
                  </a:lnTo>
                  <a:lnTo>
                    <a:pt x="474" y="475"/>
                  </a:lnTo>
                  <a:lnTo>
                    <a:pt x="476" y="475"/>
                  </a:lnTo>
                  <a:lnTo>
                    <a:pt x="479" y="475"/>
                  </a:lnTo>
                  <a:lnTo>
                    <a:pt x="481" y="475"/>
                  </a:lnTo>
                  <a:lnTo>
                    <a:pt x="484" y="475"/>
                  </a:lnTo>
                  <a:lnTo>
                    <a:pt x="486" y="475"/>
                  </a:lnTo>
                  <a:lnTo>
                    <a:pt x="486" y="477"/>
                  </a:lnTo>
                  <a:lnTo>
                    <a:pt x="488" y="477"/>
                  </a:lnTo>
                  <a:lnTo>
                    <a:pt x="486" y="477"/>
                  </a:lnTo>
                  <a:lnTo>
                    <a:pt x="488" y="477"/>
                  </a:lnTo>
                  <a:lnTo>
                    <a:pt x="491" y="477"/>
                  </a:lnTo>
                  <a:lnTo>
                    <a:pt x="488" y="477"/>
                  </a:lnTo>
                  <a:lnTo>
                    <a:pt x="491" y="477"/>
                  </a:lnTo>
                  <a:lnTo>
                    <a:pt x="491" y="480"/>
                  </a:lnTo>
                  <a:lnTo>
                    <a:pt x="491" y="477"/>
                  </a:lnTo>
                  <a:lnTo>
                    <a:pt x="493" y="477"/>
                  </a:lnTo>
                  <a:lnTo>
                    <a:pt x="491" y="477"/>
                  </a:lnTo>
                  <a:lnTo>
                    <a:pt x="493" y="477"/>
                  </a:lnTo>
                  <a:lnTo>
                    <a:pt x="493" y="480"/>
                  </a:lnTo>
                  <a:lnTo>
                    <a:pt x="493" y="477"/>
                  </a:lnTo>
                  <a:lnTo>
                    <a:pt x="493" y="480"/>
                  </a:lnTo>
                  <a:lnTo>
                    <a:pt x="493" y="477"/>
                  </a:lnTo>
                  <a:lnTo>
                    <a:pt x="495" y="477"/>
                  </a:lnTo>
                  <a:lnTo>
                    <a:pt x="495" y="480"/>
                  </a:lnTo>
                  <a:lnTo>
                    <a:pt x="498" y="480"/>
                  </a:lnTo>
                  <a:lnTo>
                    <a:pt x="500" y="480"/>
                  </a:lnTo>
                  <a:lnTo>
                    <a:pt x="500" y="482"/>
                  </a:lnTo>
                  <a:lnTo>
                    <a:pt x="500" y="480"/>
                  </a:lnTo>
                  <a:lnTo>
                    <a:pt x="500" y="482"/>
                  </a:lnTo>
                  <a:lnTo>
                    <a:pt x="500" y="480"/>
                  </a:lnTo>
                  <a:lnTo>
                    <a:pt x="500" y="482"/>
                  </a:lnTo>
                  <a:lnTo>
                    <a:pt x="500" y="480"/>
                  </a:lnTo>
                  <a:lnTo>
                    <a:pt x="503" y="480"/>
                  </a:lnTo>
                  <a:lnTo>
                    <a:pt x="505" y="480"/>
                  </a:lnTo>
                  <a:lnTo>
                    <a:pt x="505" y="482"/>
                  </a:lnTo>
                  <a:lnTo>
                    <a:pt x="505" y="480"/>
                  </a:lnTo>
                  <a:lnTo>
                    <a:pt x="507" y="480"/>
                  </a:lnTo>
                  <a:lnTo>
                    <a:pt x="507" y="482"/>
                  </a:lnTo>
                  <a:lnTo>
                    <a:pt x="505" y="482"/>
                  </a:lnTo>
                  <a:lnTo>
                    <a:pt x="505" y="484"/>
                  </a:lnTo>
                  <a:lnTo>
                    <a:pt x="505" y="482"/>
                  </a:lnTo>
                  <a:lnTo>
                    <a:pt x="507" y="482"/>
                  </a:lnTo>
                  <a:lnTo>
                    <a:pt x="510" y="482"/>
                  </a:lnTo>
                  <a:lnTo>
                    <a:pt x="512" y="482"/>
                  </a:lnTo>
                  <a:lnTo>
                    <a:pt x="512" y="484"/>
                  </a:lnTo>
                  <a:lnTo>
                    <a:pt x="512" y="487"/>
                  </a:lnTo>
                  <a:lnTo>
                    <a:pt x="512" y="484"/>
                  </a:lnTo>
                  <a:lnTo>
                    <a:pt x="512" y="482"/>
                  </a:lnTo>
                  <a:lnTo>
                    <a:pt x="514" y="482"/>
                  </a:lnTo>
                  <a:lnTo>
                    <a:pt x="517" y="482"/>
                  </a:lnTo>
                  <a:lnTo>
                    <a:pt x="514" y="482"/>
                  </a:lnTo>
                  <a:lnTo>
                    <a:pt x="517" y="482"/>
                  </a:lnTo>
                  <a:lnTo>
                    <a:pt x="517" y="480"/>
                  </a:lnTo>
                  <a:lnTo>
                    <a:pt x="514" y="480"/>
                  </a:lnTo>
                  <a:lnTo>
                    <a:pt x="512" y="480"/>
                  </a:lnTo>
                  <a:lnTo>
                    <a:pt x="514" y="480"/>
                  </a:lnTo>
                  <a:lnTo>
                    <a:pt x="517" y="480"/>
                  </a:lnTo>
                  <a:lnTo>
                    <a:pt x="519" y="480"/>
                  </a:lnTo>
                  <a:lnTo>
                    <a:pt x="522" y="480"/>
                  </a:lnTo>
                  <a:lnTo>
                    <a:pt x="524" y="480"/>
                  </a:lnTo>
                  <a:lnTo>
                    <a:pt x="526" y="480"/>
                  </a:lnTo>
                  <a:lnTo>
                    <a:pt x="524" y="482"/>
                  </a:lnTo>
                  <a:lnTo>
                    <a:pt x="526" y="482"/>
                  </a:lnTo>
                  <a:lnTo>
                    <a:pt x="529" y="482"/>
                  </a:lnTo>
                  <a:lnTo>
                    <a:pt x="531" y="482"/>
                  </a:lnTo>
                  <a:lnTo>
                    <a:pt x="533" y="482"/>
                  </a:lnTo>
                  <a:lnTo>
                    <a:pt x="533" y="484"/>
                  </a:lnTo>
                  <a:lnTo>
                    <a:pt x="531" y="487"/>
                  </a:lnTo>
                  <a:lnTo>
                    <a:pt x="533" y="487"/>
                  </a:lnTo>
                  <a:lnTo>
                    <a:pt x="531" y="487"/>
                  </a:lnTo>
                  <a:lnTo>
                    <a:pt x="533" y="489"/>
                  </a:lnTo>
                  <a:lnTo>
                    <a:pt x="533" y="487"/>
                  </a:lnTo>
                  <a:lnTo>
                    <a:pt x="533" y="489"/>
                  </a:lnTo>
                  <a:lnTo>
                    <a:pt x="533" y="491"/>
                  </a:lnTo>
                  <a:lnTo>
                    <a:pt x="531" y="491"/>
                  </a:lnTo>
                  <a:lnTo>
                    <a:pt x="533" y="491"/>
                  </a:lnTo>
                  <a:lnTo>
                    <a:pt x="533" y="489"/>
                  </a:lnTo>
                  <a:lnTo>
                    <a:pt x="533" y="487"/>
                  </a:lnTo>
                  <a:lnTo>
                    <a:pt x="533" y="484"/>
                  </a:lnTo>
                  <a:lnTo>
                    <a:pt x="533" y="482"/>
                  </a:lnTo>
                  <a:lnTo>
                    <a:pt x="536" y="482"/>
                  </a:lnTo>
                  <a:lnTo>
                    <a:pt x="536" y="484"/>
                  </a:lnTo>
                  <a:lnTo>
                    <a:pt x="538" y="484"/>
                  </a:lnTo>
                  <a:lnTo>
                    <a:pt x="541" y="484"/>
                  </a:lnTo>
                  <a:lnTo>
                    <a:pt x="541" y="487"/>
                  </a:lnTo>
                  <a:lnTo>
                    <a:pt x="543" y="487"/>
                  </a:lnTo>
                  <a:lnTo>
                    <a:pt x="541" y="489"/>
                  </a:lnTo>
                  <a:lnTo>
                    <a:pt x="543" y="489"/>
                  </a:lnTo>
                  <a:lnTo>
                    <a:pt x="543" y="487"/>
                  </a:lnTo>
                  <a:lnTo>
                    <a:pt x="541" y="487"/>
                  </a:lnTo>
                  <a:lnTo>
                    <a:pt x="541" y="484"/>
                  </a:lnTo>
                  <a:lnTo>
                    <a:pt x="543" y="484"/>
                  </a:lnTo>
                  <a:lnTo>
                    <a:pt x="543" y="487"/>
                  </a:lnTo>
                  <a:lnTo>
                    <a:pt x="545" y="487"/>
                  </a:lnTo>
                  <a:lnTo>
                    <a:pt x="548" y="487"/>
                  </a:lnTo>
                  <a:lnTo>
                    <a:pt x="550" y="487"/>
                  </a:lnTo>
                  <a:lnTo>
                    <a:pt x="550" y="489"/>
                  </a:lnTo>
                  <a:lnTo>
                    <a:pt x="548" y="489"/>
                  </a:lnTo>
                  <a:lnTo>
                    <a:pt x="550" y="489"/>
                  </a:lnTo>
                  <a:lnTo>
                    <a:pt x="552" y="491"/>
                  </a:lnTo>
                  <a:lnTo>
                    <a:pt x="552" y="489"/>
                  </a:lnTo>
                  <a:lnTo>
                    <a:pt x="552" y="491"/>
                  </a:lnTo>
                  <a:lnTo>
                    <a:pt x="555" y="491"/>
                  </a:lnTo>
                  <a:lnTo>
                    <a:pt x="557" y="491"/>
                  </a:lnTo>
                  <a:lnTo>
                    <a:pt x="557" y="494"/>
                  </a:lnTo>
                  <a:lnTo>
                    <a:pt x="560" y="494"/>
                  </a:lnTo>
                  <a:lnTo>
                    <a:pt x="560" y="491"/>
                  </a:lnTo>
                  <a:lnTo>
                    <a:pt x="560" y="494"/>
                  </a:lnTo>
                  <a:lnTo>
                    <a:pt x="562" y="494"/>
                  </a:lnTo>
                  <a:lnTo>
                    <a:pt x="560" y="494"/>
                  </a:lnTo>
                  <a:lnTo>
                    <a:pt x="562" y="494"/>
                  </a:lnTo>
                  <a:lnTo>
                    <a:pt x="560" y="494"/>
                  </a:lnTo>
                  <a:lnTo>
                    <a:pt x="562" y="494"/>
                  </a:lnTo>
                  <a:lnTo>
                    <a:pt x="564" y="494"/>
                  </a:lnTo>
                  <a:lnTo>
                    <a:pt x="564" y="496"/>
                  </a:lnTo>
                  <a:lnTo>
                    <a:pt x="567" y="496"/>
                  </a:lnTo>
                  <a:lnTo>
                    <a:pt x="567" y="499"/>
                  </a:lnTo>
                  <a:lnTo>
                    <a:pt x="569" y="499"/>
                  </a:lnTo>
                  <a:lnTo>
                    <a:pt x="571" y="499"/>
                  </a:lnTo>
                  <a:lnTo>
                    <a:pt x="571" y="501"/>
                  </a:lnTo>
                  <a:lnTo>
                    <a:pt x="574" y="501"/>
                  </a:lnTo>
                  <a:lnTo>
                    <a:pt x="576" y="501"/>
                  </a:lnTo>
                  <a:lnTo>
                    <a:pt x="576" y="503"/>
                  </a:lnTo>
                  <a:lnTo>
                    <a:pt x="579" y="503"/>
                  </a:lnTo>
                  <a:lnTo>
                    <a:pt x="581" y="503"/>
                  </a:lnTo>
                  <a:lnTo>
                    <a:pt x="581" y="506"/>
                  </a:lnTo>
                  <a:lnTo>
                    <a:pt x="583" y="506"/>
                  </a:lnTo>
                  <a:lnTo>
                    <a:pt x="586" y="506"/>
                  </a:lnTo>
                  <a:lnTo>
                    <a:pt x="586" y="508"/>
                  </a:lnTo>
                  <a:lnTo>
                    <a:pt x="588" y="508"/>
                  </a:lnTo>
                  <a:lnTo>
                    <a:pt x="590" y="508"/>
                  </a:lnTo>
                  <a:lnTo>
                    <a:pt x="590" y="510"/>
                  </a:lnTo>
                  <a:lnTo>
                    <a:pt x="590" y="508"/>
                  </a:lnTo>
                  <a:lnTo>
                    <a:pt x="590" y="510"/>
                  </a:lnTo>
                  <a:lnTo>
                    <a:pt x="590" y="508"/>
                  </a:lnTo>
                  <a:lnTo>
                    <a:pt x="590" y="510"/>
                  </a:lnTo>
                  <a:lnTo>
                    <a:pt x="593" y="510"/>
                  </a:lnTo>
                  <a:lnTo>
                    <a:pt x="593" y="513"/>
                  </a:lnTo>
                  <a:lnTo>
                    <a:pt x="593" y="510"/>
                  </a:lnTo>
                  <a:lnTo>
                    <a:pt x="595" y="510"/>
                  </a:lnTo>
                  <a:lnTo>
                    <a:pt x="595" y="513"/>
                  </a:lnTo>
                  <a:lnTo>
                    <a:pt x="595" y="510"/>
                  </a:lnTo>
                  <a:lnTo>
                    <a:pt x="595" y="513"/>
                  </a:lnTo>
                  <a:lnTo>
                    <a:pt x="597" y="513"/>
                  </a:lnTo>
                  <a:lnTo>
                    <a:pt x="600" y="513"/>
                  </a:lnTo>
                  <a:lnTo>
                    <a:pt x="600" y="515"/>
                  </a:lnTo>
                  <a:lnTo>
                    <a:pt x="597" y="515"/>
                  </a:lnTo>
                  <a:lnTo>
                    <a:pt x="600" y="515"/>
                  </a:lnTo>
                  <a:lnTo>
                    <a:pt x="600" y="518"/>
                  </a:lnTo>
                  <a:lnTo>
                    <a:pt x="600" y="515"/>
                  </a:lnTo>
                  <a:lnTo>
                    <a:pt x="602" y="515"/>
                  </a:lnTo>
                  <a:lnTo>
                    <a:pt x="602" y="518"/>
                  </a:lnTo>
                  <a:lnTo>
                    <a:pt x="602" y="515"/>
                  </a:lnTo>
                  <a:lnTo>
                    <a:pt x="602" y="518"/>
                  </a:lnTo>
                  <a:lnTo>
                    <a:pt x="605" y="518"/>
                  </a:lnTo>
                  <a:lnTo>
                    <a:pt x="605" y="520"/>
                  </a:lnTo>
                  <a:lnTo>
                    <a:pt x="607" y="520"/>
                  </a:lnTo>
                  <a:lnTo>
                    <a:pt x="605" y="520"/>
                  </a:lnTo>
                  <a:lnTo>
                    <a:pt x="607" y="520"/>
                  </a:lnTo>
                  <a:lnTo>
                    <a:pt x="605" y="520"/>
                  </a:lnTo>
                  <a:lnTo>
                    <a:pt x="607" y="520"/>
                  </a:lnTo>
                  <a:lnTo>
                    <a:pt x="605" y="520"/>
                  </a:lnTo>
                  <a:lnTo>
                    <a:pt x="607" y="520"/>
                  </a:lnTo>
                  <a:lnTo>
                    <a:pt x="607" y="522"/>
                  </a:lnTo>
                  <a:lnTo>
                    <a:pt x="607" y="520"/>
                  </a:lnTo>
                  <a:lnTo>
                    <a:pt x="607" y="522"/>
                  </a:lnTo>
                  <a:lnTo>
                    <a:pt x="609" y="522"/>
                  </a:lnTo>
                  <a:lnTo>
                    <a:pt x="607" y="522"/>
                  </a:lnTo>
                  <a:lnTo>
                    <a:pt x="609" y="522"/>
                  </a:lnTo>
                  <a:lnTo>
                    <a:pt x="609" y="525"/>
                  </a:lnTo>
                  <a:lnTo>
                    <a:pt x="609" y="522"/>
                  </a:lnTo>
                  <a:lnTo>
                    <a:pt x="609" y="525"/>
                  </a:lnTo>
                  <a:lnTo>
                    <a:pt x="612" y="525"/>
                  </a:lnTo>
                  <a:lnTo>
                    <a:pt x="614" y="525"/>
                  </a:lnTo>
                  <a:lnTo>
                    <a:pt x="612" y="527"/>
                  </a:lnTo>
                  <a:lnTo>
                    <a:pt x="614" y="527"/>
                  </a:lnTo>
                  <a:lnTo>
                    <a:pt x="612" y="527"/>
                  </a:lnTo>
                  <a:lnTo>
                    <a:pt x="614" y="527"/>
                  </a:lnTo>
                  <a:lnTo>
                    <a:pt x="614" y="525"/>
                  </a:lnTo>
                  <a:lnTo>
                    <a:pt x="614" y="527"/>
                  </a:lnTo>
                  <a:lnTo>
                    <a:pt x="616" y="527"/>
                  </a:lnTo>
                  <a:lnTo>
                    <a:pt x="619" y="529"/>
                  </a:lnTo>
                  <a:lnTo>
                    <a:pt x="616" y="529"/>
                  </a:lnTo>
                  <a:lnTo>
                    <a:pt x="619" y="529"/>
                  </a:lnTo>
                  <a:lnTo>
                    <a:pt x="619" y="532"/>
                  </a:lnTo>
                  <a:lnTo>
                    <a:pt x="619" y="529"/>
                  </a:lnTo>
                  <a:lnTo>
                    <a:pt x="616" y="532"/>
                  </a:lnTo>
                  <a:lnTo>
                    <a:pt x="619" y="532"/>
                  </a:lnTo>
                  <a:lnTo>
                    <a:pt x="619" y="529"/>
                  </a:lnTo>
                  <a:lnTo>
                    <a:pt x="619" y="532"/>
                  </a:lnTo>
                  <a:lnTo>
                    <a:pt x="619" y="529"/>
                  </a:lnTo>
                  <a:lnTo>
                    <a:pt x="621" y="529"/>
                  </a:lnTo>
                  <a:lnTo>
                    <a:pt x="619" y="532"/>
                  </a:lnTo>
                  <a:lnTo>
                    <a:pt x="621" y="532"/>
                  </a:lnTo>
                  <a:lnTo>
                    <a:pt x="619" y="532"/>
                  </a:lnTo>
                  <a:lnTo>
                    <a:pt x="621" y="532"/>
                  </a:lnTo>
                  <a:lnTo>
                    <a:pt x="619" y="532"/>
                  </a:lnTo>
                  <a:lnTo>
                    <a:pt x="619" y="534"/>
                  </a:lnTo>
                  <a:lnTo>
                    <a:pt x="621" y="534"/>
                  </a:lnTo>
                  <a:lnTo>
                    <a:pt x="621" y="532"/>
                  </a:lnTo>
                  <a:lnTo>
                    <a:pt x="624" y="532"/>
                  </a:lnTo>
                  <a:lnTo>
                    <a:pt x="624" y="534"/>
                  </a:lnTo>
                  <a:lnTo>
                    <a:pt x="626" y="534"/>
                  </a:lnTo>
                  <a:lnTo>
                    <a:pt x="628" y="534"/>
                  </a:lnTo>
                  <a:lnTo>
                    <a:pt x="628" y="537"/>
                  </a:lnTo>
                  <a:lnTo>
                    <a:pt x="631" y="537"/>
                  </a:lnTo>
                  <a:lnTo>
                    <a:pt x="628" y="537"/>
                  </a:lnTo>
                  <a:lnTo>
                    <a:pt x="631" y="537"/>
                  </a:lnTo>
                  <a:lnTo>
                    <a:pt x="631" y="534"/>
                  </a:lnTo>
                  <a:lnTo>
                    <a:pt x="628" y="534"/>
                  </a:lnTo>
                  <a:lnTo>
                    <a:pt x="626" y="534"/>
                  </a:lnTo>
                  <a:lnTo>
                    <a:pt x="626" y="532"/>
                  </a:lnTo>
                  <a:lnTo>
                    <a:pt x="624" y="532"/>
                  </a:lnTo>
                  <a:lnTo>
                    <a:pt x="626" y="532"/>
                  </a:lnTo>
                  <a:lnTo>
                    <a:pt x="626" y="529"/>
                  </a:lnTo>
                  <a:lnTo>
                    <a:pt x="628" y="529"/>
                  </a:lnTo>
                  <a:lnTo>
                    <a:pt x="628" y="532"/>
                  </a:lnTo>
                  <a:lnTo>
                    <a:pt x="631" y="532"/>
                  </a:lnTo>
                  <a:lnTo>
                    <a:pt x="631" y="534"/>
                  </a:lnTo>
                  <a:lnTo>
                    <a:pt x="633" y="534"/>
                  </a:lnTo>
                  <a:lnTo>
                    <a:pt x="635" y="534"/>
                  </a:lnTo>
                  <a:lnTo>
                    <a:pt x="638" y="534"/>
                  </a:lnTo>
                  <a:lnTo>
                    <a:pt x="638" y="537"/>
                  </a:lnTo>
                  <a:lnTo>
                    <a:pt x="638" y="534"/>
                  </a:lnTo>
                  <a:lnTo>
                    <a:pt x="638" y="537"/>
                  </a:lnTo>
                  <a:lnTo>
                    <a:pt x="635" y="537"/>
                  </a:lnTo>
                  <a:lnTo>
                    <a:pt x="638" y="537"/>
                  </a:lnTo>
                  <a:lnTo>
                    <a:pt x="638" y="539"/>
                  </a:lnTo>
                  <a:lnTo>
                    <a:pt x="638" y="537"/>
                  </a:lnTo>
                  <a:lnTo>
                    <a:pt x="638" y="539"/>
                  </a:lnTo>
                  <a:lnTo>
                    <a:pt x="640" y="539"/>
                  </a:lnTo>
                  <a:lnTo>
                    <a:pt x="643" y="539"/>
                  </a:lnTo>
                  <a:lnTo>
                    <a:pt x="643" y="541"/>
                  </a:lnTo>
                  <a:lnTo>
                    <a:pt x="645" y="541"/>
                  </a:lnTo>
                  <a:lnTo>
                    <a:pt x="647" y="541"/>
                  </a:lnTo>
                  <a:lnTo>
                    <a:pt x="647" y="544"/>
                  </a:lnTo>
                  <a:lnTo>
                    <a:pt x="650" y="544"/>
                  </a:lnTo>
                  <a:lnTo>
                    <a:pt x="650" y="546"/>
                  </a:lnTo>
                  <a:lnTo>
                    <a:pt x="652" y="546"/>
                  </a:lnTo>
                  <a:lnTo>
                    <a:pt x="654" y="546"/>
                  </a:lnTo>
                  <a:lnTo>
                    <a:pt x="654" y="548"/>
                  </a:lnTo>
                  <a:lnTo>
                    <a:pt x="657" y="548"/>
                  </a:lnTo>
                  <a:lnTo>
                    <a:pt x="654" y="548"/>
                  </a:lnTo>
                  <a:lnTo>
                    <a:pt x="657" y="548"/>
                  </a:lnTo>
                  <a:lnTo>
                    <a:pt x="657" y="551"/>
                  </a:lnTo>
                  <a:lnTo>
                    <a:pt x="659" y="548"/>
                  </a:lnTo>
                  <a:lnTo>
                    <a:pt x="659" y="551"/>
                  </a:lnTo>
                  <a:lnTo>
                    <a:pt x="662" y="551"/>
                  </a:lnTo>
                  <a:lnTo>
                    <a:pt x="659" y="551"/>
                  </a:lnTo>
                  <a:lnTo>
                    <a:pt x="662" y="548"/>
                  </a:lnTo>
                  <a:lnTo>
                    <a:pt x="662" y="551"/>
                  </a:lnTo>
                  <a:lnTo>
                    <a:pt x="664" y="551"/>
                  </a:lnTo>
                  <a:lnTo>
                    <a:pt x="666" y="551"/>
                  </a:lnTo>
                  <a:lnTo>
                    <a:pt x="669" y="551"/>
                  </a:lnTo>
                  <a:lnTo>
                    <a:pt x="669" y="548"/>
                  </a:lnTo>
                  <a:lnTo>
                    <a:pt x="666" y="548"/>
                  </a:lnTo>
                  <a:lnTo>
                    <a:pt x="666" y="546"/>
                  </a:lnTo>
                  <a:lnTo>
                    <a:pt x="664" y="544"/>
                  </a:lnTo>
                  <a:lnTo>
                    <a:pt x="666" y="544"/>
                  </a:lnTo>
                  <a:lnTo>
                    <a:pt x="666" y="546"/>
                  </a:lnTo>
                  <a:lnTo>
                    <a:pt x="669" y="546"/>
                  </a:lnTo>
                  <a:lnTo>
                    <a:pt x="666" y="546"/>
                  </a:lnTo>
                  <a:lnTo>
                    <a:pt x="669" y="546"/>
                  </a:lnTo>
                  <a:lnTo>
                    <a:pt x="669" y="548"/>
                  </a:lnTo>
                  <a:lnTo>
                    <a:pt x="671" y="548"/>
                  </a:lnTo>
                  <a:lnTo>
                    <a:pt x="669" y="548"/>
                  </a:lnTo>
                  <a:lnTo>
                    <a:pt x="671" y="548"/>
                  </a:lnTo>
                  <a:lnTo>
                    <a:pt x="671" y="551"/>
                  </a:lnTo>
                  <a:lnTo>
                    <a:pt x="671" y="553"/>
                  </a:lnTo>
                  <a:lnTo>
                    <a:pt x="673" y="553"/>
                  </a:lnTo>
                  <a:lnTo>
                    <a:pt x="676" y="553"/>
                  </a:lnTo>
                  <a:lnTo>
                    <a:pt x="676" y="556"/>
                  </a:lnTo>
                  <a:lnTo>
                    <a:pt x="678" y="556"/>
                  </a:lnTo>
                  <a:lnTo>
                    <a:pt x="681" y="556"/>
                  </a:lnTo>
                  <a:lnTo>
                    <a:pt x="678" y="556"/>
                  </a:lnTo>
                  <a:lnTo>
                    <a:pt x="681" y="556"/>
                  </a:lnTo>
                  <a:lnTo>
                    <a:pt x="681" y="558"/>
                  </a:lnTo>
                  <a:lnTo>
                    <a:pt x="681" y="556"/>
                  </a:lnTo>
                  <a:lnTo>
                    <a:pt x="681" y="558"/>
                  </a:lnTo>
                  <a:lnTo>
                    <a:pt x="681" y="556"/>
                  </a:lnTo>
                  <a:lnTo>
                    <a:pt x="681" y="558"/>
                  </a:lnTo>
                  <a:lnTo>
                    <a:pt x="681" y="556"/>
                  </a:lnTo>
                  <a:lnTo>
                    <a:pt x="681" y="558"/>
                  </a:lnTo>
                  <a:lnTo>
                    <a:pt x="683" y="558"/>
                  </a:lnTo>
                  <a:lnTo>
                    <a:pt x="685" y="558"/>
                  </a:lnTo>
                  <a:lnTo>
                    <a:pt x="685" y="560"/>
                  </a:lnTo>
                  <a:lnTo>
                    <a:pt x="683" y="560"/>
                  </a:lnTo>
                  <a:lnTo>
                    <a:pt x="681" y="560"/>
                  </a:lnTo>
                  <a:lnTo>
                    <a:pt x="683" y="563"/>
                  </a:lnTo>
                  <a:lnTo>
                    <a:pt x="685" y="563"/>
                  </a:lnTo>
                  <a:lnTo>
                    <a:pt x="685" y="565"/>
                  </a:lnTo>
                  <a:lnTo>
                    <a:pt x="688" y="565"/>
                  </a:lnTo>
                  <a:lnTo>
                    <a:pt x="688" y="567"/>
                  </a:lnTo>
                  <a:lnTo>
                    <a:pt x="690" y="567"/>
                  </a:lnTo>
                  <a:lnTo>
                    <a:pt x="690" y="565"/>
                  </a:lnTo>
                  <a:lnTo>
                    <a:pt x="690" y="563"/>
                  </a:lnTo>
                  <a:lnTo>
                    <a:pt x="692" y="563"/>
                  </a:lnTo>
                  <a:lnTo>
                    <a:pt x="692" y="565"/>
                  </a:lnTo>
                  <a:lnTo>
                    <a:pt x="692" y="563"/>
                  </a:lnTo>
                  <a:lnTo>
                    <a:pt x="695" y="563"/>
                  </a:lnTo>
                  <a:lnTo>
                    <a:pt x="692" y="563"/>
                  </a:lnTo>
                  <a:lnTo>
                    <a:pt x="695" y="563"/>
                  </a:lnTo>
                  <a:lnTo>
                    <a:pt x="695" y="565"/>
                  </a:lnTo>
                  <a:lnTo>
                    <a:pt x="695" y="563"/>
                  </a:lnTo>
                  <a:lnTo>
                    <a:pt x="695" y="565"/>
                  </a:lnTo>
                  <a:lnTo>
                    <a:pt x="697" y="565"/>
                  </a:lnTo>
                  <a:lnTo>
                    <a:pt x="697" y="567"/>
                  </a:lnTo>
                  <a:lnTo>
                    <a:pt x="697" y="565"/>
                  </a:lnTo>
                  <a:lnTo>
                    <a:pt x="697" y="567"/>
                  </a:lnTo>
                  <a:lnTo>
                    <a:pt x="697" y="565"/>
                  </a:lnTo>
                  <a:lnTo>
                    <a:pt x="697" y="567"/>
                  </a:lnTo>
                  <a:lnTo>
                    <a:pt x="700" y="567"/>
                  </a:lnTo>
                  <a:lnTo>
                    <a:pt x="702" y="567"/>
                  </a:lnTo>
                  <a:lnTo>
                    <a:pt x="702" y="570"/>
                  </a:lnTo>
                  <a:lnTo>
                    <a:pt x="702" y="567"/>
                  </a:lnTo>
                  <a:lnTo>
                    <a:pt x="702" y="570"/>
                  </a:lnTo>
                  <a:lnTo>
                    <a:pt x="702" y="567"/>
                  </a:lnTo>
                  <a:lnTo>
                    <a:pt x="704" y="567"/>
                  </a:lnTo>
                  <a:lnTo>
                    <a:pt x="704" y="570"/>
                  </a:lnTo>
                  <a:lnTo>
                    <a:pt x="704" y="567"/>
                  </a:lnTo>
                  <a:lnTo>
                    <a:pt x="704" y="570"/>
                  </a:lnTo>
                  <a:lnTo>
                    <a:pt x="704" y="572"/>
                  </a:lnTo>
                  <a:lnTo>
                    <a:pt x="707" y="572"/>
                  </a:lnTo>
                  <a:lnTo>
                    <a:pt x="704" y="572"/>
                  </a:lnTo>
                  <a:lnTo>
                    <a:pt x="707" y="572"/>
                  </a:lnTo>
                  <a:lnTo>
                    <a:pt x="707" y="575"/>
                  </a:lnTo>
                  <a:lnTo>
                    <a:pt x="707" y="577"/>
                  </a:lnTo>
                  <a:lnTo>
                    <a:pt x="704" y="577"/>
                  </a:lnTo>
                  <a:lnTo>
                    <a:pt x="704" y="579"/>
                  </a:lnTo>
                  <a:lnTo>
                    <a:pt x="707" y="579"/>
                  </a:lnTo>
                  <a:lnTo>
                    <a:pt x="704" y="579"/>
                  </a:lnTo>
                  <a:lnTo>
                    <a:pt x="707" y="579"/>
                  </a:lnTo>
                  <a:lnTo>
                    <a:pt x="704" y="579"/>
                  </a:lnTo>
                  <a:lnTo>
                    <a:pt x="704" y="582"/>
                  </a:lnTo>
                  <a:lnTo>
                    <a:pt x="704" y="584"/>
                  </a:lnTo>
                  <a:lnTo>
                    <a:pt x="704" y="582"/>
                  </a:lnTo>
                  <a:lnTo>
                    <a:pt x="704" y="584"/>
                  </a:lnTo>
                  <a:lnTo>
                    <a:pt x="704" y="582"/>
                  </a:lnTo>
                  <a:lnTo>
                    <a:pt x="704" y="584"/>
                  </a:lnTo>
                  <a:lnTo>
                    <a:pt x="704" y="582"/>
                  </a:lnTo>
                  <a:lnTo>
                    <a:pt x="704" y="584"/>
                  </a:lnTo>
                  <a:lnTo>
                    <a:pt x="707" y="582"/>
                  </a:lnTo>
                  <a:lnTo>
                    <a:pt x="707" y="584"/>
                  </a:lnTo>
                  <a:lnTo>
                    <a:pt x="709" y="584"/>
                  </a:lnTo>
                  <a:lnTo>
                    <a:pt x="709" y="586"/>
                  </a:lnTo>
                  <a:lnTo>
                    <a:pt x="709" y="584"/>
                  </a:lnTo>
                  <a:lnTo>
                    <a:pt x="709" y="586"/>
                  </a:lnTo>
                  <a:lnTo>
                    <a:pt x="709" y="589"/>
                  </a:lnTo>
                  <a:lnTo>
                    <a:pt x="709" y="591"/>
                  </a:lnTo>
                  <a:lnTo>
                    <a:pt x="709" y="594"/>
                  </a:lnTo>
                  <a:lnTo>
                    <a:pt x="707" y="594"/>
                  </a:lnTo>
                  <a:lnTo>
                    <a:pt x="709" y="594"/>
                  </a:lnTo>
                  <a:lnTo>
                    <a:pt x="707" y="594"/>
                  </a:lnTo>
                  <a:lnTo>
                    <a:pt x="709" y="594"/>
                  </a:lnTo>
                  <a:lnTo>
                    <a:pt x="707" y="596"/>
                  </a:lnTo>
                  <a:lnTo>
                    <a:pt x="709" y="596"/>
                  </a:lnTo>
                  <a:lnTo>
                    <a:pt x="711" y="596"/>
                  </a:lnTo>
                  <a:lnTo>
                    <a:pt x="711" y="598"/>
                  </a:lnTo>
                  <a:lnTo>
                    <a:pt x="714" y="598"/>
                  </a:lnTo>
                  <a:lnTo>
                    <a:pt x="714" y="596"/>
                  </a:lnTo>
                  <a:lnTo>
                    <a:pt x="714" y="598"/>
                  </a:lnTo>
                  <a:lnTo>
                    <a:pt x="714" y="596"/>
                  </a:lnTo>
                  <a:lnTo>
                    <a:pt x="716" y="596"/>
                  </a:lnTo>
                  <a:lnTo>
                    <a:pt x="716" y="598"/>
                  </a:lnTo>
                  <a:lnTo>
                    <a:pt x="716" y="601"/>
                  </a:lnTo>
                  <a:lnTo>
                    <a:pt x="714" y="601"/>
                  </a:lnTo>
                  <a:lnTo>
                    <a:pt x="716" y="601"/>
                  </a:lnTo>
                  <a:lnTo>
                    <a:pt x="716" y="603"/>
                  </a:lnTo>
                  <a:lnTo>
                    <a:pt x="719" y="603"/>
                  </a:lnTo>
                  <a:lnTo>
                    <a:pt x="716" y="603"/>
                  </a:lnTo>
                  <a:lnTo>
                    <a:pt x="716" y="605"/>
                  </a:lnTo>
                  <a:lnTo>
                    <a:pt x="716" y="608"/>
                  </a:lnTo>
                  <a:lnTo>
                    <a:pt x="716" y="610"/>
                  </a:lnTo>
                  <a:lnTo>
                    <a:pt x="714" y="610"/>
                  </a:lnTo>
                  <a:lnTo>
                    <a:pt x="714" y="608"/>
                  </a:lnTo>
                  <a:lnTo>
                    <a:pt x="711" y="608"/>
                  </a:lnTo>
                  <a:lnTo>
                    <a:pt x="711" y="605"/>
                  </a:lnTo>
                  <a:lnTo>
                    <a:pt x="709" y="605"/>
                  </a:lnTo>
                  <a:lnTo>
                    <a:pt x="709" y="603"/>
                  </a:lnTo>
                  <a:lnTo>
                    <a:pt x="707" y="603"/>
                  </a:lnTo>
                  <a:lnTo>
                    <a:pt x="707" y="601"/>
                  </a:lnTo>
                  <a:lnTo>
                    <a:pt x="704" y="601"/>
                  </a:lnTo>
                  <a:lnTo>
                    <a:pt x="704" y="603"/>
                  </a:lnTo>
                  <a:lnTo>
                    <a:pt x="702" y="603"/>
                  </a:lnTo>
                  <a:lnTo>
                    <a:pt x="700" y="603"/>
                  </a:lnTo>
                  <a:lnTo>
                    <a:pt x="697" y="603"/>
                  </a:lnTo>
                  <a:lnTo>
                    <a:pt x="697" y="601"/>
                  </a:lnTo>
                  <a:lnTo>
                    <a:pt x="695" y="601"/>
                  </a:lnTo>
                  <a:lnTo>
                    <a:pt x="692" y="601"/>
                  </a:lnTo>
                  <a:lnTo>
                    <a:pt x="692" y="603"/>
                  </a:lnTo>
                  <a:lnTo>
                    <a:pt x="690" y="601"/>
                  </a:lnTo>
                  <a:lnTo>
                    <a:pt x="690" y="603"/>
                  </a:lnTo>
                  <a:lnTo>
                    <a:pt x="690" y="601"/>
                  </a:lnTo>
                  <a:lnTo>
                    <a:pt x="692" y="603"/>
                  </a:lnTo>
                  <a:lnTo>
                    <a:pt x="692" y="601"/>
                  </a:lnTo>
                  <a:lnTo>
                    <a:pt x="695" y="601"/>
                  </a:lnTo>
                  <a:lnTo>
                    <a:pt x="697" y="601"/>
                  </a:lnTo>
                  <a:lnTo>
                    <a:pt x="697" y="603"/>
                  </a:lnTo>
                  <a:lnTo>
                    <a:pt x="700" y="603"/>
                  </a:lnTo>
                  <a:lnTo>
                    <a:pt x="702" y="603"/>
                  </a:lnTo>
                  <a:lnTo>
                    <a:pt x="704" y="603"/>
                  </a:lnTo>
                  <a:lnTo>
                    <a:pt x="704" y="601"/>
                  </a:lnTo>
                  <a:lnTo>
                    <a:pt x="707" y="601"/>
                  </a:lnTo>
                  <a:lnTo>
                    <a:pt x="707" y="603"/>
                  </a:lnTo>
                  <a:lnTo>
                    <a:pt x="709" y="603"/>
                  </a:lnTo>
                  <a:lnTo>
                    <a:pt x="709" y="605"/>
                  </a:lnTo>
                  <a:lnTo>
                    <a:pt x="711" y="608"/>
                  </a:lnTo>
                  <a:lnTo>
                    <a:pt x="714" y="608"/>
                  </a:lnTo>
                  <a:lnTo>
                    <a:pt x="714" y="610"/>
                  </a:lnTo>
                  <a:lnTo>
                    <a:pt x="714" y="613"/>
                  </a:lnTo>
                  <a:lnTo>
                    <a:pt x="714" y="615"/>
                  </a:lnTo>
                  <a:lnTo>
                    <a:pt x="714" y="617"/>
                  </a:lnTo>
                  <a:lnTo>
                    <a:pt x="711" y="617"/>
                  </a:lnTo>
                  <a:lnTo>
                    <a:pt x="711" y="620"/>
                  </a:lnTo>
                  <a:lnTo>
                    <a:pt x="711" y="622"/>
                  </a:lnTo>
                  <a:lnTo>
                    <a:pt x="709" y="622"/>
                  </a:lnTo>
                  <a:lnTo>
                    <a:pt x="709" y="624"/>
                  </a:lnTo>
                  <a:lnTo>
                    <a:pt x="707" y="624"/>
                  </a:lnTo>
                  <a:lnTo>
                    <a:pt x="704" y="624"/>
                  </a:lnTo>
                  <a:lnTo>
                    <a:pt x="704" y="627"/>
                  </a:lnTo>
                  <a:lnTo>
                    <a:pt x="704" y="624"/>
                  </a:lnTo>
                  <a:lnTo>
                    <a:pt x="704" y="627"/>
                  </a:lnTo>
                  <a:lnTo>
                    <a:pt x="704" y="624"/>
                  </a:lnTo>
                  <a:lnTo>
                    <a:pt x="704" y="627"/>
                  </a:lnTo>
                  <a:lnTo>
                    <a:pt x="702" y="629"/>
                  </a:lnTo>
                  <a:lnTo>
                    <a:pt x="700" y="629"/>
                  </a:lnTo>
                  <a:lnTo>
                    <a:pt x="702" y="629"/>
                  </a:lnTo>
                  <a:lnTo>
                    <a:pt x="700" y="629"/>
                  </a:lnTo>
                  <a:lnTo>
                    <a:pt x="700" y="632"/>
                  </a:lnTo>
                  <a:lnTo>
                    <a:pt x="700" y="629"/>
                  </a:lnTo>
                  <a:lnTo>
                    <a:pt x="700" y="632"/>
                  </a:lnTo>
                  <a:lnTo>
                    <a:pt x="697" y="632"/>
                  </a:lnTo>
                  <a:lnTo>
                    <a:pt x="697" y="634"/>
                  </a:lnTo>
                  <a:lnTo>
                    <a:pt x="695" y="634"/>
                  </a:lnTo>
                  <a:lnTo>
                    <a:pt x="695" y="636"/>
                  </a:lnTo>
                  <a:lnTo>
                    <a:pt x="692" y="636"/>
                  </a:lnTo>
                  <a:lnTo>
                    <a:pt x="692" y="639"/>
                  </a:lnTo>
                  <a:lnTo>
                    <a:pt x="692" y="636"/>
                  </a:lnTo>
                  <a:lnTo>
                    <a:pt x="692" y="639"/>
                  </a:lnTo>
                  <a:lnTo>
                    <a:pt x="690" y="639"/>
                  </a:lnTo>
                  <a:lnTo>
                    <a:pt x="690" y="641"/>
                  </a:lnTo>
                  <a:lnTo>
                    <a:pt x="688" y="641"/>
                  </a:lnTo>
                  <a:lnTo>
                    <a:pt x="690" y="641"/>
                  </a:lnTo>
                  <a:lnTo>
                    <a:pt x="688" y="641"/>
                  </a:lnTo>
                  <a:lnTo>
                    <a:pt x="688" y="643"/>
                  </a:lnTo>
                  <a:lnTo>
                    <a:pt x="685" y="643"/>
                  </a:lnTo>
                  <a:lnTo>
                    <a:pt x="685" y="646"/>
                  </a:lnTo>
                  <a:lnTo>
                    <a:pt x="683" y="646"/>
                  </a:lnTo>
                  <a:lnTo>
                    <a:pt x="683" y="643"/>
                  </a:lnTo>
                  <a:lnTo>
                    <a:pt x="683" y="646"/>
                  </a:lnTo>
                  <a:lnTo>
                    <a:pt x="683" y="643"/>
                  </a:lnTo>
                  <a:lnTo>
                    <a:pt x="683" y="646"/>
                  </a:lnTo>
                  <a:lnTo>
                    <a:pt x="681" y="646"/>
                  </a:lnTo>
                  <a:lnTo>
                    <a:pt x="678" y="646"/>
                  </a:lnTo>
                  <a:lnTo>
                    <a:pt x="681" y="646"/>
                  </a:lnTo>
                  <a:lnTo>
                    <a:pt x="678" y="646"/>
                  </a:lnTo>
                  <a:lnTo>
                    <a:pt x="678" y="648"/>
                  </a:lnTo>
                  <a:lnTo>
                    <a:pt x="676" y="648"/>
                  </a:lnTo>
                  <a:lnTo>
                    <a:pt x="676" y="651"/>
                  </a:lnTo>
                  <a:lnTo>
                    <a:pt x="673" y="651"/>
                  </a:lnTo>
                  <a:lnTo>
                    <a:pt x="671" y="653"/>
                  </a:lnTo>
                  <a:lnTo>
                    <a:pt x="671" y="651"/>
                  </a:lnTo>
                  <a:lnTo>
                    <a:pt x="671" y="653"/>
                  </a:lnTo>
                  <a:lnTo>
                    <a:pt x="669" y="653"/>
                  </a:lnTo>
                  <a:lnTo>
                    <a:pt x="666" y="653"/>
                  </a:lnTo>
                  <a:lnTo>
                    <a:pt x="664" y="653"/>
                  </a:lnTo>
                  <a:lnTo>
                    <a:pt x="664" y="655"/>
                  </a:lnTo>
                  <a:lnTo>
                    <a:pt x="662" y="655"/>
                  </a:lnTo>
                  <a:lnTo>
                    <a:pt x="659" y="655"/>
                  </a:lnTo>
                  <a:lnTo>
                    <a:pt x="657" y="655"/>
                  </a:lnTo>
                  <a:lnTo>
                    <a:pt x="654" y="655"/>
                  </a:lnTo>
                  <a:lnTo>
                    <a:pt x="652" y="658"/>
                  </a:lnTo>
                  <a:lnTo>
                    <a:pt x="650" y="658"/>
                  </a:lnTo>
                  <a:lnTo>
                    <a:pt x="647" y="658"/>
                  </a:lnTo>
                  <a:lnTo>
                    <a:pt x="645" y="660"/>
                  </a:lnTo>
                  <a:lnTo>
                    <a:pt x="643" y="660"/>
                  </a:lnTo>
                  <a:lnTo>
                    <a:pt x="640" y="660"/>
                  </a:lnTo>
                  <a:lnTo>
                    <a:pt x="638" y="660"/>
                  </a:lnTo>
                  <a:lnTo>
                    <a:pt x="635" y="660"/>
                  </a:lnTo>
                  <a:lnTo>
                    <a:pt x="633" y="660"/>
                  </a:lnTo>
                  <a:lnTo>
                    <a:pt x="633" y="662"/>
                  </a:lnTo>
                  <a:lnTo>
                    <a:pt x="631" y="662"/>
                  </a:lnTo>
                  <a:lnTo>
                    <a:pt x="628" y="662"/>
                  </a:lnTo>
                  <a:lnTo>
                    <a:pt x="626" y="662"/>
                  </a:lnTo>
                  <a:lnTo>
                    <a:pt x="624" y="662"/>
                  </a:lnTo>
                  <a:lnTo>
                    <a:pt x="621" y="662"/>
                  </a:lnTo>
                  <a:lnTo>
                    <a:pt x="619" y="662"/>
                  </a:lnTo>
                  <a:lnTo>
                    <a:pt x="621" y="662"/>
                  </a:lnTo>
                  <a:lnTo>
                    <a:pt x="619" y="662"/>
                  </a:lnTo>
                  <a:lnTo>
                    <a:pt x="616" y="662"/>
                  </a:lnTo>
                  <a:lnTo>
                    <a:pt x="614" y="662"/>
                  </a:lnTo>
                  <a:lnTo>
                    <a:pt x="612" y="662"/>
                  </a:lnTo>
                  <a:lnTo>
                    <a:pt x="609" y="662"/>
                  </a:lnTo>
                  <a:lnTo>
                    <a:pt x="607" y="662"/>
                  </a:lnTo>
                  <a:lnTo>
                    <a:pt x="605" y="662"/>
                  </a:lnTo>
                  <a:lnTo>
                    <a:pt x="602" y="662"/>
                  </a:lnTo>
                  <a:lnTo>
                    <a:pt x="602" y="660"/>
                  </a:lnTo>
                  <a:lnTo>
                    <a:pt x="600" y="660"/>
                  </a:lnTo>
                  <a:lnTo>
                    <a:pt x="597" y="660"/>
                  </a:lnTo>
                  <a:lnTo>
                    <a:pt x="595" y="660"/>
                  </a:lnTo>
                  <a:lnTo>
                    <a:pt x="593" y="660"/>
                  </a:lnTo>
                  <a:lnTo>
                    <a:pt x="593" y="658"/>
                  </a:lnTo>
                  <a:lnTo>
                    <a:pt x="590" y="658"/>
                  </a:lnTo>
                  <a:lnTo>
                    <a:pt x="588" y="658"/>
                  </a:lnTo>
                  <a:lnTo>
                    <a:pt x="588" y="655"/>
                  </a:lnTo>
                  <a:lnTo>
                    <a:pt x="586" y="655"/>
                  </a:lnTo>
                  <a:lnTo>
                    <a:pt x="583" y="655"/>
                  </a:lnTo>
                  <a:lnTo>
                    <a:pt x="581" y="653"/>
                  </a:lnTo>
                  <a:lnTo>
                    <a:pt x="579" y="653"/>
                  </a:lnTo>
                  <a:lnTo>
                    <a:pt x="576" y="653"/>
                  </a:lnTo>
                  <a:lnTo>
                    <a:pt x="571" y="651"/>
                  </a:lnTo>
                  <a:lnTo>
                    <a:pt x="569" y="651"/>
                  </a:lnTo>
                  <a:lnTo>
                    <a:pt x="569" y="648"/>
                  </a:lnTo>
                  <a:lnTo>
                    <a:pt x="569" y="651"/>
                  </a:lnTo>
                  <a:lnTo>
                    <a:pt x="567" y="651"/>
                  </a:lnTo>
                  <a:lnTo>
                    <a:pt x="567" y="648"/>
                  </a:lnTo>
                  <a:lnTo>
                    <a:pt x="567" y="651"/>
                  </a:lnTo>
                  <a:lnTo>
                    <a:pt x="567" y="648"/>
                  </a:lnTo>
                  <a:lnTo>
                    <a:pt x="564" y="648"/>
                  </a:lnTo>
                  <a:lnTo>
                    <a:pt x="562" y="646"/>
                  </a:lnTo>
                  <a:lnTo>
                    <a:pt x="564" y="646"/>
                  </a:lnTo>
                  <a:lnTo>
                    <a:pt x="562" y="646"/>
                  </a:lnTo>
                  <a:lnTo>
                    <a:pt x="562" y="643"/>
                  </a:lnTo>
                  <a:lnTo>
                    <a:pt x="560" y="643"/>
                  </a:lnTo>
                  <a:lnTo>
                    <a:pt x="562" y="643"/>
                  </a:lnTo>
                  <a:lnTo>
                    <a:pt x="562" y="646"/>
                  </a:lnTo>
                  <a:lnTo>
                    <a:pt x="562" y="648"/>
                  </a:lnTo>
                  <a:lnTo>
                    <a:pt x="564" y="648"/>
                  </a:lnTo>
                  <a:lnTo>
                    <a:pt x="562" y="648"/>
                  </a:lnTo>
                  <a:lnTo>
                    <a:pt x="564" y="648"/>
                  </a:lnTo>
                  <a:lnTo>
                    <a:pt x="567" y="648"/>
                  </a:lnTo>
                  <a:lnTo>
                    <a:pt x="567" y="651"/>
                  </a:lnTo>
                  <a:lnTo>
                    <a:pt x="569" y="651"/>
                  </a:lnTo>
                  <a:lnTo>
                    <a:pt x="571" y="651"/>
                  </a:lnTo>
                  <a:lnTo>
                    <a:pt x="569" y="651"/>
                  </a:lnTo>
                  <a:lnTo>
                    <a:pt x="567" y="651"/>
                  </a:lnTo>
                  <a:lnTo>
                    <a:pt x="564" y="651"/>
                  </a:lnTo>
                  <a:lnTo>
                    <a:pt x="562" y="651"/>
                  </a:lnTo>
                  <a:lnTo>
                    <a:pt x="560" y="651"/>
                  </a:lnTo>
                  <a:lnTo>
                    <a:pt x="557" y="651"/>
                  </a:lnTo>
                  <a:lnTo>
                    <a:pt x="555" y="651"/>
                  </a:lnTo>
                  <a:lnTo>
                    <a:pt x="552" y="651"/>
                  </a:lnTo>
                  <a:lnTo>
                    <a:pt x="550" y="648"/>
                  </a:lnTo>
                  <a:lnTo>
                    <a:pt x="548" y="648"/>
                  </a:lnTo>
                  <a:lnTo>
                    <a:pt x="545" y="648"/>
                  </a:lnTo>
                  <a:lnTo>
                    <a:pt x="541" y="648"/>
                  </a:lnTo>
                  <a:lnTo>
                    <a:pt x="541" y="646"/>
                  </a:lnTo>
                  <a:lnTo>
                    <a:pt x="538" y="646"/>
                  </a:lnTo>
                  <a:lnTo>
                    <a:pt x="536" y="646"/>
                  </a:lnTo>
                  <a:lnTo>
                    <a:pt x="533" y="646"/>
                  </a:lnTo>
                  <a:lnTo>
                    <a:pt x="531" y="646"/>
                  </a:lnTo>
                  <a:lnTo>
                    <a:pt x="529" y="646"/>
                  </a:lnTo>
                  <a:lnTo>
                    <a:pt x="526" y="646"/>
                  </a:lnTo>
                  <a:lnTo>
                    <a:pt x="526" y="643"/>
                  </a:lnTo>
                  <a:lnTo>
                    <a:pt x="524" y="643"/>
                  </a:lnTo>
                  <a:lnTo>
                    <a:pt x="522" y="643"/>
                  </a:lnTo>
                  <a:lnTo>
                    <a:pt x="519" y="643"/>
                  </a:lnTo>
                  <a:lnTo>
                    <a:pt x="519" y="641"/>
                  </a:lnTo>
                  <a:lnTo>
                    <a:pt x="517" y="641"/>
                  </a:lnTo>
                  <a:lnTo>
                    <a:pt x="517" y="639"/>
                  </a:lnTo>
                  <a:lnTo>
                    <a:pt x="517" y="641"/>
                  </a:lnTo>
                  <a:lnTo>
                    <a:pt x="517" y="639"/>
                  </a:lnTo>
                  <a:lnTo>
                    <a:pt x="514" y="639"/>
                  </a:lnTo>
                  <a:lnTo>
                    <a:pt x="512" y="639"/>
                  </a:lnTo>
                  <a:lnTo>
                    <a:pt x="512" y="636"/>
                  </a:lnTo>
                  <a:lnTo>
                    <a:pt x="512" y="639"/>
                  </a:lnTo>
                  <a:lnTo>
                    <a:pt x="510" y="636"/>
                  </a:lnTo>
                  <a:lnTo>
                    <a:pt x="507" y="636"/>
                  </a:lnTo>
                  <a:lnTo>
                    <a:pt x="507" y="634"/>
                  </a:lnTo>
                  <a:lnTo>
                    <a:pt x="505" y="634"/>
                  </a:lnTo>
                  <a:lnTo>
                    <a:pt x="505" y="632"/>
                  </a:lnTo>
                  <a:lnTo>
                    <a:pt x="503" y="632"/>
                  </a:lnTo>
                  <a:lnTo>
                    <a:pt x="500" y="632"/>
                  </a:lnTo>
                  <a:lnTo>
                    <a:pt x="498" y="632"/>
                  </a:lnTo>
                  <a:lnTo>
                    <a:pt x="498" y="634"/>
                  </a:lnTo>
                  <a:lnTo>
                    <a:pt x="495" y="634"/>
                  </a:lnTo>
                  <a:lnTo>
                    <a:pt x="498" y="634"/>
                  </a:lnTo>
                  <a:lnTo>
                    <a:pt x="495" y="634"/>
                  </a:lnTo>
                  <a:lnTo>
                    <a:pt x="495" y="636"/>
                  </a:lnTo>
                  <a:lnTo>
                    <a:pt x="493" y="636"/>
                  </a:lnTo>
                  <a:lnTo>
                    <a:pt x="491" y="636"/>
                  </a:lnTo>
                  <a:lnTo>
                    <a:pt x="488" y="634"/>
                  </a:lnTo>
                  <a:lnTo>
                    <a:pt x="486" y="634"/>
                  </a:lnTo>
                  <a:lnTo>
                    <a:pt x="486" y="632"/>
                  </a:lnTo>
                  <a:lnTo>
                    <a:pt x="488" y="632"/>
                  </a:lnTo>
                  <a:lnTo>
                    <a:pt x="488" y="629"/>
                  </a:lnTo>
                  <a:lnTo>
                    <a:pt x="488" y="632"/>
                  </a:lnTo>
                  <a:lnTo>
                    <a:pt x="491" y="632"/>
                  </a:lnTo>
                  <a:lnTo>
                    <a:pt x="491" y="629"/>
                  </a:lnTo>
                  <a:lnTo>
                    <a:pt x="491" y="632"/>
                  </a:lnTo>
                  <a:lnTo>
                    <a:pt x="493" y="632"/>
                  </a:lnTo>
                  <a:lnTo>
                    <a:pt x="491" y="629"/>
                  </a:lnTo>
                  <a:lnTo>
                    <a:pt x="488" y="629"/>
                  </a:lnTo>
                  <a:lnTo>
                    <a:pt x="486" y="629"/>
                  </a:lnTo>
                  <a:lnTo>
                    <a:pt x="488" y="629"/>
                  </a:lnTo>
                  <a:lnTo>
                    <a:pt x="486" y="629"/>
                  </a:lnTo>
                  <a:lnTo>
                    <a:pt x="486" y="627"/>
                  </a:lnTo>
                  <a:lnTo>
                    <a:pt x="486" y="629"/>
                  </a:lnTo>
                  <a:lnTo>
                    <a:pt x="486" y="627"/>
                  </a:lnTo>
                  <a:lnTo>
                    <a:pt x="486" y="629"/>
                  </a:lnTo>
                  <a:lnTo>
                    <a:pt x="484" y="629"/>
                  </a:lnTo>
                  <a:lnTo>
                    <a:pt x="484" y="627"/>
                  </a:lnTo>
                  <a:lnTo>
                    <a:pt x="484" y="629"/>
                  </a:lnTo>
                  <a:lnTo>
                    <a:pt x="481" y="629"/>
                  </a:lnTo>
                  <a:lnTo>
                    <a:pt x="481" y="627"/>
                  </a:lnTo>
                  <a:lnTo>
                    <a:pt x="484" y="627"/>
                  </a:lnTo>
                  <a:lnTo>
                    <a:pt x="481" y="627"/>
                  </a:lnTo>
                  <a:lnTo>
                    <a:pt x="484" y="627"/>
                  </a:lnTo>
                  <a:lnTo>
                    <a:pt x="481" y="627"/>
                  </a:lnTo>
                  <a:lnTo>
                    <a:pt x="481" y="629"/>
                  </a:lnTo>
                  <a:lnTo>
                    <a:pt x="481" y="627"/>
                  </a:lnTo>
                  <a:lnTo>
                    <a:pt x="479" y="627"/>
                  </a:lnTo>
                  <a:lnTo>
                    <a:pt x="481" y="627"/>
                  </a:lnTo>
                  <a:lnTo>
                    <a:pt x="479" y="627"/>
                  </a:lnTo>
                  <a:lnTo>
                    <a:pt x="479" y="629"/>
                  </a:lnTo>
                  <a:lnTo>
                    <a:pt x="476" y="627"/>
                  </a:lnTo>
                  <a:lnTo>
                    <a:pt x="479" y="627"/>
                  </a:lnTo>
                  <a:lnTo>
                    <a:pt x="479" y="624"/>
                  </a:lnTo>
                  <a:lnTo>
                    <a:pt x="481" y="624"/>
                  </a:lnTo>
                  <a:lnTo>
                    <a:pt x="479" y="622"/>
                  </a:lnTo>
                  <a:lnTo>
                    <a:pt x="479" y="624"/>
                  </a:lnTo>
                  <a:lnTo>
                    <a:pt x="479" y="627"/>
                  </a:lnTo>
                  <a:lnTo>
                    <a:pt x="476" y="627"/>
                  </a:lnTo>
                  <a:lnTo>
                    <a:pt x="476" y="624"/>
                  </a:lnTo>
                  <a:lnTo>
                    <a:pt x="474" y="624"/>
                  </a:lnTo>
                  <a:lnTo>
                    <a:pt x="476" y="624"/>
                  </a:lnTo>
                  <a:lnTo>
                    <a:pt x="476" y="622"/>
                  </a:lnTo>
                  <a:lnTo>
                    <a:pt x="476" y="624"/>
                  </a:lnTo>
                  <a:lnTo>
                    <a:pt x="474" y="624"/>
                  </a:lnTo>
                  <a:lnTo>
                    <a:pt x="476" y="624"/>
                  </a:lnTo>
                  <a:lnTo>
                    <a:pt x="476" y="627"/>
                  </a:lnTo>
                  <a:lnTo>
                    <a:pt x="474" y="627"/>
                  </a:lnTo>
                  <a:lnTo>
                    <a:pt x="476" y="627"/>
                  </a:lnTo>
                  <a:lnTo>
                    <a:pt x="474" y="627"/>
                  </a:lnTo>
                  <a:lnTo>
                    <a:pt x="472" y="627"/>
                  </a:lnTo>
                  <a:lnTo>
                    <a:pt x="472" y="624"/>
                  </a:lnTo>
                  <a:lnTo>
                    <a:pt x="469" y="627"/>
                  </a:lnTo>
                  <a:lnTo>
                    <a:pt x="469" y="624"/>
                  </a:lnTo>
                  <a:lnTo>
                    <a:pt x="469" y="627"/>
                  </a:lnTo>
                  <a:lnTo>
                    <a:pt x="469" y="624"/>
                  </a:lnTo>
                  <a:lnTo>
                    <a:pt x="469" y="627"/>
                  </a:lnTo>
                  <a:lnTo>
                    <a:pt x="469" y="624"/>
                  </a:lnTo>
                  <a:lnTo>
                    <a:pt x="469" y="627"/>
                  </a:lnTo>
                  <a:lnTo>
                    <a:pt x="469" y="624"/>
                  </a:lnTo>
                  <a:lnTo>
                    <a:pt x="467" y="624"/>
                  </a:lnTo>
                  <a:lnTo>
                    <a:pt x="469" y="624"/>
                  </a:lnTo>
                  <a:lnTo>
                    <a:pt x="467" y="624"/>
                  </a:lnTo>
                  <a:lnTo>
                    <a:pt x="469" y="624"/>
                  </a:lnTo>
                  <a:lnTo>
                    <a:pt x="467" y="624"/>
                  </a:lnTo>
                  <a:lnTo>
                    <a:pt x="469" y="624"/>
                  </a:lnTo>
                  <a:lnTo>
                    <a:pt x="467" y="624"/>
                  </a:lnTo>
                  <a:lnTo>
                    <a:pt x="467" y="622"/>
                  </a:lnTo>
                  <a:lnTo>
                    <a:pt x="469" y="622"/>
                  </a:lnTo>
                  <a:lnTo>
                    <a:pt x="467" y="622"/>
                  </a:lnTo>
                  <a:lnTo>
                    <a:pt x="467" y="624"/>
                  </a:lnTo>
                  <a:lnTo>
                    <a:pt x="467" y="622"/>
                  </a:lnTo>
                  <a:lnTo>
                    <a:pt x="465" y="622"/>
                  </a:lnTo>
                  <a:lnTo>
                    <a:pt x="465" y="620"/>
                  </a:lnTo>
                  <a:lnTo>
                    <a:pt x="462" y="620"/>
                  </a:lnTo>
                  <a:lnTo>
                    <a:pt x="465" y="620"/>
                  </a:lnTo>
                  <a:lnTo>
                    <a:pt x="462" y="620"/>
                  </a:lnTo>
                  <a:lnTo>
                    <a:pt x="462" y="617"/>
                  </a:lnTo>
                  <a:lnTo>
                    <a:pt x="462" y="620"/>
                  </a:lnTo>
                  <a:lnTo>
                    <a:pt x="460" y="620"/>
                  </a:lnTo>
                  <a:lnTo>
                    <a:pt x="462" y="622"/>
                  </a:lnTo>
                  <a:lnTo>
                    <a:pt x="460" y="622"/>
                  </a:lnTo>
                  <a:lnTo>
                    <a:pt x="460" y="620"/>
                  </a:lnTo>
                  <a:lnTo>
                    <a:pt x="460" y="622"/>
                  </a:lnTo>
                  <a:lnTo>
                    <a:pt x="462" y="624"/>
                  </a:lnTo>
                  <a:lnTo>
                    <a:pt x="460" y="624"/>
                  </a:lnTo>
                  <a:lnTo>
                    <a:pt x="462" y="622"/>
                  </a:lnTo>
                  <a:lnTo>
                    <a:pt x="460" y="622"/>
                  </a:lnTo>
                  <a:lnTo>
                    <a:pt x="462" y="622"/>
                  </a:lnTo>
                  <a:lnTo>
                    <a:pt x="462" y="624"/>
                  </a:lnTo>
                  <a:lnTo>
                    <a:pt x="460" y="624"/>
                  </a:lnTo>
                  <a:lnTo>
                    <a:pt x="460" y="622"/>
                  </a:lnTo>
                  <a:lnTo>
                    <a:pt x="460" y="624"/>
                  </a:lnTo>
                  <a:lnTo>
                    <a:pt x="462" y="624"/>
                  </a:lnTo>
                  <a:lnTo>
                    <a:pt x="460" y="624"/>
                  </a:lnTo>
                  <a:lnTo>
                    <a:pt x="462" y="624"/>
                  </a:lnTo>
                  <a:lnTo>
                    <a:pt x="462" y="627"/>
                  </a:lnTo>
                  <a:lnTo>
                    <a:pt x="460" y="624"/>
                  </a:lnTo>
                  <a:lnTo>
                    <a:pt x="458" y="624"/>
                  </a:lnTo>
                  <a:lnTo>
                    <a:pt x="460" y="624"/>
                  </a:lnTo>
                  <a:lnTo>
                    <a:pt x="458" y="624"/>
                  </a:lnTo>
                  <a:lnTo>
                    <a:pt x="455" y="624"/>
                  </a:lnTo>
                  <a:lnTo>
                    <a:pt x="453" y="622"/>
                  </a:lnTo>
                  <a:lnTo>
                    <a:pt x="450" y="622"/>
                  </a:lnTo>
                  <a:lnTo>
                    <a:pt x="450" y="620"/>
                  </a:lnTo>
                  <a:lnTo>
                    <a:pt x="448" y="620"/>
                  </a:lnTo>
                  <a:lnTo>
                    <a:pt x="446" y="620"/>
                  </a:lnTo>
                  <a:lnTo>
                    <a:pt x="446" y="617"/>
                  </a:lnTo>
                  <a:lnTo>
                    <a:pt x="443" y="617"/>
                  </a:lnTo>
                  <a:lnTo>
                    <a:pt x="443" y="615"/>
                  </a:lnTo>
                  <a:lnTo>
                    <a:pt x="441" y="615"/>
                  </a:lnTo>
                  <a:lnTo>
                    <a:pt x="439" y="615"/>
                  </a:lnTo>
                  <a:lnTo>
                    <a:pt x="439" y="613"/>
                  </a:lnTo>
                  <a:lnTo>
                    <a:pt x="436" y="613"/>
                  </a:lnTo>
                  <a:lnTo>
                    <a:pt x="436" y="610"/>
                  </a:lnTo>
                  <a:lnTo>
                    <a:pt x="434" y="608"/>
                  </a:lnTo>
                  <a:lnTo>
                    <a:pt x="434" y="605"/>
                  </a:lnTo>
                  <a:lnTo>
                    <a:pt x="436" y="605"/>
                  </a:lnTo>
                  <a:lnTo>
                    <a:pt x="439" y="605"/>
                  </a:lnTo>
                  <a:lnTo>
                    <a:pt x="441" y="605"/>
                  </a:lnTo>
                  <a:lnTo>
                    <a:pt x="439" y="605"/>
                  </a:lnTo>
                  <a:lnTo>
                    <a:pt x="436" y="605"/>
                  </a:lnTo>
                  <a:lnTo>
                    <a:pt x="434" y="605"/>
                  </a:lnTo>
                  <a:lnTo>
                    <a:pt x="431" y="605"/>
                  </a:lnTo>
                  <a:lnTo>
                    <a:pt x="431" y="603"/>
                  </a:lnTo>
                  <a:lnTo>
                    <a:pt x="429" y="603"/>
                  </a:lnTo>
                  <a:lnTo>
                    <a:pt x="427" y="603"/>
                  </a:lnTo>
                  <a:lnTo>
                    <a:pt x="424" y="603"/>
                  </a:lnTo>
                  <a:lnTo>
                    <a:pt x="422" y="603"/>
                  </a:lnTo>
                  <a:lnTo>
                    <a:pt x="422" y="601"/>
                  </a:lnTo>
                  <a:lnTo>
                    <a:pt x="420" y="601"/>
                  </a:lnTo>
                  <a:lnTo>
                    <a:pt x="417" y="601"/>
                  </a:lnTo>
                  <a:lnTo>
                    <a:pt x="417" y="603"/>
                  </a:lnTo>
                  <a:lnTo>
                    <a:pt x="417" y="601"/>
                  </a:lnTo>
                  <a:lnTo>
                    <a:pt x="417" y="603"/>
                  </a:lnTo>
                  <a:lnTo>
                    <a:pt x="415" y="601"/>
                  </a:lnTo>
                  <a:lnTo>
                    <a:pt x="412" y="601"/>
                  </a:lnTo>
                  <a:lnTo>
                    <a:pt x="412" y="603"/>
                  </a:lnTo>
                  <a:lnTo>
                    <a:pt x="415" y="603"/>
                  </a:lnTo>
                  <a:lnTo>
                    <a:pt x="412" y="603"/>
                  </a:lnTo>
                  <a:lnTo>
                    <a:pt x="415" y="603"/>
                  </a:lnTo>
                  <a:lnTo>
                    <a:pt x="417" y="603"/>
                  </a:lnTo>
                  <a:lnTo>
                    <a:pt x="417" y="605"/>
                  </a:lnTo>
                  <a:lnTo>
                    <a:pt x="417" y="603"/>
                  </a:lnTo>
                  <a:lnTo>
                    <a:pt x="420" y="603"/>
                  </a:lnTo>
                  <a:lnTo>
                    <a:pt x="417" y="605"/>
                  </a:lnTo>
                  <a:lnTo>
                    <a:pt x="420" y="605"/>
                  </a:lnTo>
                  <a:lnTo>
                    <a:pt x="417" y="605"/>
                  </a:lnTo>
                  <a:lnTo>
                    <a:pt x="420" y="605"/>
                  </a:lnTo>
                  <a:lnTo>
                    <a:pt x="420" y="608"/>
                  </a:lnTo>
                  <a:lnTo>
                    <a:pt x="422" y="608"/>
                  </a:lnTo>
                  <a:lnTo>
                    <a:pt x="424" y="608"/>
                  </a:lnTo>
                  <a:lnTo>
                    <a:pt x="427" y="608"/>
                  </a:lnTo>
                  <a:lnTo>
                    <a:pt x="427" y="610"/>
                  </a:lnTo>
                  <a:lnTo>
                    <a:pt x="427" y="613"/>
                  </a:lnTo>
                  <a:lnTo>
                    <a:pt x="424" y="613"/>
                  </a:lnTo>
                  <a:lnTo>
                    <a:pt x="427" y="613"/>
                  </a:lnTo>
                  <a:lnTo>
                    <a:pt x="424" y="613"/>
                  </a:lnTo>
                  <a:lnTo>
                    <a:pt x="422" y="613"/>
                  </a:lnTo>
                  <a:lnTo>
                    <a:pt x="424" y="613"/>
                  </a:lnTo>
                  <a:lnTo>
                    <a:pt x="427" y="613"/>
                  </a:lnTo>
                  <a:lnTo>
                    <a:pt x="427" y="615"/>
                  </a:lnTo>
                  <a:lnTo>
                    <a:pt x="424" y="615"/>
                  </a:lnTo>
                  <a:lnTo>
                    <a:pt x="424" y="613"/>
                  </a:lnTo>
                  <a:lnTo>
                    <a:pt x="424" y="615"/>
                  </a:lnTo>
                  <a:lnTo>
                    <a:pt x="424" y="613"/>
                  </a:lnTo>
                  <a:lnTo>
                    <a:pt x="424" y="615"/>
                  </a:lnTo>
                  <a:lnTo>
                    <a:pt x="424" y="613"/>
                  </a:lnTo>
                  <a:lnTo>
                    <a:pt x="424" y="615"/>
                  </a:lnTo>
                  <a:lnTo>
                    <a:pt x="424" y="617"/>
                  </a:lnTo>
                  <a:lnTo>
                    <a:pt x="424" y="615"/>
                  </a:lnTo>
                  <a:lnTo>
                    <a:pt x="424" y="617"/>
                  </a:lnTo>
                  <a:lnTo>
                    <a:pt x="424" y="615"/>
                  </a:lnTo>
                  <a:lnTo>
                    <a:pt x="424" y="617"/>
                  </a:lnTo>
                  <a:lnTo>
                    <a:pt x="424" y="615"/>
                  </a:lnTo>
                  <a:lnTo>
                    <a:pt x="422" y="615"/>
                  </a:lnTo>
                  <a:lnTo>
                    <a:pt x="422" y="617"/>
                  </a:lnTo>
                  <a:lnTo>
                    <a:pt x="424" y="617"/>
                  </a:lnTo>
                  <a:lnTo>
                    <a:pt x="427" y="617"/>
                  </a:lnTo>
                  <a:lnTo>
                    <a:pt x="429" y="617"/>
                  </a:lnTo>
                  <a:lnTo>
                    <a:pt x="429" y="620"/>
                  </a:lnTo>
                  <a:lnTo>
                    <a:pt x="431" y="620"/>
                  </a:lnTo>
                  <a:lnTo>
                    <a:pt x="431" y="622"/>
                  </a:lnTo>
                  <a:lnTo>
                    <a:pt x="434" y="622"/>
                  </a:lnTo>
                  <a:lnTo>
                    <a:pt x="436" y="622"/>
                  </a:lnTo>
                  <a:lnTo>
                    <a:pt x="439" y="624"/>
                  </a:lnTo>
                  <a:lnTo>
                    <a:pt x="441" y="624"/>
                  </a:lnTo>
                  <a:lnTo>
                    <a:pt x="439" y="624"/>
                  </a:lnTo>
                  <a:lnTo>
                    <a:pt x="436" y="624"/>
                  </a:lnTo>
                  <a:lnTo>
                    <a:pt x="439" y="624"/>
                  </a:lnTo>
                  <a:lnTo>
                    <a:pt x="439" y="627"/>
                  </a:lnTo>
                  <a:lnTo>
                    <a:pt x="436" y="627"/>
                  </a:lnTo>
                  <a:lnTo>
                    <a:pt x="436" y="624"/>
                  </a:lnTo>
                  <a:lnTo>
                    <a:pt x="434" y="624"/>
                  </a:lnTo>
                  <a:lnTo>
                    <a:pt x="436" y="624"/>
                  </a:lnTo>
                  <a:lnTo>
                    <a:pt x="434" y="624"/>
                  </a:lnTo>
                  <a:lnTo>
                    <a:pt x="436" y="624"/>
                  </a:lnTo>
                  <a:lnTo>
                    <a:pt x="434" y="624"/>
                  </a:lnTo>
                  <a:lnTo>
                    <a:pt x="431" y="624"/>
                  </a:lnTo>
                  <a:lnTo>
                    <a:pt x="434" y="624"/>
                  </a:lnTo>
                  <a:lnTo>
                    <a:pt x="434" y="627"/>
                  </a:lnTo>
                  <a:lnTo>
                    <a:pt x="436" y="627"/>
                  </a:lnTo>
                  <a:lnTo>
                    <a:pt x="436" y="629"/>
                  </a:lnTo>
                  <a:lnTo>
                    <a:pt x="436" y="627"/>
                  </a:lnTo>
                  <a:lnTo>
                    <a:pt x="439" y="627"/>
                  </a:lnTo>
                  <a:lnTo>
                    <a:pt x="441" y="627"/>
                  </a:lnTo>
                  <a:lnTo>
                    <a:pt x="443" y="627"/>
                  </a:lnTo>
                  <a:lnTo>
                    <a:pt x="443" y="629"/>
                  </a:lnTo>
                  <a:lnTo>
                    <a:pt x="443" y="627"/>
                  </a:lnTo>
                  <a:lnTo>
                    <a:pt x="443" y="629"/>
                  </a:lnTo>
                  <a:lnTo>
                    <a:pt x="446" y="629"/>
                  </a:lnTo>
                  <a:lnTo>
                    <a:pt x="443" y="629"/>
                  </a:lnTo>
                  <a:lnTo>
                    <a:pt x="443" y="627"/>
                  </a:lnTo>
                  <a:lnTo>
                    <a:pt x="446" y="629"/>
                  </a:lnTo>
                  <a:lnTo>
                    <a:pt x="446" y="627"/>
                  </a:lnTo>
                  <a:lnTo>
                    <a:pt x="446" y="629"/>
                  </a:lnTo>
                  <a:lnTo>
                    <a:pt x="448" y="629"/>
                  </a:lnTo>
                  <a:lnTo>
                    <a:pt x="448" y="627"/>
                  </a:lnTo>
                  <a:lnTo>
                    <a:pt x="448" y="629"/>
                  </a:lnTo>
                  <a:lnTo>
                    <a:pt x="450" y="629"/>
                  </a:lnTo>
                  <a:lnTo>
                    <a:pt x="453" y="629"/>
                  </a:lnTo>
                  <a:lnTo>
                    <a:pt x="450" y="629"/>
                  </a:lnTo>
                  <a:lnTo>
                    <a:pt x="450" y="632"/>
                  </a:lnTo>
                  <a:lnTo>
                    <a:pt x="453" y="632"/>
                  </a:lnTo>
                  <a:lnTo>
                    <a:pt x="450" y="632"/>
                  </a:lnTo>
                  <a:lnTo>
                    <a:pt x="450" y="629"/>
                  </a:lnTo>
                  <a:lnTo>
                    <a:pt x="448" y="629"/>
                  </a:lnTo>
                  <a:lnTo>
                    <a:pt x="448" y="632"/>
                  </a:lnTo>
                  <a:lnTo>
                    <a:pt x="448" y="629"/>
                  </a:lnTo>
                  <a:lnTo>
                    <a:pt x="446" y="629"/>
                  </a:lnTo>
                  <a:lnTo>
                    <a:pt x="446" y="632"/>
                  </a:lnTo>
                  <a:lnTo>
                    <a:pt x="443" y="632"/>
                  </a:lnTo>
                  <a:lnTo>
                    <a:pt x="443" y="634"/>
                  </a:lnTo>
                  <a:lnTo>
                    <a:pt x="446" y="634"/>
                  </a:lnTo>
                  <a:lnTo>
                    <a:pt x="443" y="634"/>
                  </a:lnTo>
                  <a:lnTo>
                    <a:pt x="441" y="634"/>
                  </a:lnTo>
                  <a:lnTo>
                    <a:pt x="441" y="632"/>
                  </a:lnTo>
                  <a:lnTo>
                    <a:pt x="441" y="634"/>
                  </a:lnTo>
                  <a:lnTo>
                    <a:pt x="441" y="632"/>
                  </a:lnTo>
                  <a:lnTo>
                    <a:pt x="439" y="634"/>
                  </a:lnTo>
                  <a:lnTo>
                    <a:pt x="439" y="632"/>
                  </a:lnTo>
                  <a:lnTo>
                    <a:pt x="439" y="634"/>
                  </a:lnTo>
                  <a:lnTo>
                    <a:pt x="439" y="632"/>
                  </a:lnTo>
                  <a:lnTo>
                    <a:pt x="436" y="632"/>
                  </a:lnTo>
                  <a:lnTo>
                    <a:pt x="436" y="634"/>
                  </a:lnTo>
                  <a:lnTo>
                    <a:pt x="436" y="632"/>
                  </a:lnTo>
                  <a:lnTo>
                    <a:pt x="436" y="634"/>
                  </a:lnTo>
                  <a:lnTo>
                    <a:pt x="436" y="632"/>
                  </a:lnTo>
                  <a:lnTo>
                    <a:pt x="436" y="634"/>
                  </a:lnTo>
                  <a:lnTo>
                    <a:pt x="439" y="634"/>
                  </a:lnTo>
                  <a:lnTo>
                    <a:pt x="441" y="634"/>
                  </a:lnTo>
                  <a:lnTo>
                    <a:pt x="439" y="634"/>
                  </a:lnTo>
                  <a:lnTo>
                    <a:pt x="441" y="634"/>
                  </a:lnTo>
                  <a:lnTo>
                    <a:pt x="443" y="634"/>
                  </a:lnTo>
                  <a:lnTo>
                    <a:pt x="446" y="634"/>
                  </a:lnTo>
                  <a:lnTo>
                    <a:pt x="446" y="636"/>
                  </a:lnTo>
                  <a:lnTo>
                    <a:pt x="446" y="634"/>
                  </a:lnTo>
                  <a:lnTo>
                    <a:pt x="446" y="636"/>
                  </a:lnTo>
                  <a:lnTo>
                    <a:pt x="448" y="636"/>
                  </a:lnTo>
                  <a:lnTo>
                    <a:pt x="446" y="636"/>
                  </a:lnTo>
                  <a:lnTo>
                    <a:pt x="443" y="636"/>
                  </a:lnTo>
                  <a:lnTo>
                    <a:pt x="446" y="636"/>
                  </a:lnTo>
                  <a:lnTo>
                    <a:pt x="443" y="636"/>
                  </a:lnTo>
                  <a:lnTo>
                    <a:pt x="441" y="636"/>
                  </a:lnTo>
                  <a:lnTo>
                    <a:pt x="439" y="636"/>
                  </a:lnTo>
                  <a:lnTo>
                    <a:pt x="441" y="636"/>
                  </a:lnTo>
                  <a:lnTo>
                    <a:pt x="441" y="639"/>
                  </a:lnTo>
                  <a:lnTo>
                    <a:pt x="443" y="639"/>
                  </a:lnTo>
                  <a:lnTo>
                    <a:pt x="446" y="639"/>
                  </a:lnTo>
                  <a:lnTo>
                    <a:pt x="446" y="636"/>
                  </a:lnTo>
                  <a:lnTo>
                    <a:pt x="446" y="639"/>
                  </a:lnTo>
                  <a:lnTo>
                    <a:pt x="446" y="636"/>
                  </a:lnTo>
                  <a:lnTo>
                    <a:pt x="448" y="636"/>
                  </a:lnTo>
                  <a:lnTo>
                    <a:pt x="450" y="636"/>
                  </a:lnTo>
                  <a:lnTo>
                    <a:pt x="448" y="636"/>
                  </a:lnTo>
                  <a:lnTo>
                    <a:pt x="450" y="636"/>
                  </a:lnTo>
                  <a:lnTo>
                    <a:pt x="450" y="639"/>
                  </a:lnTo>
                  <a:lnTo>
                    <a:pt x="453" y="639"/>
                  </a:lnTo>
                  <a:lnTo>
                    <a:pt x="453" y="641"/>
                  </a:lnTo>
                  <a:lnTo>
                    <a:pt x="455" y="641"/>
                  </a:lnTo>
                  <a:lnTo>
                    <a:pt x="458" y="641"/>
                  </a:lnTo>
                  <a:lnTo>
                    <a:pt x="460" y="641"/>
                  </a:lnTo>
                  <a:lnTo>
                    <a:pt x="458" y="641"/>
                  </a:lnTo>
                  <a:lnTo>
                    <a:pt x="460" y="641"/>
                  </a:lnTo>
                  <a:lnTo>
                    <a:pt x="458" y="641"/>
                  </a:lnTo>
                  <a:lnTo>
                    <a:pt x="460" y="639"/>
                  </a:lnTo>
                  <a:lnTo>
                    <a:pt x="462" y="639"/>
                  </a:lnTo>
                  <a:lnTo>
                    <a:pt x="462" y="641"/>
                  </a:lnTo>
                  <a:lnTo>
                    <a:pt x="460" y="641"/>
                  </a:lnTo>
                  <a:lnTo>
                    <a:pt x="462" y="641"/>
                  </a:lnTo>
                  <a:lnTo>
                    <a:pt x="462" y="643"/>
                  </a:lnTo>
                  <a:lnTo>
                    <a:pt x="465" y="643"/>
                  </a:lnTo>
                  <a:lnTo>
                    <a:pt x="462" y="643"/>
                  </a:lnTo>
                  <a:lnTo>
                    <a:pt x="460" y="643"/>
                  </a:lnTo>
                  <a:lnTo>
                    <a:pt x="458" y="643"/>
                  </a:lnTo>
                  <a:lnTo>
                    <a:pt x="460" y="643"/>
                  </a:lnTo>
                  <a:lnTo>
                    <a:pt x="458" y="643"/>
                  </a:lnTo>
                  <a:lnTo>
                    <a:pt x="458" y="646"/>
                  </a:lnTo>
                  <a:lnTo>
                    <a:pt x="460" y="646"/>
                  </a:lnTo>
                  <a:lnTo>
                    <a:pt x="462" y="646"/>
                  </a:lnTo>
                  <a:lnTo>
                    <a:pt x="460" y="646"/>
                  </a:lnTo>
                  <a:lnTo>
                    <a:pt x="462" y="646"/>
                  </a:lnTo>
                  <a:lnTo>
                    <a:pt x="465" y="648"/>
                  </a:lnTo>
                  <a:lnTo>
                    <a:pt x="462" y="648"/>
                  </a:lnTo>
                  <a:lnTo>
                    <a:pt x="460" y="648"/>
                  </a:lnTo>
                  <a:lnTo>
                    <a:pt x="458" y="648"/>
                  </a:lnTo>
                  <a:lnTo>
                    <a:pt x="455" y="648"/>
                  </a:lnTo>
                  <a:lnTo>
                    <a:pt x="453" y="648"/>
                  </a:lnTo>
                  <a:lnTo>
                    <a:pt x="450" y="648"/>
                  </a:lnTo>
                  <a:lnTo>
                    <a:pt x="450" y="651"/>
                  </a:lnTo>
                  <a:lnTo>
                    <a:pt x="448" y="651"/>
                  </a:lnTo>
                  <a:lnTo>
                    <a:pt x="446" y="651"/>
                  </a:lnTo>
                  <a:lnTo>
                    <a:pt x="443" y="651"/>
                  </a:lnTo>
                  <a:lnTo>
                    <a:pt x="441" y="651"/>
                  </a:lnTo>
                  <a:lnTo>
                    <a:pt x="441" y="653"/>
                  </a:lnTo>
                  <a:lnTo>
                    <a:pt x="443" y="653"/>
                  </a:lnTo>
                  <a:lnTo>
                    <a:pt x="443" y="651"/>
                  </a:lnTo>
                  <a:lnTo>
                    <a:pt x="446" y="651"/>
                  </a:lnTo>
                  <a:lnTo>
                    <a:pt x="448" y="651"/>
                  </a:lnTo>
                  <a:lnTo>
                    <a:pt x="450" y="651"/>
                  </a:lnTo>
                  <a:lnTo>
                    <a:pt x="453" y="651"/>
                  </a:lnTo>
                  <a:lnTo>
                    <a:pt x="450" y="651"/>
                  </a:lnTo>
                  <a:lnTo>
                    <a:pt x="453" y="651"/>
                  </a:lnTo>
                  <a:lnTo>
                    <a:pt x="453" y="648"/>
                  </a:lnTo>
                  <a:lnTo>
                    <a:pt x="453" y="651"/>
                  </a:lnTo>
                  <a:lnTo>
                    <a:pt x="455" y="648"/>
                  </a:lnTo>
                  <a:lnTo>
                    <a:pt x="455" y="651"/>
                  </a:lnTo>
                  <a:lnTo>
                    <a:pt x="455" y="648"/>
                  </a:lnTo>
                  <a:lnTo>
                    <a:pt x="458" y="648"/>
                  </a:lnTo>
                  <a:lnTo>
                    <a:pt x="455" y="651"/>
                  </a:lnTo>
                  <a:lnTo>
                    <a:pt x="458" y="651"/>
                  </a:lnTo>
                  <a:lnTo>
                    <a:pt x="458" y="648"/>
                  </a:lnTo>
                  <a:lnTo>
                    <a:pt x="460" y="648"/>
                  </a:lnTo>
                  <a:lnTo>
                    <a:pt x="462" y="648"/>
                  </a:lnTo>
                  <a:lnTo>
                    <a:pt x="462" y="651"/>
                  </a:lnTo>
                  <a:lnTo>
                    <a:pt x="460" y="651"/>
                  </a:lnTo>
                  <a:lnTo>
                    <a:pt x="462" y="648"/>
                  </a:lnTo>
                  <a:lnTo>
                    <a:pt x="460" y="651"/>
                  </a:lnTo>
                  <a:lnTo>
                    <a:pt x="462" y="651"/>
                  </a:lnTo>
                  <a:lnTo>
                    <a:pt x="460" y="651"/>
                  </a:lnTo>
                  <a:lnTo>
                    <a:pt x="462" y="651"/>
                  </a:lnTo>
                  <a:lnTo>
                    <a:pt x="467" y="651"/>
                  </a:lnTo>
                  <a:lnTo>
                    <a:pt x="467" y="653"/>
                  </a:lnTo>
                  <a:lnTo>
                    <a:pt x="469" y="653"/>
                  </a:lnTo>
                  <a:lnTo>
                    <a:pt x="467" y="653"/>
                  </a:lnTo>
                  <a:lnTo>
                    <a:pt x="469" y="653"/>
                  </a:lnTo>
                  <a:lnTo>
                    <a:pt x="472" y="653"/>
                  </a:lnTo>
                  <a:lnTo>
                    <a:pt x="469" y="653"/>
                  </a:lnTo>
                  <a:lnTo>
                    <a:pt x="472" y="653"/>
                  </a:lnTo>
                  <a:lnTo>
                    <a:pt x="469" y="653"/>
                  </a:lnTo>
                  <a:lnTo>
                    <a:pt x="472" y="655"/>
                  </a:lnTo>
                  <a:lnTo>
                    <a:pt x="469" y="655"/>
                  </a:lnTo>
                  <a:lnTo>
                    <a:pt x="472" y="655"/>
                  </a:lnTo>
                  <a:lnTo>
                    <a:pt x="472" y="653"/>
                  </a:lnTo>
                  <a:lnTo>
                    <a:pt x="474" y="653"/>
                  </a:lnTo>
                  <a:lnTo>
                    <a:pt x="476" y="653"/>
                  </a:lnTo>
                  <a:lnTo>
                    <a:pt x="479" y="653"/>
                  </a:lnTo>
                  <a:lnTo>
                    <a:pt x="479" y="655"/>
                  </a:lnTo>
                  <a:lnTo>
                    <a:pt x="481" y="655"/>
                  </a:lnTo>
                  <a:lnTo>
                    <a:pt x="479" y="655"/>
                  </a:lnTo>
                  <a:lnTo>
                    <a:pt x="479" y="658"/>
                  </a:lnTo>
                  <a:lnTo>
                    <a:pt x="481" y="658"/>
                  </a:lnTo>
                  <a:lnTo>
                    <a:pt x="481" y="655"/>
                  </a:lnTo>
                  <a:lnTo>
                    <a:pt x="481" y="658"/>
                  </a:lnTo>
                  <a:lnTo>
                    <a:pt x="484" y="658"/>
                  </a:lnTo>
                  <a:lnTo>
                    <a:pt x="486" y="658"/>
                  </a:lnTo>
                  <a:lnTo>
                    <a:pt x="486" y="660"/>
                  </a:lnTo>
                  <a:lnTo>
                    <a:pt x="486" y="662"/>
                  </a:lnTo>
                  <a:lnTo>
                    <a:pt x="484" y="662"/>
                  </a:lnTo>
                  <a:lnTo>
                    <a:pt x="486" y="662"/>
                  </a:lnTo>
                  <a:lnTo>
                    <a:pt x="488" y="662"/>
                  </a:lnTo>
                  <a:lnTo>
                    <a:pt x="486" y="662"/>
                  </a:lnTo>
                  <a:lnTo>
                    <a:pt x="486" y="660"/>
                  </a:lnTo>
                  <a:lnTo>
                    <a:pt x="488" y="660"/>
                  </a:lnTo>
                  <a:lnTo>
                    <a:pt x="491" y="662"/>
                  </a:lnTo>
                  <a:lnTo>
                    <a:pt x="493" y="662"/>
                  </a:lnTo>
                  <a:lnTo>
                    <a:pt x="493" y="665"/>
                  </a:lnTo>
                  <a:lnTo>
                    <a:pt x="493" y="662"/>
                  </a:lnTo>
                  <a:lnTo>
                    <a:pt x="493" y="665"/>
                  </a:lnTo>
                  <a:lnTo>
                    <a:pt x="495" y="665"/>
                  </a:lnTo>
                  <a:lnTo>
                    <a:pt x="495" y="667"/>
                  </a:lnTo>
                  <a:lnTo>
                    <a:pt x="498" y="667"/>
                  </a:lnTo>
                  <a:lnTo>
                    <a:pt x="498" y="670"/>
                  </a:lnTo>
                  <a:lnTo>
                    <a:pt x="495" y="670"/>
                  </a:lnTo>
                  <a:lnTo>
                    <a:pt x="498" y="670"/>
                  </a:lnTo>
                  <a:lnTo>
                    <a:pt x="495" y="670"/>
                  </a:lnTo>
                  <a:lnTo>
                    <a:pt x="495" y="672"/>
                  </a:lnTo>
                  <a:lnTo>
                    <a:pt x="495" y="670"/>
                  </a:lnTo>
                  <a:lnTo>
                    <a:pt x="498" y="670"/>
                  </a:lnTo>
                  <a:lnTo>
                    <a:pt x="495" y="670"/>
                  </a:lnTo>
                  <a:lnTo>
                    <a:pt x="498" y="670"/>
                  </a:lnTo>
                  <a:lnTo>
                    <a:pt x="495" y="670"/>
                  </a:lnTo>
                  <a:lnTo>
                    <a:pt x="498" y="670"/>
                  </a:lnTo>
                  <a:lnTo>
                    <a:pt x="495" y="672"/>
                  </a:lnTo>
                  <a:lnTo>
                    <a:pt x="498" y="672"/>
                  </a:lnTo>
                  <a:lnTo>
                    <a:pt x="495" y="672"/>
                  </a:lnTo>
                  <a:lnTo>
                    <a:pt x="498" y="672"/>
                  </a:lnTo>
                  <a:lnTo>
                    <a:pt x="498" y="674"/>
                  </a:lnTo>
                  <a:lnTo>
                    <a:pt x="498" y="672"/>
                  </a:lnTo>
                  <a:lnTo>
                    <a:pt x="498" y="674"/>
                  </a:lnTo>
                  <a:lnTo>
                    <a:pt x="498" y="672"/>
                  </a:lnTo>
                  <a:lnTo>
                    <a:pt x="500" y="672"/>
                  </a:lnTo>
                  <a:lnTo>
                    <a:pt x="503" y="672"/>
                  </a:lnTo>
                  <a:lnTo>
                    <a:pt x="503" y="674"/>
                  </a:lnTo>
                  <a:lnTo>
                    <a:pt x="500" y="674"/>
                  </a:lnTo>
                  <a:lnTo>
                    <a:pt x="503" y="674"/>
                  </a:lnTo>
                  <a:lnTo>
                    <a:pt x="500" y="674"/>
                  </a:lnTo>
                  <a:lnTo>
                    <a:pt x="500" y="677"/>
                  </a:lnTo>
                  <a:lnTo>
                    <a:pt x="500" y="674"/>
                  </a:lnTo>
                  <a:lnTo>
                    <a:pt x="503" y="677"/>
                  </a:lnTo>
                  <a:lnTo>
                    <a:pt x="500" y="677"/>
                  </a:lnTo>
                  <a:lnTo>
                    <a:pt x="503" y="677"/>
                  </a:lnTo>
                  <a:lnTo>
                    <a:pt x="500" y="677"/>
                  </a:lnTo>
                  <a:lnTo>
                    <a:pt x="503" y="677"/>
                  </a:lnTo>
                  <a:lnTo>
                    <a:pt x="500" y="677"/>
                  </a:lnTo>
                  <a:lnTo>
                    <a:pt x="503" y="677"/>
                  </a:lnTo>
                  <a:lnTo>
                    <a:pt x="505" y="677"/>
                  </a:lnTo>
                  <a:lnTo>
                    <a:pt x="503" y="677"/>
                  </a:lnTo>
                  <a:lnTo>
                    <a:pt x="505" y="677"/>
                  </a:lnTo>
                  <a:lnTo>
                    <a:pt x="503" y="677"/>
                  </a:lnTo>
                  <a:lnTo>
                    <a:pt x="505" y="677"/>
                  </a:lnTo>
                  <a:lnTo>
                    <a:pt x="503" y="677"/>
                  </a:lnTo>
                  <a:lnTo>
                    <a:pt x="505" y="677"/>
                  </a:lnTo>
                  <a:lnTo>
                    <a:pt x="503" y="677"/>
                  </a:lnTo>
                  <a:lnTo>
                    <a:pt x="505" y="677"/>
                  </a:lnTo>
                  <a:lnTo>
                    <a:pt x="505" y="679"/>
                  </a:lnTo>
                  <a:lnTo>
                    <a:pt x="503" y="677"/>
                  </a:lnTo>
                  <a:lnTo>
                    <a:pt x="503" y="679"/>
                  </a:lnTo>
                  <a:lnTo>
                    <a:pt x="505" y="679"/>
                  </a:lnTo>
                  <a:lnTo>
                    <a:pt x="507" y="679"/>
                  </a:lnTo>
                  <a:lnTo>
                    <a:pt x="507" y="682"/>
                  </a:lnTo>
                  <a:lnTo>
                    <a:pt x="505" y="682"/>
                  </a:lnTo>
                  <a:lnTo>
                    <a:pt x="507" y="682"/>
                  </a:lnTo>
                  <a:lnTo>
                    <a:pt x="505" y="682"/>
                  </a:lnTo>
                  <a:lnTo>
                    <a:pt x="507" y="682"/>
                  </a:lnTo>
                  <a:lnTo>
                    <a:pt x="505" y="682"/>
                  </a:lnTo>
                  <a:lnTo>
                    <a:pt x="505" y="679"/>
                  </a:lnTo>
                  <a:lnTo>
                    <a:pt x="503" y="679"/>
                  </a:lnTo>
                  <a:lnTo>
                    <a:pt x="503" y="682"/>
                  </a:lnTo>
                  <a:lnTo>
                    <a:pt x="503" y="679"/>
                  </a:lnTo>
                  <a:lnTo>
                    <a:pt x="503" y="682"/>
                  </a:lnTo>
                  <a:lnTo>
                    <a:pt x="505" y="682"/>
                  </a:lnTo>
                  <a:lnTo>
                    <a:pt x="503" y="682"/>
                  </a:lnTo>
                  <a:lnTo>
                    <a:pt x="505" y="682"/>
                  </a:lnTo>
                  <a:lnTo>
                    <a:pt x="507" y="682"/>
                  </a:lnTo>
                  <a:lnTo>
                    <a:pt x="505" y="682"/>
                  </a:lnTo>
                  <a:lnTo>
                    <a:pt x="505" y="684"/>
                  </a:lnTo>
                  <a:lnTo>
                    <a:pt x="507" y="684"/>
                  </a:lnTo>
                  <a:lnTo>
                    <a:pt x="505" y="684"/>
                  </a:lnTo>
                  <a:lnTo>
                    <a:pt x="503" y="684"/>
                  </a:lnTo>
                  <a:lnTo>
                    <a:pt x="503" y="682"/>
                  </a:lnTo>
                  <a:lnTo>
                    <a:pt x="500" y="682"/>
                  </a:lnTo>
                  <a:lnTo>
                    <a:pt x="500" y="679"/>
                  </a:lnTo>
                  <a:lnTo>
                    <a:pt x="498" y="679"/>
                  </a:lnTo>
                  <a:lnTo>
                    <a:pt x="495" y="679"/>
                  </a:lnTo>
                  <a:lnTo>
                    <a:pt x="498" y="679"/>
                  </a:lnTo>
                  <a:lnTo>
                    <a:pt x="495" y="679"/>
                  </a:lnTo>
                  <a:lnTo>
                    <a:pt x="498" y="677"/>
                  </a:lnTo>
                  <a:lnTo>
                    <a:pt x="495" y="677"/>
                  </a:lnTo>
                  <a:lnTo>
                    <a:pt x="495" y="679"/>
                  </a:lnTo>
                  <a:lnTo>
                    <a:pt x="498" y="679"/>
                  </a:lnTo>
                  <a:lnTo>
                    <a:pt x="495" y="679"/>
                  </a:lnTo>
                  <a:lnTo>
                    <a:pt x="498" y="679"/>
                  </a:lnTo>
                  <a:lnTo>
                    <a:pt x="495" y="679"/>
                  </a:lnTo>
                  <a:lnTo>
                    <a:pt x="498" y="679"/>
                  </a:lnTo>
                  <a:lnTo>
                    <a:pt x="495" y="679"/>
                  </a:lnTo>
                  <a:lnTo>
                    <a:pt x="495" y="682"/>
                  </a:lnTo>
                  <a:lnTo>
                    <a:pt x="498" y="682"/>
                  </a:lnTo>
                  <a:lnTo>
                    <a:pt x="495" y="682"/>
                  </a:lnTo>
                  <a:lnTo>
                    <a:pt x="498" y="682"/>
                  </a:lnTo>
                  <a:lnTo>
                    <a:pt x="495" y="682"/>
                  </a:lnTo>
                  <a:lnTo>
                    <a:pt x="498" y="682"/>
                  </a:lnTo>
                  <a:lnTo>
                    <a:pt x="498" y="684"/>
                  </a:lnTo>
                  <a:lnTo>
                    <a:pt x="500" y="684"/>
                  </a:lnTo>
                  <a:lnTo>
                    <a:pt x="498" y="684"/>
                  </a:lnTo>
                  <a:lnTo>
                    <a:pt x="498" y="686"/>
                  </a:lnTo>
                  <a:lnTo>
                    <a:pt x="500" y="686"/>
                  </a:lnTo>
                  <a:lnTo>
                    <a:pt x="498" y="686"/>
                  </a:lnTo>
                  <a:lnTo>
                    <a:pt x="498" y="689"/>
                  </a:lnTo>
                  <a:lnTo>
                    <a:pt x="498" y="686"/>
                  </a:lnTo>
                  <a:lnTo>
                    <a:pt x="498" y="689"/>
                  </a:lnTo>
                  <a:lnTo>
                    <a:pt x="498" y="686"/>
                  </a:lnTo>
                  <a:lnTo>
                    <a:pt x="500" y="689"/>
                  </a:lnTo>
                  <a:lnTo>
                    <a:pt x="498" y="689"/>
                  </a:lnTo>
                  <a:lnTo>
                    <a:pt x="500" y="689"/>
                  </a:lnTo>
                  <a:lnTo>
                    <a:pt x="498" y="689"/>
                  </a:lnTo>
                  <a:lnTo>
                    <a:pt x="500" y="689"/>
                  </a:lnTo>
                  <a:lnTo>
                    <a:pt x="500" y="691"/>
                  </a:lnTo>
                  <a:lnTo>
                    <a:pt x="498" y="691"/>
                  </a:lnTo>
                  <a:lnTo>
                    <a:pt x="500" y="691"/>
                  </a:lnTo>
                  <a:lnTo>
                    <a:pt x="498" y="691"/>
                  </a:lnTo>
                  <a:lnTo>
                    <a:pt x="498" y="693"/>
                  </a:lnTo>
                  <a:lnTo>
                    <a:pt x="498" y="691"/>
                  </a:lnTo>
                  <a:lnTo>
                    <a:pt x="498" y="693"/>
                  </a:lnTo>
                  <a:lnTo>
                    <a:pt x="500" y="693"/>
                  </a:lnTo>
                  <a:lnTo>
                    <a:pt x="498" y="693"/>
                  </a:lnTo>
                  <a:lnTo>
                    <a:pt x="495" y="693"/>
                  </a:lnTo>
                  <a:lnTo>
                    <a:pt x="495" y="696"/>
                  </a:lnTo>
                  <a:lnTo>
                    <a:pt x="495" y="698"/>
                  </a:lnTo>
                  <a:lnTo>
                    <a:pt x="498" y="698"/>
                  </a:lnTo>
                  <a:lnTo>
                    <a:pt x="495" y="698"/>
                  </a:lnTo>
                  <a:lnTo>
                    <a:pt x="498" y="698"/>
                  </a:lnTo>
                  <a:lnTo>
                    <a:pt x="495" y="698"/>
                  </a:lnTo>
                  <a:lnTo>
                    <a:pt x="498" y="698"/>
                  </a:lnTo>
                  <a:lnTo>
                    <a:pt x="495" y="698"/>
                  </a:lnTo>
                  <a:lnTo>
                    <a:pt x="493" y="698"/>
                  </a:lnTo>
                  <a:lnTo>
                    <a:pt x="491" y="698"/>
                  </a:lnTo>
                  <a:lnTo>
                    <a:pt x="488" y="698"/>
                  </a:lnTo>
                  <a:lnTo>
                    <a:pt x="491" y="698"/>
                  </a:lnTo>
                  <a:lnTo>
                    <a:pt x="491" y="701"/>
                  </a:lnTo>
                  <a:lnTo>
                    <a:pt x="488" y="701"/>
                  </a:lnTo>
                  <a:lnTo>
                    <a:pt x="486" y="701"/>
                  </a:lnTo>
                  <a:lnTo>
                    <a:pt x="488" y="701"/>
                  </a:lnTo>
                  <a:lnTo>
                    <a:pt x="486" y="701"/>
                  </a:lnTo>
                  <a:lnTo>
                    <a:pt x="488" y="701"/>
                  </a:lnTo>
                  <a:lnTo>
                    <a:pt x="486" y="701"/>
                  </a:lnTo>
                  <a:lnTo>
                    <a:pt x="488" y="701"/>
                  </a:lnTo>
                  <a:lnTo>
                    <a:pt x="488" y="703"/>
                  </a:lnTo>
                  <a:lnTo>
                    <a:pt x="488" y="701"/>
                  </a:lnTo>
                  <a:lnTo>
                    <a:pt x="486" y="701"/>
                  </a:lnTo>
                  <a:lnTo>
                    <a:pt x="484" y="701"/>
                  </a:lnTo>
                  <a:lnTo>
                    <a:pt x="484" y="703"/>
                  </a:lnTo>
                  <a:lnTo>
                    <a:pt x="481" y="701"/>
                  </a:lnTo>
                  <a:lnTo>
                    <a:pt x="481" y="703"/>
                  </a:lnTo>
                  <a:lnTo>
                    <a:pt x="484" y="703"/>
                  </a:lnTo>
                  <a:lnTo>
                    <a:pt x="486" y="703"/>
                  </a:lnTo>
                  <a:lnTo>
                    <a:pt x="488" y="703"/>
                  </a:lnTo>
                  <a:lnTo>
                    <a:pt x="491" y="703"/>
                  </a:lnTo>
                  <a:lnTo>
                    <a:pt x="488" y="703"/>
                  </a:lnTo>
                  <a:lnTo>
                    <a:pt x="491" y="703"/>
                  </a:lnTo>
                  <a:lnTo>
                    <a:pt x="491" y="705"/>
                  </a:lnTo>
                  <a:lnTo>
                    <a:pt x="491" y="703"/>
                  </a:lnTo>
                  <a:lnTo>
                    <a:pt x="491" y="705"/>
                  </a:lnTo>
                  <a:lnTo>
                    <a:pt x="488" y="705"/>
                  </a:lnTo>
                  <a:lnTo>
                    <a:pt x="491" y="705"/>
                  </a:lnTo>
                  <a:lnTo>
                    <a:pt x="488" y="705"/>
                  </a:lnTo>
                  <a:lnTo>
                    <a:pt x="491" y="705"/>
                  </a:lnTo>
                  <a:lnTo>
                    <a:pt x="491" y="708"/>
                  </a:lnTo>
                  <a:lnTo>
                    <a:pt x="488" y="708"/>
                  </a:lnTo>
                  <a:lnTo>
                    <a:pt x="491" y="708"/>
                  </a:lnTo>
                  <a:lnTo>
                    <a:pt x="488" y="708"/>
                  </a:lnTo>
                  <a:lnTo>
                    <a:pt x="491" y="708"/>
                  </a:lnTo>
                  <a:lnTo>
                    <a:pt x="491" y="710"/>
                  </a:lnTo>
                  <a:lnTo>
                    <a:pt x="491" y="708"/>
                  </a:lnTo>
                  <a:lnTo>
                    <a:pt x="491" y="710"/>
                  </a:lnTo>
                  <a:lnTo>
                    <a:pt x="493" y="710"/>
                  </a:lnTo>
                  <a:lnTo>
                    <a:pt x="491" y="710"/>
                  </a:lnTo>
                  <a:lnTo>
                    <a:pt x="493" y="710"/>
                  </a:lnTo>
                  <a:lnTo>
                    <a:pt x="491" y="710"/>
                  </a:lnTo>
                  <a:lnTo>
                    <a:pt x="493" y="710"/>
                  </a:lnTo>
                  <a:lnTo>
                    <a:pt x="495" y="710"/>
                  </a:lnTo>
                  <a:lnTo>
                    <a:pt x="493" y="710"/>
                  </a:lnTo>
                  <a:lnTo>
                    <a:pt x="495" y="710"/>
                  </a:lnTo>
                  <a:lnTo>
                    <a:pt x="495" y="712"/>
                  </a:lnTo>
                  <a:lnTo>
                    <a:pt x="493" y="712"/>
                  </a:lnTo>
                  <a:lnTo>
                    <a:pt x="495" y="712"/>
                  </a:lnTo>
                  <a:lnTo>
                    <a:pt x="498" y="712"/>
                  </a:lnTo>
                  <a:lnTo>
                    <a:pt x="495" y="712"/>
                  </a:lnTo>
                  <a:lnTo>
                    <a:pt x="495" y="715"/>
                  </a:lnTo>
                  <a:lnTo>
                    <a:pt x="495" y="712"/>
                  </a:lnTo>
                  <a:lnTo>
                    <a:pt x="495" y="715"/>
                  </a:lnTo>
                  <a:lnTo>
                    <a:pt x="498" y="715"/>
                  </a:lnTo>
                  <a:lnTo>
                    <a:pt x="495" y="715"/>
                  </a:lnTo>
                  <a:lnTo>
                    <a:pt x="498" y="715"/>
                  </a:lnTo>
                  <a:lnTo>
                    <a:pt x="495" y="715"/>
                  </a:lnTo>
                  <a:lnTo>
                    <a:pt x="493" y="715"/>
                  </a:lnTo>
                  <a:lnTo>
                    <a:pt x="491" y="715"/>
                  </a:lnTo>
                  <a:lnTo>
                    <a:pt x="493" y="715"/>
                  </a:lnTo>
                  <a:lnTo>
                    <a:pt x="495" y="715"/>
                  </a:lnTo>
                  <a:lnTo>
                    <a:pt x="493" y="715"/>
                  </a:lnTo>
                  <a:lnTo>
                    <a:pt x="495" y="715"/>
                  </a:lnTo>
                  <a:lnTo>
                    <a:pt x="495" y="717"/>
                  </a:lnTo>
                  <a:lnTo>
                    <a:pt x="495" y="715"/>
                  </a:lnTo>
                  <a:lnTo>
                    <a:pt x="495" y="717"/>
                  </a:lnTo>
                  <a:lnTo>
                    <a:pt x="498" y="717"/>
                  </a:lnTo>
                  <a:lnTo>
                    <a:pt x="495" y="717"/>
                  </a:lnTo>
                  <a:lnTo>
                    <a:pt x="498" y="717"/>
                  </a:lnTo>
                  <a:lnTo>
                    <a:pt x="498" y="720"/>
                  </a:lnTo>
                  <a:lnTo>
                    <a:pt x="498" y="717"/>
                  </a:lnTo>
                  <a:lnTo>
                    <a:pt x="498" y="720"/>
                  </a:lnTo>
                  <a:lnTo>
                    <a:pt x="498" y="717"/>
                  </a:lnTo>
                  <a:lnTo>
                    <a:pt x="498" y="720"/>
                  </a:lnTo>
                  <a:lnTo>
                    <a:pt x="500" y="720"/>
                  </a:lnTo>
                  <a:lnTo>
                    <a:pt x="500" y="717"/>
                  </a:lnTo>
                  <a:lnTo>
                    <a:pt x="500" y="720"/>
                  </a:lnTo>
                  <a:lnTo>
                    <a:pt x="500" y="722"/>
                  </a:lnTo>
                  <a:lnTo>
                    <a:pt x="500" y="724"/>
                  </a:lnTo>
                  <a:lnTo>
                    <a:pt x="500" y="722"/>
                  </a:lnTo>
                  <a:lnTo>
                    <a:pt x="503" y="722"/>
                  </a:lnTo>
                  <a:lnTo>
                    <a:pt x="500" y="722"/>
                  </a:lnTo>
                  <a:lnTo>
                    <a:pt x="500" y="724"/>
                  </a:lnTo>
                  <a:lnTo>
                    <a:pt x="498" y="724"/>
                  </a:lnTo>
                  <a:lnTo>
                    <a:pt x="495" y="724"/>
                  </a:lnTo>
                  <a:lnTo>
                    <a:pt x="495" y="727"/>
                  </a:lnTo>
                  <a:lnTo>
                    <a:pt x="493" y="727"/>
                  </a:lnTo>
                  <a:lnTo>
                    <a:pt x="491" y="727"/>
                  </a:lnTo>
                  <a:lnTo>
                    <a:pt x="493" y="727"/>
                  </a:lnTo>
                  <a:lnTo>
                    <a:pt x="491" y="727"/>
                  </a:lnTo>
                  <a:lnTo>
                    <a:pt x="488" y="727"/>
                  </a:lnTo>
                  <a:lnTo>
                    <a:pt x="486" y="727"/>
                  </a:lnTo>
                  <a:lnTo>
                    <a:pt x="484" y="727"/>
                  </a:lnTo>
                  <a:lnTo>
                    <a:pt x="481" y="727"/>
                  </a:lnTo>
                  <a:lnTo>
                    <a:pt x="479" y="727"/>
                  </a:lnTo>
                  <a:lnTo>
                    <a:pt x="481" y="727"/>
                  </a:lnTo>
                  <a:lnTo>
                    <a:pt x="479" y="727"/>
                  </a:lnTo>
                  <a:lnTo>
                    <a:pt x="476" y="727"/>
                  </a:lnTo>
                  <a:lnTo>
                    <a:pt x="476" y="724"/>
                  </a:lnTo>
                  <a:lnTo>
                    <a:pt x="474" y="724"/>
                  </a:lnTo>
                  <a:lnTo>
                    <a:pt x="472" y="724"/>
                  </a:lnTo>
                  <a:lnTo>
                    <a:pt x="469" y="722"/>
                  </a:lnTo>
                  <a:lnTo>
                    <a:pt x="467" y="722"/>
                  </a:lnTo>
                  <a:lnTo>
                    <a:pt x="465" y="722"/>
                  </a:lnTo>
                  <a:lnTo>
                    <a:pt x="462" y="722"/>
                  </a:lnTo>
                  <a:lnTo>
                    <a:pt x="465" y="722"/>
                  </a:lnTo>
                  <a:lnTo>
                    <a:pt x="467" y="722"/>
                  </a:lnTo>
                  <a:lnTo>
                    <a:pt x="469" y="722"/>
                  </a:lnTo>
                  <a:lnTo>
                    <a:pt x="472" y="724"/>
                  </a:lnTo>
                  <a:lnTo>
                    <a:pt x="474" y="724"/>
                  </a:lnTo>
                  <a:lnTo>
                    <a:pt x="476" y="724"/>
                  </a:lnTo>
                  <a:lnTo>
                    <a:pt x="476" y="727"/>
                  </a:lnTo>
                  <a:lnTo>
                    <a:pt x="479" y="727"/>
                  </a:lnTo>
                  <a:lnTo>
                    <a:pt x="481" y="727"/>
                  </a:lnTo>
                  <a:lnTo>
                    <a:pt x="481" y="729"/>
                  </a:lnTo>
                  <a:lnTo>
                    <a:pt x="479" y="729"/>
                  </a:lnTo>
                  <a:lnTo>
                    <a:pt x="479" y="727"/>
                  </a:lnTo>
                  <a:lnTo>
                    <a:pt x="479" y="729"/>
                  </a:lnTo>
                  <a:lnTo>
                    <a:pt x="481" y="729"/>
                  </a:lnTo>
                  <a:lnTo>
                    <a:pt x="481" y="727"/>
                  </a:lnTo>
                  <a:lnTo>
                    <a:pt x="481" y="729"/>
                  </a:lnTo>
                  <a:lnTo>
                    <a:pt x="481" y="727"/>
                  </a:lnTo>
                  <a:lnTo>
                    <a:pt x="484" y="729"/>
                  </a:lnTo>
                  <a:lnTo>
                    <a:pt x="484" y="727"/>
                  </a:lnTo>
                  <a:lnTo>
                    <a:pt x="484" y="729"/>
                  </a:lnTo>
                  <a:lnTo>
                    <a:pt x="484" y="727"/>
                  </a:lnTo>
                  <a:lnTo>
                    <a:pt x="486" y="727"/>
                  </a:lnTo>
                  <a:lnTo>
                    <a:pt x="488" y="727"/>
                  </a:lnTo>
                  <a:lnTo>
                    <a:pt x="491" y="727"/>
                  </a:lnTo>
                  <a:lnTo>
                    <a:pt x="493" y="727"/>
                  </a:lnTo>
                  <a:lnTo>
                    <a:pt x="495" y="727"/>
                  </a:lnTo>
                  <a:lnTo>
                    <a:pt x="495" y="724"/>
                  </a:lnTo>
                  <a:lnTo>
                    <a:pt x="498" y="727"/>
                  </a:lnTo>
                  <a:lnTo>
                    <a:pt x="500" y="727"/>
                  </a:lnTo>
                  <a:lnTo>
                    <a:pt x="500" y="724"/>
                  </a:lnTo>
                  <a:lnTo>
                    <a:pt x="500" y="727"/>
                  </a:lnTo>
                  <a:lnTo>
                    <a:pt x="503" y="727"/>
                  </a:lnTo>
                  <a:lnTo>
                    <a:pt x="503" y="729"/>
                  </a:lnTo>
                  <a:lnTo>
                    <a:pt x="500" y="729"/>
                  </a:lnTo>
                  <a:lnTo>
                    <a:pt x="503" y="729"/>
                  </a:lnTo>
                  <a:lnTo>
                    <a:pt x="500" y="729"/>
                  </a:lnTo>
                  <a:lnTo>
                    <a:pt x="503" y="729"/>
                  </a:lnTo>
                  <a:lnTo>
                    <a:pt x="503" y="727"/>
                  </a:lnTo>
                  <a:lnTo>
                    <a:pt x="503" y="729"/>
                  </a:lnTo>
                  <a:lnTo>
                    <a:pt x="505" y="729"/>
                  </a:lnTo>
                  <a:lnTo>
                    <a:pt x="503" y="729"/>
                  </a:lnTo>
                  <a:lnTo>
                    <a:pt x="503" y="731"/>
                  </a:lnTo>
                  <a:lnTo>
                    <a:pt x="505" y="731"/>
                  </a:lnTo>
                  <a:lnTo>
                    <a:pt x="505" y="729"/>
                  </a:lnTo>
                  <a:lnTo>
                    <a:pt x="505" y="731"/>
                  </a:lnTo>
                  <a:lnTo>
                    <a:pt x="505" y="734"/>
                  </a:lnTo>
                  <a:lnTo>
                    <a:pt x="503" y="734"/>
                  </a:lnTo>
                  <a:lnTo>
                    <a:pt x="503" y="736"/>
                  </a:lnTo>
                  <a:lnTo>
                    <a:pt x="500" y="736"/>
                  </a:lnTo>
                  <a:lnTo>
                    <a:pt x="498" y="736"/>
                  </a:lnTo>
                  <a:lnTo>
                    <a:pt x="498" y="739"/>
                  </a:lnTo>
                  <a:lnTo>
                    <a:pt x="498" y="736"/>
                  </a:lnTo>
                  <a:lnTo>
                    <a:pt x="498" y="739"/>
                  </a:lnTo>
                  <a:lnTo>
                    <a:pt x="498" y="736"/>
                  </a:lnTo>
                  <a:lnTo>
                    <a:pt x="500" y="736"/>
                  </a:lnTo>
                  <a:lnTo>
                    <a:pt x="500" y="739"/>
                  </a:lnTo>
                  <a:lnTo>
                    <a:pt x="503" y="739"/>
                  </a:lnTo>
                  <a:lnTo>
                    <a:pt x="503" y="741"/>
                  </a:lnTo>
                  <a:lnTo>
                    <a:pt x="505" y="741"/>
                  </a:lnTo>
                  <a:lnTo>
                    <a:pt x="503" y="741"/>
                  </a:lnTo>
                  <a:lnTo>
                    <a:pt x="505" y="741"/>
                  </a:lnTo>
                  <a:lnTo>
                    <a:pt x="505" y="743"/>
                  </a:lnTo>
                  <a:lnTo>
                    <a:pt x="507" y="743"/>
                  </a:lnTo>
                  <a:lnTo>
                    <a:pt x="505" y="743"/>
                  </a:lnTo>
                  <a:lnTo>
                    <a:pt x="507" y="743"/>
                  </a:lnTo>
                  <a:lnTo>
                    <a:pt x="507" y="746"/>
                  </a:lnTo>
                  <a:lnTo>
                    <a:pt x="505" y="746"/>
                  </a:lnTo>
                  <a:lnTo>
                    <a:pt x="503" y="746"/>
                  </a:lnTo>
                  <a:lnTo>
                    <a:pt x="503" y="748"/>
                  </a:lnTo>
                  <a:lnTo>
                    <a:pt x="500" y="748"/>
                  </a:lnTo>
                  <a:lnTo>
                    <a:pt x="498" y="748"/>
                  </a:lnTo>
                  <a:lnTo>
                    <a:pt x="498" y="750"/>
                  </a:lnTo>
                  <a:lnTo>
                    <a:pt x="498" y="748"/>
                  </a:lnTo>
                  <a:lnTo>
                    <a:pt x="500" y="748"/>
                  </a:lnTo>
                  <a:lnTo>
                    <a:pt x="498" y="748"/>
                  </a:lnTo>
                  <a:lnTo>
                    <a:pt x="500" y="750"/>
                  </a:lnTo>
                  <a:lnTo>
                    <a:pt x="500" y="748"/>
                  </a:lnTo>
                  <a:lnTo>
                    <a:pt x="498" y="750"/>
                  </a:lnTo>
                  <a:lnTo>
                    <a:pt x="500" y="750"/>
                  </a:lnTo>
                  <a:lnTo>
                    <a:pt x="503" y="750"/>
                  </a:lnTo>
                  <a:lnTo>
                    <a:pt x="500" y="750"/>
                  </a:lnTo>
                  <a:lnTo>
                    <a:pt x="503" y="750"/>
                  </a:lnTo>
                  <a:lnTo>
                    <a:pt x="500" y="750"/>
                  </a:lnTo>
                  <a:lnTo>
                    <a:pt x="503" y="750"/>
                  </a:lnTo>
                  <a:lnTo>
                    <a:pt x="503" y="753"/>
                  </a:lnTo>
                  <a:lnTo>
                    <a:pt x="503" y="750"/>
                  </a:lnTo>
                  <a:lnTo>
                    <a:pt x="505" y="750"/>
                  </a:lnTo>
                  <a:lnTo>
                    <a:pt x="507" y="750"/>
                  </a:lnTo>
                  <a:lnTo>
                    <a:pt x="505" y="750"/>
                  </a:lnTo>
                  <a:lnTo>
                    <a:pt x="507" y="750"/>
                  </a:lnTo>
                  <a:lnTo>
                    <a:pt x="507" y="753"/>
                  </a:lnTo>
                  <a:lnTo>
                    <a:pt x="507" y="755"/>
                  </a:lnTo>
                  <a:lnTo>
                    <a:pt x="505" y="755"/>
                  </a:lnTo>
                  <a:lnTo>
                    <a:pt x="507" y="755"/>
                  </a:lnTo>
                  <a:lnTo>
                    <a:pt x="510" y="755"/>
                  </a:lnTo>
                  <a:lnTo>
                    <a:pt x="512" y="755"/>
                  </a:lnTo>
                  <a:lnTo>
                    <a:pt x="512" y="758"/>
                  </a:lnTo>
                  <a:lnTo>
                    <a:pt x="512" y="760"/>
                  </a:lnTo>
                  <a:lnTo>
                    <a:pt x="514" y="760"/>
                  </a:lnTo>
                  <a:lnTo>
                    <a:pt x="517" y="760"/>
                  </a:lnTo>
                  <a:lnTo>
                    <a:pt x="517" y="758"/>
                  </a:lnTo>
                  <a:lnTo>
                    <a:pt x="514" y="758"/>
                  </a:lnTo>
                  <a:lnTo>
                    <a:pt x="517" y="758"/>
                  </a:lnTo>
                  <a:lnTo>
                    <a:pt x="517" y="755"/>
                  </a:lnTo>
                  <a:lnTo>
                    <a:pt x="517" y="758"/>
                  </a:lnTo>
                  <a:lnTo>
                    <a:pt x="517" y="755"/>
                  </a:lnTo>
                  <a:lnTo>
                    <a:pt x="517" y="758"/>
                  </a:lnTo>
                  <a:lnTo>
                    <a:pt x="517" y="760"/>
                  </a:lnTo>
                  <a:lnTo>
                    <a:pt x="519" y="760"/>
                  </a:lnTo>
                  <a:lnTo>
                    <a:pt x="517" y="760"/>
                  </a:lnTo>
                  <a:lnTo>
                    <a:pt x="517" y="762"/>
                  </a:lnTo>
                  <a:lnTo>
                    <a:pt x="519" y="762"/>
                  </a:lnTo>
                  <a:lnTo>
                    <a:pt x="522" y="762"/>
                  </a:lnTo>
                  <a:lnTo>
                    <a:pt x="522" y="760"/>
                  </a:lnTo>
                  <a:lnTo>
                    <a:pt x="524" y="762"/>
                  </a:lnTo>
                  <a:lnTo>
                    <a:pt x="524" y="760"/>
                  </a:lnTo>
                  <a:lnTo>
                    <a:pt x="526" y="760"/>
                  </a:lnTo>
                  <a:lnTo>
                    <a:pt x="529" y="760"/>
                  </a:lnTo>
                  <a:lnTo>
                    <a:pt x="526" y="760"/>
                  </a:lnTo>
                  <a:lnTo>
                    <a:pt x="526" y="758"/>
                  </a:lnTo>
                  <a:lnTo>
                    <a:pt x="529" y="758"/>
                  </a:lnTo>
                  <a:lnTo>
                    <a:pt x="531" y="758"/>
                  </a:lnTo>
                  <a:lnTo>
                    <a:pt x="531" y="760"/>
                  </a:lnTo>
                  <a:lnTo>
                    <a:pt x="531" y="758"/>
                  </a:lnTo>
                  <a:lnTo>
                    <a:pt x="531" y="760"/>
                  </a:lnTo>
                  <a:lnTo>
                    <a:pt x="533" y="760"/>
                  </a:lnTo>
                  <a:lnTo>
                    <a:pt x="536" y="760"/>
                  </a:lnTo>
                  <a:lnTo>
                    <a:pt x="533" y="760"/>
                  </a:lnTo>
                  <a:lnTo>
                    <a:pt x="536" y="762"/>
                  </a:lnTo>
                  <a:lnTo>
                    <a:pt x="536" y="760"/>
                  </a:lnTo>
                  <a:lnTo>
                    <a:pt x="536" y="762"/>
                  </a:lnTo>
                  <a:lnTo>
                    <a:pt x="538" y="762"/>
                  </a:lnTo>
                  <a:lnTo>
                    <a:pt x="538" y="765"/>
                  </a:lnTo>
                  <a:lnTo>
                    <a:pt x="536" y="765"/>
                  </a:lnTo>
                  <a:lnTo>
                    <a:pt x="538" y="765"/>
                  </a:lnTo>
                  <a:lnTo>
                    <a:pt x="538" y="767"/>
                  </a:lnTo>
                  <a:lnTo>
                    <a:pt x="541" y="769"/>
                  </a:lnTo>
                  <a:lnTo>
                    <a:pt x="541" y="767"/>
                  </a:lnTo>
                  <a:lnTo>
                    <a:pt x="541" y="769"/>
                  </a:lnTo>
                  <a:lnTo>
                    <a:pt x="541" y="767"/>
                  </a:lnTo>
                  <a:lnTo>
                    <a:pt x="543" y="767"/>
                  </a:lnTo>
                  <a:lnTo>
                    <a:pt x="543" y="769"/>
                  </a:lnTo>
                  <a:lnTo>
                    <a:pt x="545" y="769"/>
                  </a:lnTo>
                  <a:lnTo>
                    <a:pt x="548" y="769"/>
                  </a:lnTo>
                  <a:lnTo>
                    <a:pt x="548" y="772"/>
                  </a:lnTo>
                  <a:lnTo>
                    <a:pt x="545" y="772"/>
                  </a:lnTo>
                  <a:lnTo>
                    <a:pt x="545" y="774"/>
                  </a:lnTo>
                  <a:lnTo>
                    <a:pt x="548" y="774"/>
                  </a:lnTo>
                  <a:lnTo>
                    <a:pt x="548" y="777"/>
                  </a:lnTo>
                  <a:lnTo>
                    <a:pt x="548" y="779"/>
                  </a:lnTo>
                  <a:lnTo>
                    <a:pt x="550" y="779"/>
                  </a:lnTo>
                  <a:lnTo>
                    <a:pt x="548" y="779"/>
                  </a:lnTo>
                  <a:lnTo>
                    <a:pt x="550" y="779"/>
                  </a:lnTo>
                  <a:lnTo>
                    <a:pt x="550" y="781"/>
                  </a:lnTo>
                  <a:lnTo>
                    <a:pt x="550" y="779"/>
                  </a:lnTo>
                  <a:lnTo>
                    <a:pt x="552" y="779"/>
                  </a:lnTo>
                  <a:lnTo>
                    <a:pt x="555" y="779"/>
                  </a:lnTo>
                  <a:lnTo>
                    <a:pt x="555" y="781"/>
                  </a:lnTo>
                  <a:lnTo>
                    <a:pt x="557" y="781"/>
                  </a:lnTo>
                  <a:lnTo>
                    <a:pt x="560" y="781"/>
                  </a:lnTo>
                  <a:lnTo>
                    <a:pt x="562" y="781"/>
                  </a:lnTo>
                  <a:lnTo>
                    <a:pt x="562" y="784"/>
                  </a:lnTo>
                  <a:lnTo>
                    <a:pt x="564" y="784"/>
                  </a:lnTo>
                  <a:lnTo>
                    <a:pt x="567" y="784"/>
                  </a:lnTo>
                  <a:lnTo>
                    <a:pt x="569" y="784"/>
                  </a:lnTo>
                  <a:lnTo>
                    <a:pt x="571" y="784"/>
                  </a:lnTo>
                  <a:lnTo>
                    <a:pt x="574" y="784"/>
                  </a:lnTo>
                  <a:lnTo>
                    <a:pt x="574" y="786"/>
                  </a:lnTo>
                  <a:lnTo>
                    <a:pt x="576" y="786"/>
                  </a:lnTo>
                  <a:lnTo>
                    <a:pt x="576" y="784"/>
                  </a:lnTo>
                  <a:lnTo>
                    <a:pt x="576" y="786"/>
                  </a:lnTo>
                  <a:lnTo>
                    <a:pt x="576" y="784"/>
                  </a:lnTo>
                  <a:lnTo>
                    <a:pt x="579" y="784"/>
                  </a:lnTo>
                  <a:lnTo>
                    <a:pt x="579" y="786"/>
                  </a:lnTo>
                  <a:lnTo>
                    <a:pt x="581" y="786"/>
                  </a:lnTo>
                  <a:lnTo>
                    <a:pt x="581" y="788"/>
                  </a:lnTo>
                  <a:lnTo>
                    <a:pt x="583" y="788"/>
                  </a:lnTo>
                  <a:lnTo>
                    <a:pt x="583" y="791"/>
                  </a:lnTo>
                  <a:lnTo>
                    <a:pt x="586" y="791"/>
                  </a:lnTo>
                  <a:lnTo>
                    <a:pt x="588" y="791"/>
                  </a:lnTo>
                  <a:lnTo>
                    <a:pt x="586" y="791"/>
                  </a:lnTo>
                  <a:lnTo>
                    <a:pt x="588" y="791"/>
                  </a:lnTo>
                  <a:lnTo>
                    <a:pt x="590" y="791"/>
                  </a:lnTo>
                  <a:lnTo>
                    <a:pt x="590" y="788"/>
                  </a:lnTo>
                  <a:lnTo>
                    <a:pt x="593" y="788"/>
                  </a:lnTo>
                  <a:lnTo>
                    <a:pt x="590" y="788"/>
                  </a:lnTo>
                  <a:lnTo>
                    <a:pt x="593" y="788"/>
                  </a:lnTo>
                  <a:lnTo>
                    <a:pt x="595" y="788"/>
                  </a:lnTo>
                  <a:lnTo>
                    <a:pt x="593" y="788"/>
                  </a:lnTo>
                  <a:lnTo>
                    <a:pt x="595" y="788"/>
                  </a:lnTo>
                  <a:lnTo>
                    <a:pt x="595" y="786"/>
                  </a:lnTo>
                  <a:lnTo>
                    <a:pt x="593" y="786"/>
                  </a:lnTo>
                  <a:lnTo>
                    <a:pt x="595" y="786"/>
                  </a:lnTo>
                  <a:lnTo>
                    <a:pt x="593" y="786"/>
                  </a:lnTo>
                  <a:lnTo>
                    <a:pt x="595" y="786"/>
                  </a:lnTo>
                  <a:lnTo>
                    <a:pt x="595" y="784"/>
                  </a:lnTo>
                  <a:lnTo>
                    <a:pt x="597" y="784"/>
                  </a:lnTo>
                  <a:lnTo>
                    <a:pt x="600" y="784"/>
                  </a:lnTo>
                  <a:lnTo>
                    <a:pt x="602" y="784"/>
                  </a:lnTo>
                  <a:lnTo>
                    <a:pt x="605" y="784"/>
                  </a:lnTo>
                  <a:lnTo>
                    <a:pt x="607" y="784"/>
                  </a:lnTo>
                  <a:lnTo>
                    <a:pt x="609" y="784"/>
                  </a:lnTo>
                  <a:lnTo>
                    <a:pt x="612" y="784"/>
                  </a:lnTo>
                  <a:lnTo>
                    <a:pt x="612" y="786"/>
                  </a:lnTo>
                  <a:lnTo>
                    <a:pt x="614" y="786"/>
                  </a:lnTo>
                  <a:lnTo>
                    <a:pt x="614" y="788"/>
                  </a:lnTo>
                  <a:lnTo>
                    <a:pt x="616" y="788"/>
                  </a:lnTo>
                  <a:lnTo>
                    <a:pt x="619" y="788"/>
                  </a:lnTo>
                  <a:lnTo>
                    <a:pt x="621" y="788"/>
                  </a:lnTo>
                  <a:lnTo>
                    <a:pt x="624" y="788"/>
                  </a:lnTo>
                  <a:lnTo>
                    <a:pt x="624" y="791"/>
                  </a:lnTo>
                  <a:lnTo>
                    <a:pt x="624" y="793"/>
                  </a:lnTo>
                  <a:lnTo>
                    <a:pt x="624" y="796"/>
                  </a:lnTo>
                  <a:lnTo>
                    <a:pt x="626" y="796"/>
                  </a:lnTo>
                  <a:lnTo>
                    <a:pt x="628" y="796"/>
                  </a:lnTo>
                  <a:lnTo>
                    <a:pt x="628" y="798"/>
                  </a:lnTo>
                  <a:lnTo>
                    <a:pt x="631" y="798"/>
                  </a:lnTo>
                  <a:lnTo>
                    <a:pt x="631" y="800"/>
                  </a:lnTo>
                  <a:lnTo>
                    <a:pt x="628" y="800"/>
                  </a:lnTo>
                  <a:lnTo>
                    <a:pt x="631" y="800"/>
                  </a:lnTo>
                  <a:lnTo>
                    <a:pt x="633" y="800"/>
                  </a:lnTo>
                  <a:lnTo>
                    <a:pt x="635" y="800"/>
                  </a:lnTo>
                  <a:lnTo>
                    <a:pt x="635" y="803"/>
                  </a:lnTo>
                  <a:lnTo>
                    <a:pt x="638" y="803"/>
                  </a:lnTo>
                  <a:lnTo>
                    <a:pt x="638" y="800"/>
                  </a:lnTo>
                  <a:lnTo>
                    <a:pt x="638" y="803"/>
                  </a:lnTo>
                  <a:lnTo>
                    <a:pt x="638" y="805"/>
                  </a:lnTo>
                  <a:lnTo>
                    <a:pt x="640" y="805"/>
                  </a:lnTo>
                  <a:lnTo>
                    <a:pt x="640" y="807"/>
                  </a:lnTo>
                  <a:lnTo>
                    <a:pt x="640" y="810"/>
                  </a:lnTo>
                  <a:lnTo>
                    <a:pt x="643" y="812"/>
                  </a:lnTo>
                  <a:lnTo>
                    <a:pt x="643" y="815"/>
                  </a:lnTo>
                  <a:lnTo>
                    <a:pt x="643" y="817"/>
                  </a:lnTo>
                  <a:lnTo>
                    <a:pt x="643" y="819"/>
                  </a:lnTo>
                  <a:lnTo>
                    <a:pt x="645" y="819"/>
                  </a:lnTo>
                  <a:lnTo>
                    <a:pt x="643" y="819"/>
                  </a:lnTo>
                  <a:lnTo>
                    <a:pt x="643" y="822"/>
                  </a:lnTo>
                  <a:lnTo>
                    <a:pt x="645" y="822"/>
                  </a:lnTo>
                  <a:lnTo>
                    <a:pt x="645" y="824"/>
                  </a:lnTo>
                  <a:lnTo>
                    <a:pt x="645" y="826"/>
                  </a:lnTo>
                  <a:lnTo>
                    <a:pt x="647" y="826"/>
                  </a:lnTo>
                  <a:lnTo>
                    <a:pt x="647" y="829"/>
                  </a:lnTo>
                  <a:lnTo>
                    <a:pt x="647" y="831"/>
                  </a:lnTo>
                  <a:lnTo>
                    <a:pt x="650" y="831"/>
                  </a:lnTo>
                  <a:lnTo>
                    <a:pt x="647" y="831"/>
                  </a:lnTo>
                  <a:lnTo>
                    <a:pt x="647" y="834"/>
                  </a:lnTo>
                  <a:lnTo>
                    <a:pt x="650" y="834"/>
                  </a:lnTo>
                  <a:lnTo>
                    <a:pt x="650" y="836"/>
                  </a:lnTo>
                  <a:lnTo>
                    <a:pt x="652" y="836"/>
                  </a:lnTo>
                  <a:lnTo>
                    <a:pt x="654" y="836"/>
                  </a:lnTo>
                  <a:lnTo>
                    <a:pt x="657" y="836"/>
                  </a:lnTo>
                  <a:lnTo>
                    <a:pt x="659" y="836"/>
                  </a:lnTo>
                  <a:lnTo>
                    <a:pt x="659" y="838"/>
                  </a:lnTo>
                  <a:lnTo>
                    <a:pt x="662" y="838"/>
                  </a:lnTo>
                  <a:lnTo>
                    <a:pt x="662" y="841"/>
                  </a:lnTo>
                  <a:lnTo>
                    <a:pt x="664" y="841"/>
                  </a:lnTo>
                  <a:lnTo>
                    <a:pt x="664" y="843"/>
                  </a:lnTo>
                  <a:lnTo>
                    <a:pt x="666" y="843"/>
                  </a:lnTo>
                  <a:lnTo>
                    <a:pt x="666" y="845"/>
                  </a:lnTo>
                  <a:lnTo>
                    <a:pt x="669" y="845"/>
                  </a:lnTo>
                  <a:lnTo>
                    <a:pt x="669" y="848"/>
                  </a:lnTo>
                  <a:lnTo>
                    <a:pt x="669" y="850"/>
                  </a:lnTo>
                  <a:lnTo>
                    <a:pt x="669" y="853"/>
                  </a:lnTo>
                  <a:lnTo>
                    <a:pt x="669" y="855"/>
                  </a:lnTo>
                  <a:lnTo>
                    <a:pt x="666" y="857"/>
                  </a:lnTo>
                  <a:lnTo>
                    <a:pt x="666" y="860"/>
                  </a:lnTo>
                  <a:lnTo>
                    <a:pt x="666" y="862"/>
                  </a:lnTo>
                  <a:lnTo>
                    <a:pt x="664" y="862"/>
                  </a:lnTo>
                  <a:lnTo>
                    <a:pt x="666" y="862"/>
                  </a:lnTo>
                  <a:lnTo>
                    <a:pt x="666" y="864"/>
                  </a:lnTo>
                  <a:lnTo>
                    <a:pt x="664" y="864"/>
                  </a:lnTo>
                  <a:lnTo>
                    <a:pt x="662" y="864"/>
                  </a:lnTo>
                  <a:lnTo>
                    <a:pt x="662" y="867"/>
                  </a:lnTo>
                  <a:lnTo>
                    <a:pt x="662" y="869"/>
                  </a:lnTo>
                  <a:lnTo>
                    <a:pt x="659" y="869"/>
                  </a:lnTo>
                  <a:lnTo>
                    <a:pt x="657" y="872"/>
                  </a:lnTo>
                  <a:lnTo>
                    <a:pt x="654" y="874"/>
                  </a:lnTo>
                  <a:lnTo>
                    <a:pt x="654" y="876"/>
                  </a:lnTo>
                  <a:lnTo>
                    <a:pt x="652" y="876"/>
                  </a:lnTo>
                  <a:lnTo>
                    <a:pt x="652" y="879"/>
                  </a:lnTo>
                  <a:lnTo>
                    <a:pt x="650" y="879"/>
                  </a:lnTo>
                  <a:lnTo>
                    <a:pt x="650" y="881"/>
                  </a:lnTo>
                  <a:lnTo>
                    <a:pt x="647" y="881"/>
                  </a:lnTo>
                  <a:lnTo>
                    <a:pt x="645" y="881"/>
                  </a:lnTo>
                  <a:lnTo>
                    <a:pt x="643" y="881"/>
                  </a:lnTo>
                  <a:lnTo>
                    <a:pt x="640" y="881"/>
                  </a:lnTo>
                  <a:lnTo>
                    <a:pt x="640" y="883"/>
                  </a:lnTo>
                  <a:lnTo>
                    <a:pt x="638" y="883"/>
                  </a:lnTo>
                  <a:lnTo>
                    <a:pt x="640" y="883"/>
                  </a:lnTo>
                  <a:lnTo>
                    <a:pt x="638" y="883"/>
                  </a:lnTo>
                  <a:lnTo>
                    <a:pt x="638" y="886"/>
                  </a:lnTo>
                  <a:lnTo>
                    <a:pt x="638" y="888"/>
                  </a:lnTo>
                  <a:lnTo>
                    <a:pt x="640" y="888"/>
                  </a:lnTo>
                  <a:lnTo>
                    <a:pt x="640" y="891"/>
                  </a:lnTo>
                  <a:lnTo>
                    <a:pt x="638" y="891"/>
                  </a:lnTo>
                  <a:lnTo>
                    <a:pt x="640" y="891"/>
                  </a:lnTo>
                  <a:lnTo>
                    <a:pt x="643" y="891"/>
                  </a:lnTo>
                  <a:lnTo>
                    <a:pt x="643" y="893"/>
                  </a:lnTo>
                  <a:lnTo>
                    <a:pt x="643" y="895"/>
                  </a:lnTo>
                  <a:lnTo>
                    <a:pt x="643" y="898"/>
                  </a:lnTo>
                  <a:lnTo>
                    <a:pt x="645" y="898"/>
                  </a:lnTo>
                  <a:lnTo>
                    <a:pt x="645" y="900"/>
                  </a:lnTo>
                  <a:lnTo>
                    <a:pt x="645" y="902"/>
                  </a:lnTo>
                  <a:lnTo>
                    <a:pt x="647" y="902"/>
                  </a:lnTo>
                  <a:lnTo>
                    <a:pt x="647" y="905"/>
                  </a:lnTo>
                  <a:lnTo>
                    <a:pt x="645" y="905"/>
                  </a:lnTo>
                  <a:lnTo>
                    <a:pt x="647" y="905"/>
                  </a:lnTo>
                  <a:lnTo>
                    <a:pt x="650" y="905"/>
                  </a:lnTo>
                  <a:lnTo>
                    <a:pt x="652" y="905"/>
                  </a:lnTo>
                  <a:lnTo>
                    <a:pt x="650" y="905"/>
                  </a:lnTo>
                  <a:lnTo>
                    <a:pt x="647" y="905"/>
                  </a:lnTo>
                  <a:lnTo>
                    <a:pt x="647" y="902"/>
                  </a:lnTo>
                  <a:lnTo>
                    <a:pt x="645" y="902"/>
                  </a:lnTo>
                  <a:lnTo>
                    <a:pt x="647" y="902"/>
                  </a:lnTo>
                  <a:lnTo>
                    <a:pt x="645" y="900"/>
                  </a:lnTo>
                  <a:lnTo>
                    <a:pt x="645" y="898"/>
                  </a:lnTo>
                  <a:lnTo>
                    <a:pt x="643" y="898"/>
                  </a:lnTo>
                  <a:lnTo>
                    <a:pt x="643" y="895"/>
                  </a:lnTo>
                  <a:lnTo>
                    <a:pt x="643" y="893"/>
                  </a:lnTo>
                  <a:lnTo>
                    <a:pt x="643" y="891"/>
                  </a:lnTo>
                  <a:lnTo>
                    <a:pt x="640" y="891"/>
                  </a:lnTo>
                  <a:lnTo>
                    <a:pt x="638" y="891"/>
                  </a:lnTo>
                  <a:lnTo>
                    <a:pt x="640" y="891"/>
                  </a:lnTo>
                  <a:lnTo>
                    <a:pt x="640" y="888"/>
                  </a:lnTo>
                  <a:lnTo>
                    <a:pt x="638" y="888"/>
                  </a:lnTo>
                  <a:lnTo>
                    <a:pt x="638" y="886"/>
                  </a:lnTo>
                  <a:lnTo>
                    <a:pt x="638" y="883"/>
                  </a:lnTo>
                  <a:lnTo>
                    <a:pt x="640" y="883"/>
                  </a:lnTo>
                  <a:lnTo>
                    <a:pt x="643" y="883"/>
                  </a:lnTo>
                  <a:lnTo>
                    <a:pt x="640" y="883"/>
                  </a:lnTo>
                  <a:lnTo>
                    <a:pt x="643" y="883"/>
                  </a:lnTo>
                  <a:lnTo>
                    <a:pt x="640" y="883"/>
                  </a:lnTo>
                  <a:lnTo>
                    <a:pt x="643" y="881"/>
                  </a:lnTo>
                  <a:lnTo>
                    <a:pt x="645" y="881"/>
                  </a:lnTo>
                  <a:lnTo>
                    <a:pt x="647" y="881"/>
                  </a:lnTo>
                  <a:lnTo>
                    <a:pt x="650" y="881"/>
                  </a:lnTo>
                  <a:lnTo>
                    <a:pt x="652" y="879"/>
                  </a:lnTo>
                  <a:lnTo>
                    <a:pt x="652" y="876"/>
                  </a:lnTo>
                  <a:lnTo>
                    <a:pt x="654" y="876"/>
                  </a:lnTo>
                  <a:lnTo>
                    <a:pt x="654" y="874"/>
                  </a:lnTo>
                  <a:lnTo>
                    <a:pt x="657" y="874"/>
                  </a:lnTo>
                  <a:lnTo>
                    <a:pt x="657" y="872"/>
                  </a:lnTo>
                  <a:lnTo>
                    <a:pt x="659" y="869"/>
                  </a:lnTo>
                  <a:lnTo>
                    <a:pt x="662" y="869"/>
                  </a:lnTo>
                  <a:lnTo>
                    <a:pt x="662" y="867"/>
                  </a:lnTo>
                  <a:lnTo>
                    <a:pt x="664" y="867"/>
                  </a:lnTo>
                  <a:lnTo>
                    <a:pt x="662" y="867"/>
                  </a:lnTo>
                  <a:lnTo>
                    <a:pt x="664" y="867"/>
                  </a:lnTo>
                  <a:lnTo>
                    <a:pt x="664" y="864"/>
                  </a:lnTo>
                  <a:lnTo>
                    <a:pt x="664" y="867"/>
                  </a:lnTo>
                  <a:lnTo>
                    <a:pt x="666" y="864"/>
                  </a:lnTo>
                  <a:lnTo>
                    <a:pt x="666" y="867"/>
                  </a:lnTo>
                  <a:lnTo>
                    <a:pt x="666" y="869"/>
                  </a:lnTo>
                  <a:lnTo>
                    <a:pt x="669" y="869"/>
                  </a:lnTo>
                  <a:lnTo>
                    <a:pt x="671" y="869"/>
                  </a:lnTo>
                  <a:lnTo>
                    <a:pt x="673" y="869"/>
                  </a:lnTo>
                  <a:lnTo>
                    <a:pt x="676" y="869"/>
                  </a:lnTo>
                  <a:lnTo>
                    <a:pt x="673" y="869"/>
                  </a:lnTo>
                  <a:lnTo>
                    <a:pt x="671" y="869"/>
                  </a:lnTo>
                  <a:lnTo>
                    <a:pt x="669" y="869"/>
                  </a:lnTo>
                  <a:lnTo>
                    <a:pt x="666" y="869"/>
                  </a:lnTo>
                  <a:lnTo>
                    <a:pt x="666" y="867"/>
                  </a:lnTo>
                  <a:lnTo>
                    <a:pt x="666" y="864"/>
                  </a:lnTo>
                  <a:lnTo>
                    <a:pt x="666" y="862"/>
                  </a:lnTo>
                  <a:lnTo>
                    <a:pt x="666" y="860"/>
                  </a:lnTo>
                  <a:lnTo>
                    <a:pt x="666" y="857"/>
                  </a:lnTo>
                  <a:lnTo>
                    <a:pt x="669" y="855"/>
                  </a:lnTo>
                  <a:lnTo>
                    <a:pt x="669" y="853"/>
                  </a:lnTo>
                  <a:lnTo>
                    <a:pt x="671" y="850"/>
                  </a:lnTo>
                  <a:lnTo>
                    <a:pt x="669" y="850"/>
                  </a:lnTo>
                  <a:lnTo>
                    <a:pt x="671" y="848"/>
                  </a:lnTo>
                  <a:lnTo>
                    <a:pt x="669" y="848"/>
                  </a:lnTo>
                  <a:lnTo>
                    <a:pt x="669" y="845"/>
                  </a:lnTo>
                  <a:lnTo>
                    <a:pt x="666" y="845"/>
                  </a:lnTo>
                  <a:lnTo>
                    <a:pt x="666" y="843"/>
                  </a:lnTo>
                  <a:lnTo>
                    <a:pt x="664" y="843"/>
                  </a:lnTo>
                  <a:lnTo>
                    <a:pt x="664" y="841"/>
                  </a:lnTo>
                  <a:lnTo>
                    <a:pt x="666" y="841"/>
                  </a:lnTo>
                  <a:lnTo>
                    <a:pt x="664" y="841"/>
                  </a:lnTo>
                  <a:lnTo>
                    <a:pt x="662" y="841"/>
                  </a:lnTo>
                  <a:lnTo>
                    <a:pt x="662" y="838"/>
                  </a:lnTo>
                  <a:lnTo>
                    <a:pt x="659" y="838"/>
                  </a:lnTo>
                  <a:lnTo>
                    <a:pt x="659" y="836"/>
                  </a:lnTo>
                  <a:lnTo>
                    <a:pt x="657" y="836"/>
                  </a:lnTo>
                  <a:lnTo>
                    <a:pt x="654" y="836"/>
                  </a:lnTo>
                  <a:lnTo>
                    <a:pt x="652" y="836"/>
                  </a:lnTo>
                  <a:lnTo>
                    <a:pt x="650" y="836"/>
                  </a:lnTo>
                  <a:lnTo>
                    <a:pt x="650" y="834"/>
                  </a:lnTo>
                  <a:lnTo>
                    <a:pt x="650" y="831"/>
                  </a:lnTo>
                  <a:lnTo>
                    <a:pt x="647" y="831"/>
                  </a:lnTo>
                  <a:lnTo>
                    <a:pt x="650" y="829"/>
                  </a:lnTo>
                  <a:lnTo>
                    <a:pt x="647" y="829"/>
                  </a:lnTo>
                  <a:lnTo>
                    <a:pt x="647" y="826"/>
                  </a:lnTo>
                  <a:lnTo>
                    <a:pt x="645" y="826"/>
                  </a:lnTo>
                  <a:lnTo>
                    <a:pt x="645" y="824"/>
                  </a:lnTo>
                  <a:lnTo>
                    <a:pt x="645" y="822"/>
                  </a:lnTo>
                  <a:lnTo>
                    <a:pt x="643" y="819"/>
                  </a:lnTo>
                  <a:lnTo>
                    <a:pt x="645" y="819"/>
                  </a:lnTo>
                  <a:lnTo>
                    <a:pt x="643" y="819"/>
                  </a:lnTo>
                  <a:lnTo>
                    <a:pt x="643" y="817"/>
                  </a:lnTo>
                  <a:lnTo>
                    <a:pt x="645" y="817"/>
                  </a:lnTo>
                  <a:lnTo>
                    <a:pt x="645" y="815"/>
                  </a:lnTo>
                  <a:lnTo>
                    <a:pt x="643" y="815"/>
                  </a:lnTo>
                  <a:lnTo>
                    <a:pt x="643" y="812"/>
                  </a:lnTo>
                  <a:lnTo>
                    <a:pt x="643" y="810"/>
                  </a:lnTo>
                  <a:lnTo>
                    <a:pt x="640" y="810"/>
                  </a:lnTo>
                  <a:lnTo>
                    <a:pt x="640" y="807"/>
                  </a:lnTo>
                  <a:lnTo>
                    <a:pt x="640" y="805"/>
                  </a:lnTo>
                  <a:lnTo>
                    <a:pt x="638" y="805"/>
                  </a:lnTo>
                  <a:lnTo>
                    <a:pt x="638" y="803"/>
                  </a:lnTo>
                  <a:lnTo>
                    <a:pt x="640" y="803"/>
                  </a:lnTo>
                  <a:lnTo>
                    <a:pt x="638" y="803"/>
                  </a:lnTo>
                  <a:lnTo>
                    <a:pt x="638" y="800"/>
                  </a:lnTo>
                  <a:lnTo>
                    <a:pt x="640" y="800"/>
                  </a:lnTo>
                  <a:lnTo>
                    <a:pt x="640" y="798"/>
                  </a:lnTo>
                  <a:lnTo>
                    <a:pt x="638" y="798"/>
                  </a:lnTo>
                  <a:lnTo>
                    <a:pt x="638" y="796"/>
                  </a:lnTo>
                  <a:lnTo>
                    <a:pt x="635" y="796"/>
                  </a:lnTo>
                  <a:lnTo>
                    <a:pt x="633" y="796"/>
                  </a:lnTo>
                  <a:lnTo>
                    <a:pt x="633" y="793"/>
                  </a:lnTo>
                  <a:lnTo>
                    <a:pt x="633" y="796"/>
                  </a:lnTo>
                  <a:lnTo>
                    <a:pt x="631" y="796"/>
                  </a:lnTo>
                  <a:lnTo>
                    <a:pt x="631" y="798"/>
                  </a:lnTo>
                  <a:lnTo>
                    <a:pt x="628" y="798"/>
                  </a:lnTo>
                  <a:lnTo>
                    <a:pt x="628" y="796"/>
                  </a:lnTo>
                  <a:lnTo>
                    <a:pt x="626" y="796"/>
                  </a:lnTo>
                  <a:lnTo>
                    <a:pt x="624" y="796"/>
                  </a:lnTo>
                  <a:lnTo>
                    <a:pt x="626" y="793"/>
                  </a:lnTo>
                  <a:lnTo>
                    <a:pt x="624" y="793"/>
                  </a:lnTo>
                  <a:lnTo>
                    <a:pt x="624" y="791"/>
                  </a:lnTo>
                  <a:lnTo>
                    <a:pt x="624" y="788"/>
                  </a:lnTo>
                  <a:lnTo>
                    <a:pt x="621" y="788"/>
                  </a:lnTo>
                  <a:lnTo>
                    <a:pt x="619" y="788"/>
                  </a:lnTo>
                  <a:lnTo>
                    <a:pt x="616" y="788"/>
                  </a:lnTo>
                  <a:lnTo>
                    <a:pt x="614" y="788"/>
                  </a:lnTo>
                  <a:lnTo>
                    <a:pt x="614" y="786"/>
                  </a:lnTo>
                  <a:lnTo>
                    <a:pt x="612" y="786"/>
                  </a:lnTo>
                  <a:lnTo>
                    <a:pt x="612" y="784"/>
                  </a:lnTo>
                  <a:lnTo>
                    <a:pt x="609" y="784"/>
                  </a:lnTo>
                  <a:lnTo>
                    <a:pt x="607" y="784"/>
                  </a:lnTo>
                  <a:lnTo>
                    <a:pt x="607" y="781"/>
                  </a:lnTo>
                  <a:lnTo>
                    <a:pt x="607" y="779"/>
                  </a:lnTo>
                  <a:lnTo>
                    <a:pt x="609" y="779"/>
                  </a:lnTo>
                  <a:lnTo>
                    <a:pt x="609" y="777"/>
                  </a:lnTo>
                  <a:lnTo>
                    <a:pt x="607" y="777"/>
                  </a:lnTo>
                  <a:lnTo>
                    <a:pt x="607" y="774"/>
                  </a:lnTo>
                  <a:lnTo>
                    <a:pt x="607" y="772"/>
                  </a:lnTo>
                  <a:lnTo>
                    <a:pt x="607" y="769"/>
                  </a:lnTo>
                  <a:lnTo>
                    <a:pt x="607" y="772"/>
                  </a:lnTo>
                  <a:lnTo>
                    <a:pt x="607" y="769"/>
                  </a:lnTo>
                  <a:lnTo>
                    <a:pt x="605" y="769"/>
                  </a:lnTo>
                  <a:lnTo>
                    <a:pt x="602" y="769"/>
                  </a:lnTo>
                  <a:lnTo>
                    <a:pt x="602" y="767"/>
                  </a:lnTo>
                  <a:lnTo>
                    <a:pt x="602" y="765"/>
                  </a:lnTo>
                  <a:lnTo>
                    <a:pt x="605" y="765"/>
                  </a:lnTo>
                  <a:lnTo>
                    <a:pt x="605" y="762"/>
                  </a:lnTo>
                  <a:lnTo>
                    <a:pt x="607" y="762"/>
                  </a:lnTo>
                  <a:lnTo>
                    <a:pt x="605" y="762"/>
                  </a:lnTo>
                  <a:lnTo>
                    <a:pt x="602" y="762"/>
                  </a:lnTo>
                  <a:lnTo>
                    <a:pt x="602" y="760"/>
                  </a:lnTo>
                  <a:lnTo>
                    <a:pt x="605" y="760"/>
                  </a:lnTo>
                  <a:lnTo>
                    <a:pt x="602" y="760"/>
                  </a:lnTo>
                  <a:lnTo>
                    <a:pt x="600" y="760"/>
                  </a:lnTo>
                  <a:lnTo>
                    <a:pt x="600" y="758"/>
                  </a:lnTo>
                  <a:lnTo>
                    <a:pt x="600" y="755"/>
                  </a:lnTo>
                  <a:lnTo>
                    <a:pt x="597" y="753"/>
                  </a:lnTo>
                  <a:lnTo>
                    <a:pt x="595" y="755"/>
                  </a:lnTo>
                  <a:lnTo>
                    <a:pt x="595" y="758"/>
                  </a:lnTo>
                  <a:lnTo>
                    <a:pt x="593" y="758"/>
                  </a:lnTo>
                  <a:lnTo>
                    <a:pt x="593" y="760"/>
                  </a:lnTo>
                  <a:lnTo>
                    <a:pt x="593" y="758"/>
                  </a:lnTo>
                  <a:lnTo>
                    <a:pt x="590" y="758"/>
                  </a:lnTo>
                  <a:lnTo>
                    <a:pt x="588" y="758"/>
                  </a:lnTo>
                  <a:lnTo>
                    <a:pt x="586" y="758"/>
                  </a:lnTo>
                  <a:lnTo>
                    <a:pt x="586" y="760"/>
                  </a:lnTo>
                  <a:lnTo>
                    <a:pt x="583" y="760"/>
                  </a:lnTo>
                  <a:lnTo>
                    <a:pt x="581" y="758"/>
                  </a:lnTo>
                  <a:lnTo>
                    <a:pt x="579" y="758"/>
                  </a:lnTo>
                  <a:lnTo>
                    <a:pt x="576" y="758"/>
                  </a:lnTo>
                  <a:lnTo>
                    <a:pt x="576" y="755"/>
                  </a:lnTo>
                  <a:lnTo>
                    <a:pt x="576" y="753"/>
                  </a:lnTo>
                  <a:lnTo>
                    <a:pt x="576" y="755"/>
                  </a:lnTo>
                  <a:lnTo>
                    <a:pt x="576" y="753"/>
                  </a:lnTo>
                  <a:lnTo>
                    <a:pt x="574" y="753"/>
                  </a:lnTo>
                  <a:lnTo>
                    <a:pt x="571" y="750"/>
                  </a:lnTo>
                  <a:lnTo>
                    <a:pt x="571" y="748"/>
                  </a:lnTo>
                  <a:lnTo>
                    <a:pt x="569" y="748"/>
                  </a:lnTo>
                  <a:lnTo>
                    <a:pt x="569" y="746"/>
                  </a:lnTo>
                  <a:lnTo>
                    <a:pt x="567" y="746"/>
                  </a:lnTo>
                  <a:lnTo>
                    <a:pt x="567" y="743"/>
                  </a:lnTo>
                  <a:lnTo>
                    <a:pt x="564" y="741"/>
                  </a:lnTo>
                  <a:lnTo>
                    <a:pt x="564" y="739"/>
                  </a:lnTo>
                  <a:lnTo>
                    <a:pt x="562" y="739"/>
                  </a:lnTo>
                  <a:lnTo>
                    <a:pt x="560" y="739"/>
                  </a:lnTo>
                  <a:lnTo>
                    <a:pt x="557" y="739"/>
                  </a:lnTo>
                  <a:lnTo>
                    <a:pt x="557" y="736"/>
                  </a:lnTo>
                  <a:lnTo>
                    <a:pt x="557" y="734"/>
                  </a:lnTo>
                  <a:lnTo>
                    <a:pt x="560" y="734"/>
                  </a:lnTo>
                  <a:lnTo>
                    <a:pt x="557" y="734"/>
                  </a:lnTo>
                  <a:lnTo>
                    <a:pt x="557" y="731"/>
                  </a:lnTo>
                  <a:lnTo>
                    <a:pt x="555" y="731"/>
                  </a:lnTo>
                  <a:lnTo>
                    <a:pt x="555" y="729"/>
                  </a:lnTo>
                  <a:lnTo>
                    <a:pt x="555" y="727"/>
                  </a:lnTo>
                  <a:lnTo>
                    <a:pt x="557" y="727"/>
                  </a:lnTo>
                  <a:lnTo>
                    <a:pt x="560" y="729"/>
                  </a:lnTo>
                  <a:lnTo>
                    <a:pt x="562" y="729"/>
                  </a:lnTo>
                  <a:lnTo>
                    <a:pt x="562" y="727"/>
                  </a:lnTo>
                  <a:lnTo>
                    <a:pt x="564" y="727"/>
                  </a:lnTo>
                  <a:lnTo>
                    <a:pt x="567" y="724"/>
                  </a:lnTo>
                  <a:lnTo>
                    <a:pt x="567" y="722"/>
                  </a:lnTo>
                  <a:lnTo>
                    <a:pt x="569" y="722"/>
                  </a:lnTo>
                  <a:lnTo>
                    <a:pt x="567" y="722"/>
                  </a:lnTo>
                  <a:lnTo>
                    <a:pt x="569" y="720"/>
                  </a:lnTo>
                  <a:lnTo>
                    <a:pt x="569" y="717"/>
                  </a:lnTo>
                  <a:lnTo>
                    <a:pt x="567" y="717"/>
                  </a:lnTo>
                  <a:lnTo>
                    <a:pt x="567" y="715"/>
                  </a:lnTo>
                  <a:lnTo>
                    <a:pt x="569" y="715"/>
                  </a:lnTo>
                  <a:lnTo>
                    <a:pt x="571" y="715"/>
                  </a:lnTo>
                  <a:lnTo>
                    <a:pt x="571" y="712"/>
                  </a:lnTo>
                  <a:lnTo>
                    <a:pt x="574" y="712"/>
                  </a:lnTo>
                  <a:lnTo>
                    <a:pt x="576" y="712"/>
                  </a:lnTo>
                  <a:lnTo>
                    <a:pt x="576" y="715"/>
                  </a:lnTo>
                  <a:lnTo>
                    <a:pt x="576" y="712"/>
                  </a:lnTo>
                  <a:lnTo>
                    <a:pt x="576" y="715"/>
                  </a:lnTo>
                  <a:lnTo>
                    <a:pt x="579" y="715"/>
                  </a:lnTo>
                  <a:lnTo>
                    <a:pt x="581" y="715"/>
                  </a:lnTo>
                  <a:lnTo>
                    <a:pt x="583" y="717"/>
                  </a:lnTo>
                  <a:lnTo>
                    <a:pt x="586" y="717"/>
                  </a:lnTo>
                  <a:lnTo>
                    <a:pt x="588" y="717"/>
                  </a:lnTo>
                  <a:lnTo>
                    <a:pt x="590" y="720"/>
                  </a:lnTo>
                  <a:lnTo>
                    <a:pt x="593" y="720"/>
                  </a:lnTo>
                  <a:lnTo>
                    <a:pt x="595" y="720"/>
                  </a:lnTo>
                  <a:lnTo>
                    <a:pt x="595" y="722"/>
                  </a:lnTo>
                  <a:lnTo>
                    <a:pt x="597" y="722"/>
                  </a:lnTo>
                  <a:lnTo>
                    <a:pt x="595" y="724"/>
                  </a:lnTo>
                  <a:lnTo>
                    <a:pt x="597" y="724"/>
                  </a:lnTo>
                  <a:lnTo>
                    <a:pt x="597" y="727"/>
                  </a:lnTo>
                  <a:lnTo>
                    <a:pt x="600" y="727"/>
                  </a:lnTo>
                  <a:lnTo>
                    <a:pt x="602" y="729"/>
                  </a:lnTo>
                  <a:lnTo>
                    <a:pt x="605" y="729"/>
                  </a:lnTo>
                  <a:lnTo>
                    <a:pt x="607" y="731"/>
                  </a:lnTo>
                  <a:lnTo>
                    <a:pt x="609" y="731"/>
                  </a:lnTo>
                  <a:lnTo>
                    <a:pt x="612" y="731"/>
                  </a:lnTo>
                  <a:lnTo>
                    <a:pt x="614" y="731"/>
                  </a:lnTo>
                  <a:lnTo>
                    <a:pt x="616" y="731"/>
                  </a:lnTo>
                  <a:lnTo>
                    <a:pt x="619" y="731"/>
                  </a:lnTo>
                  <a:lnTo>
                    <a:pt x="616" y="734"/>
                  </a:lnTo>
                  <a:lnTo>
                    <a:pt x="619" y="734"/>
                  </a:lnTo>
                  <a:lnTo>
                    <a:pt x="619" y="736"/>
                  </a:lnTo>
                  <a:lnTo>
                    <a:pt x="616" y="736"/>
                  </a:lnTo>
                  <a:lnTo>
                    <a:pt x="616" y="734"/>
                  </a:lnTo>
                  <a:lnTo>
                    <a:pt x="614" y="734"/>
                  </a:lnTo>
                  <a:lnTo>
                    <a:pt x="614" y="736"/>
                  </a:lnTo>
                  <a:lnTo>
                    <a:pt x="612" y="736"/>
                  </a:lnTo>
                  <a:lnTo>
                    <a:pt x="612" y="734"/>
                  </a:lnTo>
                  <a:lnTo>
                    <a:pt x="609" y="736"/>
                  </a:lnTo>
                  <a:lnTo>
                    <a:pt x="607" y="736"/>
                  </a:lnTo>
                  <a:lnTo>
                    <a:pt x="607" y="739"/>
                  </a:lnTo>
                  <a:lnTo>
                    <a:pt x="609" y="739"/>
                  </a:lnTo>
                  <a:lnTo>
                    <a:pt x="609" y="741"/>
                  </a:lnTo>
                  <a:lnTo>
                    <a:pt x="609" y="743"/>
                  </a:lnTo>
                  <a:lnTo>
                    <a:pt x="607" y="743"/>
                  </a:lnTo>
                  <a:lnTo>
                    <a:pt x="607" y="746"/>
                  </a:lnTo>
                  <a:lnTo>
                    <a:pt x="605" y="746"/>
                  </a:lnTo>
                  <a:lnTo>
                    <a:pt x="607" y="746"/>
                  </a:lnTo>
                  <a:lnTo>
                    <a:pt x="607" y="743"/>
                  </a:lnTo>
                  <a:lnTo>
                    <a:pt x="609" y="743"/>
                  </a:lnTo>
                  <a:lnTo>
                    <a:pt x="609" y="741"/>
                  </a:lnTo>
                  <a:lnTo>
                    <a:pt x="612" y="741"/>
                  </a:lnTo>
                  <a:lnTo>
                    <a:pt x="612" y="743"/>
                  </a:lnTo>
                  <a:lnTo>
                    <a:pt x="612" y="741"/>
                  </a:lnTo>
                  <a:lnTo>
                    <a:pt x="609" y="741"/>
                  </a:lnTo>
                  <a:lnTo>
                    <a:pt x="612" y="739"/>
                  </a:lnTo>
                  <a:lnTo>
                    <a:pt x="614" y="739"/>
                  </a:lnTo>
                  <a:lnTo>
                    <a:pt x="616" y="739"/>
                  </a:lnTo>
                  <a:lnTo>
                    <a:pt x="619" y="736"/>
                  </a:lnTo>
                  <a:lnTo>
                    <a:pt x="621" y="736"/>
                  </a:lnTo>
                  <a:lnTo>
                    <a:pt x="621" y="739"/>
                  </a:lnTo>
                  <a:lnTo>
                    <a:pt x="621" y="736"/>
                  </a:lnTo>
                  <a:lnTo>
                    <a:pt x="621" y="739"/>
                  </a:lnTo>
                  <a:lnTo>
                    <a:pt x="621" y="736"/>
                  </a:lnTo>
                  <a:lnTo>
                    <a:pt x="619" y="734"/>
                  </a:lnTo>
                  <a:lnTo>
                    <a:pt x="621" y="734"/>
                  </a:lnTo>
                  <a:lnTo>
                    <a:pt x="624" y="736"/>
                  </a:lnTo>
                  <a:lnTo>
                    <a:pt x="626" y="736"/>
                  </a:lnTo>
                  <a:lnTo>
                    <a:pt x="628" y="736"/>
                  </a:lnTo>
                  <a:lnTo>
                    <a:pt x="631" y="736"/>
                  </a:lnTo>
                  <a:lnTo>
                    <a:pt x="633" y="736"/>
                  </a:lnTo>
                  <a:lnTo>
                    <a:pt x="635" y="736"/>
                  </a:lnTo>
                  <a:lnTo>
                    <a:pt x="635" y="739"/>
                  </a:lnTo>
                  <a:lnTo>
                    <a:pt x="638" y="739"/>
                  </a:lnTo>
                  <a:lnTo>
                    <a:pt x="640" y="739"/>
                  </a:lnTo>
                  <a:lnTo>
                    <a:pt x="640" y="741"/>
                  </a:lnTo>
                  <a:lnTo>
                    <a:pt x="640" y="739"/>
                  </a:lnTo>
                  <a:lnTo>
                    <a:pt x="638" y="739"/>
                  </a:lnTo>
                  <a:lnTo>
                    <a:pt x="638" y="741"/>
                  </a:lnTo>
                  <a:lnTo>
                    <a:pt x="640" y="739"/>
                  </a:lnTo>
                  <a:lnTo>
                    <a:pt x="640" y="741"/>
                  </a:lnTo>
                  <a:lnTo>
                    <a:pt x="643" y="741"/>
                  </a:lnTo>
                  <a:lnTo>
                    <a:pt x="645" y="743"/>
                  </a:lnTo>
                  <a:lnTo>
                    <a:pt x="647" y="743"/>
                  </a:lnTo>
                  <a:lnTo>
                    <a:pt x="650" y="743"/>
                  </a:lnTo>
                  <a:lnTo>
                    <a:pt x="652" y="746"/>
                  </a:lnTo>
                  <a:lnTo>
                    <a:pt x="654" y="746"/>
                  </a:lnTo>
                  <a:lnTo>
                    <a:pt x="654" y="748"/>
                  </a:lnTo>
                  <a:lnTo>
                    <a:pt x="657" y="748"/>
                  </a:lnTo>
                  <a:lnTo>
                    <a:pt x="657" y="750"/>
                  </a:lnTo>
                  <a:lnTo>
                    <a:pt x="657" y="748"/>
                  </a:lnTo>
                  <a:lnTo>
                    <a:pt x="659" y="748"/>
                  </a:lnTo>
                  <a:lnTo>
                    <a:pt x="657" y="748"/>
                  </a:lnTo>
                  <a:lnTo>
                    <a:pt x="659" y="748"/>
                  </a:lnTo>
                  <a:lnTo>
                    <a:pt x="657" y="748"/>
                  </a:lnTo>
                  <a:lnTo>
                    <a:pt x="659" y="748"/>
                  </a:lnTo>
                  <a:lnTo>
                    <a:pt x="662" y="748"/>
                  </a:lnTo>
                  <a:lnTo>
                    <a:pt x="664" y="748"/>
                  </a:lnTo>
                  <a:lnTo>
                    <a:pt x="662" y="748"/>
                  </a:lnTo>
                  <a:lnTo>
                    <a:pt x="664" y="748"/>
                  </a:lnTo>
                  <a:lnTo>
                    <a:pt x="662" y="748"/>
                  </a:lnTo>
                  <a:lnTo>
                    <a:pt x="664" y="748"/>
                  </a:lnTo>
                  <a:lnTo>
                    <a:pt x="664" y="750"/>
                  </a:lnTo>
                  <a:lnTo>
                    <a:pt x="664" y="748"/>
                  </a:lnTo>
                  <a:lnTo>
                    <a:pt x="664" y="746"/>
                  </a:lnTo>
                  <a:lnTo>
                    <a:pt x="666" y="746"/>
                  </a:lnTo>
                  <a:lnTo>
                    <a:pt x="669" y="746"/>
                  </a:lnTo>
                  <a:lnTo>
                    <a:pt x="666" y="746"/>
                  </a:lnTo>
                  <a:lnTo>
                    <a:pt x="669" y="746"/>
                  </a:lnTo>
                  <a:lnTo>
                    <a:pt x="671" y="746"/>
                  </a:lnTo>
                  <a:lnTo>
                    <a:pt x="669" y="746"/>
                  </a:lnTo>
                  <a:lnTo>
                    <a:pt x="669" y="743"/>
                  </a:lnTo>
                  <a:lnTo>
                    <a:pt x="669" y="746"/>
                  </a:lnTo>
                  <a:lnTo>
                    <a:pt x="671" y="746"/>
                  </a:lnTo>
                  <a:lnTo>
                    <a:pt x="671" y="743"/>
                  </a:lnTo>
                  <a:lnTo>
                    <a:pt x="673" y="743"/>
                  </a:lnTo>
                  <a:lnTo>
                    <a:pt x="673" y="746"/>
                  </a:lnTo>
                  <a:lnTo>
                    <a:pt x="676" y="746"/>
                  </a:lnTo>
                  <a:lnTo>
                    <a:pt x="673" y="746"/>
                  </a:lnTo>
                  <a:lnTo>
                    <a:pt x="673" y="743"/>
                  </a:lnTo>
                  <a:lnTo>
                    <a:pt x="676" y="746"/>
                  </a:lnTo>
                  <a:lnTo>
                    <a:pt x="673" y="746"/>
                  </a:lnTo>
                  <a:lnTo>
                    <a:pt x="676" y="746"/>
                  </a:lnTo>
                  <a:lnTo>
                    <a:pt x="676" y="748"/>
                  </a:lnTo>
                  <a:lnTo>
                    <a:pt x="678" y="748"/>
                  </a:lnTo>
                  <a:lnTo>
                    <a:pt x="681" y="748"/>
                  </a:lnTo>
                  <a:lnTo>
                    <a:pt x="681" y="750"/>
                  </a:lnTo>
                  <a:lnTo>
                    <a:pt x="681" y="753"/>
                  </a:lnTo>
                  <a:lnTo>
                    <a:pt x="681" y="750"/>
                  </a:lnTo>
                  <a:lnTo>
                    <a:pt x="681" y="748"/>
                  </a:lnTo>
                  <a:lnTo>
                    <a:pt x="683" y="748"/>
                  </a:lnTo>
                  <a:lnTo>
                    <a:pt x="683" y="750"/>
                  </a:lnTo>
                  <a:lnTo>
                    <a:pt x="685" y="750"/>
                  </a:lnTo>
                  <a:lnTo>
                    <a:pt x="685" y="753"/>
                  </a:lnTo>
                  <a:lnTo>
                    <a:pt x="688" y="753"/>
                  </a:lnTo>
                  <a:lnTo>
                    <a:pt x="690" y="753"/>
                  </a:lnTo>
                  <a:lnTo>
                    <a:pt x="688" y="753"/>
                  </a:lnTo>
                  <a:lnTo>
                    <a:pt x="685" y="753"/>
                  </a:lnTo>
                  <a:lnTo>
                    <a:pt x="685" y="750"/>
                  </a:lnTo>
                  <a:lnTo>
                    <a:pt x="685" y="748"/>
                  </a:lnTo>
                  <a:lnTo>
                    <a:pt x="685" y="750"/>
                  </a:lnTo>
                  <a:lnTo>
                    <a:pt x="688" y="750"/>
                  </a:lnTo>
                  <a:lnTo>
                    <a:pt x="690" y="750"/>
                  </a:lnTo>
                  <a:lnTo>
                    <a:pt x="692" y="750"/>
                  </a:lnTo>
                  <a:lnTo>
                    <a:pt x="692" y="753"/>
                  </a:lnTo>
                  <a:lnTo>
                    <a:pt x="695" y="753"/>
                  </a:lnTo>
                  <a:lnTo>
                    <a:pt x="692" y="753"/>
                  </a:lnTo>
                  <a:lnTo>
                    <a:pt x="695" y="753"/>
                  </a:lnTo>
                  <a:lnTo>
                    <a:pt x="692" y="753"/>
                  </a:lnTo>
                  <a:lnTo>
                    <a:pt x="695" y="753"/>
                  </a:lnTo>
                  <a:lnTo>
                    <a:pt x="697" y="753"/>
                  </a:lnTo>
                  <a:lnTo>
                    <a:pt x="700" y="753"/>
                  </a:lnTo>
                  <a:lnTo>
                    <a:pt x="700" y="755"/>
                  </a:lnTo>
                  <a:lnTo>
                    <a:pt x="700" y="758"/>
                  </a:lnTo>
                  <a:lnTo>
                    <a:pt x="702" y="758"/>
                  </a:lnTo>
                  <a:lnTo>
                    <a:pt x="702" y="760"/>
                  </a:lnTo>
                  <a:lnTo>
                    <a:pt x="704" y="760"/>
                  </a:lnTo>
                  <a:lnTo>
                    <a:pt x="707" y="760"/>
                  </a:lnTo>
                  <a:lnTo>
                    <a:pt x="704" y="760"/>
                  </a:lnTo>
                  <a:lnTo>
                    <a:pt x="704" y="758"/>
                  </a:lnTo>
                  <a:lnTo>
                    <a:pt x="707" y="758"/>
                  </a:lnTo>
                  <a:lnTo>
                    <a:pt x="707" y="760"/>
                  </a:lnTo>
                  <a:lnTo>
                    <a:pt x="709" y="760"/>
                  </a:lnTo>
                  <a:lnTo>
                    <a:pt x="711" y="760"/>
                  </a:lnTo>
                  <a:lnTo>
                    <a:pt x="714" y="760"/>
                  </a:lnTo>
                  <a:lnTo>
                    <a:pt x="714" y="762"/>
                  </a:lnTo>
                  <a:lnTo>
                    <a:pt x="714" y="760"/>
                  </a:lnTo>
                  <a:lnTo>
                    <a:pt x="711" y="760"/>
                  </a:lnTo>
                  <a:lnTo>
                    <a:pt x="714" y="760"/>
                  </a:lnTo>
                  <a:lnTo>
                    <a:pt x="716" y="760"/>
                  </a:lnTo>
                  <a:lnTo>
                    <a:pt x="719" y="760"/>
                  </a:lnTo>
                  <a:lnTo>
                    <a:pt x="716" y="760"/>
                  </a:lnTo>
                  <a:lnTo>
                    <a:pt x="719" y="760"/>
                  </a:lnTo>
                  <a:lnTo>
                    <a:pt x="721" y="760"/>
                  </a:lnTo>
                  <a:lnTo>
                    <a:pt x="721" y="762"/>
                  </a:lnTo>
                  <a:lnTo>
                    <a:pt x="723" y="762"/>
                  </a:lnTo>
                  <a:lnTo>
                    <a:pt x="723" y="765"/>
                  </a:lnTo>
                  <a:lnTo>
                    <a:pt x="726" y="765"/>
                  </a:lnTo>
                  <a:lnTo>
                    <a:pt x="728" y="767"/>
                  </a:lnTo>
                  <a:lnTo>
                    <a:pt x="726" y="767"/>
                  </a:lnTo>
                  <a:lnTo>
                    <a:pt x="728" y="767"/>
                  </a:lnTo>
                  <a:lnTo>
                    <a:pt x="728" y="769"/>
                  </a:lnTo>
                  <a:lnTo>
                    <a:pt x="728" y="767"/>
                  </a:lnTo>
                  <a:lnTo>
                    <a:pt x="726" y="767"/>
                  </a:lnTo>
                  <a:lnTo>
                    <a:pt x="728" y="767"/>
                  </a:lnTo>
                  <a:lnTo>
                    <a:pt x="730" y="767"/>
                  </a:lnTo>
                  <a:lnTo>
                    <a:pt x="733" y="767"/>
                  </a:lnTo>
                  <a:lnTo>
                    <a:pt x="735" y="767"/>
                  </a:lnTo>
                  <a:lnTo>
                    <a:pt x="735" y="769"/>
                  </a:lnTo>
                  <a:lnTo>
                    <a:pt x="733" y="772"/>
                  </a:lnTo>
                  <a:lnTo>
                    <a:pt x="730" y="772"/>
                  </a:lnTo>
                  <a:lnTo>
                    <a:pt x="728" y="772"/>
                  </a:lnTo>
                  <a:lnTo>
                    <a:pt x="728" y="774"/>
                  </a:lnTo>
                  <a:lnTo>
                    <a:pt x="728" y="777"/>
                  </a:lnTo>
                  <a:lnTo>
                    <a:pt x="730" y="777"/>
                  </a:lnTo>
                  <a:lnTo>
                    <a:pt x="730" y="779"/>
                  </a:lnTo>
                  <a:lnTo>
                    <a:pt x="728" y="781"/>
                  </a:lnTo>
                  <a:lnTo>
                    <a:pt x="728" y="784"/>
                  </a:lnTo>
                  <a:lnTo>
                    <a:pt x="726" y="784"/>
                  </a:lnTo>
                  <a:lnTo>
                    <a:pt x="726" y="786"/>
                  </a:lnTo>
                  <a:lnTo>
                    <a:pt x="723" y="788"/>
                  </a:lnTo>
                  <a:lnTo>
                    <a:pt x="721" y="788"/>
                  </a:lnTo>
                  <a:lnTo>
                    <a:pt x="721" y="791"/>
                  </a:lnTo>
                  <a:lnTo>
                    <a:pt x="719" y="791"/>
                  </a:lnTo>
                  <a:lnTo>
                    <a:pt x="719" y="793"/>
                  </a:lnTo>
                  <a:lnTo>
                    <a:pt x="721" y="796"/>
                  </a:lnTo>
                  <a:lnTo>
                    <a:pt x="721" y="798"/>
                  </a:lnTo>
                  <a:lnTo>
                    <a:pt x="723" y="798"/>
                  </a:lnTo>
                  <a:lnTo>
                    <a:pt x="726" y="798"/>
                  </a:lnTo>
                  <a:lnTo>
                    <a:pt x="728" y="798"/>
                  </a:lnTo>
                  <a:lnTo>
                    <a:pt x="730" y="798"/>
                  </a:lnTo>
                  <a:lnTo>
                    <a:pt x="730" y="800"/>
                  </a:lnTo>
                  <a:lnTo>
                    <a:pt x="733" y="800"/>
                  </a:lnTo>
                  <a:lnTo>
                    <a:pt x="733" y="803"/>
                  </a:lnTo>
                  <a:lnTo>
                    <a:pt x="735" y="803"/>
                  </a:lnTo>
                  <a:lnTo>
                    <a:pt x="735" y="805"/>
                  </a:lnTo>
                  <a:lnTo>
                    <a:pt x="733" y="805"/>
                  </a:lnTo>
                  <a:lnTo>
                    <a:pt x="733" y="807"/>
                  </a:lnTo>
                  <a:lnTo>
                    <a:pt x="730" y="807"/>
                  </a:lnTo>
                  <a:lnTo>
                    <a:pt x="728" y="807"/>
                  </a:lnTo>
                  <a:lnTo>
                    <a:pt x="730" y="807"/>
                  </a:lnTo>
                  <a:lnTo>
                    <a:pt x="728" y="807"/>
                  </a:lnTo>
                  <a:lnTo>
                    <a:pt x="726" y="807"/>
                  </a:lnTo>
                  <a:lnTo>
                    <a:pt x="723" y="807"/>
                  </a:lnTo>
                  <a:lnTo>
                    <a:pt x="726" y="807"/>
                  </a:lnTo>
                  <a:lnTo>
                    <a:pt x="728" y="807"/>
                  </a:lnTo>
                  <a:lnTo>
                    <a:pt x="730" y="807"/>
                  </a:lnTo>
                  <a:lnTo>
                    <a:pt x="728" y="807"/>
                  </a:lnTo>
                  <a:lnTo>
                    <a:pt x="730" y="807"/>
                  </a:lnTo>
                  <a:lnTo>
                    <a:pt x="728" y="810"/>
                  </a:lnTo>
                  <a:lnTo>
                    <a:pt x="728" y="807"/>
                  </a:lnTo>
                  <a:lnTo>
                    <a:pt x="728" y="810"/>
                  </a:lnTo>
                  <a:lnTo>
                    <a:pt x="728" y="807"/>
                  </a:lnTo>
                  <a:lnTo>
                    <a:pt x="730" y="807"/>
                  </a:lnTo>
                  <a:lnTo>
                    <a:pt x="733" y="807"/>
                  </a:lnTo>
                  <a:lnTo>
                    <a:pt x="733" y="805"/>
                  </a:lnTo>
                  <a:lnTo>
                    <a:pt x="735" y="805"/>
                  </a:lnTo>
                  <a:lnTo>
                    <a:pt x="733" y="805"/>
                  </a:lnTo>
                  <a:lnTo>
                    <a:pt x="733" y="807"/>
                  </a:lnTo>
                  <a:lnTo>
                    <a:pt x="733" y="810"/>
                  </a:lnTo>
                  <a:lnTo>
                    <a:pt x="733" y="812"/>
                  </a:lnTo>
                  <a:lnTo>
                    <a:pt x="735" y="812"/>
                  </a:lnTo>
                  <a:lnTo>
                    <a:pt x="733" y="812"/>
                  </a:lnTo>
                  <a:lnTo>
                    <a:pt x="735" y="812"/>
                  </a:lnTo>
                  <a:lnTo>
                    <a:pt x="735" y="815"/>
                  </a:lnTo>
                  <a:lnTo>
                    <a:pt x="737" y="815"/>
                  </a:lnTo>
                  <a:lnTo>
                    <a:pt x="737" y="817"/>
                  </a:lnTo>
                  <a:lnTo>
                    <a:pt x="737" y="815"/>
                  </a:lnTo>
                  <a:lnTo>
                    <a:pt x="740" y="817"/>
                  </a:lnTo>
                  <a:lnTo>
                    <a:pt x="737" y="815"/>
                  </a:lnTo>
                  <a:lnTo>
                    <a:pt x="740" y="817"/>
                  </a:lnTo>
                  <a:lnTo>
                    <a:pt x="740" y="819"/>
                  </a:lnTo>
                  <a:lnTo>
                    <a:pt x="737" y="819"/>
                  </a:lnTo>
                  <a:lnTo>
                    <a:pt x="737" y="822"/>
                  </a:lnTo>
                  <a:lnTo>
                    <a:pt x="737" y="824"/>
                  </a:lnTo>
                  <a:lnTo>
                    <a:pt x="740" y="824"/>
                  </a:lnTo>
                  <a:lnTo>
                    <a:pt x="737" y="826"/>
                  </a:lnTo>
                  <a:lnTo>
                    <a:pt x="740" y="829"/>
                  </a:lnTo>
                  <a:lnTo>
                    <a:pt x="740" y="831"/>
                  </a:lnTo>
                  <a:lnTo>
                    <a:pt x="737" y="831"/>
                  </a:lnTo>
                  <a:lnTo>
                    <a:pt x="737" y="829"/>
                  </a:lnTo>
                  <a:lnTo>
                    <a:pt x="737" y="831"/>
                  </a:lnTo>
                  <a:lnTo>
                    <a:pt x="740" y="831"/>
                  </a:lnTo>
                  <a:lnTo>
                    <a:pt x="740" y="829"/>
                  </a:lnTo>
                  <a:lnTo>
                    <a:pt x="740" y="831"/>
                  </a:lnTo>
                  <a:lnTo>
                    <a:pt x="740" y="829"/>
                  </a:lnTo>
                  <a:lnTo>
                    <a:pt x="742" y="831"/>
                  </a:lnTo>
                  <a:lnTo>
                    <a:pt x="745" y="831"/>
                  </a:lnTo>
                  <a:lnTo>
                    <a:pt x="747" y="831"/>
                  </a:lnTo>
                  <a:lnTo>
                    <a:pt x="749" y="831"/>
                  </a:lnTo>
                  <a:lnTo>
                    <a:pt x="749" y="834"/>
                  </a:lnTo>
                  <a:lnTo>
                    <a:pt x="747" y="834"/>
                  </a:lnTo>
                  <a:lnTo>
                    <a:pt x="749" y="834"/>
                  </a:lnTo>
                  <a:lnTo>
                    <a:pt x="749" y="831"/>
                  </a:lnTo>
                  <a:lnTo>
                    <a:pt x="747" y="831"/>
                  </a:lnTo>
                  <a:lnTo>
                    <a:pt x="749" y="831"/>
                  </a:lnTo>
                  <a:lnTo>
                    <a:pt x="747" y="831"/>
                  </a:lnTo>
                  <a:lnTo>
                    <a:pt x="749" y="831"/>
                  </a:lnTo>
                  <a:lnTo>
                    <a:pt x="752" y="831"/>
                  </a:lnTo>
                  <a:lnTo>
                    <a:pt x="754" y="831"/>
                  </a:lnTo>
                  <a:lnTo>
                    <a:pt x="756" y="831"/>
                  </a:lnTo>
                  <a:lnTo>
                    <a:pt x="756" y="834"/>
                  </a:lnTo>
                  <a:lnTo>
                    <a:pt x="759" y="834"/>
                  </a:lnTo>
                  <a:lnTo>
                    <a:pt x="759" y="836"/>
                  </a:lnTo>
                  <a:lnTo>
                    <a:pt x="756" y="836"/>
                  </a:lnTo>
                  <a:lnTo>
                    <a:pt x="756" y="838"/>
                  </a:lnTo>
                  <a:lnTo>
                    <a:pt x="756" y="836"/>
                  </a:lnTo>
                  <a:lnTo>
                    <a:pt x="754" y="838"/>
                  </a:lnTo>
                  <a:lnTo>
                    <a:pt x="756" y="838"/>
                  </a:lnTo>
                  <a:lnTo>
                    <a:pt x="756" y="836"/>
                  </a:lnTo>
                  <a:lnTo>
                    <a:pt x="756" y="838"/>
                  </a:lnTo>
                  <a:lnTo>
                    <a:pt x="756" y="836"/>
                  </a:lnTo>
                  <a:lnTo>
                    <a:pt x="756" y="838"/>
                  </a:lnTo>
                  <a:lnTo>
                    <a:pt x="759" y="838"/>
                  </a:lnTo>
                  <a:lnTo>
                    <a:pt x="756" y="838"/>
                  </a:lnTo>
                  <a:lnTo>
                    <a:pt x="756" y="841"/>
                  </a:lnTo>
                  <a:lnTo>
                    <a:pt x="759" y="841"/>
                  </a:lnTo>
                  <a:lnTo>
                    <a:pt x="756" y="841"/>
                  </a:lnTo>
                  <a:lnTo>
                    <a:pt x="759" y="841"/>
                  </a:lnTo>
                  <a:lnTo>
                    <a:pt x="759" y="843"/>
                  </a:lnTo>
                  <a:lnTo>
                    <a:pt x="759" y="841"/>
                  </a:lnTo>
                  <a:lnTo>
                    <a:pt x="756" y="841"/>
                  </a:lnTo>
                  <a:lnTo>
                    <a:pt x="759" y="838"/>
                  </a:lnTo>
                  <a:lnTo>
                    <a:pt x="756" y="838"/>
                  </a:lnTo>
                  <a:lnTo>
                    <a:pt x="756" y="836"/>
                  </a:lnTo>
                  <a:lnTo>
                    <a:pt x="756" y="838"/>
                  </a:lnTo>
                  <a:lnTo>
                    <a:pt x="759" y="838"/>
                  </a:lnTo>
                  <a:lnTo>
                    <a:pt x="759" y="841"/>
                  </a:lnTo>
                  <a:lnTo>
                    <a:pt x="759" y="838"/>
                  </a:lnTo>
                  <a:lnTo>
                    <a:pt x="759" y="841"/>
                  </a:lnTo>
                  <a:lnTo>
                    <a:pt x="761" y="841"/>
                  </a:lnTo>
                  <a:lnTo>
                    <a:pt x="764" y="843"/>
                  </a:lnTo>
                  <a:lnTo>
                    <a:pt x="766" y="843"/>
                  </a:lnTo>
                  <a:lnTo>
                    <a:pt x="764" y="843"/>
                  </a:lnTo>
                  <a:lnTo>
                    <a:pt x="766" y="843"/>
                  </a:lnTo>
                  <a:lnTo>
                    <a:pt x="764" y="843"/>
                  </a:lnTo>
                  <a:lnTo>
                    <a:pt x="764" y="841"/>
                  </a:lnTo>
                  <a:lnTo>
                    <a:pt x="764" y="843"/>
                  </a:lnTo>
                  <a:lnTo>
                    <a:pt x="766" y="843"/>
                  </a:lnTo>
                  <a:lnTo>
                    <a:pt x="766" y="845"/>
                  </a:lnTo>
                  <a:lnTo>
                    <a:pt x="764" y="845"/>
                  </a:lnTo>
                  <a:lnTo>
                    <a:pt x="764" y="848"/>
                  </a:lnTo>
                  <a:lnTo>
                    <a:pt x="764" y="845"/>
                  </a:lnTo>
                  <a:lnTo>
                    <a:pt x="764" y="848"/>
                  </a:lnTo>
                  <a:lnTo>
                    <a:pt x="764" y="845"/>
                  </a:lnTo>
                  <a:lnTo>
                    <a:pt x="764" y="848"/>
                  </a:lnTo>
                  <a:lnTo>
                    <a:pt x="766" y="848"/>
                  </a:lnTo>
                  <a:lnTo>
                    <a:pt x="768" y="848"/>
                  </a:lnTo>
                  <a:lnTo>
                    <a:pt x="768" y="850"/>
                  </a:lnTo>
                  <a:lnTo>
                    <a:pt x="768" y="853"/>
                  </a:lnTo>
                  <a:lnTo>
                    <a:pt x="771" y="853"/>
                  </a:lnTo>
                  <a:lnTo>
                    <a:pt x="768" y="853"/>
                  </a:lnTo>
                  <a:lnTo>
                    <a:pt x="771" y="853"/>
                  </a:lnTo>
                  <a:lnTo>
                    <a:pt x="768" y="855"/>
                  </a:lnTo>
                  <a:lnTo>
                    <a:pt x="771" y="855"/>
                  </a:lnTo>
                  <a:lnTo>
                    <a:pt x="768" y="857"/>
                  </a:lnTo>
                  <a:lnTo>
                    <a:pt x="766" y="857"/>
                  </a:lnTo>
                  <a:lnTo>
                    <a:pt x="768" y="857"/>
                  </a:lnTo>
                  <a:lnTo>
                    <a:pt x="768" y="860"/>
                  </a:lnTo>
                  <a:lnTo>
                    <a:pt x="766" y="860"/>
                  </a:lnTo>
                  <a:lnTo>
                    <a:pt x="768" y="860"/>
                  </a:lnTo>
                  <a:lnTo>
                    <a:pt x="766" y="860"/>
                  </a:lnTo>
                  <a:lnTo>
                    <a:pt x="766" y="857"/>
                  </a:lnTo>
                  <a:lnTo>
                    <a:pt x="764" y="857"/>
                  </a:lnTo>
                  <a:lnTo>
                    <a:pt x="764" y="860"/>
                  </a:lnTo>
                  <a:lnTo>
                    <a:pt x="764" y="862"/>
                  </a:lnTo>
                  <a:lnTo>
                    <a:pt x="764" y="860"/>
                  </a:lnTo>
                  <a:lnTo>
                    <a:pt x="764" y="862"/>
                  </a:lnTo>
                  <a:lnTo>
                    <a:pt x="764" y="860"/>
                  </a:lnTo>
                  <a:lnTo>
                    <a:pt x="764" y="862"/>
                  </a:lnTo>
                  <a:lnTo>
                    <a:pt x="764" y="860"/>
                  </a:lnTo>
                  <a:lnTo>
                    <a:pt x="764" y="862"/>
                  </a:lnTo>
                  <a:lnTo>
                    <a:pt x="764" y="860"/>
                  </a:lnTo>
                  <a:lnTo>
                    <a:pt x="766" y="862"/>
                  </a:lnTo>
                  <a:lnTo>
                    <a:pt x="768" y="862"/>
                  </a:lnTo>
                  <a:lnTo>
                    <a:pt x="766" y="862"/>
                  </a:lnTo>
                  <a:lnTo>
                    <a:pt x="766" y="864"/>
                  </a:lnTo>
                  <a:lnTo>
                    <a:pt x="768" y="864"/>
                  </a:lnTo>
                  <a:lnTo>
                    <a:pt x="768" y="867"/>
                  </a:lnTo>
                  <a:lnTo>
                    <a:pt x="768" y="869"/>
                  </a:lnTo>
                  <a:lnTo>
                    <a:pt x="768" y="867"/>
                  </a:lnTo>
                  <a:lnTo>
                    <a:pt x="771" y="867"/>
                  </a:lnTo>
                  <a:lnTo>
                    <a:pt x="771" y="869"/>
                  </a:lnTo>
                  <a:lnTo>
                    <a:pt x="771" y="872"/>
                  </a:lnTo>
                  <a:lnTo>
                    <a:pt x="771" y="869"/>
                  </a:lnTo>
                  <a:lnTo>
                    <a:pt x="771" y="872"/>
                  </a:lnTo>
                  <a:lnTo>
                    <a:pt x="768" y="872"/>
                  </a:lnTo>
                  <a:lnTo>
                    <a:pt x="771" y="872"/>
                  </a:lnTo>
                  <a:lnTo>
                    <a:pt x="771" y="869"/>
                  </a:lnTo>
                  <a:lnTo>
                    <a:pt x="771" y="872"/>
                  </a:lnTo>
                  <a:lnTo>
                    <a:pt x="773" y="872"/>
                  </a:lnTo>
                  <a:lnTo>
                    <a:pt x="773" y="874"/>
                  </a:lnTo>
                  <a:lnTo>
                    <a:pt x="775" y="874"/>
                  </a:lnTo>
                  <a:lnTo>
                    <a:pt x="775" y="876"/>
                  </a:lnTo>
                  <a:lnTo>
                    <a:pt x="775" y="874"/>
                  </a:lnTo>
                  <a:lnTo>
                    <a:pt x="773" y="874"/>
                  </a:lnTo>
                  <a:lnTo>
                    <a:pt x="775" y="874"/>
                  </a:lnTo>
                  <a:lnTo>
                    <a:pt x="775" y="876"/>
                  </a:lnTo>
                  <a:lnTo>
                    <a:pt x="773" y="876"/>
                  </a:lnTo>
                  <a:lnTo>
                    <a:pt x="775" y="876"/>
                  </a:lnTo>
                  <a:lnTo>
                    <a:pt x="773" y="876"/>
                  </a:lnTo>
                  <a:lnTo>
                    <a:pt x="771" y="876"/>
                  </a:lnTo>
                  <a:lnTo>
                    <a:pt x="773" y="876"/>
                  </a:lnTo>
                  <a:lnTo>
                    <a:pt x="771" y="876"/>
                  </a:lnTo>
                  <a:lnTo>
                    <a:pt x="768" y="874"/>
                  </a:lnTo>
                  <a:lnTo>
                    <a:pt x="766" y="874"/>
                  </a:lnTo>
                  <a:lnTo>
                    <a:pt x="766" y="876"/>
                  </a:lnTo>
                  <a:lnTo>
                    <a:pt x="768" y="876"/>
                  </a:lnTo>
                  <a:lnTo>
                    <a:pt x="768" y="879"/>
                  </a:lnTo>
                  <a:lnTo>
                    <a:pt x="771" y="879"/>
                  </a:lnTo>
                  <a:lnTo>
                    <a:pt x="771" y="881"/>
                  </a:lnTo>
                  <a:lnTo>
                    <a:pt x="768" y="881"/>
                  </a:lnTo>
                  <a:lnTo>
                    <a:pt x="766" y="881"/>
                  </a:lnTo>
                  <a:lnTo>
                    <a:pt x="764" y="881"/>
                  </a:lnTo>
                  <a:lnTo>
                    <a:pt x="764" y="883"/>
                  </a:lnTo>
                  <a:lnTo>
                    <a:pt x="766" y="883"/>
                  </a:lnTo>
                  <a:lnTo>
                    <a:pt x="768" y="883"/>
                  </a:lnTo>
                  <a:lnTo>
                    <a:pt x="766" y="883"/>
                  </a:lnTo>
                  <a:lnTo>
                    <a:pt x="768" y="883"/>
                  </a:lnTo>
                  <a:lnTo>
                    <a:pt x="766" y="883"/>
                  </a:lnTo>
                  <a:lnTo>
                    <a:pt x="766" y="881"/>
                  </a:lnTo>
                  <a:lnTo>
                    <a:pt x="768" y="883"/>
                  </a:lnTo>
                  <a:lnTo>
                    <a:pt x="768" y="886"/>
                  </a:lnTo>
                  <a:lnTo>
                    <a:pt x="766" y="886"/>
                  </a:lnTo>
                  <a:lnTo>
                    <a:pt x="766" y="883"/>
                  </a:lnTo>
                  <a:lnTo>
                    <a:pt x="764" y="886"/>
                  </a:lnTo>
                  <a:lnTo>
                    <a:pt x="766" y="883"/>
                  </a:lnTo>
                  <a:lnTo>
                    <a:pt x="766" y="886"/>
                  </a:lnTo>
                  <a:lnTo>
                    <a:pt x="764" y="886"/>
                  </a:lnTo>
                  <a:lnTo>
                    <a:pt x="766" y="886"/>
                  </a:lnTo>
                  <a:lnTo>
                    <a:pt x="764" y="886"/>
                  </a:lnTo>
                  <a:lnTo>
                    <a:pt x="766" y="886"/>
                  </a:lnTo>
                  <a:lnTo>
                    <a:pt x="764" y="886"/>
                  </a:lnTo>
                  <a:lnTo>
                    <a:pt x="764" y="888"/>
                  </a:lnTo>
                  <a:lnTo>
                    <a:pt x="764" y="891"/>
                  </a:lnTo>
                  <a:lnTo>
                    <a:pt x="761" y="891"/>
                  </a:lnTo>
                  <a:lnTo>
                    <a:pt x="761" y="893"/>
                  </a:lnTo>
                  <a:lnTo>
                    <a:pt x="759" y="893"/>
                  </a:lnTo>
                  <a:lnTo>
                    <a:pt x="759" y="895"/>
                  </a:lnTo>
                  <a:lnTo>
                    <a:pt x="759" y="898"/>
                  </a:lnTo>
                  <a:lnTo>
                    <a:pt x="759" y="900"/>
                  </a:lnTo>
                  <a:lnTo>
                    <a:pt x="756" y="900"/>
                  </a:lnTo>
                  <a:lnTo>
                    <a:pt x="756" y="902"/>
                  </a:lnTo>
                  <a:lnTo>
                    <a:pt x="756" y="905"/>
                  </a:lnTo>
                  <a:lnTo>
                    <a:pt x="756" y="902"/>
                  </a:lnTo>
                  <a:lnTo>
                    <a:pt x="756" y="905"/>
                  </a:lnTo>
                  <a:lnTo>
                    <a:pt x="756" y="902"/>
                  </a:lnTo>
                  <a:lnTo>
                    <a:pt x="756" y="905"/>
                  </a:lnTo>
                  <a:lnTo>
                    <a:pt x="759" y="905"/>
                  </a:lnTo>
                  <a:lnTo>
                    <a:pt x="756" y="905"/>
                  </a:lnTo>
                  <a:lnTo>
                    <a:pt x="756" y="907"/>
                  </a:lnTo>
                  <a:lnTo>
                    <a:pt x="756" y="905"/>
                  </a:lnTo>
                  <a:lnTo>
                    <a:pt x="754" y="905"/>
                  </a:lnTo>
                  <a:lnTo>
                    <a:pt x="754" y="907"/>
                  </a:lnTo>
                  <a:lnTo>
                    <a:pt x="754" y="905"/>
                  </a:lnTo>
                  <a:lnTo>
                    <a:pt x="754" y="907"/>
                  </a:lnTo>
                  <a:lnTo>
                    <a:pt x="754" y="905"/>
                  </a:lnTo>
                  <a:lnTo>
                    <a:pt x="754" y="907"/>
                  </a:lnTo>
                  <a:lnTo>
                    <a:pt x="756" y="907"/>
                  </a:lnTo>
                  <a:lnTo>
                    <a:pt x="754" y="907"/>
                  </a:lnTo>
                  <a:lnTo>
                    <a:pt x="754" y="905"/>
                  </a:lnTo>
                  <a:lnTo>
                    <a:pt x="756" y="905"/>
                  </a:lnTo>
                  <a:lnTo>
                    <a:pt x="756" y="907"/>
                  </a:lnTo>
                  <a:lnTo>
                    <a:pt x="759" y="907"/>
                  </a:lnTo>
                  <a:lnTo>
                    <a:pt x="759" y="910"/>
                  </a:lnTo>
                  <a:lnTo>
                    <a:pt x="761" y="910"/>
                  </a:lnTo>
                  <a:lnTo>
                    <a:pt x="759" y="910"/>
                  </a:lnTo>
                  <a:lnTo>
                    <a:pt x="759" y="912"/>
                  </a:lnTo>
                  <a:lnTo>
                    <a:pt x="759" y="910"/>
                  </a:lnTo>
                  <a:lnTo>
                    <a:pt x="759" y="912"/>
                  </a:lnTo>
                  <a:lnTo>
                    <a:pt x="759" y="910"/>
                  </a:lnTo>
                  <a:lnTo>
                    <a:pt x="756" y="910"/>
                  </a:lnTo>
                  <a:lnTo>
                    <a:pt x="756" y="912"/>
                  </a:lnTo>
                  <a:lnTo>
                    <a:pt x="756" y="910"/>
                  </a:lnTo>
                  <a:lnTo>
                    <a:pt x="754" y="910"/>
                  </a:lnTo>
                  <a:lnTo>
                    <a:pt x="756" y="912"/>
                  </a:lnTo>
                  <a:lnTo>
                    <a:pt x="754" y="910"/>
                  </a:lnTo>
                  <a:lnTo>
                    <a:pt x="756" y="910"/>
                  </a:lnTo>
                  <a:lnTo>
                    <a:pt x="756" y="912"/>
                  </a:lnTo>
                  <a:lnTo>
                    <a:pt x="759" y="912"/>
                  </a:lnTo>
                  <a:lnTo>
                    <a:pt x="759" y="914"/>
                  </a:lnTo>
                  <a:lnTo>
                    <a:pt x="759" y="912"/>
                  </a:lnTo>
                  <a:lnTo>
                    <a:pt x="759" y="914"/>
                  </a:lnTo>
                  <a:lnTo>
                    <a:pt x="756" y="914"/>
                  </a:lnTo>
                  <a:lnTo>
                    <a:pt x="754" y="917"/>
                  </a:lnTo>
                  <a:lnTo>
                    <a:pt x="752" y="917"/>
                  </a:lnTo>
                  <a:lnTo>
                    <a:pt x="752" y="919"/>
                  </a:lnTo>
                  <a:lnTo>
                    <a:pt x="754" y="919"/>
                  </a:lnTo>
                  <a:lnTo>
                    <a:pt x="754" y="921"/>
                  </a:lnTo>
                  <a:lnTo>
                    <a:pt x="756" y="921"/>
                  </a:lnTo>
                  <a:lnTo>
                    <a:pt x="754" y="921"/>
                  </a:lnTo>
                  <a:lnTo>
                    <a:pt x="754" y="924"/>
                  </a:lnTo>
                  <a:lnTo>
                    <a:pt x="754" y="921"/>
                  </a:lnTo>
                  <a:lnTo>
                    <a:pt x="752" y="921"/>
                  </a:lnTo>
                  <a:lnTo>
                    <a:pt x="752" y="924"/>
                  </a:lnTo>
                  <a:lnTo>
                    <a:pt x="754" y="924"/>
                  </a:lnTo>
                  <a:lnTo>
                    <a:pt x="752" y="924"/>
                  </a:lnTo>
                  <a:lnTo>
                    <a:pt x="752" y="926"/>
                  </a:lnTo>
                  <a:lnTo>
                    <a:pt x="752" y="929"/>
                  </a:lnTo>
                  <a:lnTo>
                    <a:pt x="749" y="931"/>
                  </a:lnTo>
                  <a:lnTo>
                    <a:pt x="752" y="931"/>
                  </a:lnTo>
                  <a:lnTo>
                    <a:pt x="752" y="933"/>
                  </a:lnTo>
                  <a:lnTo>
                    <a:pt x="749" y="933"/>
                  </a:lnTo>
                  <a:lnTo>
                    <a:pt x="747" y="933"/>
                  </a:lnTo>
                  <a:lnTo>
                    <a:pt x="745" y="933"/>
                  </a:lnTo>
                  <a:lnTo>
                    <a:pt x="745" y="936"/>
                  </a:lnTo>
                  <a:lnTo>
                    <a:pt x="742" y="936"/>
                  </a:lnTo>
                  <a:lnTo>
                    <a:pt x="742" y="938"/>
                  </a:lnTo>
                  <a:lnTo>
                    <a:pt x="740" y="938"/>
                  </a:lnTo>
                  <a:lnTo>
                    <a:pt x="737" y="938"/>
                  </a:lnTo>
                  <a:lnTo>
                    <a:pt x="737" y="936"/>
                  </a:lnTo>
                  <a:lnTo>
                    <a:pt x="737" y="933"/>
                  </a:lnTo>
                  <a:lnTo>
                    <a:pt x="737" y="936"/>
                  </a:lnTo>
                  <a:lnTo>
                    <a:pt x="737" y="938"/>
                  </a:lnTo>
                  <a:lnTo>
                    <a:pt x="740" y="938"/>
                  </a:lnTo>
                  <a:lnTo>
                    <a:pt x="742" y="938"/>
                  </a:lnTo>
                  <a:lnTo>
                    <a:pt x="742" y="940"/>
                  </a:lnTo>
                  <a:lnTo>
                    <a:pt x="745" y="940"/>
                  </a:lnTo>
                  <a:lnTo>
                    <a:pt x="745" y="943"/>
                  </a:lnTo>
                  <a:lnTo>
                    <a:pt x="742" y="943"/>
                  </a:lnTo>
                  <a:lnTo>
                    <a:pt x="745" y="943"/>
                  </a:lnTo>
                  <a:lnTo>
                    <a:pt x="745" y="945"/>
                  </a:lnTo>
                  <a:lnTo>
                    <a:pt x="745" y="943"/>
                  </a:lnTo>
                  <a:lnTo>
                    <a:pt x="745" y="945"/>
                  </a:lnTo>
                  <a:lnTo>
                    <a:pt x="742" y="945"/>
                  </a:lnTo>
                  <a:lnTo>
                    <a:pt x="745" y="945"/>
                  </a:lnTo>
                  <a:lnTo>
                    <a:pt x="745" y="943"/>
                  </a:lnTo>
                  <a:lnTo>
                    <a:pt x="742" y="943"/>
                  </a:lnTo>
                  <a:lnTo>
                    <a:pt x="745" y="943"/>
                  </a:lnTo>
                  <a:lnTo>
                    <a:pt x="745" y="940"/>
                  </a:lnTo>
                  <a:lnTo>
                    <a:pt x="742" y="940"/>
                  </a:lnTo>
                  <a:lnTo>
                    <a:pt x="742" y="938"/>
                  </a:lnTo>
                  <a:lnTo>
                    <a:pt x="745" y="938"/>
                  </a:lnTo>
                  <a:lnTo>
                    <a:pt x="742" y="936"/>
                  </a:lnTo>
                  <a:lnTo>
                    <a:pt x="745" y="936"/>
                  </a:lnTo>
                  <a:lnTo>
                    <a:pt x="745" y="933"/>
                  </a:lnTo>
                  <a:lnTo>
                    <a:pt x="747" y="933"/>
                  </a:lnTo>
                  <a:lnTo>
                    <a:pt x="749" y="933"/>
                  </a:lnTo>
                  <a:lnTo>
                    <a:pt x="752" y="933"/>
                  </a:lnTo>
                  <a:lnTo>
                    <a:pt x="752" y="931"/>
                  </a:lnTo>
                  <a:lnTo>
                    <a:pt x="749" y="931"/>
                  </a:lnTo>
                  <a:lnTo>
                    <a:pt x="752" y="931"/>
                  </a:lnTo>
                  <a:lnTo>
                    <a:pt x="752" y="929"/>
                  </a:lnTo>
                  <a:lnTo>
                    <a:pt x="752" y="926"/>
                  </a:lnTo>
                  <a:lnTo>
                    <a:pt x="752" y="924"/>
                  </a:lnTo>
                  <a:lnTo>
                    <a:pt x="752" y="926"/>
                  </a:lnTo>
                  <a:lnTo>
                    <a:pt x="752" y="924"/>
                  </a:lnTo>
                  <a:lnTo>
                    <a:pt x="754" y="924"/>
                  </a:lnTo>
                  <a:lnTo>
                    <a:pt x="752" y="924"/>
                  </a:lnTo>
                  <a:lnTo>
                    <a:pt x="752" y="921"/>
                  </a:lnTo>
                  <a:lnTo>
                    <a:pt x="754" y="921"/>
                  </a:lnTo>
                  <a:lnTo>
                    <a:pt x="754" y="924"/>
                  </a:lnTo>
                  <a:lnTo>
                    <a:pt x="756" y="921"/>
                  </a:lnTo>
                  <a:lnTo>
                    <a:pt x="754" y="921"/>
                  </a:lnTo>
                  <a:lnTo>
                    <a:pt x="754" y="919"/>
                  </a:lnTo>
                  <a:lnTo>
                    <a:pt x="752" y="919"/>
                  </a:lnTo>
                  <a:lnTo>
                    <a:pt x="752" y="917"/>
                  </a:lnTo>
                  <a:lnTo>
                    <a:pt x="754" y="917"/>
                  </a:lnTo>
                  <a:lnTo>
                    <a:pt x="756" y="917"/>
                  </a:lnTo>
                  <a:lnTo>
                    <a:pt x="756" y="914"/>
                  </a:lnTo>
                  <a:lnTo>
                    <a:pt x="756" y="917"/>
                  </a:lnTo>
                  <a:lnTo>
                    <a:pt x="756" y="914"/>
                  </a:lnTo>
                  <a:lnTo>
                    <a:pt x="759" y="914"/>
                  </a:lnTo>
                  <a:lnTo>
                    <a:pt x="759" y="917"/>
                  </a:lnTo>
                  <a:lnTo>
                    <a:pt x="756" y="917"/>
                  </a:lnTo>
                  <a:lnTo>
                    <a:pt x="756" y="919"/>
                  </a:lnTo>
                  <a:lnTo>
                    <a:pt x="759" y="919"/>
                  </a:lnTo>
                  <a:lnTo>
                    <a:pt x="756" y="919"/>
                  </a:lnTo>
                  <a:lnTo>
                    <a:pt x="756" y="921"/>
                  </a:lnTo>
                  <a:lnTo>
                    <a:pt x="756" y="924"/>
                  </a:lnTo>
                  <a:lnTo>
                    <a:pt x="756" y="926"/>
                  </a:lnTo>
                  <a:lnTo>
                    <a:pt x="756" y="929"/>
                  </a:lnTo>
                  <a:lnTo>
                    <a:pt x="759" y="929"/>
                  </a:lnTo>
                  <a:lnTo>
                    <a:pt x="756" y="929"/>
                  </a:lnTo>
                  <a:lnTo>
                    <a:pt x="756" y="926"/>
                  </a:lnTo>
                  <a:lnTo>
                    <a:pt x="756" y="924"/>
                  </a:lnTo>
                  <a:lnTo>
                    <a:pt x="756" y="921"/>
                  </a:lnTo>
                  <a:lnTo>
                    <a:pt x="756" y="919"/>
                  </a:lnTo>
                  <a:lnTo>
                    <a:pt x="759" y="919"/>
                  </a:lnTo>
                  <a:lnTo>
                    <a:pt x="761" y="919"/>
                  </a:lnTo>
                  <a:lnTo>
                    <a:pt x="761" y="921"/>
                  </a:lnTo>
                  <a:lnTo>
                    <a:pt x="764" y="921"/>
                  </a:lnTo>
                  <a:lnTo>
                    <a:pt x="764" y="924"/>
                  </a:lnTo>
                  <a:lnTo>
                    <a:pt x="764" y="926"/>
                  </a:lnTo>
                  <a:lnTo>
                    <a:pt x="766" y="926"/>
                  </a:lnTo>
                  <a:lnTo>
                    <a:pt x="766" y="929"/>
                  </a:lnTo>
                  <a:lnTo>
                    <a:pt x="766" y="931"/>
                  </a:lnTo>
                  <a:lnTo>
                    <a:pt x="768" y="931"/>
                  </a:lnTo>
                  <a:lnTo>
                    <a:pt x="766" y="929"/>
                  </a:lnTo>
                  <a:lnTo>
                    <a:pt x="766" y="926"/>
                  </a:lnTo>
                  <a:lnTo>
                    <a:pt x="764" y="926"/>
                  </a:lnTo>
                  <a:lnTo>
                    <a:pt x="764" y="924"/>
                  </a:lnTo>
                  <a:lnTo>
                    <a:pt x="764" y="921"/>
                  </a:lnTo>
                  <a:lnTo>
                    <a:pt x="761" y="921"/>
                  </a:lnTo>
                  <a:lnTo>
                    <a:pt x="761" y="919"/>
                  </a:lnTo>
                  <a:lnTo>
                    <a:pt x="759" y="919"/>
                  </a:lnTo>
                  <a:lnTo>
                    <a:pt x="756" y="919"/>
                  </a:lnTo>
                  <a:lnTo>
                    <a:pt x="756" y="917"/>
                  </a:lnTo>
                  <a:lnTo>
                    <a:pt x="759" y="917"/>
                  </a:lnTo>
                  <a:lnTo>
                    <a:pt x="759" y="914"/>
                  </a:lnTo>
                  <a:lnTo>
                    <a:pt x="759" y="912"/>
                  </a:lnTo>
                  <a:lnTo>
                    <a:pt x="756" y="912"/>
                  </a:lnTo>
                  <a:lnTo>
                    <a:pt x="756" y="910"/>
                  </a:lnTo>
                  <a:lnTo>
                    <a:pt x="759" y="912"/>
                  </a:lnTo>
                  <a:lnTo>
                    <a:pt x="759" y="910"/>
                  </a:lnTo>
                  <a:lnTo>
                    <a:pt x="761" y="910"/>
                  </a:lnTo>
                  <a:lnTo>
                    <a:pt x="761" y="912"/>
                  </a:lnTo>
                  <a:lnTo>
                    <a:pt x="761" y="910"/>
                  </a:lnTo>
                  <a:lnTo>
                    <a:pt x="761" y="912"/>
                  </a:lnTo>
                  <a:lnTo>
                    <a:pt x="761" y="910"/>
                  </a:lnTo>
                  <a:lnTo>
                    <a:pt x="759" y="910"/>
                  </a:lnTo>
                  <a:lnTo>
                    <a:pt x="759" y="907"/>
                  </a:lnTo>
                  <a:lnTo>
                    <a:pt x="756" y="907"/>
                  </a:lnTo>
                  <a:lnTo>
                    <a:pt x="756" y="905"/>
                  </a:lnTo>
                  <a:lnTo>
                    <a:pt x="756" y="907"/>
                  </a:lnTo>
                  <a:lnTo>
                    <a:pt x="756" y="905"/>
                  </a:lnTo>
                  <a:lnTo>
                    <a:pt x="759" y="905"/>
                  </a:lnTo>
                  <a:lnTo>
                    <a:pt x="759" y="907"/>
                  </a:lnTo>
                  <a:lnTo>
                    <a:pt x="759" y="905"/>
                  </a:lnTo>
                  <a:lnTo>
                    <a:pt x="756" y="905"/>
                  </a:lnTo>
                  <a:lnTo>
                    <a:pt x="756" y="902"/>
                  </a:lnTo>
                  <a:lnTo>
                    <a:pt x="756" y="900"/>
                  </a:lnTo>
                  <a:lnTo>
                    <a:pt x="759" y="900"/>
                  </a:lnTo>
                  <a:lnTo>
                    <a:pt x="759" y="898"/>
                  </a:lnTo>
                  <a:lnTo>
                    <a:pt x="759" y="895"/>
                  </a:lnTo>
                  <a:lnTo>
                    <a:pt x="759" y="893"/>
                  </a:lnTo>
                  <a:lnTo>
                    <a:pt x="761" y="893"/>
                  </a:lnTo>
                  <a:lnTo>
                    <a:pt x="761" y="891"/>
                  </a:lnTo>
                  <a:lnTo>
                    <a:pt x="764" y="891"/>
                  </a:lnTo>
                  <a:lnTo>
                    <a:pt x="764" y="888"/>
                  </a:lnTo>
                  <a:lnTo>
                    <a:pt x="766" y="886"/>
                  </a:lnTo>
                  <a:lnTo>
                    <a:pt x="764" y="888"/>
                  </a:lnTo>
                  <a:lnTo>
                    <a:pt x="766" y="886"/>
                  </a:lnTo>
                  <a:lnTo>
                    <a:pt x="768" y="886"/>
                  </a:lnTo>
                  <a:lnTo>
                    <a:pt x="768" y="883"/>
                  </a:lnTo>
                  <a:lnTo>
                    <a:pt x="768" y="886"/>
                  </a:lnTo>
                  <a:lnTo>
                    <a:pt x="766" y="886"/>
                  </a:lnTo>
                  <a:lnTo>
                    <a:pt x="768" y="886"/>
                  </a:lnTo>
                  <a:lnTo>
                    <a:pt x="766" y="886"/>
                  </a:lnTo>
                  <a:lnTo>
                    <a:pt x="768" y="886"/>
                  </a:lnTo>
                  <a:lnTo>
                    <a:pt x="768" y="883"/>
                  </a:lnTo>
                  <a:lnTo>
                    <a:pt x="768" y="881"/>
                  </a:lnTo>
                  <a:lnTo>
                    <a:pt x="766" y="881"/>
                  </a:lnTo>
                  <a:lnTo>
                    <a:pt x="768" y="881"/>
                  </a:lnTo>
                  <a:lnTo>
                    <a:pt x="771" y="881"/>
                  </a:lnTo>
                  <a:lnTo>
                    <a:pt x="771" y="879"/>
                  </a:lnTo>
                  <a:lnTo>
                    <a:pt x="768" y="876"/>
                  </a:lnTo>
                  <a:lnTo>
                    <a:pt x="768" y="874"/>
                  </a:lnTo>
                  <a:lnTo>
                    <a:pt x="768" y="876"/>
                  </a:lnTo>
                  <a:lnTo>
                    <a:pt x="768" y="874"/>
                  </a:lnTo>
                  <a:lnTo>
                    <a:pt x="768" y="876"/>
                  </a:lnTo>
                  <a:lnTo>
                    <a:pt x="768" y="874"/>
                  </a:lnTo>
                  <a:lnTo>
                    <a:pt x="768" y="876"/>
                  </a:lnTo>
                  <a:lnTo>
                    <a:pt x="771" y="876"/>
                  </a:lnTo>
                  <a:lnTo>
                    <a:pt x="773" y="876"/>
                  </a:lnTo>
                  <a:lnTo>
                    <a:pt x="775" y="876"/>
                  </a:lnTo>
                  <a:lnTo>
                    <a:pt x="775" y="874"/>
                  </a:lnTo>
                  <a:lnTo>
                    <a:pt x="773" y="874"/>
                  </a:lnTo>
                  <a:lnTo>
                    <a:pt x="773" y="872"/>
                  </a:lnTo>
                  <a:lnTo>
                    <a:pt x="773" y="874"/>
                  </a:lnTo>
                  <a:lnTo>
                    <a:pt x="773" y="872"/>
                  </a:lnTo>
                  <a:lnTo>
                    <a:pt x="773" y="874"/>
                  </a:lnTo>
                  <a:lnTo>
                    <a:pt x="773" y="872"/>
                  </a:lnTo>
                  <a:lnTo>
                    <a:pt x="773" y="869"/>
                  </a:lnTo>
                  <a:lnTo>
                    <a:pt x="771" y="869"/>
                  </a:lnTo>
                  <a:lnTo>
                    <a:pt x="773" y="869"/>
                  </a:lnTo>
                  <a:lnTo>
                    <a:pt x="771" y="869"/>
                  </a:lnTo>
                  <a:lnTo>
                    <a:pt x="773" y="869"/>
                  </a:lnTo>
                  <a:lnTo>
                    <a:pt x="771" y="869"/>
                  </a:lnTo>
                  <a:lnTo>
                    <a:pt x="771" y="867"/>
                  </a:lnTo>
                  <a:lnTo>
                    <a:pt x="773" y="867"/>
                  </a:lnTo>
                  <a:lnTo>
                    <a:pt x="773" y="869"/>
                  </a:lnTo>
                  <a:lnTo>
                    <a:pt x="773" y="867"/>
                  </a:lnTo>
                  <a:lnTo>
                    <a:pt x="775" y="867"/>
                  </a:lnTo>
                  <a:lnTo>
                    <a:pt x="773" y="867"/>
                  </a:lnTo>
                  <a:lnTo>
                    <a:pt x="771" y="867"/>
                  </a:lnTo>
                  <a:lnTo>
                    <a:pt x="768" y="867"/>
                  </a:lnTo>
                  <a:lnTo>
                    <a:pt x="768" y="864"/>
                  </a:lnTo>
                  <a:lnTo>
                    <a:pt x="766" y="864"/>
                  </a:lnTo>
                  <a:lnTo>
                    <a:pt x="768" y="864"/>
                  </a:lnTo>
                  <a:lnTo>
                    <a:pt x="768" y="862"/>
                  </a:lnTo>
                  <a:lnTo>
                    <a:pt x="768" y="864"/>
                  </a:lnTo>
                  <a:lnTo>
                    <a:pt x="768" y="862"/>
                  </a:lnTo>
                  <a:lnTo>
                    <a:pt x="766" y="862"/>
                  </a:lnTo>
                  <a:lnTo>
                    <a:pt x="766" y="860"/>
                  </a:lnTo>
                  <a:lnTo>
                    <a:pt x="764" y="860"/>
                  </a:lnTo>
                  <a:lnTo>
                    <a:pt x="766" y="860"/>
                  </a:lnTo>
                  <a:lnTo>
                    <a:pt x="766" y="857"/>
                  </a:lnTo>
                  <a:lnTo>
                    <a:pt x="766" y="860"/>
                  </a:lnTo>
                  <a:lnTo>
                    <a:pt x="766" y="857"/>
                  </a:lnTo>
                  <a:lnTo>
                    <a:pt x="766" y="860"/>
                  </a:lnTo>
                  <a:lnTo>
                    <a:pt x="768" y="860"/>
                  </a:lnTo>
                  <a:lnTo>
                    <a:pt x="768" y="857"/>
                  </a:lnTo>
                  <a:lnTo>
                    <a:pt x="771" y="857"/>
                  </a:lnTo>
                  <a:lnTo>
                    <a:pt x="771" y="855"/>
                  </a:lnTo>
                  <a:lnTo>
                    <a:pt x="768" y="855"/>
                  </a:lnTo>
                  <a:lnTo>
                    <a:pt x="771" y="853"/>
                  </a:lnTo>
                  <a:lnTo>
                    <a:pt x="768" y="853"/>
                  </a:lnTo>
                  <a:lnTo>
                    <a:pt x="768" y="850"/>
                  </a:lnTo>
                  <a:lnTo>
                    <a:pt x="768" y="848"/>
                  </a:lnTo>
                  <a:lnTo>
                    <a:pt x="766" y="848"/>
                  </a:lnTo>
                  <a:lnTo>
                    <a:pt x="766" y="845"/>
                  </a:lnTo>
                  <a:lnTo>
                    <a:pt x="768" y="845"/>
                  </a:lnTo>
                  <a:lnTo>
                    <a:pt x="766" y="845"/>
                  </a:lnTo>
                  <a:lnTo>
                    <a:pt x="768" y="845"/>
                  </a:lnTo>
                  <a:lnTo>
                    <a:pt x="766" y="845"/>
                  </a:lnTo>
                  <a:lnTo>
                    <a:pt x="768" y="845"/>
                  </a:lnTo>
                  <a:lnTo>
                    <a:pt x="771" y="845"/>
                  </a:lnTo>
                  <a:lnTo>
                    <a:pt x="768" y="845"/>
                  </a:lnTo>
                  <a:lnTo>
                    <a:pt x="771" y="845"/>
                  </a:lnTo>
                  <a:lnTo>
                    <a:pt x="773" y="845"/>
                  </a:lnTo>
                  <a:lnTo>
                    <a:pt x="773" y="848"/>
                  </a:lnTo>
                  <a:lnTo>
                    <a:pt x="775" y="848"/>
                  </a:lnTo>
                  <a:lnTo>
                    <a:pt x="778" y="848"/>
                  </a:lnTo>
                  <a:lnTo>
                    <a:pt x="778" y="850"/>
                  </a:lnTo>
                  <a:lnTo>
                    <a:pt x="780" y="850"/>
                  </a:lnTo>
                  <a:lnTo>
                    <a:pt x="780" y="853"/>
                  </a:lnTo>
                  <a:lnTo>
                    <a:pt x="780" y="850"/>
                  </a:lnTo>
                  <a:lnTo>
                    <a:pt x="780" y="853"/>
                  </a:lnTo>
                  <a:lnTo>
                    <a:pt x="780" y="850"/>
                  </a:lnTo>
                  <a:lnTo>
                    <a:pt x="780" y="853"/>
                  </a:lnTo>
                  <a:lnTo>
                    <a:pt x="783" y="853"/>
                  </a:lnTo>
                  <a:lnTo>
                    <a:pt x="785" y="853"/>
                  </a:lnTo>
                  <a:lnTo>
                    <a:pt x="785" y="855"/>
                  </a:lnTo>
                  <a:lnTo>
                    <a:pt x="787" y="855"/>
                  </a:lnTo>
                  <a:lnTo>
                    <a:pt x="790" y="857"/>
                  </a:lnTo>
                  <a:lnTo>
                    <a:pt x="792" y="857"/>
                  </a:lnTo>
                  <a:lnTo>
                    <a:pt x="790" y="857"/>
                  </a:lnTo>
                  <a:lnTo>
                    <a:pt x="792" y="857"/>
                  </a:lnTo>
                  <a:lnTo>
                    <a:pt x="792" y="860"/>
                  </a:lnTo>
                  <a:lnTo>
                    <a:pt x="794" y="860"/>
                  </a:lnTo>
                  <a:lnTo>
                    <a:pt x="792" y="860"/>
                  </a:lnTo>
                  <a:lnTo>
                    <a:pt x="794" y="860"/>
                  </a:lnTo>
                  <a:lnTo>
                    <a:pt x="792" y="860"/>
                  </a:lnTo>
                  <a:lnTo>
                    <a:pt x="794" y="860"/>
                  </a:lnTo>
                  <a:lnTo>
                    <a:pt x="792" y="860"/>
                  </a:lnTo>
                  <a:lnTo>
                    <a:pt x="792" y="862"/>
                  </a:lnTo>
                  <a:lnTo>
                    <a:pt x="792" y="860"/>
                  </a:lnTo>
                  <a:lnTo>
                    <a:pt x="794" y="860"/>
                  </a:lnTo>
                  <a:lnTo>
                    <a:pt x="797" y="862"/>
                  </a:lnTo>
                  <a:lnTo>
                    <a:pt x="794" y="862"/>
                  </a:lnTo>
                  <a:lnTo>
                    <a:pt x="797" y="862"/>
                  </a:lnTo>
                  <a:lnTo>
                    <a:pt x="794" y="862"/>
                  </a:lnTo>
                  <a:lnTo>
                    <a:pt x="797" y="862"/>
                  </a:lnTo>
                  <a:lnTo>
                    <a:pt x="799" y="864"/>
                  </a:lnTo>
                  <a:lnTo>
                    <a:pt x="802" y="867"/>
                  </a:lnTo>
                  <a:lnTo>
                    <a:pt x="799" y="867"/>
                  </a:lnTo>
                  <a:lnTo>
                    <a:pt x="802" y="867"/>
                  </a:lnTo>
                  <a:lnTo>
                    <a:pt x="804" y="867"/>
                  </a:lnTo>
                  <a:lnTo>
                    <a:pt x="806" y="867"/>
                  </a:lnTo>
                  <a:lnTo>
                    <a:pt x="809" y="867"/>
                  </a:lnTo>
                  <a:lnTo>
                    <a:pt x="809" y="869"/>
                  </a:lnTo>
                  <a:lnTo>
                    <a:pt x="809" y="867"/>
                  </a:lnTo>
                  <a:lnTo>
                    <a:pt x="809" y="869"/>
                  </a:lnTo>
                  <a:lnTo>
                    <a:pt x="809" y="867"/>
                  </a:lnTo>
                  <a:lnTo>
                    <a:pt x="806" y="867"/>
                  </a:lnTo>
                  <a:lnTo>
                    <a:pt x="809" y="867"/>
                  </a:lnTo>
                  <a:lnTo>
                    <a:pt x="811" y="867"/>
                  </a:lnTo>
                  <a:lnTo>
                    <a:pt x="811" y="869"/>
                  </a:lnTo>
                  <a:lnTo>
                    <a:pt x="813" y="869"/>
                  </a:lnTo>
                  <a:lnTo>
                    <a:pt x="816" y="869"/>
                  </a:lnTo>
                  <a:lnTo>
                    <a:pt x="818" y="869"/>
                  </a:lnTo>
                  <a:lnTo>
                    <a:pt x="818" y="872"/>
                  </a:lnTo>
                  <a:lnTo>
                    <a:pt x="818" y="869"/>
                  </a:lnTo>
                  <a:lnTo>
                    <a:pt x="821" y="869"/>
                  </a:lnTo>
                  <a:lnTo>
                    <a:pt x="818" y="869"/>
                  </a:lnTo>
                  <a:lnTo>
                    <a:pt x="821" y="869"/>
                  </a:lnTo>
                  <a:lnTo>
                    <a:pt x="823" y="869"/>
                  </a:lnTo>
                  <a:lnTo>
                    <a:pt x="825" y="869"/>
                  </a:lnTo>
                  <a:lnTo>
                    <a:pt x="828" y="869"/>
                  </a:lnTo>
                  <a:lnTo>
                    <a:pt x="828" y="872"/>
                  </a:lnTo>
                  <a:lnTo>
                    <a:pt x="830" y="872"/>
                  </a:lnTo>
                  <a:lnTo>
                    <a:pt x="830" y="874"/>
                  </a:lnTo>
                  <a:lnTo>
                    <a:pt x="830" y="872"/>
                  </a:lnTo>
                  <a:lnTo>
                    <a:pt x="830" y="874"/>
                  </a:lnTo>
                  <a:lnTo>
                    <a:pt x="830" y="872"/>
                  </a:lnTo>
                  <a:lnTo>
                    <a:pt x="828" y="869"/>
                  </a:lnTo>
                  <a:lnTo>
                    <a:pt x="825" y="869"/>
                  </a:lnTo>
                  <a:lnTo>
                    <a:pt x="823" y="869"/>
                  </a:lnTo>
                  <a:lnTo>
                    <a:pt x="821" y="869"/>
                  </a:lnTo>
                  <a:lnTo>
                    <a:pt x="818" y="869"/>
                  </a:lnTo>
                  <a:lnTo>
                    <a:pt x="816" y="869"/>
                  </a:lnTo>
                  <a:lnTo>
                    <a:pt x="813" y="869"/>
                  </a:lnTo>
                  <a:lnTo>
                    <a:pt x="811" y="869"/>
                  </a:lnTo>
                  <a:lnTo>
                    <a:pt x="809" y="867"/>
                  </a:lnTo>
                  <a:lnTo>
                    <a:pt x="806" y="867"/>
                  </a:lnTo>
                  <a:lnTo>
                    <a:pt x="804" y="867"/>
                  </a:lnTo>
                  <a:lnTo>
                    <a:pt x="802" y="867"/>
                  </a:lnTo>
                  <a:lnTo>
                    <a:pt x="802" y="864"/>
                  </a:lnTo>
                  <a:lnTo>
                    <a:pt x="802" y="862"/>
                  </a:lnTo>
                  <a:lnTo>
                    <a:pt x="799" y="862"/>
                  </a:lnTo>
                  <a:lnTo>
                    <a:pt x="797" y="860"/>
                  </a:lnTo>
                  <a:lnTo>
                    <a:pt x="797" y="862"/>
                  </a:lnTo>
                  <a:lnTo>
                    <a:pt x="799" y="862"/>
                  </a:lnTo>
                  <a:lnTo>
                    <a:pt x="802" y="862"/>
                  </a:lnTo>
                  <a:lnTo>
                    <a:pt x="799" y="862"/>
                  </a:lnTo>
                  <a:lnTo>
                    <a:pt x="802" y="862"/>
                  </a:lnTo>
                  <a:lnTo>
                    <a:pt x="799" y="862"/>
                  </a:lnTo>
                  <a:lnTo>
                    <a:pt x="802" y="862"/>
                  </a:lnTo>
                  <a:lnTo>
                    <a:pt x="799" y="862"/>
                  </a:lnTo>
                  <a:lnTo>
                    <a:pt x="802" y="862"/>
                  </a:lnTo>
                  <a:lnTo>
                    <a:pt x="799" y="862"/>
                  </a:lnTo>
                  <a:lnTo>
                    <a:pt x="797" y="860"/>
                  </a:lnTo>
                  <a:lnTo>
                    <a:pt x="794" y="857"/>
                  </a:lnTo>
                  <a:lnTo>
                    <a:pt x="792" y="857"/>
                  </a:lnTo>
                  <a:lnTo>
                    <a:pt x="792" y="855"/>
                  </a:lnTo>
                  <a:lnTo>
                    <a:pt x="790" y="855"/>
                  </a:lnTo>
                  <a:lnTo>
                    <a:pt x="792" y="855"/>
                  </a:lnTo>
                  <a:lnTo>
                    <a:pt x="790" y="855"/>
                  </a:lnTo>
                  <a:lnTo>
                    <a:pt x="790" y="853"/>
                  </a:lnTo>
                  <a:lnTo>
                    <a:pt x="787" y="853"/>
                  </a:lnTo>
                  <a:lnTo>
                    <a:pt x="787" y="855"/>
                  </a:lnTo>
                  <a:lnTo>
                    <a:pt x="787" y="853"/>
                  </a:lnTo>
                  <a:lnTo>
                    <a:pt x="785" y="853"/>
                  </a:lnTo>
                  <a:lnTo>
                    <a:pt x="783" y="850"/>
                  </a:lnTo>
                  <a:lnTo>
                    <a:pt x="780" y="850"/>
                  </a:lnTo>
                  <a:lnTo>
                    <a:pt x="780" y="848"/>
                  </a:lnTo>
                  <a:lnTo>
                    <a:pt x="778" y="848"/>
                  </a:lnTo>
                  <a:lnTo>
                    <a:pt x="778" y="845"/>
                  </a:lnTo>
                  <a:lnTo>
                    <a:pt x="778" y="848"/>
                  </a:lnTo>
                  <a:lnTo>
                    <a:pt x="778" y="845"/>
                  </a:lnTo>
                  <a:lnTo>
                    <a:pt x="775" y="845"/>
                  </a:lnTo>
                  <a:lnTo>
                    <a:pt x="773" y="843"/>
                  </a:lnTo>
                  <a:lnTo>
                    <a:pt x="771" y="843"/>
                  </a:lnTo>
                  <a:lnTo>
                    <a:pt x="768" y="843"/>
                  </a:lnTo>
                  <a:lnTo>
                    <a:pt x="771" y="843"/>
                  </a:lnTo>
                  <a:lnTo>
                    <a:pt x="768" y="843"/>
                  </a:lnTo>
                  <a:lnTo>
                    <a:pt x="766" y="843"/>
                  </a:lnTo>
                  <a:lnTo>
                    <a:pt x="766" y="841"/>
                  </a:lnTo>
                  <a:lnTo>
                    <a:pt x="764" y="841"/>
                  </a:lnTo>
                  <a:lnTo>
                    <a:pt x="766" y="841"/>
                  </a:lnTo>
                  <a:lnTo>
                    <a:pt x="764" y="841"/>
                  </a:lnTo>
                  <a:lnTo>
                    <a:pt x="761" y="841"/>
                  </a:lnTo>
                  <a:lnTo>
                    <a:pt x="759" y="838"/>
                  </a:lnTo>
                  <a:lnTo>
                    <a:pt x="759" y="836"/>
                  </a:lnTo>
                  <a:lnTo>
                    <a:pt x="759" y="834"/>
                  </a:lnTo>
                  <a:lnTo>
                    <a:pt x="761" y="834"/>
                  </a:lnTo>
                  <a:lnTo>
                    <a:pt x="761" y="836"/>
                  </a:lnTo>
                  <a:lnTo>
                    <a:pt x="761" y="834"/>
                  </a:lnTo>
                  <a:lnTo>
                    <a:pt x="761" y="836"/>
                  </a:lnTo>
                  <a:lnTo>
                    <a:pt x="761" y="834"/>
                  </a:lnTo>
                  <a:lnTo>
                    <a:pt x="761" y="836"/>
                  </a:lnTo>
                  <a:lnTo>
                    <a:pt x="764" y="836"/>
                  </a:lnTo>
                  <a:lnTo>
                    <a:pt x="761" y="834"/>
                  </a:lnTo>
                  <a:lnTo>
                    <a:pt x="764" y="834"/>
                  </a:lnTo>
                  <a:lnTo>
                    <a:pt x="764" y="836"/>
                  </a:lnTo>
                  <a:lnTo>
                    <a:pt x="766" y="834"/>
                  </a:lnTo>
                  <a:lnTo>
                    <a:pt x="766" y="836"/>
                  </a:lnTo>
                  <a:lnTo>
                    <a:pt x="768" y="836"/>
                  </a:lnTo>
                  <a:lnTo>
                    <a:pt x="766" y="836"/>
                  </a:lnTo>
                  <a:lnTo>
                    <a:pt x="768" y="836"/>
                  </a:lnTo>
                  <a:lnTo>
                    <a:pt x="768" y="838"/>
                  </a:lnTo>
                  <a:lnTo>
                    <a:pt x="771" y="838"/>
                  </a:lnTo>
                  <a:lnTo>
                    <a:pt x="768" y="838"/>
                  </a:lnTo>
                  <a:lnTo>
                    <a:pt x="771" y="838"/>
                  </a:lnTo>
                  <a:lnTo>
                    <a:pt x="773" y="838"/>
                  </a:lnTo>
                  <a:lnTo>
                    <a:pt x="771" y="838"/>
                  </a:lnTo>
                  <a:lnTo>
                    <a:pt x="768" y="838"/>
                  </a:lnTo>
                  <a:lnTo>
                    <a:pt x="768" y="836"/>
                  </a:lnTo>
                  <a:lnTo>
                    <a:pt x="768" y="838"/>
                  </a:lnTo>
                  <a:lnTo>
                    <a:pt x="768" y="836"/>
                  </a:lnTo>
                  <a:lnTo>
                    <a:pt x="768" y="838"/>
                  </a:lnTo>
                  <a:lnTo>
                    <a:pt x="768" y="836"/>
                  </a:lnTo>
                  <a:lnTo>
                    <a:pt x="768" y="838"/>
                  </a:lnTo>
                  <a:lnTo>
                    <a:pt x="768" y="836"/>
                  </a:lnTo>
                  <a:lnTo>
                    <a:pt x="771" y="836"/>
                  </a:lnTo>
                  <a:lnTo>
                    <a:pt x="771" y="838"/>
                  </a:lnTo>
                  <a:lnTo>
                    <a:pt x="771" y="836"/>
                  </a:lnTo>
                  <a:lnTo>
                    <a:pt x="771" y="838"/>
                  </a:lnTo>
                  <a:lnTo>
                    <a:pt x="768" y="836"/>
                  </a:lnTo>
                  <a:lnTo>
                    <a:pt x="771" y="836"/>
                  </a:lnTo>
                  <a:lnTo>
                    <a:pt x="768" y="836"/>
                  </a:lnTo>
                  <a:lnTo>
                    <a:pt x="768" y="838"/>
                  </a:lnTo>
                  <a:lnTo>
                    <a:pt x="768" y="836"/>
                  </a:lnTo>
                  <a:lnTo>
                    <a:pt x="766" y="836"/>
                  </a:lnTo>
                  <a:lnTo>
                    <a:pt x="768" y="836"/>
                  </a:lnTo>
                  <a:lnTo>
                    <a:pt x="766" y="836"/>
                  </a:lnTo>
                  <a:lnTo>
                    <a:pt x="766" y="834"/>
                  </a:lnTo>
                  <a:lnTo>
                    <a:pt x="764" y="834"/>
                  </a:lnTo>
                  <a:lnTo>
                    <a:pt x="761" y="834"/>
                  </a:lnTo>
                  <a:lnTo>
                    <a:pt x="759" y="834"/>
                  </a:lnTo>
                  <a:lnTo>
                    <a:pt x="756" y="831"/>
                  </a:lnTo>
                  <a:lnTo>
                    <a:pt x="754" y="831"/>
                  </a:lnTo>
                  <a:lnTo>
                    <a:pt x="752" y="831"/>
                  </a:lnTo>
                  <a:lnTo>
                    <a:pt x="749" y="831"/>
                  </a:lnTo>
                  <a:lnTo>
                    <a:pt x="747" y="831"/>
                  </a:lnTo>
                  <a:lnTo>
                    <a:pt x="747" y="829"/>
                  </a:lnTo>
                  <a:lnTo>
                    <a:pt x="747" y="831"/>
                  </a:lnTo>
                  <a:lnTo>
                    <a:pt x="745" y="829"/>
                  </a:lnTo>
                  <a:lnTo>
                    <a:pt x="742" y="829"/>
                  </a:lnTo>
                  <a:lnTo>
                    <a:pt x="740" y="829"/>
                  </a:lnTo>
                  <a:lnTo>
                    <a:pt x="740" y="826"/>
                  </a:lnTo>
                  <a:lnTo>
                    <a:pt x="740" y="829"/>
                  </a:lnTo>
                  <a:lnTo>
                    <a:pt x="740" y="826"/>
                  </a:lnTo>
                  <a:lnTo>
                    <a:pt x="740" y="824"/>
                  </a:lnTo>
                  <a:lnTo>
                    <a:pt x="740" y="822"/>
                  </a:lnTo>
                  <a:lnTo>
                    <a:pt x="737" y="822"/>
                  </a:lnTo>
                  <a:lnTo>
                    <a:pt x="740" y="819"/>
                  </a:lnTo>
                  <a:lnTo>
                    <a:pt x="742" y="819"/>
                  </a:lnTo>
                  <a:lnTo>
                    <a:pt x="740" y="819"/>
                  </a:lnTo>
                  <a:lnTo>
                    <a:pt x="742" y="819"/>
                  </a:lnTo>
                  <a:lnTo>
                    <a:pt x="740" y="819"/>
                  </a:lnTo>
                  <a:lnTo>
                    <a:pt x="740" y="817"/>
                  </a:lnTo>
                  <a:lnTo>
                    <a:pt x="742" y="817"/>
                  </a:lnTo>
                  <a:lnTo>
                    <a:pt x="740" y="817"/>
                  </a:lnTo>
                  <a:lnTo>
                    <a:pt x="740" y="815"/>
                  </a:lnTo>
                  <a:lnTo>
                    <a:pt x="737" y="815"/>
                  </a:lnTo>
                  <a:lnTo>
                    <a:pt x="737" y="812"/>
                  </a:lnTo>
                  <a:lnTo>
                    <a:pt x="735" y="812"/>
                  </a:lnTo>
                  <a:lnTo>
                    <a:pt x="735" y="810"/>
                  </a:lnTo>
                  <a:lnTo>
                    <a:pt x="733" y="810"/>
                  </a:lnTo>
                  <a:lnTo>
                    <a:pt x="735" y="807"/>
                  </a:lnTo>
                  <a:lnTo>
                    <a:pt x="735" y="805"/>
                  </a:lnTo>
                  <a:lnTo>
                    <a:pt x="735" y="803"/>
                  </a:lnTo>
                  <a:lnTo>
                    <a:pt x="737" y="803"/>
                  </a:lnTo>
                  <a:lnTo>
                    <a:pt x="737" y="805"/>
                  </a:lnTo>
                  <a:lnTo>
                    <a:pt x="735" y="805"/>
                  </a:lnTo>
                  <a:lnTo>
                    <a:pt x="737" y="805"/>
                  </a:lnTo>
                  <a:lnTo>
                    <a:pt x="735" y="805"/>
                  </a:lnTo>
                  <a:lnTo>
                    <a:pt x="737" y="805"/>
                  </a:lnTo>
                  <a:lnTo>
                    <a:pt x="737" y="803"/>
                  </a:lnTo>
                  <a:lnTo>
                    <a:pt x="735" y="803"/>
                  </a:lnTo>
                  <a:lnTo>
                    <a:pt x="735" y="800"/>
                  </a:lnTo>
                  <a:lnTo>
                    <a:pt x="733" y="800"/>
                  </a:lnTo>
                  <a:lnTo>
                    <a:pt x="730" y="800"/>
                  </a:lnTo>
                  <a:lnTo>
                    <a:pt x="730" y="798"/>
                  </a:lnTo>
                  <a:lnTo>
                    <a:pt x="728" y="798"/>
                  </a:lnTo>
                  <a:lnTo>
                    <a:pt x="726" y="798"/>
                  </a:lnTo>
                  <a:lnTo>
                    <a:pt x="723" y="798"/>
                  </a:lnTo>
                  <a:lnTo>
                    <a:pt x="723" y="796"/>
                  </a:lnTo>
                  <a:lnTo>
                    <a:pt x="721" y="796"/>
                  </a:lnTo>
                  <a:lnTo>
                    <a:pt x="721" y="793"/>
                  </a:lnTo>
                  <a:lnTo>
                    <a:pt x="719" y="793"/>
                  </a:lnTo>
                  <a:lnTo>
                    <a:pt x="721" y="791"/>
                  </a:lnTo>
                  <a:lnTo>
                    <a:pt x="721" y="788"/>
                  </a:lnTo>
                  <a:lnTo>
                    <a:pt x="723" y="788"/>
                  </a:lnTo>
                  <a:lnTo>
                    <a:pt x="726" y="788"/>
                  </a:lnTo>
                  <a:lnTo>
                    <a:pt x="726" y="786"/>
                  </a:lnTo>
                  <a:lnTo>
                    <a:pt x="728" y="786"/>
                  </a:lnTo>
                  <a:lnTo>
                    <a:pt x="726" y="784"/>
                  </a:lnTo>
                  <a:lnTo>
                    <a:pt x="728" y="784"/>
                  </a:lnTo>
                  <a:lnTo>
                    <a:pt x="728" y="781"/>
                  </a:lnTo>
                  <a:lnTo>
                    <a:pt x="730" y="779"/>
                  </a:lnTo>
                  <a:lnTo>
                    <a:pt x="730" y="777"/>
                  </a:lnTo>
                  <a:lnTo>
                    <a:pt x="728" y="777"/>
                  </a:lnTo>
                  <a:lnTo>
                    <a:pt x="730" y="774"/>
                  </a:lnTo>
                  <a:lnTo>
                    <a:pt x="730" y="772"/>
                  </a:lnTo>
                  <a:lnTo>
                    <a:pt x="733" y="772"/>
                  </a:lnTo>
                  <a:lnTo>
                    <a:pt x="735" y="772"/>
                  </a:lnTo>
                  <a:lnTo>
                    <a:pt x="737" y="772"/>
                  </a:lnTo>
                  <a:lnTo>
                    <a:pt x="740" y="772"/>
                  </a:lnTo>
                  <a:lnTo>
                    <a:pt x="742" y="772"/>
                  </a:lnTo>
                  <a:lnTo>
                    <a:pt x="745" y="772"/>
                  </a:lnTo>
                  <a:lnTo>
                    <a:pt x="747" y="772"/>
                  </a:lnTo>
                  <a:lnTo>
                    <a:pt x="747" y="769"/>
                  </a:lnTo>
                  <a:lnTo>
                    <a:pt x="749" y="769"/>
                  </a:lnTo>
                  <a:lnTo>
                    <a:pt x="749" y="767"/>
                  </a:lnTo>
                  <a:lnTo>
                    <a:pt x="752" y="767"/>
                  </a:lnTo>
                  <a:lnTo>
                    <a:pt x="754" y="767"/>
                  </a:lnTo>
                  <a:lnTo>
                    <a:pt x="756" y="767"/>
                  </a:lnTo>
                  <a:lnTo>
                    <a:pt x="759" y="767"/>
                  </a:lnTo>
                  <a:lnTo>
                    <a:pt x="761" y="767"/>
                  </a:lnTo>
                  <a:lnTo>
                    <a:pt x="761" y="765"/>
                  </a:lnTo>
                  <a:lnTo>
                    <a:pt x="761" y="767"/>
                  </a:lnTo>
                  <a:lnTo>
                    <a:pt x="761" y="765"/>
                  </a:lnTo>
                  <a:lnTo>
                    <a:pt x="764" y="765"/>
                  </a:lnTo>
                  <a:lnTo>
                    <a:pt x="766" y="765"/>
                  </a:lnTo>
                  <a:lnTo>
                    <a:pt x="768" y="765"/>
                  </a:lnTo>
                  <a:lnTo>
                    <a:pt x="771" y="762"/>
                  </a:lnTo>
                  <a:lnTo>
                    <a:pt x="773" y="760"/>
                  </a:lnTo>
                  <a:lnTo>
                    <a:pt x="773" y="762"/>
                  </a:lnTo>
                  <a:lnTo>
                    <a:pt x="773" y="760"/>
                  </a:lnTo>
                  <a:lnTo>
                    <a:pt x="775" y="760"/>
                  </a:lnTo>
                  <a:lnTo>
                    <a:pt x="775" y="758"/>
                  </a:lnTo>
                  <a:lnTo>
                    <a:pt x="778" y="758"/>
                  </a:lnTo>
                  <a:lnTo>
                    <a:pt x="778" y="755"/>
                  </a:lnTo>
                  <a:lnTo>
                    <a:pt x="778" y="758"/>
                  </a:lnTo>
                  <a:lnTo>
                    <a:pt x="778" y="755"/>
                  </a:lnTo>
                  <a:lnTo>
                    <a:pt x="778" y="753"/>
                  </a:lnTo>
                  <a:lnTo>
                    <a:pt x="780" y="753"/>
                  </a:lnTo>
                  <a:lnTo>
                    <a:pt x="780" y="750"/>
                  </a:lnTo>
                  <a:lnTo>
                    <a:pt x="780" y="748"/>
                  </a:lnTo>
                  <a:lnTo>
                    <a:pt x="783" y="746"/>
                  </a:lnTo>
                  <a:lnTo>
                    <a:pt x="780" y="746"/>
                  </a:lnTo>
                  <a:lnTo>
                    <a:pt x="783" y="746"/>
                  </a:lnTo>
                  <a:lnTo>
                    <a:pt x="780" y="746"/>
                  </a:lnTo>
                  <a:lnTo>
                    <a:pt x="783" y="746"/>
                  </a:lnTo>
                  <a:lnTo>
                    <a:pt x="785" y="743"/>
                  </a:lnTo>
                  <a:lnTo>
                    <a:pt x="785" y="741"/>
                  </a:lnTo>
                  <a:lnTo>
                    <a:pt x="785" y="739"/>
                  </a:lnTo>
                  <a:lnTo>
                    <a:pt x="787" y="739"/>
                  </a:lnTo>
                  <a:lnTo>
                    <a:pt x="790" y="739"/>
                  </a:lnTo>
                  <a:lnTo>
                    <a:pt x="792" y="739"/>
                  </a:lnTo>
                  <a:lnTo>
                    <a:pt x="794" y="739"/>
                  </a:lnTo>
                  <a:lnTo>
                    <a:pt x="797" y="739"/>
                  </a:lnTo>
                  <a:lnTo>
                    <a:pt x="797" y="741"/>
                  </a:lnTo>
                  <a:lnTo>
                    <a:pt x="799" y="741"/>
                  </a:lnTo>
                  <a:lnTo>
                    <a:pt x="799" y="743"/>
                  </a:lnTo>
                  <a:lnTo>
                    <a:pt x="802" y="743"/>
                  </a:lnTo>
                  <a:lnTo>
                    <a:pt x="802" y="746"/>
                  </a:lnTo>
                  <a:lnTo>
                    <a:pt x="802" y="748"/>
                  </a:lnTo>
                  <a:lnTo>
                    <a:pt x="804" y="748"/>
                  </a:lnTo>
                  <a:lnTo>
                    <a:pt x="806" y="748"/>
                  </a:lnTo>
                  <a:lnTo>
                    <a:pt x="809" y="750"/>
                  </a:lnTo>
                  <a:lnTo>
                    <a:pt x="806" y="750"/>
                  </a:lnTo>
                  <a:lnTo>
                    <a:pt x="809" y="750"/>
                  </a:lnTo>
                  <a:lnTo>
                    <a:pt x="809" y="753"/>
                  </a:lnTo>
                  <a:lnTo>
                    <a:pt x="809" y="750"/>
                  </a:lnTo>
                  <a:lnTo>
                    <a:pt x="809" y="753"/>
                  </a:lnTo>
                  <a:lnTo>
                    <a:pt x="811" y="753"/>
                  </a:lnTo>
                  <a:lnTo>
                    <a:pt x="811" y="750"/>
                  </a:lnTo>
                  <a:lnTo>
                    <a:pt x="809" y="750"/>
                  </a:lnTo>
                  <a:lnTo>
                    <a:pt x="809" y="753"/>
                  </a:lnTo>
                  <a:lnTo>
                    <a:pt x="809" y="750"/>
                  </a:lnTo>
                  <a:lnTo>
                    <a:pt x="809" y="753"/>
                  </a:lnTo>
                  <a:lnTo>
                    <a:pt x="809" y="750"/>
                  </a:lnTo>
                  <a:lnTo>
                    <a:pt x="809" y="748"/>
                  </a:lnTo>
                  <a:lnTo>
                    <a:pt x="806" y="748"/>
                  </a:lnTo>
                  <a:lnTo>
                    <a:pt x="804" y="748"/>
                  </a:lnTo>
                  <a:lnTo>
                    <a:pt x="802" y="748"/>
                  </a:lnTo>
                  <a:lnTo>
                    <a:pt x="802" y="746"/>
                  </a:lnTo>
                  <a:lnTo>
                    <a:pt x="802" y="743"/>
                  </a:lnTo>
                  <a:lnTo>
                    <a:pt x="799" y="743"/>
                  </a:lnTo>
                  <a:lnTo>
                    <a:pt x="799" y="741"/>
                  </a:lnTo>
                  <a:lnTo>
                    <a:pt x="797" y="739"/>
                  </a:lnTo>
                  <a:lnTo>
                    <a:pt x="794" y="739"/>
                  </a:lnTo>
                  <a:lnTo>
                    <a:pt x="792" y="739"/>
                  </a:lnTo>
                  <a:lnTo>
                    <a:pt x="794" y="739"/>
                  </a:lnTo>
                  <a:lnTo>
                    <a:pt x="792" y="739"/>
                  </a:lnTo>
                  <a:lnTo>
                    <a:pt x="790" y="739"/>
                  </a:lnTo>
                  <a:lnTo>
                    <a:pt x="787" y="739"/>
                  </a:lnTo>
                  <a:lnTo>
                    <a:pt x="785" y="739"/>
                  </a:lnTo>
                  <a:lnTo>
                    <a:pt x="785" y="741"/>
                  </a:lnTo>
                  <a:lnTo>
                    <a:pt x="785" y="743"/>
                  </a:lnTo>
                  <a:lnTo>
                    <a:pt x="783" y="743"/>
                  </a:lnTo>
                  <a:lnTo>
                    <a:pt x="785" y="743"/>
                  </a:lnTo>
                  <a:lnTo>
                    <a:pt x="783" y="743"/>
                  </a:lnTo>
                  <a:lnTo>
                    <a:pt x="783" y="746"/>
                  </a:lnTo>
                  <a:lnTo>
                    <a:pt x="780" y="746"/>
                  </a:lnTo>
                  <a:lnTo>
                    <a:pt x="780" y="748"/>
                  </a:lnTo>
                  <a:lnTo>
                    <a:pt x="780" y="750"/>
                  </a:lnTo>
                  <a:lnTo>
                    <a:pt x="778" y="750"/>
                  </a:lnTo>
                  <a:lnTo>
                    <a:pt x="778" y="753"/>
                  </a:lnTo>
                  <a:lnTo>
                    <a:pt x="778" y="755"/>
                  </a:lnTo>
                  <a:lnTo>
                    <a:pt x="775" y="755"/>
                  </a:lnTo>
                  <a:lnTo>
                    <a:pt x="778" y="755"/>
                  </a:lnTo>
                  <a:lnTo>
                    <a:pt x="778" y="758"/>
                  </a:lnTo>
                  <a:lnTo>
                    <a:pt x="775" y="758"/>
                  </a:lnTo>
                  <a:lnTo>
                    <a:pt x="775" y="760"/>
                  </a:lnTo>
                  <a:lnTo>
                    <a:pt x="773" y="760"/>
                  </a:lnTo>
                  <a:lnTo>
                    <a:pt x="771" y="762"/>
                  </a:lnTo>
                  <a:lnTo>
                    <a:pt x="768" y="762"/>
                  </a:lnTo>
                  <a:lnTo>
                    <a:pt x="768" y="765"/>
                  </a:lnTo>
                  <a:lnTo>
                    <a:pt x="766" y="765"/>
                  </a:lnTo>
                  <a:lnTo>
                    <a:pt x="764" y="765"/>
                  </a:lnTo>
                  <a:lnTo>
                    <a:pt x="761" y="765"/>
                  </a:lnTo>
                  <a:lnTo>
                    <a:pt x="759" y="765"/>
                  </a:lnTo>
                  <a:lnTo>
                    <a:pt x="759" y="767"/>
                  </a:lnTo>
                  <a:lnTo>
                    <a:pt x="756" y="767"/>
                  </a:lnTo>
                  <a:lnTo>
                    <a:pt x="754" y="767"/>
                  </a:lnTo>
                  <a:lnTo>
                    <a:pt x="752" y="767"/>
                  </a:lnTo>
                  <a:lnTo>
                    <a:pt x="749" y="767"/>
                  </a:lnTo>
                  <a:lnTo>
                    <a:pt x="749" y="769"/>
                  </a:lnTo>
                  <a:lnTo>
                    <a:pt x="747" y="769"/>
                  </a:lnTo>
                  <a:lnTo>
                    <a:pt x="745" y="772"/>
                  </a:lnTo>
                  <a:lnTo>
                    <a:pt x="742" y="772"/>
                  </a:lnTo>
                  <a:lnTo>
                    <a:pt x="740" y="772"/>
                  </a:lnTo>
                  <a:lnTo>
                    <a:pt x="737" y="772"/>
                  </a:lnTo>
                  <a:lnTo>
                    <a:pt x="735" y="772"/>
                  </a:lnTo>
                  <a:lnTo>
                    <a:pt x="735" y="769"/>
                  </a:lnTo>
                  <a:lnTo>
                    <a:pt x="735" y="767"/>
                  </a:lnTo>
                  <a:lnTo>
                    <a:pt x="735" y="765"/>
                  </a:lnTo>
                  <a:lnTo>
                    <a:pt x="733" y="765"/>
                  </a:lnTo>
                  <a:lnTo>
                    <a:pt x="733" y="762"/>
                  </a:lnTo>
                  <a:lnTo>
                    <a:pt x="733" y="760"/>
                  </a:lnTo>
                  <a:lnTo>
                    <a:pt x="730" y="760"/>
                  </a:lnTo>
                  <a:lnTo>
                    <a:pt x="728" y="760"/>
                  </a:lnTo>
                  <a:lnTo>
                    <a:pt x="728" y="762"/>
                  </a:lnTo>
                  <a:lnTo>
                    <a:pt x="726" y="762"/>
                  </a:lnTo>
                  <a:lnTo>
                    <a:pt x="723" y="760"/>
                  </a:lnTo>
                  <a:lnTo>
                    <a:pt x="721" y="760"/>
                  </a:lnTo>
                  <a:lnTo>
                    <a:pt x="719" y="760"/>
                  </a:lnTo>
                  <a:lnTo>
                    <a:pt x="716" y="760"/>
                  </a:lnTo>
                  <a:lnTo>
                    <a:pt x="714" y="760"/>
                  </a:lnTo>
                  <a:lnTo>
                    <a:pt x="711" y="760"/>
                  </a:lnTo>
                  <a:lnTo>
                    <a:pt x="709" y="760"/>
                  </a:lnTo>
                  <a:lnTo>
                    <a:pt x="707" y="760"/>
                  </a:lnTo>
                  <a:lnTo>
                    <a:pt x="707" y="758"/>
                  </a:lnTo>
                  <a:lnTo>
                    <a:pt x="704" y="755"/>
                  </a:lnTo>
                  <a:lnTo>
                    <a:pt x="702" y="755"/>
                  </a:lnTo>
                  <a:lnTo>
                    <a:pt x="702" y="753"/>
                  </a:lnTo>
                  <a:lnTo>
                    <a:pt x="702" y="755"/>
                  </a:lnTo>
                  <a:lnTo>
                    <a:pt x="702" y="753"/>
                  </a:lnTo>
                  <a:lnTo>
                    <a:pt x="700" y="753"/>
                  </a:lnTo>
                  <a:lnTo>
                    <a:pt x="702" y="753"/>
                  </a:lnTo>
                  <a:lnTo>
                    <a:pt x="700" y="753"/>
                  </a:lnTo>
                  <a:lnTo>
                    <a:pt x="702" y="753"/>
                  </a:lnTo>
                  <a:lnTo>
                    <a:pt x="700" y="753"/>
                  </a:lnTo>
                  <a:lnTo>
                    <a:pt x="697" y="753"/>
                  </a:lnTo>
                  <a:lnTo>
                    <a:pt x="695" y="753"/>
                  </a:lnTo>
                  <a:lnTo>
                    <a:pt x="695" y="750"/>
                  </a:lnTo>
                  <a:lnTo>
                    <a:pt x="692" y="750"/>
                  </a:lnTo>
                  <a:lnTo>
                    <a:pt x="690" y="750"/>
                  </a:lnTo>
                  <a:lnTo>
                    <a:pt x="690" y="748"/>
                  </a:lnTo>
                  <a:lnTo>
                    <a:pt x="688" y="748"/>
                  </a:lnTo>
                  <a:lnTo>
                    <a:pt x="690" y="748"/>
                  </a:lnTo>
                  <a:lnTo>
                    <a:pt x="690" y="746"/>
                  </a:lnTo>
                  <a:lnTo>
                    <a:pt x="692" y="746"/>
                  </a:lnTo>
                  <a:lnTo>
                    <a:pt x="695" y="746"/>
                  </a:lnTo>
                  <a:lnTo>
                    <a:pt x="692" y="746"/>
                  </a:lnTo>
                  <a:lnTo>
                    <a:pt x="692" y="743"/>
                  </a:lnTo>
                  <a:lnTo>
                    <a:pt x="695" y="743"/>
                  </a:lnTo>
                  <a:lnTo>
                    <a:pt x="695" y="741"/>
                  </a:lnTo>
                  <a:lnTo>
                    <a:pt x="697" y="741"/>
                  </a:lnTo>
                  <a:lnTo>
                    <a:pt x="700" y="741"/>
                  </a:lnTo>
                  <a:lnTo>
                    <a:pt x="700" y="743"/>
                  </a:lnTo>
                  <a:lnTo>
                    <a:pt x="702" y="743"/>
                  </a:lnTo>
                  <a:lnTo>
                    <a:pt x="704" y="743"/>
                  </a:lnTo>
                  <a:lnTo>
                    <a:pt x="702" y="743"/>
                  </a:lnTo>
                  <a:lnTo>
                    <a:pt x="700" y="743"/>
                  </a:lnTo>
                  <a:lnTo>
                    <a:pt x="700" y="741"/>
                  </a:lnTo>
                  <a:lnTo>
                    <a:pt x="697" y="741"/>
                  </a:lnTo>
                  <a:lnTo>
                    <a:pt x="700" y="741"/>
                  </a:lnTo>
                  <a:lnTo>
                    <a:pt x="697" y="741"/>
                  </a:lnTo>
                  <a:lnTo>
                    <a:pt x="695" y="741"/>
                  </a:lnTo>
                  <a:lnTo>
                    <a:pt x="692" y="741"/>
                  </a:lnTo>
                  <a:lnTo>
                    <a:pt x="692" y="739"/>
                  </a:lnTo>
                  <a:lnTo>
                    <a:pt x="690" y="739"/>
                  </a:lnTo>
                  <a:lnTo>
                    <a:pt x="690" y="736"/>
                  </a:lnTo>
                  <a:lnTo>
                    <a:pt x="690" y="739"/>
                  </a:lnTo>
                  <a:lnTo>
                    <a:pt x="690" y="736"/>
                  </a:lnTo>
                  <a:lnTo>
                    <a:pt x="688" y="736"/>
                  </a:lnTo>
                  <a:lnTo>
                    <a:pt x="688" y="734"/>
                  </a:lnTo>
                  <a:lnTo>
                    <a:pt x="688" y="736"/>
                  </a:lnTo>
                  <a:lnTo>
                    <a:pt x="685" y="734"/>
                  </a:lnTo>
                  <a:lnTo>
                    <a:pt x="683" y="734"/>
                  </a:lnTo>
                  <a:lnTo>
                    <a:pt x="683" y="731"/>
                  </a:lnTo>
                  <a:lnTo>
                    <a:pt x="685" y="731"/>
                  </a:lnTo>
                  <a:lnTo>
                    <a:pt x="685" y="734"/>
                  </a:lnTo>
                  <a:lnTo>
                    <a:pt x="685" y="731"/>
                  </a:lnTo>
                  <a:lnTo>
                    <a:pt x="685" y="729"/>
                  </a:lnTo>
                  <a:lnTo>
                    <a:pt x="685" y="727"/>
                  </a:lnTo>
                  <a:lnTo>
                    <a:pt x="683" y="727"/>
                  </a:lnTo>
                  <a:lnTo>
                    <a:pt x="683" y="724"/>
                  </a:lnTo>
                  <a:lnTo>
                    <a:pt x="681" y="724"/>
                  </a:lnTo>
                  <a:lnTo>
                    <a:pt x="683" y="722"/>
                  </a:lnTo>
                  <a:lnTo>
                    <a:pt x="681" y="722"/>
                  </a:lnTo>
                  <a:lnTo>
                    <a:pt x="678" y="720"/>
                  </a:lnTo>
                  <a:lnTo>
                    <a:pt x="678" y="722"/>
                  </a:lnTo>
                  <a:lnTo>
                    <a:pt x="678" y="720"/>
                  </a:lnTo>
                  <a:lnTo>
                    <a:pt x="676" y="720"/>
                  </a:lnTo>
                  <a:lnTo>
                    <a:pt x="676" y="717"/>
                  </a:lnTo>
                  <a:lnTo>
                    <a:pt x="673" y="717"/>
                  </a:lnTo>
                  <a:lnTo>
                    <a:pt x="673" y="715"/>
                  </a:lnTo>
                  <a:lnTo>
                    <a:pt x="673" y="712"/>
                  </a:lnTo>
                  <a:lnTo>
                    <a:pt x="671" y="712"/>
                  </a:lnTo>
                  <a:lnTo>
                    <a:pt x="671" y="710"/>
                  </a:lnTo>
                  <a:lnTo>
                    <a:pt x="669" y="710"/>
                  </a:lnTo>
                  <a:lnTo>
                    <a:pt x="669" y="708"/>
                  </a:lnTo>
                  <a:lnTo>
                    <a:pt x="666" y="708"/>
                  </a:lnTo>
                  <a:lnTo>
                    <a:pt x="666" y="705"/>
                  </a:lnTo>
                  <a:lnTo>
                    <a:pt x="664" y="705"/>
                  </a:lnTo>
                  <a:lnTo>
                    <a:pt x="664" y="703"/>
                  </a:lnTo>
                  <a:lnTo>
                    <a:pt x="662" y="701"/>
                  </a:lnTo>
                  <a:lnTo>
                    <a:pt x="662" y="698"/>
                  </a:lnTo>
                  <a:lnTo>
                    <a:pt x="662" y="696"/>
                  </a:lnTo>
                  <a:lnTo>
                    <a:pt x="664" y="693"/>
                  </a:lnTo>
                  <a:lnTo>
                    <a:pt x="664" y="691"/>
                  </a:lnTo>
                  <a:lnTo>
                    <a:pt x="666" y="689"/>
                  </a:lnTo>
                  <a:lnTo>
                    <a:pt x="669" y="689"/>
                  </a:lnTo>
                  <a:lnTo>
                    <a:pt x="669" y="686"/>
                  </a:lnTo>
                  <a:lnTo>
                    <a:pt x="671" y="686"/>
                  </a:lnTo>
                  <a:lnTo>
                    <a:pt x="673" y="686"/>
                  </a:lnTo>
                  <a:lnTo>
                    <a:pt x="676" y="686"/>
                  </a:lnTo>
                  <a:lnTo>
                    <a:pt x="676" y="684"/>
                  </a:lnTo>
                  <a:lnTo>
                    <a:pt x="678" y="684"/>
                  </a:lnTo>
                  <a:lnTo>
                    <a:pt x="681" y="684"/>
                  </a:lnTo>
                  <a:lnTo>
                    <a:pt x="678" y="684"/>
                  </a:lnTo>
                  <a:lnTo>
                    <a:pt x="681" y="684"/>
                  </a:lnTo>
                  <a:lnTo>
                    <a:pt x="683" y="684"/>
                  </a:lnTo>
                  <a:lnTo>
                    <a:pt x="685" y="684"/>
                  </a:lnTo>
                  <a:lnTo>
                    <a:pt x="683" y="684"/>
                  </a:lnTo>
                  <a:lnTo>
                    <a:pt x="681" y="684"/>
                  </a:lnTo>
                  <a:lnTo>
                    <a:pt x="678" y="684"/>
                  </a:lnTo>
                  <a:lnTo>
                    <a:pt x="681" y="682"/>
                  </a:lnTo>
                  <a:lnTo>
                    <a:pt x="683" y="682"/>
                  </a:lnTo>
                  <a:lnTo>
                    <a:pt x="683" y="679"/>
                  </a:lnTo>
                  <a:lnTo>
                    <a:pt x="685" y="679"/>
                  </a:lnTo>
                  <a:lnTo>
                    <a:pt x="688" y="677"/>
                  </a:lnTo>
                  <a:lnTo>
                    <a:pt x="690" y="674"/>
                  </a:lnTo>
                  <a:lnTo>
                    <a:pt x="690" y="672"/>
                  </a:lnTo>
                  <a:lnTo>
                    <a:pt x="692" y="672"/>
                  </a:lnTo>
                  <a:lnTo>
                    <a:pt x="692" y="670"/>
                  </a:lnTo>
                  <a:lnTo>
                    <a:pt x="695" y="670"/>
                  </a:lnTo>
                  <a:lnTo>
                    <a:pt x="695" y="667"/>
                  </a:lnTo>
                  <a:lnTo>
                    <a:pt x="697" y="667"/>
                  </a:lnTo>
                  <a:lnTo>
                    <a:pt x="700" y="667"/>
                  </a:lnTo>
                  <a:lnTo>
                    <a:pt x="702" y="667"/>
                  </a:lnTo>
                  <a:lnTo>
                    <a:pt x="704" y="665"/>
                  </a:lnTo>
                  <a:lnTo>
                    <a:pt x="707" y="665"/>
                  </a:lnTo>
                  <a:lnTo>
                    <a:pt x="711" y="665"/>
                  </a:lnTo>
                  <a:lnTo>
                    <a:pt x="714" y="665"/>
                  </a:lnTo>
                  <a:lnTo>
                    <a:pt x="711" y="665"/>
                  </a:lnTo>
                  <a:lnTo>
                    <a:pt x="714" y="665"/>
                  </a:lnTo>
                  <a:lnTo>
                    <a:pt x="714" y="662"/>
                  </a:lnTo>
                  <a:lnTo>
                    <a:pt x="714" y="665"/>
                  </a:lnTo>
                  <a:lnTo>
                    <a:pt x="714" y="662"/>
                  </a:lnTo>
                  <a:lnTo>
                    <a:pt x="716" y="662"/>
                  </a:lnTo>
                  <a:lnTo>
                    <a:pt x="719" y="662"/>
                  </a:lnTo>
                  <a:lnTo>
                    <a:pt x="721" y="660"/>
                  </a:lnTo>
                  <a:lnTo>
                    <a:pt x="723" y="660"/>
                  </a:lnTo>
                  <a:lnTo>
                    <a:pt x="723" y="658"/>
                  </a:lnTo>
                  <a:lnTo>
                    <a:pt x="726" y="658"/>
                  </a:lnTo>
                  <a:lnTo>
                    <a:pt x="726" y="660"/>
                  </a:lnTo>
                  <a:lnTo>
                    <a:pt x="728" y="660"/>
                  </a:lnTo>
                  <a:lnTo>
                    <a:pt x="728" y="658"/>
                  </a:lnTo>
                  <a:lnTo>
                    <a:pt x="728" y="660"/>
                  </a:lnTo>
                  <a:lnTo>
                    <a:pt x="730" y="660"/>
                  </a:lnTo>
                  <a:lnTo>
                    <a:pt x="728" y="660"/>
                  </a:lnTo>
                  <a:lnTo>
                    <a:pt x="730" y="660"/>
                  </a:lnTo>
                  <a:lnTo>
                    <a:pt x="728" y="660"/>
                  </a:lnTo>
                  <a:lnTo>
                    <a:pt x="728" y="662"/>
                  </a:lnTo>
                  <a:lnTo>
                    <a:pt x="728" y="660"/>
                  </a:lnTo>
                  <a:lnTo>
                    <a:pt x="730" y="660"/>
                  </a:lnTo>
                  <a:lnTo>
                    <a:pt x="728" y="660"/>
                  </a:lnTo>
                  <a:lnTo>
                    <a:pt x="730" y="660"/>
                  </a:lnTo>
                  <a:lnTo>
                    <a:pt x="728" y="660"/>
                  </a:lnTo>
                  <a:lnTo>
                    <a:pt x="728" y="658"/>
                  </a:lnTo>
                  <a:lnTo>
                    <a:pt x="728" y="660"/>
                  </a:lnTo>
                  <a:lnTo>
                    <a:pt x="726" y="658"/>
                  </a:lnTo>
                  <a:lnTo>
                    <a:pt x="726" y="655"/>
                  </a:lnTo>
                  <a:lnTo>
                    <a:pt x="728" y="655"/>
                  </a:lnTo>
                  <a:lnTo>
                    <a:pt x="728" y="653"/>
                  </a:lnTo>
                  <a:lnTo>
                    <a:pt x="730" y="653"/>
                  </a:lnTo>
                  <a:lnTo>
                    <a:pt x="730" y="651"/>
                  </a:lnTo>
                  <a:lnTo>
                    <a:pt x="733" y="651"/>
                  </a:lnTo>
                  <a:lnTo>
                    <a:pt x="733" y="648"/>
                  </a:lnTo>
                  <a:lnTo>
                    <a:pt x="735" y="648"/>
                  </a:lnTo>
                  <a:lnTo>
                    <a:pt x="737" y="648"/>
                  </a:lnTo>
                  <a:lnTo>
                    <a:pt x="737" y="646"/>
                  </a:lnTo>
                  <a:lnTo>
                    <a:pt x="735" y="646"/>
                  </a:lnTo>
                  <a:lnTo>
                    <a:pt x="735" y="648"/>
                  </a:lnTo>
                  <a:lnTo>
                    <a:pt x="737" y="646"/>
                  </a:lnTo>
                  <a:lnTo>
                    <a:pt x="737" y="643"/>
                  </a:lnTo>
                  <a:lnTo>
                    <a:pt x="740" y="641"/>
                  </a:lnTo>
                  <a:lnTo>
                    <a:pt x="742" y="639"/>
                  </a:lnTo>
                  <a:lnTo>
                    <a:pt x="745" y="636"/>
                  </a:lnTo>
                  <a:lnTo>
                    <a:pt x="747" y="636"/>
                  </a:lnTo>
                  <a:lnTo>
                    <a:pt x="749" y="636"/>
                  </a:lnTo>
                  <a:lnTo>
                    <a:pt x="749" y="639"/>
                  </a:lnTo>
                  <a:lnTo>
                    <a:pt x="752" y="639"/>
                  </a:lnTo>
                  <a:lnTo>
                    <a:pt x="754" y="639"/>
                  </a:lnTo>
                  <a:lnTo>
                    <a:pt x="754" y="641"/>
                  </a:lnTo>
                  <a:lnTo>
                    <a:pt x="756" y="641"/>
                  </a:lnTo>
                  <a:lnTo>
                    <a:pt x="759" y="641"/>
                  </a:lnTo>
                  <a:lnTo>
                    <a:pt x="759" y="643"/>
                  </a:lnTo>
                  <a:lnTo>
                    <a:pt x="756" y="643"/>
                  </a:lnTo>
                  <a:lnTo>
                    <a:pt x="754" y="646"/>
                  </a:lnTo>
                  <a:lnTo>
                    <a:pt x="756" y="646"/>
                  </a:lnTo>
                  <a:lnTo>
                    <a:pt x="754" y="646"/>
                  </a:lnTo>
                  <a:lnTo>
                    <a:pt x="756" y="646"/>
                  </a:lnTo>
                  <a:lnTo>
                    <a:pt x="756" y="643"/>
                  </a:lnTo>
                  <a:lnTo>
                    <a:pt x="759" y="643"/>
                  </a:lnTo>
                  <a:lnTo>
                    <a:pt x="761" y="643"/>
                  </a:lnTo>
                  <a:lnTo>
                    <a:pt x="764" y="643"/>
                  </a:lnTo>
                  <a:lnTo>
                    <a:pt x="766" y="643"/>
                  </a:lnTo>
                  <a:lnTo>
                    <a:pt x="768" y="643"/>
                  </a:lnTo>
                  <a:lnTo>
                    <a:pt x="771" y="643"/>
                  </a:lnTo>
                  <a:lnTo>
                    <a:pt x="773" y="643"/>
                  </a:lnTo>
                  <a:lnTo>
                    <a:pt x="775" y="643"/>
                  </a:lnTo>
                  <a:lnTo>
                    <a:pt x="778" y="643"/>
                  </a:lnTo>
                  <a:lnTo>
                    <a:pt x="775" y="643"/>
                  </a:lnTo>
                  <a:lnTo>
                    <a:pt x="778" y="643"/>
                  </a:lnTo>
                  <a:lnTo>
                    <a:pt x="780" y="643"/>
                  </a:lnTo>
                  <a:lnTo>
                    <a:pt x="783" y="643"/>
                  </a:lnTo>
                  <a:lnTo>
                    <a:pt x="783" y="646"/>
                  </a:lnTo>
                  <a:lnTo>
                    <a:pt x="783" y="648"/>
                  </a:lnTo>
                  <a:lnTo>
                    <a:pt x="785" y="648"/>
                  </a:lnTo>
                  <a:lnTo>
                    <a:pt x="787" y="648"/>
                  </a:lnTo>
                  <a:lnTo>
                    <a:pt x="790" y="648"/>
                  </a:lnTo>
                  <a:lnTo>
                    <a:pt x="790" y="651"/>
                  </a:lnTo>
                  <a:lnTo>
                    <a:pt x="790" y="648"/>
                  </a:lnTo>
                  <a:lnTo>
                    <a:pt x="790" y="651"/>
                  </a:lnTo>
                  <a:lnTo>
                    <a:pt x="792" y="651"/>
                  </a:lnTo>
                  <a:lnTo>
                    <a:pt x="794" y="653"/>
                  </a:lnTo>
                  <a:lnTo>
                    <a:pt x="792" y="653"/>
                  </a:lnTo>
                  <a:lnTo>
                    <a:pt x="792" y="655"/>
                  </a:lnTo>
                  <a:lnTo>
                    <a:pt x="792" y="653"/>
                  </a:lnTo>
                  <a:lnTo>
                    <a:pt x="792" y="655"/>
                  </a:lnTo>
                  <a:lnTo>
                    <a:pt x="790" y="655"/>
                  </a:lnTo>
                  <a:lnTo>
                    <a:pt x="787" y="655"/>
                  </a:lnTo>
                  <a:lnTo>
                    <a:pt x="787" y="658"/>
                  </a:lnTo>
                  <a:lnTo>
                    <a:pt x="785" y="658"/>
                  </a:lnTo>
                  <a:lnTo>
                    <a:pt x="787" y="658"/>
                  </a:lnTo>
                  <a:lnTo>
                    <a:pt x="785" y="658"/>
                  </a:lnTo>
                  <a:lnTo>
                    <a:pt x="785" y="660"/>
                  </a:lnTo>
                  <a:lnTo>
                    <a:pt x="783" y="660"/>
                  </a:lnTo>
                  <a:lnTo>
                    <a:pt x="780" y="660"/>
                  </a:lnTo>
                  <a:lnTo>
                    <a:pt x="783" y="660"/>
                  </a:lnTo>
                  <a:lnTo>
                    <a:pt x="783" y="662"/>
                  </a:lnTo>
                  <a:lnTo>
                    <a:pt x="783" y="660"/>
                  </a:lnTo>
                  <a:lnTo>
                    <a:pt x="783" y="662"/>
                  </a:lnTo>
                  <a:lnTo>
                    <a:pt x="783" y="665"/>
                  </a:lnTo>
                  <a:lnTo>
                    <a:pt x="785" y="665"/>
                  </a:lnTo>
                  <a:lnTo>
                    <a:pt x="787" y="667"/>
                  </a:lnTo>
                  <a:lnTo>
                    <a:pt x="787" y="670"/>
                  </a:lnTo>
                  <a:lnTo>
                    <a:pt x="787" y="672"/>
                  </a:lnTo>
                  <a:lnTo>
                    <a:pt x="787" y="674"/>
                  </a:lnTo>
                  <a:lnTo>
                    <a:pt x="785" y="674"/>
                  </a:lnTo>
                  <a:lnTo>
                    <a:pt x="785" y="677"/>
                  </a:lnTo>
                  <a:lnTo>
                    <a:pt x="783" y="677"/>
                  </a:lnTo>
                  <a:lnTo>
                    <a:pt x="783" y="679"/>
                  </a:lnTo>
                  <a:lnTo>
                    <a:pt x="785" y="679"/>
                  </a:lnTo>
                  <a:lnTo>
                    <a:pt x="783" y="679"/>
                  </a:lnTo>
                  <a:lnTo>
                    <a:pt x="783" y="677"/>
                  </a:lnTo>
                  <a:lnTo>
                    <a:pt x="785" y="677"/>
                  </a:lnTo>
                  <a:lnTo>
                    <a:pt x="785" y="674"/>
                  </a:lnTo>
                  <a:lnTo>
                    <a:pt x="787" y="674"/>
                  </a:lnTo>
                  <a:lnTo>
                    <a:pt x="787" y="672"/>
                  </a:lnTo>
                  <a:lnTo>
                    <a:pt x="787" y="674"/>
                  </a:lnTo>
                  <a:lnTo>
                    <a:pt x="790" y="674"/>
                  </a:lnTo>
                  <a:lnTo>
                    <a:pt x="790" y="677"/>
                  </a:lnTo>
                  <a:lnTo>
                    <a:pt x="787" y="679"/>
                  </a:lnTo>
                  <a:lnTo>
                    <a:pt x="787" y="682"/>
                  </a:lnTo>
                  <a:lnTo>
                    <a:pt x="787" y="684"/>
                  </a:lnTo>
                  <a:lnTo>
                    <a:pt x="787" y="682"/>
                  </a:lnTo>
                  <a:lnTo>
                    <a:pt x="787" y="684"/>
                  </a:lnTo>
                  <a:lnTo>
                    <a:pt x="790" y="684"/>
                  </a:lnTo>
                  <a:lnTo>
                    <a:pt x="790" y="686"/>
                  </a:lnTo>
                  <a:lnTo>
                    <a:pt x="790" y="689"/>
                  </a:lnTo>
                  <a:lnTo>
                    <a:pt x="792" y="689"/>
                  </a:lnTo>
                  <a:lnTo>
                    <a:pt x="792" y="691"/>
                  </a:lnTo>
                  <a:lnTo>
                    <a:pt x="794" y="693"/>
                  </a:lnTo>
                  <a:lnTo>
                    <a:pt x="794" y="696"/>
                  </a:lnTo>
                  <a:lnTo>
                    <a:pt x="797" y="696"/>
                  </a:lnTo>
                  <a:lnTo>
                    <a:pt x="794" y="696"/>
                  </a:lnTo>
                  <a:lnTo>
                    <a:pt x="794" y="693"/>
                  </a:lnTo>
                  <a:lnTo>
                    <a:pt x="792" y="691"/>
                  </a:lnTo>
                  <a:lnTo>
                    <a:pt x="792" y="689"/>
                  </a:lnTo>
                  <a:lnTo>
                    <a:pt x="790" y="689"/>
                  </a:lnTo>
                  <a:lnTo>
                    <a:pt x="790" y="686"/>
                  </a:lnTo>
                  <a:lnTo>
                    <a:pt x="790" y="684"/>
                  </a:lnTo>
                  <a:lnTo>
                    <a:pt x="787" y="684"/>
                  </a:lnTo>
                  <a:lnTo>
                    <a:pt x="787" y="682"/>
                  </a:lnTo>
                  <a:lnTo>
                    <a:pt x="790" y="682"/>
                  </a:lnTo>
                  <a:lnTo>
                    <a:pt x="787" y="682"/>
                  </a:lnTo>
                  <a:lnTo>
                    <a:pt x="787" y="679"/>
                  </a:lnTo>
                  <a:lnTo>
                    <a:pt x="790" y="677"/>
                  </a:lnTo>
                  <a:lnTo>
                    <a:pt x="790" y="674"/>
                  </a:lnTo>
                  <a:lnTo>
                    <a:pt x="787" y="674"/>
                  </a:lnTo>
                  <a:lnTo>
                    <a:pt x="787" y="672"/>
                  </a:lnTo>
                  <a:lnTo>
                    <a:pt x="787" y="670"/>
                  </a:lnTo>
                  <a:lnTo>
                    <a:pt x="787" y="667"/>
                  </a:lnTo>
                  <a:lnTo>
                    <a:pt x="787" y="665"/>
                  </a:lnTo>
                  <a:lnTo>
                    <a:pt x="785" y="662"/>
                  </a:lnTo>
                  <a:lnTo>
                    <a:pt x="783" y="665"/>
                  </a:lnTo>
                  <a:lnTo>
                    <a:pt x="783" y="662"/>
                  </a:lnTo>
                  <a:lnTo>
                    <a:pt x="785" y="662"/>
                  </a:lnTo>
                  <a:lnTo>
                    <a:pt x="785" y="660"/>
                  </a:lnTo>
                  <a:lnTo>
                    <a:pt x="787" y="658"/>
                  </a:lnTo>
                  <a:lnTo>
                    <a:pt x="790" y="658"/>
                  </a:lnTo>
                  <a:lnTo>
                    <a:pt x="792" y="658"/>
                  </a:lnTo>
                  <a:lnTo>
                    <a:pt x="794" y="655"/>
                  </a:lnTo>
                  <a:lnTo>
                    <a:pt x="797" y="655"/>
                  </a:lnTo>
                  <a:lnTo>
                    <a:pt x="794" y="655"/>
                  </a:lnTo>
                  <a:lnTo>
                    <a:pt x="797" y="655"/>
                  </a:lnTo>
                  <a:lnTo>
                    <a:pt x="799" y="655"/>
                  </a:lnTo>
                  <a:lnTo>
                    <a:pt x="802" y="655"/>
                  </a:lnTo>
                  <a:lnTo>
                    <a:pt x="802" y="658"/>
                  </a:lnTo>
                  <a:lnTo>
                    <a:pt x="802" y="660"/>
                  </a:lnTo>
                  <a:lnTo>
                    <a:pt x="804" y="662"/>
                  </a:lnTo>
                  <a:lnTo>
                    <a:pt x="806" y="662"/>
                  </a:lnTo>
                  <a:lnTo>
                    <a:pt x="806" y="665"/>
                  </a:lnTo>
                  <a:lnTo>
                    <a:pt x="804" y="665"/>
                  </a:lnTo>
                  <a:lnTo>
                    <a:pt x="806" y="667"/>
                  </a:lnTo>
                  <a:lnTo>
                    <a:pt x="804" y="667"/>
                  </a:lnTo>
                  <a:lnTo>
                    <a:pt x="806" y="667"/>
                  </a:lnTo>
                  <a:lnTo>
                    <a:pt x="806" y="670"/>
                  </a:lnTo>
                  <a:lnTo>
                    <a:pt x="809" y="670"/>
                  </a:lnTo>
                  <a:lnTo>
                    <a:pt x="809" y="672"/>
                  </a:lnTo>
                  <a:lnTo>
                    <a:pt x="809" y="674"/>
                  </a:lnTo>
                  <a:lnTo>
                    <a:pt x="811" y="677"/>
                  </a:lnTo>
                  <a:lnTo>
                    <a:pt x="811" y="679"/>
                  </a:lnTo>
                  <a:lnTo>
                    <a:pt x="811" y="682"/>
                  </a:lnTo>
                  <a:lnTo>
                    <a:pt x="811" y="684"/>
                  </a:lnTo>
                  <a:lnTo>
                    <a:pt x="813" y="684"/>
                  </a:lnTo>
                  <a:lnTo>
                    <a:pt x="816" y="684"/>
                  </a:lnTo>
                  <a:lnTo>
                    <a:pt x="816" y="686"/>
                  </a:lnTo>
                  <a:lnTo>
                    <a:pt x="816" y="689"/>
                  </a:lnTo>
                  <a:lnTo>
                    <a:pt x="818" y="689"/>
                  </a:lnTo>
                  <a:lnTo>
                    <a:pt x="816" y="689"/>
                  </a:lnTo>
                  <a:lnTo>
                    <a:pt x="816" y="686"/>
                  </a:lnTo>
                  <a:lnTo>
                    <a:pt x="818" y="689"/>
                  </a:lnTo>
                  <a:lnTo>
                    <a:pt x="821" y="689"/>
                  </a:lnTo>
                  <a:lnTo>
                    <a:pt x="818" y="689"/>
                  </a:lnTo>
                  <a:lnTo>
                    <a:pt x="821" y="689"/>
                  </a:lnTo>
                  <a:lnTo>
                    <a:pt x="823" y="689"/>
                  </a:lnTo>
                  <a:lnTo>
                    <a:pt x="821" y="689"/>
                  </a:lnTo>
                  <a:lnTo>
                    <a:pt x="823" y="689"/>
                  </a:lnTo>
                  <a:lnTo>
                    <a:pt x="825" y="689"/>
                  </a:lnTo>
                  <a:lnTo>
                    <a:pt x="825" y="691"/>
                  </a:lnTo>
                  <a:lnTo>
                    <a:pt x="825" y="693"/>
                  </a:lnTo>
                  <a:lnTo>
                    <a:pt x="828" y="693"/>
                  </a:lnTo>
                  <a:lnTo>
                    <a:pt x="830" y="693"/>
                  </a:lnTo>
                  <a:lnTo>
                    <a:pt x="832" y="693"/>
                  </a:lnTo>
                  <a:lnTo>
                    <a:pt x="830" y="693"/>
                  </a:lnTo>
                  <a:lnTo>
                    <a:pt x="832" y="693"/>
                  </a:lnTo>
                  <a:lnTo>
                    <a:pt x="835" y="693"/>
                  </a:lnTo>
                  <a:lnTo>
                    <a:pt x="835" y="696"/>
                  </a:lnTo>
                  <a:lnTo>
                    <a:pt x="832" y="696"/>
                  </a:lnTo>
                  <a:lnTo>
                    <a:pt x="832" y="693"/>
                  </a:lnTo>
                  <a:lnTo>
                    <a:pt x="832" y="696"/>
                  </a:lnTo>
                  <a:lnTo>
                    <a:pt x="835" y="696"/>
                  </a:lnTo>
                  <a:lnTo>
                    <a:pt x="837" y="698"/>
                  </a:lnTo>
                  <a:lnTo>
                    <a:pt x="837" y="701"/>
                  </a:lnTo>
                  <a:lnTo>
                    <a:pt x="840" y="701"/>
                  </a:lnTo>
                  <a:lnTo>
                    <a:pt x="840" y="703"/>
                  </a:lnTo>
                  <a:lnTo>
                    <a:pt x="840" y="705"/>
                  </a:lnTo>
                  <a:lnTo>
                    <a:pt x="842" y="705"/>
                  </a:lnTo>
                  <a:lnTo>
                    <a:pt x="844" y="705"/>
                  </a:lnTo>
                  <a:lnTo>
                    <a:pt x="842" y="708"/>
                  </a:lnTo>
                  <a:lnTo>
                    <a:pt x="844" y="708"/>
                  </a:lnTo>
                  <a:lnTo>
                    <a:pt x="844" y="710"/>
                  </a:lnTo>
                  <a:lnTo>
                    <a:pt x="847" y="710"/>
                  </a:lnTo>
                  <a:lnTo>
                    <a:pt x="849" y="712"/>
                  </a:lnTo>
                  <a:lnTo>
                    <a:pt x="851" y="712"/>
                  </a:lnTo>
                  <a:lnTo>
                    <a:pt x="854" y="712"/>
                  </a:lnTo>
                  <a:lnTo>
                    <a:pt x="851" y="712"/>
                  </a:lnTo>
                  <a:lnTo>
                    <a:pt x="854" y="712"/>
                  </a:lnTo>
                  <a:lnTo>
                    <a:pt x="854" y="715"/>
                  </a:lnTo>
                  <a:lnTo>
                    <a:pt x="856" y="715"/>
                  </a:lnTo>
                  <a:lnTo>
                    <a:pt x="856" y="717"/>
                  </a:lnTo>
                  <a:lnTo>
                    <a:pt x="858" y="717"/>
                  </a:lnTo>
                  <a:lnTo>
                    <a:pt x="858" y="720"/>
                  </a:lnTo>
                  <a:lnTo>
                    <a:pt x="858" y="722"/>
                  </a:lnTo>
                  <a:lnTo>
                    <a:pt x="858" y="720"/>
                  </a:lnTo>
                  <a:lnTo>
                    <a:pt x="858" y="717"/>
                  </a:lnTo>
                  <a:lnTo>
                    <a:pt x="858" y="715"/>
                  </a:lnTo>
                  <a:lnTo>
                    <a:pt x="858" y="717"/>
                  </a:lnTo>
                  <a:lnTo>
                    <a:pt x="858" y="715"/>
                  </a:lnTo>
                  <a:lnTo>
                    <a:pt x="856" y="715"/>
                  </a:lnTo>
                  <a:lnTo>
                    <a:pt x="854" y="715"/>
                  </a:lnTo>
                  <a:lnTo>
                    <a:pt x="854" y="712"/>
                  </a:lnTo>
                  <a:lnTo>
                    <a:pt x="851" y="712"/>
                  </a:lnTo>
                  <a:lnTo>
                    <a:pt x="849" y="712"/>
                  </a:lnTo>
                  <a:lnTo>
                    <a:pt x="849" y="710"/>
                  </a:lnTo>
                  <a:lnTo>
                    <a:pt x="847" y="710"/>
                  </a:lnTo>
                  <a:lnTo>
                    <a:pt x="844" y="710"/>
                  </a:lnTo>
                  <a:lnTo>
                    <a:pt x="844" y="708"/>
                  </a:lnTo>
                  <a:lnTo>
                    <a:pt x="844" y="705"/>
                  </a:lnTo>
                  <a:lnTo>
                    <a:pt x="842" y="705"/>
                  </a:lnTo>
                  <a:lnTo>
                    <a:pt x="844" y="705"/>
                  </a:lnTo>
                  <a:lnTo>
                    <a:pt x="842" y="705"/>
                  </a:lnTo>
                  <a:lnTo>
                    <a:pt x="840" y="705"/>
                  </a:lnTo>
                  <a:lnTo>
                    <a:pt x="840" y="703"/>
                  </a:lnTo>
                  <a:lnTo>
                    <a:pt x="840" y="701"/>
                  </a:lnTo>
                  <a:lnTo>
                    <a:pt x="840" y="698"/>
                  </a:lnTo>
                  <a:lnTo>
                    <a:pt x="837" y="698"/>
                  </a:lnTo>
                  <a:lnTo>
                    <a:pt x="840" y="698"/>
                  </a:lnTo>
                  <a:lnTo>
                    <a:pt x="837" y="698"/>
                  </a:lnTo>
                  <a:lnTo>
                    <a:pt x="837" y="696"/>
                  </a:lnTo>
                  <a:lnTo>
                    <a:pt x="835" y="696"/>
                  </a:lnTo>
                  <a:lnTo>
                    <a:pt x="837" y="696"/>
                  </a:lnTo>
                  <a:lnTo>
                    <a:pt x="835" y="696"/>
                  </a:lnTo>
                  <a:lnTo>
                    <a:pt x="835" y="693"/>
                  </a:lnTo>
                  <a:lnTo>
                    <a:pt x="832" y="693"/>
                  </a:lnTo>
                  <a:lnTo>
                    <a:pt x="830" y="693"/>
                  </a:lnTo>
                  <a:lnTo>
                    <a:pt x="828" y="693"/>
                  </a:lnTo>
                  <a:lnTo>
                    <a:pt x="825" y="693"/>
                  </a:lnTo>
                  <a:lnTo>
                    <a:pt x="825" y="691"/>
                  </a:lnTo>
                  <a:lnTo>
                    <a:pt x="825" y="689"/>
                  </a:lnTo>
                  <a:lnTo>
                    <a:pt x="823" y="686"/>
                  </a:lnTo>
                  <a:lnTo>
                    <a:pt x="825" y="686"/>
                  </a:lnTo>
                  <a:lnTo>
                    <a:pt x="828" y="686"/>
                  </a:lnTo>
                  <a:lnTo>
                    <a:pt x="828" y="684"/>
                  </a:lnTo>
                  <a:lnTo>
                    <a:pt x="830" y="684"/>
                  </a:lnTo>
                  <a:lnTo>
                    <a:pt x="830" y="686"/>
                  </a:lnTo>
                  <a:lnTo>
                    <a:pt x="830" y="684"/>
                  </a:lnTo>
                  <a:lnTo>
                    <a:pt x="828" y="684"/>
                  </a:lnTo>
                  <a:lnTo>
                    <a:pt x="828" y="682"/>
                  </a:lnTo>
                  <a:lnTo>
                    <a:pt x="828" y="679"/>
                  </a:lnTo>
                  <a:lnTo>
                    <a:pt x="830" y="679"/>
                  </a:lnTo>
                  <a:lnTo>
                    <a:pt x="832" y="682"/>
                  </a:lnTo>
                  <a:lnTo>
                    <a:pt x="832" y="679"/>
                  </a:lnTo>
                  <a:lnTo>
                    <a:pt x="835" y="679"/>
                  </a:lnTo>
                  <a:lnTo>
                    <a:pt x="837" y="679"/>
                  </a:lnTo>
                  <a:lnTo>
                    <a:pt x="835" y="679"/>
                  </a:lnTo>
                  <a:lnTo>
                    <a:pt x="832" y="679"/>
                  </a:lnTo>
                  <a:lnTo>
                    <a:pt x="832" y="682"/>
                  </a:lnTo>
                  <a:lnTo>
                    <a:pt x="830" y="682"/>
                  </a:lnTo>
                  <a:lnTo>
                    <a:pt x="830" y="679"/>
                  </a:lnTo>
                  <a:lnTo>
                    <a:pt x="828" y="677"/>
                  </a:lnTo>
                  <a:lnTo>
                    <a:pt x="828" y="679"/>
                  </a:lnTo>
                  <a:lnTo>
                    <a:pt x="828" y="682"/>
                  </a:lnTo>
                  <a:lnTo>
                    <a:pt x="828" y="684"/>
                  </a:lnTo>
                  <a:lnTo>
                    <a:pt x="830" y="684"/>
                  </a:lnTo>
                  <a:lnTo>
                    <a:pt x="828" y="684"/>
                  </a:lnTo>
                  <a:lnTo>
                    <a:pt x="828" y="686"/>
                  </a:lnTo>
                  <a:lnTo>
                    <a:pt x="825" y="686"/>
                  </a:lnTo>
                  <a:lnTo>
                    <a:pt x="823" y="686"/>
                  </a:lnTo>
                  <a:lnTo>
                    <a:pt x="823" y="689"/>
                  </a:lnTo>
                  <a:lnTo>
                    <a:pt x="825" y="689"/>
                  </a:lnTo>
                  <a:lnTo>
                    <a:pt x="823" y="689"/>
                  </a:lnTo>
                  <a:lnTo>
                    <a:pt x="821" y="689"/>
                  </a:lnTo>
                  <a:lnTo>
                    <a:pt x="818" y="689"/>
                  </a:lnTo>
                  <a:lnTo>
                    <a:pt x="818" y="686"/>
                  </a:lnTo>
                  <a:lnTo>
                    <a:pt x="816" y="686"/>
                  </a:lnTo>
                  <a:lnTo>
                    <a:pt x="818" y="686"/>
                  </a:lnTo>
                  <a:lnTo>
                    <a:pt x="816" y="686"/>
                  </a:lnTo>
                  <a:lnTo>
                    <a:pt x="816" y="684"/>
                  </a:lnTo>
                  <a:lnTo>
                    <a:pt x="816" y="686"/>
                  </a:lnTo>
                  <a:lnTo>
                    <a:pt x="816" y="684"/>
                  </a:lnTo>
                  <a:lnTo>
                    <a:pt x="816" y="686"/>
                  </a:lnTo>
                  <a:lnTo>
                    <a:pt x="816" y="684"/>
                  </a:lnTo>
                  <a:lnTo>
                    <a:pt x="813" y="684"/>
                  </a:lnTo>
                  <a:lnTo>
                    <a:pt x="813" y="682"/>
                  </a:lnTo>
                  <a:lnTo>
                    <a:pt x="813" y="684"/>
                  </a:lnTo>
                  <a:lnTo>
                    <a:pt x="813" y="682"/>
                  </a:lnTo>
                  <a:lnTo>
                    <a:pt x="813" y="679"/>
                  </a:lnTo>
                  <a:lnTo>
                    <a:pt x="813" y="682"/>
                  </a:lnTo>
                  <a:lnTo>
                    <a:pt x="813" y="679"/>
                  </a:lnTo>
                  <a:lnTo>
                    <a:pt x="811" y="679"/>
                  </a:lnTo>
                  <a:lnTo>
                    <a:pt x="811" y="677"/>
                  </a:lnTo>
                  <a:lnTo>
                    <a:pt x="813" y="677"/>
                  </a:lnTo>
                  <a:lnTo>
                    <a:pt x="813" y="679"/>
                  </a:lnTo>
                  <a:lnTo>
                    <a:pt x="813" y="677"/>
                  </a:lnTo>
                  <a:lnTo>
                    <a:pt x="811" y="677"/>
                  </a:lnTo>
                  <a:lnTo>
                    <a:pt x="811" y="674"/>
                  </a:lnTo>
                  <a:lnTo>
                    <a:pt x="811" y="672"/>
                  </a:lnTo>
                  <a:lnTo>
                    <a:pt x="809" y="672"/>
                  </a:lnTo>
                  <a:lnTo>
                    <a:pt x="811" y="672"/>
                  </a:lnTo>
                  <a:lnTo>
                    <a:pt x="809" y="672"/>
                  </a:lnTo>
                  <a:lnTo>
                    <a:pt x="809" y="670"/>
                  </a:lnTo>
                  <a:lnTo>
                    <a:pt x="806" y="667"/>
                  </a:lnTo>
                  <a:lnTo>
                    <a:pt x="806" y="665"/>
                  </a:lnTo>
                  <a:lnTo>
                    <a:pt x="809" y="665"/>
                  </a:lnTo>
                  <a:lnTo>
                    <a:pt x="809" y="662"/>
                  </a:lnTo>
                  <a:lnTo>
                    <a:pt x="809" y="660"/>
                  </a:lnTo>
                  <a:lnTo>
                    <a:pt x="809" y="662"/>
                  </a:lnTo>
                  <a:lnTo>
                    <a:pt x="809" y="660"/>
                  </a:lnTo>
                  <a:lnTo>
                    <a:pt x="809" y="658"/>
                  </a:lnTo>
                  <a:lnTo>
                    <a:pt x="806" y="658"/>
                  </a:lnTo>
                  <a:lnTo>
                    <a:pt x="809" y="658"/>
                  </a:lnTo>
                  <a:lnTo>
                    <a:pt x="806" y="658"/>
                  </a:lnTo>
                  <a:lnTo>
                    <a:pt x="806" y="655"/>
                  </a:lnTo>
                  <a:lnTo>
                    <a:pt x="806" y="653"/>
                  </a:lnTo>
                  <a:lnTo>
                    <a:pt x="806" y="651"/>
                  </a:lnTo>
                  <a:lnTo>
                    <a:pt x="809" y="651"/>
                  </a:lnTo>
                  <a:lnTo>
                    <a:pt x="806" y="651"/>
                  </a:lnTo>
                  <a:lnTo>
                    <a:pt x="809" y="651"/>
                  </a:lnTo>
                  <a:lnTo>
                    <a:pt x="809" y="648"/>
                  </a:lnTo>
                  <a:lnTo>
                    <a:pt x="809" y="646"/>
                  </a:lnTo>
                  <a:lnTo>
                    <a:pt x="811" y="646"/>
                  </a:lnTo>
                  <a:lnTo>
                    <a:pt x="811" y="643"/>
                  </a:lnTo>
                  <a:lnTo>
                    <a:pt x="811" y="641"/>
                  </a:lnTo>
                  <a:lnTo>
                    <a:pt x="813" y="641"/>
                  </a:lnTo>
                  <a:lnTo>
                    <a:pt x="813" y="639"/>
                  </a:lnTo>
                  <a:lnTo>
                    <a:pt x="816" y="639"/>
                  </a:lnTo>
                  <a:lnTo>
                    <a:pt x="816" y="636"/>
                  </a:lnTo>
                  <a:lnTo>
                    <a:pt x="816" y="634"/>
                  </a:lnTo>
                  <a:lnTo>
                    <a:pt x="818" y="632"/>
                  </a:lnTo>
                  <a:lnTo>
                    <a:pt x="818" y="629"/>
                  </a:lnTo>
                  <a:lnTo>
                    <a:pt x="821" y="629"/>
                  </a:lnTo>
                  <a:lnTo>
                    <a:pt x="823" y="629"/>
                  </a:lnTo>
                  <a:lnTo>
                    <a:pt x="823" y="632"/>
                  </a:lnTo>
                  <a:lnTo>
                    <a:pt x="825" y="629"/>
                  </a:lnTo>
                  <a:lnTo>
                    <a:pt x="823" y="629"/>
                  </a:lnTo>
                  <a:lnTo>
                    <a:pt x="825" y="629"/>
                  </a:lnTo>
                  <a:lnTo>
                    <a:pt x="823" y="629"/>
                  </a:lnTo>
                  <a:lnTo>
                    <a:pt x="821" y="629"/>
                  </a:lnTo>
                  <a:lnTo>
                    <a:pt x="818" y="627"/>
                  </a:lnTo>
                  <a:lnTo>
                    <a:pt x="816" y="624"/>
                  </a:lnTo>
                  <a:lnTo>
                    <a:pt x="816" y="622"/>
                  </a:lnTo>
                  <a:lnTo>
                    <a:pt x="818" y="620"/>
                  </a:lnTo>
                  <a:lnTo>
                    <a:pt x="821" y="620"/>
                  </a:lnTo>
                  <a:lnTo>
                    <a:pt x="821" y="617"/>
                  </a:lnTo>
                  <a:lnTo>
                    <a:pt x="821" y="620"/>
                  </a:lnTo>
                  <a:lnTo>
                    <a:pt x="821" y="617"/>
                  </a:lnTo>
                  <a:lnTo>
                    <a:pt x="818" y="617"/>
                  </a:lnTo>
                  <a:lnTo>
                    <a:pt x="821" y="617"/>
                  </a:lnTo>
                  <a:lnTo>
                    <a:pt x="818" y="617"/>
                  </a:lnTo>
                  <a:lnTo>
                    <a:pt x="821" y="617"/>
                  </a:lnTo>
                  <a:lnTo>
                    <a:pt x="821" y="615"/>
                  </a:lnTo>
                  <a:lnTo>
                    <a:pt x="821" y="617"/>
                  </a:lnTo>
                  <a:lnTo>
                    <a:pt x="818" y="615"/>
                  </a:lnTo>
                  <a:lnTo>
                    <a:pt x="821" y="615"/>
                  </a:lnTo>
                  <a:lnTo>
                    <a:pt x="821" y="613"/>
                  </a:lnTo>
                  <a:lnTo>
                    <a:pt x="818" y="613"/>
                  </a:lnTo>
                  <a:lnTo>
                    <a:pt x="821" y="613"/>
                  </a:lnTo>
                  <a:lnTo>
                    <a:pt x="818" y="613"/>
                  </a:lnTo>
                  <a:lnTo>
                    <a:pt x="818" y="610"/>
                  </a:lnTo>
                  <a:lnTo>
                    <a:pt x="816" y="610"/>
                  </a:lnTo>
                  <a:lnTo>
                    <a:pt x="816" y="608"/>
                  </a:lnTo>
                  <a:lnTo>
                    <a:pt x="813" y="608"/>
                  </a:lnTo>
                  <a:lnTo>
                    <a:pt x="813" y="605"/>
                  </a:lnTo>
                  <a:lnTo>
                    <a:pt x="816" y="605"/>
                  </a:lnTo>
                  <a:lnTo>
                    <a:pt x="818" y="603"/>
                  </a:lnTo>
                  <a:lnTo>
                    <a:pt x="816" y="603"/>
                  </a:lnTo>
                  <a:lnTo>
                    <a:pt x="816" y="605"/>
                  </a:lnTo>
                  <a:lnTo>
                    <a:pt x="813" y="605"/>
                  </a:lnTo>
                  <a:lnTo>
                    <a:pt x="811" y="605"/>
                  </a:lnTo>
                  <a:lnTo>
                    <a:pt x="811" y="603"/>
                  </a:lnTo>
                  <a:lnTo>
                    <a:pt x="809" y="603"/>
                  </a:lnTo>
                  <a:lnTo>
                    <a:pt x="811" y="603"/>
                  </a:lnTo>
                  <a:lnTo>
                    <a:pt x="809" y="603"/>
                  </a:lnTo>
                  <a:lnTo>
                    <a:pt x="809" y="601"/>
                  </a:lnTo>
                  <a:lnTo>
                    <a:pt x="811" y="601"/>
                  </a:lnTo>
                  <a:lnTo>
                    <a:pt x="809" y="601"/>
                  </a:lnTo>
                  <a:lnTo>
                    <a:pt x="809" y="603"/>
                  </a:lnTo>
                  <a:lnTo>
                    <a:pt x="809" y="601"/>
                  </a:lnTo>
                  <a:lnTo>
                    <a:pt x="806" y="601"/>
                  </a:lnTo>
                  <a:lnTo>
                    <a:pt x="804" y="601"/>
                  </a:lnTo>
                  <a:lnTo>
                    <a:pt x="802" y="601"/>
                  </a:lnTo>
                  <a:lnTo>
                    <a:pt x="799" y="598"/>
                  </a:lnTo>
                  <a:lnTo>
                    <a:pt x="797" y="598"/>
                  </a:lnTo>
                  <a:lnTo>
                    <a:pt x="797" y="596"/>
                  </a:lnTo>
                  <a:lnTo>
                    <a:pt x="797" y="594"/>
                  </a:lnTo>
                  <a:lnTo>
                    <a:pt x="797" y="591"/>
                  </a:lnTo>
                  <a:lnTo>
                    <a:pt x="797" y="589"/>
                  </a:lnTo>
                  <a:lnTo>
                    <a:pt x="799" y="589"/>
                  </a:lnTo>
                  <a:lnTo>
                    <a:pt x="799" y="586"/>
                  </a:lnTo>
                  <a:lnTo>
                    <a:pt x="799" y="584"/>
                  </a:lnTo>
                  <a:lnTo>
                    <a:pt x="802" y="582"/>
                  </a:lnTo>
                  <a:lnTo>
                    <a:pt x="802" y="579"/>
                  </a:lnTo>
                  <a:lnTo>
                    <a:pt x="804" y="577"/>
                  </a:lnTo>
                  <a:lnTo>
                    <a:pt x="806" y="575"/>
                  </a:lnTo>
                  <a:lnTo>
                    <a:pt x="806" y="572"/>
                  </a:lnTo>
                  <a:lnTo>
                    <a:pt x="809" y="572"/>
                  </a:lnTo>
                  <a:lnTo>
                    <a:pt x="809" y="570"/>
                  </a:lnTo>
                  <a:lnTo>
                    <a:pt x="809" y="572"/>
                  </a:lnTo>
                  <a:lnTo>
                    <a:pt x="809" y="575"/>
                  </a:lnTo>
                  <a:lnTo>
                    <a:pt x="806" y="575"/>
                  </a:lnTo>
                  <a:lnTo>
                    <a:pt x="809" y="575"/>
                  </a:lnTo>
                  <a:lnTo>
                    <a:pt x="806" y="575"/>
                  </a:lnTo>
                  <a:lnTo>
                    <a:pt x="809" y="575"/>
                  </a:lnTo>
                  <a:lnTo>
                    <a:pt x="809" y="572"/>
                  </a:lnTo>
                  <a:lnTo>
                    <a:pt x="809" y="570"/>
                  </a:lnTo>
                  <a:lnTo>
                    <a:pt x="811" y="570"/>
                  </a:lnTo>
                  <a:lnTo>
                    <a:pt x="811" y="572"/>
                  </a:lnTo>
                  <a:lnTo>
                    <a:pt x="811" y="570"/>
                  </a:lnTo>
                  <a:lnTo>
                    <a:pt x="811" y="572"/>
                  </a:lnTo>
                  <a:lnTo>
                    <a:pt x="811" y="570"/>
                  </a:lnTo>
                  <a:lnTo>
                    <a:pt x="809" y="570"/>
                  </a:lnTo>
                  <a:lnTo>
                    <a:pt x="806" y="570"/>
                  </a:lnTo>
                  <a:lnTo>
                    <a:pt x="809" y="567"/>
                  </a:lnTo>
                  <a:lnTo>
                    <a:pt x="809" y="565"/>
                  </a:lnTo>
                  <a:lnTo>
                    <a:pt x="809" y="563"/>
                  </a:lnTo>
                  <a:lnTo>
                    <a:pt x="806" y="563"/>
                  </a:lnTo>
                  <a:lnTo>
                    <a:pt x="806" y="560"/>
                  </a:lnTo>
                  <a:lnTo>
                    <a:pt x="809" y="560"/>
                  </a:lnTo>
                  <a:lnTo>
                    <a:pt x="809" y="558"/>
                  </a:lnTo>
                  <a:lnTo>
                    <a:pt x="811" y="558"/>
                  </a:lnTo>
                  <a:lnTo>
                    <a:pt x="813" y="558"/>
                  </a:lnTo>
                  <a:lnTo>
                    <a:pt x="811" y="558"/>
                  </a:lnTo>
                  <a:lnTo>
                    <a:pt x="813" y="558"/>
                  </a:lnTo>
                  <a:lnTo>
                    <a:pt x="816" y="558"/>
                  </a:lnTo>
                  <a:lnTo>
                    <a:pt x="818" y="558"/>
                  </a:lnTo>
                  <a:lnTo>
                    <a:pt x="816" y="558"/>
                  </a:lnTo>
                  <a:lnTo>
                    <a:pt x="816" y="556"/>
                  </a:lnTo>
                  <a:lnTo>
                    <a:pt x="816" y="558"/>
                  </a:lnTo>
                  <a:lnTo>
                    <a:pt x="813" y="558"/>
                  </a:lnTo>
                  <a:lnTo>
                    <a:pt x="813" y="556"/>
                  </a:lnTo>
                  <a:lnTo>
                    <a:pt x="813" y="558"/>
                  </a:lnTo>
                  <a:lnTo>
                    <a:pt x="813" y="556"/>
                  </a:lnTo>
                  <a:lnTo>
                    <a:pt x="813" y="558"/>
                  </a:lnTo>
                  <a:lnTo>
                    <a:pt x="813" y="556"/>
                  </a:lnTo>
                  <a:lnTo>
                    <a:pt x="811" y="556"/>
                  </a:lnTo>
                  <a:lnTo>
                    <a:pt x="811" y="558"/>
                  </a:lnTo>
                  <a:lnTo>
                    <a:pt x="809" y="558"/>
                  </a:lnTo>
                  <a:lnTo>
                    <a:pt x="809" y="556"/>
                  </a:lnTo>
                  <a:lnTo>
                    <a:pt x="809" y="553"/>
                  </a:lnTo>
                  <a:lnTo>
                    <a:pt x="811" y="553"/>
                  </a:lnTo>
                  <a:lnTo>
                    <a:pt x="809" y="553"/>
                  </a:lnTo>
                  <a:lnTo>
                    <a:pt x="809" y="551"/>
                  </a:lnTo>
                  <a:lnTo>
                    <a:pt x="811" y="551"/>
                  </a:lnTo>
                  <a:lnTo>
                    <a:pt x="813" y="551"/>
                  </a:lnTo>
                  <a:lnTo>
                    <a:pt x="813" y="548"/>
                  </a:lnTo>
                  <a:lnTo>
                    <a:pt x="816" y="548"/>
                  </a:lnTo>
                  <a:lnTo>
                    <a:pt x="813" y="548"/>
                  </a:lnTo>
                  <a:lnTo>
                    <a:pt x="813" y="551"/>
                  </a:lnTo>
                  <a:lnTo>
                    <a:pt x="811" y="551"/>
                  </a:lnTo>
                  <a:lnTo>
                    <a:pt x="809" y="551"/>
                  </a:lnTo>
                  <a:lnTo>
                    <a:pt x="811" y="551"/>
                  </a:lnTo>
                  <a:lnTo>
                    <a:pt x="811" y="548"/>
                  </a:lnTo>
                  <a:lnTo>
                    <a:pt x="809" y="551"/>
                  </a:lnTo>
                  <a:lnTo>
                    <a:pt x="809" y="548"/>
                  </a:lnTo>
                  <a:lnTo>
                    <a:pt x="811" y="548"/>
                  </a:lnTo>
                  <a:lnTo>
                    <a:pt x="811" y="546"/>
                  </a:lnTo>
                  <a:lnTo>
                    <a:pt x="811" y="544"/>
                  </a:lnTo>
                  <a:lnTo>
                    <a:pt x="811" y="541"/>
                  </a:lnTo>
                  <a:lnTo>
                    <a:pt x="811" y="539"/>
                  </a:lnTo>
                  <a:lnTo>
                    <a:pt x="811" y="537"/>
                  </a:lnTo>
                  <a:lnTo>
                    <a:pt x="811" y="534"/>
                  </a:lnTo>
                  <a:lnTo>
                    <a:pt x="809" y="534"/>
                  </a:lnTo>
                  <a:lnTo>
                    <a:pt x="809" y="532"/>
                  </a:lnTo>
                  <a:lnTo>
                    <a:pt x="804" y="529"/>
                  </a:lnTo>
                  <a:lnTo>
                    <a:pt x="802" y="527"/>
                  </a:lnTo>
                  <a:lnTo>
                    <a:pt x="799" y="527"/>
                  </a:lnTo>
                  <a:lnTo>
                    <a:pt x="797" y="525"/>
                  </a:lnTo>
                  <a:lnTo>
                    <a:pt x="794" y="525"/>
                  </a:lnTo>
                  <a:lnTo>
                    <a:pt x="794" y="522"/>
                  </a:lnTo>
                  <a:lnTo>
                    <a:pt x="792" y="522"/>
                  </a:lnTo>
                  <a:lnTo>
                    <a:pt x="790" y="522"/>
                  </a:lnTo>
                  <a:lnTo>
                    <a:pt x="790" y="520"/>
                  </a:lnTo>
                  <a:lnTo>
                    <a:pt x="787" y="520"/>
                  </a:lnTo>
                  <a:lnTo>
                    <a:pt x="785" y="518"/>
                  </a:lnTo>
                  <a:lnTo>
                    <a:pt x="783" y="518"/>
                  </a:lnTo>
                  <a:lnTo>
                    <a:pt x="783" y="515"/>
                  </a:lnTo>
                  <a:lnTo>
                    <a:pt x="780" y="515"/>
                  </a:lnTo>
                  <a:lnTo>
                    <a:pt x="780" y="513"/>
                  </a:lnTo>
                  <a:lnTo>
                    <a:pt x="783" y="513"/>
                  </a:lnTo>
                  <a:lnTo>
                    <a:pt x="785" y="513"/>
                  </a:lnTo>
                  <a:lnTo>
                    <a:pt x="787" y="513"/>
                  </a:lnTo>
                  <a:lnTo>
                    <a:pt x="790" y="513"/>
                  </a:lnTo>
                  <a:lnTo>
                    <a:pt x="790" y="515"/>
                  </a:lnTo>
                  <a:lnTo>
                    <a:pt x="792" y="515"/>
                  </a:lnTo>
                  <a:lnTo>
                    <a:pt x="794" y="515"/>
                  </a:lnTo>
                  <a:lnTo>
                    <a:pt x="797" y="518"/>
                  </a:lnTo>
                  <a:lnTo>
                    <a:pt x="799" y="518"/>
                  </a:lnTo>
                  <a:lnTo>
                    <a:pt x="802" y="520"/>
                  </a:lnTo>
                  <a:lnTo>
                    <a:pt x="804" y="520"/>
                  </a:lnTo>
                  <a:lnTo>
                    <a:pt x="806" y="520"/>
                  </a:lnTo>
                  <a:lnTo>
                    <a:pt x="809" y="520"/>
                  </a:lnTo>
                  <a:lnTo>
                    <a:pt x="811" y="520"/>
                  </a:lnTo>
                  <a:lnTo>
                    <a:pt x="813" y="520"/>
                  </a:lnTo>
                  <a:lnTo>
                    <a:pt x="816" y="520"/>
                  </a:lnTo>
                  <a:lnTo>
                    <a:pt x="818" y="520"/>
                  </a:lnTo>
                  <a:lnTo>
                    <a:pt x="821" y="520"/>
                  </a:lnTo>
                  <a:lnTo>
                    <a:pt x="823" y="520"/>
                  </a:lnTo>
                  <a:lnTo>
                    <a:pt x="825" y="520"/>
                  </a:lnTo>
                  <a:lnTo>
                    <a:pt x="828" y="520"/>
                  </a:lnTo>
                  <a:lnTo>
                    <a:pt x="830" y="520"/>
                  </a:lnTo>
                  <a:lnTo>
                    <a:pt x="832" y="520"/>
                  </a:lnTo>
                  <a:lnTo>
                    <a:pt x="835" y="520"/>
                  </a:lnTo>
                  <a:lnTo>
                    <a:pt x="837" y="520"/>
                  </a:lnTo>
                  <a:lnTo>
                    <a:pt x="840" y="520"/>
                  </a:lnTo>
                  <a:lnTo>
                    <a:pt x="842" y="520"/>
                  </a:lnTo>
                  <a:lnTo>
                    <a:pt x="847" y="520"/>
                  </a:lnTo>
                  <a:lnTo>
                    <a:pt x="851" y="522"/>
                  </a:lnTo>
                  <a:lnTo>
                    <a:pt x="854" y="522"/>
                  </a:lnTo>
                  <a:lnTo>
                    <a:pt x="856" y="522"/>
                  </a:lnTo>
                  <a:lnTo>
                    <a:pt x="858" y="522"/>
                  </a:lnTo>
                  <a:lnTo>
                    <a:pt x="861" y="522"/>
                  </a:lnTo>
                  <a:lnTo>
                    <a:pt x="861" y="525"/>
                  </a:lnTo>
                  <a:lnTo>
                    <a:pt x="863" y="525"/>
                  </a:lnTo>
                  <a:lnTo>
                    <a:pt x="866" y="525"/>
                  </a:lnTo>
                  <a:lnTo>
                    <a:pt x="868" y="525"/>
                  </a:lnTo>
                  <a:lnTo>
                    <a:pt x="870" y="527"/>
                  </a:lnTo>
                  <a:lnTo>
                    <a:pt x="868" y="527"/>
                  </a:lnTo>
                  <a:lnTo>
                    <a:pt x="868" y="525"/>
                  </a:lnTo>
                  <a:lnTo>
                    <a:pt x="868" y="527"/>
                  </a:lnTo>
                  <a:lnTo>
                    <a:pt x="866" y="527"/>
                  </a:lnTo>
                  <a:lnTo>
                    <a:pt x="868" y="527"/>
                  </a:lnTo>
                  <a:lnTo>
                    <a:pt x="866" y="527"/>
                  </a:lnTo>
                  <a:lnTo>
                    <a:pt x="868" y="527"/>
                  </a:lnTo>
                  <a:lnTo>
                    <a:pt x="868" y="529"/>
                  </a:lnTo>
                  <a:lnTo>
                    <a:pt x="870" y="529"/>
                  </a:lnTo>
                  <a:lnTo>
                    <a:pt x="870" y="532"/>
                  </a:lnTo>
                  <a:lnTo>
                    <a:pt x="870" y="534"/>
                  </a:lnTo>
                  <a:lnTo>
                    <a:pt x="873" y="534"/>
                  </a:lnTo>
                  <a:lnTo>
                    <a:pt x="875" y="534"/>
                  </a:lnTo>
                  <a:lnTo>
                    <a:pt x="875" y="537"/>
                  </a:lnTo>
                  <a:lnTo>
                    <a:pt x="877" y="537"/>
                  </a:lnTo>
                  <a:lnTo>
                    <a:pt x="877" y="539"/>
                  </a:lnTo>
                  <a:lnTo>
                    <a:pt x="880" y="539"/>
                  </a:lnTo>
                  <a:lnTo>
                    <a:pt x="880" y="541"/>
                  </a:lnTo>
                  <a:lnTo>
                    <a:pt x="882" y="541"/>
                  </a:lnTo>
                  <a:lnTo>
                    <a:pt x="882" y="539"/>
                  </a:lnTo>
                  <a:lnTo>
                    <a:pt x="882" y="541"/>
                  </a:lnTo>
                  <a:lnTo>
                    <a:pt x="885" y="541"/>
                  </a:lnTo>
                  <a:lnTo>
                    <a:pt x="885" y="544"/>
                  </a:lnTo>
                  <a:lnTo>
                    <a:pt x="887" y="544"/>
                  </a:lnTo>
                  <a:lnTo>
                    <a:pt x="887" y="546"/>
                  </a:lnTo>
                  <a:lnTo>
                    <a:pt x="889" y="546"/>
                  </a:lnTo>
                  <a:lnTo>
                    <a:pt x="887" y="546"/>
                  </a:lnTo>
                  <a:lnTo>
                    <a:pt x="885" y="546"/>
                  </a:lnTo>
                  <a:lnTo>
                    <a:pt x="882" y="546"/>
                  </a:lnTo>
                  <a:lnTo>
                    <a:pt x="885" y="546"/>
                  </a:lnTo>
                  <a:lnTo>
                    <a:pt x="887" y="546"/>
                  </a:lnTo>
                  <a:lnTo>
                    <a:pt x="887" y="548"/>
                  </a:lnTo>
                  <a:lnTo>
                    <a:pt x="887" y="551"/>
                  </a:lnTo>
                  <a:lnTo>
                    <a:pt x="889" y="551"/>
                  </a:lnTo>
                  <a:lnTo>
                    <a:pt x="889" y="553"/>
                  </a:lnTo>
                  <a:lnTo>
                    <a:pt x="892" y="556"/>
                  </a:lnTo>
                  <a:lnTo>
                    <a:pt x="892" y="558"/>
                  </a:lnTo>
                  <a:lnTo>
                    <a:pt x="894" y="558"/>
                  </a:lnTo>
                  <a:lnTo>
                    <a:pt x="892" y="558"/>
                  </a:lnTo>
                  <a:lnTo>
                    <a:pt x="892" y="560"/>
                  </a:lnTo>
                  <a:lnTo>
                    <a:pt x="894" y="560"/>
                  </a:lnTo>
                  <a:lnTo>
                    <a:pt x="894" y="563"/>
                  </a:lnTo>
                  <a:lnTo>
                    <a:pt x="892" y="563"/>
                  </a:lnTo>
                  <a:lnTo>
                    <a:pt x="894" y="563"/>
                  </a:lnTo>
                  <a:lnTo>
                    <a:pt x="892" y="563"/>
                  </a:lnTo>
                  <a:lnTo>
                    <a:pt x="889" y="563"/>
                  </a:lnTo>
                  <a:lnTo>
                    <a:pt x="887" y="563"/>
                  </a:lnTo>
                  <a:lnTo>
                    <a:pt x="885" y="563"/>
                  </a:lnTo>
                  <a:lnTo>
                    <a:pt x="882" y="563"/>
                  </a:lnTo>
                  <a:lnTo>
                    <a:pt x="880" y="563"/>
                  </a:lnTo>
                  <a:lnTo>
                    <a:pt x="880" y="560"/>
                  </a:lnTo>
                  <a:lnTo>
                    <a:pt x="880" y="563"/>
                  </a:lnTo>
                  <a:lnTo>
                    <a:pt x="875" y="563"/>
                  </a:lnTo>
                  <a:lnTo>
                    <a:pt x="873" y="565"/>
                  </a:lnTo>
                  <a:lnTo>
                    <a:pt x="870" y="565"/>
                  </a:lnTo>
                  <a:lnTo>
                    <a:pt x="870" y="563"/>
                  </a:lnTo>
                  <a:lnTo>
                    <a:pt x="868" y="565"/>
                  </a:lnTo>
                  <a:lnTo>
                    <a:pt x="866" y="565"/>
                  </a:lnTo>
                  <a:lnTo>
                    <a:pt x="863" y="565"/>
                  </a:lnTo>
                  <a:lnTo>
                    <a:pt x="861" y="565"/>
                  </a:lnTo>
                  <a:lnTo>
                    <a:pt x="861" y="567"/>
                  </a:lnTo>
                  <a:lnTo>
                    <a:pt x="858" y="567"/>
                  </a:lnTo>
                  <a:lnTo>
                    <a:pt x="858" y="565"/>
                  </a:lnTo>
                  <a:lnTo>
                    <a:pt x="856" y="565"/>
                  </a:lnTo>
                  <a:lnTo>
                    <a:pt x="854" y="567"/>
                  </a:lnTo>
                  <a:lnTo>
                    <a:pt x="851" y="567"/>
                  </a:lnTo>
                  <a:lnTo>
                    <a:pt x="849" y="567"/>
                  </a:lnTo>
                  <a:lnTo>
                    <a:pt x="849" y="570"/>
                  </a:lnTo>
                  <a:lnTo>
                    <a:pt x="847" y="570"/>
                  </a:lnTo>
                  <a:lnTo>
                    <a:pt x="844" y="570"/>
                  </a:lnTo>
                  <a:lnTo>
                    <a:pt x="847" y="570"/>
                  </a:lnTo>
                  <a:lnTo>
                    <a:pt x="844" y="570"/>
                  </a:lnTo>
                  <a:lnTo>
                    <a:pt x="847" y="570"/>
                  </a:lnTo>
                  <a:lnTo>
                    <a:pt x="849" y="570"/>
                  </a:lnTo>
                  <a:lnTo>
                    <a:pt x="849" y="572"/>
                  </a:lnTo>
                  <a:lnTo>
                    <a:pt x="849" y="575"/>
                  </a:lnTo>
                  <a:lnTo>
                    <a:pt x="847" y="575"/>
                  </a:lnTo>
                  <a:lnTo>
                    <a:pt x="847" y="577"/>
                  </a:lnTo>
                  <a:lnTo>
                    <a:pt x="844" y="577"/>
                  </a:lnTo>
                  <a:lnTo>
                    <a:pt x="842" y="577"/>
                  </a:lnTo>
                  <a:lnTo>
                    <a:pt x="840" y="579"/>
                  </a:lnTo>
                  <a:lnTo>
                    <a:pt x="837" y="579"/>
                  </a:lnTo>
                  <a:lnTo>
                    <a:pt x="837" y="582"/>
                  </a:lnTo>
                  <a:lnTo>
                    <a:pt x="835" y="582"/>
                  </a:lnTo>
                  <a:lnTo>
                    <a:pt x="835" y="584"/>
                  </a:lnTo>
                  <a:lnTo>
                    <a:pt x="835" y="586"/>
                  </a:lnTo>
                  <a:lnTo>
                    <a:pt x="835" y="589"/>
                  </a:lnTo>
                  <a:lnTo>
                    <a:pt x="835" y="591"/>
                  </a:lnTo>
                  <a:lnTo>
                    <a:pt x="832" y="591"/>
                  </a:lnTo>
                  <a:lnTo>
                    <a:pt x="835" y="591"/>
                  </a:lnTo>
                  <a:lnTo>
                    <a:pt x="832" y="591"/>
                  </a:lnTo>
                  <a:lnTo>
                    <a:pt x="835" y="591"/>
                  </a:lnTo>
                  <a:lnTo>
                    <a:pt x="837" y="591"/>
                  </a:lnTo>
                  <a:lnTo>
                    <a:pt x="837" y="594"/>
                  </a:lnTo>
                  <a:lnTo>
                    <a:pt x="840" y="594"/>
                  </a:lnTo>
                  <a:lnTo>
                    <a:pt x="842" y="594"/>
                  </a:lnTo>
                  <a:lnTo>
                    <a:pt x="842" y="596"/>
                  </a:lnTo>
                  <a:lnTo>
                    <a:pt x="844" y="596"/>
                  </a:lnTo>
                  <a:lnTo>
                    <a:pt x="847" y="596"/>
                  </a:lnTo>
                  <a:lnTo>
                    <a:pt x="849" y="598"/>
                  </a:lnTo>
                  <a:lnTo>
                    <a:pt x="851" y="598"/>
                  </a:lnTo>
                  <a:lnTo>
                    <a:pt x="854" y="598"/>
                  </a:lnTo>
                  <a:lnTo>
                    <a:pt x="856" y="601"/>
                  </a:lnTo>
                  <a:lnTo>
                    <a:pt x="858" y="603"/>
                  </a:lnTo>
                  <a:lnTo>
                    <a:pt x="856" y="605"/>
                  </a:lnTo>
                  <a:lnTo>
                    <a:pt x="858" y="605"/>
                  </a:lnTo>
                  <a:lnTo>
                    <a:pt x="856" y="605"/>
                  </a:lnTo>
                  <a:lnTo>
                    <a:pt x="854" y="605"/>
                  </a:lnTo>
                  <a:lnTo>
                    <a:pt x="854" y="608"/>
                  </a:lnTo>
                  <a:lnTo>
                    <a:pt x="854" y="605"/>
                  </a:lnTo>
                  <a:lnTo>
                    <a:pt x="856" y="605"/>
                  </a:lnTo>
                  <a:lnTo>
                    <a:pt x="858" y="605"/>
                  </a:lnTo>
                  <a:lnTo>
                    <a:pt x="858" y="608"/>
                  </a:lnTo>
                  <a:lnTo>
                    <a:pt x="861" y="608"/>
                  </a:lnTo>
                  <a:lnTo>
                    <a:pt x="861" y="610"/>
                  </a:lnTo>
                  <a:lnTo>
                    <a:pt x="863" y="613"/>
                  </a:lnTo>
                  <a:lnTo>
                    <a:pt x="863" y="615"/>
                  </a:lnTo>
                  <a:lnTo>
                    <a:pt x="866" y="615"/>
                  </a:lnTo>
                  <a:lnTo>
                    <a:pt x="866" y="617"/>
                  </a:lnTo>
                  <a:lnTo>
                    <a:pt x="868" y="617"/>
                  </a:lnTo>
                  <a:lnTo>
                    <a:pt x="870" y="617"/>
                  </a:lnTo>
                  <a:lnTo>
                    <a:pt x="870" y="620"/>
                  </a:lnTo>
                  <a:lnTo>
                    <a:pt x="868" y="620"/>
                  </a:lnTo>
                  <a:lnTo>
                    <a:pt x="868" y="622"/>
                  </a:lnTo>
                  <a:lnTo>
                    <a:pt x="866" y="622"/>
                  </a:lnTo>
                  <a:lnTo>
                    <a:pt x="866" y="624"/>
                  </a:lnTo>
                  <a:lnTo>
                    <a:pt x="868" y="624"/>
                  </a:lnTo>
                  <a:lnTo>
                    <a:pt x="866" y="624"/>
                  </a:lnTo>
                  <a:lnTo>
                    <a:pt x="866" y="627"/>
                  </a:lnTo>
                  <a:lnTo>
                    <a:pt x="866" y="629"/>
                  </a:lnTo>
                  <a:lnTo>
                    <a:pt x="866" y="627"/>
                  </a:lnTo>
                  <a:lnTo>
                    <a:pt x="866" y="624"/>
                  </a:lnTo>
                  <a:lnTo>
                    <a:pt x="868" y="624"/>
                  </a:lnTo>
                  <a:lnTo>
                    <a:pt x="866" y="624"/>
                  </a:lnTo>
                  <a:lnTo>
                    <a:pt x="866" y="622"/>
                  </a:lnTo>
                  <a:lnTo>
                    <a:pt x="868" y="622"/>
                  </a:lnTo>
                  <a:lnTo>
                    <a:pt x="868" y="620"/>
                  </a:lnTo>
                  <a:lnTo>
                    <a:pt x="870" y="620"/>
                  </a:lnTo>
                  <a:lnTo>
                    <a:pt x="873" y="620"/>
                  </a:lnTo>
                  <a:lnTo>
                    <a:pt x="875" y="620"/>
                  </a:lnTo>
                  <a:lnTo>
                    <a:pt x="877" y="620"/>
                  </a:lnTo>
                  <a:lnTo>
                    <a:pt x="880" y="620"/>
                  </a:lnTo>
                  <a:lnTo>
                    <a:pt x="882" y="617"/>
                  </a:lnTo>
                  <a:lnTo>
                    <a:pt x="885" y="617"/>
                  </a:lnTo>
                  <a:lnTo>
                    <a:pt x="887" y="617"/>
                  </a:lnTo>
                  <a:lnTo>
                    <a:pt x="889" y="617"/>
                  </a:lnTo>
                  <a:lnTo>
                    <a:pt x="889" y="620"/>
                  </a:lnTo>
                  <a:lnTo>
                    <a:pt x="887" y="620"/>
                  </a:lnTo>
                  <a:lnTo>
                    <a:pt x="887" y="622"/>
                  </a:lnTo>
                  <a:lnTo>
                    <a:pt x="885" y="622"/>
                  </a:lnTo>
                  <a:lnTo>
                    <a:pt x="882" y="622"/>
                  </a:lnTo>
                  <a:lnTo>
                    <a:pt x="882" y="624"/>
                  </a:lnTo>
                  <a:lnTo>
                    <a:pt x="885" y="624"/>
                  </a:lnTo>
                  <a:lnTo>
                    <a:pt x="885" y="627"/>
                  </a:lnTo>
                  <a:lnTo>
                    <a:pt x="882" y="627"/>
                  </a:lnTo>
                  <a:lnTo>
                    <a:pt x="885" y="627"/>
                  </a:lnTo>
                  <a:lnTo>
                    <a:pt x="885" y="629"/>
                  </a:lnTo>
                  <a:lnTo>
                    <a:pt x="887" y="629"/>
                  </a:lnTo>
                  <a:lnTo>
                    <a:pt x="885" y="629"/>
                  </a:lnTo>
                  <a:lnTo>
                    <a:pt x="885" y="632"/>
                  </a:lnTo>
                  <a:lnTo>
                    <a:pt x="887" y="632"/>
                  </a:lnTo>
                  <a:lnTo>
                    <a:pt x="885" y="632"/>
                  </a:lnTo>
                  <a:lnTo>
                    <a:pt x="887" y="632"/>
                  </a:lnTo>
                  <a:lnTo>
                    <a:pt x="885" y="632"/>
                  </a:lnTo>
                  <a:lnTo>
                    <a:pt x="885" y="629"/>
                  </a:lnTo>
                  <a:lnTo>
                    <a:pt x="887" y="629"/>
                  </a:lnTo>
                  <a:lnTo>
                    <a:pt x="885" y="629"/>
                  </a:lnTo>
                  <a:lnTo>
                    <a:pt x="885" y="627"/>
                  </a:lnTo>
                  <a:lnTo>
                    <a:pt x="882" y="627"/>
                  </a:lnTo>
                  <a:lnTo>
                    <a:pt x="885" y="627"/>
                  </a:lnTo>
                  <a:lnTo>
                    <a:pt x="885" y="624"/>
                  </a:lnTo>
                  <a:lnTo>
                    <a:pt x="882" y="624"/>
                  </a:lnTo>
                  <a:lnTo>
                    <a:pt x="885" y="624"/>
                  </a:lnTo>
                  <a:lnTo>
                    <a:pt x="885" y="622"/>
                  </a:lnTo>
                  <a:lnTo>
                    <a:pt x="887" y="622"/>
                  </a:lnTo>
                  <a:lnTo>
                    <a:pt x="889" y="620"/>
                  </a:lnTo>
                  <a:lnTo>
                    <a:pt x="887" y="620"/>
                  </a:lnTo>
                  <a:lnTo>
                    <a:pt x="889" y="620"/>
                  </a:lnTo>
                  <a:lnTo>
                    <a:pt x="887" y="620"/>
                  </a:lnTo>
                  <a:lnTo>
                    <a:pt x="889" y="620"/>
                  </a:lnTo>
                  <a:lnTo>
                    <a:pt x="892" y="620"/>
                  </a:lnTo>
                  <a:lnTo>
                    <a:pt x="894" y="620"/>
                  </a:lnTo>
                  <a:lnTo>
                    <a:pt x="896" y="620"/>
                  </a:lnTo>
                  <a:lnTo>
                    <a:pt x="899" y="617"/>
                  </a:lnTo>
                  <a:lnTo>
                    <a:pt x="899" y="620"/>
                  </a:lnTo>
                  <a:lnTo>
                    <a:pt x="901" y="620"/>
                  </a:lnTo>
                  <a:lnTo>
                    <a:pt x="899" y="620"/>
                  </a:lnTo>
                  <a:lnTo>
                    <a:pt x="901" y="620"/>
                  </a:lnTo>
                  <a:lnTo>
                    <a:pt x="899" y="620"/>
                  </a:lnTo>
                  <a:lnTo>
                    <a:pt x="901" y="620"/>
                  </a:lnTo>
                  <a:lnTo>
                    <a:pt x="899" y="620"/>
                  </a:lnTo>
                  <a:lnTo>
                    <a:pt x="901" y="620"/>
                  </a:lnTo>
                  <a:lnTo>
                    <a:pt x="899" y="620"/>
                  </a:lnTo>
                  <a:lnTo>
                    <a:pt x="899" y="622"/>
                  </a:lnTo>
                  <a:lnTo>
                    <a:pt x="901" y="620"/>
                  </a:lnTo>
                  <a:lnTo>
                    <a:pt x="901" y="622"/>
                  </a:lnTo>
                  <a:lnTo>
                    <a:pt x="901" y="620"/>
                  </a:lnTo>
                  <a:lnTo>
                    <a:pt x="899" y="620"/>
                  </a:lnTo>
                  <a:lnTo>
                    <a:pt x="901" y="620"/>
                  </a:lnTo>
                  <a:lnTo>
                    <a:pt x="899" y="620"/>
                  </a:lnTo>
                  <a:lnTo>
                    <a:pt x="901" y="620"/>
                  </a:lnTo>
                  <a:lnTo>
                    <a:pt x="899" y="620"/>
                  </a:lnTo>
                  <a:lnTo>
                    <a:pt x="901" y="620"/>
                  </a:lnTo>
                  <a:lnTo>
                    <a:pt x="901" y="617"/>
                  </a:lnTo>
                  <a:lnTo>
                    <a:pt x="904" y="617"/>
                  </a:lnTo>
                  <a:lnTo>
                    <a:pt x="906" y="617"/>
                  </a:lnTo>
                  <a:lnTo>
                    <a:pt x="908" y="617"/>
                  </a:lnTo>
                  <a:lnTo>
                    <a:pt x="911" y="615"/>
                  </a:lnTo>
                  <a:lnTo>
                    <a:pt x="913" y="615"/>
                  </a:lnTo>
                  <a:lnTo>
                    <a:pt x="915" y="615"/>
                  </a:lnTo>
                  <a:lnTo>
                    <a:pt x="918" y="615"/>
                  </a:lnTo>
                  <a:lnTo>
                    <a:pt x="920" y="615"/>
                  </a:lnTo>
                  <a:lnTo>
                    <a:pt x="923" y="615"/>
                  </a:lnTo>
                  <a:lnTo>
                    <a:pt x="923" y="617"/>
                  </a:lnTo>
                  <a:lnTo>
                    <a:pt x="920" y="617"/>
                  </a:lnTo>
                  <a:lnTo>
                    <a:pt x="923" y="617"/>
                  </a:lnTo>
                  <a:lnTo>
                    <a:pt x="925" y="617"/>
                  </a:lnTo>
                  <a:lnTo>
                    <a:pt x="925" y="620"/>
                  </a:lnTo>
                  <a:lnTo>
                    <a:pt x="927" y="620"/>
                  </a:lnTo>
                  <a:lnTo>
                    <a:pt x="925" y="620"/>
                  </a:lnTo>
                  <a:lnTo>
                    <a:pt x="927" y="622"/>
                  </a:lnTo>
                  <a:lnTo>
                    <a:pt x="927" y="624"/>
                  </a:lnTo>
                  <a:lnTo>
                    <a:pt x="927" y="622"/>
                  </a:lnTo>
                  <a:lnTo>
                    <a:pt x="930" y="622"/>
                  </a:lnTo>
                  <a:lnTo>
                    <a:pt x="930" y="624"/>
                  </a:lnTo>
                  <a:lnTo>
                    <a:pt x="927" y="624"/>
                  </a:lnTo>
                  <a:lnTo>
                    <a:pt x="930" y="624"/>
                  </a:lnTo>
                  <a:lnTo>
                    <a:pt x="932" y="624"/>
                  </a:lnTo>
                  <a:lnTo>
                    <a:pt x="930" y="624"/>
                  </a:lnTo>
                  <a:lnTo>
                    <a:pt x="930" y="627"/>
                  </a:lnTo>
                  <a:lnTo>
                    <a:pt x="932" y="627"/>
                  </a:lnTo>
                  <a:lnTo>
                    <a:pt x="934" y="627"/>
                  </a:lnTo>
                  <a:lnTo>
                    <a:pt x="932" y="627"/>
                  </a:lnTo>
                  <a:lnTo>
                    <a:pt x="932" y="629"/>
                  </a:lnTo>
                  <a:lnTo>
                    <a:pt x="932" y="627"/>
                  </a:lnTo>
                  <a:lnTo>
                    <a:pt x="934" y="627"/>
                  </a:lnTo>
                  <a:lnTo>
                    <a:pt x="932" y="627"/>
                  </a:lnTo>
                  <a:lnTo>
                    <a:pt x="930" y="627"/>
                  </a:lnTo>
                  <a:lnTo>
                    <a:pt x="930" y="624"/>
                  </a:lnTo>
                  <a:lnTo>
                    <a:pt x="932" y="624"/>
                  </a:lnTo>
                  <a:lnTo>
                    <a:pt x="930" y="624"/>
                  </a:lnTo>
                  <a:lnTo>
                    <a:pt x="927" y="624"/>
                  </a:lnTo>
                  <a:lnTo>
                    <a:pt x="930" y="624"/>
                  </a:lnTo>
                  <a:lnTo>
                    <a:pt x="930" y="622"/>
                  </a:lnTo>
                  <a:lnTo>
                    <a:pt x="927" y="622"/>
                  </a:lnTo>
                  <a:lnTo>
                    <a:pt x="925" y="622"/>
                  </a:lnTo>
                  <a:lnTo>
                    <a:pt x="925" y="620"/>
                  </a:lnTo>
                  <a:lnTo>
                    <a:pt x="927" y="620"/>
                  </a:lnTo>
                  <a:lnTo>
                    <a:pt x="925" y="620"/>
                  </a:lnTo>
                  <a:lnTo>
                    <a:pt x="925" y="617"/>
                  </a:lnTo>
                  <a:lnTo>
                    <a:pt x="923" y="617"/>
                  </a:lnTo>
                  <a:lnTo>
                    <a:pt x="923" y="615"/>
                  </a:lnTo>
                  <a:lnTo>
                    <a:pt x="923" y="613"/>
                  </a:lnTo>
                  <a:lnTo>
                    <a:pt x="925" y="613"/>
                  </a:lnTo>
                  <a:lnTo>
                    <a:pt x="925" y="610"/>
                  </a:lnTo>
                  <a:lnTo>
                    <a:pt x="927" y="610"/>
                  </a:lnTo>
                  <a:lnTo>
                    <a:pt x="927" y="608"/>
                  </a:lnTo>
                  <a:lnTo>
                    <a:pt x="927" y="605"/>
                  </a:lnTo>
                  <a:lnTo>
                    <a:pt x="927" y="603"/>
                  </a:lnTo>
                  <a:lnTo>
                    <a:pt x="927" y="601"/>
                  </a:lnTo>
                  <a:lnTo>
                    <a:pt x="930" y="601"/>
                  </a:lnTo>
                  <a:lnTo>
                    <a:pt x="930" y="603"/>
                  </a:lnTo>
                  <a:lnTo>
                    <a:pt x="930" y="601"/>
                  </a:lnTo>
                  <a:lnTo>
                    <a:pt x="930" y="603"/>
                  </a:lnTo>
                  <a:lnTo>
                    <a:pt x="932" y="603"/>
                  </a:lnTo>
                  <a:lnTo>
                    <a:pt x="930" y="603"/>
                  </a:lnTo>
                  <a:lnTo>
                    <a:pt x="930" y="601"/>
                  </a:lnTo>
                  <a:lnTo>
                    <a:pt x="930" y="603"/>
                  </a:lnTo>
                  <a:lnTo>
                    <a:pt x="930" y="601"/>
                  </a:lnTo>
                  <a:lnTo>
                    <a:pt x="927" y="601"/>
                  </a:lnTo>
                  <a:lnTo>
                    <a:pt x="927" y="598"/>
                  </a:lnTo>
                  <a:lnTo>
                    <a:pt x="925" y="598"/>
                  </a:lnTo>
                  <a:lnTo>
                    <a:pt x="927" y="598"/>
                  </a:lnTo>
                  <a:lnTo>
                    <a:pt x="927" y="596"/>
                  </a:lnTo>
                  <a:lnTo>
                    <a:pt x="930" y="596"/>
                  </a:lnTo>
                  <a:lnTo>
                    <a:pt x="930" y="594"/>
                  </a:lnTo>
                  <a:lnTo>
                    <a:pt x="927" y="594"/>
                  </a:lnTo>
                  <a:lnTo>
                    <a:pt x="927" y="591"/>
                  </a:lnTo>
                  <a:lnTo>
                    <a:pt x="930" y="591"/>
                  </a:lnTo>
                  <a:lnTo>
                    <a:pt x="932" y="591"/>
                  </a:lnTo>
                  <a:lnTo>
                    <a:pt x="930" y="591"/>
                  </a:lnTo>
                  <a:lnTo>
                    <a:pt x="927" y="591"/>
                  </a:lnTo>
                  <a:lnTo>
                    <a:pt x="930" y="591"/>
                  </a:lnTo>
                  <a:lnTo>
                    <a:pt x="930" y="589"/>
                  </a:lnTo>
                  <a:lnTo>
                    <a:pt x="932" y="589"/>
                  </a:lnTo>
                  <a:lnTo>
                    <a:pt x="934" y="589"/>
                  </a:lnTo>
                  <a:lnTo>
                    <a:pt x="932" y="589"/>
                  </a:lnTo>
                  <a:lnTo>
                    <a:pt x="930" y="589"/>
                  </a:lnTo>
                  <a:lnTo>
                    <a:pt x="932" y="586"/>
                  </a:lnTo>
                  <a:lnTo>
                    <a:pt x="934" y="586"/>
                  </a:lnTo>
                  <a:lnTo>
                    <a:pt x="932" y="586"/>
                  </a:lnTo>
                  <a:lnTo>
                    <a:pt x="934" y="584"/>
                  </a:lnTo>
                  <a:lnTo>
                    <a:pt x="934" y="582"/>
                  </a:lnTo>
                  <a:lnTo>
                    <a:pt x="937" y="582"/>
                  </a:lnTo>
                  <a:lnTo>
                    <a:pt x="934" y="582"/>
                  </a:lnTo>
                  <a:lnTo>
                    <a:pt x="932" y="582"/>
                  </a:lnTo>
                  <a:lnTo>
                    <a:pt x="932" y="579"/>
                  </a:lnTo>
                  <a:lnTo>
                    <a:pt x="932" y="577"/>
                  </a:lnTo>
                  <a:lnTo>
                    <a:pt x="930" y="577"/>
                  </a:lnTo>
                  <a:lnTo>
                    <a:pt x="932" y="575"/>
                  </a:lnTo>
                  <a:lnTo>
                    <a:pt x="934" y="575"/>
                  </a:lnTo>
                  <a:lnTo>
                    <a:pt x="937" y="572"/>
                  </a:lnTo>
                  <a:lnTo>
                    <a:pt x="937" y="575"/>
                  </a:lnTo>
                  <a:lnTo>
                    <a:pt x="939" y="575"/>
                  </a:lnTo>
                  <a:lnTo>
                    <a:pt x="939" y="577"/>
                  </a:lnTo>
                  <a:lnTo>
                    <a:pt x="939" y="575"/>
                  </a:lnTo>
                  <a:lnTo>
                    <a:pt x="942" y="575"/>
                  </a:lnTo>
                  <a:lnTo>
                    <a:pt x="944" y="572"/>
                  </a:lnTo>
                  <a:lnTo>
                    <a:pt x="946" y="572"/>
                  </a:lnTo>
                  <a:lnTo>
                    <a:pt x="949" y="572"/>
                  </a:lnTo>
                  <a:lnTo>
                    <a:pt x="951" y="572"/>
                  </a:lnTo>
                  <a:lnTo>
                    <a:pt x="953" y="572"/>
                  </a:lnTo>
                  <a:lnTo>
                    <a:pt x="956" y="570"/>
                  </a:lnTo>
                  <a:lnTo>
                    <a:pt x="958" y="570"/>
                  </a:lnTo>
                  <a:lnTo>
                    <a:pt x="961" y="570"/>
                  </a:lnTo>
                  <a:lnTo>
                    <a:pt x="958" y="570"/>
                  </a:lnTo>
                  <a:lnTo>
                    <a:pt x="961" y="570"/>
                  </a:lnTo>
                  <a:lnTo>
                    <a:pt x="963" y="570"/>
                  </a:lnTo>
                  <a:lnTo>
                    <a:pt x="961" y="570"/>
                  </a:lnTo>
                  <a:lnTo>
                    <a:pt x="963" y="570"/>
                  </a:lnTo>
                  <a:lnTo>
                    <a:pt x="965" y="570"/>
                  </a:lnTo>
                  <a:lnTo>
                    <a:pt x="965" y="572"/>
                  </a:lnTo>
                  <a:lnTo>
                    <a:pt x="968" y="572"/>
                  </a:lnTo>
                  <a:lnTo>
                    <a:pt x="970" y="572"/>
                  </a:lnTo>
                  <a:lnTo>
                    <a:pt x="968" y="572"/>
                  </a:lnTo>
                  <a:lnTo>
                    <a:pt x="968" y="575"/>
                  </a:lnTo>
                  <a:lnTo>
                    <a:pt x="965" y="575"/>
                  </a:lnTo>
                  <a:lnTo>
                    <a:pt x="968" y="575"/>
                  </a:lnTo>
                  <a:lnTo>
                    <a:pt x="965" y="575"/>
                  </a:lnTo>
                  <a:lnTo>
                    <a:pt x="968" y="575"/>
                  </a:lnTo>
                  <a:lnTo>
                    <a:pt x="968" y="572"/>
                  </a:lnTo>
                  <a:lnTo>
                    <a:pt x="968" y="575"/>
                  </a:lnTo>
                  <a:lnTo>
                    <a:pt x="970" y="575"/>
                  </a:lnTo>
                  <a:lnTo>
                    <a:pt x="970" y="577"/>
                  </a:lnTo>
                  <a:lnTo>
                    <a:pt x="970" y="575"/>
                  </a:lnTo>
                  <a:lnTo>
                    <a:pt x="970" y="577"/>
                  </a:lnTo>
                  <a:lnTo>
                    <a:pt x="972" y="577"/>
                  </a:lnTo>
                  <a:lnTo>
                    <a:pt x="970" y="575"/>
                  </a:lnTo>
                  <a:lnTo>
                    <a:pt x="972" y="575"/>
                  </a:lnTo>
                  <a:lnTo>
                    <a:pt x="972" y="577"/>
                  </a:lnTo>
                  <a:lnTo>
                    <a:pt x="972" y="575"/>
                  </a:lnTo>
                  <a:lnTo>
                    <a:pt x="972" y="577"/>
                  </a:lnTo>
                  <a:lnTo>
                    <a:pt x="970" y="577"/>
                  </a:lnTo>
                  <a:lnTo>
                    <a:pt x="972" y="577"/>
                  </a:lnTo>
                  <a:lnTo>
                    <a:pt x="970" y="577"/>
                  </a:lnTo>
                  <a:lnTo>
                    <a:pt x="972" y="579"/>
                  </a:lnTo>
                  <a:lnTo>
                    <a:pt x="970" y="579"/>
                  </a:lnTo>
                  <a:lnTo>
                    <a:pt x="972" y="579"/>
                  </a:lnTo>
                  <a:lnTo>
                    <a:pt x="970" y="579"/>
                  </a:lnTo>
                  <a:lnTo>
                    <a:pt x="972" y="579"/>
                  </a:lnTo>
                  <a:lnTo>
                    <a:pt x="975" y="579"/>
                  </a:lnTo>
                  <a:lnTo>
                    <a:pt x="977" y="579"/>
                  </a:lnTo>
                  <a:lnTo>
                    <a:pt x="975" y="579"/>
                  </a:lnTo>
                  <a:lnTo>
                    <a:pt x="972" y="579"/>
                  </a:lnTo>
                  <a:lnTo>
                    <a:pt x="970" y="579"/>
                  </a:lnTo>
                  <a:lnTo>
                    <a:pt x="972" y="579"/>
                  </a:lnTo>
                  <a:lnTo>
                    <a:pt x="972" y="577"/>
                  </a:lnTo>
                  <a:lnTo>
                    <a:pt x="970" y="577"/>
                  </a:lnTo>
                  <a:lnTo>
                    <a:pt x="972" y="577"/>
                  </a:lnTo>
                  <a:lnTo>
                    <a:pt x="970" y="577"/>
                  </a:lnTo>
                  <a:lnTo>
                    <a:pt x="972" y="577"/>
                  </a:lnTo>
                  <a:lnTo>
                    <a:pt x="972" y="575"/>
                  </a:lnTo>
                  <a:lnTo>
                    <a:pt x="970" y="575"/>
                  </a:lnTo>
                  <a:lnTo>
                    <a:pt x="972" y="575"/>
                  </a:lnTo>
                  <a:lnTo>
                    <a:pt x="970" y="575"/>
                  </a:lnTo>
                  <a:lnTo>
                    <a:pt x="970" y="572"/>
                  </a:lnTo>
                  <a:lnTo>
                    <a:pt x="970" y="575"/>
                  </a:lnTo>
                  <a:lnTo>
                    <a:pt x="970" y="572"/>
                  </a:lnTo>
                  <a:lnTo>
                    <a:pt x="968" y="572"/>
                  </a:lnTo>
                  <a:lnTo>
                    <a:pt x="968" y="570"/>
                  </a:lnTo>
                  <a:lnTo>
                    <a:pt x="965" y="570"/>
                  </a:lnTo>
                  <a:lnTo>
                    <a:pt x="965" y="567"/>
                  </a:lnTo>
                  <a:lnTo>
                    <a:pt x="963" y="567"/>
                  </a:lnTo>
                  <a:lnTo>
                    <a:pt x="961" y="567"/>
                  </a:lnTo>
                  <a:lnTo>
                    <a:pt x="961" y="570"/>
                  </a:lnTo>
                  <a:lnTo>
                    <a:pt x="961" y="567"/>
                  </a:lnTo>
                  <a:lnTo>
                    <a:pt x="963" y="565"/>
                  </a:lnTo>
                  <a:lnTo>
                    <a:pt x="961" y="565"/>
                  </a:lnTo>
                  <a:lnTo>
                    <a:pt x="963" y="565"/>
                  </a:lnTo>
                  <a:lnTo>
                    <a:pt x="963" y="563"/>
                  </a:lnTo>
                  <a:lnTo>
                    <a:pt x="961" y="563"/>
                  </a:lnTo>
                  <a:lnTo>
                    <a:pt x="961" y="560"/>
                  </a:lnTo>
                  <a:lnTo>
                    <a:pt x="958" y="560"/>
                  </a:lnTo>
                  <a:lnTo>
                    <a:pt x="961" y="560"/>
                  </a:lnTo>
                  <a:lnTo>
                    <a:pt x="958" y="558"/>
                  </a:lnTo>
                  <a:lnTo>
                    <a:pt x="958" y="560"/>
                  </a:lnTo>
                  <a:lnTo>
                    <a:pt x="958" y="558"/>
                  </a:lnTo>
                  <a:lnTo>
                    <a:pt x="956" y="558"/>
                  </a:lnTo>
                  <a:lnTo>
                    <a:pt x="956" y="556"/>
                  </a:lnTo>
                  <a:lnTo>
                    <a:pt x="956" y="558"/>
                  </a:lnTo>
                  <a:lnTo>
                    <a:pt x="958" y="558"/>
                  </a:lnTo>
                  <a:lnTo>
                    <a:pt x="961" y="560"/>
                  </a:lnTo>
                  <a:lnTo>
                    <a:pt x="963" y="560"/>
                  </a:lnTo>
                  <a:lnTo>
                    <a:pt x="965" y="563"/>
                  </a:lnTo>
                  <a:lnTo>
                    <a:pt x="968" y="563"/>
                  </a:lnTo>
                  <a:lnTo>
                    <a:pt x="970" y="560"/>
                  </a:lnTo>
                  <a:lnTo>
                    <a:pt x="972" y="560"/>
                  </a:lnTo>
                  <a:lnTo>
                    <a:pt x="975" y="560"/>
                  </a:lnTo>
                  <a:lnTo>
                    <a:pt x="982" y="558"/>
                  </a:lnTo>
                  <a:lnTo>
                    <a:pt x="984" y="556"/>
                  </a:lnTo>
                  <a:lnTo>
                    <a:pt x="987" y="556"/>
                  </a:lnTo>
                  <a:lnTo>
                    <a:pt x="989" y="553"/>
                  </a:lnTo>
                  <a:lnTo>
                    <a:pt x="996" y="551"/>
                  </a:lnTo>
                  <a:lnTo>
                    <a:pt x="998" y="551"/>
                  </a:lnTo>
                  <a:lnTo>
                    <a:pt x="1001" y="548"/>
                  </a:lnTo>
                  <a:lnTo>
                    <a:pt x="1003" y="546"/>
                  </a:lnTo>
                  <a:lnTo>
                    <a:pt x="1003" y="548"/>
                  </a:lnTo>
                  <a:lnTo>
                    <a:pt x="1001" y="548"/>
                  </a:lnTo>
                  <a:lnTo>
                    <a:pt x="1001" y="551"/>
                  </a:lnTo>
                  <a:lnTo>
                    <a:pt x="998" y="551"/>
                  </a:lnTo>
                  <a:lnTo>
                    <a:pt x="996" y="551"/>
                  </a:lnTo>
                  <a:lnTo>
                    <a:pt x="996" y="553"/>
                  </a:lnTo>
                  <a:lnTo>
                    <a:pt x="996" y="551"/>
                  </a:lnTo>
                  <a:lnTo>
                    <a:pt x="996" y="553"/>
                  </a:lnTo>
                  <a:lnTo>
                    <a:pt x="998" y="553"/>
                  </a:lnTo>
                  <a:lnTo>
                    <a:pt x="998" y="551"/>
                  </a:lnTo>
                  <a:lnTo>
                    <a:pt x="1001" y="551"/>
                  </a:lnTo>
                  <a:lnTo>
                    <a:pt x="1001" y="548"/>
                  </a:lnTo>
                  <a:lnTo>
                    <a:pt x="1003" y="548"/>
                  </a:lnTo>
                  <a:lnTo>
                    <a:pt x="1003" y="551"/>
                  </a:lnTo>
                  <a:lnTo>
                    <a:pt x="1003" y="548"/>
                  </a:lnTo>
                  <a:lnTo>
                    <a:pt x="1003" y="546"/>
                  </a:lnTo>
                  <a:lnTo>
                    <a:pt x="1003" y="548"/>
                  </a:lnTo>
                  <a:lnTo>
                    <a:pt x="1003" y="546"/>
                  </a:lnTo>
                  <a:lnTo>
                    <a:pt x="1006" y="546"/>
                  </a:lnTo>
                  <a:lnTo>
                    <a:pt x="1006" y="544"/>
                  </a:lnTo>
                  <a:lnTo>
                    <a:pt x="1010" y="544"/>
                  </a:lnTo>
                  <a:lnTo>
                    <a:pt x="1013" y="541"/>
                  </a:lnTo>
                  <a:lnTo>
                    <a:pt x="1017" y="539"/>
                  </a:lnTo>
                  <a:lnTo>
                    <a:pt x="1017" y="537"/>
                  </a:lnTo>
                  <a:lnTo>
                    <a:pt x="1022" y="534"/>
                  </a:lnTo>
                  <a:lnTo>
                    <a:pt x="1025" y="534"/>
                  </a:lnTo>
                  <a:lnTo>
                    <a:pt x="1025" y="532"/>
                  </a:lnTo>
                  <a:lnTo>
                    <a:pt x="1027" y="532"/>
                  </a:lnTo>
                  <a:lnTo>
                    <a:pt x="1027" y="529"/>
                  </a:lnTo>
                  <a:lnTo>
                    <a:pt x="1029" y="529"/>
                  </a:lnTo>
                  <a:lnTo>
                    <a:pt x="1029" y="532"/>
                  </a:lnTo>
                  <a:lnTo>
                    <a:pt x="1032" y="532"/>
                  </a:lnTo>
                  <a:lnTo>
                    <a:pt x="1034" y="532"/>
                  </a:lnTo>
                  <a:lnTo>
                    <a:pt x="1036" y="532"/>
                  </a:lnTo>
                  <a:lnTo>
                    <a:pt x="1039" y="532"/>
                  </a:lnTo>
                  <a:lnTo>
                    <a:pt x="1039" y="529"/>
                  </a:lnTo>
                  <a:lnTo>
                    <a:pt x="1041" y="529"/>
                  </a:lnTo>
                  <a:lnTo>
                    <a:pt x="1044" y="529"/>
                  </a:lnTo>
                  <a:lnTo>
                    <a:pt x="1046" y="529"/>
                  </a:lnTo>
                  <a:lnTo>
                    <a:pt x="1046" y="527"/>
                  </a:lnTo>
                  <a:lnTo>
                    <a:pt x="1048" y="527"/>
                  </a:lnTo>
                  <a:lnTo>
                    <a:pt x="1051" y="527"/>
                  </a:lnTo>
                  <a:lnTo>
                    <a:pt x="1053" y="527"/>
                  </a:lnTo>
                  <a:lnTo>
                    <a:pt x="1055" y="527"/>
                  </a:lnTo>
                  <a:lnTo>
                    <a:pt x="1053" y="527"/>
                  </a:lnTo>
                  <a:lnTo>
                    <a:pt x="1055" y="525"/>
                  </a:lnTo>
                  <a:lnTo>
                    <a:pt x="1053" y="525"/>
                  </a:lnTo>
                  <a:lnTo>
                    <a:pt x="1053" y="527"/>
                  </a:lnTo>
                  <a:lnTo>
                    <a:pt x="1053" y="525"/>
                  </a:lnTo>
                  <a:lnTo>
                    <a:pt x="1053" y="527"/>
                  </a:lnTo>
                  <a:lnTo>
                    <a:pt x="1051" y="527"/>
                  </a:lnTo>
                  <a:lnTo>
                    <a:pt x="1051" y="525"/>
                  </a:lnTo>
                  <a:lnTo>
                    <a:pt x="1053" y="525"/>
                  </a:lnTo>
                  <a:lnTo>
                    <a:pt x="1053" y="522"/>
                  </a:lnTo>
                  <a:lnTo>
                    <a:pt x="1055" y="522"/>
                  </a:lnTo>
                  <a:lnTo>
                    <a:pt x="1058" y="522"/>
                  </a:lnTo>
                  <a:lnTo>
                    <a:pt x="1060" y="522"/>
                  </a:lnTo>
                  <a:lnTo>
                    <a:pt x="1063" y="522"/>
                  </a:lnTo>
                  <a:lnTo>
                    <a:pt x="1065" y="522"/>
                  </a:lnTo>
                  <a:lnTo>
                    <a:pt x="1067" y="522"/>
                  </a:lnTo>
                  <a:lnTo>
                    <a:pt x="1067" y="520"/>
                  </a:lnTo>
                  <a:lnTo>
                    <a:pt x="1070" y="520"/>
                  </a:lnTo>
                  <a:lnTo>
                    <a:pt x="1074" y="518"/>
                  </a:lnTo>
                  <a:lnTo>
                    <a:pt x="1077" y="518"/>
                  </a:lnTo>
                  <a:lnTo>
                    <a:pt x="1077" y="520"/>
                  </a:lnTo>
                  <a:lnTo>
                    <a:pt x="1077" y="518"/>
                  </a:lnTo>
                  <a:lnTo>
                    <a:pt x="1077" y="520"/>
                  </a:lnTo>
                  <a:lnTo>
                    <a:pt x="1074" y="520"/>
                  </a:lnTo>
                  <a:lnTo>
                    <a:pt x="1077" y="520"/>
                  </a:lnTo>
                  <a:lnTo>
                    <a:pt x="1074" y="520"/>
                  </a:lnTo>
                  <a:lnTo>
                    <a:pt x="1072" y="520"/>
                  </a:lnTo>
                  <a:lnTo>
                    <a:pt x="1072" y="522"/>
                  </a:lnTo>
                  <a:lnTo>
                    <a:pt x="1070" y="522"/>
                  </a:lnTo>
                  <a:lnTo>
                    <a:pt x="1067" y="522"/>
                  </a:lnTo>
                  <a:lnTo>
                    <a:pt x="1070" y="522"/>
                  </a:lnTo>
                  <a:lnTo>
                    <a:pt x="1070" y="525"/>
                  </a:lnTo>
                  <a:lnTo>
                    <a:pt x="1070" y="522"/>
                  </a:lnTo>
                  <a:lnTo>
                    <a:pt x="1072" y="522"/>
                  </a:lnTo>
                  <a:lnTo>
                    <a:pt x="1074" y="522"/>
                  </a:lnTo>
                  <a:lnTo>
                    <a:pt x="1074" y="525"/>
                  </a:lnTo>
                  <a:lnTo>
                    <a:pt x="1077" y="525"/>
                  </a:lnTo>
                  <a:lnTo>
                    <a:pt x="1074" y="525"/>
                  </a:lnTo>
                  <a:lnTo>
                    <a:pt x="1077" y="525"/>
                  </a:lnTo>
                  <a:lnTo>
                    <a:pt x="1079" y="525"/>
                  </a:lnTo>
                  <a:lnTo>
                    <a:pt x="1077" y="525"/>
                  </a:lnTo>
                  <a:lnTo>
                    <a:pt x="1079" y="527"/>
                  </a:lnTo>
                  <a:lnTo>
                    <a:pt x="1077" y="527"/>
                  </a:lnTo>
                  <a:lnTo>
                    <a:pt x="1074" y="529"/>
                  </a:lnTo>
                  <a:lnTo>
                    <a:pt x="1072" y="529"/>
                  </a:lnTo>
                  <a:lnTo>
                    <a:pt x="1074" y="529"/>
                  </a:lnTo>
                  <a:lnTo>
                    <a:pt x="1072" y="529"/>
                  </a:lnTo>
                  <a:lnTo>
                    <a:pt x="1072" y="532"/>
                  </a:lnTo>
                  <a:lnTo>
                    <a:pt x="1074" y="532"/>
                  </a:lnTo>
                  <a:lnTo>
                    <a:pt x="1077" y="532"/>
                  </a:lnTo>
                  <a:lnTo>
                    <a:pt x="1077" y="534"/>
                  </a:lnTo>
                  <a:lnTo>
                    <a:pt x="1077" y="532"/>
                  </a:lnTo>
                  <a:lnTo>
                    <a:pt x="1077" y="534"/>
                  </a:lnTo>
                  <a:lnTo>
                    <a:pt x="1077" y="537"/>
                  </a:lnTo>
                  <a:lnTo>
                    <a:pt x="1077" y="534"/>
                  </a:lnTo>
                  <a:lnTo>
                    <a:pt x="1079" y="534"/>
                  </a:lnTo>
                  <a:lnTo>
                    <a:pt x="1077" y="534"/>
                  </a:lnTo>
                  <a:lnTo>
                    <a:pt x="1079" y="534"/>
                  </a:lnTo>
                  <a:lnTo>
                    <a:pt x="1079" y="532"/>
                  </a:lnTo>
                  <a:lnTo>
                    <a:pt x="1079" y="534"/>
                  </a:lnTo>
                  <a:lnTo>
                    <a:pt x="1079" y="532"/>
                  </a:lnTo>
                  <a:lnTo>
                    <a:pt x="1082" y="532"/>
                  </a:lnTo>
                  <a:lnTo>
                    <a:pt x="1084" y="532"/>
                  </a:lnTo>
                  <a:lnTo>
                    <a:pt x="1086" y="529"/>
                  </a:lnTo>
                  <a:lnTo>
                    <a:pt x="1086" y="532"/>
                  </a:lnTo>
                  <a:lnTo>
                    <a:pt x="1086" y="529"/>
                  </a:lnTo>
                  <a:lnTo>
                    <a:pt x="1089" y="529"/>
                  </a:lnTo>
                  <a:lnTo>
                    <a:pt x="1089" y="527"/>
                  </a:lnTo>
                  <a:lnTo>
                    <a:pt x="1091" y="527"/>
                  </a:lnTo>
                  <a:lnTo>
                    <a:pt x="1091" y="525"/>
                  </a:lnTo>
                  <a:lnTo>
                    <a:pt x="1093" y="525"/>
                  </a:lnTo>
                  <a:lnTo>
                    <a:pt x="1091" y="525"/>
                  </a:lnTo>
                  <a:lnTo>
                    <a:pt x="1093" y="525"/>
                  </a:lnTo>
                  <a:lnTo>
                    <a:pt x="1093" y="522"/>
                  </a:lnTo>
                  <a:lnTo>
                    <a:pt x="1091" y="525"/>
                  </a:lnTo>
                  <a:lnTo>
                    <a:pt x="1091" y="522"/>
                  </a:lnTo>
                  <a:lnTo>
                    <a:pt x="1089" y="522"/>
                  </a:lnTo>
                  <a:lnTo>
                    <a:pt x="1086" y="522"/>
                  </a:lnTo>
                  <a:lnTo>
                    <a:pt x="1086" y="520"/>
                  </a:lnTo>
                  <a:lnTo>
                    <a:pt x="1086" y="518"/>
                  </a:lnTo>
                  <a:lnTo>
                    <a:pt x="1084" y="518"/>
                  </a:lnTo>
                  <a:lnTo>
                    <a:pt x="1084" y="515"/>
                  </a:lnTo>
                  <a:lnTo>
                    <a:pt x="1084" y="518"/>
                  </a:lnTo>
                  <a:lnTo>
                    <a:pt x="1084" y="515"/>
                  </a:lnTo>
                  <a:lnTo>
                    <a:pt x="1086" y="515"/>
                  </a:lnTo>
                  <a:lnTo>
                    <a:pt x="1089" y="515"/>
                  </a:lnTo>
                  <a:lnTo>
                    <a:pt x="1086" y="515"/>
                  </a:lnTo>
                  <a:lnTo>
                    <a:pt x="1084" y="515"/>
                  </a:lnTo>
                  <a:lnTo>
                    <a:pt x="1086" y="515"/>
                  </a:lnTo>
                  <a:lnTo>
                    <a:pt x="1084" y="515"/>
                  </a:lnTo>
                  <a:lnTo>
                    <a:pt x="1084" y="518"/>
                  </a:lnTo>
                  <a:lnTo>
                    <a:pt x="1082" y="518"/>
                  </a:lnTo>
                  <a:lnTo>
                    <a:pt x="1079" y="518"/>
                  </a:lnTo>
                  <a:lnTo>
                    <a:pt x="1077" y="518"/>
                  </a:lnTo>
                  <a:lnTo>
                    <a:pt x="1084" y="513"/>
                  </a:lnTo>
                  <a:lnTo>
                    <a:pt x="1086" y="513"/>
                  </a:lnTo>
                  <a:lnTo>
                    <a:pt x="1091" y="510"/>
                  </a:lnTo>
                  <a:lnTo>
                    <a:pt x="1096" y="508"/>
                  </a:lnTo>
                  <a:lnTo>
                    <a:pt x="1101" y="506"/>
                  </a:lnTo>
                  <a:lnTo>
                    <a:pt x="1103" y="506"/>
                  </a:lnTo>
                  <a:lnTo>
                    <a:pt x="1103" y="508"/>
                  </a:lnTo>
                  <a:lnTo>
                    <a:pt x="1101" y="508"/>
                  </a:lnTo>
                  <a:lnTo>
                    <a:pt x="1103" y="508"/>
                  </a:lnTo>
                  <a:lnTo>
                    <a:pt x="1101" y="508"/>
                  </a:lnTo>
                  <a:lnTo>
                    <a:pt x="1101" y="510"/>
                  </a:lnTo>
                  <a:lnTo>
                    <a:pt x="1098" y="510"/>
                  </a:lnTo>
                  <a:lnTo>
                    <a:pt x="1096" y="510"/>
                  </a:lnTo>
                  <a:lnTo>
                    <a:pt x="1096" y="513"/>
                  </a:lnTo>
                  <a:lnTo>
                    <a:pt x="1098" y="513"/>
                  </a:lnTo>
                  <a:lnTo>
                    <a:pt x="1101" y="513"/>
                  </a:lnTo>
                  <a:lnTo>
                    <a:pt x="1101" y="515"/>
                  </a:lnTo>
                  <a:lnTo>
                    <a:pt x="1103" y="515"/>
                  </a:lnTo>
                  <a:lnTo>
                    <a:pt x="1103" y="518"/>
                  </a:lnTo>
                  <a:lnTo>
                    <a:pt x="1105" y="518"/>
                  </a:lnTo>
                  <a:lnTo>
                    <a:pt x="1108" y="518"/>
                  </a:lnTo>
                  <a:lnTo>
                    <a:pt x="1108" y="515"/>
                  </a:lnTo>
                  <a:lnTo>
                    <a:pt x="1108" y="518"/>
                  </a:lnTo>
                  <a:lnTo>
                    <a:pt x="1108" y="515"/>
                  </a:lnTo>
                  <a:lnTo>
                    <a:pt x="1110" y="515"/>
                  </a:lnTo>
                  <a:lnTo>
                    <a:pt x="1110" y="513"/>
                  </a:lnTo>
                  <a:lnTo>
                    <a:pt x="1108" y="513"/>
                  </a:lnTo>
                  <a:lnTo>
                    <a:pt x="1108" y="515"/>
                  </a:lnTo>
                  <a:lnTo>
                    <a:pt x="1105" y="515"/>
                  </a:lnTo>
                  <a:lnTo>
                    <a:pt x="1103" y="515"/>
                  </a:lnTo>
                  <a:lnTo>
                    <a:pt x="1105" y="513"/>
                  </a:lnTo>
                  <a:lnTo>
                    <a:pt x="1103" y="513"/>
                  </a:lnTo>
                  <a:lnTo>
                    <a:pt x="1105" y="513"/>
                  </a:lnTo>
                  <a:lnTo>
                    <a:pt x="1103" y="513"/>
                  </a:lnTo>
                  <a:lnTo>
                    <a:pt x="1105" y="513"/>
                  </a:lnTo>
                  <a:lnTo>
                    <a:pt x="1103" y="513"/>
                  </a:lnTo>
                  <a:lnTo>
                    <a:pt x="1105" y="513"/>
                  </a:lnTo>
                  <a:lnTo>
                    <a:pt x="1103" y="513"/>
                  </a:lnTo>
                  <a:lnTo>
                    <a:pt x="1103" y="510"/>
                  </a:lnTo>
                  <a:lnTo>
                    <a:pt x="1101" y="510"/>
                  </a:lnTo>
                  <a:lnTo>
                    <a:pt x="1103" y="510"/>
                  </a:lnTo>
                  <a:lnTo>
                    <a:pt x="1105" y="510"/>
                  </a:lnTo>
                  <a:lnTo>
                    <a:pt x="1105" y="513"/>
                  </a:lnTo>
                  <a:lnTo>
                    <a:pt x="1108" y="513"/>
                  </a:lnTo>
                  <a:lnTo>
                    <a:pt x="1108" y="510"/>
                  </a:lnTo>
                  <a:lnTo>
                    <a:pt x="1105" y="510"/>
                  </a:lnTo>
                  <a:lnTo>
                    <a:pt x="1108" y="510"/>
                  </a:lnTo>
                  <a:lnTo>
                    <a:pt x="1105" y="510"/>
                  </a:lnTo>
                  <a:lnTo>
                    <a:pt x="1105" y="508"/>
                  </a:lnTo>
                  <a:lnTo>
                    <a:pt x="1108" y="508"/>
                  </a:lnTo>
                  <a:lnTo>
                    <a:pt x="1108" y="510"/>
                  </a:lnTo>
                  <a:lnTo>
                    <a:pt x="1108" y="508"/>
                  </a:lnTo>
                  <a:lnTo>
                    <a:pt x="1105" y="508"/>
                  </a:lnTo>
                  <a:lnTo>
                    <a:pt x="1105" y="506"/>
                  </a:lnTo>
                  <a:lnTo>
                    <a:pt x="1105" y="508"/>
                  </a:lnTo>
                  <a:lnTo>
                    <a:pt x="1105" y="506"/>
                  </a:lnTo>
                  <a:lnTo>
                    <a:pt x="1103" y="506"/>
                  </a:lnTo>
                  <a:lnTo>
                    <a:pt x="1103" y="503"/>
                  </a:lnTo>
                  <a:lnTo>
                    <a:pt x="1112" y="501"/>
                  </a:lnTo>
                  <a:lnTo>
                    <a:pt x="1115" y="499"/>
                  </a:lnTo>
                  <a:lnTo>
                    <a:pt x="1117" y="499"/>
                  </a:lnTo>
                  <a:lnTo>
                    <a:pt x="1122" y="499"/>
                  </a:lnTo>
                  <a:lnTo>
                    <a:pt x="1127" y="496"/>
                  </a:lnTo>
                  <a:lnTo>
                    <a:pt x="1129" y="496"/>
                  </a:lnTo>
                  <a:lnTo>
                    <a:pt x="1131" y="496"/>
                  </a:lnTo>
                  <a:lnTo>
                    <a:pt x="1134" y="494"/>
                  </a:lnTo>
                  <a:lnTo>
                    <a:pt x="1136" y="494"/>
                  </a:lnTo>
                  <a:lnTo>
                    <a:pt x="1138" y="494"/>
                  </a:lnTo>
                  <a:lnTo>
                    <a:pt x="1141" y="494"/>
                  </a:lnTo>
                  <a:lnTo>
                    <a:pt x="1143" y="494"/>
                  </a:lnTo>
                  <a:lnTo>
                    <a:pt x="1146" y="494"/>
                  </a:lnTo>
                  <a:lnTo>
                    <a:pt x="1148" y="494"/>
                  </a:lnTo>
                  <a:lnTo>
                    <a:pt x="1150" y="494"/>
                  </a:lnTo>
                  <a:lnTo>
                    <a:pt x="1153" y="494"/>
                  </a:lnTo>
                  <a:lnTo>
                    <a:pt x="1150" y="496"/>
                  </a:lnTo>
                  <a:lnTo>
                    <a:pt x="1148" y="494"/>
                  </a:lnTo>
                  <a:lnTo>
                    <a:pt x="1148" y="496"/>
                  </a:lnTo>
                  <a:lnTo>
                    <a:pt x="1146" y="496"/>
                  </a:lnTo>
                  <a:lnTo>
                    <a:pt x="1143" y="496"/>
                  </a:lnTo>
                  <a:lnTo>
                    <a:pt x="1141" y="496"/>
                  </a:lnTo>
                  <a:lnTo>
                    <a:pt x="1138" y="496"/>
                  </a:lnTo>
                  <a:lnTo>
                    <a:pt x="1136" y="496"/>
                  </a:lnTo>
                  <a:lnTo>
                    <a:pt x="1136" y="499"/>
                  </a:lnTo>
                  <a:lnTo>
                    <a:pt x="1134" y="499"/>
                  </a:lnTo>
                  <a:lnTo>
                    <a:pt x="1129" y="499"/>
                  </a:lnTo>
                  <a:lnTo>
                    <a:pt x="1127" y="499"/>
                  </a:lnTo>
                  <a:lnTo>
                    <a:pt x="1124" y="499"/>
                  </a:lnTo>
                  <a:lnTo>
                    <a:pt x="1122" y="499"/>
                  </a:lnTo>
                  <a:lnTo>
                    <a:pt x="1119" y="499"/>
                  </a:lnTo>
                  <a:lnTo>
                    <a:pt x="1119" y="501"/>
                  </a:lnTo>
                  <a:lnTo>
                    <a:pt x="1119" y="499"/>
                  </a:lnTo>
                  <a:lnTo>
                    <a:pt x="1122" y="499"/>
                  </a:lnTo>
                  <a:lnTo>
                    <a:pt x="1122" y="501"/>
                  </a:lnTo>
                  <a:lnTo>
                    <a:pt x="1119" y="501"/>
                  </a:lnTo>
                  <a:lnTo>
                    <a:pt x="1122" y="501"/>
                  </a:lnTo>
                  <a:lnTo>
                    <a:pt x="1122" y="503"/>
                  </a:lnTo>
                  <a:lnTo>
                    <a:pt x="1124" y="503"/>
                  </a:lnTo>
                  <a:lnTo>
                    <a:pt x="1124" y="501"/>
                  </a:lnTo>
                  <a:lnTo>
                    <a:pt x="1124" y="503"/>
                  </a:lnTo>
                  <a:lnTo>
                    <a:pt x="1124" y="501"/>
                  </a:lnTo>
                  <a:lnTo>
                    <a:pt x="1124" y="503"/>
                  </a:lnTo>
                  <a:lnTo>
                    <a:pt x="1124" y="501"/>
                  </a:lnTo>
                  <a:lnTo>
                    <a:pt x="1122" y="501"/>
                  </a:lnTo>
                  <a:lnTo>
                    <a:pt x="1124" y="501"/>
                  </a:lnTo>
                  <a:lnTo>
                    <a:pt x="1127" y="501"/>
                  </a:lnTo>
                  <a:lnTo>
                    <a:pt x="1129" y="501"/>
                  </a:lnTo>
                  <a:lnTo>
                    <a:pt x="1131" y="501"/>
                  </a:lnTo>
                  <a:lnTo>
                    <a:pt x="1131" y="503"/>
                  </a:lnTo>
                  <a:lnTo>
                    <a:pt x="1134" y="503"/>
                  </a:lnTo>
                  <a:lnTo>
                    <a:pt x="1134" y="506"/>
                  </a:lnTo>
                  <a:lnTo>
                    <a:pt x="1131" y="506"/>
                  </a:lnTo>
                  <a:lnTo>
                    <a:pt x="1129" y="506"/>
                  </a:lnTo>
                  <a:lnTo>
                    <a:pt x="1129" y="508"/>
                  </a:lnTo>
                  <a:lnTo>
                    <a:pt x="1129" y="510"/>
                  </a:lnTo>
                  <a:lnTo>
                    <a:pt x="1129" y="513"/>
                  </a:lnTo>
                  <a:lnTo>
                    <a:pt x="1127" y="513"/>
                  </a:lnTo>
                  <a:lnTo>
                    <a:pt x="1124" y="513"/>
                  </a:lnTo>
                  <a:lnTo>
                    <a:pt x="1124" y="515"/>
                  </a:lnTo>
                  <a:lnTo>
                    <a:pt x="1124" y="518"/>
                  </a:lnTo>
                  <a:lnTo>
                    <a:pt x="1127" y="518"/>
                  </a:lnTo>
                  <a:lnTo>
                    <a:pt x="1127" y="520"/>
                  </a:lnTo>
                  <a:lnTo>
                    <a:pt x="1129" y="520"/>
                  </a:lnTo>
                  <a:lnTo>
                    <a:pt x="1131" y="520"/>
                  </a:lnTo>
                  <a:lnTo>
                    <a:pt x="1129" y="520"/>
                  </a:lnTo>
                  <a:lnTo>
                    <a:pt x="1131" y="520"/>
                  </a:lnTo>
                  <a:lnTo>
                    <a:pt x="1131" y="522"/>
                  </a:lnTo>
                  <a:lnTo>
                    <a:pt x="1131" y="525"/>
                  </a:lnTo>
                  <a:lnTo>
                    <a:pt x="1131" y="527"/>
                  </a:lnTo>
                  <a:lnTo>
                    <a:pt x="1131" y="529"/>
                  </a:lnTo>
                  <a:lnTo>
                    <a:pt x="1129" y="529"/>
                  </a:lnTo>
                  <a:lnTo>
                    <a:pt x="1127" y="529"/>
                  </a:lnTo>
                  <a:lnTo>
                    <a:pt x="1127" y="532"/>
                  </a:lnTo>
                  <a:lnTo>
                    <a:pt x="1129" y="532"/>
                  </a:lnTo>
                  <a:lnTo>
                    <a:pt x="1127" y="532"/>
                  </a:lnTo>
                  <a:lnTo>
                    <a:pt x="1124" y="532"/>
                  </a:lnTo>
                  <a:lnTo>
                    <a:pt x="1124" y="529"/>
                  </a:lnTo>
                  <a:lnTo>
                    <a:pt x="1122" y="529"/>
                  </a:lnTo>
                  <a:lnTo>
                    <a:pt x="1122" y="527"/>
                  </a:lnTo>
                  <a:lnTo>
                    <a:pt x="1122" y="529"/>
                  </a:lnTo>
                  <a:lnTo>
                    <a:pt x="1119" y="529"/>
                  </a:lnTo>
                  <a:lnTo>
                    <a:pt x="1122" y="529"/>
                  </a:lnTo>
                  <a:lnTo>
                    <a:pt x="1119" y="529"/>
                  </a:lnTo>
                  <a:lnTo>
                    <a:pt x="1122" y="529"/>
                  </a:lnTo>
                  <a:lnTo>
                    <a:pt x="1122" y="532"/>
                  </a:lnTo>
                  <a:lnTo>
                    <a:pt x="1122" y="529"/>
                  </a:lnTo>
                  <a:lnTo>
                    <a:pt x="1122" y="532"/>
                  </a:lnTo>
                  <a:lnTo>
                    <a:pt x="1122" y="534"/>
                  </a:lnTo>
                  <a:lnTo>
                    <a:pt x="1122" y="532"/>
                  </a:lnTo>
                  <a:lnTo>
                    <a:pt x="1119" y="532"/>
                  </a:lnTo>
                  <a:lnTo>
                    <a:pt x="1122" y="532"/>
                  </a:lnTo>
                  <a:lnTo>
                    <a:pt x="1119" y="532"/>
                  </a:lnTo>
                  <a:lnTo>
                    <a:pt x="1119" y="529"/>
                  </a:lnTo>
                  <a:lnTo>
                    <a:pt x="1119" y="532"/>
                  </a:lnTo>
                  <a:lnTo>
                    <a:pt x="1122" y="532"/>
                  </a:lnTo>
                  <a:lnTo>
                    <a:pt x="1119" y="532"/>
                  </a:lnTo>
                  <a:lnTo>
                    <a:pt x="1117" y="532"/>
                  </a:lnTo>
                  <a:lnTo>
                    <a:pt x="1117" y="529"/>
                  </a:lnTo>
                  <a:lnTo>
                    <a:pt x="1117" y="532"/>
                  </a:lnTo>
                  <a:lnTo>
                    <a:pt x="1117" y="529"/>
                  </a:lnTo>
                  <a:lnTo>
                    <a:pt x="1115" y="529"/>
                  </a:lnTo>
                  <a:lnTo>
                    <a:pt x="1117" y="529"/>
                  </a:lnTo>
                  <a:lnTo>
                    <a:pt x="1115" y="529"/>
                  </a:lnTo>
                  <a:lnTo>
                    <a:pt x="1117" y="529"/>
                  </a:lnTo>
                  <a:lnTo>
                    <a:pt x="1115" y="529"/>
                  </a:lnTo>
                  <a:lnTo>
                    <a:pt x="1115" y="532"/>
                  </a:lnTo>
                  <a:lnTo>
                    <a:pt x="1112" y="532"/>
                  </a:lnTo>
                  <a:lnTo>
                    <a:pt x="1110" y="532"/>
                  </a:lnTo>
                  <a:lnTo>
                    <a:pt x="1112" y="532"/>
                  </a:lnTo>
                  <a:lnTo>
                    <a:pt x="1110" y="532"/>
                  </a:lnTo>
                  <a:lnTo>
                    <a:pt x="1110" y="534"/>
                  </a:lnTo>
                  <a:lnTo>
                    <a:pt x="1108" y="534"/>
                  </a:lnTo>
                  <a:lnTo>
                    <a:pt x="1108" y="537"/>
                  </a:lnTo>
                  <a:lnTo>
                    <a:pt x="1108" y="539"/>
                  </a:lnTo>
                  <a:lnTo>
                    <a:pt x="1105" y="539"/>
                  </a:lnTo>
                  <a:lnTo>
                    <a:pt x="1108" y="539"/>
                  </a:lnTo>
                  <a:lnTo>
                    <a:pt x="1105" y="539"/>
                  </a:lnTo>
                  <a:lnTo>
                    <a:pt x="1105" y="541"/>
                  </a:lnTo>
                  <a:lnTo>
                    <a:pt x="1108" y="541"/>
                  </a:lnTo>
                  <a:lnTo>
                    <a:pt x="1105" y="541"/>
                  </a:lnTo>
                  <a:lnTo>
                    <a:pt x="1108" y="541"/>
                  </a:lnTo>
                  <a:lnTo>
                    <a:pt x="1108" y="544"/>
                  </a:lnTo>
                  <a:lnTo>
                    <a:pt x="1105" y="544"/>
                  </a:lnTo>
                  <a:lnTo>
                    <a:pt x="1103" y="544"/>
                  </a:lnTo>
                  <a:lnTo>
                    <a:pt x="1105" y="544"/>
                  </a:lnTo>
                  <a:lnTo>
                    <a:pt x="1103" y="544"/>
                  </a:lnTo>
                  <a:lnTo>
                    <a:pt x="1103" y="546"/>
                  </a:lnTo>
                  <a:lnTo>
                    <a:pt x="1101" y="546"/>
                  </a:lnTo>
                  <a:lnTo>
                    <a:pt x="1101" y="548"/>
                  </a:lnTo>
                  <a:lnTo>
                    <a:pt x="1101" y="546"/>
                  </a:lnTo>
                  <a:lnTo>
                    <a:pt x="1103" y="546"/>
                  </a:lnTo>
                  <a:lnTo>
                    <a:pt x="1101" y="546"/>
                  </a:lnTo>
                  <a:lnTo>
                    <a:pt x="1101" y="548"/>
                  </a:lnTo>
                  <a:lnTo>
                    <a:pt x="1101" y="551"/>
                  </a:lnTo>
                  <a:lnTo>
                    <a:pt x="1098" y="551"/>
                  </a:lnTo>
                  <a:lnTo>
                    <a:pt x="1101" y="551"/>
                  </a:lnTo>
                  <a:lnTo>
                    <a:pt x="1101" y="553"/>
                  </a:lnTo>
                  <a:lnTo>
                    <a:pt x="1098" y="553"/>
                  </a:lnTo>
                  <a:lnTo>
                    <a:pt x="1101" y="553"/>
                  </a:lnTo>
                  <a:lnTo>
                    <a:pt x="1098" y="553"/>
                  </a:lnTo>
                  <a:lnTo>
                    <a:pt x="1098" y="556"/>
                  </a:lnTo>
                  <a:lnTo>
                    <a:pt x="1098" y="553"/>
                  </a:lnTo>
                  <a:lnTo>
                    <a:pt x="1096" y="553"/>
                  </a:lnTo>
                  <a:lnTo>
                    <a:pt x="1096" y="556"/>
                  </a:lnTo>
                  <a:lnTo>
                    <a:pt x="1093" y="556"/>
                  </a:lnTo>
                  <a:lnTo>
                    <a:pt x="1091" y="556"/>
                  </a:lnTo>
                  <a:lnTo>
                    <a:pt x="1091" y="558"/>
                  </a:lnTo>
                  <a:lnTo>
                    <a:pt x="1089" y="558"/>
                  </a:lnTo>
                  <a:lnTo>
                    <a:pt x="1089" y="560"/>
                  </a:lnTo>
                  <a:lnTo>
                    <a:pt x="1086" y="560"/>
                  </a:lnTo>
                  <a:lnTo>
                    <a:pt x="1089" y="560"/>
                  </a:lnTo>
                  <a:lnTo>
                    <a:pt x="1086" y="560"/>
                  </a:lnTo>
                  <a:lnTo>
                    <a:pt x="1084" y="560"/>
                  </a:lnTo>
                  <a:lnTo>
                    <a:pt x="1086" y="560"/>
                  </a:lnTo>
                  <a:lnTo>
                    <a:pt x="1086" y="563"/>
                  </a:lnTo>
                  <a:lnTo>
                    <a:pt x="1084" y="563"/>
                  </a:lnTo>
                  <a:lnTo>
                    <a:pt x="1082" y="563"/>
                  </a:lnTo>
                  <a:lnTo>
                    <a:pt x="1079" y="563"/>
                  </a:lnTo>
                  <a:lnTo>
                    <a:pt x="1079" y="565"/>
                  </a:lnTo>
                  <a:lnTo>
                    <a:pt x="1077" y="565"/>
                  </a:lnTo>
                  <a:lnTo>
                    <a:pt x="1077" y="567"/>
                  </a:lnTo>
                  <a:lnTo>
                    <a:pt x="1077" y="565"/>
                  </a:lnTo>
                  <a:lnTo>
                    <a:pt x="1077" y="567"/>
                  </a:lnTo>
                  <a:lnTo>
                    <a:pt x="1079" y="567"/>
                  </a:lnTo>
                  <a:lnTo>
                    <a:pt x="1079" y="565"/>
                  </a:lnTo>
                  <a:lnTo>
                    <a:pt x="1082" y="565"/>
                  </a:lnTo>
                  <a:lnTo>
                    <a:pt x="1084" y="565"/>
                  </a:lnTo>
                  <a:lnTo>
                    <a:pt x="1086" y="565"/>
                  </a:lnTo>
                  <a:lnTo>
                    <a:pt x="1086" y="563"/>
                  </a:lnTo>
                  <a:lnTo>
                    <a:pt x="1089" y="563"/>
                  </a:lnTo>
                  <a:lnTo>
                    <a:pt x="1091" y="563"/>
                  </a:lnTo>
                  <a:lnTo>
                    <a:pt x="1091" y="560"/>
                  </a:lnTo>
                  <a:lnTo>
                    <a:pt x="1089" y="560"/>
                  </a:lnTo>
                  <a:lnTo>
                    <a:pt x="1091" y="560"/>
                  </a:lnTo>
                  <a:lnTo>
                    <a:pt x="1093" y="560"/>
                  </a:lnTo>
                  <a:lnTo>
                    <a:pt x="1096" y="560"/>
                  </a:lnTo>
                  <a:lnTo>
                    <a:pt x="1098" y="560"/>
                  </a:lnTo>
                  <a:lnTo>
                    <a:pt x="1098" y="558"/>
                  </a:lnTo>
                  <a:lnTo>
                    <a:pt x="1101" y="558"/>
                  </a:lnTo>
                  <a:lnTo>
                    <a:pt x="1103" y="558"/>
                  </a:lnTo>
                  <a:lnTo>
                    <a:pt x="1103" y="556"/>
                  </a:lnTo>
                  <a:lnTo>
                    <a:pt x="1101" y="556"/>
                  </a:lnTo>
                  <a:lnTo>
                    <a:pt x="1101" y="558"/>
                  </a:lnTo>
                  <a:lnTo>
                    <a:pt x="1101" y="556"/>
                  </a:lnTo>
                  <a:lnTo>
                    <a:pt x="1098" y="556"/>
                  </a:lnTo>
                  <a:lnTo>
                    <a:pt x="1098" y="553"/>
                  </a:lnTo>
                  <a:lnTo>
                    <a:pt x="1101" y="553"/>
                  </a:lnTo>
                  <a:lnTo>
                    <a:pt x="1103" y="556"/>
                  </a:lnTo>
                  <a:lnTo>
                    <a:pt x="1105" y="556"/>
                  </a:lnTo>
                  <a:lnTo>
                    <a:pt x="1108" y="556"/>
                  </a:lnTo>
                  <a:lnTo>
                    <a:pt x="1108" y="558"/>
                  </a:lnTo>
                  <a:lnTo>
                    <a:pt x="1108" y="556"/>
                  </a:lnTo>
                  <a:lnTo>
                    <a:pt x="1110" y="556"/>
                  </a:lnTo>
                  <a:lnTo>
                    <a:pt x="1108" y="558"/>
                  </a:lnTo>
                  <a:lnTo>
                    <a:pt x="1105" y="558"/>
                  </a:lnTo>
                  <a:lnTo>
                    <a:pt x="1105" y="560"/>
                  </a:lnTo>
                  <a:lnTo>
                    <a:pt x="1103" y="560"/>
                  </a:lnTo>
                  <a:lnTo>
                    <a:pt x="1101" y="563"/>
                  </a:lnTo>
                  <a:lnTo>
                    <a:pt x="1098" y="563"/>
                  </a:lnTo>
                  <a:lnTo>
                    <a:pt x="1101" y="563"/>
                  </a:lnTo>
                  <a:lnTo>
                    <a:pt x="1103" y="563"/>
                  </a:lnTo>
                  <a:lnTo>
                    <a:pt x="1103" y="560"/>
                  </a:lnTo>
                  <a:lnTo>
                    <a:pt x="1105" y="560"/>
                  </a:lnTo>
                  <a:lnTo>
                    <a:pt x="1103" y="560"/>
                  </a:lnTo>
                  <a:lnTo>
                    <a:pt x="1103" y="563"/>
                  </a:lnTo>
                  <a:lnTo>
                    <a:pt x="1103" y="560"/>
                  </a:lnTo>
                  <a:lnTo>
                    <a:pt x="1105" y="560"/>
                  </a:lnTo>
                  <a:lnTo>
                    <a:pt x="1105" y="563"/>
                  </a:lnTo>
                  <a:lnTo>
                    <a:pt x="1103" y="563"/>
                  </a:lnTo>
                  <a:lnTo>
                    <a:pt x="1101" y="563"/>
                  </a:lnTo>
                  <a:lnTo>
                    <a:pt x="1098" y="563"/>
                  </a:lnTo>
                  <a:lnTo>
                    <a:pt x="1098" y="565"/>
                  </a:lnTo>
                  <a:lnTo>
                    <a:pt x="1096" y="565"/>
                  </a:lnTo>
                  <a:lnTo>
                    <a:pt x="1093" y="565"/>
                  </a:lnTo>
                  <a:lnTo>
                    <a:pt x="1096" y="565"/>
                  </a:lnTo>
                  <a:lnTo>
                    <a:pt x="1096" y="563"/>
                  </a:lnTo>
                  <a:lnTo>
                    <a:pt x="1098" y="563"/>
                  </a:lnTo>
                  <a:lnTo>
                    <a:pt x="1096" y="563"/>
                  </a:lnTo>
                  <a:lnTo>
                    <a:pt x="1096" y="565"/>
                  </a:lnTo>
                  <a:lnTo>
                    <a:pt x="1093" y="565"/>
                  </a:lnTo>
                  <a:lnTo>
                    <a:pt x="1091" y="565"/>
                  </a:lnTo>
                  <a:lnTo>
                    <a:pt x="1089" y="567"/>
                  </a:lnTo>
                  <a:lnTo>
                    <a:pt x="1089" y="565"/>
                  </a:lnTo>
                  <a:lnTo>
                    <a:pt x="1089" y="567"/>
                  </a:lnTo>
                  <a:lnTo>
                    <a:pt x="1086" y="567"/>
                  </a:lnTo>
                  <a:lnTo>
                    <a:pt x="1086" y="570"/>
                  </a:lnTo>
                  <a:lnTo>
                    <a:pt x="1084" y="570"/>
                  </a:lnTo>
                  <a:lnTo>
                    <a:pt x="1082" y="570"/>
                  </a:lnTo>
                  <a:lnTo>
                    <a:pt x="1079" y="570"/>
                  </a:lnTo>
                  <a:lnTo>
                    <a:pt x="1079" y="572"/>
                  </a:lnTo>
                  <a:lnTo>
                    <a:pt x="1077" y="572"/>
                  </a:lnTo>
                  <a:lnTo>
                    <a:pt x="1074" y="572"/>
                  </a:lnTo>
                  <a:lnTo>
                    <a:pt x="1074" y="575"/>
                  </a:lnTo>
                  <a:lnTo>
                    <a:pt x="1072" y="575"/>
                  </a:lnTo>
                  <a:lnTo>
                    <a:pt x="1070" y="575"/>
                  </a:lnTo>
                  <a:lnTo>
                    <a:pt x="1070" y="577"/>
                  </a:lnTo>
                  <a:lnTo>
                    <a:pt x="1067" y="577"/>
                  </a:lnTo>
                  <a:lnTo>
                    <a:pt x="1065" y="577"/>
                  </a:lnTo>
                  <a:lnTo>
                    <a:pt x="1065" y="579"/>
                  </a:lnTo>
                  <a:lnTo>
                    <a:pt x="1065" y="582"/>
                  </a:lnTo>
                  <a:lnTo>
                    <a:pt x="1063" y="582"/>
                  </a:lnTo>
                  <a:lnTo>
                    <a:pt x="1063" y="584"/>
                  </a:lnTo>
                  <a:lnTo>
                    <a:pt x="1060" y="584"/>
                  </a:lnTo>
                  <a:lnTo>
                    <a:pt x="1063" y="584"/>
                  </a:lnTo>
                  <a:lnTo>
                    <a:pt x="1060" y="584"/>
                  </a:lnTo>
                  <a:lnTo>
                    <a:pt x="1060" y="586"/>
                  </a:lnTo>
                  <a:lnTo>
                    <a:pt x="1063" y="586"/>
                  </a:lnTo>
                  <a:lnTo>
                    <a:pt x="1063" y="584"/>
                  </a:lnTo>
                  <a:lnTo>
                    <a:pt x="1063" y="586"/>
                  </a:lnTo>
                  <a:lnTo>
                    <a:pt x="1060" y="586"/>
                  </a:lnTo>
                  <a:lnTo>
                    <a:pt x="1058" y="586"/>
                  </a:lnTo>
                  <a:lnTo>
                    <a:pt x="1060" y="586"/>
                  </a:lnTo>
                  <a:lnTo>
                    <a:pt x="1058" y="586"/>
                  </a:lnTo>
                  <a:lnTo>
                    <a:pt x="1055" y="589"/>
                  </a:lnTo>
                  <a:lnTo>
                    <a:pt x="1058" y="589"/>
                  </a:lnTo>
                  <a:lnTo>
                    <a:pt x="1058" y="591"/>
                  </a:lnTo>
                  <a:lnTo>
                    <a:pt x="1058" y="589"/>
                  </a:lnTo>
                  <a:lnTo>
                    <a:pt x="1058" y="591"/>
                  </a:lnTo>
                  <a:lnTo>
                    <a:pt x="1058" y="589"/>
                  </a:lnTo>
                  <a:lnTo>
                    <a:pt x="1058" y="591"/>
                  </a:lnTo>
                  <a:lnTo>
                    <a:pt x="1055" y="591"/>
                  </a:lnTo>
                  <a:lnTo>
                    <a:pt x="1058" y="591"/>
                  </a:lnTo>
                  <a:lnTo>
                    <a:pt x="1055" y="591"/>
                  </a:lnTo>
                  <a:lnTo>
                    <a:pt x="1055" y="594"/>
                  </a:lnTo>
                  <a:lnTo>
                    <a:pt x="1055" y="596"/>
                  </a:lnTo>
                  <a:lnTo>
                    <a:pt x="1058" y="596"/>
                  </a:lnTo>
                  <a:lnTo>
                    <a:pt x="1058" y="598"/>
                  </a:lnTo>
                  <a:lnTo>
                    <a:pt x="1058" y="596"/>
                  </a:lnTo>
                  <a:lnTo>
                    <a:pt x="1058" y="598"/>
                  </a:lnTo>
                  <a:lnTo>
                    <a:pt x="1060" y="598"/>
                  </a:lnTo>
                  <a:lnTo>
                    <a:pt x="1058" y="598"/>
                  </a:lnTo>
                  <a:lnTo>
                    <a:pt x="1060" y="598"/>
                  </a:lnTo>
                  <a:lnTo>
                    <a:pt x="1058" y="598"/>
                  </a:lnTo>
                  <a:lnTo>
                    <a:pt x="1060" y="598"/>
                  </a:lnTo>
                  <a:lnTo>
                    <a:pt x="1060" y="601"/>
                  </a:lnTo>
                  <a:lnTo>
                    <a:pt x="1063" y="601"/>
                  </a:lnTo>
                  <a:lnTo>
                    <a:pt x="1060" y="601"/>
                  </a:lnTo>
                  <a:lnTo>
                    <a:pt x="1063" y="601"/>
                  </a:lnTo>
                  <a:lnTo>
                    <a:pt x="1063" y="598"/>
                  </a:lnTo>
                  <a:lnTo>
                    <a:pt x="1060" y="598"/>
                  </a:lnTo>
                  <a:lnTo>
                    <a:pt x="1063" y="598"/>
                  </a:lnTo>
                  <a:lnTo>
                    <a:pt x="1060" y="598"/>
                  </a:lnTo>
                  <a:lnTo>
                    <a:pt x="1060" y="596"/>
                  </a:lnTo>
                  <a:lnTo>
                    <a:pt x="1063" y="596"/>
                  </a:lnTo>
                  <a:lnTo>
                    <a:pt x="1065" y="596"/>
                  </a:lnTo>
                  <a:lnTo>
                    <a:pt x="1067" y="596"/>
                  </a:lnTo>
                  <a:lnTo>
                    <a:pt x="1065" y="596"/>
                  </a:lnTo>
                  <a:lnTo>
                    <a:pt x="1067" y="596"/>
                  </a:lnTo>
                  <a:lnTo>
                    <a:pt x="1065" y="596"/>
                  </a:lnTo>
                  <a:lnTo>
                    <a:pt x="1063" y="596"/>
                  </a:lnTo>
                  <a:lnTo>
                    <a:pt x="1063" y="594"/>
                  </a:lnTo>
                  <a:lnTo>
                    <a:pt x="1063" y="596"/>
                  </a:lnTo>
                  <a:lnTo>
                    <a:pt x="1060" y="596"/>
                  </a:lnTo>
                  <a:lnTo>
                    <a:pt x="1063" y="596"/>
                  </a:lnTo>
                  <a:lnTo>
                    <a:pt x="1063" y="594"/>
                  </a:lnTo>
                  <a:lnTo>
                    <a:pt x="1063" y="596"/>
                  </a:lnTo>
                  <a:lnTo>
                    <a:pt x="1060" y="596"/>
                  </a:lnTo>
                  <a:lnTo>
                    <a:pt x="1063" y="596"/>
                  </a:lnTo>
                  <a:lnTo>
                    <a:pt x="1060" y="596"/>
                  </a:lnTo>
                  <a:lnTo>
                    <a:pt x="1060" y="594"/>
                  </a:lnTo>
                  <a:lnTo>
                    <a:pt x="1060" y="596"/>
                  </a:lnTo>
                  <a:lnTo>
                    <a:pt x="1060" y="594"/>
                  </a:lnTo>
                  <a:lnTo>
                    <a:pt x="1063" y="596"/>
                  </a:lnTo>
                  <a:lnTo>
                    <a:pt x="1063" y="594"/>
                  </a:lnTo>
                  <a:lnTo>
                    <a:pt x="1060" y="594"/>
                  </a:lnTo>
                  <a:lnTo>
                    <a:pt x="1063" y="594"/>
                  </a:lnTo>
                  <a:lnTo>
                    <a:pt x="1060" y="594"/>
                  </a:lnTo>
                  <a:lnTo>
                    <a:pt x="1060" y="591"/>
                  </a:lnTo>
                  <a:lnTo>
                    <a:pt x="1063" y="591"/>
                  </a:lnTo>
                  <a:lnTo>
                    <a:pt x="1063" y="594"/>
                  </a:lnTo>
                  <a:lnTo>
                    <a:pt x="1063" y="591"/>
                  </a:lnTo>
                  <a:lnTo>
                    <a:pt x="1060" y="591"/>
                  </a:lnTo>
                  <a:lnTo>
                    <a:pt x="1063" y="591"/>
                  </a:lnTo>
                  <a:lnTo>
                    <a:pt x="1060" y="591"/>
                  </a:lnTo>
                  <a:lnTo>
                    <a:pt x="1063" y="589"/>
                  </a:lnTo>
                  <a:lnTo>
                    <a:pt x="1060" y="589"/>
                  </a:lnTo>
                  <a:lnTo>
                    <a:pt x="1063" y="589"/>
                  </a:lnTo>
                  <a:lnTo>
                    <a:pt x="1063" y="591"/>
                  </a:lnTo>
                  <a:lnTo>
                    <a:pt x="1063" y="589"/>
                  </a:lnTo>
                  <a:lnTo>
                    <a:pt x="1060" y="589"/>
                  </a:lnTo>
                  <a:lnTo>
                    <a:pt x="1063" y="589"/>
                  </a:lnTo>
                  <a:lnTo>
                    <a:pt x="1063" y="586"/>
                  </a:lnTo>
                  <a:lnTo>
                    <a:pt x="1063" y="584"/>
                  </a:lnTo>
                  <a:lnTo>
                    <a:pt x="1063" y="586"/>
                  </a:lnTo>
                  <a:lnTo>
                    <a:pt x="1063" y="589"/>
                  </a:lnTo>
                  <a:lnTo>
                    <a:pt x="1065" y="589"/>
                  </a:lnTo>
                  <a:lnTo>
                    <a:pt x="1065" y="591"/>
                  </a:lnTo>
                  <a:lnTo>
                    <a:pt x="1067" y="591"/>
                  </a:lnTo>
                  <a:lnTo>
                    <a:pt x="1070" y="591"/>
                  </a:lnTo>
                  <a:lnTo>
                    <a:pt x="1070" y="594"/>
                  </a:lnTo>
                  <a:lnTo>
                    <a:pt x="1070" y="596"/>
                  </a:lnTo>
                  <a:lnTo>
                    <a:pt x="1070" y="594"/>
                  </a:lnTo>
                  <a:lnTo>
                    <a:pt x="1067" y="594"/>
                  </a:lnTo>
                  <a:lnTo>
                    <a:pt x="1067" y="596"/>
                  </a:lnTo>
                  <a:lnTo>
                    <a:pt x="1070" y="596"/>
                  </a:lnTo>
                  <a:lnTo>
                    <a:pt x="1072" y="596"/>
                  </a:lnTo>
                  <a:lnTo>
                    <a:pt x="1070" y="596"/>
                  </a:lnTo>
                  <a:lnTo>
                    <a:pt x="1070" y="598"/>
                  </a:lnTo>
                  <a:lnTo>
                    <a:pt x="1072" y="598"/>
                  </a:lnTo>
                  <a:lnTo>
                    <a:pt x="1072" y="601"/>
                  </a:lnTo>
                  <a:lnTo>
                    <a:pt x="1072" y="603"/>
                  </a:lnTo>
                  <a:lnTo>
                    <a:pt x="1070" y="603"/>
                  </a:lnTo>
                  <a:lnTo>
                    <a:pt x="1067" y="603"/>
                  </a:lnTo>
                  <a:lnTo>
                    <a:pt x="1070" y="603"/>
                  </a:lnTo>
                  <a:lnTo>
                    <a:pt x="1070" y="605"/>
                  </a:lnTo>
                  <a:lnTo>
                    <a:pt x="1072" y="605"/>
                  </a:lnTo>
                  <a:lnTo>
                    <a:pt x="1074" y="605"/>
                  </a:lnTo>
                  <a:lnTo>
                    <a:pt x="1072" y="608"/>
                  </a:lnTo>
                  <a:lnTo>
                    <a:pt x="1072" y="610"/>
                  </a:lnTo>
                  <a:lnTo>
                    <a:pt x="1074" y="610"/>
                  </a:lnTo>
                  <a:lnTo>
                    <a:pt x="1074" y="613"/>
                  </a:lnTo>
                  <a:lnTo>
                    <a:pt x="1074" y="615"/>
                  </a:lnTo>
                  <a:lnTo>
                    <a:pt x="1074" y="613"/>
                  </a:lnTo>
                  <a:lnTo>
                    <a:pt x="1077" y="613"/>
                  </a:lnTo>
                  <a:lnTo>
                    <a:pt x="1077" y="615"/>
                  </a:lnTo>
                  <a:lnTo>
                    <a:pt x="1079" y="615"/>
                  </a:lnTo>
                  <a:lnTo>
                    <a:pt x="1079" y="617"/>
                  </a:lnTo>
                  <a:lnTo>
                    <a:pt x="1077" y="617"/>
                  </a:lnTo>
                  <a:lnTo>
                    <a:pt x="1077" y="620"/>
                  </a:lnTo>
                  <a:lnTo>
                    <a:pt x="1077" y="622"/>
                  </a:lnTo>
                  <a:lnTo>
                    <a:pt x="1077" y="620"/>
                  </a:lnTo>
                  <a:lnTo>
                    <a:pt x="1079" y="620"/>
                  </a:lnTo>
                  <a:lnTo>
                    <a:pt x="1079" y="622"/>
                  </a:lnTo>
                  <a:lnTo>
                    <a:pt x="1077" y="622"/>
                  </a:lnTo>
                  <a:lnTo>
                    <a:pt x="1077" y="624"/>
                  </a:lnTo>
                  <a:lnTo>
                    <a:pt x="1079" y="624"/>
                  </a:lnTo>
                  <a:lnTo>
                    <a:pt x="1079" y="627"/>
                  </a:lnTo>
                  <a:lnTo>
                    <a:pt x="1079" y="629"/>
                  </a:lnTo>
                  <a:lnTo>
                    <a:pt x="1079" y="627"/>
                  </a:lnTo>
                  <a:lnTo>
                    <a:pt x="1079" y="629"/>
                  </a:lnTo>
                  <a:lnTo>
                    <a:pt x="1079" y="627"/>
                  </a:lnTo>
                  <a:lnTo>
                    <a:pt x="1079" y="624"/>
                  </a:lnTo>
                  <a:lnTo>
                    <a:pt x="1079" y="627"/>
                  </a:lnTo>
                  <a:lnTo>
                    <a:pt x="1079" y="629"/>
                  </a:lnTo>
                  <a:lnTo>
                    <a:pt x="1082" y="629"/>
                  </a:lnTo>
                  <a:lnTo>
                    <a:pt x="1082" y="632"/>
                  </a:lnTo>
                  <a:lnTo>
                    <a:pt x="1084" y="632"/>
                  </a:lnTo>
                  <a:lnTo>
                    <a:pt x="1082" y="634"/>
                  </a:lnTo>
                  <a:lnTo>
                    <a:pt x="1082" y="636"/>
                  </a:lnTo>
                  <a:lnTo>
                    <a:pt x="1082" y="634"/>
                  </a:lnTo>
                  <a:lnTo>
                    <a:pt x="1082" y="636"/>
                  </a:lnTo>
                  <a:lnTo>
                    <a:pt x="1082" y="639"/>
                  </a:lnTo>
                  <a:lnTo>
                    <a:pt x="1079" y="639"/>
                  </a:lnTo>
                  <a:lnTo>
                    <a:pt x="1079" y="641"/>
                  </a:lnTo>
                  <a:lnTo>
                    <a:pt x="1082" y="641"/>
                  </a:lnTo>
                  <a:lnTo>
                    <a:pt x="1082" y="643"/>
                  </a:lnTo>
                  <a:lnTo>
                    <a:pt x="1082" y="646"/>
                  </a:lnTo>
                  <a:lnTo>
                    <a:pt x="1082" y="648"/>
                  </a:lnTo>
                  <a:lnTo>
                    <a:pt x="1084" y="648"/>
                  </a:lnTo>
                  <a:lnTo>
                    <a:pt x="1084" y="651"/>
                  </a:lnTo>
                  <a:lnTo>
                    <a:pt x="1084" y="653"/>
                  </a:lnTo>
                  <a:lnTo>
                    <a:pt x="1082" y="653"/>
                  </a:lnTo>
                  <a:lnTo>
                    <a:pt x="1084" y="651"/>
                  </a:lnTo>
                  <a:lnTo>
                    <a:pt x="1082" y="653"/>
                  </a:lnTo>
                  <a:lnTo>
                    <a:pt x="1084" y="653"/>
                  </a:lnTo>
                  <a:lnTo>
                    <a:pt x="1084" y="655"/>
                  </a:lnTo>
                  <a:lnTo>
                    <a:pt x="1084" y="658"/>
                  </a:lnTo>
                  <a:lnTo>
                    <a:pt x="1084" y="660"/>
                  </a:lnTo>
                  <a:lnTo>
                    <a:pt x="1084" y="662"/>
                  </a:lnTo>
                  <a:lnTo>
                    <a:pt x="1082" y="662"/>
                  </a:lnTo>
                  <a:lnTo>
                    <a:pt x="1082" y="665"/>
                  </a:lnTo>
                  <a:lnTo>
                    <a:pt x="1084" y="665"/>
                  </a:lnTo>
                  <a:lnTo>
                    <a:pt x="1082" y="665"/>
                  </a:lnTo>
                  <a:lnTo>
                    <a:pt x="1084" y="665"/>
                  </a:lnTo>
                  <a:lnTo>
                    <a:pt x="1082" y="665"/>
                  </a:lnTo>
                  <a:lnTo>
                    <a:pt x="1082" y="667"/>
                  </a:lnTo>
                  <a:lnTo>
                    <a:pt x="1082" y="670"/>
                  </a:lnTo>
                  <a:lnTo>
                    <a:pt x="1082" y="672"/>
                  </a:lnTo>
                  <a:lnTo>
                    <a:pt x="1079" y="672"/>
                  </a:lnTo>
                  <a:lnTo>
                    <a:pt x="1077" y="672"/>
                  </a:lnTo>
                  <a:lnTo>
                    <a:pt x="1077" y="674"/>
                  </a:lnTo>
                  <a:lnTo>
                    <a:pt x="1077" y="672"/>
                  </a:lnTo>
                  <a:lnTo>
                    <a:pt x="1074" y="672"/>
                  </a:lnTo>
                  <a:lnTo>
                    <a:pt x="1077" y="672"/>
                  </a:lnTo>
                  <a:lnTo>
                    <a:pt x="1077" y="674"/>
                  </a:lnTo>
                  <a:lnTo>
                    <a:pt x="1074" y="674"/>
                  </a:lnTo>
                  <a:lnTo>
                    <a:pt x="1077" y="674"/>
                  </a:lnTo>
                  <a:lnTo>
                    <a:pt x="1077" y="672"/>
                  </a:lnTo>
                  <a:lnTo>
                    <a:pt x="1077" y="674"/>
                  </a:lnTo>
                  <a:lnTo>
                    <a:pt x="1077" y="672"/>
                  </a:lnTo>
                  <a:lnTo>
                    <a:pt x="1077" y="674"/>
                  </a:lnTo>
                  <a:lnTo>
                    <a:pt x="1077" y="672"/>
                  </a:lnTo>
                  <a:lnTo>
                    <a:pt x="1079" y="672"/>
                  </a:lnTo>
                  <a:lnTo>
                    <a:pt x="1077" y="672"/>
                  </a:lnTo>
                  <a:lnTo>
                    <a:pt x="1079" y="672"/>
                  </a:lnTo>
                  <a:lnTo>
                    <a:pt x="1077" y="672"/>
                  </a:lnTo>
                  <a:lnTo>
                    <a:pt x="1077" y="674"/>
                  </a:lnTo>
                  <a:lnTo>
                    <a:pt x="1074" y="674"/>
                  </a:lnTo>
                  <a:lnTo>
                    <a:pt x="1074" y="677"/>
                  </a:lnTo>
                  <a:lnTo>
                    <a:pt x="1074" y="674"/>
                  </a:lnTo>
                  <a:lnTo>
                    <a:pt x="1077" y="674"/>
                  </a:lnTo>
                  <a:lnTo>
                    <a:pt x="1074" y="677"/>
                  </a:lnTo>
                  <a:lnTo>
                    <a:pt x="1074" y="679"/>
                  </a:lnTo>
                  <a:lnTo>
                    <a:pt x="1072" y="679"/>
                  </a:lnTo>
                  <a:lnTo>
                    <a:pt x="1072" y="682"/>
                  </a:lnTo>
                  <a:lnTo>
                    <a:pt x="1074" y="679"/>
                  </a:lnTo>
                  <a:lnTo>
                    <a:pt x="1074" y="682"/>
                  </a:lnTo>
                  <a:lnTo>
                    <a:pt x="1074" y="684"/>
                  </a:lnTo>
                  <a:lnTo>
                    <a:pt x="1072" y="684"/>
                  </a:lnTo>
                  <a:lnTo>
                    <a:pt x="1074" y="684"/>
                  </a:lnTo>
                  <a:lnTo>
                    <a:pt x="1072" y="686"/>
                  </a:lnTo>
                  <a:lnTo>
                    <a:pt x="1072" y="689"/>
                  </a:lnTo>
                  <a:lnTo>
                    <a:pt x="1072" y="691"/>
                  </a:lnTo>
                  <a:lnTo>
                    <a:pt x="1072" y="693"/>
                  </a:lnTo>
                  <a:lnTo>
                    <a:pt x="1070" y="693"/>
                  </a:lnTo>
                  <a:lnTo>
                    <a:pt x="1072" y="693"/>
                  </a:lnTo>
                  <a:lnTo>
                    <a:pt x="1070" y="696"/>
                  </a:lnTo>
                  <a:lnTo>
                    <a:pt x="1070" y="693"/>
                  </a:lnTo>
                  <a:lnTo>
                    <a:pt x="1067" y="693"/>
                  </a:lnTo>
                  <a:lnTo>
                    <a:pt x="1070" y="693"/>
                  </a:lnTo>
                  <a:lnTo>
                    <a:pt x="1070" y="696"/>
                  </a:lnTo>
                  <a:lnTo>
                    <a:pt x="1072" y="696"/>
                  </a:lnTo>
                  <a:lnTo>
                    <a:pt x="1070" y="696"/>
                  </a:lnTo>
                  <a:lnTo>
                    <a:pt x="1072" y="696"/>
                  </a:lnTo>
                  <a:lnTo>
                    <a:pt x="1072" y="698"/>
                  </a:lnTo>
                  <a:lnTo>
                    <a:pt x="1070" y="698"/>
                  </a:lnTo>
                  <a:lnTo>
                    <a:pt x="1070" y="696"/>
                  </a:lnTo>
                  <a:lnTo>
                    <a:pt x="1067" y="696"/>
                  </a:lnTo>
                  <a:lnTo>
                    <a:pt x="1070" y="696"/>
                  </a:lnTo>
                  <a:lnTo>
                    <a:pt x="1070" y="698"/>
                  </a:lnTo>
                  <a:lnTo>
                    <a:pt x="1067" y="698"/>
                  </a:lnTo>
                  <a:lnTo>
                    <a:pt x="1070" y="698"/>
                  </a:lnTo>
                  <a:lnTo>
                    <a:pt x="1067" y="698"/>
                  </a:lnTo>
                  <a:lnTo>
                    <a:pt x="1067" y="696"/>
                  </a:lnTo>
                  <a:lnTo>
                    <a:pt x="1065" y="696"/>
                  </a:lnTo>
                  <a:lnTo>
                    <a:pt x="1065" y="698"/>
                  </a:lnTo>
                  <a:lnTo>
                    <a:pt x="1063" y="698"/>
                  </a:lnTo>
                  <a:lnTo>
                    <a:pt x="1060" y="701"/>
                  </a:lnTo>
                  <a:lnTo>
                    <a:pt x="1060" y="698"/>
                  </a:lnTo>
                  <a:lnTo>
                    <a:pt x="1060" y="696"/>
                  </a:lnTo>
                  <a:lnTo>
                    <a:pt x="1058" y="696"/>
                  </a:lnTo>
                  <a:lnTo>
                    <a:pt x="1055" y="698"/>
                  </a:lnTo>
                  <a:lnTo>
                    <a:pt x="1055" y="696"/>
                  </a:lnTo>
                  <a:lnTo>
                    <a:pt x="1053" y="696"/>
                  </a:lnTo>
                  <a:lnTo>
                    <a:pt x="1053" y="698"/>
                  </a:lnTo>
                  <a:lnTo>
                    <a:pt x="1051" y="698"/>
                  </a:lnTo>
                  <a:lnTo>
                    <a:pt x="1051" y="696"/>
                  </a:lnTo>
                  <a:lnTo>
                    <a:pt x="1048" y="696"/>
                  </a:lnTo>
                  <a:lnTo>
                    <a:pt x="1048" y="698"/>
                  </a:lnTo>
                  <a:lnTo>
                    <a:pt x="1051" y="698"/>
                  </a:lnTo>
                  <a:lnTo>
                    <a:pt x="1048" y="698"/>
                  </a:lnTo>
                  <a:lnTo>
                    <a:pt x="1046" y="698"/>
                  </a:lnTo>
                  <a:lnTo>
                    <a:pt x="1046" y="696"/>
                  </a:lnTo>
                  <a:lnTo>
                    <a:pt x="1046" y="698"/>
                  </a:lnTo>
                  <a:lnTo>
                    <a:pt x="1044" y="698"/>
                  </a:lnTo>
                  <a:lnTo>
                    <a:pt x="1041" y="698"/>
                  </a:lnTo>
                  <a:lnTo>
                    <a:pt x="1039" y="698"/>
                  </a:lnTo>
                  <a:lnTo>
                    <a:pt x="1041" y="696"/>
                  </a:lnTo>
                  <a:lnTo>
                    <a:pt x="1039" y="696"/>
                  </a:lnTo>
                  <a:lnTo>
                    <a:pt x="1036" y="696"/>
                  </a:lnTo>
                  <a:lnTo>
                    <a:pt x="1034" y="696"/>
                  </a:lnTo>
                  <a:lnTo>
                    <a:pt x="1032" y="698"/>
                  </a:lnTo>
                  <a:lnTo>
                    <a:pt x="1034" y="698"/>
                  </a:lnTo>
                  <a:lnTo>
                    <a:pt x="1034" y="696"/>
                  </a:lnTo>
                  <a:lnTo>
                    <a:pt x="1036" y="696"/>
                  </a:lnTo>
                  <a:lnTo>
                    <a:pt x="1039" y="696"/>
                  </a:lnTo>
                  <a:lnTo>
                    <a:pt x="1036" y="696"/>
                  </a:lnTo>
                  <a:lnTo>
                    <a:pt x="1039" y="696"/>
                  </a:lnTo>
                  <a:lnTo>
                    <a:pt x="1041" y="696"/>
                  </a:lnTo>
                  <a:lnTo>
                    <a:pt x="1039" y="696"/>
                  </a:lnTo>
                  <a:lnTo>
                    <a:pt x="1039" y="698"/>
                  </a:lnTo>
                  <a:lnTo>
                    <a:pt x="1041" y="698"/>
                  </a:lnTo>
                  <a:lnTo>
                    <a:pt x="1044" y="698"/>
                  </a:lnTo>
                  <a:lnTo>
                    <a:pt x="1046" y="698"/>
                  </a:lnTo>
                  <a:lnTo>
                    <a:pt x="1046" y="696"/>
                  </a:lnTo>
                  <a:lnTo>
                    <a:pt x="1046" y="698"/>
                  </a:lnTo>
                  <a:lnTo>
                    <a:pt x="1048" y="698"/>
                  </a:lnTo>
                  <a:lnTo>
                    <a:pt x="1051" y="698"/>
                  </a:lnTo>
                  <a:lnTo>
                    <a:pt x="1048" y="698"/>
                  </a:lnTo>
                  <a:lnTo>
                    <a:pt x="1048" y="696"/>
                  </a:lnTo>
                  <a:lnTo>
                    <a:pt x="1051" y="698"/>
                  </a:lnTo>
                  <a:lnTo>
                    <a:pt x="1053" y="698"/>
                  </a:lnTo>
                  <a:lnTo>
                    <a:pt x="1053" y="696"/>
                  </a:lnTo>
                  <a:lnTo>
                    <a:pt x="1055" y="696"/>
                  </a:lnTo>
                  <a:lnTo>
                    <a:pt x="1055" y="698"/>
                  </a:lnTo>
                  <a:lnTo>
                    <a:pt x="1058" y="698"/>
                  </a:lnTo>
                  <a:lnTo>
                    <a:pt x="1058" y="696"/>
                  </a:lnTo>
                  <a:lnTo>
                    <a:pt x="1060" y="698"/>
                  </a:lnTo>
                  <a:lnTo>
                    <a:pt x="1060" y="701"/>
                  </a:lnTo>
                  <a:lnTo>
                    <a:pt x="1063" y="698"/>
                  </a:lnTo>
                  <a:lnTo>
                    <a:pt x="1065" y="698"/>
                  </a:lnTo>
                  <a:lnTo>
                    <a:pt x="1065" y="696"/>
                  </a:lnTo>
                  <a:lnTo>
                    <a:pt x="1067" y="698"/>
                  </a:lnTo>
                  <a:lnTo>
                    <a:pt x="1065" y="698"/>
                  </a:lnTo>
                  <a:lnTo>
                    <a:pt x="1067" y="698"/>
                  </a:lnTo>
                  <a:lnTo>
                    <a:pt x="1070" y="698"/>
                  </a:lnTo>
                  <a:lnTo>
                    <a:pt x="1067" y="698"/>
                  </a:lnTo>
                  <a:lnTo>
                    <a:pt x="1070" y="698"/>
                  </a:lnTo>
                  <a:lnTo>
                    <a:pt x="1072" y="698"/>
                  </a:lnTo>
                  <a:lnTo>
                    <a:pt x="1070" y="698"/>
                  </a:lnTo>
                  <a:lnTo>
                    <a:pt x="1072" y="698"/>
                  </a:lnTo>
                  <a:lnTo>
                    <a:pt x="1072" y="701"/>
                  </a:lnTo>
                  <a:lnTo>
                    <a:pt x="1070" y="701"/>
                  </a:lnTo>
                  <a:lnTo>
                    <a:pt x="1072" y="701"/>
                  </a:lnTo>
                  <a:lnTo>
                    <a:pt x="1074" y="701"/>
                  </a:lnTo>
                  <a:lnTo>
                    <a:pt x="1077" y="701"/>
                  </a:lnTo>
                  <a:lnTo>
                    <a:pt x="1079" y="701"/>
                  </a:lnTo>
                  <a:lnTo>
                    <a:pt x="1082" y="701"/>
                  </a:lnTo>
                  <a:lnTo>
                    <a:pt x="1084" y="701"/>
                  </a:lnTo>
                  <a:lnTo>
                    <a:pt x="1086" y="701"/>
                  </a:lnTo>
                  <a:lnTo>
                    <a:pt x="1089" y="701"/>
                  </a:lnTo>
                  <a:lnTo>
                    <a:pt x="1091" y="703"/>
                  </a:lnTo>
                  <a:lnTo>
                    <a:pt x="1093" y="703"/>
                  </a:lnTo>
                  <a:lnTo>
                    <a:pt x="1091" y="703"/>
                  </a:lnTo>
                  <a:lnTo>
                    <a:pt x="1093" y="703"/>
                  </a:lnTo>
                  <a:lnTo>
                    <a:pt x="1093" y="705"/>
                  </a:lnTo>
                  <a:lnTo>
                    <a:pt x="1091" y="705"/>
                  </a:lnTo>
                  <a:lnTo>
                    <a:pt x="1089" y="705"/>
                  </a:lnTo>
                  <a:lnTo>
                    <a:pt x="1089" y="708"/>
                  </a:lnTo>
                  <a:lnTo>
                    <a:pt x="1089" y="705"/>
                  </a:lnTo>
                  <a:lnTo>
                    <a:pt x="1091" y="705"/>
                  </a:lnTo>
                  <a:lnTo>
                    <a:pt x="1093" y="705"/>
                  </a:lnTo>
                  <a:lnTo>
                    <a:pt x="1093" y="703"/>
                  </a:lnTo>
                  <a:lnTo>
                    <a:pt x="1093" y="705"/>
                  </a:lnTo>
                  <a:lnTo>
                    <a:pt x="1093" y="703"/>
                  </a:lnTo>
                  <a:lnTo>
                    <a:pt x="1093" y="705"/>
                  </a:lnTo>
                  <a:lnTo>
                    <a:pt x="1096" y="705"/>
                  </a:lnTo>
                  <a:lnTo>
                    <a:pt x="1096" y="703"/>
                  </a:lnTo>
                  <a:lnTo>
                    <a:pt x="1096" y="705"/>
                  </a:lnTo>
                  <a:lnTo>
                    <a:pt x="1096" y="703"/>
                  </a:lnTo>
                  <a:lnTo>
                    <a:pt x="1096" y="705"/>
                  </a:lnTo>
                  <a:lnTo>
                    <a:pt x="1096" y="708"/>
                  </a:lnTo>
                  <a:lnTo>
                    <a:pt x="1098" y="708"/>
                  </a:lnTo>
                  <a:lnTo>
                    <a:pt x="1101" y="708"/>
                  </a:lnTo>
                  <a:lnTo>
                    <a:pt x="1103" y="708"/>
                  </a:lnTo>
                  <a:lnTo>
                    <a:pt x="1105" y="708"/>
                  </a:lnTo>
                  <a:lnTo>
                    <a:pt x="1108" y="708"/>
                  </a:lnTo>
                  <a:lnTo>
                    <a:pt x="1105" y="708"/>
                  </a:lnTo>
                  <a:lnTo>
                    <a:pt x="1108" y="708"/>
                  </a:lnTo>
                  <a:lnTo>
                    <a:pt x="1110" y="708"/>
                  </a:lnTo>
                  <a:lnTo>
                    <a:pt x="1112" y="708"/>
                  </a:lnTo>
                  <a:lnTo>
                    <a:pt x="1110" y="708"/>
                  </a:lnTo>
                  <a:lnTo>
                    <a:pt x="1112" y="708"/>
                  </a:lnTo>
                  <a:lnTo>
                    <a:pt x="1115" y="708"/>
                  </a:lnTo>
                  <a:lnTo>
                    <a:pt x="1115" y="710"/>
                  </a:lnTo>
                  <a:lnTo>
                    <a:pt x="1117" y="710"/>
                  </a:lnTo>
                  <a:lnTo>
                    <a:pt x="1119" y="710"/>
                  </a:lnTo>
                  <a:lnTo>
                    <a:pt x="1122" y="710"/>
                  </a:lnTo>
                  <a:lnTo>
                    <a:pt x="1122" y="712"/>
                  </a:lnTo>
                  <a:lnTo>
                    <a:pt x="1124" y="715"/>
                  </a:lnTo>
                  <a:lnTo>
                    <a:pt x="1127" y="715"/>
                  </a:lnTo>
                  <a:lnTo>
                    <a:pt x="1127" y="717"/>
                  </a:lnTo>
                  <a:lnTo>
                    <a:pt x="1129" y="717"/>
                  </a:lnTo>
                  <a:lnTo>
                    <a:pt x="1129" y="720"/>
                  </a:lnTo>
                  <a:lnTo>
                    <a:pt x="1131" y="720"/>
                  </a:lnTo>
                  <a:lnTo>
                    <a:pt x="1131" y="722"/>
                  </a:lnTo>
                  <a:lnTo>
                    <a:pt x="1129" y="722"/>
                  </a:lnTo>
                  <a:lnTo>
                    <a:pt x="1131" y="722"/>
                  </a:lnTo>
                  <a:lnTo>
                    <a:pt x="1129" y="722"/>
                  </a:lnTo>
                  <a:lnTo>
                    <a:pt x="1129" y="724"/>
                  </a:lnTo>
                  <a:lnTo>
                    <a:pt x="1127" y="727"/>
                  </a:lnTo>
                  <a:lnTo>
                    <a:pt x="1127" y="729"/>
                  </a:lnTo>
                  <a:lnTo>
                    <a:pt x="1127" y="731"/>
                  </a:lnTo>
                  <a:lnTo>
                    <a:pt x="1127" y="734"/>
                  </a:lnTo>
                  <a:lnTo>
                    <a:pt x="1124" y="734"/>
                  </a:lnTo>
                  <a:lnTo>
                    <a:pt x="1122" y="734"/>
                  </a:lnTo>
                  <a:lnTo>
                    <a:pt x="1119" y="734"/>
                  </a:lnTo>
                  <a:lnTo>
                    <a:pt x="1119" y="736"/>
                  </a:lnTo>
                  <a:lnTo>
                    <a:pt x="1117" y="736"/>
                  </a:lnTo>
                  <a:lnTo>
                    <a:pt x="1115" y="736"/>
                  </a:lnTo>
                  <a:lnTo>
                    <a:pt x="1112" y="739"/>
                  </a:lnTo>
                  <a:lnTo>
                    <a:pt x="1112" y="741"/>
                  </a:lnTo>
                  <a:lnTo>
                    <a:pt x="1110" y="741"/>
                  </a:lnTo>
                  <a:lnTo>
                    <a:pt x="1110" y="743"/>
                  </a:lnTo>
                  <a:lnTo>
                    <a:pt x="1112" y="743"/>
                  </a:lnTo>
                  <a:lnTo>
                    <a:pt x="1112" y="746"/>
                  </a:lnTo>
                  <a:lnTo>
                    <a:pt x="1115" y="746"/>
                  </a:lnTo>
                  <a:lnTo>
                    <a:pt x="1112" y="748"/>
                  </a:lnTo>
                  <a:lnTo>
                    <a:pt x="1112" y="750"/>
                  </a:lnTo>
                  <a:lnTo>
                    <a:pt x="1112" y="753"/>
                  </a:lnTo>
                  <a:lnTo>
                    <a:pt x="1112" y="755"/>
                  </a:lnTo>
                  <a:lnTo>
                    <a:pt x="1115" y="755"/>
                  </a:lnTo>
                  <a:lnTo>
                    <a:pt x="1117" y="755"/>
                  </a:lnTo>
                  <a:lnTo>
                    <a:pt x="1117" y="758"/>
                  </a:lnTo>
                  <a:lnTo>
                    <a:pt x="1119" y="758"/>
                  </a:lnTo>
                  <a:lnTo>
                    <a:pt x="1119" y="755"/>
                  </a:lnTo>
                  <a:lnTo>
                    <a:pt x="1122" y="755"/>
                  </a:lnTo>
                  <a:lnTo>
                    <a:pt x="1122" y="758"/>
                  </a:lnTo>
                  <a:lnTo>
                    <a:pt x="1124" y="758"/>
                  </a:lnTo>
                  <a:lnTo>
                    <a:pt x="1122" y="758"/>
                  </a:lnTo>
                  <a:lnTo>
                    <a:pt x="1122" y="760"/>
                  </a:lnTo>
                  <a:lnTo>
                    <a:pt x="1119" y="760"/>
                  </a:lnTo>
                  <a:lnTo>
                    <a:pt x="1119" y="762"/>
                  </a:lnTo>
                  <a:lnTo>
                    <a:pt x="1122" y="765"/>
                  </a:lnTo>
                  <a:lnTo>
                    <a:pt x="1119" y="765"/>
                  </a:lnTo>
                  <a:lnTo>
                    <a:pt x="1119" y="767"/>
                  </a:lnTo>
                  <a:lnTo>
                    <a:pt x="1119" y="769"/>
                  </a:lnTo>
                  <a:lnTo>
                    <a:pt x="1117" y="769"/>
                  </a:lnTo>
                  <a:lnTo>
                    <a:pt x="1115" y="769"/>
                  </a:lnTo>
                  <a:lnTo>
                    <a:pt x="1115" y="772"/>
                  </a:lnTo>
                  <a:lnTo>
                    <a:pt x="1117" y="772"/>
                  </a:lnTo>
                  <a:lnTo>
                    <a:pt x="1117" y="774"/>
                  </a:lnTo>
                  <a:lnTo>
                    <a:pt x="1119" y="774"/>
                  </a:lnTo>
                  <a:lnTo>
                    <a:pt x="1117" y="774"/>
                  </a:lnTo>
                  <a:lnTo>
                    <a:pt x="1117" y="777"/>
                  </a:lnTo>
                  <a:lnTo>
                    <a:pt x="1119" y="777"/>
                  </a:lnTo>
                  <a:lnTo>
                    <a:pt x="1122" y="777"/>
                  </a:lnTo>
                  <a:lnTo>
                    <a:pt x="1122" y="779"/>
                  </a:lnTo>
                  <a:lnTo>
                    <a:pt x="1122" y="781"/>
                  </a:lnTo>
                  <a:lnTo>
                    <a:pt x="1124" y="781"/>
                  </a:lnTo>
                  <a:lnTo>
                    <a:pt x="1124" y="784"/>
                  </a:lnTo>
                  <a:lnTo>
                    <a:pt x="1127" y="784"/>
                  </a:lnTo>
                  <a:lnTo>
                    <a:pt x="1124" y="784"/>
                  </a:lnTo>
                  <a:lnTo>
                    <a:pt x="1127" y="784"/>
                  </a:lnTo>
                  <a:lnTo>
                    <a:pt x="1124" y="784"/>
                  </a:lnTo>
                  <a:lnTo>
                    <a:pt x="1127" y="784"/>
                  </a:lnTo>
                  <a:lnTo>
                    <a:pt x="1124" y="784"/>
                  </a:lnTo>
                  <a:lnTo>
                    <a:pt x="1124" y="781"/>
                  </a:lnTo>
                  <a:lnTo>
                    <a:pt x="1122" y="781"/>
                  </a:lnTo>
                  <a:lnTo>
                    <a:pt x="1122" y="779"/>
                  </a:lnTo>
                  <a:lnTo>
                    <a:pt x="1122" y="777"/>
                  </a:lnTo>
                  <a:lnTo>
                    <a:pt x="1119" y="777"/>
                  </a:lnTo>
                  <a:lnTo>
                    <a:pt x="1117" y="777"/>
                  </a:lnTo>
                  <a:lnTo>
                    <a:pt x="1117" y="774"/>
                  </a:lnTo>
                  <a:lnTo>
                    <a:pt x="1119" y="774"/>
                  </a:lnTo>
                  <a:lnTo>
                    <a:pt x="1117" y="774"/>
                  </a:lnTo>
                  <a:lnTo>
                    <a:pt x="1117" y="772"/>
                  </a:lnTo>
                  <a:lnTo>
                    <a:pt x="1115" y="772"/>
                  </a:lnTo>
                  <a:lnTo>
                    <a:pt x="1115" y="769"/>
                  </a:lnTo>
                  <a:lnTo>
                    <a:pt x="1117" y="769"/>
                  </a:lnTo>
                  <a:lnTo>
                    <a:pt x="1119" y="769"/>
                  </a:lnTo>
                  <a:lnTo>
                    <a:pt x="1119" y="767"/>
                  </a:lnTo>
                  <a:lnTo>
                    <a:pt x="1119" y="765"/>
                  </a:lnTo>
                  <a:lnTo>
                    <a:pt x="1122" y="765"/>
                  </a:lnTo>
                  <a:lnTo>
                    <a:pt x="1122" y="762"/>
                  </a:lnTo>
                  <a:lnTo>
                    <a:pt x="1119" y="760"/>
                  </a:lnTo>
                  <a:lnTo>
                    <a:pt x="1122" y="760"/>
                  </a:lnTo>
                  <a:lnTo>
                    <a:pt x="1124" y="758"/>
                  </a:lnTo>
                  <a:lnTo>
                    <a:pt x="1122" y="758"/>
                  </a:lnTo>
                  <a:lnTo>
                    <a:pt x="1122" y="755"/>
                  </a:lnTo>
                  <a:lnTo>
                    <a:pt x="1119" y="755"/>
                  </a:lnTo>
                  <a:lnTo>
                    <a:pt x="1117" y="758"/>
                  </a:lnTo>
                  <a:lnTo>
                    <a:pt x="1117" y="755"/>
                  </a:lnTo>
                  <a:lnTo>
                    <a:pt x="1115" y="755"/>
                  </a:lnTo>
                  <a:lnTo>
                    <a:pt x="1112" y="755"/>
                  </a:lnTo>
                  <a:lnTo>
                    <a:pt x="1112" y="753"/>
                  </a:lnTo>
                  <a:lnTo>
                    <a:pt x="1112" y="750"/>
                  </a:lnTo>
                  <a:lnTo>
                    <a:pt x="1112" y="748"/>
                  </a:lnTo>
                  <a:lnTo>
                    <a:pt x="1115" y="748"/>
                  </a:lnTo>
                  <a:lnTo>
                    <a:pt x="1115" y="746"/>
                  </a:lnTo>
                  <a:lnTo>
                    <a:pt x="1112" y="746"/>
                  </a:lnTo>
                  <a:lnTo>
                    <a:pt x="1112" y="743"/>
                  </a:lnTo>
                  <a:lnTo>
                    <a:pt x="1110" y="743"/>
                  </a:lnTo>
                  <a:lnTo>
                    <a:pt x="1110" y="741"/>
                  </a:lnTo>
                  <a:lnTo>
                    <a:pt x="1112" y="741"/>
                  </a:lnTo>
                  <a:lnTo>
                    <a:pt x="1112" y="739"/>
                  </a:lnTo>
                  <a:lnTo>
                    <a:pt x="1115" y="739"/>
                  </a:lnTo>
                  <a:lnTo>
                    <a:pt x="1115" y="736"/>
                  </a:lnTo>
                  <a:lnTo>
                    <a:pt x="1117" y="736"/>
                  </a:lnTo>
                  <a:lnTo>
                    <a:pt x="1119" y="736"/>
                  </a:lnTo>
                  <a:lnTo>
                    <a:pt x="1119" y="734"/>
                  </a:lnTo>
                  <a:lnTo>
                    <a:pt x="1122" y="734"/>
                  </a:lnTo>
                  <a:lnTo>
                    <a:pt x="1124" y="734"/>
                  </a:lnTo>
                  <a:lnTo>
                    <a:pt x="1127" y="734"/>
                  </a:lnTo>
                  <a:lnTo>
                    <a:pt x="1127" y="731"/>
                  </a:lnTo>
                  <a:lnTo>
                    <a:pt x="1127" y="729"/>
                  </a:lnTo>
                  <a:lnTo>
                    <a:pt x="1127" y="727"/>
                  </a:lnTo>
                  <a:lnTo>
                    <a:pt x="1127" y="724"/>
                  </a:lnTo>
                  <a:lnTo>
                    <a:pt x="1129" y="724"/>
                  </a:lnTo>
                  <a:lnTo>
                    <a:pt x="1129" y="722"/>
                  </a:lnTo>
                  <a:lnTo>
                    <a:pt x="1131" y="722"/>
                  </a:lnTo>
                  <a:lnTo>
                    <a:pt x="1131" y="720"/>
                  </a:lnTo>
                  <a:lnTo>
                    <a:pt x="1131" y="717"/>
                  </a:lnTo>
                  <a:lnTo>
                    <a:pt x="1129" y="717"/>
                  </a:lnTo>
                  <a:lnTo>
                    <a:pt x="1127" y="715"/>
                  </a:lnTo>
                  <a:lnTo>
                    <a:pt x="1124" y="715"/>
                  </a:lnTo>
                  <a:lnTo>
                    <a:pt x="1124" y="712"/>
                  </a:lnTo>
                  <a:lnTo>
                    <a:pt x="1122" y="712"/>
                  </a:lnTo>
                  <a:lnTo>
                    <a:pt x="1122" y="710"/>
                  </a:lnTo>
                  <a:lnTo>
                    <a:pt x="1119" y="710"/>
                  </a:lnTo>
                  <a:lnTo>
                    <a:pt x="1117" y="710"/>
                  </a:lnTo>
                  <a:lnTo>
                    <a:pt x="1115" y="710"/>
                  </a:lnTo>
                  <a:lnTo>
                    <a:pt x="1115" y="708"/>
                  </a:lnTo>
                  <a:lnTo>
                    <a:pt x="1112" y="708"/>
                  </a:lnTo>
                  <a:lnTo>
                    <a:pt x="1110" y="708"/>
                  </a:lnTo>
                  <a:lnTo>
                    <a:pt x="1108" y="708"/>
                  </a:lnTo>
                  <a:lnTo>
                    <a:pt x="1108" y="705"/>
                  </a:lnTo>
                  <a:lnTo>
                    <a:pt x="1110" y="708"/>
                  </a:lnTo>
                  <a:lnTo>
                    <a:pt x="1110" y="705"/>
                  </a:lnTo>
                  <a:lnTo>
                    <a:pt x="1108" y="705"/>
                  </a:lnTo>
                  <a:lnTo>
                    <a:pt x="1105" y="708"/>
                  </a:lnTo>
                  <a:lnTo>
                    <a:pt x="1103" y="708"/>
                  </a:lnTo>
                  <a:lnTo>
                    <a:pt x="1101" y="708"/>
                  </a:lnTo>
                  <a:lnTo>
                    <a:pt x="1103" y="708"/>
                  </a:lnTo>
                  <a:lnTo>
                    <a:pt x="1101" y="708"/>
                  </a:lnTo>
                  <a:lnTo>
                    <a:pt x="1098" y="708"/>
                  </a:lnTo>
                  <a:lnTo>
                    <a:pt x="1098" y="705"/>
                  </a:lnTo>
                  <a:lnTo>
                    <a:pt x="1101" y="703"/>
                  </a:lnTo>
                  <a:lnTo>
                    <a:pt x="1103" y="703"/>
                  </a:lnTo>
                  <a:lnTo>
                    <a:pt x="1105" y="703"/>
                  </a:lnTo>
                  <a:lnTo>
                    <a:pt x="1108" y="703"/>
                  </a:lnTo>
                  <a:lnTo>
                    <a:pt x="1110" y="703"/>
                  </a:lnTo>
                  <a:lnTo>
                    <a:pt x="1112" y="705"/>
                  </a:lnTo>
                  <a:lnTo>
                    <a:pt x="1115" y="705"/>
                  </a:lnTo>
                  <a:lnTo>
                    <a:pt x="1115" y="703"/>
                  </a:lnTo>
                  <a:lnTo>
                    <a:pt x="1115" y="705"/>
                  </a:lnTo>
                  <a:lnTo>
                    <a:pt x="1115" y="703"/>
                  </a:lnTo>
                  <a:lnTo>
                    <a:pt x="1117" y="703"/>
                  </a:lnTo>
                  <a:lnTo>
                    <a:pt x="1115" y="703"/>
                  </a:lnTo>
                  <a:lnTo>
                    <a:pt x="1115" y="705"/>
                  </a:lnTo>
                  <a:lnTo>
                    <a:pt x="1115" y="703"/>
                  </a:lnTo>
                  <a:lnTo>
                    <a:pt x="1117" y="703"/>
                  </a:lnTo>
                  <a:lnTo>
                    <a:pt x="1119" y="701"/>
                  </a:lnTo>
                  <a:lnTo>
                    <a:pt x="1122" y="701"/>
                  </a:lnTo>
                  <a:lnTo>
                    <a:pt x="1124" y="698"/>
                  </a:lnTo>
                  <a:lnTo>
                    <a:pt x="1127" y="698"/>
                  </a:lnTo>
                  <a:lnTo>
                    <a:pt x="1129" y="698"/>
                  </a:lnTo>
                  <a:lnTo>
                    <a:pt x="1131" y="698"/>
                  </a:lnTo>
                  <a:lnTo>
                    <a:pt x="1134" y="698"/>
                  </a:lnTo>
                  <a:lnTo>
                    <a:pt x="1134" y="696"/>
                  </a:lnTo>
                  <a:lnTo>
                    <a:pt x="1136" y="696"/>
                  </a:lnTo>
                  <a:lnTo>
                    <a:pt x="1138" y="696"/>
                  </a:lnTo>
                  <a:lnTo>
                    <a:pt x="1141" y="698"/>
                  </a:lnTo>
                  <a:lnTo>
                    <a:pt x="1143" y="698"/>
                  </a:lnTo>
                  <a:lnTo>
                    <a:pt x="1146" y="698"/>
                  </a:lnTo>
                  <a:lnTo>
                    <a:pt x="1146" y="696"/>
                  </a:lnTo>
                  <a:lnTo>
                    <a:pt x="1148" y="693"/>
                  </a:lnTo>
                  <a:lnTo>
                    <a:pt x="1148" y="696"/>
                  </a:lnTo>
                  <a:lnTo>
                    <a:pt x="1148" y="693"/>
                  </a:lnTo>
                  <a:lnTo>
                    <a:pt x="1150" y="693"/>
                  </a:lnTo>
                  <a:lnTo>
                    <a:pt x="1153" y="693"/>
                  </a:lnTo>
                  <a:lnTo>
                    <a:pt x="1153" y="691"/>
                  </a:lnTo>
                  <a:lnTo>
                    <a:pt x="1153" y="693"/>
                  </a:lnTo>
                  <a:lnTo>
                    <a:pt x="1153" y="691"/>
                  </a:lnTo>
                  <a:lnTo>
                    <a:pt x="1150" y="693"/>
                  </a:lnTo>
                  <a:lnTo>
                    <a:pt x="1148" y="693"/>
                  </a:lnTo>
                  <a:lnTo>
                    <a:pt x="1150" y="693"/>
                  </a:lnTo>
                  <a:lnTo>
                    <a:pt x="1148" y="693"/>
                  </a:lnTo>
                  <a:lnTo>
                    <a:pt x="1146" y="696"/>
                  </a:lnTo>
                  <a:lnTo>
                    <a:pt x="1146" y="693"/>
                  </a:lnTo>
                  <a:lnTo>
                    <a:pt x="1148" y="693"/>
                  </a:lnTo>
                  <a:lnTo>
                    <a:pt x="1146" y="693"/>
                  </a:lnTo>
                  <a:lnTo>
                    <a:pt x="1146" y="696"/>
                  </a:lnTo>
                  <a:lnTo>
                    <a:pt x="1146" y="693"/>
                  </a:lnTo>
                  <a:lnTo>
                    <a:pt x="1148" y="693"/>
                  </a:lnTo>
                  <a:lnTo>
                    <a:pt x="1148" y="691"/>
                  </a:lnTo>
                  <a:lnTo>
                    <a:pt x="1150" y="689"/>
                  </a:lnTo>
                  <a:lnTo>
                    <a:pt x="1150" y="686"/>
                  </a:lnTo>
                  <a:lnTo>
                    <a:pt x="1150" y="689"/>
                  </a:lnTo>
                  <a:lnTo>
                    <a:pt x="1150" y="686"/>
                  </a:lnTo>
                  <a:lnTo>
                    <a:pt x="1153" y="686"/>
                  </a:lnTo>
                  <a:lnTo>
                    <a:pt x="1153" y="684"/>
                  </a:lnTo>
                  <a:lnTo>
                    <a:pt x="1155" y="684"/>
                  </a:lnTo>
                  <a:lnTo>
                    <a:pt x="1157" y="684"/>
                  </a:lnTo>
                  <a:lnTo>
                    <a:pt x="1160" y="684"/>
                  </a:lnTo>
                  <a:lnTo>
                    <a:pt x="1162" y="682"/>
                  </a:lnTo>
                  <a:lnTo>
                    <a:pt x="1165" y="679"/>
                  </a:lnTo>
                  <a:lnTo>
                    <a:pt x="1165" y="677"/>
                  </a:lnTo>
                  <a:lnTo>
                    <a:pt x="1167" y="677"/>
                  </a:lnTo>
                  <a:lnTo>
                    <a:pt x="1167" y="674"/>
                  </a:lnTo>
                  <a:lnTo>
                    <a:pt x="1169" y="674"/>
                  </a:lnTo>
                  <a:lnTo>
                    <a:pt x="1172" y="674"/>
                  </a:lnTo>
                  <a:lnTo>
                    <a:pt x="1172" y="672"/>
                  </a:lnTo>
                  <a:lnTo>
                    <a:pt x="1174" y="672"/>
                  </a:lnTo>
                  <a:lnTo>
                    <a:pt x="1174" y="670"/>
                  </a:lnTo>
                  <a:lnTo>
                    <a:pt x="1174" y="667"/>
                  </a:lnTo>
                  <a:lnTo>
                    <a:pt x="1172" y="667"/>
                  </a:lnTo>
                  <a:lnTo>
                    <a:pt x="1174" y="667"/>
                  </a:lnTo>
                  <a:lnTo>
                    <a:pt x="1172" y="667"/>
                  </a:lnTo>
                  <a:lnTo>
                    <a:pt x="1172" y="665"/>
                  </a:lnTo>
                  <a:lnTo>
                    <a:pt x="1172" y="662"/>
                  </a:lnTo>
                  <a:lnTo>
                    <a:pt x="1174" y="662"/>
                  </a:lnTo>
                  <a:lnTo>
                    <a:pt x="1174" y="660"/>
                  </a:lnTo>
                  <a:lnTo>
                    <a:pt x="1176" y="660"/>
                  </a:lnTo>
                  <a:lnTo>
                    <a:pt x="1176" y="658"/>
                  </a:lnTo>
                  <a:lnTo>
                    <a:pt x="1179" y="658"/>
                  </a:lnTo>
                  <a:lnTo>
                    <a:pt x="1181" y="658"/>
                  </a:lnTo>
                  <a:lnTo>
                    <a:pt x="1181" y="655"/>
                  </a:lnTo>
                  <a:lnTo>
                    <a:pt x="1181" y="658"/>
                  </a:lnTo>
                  <a:lnTo>
                    <a:pt x="1179" y="658"/>
                  </a:lnTo>
                  <a:lnTo>
                    <a:pt x="1181" y="658"/>
                  </a:lnTo>
                  <a:lnTo>
                    <a:pt x="1179" y="658"/>
                  </a:lnTo>
                  <a:lnTo>
                    <a:pt x="1181" y="655"/>
                  </a:lnTo>
                  <a:lnTo>
                    <a:pt x="1184" y="655"/>
                  </a:lnTo>
                  <a:lnTo>
                    <a:pt x="1184" y="653"/>
                  </a:lnTo>
                  <a:lnTo>
                    <a:pt x="1186" y="653"/>
                  </a:lnTo>
                  <a:lnTo>
                    <a:pt x="1188" y="651"/>
                  </a:lnTo>
                  <a:lnTo>
                    <a:pt x="1191" y="651"/>
                  </a:lnTo>
                  <a:lnTo>
                    <a:pt x="1193" y="651"/>
                  </a:lnTo>
                  <a:lnTo>
                    <a:pt x="1195" y="651"/>
                  </a:lnTo>
                  <a:lnTo>
                    <a:pt x="1195" y="648"/>
                  </a:lnTo>
                  <a:lnTo>
                    <a:pt x="1195" y="651"/>
                  </a:lnTo>
                  <a:lnTo>
                    <a:pt x="1195" y="648"/>
                  </a:lnTo>
                  <a:lnTo>
                    <a:pt x="1198" y="648"/>
                  </a:lnTo>
                  <a:lnTo>
                    <a:pt x="1200" y="648"/>
                  </a:lnTo>
                  <a:lnTo>
                    <a:pt x="1200" y="651"/>
                  </a:lnTo>
                  <a:lnTo>
                    <a:pt x="1200" y="648"/>
                  </a:lnTo>
                  <a:lnTo>
                    <a:pt x="1203" y="648"/>
                  </a:lnTo>
                  <a:lnTo>
                    <a:pt x="1200" y="648"/>
                  </a:lnTo>
                  <a:lnTo>
                    <a:pt x="1198" y="648"/>
                  </a:lnTo>
                  <a:lnTo>
                    <a:pt x="1200" y="648"/>
                  </a:lnTo>
                  <a:lnTo>
                    <a:pt x="1198" y="648"/>
                  </a:lnTo>
                  <a:lnTo>
                    <a:pt x="1200" y="648"/>
                  </a:lnTo>
                  <a:lnTo>
                    <a:pt x="1203" y="648"/>
                  </a:lnTo>
                  <a:lnTo>
                    <a:pt x="1205" y="648"/>
                  </a:lnTo>
                  <a:lnTo>
                    <a:pt x="1203" y="648"/>
                  </a:lnTo>
                  <a:lnTo>
                    <a:pt x="1205" y="648"/>
                  </a:lnTo>
                  <a:lnTo>
                    <a:pt x="1207" y="648"/>
                  </a:lnTo>
                  <a:lnTo>
                    <a:pt x="1210" y="648"/>
                  </a:lnTo>
                  <a:lnTo>
                    <a:pt x="1207" y="648"/>
                  </a:lnTo>
                  <a:lnTo>
                    <a:pt x="1210" y="648"/>
                  </a:lnTo>
                  <a:lnTo>
                    <a:pt x="1212" y="648"/>
                  </a:lnTo>
                  <a:lnTo>
                    <a:pt x="1214" y="648"/>
                  </a:lnTo>
                  <a:lnTo>
                    <a:pt x="1214" y="651"/>
                  </a:lnTo>
                  <a:lnTo>
                    <a:pt x="1214" y="653"/>
                  </a:lnTo>
                  <a:lnTo>
                    <a:pt x="1217" y="653"/>
                  </a:lnTo>
                  <a:lnTo>
                    <a:pt x="1217" y="655"/>
                  </a:lnTo>
                  <a:lnTo>
                    <a:pt x="1219" y="658"/>
                  </a:lnTo>
                  <a:lnTo>
                    <a:pt x="1219" y="655"/>
                  </a:lnTo>
                  <a:lnTo>
                    <a:pt x="1222" y="655"/>
                  </a:lnTo>
                  <a:lnTo>
                    <a:pt x="1222" y="658"/>
                  </a:lnTo>
                  <a:lnTo>
                    <a:pt x="1222" y="660"/>
                  </a:lnTo>
                  <a:lnTo>
                    <a:pt x="1222" y="662"/>
                  </a:lnTo>
                  <a:lnTo>
                    <a:pt x="1222" y="660"/>
                  </a:lnTo>
                  <a:lnTo>
                    <a:pt x="1222" y="662"/>
                  </a:lnTo>
                  <a:lnTo>
                    <a:pt x="1222" y="665"/>
                  </a:lnTo>
                  <a:lnTo>
                    <a:pt x="1224" y="665"/>
                  </a:lnTo>
                  <a:lnTo>
                    <a:pt x="1224" y="667"/>
                  </a:lnTo>
                  <a:lnTo>
                    <a:pt x="1224" y="665"/>
                  </a:lnTo>
                  <a:lnTo>
                    <a:pt x="1226" y="667"/>
                  </a:lnTo>
                  <a:lnTo>
                    <a:pt x="1229" y="667"/>
                  </a:lnTo>
                  <a:lnTo>
                    <a:pt x="1231" y="667"/>
                  </a:lnTo>
                  <a:lnTo>
                    <a:pt x="1231" y="670"/>
                  </a:lnTo>
                  <a:lnTo>
                    <a:pt x="1229" y="670"/>
                  </a:lnTo>
                  <a:lnTo>
                    <a:pt x="1226" y="670"/>
                  </a:lnTo>
                  <a:lnTo>
                    <a:pt x="1226" y="672"/>
                  </a:lnTo>
                  <a:lnTo>
                    <a:pt x="1226" y="674"/>
                  </a:lnTo>
                  <a:lnTo>
                    <a:pt x="1224" y="674"/>
                  </a:lnTo>
                  <a:lnTo>
                    <a:pt x="1224" y="677"/>
                  </a:lnTo>
                  <a:lnTo>
                    <a:pt x="1224" y="679"/>
                  </a:lnTo>
                  <a:lnTo>
                    <a:pt x="1222" y="679"/>
                  </a:lnTo>
                  <a:lnTo>
                    <a:pt x="1222" y="682"/>
                  </a:lnTo>
                  <a:lnTo>
                    <a:pt x="1224" y="684"/>
                  </a:lnTo>
                  <a:lnTo>
                    <a:pt x="1224" y="682"/>
                  </a:lnTo>
                  <a:lnTo>
                    <a:pt x="1224" y="684"/>
                  </a:lnTo>
                  <a:lnTo>
                    <a:pt x="1226" y="684"/>
                  </a:lnTo>
                  <a:lnTo>
                    <a:pt x="1224" y="684"/>
                  </a:lnTo>
                  <a:lnTo>
                    <a:pt x="1226" y="684"/>
                  </a:lnTo>
                  <a:lnTo>
                    <a:pt x="1229" y="684"/>
                  </a:lnTo>
                  <a:lnTo>
                    <a:pt x="1226" y="686"/>
                  </a:lnTo>
                  <a:lnTo>
                    <a:pt x="1226" y="689"/>
                  </a:lnTo>
                  <a:lnTo>
                    <a:pt x="1229" y="689"/>
                  </a:lnTo>
                  <a:lnTo>
                    <a:pt x="1231" y="689"/>
                  </a:lnTo>
                  <a:lnTo>
                    <a:pt x="1229" y="689"/>
                  </a:lnTo>
                  <a:lnTo>
                    <a:pt x="1229" y="691"/>
                  </a:lnTo>
                  <a:lnTo>
                    <a:pt x="1231" y="691"/>
                  </a:lnTo>
                  <a:lnTo>
                    <a:pt x="1233" y="693"/>
                  </a:lnTo>
                  <a:lnTo>
                    <a:pt x="1233" y="696"/>
                  </a:lnTo>
                  <a:lnTo>
                    <a:pt x="1236" y="693"/>
                  </a:lnTo>
                  <a:lnTo>
                    <a:pt x="1236" y="696"/>
                  </a:lnTo>
                  <a:lnTo>
                    <a:pt x="1233" y="698"/>
                  </a:lnTo>
                  <a:lnTo>
                    <a:pt x="1236" y="698"/>
                  </a:lnTo>
                  <a:lnTo>
                    <a:pt x="1233" y="698"/>
                  </a:lnTo>
                  <a:lnTo>
                    <a:pt x="1233" y="701"/>
                  </a:lnTo>
                  <a:lnTo>
                    <a:pt x="1233" y="703"/>
                  </a:lnTo>
                  <a:lnTo>
                    <a:pt x="1233" y="705"/>
                  </a:lnTo>
                  <a:lnTo>
                    <a:pt x="1233" y="708"/>
                  </a:lnTo>
                  <a:lnTo>
                    <a:pt x="1233" y="710"/>
                  </a:lnTo>
                  <a:lnTo>
                    <a:pt x="1233" y="712"/>
                  </a:lnTo>
                  <a:lnTo>
                    <a:pt x="1231" y="715"/>
                  </a:lnTo>
                  <a:lnTo>
                    <a:pt x="1233" y="715"/>
                  </a:lnTo>
                  <a:lnTo>
                    <a:pt x="1233" y="712"/>
                  </a:lnTo>
                  <a:lnTo>
                    <a:pt x="1233" y="715"/>
                  </a:lnTo>
                  <a:lnTo>
                    <a:pt x="1236" y="715"/>
                  </a:lnTo>
                  <a:lnTo>
                    <a:pt x="1236" y="717"/>
                  </a:lnTo>
                  <a:lnTo>
                    <a:pt x="1238" y="717"/>
                  </a:lnTo>
                  <a:lnTo>
                    <a:pt x="1240" y="717"/>
                  </a:lnTo>
                  <a:lnTo>
                    <a:pt x="1240" y="715"/>
                  </a:lnTo>
                  <a:lnTo>
                    <a:pt x="1240" y="717"/>
                  </a:lnTo>
                  <a:lnTo>
                    <a:pt x="1240" y="715"/>
                  </a:lnTo>
                  <a:lnTo>
                    <a:pt x="1243" y="715"/>
                  </a:lnTo>
                  <a:lnTo>
                    <a:pt x="1243" y="717"/>
                  </a:lnTo>
                  <a:lnTo>
                    <a:pt x="1243" y="720"/>
                  </a:lnTo>
                  <a:lnTo>
                    <a:pt x="1240" y="720"/>
                  </a:lnTo>
                  <a:lnTo>
                    <a:pt x="1240" y="722"/>
                  </a:lnTo>
                  <a:lnTo>
                    <a:pt x="1243" y="722"/>
                  </a:lnTo>
                  <a:lnTo>
                    <a:pt x="1245" y="722"/>
                  </a:lnTo>
                  <a:lnTo>
                    <a:pt x="1248" y="722"/>
                  </a:lnTo>
                  <a:lnTo>
                    <a:pt x="1248" y="724"/>
                  </a:lnTo>
                  <a:lnTo>
                    <a:pt x="1250" y="727"/>
                  </a:lnTo>
                  <a:lnTo>
                    <a:pt x="1252" y="727"/>
                  </a:lnTo>
                  <a:lnTo>
                    <a:pt x="1250" y="727"/>
                  </a:lnTo>
                  <a:lnTo>
                    <a:pt x="1252" y="727"/>
                  </a:lnTo>
                  <a:lnTo>
                    <a:pt x="1252" y="729"/>
                  </a:lnTo>
                  <a:lnTo>
                    <a:pt x="1255" y="729"/>
                  </a:lnTo>
                  <a:lnTo>
                    <a:pt x="1255" y="731"/>
                  </a:lnTo>
                  <a:lnTo>
                    <a:pt x="1257" y="731"/>
                  </a:lnTo>
                  <a:lnTo>
                    <a:pt x="1255" y="731"/>
                  </a:lnTo>
                  <a:lnTo>
                    <a:pt x="1257" y="731"/>
                  </a:lnTo>
                  <a:lnTo>
                    <a:pt x="1259" y="731"/>
                  </a:lnTo>
                  <a:lnTo>
                    <a:pt x="1257" y="731"/>
                  </a:lnTo>
                  <a:lnTo>
                    <a:pt x="1259" y="731"/>
                  </a:lnTo>
                  <a:lnTo>
                    <a:pt x="1259" y="734"/>
                  </a:lnTo>
                  <a:lnTo>
                    <a:pt x="1262" y="734"/>
                  </a:lnTo>
                  <a:lnTo>
                    <a:pt x="1262" y="736"/>
                  </a:lnTo>
                  <a:lnTo>
                    <a:pt x="1262" y="739"/>
                  </a:lnTo>
                  <a:lnTo>
                    <a:pt x="1262" y="741"/>
                  </a:lnTo>
                  <a:lnTo>
                    <a:pt x="1262" y="743"/>
                  </a:lnTo>
                  <a:lnTo>
                    <a:pt x="1262" y="741"/>
                  </a:lnTo>
                  <a:lnTo>
                    <a:pt x="1262" y="743"/>
                  </a:lnTo>
                  <a:lnTo>
                    <a:pt x="1259" y="743"/>
                  </a:lnTo>
                  <a:lnTo>
                    <a:pt x="1259" y="746"/>
                  </a:lnTo>
                  <a:lnTo>
                    <a:pt x="1259" y="748"/>
                  </a:lnTo>
                  <a:lnTo>
                    <a:pt x="1259" y="750"/>
                  </a:lnTo>
                  <a:lnTo>
                    <a:pt x="1259" y="753"/>
                  </a:lnTo>
                  <a:lnTo>
                    <a:pt x="1257" y="753"/>
                  </a:lnTo>
                  <a:lnTo>
                    <a:pt x="1257" y="750"/>
                  </a:lnTo>
                  <a:lnTo>
                    <a:pt x="1255" y="750"/>
                  </a:lnTo>
                  <a:lnTo>
                    <a:pt x="1255" y="753"/>
                  </a:lnTo>
                  <a:lnTo>
                    <a:pt x="1257" y="753"/>
                  </a:lnTo>
                  <a:lnTo>
                    <a:pt x="1259" y="755"/>
                  </a:lnTo>
                  <a:lnTo>
                    <a:pt x="1259" y="758"/>
                  </a:lnTo>
                  <a:lnTo>
                    <a:pt x="1257" y="758"/>
                  </a:lnTo>
                  <a:lnTo>
                    <a:pt x="1255" y="758"/>
                  </a:lnTo>
                  <a:lnTo>
                    <a:pt x="1255" y="760"/>
                  </a:lnTo>
                  <a:lnTo>
                    <a:pt x="1255" y="758"/>
                  </a:lnTo>
                  <a:lnTo>
                    <a:pt x="1257" y="760"/>
                  </a:lnTo>
                  <a:lnTo>
                    <a:pt x="1257" y="762"/>
                  </a:lnTo>
                  <a:lnTo>
                    <a:pt x="1255" y="760"/>
                  </a:lnTo>
                  <a:lnTo>
                    <a:pt x="1252" y="760"/>
                  </a:lnTo>
                  <a:lnTo>
                    <a:pt x="1252" y="762"/>
                  </a:lnTo>
                  <a:lnTo>
                    <a:pt x="1255" y="762"/>
                  </a:lnTo>
                  <a:lnTo>
                    <a:pt x="1255" y="765"/>
                  </a:lnTo>
                  <a:lnTo>
                    <a:pt x="1252" y="765"/>
                  </a:lnTo>
                  <a:lnTo>
                    <a:pt x="1250" y="765"/>
                  </a:lnTo>
                  <a:lnTo>
                    <a:pt x="1250" y="767"/>
                  </a:lnTo>
                  <a:lnTo>
                    <a:pt x="1248" y="767"/>
                  </a:lnTo>
                  <a:lnTo>
                    <a:pt x="1248" y="769"/>
                  </a:lnTo>
                  <a:lnTo>
                    <a:pt x="1250" y="769"/>
                  </a:lnTo>
                  <a:lnTo>
                    <a:pt x="1252" y="769"/>
                  </a:lnTo>
                  <a:lnTo>
                    <a:pt x="1255" y="769"/>
                  </a:lnTo>
                  <a:lnTo>
                    <a:pt x="1255" y="772"/>
                  </a:lnTo>
                  <a:lnTo>
                    <a:pt x="1252" y="772"/>
                  </a:lnTo>
                  <a:lnTo>
                    <a:pt x="1250" y="772"/>
                  </a:lnTo>
                  <a:lnTo>
                    <a:pt x="1252" y="772"/>
                  </a:lnTo>
                  <a:lnTo>
                    <a:pt x="1252" y="774"/>
                  </a:lnTo>
                  <a:lnTo>
                    <a:pt x="1255" y="774"/>
                  </a:lnTo>
                  <a:lnTo>
                    <a:pt x="1255" y="777"/>
                  </a:lnTo>
                  <a:lnTo>
                    <a:pt x="1252" y="777"/>
                  </a:lnTo>
                  <a:lnTo>
                    <a:pt x="1250" y="779"/>
                  </a:lnTo>
                  <a:lnTo>
                    <a:pt x="1250" y="781"/>
                  </a:lnTo>
                  <a:lnTo>
                    <a:pt x="1250" y="784"/>
                  </a:lnTo>
                  <a:lnTo>
                    <a:pt x="1248" y="784"/>
                  </a:lnTo>
                  <a:lnTo>
                    <a:pt x="1245" y="784"/>
                  </a:lnTo>
                  <a:lnTo>
                    <a:pt x="1243" y="784"/>
                  </a:lnTo>
                  <a:lnTo>
                    <a:pt x="1243" y="786"/>
                  </a:lnTo>
                  <a:lnTo>
                    <a:pt x="1243" y="784"/>
                  </a:lnTo>
                  <a:lnTo>
                    <a:pt x="1243" y="786"/>
                  </a:lnTo>
                  <a:lnTo>
                    <a:pt x="1240" y="786"/>
                  </a:lnTo>
                  <a:lnTo>
                    <a:pt x="1238" y="786"/>
                  </a:lnTo>
                  <a:lnTo>
                    <a:pt x="1236" y="786"/>
                  </a:lnTo>
                  <a:lnTo>
                    <a:pt x="1233" y="786"/>
                  </a:lnTo>
                  <a:lnTo>
                    <a:pt x="1233" y="784"/>
                  </a:lnTo>
                  <a:lnTo>
                    <a:pt x="1233" y="786"/>
                  </a:lnTo>
                  <a:lnTo>
                    <a:pt x="1231" y="786"/>
                  </a:lnTo>
                  <a:lnTo>
                    <a:pt x="1231" y="784"/>
                  </a:lnTo>
                  <a:lnTo>
                    <a:pt x="1229" y="784"/>
                  </a:lnTo>
                  <a:lnTo>
                    <a:pt x="1229" y="786"/>
                  </a:lnTo>
                  <a:lnTo>
                    <a:pt x="1229" y="784"/>
                  </a:lnTo>
                  <a:lnTo>
                    <a:pt x="1231" y="784"/>
                  </a:lnTo>
                  <a:lnTo>
                    <a:pt x="1231" y="786"/>
                  </a:lnTo>
                  <a:lnTo>
                    <a:pt x="1229" y="786"/>
                  </a:lnTo>
                  <a:lnTo>
                    <a:pt x="1226" y="786"/>
                  </a:lnTo>
                  <a:lnTo>
                    <a:pt x="1226" y="788"/>
                  </a:lnTo>
                  <a:lnTo>
                    <a:pt x="1224" y="788"/>
                  </a:lnTo>
                  <a:lnTo>
                    <a:pt x="1224" y="791"/>
                  </a:lnTo>
                  <a:lnTo>
                    <a:pt x="1224" y="793"/>
                  </a:lnTo>
                  <a:lnTo>
                    <a:pt x="1222" y="796"/>
                  </a:lnTo>
                  <a:lnTo>
                    <a:pt x="1224" y="796"/>
                  </a:lnTo>
                  <a:lnTo>
                    <a:pt x="1222" y="796"/>
                  </a:lnTo>
                  <a:lnTo>
                    <a:pt x="1222" y="798"/>
                  </a:lnTo>
                  <a:lnTo>
                    <a:pt x="1222" y="800"/>
                  </a:lnTo>
                  <a:lnTo>
                    <a:pt x="1219" y="800"/>
                  </a:lnTo>
                  <a:lnTo>
                    <a:pt x="1219" y="803"/>
                  </a:lnTo>
                  <a:lnTo>
                    <a:pt x="1217" y="803"/>
                  </a:lnTo>
                  <a:lnTo>
                    <a:pt x="1214" y="803"/>
                  </a:lnTo>
                  <a:lnTo>
                    <a:pt x="1214" y="805"/>
                  </a:lnTo>
                  <a:lnTo>
                    <a:pt x="1214" y="807"/>
                  </a:lnTo>
                  <a:lnTo>
                    <a:pt x="1217" y="807"/>
                  </a:lnTo>
                  <a:lnTo>
                    <a:pt x="1219" y="807"/>
                  </a:lnTo>
                  <a:lnTo>
                    <a:pt x="1219" y="810"/>
                  </a:lnTo>
                  <a:lnTo>
                    <a:pt x="1219" y="812"/>
                  </a:lnTo>
                  <a:lnTo>
                    <a:pt x="1217" y="812"/>
                  </a:lnTo>
                  <a:lnTo>
                    <a:pt x="1217" y="810"/>
                  </a:lnTo>
                  <a:lnTo>
                    <a:pt x="1214" y="810"/>
                  </a:lnTo>
                  <a:lnTo>
                    <a:pt x="1212" y="812"/>
                  </a:lnTo>
                  <a:lnTo>
                    <a:pt x="1214" y="810"/>
                  </a:lnTo>
                  <a:lnTo>
                    <a:pt x="1214" y="812"/>
                  </a:lnTo>
                  <a:lnTo>
                    <a:pt x="1214" y="815"/>
                  </a:lnTo>
                  <a:lnTo>
                    <a:pt x="1217" y="815"/>
                  </a:lnTo>
                  <a:lnTo>
                    <a:pt x="1217" y="817"/>
                  </a:lnTo>
                  <a:lnTo>
                    <a:pt x="1214" y="817"/>
                  </a:lnTo>
                  <a:lnTo>
                    <a:pt x="1212" y="817"/>
                  </a:lnTo>
                  <a:lnTo>
                    <a:pt x="1210" y="817"/>
                  </a:lnTo>
                  <a:lnTo>
                    <a:pt x="1210" y="819"/>
                  </a:lnTo>
                  <a:lnTo>
                    <a:pt x="1207" y="819"/>
                  </a:lnTo>
                  <a:lnTo>
                    <a:pt x="1205" y="819"/>
                  </a:lnTo>
                  <a:lnTo>
                    <a:pt x="1205" y="822"/>
                  </a:lnTo>
                  <a:lnTo>
                    <a:pt x="1205" y="824"/>
                  </a:lnTo>
                  <a:lnTo>
                    <a:pt x="1203" y="824"/>
                  </a:lnTo>
                  <a:lnTo>
                    <a:pt x="1200" y="824"/>
                  </a:lnTo>
                  <a:lnTo>
                    <a:pt x="1200" y="822"/>
                  </a:lnTo>
                  <a:lnTo>
                    <a:pt x="1200" y="824"/>
                  </a:lnTo>
                  <a:lnTo>
                    <a:pt x="1200" y="822"/>
                  </a:lnTo>
                  <a:lnTo>
                    <a:pt x="1198" y="822"/>
                  </a:lnTo>
                  <a:lnTo>
                    <a:pt x="1195" y="822"/>
                  </a:lnTo>
                  <a:lnTo>
                    <a:pt x="1195" y="824"/>
                  </a:lnTo>
                  <a:lnTo>
                    <a:pt x="1195" y="826"/>
                  </a:lnTo>
                  <a:lnTo>
                    <a:pt x="1198" y="826"/>
                  </a:lnTo>
                  <a:lnTo>
                    <a:pt x="1200" y="826"/>
                  </a:lnTo>
                  <a:lnTo>
                    <a:pt x="1198" y="826"/>
                  </a:lnTo>
                  <a:lnTo>
                    <a:pt x="1200" y="829"/>
                  </a:lnTo>
                  <a:lnTo>
                    <a:pt x="1198" y="829"/>
                  </a:lnTo>
                  <a:lnTo>
                    <a:pt x="1200" y="829"/>
                  </a:lnTo>
                  <a:lnTo>
                    <a:pt x="1198" y="829"/>
                  </a:lnTo>
                  <a:lnTo>
                    <a:pt x="1198" y="831"/>
                  </a:lnTo>
                  <a:lnTo>
                    <a:pt x="1200" y="831"/>
                  </a:lnTo>
                  <a:lnTo>
                    <a:pt x="1203" y="831"/>
                  </a:lnTo>
                  <a:lnTo>
                    <a:pt x="1203" y="834"/>
                  </a:lnTo>
                  <a:lnTo>
                    <a:pt x="1203" y="836"/>
                  </a:lnTo>
                  <a:lnTo>
                    <a:pt x="1205" y="836"/>
                  </a:lnTo>
                  <a:lnTo>
                    <a:pt x="1205" y="838"/>
                  </a:lnTo>
                  <a:lnTo>
                    <a:pt x="1207" y="838"/>
                  </a:lnTo>
                  <a:lnTo>
                    <a:pt x="1207" y="841"/>
                  </a:lnTo>
                  <a:lnTo>
                    <a:pt x="1207" y="843"/>
                  </a:lnTo>
                  <a:lnTo>
                    <a:pt x="1210" y="843"/>
                  </a:lnTo>
                  <a:lnTo>
                    <a:pt x="1207" y="845"/>
                  </a:lnTo>
                  <a:lnTo>
                    <a:pt x="1207" y="848"/>
                  </a:lnTo>
                  <a:lnTo>
                    <a:pt x="1207" y="850"/>
                  </a:lnTo>
                  <a:lnTo>
                    <a:pt x="1210" y="850"/>
                  </a:lnTo>
                  <a:lnTo>
                    <a:pt x="1212" y="850"/>
                  </a:lnTo>
                  <a:lnTo>
                    <a:pt x="1214" y="850"/>
                  </a:lnTo>
                  <a:lnTo>
                    <a:pt x="1214" y="853"/>
                  </a:lnTo>
                  <a:lnTo>
                    <a:pt x="1217" y="853"/>
                  </a:lnTo>
                  <a:lnTo>
                    <a:pt x="1217" y="855"/>
                  </a:lnTo>
                  <a:lnTo>
                    <a:pt x="1219" y="855"/>
                  </a:lnTo>
                  <a:lnTo>
                    <a:pt x="1222" y="855"/>
                  </a:lnTo>
                  <a:lnTo>
                    <a:pt x="1224" y="857"/>
                  </a:lnTo>
                  <a:lnTo>
                    <a:pt x="1224" y="860"/>
                  </a:lnTo>
                  <a:lnTo>
                    <a:pt x="1224" y="857"/>
                  </a:lnTo>
                  <a:lnTo>
                    <a:pt x="1222" y="855"/>
                  </a:lnTo>
                  <a:lnTo>
                    <a:pt x="1219" y="855"/>
                  </a:lnTo>
                  <a:lnTo>
                    <a:pt x="1217" y="855"/>
                  </a:lnTo>
                  <a:lnTo>
                    <a:pt x="1217" y="853"/>
                  </a:lnTo>
                  <a:lnTo>
                    <a:pt x="1214" y="853"/>
                  </a:lnTo>
                  <a:lnTo>
                    <a:pt x="1214" y="850"/>
                  </a:lnTo>
                  <a:lnTo>
                    <a:pt x="1212" y="850"/>
                  </a:lnTo>
                  <a:lnTo>
                    <a:pt x="1210" y="850"/>
                  </a:lnTo>
                  <a:lnTo>
                    <a:pt x="1207" y="850"/>
                  </a:lnTo>
                  <a:lnTo>
                    <a:pt x="1207" y="848"/>
                  </a:lnTo>
                  <a:lnTo>
                    <a:pt x="1207" y="845"/>
                  </a:lnTo>
                  <a:lnTo>
                    <a:pt x="1210" y="843"/>
                  </a:lnTo>
                  <a:lnTo>
                    <a:pt x="1207" y="843"/>
                  </a:lnTo>
                  <a:lnTo>
                    <a:pt x="1207" y="841"/>
                  </a:lnTo>
                  <a:lnTo>
                    <a:pt x="1207" y="838"/>
                  </a:lnTo>
                  <a:lnTo>
                    <a:pt x="1205" y="838"/>
                  </a:lnTo>
                  <a:lnTo>
                    <a:pt x="1205" y="836"/>
                  </a:lnTo>
                  <a:lnTo>
                    <a:pt x="1205" y="834"/>
                  </a:lnTo>
                  <a:lnTo>
                    <a:pt x="1203" y="834"/>
                  </a:lnTo>
                  <a:lnTo>
                    <a:pt x="1203" y="831"/>
                  </a:lnTo>
                  <a:lnTo>
                    <a:pt x="1200" y="831"/>
                  </a:lnTo>
                  <a:lnTo>
                    <a:pt x="1203" y="831"/>
                  </a:lnTo>
                  <a:lnTo>
                    <a:pt x="1200" y="831"/>
                  </a:lnTo>
                  <a:lnTo>
                    <a:pt x="1203" y="831"/>
                  </a:lnTo>
                  <a:lnTo>
                    <a:pt x="1200" y="831"/>
                  </a:lnTo>
                  <a:lnTo>
                    <a:pt x="1198" y="831"/>
                  </a:lnTo>
                  <a:lnTo>
                    <a:pt x="1198" y="829"/>
                  </a:lnTo>
                  <a:lnTo>
                    <a:pt x="1200" y="829"/>
                  </a:lnTo>
                  <a:lnTo>
                    <a:pt x="1200" y="826"/>
                  </a:lnTo>
                  <a:lnTo>
                    <a:pt x="1198" y="826"/>
                  </a:lnTo>
                  <a:lnTo>
                    <a:pt x="1195" y="824"/>
                  </a:lnTo>
                  <a:lnTo>
                    <a:pt x="1195" y="822"/>
                  </a:lnTo>
                  <a:lnTo>
                    <a:pt x="1198" y="822"/>
                  </a:lnTo>
                  <a:lnTo>
                    <a:pt x="1200" y="822"/>
                  </a:lnTo>
                  <a:lnTo>
                    <a:pt x="1200" y="824"/>
                  </a:lnTo>
                  <a:lnTo>
                    <a:pt x="1203" y="824"/>
                  </a:lnTo>
                  <a:lnTo>
                    <a:pt x="1205" y="824"/>
                  </a:lnTo>
                  <a:lnTo>
                    <a:pt x="1205" y="822"/>
                  </a:lnTo>
                  <a:lnTo>
                    <a:pt x="1205" y="819"/>
                  </a:lnTo>
                  <a:lnTo>
                    <a:pt x="1207" y="819"/>
                  </a:lnTo>
                  <a:lnTo>
                    <a:pt x="1210" y="822"/>
                  </a:lnTo>
                  <a:lnTo>
                    <a:pt x="1210" y="819"/>
                  </a:lnTo>
                  <a:lnTo>
                    <a:pt x="1212" y="819"/>
                  </a:lnTo>
                  <a:lnTo>
                    <a:pt x="1210" y="817"/>
                  </a:lnTo>
                  <a:lnTo>
                    <a:pt x="1212" y="817"/>
                  </a:lnTo>
                  <a:lnTo>
                    <a:pt x="1214" y="817"/>
                  </a:lnTo>
                  <a:lnTo>
                    <a:pt x="1217" y="817"/>
                  </a:lnTo>
                  <a:lnTo>
                    <a:pt x="1217" y="815"/>
                  </a:lnTo>
                  <a:lnTo>
                    <a:pt x="1214" y="815"/>
                  </a:lnTo>
                  <a:lnTo>
                    <a:pt x="1214" y="812"/>
                  </a:lnTo>
                  <a:lnTo>
                    <a:pt x="1214" y="810"/>
                  </a:lnTo>
                  <a:lnTo>
                    <a:pt x="1217" y="810"/>
                  </a:lnTo>
                  <a:lnTo>
                    <a:pt x="1217" y="812"/>
                  </a:lnTo>
                  <a:lnTo>
                    <a:pt x="1219" y="812"/>
                  </a:lnTo>
                  <a:lnTo>
                    <a:pt x="1219" y="810"/>
                  </a:lnTo>
                  <a:lnTo>
                    <a:pt x="1219" y="807"/>
                  </a:lnTo>
                  <a:lnTo>
                    <a:pt x="1217" y="807"/>
                  </a:lnTo>
                  <a:lnTo>
                    <a:pt x="1214" y="807"/>
                  </a:lnTo>
                  <a:lnTo>
                    <a:pt x="1214" y="805"/>
                  </a:lnTo>
                  <a:lnTo>
                    <a:pt x="1214" y="803"/>
                  </a:lnTo>
                  <a:lnTo>
                    <a:pt x="1217" y="803"/>
                  </a:lnTo>
                  <a:lnTo>
                    <a:pt x="1219" y="803"/>
                  </a:lnTo>
                  <a:lnTo>
                    <a:pt x="1219" y="800"/>
                  </a:lnTo>
                  <a:lnTo>
                    <a:pt x="1222" y="800"/>
                  </a:lnTo>
                  <a:lnTo>
                    <a:pt x="1222" y="798"/>
                  </a:lnTo>
                  <a:lnTo>
                    <a:pt x="1224" y="796"/>
                  </a:lnTo>
                  <a:lnTo>
                    <a:pt x="1224" y="798"/>
                  </a:lnTo>
                  <a:lnTo>
                    <a:pt x="1224" y="796"/>
                  </a:lnTo>
                  <a:lnTo>
                    <a:pt x="1222" y="796"/>
                  </a:lnTo>
                  <a:lnTo>
                    <a:pt x="1224" y="796"/>
                  </a:lnTo>
                  <a:lnTo>
                    <a:pt x="1224" y="793"/>
                  </a:lnTo>
                  <a:lnTo>
                    <a:pt x="1224" y="791"/>
                  </a:lnTo>
                  <a:lnTo>
                    <a:pt x="1224" y="788"/>
                  </a:lnTo>
                  <a:lnTo>
                    <a:pt x="1226" y="788"/>
                  </a:lnTo>
                  <a:lnTo>
                    <a:pt x="1226" y="786"/>
                  </a:lnTo>
                  <a:lnTo>
                    <a:pt x="1229" y="786"/>
                  </a:lnTo>
                  <a:lnTo>
                    <a:pt x="1231" y="786"/>
                  </a:lnTo>
                  <a:lnTo>
                    <a:pt x="1233" y="786"/>
                  </a:lnTo>
                  <a:lnTo>
                    <a:pt x="1236" y="786"/>
                  </a:lnTo>
                  <a:lnTo>
                    <a:pt x="1238" y="788"/>
                  </a:lnTo>
                  <a:lnTo>
                    <a:pt x="1238" y="786"/>
                  </a:lnTo>
                  <a:lnTo>
                    <a:pt x="1240" y="786"/>
                  </a:lnTo>
                  <a:lnTo>
                    <a:pt x="1240" y="788"/>
                  </a:lnTo>
                  <a:lnTo>
                    <a:pt x="1240" y="786"/>
                  </a:lnTo>
                  <a:lnTo>
                    <a:pt x="1243" y="786"/>
                  </a:lnTo>
                  <a:lnTo>
                    <a:pt x="1240" y="788"/>
                  </a:lnTo>
                  <a:lnTo>
                    <a:pt x="1240" y="786"/>
                  </a:lnTo>
                  <a:lnTo>
                    <a:pt x="1243" y="786"/>
                  </a:lnTo>
                  <a:lnTo>
                    <a:pt x="1243" y="784"/>
                  </a:lnTo>
                  <a:lnTo>
                    <a:pt x="1245" y="784"/>
                  </a:lnTo>
                  <a:lnTo>
                    <a:pt x="1248" y="784"/>
                  </a:lnTo>
                  <a:lnTo>
                    <a:pt x="1250" y="784"/>
                  </a:lnTo>
                  <a:lnTo>
                    <a:pt x="1252" y="784"/>
                  </a:lnTo>
                  <a:lnTo>
                    <a:pt x="1252" y="781"/>
                  </a:lnTo>
                  <a:lnTo>
                    <a:pt x="1250" y="781"/>
                  </a:lnTo>
                  <a:lnTo>
                    <a:pt x="1250" y="779"/>
                  </a:lnTo>
                  <a:lnTo>
                    <a:pt x="1252" y="779"/>
                  </a:lnTo>
                  <a:lnTo>
                    <a:pt x="1252" y="777"/>
                  </a:lnTo>
                  <a:lnTo>
                    <a:pt x="1255" y="777"/>
                  </a:lnTo>
                  <a:lnTo>
                    <a:pt x="1255" y="774"/>
                  </a:lnTo>
                  <a:lnTo>
                    <a:pt x="1252" y="772"/>
                  </a:lnTo>
                  <a:lnTo>
                    <a:pt x="1250" y="772"/>
                  </a:lnTo>
                  <a:lnTo>
                    <a:pt x="1252" y="772"/>
                  </a:lnTo>
                  <a:lnTo>
                    <a:pt x="1255" y="772"/>
                  </a:lnTo>
                  <a:lnTo>
                    <a:pt x="1255" y="769"/>
                  </a:lnTo>
                  <a:lnTo>
                    <a:pt x="1252" y="769"/>
                  </a:lnTo>
                  <a:lnTo>
                    <a:pt x="1250" y="769"/>
                  </a:lnTo>
                  <a:lnTo>
                    <a:pt x="1248" y="769"/>
                  </a:lnTo>
                  <a:lnTo>
                    <a:pt x="1248" y="767"/>
                  </a:lnTo>
                  <a:lnTo>
                    <a:pt x="1250" y="767"/>
                  </a:lnTo>
                  <a:lnTo>
                    <a:pt x="1252" y="765"/>
                  </a:lnTo>
                  <a:lnTo>
                    <a:pt x="1255" y="765"/>
                  </a:lnTo>
                  <a:lnTo>
                    <a:pt x="1255" y="762"/>
                  </a:lnTo>
                  <a:lnTo>
                    <a:pt x="1255" y="760"/>
                  </a:lnTo>
                  <a:lnTo>
                    <a:pt x="1255" y="762"/>
                  </a:lnTo>
                  <a:lnTo>
                    <a:pt x="1257" y="762"/>
                  </a:lnTo>
                  <a:lnTo>
                    <a:pt x="1257" y="760"/>
                  </a:lnTo>
                  <a:lnTo>
                    <a:pt x="1257" y="758"/>
                  </a:lnTo>
                  <a:lnTo>
                    <a:pt x="1255" y="758"/>
                  </a:lnTo>
                  <a:lnTo>
                    <a:pt x="1257" y="758"/>
                  </a:lnTo>
                  <a:lnTo>
                    <a:pt x="1259" y="758"/>
                  </a:lnTo>
                  <a:lnTo>
                    <a:pt x="1259" y="755"/>
                  </a:lnTo>
                  <a:lnTo>
                    <a:pt x="1257" y="753"/>
                  </a:lnTo>
                  <a:lnTo>
                    <a:pt x="1257" y="750"/>
                  </a:lnTo>
                  <a:lnTo>
                    <a:pt x="1257" y="753"/>
                  </a:lnTo>
                  <a:lnTo>
                    <a:pt x="1259" y="753"/>
                  </a:lnTo>
                  <a:lnTo>
                    <a:pt x="1262" y="750"/>
                  </a:lnTo>
                  <a:lnTo>
                    <a:pt x="1259" y="750"/>
                  </a:lnTo>
                  <a:lnTo>
                    <a:pt x="1259" y="748"/>
                  </a:lnTo>
                  <a:lnTo>
                    <a:pt x="1259" y="746"/>
                  </a:lnTo>
                  <a:lnTo>
                    <a:pt x="1259" y="743"/>
                  </a:lnTo>
                  <a:lnTo>
                    <a:pt x="1262" y="743"/>
                  </a:lnTo>
                  <a:lnTo>
                    <a:pt x="1262" y="741"/>
                  </a:lnTo>
                  <a:lnTo>
                    <a:pt x="1262" y="739"/>
                  </a:lnTo>
                  <a:lnTo>
                    <a:pt x="1262" y="741"/>
                  </a:lnTo>
                  <a:lnTo>
                    <a:pt x="1264" y="739"/>
                  </a:lnTo>
                  <a:lnTo>
                    <a:pt x="1264" y="736"/>
                  </a:lnTo>
                  <a:lnTo>
                    <a:pt x="1264" y="734"/>
                  </a:lnTo>
                  <a:lnTo>
                    <a:pt x="1262" y="734"/>
                  </a:lnTo>
                  <a:lnTo>
                    <a:pt x="1262" y="731"/>
                  </a:lnTo>
                  <a:lnTo>
                    <a:pt x="1259" y="731"/>
                  </a:lnTo>
                  <a:lnTo>
                    <a:pt x="1257" y="731"/>
                  </a:lnTo>
                  <a:lnTo>
                    <a:pt x="1255" y="731"/>
                  </a:lnTo>
                  <a:lnTo>
                    <a:pt x="1255" y="729"/>
                  </a:lnTo>
                  <a:lnTo>
                    <a:pt x="1255" y="727"/>
                  </a:lnTo>
                  <a:lnTo>
                    <a:pt x="1252" y="727"/>
                  </a:lnTo>
                  <a:lnTo>
                    <a:pt x="1250" y="724"/>
                  </a:lnTo>
                  <a:lnTo>
                    <a:pt x="1250" y="727"/>
                  </a:lnTo>
                  <a:lnTo>
                    <a:pt x="1250" y="724"/>
                  </a:lnTo>
                  <a:lnTo>
                    <a:pt x="1248" y="724"/>
                  </a:lnTo>
                  <a:lnTo>
                    <a:pt x="1248" y="722"/>
                  </a:lnTo>
                  <a:lnTo>
                    <a:pt x="1250" y="722"/>
                  </a:lnTo>
                  <a:lnTo>
                    <a:pt x="1248" y="722"/>
                  </a:lnTo>
                  <a:lnTo>
                    <a:pt x="1245" y="722"/>
                  </a:lnTo>
                  <a:lnTo>
                    <a:pt x="1243" y="722"/>
                  </a:lnTo>
                  <a:lnTo>
                    <a:pt x="1240" y="722"/>
                  </a:lnTo>
                  <a:lnTo>
                    <a:pt x="1240" y="720"/>
                  </a:lnTo>
                  <a:lnTo>
                    <a:pt x="1243" y="720"/>
                  </a:lnTo>
                  <a:lnTo>
                    <a:pt x="1243" y="717"/>
                  </a:lnTo>
                  <a:lnTo>
                    <a:pt x="1243" y="720"/>
                  </a:lnTo>
                  <a:lnTo>
                    <a:pt x="1243" y="717"/>
                  </a:lnTo>
                  <a:lnTo>
                    <a:pt x="1243" y="715"/>
                  </a:lnTo>
                  <a:lnTo>
                    <a:pt x="1243" y="717"/>
                  </a:lnTo>
                  <a:lnTo>
                    <a:pt x="1243" y="715"/>
                  </a:lnTo>
                  <a:lnTo>
                    <a:pt x="1243" y="717"/>
                  </a:lnTo>
                  <a:lnTo>
                    <a:pt x="1243" y="715"/>
                  </a:lnTo>
                  <a:lnTo>
                    <a:pt x="1240" y="715"/>
                  </a:lnTo>
                  <a:lnTo>
                    <a:pt x="1238" y="715"/>
                  </a:lnTo>
                  <a:lnTo>
                    <a:pt x="1238" y="717"/>
                  </a:lnTo>
                  <a:lnTo>
                    <a:pt x="1238" y="715"/>
                  </a:lnTo>
                  <a:lnTo>
                    <a:pt x="1238" y="717"/>
                  </a:lnTo>
                  <a:lnTo>
                    <a:pt x="1236" y="717"/>
                  </a:lnTo>
                  <a:lnTo>
                    <a:pt x="1236" y="715"/>
                  </a:lnTo>
                  <a:lnTo>
                    <a:pt x="1233" y="715"/>
                  </a:lnTo>
                  <a:lnTo>
                    <a:pt x="1236" y="715"/>
                  </a:lnTo>
                  <a:lnTo>
                    <a:pt x="1236" y="712"/>
                  </a:lnTo>
                  <a:lnTo>
                    <a:pt x="1233" y="710"/>
                  </a:lnTo>
                  <a:lnTo>
                    <a:pt x="1236" y="710"/>
                  </a:lnTo>
                  <a:lnTo>
                    <a:pt x="1236" y="712"/>
                  </a:lnTo>
                  <a:lnTo>
                    <a:pt x="1236" y="710"/>
                  </a:lnTo>
                  <a:lnTo>
                    <a:pt x="1236" y="712"/>
                  </a:lnTo>
                  <a:lnTo>
                    <a:pt x="1236" y="710"/>
                  </a:lnTo>
                  <a:lnTo>
                    <a:pt x="1236" y="708"/>
                  </a:lnTo>
                  <a:lnTo>
                    <a:pt x="1236" y="705"/>
                  </a:lnTo>
                  <a:lnTo>
                    <a:pt x="1236" y="703"/>
                  </a:lnTo>
                  <a:lnTo>
                    <a:pt x="1233" y="703"/>
                  </a:lnTo>
                  <a:lnTo>
                    <a:pt x="1236" y="703"/>
                  </a:lnTo>
                  <a:lnTo>
                    <a:pt x="1236" y="701"/>
                  </a:lnTo>
                  <a:lnTo>
                    <a:pt x="1236" y="703"/>
                  </a:lnTo>
                  <a:lnTo>
                    <a:pt x="1236" y="701"/>
                  </a:lnTo>
                  <a:lnTo>
                    <a:pt x="1236" y="698"/>
                  </a:lnTo>
                  <a:lnTo>
                    <a:pt x="1236" y="696"/>
                  </a:lnTo>
                  <a:lnTo>
                    <a:pt x="1236" y="698"/>
                  </a:lnTo>
                  <a:lnTo>
                    <a:pt x="1236" y="696"/>
                  </a:lnTo>
                  <a:lnTo>
                    <a:pt x="1236" y="698"/>
                  </a:lnTo>
                  <a:lnTo>
                    <a:pt x="1236" y="696"/>
                  </a:lnTo>
                  <a:lnTo>
                    <a:pt x="1238" y="696"/>
                  </a:lnTo>
                  <a:lnTo>
                    <a:pt x="1236" y="696"/>
                  </a:lnTo>
                  <a:lnTo>
                    <a:pt x="1236" y="693"/>
                  </a:lnTo>
                  <a:lnTo>
                    <a:pt x="1236" y="691"/>
                  </a:lnTo>
                  <a:lnTo>
                    <a:pt x="1233" y="691"/>
                  </a:lnTo>
                  <a:lnTo>
                    <a:pt x="1236" y="691"/>
                  </a:lnTo>
                  <a:lnTo>
                    <a:pt x="1233" y="691"/>
                  </a:lnTo>
                  <a:lnTo>
                    <a:pt x="1233" y="689"/>
                  </a:lnTo>
                  <a:lnTo>
                    <a:pt x="1231" y="689"/>
                  </a:lnTo>
                  <a:lnTo>
                    <a:pt x="1229" y="689"/>
                  </a:lnTo>
                  <a:lnTo>
                    <a:pt x="1229" y="686"/>
                  </a:lnTo>
                  <a:lnTo>
                    <a:pt x="1226" y="686"/>
                  </a:lnTo>
                  <a:lnTo>
                    <a:pt x="1229" y="686"/>
                  </a:lnTo>
                  <a:lnTo>
                    <a:pt x="1226" y="686"/>
                  </a:lnTo>
                  <a:lnTo>
                    <a:pt x="1229" y="686"/>
                  </a:lnTo>
                  <a:lnTo>
                    <a:pt x="1231" y="689"/>
                  </a:lnTo>
                  <a:lnTo>
                    <a:pt x="1231" y="686"/>
                  </a:lnTo>
                  <a:lnTo>
                    <a:pt x="1229" y="686"/>
                  </a:lnTo>
                  <a:lnTo>
                    <a:pt x="1229" y="684"/>
                  </a:lnTo>
                  <a:lnTo>
                    <a:pt x="1226" y="684"/>
                  </a:lnTo>
                  <a:lnTo>
                    <a:pt x="1224" y="684"/>
                  </a:lnTo>
                  <a:lnTo>
                    <a:pt x="1226" y="684"/>
                  </a:lnTo>
                  <a:lnTo>
                    <a:pt x="1224" y="684"/>
                  </a:lnTo>
                  <a:lnTo>
                    <a:pt x="1224" y="682"/>
                  </a:lnTo>
                  <a:lnTo>
                    <a:pt x="1224" y="679"/>
                  </a:lnTo>
                  <a:lnTo>
                    <a:pt x="1224" y="677"/>
                  </a:lnTo>
                  <a:lnTo>
                    <a:pt x="1226" y="677"/>
                  </a:lnTo>
                  <a:lnTo>
                    <a:pt x="1226" y="674"/>
                  </a:lnTo>
                  <a:lnTo>
                    <a:pt x="1226" y="677"/>
                  </a:lnTo>
                  <a:lnTo>
                    <a:pt x="1224" y="677"/>
                  </a:lnTo>
                  <a:lnTo>
                    <a:pt x="1226" y="677"/>
                  </a:lnTo>
                  <a:lnTo>
                    <a:pt x="1226" y="674"/>
                  </a:lnTo>
                  <a:lnTo>
                    <a:pt x="1229" y="674"/>
                  </a:lnTo>
                  <a:lnTo>
                    <a:pt x="1229" y="672"/>
                  </a:lnTo>
                  <a:lnTo>
                    <a:pt x="1229" y="670"/>
                  </a:lnTo>
                  <a:lnTo>
                    <a:pt x="1231" y="670"/>
                  </a:lnTo>
                  <a:lnTo>
                    <a:pt x="1233" y="670"/>
                  </a:lnTo>
                  <a:lnTo>
                    <a:pt x="1236" y="672"/>
                  </a:lnTo>
                  <a:lnTo>
                    <a:pt x="1238" y="672"/>
                  </a:lnTo>
                  <a:lnTo>
                    <a:pt x="1240" y="672"/>
                  </a:lnTo>
                  <a:lnTo>
                    <a:pt x="1238" y="672"/>
                  </a:lnTo>
                  <a:lnTo>
                    <a:pt x="1240" y="672"/>
                  </a:lnTo>
                  <a:lnTo>
                    <a:pt x="1243" y="672"/>
                  </a:lnTo>
                  <a:lnTo>
                    <a:pt x="1245" y="672"/>
                  </a:lnTo>
                  <a:lnTo>
                    <a:pt x="1245" y="670"/>
                  </a:lnTo>
                  <a:lnTo>
                    <a:pt x="1248" y="670"/>
                  </a:lnTo>
                  <a:lnTo>
                    <a:pt x="1250" y="670"/>
                  </a:lnTo>
                  <a:lnTo>
                    <a:pt x="1252" y="670"/>
                  </a:lnTo>
                  <a:lnTo>
                    <a:pt x="1255" y="670"/>
                  </a:lnTo>
                  <a:lnTo>
                    <a:pt x="1257" y="670"/>
                  </a:lnTo>
                  <a:lnTo>
                    <a:pt x="1257" y="667"/>
                  </a:lnTo>
                  <a:lnTo>
                    <a:pt x="1257" y="670"/>
                  </a:lnTo>
                  <a:lnTo>
                    <a:pt x="1257" y="667"/>
                  </a:lnTo>
                  <a:lnTo>
                    <a:pt x="1259" y="667"/>
                  </a:lnTo>
                  <a:lnTo>
                    <a:pt x="1262" y="667"/>
                  </a:lnTo>
                  <a:lnTo>
                    <a:pt x="1264" y="667"/>
                  </a:lnTo>
                  <a:lnTo>
                    <a:pt x="1267" y="667"/>
                  </a:lnTo>
                  <a:lnTo>
                    <a:pt x="1267" y="670"/>
                  </a:lnTo>
                  <a:lnTo>
                    <a:pt x="1264" y="670"/>
                  </a:lnTo>
                  <a:lnTo>
                    <a:pt x="1264" y="672"/>
                  </a:lnTo>
                  <a:lnTo>
                    <a:pt x="1267" y="670"/>
                  </a:lnTo>
                  <a:lnTo>
                    <a:pt x="1267" y="667"/>
                  </a:lnTo>
                  <a:lnTo>
                    <a:pt x="1269" y="667"/>
                  </a:lnTo>
                  <a:lnTo>
                    <a:pt x="1269" y="665"/>
                  </a:lnTo>
                  <a:lnTo>
                    <a:pt x="1271" y="665"/>
                  </a:lnTo>
                  <a:lnTo>
                    <a:pt x="1269" y="662"/>
                  </a:lnTo>
                  <a:lnTo>
                    <a:pt x="1269" y="660"/>
                  </a:lnTo>
                  <a:lnTo>
                    <a:pt x="1271" y="660"/>
                  </a:lnTo>
                  <a:lnTo>
                    <a:pt x="1271" y="658"/>
                  </a:lnTo>
                  <a:lnTo>
                    <a:pt x="1271" y="660"/>
                  </a:lnTo>
                  <a:lnTo>
                    <a:pt x="1274" y="658"/>
                  </a:lnTo>
                  <a:lnTo>
                    <a:pt x="1274" y="655"/>
                  </a:lnTo>
                  <a:lnTo>
                    <a:pt x="1274" y="658"/>
                  </a:lnTo>
                  <a:lnTo>
                    <a:pt x="1274" y="655"/>
                  </a:lnTo>
                  <a:lnTo>
                    <a:pt x="1276" y="655"/>
                  </a:lnTo>
                  <a:lnTo>
                    <a:pt x="1278" y="653"/>
                  </a:lnTo>
                  <a:lnTo>
                    <a:pt x="1281" y="653"/>
                  </a:lnTo>
                  <a:lnTo>
                    <a:pt x="1283" y="653"/>
                  </a:lnTo>
                  <a:lnTo>
                    <a:pt x="1283" y="651"/>
                  </a:lnTo>
                  <a:lnTo>
                    <a:pt x="1283" y="648"/>
                  </a:lnTo>
                  <a:lnTo>
                    <a:pt x="1286" y="648"/>
                  </a:lnTo>
                  <a:lnTo>
                    <a:pt x="1288" y="648"/>
                  </a:lnTo>
                  <a:lnTo>
                    <a:pt x="1286" y="648"/>
                  </a:lnTo>
                  <a:lnTo>
                    <a:pt x="1288" y="648"/>
                  </a:lnTo>
                  <a:lnTo>
                    <a:pt x="1288" y="646"/>
                  </a:lnTo>
                  <a:lnTo>
                    <a:pt x="1290" y="646"/>
                  </a:lnTo>
                  <a:lnTo>
                    <a:pt x="1293" y="643"/>
                  </a:lnTo>
                  <a:lnTo>
                    <a:pt x="1295" y="643"/>
                  </a:lnTo>
                  <a:lnTo>
                    <a:pt x="1293" y="643"/>
                  </a:lnTo>
                  <a:lnTo>
                    <a:pt x="1295" y="643"/>
                  </a:lnTo>
                  <a:lnTo>
                    <a:pt x="1297" y="643"/>
                  </a:lnTo>
                  <a:lnTo>
                    <a:pt x="1300" y="643"/>
                  </a:lnTo>
                  <a:lnTo>
                    <a:pt x="1302" y="641"/>
                  </a:lnTo>
                  <a:lnTo>
                    <a:pt x="1302" y="639"/>
                  </a:lnTo>
                  <a:lnTo>
                    <a:pt x="1302" y="636"/>
                  </a:lnTo>
                  <a:lnTo>
                    <a:pt x="1305" y="636"/>
                  </a:lnTo>
                  <a:lnTo>
                    <a:pt x="1305" y="634"/>
                  </a:lnTo>
                  <a:lnTo>
                    <a:pt x="1307" y="634"/>
                  </a:lnTo>
                  <a:lnTo>
                    <a:pt x="1309" y="634"/>
                  </a:lnTo>
                  <a:lnTo>
                    <a:pt x="1312" y="634"/>
                  </a:lnTo>
                  <a:lnTo>
                    <a:pt x="1312" y="636"/>
                  </a:lnTo>
                  <a:lnTo>
                    <a:pt x="1314" y="636"/>
                  </a:lnTo>
                  <a:lnTo>
                    <a:pt x="1316" y="636"/>
                  </a:lnTo>
                  <a:lnTo>
                    <a:pt x="1316" y="639"/>
                  </a:lnTo>
                  <a:lnTo>
                    <a:pt x="1319" y="639"/>
                  </a:lnTo>
                  <a:lnTo>
                    <a:pt x="1319" y="641"/>
                  </a:lnTo>
                  <a:lnTo>
                    <a:pt x="1321" y="641"/>
                  </a:lnTo>
                  <a:lnTo>
                    <a:pt x="1319" y="641"/>
                  </a:lnTo>
                  <a:lnTo>
                    <a:pt x="1321" y="641"/>
                  </a:lnTo>
                  <a:lnTo>
                    <a:pt x="1321" y="643"/>
                  </a:lnTo>
                  <a:lnTo>
                    <a:pt x="1321" y="646"/>
                  </a:lnTo>
                  <a:lnTo>
                    <a:pt x="1321" y="648"/>
                  </a:lnTo>
                  <a:lnTo>
                    <a:pt x="1324" y="648"/>
                  </a:lnTo>
                  <a:lnTo>
                    <a:pt x="1324" y="651"/>
                  </a:lnTo>
                  <a:lnTo>
                    <a:pt x="1326" y="651"/>
                  </a:lnTo>
                  <a:lnTo>
                    <a:pt x="1324" y="651"/>
                  </a:lnTo>
                  <a:lnTo>
                    <a:pt x="1324" y="648"/>
                  </a:lnTo>
                  <a:lnTo>
                    <a:pt x="1326" y="651"/>
                  </a:lnTo>
                  <a:lnTo>
                    <a:pt x="1328" y="651"/>
                  </a:lnTo>
                  <a:lnTo>
                    <a:pt x="1326" y="653"/>
                  </a:lnTo>
                  <a:lnTo>
                    <a:pt x="1328" y="655"/>
                  </a:lnTo>
                  <a:lnTo>
                    <a:pt x="1331" y="655"/>
                  </a:lnTo>
                  <a:lnTo>
                    <a:pt x="1328" y="655"/>
                  </a:lnTo>
                  <a:lnTo>
                    <a:pt x="1328" y="658"/>
                  </a:lnTo>
                  <a:lnTo>
                    <a:pt x="1326" y="658"/>
                  </a:lnTo>
                  <a:lnTo>
                    <a:pt x="1326" y="660"/>
                  </a:lnTo>
                  <a:lnTo>
                    <a:pt x="1328" y="660"/>
                  </a:lnTo>
                  <a:lnTo>
                    <a:pt x="1326" y="660"/>
                  </a:lnTo>
                  <a:lnTo>
                    <a:pt x="1326" y="662"/>
                  </a:lnTo>
                  <a:lnTo>
                    <a:pt x="1326" y="665"/>
                  </a:lnTo>
                  <a:lnTo>
                    <a:pt x="1324" y="662"/>
                  </a:lnTo>
                  <a:lnTo>
                    <a:pt x="1321" y="662"/>
                  </a:lnTo>
                  <a:lnTo>
                    <a:pt x="1321" y="665"/>
                  </a:lnTo>
                  <a:lnTo>
                    <a:pt x="1324" y="665"/>
                  </a:lnTo>
                  <a:lnTo>
                    <a:pt x="1326" y="665"/>
                  </a:lnTo>
                  <a:lnTo>
                    <a:pt x="1324" y="665"/>
                  </a:lnTo>
                  <a:lnTo>
                    <a:pt x="1324" y="667"/>
                  </a:lnTo>
                  <a:lnTo>
                    <a:pt x="1321" y="667"/>
                  </a:lnTo>
                  <a:lnTo>
                    <a:pt x="1321" y="670"/>
                  </a:lnTo>
                  <a:lnTo>
                    <a:pt x="1319" y="670"/>
                  </a:lnTo>
                  <a:lnTo>
                    <a:pt x="1319" y="672"/>
                  </a:lnTo>
                  <a:lnTo>
                    <a:pt x="1316" y="672"/>
                  </a:lnTo>
                  <a:lnTo>
                    <a:pt x="1314" y="672"/>
                  </a:lnTo>
                  <a:lnTo>
                    <a:pt x="1314" y="674"/>
                  </a:lnTo>
                  <a:lnTo>
                    <a:pt x="1312" y="674"/>
                  </a:lnTo>
                  <a:lnTo>
                    <a:pt x="1309" y="677"/>
                  </a:lnTo>
                  <a:lnTo>
                    <a:pt x="1309" y="679"/>
                  </a:lnTo>
                  <a:lnTo>
                    <a:pt x="1307" y="679"/>
                  </a:lnTo>
                  <a:lnTo>
                    <a:pt x="1305" y="679"/>
                  </a:lnTo>
                  <a:lnTo>
                    <a:pt x="1305" y="682"/>
                  </a:lnTo>
                  <a:lnTo>
                    <a:pt x="1302" y="682"/>
                  </a:lnTo>
                  <a:lnTo>
                    <a:pt x="1305" y="682"/>
                  </a:lnTo>
                  <a:lnTo>
                    <a:pt x="1302" y="682"/>
                  </a:lnTo>
                  <a:lnTo>
                    <a:pt x="1302" y="684"/>
                  </a:lnTo>
                  <a:lnTo>
                    <a:pt x="1305" y="684"/>
                  </a:lnTo>
                  <a:lnTo>
                    <a:pt x="1302" y="682"/>
                  </a:lnTo>
                  <a:lnTo>
                    <a:pt x="1305" y="682"/>
                  </a:lnTo>
                  <a:lnTo>
                    <a:pt x="1302" y="682"/>
                  </a:lnTo>
                  <a:lnTo>
                    <a:pt x="1305" y="682"/>
                  </a:lnTo>
                  <a:lnTo>
                    <a:pt x="1305" y="679"/>
                  </a:lnTo>
                  <a:lnTo>
                    <a:pt x="1307" y="679"/>
                  </a:lnTo>
                  <a:lnTo>
                    <a:pt x="1309" y="679"/>
                  </a:lnTo>
                  <a:lnTo>
                    <a:pt x="1309" y="677"/>
                  </a:lnTo>
                  <a:lnTo>
                    <a:pt x="1309" y="674"/>
                  </a:lnTo>
                  <a:lnTo>
                    <a:pt x="1312" y="674"/>
                  </a:lnTo>
                  <a:lnTo>
                    <a:pt x="1314" y="674"/>
                  </a:lnTo>
                  <a:lnTo>
                    <a:pt x="1314" y="672"/>
                  </a:lnTo>
                  <a:lnTo>
                    <a:pt x="1316" y="672"/>
                  </a:lnTo>
                  <a:lnTo>
                    <a:pt x="1319" y="672"/>
                  </a:lnTo>
                  <a:lnTo>
                    <a:pt x="1319" y="670"/>
                  </a:lnTo>
                  <a:lnTo>
                    <a:pt x="1321" y="670"/>
                  </a:lnTo>
                  <a:lnTo>
                    <a:pt x="1321" y="667"/>
                  </a:lnTo>
                  <a:lnTo>
                    <a:pt x="1324" y="665"/>
                  </a:lnTo>
                  <a:lnTo>
                    <a:pt x="1326" y="665"/>
                  </a:lnTo>
                  <a:lnTo>
                    <a:pt x="1324" y="665"/>
                  </a:lnTo>
                  <a:lnTo>
                    <a:pt x="1321" y="665"/>
                  </a:lnTo>
                  <a:lnTo>
                    <a:pt x="1321" y="662"/>
                  </a:lnTo>
                  <a:lnTo>
                    <a:pt x="1324" y="662"/>
                  </a:lnTo>
                  <a:lnTo>
                    <a:pt x="1324" y="665"/>
                  </a:lnTo>
                  <a:lnTo>
                    <a:pt x="1326" y="665"/>
                  </a:lnTo>
                  <a:lnTo>
                    <a:pt x="1326" y="662"/>
                  </a:lnTo>
                  <a:lnTo>
                    <a:pt x="1326" y="660"/>
                  </a:lnTo>
                  <a:lnTo>
                    <a:pt x="1328" y="660"/>
                  </a:lnTo>
                  <a:lnTo>
                    <a:pt x="1326" y="660"/>
                  </a:lnTo>
                  <a:lnTo>
                    <a:pt x="1328" y="660"/>
                  </a:lnTo>
                  <a:lnTo>
                    <a:pt x="1328" y="658"/>
                  </a:lnTo>
                  <a:lnTo>
                    <a:pt x="1328" y="655"/>
                  </a:lnTo>
                  <a:lnTo>
                    <a:pt x="1331" y="655"/>
                  </a:lnTo>
                  <a:lnTo>
                    <a:pt x="1328" y="655"/>
                  </a:lnTo>
                  <a:lnTo>
                    <a:pt x="1326" y="653"/>
                  </a:lnTo>
                  <a:lnTo>
                    <a:pt x="1328" y="653"/>
                  </a:lnTo>
                  <a:lnTo>
                    <a:pt x="1328" y="651"/>
                  </a:lnTo>
                  <a:lnTo>
                    <a:pt x="1331" y="651"/>
                  </a:lnTo>
                  <a:lnTo>
                    <a:pt x="1328" y="651"/>
                  </a:lnTo>
                  <a:lnTo>
                    <a:pt x="1328" y="648"/>
                  </a:lnTo>
                  <a:lnTo>
                    <a:pt x="1331" y="648"/>
                  </a:lnTo>
                  <a:lnTo>
                    <a:pt x="1331" y="646"/>
                  </a:lnTo>
                  <a:lnTo>
                    <a:pt x="1333" y="646"/>
                  </a:lnTo>
                  <a:lnTo>
                    <a:pt x="1335" y="646"/>
                  </a:lnTo>
                  <a:lnTo>
                    <a:pt x="1338" y="646"/>
                  </a:lnTo>
                  <a:lnTo>
                    <a:pt x="1340" y="646"/>
                  </a:lnTo>
                  <a:lnTo>
                    <a:pt x="1340" y="643"/>
                  </a:lnTo>
                  <a:lnTo>
                    <a:pt x="1343" y="643"/>
                  </a:lnTo>
                  <a:lnTo>
                    <a:pt x="1345" y="643"/>
                  </a:lnTo>
                  <a:lnTo>
                    <a:pt x="1345" y="641"/>
                  </a:lnTo>
                  <a:lnTo>
                    <a:pt x="1347" y="641"/>
                  </a:lnTo>
                  <a:lnTo>
                    <a:pt x="1347" y="639"/>
                  </a:lnTo>
                  <a:lnTo>
                    <a:pt x="1350" y="636"/>
                  </a:lnTo>
                  <a:lnTo>
                    <a:pt x="1352" y="639"/>
                  </a:lnTo>
                  <a:lnTo>
                    <a:pt x="1354" y="639"/>
                  </a:lnTo>
                  <a:lnTo>
                    <a:pt x="1357" y="641"/>
                  </a:lnTo>
                  <a:lnTo>
                    <a:pt x="1359" y="641"/>
                  </a:lnTo>
                  <a:lnTo>
                    <a:pt x="1362" y="641"/>
                  </a:lnTo>
                  <a:lnTo>
                    <a:pt x="1364" y="641"/>
                  </a:lnTo>
                  <a:lnTo>
                    <a:pt x="1364" y="639"/>
                  </a:lnTo>
                  <a:lnTo>
                    <a:pt x="1366" y="636"/>
                  </a:lnTo>
                  <a:lnTo>
                    <a:pt x="1369" y="639"/>
                  </a:lnTo>
                  <a:lnTo>
                    <a:pt x="1371" y="639"/>
                  </a:lnTo>
                  <a:lnTo>
                    <a:pt x="1373" y="639"/>
                  </a:lnTo>
                  <a:lnTo>
                    <a:pt x="1376" y="639"/>
                  </a:lnTo>
                  <a:lnTo>
                    <a:pt x="1376" y="636"/>
                  </a:lnTo>
                  <a:lnTo>
                    <a:pt x="1378" y="636"/>
                  </a:lnTo>
                  <a:lnTo>
                    <a:pt x="1380" y="636"/>
                  </a:lnTo>
                  <a:lnTo>
                    <a:pt x="1383" y="636"/>
                  </a:lnTo>
                  <a:lnTo>
                    <a:pt x="1385" y="636"/>
                  </a:lnTo>
                  <a:lnTo>
                    <a:pt x="1388" y="636"/>
                  </a:lnTo>
                  <a:lnTo>
                    <a:pt x="1390" y="636"/>
                  </a:lnTo>
                  <a:lnTo>
                    <a:pt x="1390" y="639"/>
                  </a:lnTo>
                  <a:lnTo>
                    <a:pt x="1392" y="639"/>
                  </a:lnTo>
                  <a:lnTo>
                    <a:pt x="1395" y="639"/>
                  </a:lnTo>
                  <a:lnTo>
                    <a:pt x="1397" y="639"/>
                  </a:lnTo>
                  <a:lnTo>
                    <a:pt x="1399" y="641"/>
                  </a:lnTo>
                  <a:lnTo>
                    <a:pt x="1397" y="641"/>
                  </a:lnTo>
                  <a:lnTo>
                    <a:pt x="1399" y="641"/>
                  </a:lnTo>
                  <a:lnTo>
                    <a:pt x="1397" y="639"/>
                  </a:lnTo>
                  <a:lnTo>
                    <a:pt x="1395" y="639"/>
                  </a:lnTo>
                  <a:lnTo>
                    <a:pt x="1392" y="639"/>
                  </a:lnTo>
                  <a:lnTo>
                    <a:pt x="1390" y="636"/>
                  </a:lnTo>
                  <a:lnTo>
                    <a:pt x="1392" y="639"/>
                  </a:lnTo>
                  <a:lnTo>
                    <a:pt x="1395" y="639"/>
                  </a:lnTo>
                  <a:lnTo>
                    <a:pt x="1395" y="636"/>
                  </a:lnTo>
                  <a:lnTo>
                    <a:pt x="1397" y="639"/>
                  </a:lnTo>
                  <a:lnTo>
                    <a:pt x="1397" y="636"/>
                  </a:lnTo>
                  <a:lnTo>
                    <a:pt x="1399" y="636"/>
                  </a:lnTo>
                  <a:lnTo>
                    <a:pt x="1402" y="636"/>
                  </a:lnTo>
                  <a:lnTo>
                    <a:pt x="1404" y="636"/>
                  </a:lnTo>
                  <a:lnTo>
                    <a:pt x="1404" y="634"/>
                  </a:lnTo>
                  <a:lnTo>
                    <a:pt x="1407" y="634"/>
                  </a:lnTo>
                  <a:lnTo>
                    <a:pt x="1409" y="634"/>
                  </a:lnTo>
                  <a:lnTo>
                    <a:pt x="1411" y="634"/>
                  </a:lnTo>
                  <a:lnTo>
                    <a:pt x="1414" y="634"/>
                  </a:lnTo>
                  <a:lnTo>
                    <a:pt x="1414" y="632"/>
                  </a:lnTo>
                  <a:lnTo>
                    <a:pt x="1416" y="632"/>
                  </a:lnTo>
                  <a:lnTo>
                    <a:pt x="1418" y="632"/>
                  </a:lnTo>
                  <a:lnTo>
                    <a:pt x="1418" y="629"/>
                  </a:lnTo>
                  <a:lnTo>
                    <a:pt x="1421" y="629"/>
                  </a:lnTo>
                  <a:lnTo>
                    <a:pt x="1421" y="627"/>
                  </a:lnTo>
                  <a:lnTo>
                    <a:pt x="1423" y="627"/>
                  </a:lnTo>
                  <a:lnTo>
                    <a:pt x="1426" y="627"/>
                  </a:lnTo>
                  <a:lnTo>
                    <a:pt x="1423" y="627"/>
                  </a:lnTo>
                  <a:lnTo>
                    <a:pt x="1423" y="624"/>
                  </a:lnTo>
                  <a:lnTo>
                    <a:pt x="1426" y="624"/>
                  </a:lnTo>
                  <a:lnTo>
                    <a:pt x="1428" y="624"/>
                  </a:lnTo>
                  <a:lnTo>
                    <a:pt x="1428" y="622"/>
                  </a:lnTo>
                  <a:lnTo>
                    <a:pt x="1430" y="622"/>
                  </a:lnTo>
                  <a:lnTo>
                    <a:pt x="1430" y="620"/>
                  </a:lnTo>
                  <a:lnTo>
                    <a:pt x="1428" y="620"/>
                  </a:lnTo>
                  <a:lnTo>
                    <a:pt x="1428" y="617"/>
                  </a:lnTo>
                  <a:lnTo>
                    <a:pt x="1430" y="617"/>
                  </a:lnTo>
                  <a:lnTo>
                    <a:pt x="1428" y="617"/>
                  </a:lnTo>
                  <a:lnTo>
                    <a:pt x="1428" y="615"/>
                  </a:lnTo>
                  <a:lnTo>
                    <a:pt x="1430" y="613"/>
                  </a:lnTo>
                  <a:lnTo>
                    <a:pt x="1428" y="613"/>
                  </a:lnTo>
                  <a:lnTo>
                    <a:pt x="1430" y="610"/>
                  </a:lnTo>
                  <a:lnTo>
                    <a:pt x="1430" y="608"/>
                  </a:lnTo>
                  <a:lnTo>
                    <a:pt x="1433" y="608"/>
                  </a:lnTo>
                  <a:lnTo>
                    <a:pt x="1435" y="608"/>
                  </a:lnTo>
                  <a:lnTo>
                    <a:pt x="1435" y="605"/>
                  </a:lnTo>
                  <a:lnTo>
                    <a:pt x="1433" y="605"/>
                  </a:lnTo>
                  <a:lnTo>
                    <a:pt x="1435" y="605"/>
                  </a:lnTo>
                  <a:lnTo>
                    <a:pt x="1437" y="605"/>
                  </a:lnTo>
                  <a:lnTo>
                    <a:pt x="1440" y="605"/>
                  </a:lnTo>
                  <a:lnTo>
                    <a:pt x="1440" y="608"/>
                  </a:lnTo>
                  <a:lnTo>
                    <a:pt x="1442" y="608"/>
                  </a:lnTo>
                  <a:lnTo>
                    <a:pt x="1445" y="608"/>
                  </a:lnTo>
                  <a:lnTo>
                    <a:pt x="1447" y="608"/>
                  </a:lnTo>
                  <a:lnTo>
                    <a:pt x="1449" y="608"/>
                  </a:lnTo>
                  <a:lnTo>
                    <a:pt x="1447" y="608"/>
                  </a:lnTo>
                  <a:lnTo>
                    <a:pt x="1445" y="608"/>
                  </a:lnTo>
                  <a:lnTo>
                    <a:pt x="1442" y="608"/>
                  </a:lnTo>
                  <a:lnTo>
                    <a:pt x="1440" y="608"/>
                  </a:lnTo>
                  <a:lnTo>
                    <a:pt x="1440" y="605"/>
                  </a:lnTo>
                  <a:lnTo>
                    <a:pt x="1437" y="605"/>
                  </a:lnTo>
                  <a:lnTo>
                    <a:pt x="1435" y="605"/>
                  </a:lnTo>
                  <a:lnTo>
                    <a:pt x="1433" y="605"/>
                  </a:lnTo>
                  <a:lnTo>
                    <a:pt x="1433" y="608"/>
                  </a:lnTo>
                  <a:lnTo>
                    <a:pt x="1430" y="608"/>
                  </a:lnTo>
                  <a:lnTo>
                    <a:pt x="1430" y="610"/>
                  </a:lnTo>
                  <a:lnTo>
                    <a:pt x="1428" y="610"/>
                  </a:lnTo>
                  <a:lnTo>
                    <a:pt x="1428" y="613"/>
                  </a:lnTo>
                  <a:lnTo>
                    <a:pt x="1428" y="615"/>
                  </a:lnTo>
                  <a:lnTo>
                    <a:pt x="1428" y="617"/>
                  </a:lnTo>
                  <a:lnTo>
                    <a:pt x="1430" y="617"/>
                  </a:lnTo>
                  <a:lnTo>
                    <a:pt x="1428" y="617"/>
                  </a:lnTo>
                  <a:lnTo>
                    <a:pt x="1428" y="620"/>
                  </a:lnTo>
                  <a:lnTo>
                    <a:pt x="1430" y="620"/>
                  </a:lnTo>
                  <a:lnTo>
                    <a:pt x="1430" y="622"/>
                  </a:lnTo>
                  <a:lnTo>
                    <a:pt x="1428" y="622"/>
                  </a:lnTo>
                  <a:lnTo>
                    <a:pt x="1428" y="624"/>
                  </a:lnTo>
                  <a:lnTo>
                    <a:pt x="1426" y="624"/>
                  </a:lnTo>
                  <a:lnTo>
                    <a:pt x="1423" y="624"/>
                  </a:lnTo>
                  <a:lnTo>
                    <a:pt x="1423" y="627"/>
                  </a:lnTo>
                  <a:lnTo>
                    <a:pt x="1426" y="627"/>
                  </a:lnTo>
                  <a:lnTo>
                    <a:pt x="1423" y="627"/>
                  </a:lnTo>
                  <a:lnTo>
                    <a:pt x="1421" y="627"/>
                  </a:lnTo>
                  <a:lnTo>
                    <a:pt x="1421" y="629"/>
                  </a:lnTo>
                  <a:lnTo>
                    <a:pt x="1418" y="629"/>
                  </a:lnTo>
                  <a:lnTo>
                    <a:pt x="1418" y="632"/>
                  </a:lnTo>
                  <a:lnTo>
                    <a:pt x="1416" y="632"/>
                  </a:lnTo>
                  <a:lnTo>
                    <a:pt x="1414" y="632"/>
                  </a:lnTo>
                  <a:lnTo>
                    <a:pt x="1414" y="634"/>
                  </a:lnTo>
                  <a:lnTo>
                    <a:pt x="1411" y="634"/>
                  </a:lnTo>
                  <a:lnTo>
                    <a:pt x="1409" y="634"/>
                  </a:lnTo>
                  <a:lnTo>
                    <a:pt x="1407" y="634"/>
                  </a:lnTo>
                  <a:lnTo>
                    <a:pt x="1404" y="634"/>
                  </a:lnTo>
                  <a:lnTo>
                    <a:pt x="1404" y="636"/>
                  </a:lnTo>
                  <a:lnTo>
                    <a:pt x="1402" y="636"/>
                  </a:lnTo>
                  <a:lnTo>
                    <a:pt x="1399" y="636"/>
                  </a:lnTo>
                  <a:lnTo>
                    <a:pt x="1397" y="636"/>
                  </a:lnTo>
                  <a:lnTo>
                    <a:pt x="1395" y="636"/>
                  </a:lnTo>
                  <a:lnTo>
                    <a:pt x="1395" y="639"/>
                  </a:lnTo>
                  <a:lnTo>
                    <a:pt x="1392" y="636"/>
                  </a:lnTo>
                  <a:lnTo>
                    <a:pt x="1392" y="639"/>
                  </a:lnTo>
                  <a:lnTo>
                    <a:pt x="1392" y="636"/>
                  </a:lnTo>
                  <a:lnTo>
                    <a:pt x="1390" y="636"/>
                  </a:lnTo>
                  <a:lnTo>
                    <a:pt x="1388" y="636"/>
                  </a:lnTo>
                  <a:lnTo>
                    <a:pt x="1390" y="636"/>
                  </a:lnTo>
                  <a:lnTo>
                    <a:pt x="1388" y="636"/>
                  </a:lnTo>
                  <a:lnTo>
                    <a:pt x="1385" y="636"/>
                  </a:lnTo>
                  <a:lnTo>
                    <a:pt x="1383" y="636"/>
                  </a:lnTo>
                  <a:lnTo>
                    <a:pt x="1380" y="636"/>
                  </a:lnTo>
                  <a:lnTo>
                    <a:pt x="1378" y="636"/>
                  </a:lnTo>
                  <a:lnTo>
                    <a:pt x="1376" y="636"/>
                  </a:lnTo>
                  <a:lnTo>
                    <a:pt x="1376" y="639"/>
                  </a:lnTo>
                  <a:lnTo>
                    <a:pt x="1373" y="639"/>
                  </a:lnTo>
                  <a:lnTo>
                    <a:pt x="1371" y="636"/>
                  </a:lnTo>
                  <a:lnTo>
                    <a:pt x="1369" y="636"/>
                  </a:lnTo>
                  <a:lnTo>
                    <a:pt x="1366" y="636"/>
                  </a:lnTo>
                  <a:lnTo>
                    <a:pt x="1364" y="636"/>
                  </a:lnTo>
                  <a:lnTo>
                    <a:pt x="1364" y="639"/>
                  </a:lnTo>
                  <a:lnTo>
                    <a:pt x="1364" y="641"/>
                  </a:lnTo>
                  <a:lnTo>
                    <a:pt x="1362" y="641"/>
                  </a:lnTo>
                  <a:lnTo>
                    <a:pt x="1359" y="641"/>
                  </a:lnTo>
                  <a:lnTo>
                    <a:pt x="1357" y="641"/>
                  </a:lnTo>
                  <a:lnTo>
                    <a:pt x="1357" y="639"/>
                  </a:lnTo>
                  <a:lnTo>
                    <a:pt x="1354" y="639"/>
                  </a:lnTo>
                  <a:lnTo>
                    <a:pt x="1352" y="639"/>
                  </a:lnTo>
                  <a:lnTo>
                    <a:pt x="1352" y="636"/>
                  </a:lnTo>
                  <a:lnTo>
                    <a:pt x="1350" y="636"/>
                  </a:lnTo>
                  <a:lnTo>
                    <a:pt x="1352" y="636"/>
                  </a:lnTo>
                  <a:lnTo>
                    <a:pt x="1352" y="639"/>
                  </a:lnTo>
                  <a:lnTo>
                    <a:pt x="1352" y="636"/>
                  </a:lnTo>
                  <a:lnTo>
                    <a:pt x="1350" y="636"/>
                  </a:lnTo>
                  <a:lnTo>
                    <a:pt x="1347" y="636"/>
                  </a:lnTo>
                  <a:lnTo>
                    <a:pt x="1347" y="639"/>
                  </a:lnTo>
                  <a:lnTo>
                    <a:pt x="1345" y="641"/>
                  </a:lnTo>
                  <a:lnTo>
                    <a:pt x="1345" y="643"/>
                  </a:lnTo>
                  <a:lnTo>
                    <a:pt x="1343" y="643"/>
                  </a:lnTo>
                  <a:lnTo>
                    <a:pt x="1340" y="643"/>
                  </a:lnTo>
                  <a:lnTo>
                    <a:pt x="1338" y="646"/>
                  </a:lnTo>
                  <a:lnTo>
                    <a:pt x="1340" y="643"/>
                  </a:lnTo>
                  <a:lnTo>
                    <a:pt x="1338" y="646"/>
                  </a:lnTo>
                  <a:lnTo>
                    <a:pt x="1338" y="643"/>
                  </a:lnTo>
                  <a:lnTo>
                    <a:pt x="1335" y="646"/>
                  </a:lnTo>
                  <a:lnTo>
                    <a:pt x="1333" y="646"/>
                  </a:lnTo>
                  <a:lnTo>
                    <a:pt x="1335" y="646"/>
                  </a:lnTo>
                  <a:lnTo>
                    <a:pt x="1338" y="646"/>
                  </a:lnTo>
                  <a:lnTo>
                    <a:pt x="1340" y="643"/>
                  </a:lnTo>
                  <a:lnTo>
                    <a:pt x="1340" y="646"/>
                  </a:lnTo>
                  <a:lnTo>
                    <a:pt x="1340" y="643"/>
                  </a:lnTo>
                  <a:lnTo>
                    <a:pt x="1340" y="646"/>
                  </a:lnTo>
                  <a:lnTo>
                    <a:pt x="1338" y="646"/>
                  </a:lnTo>
                  <a:lnTo>
                    <a:pt x="1335" y="646"/>
                  </a:lnTo>
                  <a:lnTo>
                    <a:pt x="1333" y="646"/>
                  </a:lnTo>
                  <a:lnTo>
                    <a:pt x="1331" y="646"/>
                  </a:lnTo>
                  <a:lnTo>
                    <a:pt x="1331" y="648"/>
                  </a:lnTo>
                  <a:lnTo>
                    <a:pt x="1328" y="648"/>
                  </a:lnTo>
                  <a:lnTo>
                    <a:pt x="1326" y="648"/>
                  </a:lnTo>
                  <a:lnTo>
                    <a:pt x="1324" y="648"/>
                  </a:lnTo>
                  <a:lnTo>
                    <a:pt x="1321" y="648"/>
                  </a:lnTo>
                  <a:lnTo>
                    <a:pt x="1321" y="646"/>
                  </a:lnTo>
                  <a:lnTo>
                    <a:pt x="1321" y="648"/>
                  </a:lnTo>
                  <a:lnTo>
                    <a:pt x="1321" y="646"/>
                  </a:lnTo>
                  <a:lnTo>
                    <a:pt x="1321" y="648"/>
                  </a:lnTo>
                  <a:lnTo>
                    <a:pt x="1321" y="646"/>
                  </a:lnTo>
                  <a:lnTo>
                    <a:pt x="1321" y="643"/>
                  </a:lnTo>
                  <a:lnTo>
                    <a:pt x="1321" y="641"/>
                  </a:lnTo>
                  <a:lnTo>
                    <a:pt x="1321" y="639"/>
                  </a:lnTo>
                  <a:lnTo>
                    <a:pt x="1319" y="639"/>
                  </a:lnTo>
                  <a:lnTo>
                    <a:pt x="1316" y="636"/>
                  </a:lnTo>
                  <a:lnTo>
                    <a:pt x="1314" y="636"/>
                  </a:lnTo>
                  <a:lnTo>
                    <a:pt x="1312" y="634"/>
                  </a:lnTo>
                  <a:lnTo>
                    <a:pt x="1309" y="634"/>
                  </a:lnTo>
                  <a:lnTo>
                    <a:pt x="1309" y="632"/>
                  </a:lnTo>
                  <a:lnTo>
                    <a:pt x="1307" y="634"/>
                  </a:lnTo>
                  <a:lnTo>
                    <a:pt x="1305" y="634"/>
                  </a:lnTo>
                  <a:lnTo>
                    <a:pt x="1305" y="636"/>
                  </a:lnTo>
                  <a:lnTo>
                    <a:pt x="1302" y="636"/>
                  </a:lnTo>
                  <a:lnTo>
                    <a:pt x="1302" y="639"/>
                  </a:lnTo>
                  <a:lnTo>
                    <a:pt x="1302" y="641"/>
                  </a:lnTo>
                  <a:lnTo>
                    <a:pt x="1300" y="641"/>
                  </a:lnTo>
                  <a:lnTo>
                    <a:pt x="1297" y="643"/>
                  </a:lnTo>
                  <a:lnTo>
                    <a:pt x="1295" y="643"/>
                  </a:lnTo>
                  <a:lnTo>
                    <a:pt x="1293" y="643"/>
                  </a:lnTo>
                  <a:lnTo>
                    <a:pt x="1290" y="643"/>
                  </a:lnTo>
                  <a:lnTo>
                    <a:pt x="1293" y="643"/>
                  </a:lnTo>
                  <a:lnTo>
                    <a:pt x="1290" y="643"/>
                  </a:lnTo>
                  <a:lnTo>
                    <a:pt x="1290" y="646"/>
                  </a:lnTo>
                  <a:lnTo>
                    <a:pt x="1288" y="646"/>
                  </a:lnTo>
                  <a:lnTo>
                    <a:pt x="1288" y="648"/>
                  </a:lnTo>
                  <a:lnTo>
                    <a:pt x="1286" y="648"/>
                  </a:lnTo>
                  <a:lnTo>
                    <a:pt x="1283" y="648"/>
                  </a:lnTo>
                  <a:lnTo>
                    <a:pt x="1286" y="648"/>
                  </a:lnTo>
                  <a:lnTo>
                    <a:pt x="1283" y="648"/>
                  </a:lnTo>
                  <a:lnTo>
                    <a:pt x="1283" y="651"/>
                  </a:lnTo>
                  <a:lnTo>
                    <a:pt x="1283" y="653"/>
                  </a:lnTo>
                  <a:lnTo>
                    <a:pt x="1281" y="653"/>
                  </a:lnTo>
                  <a:lnTo>
                    <a:pt x="1278" y="653"/>
                  </a:lnTo>
                  <a:lnTo>
                    <a:pt x="1278" y="651"/>
                  </a:lnTo>
                  <a:lnTo>
                    <a:pt x="1276" y="653"/>
                  </a:lnTo>
                  <a:lnTo>
                    <a:pt x="1278" y="653"/>
                  </a:lnTo>
                  <a:lnTo>
                    <a:pt x="1278" y="651"/>
                  </a:lnTo>
                  <a:lnTo>
                    <a:pt x="1278" y="653"/>
                  </a:lnTo>
                  <a:lnTo>
                    <a:pt x="1276" y="653"/>
                  </a:lnTo>
                  <a:lnTo>
                    <a:pt x="1276" y="655"/>
                  </a:lnTo>
                  <a:lnTo>
                    <a:pt x="1274" y="655"/>
                  </a:lnTo>
                  <a:lnTo>
                    <a:pt x="1274" y="658"/>
                  </a:lnTo>
                  <a:lnTo>
                    <a:pt x="1271" y="658"/>
                  </a:lnTo>
                  <a:lnTo>
                    <a:pt x="1271" y="660"/>
                  </a:lnTo>
                  <a:lnTo>
                    <a:pt x="1269" y="660"/>
                  </a:lnTo>
                  <a:lnTo>
                    <a:pt x="1269" y="662"/>
                  </a:lnTo>
                  <a:lnTo>
                    <a:pt x="1269" y="665"/>
                  </a:lnTo>
                  <a:lnTo>
                    <a:pt x="1269" y="667"/>
                  </a:lnTo>
                  <a:lnTo>
                    <a:pt x="1267" y="667"/>
                  </a:lnTo>
                  <a:lnTo>
                    <a:pt x="1264" y="667"/>
                  </a:lnTo>
                  <a:lnTo>
                    <a:pt x="1262" y="667"/>
                  </a:lnTo>
                  <a:lnTo>
                    <a:pt x="1259" y="667"/>
                  </a:lnTo>
                  <a:lnTo>
                    <a:pt x="1257" y="667"/>
                  </a:lnTo>
                  <a:lnTo>
                    <a:pt x="1255" y="670"/>
                  </a:lnTo>
                  <a:lnTo>
                    <a:pt x="1255" y="667"/>
                  </a:lnTo>
                  <a:lnTo>
                    <a:pt x="1252" y="667"/>
                  </a:lnTo>
                  <a:lnTo>
                    <a:pt x="1252" y="670"/>
                  </a:lnTo>
                  <a:lnTo>
                    <a:pt x="1250" y="670"/>
                  </a:lnTo>
                  <a:lnTo>
                    <a:pt x="1248" y="670"/>
                  </a:lnTo>
                  <a:lnTo>
                    <a:pt x="1245" y="670"/>
                  </a:lnTo>
                  <a:lnTo>
                    <a:pt x="1243" y="670"/>
                  </a:lnTo>
                  <a:lnTo>
                    <a:pt x="1245" y="670"/>
                  </a:lnTo>
                  <a:lnTo>
                    <a:pt x="1245" y="667"/>
                  </a:lnTo>
                  <a:lnTo>
                    <a:pt x="1243" y="667"/>
                  </a:lnTo>
                  <a:lnTo>
                    <a:pt x="1240" y="667"/>
                  </a:lnTo>
                  <a:lnTo>
                    <a:pt x="1240" y="665"/>
                  </a:lnTo>
                  <a:lnTo>
                    <a:pt x="1238" y="665"/>
                  </a:lnTo>
                  <a:lnTo>
                    <a:pt x="1238" y="662"/>
                  </a:lnTo>
                  <a:lnTo>
                    <a:pt x="1240" y="662"/>
                  </a:lnTo>
                  <a:lnTo>
                    <a:pt x="1240" y="660"/>
                  </a:lnTo>
                  <a:lnTo>
                    <a:pt x="1240" y="658"/>
                  </a:lnTo>
                  <a:lnTo>
                    <a:pt x="1243" y="658"/>
                  </a:lnTo>
                  <a:lnTo>
                    <a:pt x="1243" y="655"/>
                  </a:lnTo>
                  <a:lnTo>
                    <a:pt x="1243" y="653"/>
                  </a:lnTo>
                  <a:lnTo>
                    <a:pt x="1240" y="653"/>
                  </a:lnTo>
                  <a:lnTo>
                    <a:pt x="1243" y="653"/>
                  </a:lnTo>
                  <a:lnTo>
                    <a:pt x="1243" y="651"/>
                  </a:lnTo>
                  <a:lnTo>
                    <a:pt x="1243" y="648"/>
                  </a:lnTo>
                  <a:lnTo>
                    <a:pt x="1245" y="648"/>
                  </a:lnTo>
                  <a:lnTo>
                    <a:pt x="1245" y="646"/>
                  </a:lnTo>
                  <a:lnTo>
                    <a:pt x="1243" y="646"/>
                  </a:lnTo>
                  <a:lnTo>
                    <a:pt x="1240" y="646"/>
                  </a:lnTo>
                  <a:lnTo>
                    <a:pt x="1238" y="646"/>
                  </a:lnTo>
                  <a:lnTo>
                    <a:pt x="1238" y="643"/>
                  </a:lnTo>
                  <a:lnTo>
                    <a:pt x="1238" y="646"/>
                  </a:lnTo>
                  <a:lnTo>
                    <a:pt x="1240" y="646"/>
                  </a:lnTo>
                  <a:lnTo>
                    <a:pt x="1243" y="646"/>
                  </a:lnTo>
                  <a:lnTo>
                    <a:pt x="1245" y="646"/>
                  </a:lnTo>
                  <a:lnTo>
                    <a:pt x="1245" y="648"/>
                  </a:lnTo>
                  <a:lnTo>
                    <a:pt x="1243" y="648"/>
                  </a:lnTo>
                  <a:lnTo>
                    <a:pt x="1243" y="651"/>
                  </a:lnTo>
                  <a:lnTo>
                    <a:pt x="1243" y="653"/>
                  </a:lnTo>
                  <a:lnTo>
                    <a:pt x="1240" y="653"/>
                  </a:lnTo>
                  <a:lnTo>
                    <a:pt x="1243" y="653"/>
                  </a:lnTo>
                  <a:lnTo>
                    <a:pt x="1243" y="655"/>
                  </a:lnTo>
                  <a:lnTo>
                    <a:pt x="1243" y="658"/>
                  </a:lnTo>
                  <a:lnTo>
                    <a:pt x="1240" y="658"/>
                  </a:lnTo>
                  <a:lnTo>
                    <a:pt x="1240" y="660"/>
                  </a:lnTo>
                  <a:lnTo>
                    <a:pt x="1240" y="662"/>
                  </a:lnTo>
                  <a:lnTo>
                    <a:pt x="1238" y="662"/>
                  </a:lnTo>
                  <a:lnTo>
                    <a:pt x="1238" y="665"/>
                  </a:lnTo>
                  <a:lnTo>
                    <a:pt x="1240" y="667"/>
                  </a:lnTo>
                  <a:lnTo>
                    <a:pt x="1243" y="667"/>
                  </a:lnTo>
                  <a:lnTo>
                    <a:pt x="1245" y="667"/>
                  </a:lnTo>
                  <a:lnTo>
                    <a:pt x="1245" y="670"/>
                  </a:lnTo>
                  <a:lnTo>
                    <a:pt x="1243" y="670"/>
                  </a:lnTo>
                  <a:lnTo>
                    <a:pt x="1243" y="672"/>
                  </a:lnTo>
                  <a:lnTo>
                    <a:pt x="1240" y="672"/>
                  </a:lnTo>
                  <a:lnTo>
                    <a:pt x="1238" y="672"/>
                  </a:lnTo>
                  <a:lnTo>
                    <a:pt x="1236" y="672"/>
                  </a:lnTo>
                  <a:lnTo>
                    <a:pt x="1236" y="670"/>
                  </a:lnTo>
                  <a:lnTo>
                    <a:pt x="1233" y="670"/>
                  </a:lnTo>
                  <a:lnTo>
                    <a:pt x="1236" y="670"/>
                  </a:lnTo>
                  <a:lnTo>
                    <a:pt x="1233" y="670"/>
                  </a:lnTo>
                  <a:lnTo>
                    <a:pt x="1231" y="670"/>
                  </a:lnTo>
                  <a:lnTo>
                    <a:pt x="1231" y="667"/>
                  </a:lnTo>
                  <a:lnTo>
                    <a:pt x="1229" y="667"/>
                  </a:lnTo>
                  <a:lnTo>
                    <a:pt x="1229" y="665"/>
                  </a:lnTo>
                  <a:lnTo>
                    <a:pt x="1229" y="662"/>
                  </a:lnTo>
                  <a:lnTo>
                    <a:pt x="1226" y="662"/>
                  </a:lnTo>
                  <a:lnTo>
                    <a:pt x="1224" y="662"/>
                  </a:lnTo>
                  <a:lnTo>
                    <a:pt x="1224" y="660"/>
                  </a:lnTo>
                  <a:lnTo>
                    <a:pt x="1224" y="658"/>
                  </a:lnTo>
                  <a:lnTo>
                    <a:pt x="1222" y="658"/>
                  </a:lnTo>
                  <a:lnTo>
                    <a:pt x="1222" y="655"/>
                  </a:lnTo>
                  <a:lnTo>
                    <a:pt x="1219" y="655"/>
                  </a:lnTo>
                  <a:lnTo>
                    <a:pt x="1217" y="655"/>
                  </a:lnTo>
                  <a:lnTo>
                    <a:pt x="1217" y="653"/>
                  </a:lnTo>
                  <a:lnTo>
                    <a:pt x="1217" y="651"/>
                  </a:lnTo>
                  <a:lnTo>
                    <a:pt x="1217" y="653"/>
                  </a:lnTo>
                  <a:lnTo>
                    <a:pt x="1217" y="651"/>
                  </a:lnTo>
                  <a:lnTo>
                    <a:pt x="1217" y="648"/>
                  </a:lnTo>
                  <a:lnTo>
                    <a:pt x="1214" y="646"/>
                  </a:lnTo>
                  <a:lnTo>
                    <a:pt x="1212" y="646"/>
                  </a:lnTo>
                  <a:lnTo>
                    <a:pt x="1210" y="646"/>
                  </a:lnTo>
                  <a:lnTo>
                    <a:pt x="1207" y="646"/>
                  </a:lnTo>
                  <a:lnTo>
                    <a:pt x="1205" y="646"/>
                  </a:lnTo>
                  <a:lnTo>
                    <a:pt x="1203" y="646"/>
                  </a:lnTo>
                  <a:lnTo>
                    <a:pt x="1200" y="646"/>
                  </a:lnTo>
                  <a:lnTo>
                    <a:pt x="1198" y="646"/>
                  </a:lnTo>
                  <a:lnTo>
                    <a:pt x="1195" y="648"/>
                  </a:lnTo>
                  <a:lnTo>
                    <a:pt x="1193" y="648"/>
                  </a:lnTo>
                  <a:lnTo>
                    <a:pt x="1191" y="648"/>
                  </a:lnTo>
                  <a:lnTo>
                    <a:pt x="1188" y="651"/>
                  </a:lnTo>
                  <a:lnTo>
                    <a:pt x="1186" y="651"/>
                  </a:lnTo>
                  <a:lnTo>
                    <a:pt x="1184" y="653"/>
                  </a:lnTo>
                  <a:lnTo>
                    <a:pt x="1181" y="655"/>
                  </a:lnTo>
                  <a:lnTo>
                    <a:pt x="1179" y="655"/>
                  </a:lnTo>
                  <a:lnTo>
                    <a:pt x="1176" y="655"/>
                  </a:lnTo>
                  <a:lnTo>
                    <a:pt x="1174" y="655"/>
                  </a:lnTo>
                  <a:lnTo>
                    <a:pt x="1176" y="655"/>
                  </a:lnTo>
                  <a:lnTo>
                    <a:pt x="1174" y="655"/>
                  </a:lnTo>
                  <a:lnTo>
                    <a:pt x="1174" y="658"/>
                  </a:lnTo>
                  <a:lnTo>
                    <a:pt x="1172" y="658"/>
                  </a:lnTo>
                  <a:lnTo>
                    <a:pt x="1172" y="660"/>
                  </a:lnTo>
                  <a:lnTo>
                    <a:pt x="1172" y="662"/>
                  </a:lnTo>
                  <a:lnTo>
                    <a:pt x="1172" y="665"/>
                  </a:lnTo>
                  <a:lnTo>
                    <a:pt x="1172" y="667"/>
                  </a:lnTo>
                  <a:lnTo>
                    <a:pt x="1172" y="670"/>
                  </a:lnTo>
                  <a:lnTo>
                    <a:pt x="1169" y="672"/>
                  </a:lnTo>
                  <a:lnTo>
                    <a:pt x="1167" y="672"/>
                  </a:lnTo>
                  <a:lnTo>
                    <a:pt x="1167" y="674"/>
                  </a:lnTo>
                  <a:lnTo>
                    <a:pt x="1165" y="674"/>
                  </a:lnTo>
                  <a:lnTo>
                    <a:pt x="1162" y="677"/>
                  </a:lnTo>
                  <a:lnTo>
                    <a:pt x="1162" y="679"/>
                  </a:lnTo>
                  <a:lnTo>
                    <a:pt x="1162" y="682"/>
                  </a:lnTo>
                  <a:lnTo>
                    <a:pt x="1160" y="682"/>
                  </a:lnTo>
                  <a:lnTo>
                    <a:pt x="1160" y="684"/>
                  </a:lnTo>
                  <a:lnTo>
                    <a:pt x="1160" y="682"/>
                  </a:lnTo>
                  <a:lnTo>
                    <a:pt x="1157" y="682"/>
                  </a:lnTo>
                  <a:lnTo>
                    <a:pt x="1160" y="682"/>
                  </a:lnTo>
                  <a:lnTo>
                    <a:pt x="1157" y="682"/>
                  </a:lnTo>
                  <a:lnTo>
                    <a:pt x="1160" y="682"/>
                  </a:lnTo>
                  <a:lnTo>
                    <a:pt x="1157" y="682"/>
                  </a:lnTo>
                  <a:lnTo>
                    <a:pt x="1157" y="684"/>
                  </a:lnTo>
                  <a:lnTo>
                    <a:pt x="1155" y="684"/>
                  </a:lnTo>
                  <a:lnTo>
                    <a:pt x="1153" y="684"/>
                  </a:lnTo>
                  <a:lnTo>
                    <a:pt x="1150" y="686"/>
                  </a:lnTo>
                  <a:lnTo>
                    <a:pt x="1148" y="686"/>
                  </a:lnTo>
                  <a:lnTo>
                    <a:pt x="1148" y="689"/>
                  </a:lnTo>
                  <a:lnTo>
                    <a:pt x="1148" y="691"/>
                  </a:lnTo>
                  <a:lnTo>
                    <a:pt x="1146" y="691"/>
                  </a:lnTo>
                  <a:lnTo>
                    <a:pt x="1146" y="693"/>
                  </a:lnTo>
                  <a:lnTo>
                    <a:pt x="1146" y="696"/>
                  </a:lnTo>
                  <a:lnTo>
                    <a:pt x="1143" y="696"/>
                  </a:lnTo>
                  <a:lnTo>
                    <a:pt x="1141" y="696"/>
                  </a:lnTo>
                  <a:lnTo>
                    <a:pt x="1138" y="696"/>
                  </a:lnTo>
                  <a:lnTo>
                    <a:pt x="1134" y="696"/>
                  </a:lnTo>
                  <a:lnTo>
                    <a:pt x="1131" y="696"/>
                  </a:lnTo>
                  <a:lnTo>
                    <a:pt x="1129" y="696"/>
                  </a:lnTo>
                  <a:lnTo>
                    <a:pt x="1127" y="696"/>
                  </a:lnTo>
                  <a:lnTo>
                    <a:pt x="1129" y="696"/>
                  </a:lnTo>
                  <a:lnTo>
                    <a:pt x="1127" y="696"/>
                  </a:lnTo>
                  <a:lnTo>
                    <a:pt x="1129" y="696"/>
                  </a:lnTo>
                  <a:lnTo>
                    <a:pt x="1127" y="696"/>
                  </a:lnTo>
                  <a:lnTo>
                    <a:pt x="1129" y="696"/>
                  </a:lnTo>
                  <a:lnTo>
                    <a:pt x="1127" y="696"/>
                  </a:lnTo>
                  <a:lnTo>
                    <a:pt x="1129" y="696"/>
                  </a:lnTo>
                  <a:lnTo>
                    <a:pt x="1127" y="696"/>
                  </a:lnTo>
                  <a:lnTo>
                    <a:pt x="1124" y="696"/>
                  </a:lnTo>
                  <a:lnTo>
                    <a:pt x="1124" y="698"/>
                  </a:lnTo>
                  <a:lnTo>
                    <a:pt x="1122" y="698"/>
                  </a:lnTo>
                  <a:lnTo>
                    <a:pt x="1119" y="698"/>
                  </a:lnTo>
                  <a:lnTo>
                    <a:pt x="1119" y="701"/>
                  </a:lnTo>
                  <a:lnTo>
                    <a:pt x="1117" y="701"/>
                  </a:lnTo>
                  <a:lnTo>
                    <a:pt x="1117" y="703"/>
                  </a:lnTo>
                  <a:lnTo>
                    <a:pt x="1115" y="703"/>
                  </a:lnTo>
                  <a:lnTo>
                    <a:pt x="1112" y="703"/>
                  </a:lnTo>
                  <a:lnTo>
                    <a:pt x="1110" y="703"/>
                  </a:lnTo>
                  <a:lnTo>
                    <a:pt x="1108" y="703"/>
                  </a:lnTo>
                  <a:lnTo>
                    <a:pt x="1105" y="703"/>
                  </a:lnTo>
                  <a:lnTo>
                    <a:pt x="1108" y="703"/>
                  </a:lnTo>
                  <a:lnTo>
                    <a:pt x="1105" y="703"/>
                  </a:lnTo>
                  <a:lnTo>
                    <a:pt x="1103" y="703"/>
                  </a:lnTo>
                  <a:lnTo>
                    <a:pt x="1101" y="703"/>
                  </a:lnTo>
                  <a:lnTo>
                    <a:pt x="1098" y="703"/>
                  </a:lnTo>
                  <a:lnTo>
                    <a:pt x="1096" y="703"/>
                  </a:lnTo>
                  <a:lnTo>
                    <a:pt x="1093" y="701"/>
                  </a:lnTo>
                  <a:lnTo>
                    <a:pt x="1091" y="701"/>
                  </a:lnTo>
                  <a:lnTo>
                    <a:pt x="1089" y="701"/>
                  </a:lnTo>
                  <a:lnTo>
                    <a:pt x="1086" y="701"/>
                  </a:lnTo>
                  <a:lnTo>
                    <a:pt x="1084" y="698"/>
                  </a:lnTo>
                  <a:lnTo>
                    <a:pt x="1082" y="698"/>
                  </a:lnTo>
                  <a:lnTo>
                    <a:pt x="1079" y="698"/>
                  </a:lnTo>
                  <a:lnTo>
                    <a:pt x="1077" y="698"/>
                  </a:lnTo>
                  <a:lnTo>
                    <a:pt x="1074" y="698"/>
                  </a:lnTo>
                  <a:lnTo>
                    <a:pt x="1072" y="698"/>
                  </a:lnTo>
                  <a:lnTo>
                    <a:pt x="1072" y="696"/>
                  </a:lnTo>
                  <a:lnTo>
                    <a:pt x="1072" y="693"/>
                  </a:lnTo>
                  <a:lnTo>
                    <a:pt x="1074" y="693"/>
                  </a:lnTo>
                  <a:lnTo>
                    <a:pt x="1074" y="691"/>
                  </a:lnTo>
                  <a:lnTo>
                    <a:pt x="1074" y="689"/>
                  </a:lnTo>
                  <a:lnTo>
                    <a:pt x="1074" y="686"/>
                  </a:lnTo>
                  <a:lnTo>
                    <a:pt x="1074" y="684"/>
                  </a:lnTo>
                  <a:lnTo>
                    <a:pt x="1077" y="684"/>
                  </a:lnTo>
                  <a:lnTo>
                    <a:pt x="1074" y="684"/>
                  </a:lnTo>
                  <a:lnTo>
                    <a:pt x="1074" y="682"/>
                  </a:lnTo>
                  <a:lnTo>
                    <a:pt x="1077" y="679"/>
                  </a:lnTo>
                  <a:lnTo>
                    <a:pt x="1077" y="677"/>
                  </a:lnTo>
                  <a:lnTo>
                    <a:pt x="1077" y="679"/>
                  </a:lnTo>
                  <a:lnTo>
                    <a:pt x="1077" y="677"/>
                  </a:lnTo>
                  <a:lnTo>
                    <a:pt x="1079" y="677"/>
                  </a:lnTo>
                  <a:lnTo>
                    <a:pt x="1077" y="677"/>
                  </a:lnTo>
                  <a:lnTo>
                    <a:pt x="1077" y="674"/>
                  </a:lnTo>
                  <a:lnTo>
                    <a:pt x="1079" y="674"/>
                  </a:lnTo>
                  <a:lnTo>
                    <a:pt x="1079" y="672"/>
                  </a:lnTo>
                  <a:lnTo>
                    <a:pt x="1082" y="672"/>
                  </a:lnTo>
                  <a:lnTo>
                    <a:pt x="1084" y="672"/>
                  </a:lnTo>
                  <a:lnTo>
                    <a:pt x="1084" y="670"/>
                  </a:lnTo>
                  <a:lnTo>
                    <a:pt x="1086" y="670"/>
                  </a:lnTo>
                  <a:lnTo>
                    <a:pt x="1086" y="667"/>
                  </a:lnTo>
                  <a:lnTo>
                    <a:pt x="1089" y="667"/>
                  </a:lnTo>
                  <a:lnTo>
                    <a:pt x="1089" y="665"/>
                  </a:lnTo>
                  <a:lnTo>
                    <a:pt x="1086" y="665"/>
                  </a:lnTo>
                  <a:lnTo>
                    <a:pt x="1086" y="662"/>
                  </a:lnTo>
                  <a:lnTo>
                    <a:pt x="1086" y="660"/>
                  </a:lnTo>
                  <a:lnTo>
                    <a:pt x="1086" y="658"/>
                  </a:lnTo>
                  <a:lnTo>
                    <a:pt x="1086" y="655"/>
                  </a:lnTo>
                  <a:lnTo>
                    <a:pt x="1086" y="653"/>
                  </a:lnTo>
                  <a:lnTo>
                    <a:pt x="1086" y="651"/>
                  </a:lnTo>
                  <a:lnTo>
                    <a:pt x="1086" y="648"/>
                  </a:lnTo>
                  <a:lnTo>
                    <a:pt x="1089" y="648"/>
                  </a:lnTo>
                  <a:lnTo>
                    <a:pt x="1086" y="648"/>
                  </a:lnTo>
                  <a:lnTo>
                    <a:pt x="1086" y="646"/>
                  </a:lnTo>
                  <a:lnTo>
                    <a:pt x="1086" y="648"/>
                  </a:lnTo>
                  <a:lnTo>
                    <a:pt x="1086" y="646"/>
                  </a:lnTo>
                  <a:lnTo>
                    <a:pt x="1086" y="643"/>
                  </a:lnTo>
                  <a:lnTo>
                    <a:pt x="1086" y="641"/>
                  </a:lnTo>
                  <a:lnTo>
                    <a:pt x="1084" y="641"/>
                  </a:lnTo>
                  <a:lnTo>
                    <a:pt x="1086" y="639"/>
                  </a:lnTo>
                  <a:lnTo>
                    <a:pt x="1086" y="641"/>
                  </a:lnTo>
                  <a:lnTo>
                    <a:pt x="1086" y="639"/>
                  </a:lnTo>
                  <a:lnTo>
                    <a:pt x="1084" y="639"/>
                  </a:lnTo>
                  <a:lnTo>
                    <a:pt x="1084" y="636"/>
                  </a:lnTo>
                  <a:lnTo>
                    <a:pt x="1084" y="634"/>
                  </a:lnTo>
                  <a:lnTo>
                    <a:pt x="1086" y="634"/>
                  </a:lnTo>
                  <a:lnTo>
                    <a:pt x="1084" y="634"/>
                  </a:lnTo>
                  <a:lnTo>
                    <a:pt x="1086" y="632"/>
                  </a:lnTo>
                  <a:lnTo>
                    <a:pt x="1084" y="629"/>
                  </a:lnTo>
                  <a:lnTo>
                    <a:pt x="1084" y="627"/>
                  </a:lnTo>
                  <a:lnTo>
                    <a:pt x="1082" y="627"/>
                  </a:lnTo>
                  <a:lnTo>
                    <a:pt x="1082" y="624"/>
                  </a:lnTo>
                  <a:lnTo>
                    <a:pt x="1084" y="624"/>
                  </a:lnTo>
                  <a:lnTo>
                    <a:pt x="1086" y="627"/>
                  </a:lnTo>
                  <a:lnTo>
                    <a:pt x="1086" y="624"/>
                  </a:lnTo>
                  <a:lnTo>
                    <a:pt x="1089" y="624"/>
                  </a:lnTo>
                  <a:lnTo>
                    <a:pt x="1086" y="624"/>
                  </a:lnTo>
                  <a:lnTo>
                    <a:pt x="1086" y="627"/>
                  </a:lnTo>
                  <a:lnTo>
                    <a:pt x="1084" y="624"/>
                  </a:lnTo>
                  <a:lnTo>
                    <a:pt x="1082" y="624"/>
                  </a:lnTo>
                  <a:lnTo>
                    <a:pt x="1084" y="624"/>
                  </a:lnTo>
                  <a:lnTo>
                    <a:pt x="1082" y="624"/>
                  </a:lnTo>
                  <a:lnTo>
                    <a:pt x="1084" y="624"/>
                  </a:lnTo>
                  <a:lnTo>
                    <a:pt x="1082" y="624"/>
                  </a:lnTo>
                  <a:lnTo>
                    <a:pt x="1082" y="622"/>
                  </a:lnTo>
                  <a:lnTo>
                    <a:pt x="1082" y="620"/>
                  </a:lnTo>
                  <a:lnTo>
                    <a:pt x="1082" y="617"/>
                  </a:lnTo>
                  <a:lnTo>
                    <a:pt x="1082" y="615"/>
                  </a:lnTo>
                  <a:lnTo>
                    <a:pt x="1082" y="613"/>
                  </a:lnTo>
                  <a:lnTo>
                    <a:pt x="1082" y="610"/>
                  </a:lnTo>
                  <a:lnTo>
                    <a:pt x="1082" y="613"/>
                  </a:lnTo>
                  <a:lnTo>
                    <a:pt x="1084" y="613"/>
                  </a:lnTo>
                  <a:lnTo>
                    <a:pt x="1082" y="613"/>
                  </a:lnTo>
                  <a:lnTo>
                    <a:pt x="1082" y="610"/>
                  </a:lnTo>
                  <a:lnTo>
                    <a:pt x="1082" y="608"/>
                  </a:lnTo>
                  <a:lnTo>
                    <a:pt x="1084" y="608"/>
                  </a:lnTo>
                  <a:lnTo>
                    <a:pt x="1082" y="608"/>
                  </a:lnTo>
                  <a:lnTo>
                    <a:pt x="1082" y="605"/>
                  </a:lnTo>
                  <a:lnTo>
                    <a:pt x="1084" y="605"/>
                  </a:lnTo>
                  <a:lnTo>
                    <a:pt x="1082" y="605"/>
                  </a:lnTo>
                  <a:lnTo>
                    <a:pt x="1084" y="605"/>
                  </a:lnTo>
                  <a:lnTo>
                    <a:pt x="1084" y="608"/>
                  </a:lnTo>
                  <a:lnTo>
                    <a:pt x="1084" y="605"/>
                  </a:lnTo>
                  <a:lnTo>
                    <a:pt x="1084" y="608"/>
                  </a:lnTo>
                  <a:lnTo>
                    <a:pt x="1086" y="608"/>
                  </a:lnTo>
                  <a:lnTo>
                    <a:pt x="1089" y="608"/>
                  </a:lnTo>
                  <a:lnTo>
                    <a:pt x="1086" y="608"/>
                  </a:lnTo>
                  <a:lnTo>
                    <a:pt x="1086" y="605"/>
                  </a:lnTo>
                  <a:lnTo>
                    <a:pt x="1084" y="605"/>
                  </a:lnTo>
                  <a:lnTo>
                    <a:pt x="1086" y="605"/>
                  </a:lnTo>
                  <a:lnTo>
                    <a:pt x="1084" y="605"/>
                  </a:lnTo>
                  <a:lnTo>
                    <a:pt x="1086" y="605"/>
                  </a:lnTo>
                  <a:lnTo>
                    <a:pt x="1084" y="605"/>
                  </a:lnTo>
                  <a:lnTo>
                    <a:pt x="1082" y="605"/>
                  </a:lnTo>
                  <a:lnTo>
                    <a:pt x="1082" y="603"/>
                  </a:lnTo>
                  <a:lnTo>
                    <a:pt x="1082" y="601"/>
                  </a:lnTo>
                  <a:lnTo>
                    <a:pt x="1082" y="603"/>
                  </a:lnTo>
                  <a:lnTo>
                    <a:pt x="1079" y="603"/>
                  </a:lnTo>
                  <a:lnTo>
                    <a:pt x="1079" y="601"/>
                  </a:lnTo>
                  <a:lnTo>
                    <a:pt x="1077" y="601"/>
                  </a:lnTo>
                  <a:lnTo>
                    <a:pt x="1077" y="598"/>
                  </a:lnTo>
                  <a:lnTo>
                    <a:pt x="1077" y="596"/>
                  </a:lnTo>
                  <a:lnTo>
                    <a:pt x="1074" y="594"/>
                  </a:lnTo>
                  <a:lnTo>
                    <a:pt x="1072" y="594"/>
                  </a:lnTo>
                  <a:lnTo>
                    <a:pt x="1072" y="591"/>
                  </a:lnTo>
                  <a:lnTo>
                    <a:pt x="1074" y="591"/>
                  </a:lnTo>
                  <a:lnTo>
                    <a:pt x="1074" y="589"/>
                  </a:lnTo>
                  <a:lnTo>
                    <a:pt x="1074" y="586"/>
                  </a:lnTo>
                  <a:lnTo>
                    <a:pt x="1077" y="586"/>
                  </a:lnTo>
                  <a:lnTo>
                    <a:pt x="1077" y="584"/>
                  </a:lnTo>
                  <a:lnTo>
                    <a:pt x="1074" y="584"/>
                  </a:lnTo>
                  <a:lnTo>
                    <a:pt x="1074" y="582"/>
                  </a:lnTo>
                  <a:lnTo>
                    <a:pt x="1072" y="582"/>
                  </a:lnTo>
                  <a:lnTo>
                    <a:pt x="1074" y="582"/>
                  </a:lnTo>
                  <a:lnTo>
                    <a:pt x="1074" y="579"/>
                  </a:lnTo>
                  <a:lnTo>
                    <a:pt x="1072" y="579"/>
                  </a:lnTo>
                  <a:lnTo>
                    <a:pt x="1072" y="577"/>
                  </a:lnTo>
                  <a:lnTo>
                    <a:pt x="1072" y="575"/>
                  </a:lnTo>
                  <a:lnTo>
                    <a:pt x="1074" y="575"/>
                  </a:lnTo>
                  <a:lnTo>
                    <a:pt x="1072" y="575"/>
                  </a:lnTo>
                  <a:lnTo>
                    <a:pt x="1072" y="577"/>
                  </a:lnTo>
                  <a:lnTo>
                    <a:pt x="1072" y="575"/>
                  </a:lnTo>
                  <a:lnTo>
                    <a:pt x="1074" y="575"/>
                  </a:lnTo>
                  <a:lnTo>
                    <a:pt x="1072" y="575"/>
                  </a:lnTo>
                  <a:lnTo>
                    <a:pt x="1074" y="577"/>
                  </a:lnTo>
                  <a:lnTo>
                    <a:pt x="1072" y="577"/>
                  </a:lnTo>
                  <a:lnTo>
                    <a:pt x="1074" y="577"/>
                  </a:lnTo>
                  <a:lnTo>
                    <a:pt x="1074" y="575"/>
                  </a:lnTo>
                  <a:lnTo>
                    <a:pt x="1077" y="575"/>
                  </a:lnTo>
                  <a:lnTo>
                    <a:pt x="1079" y="575"/>
                  </a:lnTo>
                  <a:lnTo>
                    <a:pt x="1079" y="577"/>
                  </a:lnTo>
                  <a:lnTo>
                    <a:pt x="1082" y="577"/>
                  </a:lnTo>
                  <a:lnTo>
                    <a:pt x="1084" y="575"/>
                  </a:lnTo>
                  <a:lnTo>
                    <a:pt x="1084" y="572"/>
                  </a:lnTo>
                  <a:lnTo>
                    <a:pt x="1086" y="572"/>
                  </a:lnTo>
                  <a:lnTo>
                    <a:pt x="1086" y="575"/>
                  </a:lnTo>
                  <a:lnTo>
                    <a:pt x="1086" y="572"/>
                  </a:lnTo>
                  <a:lnTo>
                    <a:pt x="1089" y="572"/>
                  </a:lnTo>
                  <a:lnTo>
                    <a:pt x="1091" y="572"/>
                  </a:lnTo>
                  <a:lnTo>
                    <a:pt x="1093" y="572"/>
                  </a:lnTo>
                  <a:lnTo>
                    <a:pt x="1091" y="572"/>
                  </a:lnTo>
                  <a:lnTo>
                    <a:pt x="1093" y="572"/>
                  </a:lnTo>
                  <a:lnTo>
                    <a:pt x="1096" y="572"/>
                  </a:lnTo>
                  <a:lnTo>
                    <a:pt x="1098" y="572"/>
                  </a:lnTo>
                  <a:lnTo>
                    <a:pt x="1101" y="572"/>
                  </a:lnTo>
                  <a:lnTo>
                    <a:pt x="1103" y="572"/>
                  </a:lnTo>
                  <a:lnTo>
                    <a:pt x="1101" y="572"/>
                  </a:lnTo>
                  <a:lnTo>
                    <a:pt x="1098" y="572"/>
                  </a:lnTo>
                  <a:lnTo>
                    <a:pt x="1096" y="572"/>
                  </a:lnTo>
                  <a:lnTo>
                    <a:pt x="1093" y="572"/>
                  </a:lnTo>
                  <a:lnTo>
                    <a:pt x="1096" y="572"/>
                  </a:lnTo>
                  <a:lnTo>
                    <a:pt x="1093" y="572"/>
                  </a:lnTo>
                  <a:lnTo>
                    <a:pt x="1091" y="572"/>
                  </a:lnTo>
                  <a:lnTo>
                    <a:pt x="1091" y="575"/>
                  </a:lnTo>
                  <a:lnTo>
                    <a:pt x="1093" y="575"/>
                  </a:lnTo>
                  <a:lnTo>
                    <a:pt x="1091" y="575"/>
                  </a:lnTo>
                  <a:lnTo>
                    <a:pt x="1089" y="575"/>
                  </a:lnTo>
                  <a:lnTo>
                    <a:pt x="1086" y="575"/>
                  </a:lnTo>
                  <a:lnTo>
                    <a:pt x="1086" y="577"/>
                  </a:lnTo>
                  <a:lnTo>
                    <a:pt x="1084" y="577"/>
                  </a:lnTo>
                  <a:lnTo>
                    <a:pt x="1084" y="579"/>
                  </a:lnTo>
                  <a:lnTo>
                    <a:pt x="1082" y="579"/>
                  </a:lnTo>
                  <a:lnTo>
                    <a:pt x="1084" y="577"/>
                  </a:lnTo>
                  <a:lnTo>
                    <a:pt x="1082" y="577"/>
                  </a:lnTo>
                  <a:lnTo>
                    <a:pt x="1084" y="577"/>
                  </a:lnTo>
                  <a:lnTo>
                    <a:pt x="1082" y="577"/>
                  </a:lnTo>
                  <a:lnTo>
                    <a:pt x="1084" y="577"/>
                  </a:lnTo>
                  <a:lnTo>
                    <a:pt x="1082" y="579"/>
                  </a:lnTo>
                  <a:lnTo>
                    <a:pt x="1084" y="579"/>
                  </a:lnTo>
                  <a:lnTo>
                    <a:pt x="1084" y="577"/>
                  </a:lnTo>
                  <a:lnTo>
                    <a:pt x="1086" y="577"/>
                  </a:lnTo>
                  <a:lnTo>
                    <a:pt x="1086" y="579"/>
                  </a:lnTo>
                  <a:lnTo>
                    <a:pt x="1089" y="579"/>
                  </a:lnTo>
                  <a:lnTo>
                    <a:pt x="1086" y="579"/>
                  </a:lnTo>
                  <a:lnTo>
                    <a:pt x="1086" y="582"/>
                  </a:lnTo>
                  <a:lnTo>
                    <a:pt x="1086" y="579"/>
                  </a:lnTo>
                  <a:lnTo>
                    <a:pt x="1084" y="579"/>
                  </a:lnTo>
                  <a:lnTo>
                    <a:pt x="1084" y="582"/>
                  </a:lnTo>
                  <a:lnTo>
                    <a:pt x="1086" y="582"/>
                  </a:lnTo>
                  <a:lnTo>
                    <a:pt x="1084" y="582"/>
                  </a:lnTo>
                  <a:lnTo>
                    <a:pt x="1086" y="582"/>
                  </a:lnTo>
                  <a:lnTo>
                    <a:pt x="1086" y="579"/>
                  </a:lnTo>
                  <a:lnTo>
                    <a:pt x="1086" y="582"/>
                  </a:lnTo>
                  <a:lnTo>
                    <a:pt x="1086" y="579"/>
                  </a:lnTo>
                  <a:lnTo>
                    <a:pt x="1089" y="579"/>
                  </a:lnTo>
                  <a:lnTo>
                    <a:pt x="1091" y="579"/>
                  </a:lnTo>
                  <a:lnTo>
                    <a:pt x="1089" y="579"/>
                  </a:lnTo>
                  <a:lnTo>
                    <a:pt x="1091" y="579"/>
                  </a:lnTo>
                  <a:lnTo>
                    <a:pt x="1093" y="579"/>
                  </a:lnTo>
                  <a:lnTo>
                    <a:pt x="1091" y="579"/>
                  </a:lnTo>
                  <a:lnTo>
                    <a:pt x="1091" y="577"/>
                  </a:lnTo>
                  <a:lnTo>
                    <a:pt x="1089" y="579"/>
                  </a:lnTo>
                  <a:lnTo>
                    <a:pt x="1089" y="577"/>
                  </a:lnTo>
                  <a:lnTo>
                    <a:pt x="1086" y="577"/>
                  </a:lnTo>
                  <a:lnTo>
                    <a:pt x="1086" y="575"/>
                  </a:lnTo>
                  <a:lnTo>
                    <a:pt x="1089" y="575"/>
                  </a:lnTo>
                  <a:lnTo>
                    <a:pt x="1091" y="575"/>
                  </a:lnTo>
                  <a:lnTo>
                    <a:pt x="1093" y="575"/>
                  </a:lnTo>
                  <a:lnTo>
                    <a:pt x="1093" y="572"/>
                  </a:lnTo>
                  <a:lnTo>
                    <a:pt x="1096" y="572"/>
                  </a:lnTo>
                  <a:lnTo>
                    <a:pt x="1098" y="572"/>
                  </a:lnTo>
                  <a:lnTo>
                    <a:pt x="1096" y="572"/>
                  </a:lnTo>
                  <a:lnTo>
                    <a:pt x="1098" y="572"/>
                  </a:lnTo>
                  <a:lnTo>
                    <a:pt x="1098" y="575"/>
                  </a:lnTo>
                  <a:lnTo>
                    <a:pt x="1096" y="575"/>
                  </a:lnTo>
                  <a:lnTo>
                    <a:pt x="1096" y="577"/>
                  </a:lnTo>
                  <a:lnTo>
                    <a:pt x="1093" y="577"/>
                  </a:lnTo>
                  <a:lnTo>
                    <a:pt x="1093" y="575"/>
                  </a:lnTo>
                  <a:lnTo>
                    <a:pt x="1093" y="577"/>
                  </a:lnTo>
                  <a:lnTo>
                    <a:pt x="1093" y="575"/>
                  </a:lnTo>
                  <a:lnTo>
                    <a:pt x="1093" y="577"/>
                  </a:lnTo>
                  <a:lnTo>
                    <a:pt x="1093" y="575"/>
                  </a:lnTo>
                  <a:lnTo>
                    <a:pt x="1093" y="577"/>
                  </a:lnTo>
                  <a:lnTo>
                    <a:pt x="1093" y="575"/>
                  </a:lnTo>
                  <a:lnTo>
                    <a:pt x="1093" y="577"/>
                  </a:lnTo>
                  <a:lnTo>
                    <a:pt x="1096" y="577"/>
                  </a:lnTo>
                  <a:lnTo>
                    <a:pt x="1096" y="575"/>
                  </a:lnTo>
                  <a:lnTo>
                    <a:pt x="1096" y="577"/>
                  </a:lnTo>
                  <a:lnTo>
                    <a:pt x="1096" y="575"/>
                  </a:lnTo>
                  <a:lnTo>
                    <a:pt x="1096" y="577"/>
                  </a:lnTo>
                  <a:lnTo>
                    <a:pt x="1096" y="575"/>
                  </a:lnTo>
                  <a:lnTo>
                    <a:pt x="1098" y="575"/>
                  </a:lnTo>
                  <a:lnTo>
                    <a:pt x="1101" y="575"/>
                  </a:lnTo>
                  <a:lnTo>
                    <a:pt x="1098" y="575"/>
                  </a:lnTo>
                  <a:lnTo>
                    <a:pt x="1098" y="572"/>
                  </a:lnTo>
                  <a:lnTo>
                    <a:pt x="1098" y="575"/>
                  </a:lnTo>
                  <a:lnTo>
                    <a:pt x="1098" y="572"/>
                  </a:lnTo>
                  <a:lnTo>
                    <a:pt x="1101" y="572"/>
                  </a:lnTo>
                  <a:lnTo>
                    <a:pt x="1098" y="572"/>
                  </a:lnTo>
                  <a:lnTo>
                    <a:pt x="1101" y="572"/>
                  </a:lnTo>
                  <a:lnTo>
                    <a:pt x="1101" y="575"/>
                  </a:lnTo>
                  <a:lnTo>
                    <a:pt x="1101" y="572"/>
                  </a:lnTo>
                  <a:lnTo>
                    <a:pt x="1103" y="572"/>
                  </a:lnTo>
                  <a:lnTo>
                    <a:pt x="1101" y="572"/>
                  </a:lnTo>
                  <a:lnTo>
                    <a:pt x="1103" y="572"/>
                  </a:lnTo>
                  <a:lnTo>
                    <a:pt x="1101" y="572"/>
                  </a:lnTo>
                  <a:lnTo>
                    <a:pt x="1103" y="572"/>
                  </a:lnTo>
                  <a:lnTo>
                    <a:pt x="1103" y="570"/>
                  </a:lnTo>
                  <a:lnTo>
                    <a:pt x="1105" y="570"/>
                  </a:lnTo>
                  <a:lnTo>
                    <a:pt x="1105" y="567"/>
                  </a:lnTo>
                  <a:lnTo>
                    <a:pt x="1108" y="567"/>
                  </a:lnTo>
                  <a:lnTo>
                    <a:pt x="1108" y="565"/>
                  </a:lnTo>
                  <a:lnTo>
                    <a:pt x="1110" y="565"/>
                  </a:lnTo>
                  <a:lnTo>
                    <a:pt x="1112" y="565"/>
                  </a:lnTo>
                  <a:lnTo>
                    <a:pt x="1115" y="565"/>
                  </a:lnTo>
                  <a:lnTo>
                    <a:pt x="1117" y="565"/>
                  </a:lnTo>
                  <a:lnTo>
                    <a:pt x="1117" y="563"/>
                  </a:lnTo>
                  <a:lnTo>
                    <a:pt x="1117" y="565"/>
                  </a:lnTo>
                  <a:lnTo>
                    <a:pt x="1117" y="563"/>
                  </a:lnTo>
                  <a:lnTo>
                    <a:pt x="1119" y="563"/>
                  </a:lnTo>
                  <a:lnTo>
                    <a:pt x="1119" y="560"/>
                  </a:lnTo>
                  <a:lnTo>
                    <a:pt x="1122" y="560"/>
                  </a:lnTo>
                  <a:lnTo>
                    <a:pt x="1119" y="560"/>
                  </a:lnTo>
                  <a:lnTo>
                    <a:pt x="1122" y="560"/>
                  </a:lnTo>
                  <a:lnTo>
                    <a:pt x="1119" y="560"/>
                  </a:lnTo>
                  <a:lnTo>
                    <a:pt x="1119" y="563"/>
                  </a:lnTo>
                  <a:lnTo>
                    <a:pt x="1122" y="563"/>
                  </a:lnTo>
                  <a:lnTo>
                    <a:pt x="1119" y="563"/>
                  </a:lnTo>
                  <a:lnTo>
                    <a:pt x="1122" y="563"/>
                  </a:lnTo>
                  <a:lnTo>
                    <a:pt x="1119" y="563"/>
                  </a:lnTo>
                  <a:lnTo>
                    <a:pt x="1119" y="560"/>
                  </a:lnTo>
                  <a:lnTo>
                    <a:pt x="1122" y="560"/>
                  </a:lnTo>
                  <a:lnTo>
                    <a:pt x="1124" y="560"/>
                  </a:lnTo>
                  <a:lnTo>
                    <a:pt x="1124" y="558"/>
                  </a:lnTo>
                  <a:lnTo>
                    <a:pt x="1127" y="558"/>
                  </a:lnTo>
                  <a:lnTo>
                    <a:pt x="1127" y="556"/>
                  </a:lnTo>
                  <a:lnTo>
                    <a:pt x="1127" y="558"/>
                  </a:lnTo>
                  <a:lnTo>
                    <a:pt x="1127" y="556"/>
                  </a:lnTo>
                  <a:lnTo>
                    <a:pt x="1129" y="556"/>
                  </a:lnTo>
                  <a:lnTo>
                    <a:pt x="1129" y="553"/>
                  </a:lnTo>
                  <a:lnTo>
                    <a:pt x="1131" y="553"/>
                  </a:lnTo>
                  <a:lnTo>
                    <a:pt x="1131" y="556"/>
                  </a:lnTo>
                  <a:lnTo>
                    <a:pt x="1131" y="553"/>
                  </a:lnTo>
                  <a:lnTo>
                    <a:pt x="1134" y="553"/>
                  </a:lnTo>
                  <a:lnTo>
                    <a:pt x="1134" y="551"/>
                  </a:lnTo>
                  <a:lnTo>
                    <a:pt x="1136" y="551"/>
                  </a:lnTo>
                  <a:lnTo>
                    <a:pt x="1136" y="548"/>
                  </a:lnTo>
                  <a:lnTo>
                    <a:pt x="1138" y="548"/>
                  </a:lnTo>
                  <a:lnTo>
                    <a:pt x="1138" y="546"/>
                  </a:lnTo>
                  <a:lnTo>
                    <a:pt x="1138" y="548"/>
                  </a:lnTo>
                  <a:lnTo>
                    <a:pt x="1138" y="546"/>
                  </a:lnTo>
                  <a:lnTo>
                    <a:pt x="1141" y="546"/>
                  </a:lnTo>
                  <a:lnTo>
                    <a:pt x="1138" y="544"/>
                  </a:lnTo>
                  <a:lnTo>
                    <a:pt x="1141" y="544"/>
                  </a:lnTo>
                  <a:lnTo>
                    <a:pt x="1141" y="541"/>
                  </a:lnTo>
                  <a:lnTo>
                    <a:pt x="1141" y="539"/>
                  </a:lnTo>
                  <a:lnTo>
                    <a:pt x="1143" y="539"/>
                  </a:lnTo>
                  <a:lnTo>
                    <a:pt x="1146" y="539"/>
                  </a:lnTo>
                  <a:lnTo>
                    <a:pt x="1146" y="537"/>
                  </a:lnTo>
                  <a:lnTo>
                    <a:pt x="1148" y="537"/>
                  </a:lnTo>
                  <a:lnTo>
                    <a:pt x="1148" y="534"/>
                  </a:lnTo>
                  <a:lnTo>
                    <a:pt x="1150" y="534"/>
                  </a:lnTo>
                  <a:lnTo>
                    <a:pt x="1153" y="534"/>
                  </a:lnTo>
                  <a:lnTo>
                    <a:pt x="1153" y="537"/>
                  </a:lnTo>
                  <a:lnTo>
                    <a:pt x="1153" y="539"/>
                  </a:lnTo>
                  <a:lnTo>
                    <a:pt x="1155" y="539"/>
                  </a:lnTo>
                  <a:lnTo>
                    <a:pt x="1155" y="541"/>
                  </a:lnTo>
                  <a:lnTo>
                    <a:pt x="1155" y="539"/>
                  </a:lnTo>
                  <a:lnTo>
                    <a:pt x="1155" y="541"/>
                  </a:lnTo>
                  <a:lnTo>
                    <a:pt x="1157" y="541"/>
                  </a:lnTo>
                  <a:lnTo>
                    <a:pt x="1157" y="544"/>
                  </a:lnTo>
                  <a:lnTo>
                    <a:pt x="1160" y="544"/>
                  </a:lnTo>
                  <a:lnTo>
                    <a:pt x="1162" y="544"/>
                  </a:lnTo>
                  <a:lnTo>
                    <a:pt x="1160" y="546"/>
                  </a:lnTo>
                  <a:lnTo>
                    <a:pt x="1162" y="544"/>
                  </a:lnTo>
                  <a:lnTo>
                    <a:pt x="1162" y="541"/>
                  </a:lnTo>
                  <a:lnTo>
                    <a:pt x="1165" y="541"/>
                  </a:lnTo>
                  <a:lnTo>
                    <a:pt x="1162" y="541"/>
                  </a:lnTo>
                  <a:lnTo>
                    <a:pt x="1165" y="541"/>
                  </a:lnTo>
                  <a:lnTo>
                    <a:pt x="1165" y="539"/>
                  </a:lnTo>
                  <a:lnTo>
                    <a:pt x="1162" y="539"/>
                  </a:lnTo>
                  <a:lnTo>
                    <a:pt x="1165" y="539"/>
                  </a:lnTo>
                  <a:lnTo>
                    <a:pt x="1167" y="539"/>
                  </a:lnTo>
                  <a:lnTo>
                    <a:pt x="1165" y="539"/>
                  </a:lnTo>
                  <a:lnTo>
                    <a:pt x="1165" y="537"/>
                  </a:lnTo>
                  <a:lnTo>
                    <a:pt x="1165" y="534"/>
                  </a:lnTo>
                  <a:lnTo>
                    <a:pt x="1162" y="534"/>
                  </a:lnTo>
                  <a:lnTo>
                    <a:pt x="1165" y="534"/>
                  </a:lnTo>
                  <a:lnTo>
                    <a:pt x="1162" y="534"/>
                  </a:lnTo>
                  <a:lnTo>
                    <a:pt x="1165" y="534"/>
                  </a:lnTo>
                  <a:lnTo>
                    <a:pt x="1165" y="532"/>
                  </a:lnTo>
                  <a:lnTo>
                    <a:pt x="1165" y="534"/>
                  </a:lnTo>
                  <a:lnTo>
                    <a:pt x="1165" y="532"/>
                  </a:lnTo>
                  <a:lnTo>
                    <a:pt x="1165" y="529"/>
                  </a:lnTo>
                  <a:lnTo>
                    <a:pt x="1167" y="529"/>
                  </a:lnTo>
                  <a:lnTo>
                    <a:pt x="1167" y="527"/>
                  </a:lnTo>
                  <a:lnTo>
                    <a:pt x="1169" y="527"/>
                  </a:lnTo>
                  <a:lnTo>
                    <a:pt x="1172" y="525"/>
                  </a:lnTo>
                  <a:lnTo>
                    <a:pt x="1174" y="525"/>
                  </a:lnTo>
                  <a:lnTo>
                    <a:pt x="1176" y="525"/>
                  </a:lnTo>
                  <a:lnTo>
                    <a:pt x="1174" y="525"/>
                  </a:lnTo>
                  <a:lnTo>
                    <a:pt x="1174" y="522"/>
                  </a:lnTo>
                  <a:lnTo>
                    <a:pt x="1176" y="522"/>
                  </a:lnTo>
                  <a:lnTo>
                    <a:pt x="1176" y="520"/>
                  </a:lnTo>
                  <a:lnTo>
                    <a:pt x="1179" y="520"/>
                  </a:lnTo>
                  <a:lnTo>
                    <a:pt x="1181" y="520"/>
                  </a:lnTo>
                  <a:lnTo>
                    <a:pt x="1184" y="520"/>
                  </a:lnTo>
                  <a:lnTo>
                    <a:pt x="1186" y="520"/>
                  </a:lnTo>
                  <a:lnTo>
                    <a:pt x="1188" y="520"/>
                  </a:lnTo>
                  <a:lnTo>
                    <a:pt x="1191" y="520"/>
                  </a:lnTo>
                  <a:lnTo>
                    <a:pt x="1191" y="518"/>
                  </a:lnTo>
                  <a:lnTo>
                    <a:pt x="1193" y="518"/>
                  </a:lnTo>
                  <a:lnTo>
                    <a:pt x="1195" y="518"/>
                  </a:lnTo>
                  <a:lnTo>
                    <a:pt x="1195" y="515"/>
                  </a:lnTo>
                  <a:lnTo>
                    <a:pt x="1195" y="518"/>
                  </a:lnTo>
                  <a:lnTo>
                    <a:pt x="1195" y="515"/>
                  </a:lnTo>
                  <a:lnTo>
                    <a:pt x="1198" y="515"/>
                  </a:lnTo>
                  <a:lnTo>
                    <a:pt x="1200" y="515"/>
                  </a:lnTo>
                  <a:lnTo>
                    <a:pt x="1203" y="515"/>
                  </a:lnTo>
                  <a:lnTo>
                    <a:pt x="1205" y="515"/>
                  </a:lnTo>
                  <a:lnTo>
                    <a:pt x="1205" y="518"/>
                  </a:lnTo>
                  <a:lnTo>
                    <a:pt x="1207" y="518"/>
                  </a:lnTo>
                  <a:lnTo>
                    <a:pt x="1210" y="518"/>
                  </a:lnTo>
                  <a:lnTo>
                    <a:pt x="1212" y="518"/>
                  </a:lnTo>
                  <a:lnTo>
                    <a:pt x="1214" y="518"/>
                  </a:lnTo>
                  <a:lnTo>
                    <a:pt x="1212" y="518"/>
                  </a:lnTo>
                  <a:lnTo>
                    <a:pt x="1214" y="518"/>
                  </a:lnTo>
                  <a:lnTo>
                    <a:pt x="1217" y="518"/>
                  </a:lnTo>
                  <a:lnTo>
                    <a:pt x="1217" y="515"/>
                  </a:lnTo>
                  <a:lnTo>
                    <a:pt x="1219" y="518"/>
                  </a:lnTo>
                  <a:lnTo>
                    <a:pt x="1217" y="515"/>
                  </a:lnTo>
                  <a:lnTo>
                    <a:pt x="1219" y="515"/>
                  </a:lnTo>
                  <a:lnTo>
                    <a:pt x="1219" y="518"/>
                  </a:lnTo>
                  <a:lnTo>
                    <a:pt x="1219" y="515"/>
                  </a:lnTo>
                  <a:lnTo>
                    <a:pt x="1219" y="518"/>
                  </a:lnTo>
                  <a:lnTo>
                    <a:pt x="1217" y="518"/>
                  </a:lnTo>
                  <a:lnTo>
                    <a:pt x="1217" y="520"/>
                  </a:lnTo>
                  <a:lnTo>
                    <a:pt x="1217" y="522"/>
                  </a:lnTo>
                  <a:lnTo>
                    <a:pt x="1219" y="522"/>
                  </a:lnTo>
                  <a:lnTo>
                    <a:pt x="1217" y="522"/>
                  </a:lnTo>
                  <a:lnTo>
                    <a:pt x="1219" y="522"/>
                  </a:lnTo>
                  <a:lnTo>
                    <a:pt x="1222" y="522"/>
                  </a:lnTo>
                  <a:lnTo>
                    <a:pt x="1222" y="525"/>
                  </a:lnTo>
                  <a:lnTo>
                    <a:pt x="1224" y="525"/>
                  </a:lnTo>
                  <a:lnTo>
                    <a:pt x="1222" y="525"/>
                  </a:lnTo>
                  <a:lnTo>
                    <a:pt x="1222" y="527"/>
                  </a:lnTo>
                  <a:lnTo>
                    <a:pt x="1224" y="527"/>
                  </a:lnTo>
                  <a:lnTo>
                    <a:pt x="1226" y="527"/>
                  </a:lnTo>
                  <a:lnTo>
                    <a:pt x="1224" y="527"/>
                  </a:lnTo>
                  <a:lnTo>
                    <a:pt x="1226" y="527"/>
                  </a:lnTo>
                  <a:lnTo>
                    <a:pt x="1226" y="529"/>
                  </a:lnTo>
                  <a:lnTo>
                    <a:pt x="1229" y="529"/>
                  </a:lnTo>
                  <a:lnTo>
                    <a:pt x="1229" y="532"/>
                  </a:lnTo>
                  <a:lnTo>
                    <a:pt x="1231" y="532"/>
                  </a:lnTo>
                  <a:lnTo>
                    <a:pt x="1231" y="529"/>
                  </a:lnTo>
                  <a:lnTo>
                    <a:pt x="1231" y="532"/>
                  </a:lnTo>
                  <a:lnTo>
                    <a:pt x="1231" y="534"/>
                  </a:lnTo>
                  <a:lnTo>
                    <a:pt x="1233" y="534"/>
                  </a:lnTo>
                  <a:lnTo>
                    <a:pt x="1236" y="534"/>
                  </a:lnTo>
                  <a:lnTo>
                    <a:pt x="1236" y="537"/>
                  </a:lnTo>
                  <a:lnTo>
                    <a:pt x="1238" y="537"/>
                  </a:lnTo>
                  <a:lnTo>
                    <a:pt x="1238" y="539"/>
                  </a:lnTo>
                  <a:lnTo>
                    <a:pt x="1240" y="539"/>
                  </a:lnTo>
                  <a:lnTo>
                    <a:pt x="1240" y="537"/>
                  </a:lnTo>
                  <a:lnTo>
                    <a:pt x="1240" y="539"/>
                  </a:lnTo>
                  <a:lnTo>
                    <a:pt x="1240" y="541"/>
                  </a:lnTo>
                  <a:lnTo>
                    <a:pt x="1243" y="541"/>
                  </a:lnTo>
                  <a:lnTo>
                    <a:pt x="1243" y="544"/>
                  </a:lnTo>
                  <a:lnTo>
                    <a:pt x="1243" y="546"/>
                  </a:lnTo>
                  <a:lnTo>
                    <a:pt x="1240" y="546"/>
                  </a:lnTo>
                  <a:lnTo>
                    <a:pt x="1243" y="546"/>
                  </a:lnTo>
                  <a:lnTo>
                    <a:pt x="1240" y="546"/>
                  </a:lnTo>
                  <a:lnTo>
                    <a:pt x="1238" y="546"/>
                  </a:lnTo>
                  <a:lnTo>
                    <a:pt x="1236" y="546"/>
                  </a:lnTo>
                  <a:lnTo>
                    <a:pt x="1236" y="544"/>
                  </a:lnTo>
                  <a:lnTo>
                    <a:pt x="1233" y="544"/>
                  </a:lnTo>
                  <a:lnTo>
                    <a:pt x="1233" y="546"/>
                  </a:lnTo>
                  <a:lnTo>
                    <a:pt x="1231" y="546"/>
                  </a:lnTo>
                  <a:lnTo>
                    <a:pt x="1231" y="544"/>
                  </a:lnTo>
                  <a:lnTo>
                    <a:pt x="1229" y="544"/>
                  </a:lnTo>
                  <a:lnTo>
                    <a:pt x="1231" y="544"/>
                  </a:lnTo>
                  <a:lnTo>
                    <a:pt x="1231" y="541"/>
                  </a:lnTo>
                  <a:lnTo>
                    <a:pt x="1229" y="541"/>
                  </a:lnTo>
                  <a:lnTo>
                    <a:pt x="1229" y="544"/>
                  </a:lnTo>
                  <a:lnTo>
                    <a:pt x="1229" y="541"/>
                  </a:lnTo>
                  <a:lnTo>
                    <a:pt x="1226" y="544"/>
                  </a:lnTo>
                  <a:lnTo>
                    <a:pt x="1226" y="541"/>
                  </a:lnTo>
                  <a:lnTo>
                    <a:pt x="1226" y="544"/>
                  </a:lnTo>
                  <a:lnTo>
                    <a:pt x="1224" y="544"/>
                  </a:lnTo>
                  <a:lnTo>
                    <a:pt x="1222" y="544"/>
                  </a:lnTo>
                  <a:lnTo>
                    <a:pt x="1219" y="544"/>
                  </a:lnTo>
                  <a:lnTo>
                    <a:pt x="1219" y="541"/>
                  </a:lnTo>
                  <a:lnTo>
                    <a:pt x="1219" y="544"/>
                  </a:lnTo>
                  <a:lnTo>
                    <a:pt x="1219" y="541"/>
                  </a:lnTo>
                  <a:lnTo>
                    <a:pt x="1217" y="541"/>
                  </a:lnTo>
                  <a:lnTo>
                    <a:pt x="1217" y="544"/>
                  </a:lnTo>
                  <a:lnTo>
                    <a:pt x="1214" y="541"/>
                  </a:lnTo>
                  <a:lnTo>
                    <a:pt x="1217" y="541"/>
                  </a:lnTo>
                  <a:lnTo>
                    <a:pt x="1217" y="544"/>
                  </a:lnTo>
                  <a:lnTo>
                    <a:pt x="1217" y="541"/>
                  </a:lnTo>
                  <a:lnTo>
                    <a:pt x="1217" y="544"/>
                  </a:lnTo>
                  <a:lnTo>
                    <a:pt x="1217" y="541"/>
                  </a:lnTo>
                  <a:lnTo>
                    <a:pt x="1219" y="541"/>
                  </a:lnTo>
                  <a:lnTo>
                    <a:pt x="1219" y="544"/>
                  </a:lnTo>
                  <a:lnTo>
                    <a:pt x="1219" y="541"/>
                  </a:lnTo>
                  <a:lnTo>
                    <a:pt x="1219" y="544"/>
                  </a:lnTo>
                  <a:lnTo>
                    <a:pt x="1222" y="544"/>
                  </a:lnTo>
                  <a:lnTo>
                    <a:pt x="1224" y="544"/>
                  </a:lnTo>
                  <a:lnTo>
                    <a:pt x="1226" y="544"/>
                  </a:lnTo>
                  <a:lnTo>
                    <a:pt x="1229" y="544"/>
                  </a:lnTo>
                  <a:lnTo>
                    <a:pt x="1229" y="541"/>
                  </a:lnTo>
                  <a:lnTo>
                    <a:pt x="1231" y="541"/>
                  </a:lnTo>
                  <a:lnTo>
                    <a:pt x="1231" y="544"/>
                  </a:lnTo>
                  <a:lnTo>
                    <a:pt x="1229" y="544"/>
                  </a:lnTo>
                  <a:lnTo>
                    <a:pt x="1231" y="544"/>
                  </a:lnTo>
                  <a:lnTo>
                    <a:pt x="1231" y="546"/>
                  </a:lnTo>
                  <a:lnTo>
                    <a:pt x="1233" y="546"/>
                  </a:lnTo>
                  <a:lnTo>
                    <a:pt x="1233" y="544"/>
                  </a:lnTo>
                  <a:lnTo>
                    <a:pt x="1236" y="544"/>
                  </a:lnTo>
                  <a:lnTo>
                    <a:pt x="1236" y="546"/>
                  </a:lnTo>
                  <a:lnTo>
                    <a:pt x="1238" y="546"/>
                  </a:lnTo>
                  <a:lnTo>
                    <a:pt x="1240" y="546"/>
                  </a:lnTo>
                  <a:lnTo>
                    <a:pt x="1240" y="548"/>
                  </a:lnTo>
                  <a:lnTo>
                    <a:pt x="1240" y="546"/>
                  </a:lnTo>
                  <a:lnTo>
                    <a:pt x="1240" y="548"/>
                  </a:lnTo>
                  <a:lnTo>
                    <a:pt x="1243" y="548"/>
                  </a:lnTo>
                  <a:lnTo>
                    <a:pt x="1240" y="548"/>
                  </a:lnTo>
                  <a:lnTo>
                    <a:pt x="1243" y="548"/>
                  </a:lnTo>
                  <a:lnTo>
                    <a:pt x="1240" y="548"/>
                  </a:lnTo>
                  <a:lnTo>
                    <a:pt x="1240" y="546"/>
                  </a:lnTo>
                  <a:lnTo>
                    <a:pt x="1243" y="546"/>
                  </a:lnTo>
                  <a:lnTo>
                    <a:pt x="1240" y="546"/>
                  </a:lnTo>
                  <a:lnTo>
                    <a:pt x="1243" y="546"/>
                  </a:lnTo>
                  <a:lnTo>
                    <a:pt x="1243" y="544"/>
                  </a:lnTo>
                  <a:lnTo>
                    <a:pt x="1243" y="546"/>
                  </a:lnTo>
                  <a:lnTo>
                    <a:pt x="1243" y="544"/>
                  </a:lnTo>
                  <a:lnTo>
                    <a:pt x="1243" y="541"/>
                  </a:lnTo>
                  <a:lnTo>
                    <a:pt x="1240" y="541"/>
                  </a:lnTo>
                  <a:lnTo>
                    <a:pt x="1240" y="539"/>
                  </a:lnTo>
                  <a:lnTo>
                    <a:pt x="1240" y="537"/>
                  </a:lnTo>
                  <a:lnTo>
                    <a:pt x="1238" y="537"/>
                  </a:lnTo>
                  <a:lnTo>
                    <a:pt x="1238" y="539"/>
                  </a:lnTo>
                  <a:lnTo>
                    <a:pt x="1238" y="537"/>
                  </a:lnTo>
                  <a:lnTo>
                    <a:pt x="1236" y="537"/>
                  </a:lnTo>
                  <a:lnTo>
                    <a:pt x="1236" y="534"/>
                  </a:lnTo>
                  <a:lnTo>
                    <a:pt x="1233" y="534"/>
                  </a:lnTo>
                  <a:lnTo>
                    <a:pt x="1233" y="532"/>
                  </a:lnTo>
                  <a:lnTo>
                    <a:pt x="1231" y="532"/>
                  </a:lnTo>
                  <a:lnTo>
                    <a:pt x="1231" y="529"/>
                  </a:lnTo>
                  <a:lnTo>
                    <a:pt x="1229" y="529"/>
                  </a:lnTo>
                  <a:lnTo>
                    <a:pt x="1226" y="529"/>
                  </a:lnTo>
                  <a:lnTo>
                    <a:pt x="1226" y="527"/>
                  </a:lnTo>
                  <a:lnTo>
                    <a:pt x="1224" y="527"/>
                  </a:lnTo>
                  <a:lnTo>
                    <a:pt x="1222" y="527"/>
                  </a:lnTo>
                  <a:lnTo>
                    <a:pt x="1222" y="525"/>
                  </a:lnTo>
                  <a:lnTo>
                    <a:pt x="1224" y="525"/>
                  </a:lnTo>
                  <a:lnTo>
                    <a:pt x="1222" y="525"/>
                  </a:lnTo>
                  <a:lnTo>
                    <a:pt x="1222" y="522"/>
                  </a:lnTo>
                  <a:lnTo>
                    <a:pt x="1219" y="522"/>
                  </a:lnTo>
                  <a:lnTo>
                    <a:pt x="1217" y="522"/>
                  </a:lnTo>
                  <a:lnTo>
                    <a:pt x="1217" y="520"/>
                  </a:lnTo>
                  <a:lnTo>
                    <a:pt x="1219" y="520"/>
                  </a:lnTo>
                  <a:lnTo>
                    <a:pt x="1217" y="520"/>
                  </a:lnTo>
                  <a:lnTo>
                    <a:pt x="1219" y="520"/>
                  </a:lnTo>
                  <a:lnTo>
                    <a:pt x="1217" y="520"/>
                  </a:lnTo>
                  <a:lnTo>
                    <a:pt x="1219" y="520"/>
                  </a:lnTo>
                  <a:lnTo>
                    <a:pt x="1219" y="518"/>
                  </a:lnTo>
                  <a:lnTo>
                    <a:pt x="1217" y="520"/>
                  </a:lnTo>
                  <a:lnTo>
                    <a:pt x="1219" y="518"/>
                  </a:lnTo>
                  <a:lnTo>
                    <a:pt x="1219" y="515"/>
                  </a:lnTo>
                  <a:lnTo>
                    <a:pt x="1222" y="515"/>
                  </a:lnTo>
                  <a:lnTo>
                    <a:pt x="1219" y="515"/>
                  </a:lnTo>
                  <a:lnTo>
                    <a:pt x="1222" y="515"/>
                  </a:lnTo>
                  <a:lnTo>
                    <a:pt x="1222" y="518"/>
                  </a:lnTo>
                  <a:lnTo>
                    <a:pt x="1222" y="515"/>
                  </a:lnTo>
                  <a:lnTo>
                    <a:pt x="1224" y="515"/>
                  </a:lnTo>
                  <a:lnTo>
                    <a:pt x="1224" y="518"/>
                  </a:lnTo>
                  <a:lnTo>
                    <a:pt x="1226" y="518"/>
                  </a:lnTo>
                  <a:lnTo>
                    <a:pt x="1224" y="518"/>
                  </a:lnTo>
                  <a:lnTo>
                    <a:pt x="1226" y="518"/>
                  </a:lnTo>
                  <a:lnTo>
                    <a:pt x="1224" y="518"/>
                  </a:lnTo>
                  <a:lnTo>
                    <a:pt x="1224" y="520"/>
                  </a:lnTo>
                  <a:lnTo>
                    <a:pt x="1224" y="518"/>
                  </a:lnTo>
                  <a:lnTo>
                    <a:pt x="1224" y="520"/>
                  </a:lnTo>
                  <a:lnTo>
                    <a:pt x="1226" y="520"/>
                  </a:lnTo>
                  <a:lnTo>
                    <a:pt x="1226" y="518"/>
                  </a:lnTo>
                  <a:lnTo>
                    <a:pt x="1226" y="520"/>
                  </a:lnTo>
                  <a:lnTo>
                    <a:pt x="1226" y="518"/>
                  </a:lnTo>
                  <a:lnTo>
                    <a:pt x="1226" y="520"/>
                  </a:lnTo>
                  <a:lnTo>
                    <a:pt x="1229" y="520"/>
                  </a:lnTo>
                  <a:lnTo>
                    <a:pt x="1226" y="520"/>
                  </a:lnTo>
                  <a:lnTo>
                    <a:pt x="1229" y="520"/>
                  </a:lnTo>
                  <a:lnTo>
                    <a:pt x="1226" y="520"/>
                  </a:lnTo>
                  <a:lnTo>
                    <a:pt x="1229" y="520"/>
                  </a:lnTo>
                  <a:lnTo>
                    <a:pt x="1226" y="520"/>
                  </a:lnTo>
                  <a:lnTo>
                    <a:pt x="1229" y="520"/>
                  </a:lnTo>
                  <a:lnTo>
                    <a:pt x="1231" y="520"/>
                  </a:lnTo>
                  <a:lnTo>
                    <a:pt x="1233" y="520"/>
                  </a:lnTo>
                  <a:lnTo>
                    <a:pt x="1233" y="522"/>
                  </a:lnTo>
                  <a:lnTo>
                    <a:pt x="1236" y="522"/>
                  </a:lnTo>
                  <a:lnTo>
                    <a:pt x="1238" y="522"/>
                  </a:lnTo>
                  <a:lnTo>
                    <a:pt x="1240" y="522"/>
                  </a:lnTo>
                  <a:lnTo>
                    <a:pt x="1238" y="522"/>
                  </a:lnTo>
                  <a:lnTo>
                    <a:pt x="1240" y="522"/>
                  </a:lnTo>
                  <a:lnTo>
                    <a:pt x="1243" y="522"/>
                  </a:lnTo>
                  <a:lnTo>
                    <a:pt x="1245" y="520"/>
                  </a:lnTo>
                  <a:lnTo>
                    <a:pt x="1245" y="522"/>
                  </a:lnTo>
                  <a:lnTo>
                    <a:pt x="1243" y="522"/>
                  </a:lnTo>
                  <a:lnTo>
                    <a:pt x="1245" y="522"/>
                  </a:lnTo>
                  <a:lnTo>
                    <a:pt x="1245" y="520"/>
                  </a:lnTo>
                  <a:lnTo>
                    <a:pt x="1248" y="520"/>
                  </a:lnTo>
                  <a:lnTo>
                    <a:pt x="1245" y="520"/>
                  </a:lnTo>
                  <a:lnTo>
                    <a:pt x="1248" y="520"/>
                  </a:lnTo>
                  <a:lnTo>
                    <a:pt x="1248" y="518"/>
                  </a:lnTo>
                  <a:lnTo>
                    <a:pt x="1250" y="518"/>
                  </a:lnTo>
                  <a:lnTo>
                    <a:pt x="1248" y="518"/>
                  </a:lnTo>
                  <a:lnTo>
                    <a:pt x="1250" y="518"/>
                  </a:lnTo>
                  <a:lnTo>
                    <a:pt x="1248" y="518"/>
                  </a:lnTo>
                  <a:lnTo>
                    <a:pt x="1250" y="518"/>
                  </a:lnTo>
                  <a:lnTo>
                    <a:pt x="1248" y="518"/>
                  </a:lnTo>
                  <a:lnTo>
                    <a:pt x="1250" y="518"/>
                  </a:lnTo>
                  <a:lnTo>
                    <a:pt x="1248" y="518"/>
                  </a:lnTo>
                  <a:lnTo>
                    <a:pt x="1250" y="518"/>
                  </a:lnTo>
                  <a:lnTo>
                    <a:pt x="1250" y="515"/>
                  </a:lnTo>
                  <a:lnTo>
                    <a:pt x="1250" y="513"/>
                  </a:lnTo>
                  <a:lnTo>
                    <a:pt x="1252" y="513"/>
                  </a:lnTo>
                  <a:lnTo>
                    <a:pt x="1255" y="510"/>
                  </a:lnTo>
                  <a:lnTo>
                    <a:pt x="1255" y="508"/>
                  </a:lnTo>
                  <a:lnTo>
                    <a:pt x="1257" y="508"/>
                  </a:lnTo>
                  <a:lnTo>
                    <a:pt x="1259" y="508"/>
                  </a:lnTo>
                  <a:lnTo>
                    <a:pt x="1262" y="508"/>
                  </a:lnTo>
                  <a:lnTo>
                    <a:pt x="1264" y="508"/>
                  </a:lnTo>
                  <a:lnTo>
                    <a:pt x="1264" y="510"/>
                  </a:lnTo>
                  <a:lnTo>
                    <a:pt x="1262" y="510"/>
                  </a:lnTo>
                  <a:lnTo>
                    <a:pt x="1262" y="513"/>
                  </a:lnTo>
                  <a:lnTo>
                    <a:pt x="1259" y="513"/>
                  </a:lnTo>
                  <a:lnTo>
                    <a:pt x="1262" y="513"/>
                  </a:lnTo>
                  <a:lnTo>
                    <a:pt x="1262" y="510"/>
                  </a:lnTo>
                  <a:lnTo>
                    <a:pt x="1264" y="510"/>
                  </a:lnTo>
                  <a:lnTo>
                    <a:pt x="1264" y="508"/>
                  </a:lnTo>
                  <a:lnTo>
                    <a:pt x="1267" y="508"/>
                  </a:lnTo>
                  <a:lnTo>
                    <a:pt x="1267" y="506"/>
                  </a:lnTo>
                  <a:lnTo>
                    <a:pt x="1264" y="506"/>
                  </a:lnTo>
                  <a:lnTo>
                    <a:pt x="1264" y="503"/>
                  </a:lnTo>
                  <a:lnTo>
                    <a:pt x="1267" y="503"/>
                  </a:lnTo>
                  <a:lnTo>
                    <a:pt x="1269" y="503"/>
                  </a:lnTo>
                  <a:lnTo>
                    <a:pt x="1271" y="503"/>
                  </a:lnTo>
                  <a:lnTo>
                    <a:pt x="1274" y="501"/>
                  </a:lnTo>
                  <a:lnTo>
                    <a:pt x="1276" y="501"/>
                  </a:lnTo>
                  <a:lnTo>
                    <a:pt x="1278" y="501"/>
                  </a:lnTo>
                  <a:lnTo>
                    <a:pt x="1281" y="501"/>
                  </a:lnTo>
                  <a:lnTo>
                    <a:pt x="1281" y="499"/>
                  </a:lnTo>
                  <a:lnTo>
                    <a:pt x="1283" y="499"/>
                  </a:lnTo>
                  <a:lnTo>
                    <a:pt x="1286" y="499"/>
                  </a:lnTo>
                  <a:lnTo>
                    <a:pt x="1288" y="496"/>
                  </a:lnTo>
                  <a:lnTo>
                    <a:pt x="1290" y="496"/>
                  </a:lnTo>
                  <a:lnTo>
                    <a:pt x="1295" y="494"/>
                  </a:lnTo>
                  <a:lnTo>
                    <a:pt x="1297" y="494"/>
                  </a:lnTo>
                  <a:lnTo>
                    <a:pt x="1300" y="494"/>
                  </a:lnTo>
                  <a:lnTo>
                    <a:pt x="1302" y="494"/>
                  </a:lnTo>
                  <a:lnTo>
                    <a:pt x="1305" y="494"/>
                  </a:lnTo>
                  <a:lnTo>
                    <a:pt x="1307" y="494"/>
                  </a:lnTo>
                  <a:lnTo>
                    <a:pt x="1309" y="494"/>
                  </a:lnTo>
                  <a:lnTo>
                    <a:pt x="1307" y="494"/>
                  </a:lnTo>
                  <a:lnTo>
                    <a:pt x="1309" y="496"/>
                  </a:lnTo>
                  <a:lnTo>
                    <a:pt x="1307" y="496"/>
                  </a:lnTo>
                  <a:lnTo>
                    <a:pt x="1305" y="496"/>
                  </a:lnTo>
                  <a:lnTo>
                    <a:pt x="1302" y="496"/>
                  </a:lnTo>
                  <a:lnTo>
                    <a:pt x="1300" y="496"/>
                  </a:lnTo>
                  <a:lnTo>
                    <a:pt x="1300" y="499"/>
                  </a:lnTo>
                  <a:lnTo>
                    <a:pt x="1297" y="496"/>
                  </a:lnTo>
                  <a:lnTo>
                    <a:pt x="1297" y="499"/>
                  </a:lnTo>
                  <a:lnTo>
                    <a:pt x="1297" y="496"/>
                  </a:lnTo>
                  <a:lnTo>
                    <a:pt x="1297" y="499"/>
                  </a:lnTo>
                  <a:lnTo>
                    <a:pt x="1300" y="499"/>
                  </a:lnTo>
                  <a:lnTo>
                    <a:pt x="1297" y="499"/>
                  </a:lnTo>
                  <a:lnTo>
                    <a:pt x="1300" y="499"/>
                  </a:lnTo>
                  <a:lnTo>
                    <a:pt x="1302" y="499"/>
                  </a:lnTo>
                  <a:lnTo>
                    <a:pt x="1305" y="501"/>
                  </a:lnTo>
                  <a:lnTo>
                    <a:pt x="1307" y="501"/>
                  </a:lnTo>
                  <a:lnTo>
                    <a:pt x="1307" y="503"/>
                  </a:lnTo>
                  <a:lnTo>
                    <a:pt x="1309" y="503"/>
                  </a:lnTo>
                  <a:lnTo>
                    <a:pt x="1309" y="506"/>
                  </a:lnTo>
                  <a:lnTo>
                    <a:pt x="1312" y="506"/>
                  </a:lnTo>
                  <a:lnTo>
                    <a:pt x="1309" y="506"/>
                  </a:lnTo>
                  <a:lnTo>
                    <a:pt x="1307" y="506"/>
                  </a:lnTo>
                  <a:lnTo>
                    <a:pt x="1309" y="506"/>
                  </a:lnTo>
                  <a:lnTo>
                    <a:pt x="1307" y="506"/>
                  </a:lnTo>
                  <a:lnTo>
                    <a:pt x="1309" y="506"/>
                  </a:lnTo>
                  <a:lnTo>
                    <a:pt x="1312" y="506"/>
                  </a:lnTo>
                  <a:lnTo>
                    <a:pt x="1314" y="506"/>
                  </a:lnTo>
                  <a:lnTo>
                    <a:pt x="1314" y="508"/>
                  </a:lnTo>
                  <a:lnTo>
                    <a:pt x="1314" y="510"/>
                  </a:lnTo>
                  <a:lnTo>
                    <a:pt x="1314" y="513"/>
                  </a:lnTo>
                  <a:lnTo>
                    <a:pt x="1314" y="510"/>
                  </a:lnTo>
                  <a:lnTo>
                    <a:pt x="1312" y="510"/>
                  </a:lnTo>
                  <a:lnTo>
                    <a:pt x="1314" y="510"/>
                  </a:lnTo>
                  <a:lnTo>
                    <a:pt x="1314" y="513"/>
                  </a:lnTo>
                  <a:lnTo>
                    <a:pt x="1312" y="513"/>
                  </a:lnTo>
                  <a:lnTo>
                    <a:pt x="1309" y="513"/>
                  </a:lnTo>
                  <a:lnTo>
                    <a:pt x="1309" y="510"/>
                  </a:lnTo>
                  <a:lnTo>
                    <a:pt x="1309" y="513"/>
                  </a:lnTo>
                  <a:lnTo>
                    <a:pt x="1307" y="513"/>
                  </a:lnTo>
                  <a:lnTo>
                    <a:pt x="1305" y="513"/>
                  </a:lnTo>
                  <a:lnTo>
                    <a:pt x="1307" y="513"/>
                  </a:lnTo>
                  <a:lnTo>
                    <a:pt x="1305" y="513"/>
                  </a:lnTo>
                  <a:lnTo>
                    <a:pt x="1302" y="513"/>
                  </a:lnTo>
                  <a:lnTo>
                    <a:pt x="1302" y="515"/>
                  </a:lnTo>
                  <a:lnTo>
                    <a:pt x="1302" y="513"/>
                  </a:lnTo>
                  <a:lnTo>
                    <a:pt x="1302" y="515"/>
                  </a:lnTo>
                  <a:lnTo>
                    <a:pt x="1302" y="513"/>
                  </a:lnTo>
                  <a:lnTo>
                    <a:pt x="1305" y="515"/>
                  </a:lnTo>
                  <a:lnTo>
                    <a:pt x="1305" y="513"/>
                  </a:lnTo>
                  <a:lnTo>
                    <a:pt x="1305" y="515"/>
                  </a:lnTo>
                  <a:lnTo>
                    <a:pt x="1302" y="515"/>
                  </a:lnTo>
                  <a:lnTo>
                    <a:pt x="1305" y="515"/>
                  </a:lnTo>
                  <a:lnTo>
                    <a:pt x="1302" y="515"/>
                  </a:lnTo>
                  <a:lnTo>
                    <a:pt x="1305" y="515"/>
                  </a:lnTo>
                  <a:lnTo>
                    <a:pt x="1302" y="515"/>
                  </a:lnTo>
                  <a:lnTo>
                    <a:pt x="1300" y="515"/>
                  </a:lnTo>
                  <a:lnTo>
                    <a:pt x="1302" y="515"/>
                  </a:lnTo>
                  <a:lnTo>
                    <a:pt x="1300" y="515"/>
                  </a:lnTo>
                  <a:lnTo>
                    <a:pt x="1302" y="515"/>
                  </a:lnTo>
                  <a:lnTo>
                    <a:pt x="1300" y="515"/>
                  </a:lnTo>
                  <a:lnTo>
                    <a:pt x="1302" y="515"/>
                  </a:lnTo>
                  <a:lnTo>
                    <a:pt x="1300" y="515"/>
                  </a:lnTo>
                  <a:lnTo>
                    <a:pt x="1302" y="515"/>
                  </a:lnTo>
                  <a:lnTo>
                    <a:pt x="1300" y="515"/>
                  </a:lnTo>
                  <a:lnTo>
                    <a:pt x="1302" y="515"/>
                  </a:lnTo>
                  <a:lnTo>
                    <a:pt x="1302" y="518"/>
                  </a:lnTo>
                  <a:lnTo>
                    <a:pt x="1300" y="518"/>
                  </a:lnTo>
                  <a:lnTo>
                    <a:pt x="1302" y="518"/>
                  </a:lnTo>
                  <a:lnTo>
                    <a:pt x="1300" y="518"/>
                  </a:lnTo>
                  <a:lnTo>
                    <a:pt x="1302" y="518"/>
                  </a:lnTo>
                  <a:lnTo>
                    <a:pt x="1300" y="518"/>
                  </a:lnTo>
                  <a:lnTo>
                    <a:pt x="1300" y="520"/>
                  </a:lnTo>
                  <a:lnTo>
                    <a:pt x="1300" y="518"/>
                  </a:lnTo>
                  <a:lnTo>
                    <a:pt x="1297" y="518"/>
                  </a:lnTo>
                  <a:lnTo>
                    <a:pt x="1297" y="515"/>
                  </a:lnTo>
                  <a:lnTo>
                    <a:pt x="1297" y="518"/>
                  </a:lnTo>
                  <a:lnTo>
                    <a:pt x="1300" y="518"/>
                  </a:lnTo>
                  <a:lnTo>
                    <a:pt x="1297" y="518"/>
                  </a:lnTo>
                  <a:lnTo>
                    <a:pt x="1300" y="518"/>
                  </a:lnTo>
                  <a:lnTo>
                    <a:pt x="1297" y="518"/>
                  </a:lnTo>
                  <a:lnTo>
                    <a:pt x="1297" y="515"/>
                  </a:lnTo>
                  <a:lnTo>
                    <a:pt x="1295" y="515"/>
                  </a:lnTo>
                  <a:lnTo>
                    <a:pt x="1295" y="518"/>
                  </a:lnTo>
                  <a:lnTo>
                    <a:pt x="1297" y="518"/>
                  </a:lnTo>
                  <a:lnTo>
                    <a:pt x="1297" y="515"/>
                  </a:lnTo>
                  <a:lnTo>
                    <a:pt x="1297" y="518"/>
                  </a:lnTo>
                  <a:lnTo>
                    <a:pt x="1295" y="518"/>
                  </a:lnTo>
                  <a:lnTo>
                    <a:pt x="1297" y="518"/>
                  </a:lnTo>
                  <a:lnTo>
                    <a:pt x="1295" y="518"/>
                  </a:lnTo>
                  <a:lnTo>
                    <a:pt x="1295" y="515"/>
                  </a:lnTo>
                  <a:lnTo>
                    <a:pt x="1293" y="515"/>
                  </a:lnTo>
                  <a:lnTo>
                    <a:pt x="1295" y="515"/>
                  </a:lnTo>
                  <a:lnTo>
                    <a:pt x="1295" y="518"/>
                  </a:lnTo>
                  <a:lnTo>
                    <a:pt x="1297" y="518"/>
                  </a:lnTo>
                  <a:lnTo>
                    <a:pt x="1297" y="520"/>
                  </a:lnTo>
                  <a:lnTo>
                    <a:pt x="1297" y="518"/>
                  </a:lnTo>
                  <a:lnTo>
                    <a:pt x="1297" y="520"/>
                  </a:lnTo>
                  <a:lnTo>
                    <a:pt x="1297" y="518"/>
                  </a:lnTo>
                  <a:lnTo>
                    <a:pt x="1297" y="520"/>
                  </a:lnTo>
                  <a:lnTo>
                    <a:pt x="1300" y="520"/>
                  </a:lnTo>
                  <a:lnTo>
                    <a:pt x="1300" y="518"/>
                  </a:lnTo>
                  <a:lnTo>
                    <a:pt x="1300" y="520"/>
                  </a:lnTo>
                  <a:lnTo>
                    <a:pt x="1300" y="518"/>
                  </a:lnTo>
                  <a:lnTo>
                    <a:pt x="1300" y="520"/>
                  </a:lnTo>
                  <a:lnTo>
                    <a:pt x="1300" y="518"/>
                  </a:lnTo>
                  <a:lnTo>
                    <a:pt x="1302" y="518"/>
                  </a:lnTo>
                  <a:lnTo>
                    <a:pt x="1300" y="520"/>
                  </a:lnTo>
                  <a:lnTo>
                    <a:pt x="1302" y="518"/>
                  </a:lnTo>
                  <a:lnTo>
                    <a:pt x="1302" y="520"/>
                  </a:lnTo>
                  <a:lnTo>
                    <a:pt x="1302" y="522"/>
                  </a:lnTo>
                  <a:lnTo>
                    <a:pt x="1305" y="522"/>
                  </a:lnTo>
                  <a:lnTo>
                    <a:pt x="1305" y="525"/>
                  </a:lnTo>
                  <a:lnTo>
                    <a:pt x="1302" y="525"/>
                  </a:lnTo>
                  <a:lnTo>
                    <a:pt x="1305" y="525"/>
                  </a:lnTo>
                  <a:lnTo>
                    <a:pt x="1302" y="525"/>
                  </a:lnTo>
                  <a:lnTo>
                    <a:pt x="1302" y="527"/>
                  </a:lnTo>
                  <a:lnTo>
                    <a:pt x="1300" y="527"/>
                  </a:lnTo>
                  <a:lnTo>
                    <a:pt x="1302" y="527"/>
                  </a:lnTo>
                  <a:lnTo>
                    <a:pt x="1300" y="527"/>
                  </a:lnTo>
                  <a:lnTo>
                    <a:pt x="1302" y="527"/>
                  </a:lnTo>
                  <a:lnTo>
                    <a:pt x="1302" y="529"/>
                  </a:lnTo>
                  <a:lnTo>
                    <a:pt x="1305" y="529"/>
                  </a:lnTo>
                  <a:lnTo>
                    <a:pt x="1307" y="529"/>
                  </a:lnTo>
                  <a:lnTo>
                    <a:pt x="1309" y="529"/>
                  </a:lnTo>
                  <a:lnTo>
                    <a:pt x="1312" y="529"/>
                  </a:lnTo>
                  <a:lnTo>
                    <a:pt x="1314" y="532"/>
                  </a:lnTo>
                  <a:lnTo>
                    <a:pt x="1316" y="532"/>
                  </a:lnTo>
                  <a:lnTo>
                    <a:pt x="1319" y="532"/>
                  </a:lnTo>
                  <a:lnTo>
                    <a:pt x="1321" y="532"/>
                  </a:lnTo>
                  <a:lnTo>
                    <a:pt x="1321" y="534"/>
                  </a:lnTo>
                  <a:lnTo>
                    <a:pt x="1321" y="532"/>
                  </a:lnTo>
                  <a:lnTo>
                    <a:pt x="1321" y="534"/>
                  </a:lnTo>
                  <a:lnTo>
                    <a:pt x="1324" y="534"/>
                  </a:lnTo>
                  <a:lnTo>
                    <a:pt x="1321" y="534"/>
                  </a:lnTo>
                  <a:lnTo>
                    <a:pt x="1321" y="532"/>
                  </a:lnTo>
                  <a:lnTo>
                    <a:pt x="1324" y="532"/>
                  </a:lnTo>
                  <a:lnTo>
                    <a:pt x="1321" y="532"/>
                  </a:lnTo>
                  <a:lnTo>
                    <a:pt x="1324" y="532"/>
                  </a:lnTo>
                  <a:lnTo>
                    <a:pt x="1321" y="532"/>
                  </a:lnTo>
                  <a:lnTo>
                    <a:pt x="1324" y="532"/>
                  </a:lnTo>
                  <a:lnTo>
                    <a:pt x="1321" y="532"/>
                  </a:lnTo>
                  <a:lnTo>
                    <a:pt x="1324" y="532"/>
                  </a:lnTo>
                  <a:lnTo>
                    <a:pt x="1326" y="532"/>
                  </a:lnTo>
                  <a:lnTo>
                    <a:pt x="1328" y="532"/>
                  </a:lnTo>
                  <a:lnTo>
                    <a:pt x="1328" y="529"/>
                  </a:lnTo>
                  <a:lnTo>
                    <a:pt x="1328" y="532"/>
                  </a:lnTo>
                  <a:lnTo>
                    <a:pt x="1328" y="529"/>
                  </a:lnTo>
                  <a:lnTo>
                    <a:pt x="1328" y="527"/>
                  </a:lnTo>
                  <a:lnTo>
                    <a:pt x="1331" y="527"/>
                  </a:lnTo>
                  <a:lnTo>
                    <a:pt x="1331" y="529"/>
                  </a:lnTo>
                  <a:lnTo>
                    <a:pt x="1331" y="527"/>
                  </a:lnTo>
                  <a:lnTo>
                    <a:pt x="1331" y="525"/>
                  </a:lnTo>
                  <a:lnTo>
                    <a:pt x="1331" y="522"/>
                  </a:lnTo>
                  <a:lnTo>
                    <a:pt x="1328" y="520"/>
                  </a:lnTo>
                  <a:lnTo>
                    <a:pt x="1328" y="518"/>
                  </a:lnTo>
                  <a:lnTo>
                    <a:pt x="1328" y="520"/>
                  </a:lnTo>
                  <a:lnTo>
                    <a:pt x="1326" y="518"/>
                  </a:lnTo>
                  <a:lnTo>
                    <a:pt x="1326" y="515"/>
                  </a:lnTo>
                  <a:lnTo>
                    <a:pt x="1326" y="513"/>
                  </a:lnTo>
                  <a:lnTo>
                    <a:pt x="1331" y="510"/>
                  </a:lnTo>
                  <a:lnTo>
                    <a:pt x="1333" y="510"/>
                  </a:lnTo>
                  <a:lnTo>
                    <a:pt x="1333" y="513"/>
                  </a:lnTo>
                  <a:lnTo>
                    <a:pt x="1335" y="513"/>
                  </a:lnTo>
                  <a:lnTo>
                    <a:pt x="1338" y="513"/>
                  </a:lnTo>
                  <a:lnTo>
                    <a:pt x="1340" y="513"/>
                  </a:lnTo>
                  <a:lnTo>
                    <a:pt x="1343" y="513"/>
                  </a:lnTo>
                  <a:lnTo>
                    <a:pt x="1345" y="513"/>
                  </a:lnTo>
                  <a:lnTo>
                    <a:pt x="1345" y="510"/>
                  </a:lnTo>
                  <a:lnTo>
                    <a:pt x="1347" y="510"/>
                  </a:lnTo>
                  <a:lnTo>
                    <a:pt x="1350" y="510"/>
                  </a:lnTo>
                  <a:lnTo>
                    <a:pt x="1350" y="513"/>
                  </a:lnTo>
                  <a:lnTo>
                    <a:pt x="1350" y="510"/>
                  </a:lnTo>
                  <a:lnTo>
                    <a:pt x="1352" y="508"/>
                  </a:lnTo>
                  <a:lnTo>
                    <a:pt x="1354" y="506"/>
                  </a:lnTo>
                  <a:lnTo>
                    <a:pt x="1357" y="506"/>
                  </a:lnTo>
                  <a:lnTo>
                    <a:pt x="1357" y="508"/>
                  </a:lnTo>
                  <a:lnTo>
                    <a:pt x="1357" y="510"/>
                  </a:lnTo>
                  <a:lnTo>
                    <a:pt x="1359" y="510"/>
                  </a:lnTo>
                  <a:lnTo>
                    <a:pt x="1359" y="513"/>
                  </a:lnTo>
                  <a:lnTo>
                    <a:pt x="1359" y="510"/>
                  </a:lnTo>
                  <a:lnTo>
                    <a:pt x="1359" y="513"/>
                  </a:lnTo>
                  <a:lnTo>
                    <a:pt x="1362" y="513"/>
                  </a:lnTo>
                  <a:lnTo>
                    <a:pt x="1362" y="510"/>
                  </a:lnTo>
                  <a:lnTo>
                    <a:pt x="1359" y="510"/>
                  </a:lnTo>
                  <a:lnTo>
                    <a:pt x="1357" y="510"/>
                  </a:lnTo>
                  <a:lnTo>
                    <a:pt x="1357" y="508"/>
                  </a:lnTo>
                  <a:lnTo>
                    <a:pt x="1357" y="506"/>
                  </a:lnTo>
                  <a:lnTo>
                    <a:pt x="1359" y="506"/>
                  </a:lnTo>
                  <a:lnTo>
                    <a:pt x="1359" y="503"/>
                  </a:lnTo>
                  <a:lnTo>
                    <a:pt x="1359" y="506"/>
                  </a:lnTo>
                  <a:lnTo>
                    <a:pt x="1357" y="506"/>
                  </a:lnTo>
                  <a:lnTo>
                    <a:pt x="1357" y="503"/>
                  </a:lnTo>
                  <a:lnTo>
                    <a:pt x="1357" y="506"/>
                  </a:lnTo>
                  <a:lnTo>
                    <a:pt x="1357" y="503"/>
                  </a:lnTo>
                  <a:lnTo>
                    <a:pt x="1359" y="501"/>
                  </a:lnTo>
                  <a:lnTo>
                    <a:pt x="1362" y="501"/>
                  </a:lnTo>
                  <a:lnTo>
                    <a:pt x="1364" y="501"/>
                  </a:lnTo>
                  <a:lnTo>
                    <a:pt x="1362" y="501"/>
                  </a:lnTo>
                  <a:lnTo>
                    <a:pt x="1364" y="501"/>
                  </a:lnTo>
                  <a:lnTo>
                    <a:pt x="1364" y="503"/>
                  </a:lnTo>
                  <a:lnTo>
                    <a:pt x="1364" y="501"/>
                  </a:lnTo>
                  <a:lnTo>
                    <a:pt x="1364" y="503"/>
                  </a:lnTo>
                  <a:lnTo>
                    <a:pt x="1366" y="503"/>
                  </a:lnTo>
                  <a:lnTo>
                    <a:pt x="1364" y="503"/>
                  </a:lnTo>
                  <a:lnTo>
                    <a:pt x="1366" y="503"/>
                  </a:lnTo>
                  <a:lnTo>
                    <a:pt x="1364" y="503"/>
                  </a:lnTo>
                  <a:lnTo>
                    <a:pt x="1366" y="503"/>
                  </a:lnTo>
                  <a:lnTo>
                    <a:pt x="1364" y="503"/>
                  </a:lnTo>
                  <a:lnTo>
                    <a:pt x="1366" y="503"/>
                  </a:lnTo>
                  <a:lnTo>
                    <a:pt x="1366" y="501"/>
                  </a:lnTo>
                  <a:lnTo>
                    <a:pt x="1366" y="503"/>
                  </a:lnTo>
                  <a:lnTo>
                    <a:pt x="1369" y="503"/>
                  </a:lnTo>
                  <a:lnTo>
                    <a:pt x="1371" y="503"/>
                  </a:lnTo>
                  <a:lnTo>
                    <a:pt x="1371" y="506"/>
                  </a:lnTo>
                  <a:lnTo>
                    <a:pt x="1371" y="508"/>
                  </a:lnTo>
                  <a:lnTo>
                    <a:pt x="1373" y="508"/>
                  </a:lnTo>
                  <a:lnTo>
                    <a:pt x="1373" y="510"/>
                  </a:lnTo>
                  <a:lnTo>
                    <a:pt x="1373" y="508"/>
                  </a:lnTo>
                  <a:lnTo>
                    <a:pt x="1376" y="508"/>
                  </a:lnTo>
                  <a:lnTo>
                    <a:pt x="1373" y="508"/>
                  </a:lnTo>
                  <a:lnTo>
                    <a:pt x="1376" y="510"/>
                  </a:lnTo>
                  <a:lnTo>
                    <a:pt x="1373" y="510"/>
                  </a:lnTo>
                  <a:lnTo>
                    <a:pt x="1376" y="510"/>
                  </a:lnTo>
                  <a:lnTo>
                    <a:pt x="1376" y="513"/>
                  </a:lnTo>
                  <a:lnTo>
                    <a:pt x="1376" y="510"/>
                  </a:lnTo>
                  <a:lnTo>
                    <a:pt x="1373" y="510"/>
                  </a:lnTo>
                  <a:lnTo>
                    <a:pt x="1376" y="510"/>
                  </a:lnTo>
                  <a:lnTo>
                    <a:pt x="1376" y="508"/>
                  </a:lnTo>
                  <a:lnTo>
                    <a:pt x="1373" y="508"/>
                  </a:lnTo>
                  <a:lnTo>
                    <a:pt x="1376" y="508"/>
                  </a:lnTo>
                  <a:lnTo>
                    <a:pt x="1376" y="510"/>
                  </a:lnTo>
                  <a:lnTo>
                    <a:pt x="1376" y="508"/>
                  </a:lnTo>
                  <a:lnTo>
                    <a:pt x="1373" y="508"/>
                  </a:lnTo>
                  <a:lnTo>
                    <a:pt x="1371" y="508"/>
                  </a:lnTo>
                  <a:lnTo>
                    <a:pt x="1371" y="506"/>
                  </a:lnTo>
                  <a:lnTo>
                    <a:pt x="1373" y="506"/>
                  </a:lnTo>
                  <a:lnTo>
                    <a:pt x="1376" y="506"/>
                  </a:lnTo>
                  <a:lnTo>
                    <a:pt x="1373" y="506"/>
                  </a:lnTo>
                  <a:lnTo>
                    <a:pt x="1376" y="506"/>
                  </a:lnTo>
                  <a:lnTo>
                    <a:pt x="1376" y="508"/>
                  </a:lnTo>
                  <a:lnTo>
                    <a:pt x="1378" y="508"/>
                  </a:lnTo>
                  <a:lnTo>
                    <a:pt x="1378" y="510"/>
                  </a:lnTo>
                  <a:lnTo>
                    <a:pt x="1378" y="508"/>
                  </a:lnTo>
                  <a:lnTo>
                    <a:pt x="1378" y="510"/>
                  </a:lnTo>
                  <a:lnTo>
                    <a:pt x="1378" y="508"/>
                  </a:lnTo>
                  <a:lnTo>
                    <a:pt x="1378" y="510"/>
                  </a:lnTo>
                  <a:lnTo>
                    <a:pt x="1378" y="513"/>
                  </a:lnTo>
                  <a:lnTo>
                    <a:pt x="1378" y="515"/>
                  </a:lnTo>
                  <a:lnTo>
                    <a:pt x="1380" y="515"/>
                  </a:lnTo>
                  <a:lnTo>
                    <a:pt x="1378" y="515"/>
                  </a:lnTo>
                  <a:lnTo>
                    <a:pt x="1378" y="518"/>
                  </a:lnTo>
                  <a:lnTo>
                    <a:pt x="1380" y="518"/>
                  </a:lnTo>
                  <a:lnTo>
                    <a:pt x="1383" y="518"/>
                  </a:lnTo>
                  <a:lnTo>
                    <a:pt x="1383" y="520"/>
                  </a:lnTo>
                  <a:lnTo>
                    <a:pt x="1383" y="522"/>
                  </a:lnTo>
                  <a:lnTo>
                    <a:pt x="1383" y="525"/>
                  </a:lnTo>
                  <a:lnTo>
                    <a:pt x="1385" y="525"/>
                  </a:lnTo>
                  <a:lnTo>
                    <a:pt x="1388" y="525"/>
                  </a:lnTo>
                  <a:lnTo>
                    <a:pt x="1388" y="527"/>
                  </a:lnTo>
                  <a:lnTo>
                    <a:pt x="1388" y="525"/>
                  </a:lnTo>
                  <a:lnTo>
                    <a:pt x="1390" y="525"/>
                  </a:lnTo>
                  <a:lnTo>
                    <a:pt x="1388" y="525"/>
                  </a:lnTo>
                  <a:lnTo>
                    <a:pt x="1385" y="525"/>
                  </a:lnTo>
                  <a:lnTo>
                    <a:pt x="1383" y="525"/>
                  </a:lnTo>
                  <a:lnTo>
                    <a:pt x="1383" y="522"/>
                  </a:lnTo>
                  <a:lnTo>
                    <a:pt x="1383" y="520"/>
                  </a:lnTo>
                  <a:lnTo>
                    <a:pt x="1383" y="518"/>
                  </a:lnTo>
                  <a:lnTo>
                    <a:pt x="1380" y="518"/>
                  </a:lnTo>
                  <a:lnTo>
                    <a:pt x="1380" y="515"/>
                  </a:lnTo>
                  <a:lnTo>
                    <a:pt x="1378" y="513"/>
                  </a:lnTo>
                  <a:lnTo>
                    <a:pt x="1378" y="510"/>
                  </a:lnTo>
                  <a:lnTo>
                    <a:pt x="1378" y="513"/>
                  </a:lnTo>
                  <a:lnTo>
                    <a:pt x="1378" y="510"/>
                  </a:lnTo>
                  <a:lnTo>
                    <a:pt x="1378" y="513"/>
                  </a:lnTo>
                  <a:lnTo>
                    <a:pt x="1380" y="513"/>
                  </a:lnTo>
                  <a:lnTo>
                    <a:pt x="1380" y="510"/>
                  </a:lnTo>
                  <a:lnTo>
                    <a:pt x="1378" y="510"/>
                  </a:lnTo>
                  <a:lnTo>
                    <a:pt x="1378" y="508"/>
                  </a:lnTo>
                  <a:lnTo>
                    <a:pt x="1376" y="508"/>
                  </a:lnTo>
                  <a:lnTo>
                    <a:pt x="1378" y="508"/>
                  </a:lnTo>
                  <a:lnTo>
                    <a:pt x="1380" y="508"/>
                  </a:lnTo>
                  <a:lnTo>
                    <a:pt x="1380" y="510"/>
                  </a:lnTo>
                  <a:lnTo>
                    <a:pt x="1380" y="508"/>
                  </a:lnTo>
                  <a:lnTo>
                    <a:pt x="1378" y="508"/>
                  </a:lnTo>
                  <a:lnTo>
                    <a:pt x="1380" y="508"/>
                  </a:lnTo>
                  <a:lnTo>
                    <a:pt x="1383" y="508"/>
                  </a:lnTo>
                  <a:lnTo>
                    <a:pt x="1380" y="508"/>
                  </a:lnTo>
                  <a:lnTo>
                    <a:pt x="1378" y="508"/>
                  </a:lnTo>
                  <a:lnTo>
                    <a:pt x="1378" y="506"/>
                  </a:lnTo>
                  <a:lnTo>
                    <a:pt x="1376" y="506"/>
                  </a:lnTo>
                  <a:lnTo>
                    <a:pt x="1373" y="506"/>
                  </a:lnTo>
                  <a:lnTo>
                    <a:pt x="1371" y="506"/>
                  </a:lnTo>
                  <a:lnTo>
                    <a:pt x="1373" y="506"/>
                  </a:lnTo>
                  <a:lnTo>
                    <a:pt x="1371" y="506"/>
                  </a:lnTo>
                  <a:lnTo>
                    <a:pt x="1371" y="503"/>
                  </a:lnTo>
                  <a:lnTo>
                    <a:pt x="1371" y="501"/>
                  </a:lnTo>
                  <a:lnTo>
                    <a:pt x="1369" y="501"/>
                  </a:lnTo>
                  <a:lnTo>
                    <a:pt x="1371" y="501"/>
                  </a:lnTo>
                  <a:lnTo>
                    <a:pt x="1373" y="501"/>
                  </a:lnTo>
                  <a:lnTo>
                    <a:pt x="1373" y="499"/>
                  </a:lnTo>
                  <a:lnTo>
                    <a:pt x="1373" y="501"/>
                  </a:lnTo>
                  <a:lnTo>
                    <a:pt x="1371" y="501"/>
                  </a:lnTo>
                  <a:lnTo>
                    <a:pt x="1369" y="501"/>
                  </a:lnTo>
                  <a:lnTo>
                    <a:pt x="1369" y="499"/>
                  </a:lnTo>
                  <a:lnTo>
                    <a:pt x="1369" y="501"/>
                  </a:lnTo>
                  <a:lnTo>
                    <a:pt x="1369" y="499"/>
                  </a:lnTo>
                  <a:lnTo>
                    <a:pt x="1369" y="501"/>
                  </a:lnTo>
                  <a:lnTo>
                    <a:pt x="1366" y="501"/>
                  </a:lnTo>
                  <a:lnTo>
                    <a:pt x="1366" y="499"/>
                  </a:lnTo>
                  <a:lnTo>
                    <a:pt x="1364" y="499"/>
                  </a:lnTo>
                  <a:lnTo>
                    <a:pt x="1362" y="499"/>
                  </a:lnTo>
                  <a:lnTo>
                    <a:pt x="1364" y="499"/>
                  </a:lnTo>
                  <a:lnTo>
                    <a:pt x="1364" y="496"/>
                  </a:lnTo>
                  <a:lnTo>
                    <a:pt x="1364" y="494"/>
                  </a:lnTo>
                  <a:lnTo>
                    <a:pt x="1366" y="494"/>
                  </a:lnTo>
                  <a:lnTo>
                    <a:pt x="1364" y="494"/>
                  </a:lnTo>
                  <a:lnTo>
                    <a:pt x="1366" y="494"/>
                  </a:lnTo>
                  <a:lnTo>
                    <a:pt x="1366" y="496"/>
                  </a:lnTo>
                  <a:lnTo>
                    <a:pt x="1366" y="494"/>
                  </a:lnTo>
                  <a:lnTo>
                    <a:pt x="1369" y="494"/>
                  </a:lnTo>
                  <a:lnTo>
                    <a:pt x="1369" y="496"/>
                  </a:lnTo>
                  <a:lnTo>
                    <a:pt x="1371" y="496"/>
                  </a:lnTo>
                  <a:lnTo>
                    <a:pt x="1369" y="496"/>
                  </a:lnTo>
                  <a:lnTo>
                    <a:pt x="1369" y="494"/>
                  </a:lnTo>
                  <a:lnTo>
                    <a:pt x="1366" y="494"/>
                  </a:lnTo>
                  <a:lnTo>
                    <a:pt x="1364" y="494"/>
                  </a:lnTo>
                  <a:lnTo>
                    <a:pt x="1364" y="491"/>
                  </a:lnTo>
                  <a:lnTo>
                    <a:pt x="1364" y="489"/>
                  </a:lnTo>
                  <a:lnTo>
                    <a:pt x="1362" y="489"/>
                  </a:lnTo>
                  <a:lnTo>
                    <a:pt x="1362" y="487"/>
                  </a:lnTo>
                  <a:lnTo>
                    <a:pt x="1362" y="484"/>
                  </a:lnTo>
                  <a:lnTo>
                    <a:pt x="1359" y="484"/>
                  </a:lnTo>
                  <a:lnTo>
                    <a:pt x="1357" y="484"/>
                  </a:lnTo>
                  <a:lnTo>
                    <a:pt x="1357" y="482"/>
                  </a:lnTo>
                  <a:lnTo>
                    <a:pt x="1357" y="484"/>
                  </a:lnTo>
                  <a:lnTo>
                    <a:pt x="1357" y="482"/>
                  </a:lnTo>
                  <a:lnTo>
                    <a:pt x="1357" y="484"/>
                  </a:lnTo>
                  <a:lnTo>
                    <a:pt x="1354" y="484"/>
                  </a:lnTo>
                  <a:lnTo>
                    <a:pt x="1357" y="484"/>
                  </a:lnTo>
                  <a:lnTo>
                    <a:pt x="1357" y="487"/>
                  </a:lnTo>
                  <a:lnTo>
                    <a:pt x="1357" y="484"/>
                  </a:lnTo>
                  <a:lnTo>
                    <a:pt x="1357" y="487"/>
                  </a:lnTo>
                  <a:lnTo>
                    <a:pt x="1354" y="487"/>
                  </a:lnTo>
                  <a:lnTo>
                    <a:pt x="1357" y="487"/>
                  </a:lnTo>
                  <a:lnTo>
                    <a:pt x="1354" y="487"/>
                  </a:lnTo>
                  <a:lnTo>
                    <a:pt x="1357" y="487"/>
                  </a:lnTo>
                  <a:lnTo>
                    <a:pt x="1357" y="489"/>
                  </a:lnTo>
                  <a:lnTo>
                    <a:pt x="1357" y="487"/>
                  </a:lnTo>
                  <a:lnTo>
                    <a:pt x="1357" y="489"/>
                  </a:lnTo>
                  <a:lnTo>
                    <a:pt x="1357" y="487"/>
                  </a:lnTo>
                  <a:lnTo>
                    <a:pt x="1357" y="489"/>
                  </a:lnTo>
                  <a:lnTo>
                    <a:pt x="1354" y="487"/>
                  </a:lnTo>
                  <a:lnTo>
                    <a:pt x="1352" y="487"/>
                  </a:lnTo>
                  <a:lnTo>
                    <a:pt x="1352" y="484"/>
                  </a:lnTo>
                  <a:lnTo>
                    <a:pt x="1352" y="480"/>
                  </a:lnTo>
                  <a:lnTo>
                    <a:pt x="1352" y="482"/>
                  </a:lnTo>
                  <a:lnTo>
                    <a:pt x="1354" y="482"/>
                  </a:lnTo>
                  <a:lnTo>
                    <a:pt x="1357" y="482"/>
                  </a:lnTo>
                  <a:lnTo>
                    <a:pt x="1354" y="482"/>
                  </a:lnTo>
                  <a:lnTo>
                    <a:pt x="1354" y="480"/>
                  </a:lnTo>
                  <a:lnTo>
                    <a:pt x="1352" y="480"/>
                  </a:lnTo>
                  <a:lnTo>
                    <a:pt x="1354" y="480"/>
                  </a:lnTo>
                  <a:lnTo>
                    <a:pt x="1352" y="480"/>
                  </a:lnTo>
                  <a:lnTo>
                    <a:pt x="1352" y="477"/>
                  </a:lnTo>
                  <a:lnTo>
                    <a:pt x="1350" y="477"/>
                  </a:lnTo>
                  <a:lnTo>
                    <a:pt x="1350" y="475"/>
                  </a:lnTo>
                  <a:lnTo>
                    <a:pt x="1347" y="472"/>
                  </a:lnTo>
                  <a:lnTo>
                    <a:pt x="1350" y="472"/>
                  </a:lnTo>
                  <a:lnTo>
                    <a:pt x="1347" y="472"/>
                  </a:lnTo>
                  <a:lnTo>
                    <a:pt x="1347" y="470"/>
                  </a:lnTo>
                  <a:lnTo>
                    <a:pt x="1345" y="470"/>
                  </a:lnTo>
                  <a:lnTo>
                    <a:pt x="1347" y="470"/>
                  </a:lnTo>
                  <a:lnTo>
                    <a:pt x="1345" y="470"/>
                  </a:lnTo>
                  <a:lnTo>
                    <a:pt x="1345" y="468"/>
                  </a:lnTo>
                  <a:lnTo>
                    <a:pt x="1343" y="468"/>
                  </a:lnTo>
                  <a:lnTo>
                    <a:pt x="1343" y="465"/>
                  </a:lnTo>
                  <a:lnTo>
                    <a:pt x="1340" y="465"/>
                  </a:lnTo>
                  <a:lnTo>
                    <a:pt x="1340" y="463"/>
                  </a:lnTo>
                  <a:lnTo>
                    <a:pt x="1340" y="461"/>
                  </a:lnTo>
                  <a:lnTo>
                    <a:pt x="1338" y="461"/>
                  </a:lnTo>
                  <a:lnTo>
                    <a:pt x="1338" y="458"/>
                  </a:lnTo>
                  <a:lnTo>
                    <a:pt x="1340" y="458"/>
                  </a:lnTo>
                  <a:lnTo>
                    <a:pt x="1338" y="458"/>
                  </a:lnTo>
                  <a:lnTo>
                    <a:pt x="1340" y="458"/>
                  </a:lnTo>
                  <a:lnTo>
                    <a:pt x="1338" y="458"/>
                  </a:lnTo>
                  <a:lnTo>
                    <a:pt x="1340" y="456"/>
                  </a:lnTo>
                  <a:lnTo>
                    <a:pt x="1338" y="456"/>
                  </a:lnTo>
                  <a:lnTo>
                    <a:pt x="1340" y="456"/>
                  </a:lnTo>
                  <a:lnTo>
                    <a:pt x="1343" y="456"/>
                  </a:lnTo>
                  <a:lnTo>
                    <a:pt x="1345" y="453"/>
                  </a:lnTo>
                  <a:lnTo>
                    <a:pt x="1345" y="456"/>
                  </a:lnTo>
                  <a:lnTo>
                    <a:pt x="1347" y="456"/>
                  </a:lnTo>
                  <a:lnTo>
                    <a:pt x="1350" y="456"/>
                  </a:lnTo>
                  <a:lnTo>
                    <a:pt x="1352" y="456"/>
                  </a:lnTo>
                  <a:lnTo>
                    <a:pt x="1352" y="453"/>
                  </a:lnTo>
                  <a:lnTo>
                    <a:pt x="1352" y="456"/>
                  </a:lnTo>
                  <a:lnTo>
                    <a:pt x="1354" y="456"/>
                  </a:lnTo>
                  <a:lnTo>
                    <a:pt x="1357" y="456"/>
                  </a:lnTo>
                  <a:lnTo>
                    <a:pt x="1357" y="458"/>
                  </a:lnTo>
                  <a:lnTo>
                    <a:pt x="1354" y="456"/>
                  </a:lnTo>
                  <a:lnTo>
                    <a:pt x="1357" y="458"/>
                  </a:lnTo>
                  <a:lnTo>
                    <a:pt x="1357" y="461"/>
                  </a:lnTo>
                  <a:lnTo>
                    <a:pt x="1359" y="461"/>
                  </a:lnTo>
                  <a:lnTo>
                    <a:pt x="1362" y="461"/>
                  </a:lnTo>
                  <a:lnTo>
                    <a:pt x="1362" y="463"/>
                  </a:lnTo>
                  <a:lnTo>
                    <a:pt x="1364" y="463"/>
                  </a:lnTo>
                  <a:lnTo>
                    <a:pt x="1364" y="465"/>
                  </a:lnTo>
                  <a:lnTo>
                    <a:pt x="1366" y="465"/>
                  </a:lnTo>
                  <a:lnTo>
                    <a:pt x="1369" y="465"/>
                  </a:lnTo>
                  <a:lnTo>
                    <a:pt x="1371" y="465"/>
                  </a:lnTo>
                  <a:lnTo>
                    <a:pt x="1369" y="465"/>
                  </a:lnTo>
                  <a:lnTo>
                    <a:pt x="1371" y="465"/>
                  </a:lnTo>
                  <a:lnTo>
                    <a:pt x="1373" y="465"/>
                  </a:lnTo>
                  <a:lnTo>
                    <a:pt x="1376" y="465"/>
                  </a:lnTo>
                  <a:lnTo>
                    <a:pt x="1376" y="468"/>
                  </a:lnTo>
                  <a:lnTo>
                    <a:pt x="1376" y="465"/>
                  </a:lnTo>
                  <a:lnTo>
                    <a:pt x="1376" y="468"/>
                  </a:lnTo>
                  <a:lnTo>
                    <a:pt x="1378" y="468"/>
                  </a:lnTo>
                  <a:lnTo>
                    <a:pt x="1380" y="468"/>
                  </a:lnTo>
                  <a:lnTo>
                    <a:pt x="1380" y="470"/>
                  </a:lnTo>
                  <a:lnTo>
                    <a:pt x="1380" y="472"/>
                  </a:lnTo>
                  <a:lnTo>
                    <a:pt x="1380" y="475"/>
                  </a:lnTo>
                  <a:lnTo>
                    <a:pt x="1380" y="477"/>
                  </a:lnTo>
                  <a:lnTo>
                    <a:pt x="1383" y="477"/>
                  </a:lnTo>
                  <a:lnTo>
                    <a:pt x="1383" y="480"/>
                  </a:lnTo>
                  <a:lnTo>
                    <a:pt x="1385" y="480"/>
                  </a:lnTo>
                  <a:lnTo>
                    <a:pt x="1385" y="477"/>
                  </a:lnTo>
                  <a:lnTo>
                    <a:pt x="1385" y="480"/>
                  </a:lnTo>
                  <a:lnTo>
                    <a:pt x="1385" y="477"/>
                  </a:lnTo>
                  <a:lnTo>
                    <a:pt x="1388" y="477"/>
                  </a:lnTo>
                  <a:lnTo>
                    <a:pt x="1385" y="477"/>
                  </a:lnTo>
                  <a:lnTo>
                    <a:pt x="1388" y="477"/>
                  </a:lnTo>
                  <a:lnTo>
                    <a:pt x="1390" y="477"/>
                  </a:lnTo>
                  <a:lnTo>
                    <a:pt x="1388" y="477"/>
                  </a:lnTo>
                  <a:lnTo>
                    <a:pt x="1390" y="477"/>
                  </a:lnTo>
                  <a:lnTo>
                    <a:pt x="1392" y="477"/>
                  </a:lnTo>
                  <a:lnTo>
                    <a:pt x="1395" y="477"/>
                  </a:lnTo>
                  <a:lnTo>
                    <a:pt x="1395" y="480"/>
                  </a:lnTo>
                  <a:lnTo>
                    <a:pt x="1392" y="480"/>
                  </a:lnTo>
                  <a:lnTo>
                    <a:pt x="1395" y="480"/>
                  </a:lnTo>
                  <a:lnTo>
                    <a:pt x="1392" y="480"/>
                  </a:lnTo>
                  <a:lnTo>
                    <a:pt x="1395" y="480"/>
                  </a:lnTo>
                  <a:lnTo>
                    <a:pt x="1395" y="482"/>
                  </a:lnTo>
                  <a:lnTo>
                    <a:pt x="1397" y="482"/>
                  </a:lnTo>
                  <a:lnTo>
                    <a:pt x="1395" y="482"/>
                  </a:lnTo>
                  <a:lnTo>
                    <a:pt x="1395" y="480"/>
                  </a:lnTo>
                  <a:lnTo>
                    <a:pt x="1392" y="480"/>
                  </a:lnTo>
                  <a:lnTo>
                    <a:pt x="1395" y="480"/>
                  </a:lnTo>
                  <a:lnTo>
                    <a:pt x="1395" y="477"/>
                  </a:lnTo>
                  <a:lnTo>
                    <a:pt x="1392" y="477"/>
                  </a:lnTo>
                  <a:lnTo>
                    <a:pt x="1390" y="477"/>
                  </a:lnTo>
                  <a:lnTo>
                    <a:pt x="1388" y="477"/>
                  </a:lnTo>
                  <a:lnTo>
                    <a:pt x="1385" y="477"/>
                  </a:lnTo>
                  <a:lnTo>
                    <a:pt x="1385" y="480"/>
                  </a:lnTo>
                  <a:lnTo>
                    <a:pt x="1385" y="477"/>
                  </a:lnTo>
                  <a:lnTo>
                    <a:pt x="1385" y="480"/>
                  </a:lnTo>
                  <a:lnTo>
                    <a:pt x="1383" y="480"/>
                  </a:lnTo>
                  <a:lnTo>
                    <a:pt x="1383" y="477"/>
                  </a:lnTo>
                  <a:lnTo>
                    <a:pt x="1380" y="477"/>
                  </a:lnTo>
                  <a:lnTo>
                    <a:pt x="1380" y="475"/>
                  </a:lnTo>
                  <a:lnTo>
                    <a:pt x="1380" y="472"/>
                  </a:lnTo>
                  <a:lnTo>
                    <a:pt x="1380" y="470"/>
                  </a:lnTo>
                  <a:lnTo>
                    <a:pt x="1380" y="468"/>
                  </a:lnTo>
                  <a:lnTo>
                    <a:pt x="1380" y="470"/>
                  </a:lnTo>
                  <a:lnTo>
                    <a:pt x="1380" y="468"/>
                  </a:lnTo>
                  <a:lnTo>
                    <a:pt x="1380" y="470"/>
                  </a:lnTo>
                  <a:lnTo>
                    <a:pt x="1380" y="468"/>
                  </a:lnTo>
                  <a:lnTo>
                    <a:pt x="1383" y="468"/>
                  </a:lnTo>
                  <a:lnTo>
                    <a:pt x="1380" y="468"/>
                  </a:lnTo>
                  <a:lnTo>
                    <a:pt x="1378" y="468"/>
                  </a:lnTo>
                  <a:lnTo>
                    <a:pt x="1376" y="468"/>
                  </a:lnTo>
                  <a:lnTo>
                    <a:pt x="1376" y="465"/>
                  </a:lnTo>
                  <a:lnTo>
                    <a:pt x="1378" y="465"/>
                  </a:lnTo>
                  <a:lnTo>
                    <a:pt x="1376" y="465"/>
                  </a:lnTo>
                  <a:lnTo>
                    <a:pt x="1376" y="468"/>
                  </a:lnTo>
                  <a:lnTo>
                    <a:pt x="1376" y="465"/>
                  </a:lnTo>
                  <a:lnTo>
                    <a:pt x="1373" y="465"/>
                  </a:lnTo>
                  <a:lnTo>
                    <a:pt x="1371" y="465"/>
                  </a:lnTo>
                  <a:lnTo>
                    <a:pt x="1369" y="465"/>
                  </a:lnTo>
                  <a:lnTo>
                    <a:pt x="1366" y="465"/>
                  </a:lnTo>
                  <a:lnTo>
                    <a:pt x="1364" y="465"/>
                  </a:lnTo>
                  <a:lnTo>
                    <a:pt x="1366" y="463"/>
                  </a:lnTo>
                  <a:lnTo>
                    <a:pt x="1364" y="463"/>
                  </a:lnTo>
                  <a:lnTo>
                    <a:pt x="1362" y="463"/>
                  </a:lnTo>
                  <a:lnTo>
                    <a:pt x="1362" y="461"/>
                  </a:lnTo>
                  <a:lnTo>
                    <a:pt x="1359" y="461"/>
                  </a:lnTo>
                  <a:lnTo>
                    <a:pt x="1357" y="461"/>
                  </a:lnTo>
                  <a:lnTo>
                    <a:pt x="1357" y="458"/>
                  </a:lnTo>
                  <a:lnTo>
                    <a:pt x="1357" y="456"/>
                  </a:lnTo>
                  <a:lnTo>
                    <a:pt x="1357" y="458"/>
                  </a:lnTo>
                  <a:lnTo>
                    <a:pt x="1357" y="456"/>
                  </a:lnTo>
                  <a:lnTo>
                    <a:pt x="1357" y="458"/>
                  </a:lnTo>
                  <a:lnTo>
                    <a:pt x="1357" y="456"/>
                  </a:lnTo>
                  <a:lnTo>
                    <a:pt x="1357" y="453"/>
                  </a:lnTo>
                  <a:lnTo>
                    <a:pt x="1357" y="456"/>
                  </a:lnTo>
                  <a:lnTo>
                    <a:pt x="1357" y="453"/>
                  </a:lnTo>
                  <a:lnTo>
                    <a:pt x="1354" y="453"/>
                  </a:lnTo>
                  <a:lnTo>
                    <a:pt x="1354" y="451"/>
                  </a:lnTo>
                  <a:lnTo>
                    <a:pt x="1357" y="451"/>
                  </a:lnTo>
                  <a:lnTo>
                    <a:pt x="1357" y="449"/>
                  </a:lnTo>
                  <a:lnTo>
                    <a:pt x="1357" y="446"/>
                  </a:lnTo>
                  <a:lnTo>
                    <a:pt x="1354" y="446"/>
                  </a:lnTo>
                  <a:lnTo>
                    <a:pt x="1357" y="446"/>
                  </a:lnTo>
                  <a:lnTo>
                    <a:pt x="1357" y="444"/>
                  </a:lnTo>
                  <a:lnTo>
                    <a:pt x="1359" y="444"/>
                  </a:lnTo>
                  <a:lnTo>
                    <a:pt x="1362" y="444"/>
                  </a:lnTo>
                  <a:lnTo>
                    <a:pt x="1364" y="444"/>
                  </a:lnTo>
                  <a:lnTo>
                    <a:pt x="1366" y="444"/>
                  </a:lnTo>
                  <a:lnTo>
                    <a:pt x="1369" y="444"/>
                  </a:lnTo>
                  <a:lnTo>
                    <a:pt x="1369" y="442"/>
                  </a:lnTo>
                  <a:lnTo>
                    <a:pt x="1369" y="444"/>
                  </a:lnTo>
                  <a:lnTo>
                    <a:pt x="1369" y="446"/>
                  </a:lnTo>
                  <a:lnTo>
                    <a:pt x="1369" y="444"/>
                  </a:lnTo>
                  <a:lnTo>
                    <a:pt x="1371" y="444"/>
                  </a:lnTo>
                  <a:lnTo>
                    <a:pt x="1371" y="446"/>
                  </a:lnTo>
                  <a:lnTo>
                    <a:pt x="1373" y="444"/>
                  </a:lnTo>
                  <a:lnTo>
                    <a:pt x="1373" y="446"/>
                  </a:lnTo>
                  <a:lnTo>
                    <a:pt x="1373" y="444"/>
                  </a:lnTo>
                  <a:lnTo>
                    <a:pt x="1373" y="446"/>
                  </a:lnTo>
                  <a:lnTo>
                    <a:pt x="1376" y="446"/>
                  </a:lnTo>
                  <a:lnTo>
                    <a:pt x="1378" y="446"/>
                  </a:lnTo>
                  <a:lnTo>
                    <a:pt x="1378" y="449"/>
                  </a:lnTo>
                  <a:lnTo>
                    <a:pt x="1380" y="449"/>
                  </a:lnTo>
                  <a:lnTo>
                    <a:pt x="1383" y="449"/>
                  </a:lnTo>
                  <a:lnTo>
                    <a:pt x="1385" y="449"/>
                  </a:lnTo>
                  <a:lnTo>
                    <a:pt x="1383" y="449"/>
                  </a:lnTo>
                  <a:lnTo>
                    <a:pt x="1385" y="449"/>
                  </a:lnTo>
                  <a:lnTo>
                    <a:pt x="1383" y="449"/>
                  </a:lnTo>
                  <a:lnTo>
                    <a:pt x="1380" y="449"/>
                  </a:lnTo>
                  <a:lnTo>
                    <a:pt x="1383" y="449"/>
                  </a:lnTo>
                  <a:lnTo>
                    <a:pt x="1380" y="449"/>
                  </a:lnTo>
                  <a:lnTo>
                    <a:pt x="1383" y="449"/>
                  </a:lnTo>
                  <a:lnTo>
                    <a:pt x="1385" y="449"/>
                  </a:lnTo>
                  <a:lnTo>
                    <a:pt x="1388" y="449"/>
                  </a:lnTo>
                  <a:lnTo>
                    <a:pt x="1385" y="449"/>
                  </a:lnTo>
                  <a:lnTo>
                    <a:pt x="1388" y="449"/>
                  </a:lnTo>
                  <a:lnTo>
                    <a:pt x="1385" y="449"/>
                  </a:lnTo>
                  <a:lnTo>
                    <a:pt x="1388" y="449"/>
                  </a:lnTo>
                  <a:lnTo>
                    <a:pt x="1390" y="449"/>
                  </a:lnTo>
                  <a:lnTo>
                    <a:pt x="1392" y="449"/>
                  </a:lnTo>
                  <a:lnTo>
                    <a:pt x="1395" y="449"/>
                  </a:lnTo>
                  <a:lnTo>
                    <a:pt x="1397" y="449"/>
                  </a:lnTo>
                  <a:lnTo>
                    <a:pt x="1397" y="451"/>
                  </a:lnTo>
                  <a:lnTo>
                    <a:pt x="1402" y="451"/>
                  </a:lnTo>
                  <a:lnTo>
                    <a:pt x="1407" y="451"/>
                  </a:lnTo>
                  <a:lnTo>
                    <a:pt x="1409" y="451"/>
                  </a:lnTo>
                  <a:lnTo>
                    <a:pt x="1411" y="451"/>
                  </a:lnTo>
                  <a:lnTo>
                    <a:pt x="1414" y="451"/>
                  </a:lnTo>
                  <a:lnTo>
                    <a:pt x="1416" y="451"/>
                  </a:lnTo>
                  <a:lnTo>
                    <a:pt x="1418" y="451"/>
                  </a:lnTo>
                  <a:lnTo>
                    <a:pt x="1421" y="451"/>
                  </a:lnTo>
                  <a:lnTo>
                    <a:pt x="1418" y="453"/>
                  </a:lnTo>
                  <a:lnTo>
                    <a:pt x="1416" y="453"/>
                  </a:lnTo>
                  <a:lnTo>
                    <a:pt x="1414" y="453"/>
                  </a:lnTo>
                  <a:lnTo>
                    <a:pt x="1416" y="453"/>
                  </a:lnTo>
                  <a:lnTo>
                    <a:pt x="1418" y="453"/>
                  </a:lnTo>
                  <a:lnTo>
                    <a:pt x="1421" y="453"/>
                  </a:lnTo>
                  <a:lnTo>
                    <a:pt x="1421" y="451"/>
                  </a:lnTo>
                  <a:lnTo>
                    <a:pt x="1423" y="451"/>
                  </a:lnTo>
                  <a:lnTo>
                    <a:pt x="1426" y="451"/>
                  </a:lnTo>
                  <a:lnTo>
                    <a:pt x="1430" y="453"/>
                  </a:lnTo>
                  <a:lnTo>
                    <a:pt x="1428" y="453"/>
                  </a:lnTo>
                  <a:lnTo>
                    <a:pt x="1430" y="453"/>
                  </a:lnTo>
                  <a:lnTo>
                    <a:pt x="1428" y="453"/>
                  </a:lnTo>
                  <a:lnTo>
                    <a:pt x="1430" y="453"/>
                  </a:lnTo>
                  <a:lnTo>
                    <a:pt x="1428" y="453"/>
                  </a:lnTo>
                  <a:lnTo>
                    <a:pt x="1430" y="453"/>
                  </a:lnTo>
                  <a:lnTo>
                    <a:pt x="1428" y="453"/>
                  </a:lnTo>
                  <a:lnTo>
                    <a:pt x="1428" y="456"/>
                  </a:lnTo>
                  <a:lnTo>
                    <a:pt x="1426" y="453"/>
                  </a:lnTo>
                  <a:lnTo>
                    <a:pt x="1426" y="456"/>
                  </a:lnTo>
                  <a:lnTo>
                    <a:pt x="1426" y="453"/>
                  </a:lnTo>
                  <a:lnTo>
                    <a:pt x="1428" y="456"/>
                  </a:lnTo>
                  <a:lnTo>
                    <a:pt x="1428" y="453"/>
                  </a:lnTo>
                  <a:lnTo>
                    <a:pt x="1430" y="453"/>
                  </a:lnTo>
                  <a:lnTo>
                    <a:pt x="1435" y="453"/>
                  </a:lnTo>
                  <a:lnTo>
                    <a:pt x="1433" y="453"/>
                  </a:lnTo>
                  <a:lnTo>
                    <a:pt x="1433" y="456"/>
                  </a:lnTo>
                  <a:lnTo>
                    <a:pt x="1435" y="456"/>
                  </a:lnTo>
                  <a:lnTo>
                    <a:pt x="1433" y="456"/>
                  </a:lnTo>
                  <a:lnTo>
                    <a:pt x="1433" y="453"/>
                  </a:lnTo>
                  <a:lnTo>
                    <a:pt x="1435" y="453"/>
                  </a:lnTo>
                  <a:lnTo>
                    <a:pt x="1433" y="453"/>
                  </a:lnTo>
                  <a:lnTo>
                    <a:pt x="1435" y="453"/>
                  </a:lnTo>
                  <a:lnTo>
                    <a:pt x="1437" y="453"/>
                  </a:lnTo>
                  <a:lnTo>
                    <a:pt x="1449" y="456"/>
                  </a:lnTo>
                  <a:lnTo>
                    <a:pt x="1456" y="458"/>
                  </a:lnTo>
                  <a:lnTo>
                    <a:pt x="1459" y="458"/>
                  </a:lnTo>
                  <a:lnTo>
                    <a:pt x="1461" y="461"/>
                  </a:lnTo>
                  <a:lnTo>
                    <a:pt x="1471" y="463"/>
                  </a:lnTo>
                  <a:lnTo>
                    <a:pt x="1473" y="463"/>
                  </a:lnTo>
                  <a:lnTo>
                    <a:pt x="1475" y="465"/>
                  </a:lnTo>
                  <a:lnTo>
                    <a:pt x="1478" y="465"/>
                  </a:lnTo>
                  <a:lnTo>
                    <a:pt x="1480" y="468"/>
                  </a:lnTo>
                  <a:lnTo>
                    <a:pt x="1483" y="470"/>
                  </a:lnTo>
                  <a:lnTo>
                    <a:pt x="1487" y="470"/>
                  </a:lnTo>
                  <a:lnTo>
                    <a:pt x="1490" y="472"/>
                  </a:lnTo>
                  <a:lnTo>
                    <a:pt x="1492" y="475"/>
                  </a:lnTo>
                  <a:lnTo>
                    <a:pt x="1497" y="477"/>
                  </a:lnTo>
                  <a:lnTo>
                    <a:pt x="1494" y="477"/>
                  </a:lnTo>
                  <a:lnTo>
                    <a:pt x="1492" y="477"/>
                  </a:lnTo>
                  <a:lnTo>
                    <a:pt x="1490" y="477"/>
                  </a:lnTo>
                  <a:lnTo>
                    <a:pt x="1492" y="477"/>
                  </a:lnTo>
                  <a:lnTo>
                    <a:pt x="1490" y="477"/>
                  </a:lnTo>
                  <a:lnTo>
                    <a:pt x="1492" y="477"/>
                  </a:lnTo>
                  <a:lnTo>
                    <a:pt x="1490" y="477"/>
                  </a:lnTo>
                  <a:lnTo>
                    <a:pt x="1487" y="477"/>
                  </a:lnTo>
                  <a:lnTo>
                    <a:pt x="1487" y="475"/>
                  </a:lnTo>
                  <a:lnTo>
                    <a:pt x="1485" y="475"/>
                  </a:lnTo>
                  <a:lnTo>
                    <a:pt x="1485" y="477"/>
                  </a:lnTo>
                  <a:lnTo>
                    <a:pt x="1485" y="475"/>
                  </a:lnTo>
                  <a:lnTo>
                    <a:pt x="1485" y="477"/>
                  </a:lnTo>
                  <a:lnTo>
                    <a:pt x="1483" y="477"/>
                  </a:lnTo>
                  <a:lnTo>
                    <a:pt x="1483" y="475"/>
                  </a:lnTo>
                  <a:lnTo>
                    <a:pt x="1483" y="477"/>
                  </a:lnTo>
                  <a:lnTo>
                    <a:pt x="1483" y="475"/>
                  </a:lnTo>
                  <a:lnTo>
                    <a:pt x="1483" y="477"/>
                  </a:lnTo>
                  <a:lnTo>
                    <a:pt x="1485" y="477"/>
                  </a:lnTo>
                  <a:lnTo>
                    <a:pt x="1485" y="475"/>
                  </a:lnTo>
                  <a:lnTo>
                    <a:pt x="1487" y="475"/>
                  </a:lnTo>
                  <a:lnTo>
                    <a:pt x="1487" y="477"/>
                  </a:lnTo>
                  <a:lnTo>
                    <a:pt x="1490" y="477"/>
                  </a:lnTo>
                  <a:lnTo>
                    <a:pt x="1490" y="480"/>
                  </a:lnTo>
                  <a:lnTo>
                    <a:pt x="1490" y="477"/>
                  </a:lnTo>
                  <a:lnTo>
                    <a:pt x="1490" y="480"/>
                  </a:lnTo>
                  <a:lnTo>
                    <a:pt x="1487" y="480"/>
                  </a:lnTo>
                  <a:lnTo>
                    <a:pt x="1485" y="480"/>
                  </a:lnTo>
                  <a:lnTo>
                    <a:pt x="1487" y="480"/>
                  </a:lnTo>
                  <a:lnTo>
                    <a:pt x="1490" y="480"/>
                  </a:lnTo>
                  <a:lnTo>
                    <a:pt x="1487" y="482"/>
                  </a:lnTo>
                  <a:lnTo>
                    <a:pt x="1485" y="482"/>
                  </a:lnTo>
                  <a:lnTo>
                    <a:pt x="1483" y="484"/>
                  </a:lnTo>
                  <a:lnTo>
                    <a:pt x="1480" y="482"/>
                  </a:lnTo>
                  <a:lnTo>
                    <a:pt x="1483" y="484"/>
                  </a:lnTo>
                  <a:lnTo>
                    <a:pt x="1480" y="484"/>
                  </a:lnTo>
                  <a:lnTo>
                    <a:pt x="1483" y="484"/>
                  </a:lnTo>
                  <a:lnTo>
                    <a:pt x="1485" y="482"/>
                  </a:lnTo>
                  <a:lnTo>
                    <a:pt x="1487" y="482"/>
                  </a:lnTo>
                  <a:lnTo>
                    <a:pt x="1490" y="480"/>
                  </a:lnTo>
                  <a:lnTo>
                    <a:pt x="1490" y="482"/>
                  </a:lnTo>
                  <a:lnTo>
                    <a:pt x="1487" y="482"/>
                  </a:lnTo>
                  <a:lnTo>
                    <a:pt x="1487" y="484"/>
                  </a:lnTo>
                  <a:lnTo>
                    <a:pt x="1485" y="484"/>
                  </a:lnTo>
                  <a:lnTo>
                    <a:pt x="1485" y="487"/>
                  </a:lnTo>
                  <a:lnTo>
                    <a:pt x="1483" y="487"/>
                  </a:lnTo>
                  <a:lnTo>
                    <a:pt x="1483" y="489"/>
                  </a:lnTo>
                  <a:lnTo>
                    <a:pt x="1480" y="489"/>
                  </a:lnTo>
                  <a:lnTo>
                    <a:pt x="1480" y="491"/>
                  </a:lnTo>
                  <a:lnTo>
                    <a:pt x="1478" y="491"/>
                  </a:lnTo>
                  <a:lnTo>
                    <a:pt x="1478" y="494"/>
                  </a:lnTo>
                  <a:lnTo>
                    <a:pt x="1480" y="494"/>
                  </a:lnTo>
                  <a:lnTo>
                    <a:pt x="1478" y="494"/>
                  </a:lnTo>
                  <a:lnTo>
                    <a:pt x="1478" y="496"/>
                  </a:lnTo>
                  <a:lnTo>
                    <a:pt x="1475" y="496"/>
                  </a:lnTo>
                  <a:lnTo>
                    <a:pt x="1475" y="499"/>
                  </a:lnTo>
                  <a:lnTo>
                    <a:pt x="1475" y="496"/>
                  </a:lnTo>
                  <a:lnTo>
                    <a:pt x="1478" y="496"/>
                  </a:lnTo>
                  <a:lnTo>
                    <a:pt x="1480" y="496"/>
                  </a:lnTo>
                  <a:lnTo>
                    <a:pt x="1478" y="496"/>
                  </a:lnTo>
                  <a:lnTo>
                    <a:pt x="1478" y="494"/>
                  </a:lnTo>
                  <a:lnTo>
                    <a:pt x="1480" y="494"/>
                  </a:lnTo>
                  <a:lnTo>
                    <a:pt x="1483" y="494"/>
                  </a:lnTo>
                  <a:lnTo>
                    <a:pt x="1483" y="496"/>
                  </a:lnTo>
                  <a:lnTo>
                    <a:pt x="1483" y="494"/>
                  </a:lnTo>
                  <a:lnTo>
                    <a:pt x="1483" y="496"/>
                  </a:lnTo>
                  <a:lnTo>
                    <a:pt x="1485" y="496"/>
                  </a:lnTo>
                  <a:lnTo>
                    <a:pt x="1483" y="496"/>
                  </a:lnTo>
                  <a:lnTo>
                    <a:pt x="1485" y="496"/>
                  </a:lnTo>
                  <a:lnTo>
                    <a:pt x="1485" y="499"/>
                  </a:lnTo>
                  <a:lnTo>
                    <a:pt x="1483" y="499"/>
                  </a:lnTo>
                  <a:lnTo>
                    <a:pt x="1483" y="501"/>
                  </a:lnTo>
                  <a:lnTo>
                    <a:pt x="1485" y="501"/>
                  </a:lnTo>
                  <a:lnTo>
                    <a:pt x="1487" y="501"/>
                  </a:lnTo>
                  <a:lnTo>
                    <a:pt x="1490" y="501"/>
                  </a:lnTo>
                  <a:lnTo>
                    <a:pt x="1487" y="501"/>
                  </a:lnTo>
                  <a:lnTo>
                    <a:pt x="1490" y="501"/>
                  </a:lnTo>
                  <a:lnTo>
                    <a:pt x="1490" y="499"/>
                  </a:lnTo>
                  <a:lnTo>
                    <a:pt x="1490" y="501"/>
                  </a:lnTo>
                  <a:lnTo>
                    <a:pt x="1492" y="501"/>
                  </a:lnTo>
                  <a:lnTo>
                    <a:pt x="1494" y="501"/>
                  </a:lnTo>
                  <a:lnTo>
                    <a:pt x="1494" y="503"/>
                  </a:lnTo>
                  <a:lnTo>
                    <a:pt x="1497" y="503"/>
                  </a:lnTo>
                  <a:lnTo>
                    <a:pt x="1499" y="503"/>
                  </a:lnTo>
                  <a:lnTo>
                    <a:pt x="1499" y="506"/>
                  </a:lnTo>
                  <a:lnTo>
                    <a:pt x="1501" y="506"/>
                  </a:lnTo>
                  <a:lnTo>
                    <a:pt x="1501" y="503"/>
                  </a:lnTo>
                  <a:lnTo>
                    <a:pt x="1504" y="503"/>
                  </a:lnTo>
                  <a:lnTo>
                    <a:pt x="1504" y="506"/>
                  </a:lnTo>
                  <a:lnTo>
                    <a:pt x="1504" y="503"/>
                  </a:lnTo>
                  <a:lnTo>
                    <a:pt x="1506" y="503"/>
                  </a:lnTo>
                  <a:lnTo>
                    <a:pt x="1506" y="506"/>
                  </a:lnTo>
                  <a:lnTo>
                    <a:pt x="1506" y="503"/>
                  </a:lnTo>
                  <a:lnTo>
                    <a:pt x="1509" y="503"/>
                  </a:lnTo>
                  <a:lnTo>
                    <a:pt x="1509" y="506"/>
                  </a:lnTo>
                  <a:lnTo>
                    <a:pt x="1511" y="506"/>
                  </a:lnTo>
                  <a:lnTo>
                    <a:pt x="1509" y="506"/>
                  </a:lnTo>
                  <a:lnTo>
                    <a:pt x="1511" y="506"/>
                  </a:lnTo>
                  <a:lnTo>
                    <a:pt x="1509" y="506"/>
                  </a:lnTo>
                  <a:lnTo>
                    <a:pt x="1509" y="508"/>
                  </a:lnTo>
                  <a:lnTo>
                    <a:pt x="1509" y="510"/>
                  </a:lnTo>
                  <a:lnTo>
                    <a:pt x="1511" y="510"/>
                  </a:lnTo>
                  <a:lnTo>
                    <a:pt x="1511" y="508"/>
                  </a:lnTo>
                  <a:lnTo>
                    <a:pt x="1511" y="510"/>
                  </a:lnTo>
                  <a:lnTo>
                    <a:pt x="1511" y="513"/>
                  </a:lnTo>
                  <a:lnTo>
                    <a:pt x="1511" y="515"/>
                  </a:lnTo>
                  <a:lnTo>
                    <a:pt x="1513" y="515"/>
                  </a:lnTo>
                  <a:lnTo>
                    <a:pt x="1516" y="515"/>
                  </a:lnTo>
                  <a:lnTo>
                    <a:pt x="1516" y="518"/>
                  </a:lnTo>
                  <a:lnTo>
                    <a:pt x="1518" y="518"/>
                  </a:lnTo>
                  <a:lnTo>
                    <a:pt x="1518" y="520"/>
                  </a:lnTo>
                  <a:lnTo>
                    <a:pt x="1516" y="522"/>
                  </a:lnTo>
                  <a:lnTo>
                    <a:pt x="1516" y="525"/>
                  </a:lnTo>
                  <a:lnTo>
                    <a:pt x="1513" y="525"/>
                  </a:lnTo>
                  <a:lnTo>
                    <a:pt x="1516" y="525"/>
                  </a:lnTo>
                  <a:lnTo>
                    <a:pt x="1513" y="525"/>
                  </a:lnTo>
                  <a:lnTo>
                    <a:pt x="1513" y="527"/>
                  </a:lnTo>
                  <a:lnTo>
                    <a:pt x="1511" y="527"/>
                  </a:lnTo>
                  <a:lnTo>
                    <a:pt x="1513" y="527"/>
                  </a:lnTo>
                  <a:lnTo>
                    <a:pt x="1511" y="527"/>
                  </a:lnTo>
                  <a:lnTo>
                    <a:pt x="1511" y="529"/>
                  </a:lnTo>
                  <a:lnTo>
                    <a:pt x="1511" y="532"/>
                  </a:lnTo>
                  <a:lnTo>
                    <a:pt x="1511" y="529"/>
                  </a:lnTo>
                  <a:lnTo>
                    <a:pt x="1511" y="532"/>
                  </a:lnTo>
                  <a:lnTo>
                    <a:pt x="1509" y="532"/>
                  </a:lnTo>
                  <a:lnTo>
                    <a:pt x="1509" y="534"/>
                  </a:lnTo>
                  <a:lnTo>
                    <a:pt x="1509" y="537"/>
                  </a:lnTo>
                  <a:lnTo>
                    <a:pt x="1506" y="537"/>
                  </a:lnTo>
                  <a:lnTo>
                    <a:pt x="1506" y="539"/>
                  </a:lnTo>
                  <a:lnTo>
                    <a:pt x="1506" y="541"/>
                  </a:lnTo>
                  <a:lnTo>
                    <a:pt x="1506" y="544"/>
                  </a:lnTo>
                  <a:lnTo>
                    <a:pt x="1506" y="546"/>
                  </a:lnTo>
                  <a:lnTo>
                    <a:pt x="1509" y="546"/>
                  </a:lnTo>
                  <a:lnTo>
                    <a:pt x="1509" y="548"/>
                  </a:lnTo>
                  <a:lnTo>
                    <a:pt x="1506" y="548"/>
                  </a:lnTo>
                  <a:lnTo>
                    <a:pt x="1509" y="548"/>
                  </a:lnTo>
                  <a:lnTo>
                    <a:pt x="1509" y="551"/>
                  </a:lnTo>
                  <a:lnTo>
                    <a:pt x="1506" y="551"/>
                  </a:lnTo>
                  <a:lnTo>
                    <a:pt x="1509" y="551"/>
                  </a:lnTo>
                  <a:lnTo>
                    <a:pt x="1506" y="551"/>
                  </a:lnTo>
                  <a:lnTo>
                    <a:pt x="1509" y="551"/>
                  </a:lnTo>
                  <a:lnTo>
                    <a:pt x="1509" y="553"/>
                  </a:lnTo>
                  <a:lnTo>
                    <a:pt x="1509" y="556"/>
                  </a:lnTo>
                  <a:lnTo>
                    <a:pt x="1511" y="556"/>
                  </a:lnTo>
                  <a:lnTo>
                    <a:pt x="1511" y="558"/>
                  </a:lnTo>
                  <a:lnTo>
                    <a:pt x="1511" y="556"/>
                  </a:lnTo>
                  <a:lnTo>
                    <a:pt x="1513" y="556"/>
                  </a:lnTo>
                  <a:lnTo>
                    <a:pt x="1516" y="556"/>
                  </a:lnTo>
                  <a:lnTo>
                    <a:pt x="1518" y="556"/>
                  </a:lnTo>
                  <a:lnTo>
                    <a:pt x="1520" y="556"/>
                  </a:lnTo>
                  <a:lnTo>
                    <a:pt x="1523" y="556"/>
                  </a:lnTo>
                  <a:lnTo>
                    <a:pt x="1525" y="556"/>
                  </a:lnTo>
                  <a:lnTo>
                    <a:pt x="1528" y="553"/>
                  </a:lnTo>
                  <a:lnTo>
                    <a:pt x="1528" y="556"/>
                  </a:lnTo>
                  <a:lnTo>
                    <a:pt x="1530" y="556"/>
                  </a:lnTo>
                  <a:lnTo>
                    <a:pt x="1532" y="556"/>
                  </a:lnTo>
                  <a:lnTo>
                    <a:pt x="1530" y="558"/>
                  </a:lnTo>
                  <a:lnTo>
                    <a:pt x="1532" y="558"/>
                  </a:lnTo>
                  <a:lnTo>
                    <a:pt x="1532" y="560"/>
                  </a:lnTo>
                  <a:lnTo>
                    <a:pt x="1532" y="563"/>
                  </a:lnTo>
                  <a:lnTo>
                    <a:pt x="1530" y="563"/>
                  </a:lnTo>
                  <a:lnTo>
                    <a:pt x="1532" y="563"/>
                  </a:lnTo>
                  <a:lnTo>
                    <a:pt x="1532" y="565"/>
                  </a:lnTo>
                  <a:lnTo>
                    <a:pt x="1535" y="565"/>
                  </a:lnTo>
                  <a:lnTo>
                    <a:pt x="1537" y="565"/>
                  </a:lnTo>
                  <a:lnTo>
                    <a:pt x="1539" y="567"/>
                  </a:lnTo>
                  <a:lnTo>
                    <a:pt x="1537" y="567"/>
                  </a:lnTo>
                  <a:lnTo>
                    <a:pt x="1537" y="570"/>
                  </a:lnTo>
                  <a:lnTo>
                    <a:pt x="1535" y="572"/>
                  </a:lnTo>
                  <a:lnTo>
                    <a:pt x="1532" y="572"/>
                  </a:lnTo>
                  <a:lnTo>
                    <a:pt x="1532" y="570"/>
                  </a:lnTo>
                  <a:lnTo>
                    <a:pt x="1530" y="570"/>
                  </a:lnTo>
                  <a:lnTo>
                    <a:pt x="1528" y="570"/>
                  </a:lnTo>
                  <a:lnTo>
                    <a:pt x="1528" y="572"/>
                  </a:lnTo>
                  <a:lnTo>
                    <a:pt x="1525" y="570"/>
                  </a:lnTo>
                  <a:lnTo>
                    <a:pt x="1523" y="572"/>
                  </a:lnTo>
                  <a:lnTo>
                    <a:pt x="1523" y="575"/>
                  </a:lnTo>
                  <a:lnTo>
                    <a:pt x="1525" y="575"/>
                  </a:lnTo>
                  <a:lnTo>
                    <a:pt x="1523" y="575"/>
                  </a:lnTo>
                  <a:lnTo>
                    <a:pt x="1523" y="577"/>
                  </a:lnTo>
                  <a:lnTo>
                    <a:pt x="1523" y="579"/>
                  </a:lnTo>
                  <a:lnTo>
                    <a:pt x="1525" y="577"/>
                  </a:lnTo>
                  <a:lnTo>
                    <a:pt x="1528" y="577"/>
                  </a:lnTo>
                  <a:lnTo>
                    <a:pt x="1530" y="577"/>
                  </a:lnTo>
                  <a:lnTo>
                    <a:pt x="1532" y="579"/>
                  </a:lnTo>
                  <a:lnTo>
                    <a:pt x="1532" y="582"/>
                  </a:lnTo>
                  <a:lnTo>
                    <a:pt x="1530" y="584"/>
                  </a:lnTo>
                  <a:lnTo>
                    <a:pt x="1530" y="586"/>
                  </a:lnTo>
                  <a:lnTo>
                    <a:pt x="1528" y="586"/>
                  </a:lnTo>
                  <a:lnTo>
                    <a:pt x="1525" y="586"/>
                  </a:lnTo>
                  <a:lnTo>
                    <a:pt x="1523" y="586"/>
                  </a:lnTo>
                  <a:lnTo>
                    <a:pt x="1520" y="586"/>
                  </a:lnTo>
                  <a:lnTo>
                    <a:pt x="1520" y="589"/>
                  </a:lnTo>
                  <a:lnTo>
                    <a:pt x="1520" y="591"/>
                  </a:lnTo>
                  <a:lnTo>
                    <a:pt x="1518" y="591"/>
                  </a:lnTo>
                  <a:lnTo>
                    <a:pt x="1516" y="591"/>
                  </a:lnTo>
                  <a:lnTo>
                    <a:pt x="1516" y="594"/>
                  </a:lnTo>
                  <a:lnTo>
                    <a:pt x="1513" y="594"/>
                  </a:lnTo>
                  <a:lnTo>
                    <a:pt x="1513" y="596"/>
                  </a:lnTo>
                  <a:lnTo>
                    <a:pt x="1511" y="598"/>
                  </a:lnTo>
                  <a:lnTo>
                    <a:pt x="1511" y="596"/>
                  </a:lnTo>
                  <a:lnTo>
                    <a:pt x="1509" y="596"/>
                  </a:lnTo>
                  <a:lnTo>
                    <a:pt x="1506" y="598"/>
                  </a:lnTo>
                  <a:lnTo>
                    <a:pt x="1506" y="601"/>
                  </a:lnTo>
                  <a:lnTo>
                    <a:pt x="1504" y="601"/>
                  </a:lnTo>
                  <a:lnTo>
                    <a:pt x="1501" y="601"/>
                  </a:lnTo>
                  <a:lnTo>
                    <a:pt x="1504" y="601"/>
                  </a:lnTo>
                  <a:lnTo>
                    <a:pt x="1504" y="603"/>
                  </a:lnTo>
                  <a:lnTo>
                    <a:pt x="1504" y="605"/>
                  </a:lnTo>
                  <a:lnTo>
                    <a:pt x="1501" y="605"/>
                  </a:lnTo>
                  <a:lnTo>
                    <a:pt x="1499" y="608"/>
                  </a:lnTo>
                  <a:lnTo>
                    <a:pt x="1499" y="610"/>
                  </a:lnTo>
                  <a:lnTo>
                    <a:pt x="1501" y="613"/>
                  </a:lnTo>
                  <a:lnTo>
                    <a:pt x="1501" y="615"/>
                  </a:lnTo>
                  <a:lnTo>
                    <a:pt x="1499" y="615"/>
                  </a:lnTo>
                  <a:lnTo>
                    <a:pt x="1499" y="617"/>
                  </a:lnTo>
                  <a:lnTo>
                    <a:pt x="1497" y="617"/>
                  </a:lnTo>
                  <a:lnTo>
                    <a:pt x="1494" y="617"/>
                  </a:lnTo>
                  <a:lnTo>
                    <a:pt x="1492" y="617"/>
                  </a:lnTo>
                  <a:lnTo>
                    <a:pt x="1492" y="620"/>
                  </a:lnTo>
                  <a:lnTo>
                    <a:pt x="1490" y="620"/>
                  </a:lnTo>
                  <a:lnTo>
                    <a:pt x="1487" y="620"/>
                  </a:lnTo>
                  <a:lnTo>
                    <a:pt x="1485" y="620"/>
                  </a:lnTo>
                  <a:lnTo>
                    <a:pt x="1483" y="620"/>
                  </a:lnTo>
                  <a:lnTo>
                    <a:pt x="1483" y="622"/>
                  </a:lnTo>
                  <a:lnTo>
                    <a:pt x="1483" y="624"/>
                  </a:lnTo>
                  <a:lnTo>
                    <a:pt x="1480" y="624"/>
                  </a:lnTo>
                  <a:lnTo>
                    <a:pt x="1480" y="627"/>
                  </a:lnTo>
                  <a:lnTo>
                    <a:pt x="1480" y="624"/>
                  </a:lnTo>
                  <a:lnTo>
                    <a:pt x="1478" y="624"/>
                  </a:lnTo>
                  <a:lnTo>
                    <a:pt x="1475" y="627"/>
                  </a:lnTo>
                  <a:lnTo>
                    <a:pt x="1473" y="627"/>
                  </a:lnTo>
                  <a:lnTo>
                    <a:pt x="1473" y="629"/>
                  </a:lnTo>
                  <a:lnTo>
                    <a:pt x="1471" y="629"/>
                  </a:lnTo>
                  <a:lnTo>
                    <a:pt x="1468" y="629"/>
                  </a:lnTo>
                  <a:lnTo>
                    <a:pt x="1466" y="629"/>
                  </a:lnTo>
                  <a:lnTo>
                    <a:pt x="1464" y="629"/>
                  </a:lnTo>
                  <a:lnTo>
                    <a:pt x="1461" y="632"/>
                  </a:lnTo>
                  <a:lnTo>
                    <a:pt x="1461" y="634"/>
                  </a:lnTo>
                  <a:lnTo>
                    <a:pt x="1459" y="634"/>
                  </a:lnTo>
                  <a:lnTo>
                    <a:pt x="1456" y="636"/>
                  </a:lnTo>
                  <a:lnTo>
                    <a:pt x="1454" y="636"/>
                  </a:lnTo>
                  <a:lnTo>
                    <a:pt x="1452" y="636"/>
                  </a:lnTo>
                  <a:lnTo>
                    <a:pt x="1449" y="639"/>
                  </a:lnTo>
                  <a:lnTo>
                    <a:pt x="1449" y="641"/>
                  </a:lnTo>
                  <a:lnTo>
                    <a:pt x="1447" y="641"/>
                  </a:lnTo>
                  <a:lnTo>
                    <a:pt x="1447" y="639"/>
                  </a:lnTo>
                  <a:lnTo>
                    <a:pt x="1445" y="639"/>
                  </a:lnTo>
                  <a:lnTo>
                    <a:pt x="1445" y="641"/>
                  </a:lnTo>
                  <a:lnTo>
                    <a:pt x="1442" y="641"/>
                  </a:lnTo>
                  <a:lnTo>
                    <a:pt x="1442" y="643"/>
                  </a:lnTo>
                  <a:lnTo>
                    <a:pt x="1440" y="643"/>
                  </a:lnTo>
                  <a:lnTo>
                    <a:pt x="1440" y="646"/>
                  </a:lnTo>
                  <a:lnTo>
                    <a:pt x="1437" y="648"/>
                  </a:lnTo>
                  <a:lnTo>
                    <a:pt x="1437" y="651"/>
                  </a:lnTo>
                  <a:lnTo>
                    <a:pt x="1440" y="651"/>
                  </a:lnTo>
                  <a:lnTo>
                    <a:pt x="1440" y="653"/>
                  </a:lnTo>
                  <a:lnTo>
                    <a:pt x="1437" y="653"/>
                  </a:lnTo>
                  <a:lnTo>
                    <a:pt x="1435" y="653"/>
                  </a:lnTo>
                  <a:lnTo>
                    <a:pt x="1435" y="651"/>
                  </a:lnTo>
                  <a:lnTo>
                    <a:pt x="1435" y="653"/>
                  </a:lnTo>
                  <a:lnTo>
                    <a:pt x="1433" y="655"/>
                  </a:lnTo>
                  <a:lnTo>
                    <a:pt x="1430" y="655"/>
                  </a:lnTo>
                  <a:lnTo>
                    <a:pt x="1430" y="658"/>
                  </a:lnTo>
                  <a:lnTo>
                    <a:pt x="1430" y="660"/>
                  </a:lnTo>
                  <a:lnTo>
                    <a:pt x="1428" y="660"/>
                  </a:lnTo>
                  <a:lnTo>
                    <a:pt x="1428" y="662"/>
                  </a:lnTo>
                  <a:lnTo>
                    <a:pt x="1426" y="662"/>
                  </a:lnTo>
                  <a:lnTo>
                    <a:pt x="1426" y="665"/>
                  </a:lnTo>
                  <a:lnTo>
                    <a:pt x="1423" y="665"/>
                  </a:lnTo>
                  <a:lnTo>
                    <a:pt x="1423" y="667"/>
                  </a:lnTo>
                  <a:lnTo>
                    <a:pt x="1426" y="667"/>
                  </a:lnTo>
                  <a:lnTo>
                    <a:pt x="1428" y="667"/>
                  </a:lnTo>
                  <a:lnTo>
                    <a:pt x="1428" y="670"/>
                  </a:lnTo>
                  <a:lnTo>
                    <a:pt x="1426" y="670"/>
                  </a:lnTo>
                  <a:lnTo>
                    <a:pt x="1423" y="670"/>
                  </a:lnTo>
                  <a:lnTo>
                    <a:pt x="1423" y="672"/>
                  </a:lnTo>
                  <a:lnTo>
                    <a:pt x="1426" y="672"/>
                  </a:lnTo>
                  <a:lnTo>
                    <a:pt x="1426" y="674"/>
                  </a:lnTo>
                  <a:lnTo>
                    <a:pt x="1423" y="674"/>
                  </a:lnTo>
                  <a:lnTo>
                    <a:pt x="1421" y="674"/>
                  </a:lnTo>
                  <a:lnTo>
                    <a:pt x="1418" y="674"/>
                  </a:lnTo>
                  <a:lnTo>
                    <a:pt x="1416" y="674"/>
                  </a:lnTo>
                  <a:lnTo>
                    <a:pt x="1414" y="674"/>
                  </a:lnTo>
                  <a:lnTo>
                    <a:pt x="1414" y="677"/>
                  </a:lnTo>
                  <a:lnTo>
                    <a:pt x="1411" y="677"/>
                  </a:lnTo>
                  <a:lnTo>
                    <a:pt x="1409" y="677"/>
                  </a:lnTo>
                  <a:lnTo>
                    <a:pt x="1409" y="679"/>
                  </a:lnTo>
                  <a:lnTo>
                    <a:pt x="1407" y="679"/>
                  </a:lnTo>
                  <a:lnTo>
                    <a:pt x="1404" y="679"/>
                  </a:lnTo>
                  <a:lnTo>
                    <a:pt x="1402" y="679"/>
                  </a:lnTo>
                  <a:lnTo>
                    <a:pt x="1402" y="682"/>
                  </a:lnTo>
                  <a:lnTo>
                    <a:pt x="1399" y="682"/>
                  </a:lnTo>
                  <a:lnTo>
                    <a:pt x="1397" y="682"/>
                  </a:lnTo>
                  <a:lnTo>
                    <a:pt x="1397" y="684"/>
                  </a:lnTo>
                  <a:lnTo>
                    <a:pt x="1395" y="684"/>
                  </a:lnTo>
                  <a:lnTo>
                    <a:pt x="1392" y="684"/>
                  </a:lnTo>
                  <a:lnTo>
                    <a:pt x="1392" y="686"/>
                  </a:lnTo>
                  <a:lnTo>
                    <a:pt x="1390" y="686"/>
                  </a:lnTo>
                  <a:lnTo>
                    <a:pt x="1390" y="689"/>
                  </a:lnTo>
                  <a:lnTo>
                    <a:pt x="1388" y="689"/>
                  </a:lnTo>
                  <a:lnTo>
                    <a:pt x="1388" y="691"/>
                  </a:lnTo>
                  <a:lnTo>
                    <a:pt x="1385" y="691"/>
                  </a:lnTo>
                  <a:lnTo>
                    <a:pt x="1383" y="693"/>
                  </a:lnTo>
                  <a:lnTo>
                    <a:pt x="1383" y="696"/>
                  </a:lnTo>
                  <a:lnTo>
                    <a:pt x="1380" y="698"/>
                  </a:lnTo>
                  <a:lnTo>
                    <a:pt x="1380" y="701"/>
                  </a:lnTo>
                  <a:lnTo>
                    <a:pt x="1378" y="703"/>
                  </a:lnTo>
                  <a:lnTo>
                    <a:pt x="1376" y="703"/>
                  </a:lnTo>
                  <a:lnTo>
                    <a:pt x="1376" y="705"/>
                  </a:lnTo>
                  <a:lnTo>
                    <a:pt x="1373" y="708"/>
                  </a:lnTo>
                  <a:lnTo>
                    <a:pt x="1373" y="710"/>
                  </a:lnTo>
                  <a:lnTo>
                    <a:pt x="1373" y="712"/>
                  </a:lnTo>
                  <a:lnTo>
                    <a:pt x="1371" y="712"/>
                  </a:lnTo>
                  <a:lnTo>
                    <a:pt x="1369" y="712"/>
                  </a:lnTo>
                  <a:lnTo>
                    <a:pt x="1369" y="717"/>
                  </a:lnTo>
                  <a:lnTo>
                    <a:pt x="1366" y="717"/>
                  </a:lnTo>
                  <a:lnTo>
                    <a:pt x="1366" y="720"/>
                  </a:lnTo>
                  <a:lnTo>
                    <a:pt x="1364" y="722"/>
                  </a:lnTo>
                  <a:lnTo>
                    <a:pt x="1362" y="722"/>
                  </a:lnTo>
                  <a:lnTo>
                    <a:pt x="1359" y="722"/>
                  </a:lnTo>
                  <a:lnTo>
                    <a:pt x="1357" y="722"/>
                  </a:lnTo>
                  <a:lnTo>
                    <a:pt x="1357" y="724"/>
                  </a:lnTo>
                  <a:lnTo>
                    <a:pt x="1357" y="727"/>
                  </a:lnTo>
                  <a:lnTo>
                    <a:pt x="1354" y="727"/>
                  </a:lnTo>
                  <a:lnTo>
                    <a:pt x="1352" y="729"/>
                  </a:lnTo>
                  <a:lnTo>
                    <a:pt x="1350" y="727"/>
                  </a:lnTo>
                  <a:lnTo>
                    <a:pt x="1345" y="722"/>
                  </a:lnTo>
                  <a:lnTo>
                    <a:pt x="1347" y="720"/>
                  </a:lnTo>
                  <a:lnTo>
                    <a:pt x="1345" y="720"/>
                  </a:lnTo>
                  <a:lnTo>
                    <a:pt x="1340" y="720"/>
                  </a:lnTo>
                  <a:lnTo>
                    <a:pt x="1338" y="720"/>
                  </a:lnTo>
                  <a:lnTo>
                    <a:pt x="1335" y="720"/>
                  </a:lnTo>
                  <a:lnTo>
                    <a:pt x="1333" y="722"/>
                  </a:lnTo>
                  <a:lnTo>
                    <a:pt x="1333" y="724"/>
                  </a:lnTo>
                  <a:lnTo>
                    <a:pt x="1331" y="724"/>
                  </a:lnTo>
                  <a:lnTo>
                    <a:pt x="1331" y="727"/>
                  </a:lnTo>
                  <a:lnTo>
                    <a:pt x="1328" y="729"/>
                  </a:lnTo>
                  <a:lnTo>
                    <a:pt x="1326" y="729"/>
                  </a:lnTo>
                  <a:lnTo>
                    <a:pt x="1324" y="731"/>
                  </a:lnTo>
                  <a:lnTo>
                    <a:pt x="1321" y="734"/>
                  </a:lnTo>
                  <a:lnTo>
                    <a:pt x="1319" y="734"/>
                  </a:lnTo>
                  <a:lnTo>
                    <a:pt x="1319" y="736"/>
                  </a:lnTo>
                  <a:lnTo>
                    <a:pt x="1319" y="739"/>
                  </a:lnTo>
                  <a:lnTo>
                    <a:pt x="1321" y="739"/>
                  </a:lnTo>
                  <a:lnTo>
                    <a:pt x="1324" y="741"/>
                  </a:lnTo>
                  <a:lnTo>
                    <a:pt x="1324" y="743"/>
                  </a:lnTo>
                  <a:lnTo>
                    <a:pt x="1321" y="743"/>
                  </a:lnTo>
                  <a:lnTo>
                    <a:pt x="1319" y="743"/>
                  </a:lnTo>
                  <a:lnTo>
                    <a:pt x="1319" y="746"/>
                  </a:lnTo>
                  <a:lnTo>
                    <a:pt x="1316" y="748"/>
                  </a:lnTo>
                  <a:lnTo>
                    <a:pt x="1314" y="750"/>
                  </a:lnTo>
                  <a:lnTo>
                    <a:pt x="1316" y="753"/>
                  </a:lnTo>
                  <a:lnTo>
                    <a:pt x="1319" y="753"/>
                  </a:lnTo>
                  <a:lnTo>
                    <a:pt x="1319" y="758"/>
                  </a:lnTo>
                  <a:lnTo>
                    <a:pt x="1319" y="760"/>
                  </a:lnTo>
                  <a:lnTo>
                    <a:pt x="1319" y="762"/>
                  </a:lnTo>
                  <a:lnTo>
                    <a:pt x="1319" y="765"/>
                  </a:lnTo>
                  <a:lnTo>
                    <a:pt x="1319" y="767"/>
                  </a:lnTo>
                  <a:lnTo>
                    <a:pt x="1321" y="769"/>
                  </a:lnTo>
                  <a:lnTo>
                    <a:pt x="1324" y="769"/>
                  </a:lnTo>
                  <a:lnTo>
                    <a:pt x="1326" y="772"/>
                  </a:lnTo>
                  <a:lnTo>
                    <a:pt x="1326" y="774"/>
                  </a:lnTo>
                  <a:lnTo>
                    <a:pt x="1324" y="779"/>
                  </a:lnTo>
                  <a:lnTo>
                    <a:pt x="1321" y="781"/>
                  </a:lnTo>
                  <a:lnTo>
                    <a:pt x="1316" y="784"/>
                  </a:lnTo>
                  <a:lnTo>
                    <a:pt x="1319" y="786"/>
                  </a:lnTo>
                  <a:lnTo>
                    <a:pt x="1316" y="788"/>
                  </a:lnTo>
                  <a:lnTo>
                    <a:pt x="1316" y="791"/>
                  </a:lnTo>
                  <a:lnTo>
                    <a:pt x="1316" y="793"/>
                  </a:lnTo>
                  <a:lnTo>
                    <a:pt x="1316" y="796"/>
                  </a:lnTo>
                  <a:lnTo>
                    <a:pt x="1314" y="803"/>
                  </a:lnTo>
                  <a:lnTo>
                    <a:pt x="1312" y="807"/>
                  </a:lnTo>
                  <a:lnTo>
                    <a:pt x="1309" y="812"/>
                  </a:lnTo>
                  <a:lnTo>
                    <a:pt x="1312" y="815"/>
                  </a:lnTo>
                  <a:lnTo>
                    <a:pt x="1309" y="815"/>
                  </a:lnTo>
                  <a:lnTo>
                    <a:pt x="1309" y="817"/>
                  </a:lnTo>
                  <a:lnTo>
                    <a:pt x="1309" y="819"/>
                  </a:lnTo>
                  <a:lnTo>
                    <a:pt x="1312" y="819"/>
                  </a:lnTo>
                  <a:lnTo>
                    <a:pt x="1309" y="822"/>
                  </a:lnTo>
                  <a:lnTo>
                    <a:pt x="1307" y="824"/>
                  </a:lnTo>
                  <a:lnTo>
                    <a:pt x="1309" y="826"/>
                  </a:lnTo>
                  <a:lnTo>
                    <a:pt x="1309" y="829"/>
                  </a:lnTo>
                  <a:lnTo>
                    <a:pt x="1307" y="829"/>
                  </a:lnTo>
                  <a:lnTo>
                    <a:pt x="1305" y="831"/>
                  </a:lnTo>
                  <a:lnTo>
                    <a:pt x="1307" y="834"/>
                  </a:lnTo>
                  <a:lnTo>
                    <a:pt x="1309" y="834"/>
                  </a:lnTo>
                  <a:lnTo>
                    <a:pt x="1309" y="836"/>
                  </a:lnTo>
                  <a:lnTo>
                    <a:pt x="1312" y="836"/>
                  </a:lnTo>
                  <a:lnTo>
                    <a:pt x="1314" y="838"/>
                  </a:lnTo>
                  <a:lnTo>
                    <a:pt x="1314" y="841"/>
                  </a:lnTo>
                  <a:lnTo>
                    <a:pt x="1314" y="845"/>
                  </a:lnTo>
                  <a:lnTo>
                    <a:pt x="1312" y="848"/>
                  </a:lnTo>
                  <a:lnTo>
                    <a:pt x="1312" y="850"/>
                  </a:lnTo>
                  <a:lnTo>
                    <a:pt x="1314" y="855"/>
                  </a:lnTo>
                  <a:lnTo>
                    <a:pt x="1314" y="857"/>
                  </a:lnTo>
                  <a:lnTo>
                    <a:pt x="1316" y="857"/>
                  </a:lnTo>
                  <a:lnTo>
                    <a:pt x="1321" y="860"/>
                  </a:lnTo>
                  <a:lnTo>
                    <a:pt x="1319" y="862"/>
                  </a:lnTo>
                  <a:lnTo>
                    <a:pt x="1319" y="864"/>
                  </a:lnTo>
                  <a:lnTo>
                    <a:pt x="1319" y="867"/>
                  </a:lnTo>
                  <a:lnTo>
                    <a:pt x="1319" y="869"/>
                  </a:lnTo>
                  <a:lnTo>
                    <a:pt x="1316" y="872"/>
                  </a:lnTo>
                  <a:lnTo>
                    <a:pt x="1316" y="874"/>
                  </a:lnTo>
                  <a:lnTo>
                    <a:pt x="1314" y="876"/>
                  </a:lnTo>
                  <a:lnTo>
                    <a:pt x="1312" y="879"/>
                  </a:lnTo>
                  <a:lnTo>
                    <a:pt x="1312" y="881"/>
                  </a:lnTo>
                  <a:lnTo>
                    <a:pt x="1312" y="883"/>
                  </a:lnTo>
                  <a:lnTo>
                    <a:pt x="1314" y="886"/>
                  </a:lnTo>
                  <a:lnTo>
                    <a:pt x="1314" y="888"/>
                  </a:lnTo>
                  <a:lnTo>
                    <a:pt x="1314" y="891"/>
                  </a:lnTo>
                  <a:lnTo>
                    <a:pt x="1314" y="893"/>
                  </a:lnTo>
                  <a:lnTo>
                    <a:pt x="1312" y="893"/>
                  </a:lnTo>
                  <a:lnTo>
                    <a:pt x="1312" y="895"/>
                  </a:lnTo>
                  <a:lnTo>
                    <a:pt x="1309" y="895"/>
                  </a:lnTo>
                  <a:lnTo>
                    <a:pt x="1309" y="898"/>
                  </a:lnTo>
                  <a:lnTo>
                    <a:pt x="1312" y="900"/>
                  </a:lnTo>
                  <a:lnTo>
                    <a:pt x="1312" y="902"/>
                  </a:lnTo>
                  <a:lnTo>
                    <a:pt x="1309" y="905"/>
                  </a:lnTo>
                  <a:lnTo>
                    <a:pt x="1309" y="907"/>
                  </a:lnTo>
                  <a:lnTo>
                    <a:pt x="1312" y="910"/>
                  </a:lnTo>
                  <a:lnTo>
                    <a:pt x="1312" y="912"/>
                  </a:lnTo>
                  <a:lnTo>
                    <a:pt x="1312" y="914"/>
                  </a:lnTo>
                  <a:lnTo>
                    <a:pt x="1314" y="914"/>
                  </a:lnTo>
                  <a:lnTo>
                    <a:pt x="1312" y="917"/>
                  </a:lnTo>
                  <a:lnTo>
                    <a:pt x="1312" y="919"/>
                  </a:lnTo>
                  <a:lnTo>
                    <a:pt x="1312" y="921"/>
                  </a:lnTo>
                  <a:lnTo>
                    <a:pt x="1309" y="921"/>
                  </a:lnTo>
                  <a:lnTo>
                    <a:pt x="1309" y="924"/>
                  </a:lnTo>
                  <a:lnTo>
                    <a:pt x="1307" y="926"/>
                  </a:lnTo>
                  <a:lnTo>
                    <a:pt x="1307" y="929"/>
                  </a:lnTo>
                  <a:lnTo>
                    <a:pt x="1307" y="931"/>
                  </a:lnTo>
                  <a:lnTo>
                    <a:pt x="1307" y="933"/>
                  </a:lnTo>
                  <a:lnTo>
                    <a:pt x="1309" y="933"/>
                  </a:lnTo>
                  <a:lnTo>
                    <a:pt x="1309" y="936"/>
                  </a:lnTo>
                  <a:lnTo>
                    <a:pt x="1309" y="938"/>
                  </a:lnTo>
                  <a:lnTo>
                    <a:pt x="1309" y="940"/>
                  </a:lnTo>
                  <a:lnTo>
                    <a:pt x="1309" y="943"/>
                  </a:lnTo>
                  <a:lnTo>
                    <a:pt x="1312" y="943"/>
                  </a:lnTo>
                  <a:lnTo>
                    <a:pt x="1312" y="945"/>
                  </a:lnTo>
                  <a:lnTo>
                    <a:pt x="1314" y="945"/>
                  </a:lnTo>
                  <a:lnTo>
                    <a:pt x="1314" y="948"/>
                  </a:lnTo>
                  <a:lnTo>
                    <a:pt x="1314" y="950"/>
                  </a:lnTo>
                  <a:lnTo>
                    <a:pt x="1314" y="952"/>
                  </a:lnTo>
                  <a:lnTo>
                    <a:pt x="1314" y="955"/>
                  </a:lnTo>
                  <a:lnTo>
                    <a:pt x="1314" y="957"/>
                  </a:lnTo>
                  <a:lnTo>
                    <a:pt x="1312" y="962"/>
                  </a:lnTo>
                  <a:lnTo>
                    <a:pt x="1312" y="964"/>
                  </a:lnTo>
                  <a:lnTo>
                    <a:pt x="1312" y="969"/>
                  </a:lnTo>
                  <a:lnTo>
                    <a:pt x="1309" y="969"/>
                  </a:lnTo>
                  <a:lnTo>
                    <a:pt x="1307" y="969"/>
                  </a:lnTo>
                  <a:lnTo>
                    <a:pt x="1307" y="971"/>
                  </a:lnTo>
                  <a:lnTo>
                    <a:pt x="1305" y="974"/>
                  </a:lnTo>
                  <a:lnTo>
                    <a:pt x="1305" y="976"/>
                  </a:lnTo>
                  <a:lnTo>
                    <a:pt x="1305" y="978"/>
                  </a:lnTo>
                  <a:lnTo>
                    <a:pt x="1305" y="981"/>
                  </a:lnTo>
                  <a:lnTo>
                    <a:pt x="1302" y="983"/>
                  </a:lnTo>
                  <a:lnTo>
                    <a:pt x="1302" y="986"/>
                  </a:lnTo>
                  <a:lnTo>
                    <a:pt x="1302" y="988"/>
                  </a:lnTo>
                  <a:lnTo>
                    <a:pt x="1300" y="990"/>
                  </a:lnTo>
                  <a:lnTo>
                    <a:pt x="1300" y="993"/>
                  </a:lnTo>
                  <a:lnTo>
                    <a:pt x="1297" y="995"/>
                  </a:lnTo>
                  <a:lnTo>
                    <a:pt x="1297" y="997"/>
                  </a:lnTo>
                  <a:lnTo>
                    <a:pt x="1300" y="997"/>
                  </a:lnTo>
                  <a:lnTo>
                    <a:pt x="1297" y="1000"/>
                  </a:lnTo>
                  <a:lnTo>
                    <a:pt x="1295" y="997"/>
                  </a:lnTo>
                  <a:lnTo>
                    <a:pt x="1293" y="1002"/>
                  </a:lnTo>
                  <a:lnTo>
                    <a:pt x="1293" y="1005"/>
                  </a:lnTo>
                  <a:lnTo>
                    <a:pt x="1288" y="1005"/>
                  </a:lnTo>
                  <a:lnTo>
                    <a:pt x="1286" y="1012"/>
                  </a:lnTo>
                  <a:lnTo>
                    <a:pt x="1283" y="1012"/>
                  </a:lnTo>
                  <a:lnTo>
                    <a:pt x="1281" y="1012"/>
                  </a:lnTo>
                  <a:lnTo>
                    <a:pt x="1278" y="1019"/>
                  </a:lnTo>
                  <a:lnTo>
                    <a:pt x="1278" y="1021"/>
                  </a:lnTo>
                  <a:lnTo>
                    <a:pt x="1276" y="1024"/>
                  </a:lnTo>
                  <a:lnTo>
                    <a:pt x="1278" y="1024"/>
                  </a:lnTo>
                  <a:lnTo>
                    <a:pt x="1281" y="1024"/>
                  </a:lnTo>
                  <a:lnTo>
                    <a:pt x="1283" y="1026"/>
                  </a:lnTo>
                  <a:lnTo>
                    <a:pt x="1283" y="1028"/>
                  </a:lnTo>
                  <a:lnTo>
                    <a:pt x="1286" y="1031"/>
                  </a:lnTo>
                  <a:lnTo>
                    <a:pt x="1288" y="1033"/>
                  </a:lnTo>
                  <a:lnTo>
                    <a:pt x="1290" y="1033"/>
                  </a:lnTo>
                  <a:lnTo>
                    <a:pt x="1290" y="1035"/>
                  </a:lnTo>
                  <a:lnTo>
                    <a:pt x="1297" y="1035"/>
                  </a:lnTo>
                  <a:lnTo>
                    <a:pt x="1300" y="1035"/>
                  </a:lnTo>
                  <a:lnTo>
                    <a:pt x="1300" y="1038"/>
                  </a:lnTo>
                  <a:lnTo>
                    <a:pt x="1302" y="1040"/>
                  </a:lnTo>
                  <a:lnTo>
                    <a:pt x="1305" y="1040"/>
                  </a:lnTo>
                  <a:lnTo>
                    <a:pt x="1302" y="1045"/>
                  </a:lnTo>
                  <a:lnTo>
                    <a:pt x="1302" y="1047"/>
                  </a:lnTo>
                  <a:lnTo>
                    <a:pt x="1302" y="1050"/>
                  </a:lnTo>
                  <a:lnTo>
                    <a:pt x="1305" y="1050"/>
                  </a:lnTo>
                  <a:lnTo>
                    <a:pt x="1305" y="1054"/>
                  </a:lnTo>
                  <a:lnTo>
                    <a:pt x="1302" y="1054"/>
                  </a:lnTo>
                  <a:lnTo>
                    <a:pt x="1300" y="1054"/>
                  </a:lnTo>
                  <a:lnTo>
                    <a:pt x="1300" y="1057"/>
                  </a:lnTo>
                  <a:lnTo>
                    <a:pt x="1302" y="1059"/>
                  </a:lnTo>
                  <a:lnTo>
                    <a:pt x="1302" y="1062"/>
                  </a:lnTo>
                  <a:lnTo>
                    <a:pt x="1305" y="1062"/>
                  </a:lnTo>
                  <a:lnTo>
                    <a:pt x="1305" y="1064"/>
                  </a:lnTo>
                  <a:lnTo>
                    <a:pt x="1307" y="1064"/>
                  </a:lnTo>
                  <a:lnTo>
                    <a:pt x="1309" y="1064"/>
                  </a:lnTo>
                  <a:lnTo>
                    <a:pt x="1312" y="1064"/>
                  </a:lnTo>
                  <a:lnTo>
                    <a:pt x="1314" y="1066"/>
                  </a:lnTo>
                  <a:lnTo>
                    <a:pt x="1312" y="1069"/>
                  </a:lnTo>
                  <a:lnTo>
                    <a:pt x="1314" y="1076"/>
                  </a:lnTo>
                  <a:lnTo>
                    <a:pt x="1312" y="1078"/>
                  </a:lnTo>
                  <a:lnTo>
                    <a:pt x="1309" y="1078"/>
                  </a:lnTo>
                  <a:lnTo>
                    <a:pt x="1307" y="1081"/>
                  </a:lnTo>
                  <a:lnTo>
                    <a:pt x="1305" y="1085"/>
                  </a:lnTo>
                  <a:lnTo>
                    <a:pt x="1302" y="1088"/>
                  </a:lnTo>
                  <a:lnTo>
                    <a:pt x="1300" y="1090"/>
                  </a:lnTo>
                  <a:lnTo>
                    <a:pt x="1297" y="1090"/>
                  </a:lnTo>
                  <a:lnTo>
                    <a:pt x="1295" y="1090"/>
                  </a:lnTo>
                  <a:lnTo>
                    <a:pt x="1293" y="1090"/>
                  </a:lnTo>
                  <a:lnTo>
                    <a:pt x="1293" y="1092"/>
                  </a:lnTo>
                  <a:lnTo>
                    <a:pt x="1290" y="1092"/>
                  </a:lnTo>
                  <a:lnTo>
                    <a:pt x="1288" y="1095"/>
                  </a:lnTo>
                  <a:lnTo>
                    <a:pt x="1288" y="1097"/>
                  </a:lnTo>
                  <a:lnTo>
                    <a:pt x="1288" y="1100"/>
                  </a:lnTo>
                  <a:lnTo>
                    <a:pt x="1286" y="1100"/>
                  </a:lnTo>
                  <a:lnTo>
                    <a:pt x="1286" y="1102"/>
                  </a:lnTo>
                  <a:lnTo>
                    <a:pt x="1288" y="1104"/>
                  </a:lnTo>
                  <a:lnTo>
                    <a:pt x="1288" y="1107"/>
                  </a:lnTo>
                  <a:lnTo>
                    <a:pt x="1290" y="1107"/>
                  </a:lnTo>
                  <a:lnTo>
                    <a:pt x="1290" y="1109"/>
                  </a:lnTo>
                  <a:lnTo>
                    <a:pt x="1295" y="1109"/>
                  </a:lnTo>
                  <a:lnTo>
                    <a:pt x="1295" y="1112"/>
                  </a:lnTo>
                  <a:lnTo>
                    <a:pt x="1295" y="1114"/>
                  </a:lnTo>
                  <a:lnTo>
                    <a:pt x="1293" y="1116"/>
                  </a:lnTo>
                  <a:lnTo>
                    <a:pt x="1283" y="1123"/>
                  </a:lnTo>
                  <a:lnTo>
                    <a:pt x="1281" y="1123"/>
                  </a:lnTo>
                  <a:lnTo>
                    <a:pt x="1281" y="1119"/>
                  </a:lnTo>
                  <a:lnTo>
                    <a:pt x="1271" y="1116"/>
                  </a:lnTo>
                  <a:lnTo>
                    <a:pt x="1269" y="1119"/>
                  </a:lnTo>
                  <a:lnTo>
                    <a:pt x="1269" y="1121"/>
                  </a:lnTo>
                  <a:lnTo>
                    <a:pt x="1267" y="1121"/>
                  </a:lnTo>
                  <a:lnTo>
                    <a:pt x="1267" y="1123"/>
                  </a:lnTo>
                  <a:lnTo>
                    <a:pt x="1264" y="1126"/>
                  </a:lnTo>
                  <a:lnTo>
                    <a:pt x="1264" y="1128"/>
                  </a:lnTo>
                  <a:lnTo>
                    <a:pt x="1267" y="1128"/>
                  </a:lnTo>
                  <a:lnTo>
                    <a:pt x="1264" y="1135"/>
                  </a:lnTo>
                  <a:lnTo>
                    <a:pt x="1264" y="1138"/>
                  </a:lnTo>
                  <a:lnTo>
                    <a:pt x="1267" y="1138"/>
                  </a:lnTo>
                  <a:lnTo>
                    <a:pt x="1267" y="1140"/>
                  </a:lnTo>
                  <a:lnTo>
                    <a:pt x="1267" y="1142"/>
                  </a:lnTo>
                  <a:lnTo>
                    <a:pt x="1264" y="1142"/>
                  </a:lnTo>
                  <a:lnTo>
                    <a:pt x="1267" y="1142"/>
                  </a:lnTo>
                  <a:lnTo>
                    <a:pt x="1267" y="1145"/>
                  </a:lnTo>
                  <a:lnTo>
                    <a:pt x="1269" y="1145"/>
                  </a:lnTo>
                  <a:lnTo>
                    <a:pt x="1269" y="1147"/>
                  </a:lnTo>
                  <a:lnTo>
                    <a:pt x="1267" y="1147"/>
                  </a:lnTo>
                  <a:lnTo>
                    <a:pt x="1269" y="1147"/>
                  </a:lnTo>
                  <a:lnTo>
                    <a:pt x="1269" y="1150"/>
                  </a:lnTo>
                  <a:lnTo>
                    <a:pt x="1267" y="1150"/>
                  </a:lnTo>
                  <a:lnTo>
                    <a:pt x="1264" y="1150"/>
                  </a:lnTo>
                  <a:lnTo>
                    <a:pt x="1267" y="1150"/>
                  </a:lnTo>
                  <a:lnTo>
                    <a:pt x="1267" y="1147"/>
                  </a:lnTo>
                  <a:lnTo>
                    <a:pt x="1264" y="1147"/>
                  </a:lnTo>
                  <a:lnTo>
                    <a:pt x="1264" y="1150"/>
                  </a:lnTo>
                  <a:lnTo>
                    <a:pt x="1262" y="1150"/>
                  </a:lnTo>
                  <a:lnTo>
                    <a:pt x="1259" y="1154"/>
                  </a:lnTo>
                  <a:lnTo>
                    <a:pt x="1257" y="1154"/>
                  </a:lnTo>
                  <a:lnTo>
                    <a:pt x="1257" y="1157"/>
                  </a:lnTo>
                  <a:lnTo>
                    <a:pt x="1255" y="1157"/>
                  </a:lnTo>
                  <a:lnTo>
                    <a:pt x="1252" y="1157"/>
                  </a:lnTo>
                  <a:lnTo>
                    <a:pt x="1250" y="1159"/>
                  </a:lnTo>
                  <a:lnTo>
                    <a:pt x="1248" y="1159"/>
                  </a:lnTo>
                  <a:lnTo>
                    <a:pt x="1248" y="1157"/>
                  </a:lnTo>
                  <a:lnTo>
                    <a:pt x="1245" y="1157"/>
                  </a:lnTo>
                  <a:lnTo>
                    <a:pt x="1243" y="1157"/>
                  </a:lnTo>
                  <a:lnTo>
                    <a:pt x="1240" y="1159"/>
                  </a:lnTo>
                  <a:lnTo>
                    <a:pt x="1240" y="1161"/>
                  </a:lnTo>
                  <a:lnTo>
                    <a:pt x="1243" y="1164"/>
                  </a:lnTo>
                  <a:lnTo>
                    <a:pt x="1243" y="1166"/>
                  </a:lnTo>
                  <a:lnTo>
                    <a:pt x="1243" y="1169"/>
                  </a:lnTo>
                  <a:lnTo>
                    <a:pt x="1245" y="1169"/>
                  </a:lnTo>
                  <a:lnTo>
                    <a:pt x="1248" y="1169"/>
                  </a:lnTo>
                  <a:lnTo>
                    <a:pt x="1248" y="1171"/>
                  </a:lnTo>
                  <a:lnTo>
                    <a:pt x="1245" y="1173"/>
                  </a:lnTo>
                  <a:lnTo>
                    <a:pt x="1248" y="1173"/>
                  </a:lnTo>
                  <a:lnTo>
                    <a:pt x="1245" y="1173"/>
                  </a:lnTo>
                  <a:lnTo>
                    <a:pt x="1245" y="1176"/>
                  </a:lnTo>
                  <a:lnTo>
                    <a:pt x="1245" y="1178"/>
                  </a:lnTo>
                  <a:lnTo>
                    <a:pt x="1245" y="1180"/>
                  </a:lnTo>
                  <a:lnTo>
                    <a:pt x="1243" y="1183"/>
                  </a:lnTo>
                  <a:lnTo>
                    <a:pt x="1243" y="1185"/>
                  </a:lnTo>
                  <a:lnTo>
                    <a:pt x="1245" y="1185"/>
                  </a:lnTo>
                  <a:lnTo>
                    <a:pt x="1245" y="1188"/>
                  </a:lnTo>
                  <a:lnTo>
                    <a:pt x="1248" y="1188"/>
                  </a:lnTo>
                  <a:lnTo>
                    <a:pt x="1248" y="1190"/>
                  </a:lnTo>
                  <a:lnTo>
                    <a:pt x="1245" y="1190"/>
                  </a:lnTo>
                  <a:lnTo>
                    <a:pt x="1248" y="1190"/>
                  </a:lnTo>
                  <a:lnTo>
                    <a:pt x="1248" y="1192"/>
                  </a:lnTo>
                  <a:lnTo>
                    <a:pt x="1250" y="1192"/>
                  </a:lnTo>
                  <a:lnTo>
                    <a:pt x="1250" y="1195"/>
                  </a:lnTo>
                  <a:lnTo>
                    <a:pt x="1248" y="1197"/>
                  </a:lnTo>
                  <a:lnTo>
                    <a:pt x="1250" y="1197"/>
                  </a:lnTo>
                  <a:lnTo>
                    <a:pt x="1250" y="1199"/>
                  </a:lnTo>
                  <a:lnTo>
                    <a:pt x="1252" y="1199"/>
                  </a:lnTo>
                  <a:lnTo>
                    <a:pt x="1255" y="1199"/>
                  </a:lnTo>
                  <a:lnTo>
                    <a:pt x="1255" y="1197"/>
                  </a:lnTo>
                  <a:lnTo>
                    <a:pt x="1257" y="1197"/>
                  </a:lnTo>
                  <a:lnTo>
                    <a:pt x="1259" y="1197"/>
                  </a:lnTo>
                  <a:lnTo>
                    <a:pt x="1262" y="1197"/>
                  </a:lnTo>
                  <a:lnTo>
                    <a:pt x="1264" y="1199"/>
                  </a:lnTo>
                  <a:lnTo>
                    <a:pt x="1267" y="1197"/>
                  </a:lnTo>
                  <a:lnTo>
                    <a:pt x="1267" y="1199"/>
                  </a:lnTo>
                  <a:lnTo>
                    <a:pt x="1269" y="1197"/>
                  </a:lnTo>
                  <a:lnTo>
                    <a:pt x="1271" y="1197"/>
                  </a:lnTo>
                  <a:lnTo>
                    <a:pt x="1274" y="1197"/>
                  </a:lnTo>
                  <a:lnTo>
                    <a:pt x="1274" y="1199"/>
                  </a:lnTo>
                  <a:lnTo>
                    <a:pt x="1276" y="1199"/>
                  </a:lnTo>
                  <a:lnTo>
                    <a:pt x="1276" y="1197"/>
                  </a:lnTo>
                  <a:lnTo>
                    <a:pt x="1278" y="1197"/>
                  </a:lnTo>
                  <a:lnTo>
                    <a:pt x="1278" y="1199"/>
                  </a:lnTo>
                  <a:lnTo>
                    <a:pt x="1276" y="1199"/>
                  </a:lnTo>
                  <a:lnTo>
                    <a:pt x="1278" y="1199"/>
                  </a:lnTo>
                  <a:lnTo>
                    <a:pt x="1281" y="1197"/>
                  </a:lnTo>
                  <a:lnTo>
                    <a:pt x="1283" y="1197"/>
                  </a:lnTo>
                  <a:lnTo>
                    <a:pt x="1283" y="1195"/>
                  </a:lnTo>
                  <a:lnTo>
                    <a:pt x="1286" y="1195"/>
                  </a:lnTo>
                  <a:lnTo>
                    <a:pt x="1286" y="1197"/>
                  </a:lnTo>
                  <a:lnTo>
                    <a:pt x="1288" y="1197"/>
                  </a:lnTo>
                  <a:lnTo>
                    <a:pt x="1290" y="1197"/>
                  </a:lnTo>
                  <a:lnTo>
                    <a:pt x="1290" y="1199"/>
                  </a:lnTo>
                  <a:lnTo>
                    <a:pt x="1293" y="1199"/>
                  </a:lnTo>
                  <a:lnTo>
                    <a:pt x="1295" y="1199"/>
                  </a:lnTo>
                  <a:lnTo>
                    <a:pt x="1295" y="1202"/>
                  </a:lnTo>
                  <a:lnTo>
                    <a:pt x="1297" y="1202"/>
                  </a:lnTo>
                  <a:lnTo>
                    <a:pt x="1297" y="1199"/>
                  </a:lnTo>
                  <a:lnTo>
                    <a:pt x="1300" y="1197"/>
                  </a:lnTo>
                  <a:lnTo>
                    <a:pt x="1300" y="1195"/>
                  </a:lnTo>
                  <a:lnTo>
                    <a:pt x="1300" y="1197"/>
                  </a:lnTo>
                  <a:lnTo>
                    <a:pt x="1302" y="1197"/>
                  </a:lnTo>
                  <a:lnTo>
                    <a:pt x="1305" y="1197"/>
                  </a:lnTo>
                  <a:lnTo>
                    <a:pt x="1307" y="1197"/>
                  </a:lnTo>
                  <a:lnTo>
                    <a:pt x="1307" y="1195"/>
                  </a:lnTo>
                  <a:lnTo>
                    <a:pt x="1309" y="1197"/>
                  </a:lnTo>
                  <a:lnTo>
                    <a:pt x="1309" y="1195"/>
                  </a:lnTo>
                  <a:lnTo>
                    <a:pt x="1309" y="1197"/>
                  </a:lnTo>
                  <a:lnTo>
                    <a:pt x="1309" y="1199"/>
                  </a:lnTo>
                  <a:lnTo>
                    <a:pt x="1309" y="1202"/>
                  </a:lnTo>
                  <a:lnTo>
                    <a:pt x="1307" y="1202"/>
                  </a:lnTo>
                  <a:lnTo>
                    <a:pt x="1305" y="1202"/>
                  </a:lnTo>
                  <a:lnTo>
                    <a:pt x="1305" y="1204"/>
                  </a:lnTo>
                  <a:lnTo>
                    <a:pt x="1305" y="1207"/>
                  </a:lnTo>
                  <a:lnTo>
                    <a:pt x="1307" y="1207"/>
                  </a:lnTo>
                  <a:lnTo>
                    <a:pt x="1307" y="1209"/>
                  </a:lnTo>
                  <a:lnTo>
                    <a:pt x="1305" y="1209"/>
                  </a:lnTo>
                  <a:lnTo>
                    <a:pt x="1305" y="1211"/>
                  </a:lnTo>
                  <a:lnTo>
                    <a:pt x="1307" y="1211"/>
                  </a:lnTo>
                  <a:lnTo>
                    <a:pt x="1305" y="1214"/>
                  </a:lnTo>
                  <a:lnTo>
                    <a:pt x="1302" y="1214"/>
                  </a:lnTo>
                  <a:lnTo>
                    <a:pt x="1305" y="1214"/>
                  </a:lnTo>
                  <a:lnTo>
                    <a:pt x="1307" y="1214"/>
                  </a:lnTo>
                  <a:lnTo>
                    <a:pt x="1309" y="1216"/>
                  </a:lnTo>
                  <a:lnTo>
                    <a:pt x="1309" y="1218"/>
                  </a:lnTo>
                  <a:lnTo>
                    <a:pt x="1307" y="1218"/>
                  </a:lnTo>
                  <a:lnTo>
                    <a:pt x="1309" y="1218"/>
                  </a:lnTo>
                  <a:lnTo>
                    <a:pt x="1309" y="1221"/>
                  </a:lnTo>
                  <a:lnTo>
                    <a:pt x="1309" y="1223"/>
                  </a:lnTo>
                  <a:lnTo>
                    <a:pt x="1307" y="1223"/>
                  </a:lnTo>
                  <a:lnTo>
                    <a:pt x="1307" y="1226"/>
                  </a:lnTo>
                  <a:lnTo>
                    <a:pt x="1309" y="1223"/>
                  </a:lnTo>
                  <a:lnTo>
                    <a:pt x="1312" y="1223"/>
                  </a:lnTo>
                  <a:lnTo>
                    <a:pt x="1314" y="1223"/>
                  </a:lnTo>
                  <a:lnTo>
                    <a:pt x="1314" y="1226"/>
                  </a:lnTo>
                  <a:lnTo>
                    <a:pt x="1316" y="1226"/>
                  </a:lnTo>
                  <a:lnTo>
                    <a:pt x="1319" y="1226"/>
                  </a:lnTo>
                  <a:lnTo>
                    <a:pt x="1319" y="1223"/>
                  </a:lnTo>
                  <a:lnTo>
                    <a:pt x="1319" y="1226"/>
                  </a:lnTo>
                  <a:lnTo>
                    <a:pt x="1321" y="1226"/>
                  </a:lnTo>
                  <a:lnTo>
                    <a:pt x="1319" y="1226"/>
                  </a:lnTo>
                  <a:lnTo>
                    <a:pt x="1319" y="1228"/>
                  </a:lnTo>
                  <a:lnTo>
                    <a:pt x="1316" y="1228"/>
                  </a:lnTo>
                  <a:lnTo>
                    <a:pt x="1316" y="1230"/>
                  </a:lnTo>
                  <a:lnTo>
                    <a:pt x="1314" y="1230"/>
                  </a:lnTo>
                  <a:lnTo>
                    <a:pt x="1312" y="1230"/>
                  </a:lnTo>
                  <a:lnTo>
                    <a:pt x="1309" y="1230"/>
                  </a:lnTo>
                  <a:lnTo>
                    <a:pt x="1307" y="1230"/>
                  </a:lnTo>
                  <a:lnTo>
                    <a:pt x="1305" y="1230"/>
                  </a:lnTo>
                  <a:lnTo>
                    <a:pt x="1305" y="1233"/>
                  </a:lnTo>
                  <a:lnTo>
                    <a:pt x="1305" y="1235"/>
                  </a:lnTo>
                  <a:lnTo>
                    <a:pt x="1305" y="1237"/>
                  </a:lnTo>
                  <a:lnTo>
                    <a:pt x="1302" y="1237"/>
                  </a:lnTo>
                  <a:lnTo>
                    <a:pt x="1302" y="1240"/>
                  </a:lnTo>
                  <a:lnTo>
                    <a:pt x="1302" y="1237"/>
                  </a:lnTo>
                  <a:lnTo>
                    <a:pt x="1302" y="1240"/>
                  </a:lnTo>
                  <a:lnTo>
                    <a:pt x="1300" y="1240"/>
                  </a:lnTo>
                  <a:lnTo>
                    <a:pt x="1300" y="1242"/>
                  </a:lnTo>
                  <a:lnTo>
                    <a:pt x="1297" y="1242"/>
                  </a:lnTo>
                  <a:lnTo>
                    <a:pt x="1297" y="1240"/>
                  </a:lnTo>
                  <a:lnTo>
                    <a:pt x="1297" y="1237"/>
                  </a:lnTo>
                  <a:lnTo>
                    <a:pt x="1295" y="1237"/>
                  </a:lnTo>
                  <a:lnTo>
                    <a:pt x="1293" y="1237"/>
                  </a:lnTo>
                  <a:lnTo>
                    <a:pt x="1293" y="1240"/>
                  </a:lnTo>
                  <a:lnTo>
                    <a:pt x="1295" y="1240"/>
                  </a:lnTo>
                  <a:lnTo>
                    <a:pt x="1297" y="1240"/>
                  </a:lnTo>
                  <a:lnTo>
                    <a:pt x="1297" y="1242"/>
                  </a:lnTo>
                  <a:lnTo>
                    <a:pt x="1295" y="1242"/>
                  </a:lnTo>
                  <a:lnTo>
                    <a:pt x="1295" y="1240"/>
                  </a:lnTo>
                  <a:lnTo>
                    <a:pt x="1293" y="1240"/>
                  </a:lnTo>
                  <a:lnTo>
                    <a:pt x="1290" y="1240"/>
                  </a:lnTo>
                  <a:lnTo>
                    <a:pt x="1288" y="1242"/>
                  </a:lnTo>
                  <a:lnTo>
                    <a:pt x="1290" y="1245"/>
                  </a:lnTo>
                  <a:lnTo>
                    <a:pt x="1290" y="1247"/>
                  </a:lnTo>
                  <a:lnTo>
                    <a:pt x="1288" y="1247"/>
                  </a:lnTo>
                  <a:lnTo>
                    <a:pt x="1288" y="1245"/>
                  </a:lnTo>
                  <a:lnTo>
                    <a:pt x="1286" y="1245"/>
                  </a:lnTo>
                  <a:lnTo>
                    <a:pt x="1286" y="1247"/>
                  </a:lnTo>
                  <a:lnTo>
                    <a:pt x="1288" y="1247"/>
                  </a:lnTo>
                  <a:lnTo>
                    <a:pt x="1288" y="1249"/>
                  </a:lnTo>
                  <a:lnTo>
                    <a:pt x="1290" y="1249"/>
                  </a:lnTo>
                  <a:lnTo>
                    <a:pt x="1293" y="1252"/>
                  </a:lnTo>
                  <a:lnTo>
                    <a:pt x="1290" y="1252"/>
                  </a:lnTo>
                  <a:lnTo>
                    <a:pt x="1293" y="1252"/>
                  </a:lnTo>
                  <a:lnTo>
                    <a:pt x="1293" y="1254"/>
                  </a:lnTo>
                  <a:lnTo>
                    <a:pt x="1290" y="1254"/>
                  </a:lnTo>
                  <a:lnTo>
                    <a:pt x="1290" y="1256"/>
                  </a:lnTo>
                  <a:lnTo>
                    <a:pt x="1288" y="1256"/>
                  </a:lnTo>
                  <a:lnTo>
                    <a:pt x="1286" y="1256"/>
                  </a:lnTo>
                  <a:lnTo>
                    <a:pt x="1283" y="1256"/>
                  </a:lnTo>
                  <a:lnTo>
                    <a:pt x="1283" y="1254"/>
                  </a:lnTo>
                  <a:lnTo>
                    <a:pt x="1281" y="1254"/>
                  </a:lnTo>
                  <a:lnTo>
                    <a:pt x="1281" y="1252"/>
                  </a:lnTo>
                  <a:lnTo>
                    <a:pt x="1278" y="1249"/>
                  </a:lnTo>
                  <a:lnTo>
                    <a:pt x="1278" y="1247"/>
                  </a:lnTo>
                  <a:lnTo>
                    <a:pt x="1276" y="1247"/>
                  </a:lnTo>
                  <a:lnTo>
                    <a:pt x="1274" y="1247"/>
                  </a:lnTo>
                  <a:lnTo>
                    <a:pt x="1271" y="1247"/>
                  </a:lnTo>
                  <a:lnTo>
                    <a:pt x="1271" y="1249"/>
                  </a:lnTo>
                  <a:lnTo>
                    <a:pt x="1269" y="1249"/>
                  </a:lnTo>
                  <a:lnTo>
                    <a:pt x="1271" y="1249"/>
                  </a:lnTo>
                  <a:lnTo>
                    <a:pt x="1271" y="1252"/>
                  </a:lnTo>
                  <a:lnTo>
                    <a:pt x="1271" y="1249"/>
                  </a:lnTo>
                  <a:lnTo>
                    <a:pt x="1271" y="1252"/>
                  </a:lnTo>
                  <a:lnTo>
                    <a:pt x="1271" y="1254"/>
                  </a:lnTo>
                  <a:lnTo>
                    <a:pt x="1269" y="1254"/>
                  </a:lnTo>
                  <a:lnTo>
                    <a:pt x="1269" y="1256"/>
                  </a:lnTo>
                  <a:lnTo>
                    <a:pt x="1271" y="1256"/>
                  </a:lnTo>
                  <a:lnTo>
                    <a:pt x="1269" y="1256"/>
                  </a:lnTo>
                  <a:lnTo>
                    <a:pt x="1269" y="1259"/>
                  </a:lnTo>
                  <a:lnTo>
                    <a:pt x="1267" y="1259"/>
                  </a:lnTo>
                  <a:lnTo>
                    <a:pt x="1264" y="1259"/>
                  </a:lnTo>
                  <a:lnTo>
                    <a:pt x="1264" y="1256"/>
                  </a:lnTo>
                  <a:lnTo>
                    <a:pt x="1267" y="1256"/>
                  </a:lnTo>
                  <a:lnTo>
                    <a:pt x="1267" y="1254"/>
                  </a:lnTo>
                  <a:lnTo>
                    <a:pt x="1267" y="1252"/>
                  </a:lnTo>
                  <a:lnTo>
                    <a:pt x="1267" y="1249"/>
                  </a:lnTo>
                  <a:lnTo>
                    <a:pt x="1264" y="1249"/>
                  </a:lnTo>
                  <a:lnTo>
                    <a:pt x="1267" y="1249"/>
                  </a:lnTo>
                  <a:lnTo>
                    <a:pt x="1267" y="1247"/>
                  </a:lnTo>
                  <a:lnTo>
                    <a:pt x="1264" y="1247"/>
                  </a:lnTo>
                  <a:lnTo>
                    <a:pt x="1267" y="1247"/>
                  </a:lnTo>
                  <a:lnTo>
                    <a:pt x="1269" y="1247"/>
                  </a:lnTo>
                  <a:lnTo>
                    <a:pt x="1269" y="1245"/>
                  </a:lnTo>
                  <a:lnTo>
                    <a:pt x="1271" y="1245"/>
                  </a:lnTo>
                  <a:lnTo>
                    <a:pt x="1269" y="1245"/>
                  </a:lnTo>
                  <a:lnTo>
                    <a:pt x="1267" y="1242"/>
                  </a:lnTo>
                  <a:lnTo>
                    <a:pt x="1267" y="1240"/>
                  </a:lnTo>
                  <a:lnTo>
                    <a:pt x="1264" y="1240"/>
                  </a:lnTo>
                  <a:lnTo>
                    <a:pt x="1262" y="1240"/>
                  </a:lnTo>
                  <a:lnTo>
                    <a:pt x="1257" y="1240"/>
                  </a:lnTo>
                  <a:lnTo>
                    <a:pt x="1255" y="1240"/>
                  </a:lnTo>
                  <a:lnTo>
                    <a:pt x="1252" y="1240"/>
                  </a:lnTo>
                  <a:lnTo>
                    <a:pt x="1250" y="1237"/>
                  </a:lnTo>
                  <a:lnTo>
                    <a:pt x="1248" y="1237"/>
                  </a:lnTo>
                  <a:lnTo>
                    <a:pt x="1248" y="1240"/>
                  </a:lnTo>
                  <a:lnTo>
                    <a:pt x="1245" y="1240"/>
                  </a:lnTo>
                  <a:lnTo>
                    <a:pt x="1243" y="1240"/>
                  </a:lnTo>
                  <a:lnTo>
                    <a:pt x="1243" y="1242"/>
                  </a:lnTo>
                  <a:lnTo>
                    <a:pt x="1240" y="1242"/>
                  </a:lnTo>
                  <a:lnTo>
                    <a:pt x="1240" y="1245"/>
                  </a:lnTo>
                  <a:lnTo>
                    <a:pt x="1240" y="1242"/>
                  </a:lnTo>
                  <a:lnTo>
                    <a:pt x="1240" y="1245"/>
                  </a:lnTo>
                  <a:lnTo>
                    <a:pt x="1240" y="1247"/>
                  </a:lnTo>
                  <a:lnTo>
                    <a:pt x="1238" y="1249"/>
                  </a:lnTo>
                  <a:lnTo>
                    <a:pt x="1238" y="1252"/>
                  </a:lnTo>
                  <a:lnTo>
                    <a:pt x="1238" y="1254"/>
                  </a:lnTo>
                  <a:lnTo>
                    <a:pt x="1240" y="1254"/>
                  </a:lnTo>
                  <a:lnTo>
                    <a:pt x="1238" y="1254"/>
                  </a:lnTo>
                  <a:lnTo>
                    <a:pt x="1238" y="1256"/>
                  </a:lnTo>
                  <a:lnTo>
                    <a:pt x="1240" y="1256"/>
                  </a:lnTo>
                  <a:lnTo>
                    <a:pt x="1240" y="1259"/>
                  </a:lnTo>
                  <a:lnTo>
                    <a:pt x="1238" y="1261"/>
                  </a:lnTo>
                  <a:lnTo>
                    <a:pt x="1238" y="1264"/>
                  </a:lnTo>
                  <a:lnTo>
                    <a:pt x="1240" y="1266"/>
                  </a:lnTo>
                  <a:lnTo>
                    <a:pt x="1243" y="1268"/>
                  </a:lnTo>
                  <a:lnTo>
                    <a:pt x="1245" y="1268"/>
                  </a:lnTo>
                  <a:lnTo>
                    <a:pt x="1248" y="1268"/>
                  </a:lnTo>
                  <a:lnTo>
                    <a:pt x="1248" y="1271"/>
                  </a:lnTo>
                  <a:lnTo>
                    <a:pt x="1250" y="1271"/>
                  </a:lnTo>
                  <a:lnTo>
                    <a:pt x="1248" y="1271"/>
                  </a:lnTo>
                  <a:lnTo>
                    <a:pt x="1250" y="1273"/>
                  </a:lnTo>
                  <a:lnTo>
                    <a:pt x="1252" y="1271"/>
                  </a:lnTo>
                  <a:lnTo>
                    <a:pt x="1252" y="1273"/>
                  </a:lnTo>
                  <a:lnTo>
                    <a:pt x="1255" y="1275"/>
                  </a:lnTo>
                  <a:lnTo>
                    <a:pt x="1257" y="1275"/>
                  </a:lnTo>
                  <a:lnTo>
                    <a:pt x="1257" y="1278"/>
                  </a:lnTo>
                  <a:lnTo>
                    <a:pt x="1257" y="1280"/>
                  </a:lnTo>
                  <a:lnTo>
                    <a:pt x="1259" y="1280"/>
                  </a:lnTo>
                  <a:lnTo>
                    <a:pt x="1262" y="1283"/>
                  </a:lnTo>
                  <a:lnTo>
                    <a:pt x="1262" y="1285"/>
                  </a:lnTo>
                  <a:lnTo>
                    <a:pt x="1264" y="1285"/>
                  </a:lnTo>
                  <a:lnTo>
                    <a:pt x="1267" y="1285"/>
                  </a:lnTo>
                  <a:lnTo>
                    <a:pt x="1269" y="1283"/>
                  </a:lnTo>
                  <a:lnTo>
                    <a:pt x="1271" y="1280"/>
                  </a:lnTo>
                  <a:lnTo>
                    <a:pt x="1274" y="1280"/>
                  </a:lnTo>
                  <a:lnTo>
                    <a:pt x="1276" y="1278"/>
                  </a:lnTo>
                  <a:lnTo>
                    <a:pt x="1278" y="1278"/>
                  </a:lnTo>
                  <a:lnTo>
                    <a:pt x="1281" y="1278"/>
                  </a:lnTo>
                  <a:lnTo>
                    <a:pt x="1283" y="1280"/>
                  </a:lnTo>
                  <a:lnTo>
                    <a:pt x="1283" y="1283"/>
                  </a:lnTo>
                  <a:lnTo>
                    <a:pt x="1286" y="1283"/>
                  </a:lnTo>
                  <a:lnTo>
                    <a:pt x="1290" y="1280"/>
                  </a:lnTo>
                  <a:lnTo>
                    <a:pt x="1290" y="1278"/>
                  </a:lnTo>
                  <a:lnTo>
                    <a:pt x="1293" y="1278"/>
                  </a:lnTo>
                  <a:lnTo>
                    <a:pt x="1295" y="1278"/>
                  </a:lnTo>
                  <a:lnTo>
                    <a:pt x="1295" y="1275"/>
                  </a:lnTo>
                  <a:lnTo>
                    <a:pt x="1297" y="1275"/>
                  </a:lnTo>
                  <a:lnTo>
                    <a:pt x="1300" y="1273"/>
                  </a:lnTo>
                  <a:lnTo>
                    <a:pt x="1302" y="1273"/>
                  </a:lnTo>
                  <a:lnTo>
                    <a:pt x="1305" y="1273"/>
                  </a:lnTo>
                  <a:lnTo>
                    <a:pt x="1307" y="1273"/>
                  </a:lnTo>
                  <a:lnTo>
                    <a:pt x="1307" y="1275"/>
                  </a:lnTo>
                  <a:lnTo>
                    <a:pt x="1309" y="1273"/>
                  </a:lnTo>
                  <a:lnTo>
                    <a:pt x="1309" y="1271"/>
                  </a:lnTo>
                  <a:lnTo>
                    <a:pt x="1312" y="1268"/>
                  </a:lnTo>
                  <a:lnTo>
                    <a:pt x="1314" y="1268"/>
                  </a:lnTo>
                  <a:lnTo>
                    <a:pt x="1314" y="1266"/>
                  </a:lnTo>
                  <a:lnTo>
                    <a:pt x="1316" y="1266"/>
                  </a:lnTo>
                  <a:lnTo>
                    <a:pt x="1316" y="1264"/>
                  </a:lnTo>
                  <a:lnTo>
                    <a:pt x="1316" y="1261"/>
                  </a:lnTo>
                  <a:lnTo>
                    <a:pt x="1319" y="1261"/>
                  </a:lnTo>
                  <a:lnTo>
                    <a:pt x="1319" y="1259"/>
                  </a:lnTo>
                  <a:lnTo>
                    <a:pt x="1321" y="1259"/>
                  </a:lnTo>
                  <a:lnTo>
                    <a:pt x="1321" y="1261"/>
                  </a:lnTo>
                  <a:lnTo>
                    <a:pt x="1324" y="1261"/>
                  </a:lnTo>
                  <a:lnTo>
                    <a:pt x="1326" y="1261"/>
                  </a:lnTo>
                  <a:lnTo>
                    <a:pt x="1326" y="1264"/>
                  </a:lnTo>
                  <a:lnTo>
                    <a:pt x="1328" y="1264"/>
                  </a:lnTo>
                  <a:lnTo>
                    <a:pt x="1328" y="1261"/>
                  </a:lnTo>
                  <a:lnTo>
                    <a:pt x="1331" y="1261"/>
                  </a:lnTo>
                  <a:lnTo>
                    <a:pt x="1331" y="1264"/>
                  </a:lnTo>
                  <a:lnTo>
                    <a:pt x="1328" y="1266"/>
                  </a:lnTo>
                  <a:lnTo>
                    <a:pt x="1331" y="1266"/>
                  </a:lnTo>
                  <a:lnTo>
                    <a:pt x="1331" y="1268"/>
                  </a:lnTo>
                  <a:lnTo>
                    <a:pt x="1328" y="1268"/>
                  </a:lnTo>
                  <a:lnTo>
                    <a:pt x="1328" y="1271"/>
                  </a:lnTo>
                  <a:lnTo>
                    <a:pt x="1328" y="1273"/>
                  </a:lnTo>
                  <a:lnTo>
                    <a:pt x="1326" y="1275"/>
                  </a:lnTo>
                  <a:lnTo>
                    <a:pt x="1324" y="1278"/>
                  </a:lnTo>
                  <a:lnTo>
                    <a:pt x="1321" y="1278"/>
                  </a:lnTo>
                  <a:lnTo>
                    <a:pt x="1321" y="1280"/>
                  </a:lnTo>
                  <a:lnTo>
                    <a:pt x="1321" y="1283"/>
                  </a:lnTo>
                  <a:lnTo>
                    <a:pt x="1324" y="1283"/>
                  </a:lnTo>
                  <a:lnTo>
                    <a:pt x="1324" y="1285"/>
                  </a:lnTo>
                  <a:lnTo>
                    <a:pt x="1324" y="1287"/>
                  </a:lnTo>
                  <a:lnTo>
                    <a:pt x="1321" y="1287"/>
                  </a:lnTo>
                  <a:lnTo>
                    <a:pt x="1324" y="1290"/>
                  </a:lnTo>
                  <a:lnTo>
                    <a:pt x="1324" y="1292"/>
                  </a:lnTo>
                  <a:lnTo>
                    <a:pt x="1326" y="1292"/>
                  </a:lnTo>
                  <a:lnTo>
                    <a:pt x="1324" y="1294"/>
                  </a:lnTo>
                  <a:lnTo>
                    <a:pt x="1321" y="1297"/>
                  </a:lnTo>
                  <a:lnTo>
                    <a:pt x="1321" y="1299"/>
                  </a:lnTo>
                  <a:lnTo>
                    <a:pt x="1321" y="1297"/>
                  </a:lnTo>
                  <a:lnTo>
                    <a:pt x="1319" y="1297"/>
                  </a:lnTo>
                  <a:lnTo>
                    <a:pt x="1316" y="1297"/>
                  </a:lnTo>
                  <a:lnTo>
                    <a:pt x="1314" y="1297"/>
                  </a:lnTo>
                  <a:lnTo>
                    <a:pt x="1312" y="1297"/>
                  </a:lnTo>
                  <a:lnTo>
                    <a:pt x="1309" y="1297"/>
                  </a:lnTo>
                  <a:lnTo>
                    <a:pt x="1307" y="1299"/>
                  </a:lnTo>
                  <a:lnTo>
                    <a:pt x="1307" y="1302"/>
                  </a:lnTo>
                  <a:lnTo>
                    <a:pt x="1305" y="1304"/>
                  </a:lnTo>
                  <a:lnTo>
                    <a:pt x="1305" y="1306"/>
                  </a:lnTo>
                  <a:lnTo>
                    <a:pt x="1302" y="1306"/>
                  </a:lnTo>
                  <a:lnTo>
                    <a:pt x="1302" y="1309"/>
                  </a:lnTo>
                  <a:lnTo>
                    <a:pt x="1302" y="1306"/>
                  </a:lnTo>
                  <a:lnTo>
                    <a:pt x="1300" y="1306"/>
                  </a:lnTo>
                  <a:lnTo>
                    <a:pt x="1300" y="1309"/>
                  </a:lnTo>
                  <a:lnTo>
                    <a:pt x="1297" y="1306"/>
                  </a:lnTo>
                  <a:lnTo>
                    <a:pt x="1297" y="1309"/>
                  </a:lnTo>
                  <a:lnTo>
                    <a:pt x="1295" y="1309"/>
                  </a:lnTo>
                  <a:lnTo>
                    <a:pt x="1297" y="1311"/>
                  </a:lnTo>
                  <a:lnTo>
                    <a:pt x="1295" y="1311"/>
                  </a:lnTo>
                  <a:lnTo>
                    <a:pt x="1295" y="1313"/>
                  </a:lnTo>
                  <a:lnTo>
                    <a:pt x="1297" y="1316"/>
                  </a:lnTo>
                  <a:lnTo>
                    <a:pt x="1295" y="1316"/>
                  </a:lnTo>
                  <a:lnTo>
                    <a:pt x="1295" y="1318"/>
                  </a:lnTo>
                  <a:lnTo>
                    <a:pt x="1295" y="1321"/>
                  </a:lnTo>
                  <a:lnTo>
                    <a:pt x="1295" y="1323"/>
                  </a:lnTo>
                  <a:lnTo>
                    <a:pt x="1293" y="1325"/>
                  </a:lnTo>
                  <a:lnTo>
                    <a:pt x="1293" y="1328"/>
                  </a:lnTo>
                  <a:lnTo>
                    <a:pt x="1295" y="1328"/>
                  </a:lnTo>
                  <a:lnTo>
                    <a:pt x="1295" y="1330"/>
                  </a:lnTo>
                  <a:lnTo>
                    <a:pt x="1295" y="1337"/>
                  </a:lnTo>
                  <a:lnTo>
                    <a:pt x="1295" y="1340"/>
                  </a:lnTo>
                  <a:lnTo>
                    <a:pt x="1295" y="1342"/>
                  </a:lnTo>
                  <a:lnTo>
                    <a:pt x="1295" y="1344"/>
                  </a:lnTo>
                  <a:lnTo>
                    <a:pt x="1295" y="1351"/>
                  </a:lnTo>
                  <a:lnTo>
                    <a:pt x="1297" y="1354"/>
                  </a:lnTo>
                  <a:lnTo>
                    <a:pt x="1295" y="1354"/>
                  </a:lnTo>
                  <a:lnTo>
                    <a:pt x="1293" y="1354"/>
                  </a:lnTo>
                  <a:lnTo>
                    <a:pt x="1295" y="1359"/>
                  </a:lnTo>
                  <a:lnTo>
                    <a:pt x="1293" y="1359"/>
                  </a:lnTo>
                  <a:lnTo>
                    <a:pt x="1293" y="1361"/>
                  </a:lnTo>
                  <a:lnTo>
                    <a:pt x="1290" y="1361"/>
                  </a:lnTo>
                  <a:lnTo>
                    <a:pt x="1290" y="1363"/>
                  </a:lnTo>
                  <a:lnTo>
                    <a:pt x="1290" y="1366"/>
                  </a:lnTo>
                  <a:lnTo>
                    <a:pt x="1293" y="1368"/>
                  </a:lnTo>
                  <a:lnTo>
                    <a:pt x="1293" y="1370"/>
                  </a:lnTo>
                  <a:lnTo>
                    <a:pt x="1290" y="1370"/>
                  </a:lnTo>
                  <a:lnTo>
                    <a:pt x="1293" y="1370"/>
                  </a:lnTo>
                  <a:lnTo>
                    <a:pt x="1290" y="1370"/>
                  </a:lnTo>
                  <a:lnTo>
                    <a:pt x="1293" y="1370"/>
                  </a:lnTo>
                  <a:lnTo>
                    <a:pt x="1290" y="1370"/>
                  </a:lnTo>
                  <a:lnTo>
                    <a:pt x="1290" y="1373"/>
                  </a:lnTo>
                  <a:lnTo>
                    <a:pt x="1290" y="1375"/>
                  </a:lnTo>
                  <a:lnTo>
                    <a:pt x="1293" y="1375"/>
                  </a:lnTo>
                  <a:lnTo>
                    <a:pt x="1293" y="1378"/>
                  </a:lnTo>
                  <a:lnTo>
                    <a:pt x="1293" y="1380"/>
                  </a:lnTo>
                  <a:lnTo>
                    <a:pt x="1290" y="1380"/>
                  </a:lnTo>
                  <a:lnTo>
                    <a:pt x="1290" y="1382"/>
                  </a:lnTo>
                  <a:lnTo>
                    <a:pt x="1293" y="1382"/>
                  </a:lnTo>
                  <a:lnTo>
                    <a:pt x="1293" y="1385"/>
                  </a:lnTo>
                  <a:lnTo>
                    <a:pt x="1295" y="1385"/>
                  </a:lnTo>
                  <a:lnTo>
                    <a:pt x="1295" y="1382"/>
                  </a:lnTo>
                  <a:lnTo>
                    <a:pt x="1297" y="1382"/>
                  </a:lnTo>
                  <a:lnTo>
                    <a:pt x="1297" y="1385"/>
                  </a:lnTo>
                  <a:lnTo>
                    <a:pt x="1300" y="1385"/>
                  </a:lnTo>
                  <a:lnTo>
                    <a:pt x="1297" y="1385"/>
                  </a:lnTo>
                  <a:lnTo>
                    <a:pt x="1300" y="1385"/>
                  </a:lnTo>
                  <a:lnTo>
                    <a:pt x="1300" y="1387"/>
                  </a:lnTo>
                  <a:lnTo>
                    <a:pt x="1302" y="1389"/>
                  </a:lnTo>
                  <a:lnTo>
                    <a:pt x="1305" y="1392"/>
                  </a:lnTo>
                  <a:lnTo>
                    <a:pt x="1305" y="1389"/>
                  </a:lnTo>
                  <a:lnTo>
                    <a:pt x="1307" y="1389"/>
                  </a:lnTo>
                  <a:lnTo>
                    <a:pt x="1307" y="1387"/>
                  </a:lnTo>
                  <a:lnTo>
                    <a:pt x="1305" y="1385"/>
                  </a:lnTo>
                  <a:lnTo>
                    <a:pt x="1307" y="1385"/>
                  </a:lnTo>
                  <a:lnTo>
                    <a:pt x="1307" y="1382"/>
                  </a:lnTo>
                  <a:lnTo>
                    <a:pt x="1307" y="1380"/>
                  </a:lnTo>
                  <a:lnTo>
                    <a:pt x="1307" y="1382"/>
                  </a:lnTo>
                  <a:lnTo>
                    <a:pt x="1307" y="1380"/>
                  </a:lnTo>
                  <a:lnTo>
                    <a:pt x="1307" y="1382"/>
                  </a:lnTo>
                  <a:lnTo>
                    <a:pt x="1309" y="1380"/>
                  </a:lnTo>
                  <a:lnTo>
                    <a:pt x="1309" y="1382"/>
                  </a:lnTo>
                  <a:lnTo>
                    <a:pt x="1312" y="1382"/>
                  </a:lnTo>
                  <a:lnTo>
                    <a:pt x="1312" y="1380"/>
                  </a:lnTo>
                  <a:lnTo>
                    <a:pt x="1314" y="1382"/>
                  </a:lnTo>
                  <a:lnTo>
                    <a:pt x="1314" y="1385"/>
                  </a:lnTo>
                  <a:lnTo>
                    <a:pt x="1316" y="1385"/>
                  </a:lnTo>
                  <a:lnTo>
                    <a:pt x="1316" y="1382"/>
                  </a:lnTo>
                  <a:lnTo>
                    <a:pt x="1319" y="1382"/>
                  </a:lnTo>
                  <a:lnTo>
                    <a:pt x="1321" y="1382"/>
                  </a:lnTo>
                  <a:lnTo>
                    <a:pt x="1321" y="1385"/>
                  </a:lnTo>
                  <a:lnTo>
                    <a:pt x="1324" y="1385"/>
                  </a:lnTo>
                  <a:lnTo>
                    <a:pt x="1324" y="1382"/>
                  </a:lnTo>
                  <a:lnTo>
                    <a:pt x="1326" y="1380"/>
                  </a:lnTo>
                  <a:lnTo>
                    <a:pt x="1326" y="1382"/>
                  </a:lnTo>
                  <a:lnTo>
                    <a:pt x="1328" y="1382"/>
                  </a:lnTo>
                  <a:lnTo>
                    <a:pt x="1328" y="1385"/>
                  </a:lnTo>
                  <a:lnTo>
                    <a:pt x="1331" y="1385"/>
                  </a:lnTo>
                  <a:lnTo>
                    <a:pt x="1333" y="1385"/>
                  </a:lnTo>
                  <a:lnTo>
                    <a:pt x="1335" y="1385"/>
                  </a:lnTo>
                  <a:lnTo>
                    <a:pt x="1338" y="1385"/>
                  </a:lnTo>
                  <a:lnTo>
                    <a:pt x="1338" y="1387"/>
                  </a:lnTo>
                  <a:lnTo>
                    <a:pt x="1338" y="1389"/>
                  </a:lnTo>
                  <a:lnTo>
                    <a:pt x="1338" y="1392"/>
                  </a:lnTo>
                  <a:lnTo>
                    <a:pt x="1335" y="1392"/>
                  </a:lnTo>
                  <a:lnTo>
                    <a:pt x="1335" y="1394"/>
                  </a:lnTo>
                  <a:lnTo>
                    <a:pt x="1333" y="1394"/>
                  </a:lnTo>
                  <a:lnTo>
                    <a:pt x="1333" y="1397"/>
                  </a:lnTo>
                  <a:lnTo>
                    <a:pt x="1331" y="1397"/>
                  </a:lnTo>
                  <a:lnTo>
                    <a:pt x="1331" y="1399"/>
                  </a:lnTo>
                  <a:lnTo>
                    <a:pt x="1328" y="1399"/>
                  </a:lnTo>
                  <a:lnTo>
                    <a:pt x="1328" y="1401"/>
                  </a:lnTo>
                  <a:lnTo>
                    <a:pt x="1328" y="1404"/>
                  </a:lnTo>
                  <a:lnTo>
                    <a:pt x="1331" y="1404"/>
                  </a:lnTo>
                  <a:lnTo>
                    <a:pt x="1333" y="1406"/>
                  </a:lnTo>
                  <a:lnTo>
                    <a:pt x="1331" y="1406"/>
                  </a:lnTo>
                  <a:lnTo>
                    <a:pt x="1333" y="1408"/>
                  </a:lnTo>
                  <a:lnTo>
                    <a:pt x="1335" y="1411"/>
                  </a:lnTo>
                  <a:lnTo>
                    <a:pt x="1333" y="1411"/>
                  </a:lnTo>
                  <a:lnTo>
                    <a:pt x="1335" y="1411"/>
                  </a:lnTo>
                  <a:lnTo>
                    <a:pt x="1338" y="1411"/>
                  </a:lnTo>
                  <a:lnTo>
                    <a:pt x="1335" y="1411"/>
                  </a:lnTo>
                  <a:lnTo>
                    <a:pt x="1335" y="1408"/>
                  </a:lnTo>
                  <a:lnTo>
                    <a:pt x="1338" y="1411"/>
                  </a:lnTo>
                  <a:lnTo>
                    <a:pt x="1343" y="1413"/>
                  </a:lnTo>
                  <a:lnTo>
                    <a:pt x="1345" y="1416"/>
                  </a:lnTo>
                  <a:lnTo>
                    <a:pt x="1347" y="1416"/>
                  </a:lnTo>
                  <a:lnTo>
                    <a:pt x="1350" y="1416"/>
                  </a:lnTo>
                  <a:lnTo>
                    <a:pt x="1347" y="1416"/>
                  </a:lnTo>
                  <a:lnTo>
                    <a:pt x="1347" y="1418"/>
                  </a:lnTo>
                  <a:lnTo>
                    <a:pt x="1345" y="1418"/>
                  </a:lnTo>
                  <a:lnTo>
                    <a:pt x="1345" y="1420"/>
                  </a:lnTo>
                  <a:lnTo>
                    <a:pt x="1343" y="1420"/>
                  </a:lnTo>
                  <a:lnTo>
                    <a:pt x="1345" y="1420"/>
                  </a:lnTo>
                  <a:lnTo>
                    <a:pt x="1345" y="1423"/>
                  </a:lnTo>
                  <a:lnTo>
                    <a:pt x="1350" y="1423"/>
                  </a:lnTo>
                  <a:lnTo>
                    <a:pt x="1362" y="1423"/>
                  </a:lnTo>
                  <a:lnTo>
                    <a:pt x="1362" y="1425"/>
                  </a:lnTo>
                  <a:lnTo>
                    <a:pt x="1362" y="1427"/>
                  </a:lnTo>
                  <a:lnTo>
                    <a:pt x="1364" y="1427"/>
                  </a:lnTo>
                  <a:lnTo>
                    <a:pt x="1364" y="1430"/>
                  </a:lnTo>
                  <a:lnTo>
                    <a:pt x="1364" y="1432"/>
                  </a:lnTo>
                  <a:lnTo>
                    <a:pt x="1366" y="1432"/>
                  </a:lnTo>
                  <a:lnTo>
                    <a:pt x="1369" y="1432"/>
                  </a:lnTo>
                  <a:lnTo>
                    <a:pt x="1371" y="1432"/>
                  </a:lnTo>
                  <a:lnTo>
                    <a:pt x="1373" y="1432"/>
                  </a:lnTo>
                  <a:lnTo>
                    <a:pt x="1376" y="1432"/>
                  </a:lnTo>
                  <a:lnTo>
                    <a:pt x="1378" y="1432"/>
                  </a:lnTo>
                  <a:lnTo>
                    <a:pt x="1378" y="1435"/>
                  </a:lnTo>
                  <a:lnTo>
                    <a:pt x="1378" y="1432"/>
                  </a:lnTo>
                  <a:lnTo>
                    <a:pt x="1378" y="1435"/>
                  </a:lnTo>
                  <a:lnTo>
                    <a:pt x="1380" y="1435"/>
                  </a:lnTo>
                  <a:lnTo>
                    <a:pt x="1383" y="1437"/>
                  </a:lnTo>
                  <a:lnTo>
                    <a:pt x="1388" y="1442"/>
                  </a:lnTo>
                  <a:lnTo>
                    <a:pt x="1383" y="1442"/>
                  </a:lnTo>
                  <a:lnTo>
                    <a:pt x="1383" y="1451"/>
                  </a:lnTo>
                  <a:lnTo>
                    <a:pt x="1380" y="1456"/>
                  </a:lnTo>
                  <a:lnTo>
                    <a:pt x="1380" y="1463"/>
                  </a:lnTo>
                  <a:lnTo>
                    <a:pt x="1364" y="1468"/>
                  </a:lnTo>
                  <a:lnTo>
                    <a:pt x="1359" y="1470"/>
                  </a:lnTo>
                  <a:lnTo>
                    <a:pt x="1357" y="1470"/>
                  </a:lnTo>
                  <a:lnTo>
                    <a:pt x="1354" y="1470"/>
                  </a:lnTo>
                  <a:lnTo>
                    <a:pt x="1352" y="1470"/>
                  </a:lnTo>
                  <a:lnTo>
                    <a:pt x="1350" y="1470"/>
                  </a:lnTo>
                  <a:lnTo>
                    <a:pt x="1347" y="1470"/>
                  </a:lnTo>
                  <a:lnTo>
                    <a:pt x="1345" y="1470"/>
                  </a:lnTo>
                  <a:lnTo>
                    <a:pt x="1343" y="1470"/>
                  </a:lnTo>
                  <a:lnTo>
                    <a:pt x="1340" y="1468"/>
                  </a:lnTo>
                  <a:lnTo>
                    <a:pt x="1338" y="1463"/>
                  </a:lnTo>
                  <a:lnTo>
                    <a:pt x="1333" y="1461"/>
                  </a:lnTo>
                  <a:lnTo>
                    <a:pt x="1331" y="1463"/>
                  </a:lnTo>
                  <a:lnTo>
                    <a:pt x="1331" y="1465"/>
                  </a:lnTo>
                  <a:lnTo>
                    <a:pt x="1331" y="1468"/>
                  </a:lnTo>
                  <a:lnTo>
                    <a:pt x="1331" y="1470"/>
                  </a:lnTo>
                  <a:lnTo>
                    <a:pt x="1328" y="1473"/>
                  </a:lnTo>
                  <a:lnTo>
                    <a:pt x="1326" y="1477"/>
                  </a:lnTo>
                  <a:lnTo>
                    <a:pt x="1324" y="1477"/>
                  </a:lnTo>
                  <a:lnTo>
                    <a:pt x="1319" y="1477"/>
                  </a:lnTo>
                  <a:lnTo>
                    <a:pt x="1316" y="1477"/>
                  </a:lnTo>
                  <a:lnTo>
                    <a:pt x="1314" y="1477"/>
                  </a:lnTo>
                  <a:lnTo>
                    <a:pt x="1314" y="1475"/>
                  </a:lnTo>
                  <a:lnTo>
                    <a:pt x="1316" y="1475"/>
                  </a:lnTo>
                  <a:lnTo>
                    <a:pt x="1316" y="1473"/>
                  </a:lnTo>
                  <a:lnTo>
                    <a:pt x="1314" y="1473"/>
                  </a:lnTo>
                  <a:lnTo>
                    <a:pt x="1312" y="1473"/>
                  </a:lnTo>
                  <a:lnTo>
                    <a:pt x="1309" y="1470"/>
                  </a:lnTo>
                  <a:lnTo>
                    <a:pt x="1307" y="1473"/>
                  </a:lnTo>
                  <a:lnTo>
                    <a:pt x="1307" y="1470"/>
                  </a:lnTo>
                  <a:lnTo>
                    <a:pt x="1305" y="1470"/>
                  </a:lnTo>
                  <a:lnTo>
                    <a:pt x="1302" y="1470"/>
                  </a:lnTo>
                  <a:lnTo>
                    <a:pt x="1300" y="1470"/>
                  </a:lnTo>
                  <a:lnTo>
                    <a:pt x="1297" y="1468"/>
                  </a:lnTo>
                  <a:lnTo>
                    <a:pt x="1295" y="1468"/>
                  </a:lnTo>
                  <a:lnTo>
                    <a:pt x="1293" y="1468"/>
                  </a:lnTo>
                  <a:lnTo>
                    <a:pt x="1295" y="1468"/>
                  </a:lnTo>
                  <a:lnTo>
                    <a:pt x="1293" y="1468"/>
                  </a:lnTo>
                  <a:lnTo>
                    <a:pt x="1293" y="1465"/>
                  </a:lnTo>
                  <a:lnTo>
                    <a:pt x="1290" y="1465"/>
                  </a:lnTo>
                  <a:lnTo>
                    <a:pt x="1293" y="1463"/>
                  </a:lnTo>
                  <a:lnTo>
                    <a:pt x="1293" y="1465"/>
                  </a:lnTo>
                  <a:lnTo>
                    <a:pt x="1290" y="1463"/>
                  </a:lnTo>
                  <a:lnTo>
                    <a:pt x="1288" y="1463"/>
                  </a:lnTo>
                  <a:lnTo>
                    <a:pt x="1288" y="1461"/>
                  </a:lnTo>
                  <a:lnTo>
                    <a:pt x="1286" y="1461"/>
                  </a:lnTo>
                  <a:lnTo>
                    <a:pt x="1286" y="1458"/>
                  </a:lnTo>
                  <a:lnTo>
                    <a:pt x="1286" y="1456"/>
                  </a:lnTo>
                  <a:lnTo>
                    <a:pt x="1288" y="1454"/>
                  </a:lnTo>
                  <a:lnTo>
                    <a:pt x="1286" y="1454"/>
                  </a:lnTo>
                  <a:lnTo>
                    <a:pt x="1286" y="1451"/>
                  </a:lnTo>
                  <a:lnTo>
                    <a:pt x="1283" y="1451"/>
                  </a:lnTo>
                  <a:lnTo>
                    <a:pt x="1283" y="1449"/>
                  </a:lnTo>
                  <a:lnTo>
                    <a:pt x="1281" y="1451"/>
                  </a:lnTo>
                  <a:lnTo>
                    <a:pt x="1278" y="1451"/>
                  </a:lnTo>
                  <a:lnTo>
                    <a:pt x="1278" y="1449"/>
                  </a:lnTo>
                  <a:lnTo>
                    <a:pt x="1276" y="1446"/>
                  </a:lnTo>
                  <a:lnTo>
                    <a:pt x="1276" y="1444"/>
                  </a:lnTo>
                  <a:lnTo>
                    <a:pt x="1276" y="1446"/>
                  </a:lnTo>
                  <a:lnTo>
                    <a:pt x="1274" y="1446"/>
                  </a:lnTo>
                  <a:lnTo>
                    <a:pt x="1271" y="1449"/>
                  </a:lnTo>
                  <a:lnTo>
                    <a:pt x="1274" y="1449"/>
                  </a:lnTo>
                  <a:lnTo>
                    <a:pt x="1271" y="1449"/>
                  </a:lnTo>
                  <a:lnTo>
                    <a:pt x="1271" y="1451"/>
                  </a:lnTo>
                  <a:lnTo>
                    <a:pt x="1269" y="1451"/>
                  </a:lnTo>
                  <a:lnTo>
                    <a:pt x="1269" y="1449"/>
                  </a:lnTo>
                  <a:lnTo>
                    <a:pt x="1267" y="1449"/>
                  </a:lnTo>
                  <a:lnTo>
                    <a:pt x="1264" y="1449"/>
                  </a:lnTo>
                  <a:lnTo>
                    <a:pt x="1262" y="1449"/>
                  </a:lnTo>
                  <a:lnTo>
                    <a:pt x="1259" y="1449"/>
                  </a:lnTo>
                  <a:lnTo>
                    <a:pt x="1259" y="1446"/>
                  </a:lnTo>
                  <a:lnTo>
                    <a:pt x="1257" y="1446"/>
                  </a:lnTo>
                  <a:lnTo>
                    <a:pt x="1257" y="1451"/>
                  </a:lnTo>
                  <a:lnTo>
                    <a:pt x="1257" y="1456"/>
                  </a:lnTo>
                  <a:lnTo>
                    <a:pt x="1257" y="1458"/>
                  </a:lnTo>
                  <a:lnTo>
                    <a:pt x="1255" y="1458"/>
                  </a:lnTo>
                  <a:lnTo>
                    <a:pt x="1252" y="1458"/>
                  </a:lnTo>
                  <a:lnTo>
                    <a:pt x="1250" y="1458"/>
                  </a:lnTo>
                  <a:lnTo>
                    <a:pt x="1250" y="1461"/>
                  </a:lnTo>
                  <a:lnTo>
                    <a:pt x="1248" y="1461"/>
                  </a:lnTo>
                  <a:lnTo>
                    <a:pt x="1248" y="1458"/>
                  </a:lnTo>
                  <a:lnTo>
                    <a:pt x="1245" y="1458"/>
                  </a:lnTo>
                  <a:lnTo>
                    <a:pt x="1243" y="1458"/>
                  </a:lnTo>
                  <a:lnTo>
                    <a:pt x="1243" y="1456"/>
                  </a:lnTo>
                  <a:lnTo>
                    <a:pt x="1243" y="1454"/>
                  </a:lnTo>
                  <a:lnTo>
                    <a:pt x="1240" y="1454"/>
                  </a:lnTo>
                  <a:lnTo>
                    <a:pt x="1240" y="1451"/>
                  </a:lnTo>
                  <a:lnTo>
                    <a:pt x="1238" y="1449"/>
                  </a:lnTo>
                  <a:lnTo>
                    <a:pt x="1233" y="1451"/>
                  </a:lnTo>
                  <a:lnTo>
                    <a:pt x="1231" y="1451"/>
                  </a:lnTo>
                  <a:lnTo>
                    <a:pt x="1231" y="1449"/>
                  </a:lnTo>
                  <a:lnTo>
                    <a:pt x="1229" y="1451"/>
                  </a:lnTo>
                  <a:lnTo>
                    <a:pt x="1226" y="1449"/>
                  </a:lnTo>
                  <a:lnTo>
                    <a:pt x="1224" y="1449"/>
                  </a:lnTo>
                  <a:lnTo>
                    <a:pt x="1224" y="1451"/>
                  </a:lnTo>
                  <a:lnTo>
                    <a:pt x="1224" y="1456"/>
                  </a:lnTo>
                  <a:lnTo>
                    <a:pt x="1222" y="1454"/>
                  </a:lnTo>
                  <a:lnTo>
                    <a:pt x="1219" y="1454"/>
                  </a:lnTo>
                  <a:lnTo>
                    <a:pt x="1219" y="1451"/>
                  </a:lnTo>
                  <a:lnTo>
                    <a:pt x="1217" y="1451"/>
                  </a:lnTo>
                  <a:lnTo>
                    <a:pt x="1217" y="1449"/>
                  </a:lnTo>
                  <a:lnTo>
                    <a:pt x="1214" y="1451"/>
                  </a:lnTo>
                  <a:lnTo>
                    <a:pt x="1214" y="1456"/>
                  </a:lnTo>
                  <a:lnTo>
                    <a:pt x="1212" y="1456"/>
                  </a:lnTo>
                  <a:lnTo>
                    <a:pt x="1212" y="1458"/>
                  </a:lnTo>
                  <a:lnTo>
                    <a:pt x="1210" y="1458"/>
                  </a:lnTo>
                  <a:lnTo>
                    <a:pt x="1207" y="1458"/>
                  </a:lnTo>
                  <a:lnTo>
                    <a:pt x="1205" y="1456"/>
                  </a:lnTo>
                  <a:lnTo>
                    <a:pt x="1205" y="1458"/>
                  </a:lnTo>
                  <a:lnTo>
                    <a:pt x="1205" y="1461"/>
                  </a:lnTo>
                  <a:lnTo>
                    <a:pt x="1205" y="1463"/>
                  </a:lnTo>
                  <a:lnTo>
                    <a:pt x="1205" y="1465"/>
                  </a:lnTo>
                  <a:lnTo>
                    <a:pt x="1203" y="1468"/>
                  </a:lnTo>
                  <a:lnTo>
                    <a:pt x="1200" y="1470"/>
                  </a:lnTo>
                  <a:lnTo>
                    <a:pt x="1198" y="1470"/>
                  </a:lnTo>
                  <a:lnTo>
                    <a:pt x="1198" y="1473"/>
                  </a:lnTo>
                  <a:lnTo>
                    <a:pt x="1195" y="1473"/>
                  </a:lnTo>
                  <a:lnTo>
                    <a:pt x="1193" y="1473"/>
                  </a:lnTo>
                  <a:lnTo>
                    <a:pt x="1193" y="1475"/>
                  </a:lnTo>
                  <a:lnTo>
                    <a:pt x="1191" y="1475"/>
                  </a:lnTo>
                  <a:lnTo>
                    <a:pt x="1188" y="1475"/>
                  </a:lnTo>
                  <a:lnTo>
                    <a:pt x="1186" y="1473"/>
                  </a:lnTo>
                  <a:lnTo>
                    <a:pt x="1184" y="1473"/>
                  </a:lnTo>
                  <a:lnTo>
                    <a:pt x="1184" y="1470"/>
                  </a:lnTo>
                  <a:lnTo>
                    <a:pt x="1181" y="1470"/>
                  </a:lnTo>
                  <a:lnTo>
                    <a:pt x="1179" y="1470"/>
                  </a:lnTo>
                  <a:lnTo>
                    <a:pt x="1176" y="1468"/>
                  </a:lnTo>
                  <a:lnTo>
                    <a:pt x="1172" y="1463"/>
                  </a:lnTo>
                  <a:lnTo>
                    <a:pt x="1169" y="1463"/>
                  </a:lnTo>
                  <a:lnTo>
                    <a:pt x="1169" y="1461"/>
                  </a:lnTo>
                  <a:lnTo>
                    <a:pt x="1172" y="1461"/>
                  </a:lnTo>
                  <a:lnTo>
                    <a:pt x="1172" y="1458"/>
                  </a:lnTo>
                  <a:lnTo>
                    <a:pt x="1169" y="1458"/>
                  </a:lnTo>
                  <a:lnTo>
                    <a:pt x="1167" y="1458"/>
                  </a:lnTo>
                  <a:lnTo>
                    <a:pt x="1165" y="1458"/>
                  </a:lnTo>
                  <a:lnTo>
                    <a:pt x="1165" y="1456"/>
                  </a:lnTo>
                  <a:lnTo>
                    <a:pt x="1162" y="1456"/>
                  </a:lnTo>
                  <a:lnTo>
                    <a:pt x="1165" y="1456"/>
                  </a:lnTo>
                  <a:lnTo>
                    <a:pt x="1162" y="1456"/>
                  </a:lnTo>
                  <a:lnTo>
                    <a:pt x="1160" y="1454"/>
                  </a:lnTo>
                  <a:lnTo>
                    <a:pt x="1157" y="1454"/>
                  </a:lnTo>
                  <a:lnTo>
                    <a:pt x="1157" y="1451"/>
                  </a:lnTo>
                  <a:lnTo>
                    <a:pt x="1157" y="1454"/>
                  </a:lnTo>
                  <a:lnTo>
                    <a:pt x="1155" y="1454"/>
                  </a:lnTo>
                  <a:lnTo>
                    <a:pt x="1153" y="1454"/>
                  </a:lnTo>
                  <a:lnTo>
                    <a:pt x="1153" y="1456"/>
                  </a:lnTo>
                  <a:lnTo>
                    <a:pt x="1153" y="1458"/>
                  </a:lnTo>
                  <a:lnTo>
                    <a:pt x="1153" y="1456"/>
                  </a:lnTo>
                  <a:lnTo>
                    <a:pt x="1153" y="1458"/>
                  </a:lnTo>
                  <a:lnTo>
                    <a:pt x="1153" y="1456"/>
                  </a:lnTo>
                  <a:lnTo>
                    <a:pt x="1153" y="1458"/>
                  </a:lnTo>
                  <a:lnTo>
                    <a:pt x="1150" y="1458"/>
                  </a:lnTo>
                  <a:lnTo>
                    <a:pt x="1153" y="1458"/>
                  </a:lnTo>
                  <a:lnTo>
                    <a:pt x="1155" y="1458"/>
                  </a:lnTo>
                  <a:lnTo>
                    <a:pt x="1157" y="1458"/>
                  </a:lnTo>
                  <a:lnTo>
                    <a:pt x="1157" y="1463"/>
                  </a:lnTo>
                  <a:lnTo>
                    <a:pt x="1155" y="1463"/>
                  </a:lnTo>
                  <a:lnTo>
                    <a:pt x="1157" y="1465"/>
                  </a:lnTo>
                  <a:lnTo>
                    <a:pt x="1157" y="1468"/>
                  </a:lnTo>
                  <a:lnTo>
                    <a:pt x="1157" y="1470"/>
                  </a:lnTo>
                  <a:lnTo>
                    <a:pt x="1157" y="1473"/>
                  </a:lnTo>
                  <a:lnTo>
                    <a:pt x="1157" y="1475"/>
                  </a:lnTo>
                  <a:lnTo>
                    <a:pt x="1155" y="1475"/>
                  </a:lnTo>
                  <a:lnTo>
                    <a:pt x="1155" y="1477"/>
                  </a:lnTo>
                  <a:lnTo>
                    <a:pt x="1153" y="1477"/>
                  </a:lnTo>
                  <a:lnTo>
                    <a:pt x="1153" y="1475"/>
                  </a:lnTo>
                  <a:lnTo>
                    <a:pt x="1153" y="1477"/>
                  </a:lnTo>
                  <a:lnTo>
                    <a:pt x="1150" y="1477"/>
                  </a:lnTo>
                  <a:lnTo>
                    <a:pt x="1150" y="1475"/>
                  </a:lnTo>
                  <a:lnTo>
                    <a:pt x="1148" y="1473"/>
                  </a:lnTo>
                  <a:lnTo>
                    <a:pt x="1148" y="1470"/>
                  </a:lnTo>
                  <a:lnTo>
                    <a:pt x="1148" y="1468"/>
                  </a:lnTo>
                  <a:lnTo>
                    <a:pt x="1148" y="1465"/>
                  </a:lnTo>
                  <a:lnTo>
                    <a:pt x="1150" y="1465"/>
                  </a:lnTo>
                  <a:lnTo>
                    <a:pt x="1150" y="1463"/>
                  </a:lnTo>
                  <a:lnTo>
                    <a:pt x="1150" y="1461"/>
                  </a:lnTo>
                  <a:lnTo>
                    <a:pt x="1148" y="1461"/>
                  </a:lnTo>
                  <a:lnTo>
                    <a:pt x="1146" y="1461"/>
                  </a:lnTo>
                  <a:lnTo>
                    <a:pt x="1146" y="1458"/>
                  </a:lnTo>
                  <a:lnTo>
                    <a:pt x="1143" y="1458"/>
                  </a:lnTo>
                  <a:lnTo>
                    <a:pt x="1143" y="1456"/>
                  </a:lnTo>
                  <a:lnTo>
                    <a:pt x="1141" y="1456"/>
                  </a:lnTo>
                  <a:lnTo>
                    <a:pt x="1141" y="1454"/>
                  </a:lnTo>
                  <a:lnTo>
                    <a:pt x="1138" y="1454"/>
                  </a:lnTo>
                  <a:lnTo>
                    <a:pt x="1141" y="1454"/>
                  </a:lnTo>
                  <a:lnTo>
                    <a:pt x="1138" y="1454"/>
                  </a:lnTo>
                  <a:lnTo>
                    <a:pt x="1141" y="1454"/>
                  </a:lnTo>
                  <a:lnTo>
                    <a:pt x="1141" y="1451"/>
                  </a:lnTo>
                  <a:lnTo>
                    <a:pt x="1138" y="1451"/>
                  </a:lnTo>
                  <a:lnTo>
                    <a:pt x="1138" y="1449"/>
                  </a:lnTo>
                  <a:lnTo>
                    <a:pt x="1136" y="1449"/>
                  </a:lnTo>
                  <a:lnTo>
                    <a:pt x="1136" y="1446"/>
                  </a:lnTo>
                  <a:lnTo>
                    <a:pt x="1134" y="1446"/>
                  </a:lnTo>
                  <a:lnTo>
                    <a:pt x="1131" y="1444"/>
                  </a:lnTo>
                  <a:lnTo>
                    <a:pt x="1129" y="1444"/>
                  </a:lnTo>
                  <a:lnTo>
                    <a:pt x="1127" y="1444"/>
                  </a:lnTo>
                  <a:lnTo>
                    <a:pt x="1124" y="1444"/>
                  </a:lnTo>
                  <a:lnTo>
                    <a:pt x="1124" y="1442"/>
                  </a:lnTo>
                  <a:lnTo>
                    <a:pt x="1124" y="1444"/>
                  </a:lnTo>
                  <a:lnTo>
                    <a:pt x="1124" y="1442"/>
                  </a:lnTo>
                  <a:lnTo>
                    <a:pt x="1124" y="1444"/>
                  </a:lnTo>
                  <a:lnTo>
                    <a:pt x="1124" y="1442"/>
                  </a:lnTo>
                  <a:lnTo>
                    <a:pt x="1124" y="1444"/>
                  </a:lnTo>
                  <a:lnTo>
                    <a:pt x="1122" y="1442"/>
                  </a:lnTo>
                  <a:lnTo>
                    <a:pt x="1122" y="1444"/>
                  </a:lnTo>
                  <a:lnTo>
                    <a:pt x="1122" y="1442"/>
                  </a:lnTo>
                  <a:lnTo>
                    <a:pt x="1122" y="1439"/>
                  </a:lnTo>
                  <a:lnTo>
                    <a:pt x="1122" y="1442"/>
                  </a:lnTo>
                  <a:lnTo>
                    <a:pt x="1122" y="1439"/>
                  </a:lnTo>
                  <a:lnTo>
                    <a:pt x="1122" y="1442"/>
                  </a:lnTo>
                  <a:lnTo>
                    <a:pt x="1122" y="1439"/>
                  </a:lnTo>
                  <a:lnTo>
                    <a:pt x="1119" y="1439"/>
                  </a:lnTo>
                  <a:lnTo>
                    <a:pt x="1122" y="1439"/>
                  </a:lnTo>
                  <a:lnTo>
                    <a:pt x="1122" y="1437"/>
                  </a:lnTo>
                  <a:lnTo>
                    <a:pt x="1122" y="1439"/>
                  </a:lnTo>
                  <a:lnTo>
                    <a:pt x="1122" y="1437"/>
                  </a:lnTo>
                  <a:lnTo>
                    <a:pt x="1119" y="1437"/>
                  </a:lnTo>
                  <a:lnTo>
                    <a:pt x="1122" y="1437"/>
                  </a:lnTo>
                  <a:lnTo>
                    <a:pt x="1119" y="1437"/>
                  </a:lnTo>
                  <a:lnTo>
                    <a:pt x="1122" y="1437"/>
                  </a:lnTo>
                  <a:lnTo>
                    <a:pt x="1122" y="1435"/>
                  </a:lnTo>
                  <a:lnTo>
                    <a:pt x="1122" y="1437"/>
                  </a:lnTo>
                  <a:lnTo>
                    <a:pt x="1122" y="1435"/>
                  </a:lnTo>
                  <a:lnTo>
                    <a:pt x="1119" y="1435"/>
                  </a:lnTo>
                  <a:lnTo>
                    <a:pt x="1119" y="1432"/>
                  </a:lnTo>
                  <a:lnTo>
                    <a:pt x="1117" y="1432"/>
                  </a:lnTo>
                  <a:lnTo>
                    <a:pt x="1115" y="1432"/>
                  </a:lnTo>
                  <a:lnTo>
                    <a:pt x="1112" y="1430"/>
                  </a:lnTo>
                  <a:lnTo>
                    <a:pt x="1110" y="1430"/>
                  </a:lnTo>
                  <a:lnTo>
                    <a:pt x="1108" y="1430"/>
                  </a:lnTo>
                  <a:lnTo>
                    <a:pt x="1108" y="1427"/>
                  </a:lnTo>
                  <a:lnTo>
                    <a:pt x="1105" y="1427"/>
                  </a:lnTo>
                  <a:lnTo>
                    <a:pt x="1105" y="1430"/>
                  </a:lnTo>
                  <a:lnTo>
                    <a:pt x="1103" y="1430"/>
                  </a:lnTo>
                  <a:lnTo>
                    <a:pt x="1101" y="1430"/>
                  </a:lnTo>
                  <a:lnTo>
                    <a:pt x="1098" y="1430"/>
                  </a:lnTo>
                  <a:lnTo>
                    <a:pt x="1098" y="1432"/>
                  </a:lnTo>
                  <a:lnTo>
                    <a:pt x="1101" y="1432"/>
                  </a:lnTo>
                  <a:lnTo>
                    <a:pt x="1098" y="1432"/>
                  </a:lnTo>
                  <a:lnTo>
                    <a:pt x="1098" y="1430"/>
                  </a:lnTo>
                  <a:lnTo>
                    <a:pt x="1096" y="1430"/>
                  </a:lnTo>
                  <a:lnTo>
                    <a:pt x="1098" y="1430"/>
                  </a:lnTo>
                  <a:lnTo>
                    <a:pt x="1096" y="1430"/>
                  </a:lnTo>
                  <a:lnTo>
                    <a:pt x="1093" y="1430"/>
                  </a:lnTo>
                  <a:lnTo>
                    <a:pt x="1096" y="1430"/>
                  </a:lnTo>
                  <a:lnTo>
                    <a:pt x="1093" y="1430"/>
                  </a:lnTo>
                  <a:lnTo>
                    <a:pt x="1093" y="1427"/>
                  </a:lnTo>
                  <a:lnTo>
                    <a:pt x="1093" y="1430"/>
                  </a:lnTo>
                  <a:lnTo>
                    <a:pt x="1091" y="1430"/>
                  </a:lnTo>
                  <a:lnTo>
                    <a:pt x="1091" y="1432"/>
                  </a:lnTo>
                  <a:lnTo>
                    <a:pt x="1089" y="1430"/>
                  </a:lnTo>
                  <a:lnTo>
                    <a:pt x="1089" y="1432"/>
                  </a:lnTo>
                  <a:lnTo>
                    <a:pt x="1089" y="1430"/>
                  </a:lnTo>
                  <a:lnTo>
                    <a:pt x="1089" y="1432"/>
                  </a:lnTo>
                  <a:lnTo>
                    <a:pt x="1086" y="1432"/>
                  </a:lnTo>
                  <a:lnTo>
                    <a:pt x="1089" y="1430"/>
                  </a:lnTo>
                  <a:lnTo>
                    <a:pt x="1086" y="1430"/>
                  </a:lnTo>
                  <a:lnTo>
                    <a:pt x="1086" y="1432"/>
                  </a:lnTo>
                  <a:lnTo>
                    <a:pt x="1086" y="1430"/>
                  </a:lnTo>
                  <a:lnTo>
                    <a:pt x="1084" y="1430"/>
                  </a:lnTo>
                  <a:lnTo>
                    <a:pt x="1084" y="1427"/>
                  </a:lnTo>
                  <a:lnTo>
                    <a:pt x="1084" y="1425"/>
                  </a:lnTo>
                  <a:lnTo>
                    <a:pt x="1084" y="1423"/>
                  </a:lnTo>
                  <a:lnTo>
                    <a:pt x="1082" y="1423"/>
                  </a:lnTo>
                  <a:lnTo>
                    <a:pt x="1082" y="1420"/>
                  </a:lnTo>
                  <a:lnTo>
                    <a:pt x="1079" y="1418"/>
                  </a:lnTo>
                  <a:lnTo>
                    <a:pt x="1082" y="1418"/>
                  </a:lnTo>
                  <a:lnTo>
                    <a:pt x="1079" y="1416"/>
                  </a:lnTo>
                  <a:lnTo>
                    <a:pt x="1079" y="1418"/>
                  </a:lnTo>
                  <a:lnTo>
                    <a:pt x="1077" y="1418"/>
                  </a:lnTo>
                  <a:lnTo>
                    <a:pt x="1074" y="1418"/>
                  </a:lnTo>
                  <a:lnTo>
                    <a:pt x="1074" y="1420"/>
                  </a:lnTo>
                  <a:lnTo>
                    <a:pt x="1072" y="1420"/>
                  </a:lnTo>
                  <a:lnTo>
                    <a:pt x="1070" y="1423"/>
                  </a:lnTo>
                  <a:lnTo>
                    <a:pt x="1070" y="1420"/>
                  </a:lnTo>
                  <a:lnTo>
                    <a:pt x="1067" y="1420"/>
                  </a:lnTo>
                  <a:lnTo>
                    <a:pt x="1065" y="1420"/>
                  </a:lnTo>
                  <a:lnTo>
                    <a:pt x="1063" y="1420"/>
                  </a:lnTo>
                  <a:lnTo>
                    <a:pt x="1063" y="1423"/>
                  </a:lnTo>
                  <a:lnTo>
                    <a:pt x="1060" y="1423"/>
                  </a:lnTo>
                  <a:lnTo>
                    <a:pt x="1060" y="1425"/>
                  </a:lnTo>
                  <a:lnTo>
                    <a:pt x="1063" y="1430"/>
                  </a:lnTo>
                  <a:lnTo>
                    <a:pt x="1058" y="1430"/>
                  </a:lnTo>
                  <a:lnTo>
                    <a:pt x="1060" y="1432"/>
                  </a:lnTo>
                  <a:lnTo>
                    <a:pt x="1055" y="1432"/>
                  </a:lnTo>
                  <a:lnTo>
                    <a:pt x="1055" y="1430"/>
                  </a:lnTo>
                  <a:lnTo>
                    <a:pt x="1055" y="1427"/>
                  </a:lnTo>
                  <a:lnTo>
                    <a:pt x="1053" y="1427"/>
                  </a:lnTo>
                  <a:lnTo>
                    <a:pt x="1053" y="1430"/>
                  </a:lnTo>
                  <a:lnTo>
                    <a:pt x="1051" y="1430"/>
                  </a:lnTo>
                  <a:lnTo>
                    <a:pt x="1048" y="1430"/>
                  </a:lnTo>
                  <a:lnTo>
                    <a:pt x="1044" y="1430"/>
                  </a:lnTo>
                  <a:lnTo>
                    <a:pt x="1044" y="1427"/>
                  </a:lnTo>
                  <a:lnTo>
                    <a:pt x="1048" y="1427"/>
                  </a:lnTo>
                  <a:lnTo>
                    <a:pt x="1048" y="1423"/>
                  </a:lnTo>
                  <a:lnTo>
                    <a:pt x="1046" y="1423"/>
                  </a:lnTo>
                  <a:lnTo>
                    <a:pt x="1044" y="1420"/>
                  </a:lnTo>
                  <a:lnTo>
                    <a:pt x="1041" y="1420"/>
                  </a:lnTo>
                  <a:lnTo>
                    <a:pt x="1039" y="1420"/>
                  </a:lnTo>
                  <a:lnTo>
                    <a:pt x="1036" y="1420"/>
                  </a:lnTo>
                  <a:lnTo>
                    <a:pt x="1034" y="1420"/>
                  </a:lnTo>
                  <a:lnTo>
                    <a:pt x="1032" y="1420"/>
                  </a:lnTo>
                  <a:lnTo>
                    <a:pt x="1032" y="1418"/>
                  </a:lnTo>
                  <a:lnTo>
                    <a:pt x="1029" y="1418"/>
                  </a:lnTo>
                  <a:lnTo>
                    <a:pt x="1027" y="1416"/>
                  </a:lnTo>
                  <a:lnTo>
                    <a:pt x="1027" y="1418"/>
                  </a:lnTo>
                  <a:lnTo>
                    <a:pt x="1027" y="1420"/>
                  </a:lnTo>
                  <a:lnTo>
                    <a:pt x="1029" y="1420"/>
                  </a:lnTo>
                  <a:lnTo>
                    <a:pt x="1029" y="1423"/>
                  </a:lnTo>
                  <a:lnTo>
                    <a:pt x="1029" y="1425"/>
                  </a:lnTo>
                  <a:lnTo>
                    <a:pt x="1027" y="1425"/>
                  </a:lnTo>
                  <a:lnTo>
                    <a:pt x="1025" y="1425"/>
                  </a:lnTo>
                  <a:lnTo>
                    <a:pt x="1027" y="1425"/>
                  </a:lnTo>
                  <a:lnTo>
                    <a:pt x="1027" y="1423"/>
                  </a:lnTo>
                  <a:lnTo>
                    <a:pt x="1022" y="1423"/>
                  </a:lnTo>
                  <a:lnTo>
                    <a:pt x="1022" y="1425"/>
                  </a:lnTo>
                  <a:lnTo>
                    <a:pt x="1020" y="1425"/>
                  </a:lnTo>
                  <a:lnTo>
                    <a:pt x="1020" y="1430"/>
                  </a:lnTo>
                  <a:lnTo>
                    <a:pt x="1020" y="1432"/>
                  </a:lnTo>
                  <a:lnTo>
                    <a:pt x="1017" y="1432"/>
                  </a:lnTo>
                  <a:lnTo>
                    <a:pt x="1015" y="1432"/>
                  </a:lnTo>
                  <a:lnTo>
                    <a:pt x="1015" y="1435"/>
                  </a:lnTo>
                  <a:lnTo>
                    <a:pt x="1013" y="1435"/>
                  </a:lnTo>
                  <a:lnTo>
                    <a:pt x="1015" y="1437"/>
                  </a:lnTo>
                  <a:lnTo>
                    <a:pt x="1013" y="1439"/>
                  </a:lnTo>
                  <a:lnTo>
                    <a:pt x="1010" y="1439"/>
                  </a:lnTo>
                  <a:lnTo>
                    <a:pt x="1003" y="1442"/>
                  </a:lnTo>
                  <a:lnTo>
                    <a:pt x="1001" y="1442"/>
                  </a:lnTo>
                  <a:lnTo>
                    <a:pt x="1001" y="1444"/>
                  </a:lnTo>
                  <a:lnTo>
                    <a:pt x="998" y="1444"/>
                  </a:lnTo>
                  <a:lnTo>
                    <a:pt x="994" y="1449"/>
                  </a:lnTo>
                  <a:lnTo>
                    <a:pt x="987" y="1449"/>
                  </a:lnTo>
                  <a:lnTo>
                    <a:pt x="984" y="1449"/>
                  </a:lnTo>
                  <a:lnTo>
                    <a:pt x="982" y="1449"/>
                  </a:lnTo>
                  <a:lnTo>
                    <a:pt x="982" y="1451"/>
                  </a:lnTo>
                  <a:lnTo>
                    <a:pt x="982" y="1454"/>
                  </a:lnTo>
                  <a:lnTo>
                    <a:pt x="979" y="1454"/>
                  </a:lnTo>
                  <a:lnTo>
                    <a:pt x="982" y="1454"/>
                  </a:lnTo>
                  <a:lnTo>
                    <a:pt x="982" y="1456"/>
                  </a:lnTo>
                  <a:lnTo>
                    <a:pt x="982" y="1458"/>
                  </a:lnTo>
                  <a:lnTo>
                    <a:pt x="984" y="1458"/>
                  </a:lnTo>
                  <a:lnTo>
                    <a:pt x="984" y="1461"/>
                  </a:lnTo>
                  <a:lnTo>
                    <a:pt x="982" y="1461"/>
                  </a:lnTo>
                  <a:lnTo>
                    <a:pt x="977" y="1463"/>
                  </a:lnTo>
                  <a:lnTo>
                    <a:pt x="972" y="1465"/>
                  </a:lnTo>
                  <a:lnTo>
                    <a:pt x="972" y="1468"/>
                  </a:lnTo>
                  <a:lnTo>
                    <a:pt x="970" y="1470"/>
                  </a:lnTo>
                  <a:lnTo>
                    <a:pt x="968" y="1470"/>
                  </a:lnTo>
                  <a:lnTo>
                    <a:pt x="965" y="1473"/>
                  </a:lnTo>
                  <a:lnTo>
                    <a:pt x="963" y="1473"/>
                  </a:lnTo>
                  <a:lnTo>
                    <a:pt x="961" y="1473"/>
                  </a:lnTo>
                  <a:lnTo>
                    <a:pt x="958" y="1473"/>
                  </a:lnTo>
                  <a:lnTo>
                    <a:pt x="958" y="1470"/>
                  </a:lnTo>
                  <a:lnTo>
                    <a:pt x="956" y="1470"/>
                  </a:lnTo>
                  <a:lnTo>
                    <a:pt x="956" y="1473"/>
                  </a:lnTo>
                  <a:lnTo>
                    <a:pt x="958" y="1473"/>
                  </a:lnTo>
                  <a:lnTo>
                    <a:pt x="958" y="1475"/>
                  </a:lnTo>
                  <a:lnTo>
                    <a:pt x="958" y="1477"/>
                  </a:lnTo>
                  <a:lnTo>
                    <a:pt x="958" y="1480"/>
                  </a:lnTo>
                  <a:lnTo>
                    <a:pt x="958" y="1487"/>
                  </a:lnTo>
                  <a:lnTo>
                    <a:pt x="961" y="1489"/>
                  </a:lnTo>
                  <a:lnTo>
                    <a:pt x="961" y="1492"/>
                  </a:lnTo>
                  <a:lnTo>
                    <a:pt x="963" y="1492"/>
                  </a:lnTo>
                  <a:lnTo>
                    <a:pt x="963" y="1494"/>
                  </a:lnTo>
                  <a:lnTo>
                    <a:pt x="961" y="1499"/>
                  </a:lnTo>
                  <a:lnTo>
                    <a:pt x="963" y="1499"/>
                  </a:lnTo>
                  <a:lnTo>
                    <a:pt x="965" y="1499"/>
                  </a:lnTo>
                  <a:lnTo>
                    <a:pt x="965" y="1501"/>
                  </a:lnTo>
                  <a:lnTo>
                    <a:pt x="961" y="1506"/>
                  </a:lnTo>
                  <a:lnTo>
                    <a:pt x="958" y="1508"/>
                  </a:lnTo>
                  <a:lnTo>
                    <a:pt x="951" y="1511"/>
                  </a:lnTo>
                  <a:lnTo>
                    <a:pt x="951" y="1513"/>
                  </a:lnTo>
                  <a:lnTo>
                    <a:pt x="949" y="1511"/>
                  </a:lnTo>
                  <a:lnTo>
                    <a:pt x="946" y="1511"/>
                  </a:lnTo>
                  <a:lnTo>
                    <a:pt x="946" y="1508"/>
                  </a:lnTo>
                  <a:lnTo>
                    <a:pt x="946" y="1511"/>
                  </a:lnTo>
                  <a:lnTo>
                    <a:pt x="944" y="1511"/>
                  </a:lnTo>
                  <a:lnTo>
                    <a:pt x="944" y="1508"/>
                  </a:lnTo>
                  <a:lnTo>
                    <a:pt x="944" y="1506"/>
                  </a:lnTo>
                  <a:lnTo>
                    <a:pt x="942" y="1506"/>
                  </a:lnTo>
                  <a:lnTo>
                    <a:pt x="942" y="1503"/>
                  </a:lnTo>
                  <a:lnTo>
                    <a:pt x="939" y="1503"/>
                  </a:lnTo>
                  <a:lnTo>
                    <a:pt x="939" y="1501"/>
                  </a:lnTo>
                  <a:lnTo>
                    <a:pt x="939" y="1499"/>
                  </a:lnTo>
                  <a:lnTo>
                    <a:pt x="937" y="1496"/>
                  </a:lnTo>
                  <a:lnTo>
                    <a:pt x="937" y="1494"/>
                  </a:lnTo>
                  <a:lnTo>
                    <a:pt x="934" y="1494"/>
                  </a:lnTo>
                  <a:lnTo>
                    <a:pt x="934" y="1492"/>
                  </a:lnTo>
                  <a:lnTo>
                    <a:pt x="932" y="1492"/>
                  </a:lnTo>
                  <a:lnTo>
                    <a:pt x="932" y="1489"/>
                  </a:lnTo>
                  <a:lnTo>
                    <a:pt x="932" y="1487"/>
                  </a:lnTo>
                  <a:lnTo>
                    <a:pt x="930" y="1487"/>
                  </a:lnTo>
                  <a:lnTo>
                    <a:pt x="927" y="1487"/>
                  </a:lnTo>
                  <a:lnTo>
                    <a:pt x="927" y="1484"/>
                  </a:lnTo>
                  <a:lnTo>
                    <a:pt x="925" y="1484"/>
                  </a:lnTo>
                  <a:lnTo>
                    <a:pt x="925" y="1482"/>
                  </a:lnTo>
                  <a:lnTo>
                    <a:pt x="923" y="1482"/>
                  </a:lnTo>
                  <a:lnTo>
                    <a:pt x="923" y="1480"/>
                  </a:lnTo>
                  <a:lnTo>
                    <a:pt x="925" y="1480"/>
                  </a:lnTo>
                  <a:lnTo>
                    <a:pt x="923" y="1480"/>
                  </a:lnTo>
                  <a:lnTo>
                    <a:pt x="920" y="1480"/>
                  </a:lnTo>
                  <a:lnTo>
                    <a:pt x="920" y="1482"/>
                  </a:lnTo>
                  <a:lnTo>
                    <a:pt x="918" y="1482"/>
                  </a:lnTo>
                  <a:lnTo>
                    <a:pt x="918" y="1484"/>
                  </a:lnTo>
                  <a:lnTo>
                    <a:pt x="915" y="1487"/>
                  </a:lnTo>
                  <a:lnTo>
                    <a:pt x="913" y="1487"/>
                  </a:lnTo>
                  <a:lnTo>
                    <a:pt x="913" y="1489"/>
                  </a:lnTo>
                  <a:lnTo>
                    <a:pt x="913" y="1492"/>
                  </a:lnTo>
                  <a:lnTo>
                    <a:pt x="911" y="1494"/>
                  </a:lnTo>
                  <a:lnTo>
                    <a:pt x="913" y="1496"/>
                  </a:lnTo>
                  <a:lnTo>
                    <a:pt x="915" y="1499"/>
                  </a:lnTo>
                  <a:lnTo>
                    <a:pt x="908" y="1506"/>
                  </a:lnTo>
                  <a:lnTo>
                    <a:pt x="906" y="1508"/>
                  </a:lnTo>
                  <a:lnTo>
                    <a:pt x="901" y="1508"/>
                  </a:lnTo>
                  <a:lnTo>
                    <a:pt x="899" y="1508"/>
                  </a:lnTo>
                  <a:lnTo>
                    <a:pt x="899" y="1511"/>
                  </a:lnTo>
                  <a:lnTo>
                    <a:pt x="899" y="1513"/>
                  </a:lnTo>
                  <a:lnTo>
                    <a:pt x="899" y="1515"/>
                  </a:lnTo>
                  <a:lnTo>
                    <a:pt x="899" y="1520"/>
                  </a:lnTo>
                  <a:lnTo>
                    <a:pt x="896" y="1525"/>
                  </a:lnTo>
                  <a:lnTo>
                    <a:pt x="896" y="1530"/>
                  </a:lnTo>
                  <a:lnTo>
                    <a:pt x="896" y="1534"/>
                  </a:lnTo>
                  <a:lnTo>
                    <a:pt x="896" y="1537"/>
                  </a:lnTo>
                  <a:lnTo>
                    <a:pt x="899" y="1537"/>
                  </a:lnTo>
                  <a:lnTo>
                    <a:pt x="901" y="1537"/>
                  </a:lnTo>
                  <a:lnTo>
                    <a:pt x="904" y="1539"/>
                  </a:lnTo>
                  <a:lnTo>
                    <a:pt x="904" y="1542"/>
                  </a:lnTo>
                  <a:lnTo>
                    <a:pt x="904" y="1544"/>
                  </a:lnTo>
                  <a:lnTo>
                    <a:pt x="904" y="1546"/>
                  </a:lnTo>
                  <a:lnTo>
                    <a:pt x="901" y="1551"/>
                  </a:lnTo>
                  <a:lnTo>
                    <a:pt x="899" y="1551"/>
                  </a:lnTo>
                  <a:lnTo>
                    <a:pt x="896" y="1553"/>
                  </a:lnTo>
                  <a:lnTo>
                    <a:pt x="892" y="1563"/>
                  </a:lnTo>
                  <a:lnTo>
                    <a:pt x="889" y="1568"/>
                  </a:lnTo>
                  <a:lnTo>
                    <a:pt x="887" y="1580"/>
                  </a:lnTo>
                  <a:lnTo>
                    <a:pt x="889" y="1580"/>
                  </a:lnTo>
                  <a:lnTo>
                    <a:pt x="892" y="1580"/>
                  </a:lnTo>
                  <a:lnTo>
                    <a:pt x="894" y="1582"/>
                  </a:lnTo>
                  <a:lnTo>
                    <a:pt x="896" y="1582"/>
                  </a:lnTo>
                  <a:lnTo>
                    <a:pt x="899" y="1584"/>
                  </a:lnTo>
                  <a:lnTo>
                    <a:pt x="901" y="1584"/>
                  </a:lnTo>
                  <a:lnTo>
                    <a:pt x="904" y="1584"/>
                  </a:lnTo>
                  <a:lnTo>
                    <a:pt x="906" y="1587"/>
                  </a:lnTo>
                  <a:lnTo>
                    <a:pt x="906" y="1589"/>
                  </a:lnTo>
                  <a:lnTo>
                    <a:pt x="906" y="1591"/>
                  </a:lnTo>
                  <a:lnTo>
                    <a:pt x="906" y="1594"/>
                  </a:lnTo>
                  <a:lnTo>
                    <a:pt x="911" y="1596"/>
                  </a:lnTo>
                  <a:lnTo>
                    <a:pt x="908" y="1596"/>
                  </a:lnTo>
                  <a:lnTo>
                    <a:pt x="908" y="1599"/>
                  </a:lnTo>
                  <a:lnTo>
                    <a:pt x="904" y="1599"/>
                  </a:lnTo>
                  <a:lnTo>
                    <a:pt x="906" y="1603"/>
                  </a:lnTo>
                  <a:lnTo>
                    <a:pt x="908" y="1606"/>
                  </a:lnTo>
                  <a:lnTo>
                    <a:pt x="906" y="1608"/>
                  </a:lnTo>
                  <a:lnTo>
                    <a:pt x="908" y="1610"/>
                  </a:lnTo>
                  <a:lnTo>
                    <a:pt x="911" y="1610"/>
                  </a:lnTo>
                  <a:lnTo>
                    <a:pt x="915" y="1613"/>
                  </a:lnTo>
                  <a:lnTo>
                    <a:pt x="915" y="1615"/>
                  </a:lnTo>
                  <a:lnTo>
                    <a:pt x="915" y="1610"/>
                  </a:lnTo>
                  <a:lnTo>
                    <a:pt x="915" y="1608"/>
                  </a:lnTo>
                  <a:lnTo>
                    <a:pt x="918" y="1608"/>
                  </a:lnTo>
                  <a:lnTo>
                    <a:pt x="923" y="1610"/>
                  </a:lnTo>
                  <a:lnTo>
                    <a:pt x="925" y="1610"/>
                  </a:lnTo>
                  <a:lnTo>
                    <a:pt x="927" y="1610"/>
                  </a:lnTo>
                  <a:lnTo>
                    <a:pt x="934" y="1610"/>
                  </a:lnTo>
                  <a:lnTo>
                    <a:pt x="937" y="1610"/>
                  </a:lnTo>
                  <a:lnTo>
                    <a:pt x="939" y="1613"/>
                  </a:lnTo>
                  <a:lnTo>
                    <a:pt x="942" y="1613"/>
                  </a:lnTo>
                  <a:lnTo>
                    <a:pt x="951" y="1627"/>
                  </a:lnTo>
                  <a:lnTo>
                    <a:pt x="953" y="1627"/>
                  </a:lnTo>
                  <a:lnTo>
                    <a:pt x="956" y="1632"/>
                  </a:lnTo>
                  <a:lnTo>
                    <a:pt x="958" y="1639"/>
                  </a:lnTo>
                  <a:lnTo>
                    <a:pt x="958" y="1641"/>
                  </a:lnTo>
                  <a:lnTo>
                    <a:pt x="965" y="1653"/>
                  </a:lnTo>
                  <a:lnTo>
                    <a:pt x="968" y="1653"/>
                  </a:lnTo>
                  <a:lnTo>
                    <a:pt x="968" y="1656"/>
                  </a:lnTo>
                  <a:lnTo>
                    <a:pt x="970" y="1658"/>
                  </a:lnTo>
                  <a:lnTo>
                    <a:pt x="965" y="1660"/>
                  </a:lnTo>
                  <a:lnTo>
                    <a:pt x="961" y="1660"/>
                  </a:lnTo>
                  <a:lnTo>
                    <a:pt x="958" y="1658"/>
                  </a:lnTo>
                  <a:lnTo>
                    <a:pt x="956" y="1658"/>
                  </a:lnTo>
                  <a:lnTo>
                    <a:pt x="953" y="1658"/>
                  </a:lnTo>
                  <a:lnTo>
                    <a:pt x="953" y="1660"/>
                  </a:lnTo>
                  <a:lnTo>
                    <a:pt x="953" y="1663"/>
                  </a:lnTo>
                  <a:lnTo>
                    <a:pt x="951" y="1663"/>
                  </a:lnTo>
                  <a:lnTo>
                    <a:pt x="953" y="1663"/>
                  </a:lnTo>
                  <a:lnTo>
                    <a:pt x="953" y="1665"/>
                  </a:lnTo>
                  <a:lnTo>
                    <a:pt x="956" y="1665"/>
                  </a:lnTo>
                  <a:lnTo>
                    <a:pt x="953" y="1667"/>
                  </a:lnTo>
                  <a:lnTo>
                    <a:pt x="956" y="1667"/>
                  </a:lnTo>
                  <a:lnTo>
                    <a:pt x="958" y="1667"/>
                  </a:lnTo>
                  <a:lnTo>
                    <a:pt x="961" y="1667"/>
                  </a:lnTo>
                  <a:lnTo>
                    <a:pt x="963" y="1670"/>
                  </a:lnTo>
                  <a:lnTo>
                    <a:pt x="963" y="1672"/>
                  </a:lnTo>
                  <a:lnTo>
                    <a:pt x="965" y="1672"/>
                  </a:lnTo>
                  <a:lnTo>
                    <a:pt x="968" y="1672"/>
                  </a:lnTo>
                  <a:lnTo>
                    <a:pt x="968" y="1675"/>
                  </a:lnTo>
                  <a:lnTo>
                    <a:pt x="970" y="1675"/>
                  </a:lnTo>
                  <a:lnTo>
                    <a:pt x="972" y="1675"/>
                  </a:lnTo>
                  <a:lnTo>
                    <a:pt x="972" y="1677"/>
                  </a:lnTo>
                  <a:lnTo>
                    <a:pt x="975" y="1677"/>
                  </a:lnTo>
                  <a:lnTo>
                    <a:pt x="975" y="1679"/>
                  </a:lnTo>
                  <a:lnTo>
                    <a:pt x="977" y="1679"/>
                  </a:lnTo>
                  <a:lnTo>
                    <a:pt x="977" y="1682"/>
                  </a:lnTo>
                  <a:lnTo>
                    <a:pt x="977" y="1684"/>
                  </a:lnTo>
                  <a:lnTo>
                    <a:pt x="979" y="1684"/>
                  </a:lnTo>
                  <a:lnTo>
                    <a:pt x="979" y="1686"/>
                  </a:lnTo>
                  <a:lnTo>
                    <a:pt x="977" y="1686"/>
                  </a:lnTo>
                  <a:lnTo>
                    <a:pt x="977" y="1684"/>
                  </a:lnTo>
                  <a:lnTo>
                    <a:pt x="977" y="1686"/>
                  </a:lnTo>
                  <a:lnTo>
                    <a:pt x="977" y="1689"/>
                  </a:lnTo>
                  <a:lnTo>
                    <a:pt x="977" y="1686"/>
                  </a:lnTo>
                  <a:lnTo>
                    <a:pt x="977" y="1689"/>
                  </a:lnTo>
                  <a:lnTo>
                    <a:pt x="977" y="1686"/>
                  </a:lnTo>
                  <a:lnTo>
                    <a:pt x="977" y="1689"/>
                  </a:lnTo>
                  <a:lnTo>
                    <a:pt x="977" y="1691"/>
                  </a:lnTo>
                  <a:lnTo>
                    <a:pt x="977" y="1694"/>
                  </a:lnTo>
                  <a:lnTo>
                    <a:pt x="975" y="1694"/>
                  </a:lnTo>
                  <a:lnTo>
                    <a:pt x="975" y="1691"/>
                  </a:lnTo>
                  <a:lnTo>
                    <a:pt x="975" y="1694"/>
                  </a:lnTo>
                  <a:lnTo>
                    <a:pt x="972" y="1694"/>
                  </a:lnTo>
                  <a:lnTo>
                    <a:pt x="975" y="1694"/>
                  </a:lnTo>
                  <a:lnTo>
                    <a:pt x="975" y="1691"/>
                  </a:lnTo>
                  <a:lnTo>
                    <a:pt x="972" y="1691"/>
                  </a:lnTo>
                  <a:lnTo>
                    <a:pt x="972" y="1689"/>
                  </a:lnTo>
                  <a:lnTo>
                    <a:pt x="972" y="1691"/>
                  </a:lnTo>
                  <a:lnTo>
                    <a:pt x="972" y="1689"/>
                  </a:lnTo>
                  <a:lnTo>
                    <a:pt x="970" y="1689"/>
                  </a:lnTo>
                  <a:lnTo>
                    <a:pt x="972" y="1689"/>
                  </a:lnTo>
                  <a:lnTo>
                    <a:pt x="972" y="1686"/>
                  </a:lnTo>
                  <a:lnTo>
                    <a:pt x="970" y="1686"/>
                  </a:lnTo>
                  <a:lnTo>
                    <a:pt x="972" y="1686"/>
                  </a:lnTo>
                  <a:lnTo>
                    <a:pt x="970" y="1686"/>
                  </a:lnTo>
                  <a:lnTo>
                    <a:pt x="970" y="1689"/>
                  </a:lnTo>
                  <a:lnTo>
                    <a:pt x="970" y="1686"/>
                  </a:lnTo>
                  <a:lnTo>
                    <a:pt x="970" y="1689"/>
                  </a:lnTo>
                  <a:lnTo>
                    <a:pt x="970" y="1691"/>
                  </a:lnTo>
                  <a:lnTo>
                    <a:pt x="970" y="1689"/>
                  </a:lnTo>
                  <a:lnTo>
                    <a:pt x="968" y="1689"/>
                  </a:lnTo>
                  <a:lnTo>
                    <a:pt x="970" y="1689"/>
                  </a:lnTo>
                  <a:lnTo>
                    <a:pt x="968" y="1689"/>
                  </a:lnTo>
                  <a:lnTo>
                    <a:pt x="970" y="1689"/>
                  </a:lnTo>
                  <a:lnTo>
                    <a:pt x="968" y="1689"/>
                  </a:lnTo>
                  <a:lnTo>
                    <a:pt x="970" y="1689"/>
                  </a:lnTo>
                  <a:lnTo>
                    <a:pt x="968" y="1689"/>
                  </a:lnTo>
                  <a:lnTo>
                    <a:pt x="968" y="1691"/>
                  </a:lnTo>
                  <a:lnTo>
                    <a:pt x="970" y="1691"/>
                  </a:lnTo>
                  <a:lnTo>
                    <a:pt x="968" y="1691"/>
                  </a:lnTo>
                  <a:lnTo>
                    <a:pt x="968" y="1689"/>
                  </a:lnTo>
                  <a:lnTo>
                    <a:pt x="968" y="1691"/>
                  </a:lnTo>
                  <a:lnTo>
                    <a:pt x="968" y="1689"/>
                  </a:lnTo>
                  <a:lnTo>
                    <a:pt x="965" y="1689"/>
                  </a:lnTo>
                  <a:lnTo>
                    <a:pt x="968" y="1689"/>
                  </a:lnTo>
                  <a:lnTo>
                    <a:pt x="968" y="1691"/>
                  </a:lnTo>
                  <a:lnTo>
                    <a:pt x="968" y="1689"/>
                  </a:lnTo>
                  <a:lnTo>
                    <a:pt x="965" y="1691"/>
                  </a:lnTo>
                  <a:lnTo>
                    <a:pt x="968" y="1691"/>
                  </a:lnTo>
                  <a:lnTo>
                    <a:pt x="968" y="1694"/>
                  </a:lnTo>
                  <a:lnTo>
                    <a:pt x="968" y="1691"/>
                  </a:lnTo>
                  <a:lnTo>
                    <a:pt x="968" y="1694"/>
                  </a:lnTo>
                  <a:lnTo>
                    <a:pt x="968" y="1691"/>
                  </a:lnTo>
                  <a:lnTo>
                    <a:pt x="970" y="1691"/>
                  </a:lnTo>
                  <a:lnTo>
                    <a:pt x="968" y="1691"/>
                  </a:lnTo>
                  <a:lnTo>
                    <a:pt x="970" y="1691"/>
                  </a:lnTo>
                  <a:lnTo>
                    <a:pt x="970" y="1694"/>
                  </a:lnTo>
                  <a:lnTo>
                    <a:pt x="970" y="1691"/>
                  </a:lnTo>
                  <a:lnTo>
                    <a:pt x="970" y="1694"/>
                  </a:lnTo>
                  <a:lnTo>
                    <a:pt x="970" y="1691"/>
                  </a:lnTo>
                  <a:lnTo>
                    <a:pt x="968" y="1694"/>
                  </a:lnTo>
                  <a:lnTo>
                    <a:pt x="970" y="1694"/>
                  </a:lnTo>
                  <a:lnTo>
                    <a:pt x="968" y="1694"/>
                  </a:lnTo>
                  <a:lnTo>
                    <a:pt x="970" y="1694"/>
                  </a:lnTo>
                  <a:lnTo>
                    <a:pt x="968" y="1694"/>
                  </a:lnTo>
                  <a:lnTo>
                    <a:pt x="970" y="1694"/>
                  </a:lnTo>
                  <a:lnTo>
                    <a:pt x="970" y="1696"/>
                  </a:lnTo>
                  <a:lnTo>
                    <a:pt x="970" y="1694"/>
                  </a:lnTo>
                  <a:lnTo>
                    <a:pt x="970" y="1696"/>
                  </a:lnTo>
                  <a:lnTo>
                    <a:pt x="970" y="1698"/>
                  </a:lnTo>
                  <a:lnTo>
                    <a:pt x="970" y="1696"/>
                  </a:lnTo>
                  <a:lnTo>
                    <a:pt x="970" y="1694"/>
                  </a:lnTo>
                  <a:lnTo>
                    <a:pt x="968" y="1694"/>
                  </a:lnTo>
                  <a:lnTo>
                    <a:pt x="968" y="1691"/>
                  </a:lnTo>
                  <a:lnTo>
                    <a:pt x="965" y="1691"/>
                  </a:lnTo>
                  <a:lnTo>
                    <a:pt x="968" y="1691"/>
                  </a:lnTo>
                  <a:lnTo>
                    <a:pt x="965" y="1691"/>
                  </a:lnTo>
                  <a:lnTo>
                    <a:pt x="965" y="1694"/>
                  </a:lnTo>
                  <a:lnTo>
                    <a:pt x="965" y="1691"/>
                  </a:lnTo>
                  <a:lnTo>
                    <a:pt x="965" y="1694"/>
                  </a:lnTo>
                  <a:lnTo>
                    <a:pt x="965" y="1691"/>
                  </a:lnTo>
                  <a:lnTo>
                    <a:pt x="965" y="1694"/>
                  </a:lnTo>
                  <a:lnTo>
                    <a:pt x="965" y="1691"/>
                  </a:lnTo>
                  <a:lnTo>
                    <a:pt x="965" y="1694"/>
                  </a:lnTo>
                  <a:lnTo>
                    <a:pt x="968" y="1694"/>
                  </a:lnTo>
                  <a:lnTo>
                    <a:pt x="965" y="1694"/>
                  </a:lnTo>
                  <a:lnTo>
                    <a:pt x="968" y="1694"/>
                  </a:lnTo>
                  <a:lnTo>
                    <a:pt x="968" y="1696"/>
                  </a:lnTo>
                  <a:lnTo>
                    <a:pt x="970" y="1696"/>
                  </a:lnTo>
                  <a:lnTo>
                    <a:pt x="968" y="1696"/>
                  </a:lnTo>
                  <a:lnTo>
                    <a:pt x="968" y="1694"/>
                  </a:lnTo>
                  <a:lnTo>
                    <a:pt x="968" y="1696"/>
                  </a:lnTo>
                  <a:lnTo>
                    <a:pt x="968" y="1694"/>
                  </a:lnTo>
                  <a:lnTo>
                    <a:pt x="968" y="1696"/>
                  </a:lnTo>
                  <a:lnTo>
                    <a:pt x="965" y="1696"/>
                  </a:lnTo>
                  <a:lnTo>
                    <a:pt x="968" y="1696"/>
                  </a:lnTo>
                  <a:lnTo>
                    <a:pt x="968" y="1698"/>
                  </a:lnTo>
                  <a:lnTo>
                    <a:pt x="965" y="1698"/>
                  </a:lnTo>
                  <a:lnTo>
                    <a:pt x="968" y="1698"/>
                  </a:lnTo>
                  <a:lnTo>
                    <a:pt x="965" y="1698"/>
                  </a:lnTo>
                  <a:lnTo>
                    <a:pt x="965" y="1696"/>
                  </a:lnTo>
                  <a:lnTo>
                    <a:pt x="965" y="1698"/>
                  </a:lnTo>
                  <a:lnTo>
                    <a:pt x="965" y="1696"/>
                  </a:lnTo>
                  <a:lnTo>
                    <a:pt x="965" y="1698"/>
                  </a:lnTo>
                  <a:lnTo>
                    <a:pt x="965" y="1701"/>
                  </a:lnTo>
                  <a:lnTo>
                    <a:pt x="963" y="1701"/>
                  </a:lnTo>
                  <a:lnTo>
                    <a:pt x="965" y="1701"/>
                  </a:lnTo>
                  <a:lnTo>
                    <a:pt x="963" y="1701"/>
                  </a:lnTo>
                  <a:lnTo>
                    <a:pt x="963" y="1703"/>
                  </a:lnTo>
                  <a:lnTo>
                    <a:pt x="965" y="1703"/>
                  </a:lnTo>
                  <a:lnTo>
                    <a:pt x="965" y="1705"/>
                  </a:lnTo>
                  <a:lnTo>
                    <a:pt x="965" y="1703"/>
                  </a:lnTo>
                  <a:lnTo>
                    <a:pt x="965" y="1705"/>
                  </a:lnTo>
                  <a:lnTo>
                    <a:pt x="965" y="1703"/>
                  </a:lnTo>
                  <a:lnTo>
                    <a:pt x="963" y="1703"/>
                  </a:lnTo>
                  <a:lnTo>
                    <a:pt x="965" y="1703"/>
                  </a:lnTo>
                  <a:lnTo>
                    <a:pt x="963" y="1703"/>
                  </a:lnTo>
                  <a:lnTo>
                    <a:pt x="963" y="1701"/>
                  </a:lnTo>
                  <a:lnTo>
                    <a:pt x="963" y="1698"/>
                  </a:lnTo>
                  <a:lnTo>
                    <a:pt x="963" y="1701"/>
                  </a:lnTo>
                  <a:lnTo>
                    <a:pt x="963" y="1698"/>
                  </a:lnTo>
                  <a:lnTo>
                    <a:pt x="961" y="1698"/>
                  </a:lnTo>
                  <a:lnTo>
                    <a:pt x="961" y="1701"/>
                  </a:lnTo>
                  <a:lnTo>
                    <a:pt x="961" y="1698"/>
                  </a:lnTo>
                  <a:lnTo>
                    <a:pt x="961" y="1701"/>
                  </a:lnTo>
                  <a:lnTo>
                    <a:pt x="961" y="1703"/>
                  </a:lnTo>
                  <a:lnTo>
                    <a:pt x="963" y="1703"/>
                  </a:lnTo>
                  <a:lnTo>
                    <a:pt x="961" y="1703"/>
                  </a:lnTo>
                  <a:lnTo>
                    <a:pt x="961" y="1705"/>
                  </a:lnTo>
                  <a:lnTo>
                    <a:pt x="961" y="1703"/>
                  </a:lnTo>
                  <a:lnTo>
                    <a:pt x="961" y="1705"/>
                  </a:lnTo>
                  <a:lnTo>
                    <a:pt x="961" y="1708"/>
                  </a:lnTo>
                  <a:lnTo>
                    <a:pt x="961" y="1710"/>
                  </a:lnTo>
                  <a:lnTo>
                    <a:pt x="961" y="1708"/>
                  </a:lnTo>
                  <a:lnTo>
                    <a:pt x="961" y="1710"/>
                  </a:lnTo>
                  <a:lnTo>
                    <a:pt x="961" y="1708"/>
                  </a:lnTo>
                  <a:lnTo>
                    <a:pt x="961" y="1710"/>
                  </a:lnTo>
                  <a:lnTo>
                    <a:pt x="961" y="1708"/>
                  </a:lnTo>
                  <a:lnTo>
                    <a:pt x="961" y="1710"/>
                  </a:lnTo>
                  <a:lnTo>
                    <a:pt x="963" y="1710"/>
                  </a:lnTo>
                  <a:lnTo>
                    <a:pt x="961" y="1710"/>
                  </a:lnTo>
                  <a:lnTo>
                    <a:pt x="963" y="1710"/>
                  </a:lnTo>
                  <a:lnTo>
                    <a:pt x="963" y="1708"/>
                  </a:lnTo>
                  <a:lnTo>
                    <a:pt x="961" y="1708"/>
                  </a:lnTo>
                  <a:lnTo>
                    <a:pt x="963" y="1708"/>
                  </a:lnTo>
                  <a:lnTo>
                    <a:pt x="963" y="1705"/>
                  </a:lnTo>
                  <a:lnTo>
                    <a:pt x="963" y="1708"/>
                  </a:lnTo>
                  <a:lnTo>
                    <a:pt x="963" y="1705"/>
                  </a:lnTo>
                  <a:lnTo>
                    <a:pt x="963" y="1708"/>
                  </a:lnTo>
                  <a:lnTo>
                    <a:pt x="963" y="1705"/>
                  </a:lnTo>
                  <a:lnTo>
                    <a:pt x="965" y="1705"/>
                  </a:lnTo>
                  <a:lnTo>
                    <a:pt x="965" y="1708"/>
                  </a:lnTo>
                  <a:lnTo>
                    <a:pt x="965" y="1705"/>
                  </a:lnTo>
                  <a:lnTo>
                    <a:pt x="965" y="1708"/>
                  </a:lnTo>
                  <a:lnTo>
                    <a:pt x="965" y="1705"/>
                  </a:lnTo>
                  <a:lnTo>
                    <a:pt x="965" y="1708"/>
                  </a:lnTo>
                  <a:lnTo>
                    <a:pt x="963" y="1708"/>
                  </a:lnTo>
                  <a:lnTo>
                    <a:pt x="965" y="1708"/>
                  </a:lnTo>
                  <a:lnTo>
                    <a:pt x="965" y="1705"/>
                  </a:lnTo>
                  <a:lnTo>
                    <a:pt x="965" y="1708"/>
                  </a:lnTo>
                  <a:lnTo>
                    <a:pt x="965" y="1705"/>
                  </a:lnTo>
                  <a:lnTo>
                    <a:pt x="965" y="1708"/>
                  </a:lnTo>
                  <a:lnTo>
                    <a:pt x="963" y="1708"/>
                  </a:lnTo>
                  <a:lnTo>
                    <a:pt x="965" y="1708"/>
                  </a:lnTo>
                  <a:lnTo>
                    <a:pt x="963" y="1708"/>
                  </a:lnTo>
                  <a:lnTo>
                    <a:pt x="963" y="1705"/>
                  </a:lnTo>
                  <a:lnTo>
                    <a:pt x="963" y="1708"/>
                  </a:lnTo>
                  <a:lnTo>
                    <a:pt x="963" y="1705"/>
                  </a:lnTo>
                  <a:lnTo>
                    <a:pt x="963" y="1708"/>
                  </a:lnTo>
                  <a:lnTo>
                    <a:pt x="963" y="1705"/>
                  </a:lnTo>
                  <a:lnTo>
                    <a:pt x="963" y="1708"/>
                  </a:lnTo>
                  <a:lnTo>
                    <a:pt x="963" y="1705"/>
                  </a:lnTo>
                  <a:lnTo>
                    <a:pt x="963" y="1708"/>
                  </a:lnTo>
                  <a:lnTo>
                    <a:pt x="965" y="1708"/>
                  </a:lnTo>
                  <a:lnTo>
                    <a:pt x="963" y="1708"/>
                  </a:lnTo>
                  <a:lnTo>
                    <a:pt x="963" y="1710"/>
                  </a:lnTo>
                  <a:lnTo>
                    <a:pt x="961" y="1710"/>
                  </a:lnTo>
                  <a:lnTo>
                    <a:pt x="961" y="1713"/>
                  </a:lnTo>
                  <a:lnTo>
                    <a:pt x="958" y="1713"/>
                  </a:lnTo>
                  <a:lnTo>
                    <a:pt x="958" y="1710"/>
                  </a:lnTo>
                  <a:lnTo>
                    <a:pt x="958" y="1713"/>
                  </a:lnTo>
                  <a:lnTo>
                    <a:pt x="958" y="1710"/>
                  </a:lnTo>
                  <a:lnTo>
                    <a:pt x="958" y="1713"/>
                  </a:lnTo>
                  <a:lnTo>
                    <a:pt x="958" y="1710"/>
                  </a:lnTo>
                  <a:lnTo>
                    <a:pt x="956" y="1710"/>
                  </a:lnTo>
                  <a:lnTo>
                    <a:pt x="958" y="1713"/>
                  </a:lnTo>
                  <a:lnTo>
                    <a:pt x="956" y="1713"/>
                  </a:lnTo>
                  <a:lnTo>
                    <a:pt x="958" y="1713"/>
                  </a:lnTo>
                  <a:lnTo>
                    <a:pt x="956" y="1713"/>
                  </a:lnTo>
                  <a:lnTo>
                    <a:pt x="956" y="1710"/>
                  </a:lnTo>
                  <a:lnTo>
                    <a:pt x="956" y="1713"/>
                  </a:lnTo>
                  <a:lnTo>
                    <a:pt x="956" y="1710"/>
                  </a:lnTo>
                  <a:lnTo>
                    <a:pt x="953" y="1710"/>
                  </a:lnTo>
                  <a:lnTo>
                    <a:pt x="956" y="1710"/>
                  </a:lnTo>
                  <a:lnTo>
                    <a:pt x="953" y="1710"/>
                  </a:lnTo>
                  <a:lnTo>
                    <a:pt x="956" y="1710"/>
                  </a:lnTo>
                  <a:lnTo>
                    <a:pt x="953" y="1710"/>
                  </a:lnTo>
                  <a:lnTo>
                    <a:pt x="956" y="1710"/>
                  </a:lnTo>
                  <a:lnTo>
                    <a:pt x="953" y="1710"/>
                  </a:lnTo>
                  <a:lnTo>
                    <a:pt x="953" y="1708"/>
                  </a:lnTo>
                  <a:lnTo>
                    <a:pt x="956" y="1708"/>
                  </a:lnTo>
                  <a:lnTo>
                    <a:pt x="956" y="1710"/>
                  </a:lnTo>
                  <a:lnTo>
                    <a:pt x="956" y="1708"/>
                  </a:lnTo>
                  <a:lnTo>
                    <a:pt x="953" y="1708"/>
                  </a:lnTo>
                  <a:lnTo>
                    <a:pt x="953" y="1710"/>
                  </a:lnTo>
                  <a:lnTo>
                    <a:pt x="953" y="1708"/>
                  </a:lnTo>
                  <a:lnTo>
                    <a:pt x="953" y="1710"/>
                  </a:lnTo>
                  <a:lnTo>
                    <a:pt x="953" y="1713"/>
                  </a:lnTo>
                  <a:lnTo>
                    <a:pt x="951" y="1713"/>
                  </a:lnTo>
                  <a:lnTo>
                    <a:pt x="951" y="1715"/>
                  </a:lnTo>
                  <a:lnTo>
                    <a:pt x="949" y="1715"/>
                  </a:lnTo>
                  <a:lnTo>
                    <a:pt x="946" y="1715"/>
                  </a:lnTo>
                  <a:lnTo>
                    <a:pt x="949" y="1715"/>
                  </a:lnTo>
                  <a:lnTo>
                    <a:pt x="946" y="1715"/>
                  </a:lnTo>
                  <a:lnTo>
                    <a:pt x="949" y="1715"/>
                  </a:lnTo>
                  <a:lnTo>
                    <a:pt x="946" y="1715"/>
                  </a:lnTo>
                  <a:lnTo>
                    <a:pt x="949" y="1715"/>
                  </a:lnTo>
                  <a:lnTo>
                    <a:pt x="949" y="1713"/>
                  </a:lnTo>
                  <a:lnTo>
                    <a:pt x="946" y="1713"/>
                  </a:lnTo>
                  <a:lnTo>
                    <a:pt x="949" y="1713"/>
                  </a:lnTo>
                  <a:lnTo>
                    <a:pt x="946" y="1713"/>
                  </a:lnTo>
                  <a:lnTo>
                    <a:pt x="946" y="1710"/>
                  </a:lnTo>
                  <a:lnTo>
                    <a:pt x="946" y="1708"/>
                  </a:lnTo>
                  <a:lnTo>
                    <a:pt x="946" y="1705"/>
                  </a:lnTo>
                  <a:lnTo>
                    <a:pt x="944" y="1705"/>
                  </a:lnTo>
                  <a:lnTo>
                    <a:pt x="944" y="1708"/>
                  </a:lnTo>
                  <a:lnTo>
                    <a:pt x="946" y="1708"/>
                  </a:lnTo>
                  <a:lnTo>
                    <a:pt x="944" y="1708"/>
                  </a:lnTo>
                  <a:lnTo>
                    <a:pt x="946" y="1708"/>
                  </a:lnTo>
                  <a:lnTo>
                    <a:pt x="944" y="1708"/>
                  </a:lnTo>
                  <a:lnTo>
                    <a:pt x="944" y="1705"/>
                  </a:lnTo>
                  <a:lnTo>
                    <a:pt x="944" y="1708"/>
                  </a:lnTo>
                  <a:lnTo>
                    <a:pt x="944" y="1705"/>
                  </a:lnTo>
                  <a:lnTo>
                    <a:pt x="944" y="1708"/>
                  </a:lnTo>
                  <a:lnTo>
                    <a:pt x="942" y="1708"/>
                  </a:lnTo>
                  <a:lnTo>
                    <a:pt x="942" y="1710"/>
                  </a:lnTo>
                  <a:lnTo>
                    <a:pt x="939" y="1710"/>
                  </a:lnTo>
                  <a:lnTo>
                    <a:pt x="942" y="1710"/>
                  </a:lnTo>
                  <a:lnTo>
                    <a:pt x="939" y="1710"/>
                  </a:lnTo>
                  <a:lnTo>
                    <a:pt x="942" y="1710"/>
                  </a:lnTo>
                  <a:lnTo>
                    <a:pt x="939" y="1710"/>
                  </a:lnTo>
                  <a:lnTo>
                    <a:pt x="939" y="1713"/>
                  </a:lnTo>
                  <a:lnTo>
                    <a:pt x="942" y="1713"/>
                  </a:lnTo>
                  <a:lnTo>
                    <a:pt x="942" y="1715"/>
                  </a:lnTo>
                  <a:lnTo>
                    <a:pt x="942" y="1713"/>
                  </a:lnTo>
                  <a:lnTo>
                    <a:pt x="942" y="1715"/>
                  </a:lnTo>
                  <a:lnTo>
                    <a:pt x="939" y="1715"/>
                  </a:lnTo>
                  <a:lnTo>
                    <a:pt x="942" y="1715"/>
                  </a:lnTo>
                  <a:lnTo>
                    <a:pt x="942" y="1717"/>
                  </a:lnTo>
                  <a:lnTo>
                    <a:pt x="942" y="1715"/>
                  </a:lnTo>
                  <a:lnTo>
                    <a:pt x="944" y="1715"/>
                  </a:lnTo>
                  <a:lnTo>
                    <a:pt x="944" y="1717"/>
                  </a:lnTo>
                  <a:lnTo>
                    <a:pt x="944" y="1720"/>
                  </a:lnTo>
                  <a:lnTo>
                    <a:pt x="942" y="1720"/>
                  </a:lnTo>
                  <a:lnTo>
                    <a:pt x="942" y="1722"/>
                  </a:lnTo>
                  <a:lnTo>
                    <a:pt x="942" y="1720"/>
                  </a:lnTo>
                  <a:lnTo>
                    <a:pt x="942" y="1722"/>
                  </a:lnTo>
                  <a:lnTo>
                    <a:pt x="944" y="1722"/>
                  </a:lnTo>
                  <a:lnTo>
                    <a:pt x="942" y="1722"/>
                  </a:lnTo>
                  <a:lnTo>
                    <a:pt x="944" y="1722"/>
                  </a:lnTo>
                  <a:lnTo>
                    <a:pt x="942" y="1722"/>
                  </a:lnTo>
                  <a:lnTo>
                    <a:pt x="944" y="1722"/>
                  </a:lnTo>
                  <a:lnTo>
                    <a:pt x="944" y="1720"/>
                  </a:lnTo>
                  <a:lnTo>
                    <a:pt x="944" y="1722"/>
                  </a:lnTo>
                  <a:lnTo>
                    <a:pt x="946" y="1722"/>
                  </a:lnTo>
                  <a:lnTo>
                    <a:pt x="944" y="1722"/>
                  </a:lnTo>
                  <a:lnTo>
                    <a:pt x="946" y="1722"/>
                  </a:lnTo>
                  <a:lnTo>
                    <a:pt x="944" y="1722"/>
                  </a:lnTo>
                  <a:lnTo>
                    <a:pt x="944" y="1724"/>
                  </a:lnTo>
                  <a:lnTo>
                    <a:pt x="944" y="1722"/>
                  </a:lnTo>
                  <a:lnTo>
                    <a:pt x="944" y="1724"/>
                  </a:lnTo>
                  <a:lnTo>
                    <a:pt x="942" y="1724"/>
                  </a:lnTo>
                  <a:lnTo>
                    <a:pt x="942" y="1722"/>
                  </a:lnTo>
                  <a:lnTo>
                    <a:pt x="939" y="1722"/>
                  </a:lnTo>
                  <a:lnTo>
                    <a:pt x="942" y="1722"/>
                  </a:lnTo>
                  <a:lnTo>
                    <a:pt x="939" y="1722"/>
                  </a:lnTo>
                  <a:lnTo>
                    <a:pt x="942" y="1722"/>
                  </a:lnTo>
                  <a:lnTo>
                    <a:pt x="939" y="1722"/>
                  </a:lnTo>
                  <a:lnTo>
                    <a:pt x="942" y="1722"/>
                  </a:lnTo>
                  <a:lnTo>
                    <a:pt x="939" y="1722"/>
                  </a:lnTo>
                  <a:lnTo>
                    <a:pt x="942" y="1722"/>
                  </a:lnTo>
                  <a:lnTo>
                    <a:pt x="939" y="1722"/>
                  </a:lnTo>
                  <a:lnTo>
                    <a:pt x="939" y="1720"/>
                  </a:lnTo>
                  <a:lnTo>
                    <a:pt x="939" y="1722"/>
                  </a:lnTo>
                  <a:lnTo>
                    <a:pt x="939" y="1720"/>
                  </a:lnTo>
                  <a:lnTo>
                    <a:pt x="942" y="1722"/>
                  </a:lnTo>
                  <a:lnTo>
                    <a:pt x="942" y="1720"/>
                  </a:lnTo>
                  <a:lnTo>
                    <a:pt x="939" y="1720"/>
                  </a:lnTo>
                  <a:lnTo>
                    <a:pt x="939" y="1717"/>
                  </a:lnTo>
                  <a:lnTo>
                    <a:pt x="939" y="1720"/>
                  </a:lnTo>
                  <a:lnTo>
                    <a:pt x="939" y="1717"/>
                  </a:lnTo>
                  <a:lnTo>
                    <a:pt x="939" y="1720"/>
                  </a:lnTo>
                  <a:lnTo>
                    <a:pt x="939" y="1717"/>
                  </a:lnTo>
                  <a:lnTo>
                    <a:pt x="939" y="1720"/>
                  </a:lnTo>
                  <a:lnTo>
                    <a:pt x="939" y="1717"/>
                  </a:lnTo>
                  <a:lnTo>
                    <a:pt x="939" y="1720"/>
                  </a:lnTo>
                  <a:lnTo>
                    <a:pt x="939" y="1717"/>
                  </a:lnTo>
                  <a:lnTo>
                    <a:pt x="939" y="1715"/>
                  </a:lnTo>
                  <a:lnTo>
                    <a:pt x="939" y="1717"/>
                  </a:lnTo>
                  <a:lnTo>
                    <a:pt x="939" y="1715"/>
                  </a:lnTo>
                  <a:lnTo>
                    <a:pt x="939" y="1713"/>
                  </a:lnTo>
                  <a:lnTo>
                    <a:pt x="939" y="1715"/>
                  </a:lnTo>
                  <a:lnTo>
                    <a:pt x="937" y="1715"/>
                  </a:lnTo>
                  <a:lnTo>
                    <a:pt x="939" y="1715"/>
                  </a:lnTo>
                  <a:lnTo>
                    <a:pt x="937" y="1715"/>
                  </a:lnTo>
                  <a:lnTo>
                    <a:pt x="937" y="1713"/>
                  </a:lnTo>
                  <a:lnTo>
                    <a:pt x="937" y="1710"/>
                  </a:lnTo>
                  <a:lnTo>
                    <a:pt x="937" y="1713"/>
                  </a:lnTo>
                  <a:lnTo>
                    <a:pt x="939" y="1713"/>
                  </a:lnTo>
                  <a:lnTo>
                    <a:pt x="937" y="1713"/>
                  </a:lnTo>
                  <a:lnTo>
                    <a:pt x="939" y="1713"/>
                  </a:lnTo>
                  <a:lnTo>
                    <a:pt x="937" y="1713"/>
                  </a:lnTo>
                  <a:lnTo>
                    <a:pt x="939" y="1713"/>
                  </a:lnTo>
                  <a:lnTo>
                    <a:pt x="937" y="1713"/>
                  </a:lnTo>
                  <a:lnTo>
                    <a:pt x="939" y="1713"/>
                  </a:lnTo>
                  <a:lnTo>
                    <a:pt x="937" y="1713"/>
                  </a:lnTo>
                  <a:lnTo>
                    <a:pt x="939" y="1713"/>
                  </a:lnTo>
                  <a:lnTo>
                    <a:pt x="937" y="1713"/>
                  </a:lnTo>
                  <a:lnTo>
                    <a:pt x="939" y="1713"/>
                  </a:lnTo>
                  <a:lnTo>
                    <a:pt x="937" y="1713"/>
                  </a:lnTo>
                  <a:lnTo>
                    <a:pt x="939" y="1713"/>
                  </a:lnTo>
                  <a:lnTo>
                    <a:pt x="939" y="1710"/>
                  </a:lnTo>
                  <a:lnTo>
                    <a:pt x="937" y="1710"/>
                  </a:lnTo>
                  <a:lnTo>
                    <a:pt x="939" y="1710"/>
                  </a:lnTo>
                  <a:lnTo>
                    <a:pt x="937" y="1710"/>
                  </a:lnTo>
                  <a:lnTo>
                    <a:pt x="937" y="1708"/>
                  </a:lnTo>
                  <a:lnTo>
                    <a:pt x="937" y="1710"/>
                  </a:lnTo>
                  <a:lnTo>
                    <a:pt x="937" y="1708"/>
                  </a:lnTo>
                  <a:lnTo>
                    <a:pt x="937" y="1710"/>
                  </a:lnTo>
                  <a:lnTo>
                    <a:pt x="937" y="1713"/>
                  </a:lnTo>
                  <a:lnTo>
                    <a:pt x="937" y="1710"/>
                  </a:lnTo>
                  <a:lnTo>
                    <a:pt x="934" y="1710"/>
                  </a:lnTo>
                  <a:lnTo>
                    <a:pt x="937" y="1710"/>
                  </a:lnTo>
                  <a:lnTo>
                    <a:pt x="937" y="1713"/>
                  </a:lnTo>
                  <a:lnTo>
                    <a:pt x="934" y="1713"/>
                  </a:lnTo>
                  <a:lnTo>
                    <a:pt x="937" y="1713"/>
                  </a:lnTo>
                  <a:lnTo>
                    <a:pt x="937" y="1715"/>
                  </a:lnTo>
                  <a:lnTo>
                    <a:pt x="937" y="1713"/>
                  </a:lnTo>
                  <a:lnTo>
                    <a:pt x="937" y="1715"/>
                  </a:lnTo>
                  <a:lnTo>
                    <a:pt x="937" y="1717"/>
                  </a:lnTo>
                  <a:lnTo>
                    <a:pt x="937" y="1720"/>
                  </a:lnTo>
                  <a:lnTo>
                    <a:pt x="937" y="1722"/>
                  </a:lnTo>
                  <a:lnTo>
                    <a:pt x="937" y="1724"/>
                  </a:lnTo>
                  <a:lnTo>
                    <a:pt x="934" y="1724"/>
                  </a:lnTo>
                  <a:lnTo>
                    <a:pt x="937" y="1724"/>
                  </a:lnTo>
                  <a:lnTo>
                    <a:pt x="934" y="1724"/>
                  </a:lnTo>
                  <a:lnTo>
                    <a:pt x="937" y="1724"/>
                  </a:lnTo>
                  <a:lnTo>
                    <a:pt x="934" y="1724"/>
                  </a:lnTo>
                  <a:lnTo>
                    <a:pt x="937" y="1724"/>
                  </a:lnTo>
                  <a:lnTo>
                    <a:pt x="934" y="1724"/>
                  </a:lnTo>
                  <a:lnTo>
                    <a:pt x="932" y="1724"/>
                  </a:lnTo>
                  <a:lnTo>
                    <a:pt x="932" y="1722"/>
                  </a:lnTo>
                  <a:lnTo>
                    <a:pt x="932" y="1720"/>
                  </a:lnTo>
                  <a:lnTo>
                    <a:pt x="930" y="1720"/>
                  </a:lnTo>
                  <a:lnTo>
                    <a:pt x="930" y="1717"/>
                  </a:lnTo>
                  <a:lnTo>
                    <a:pt x="932" y="1717"/>
                  </a:lnTo>
                  <a:lnTo>
                    <a:pt x="932" y="1720"/>
                  </a:lnTo>
                  <a:lnTo>
                    <a:pt x="932" y="1717"/>
                  </a:lnTo>
                  <a:lnTo>
                    <a:pt x="930" y="1717"/>
                  </a:lnTo>
                  <a:lnTo>
                    <a:pt x="932" y="1717"/>
                  </a:lnTo>
                  <a:lnTo>
                    <a:pt x="930" y="1717"/>
                  </a:lnTo>
                  <a:lnTo>
                    <a:pt x="930" y="1715"/>
                  </a:lnTo>
                  <a:lnTo>
                    <a:pt x="930" y="1713"/>
                  </a:lnTo>
                  <a:lnTo>
                    <a:pt x="930" y="1715"/>
                  </a:lnTo>
                  <a:lnTo>
                    <a:pt x="930" y="1713"/>
                  </a:lnTo>
                  <a:lnTo>
                    <a:pt x="927" y="1713"/>
                  </a:lnTo>
                  <a:lnTo>
                    <a:pt x="930" y="1713"/>
                  </a:lnTo>
                  <a:lnTo>
                    <a:pt x="927" y="1713"/>
                  </a:lnTo>
                  <a:lnTo>
                    <a:pt x="930" y="1713"/>
                  </a:lnTo>
                  <a:lnTo>
                    <a:pt x="930" y="1710"/>
                  </a:lnTo>
                  <a:lnTo>
                    <a:pt x="927" y="1713"/>
                  </a:lnTo>
                  <a:lnTo>
                    <a:pt x="927" y="1710"/>
                  </a:lnTo>
                  <a:lnTo>
                    <a:pt x="927" y="1713"/>
                  </a:lnTo>
                  <a:lnTo>
                    <a:pt x="927" y="1710"/>
                  </a:lnTo>
                  <a:lnTo>
                    <a:pt x="927" y="1713"/>
                  </a:lnTo>
                  <a:lnTo>
                    <a:pt x="927" y="1710"/>
                  </a:lnTo>
                  <a:lnTo>
                    <a:pt x="927" y="1713"/>
                  </a:lnTo>
                  <a:lnTo>
                    <a:pt x="927" y="1710"/>
                  </a:lnTo>
                  <a:lnTo>
                    <a:pt x="927" y="1713"/>
                  </a:lnTo>
                  <a:lnTo>
                    <a:pt x="927" y="1715"/>
                  </a:lnTo>
                  <a:lnTo>
                    <a:pt x="927" y="1713"/>
                  </a:lnTo>
                  <a:lnTo>
                    <a:pt x="927" y="1715"/>
                  </a:lnTo>
                  <a:lnTo>
                    <a:pt x="930" y="1715"/>
                  </a:lnTo>
                  <a:lnTo>
                    <a:pt x="927" y="1715"/>
                  </a:lnTo>
                  <a:lnTo>
                    <a:pt x="927" y="1717"/>
                  </a:lnTo>
                  <a:lnTo>
                    <a:pt x="930" y="1717"/>
                  </a:lnTo>
                  <a:lnTo>
                    <a:pt x="927" y="1717"/>
                  </a:lnTo>
                  <a:lnTo>
                    <a:pt x="927" y="1720"/>
                  </a:lnTo>
                  <a:lnTo>
                    <a:pt x="927" y="1717"/>
                  </a:lnTo>
                  <a:lnTo>
                    <a:pt x="927" y="1715"/>
                  </a:lnTo>
                  <a:lnTo>
                    <a:pt x="927" y="1713"/>
                  </a:lnTo>
                  <a:lnTo>
                    <a:pt x="927" y="1710"/>
                  </a:lnTo>
                  <a:lnTo>
                    <a:pt x="925" y="1708"/>
                  </a:lnTo>
                  <a:lnTo>
                    <a:pt x="925" y="1705"/>
                  </a:lnTo>
                  <a:lnTo>
                    <a:pt x="925" y="1703"/>
                  </a:lnTo>
                  <a:lnTo>
                    <a:pt x="925" y="1705"/>
                  </a:lnTo>
                  <a:lnTo>
                    <a:pt x="927" y="1705"/>
                  </a:lnTo>
                  <a:lnTo>
                    <a:pt x="927" y="1708"/>
                  </a:lnTo>
                  <a:lnTo>
                    <a:pt x="927" y="1705"/>
                  </a:lnTo>
                  <a:lnTo>
                    <a:pt x="925" y="1703"/>
                  </a:lnTo>
                  <a:lnTo>
                    <a:pt x="925" y="1701"/>
                  </a:lnTo>
                  <a:lnTo>
                    <a:pt x="927" y="1701"/>
                  </a:lnTo>
                  <a:lnTo>
                    <a:pt x="927" y="1698"/>
                  </a:lnTo>
                  <a:lnTo>
                    <a:pt x="927" y="1701"/>
                  </a:lnTo>
                  <a:lnTo>
                    <a:pt x="925" y="1701"/>
                  </a:lnTo>
                  <a:lnTo>
                    <a:pt x="923" y="1701"/>
                  </a:lnTo>
                  <a:lnTo>
                    <a:pt x="923" y="1698"/>
                  </a:lnTo>
                  <a:lnTo>
                    <a:pt x="925" y="1698"/>
                  </a:lnTo>
                  <a:lnTo>
                    <a:pt x="925" y="1696"/>
                  </a:lnTo>
                  <a:lnTo>
                    <a:pt x="925" y="1694"/>
                  </a:lnTo>
                  <a:lnTo>
                    <a:pt x="927" y="1694"/>
                  </a:lnTo>
                  <a:lnTo>
                    <a:pt x="927" y="1691"/>
                  </a:lnTo>
                  <a:lnTo>
                    <a:pt x="927" y="1689"/>
                  </a:lnTo>
                  <a:lnTo>
                    <a:pt x="930" y="1689"/>
                  </a:lnTo>
                  <a:lnTo>
                    <a:pt x="927" y="1689"/>
                  </a:lnTo>
                  <a:lnTo>
                    <a:pt x="930" y="1689"/>
                  </a:lnTo>
                  <a:lnTo>
                    <a:pt x="930" y="1686"/>
                  </a:lnTo>
                  <a:lnTo>
                    <a:pt x="930" y="1689"/>
                  </a:lnTo>
                  <a:lnTo>
                    <a:pt x="927" y="1689"/>
                  </a:lnTo>
                  <a:lnTo>
                    <a:pt x="927" y="1691"/>
                  </a:lnTo>
                  <a:lnTo>
                    <a:pt x="925" y="1694"/>
                  </a:lnTo>
                  <a:lnTo>
                    <a:pt x="925" y="1696"/>
                  </a:lnTo>
                  <a:lnTo>
                    <a:pt x="923" y="1696"/>
                  </a:lnTo>
                  <a:lnTo>
                    <a:pt x="925" y="1696"/>
                  </a:lnTo>
                  <a:lnTo>
                    <a:pt x="925" y="1698"/>
                  </a:lnTo>
                  <a:lnTo>
                    <a:pt x="923" y="1698"/>
                  </a:lnTo>
                  <a:lnTo>
                    <a:pt x="923" y="1701"/>
                  </a:lnTo>
                  <a:lnTo>
                    <a:pt x="920" y="1701"/>
                  </a:lnTo>
                  <a:lnTo>
                    <a:pt x="923" y="1701"/>
                  </a:lnTo>
                  <a:lnTo>
                    <a:pt x="925" y="1701"/>
                  </a:lnTo>
                  <a:lnTo>
                    <a:pt x="923" y="1701"/>
                  </a:lnTo>
                  <a:lnTo>
                    <a:pt x="923" y="1703"/>
                  </a:lnTo>
                  <a:lnTo>
                    <a:pt x="923" y="1701"/>
                  </a:lnTo>
                  <a:lnTo>
                    <a:pt x="920" y="1701"/>
                  </a:lnTo>
                  <a:lnTo>
                    <a:pt x="920" y="1703"/>
                  </a:lnTo>
                  <a:lnTo>
                    <a:pt x="923" y="1705"/>
                  </a:lnTo>
                  <a:lnTo>
                    <a:pt x="925" y="1708"/>
                  </a:lnTo>
                  <a:lnTo>
                    <a:pt x="925" y="1710"/>
                  </a:lnTo>
                  <a:lnTo>
                    <a:pt x="927" y="1710"/>
                  </a:lnTo>
                  <a:lnTo>
                    <a:pt x="927" y="1713"/>
                  </a:lnTo>
                  <a:lnTo>
                    <a:pt x="927" y="1715"/>
                  </a:lnTo>
                  <a:lnTo>
                    <a:pt x="927" y="1717"/>
                  </a:lnTo>
                  <a:lnTo>
                    <a:pt x="927" y="1720"/>
                  </a:lnTo>
                  <a:lnTo>
                    <a:pt x="930" y="1722"/>
                  </a:lnTo>
                  <a:lnTo>
                    <a:pt x="927" y="1722"/>
                  </a:lnTo>
                  <a:lnTo>
                    <a:pt x="930" y="1722"/>
                  </a:lnTo>
                  <a:lnTo>
                    <a:pt x="927" y="1724"/>
                  </a:lnTo>
                  <a:lnTo>
                    <a:pt x="927" y="1722"/>
                  </a:lnTo>
                  <a:lnTo>
                    <a:pt x="930" y="1722"/>
                  </a:lnTo>
                  <a:lnTo>
                    <a:pt x="927" y="1722"/>
                  </a:lnTo>
                  <a:lnTo>
                    <a:pt x="927" y="1720"/>
                  </a:lnTo>
                  <a:lnTo>
                    <a:pt x="927" y="1717"/>
                  </a:lnTo>
                  <a:lnTo>
                    <a:pt x="927" y="1715"/>
                  </a:lnTo>
                  <a:lnTo>
                    <a:pt x="927" y="1717"/>
                  </a:lnTo>
                  <a:lnTo>
                    <a:pt x="927" y="1715"/>
                  </a:lnTo>
                  <a:lnTo>
                    <a:pt x="925" y="1715"/>
                  </a:lnTo>
                  <a:lnTo>
                    <a:pt x="927" y="1715"/>
                  </a:lnTo>
                  <a:lnTo>
                    <a:pt x="925" y="1715"/>
                  </a:lnTo>
                  <a:lnTo>
                    <a:pt x="925" y="1713"/>
                  </a:lnTo>
                  <a:lnTo>
                    <a:pt x="927" y="1713"/>
                  </a:lnTo>
                  <a:lnTo>
                    <a:pt x="925" y="1713"/>
                  </a:lnTo>
                  <a:lnTo>
                    <a:pt x="927" y="1713"/>
                  </a:lnTo>
                  <a:lnTo>
                    <a:pt x="925" y="1713"/>
                  </a:lnTo>
                  <a:lnTo>
                    <a:pt x="927" y="1713"/>
                  </a:lnTo>
                  <a:lnTo>
                    <a:pt x="925" y="1713"/>
                  </a:lnTo>
                  <a:lnTo>
                    <a:pt x="925" y="1710"/>
                  </a:lnTo>
                  <a:lnTo>
                    <a:pt x="925" y="1713"/>
                  </a:lnTo>
                  <a:lnTo>
                    <a:pt x="925" y="1710"/>
                  </a:lnTo>
                  <a:lnTo>
                    <a:pt x="925" y="1713"/>
                  </a:lnTo>
                  <a:lnTo>
                    <a:pt x="925" y="1715"/>
                  </a:lnTo>
                  <a:lnTo>
                    <a:pt x="925" y="1717"/>
                  </a:lnTo>
                  <a:lnTo>
                    <a:pt x="925" y="1715"/>
                  </a:lnTo>
                  <a:lnTo>
                    <a:pt x="925" y="1717"/>
                  </a:lnTo>
                  <a:lnTo>
                    <a:pt x="925" y="1720"/>
                  </a:lnTo>
                  <a:lnTo>
                    <a:pt x="925" y="1717"/>
                  </a:lnTo>
                  <a:lnTo>
                    <a:pt x="925" y="1720"/>
                  </a:lnTo>
                  <a:lnTo>
                    <a:pt x="925" y="1717"/>
                  </a:lnTo>
                  <a:lnTo>
                    <a:pt x="923" y="1717"/>
                  </a:lnTo>
                  <a:lnTo>
                    <a:pt x="925" y="1717"/>
                  </a:lnTo>
                  <a:lnTo>
                    <a:pt x="923" y="1717"/>
                  </a:lnTo>
                  <a:lnTo>
                    <a:pt x="925" y="1717"/>
                  </a:lnTo>
                  <a:lnTo>
                    <a:pt x="923" y="1717"/>
                  </a:lnTo>
                  <a:lnTo>
                    <a:pt x="923" y="1720"/>
                  </a:lnTo>
                  <a:lnTo>
                    <a:pt x="923" y="1717"/>
                  </a:lnTo>
                  <a:lnTo>
                    <a:pt x="923" y="1720"/>
                  </a:lnTo>
                  <a:lnTo>
                    <a:pt x="923" y="1722"/>
                  </a:lnTo>
                  <a:lnTo>
                    <a:pt x="923" y="1720"/>
                  </a:lnTo>
                  <a:lnTo>
                    <a:pt x="923" y="1722"/>
                  </a:lnTo>
                  <a:lnTo>
                    <a:pt x="923" y="1720"/>
                  </a:lnTo>
                  <a:lnTo>
                    <a:pt x="920" y="1720"/>
                  </a:lnTo>
                  <a:lnTo>
                    <a:pt x="923" y="1720"/>
                  </a:lnTo>
                  <a:lnTo>
                    <a:pt x="920" y="1722"/>
                  </a:lnTo>
                  <a:lnTo>
                    <a:pt x="920" y="1720"/>
                  </a:lnTo>
                  <a:lnTo>
                    <a:pt x="920" y="1722"/>
                  </a:lnTo>
                  <a:lnTo>
                    <a:pt x="920" y="1720"/>
                  </a:lnTo>
                  <a:lnTo>
                    <a:pt x="920" y="1722"/>
                  </a:lnTo>
                  <a:lnTo>
                    <a:pt x="920" y="1724"/>
                  </a:lnTo>
                  <a:lnTo>
                    <a:pt x="918" y="1724"/>
                  </a:lnTo>
                  <a:lnTo>
                    <a:pt x="920" y="1724"/>
                  </a:lnTo>
                  <a:lnTo>
                    <a:pt x="918" y="1724"/>
                  </a:lnTo>
                  <a:lnTo>
                    <a:pt x="918" y="1727"/>
                  </a:lnTo>
                  <a:lnTo>
                    <a:pt x="918" y="1724"/>
                  </a:lnTo>
                  <a:lnTo>
                    <a:pt x="918" y="1727"/>
                  </a:lnTo>
                  <a:lnTo>
                    <a:pt x="918" y="1729"/>
                  </a:lnTo>
                  <a:lnTo>
                    <a:pt x="918" y="1732"/>
                  </a:lnTo>
                  <a:lnTo>
                    <a:pt x="918" y="1734"/>
                  </a:lnTo>
                  <a:lnTo>
                    <a:pt x="915" y="1734"/>
                  </a:lnTo>
                  <a:lnTo>
                    <a:pt x="915" y="1732"/>
                  </a:lnTo>
                  <a:lnTo>
                    <a:pt x="915" y="1734"/>
                  </a:lnTo>
                  <a:lnTo>
                    <a:pt x="915" y="1736"/>
                  </a:lnTo>
                  <a:lnTo>
                    <a:pt x="915" y="1734"/>
                  </a:lnTo>
                  <a:lnTo>
                    <a:pt x="915" y="1736"/>
                  </a:lnTo>
                  <a:lnTo>
                    <a:pt x="913" y="1736"/>
                  </a:lnTo>
                  <a:lnTo>
                    <a:pt x="915" y="1736"/>
                  </a:lnTo>
                  <a:lnTo>
                    <a:pt x="913" y="1736"/>
                  </a:lnTo>
                  <a:lnTo>
                    <a:pt x="913" y="1734"/>
                  </a:lnTo>
                  <a:lnTo>
                    <a:pt x="913" y="1736"/>
                  </a:lnTo>
                  <a:lnTo>
                    <a:pt x="913" y="1739"/>
                  </a:lnTo>
                  <a:lnTo>
                    <a:pt x="913" y="1736"/>
                  </a:lnTo>
                  <a:lnTo>
                    <a:pt x="913" y="1739"/>
                  </a:lnTo>
                  <a:lnTo>
                    <a:pt x="913" y="1741"/>
                  </a:lnTo>
                  <a:lnTo>
                    <a:pt x="911" y="1741"/>
                  </a:lnTo>
                  <a:lnTo>
                    <a:pt x="911" y="1743"/>
                  </a:lnTo>
                  <a:lnTo>
                    <a:pt x="911" y="1746"/>
                  </a:lnTo>
                  <a:lnTo>
                    <a:pt x="911" y="1748"/>
                  </a:lnTo>
                  <a:lnTo>
                    <a:pt x="911" y="1751"/>
                  </a:lnTo>
                  <a:lnTo>
                    <a:pt x="911" y="1748"/>
                  </a:lnTo>
                  <a:lnTo>
                    <a:pt x="908" y="1748"/>
                  </a:lnTo>
                  <a:lnTo>
                    <a:pt x="908" y="1751"/>
                  </a:lnTo>
                  <a:lnTo>
                    <a:pt x="908" y="1753"/>
                  </a:lnTo>
                  <a:lnTo>
                    <a:pt x="908" y="1755"/>
                  </a:lnTo>
                  <a:lnTo>
                    <a:pt x="908" y="1753"/>
                  </a:lnTo>
                  <a:lnTo>
                    <a:pt x="906" y="1753"/>
                  </a:lnTo>
                  <a:lnTo>
                    <a:pt x="906" y="1751"/>
                  </a:lnTo>
                  <a:lnTo>
                    <a:pt x="904" y="1751"/>
                  </a:lnTo>
                  <a:lnTo>
                    <a:pt x="904" y="1753"/>
                  </a:lnTo>
                  <a:lnTo>
                    <a:pt x="901" y="1753"/>
                  </a:lnTo>
                  <a:lnTo>
                    <a:pt x="904" y="1753"/>
                  </a:lnTo>
                  <a:lnTo>
                    <a:pt x="906" y="1753"/>
                  </a:lnTo>
                  <a:lnTo>
                    <a:pt x="906" y="1755"/>
                  </a:lnTo>
                  <a:lnTo>
                    <a:pt x="906" y="1758"/>
                  </a:lnTo>
                  <a:lnTo>
                    <a:pt x="904" y="1758"/>
                  </a:lnTo>
                  <a:lnTo>
                    <a:pt x="904" y="1755"/>
                  </a:lnTo>
                  <a:lnTo>
                    <a:pt x="904" y="1758"/>
                  </a:lnTo>
                  <a:lnTo>
                    <a:pt x="904" y="1755"/>
                  </a:lnTo>
                  <a:lnTo>
                    <a:pt x="901" y="1755"/>
                  </a:lnTo>
                  <a:lnTo>
                    <a:pt x="901" y="1758"/>
                  </a:lnTo>
                  <a:lnTo>
                    <a:pt x="899" y="1758"/>
                  </a:lnTo>
                  <a:lnTo>
                    <a:pt x="899" y="1755"/>
                  </a:lnTo>
                  <a:lnTo>
                    <a:pt x="899" y="1758"/>
                  </a:lnTo>
                  <a:lnTo>
                    <a:pt x="896" y="1758"/>
                  </a:lnTo>
                  <a:lnTo>
                    <a:pt x="899" y="1758"/>
                  </a:lnTo>
                  <a:lnTo>
                    <a:pt x="896" y="1758"/>
                  </a:lnTo>
                  <a:lnTo>
                    <a:pt x="896" y="1760"/>
                  </a:lnTo>
                  <a:lnTo>
                    <a:pt x="899" y="1760"/>
                  </a:lnTo>
                  <a:lnTo>
                    <a:pt x="896" y="1760"/>
                  </a:lnTo>
                  <a:lnTo>
                    <a:pt x="899" y="1760"/>
                  </a:lnTo>
                  <a:lnTo>
                    <a:pt x="899" y="1762"/>
                  </a:lnTo>
                  <a:lnTo>
                    <a:pt x="899" y="1765"/>
                  </a:lnTo>
                  <a:lnTo>
                    <a:pt x="901" y="1765"/>
                  </a:lnTo>
                  <a:lnTo>
                    <a:pt x="899" y="1765"/>
                  </a:lnTo>
                  <a:lnTo>
                    <a:pt x="901" y="1765"/>
                  </a:lnTo>
                  <a:lnTo>
                    <a:pt x="899" y="1765"/>
                  </a:lnTo>
                  <a:lnTo>
                    <a:pt x="901" y="1765"/>
                  </a:lnTo>
                  <a:lnTo>
                    <a:pt x="899" y="1765"/>
                  </a:lnTo>
                  <a:lnTo>
                    <a:pt x="896" y="1765"/>
                  </a:lnTo>
                  <a:lnTo>
                    <a:pt x="894" y="1765"/>
                  </a:lnTo>
                  <a:lnTo>
                    <a:pt x="894" y="1762"/>
                  </a:lnTo>
                  <a:lnTo>
                    <a:pt x="894" y="1765"/>
                  </a:lnTo>
                  <a:lnTo>
                    <a:pt x="896" y="1765"/>
                  </a:lnTo>
                  <a:lnTo>
                    <a:pt x="896" y="1767"/>
                  </a:lnTo>
                  <a:lnTo>
                    <a:pt x="899" y="1767"/>
                  </a:lnTo>
                  <a:lnTo>
                    <a:pt x="896" y="1767"/>
                  </a:lnTo>
                  <a:lnTo>
                    <a:pt x="899" y="1767"/>
                  </a:lnTo>
                  <a:lnTo>
                    <a:pt x="899" y="1765"/>
                  </a:lnTo>
                  <a:lnTo>
                    <a:pt x="899" y="1767"/>
                  </a:lnTo>
                  <a:lnTo>
                    <a:pt x="901" y="1767"/>
                  </a:lnTo>
                  <a:lnTo>
                    <a:pt x="901" y="1770"/>
                  </a:lnTo>
                  <a:lnTo>
                    <a:pt x="904" y="1770"/>
                  </a:lnTo>
                  <a:lnTo>
                    <a:pt x="904" y="1772"/>
                  </a:lnTo>
                  <a:lnTo>
                    <a:pt x="906" y="1774"/>
                  </a:lnTo>
                  <a:lnTo>
                    <a:pt x="906" y="1777"/>
                  </a:lnTo>
                  <a:lnTo>
                    <a:pt x="906" y="1774"/>
                  </a:lnTo>
                  <a:lnTo>
                    <a:pt x="906" y="1777"/>
                  </a:lnTo>
                  <a:lnTo>
                    <a:pt x="908" y="1777"/>
                  </a:lnTo>
                  <a:lnTo>
                    <a:pt x="906" y="1777"/>
                  </a:lnTo>
                  <a:lnTo>
                    <a:pt x="908" y="1777"/>
                  </a:lnTo>
                  <a:lnTo>
                    <a:pt x="911" y="1777"/>
                  </a:lnTo>
                  <a:lnTo>
                    <a:pt x="911" y="1779"/>
                  </a:lnTo>
                  <a:lnTo>
                    <a:pt x="911" y="1781"/>
                  </a:lnTo>
                  <a:lnTo>
                    <a:pt x="913" y="1781"/>
                  </a:lnTo>
                  <a:lnTo>
                    <a:pt x="913" y="1784"/>
                  </a:lnTo>
                  <a:lnTo>
                    <a:pt x="913" y="1786"/>
                  </a:lnTo>
                  <a:lnTo>
                    <a:pt x="915" y="1786"/>
                  </a:lnTo>
                  <a:lnTo>
                    <a:pt x="915" y="1789"/>
                  </a:lnTo>
                  <a:lnTo>
                    <a:pt x="915" y="1791"/>
                  </a:lnTo>
                  <a:lnTo>
                    <a:pt x="918" y="1791"/>
                  </a:lnTo>
                  <a:lnTo>
                    <a:pt x="918" y="1793"/>
                  </a:lnTo>
                  <a:lnTo>
                    <a:pt x="920" y="1793"/>
                  </a:lnTo>
                  <a:lnTo>
                    <a:pt x="920" y="1796"/>
                  </a:lnTo>
                  <a:lnTo>
                    <a:pt x="920" y="1793"/>
                  </a:lnTo>
                  <a:lnTo>
                    <a:pt x="920" y="1796"/>
                  </a:lnTo>
                  <a:lnTo>
                    <a:pt x="920" y="1793"/>
                  </a:lnTo>
                  <a:lnTo>
                    <a:pt x="920" y="1796"/>
                  </a:lnTo>
                  <a:lnTo>
                    <a:pt x="920" y="1793"/>
                  </a:lnTo>
                  <a:lnTo>
                    <a:pt x="920" y="1796"/>
                  </a:lnTo>
                  <a:lnTo>
                    <a:pt x="920" y="1793"/>
                  </a:lnTo>
                  <a:lnTo>
                    <a:pt x="923" y="1793"/>
                  </a:lnTo>
                  <a:lnTo>
                    <a:pt x="925" y="1791"/>
                  </a:lnTo>
                  <a:lnTo>
                    <a:pt x="927" y="1791"/>
                  </a:lnTo>
                  <a:lnTo>
                    <a:pt x="927" y="1793"/>
                  </a:lnTo>
                  <a:lnTo>
                    <a:pt x="925" y="1793"/>
                  </a:lnTo>
                  <a:lnTo>
                    <a:pt x="925" y="1796"/>
                  </a:lnTo>
                  <a:lnTo>
                    <a:pt x="925" y="1798"/>
                  </a:lnTo>
                  <a:lnTo>
                    <a:pt x="923" y="1798"/>
                  </a:lnTo>
                  <a:lnTo>
                    <a:pt x="923" y="1800"/>
                  </a:lnTo>
                  <a:lnTo>
                    <a:pt x="923" y="1803"/>
                  </a:lnTo>
                  <a:lnTo>
                    <a:pt x="920" y="1805"/>
                  </a:lnTo>
                  <a:lnTo>
                    <a:pt x="923" y="1803"/>
                  </a:lnTo>
                  <a:lnTo>
                    <a:pt x="920" y="1805"/>
                  </a:lnTo>
                  <a:lnTo>
                    <a:pt x="923" y="1805"/>
                  </a:lnTo>
                  <a:lnTo>
                    <a:pt x="920" y="1805"/>
                  </a:lnTo>
                  <a:lnTo>
                    <a:pt x="923" y="1805"/>
                  </a:lnTo>
                  <a:lnTo>
                    <a:pt x="920" y="1808"/>
                  </a:lnTo>
                  <a:lnTo>
                    <a:pt x="920" y="1810"/>
                  </a:lnTo>
                  <a:lnTo>
                    <a:pt x="920" y="1815"/>
                  </a:lnTo>
                  <a:lnTo>
                    <a:pt x="920" y="1817"/>
                  </a:lnTo>
                  <a:lnTo>
                    <a:pt x="920" y="1819"/>
                  </a:lnTo>
                  <a:lnTo>
                    <a:pt x="923" y="1819"/>
                  </a:lnTo>
                  <a:lnTo>
                    <a:pt x="920" y="1819"/>
                  </a:lnTo>
                  <a:lnTo>
                    <a:pt x="923" y="1819"/>
                  </a:lnTo>
                  <a:lnTo>
                    <a:pt x="920" y="1819"/>
                  </a:lnTo>
                  <a:lnTo>
                    <a:pt x="923" y="1819"/>
                  </a:lnTo>
                  <a:lnTo>
                    <a:pt x="920" y="1819"/>
                  </a:lnTo>
                  <a:lnTo>
                    <a:pt x="923" y="1819"/>
                  </a:lnTo>
                  <a:lnTo>
                    <a:pt x="920" y="1822"/>
                  </a:lnTo>
                  <a:lnTo>
                    <a:pt x="920" y="1824"/>
                  </a:lnTo>
                  <a:lnTo>
                    <a:pt x="918" y="1827"/>
                  </a:lnTo>
                  <a:lnTo>
                    <a:pt x="918" y="1831"/>
                  </a:lnTo>
                  <a:lnTo>
                    <a:pt x="918" y="1834"/>
                  </a:lnTo>
                  <a:lnTo>
                    <a:pt x="920" y="1834"/>
                  </a:lnTo>
                  <a:lnTo>
                    <a:pt x="923" y="1836"/>
                  </a:lnTo>
                  <a:lnTo>
                    <a:pt x="923" y="1838"/>
                  </a:lnTo>
                  <a:lnTo>
                    <a:pt x="925" y="1838"/>
                  </a:lnTo>
                  <a:lnTo>
                    <a:pt x="927" y="1841"/>
                  </a:lnTo>
                  <a:lnTo>
                    <a:pt x="927" y="1843"/>
                  </a:lnTo>
                  <a:lnTo>
                    <a:pt x="927" y="1846"/>
                  </a:lnTo>
                  <a:lnTo>
                    <a:pt x="927" y="1848"/>
                  </a:lnTo>
                  <a:lnTo>
                    <a:pt x="927" y="1850"/>
                  </a:lnTo>
                  <a:lnTo>
                    <a:pt x="930" y="1850"/>
                  </a:lnTo>
                  <a:lnTo>
                    <a:pt x="930" y="1853"/>
                  </a:lnTo>
                  <a:lnTo>
                    <a:pt x="930" y="1850"/>
                  </a:lnTo>
                  <a:lnTo>
                    <a:pt x="930" y="1853"/>
                  </a:lnTo>
                  <a:lnTo>
                    <a:pt x="932" y="1853"/>
                  </a:lnTo>
                  <a:lnTo>
                    <a:pt x="932" y="1855"/>
                  </a:lnTo>
                  <a:lnTo>
                    <a:pt x="934" y="1857"/>
                  </a:lnTo>
                  <a:lnTo>
                    <a:pt x="934" y="1860"/>
                  </a:lnTo>
                  <a:lnTo>
                    <a:pt x="937" y="1860"/>
                  </a:lnTo>
                  <a:lnTo>
                    <a:pt x="937" y="1862"/>
                  </a:lnTo>
                  <a:lnTo>
                    <a:pt x="939" y="1865"/>
                  </a:lnTo>
                  <a:lnTo>
                    <a:pt x="942" y="1867"/>
                  </a:lnTo>
                  <a:lnTo>
                    <a:pt x="942" y="1869"/>
                  </a:lnTo>
                  <a:lnTo>
                    <a:pt x="944" y="1872"/>
                  </a:lnTo>
                  <a:lnTo>
                    <a:pt x="944" y="1874"/>
                  </a:lnTo>
                  <a:lnTo>
                    <a:pt x="946" y="1874"/>
                  </a:lnTo>
                  <a:lnTo>
                    <a:pt x="946" y="1876"/>
                  </a:lnTo>
                  <a:lnTo>
                    <a:pt x="946" y="1879"/>
                  </a:lnTo>
                  <a:lnTo>
                    <a:pt x="946" y="1881"/>
                  </a:lnTo>
                  <a:lnTo>
                    <a:pt x="949" y="1881"/>
                  </a:lnTo>
                  <a:lnTo>
                    <a:pt x="949" y="1884"/>
                  </a:lnTo>
                  <a:lnTo>
                    <a:pt x="951" y="1884"/>
                  </a:lnTo>
                  <a:lnTo>
                    <a:pt x="953" y="1884"/>
                  </a:lnTo>
                  <a:lnTo>
                    <a:pt x="953" y="1886"/>
                  </a:lnTo>
                  <a:lnTo>
                    <a:pt x="956" y="1886"/>
                  </a:lnTo>
                  <a:lnTo>
                    <a:pt x="956" y="1888"/>
                  </a:lnTo>
                  <a:lnTo>
                    <a:pt x="953" y="1888"/>
                  </a:lnTo>
                  <a:lnTo>
                    <a:pt x="953" y="1891"/>
                  </a:lnTo>
                  <a:lnTo>
                    <a:pt x="951" y="1891"/>
                  </a:lnTo>
                  <a:lnTo>
                    <a:pt x="951" y="1893"/>
                  </a:lnTo>
                  <a:lnTo>
                    <a:pt x="951" y="1895"/>
                  </a:lnTo>
                  <a:lnTo>
                    <a:pt x="949" y="1895"/>
                  </a:lnTo>
                  <a:lnTo>
                    <a:pt x="949" y="1898"/>
                  </a:lnTo>
                  <a:lnTo>
                    <a:pt x="946" y="1898"/>
                  </a:lnTo>
                  <a:lnTo>
                    <a:pt x="946" y="1900"/>
                  </a:lnTo>
                  <a:lnTo>
                    <a:pt x="944" y="1900"/>
                  </a:lnTo>
                  <a:lnTo>
                    <a:pt x="942" y="1903"/>
                  </a:lnTo>
                  <a:lnTo>
                    <a:pt x="939" y="1903"/>
                  </a:lnTo>
                  <a:lnTo>
                    <a:pt x="937" y="1903"/>
                  </a:lnTo>
                  <a:lnTo>
                    <a:pt x="937" y="1905"/>
                  </a:lnTo>
                  <a:lnTo>
                    <a:pt x="939" y="1905"/>
                  </a:lnTo>
                  <a:lnTo>
                    <a:pt x="937" y="1905"/>
                  </a:lnTo>
                  <a:lnTo>
                    <a:pt x="937" y="1907"/>
                  </a:lnTo>
                  <a:lnTo>
                    <a:pt x="934" y="1910"/>
                  </a:lnTo>
                  <a:lnTo>
                    <a:pt x="932" y="1912"/>
                  </a:lnTo>
                  <a:lnTo>
                    <a:pt x="932" y="1914"/>
                  </a:lnTo>
                  <a:lnTo>
                    <a:pt x="930" y="1914"/>
                  </a:lnTo>
                  <a:lnTo>
                    <a:pt x="930" y="1917"/>
                  </a:lnTo>
                  <a:lnTo>
                    <a:pt x="927" y="1917"/>
                  </a:lnTo>
                  <a:lnTo>
                    <a:pt x="927" y="1914"/>
                  </a:lnTo>
                  <a:lnTo>
                    <a:pt x="925" y="1914"/>
                  </a:lnTo>
                  <a:lnTo>
                    <a:pt x="923" y="1914"/>
                  </a:lnTo>
                  <a:lnTo>
                    <a:pt x="923" y="1917"/>
                  </a:lnTo>
                  <a:lnTo>
                    <a:pt x="920" y="1917"/>
                  </a:lnTo>
                  <a:lnTo>
                    <a:pt x="920" y="1914"/>
                  </a:lnTo>
                  <a:lnTo>
                    <a:pt x="920" y="1912"/>
                  </a:lnTo>
                  <a:lnTo>
                    <a:pt x="918" y="1912"/>
                  </a:lnTo>
                  <a:lnTo>
                    <a:pt x="915" y="1912"/>
                  </a:lnTo>
                  <a:lnTo>
                    <a:pt x="913" y="1912"/>
                  </a:lnTo>
                  <a:lnTo>
                    <a:pt x="913" y="1910"/>
                  </a:lnTo>
                  <a:lnTo>
                    <a:pt x="911" y="1910"/>
                  </a:lnTo>
                  <a:lnTo>
                    <a:pt x="911" y="1907"/>
                  </a:lnTo>
                  <a:lnTo>
                    <a:pt x="911" y="1905"/>
                  </a:lnTo>
                  <a:lnTo>
                    <a:pt x="911" y="1903"/>
                  </a:lnTo>
                  <a:lnTo>
                    <a:pt x="908" y="1903"/>
                  </a:lnTo>
                  <a:lnTo>
                    <a:pt x="908" y="1900"/>
                  </a:lnTo>
                  <a:lnTo>
                    <a:pt x="906" y="1900"/>
                  </a:lnTo>
                  <a:lnTo>
                    <a:pt x="906" y="1898"/>
                  </a:lnTo>
                  <a:lnTo>
                    <a:pt x="906" y="1900"/>
                  </a:lnTo>
                  <a:lnTo>
                    <a:pt x="904" y="1900"/>
                  </a:lnTo>
                  <a:lnTo>
                    <a:pt x="904" y="1898"/>
                  </a:lnTo>
                  <a:lnTo>
                    <a:pt x="904" y="1895"/>
                  </a:lnTo>
                  <a:lnTo>
                    <a:pt x="901" y="1895"/>
                  </a:lnTo>
                  <a:lnTo>
                    <a:pt x="901" y="1893"/>
                  </a:lnTo>
                  <a:lnTo>
                    <a:pt x="901" y="1891"/>
                  </a:lnTo>
                  <a:lnTo>
                    <a:pt x="899" y="1891"/>
                  </a:lnTo>
                  <a:lnTo>
                    <a:pt x="899" y="1893"/>
                  </a:lnTo>
                  <a:lnTo>
                    <a:pt x="899" y="1891"/>
                  </a:lnTo>
                  <a:lnTo>
                    <a:pt x="896" y="1891"/>
                  </a:lnTo>
                  <a:lnTo>
                    <a:pt x="896" y="1888"/>
                  </a:lnTo>
                  <a:lnTo>
                    <a:pt x="894" y="1886"/>
                  </a:lnTo>
                  <a:lnTo>
                    <a:pt x="894" y="1888"/>
                  </a:lnTo>
                  <a:lnTo>
                    <a:pt x="894" y="1886"/>
                  </a:lnTo>
                  <a:lnTo>
                    <a:pt x="892" y="1886"/>
                  </a:lnTo>
                  <a:lnTo>
                    <a:pt x="889" y="1886"/>
                  </a:lnTo>
                  <a:lnTo>
                    <a:pt x="889" y="1888"/>
                  </a:lnTo>
                  <a:lnTo>
                    <a:pt x="887" y="1886"/>
                  </a:lnTo>
                  <a:lnTo>
                    <a:pt x="889" y="1886"/>
                  </a:lnTo>
                  <a:lnTo>
                    <a:pt x="887" y="1886"/>
                  </a:lnTo>
                  <a:lnTo>
                    <a:pt x="887" y="1884"/>
                  </a:lnTo>
                  <a:lnTo>
                    <a:pt x="887" y="1886"/>
                  </a:lnTo>
                  <a:lnTo>
                    <a:pt x="885" y="1886"/>
                  </a:lnTo>
                  <a:lnTo>
                    <a:pt x="885" y="1884"/>
                  </a:lnTo>
                  <a:lnTo>
                    <a:pt x="882" y="1884"/>
                  </a:lnTo>
                  <a:lnTo>
                    <a:pt x="882" y="1881"/>
                  </a:lnTo>
                  <a:lnTo>
                    <a:pt x="882" y="1884"/>
                  </a:lnTo>
                  <a:lnTo>
                    <a:pt x="882" y="1881"/>
                  </a:lnTo>
                  <a:lnTo>
                    <a:pt x="880" y="1881"/>
                  </a:lnTo>
                  <a:lnTo>
                    <a:pt x="880" y="1884"/>
                  </a:lnTo>
                  <a:lnTo>
                    <a:pt x="880" y="1881"/>
                  </a:lnTo>
                  <a:lnTo>
                    <a:pt x="877" y="1881"/>
                  </a:lnTo>
                  <a:lnTo>
                    <a:pt x="877" y="1879"/>
                  </a:lnTo>
                  <a:lnTo>
                    <a:pt x="875" y="1879"/>
                  </a:lnTo>
                  <a:lnTo>
                    <a:pt x="873" y="1879"/>
                  </a:lnTo>
                  <a:lnTo>
                    <a:pt x="873" y="1881"/>
                  </a:lnTo>
                  <a:lnTo>
                    <a:pt x="873" y="1879"/>
                  </a:lnTo>
                  <a:lnTo>
                    <a:pt x="873" y="1876"/>
                  </a:lnTo>
                  <a:lnTo>
                    <a:pt x="873" y="1879"/>
                  </a:lnTo>
                  <a:lnTo>
                    <a:pt x="870" y="1879"/>
                  </a:lnTo>
                  <a:lnTo>
                    <a:pt x="870" y="1876"/>
                  </a:lnTo>
                  <a:lnTo>
                    <a:pt x="868" y="1879"/>
                  </a:lnTo>
                  <a:lnTo>
                    <a:pt x="868" y="1876"/>
                  </a:lnTo>
                  <a:lnTo>
                    <a:pt x="868" y="1874"/>
                  </a:lnTo>
                  <a:lnTo>
                    <a:pt x="866" y="1874"/>
                  </a:lnTo>
                  <a:lnTo>
                    <a:pt x="863" y="1874"/>
                  </a:lnTo>
                  <a:lnTo>
                    <a:pt x="861" y="1874"/>
                  </a:lnTo>
                  <a:lnTo>
                    <a:pt x="861" y="1872"/>
                  </a:lnTo>
                  <a:lnTo>
                    <a:pt x="858" y="1872"/>
                  </a:lnTo>
                  <a:lnTo>
                    <a:pt x="858" y="1869"/>
                  </a:lnTo>
                  <a:lnTo>
                    <a:pt x="856" y="1869"/>
                  </a:lnTo>
                  <a:lnTo>
                    <a:pt x="858" y="1867"/>
                  </a:lnTo>
                  <a:lnTo>
                    <a:pt x="861" y="1867"/>
                  </a:lnTo>
                  <a:lnTo>
                    <a:pt x="861" y="1865"/>
                  </a:lnTo>
                  <a:lnTo>
                    <a:pt x="861" y="1862"/>
                  </a:lnTo>
                  <a:lnTo>
                    <a:pt x="861" y="1860"/>
                  </a:lnTo>
                  <a:lnTo>
                    <a:pt x="863" y="1860"/>
                  </a:lnTo>
                  <a:lnTo>
                    <a:pt x="863" y="1857"/>
                  </a:lnTo>
                  <a:lnTo>
                    <a:pt x="861" y="1857"/>
                  </a:lnTo>
                  <a:lnTo>
                    <a:pt x="858" y="1855"/>
                  </a:lnTo>
                  <a:lnTo>
                    <a:pt x="858" y="1857"/>
                  </a:lnTo>
                  <a:lnTo>
                    <a:pt x="858" y="1855"/>
                  </a:lnTo>
                  <a:lnTo>
                    <a:pt x="856" y="1855"/>
                  </a:lnTo>
                  <a:lnTo>
                    <a:pt x="854" y="1855"/>
                  </a:lnTo>
                  <a:lnTo>
                    <a:pt x="851" y="1855"/>
                  </a:lnTo>
                  <a:lnTo>
                    <a:pt x="849" y="1855"/>
                  </a:lnTo>
                  <a:lnTo>
                    <a:pt x="847" y="1855"/>
                  </a:lnTo>
                  <a:lnTo>
                    <a:pt x="847" y="1853"/>
                  </a:lnTo>
                  <a:lnTo>
                    <a:pt x="847" y="1850"/>
                  </a:lnTo>
                  <a:lnTo>
                    <a:pt x="847" y="1853"/>
                  </a:lnTo>
                  <a:lnTo>
                    <a:pt x="844" y="1850"/>
                  </a:lnTo>
                  <a:lnTo>
                    <a:pt x="844" y="1848"/>
                  </a:lnTo>
                  <a:lnTo>
                    <a:pt x="842" y="1848"/>
                  </a:lnTo>
                  <a:lnTo>
                    <a:pt x="840" y="1848"/>
                  </a:lnTo>
                  <a:lnTo>
                    <a:pt x="837" y="1848"/>
                  </a:lnTo>
                  <a:lnTo>
                    <a:pt x="837" y="1846"/>
                  </a:lnTo>
                  <a:lnTo>
                    <a:pt x="835" y="1846"/>
                  </a:lnTo>
                  <a:lnTo>
                    <a:pt x="832" y="1846"/>
                  </a:lnTo>
                  <a:lnTo>
                    <a:pt x="832" y="1848"/>
                  </a:lnTo>
                  <a:lnTo>
                    <a:pt x="832" y="1850"/>
                  </a:lnTo>
                  <a:lnTo>
                    <a:pt x="830" y="1850"/>
                  </a:lnTo>
                  <a:lnTo>
                    <a:pt x="832" y="1850"/>
                  </a:lnTo>
                  <a:lnTo>
                    <a:pt x="830" y="1850"/>
                  </a:lnTo>
                  <a:lnTo>
                    <a:pt x="830" y="1848"/>
                  </a:lnTo>
                  <a:lnTo>
                    <a:pt x="828" y="1848"/>
                  </a:lnTo>
                  <a:lnTo>
                    <a:pt x="828" y="1846"/>
                  </a:lnTo>
                  <a:lnTo>
                    <a:pt x="825" y="1846"/>
                  </a:lnTo>
                  <a:lnTo>
                    <a:pt x="823" y="1846"/>
                  </a:lnTo>
                  <a:lnTo>
                    <a:pt x="823" y="1843"/>
                  </a:lnTo>
                  <a:lnTo>
                    <a:pt x="823" y="1846"/>
                  </a:lnTo>
                  <a:lnTo>
                    <a:pt x="821" y="1846"/>
                  </a:lnTo>
                  <a:lnTo>
                    <a:pt x="821" y="1848"/>
                  </a:lnTo>
                  <a:lnTo>
                    <a:pt x="818" y="1846"/>
                  </a:lnTo>
                  <a:lnTo>
                    <a:pt x="818" y="1848"/>
                  </a:lnTo>
                  <a:lnTo>
                    <a:pt x="816" y="1846"/>
                  </a:lnTo>
                  <a:lnTo>
                    <a:pt x="813" y="1846"/>
                  </a:lnTo>
                  <a:lnTo>
                    <a:pt x="813" y="1848"/>
                  </a:lnTo>
                  <a:lnTo>
                    <a:pt x="811" y="1848"/>
                  </a:lnTo>
                  <a:lnTo>
                    <a:pt x="811" y="1850"/>
                  </a:lnTo>
                  <a:lnTo>
                    <a:pt x="809" y="1850"/>
                  </a:lnTo>
                  <a:lnTo>
                    <a:pt x="809" y="1853"/>
                  </a:lnTo>
                  <a:lnTo>
                    <a:pt x="809" y="1850"/>
                  </a:lnTo>
                  <a:lnTo>
                    <a:pt x="806" y="1850"/>
                  </a:lnTo>
                  <a:lnTo>
                    <a:pt x="806" y="1853"/>
                  </a:lnTo>
                  <a:lnTo>
                    <a:pt x="804" y="1853"/>
                  </a:lnTo>
                  <a:lnTo>
                    <a:pt x="804" y="1855"/>
                  </a:lnTo>
                  <a:lnTo>
                    <a:pt x="802" y="1855"/>
                  </a:lnTo>
                  <a:lnTo>
                    <a:pt x="802" y="1853"/>
                  </a:lnTo>
                  <a:lnTo>
                    <a:pt x="799" y="1853"/>
                  </a:lnTo>
                  <a:lnTo>
                    <a:pt x="797" y="1853"/>
                  </a:lnTo>
                  <a:lnTo>
                    <a:pt x="797" y="1850"/>
                  </a:lnTo>
                  <a:lnTo>
                    <a:pt x="794" y="1850"/>
                  </a:lnTo>
                  <a:lnTo>
                    <a:pt x="797" y="1850"/>
                  </a:lnTo>
                  <a:lnTo>
                    <a:pt x="797" y="1848"/>
                  </a:lnTo>
                  <a:lnTo>
                    <a:pt x="797" y="1846"/>
                  </a:lnTo>
                  <a:lnTo>
                    <a:pt x="797" y="1843"/>
                  </a:lnTo>
                  <a:lnTo>
                    <a:pt x="794" y="1843"/>
                  </a:lnTo>
                  <a:lnTo>
                    <a:pt x="792" y="1843"/>
                  </a:lnTo>
                  <a:lnTo>
                    <a:pt x="792" y="1841"/>
                  </a:lnTo>
                  <a:lnTo>
                    <a:pt x="792" y="1843"/>
                  </a:lnTo>
                  <a:lnTo>
                    <a:pt x="792" y="1841"/>
                  </a:lnTo>
                  <a:lnTo>
                    <a:pt x="790" y="1841"/>
                  </a:lnTo>
                  <a:lnTo>
                    <a:pt x="790" y="1838"/>
                  </a:lnTo>
                  <a:lnTo>
                    <a:pt x="787" y="1838"/>
                  </a:lnTo>
                  <a:lnTo>
                    <a:pt x="785" y="1838"/>
                  </a:lnTo>
                  <a:lnTo>
                    <a:pt x="783" y="1838"/>
                  </a:lnTo>
                  <a:lnTo>
                    <a:pt x="780" y="1838"/>
                  </a:lnTo>
                  <a:lnTo>
                    <a:pt x="780" y="1836"/>
                  </a:lnTo>
                  <a:lnTo>
                    <a:pt x="778" y="1836"/>
                  </a:lnTo>
                  <a:lnTo>
                    <a:pt x="775" y="1836"/>
                  </a:lnTo>
                  <a:lnTo>
                    <a:pt x="775" y="1834"/>
                  </a:lnTo>
                  <a:lnTo>
                    <a:pt x="773" y="1834"/>
                  </a:lnTo>
                  <a:lnTo>
                    <a:pt x="773" y="1831"/>
                  </a:lnTo>
                  <a:lnTo>
                    <a:pt x="771" y="1831"/>
                  </a:lnTo>
                  <a:lnTo>
                    <a:pt x="771" y="1829"/>
                  </a:lnTo>
                  <a:lnTo>
                    <a:pt x="773" y="1829"/>
                  </a:lnTo>
                  <a:lnTo>
                    <a:pt x="771" y="1829"/>
                  </a:lnTo>
                  <a:lnTo>
                    <a:pt x="771" y="1827"/>
                  </a:lnTo>
                  <a:lnTo>
                    <a:pt x="768" y="1827"/>
                  </a:lnTo>
                  <a:lnTo>
                    <a:pt x="768" y="1829"/>
                  </a:lnTo>
                  <a:lnTo>
                    <a:pt x="768" y="1827"/>
                  </a:lnTo>
                  <a:lnTo>
                    <a:pt x="766" y="1827"/>
                  </a:lnTo>
                  <a:lnTo>
                    <a:pt x="766" y="1824"/>
                  </a:lnTo>
                  <a:lnTo>
                    <a:pt x="766" y="1827"/>
                  </a:lnTo>
                  <a:lnTo>
                    <a:pt x="764" y="1827"/>
                  </a:lnTo>
                  <a:lnTo>
                    <a:pt x="764" y="1824"/>
                  </a:lnTo>
                  <a:lnTo>
                    <a:pt x="761" y="1824"/>
                  </a:lnTo>
                  <a:lnTo>
                    <a:pt x="761" y="1827"/>
                  </a:lnTo>
                  <a:lnTo>
                    <a:pt x="761" y="1824"/>
                  </a:lnTo>
                  <a:lnTo>
                    <a:pt x="761" y="1827"/>
                  </a:lnTo>
                  <a:lnTo>
                    <a:pt x="759" y="1827"/>
                  </a:lnTo>
                  <a:lnTo>
                    <a:pt x="756" y="1827"/>
                  </a:lnTo>
                  <a:lnTo>
                    <a:pt x="756" y="1824"/>
                  </a:lnTo>
                  <a:lnTo>
                    <a:pt x="754" y="1824"/>
                  </a:lnTo>
                  <a:lnTo>
                    <a:pt x="752" y="1824"/>
                  </a:lnTo>
                  <a:lnTo>
                    <a:pt x="752" y="1822"/>
                  </a:lnTo>
                  <a:lnTo>
                    <a:pt x="754" y="1822"/>
                  </a:lnTo>
                  <a:lnTo>
                    <a:pt x="752" y="1822"/>
                  </a:lnTo>
                  <a:lnTo>
                    <a:pt x="749" y="1822"/>
                  </a:lnTo>
                  <a:lnTo>
                    <a:pt x="749" y="1824"/>
                  </a:lnTo>
                  <a:lnTo>
                    <a:pt x="747" y="1824"/>
                  </a:lnTo>
                  <a:lnTo>
                    <a:pt x="747" y="1822"/>
                  </a:lnTo>
                  <a:lnTo>
                    <a:pt x="745" y="1822"/>
                  </a:lnTo>
                  <a:lnTo>
                    <a:pt x="745" y="1824"/>
                  </a:lnTo>
                  <a:lnTo>
                    <a:pt x="742" y="1824"/>
                  </a:lnTo>
                  <a:lnTo>
                    <a:pt x="740" y="1824"/>
                  </a:lnTo>
                  <a:lnTo>
                    <a:pt x="737" y="1824"/>
                  </a:lnTo>
                  <a:lnTo>
                    <a:pt x="735" y="1824"/>
                  </a:lnTo>
                  <a:lnTo>
                    <a:pt x="735" y="1822"/>
                  </a:lnTo>
                  <a:lnTo>
                    <a:pt x="733" y="1822"/>
                  </a:lnTo>
                  <a:lnTo>
                    <a:pt x="733" y="1824"/>
                  </a:lnTo>
                  <a:lnTo>
                    <a:pt x="730" y="1824"/>
                  </a:lnTo>
                  <a:lnTo>
                    <a:pt x="730" y="1822"/>
                  </a:lnTo>
                  <a:lnTo>
                    <a:pt x="728" y="1822"/>
                  </a:lnTo>
                  <a:lnTo>
                    <a:pt x="728" y="1824"/>
                  </a:lnTo>
                  <a:lnTo>
                    <a:pt x="728" y="1822"/>
                  </a:lnTo>
                  <a:lnTo>
                    <a:pt x="726" y="1822"/>
                  </a:lnTo>
                  <a:lnTo>
                    <a:pt x="726" y="1824"/>
                  </a:lnTo>
                  <a:lnTo>
                    <a:pt x="726" y="1822"/>
                  </a:lnTo>
                  <a:lnTo>
                    <a:pt x="723" y="1822"/>
                  </a:lnTo>
                  <a:lnTo>
                    <a:pt x="721" y="1819"/>
                  </a:lnTo>
                  <a:lnTo>
                    <a:pt x="719" y="1819"/>
                  </a:lnTo>
                  <a:lnTo>
                    <a:pt x="719" y="1817"/>
                  </a:lnTo>
                  <a:lnTo>
                    <a:pt x="716" y="1817"/>
                  </a:lnTo>
                  <a:lnTo>
                    <a:pt x="714" y="1817"/>
                  </a:lnTo>
                  <a:lnTo>
                    <a:pt x="711" y="1817"/>
                  </a:lnTo>
                  <a:lnTo>
                    <a:pt x="711" y="1815"/>
                  </a:lnTo>
                  <a:lnTo>
                    <a:pt x="709" y="1815"/>
                  </a:lnTo>
                  <a:lnTo>
                    <a:pt x="707" y="1815"/>
                  </a:lnTo>
                  <a:lnTo>
                    <a:pt x="704" y="1815"/>
                  </a:lnTo>
                  <a:lnTo>
                    <a:pt x="702" y="1815"/>
                  </a:lnTo>
                  <a:lnTo>
                    <a:pt x="702" y="1812"/>
                  </a:lnTo>
                  <a:lnTo>
                    <a:pt x="702" y="1810"/>
                  </a:lnTo>
                  <a:lnTo>
                    <a:pt x="700" y="1810"/>
                  </a:lnTo>
                  <a:lnTo>
                    <a:pt x="697" y="1810"/>
                  </a:lnTo>
                  <a:lnTo>
                    <a:pt x="695" y="1810"/>
                  </a:lnTo>
                  <a:lnTo>
                    <a:pt x="695" y="1808"/>
                  </a:lnTo>
                  <a:lnTo>
                    <a:pt x="692" y="1808"/>
                  </a:lnTo>
                  <a:lnTo>
                    <a:pt x="692" y="1810"/>
                  </a:lnTo>
                  <a:lnTo>
                    <a:pt x="690" y="1810"/>
                  </a:lnTo>
                  <a:lnTo>
                    <a:pt x="688" y="1810"/>
                  </a:lnTo>
                  <a:lnTo>
                    <a:pt x="688" y="1808"/>
                  </a:lnTo>
                  <a:lnTo>
                    <a:pt x="685" y="1808"/>
                  </a:lnTo>
                  <a:lnTo>
                    <a:pt x="683" y="1808"/>
                  </a:lnTo>
                  <a:lnTo>
                    <a:pt x="681" y="1808"/>
                  </a:lnTo>
                  <a:lnTo>
                    <a:pt x="678" y="1808"/>
                  </a:lnTo>
                  <a:lnTo>
                    <a:pt x="676" y="1808"/>
                  </a:lnTo>
                  <a:lnTo>
                    <a:pt x="676" y="1810"/>
                  </a:lnTo>
                  <a:lnTo>
                    <a:pt x="673" y="1810"/>
                  </a:lnTo>
                  <a:lnTo>
                    <a:pt x="673" y="1812"/>
                  </a:lnTo>
                  <a:lnTo>
                    <a:pt x="673" y="1815"/>
                  </a:lnTo>
                  <a:lnTo>
                    <a:pt x="671" y="1815"/>
                  </a:lnTo>
                  <a:lnTo>
                    <a:pt x="669" y="1815"/>
                  </a:lnTo>
                  <a:lnTo>
                    <a:pt x="669" y="1812"/>
                  </a:lnTo>
                  <a:lnTo>
                    <a:pt x="669" y="1810"/>
                  </a:lnTo>
                  <a:lnTo>
                    <a:pt x="666" y="1810"/>
                  </a:lnTo>
                  <a:lnTo>
                    <a:pt x="666" y="1808"/>
                  </a:lnTo>
                  <a:lnTo>
                    <a:pt x="664" y="1808"/>
                  </a:lnTo>
                  <a:lnTo>
                    <a:pt x="662" y="1808"/>
                  </a:lnTo>
                  <a:lnTo>
                    <a:pt x="662" y="1805"/>
                  </a:lnTo>
                  <a:lnTo>
                    <a:pt x="662" y="1803"/>
                  </a:lnTo>
                  <a:lnTo>
                    <a:pt x="659" y="1803"/>
                  </a:lnTo>
                  <a:lnTo>
                    <a:pt x="659" y="1800"/>
                  </a:lnTo>
                  <a:lnTo>
                    <a:pt x="657" y="1800"/>
                  </a:lnTo>
                  <a:lnTo>
                    <a:pt x="657" y="1798"/>
                  </a:lnTo>
                  <a:lnTo>
                    <a:pt x="654" y="1798"/>
                  </a:lnTo>
                  <a:lnTo>
                    <a:pt x="654" y="1796"/>
                  </a:lnTo>
                  <a:lnTo>
                    <a:pt x="652" y="1796"/>
                  </a:lnTo>
                  <a:lnTo>
                    <a:pt x="652" y="1793"/>
                  </a:lnTo>
                  <a:lnTo>
                    <a:pt x="650" y="1791"/>
                  </a:lnTo>
                  <a:lnTo>
                    <a:pt x="647" y="1789"/>
                  </a:lnTo>
                  <a:lnTo>
                    <a:pt x="645" y="1789"/>
                  </a:lnTo>
                  <a:lnTo>
                    <a:pt x="645" y="1786"/>
                  </a:lnTo>
                  <a:lnTo>
                    <a:pt x="643" y="1786"/>
                  </a:lnTo>
                  <a:lnTo>
                    <a:pt x="643" y="1784"/>
                  </a:lnTo>
                  <a:lnTo>
                    <a:pt x="640" y="1784"/>
                  </a:lnTo>
                  <a:lnTo>
                    <a:pt x="640" y="1781"/>
                  </a:lnTo>
                  <a:lnTo>
                    <a:pt x="640" y="1779"/>
                  </a:lnTo>
                  <a:lnTo>
                    <a:pt x="638" y="1779"/>
                  </a:lnTo>
                  <a:lnTo>
                    <a:pt x="635" y="1779"/>
                  </a:lnTo>
                  <a:lnTo>
                    <a:pt x="635" y="1777"/>
                  </a:lnTo>
                  <a:lnTo>
                    <a:pt x="633" y="1777"/>
                  </a:lnTo>
                  <a:lnTo>
                    <a:pt x="633" y="1774"/>
                  </a:lnTo>
                  <a:lnTo>
                    <a:pt x="631" y="1774"/>
                  </a:lnTo>
                  <a:lnTo>
                    <a:pt x="628" y="1774"/>
                  </a:lnTo>
                  <a:lnTo>
                    <a:pt x="628" y="1772"/>
                  </a:lnTo>
                  <a:lnTo>
                    <a:pt x="626" y="1772"/>
                  </a:lnTo>
                  <a:lnTo>
                    <a:pt x="624" y="1772"/>
                  </a:lnTo>
                  <a:lnTo>
                    <a:pt x="624" y="1770"/>
                  </a:lnTo>
                  <a:lnTo>
                    <a:pt x="624" y="1772"/>
                  </a:lnTo>
                  <a:lnTo>
                    <a:pt x="621" y="1770"/>
                  </a:lnTo>
                  <a:lnTo>
                    <a:pt x="619" y="1770"/>
                  </a:lnTo>
                  <a:lnTo>
                    <a:pt x="616" y="1770"/>
                  </a:lnTo>
                  <a:lnTo>
                    <a:pt x="616" y="1767"/>
                  </a:lnTo>
                  <a:lnTo>
                    <a:pt x="614" y="1767"/>
                  </a:lnTo>
                  <a:lnTo>
                    <a:pt x="612" y="1767"/>
                  </a:lnTo>
                  <a:lnTo>
                    <a:pt x="612" y="1765"/>
                  </a:lnTo>
                  <a:lnTo>
                    <a:pt x="609" y="1765"/>
                  </a:lnTo>
                  <a:lnTo>
                    <a:pt x="609" y="1762"/>
                  </a:lnTo>
                  <a:lnTo>
                    <a:pt x="607" y="1762"/>
                  </a:lnTo>
                  <a:lnTo>
                    <a:pt x="609" y="1762"/>
                  </a:lnTo>
                  <a:lnTo>
                    <a:pt x="609" y="1760"/>
                  </a:lnTo>
                  <a:lnTo>
                    <a:pt x="607" y="1760"/>
                  </a:lnTo>
                  <a:lnTo>
                    <a:pt x="605" y="1760"/>
                  </a:lnTo>
                  <a:lnTo>
                    <a:pt x="602" y="1758"/>
                  </a:lnTo>
                  <a:lnTo>
                    <a:pt x="605" y="1758"/>
                  </a:lnTo>
                  <a:lnTo>
                    <a:pt x="602" y="1755"/>
                  </a:lnTo>
                  <a:lnTo>
                    <a:pt x="600" y="1755"/>
                  </a:lnTo>
                  <a:lnTo>
                    <a:pt x="600" y="1753"/>
                  </a:lnTo>
                  <a:lnTo>
                    <a:pt x="600" y="1755"/>
                  </a:lnTo>
                  <a:lnTo>
                    <a:pt x="597" y="1758"/>
                  </a:lnTo>
                  <a:lnTo>
                    <a:pt x="595" y="1758"/>
                  </a:lnTo>
                  <a:lnTo>
                    <a:pt x="595" y="1755"/>
                  </a:lnTo>
                  <a:lnTo>
                    <a:pt x="593" y="1755"/>
                  </a:lnTo>
                  <a:lnTo>
                    <a:pt x="590" y="1755"/>
                  </a:lnTo>
                  <a:lnTo>
                    <a:pt x="588" y="1755"/>
                  </a:lnTo>
                  <a:lnTo>
                    <a:pt x="588" y="1753"/>
                  </a:lnTo>
                  <a:lnTo>
                    <a:pt x="586" y="1753"/>
                  </a:lnTo>
                  <a:lnTo>
                    <a:pt x="586" y="1751"/>
                  </a:lnTo>
                  <a:lnTo>
                    <a:pt x="586" y="1748"/>
                  </a:lnTo>
                  <a:lnTo>
                    <a:pt x="583" y="1748"/>
                  </a:lnTo>
                  <a:lnTo>
                    <a:pt x="583" y="1746"/>
                  </a:lnTo>
                  <a:lnTo>
                    <a:pt x="583" y="1743"/>
                  </a:lnTo>
                  <a:lnTo>
                    <a:pt x="581" y="1741"/>
                  </a:lnTo>
                  <a:lnTo>
                    <a:pt x="579" y="1741"/>
                  </a:lnTo>
                  <a:lnTo>
                    <a:pt x="579" y="1739"/>
                  </a:lnTo>
                  <a:lnTo>
                    <a:pt x="576" y="1739"/>
                  </a:lnTo>
                  <a:lnTo>
                    <a:pt x="574" y="1739"/>
                  </a:lnTo>
                  <a:lnTo>
                    <a:pt x="574" y="1736"/>
                  </a:lnTo>
                  <a:lnTo>
                    <a:pt x="571" y="1736"/>
                  </a:lnTo>
                  <a:lnTo>
                    <a:pt x="569" y="1736"/>
                  </a:lnTo>
                  <a:lnTo>
                    <a:pt x="567" y="1736"/>
                  </a:lnTo>
                  <a:lnTo>
                    <a:pt x="564" y="1736"/>
                  </a:lnTo>
                  <a:lnTo>
                    <a:pt x="564" y="1734"/>
                  </a:lnTo>
                  <a:lnTo>
                    <a:pt x="562" y="1734"/>
                  </a:lnTo>
                  <a:lnTo>
                    <a:pt x="560" y="1734"/>
                  </a:lnTo>
                  <a:lnTo>
                    <a:pt x="560" y="1732"/>
                  </a:lnTo>
                  <a:lnTo>
                    <a:pt x="562" y="1732"/>
                  </a:lnTo>
                  <a:lnTo>
                    <a:pt x="562" y="1729"/>
                  </a:lnTo>
                  <a:lnTo>
                    <a:pt x="564" y="1729"/>
                  </a:lnTo>
                  <a:lnTo>
                    <a:pt x="564" y="1732"/>
                  </a:lnTo>
                  <a:lnTo>
                    <a:pt x="564" y="1729"/>
                  </a:lnTo>
                  <a:lnTo>
                    <a:pt x="567" y="1729"/>
                  </a:lnTo>
                  <a:lnTo>
                    <a:pt x="569" y="1729"/>
                  </a:lnTo>
                  <a:lnTo>
                    <a:pt x="571" y="1729"/>
                  </a:lnTo>
                  <a:lnTo>
                    <a:pt x="571" y="1727"/>
                  </a:lnTo>
                  <a:lnTo>
                    <a:pt x="574" y="1727"/>
                  </a:lnTo>
                  <a:lnTo>
                    <a:pt x="574" y="1724"/>
                  </a:lnTo>
                  <a:lnTo>
                    <a:pt x="571" y="1724"/>
                  </a:lnTo>
                  <a:lnTo>
                    <a:pt x="569" y="1727"/>
                  </a:lnTo>
                  <a:lnTo>
                    <a:pt x="567" y="1727"/>
                  </a:lnTo>
                  <a:lnTo>
                    <a:pt x="567" y="1724"/>
                  </a:lnTo>
                  <a:lnTo>
                    <a:pt x="564" y="1722"/>
                  </a:lnTo>
                  <a:lnTo>
                    <a:pt x="567" y="1722"/>
                  </a:lnTo>
                  <a:lnTo>
                    <a:pt x="567" y="1724"/>
                  </a:lnTo>
                  <a:lnTo>
                    <a:pt x="567" y="1722"/>
                  </a:lnTo>
                  <a:lnTo>
                    <a:pt x="567" y="1724"/>
                  </a:lnTo>
                  <a:lnTo>
                    <a:pt x="569" y="1724"/>
                  </a:lnTo>
                  <a:lnTo>
                    <a:pt x="569" y="1722"/>
                  </a:lnTo>
                  <a:lnTo>
                    <a:pt x="569" y="1724"/>
                  </a:lnTo>
                  <a:lnTo>
                    <a:pt x="569" y="1722"/>
                  </a:lnTo>
                  <a:lnTo>
                    <a:pt x="567" y="1722"/>
                  </a:lnTo>
                  <a:lnTo>
                    <a:pt x="564" y="1722"/>
                  </a:lnTo>
                  <a:lnTo>
                    <a:pt x="564" y="1724"/>
                  </a:lnTo>
                  <a:lnTo>
                    <a:pt x="562" y="1724"/>
                  </a:lnTo>
                  <a:lnTo>
                    <a:pt x="562" y="1727"/>
                  </a:lnTo>
                  <a:lnTo>
                    <a:pt x="562" y="1724"/>
                  </a:lnTo>
                  <a:lnTo>
                    <a:pt x="562" y="1727"/>
                  </a:lnTo>
                  <a:lnTo>
                    <a:pt x="560" y="1727"/>
                  </a:lnTo>
                  <a:lnTo>
                    <a:pt x="562" y="1727"/>
                  </a:lnTo>
                  <a:lnTo>
                    <a:pt x="562" y="1724"/>
                  </a:lnTo>
                  <a:lnTo>
                    <a:pt x="564" y="1724"/>
                  </a:lnTo>
                  <a:lnTo>
                    <a:pt x="564" y="1722"/>
                  </a:lnTo>
                  <a:lnTo>
                    <a:pt x="567" y="1720"/>
                  </a:lnTo>
                  <a:lnTo>
                    <a:pt x="569" y="1720"/>
                  </a:lnTo>
                  <a:lnTo>
                    <a:pt x="571" y="1720"/>
                  </a:lnTo>
                  <a:lnTo>
                    <a:pt x="571" y="1722"/>
                  </a:lnTo>
                  <a:lnTo>
                    <a:pt x="574" y="1722"/>
                  </a:lnTo>
                  <a:lnTo>
                    <a:pt x="576" y="1724"/>
                  </a:lnTo>
                  <a:lnTo>
                    <a:pt x="579" y="1724"/>
                  </a:lnTo>
                  <a:lnTo>
                    <a:pt x="581" y="1724"/>
                  </a:lnTo>
                  <a:lnTo>
                    <a:pt x="583" y="1724"/>
                  </a:lnTo>
                  <a:lnTo>
                    <a:pt x="586" y="1724"/>
                  </a:lnTo>
                  <a:lnTo>
                    <a:pt x="586" y="1727"/>
                  </a:lnTo>
                  <a:lnTo>
                    <a:pt x="586" y="1724"/>
                  </a:lnTo>
                  <a:lnTo>
                    <a:pt x="588" y="1724"/>
                  </a:lnTo>
                  <a:lnTo>
                    <a:pt x="590" y="1722"/>
                  </a:lnTo>
                  <a:lnTo>
                    <a:pt x="593" y="1722"/>
                  </a:lnTo>
                  <a:lnTo>
                    <a:pt x="593" y="1720"/>
                  </a:lnTo>
                  <a:lnTo>
                    <a:pt x="593" y="1717"/>
                  </a:lnTo>
                  <a:lnTo>
                    <a:pt x="593" y="1715"/>
                  </a:lnTo>
                  <a:lnTo>
                    <a:pt x="593" y="1713"/>
                  </a:lnTo>
                  <a:lnTo>
                    <a:pt x="593" y="1710"/>
                  </a:lnTo>
                  <a:lnTo>
                    <a:pt x="595" y="1708"/>
                  </a:lnTo>
                  <a:lnTo>
                    <a:pt x="597" y="1708"/>
                  </a:lnTo>
                  <a:lnTo>
                    <a:pt x="597" y="1705"/>
                  </a:lnTo>
                  <a:lnTo>
                    <a:pt x="600" y="1705"/>
                  </a:lnTo>
                  <a:lnTo>
                    <a:pt x="602" y="1703"/>
                  </a:lnTo>
                  <a:lnTo>
                    <a:pt x="602" y="1701"/>
                  </a:lnTo>
                  <a:lnTo>
                    <a:pt x="602" y="1698"/>
                  </a:lnTo>
                  <a:lnTo>
                    <a:pt x="605" y="1696"/>
                  </a:lnTo>
                  <a:lnTo>
                    <a:pt x="605" y="1694"/>
                  </a:lnTo>
                  <a:lnTo>
                    <a:pt x="605" y="1691"/>
                  </a:lnTo>
                  <a:lnTo>
                    <a:pt x="607" y="1691"/>
                  </a:lnTo>
                  <a:lnTo>
                    <a:pt x="609" y="1691"/>
                  </a:lnTo>
                  <a:lnTo>
                    <a:pt x="609" y="1694"/>
                  </a:lnTo>
                  <a:lnTo>
                    <a:pt x="609" y="1696"/>
                  </a:lnTo>
                  <a:lnTo>
                    <a:pt x="609" y="1694"/>
                  </a:lnTo>
                  <a:lnTo>
                    <a:pt x="612" y="1694"/>
                  </a:lnTo>
                  <a:lnTo>
                    <a:pt x="612" y="1691"/>
                  </a:lnTo>
                  <a:lnTo>
                    <a:pt x="612" y="1689"/>
                  </a:lnTo>
                  <a:lnTo>
                    <a:pt x="614" y="1686"/>
                  </a:lnTo>
                  <a:lnTo>
                    <a:pt x="614" y="1684"/>
                  </a:lnTo>
                  <a:lnTo>
                    <a:pt x="614" y="1682"/>
                  </a:lnTo>
                  <a:lnTo>
                    <a:pt x="616" y="1682"/>
                  </a:lnTo>
                  <a:lnTo>
                    <a:pt x="614" y="1682"/>
                  </a:lnTo>
                  <a:lnTo>
                    <a:pt x="614" y="1684"/>
                  </a:lnTo>
                  <a:lnTo>
                    <a:pt x="614" y="1686"/>
                  </a:lnTo>
                  <a:lnTo>
                    <a:pt x="616" y="1686"/>
                  </a:lnTo>
                  <a:lnTo>
                    <a:pt x="614" y="1686"/>
                  </a:lnTo>
                  <a:lnTo>
                    <a:pt x="616" y="1686"/>
                  </a:lnTo>
                  <a:lnTo>
                    <a:pt x="616" y="1689"/>
                  </a:lnTo>
                  <a:lnTo>
                    <a:pt x="619" y="1689"/>
                  </a:lnTo>
                  <a:lnTo>
                    <a:pt x="619" y="1691"/>
                  </a:lnTo>
                  <a:lnTo>
                    <a:pt x="621" y="1691"/>
                  </a:lnTo>
                  <a:lnTo>
                    <a:pt x="624" y="1691"/>
                  </a:lnTo>
                  <a:lnTo>
                    <a:pt x="626" y="1691"/>
                  </a:lnTo>
                  <a:lnTo>
                    <a:pt x="626" y="1689"/>
                  </a:lnTo>
                  <a:lnTo>
                    <a:pt x="624" y="1689"/>
                  </a:lnTo>
                  <a:lnTo>
                    <a:pt x="624" y="1686"/>
                  </a:lnTo>
                  <a:lnTo>
                    <a:pt x="621" y="1686"/>
                  </a:lnTo>
                  <a:lnTo>
                    <a:pt x="619" y="1686"/>
                  </a:lnTo>
                  <a:lnTo>
                    <a:pt x="619" y="1684"/>
                  </a:lnTo>
                  <a:lnTo>
                    <a:pt x="616" y="1684"/>
                  </a:lnTo>
                  <a:lnTo>
                    <a:pt x="616" y="1682"/>
                  </a:lnTo>
                  <a:lnTo>
                    <a:pt x="614" y="1682"/>
                  </a:lnTo>
                  <a:lnTo>
                    <a:pt x="614" y="1679"/>
                  </a:lnTo>
                  <a:lnTo>
                    <a:pt x="612" y="1677"/>
                  </a:lnTo>
                  <a:lnTo>
                    <a:pt x="609" y="1675"/>
                  </a:lnTo>
                  <a:lnTo>
                    <a:pt x="607" y="1675"/>
                  </a:lnTo>
                  <a:lnTo>
                    <a:pt x="605" y="1675"/>
                  </a:lnTo>
                  <a:lnTo>
                    <a:pt x="607" y="1675"/>
                  </a:lnTo>
                  <a:lnTo>
                    <a:pt x="607" y="1677"/>
                  </a:lnTo>
                  <a:lnTo>
                    <a:pt x="605" y="1677"/>
                  </a:lnTo>
                  <a:lnTo>
                    <a:pt x="605" y="1675"/>
                  </a:lnTo>
                  <a:lnTo>
                    <a:pt x="602" y="1675"/>
                  </a:lnTo>
                  <a:lnTo>
                    <a:pt x="602" y="1672"/>
                  </a:lnTo>
                  <a:lnTo>
                    <a:pt x="600" y="1670"/>
                  </a:lnTo>
                  <a:lnTo>
                    <a:pt x="600" y="1667"/>
                  </a:lnTo>
                  <a:lnTo>
                    <a:pt x="600" y="1665"/>
                  </a:lnTo>
                  <a:lnTo>
                    <a:pt x="597" y="1663"/>
                  </a:lnTo>
                  <a:lnTo>
                    <a:pt x="597" y="1660"/>
                  </a:lnTo>
                  <a:lnTo>
                    <a:pt x="600" y="1663"/>
                  </a:lnTo>
                  <a:lnTo>
                    <a:pt x="602" y="1663"/>
                  </a:lnTo>
                  <a:lnTo>
                    <a:pt x="602" y="1665"/>
                  </a:lnTo>
                  <a:lnTo>
                    <a:pt x="605" y="1665"/>
                  </a:lnTo>
                  <a:lnTo>
                    <a:pt x="607" y="1665"/>
                  </a:lnTo>
                  <a:lnTo>
                    <a:pt x="607" y="1663"/>
                  </a:lnTo>
                  <a:lnTo>
                    <a:pt x="609" y="1663"/>
                  </a:lnTo>
                  <a:lnTo>
                    <a:pt x="609" y="1660"/>
                  </a:lnTo>
                  <a:lnTo>
                    <a:pt x="612" y="1660"/>
                  </a:lnTo>
                  <a:lnTo>
                    <a:pt x="614" y="1660"/>
                  </a:lnTo>
                  <a:lnTo>
                    <a:pt x="616" y="1660"/>
                  </a:lnTo>
                  <a:lnTo>
                    <a:pt x="616" y="1658"/>
                  </a:lnTo>
                  <a:lnTo>
                    <a:pt x="616" y="1660"/>
                  </a:lnTo>
                  <a:lnTo>
                    <a:pt x="616" y="1663"/>
                  </a:lnTo>
                  <a:lnTo>
                    <a:pt x="619" y="1663"/>
                  </a:lnTo>
                  <a:lnTo>
                    <a:pt x="621" y="1663"/>
                  </a:lnTo>
                  <a:lnTo>
                    <a:pt x="624" y="1663"/>
                  </a:lnTo>
                  <a:lnTo>
                    <a:pt x="626" y="1663"/>
                  </a:lnTo>
                  <a:lnTo>
                    <a:pt x="626" y="1660"/>
                  </a:lnTo>
                  <a:lnTo>
                    <a:pt x="624" y="1660"/>
                  </a:lnTo>
                  <a:lnTo>
                    <a:pt x="624" y="1658"/>
                  </a:lnTo>
                  <a:lnTo>
                    <a:pt x="621" y="1658"/>
                  </a:lnTo>
                  <a:lnTo>
                    <a:pt x="619" y="1658"/>
                  </a:lnTo>
                  <a:lnTo>
                    <a:pt x="619" y="1660"/>
                  </a:lnTo>
                  <a:lnTo>
                    <a:pt x="619" y="1658"/>
                  </a:lnTo>
                  <a:lnTo>
                    <a:pt x="619" y="1656"/>
                  </a:lnTo>
                  <a:lnTo>
                    <a:pt x="621" y="1656"/>
                  </a:lnTo>
                  <a:lnTo>
                    <a:pt x="621" y="1653"/>
                  </a:lnTo>
                  <a:lnTo>
                    <a:pt x="624" y="1653"/>
                  </a:lnTo>
                  <a:lnTo>
                    <a:pt x="626" y="1653"/>
                  </a:lnTo>
                  <a:lnTo>
                    <a:pt x="628" y="1653"/>
                  </a:lnTo>
                  <a:lnTo>
                    <a:pt x="631" y="1653"/>
                  </a:lnTo>
                  <a:lnTo>
                    <a:pt x="631" y="1651"/>
                  </a:lnTo>
                  <a:lnTo>
                    <a:pt x="633" y="1651"/>
                  </a:lnTo>
                  <a:lnTo>
                    <a:pt x="635" y="1651"/>
                  </a:lnTo>
                  <a:lnTo>
                    <a:pt x="635" y="1648"/>
                  </a:lnTo>
                  <a:lnTo>
                    <a:pt x="638" y="1648"/>
                  </a:lnTo>
                  <a:lnTo>
                    <a:pt x="640" y="1646"/>
                  </a:lnTo>
                  <a:lnTo>
                    <a:pt x="643" y="1646"/>
                  </a:lnTo>
                  <a:lnTo>
                    <a:pt x="643" y="1644"/>
                  </a:lnTo>
                  <a:lnTo>
                    <a:pt x="643" y="1646"/>
                  </a:lnTo>
                  <a:lnTo>
                    <a:pt x="645" y="1646"/>
                  </a:lnTo>
                  <a:lnTo>
                    <a:pt x="647" y="1646"/>
                  </a:lnTo>
                  <a:lnTo>
                    <a:pt x="650" y="1646"/>
                  </a:lnTo>
                  <a:lnTo>
                    <a:pt x="650" y="1644"/>
                  </a:lnTo>
                  <a:lnTo>
                    <a:pt x="650" y="1641"/>
                  </a:lnTo>
                  <a:lnTo>
                    <a:pt x="652" y="1641"/>
                  </a:lnTo>
                  <a:lnTo>
                    <a:pt x="654" y="1641"/>
                  </a:lnTo>
                  <a:lnTo>
                    <a:pt x="654" y="1639"/>
                  </a:lnTo>
                  <a:lnTo>
                    <a:pt x="657" y="1639"/>
                  </a:lnTo>
                  <a:lnTo>
                    <a:pt x="657" y="1641"/>
                  </a:lnTo>
                  <a:lnTo>
                    <a:pt x="657" y="1639"/>
                  </a:lnTo>
                  <a:lnTo>
                    <a:pt x="659" y="1639"/>
                  </a:lnTo>
                  <a:lnTo>
                    <a:pt x="659" y="1641"/>
                  </a:lnTo>
                  <a:lnTo>
                    <a:pt x="662" y="1641"/>
                  </a:lnTo>
                  <a:lnTo>
                    <a:pt x="659" y="1641"/>
                  </a:lnTo>
                  <a:lnTo>
                    <a:pt x="659" y="1639"/>
                  </a:lnTo>
                  <a:lnTo>
                    <a:pt x="659" y="1641"/>
                  </a:lnTo>
                  <a:lnTo>
                    <a:pt x="659" y="1639"/>
                  </a:lnTo>
                  <a:lnTo>
                    <a:pt x="657" y="1639"/>
                  </a:lnTo>
                  <a:lnTo>
                    <a:pt x="659" y="1639"/>
                  </a:lnTo>
                  <a:lnTo>
                    <a:pt x="662" y="1637"/>
                  </a:lnTo>
                  <a:lnTo>
                    <a:pt x="664" y="1637"/>
                  </a:lnTo>
                  <a:lnTo>
                    <a:pt x="666" y="1637"/>
                  </a:lnTo>
                  <a:lnTo>
                    <a:pt x="666" y="1634"/>
                  </a:lnTo>
                  <a:lnTo>
                    <a:pt x="669" y="1634"/>
                  </a:lnTo>
                  <a:lnTo>
                    <a:pt x="669" y="1637"/>
                  </a:lnTo>
                  <a:lnTo>
                    <a:pt x="671" y="1637"/>
                  </a:lnTo>
                  <a:lnTo>
                    <a:pt x="671" y="1634"/>
                  </a:lnTo>
                  <a:lnTo>
                    <a:pt x="671" y="1637"/>
                  </a:lnTo>
                  <a:lnTo>
                    <a:pt x="673" y="1637"/>
                  </a:lnTo>
                  <a:lnTo>
                    <a:pt x="673" y="1634"/>
                  </a:lnTo>
                  <a:lnTo>
                    <a:pt x="673" y="1637"/>
                  </a:lnTo>
                  <a:lnTo>
                    <a:pt x="676" y="1637"/>
                  </a:lnTo>
                  <a:lnTo>
                    <a:pt x="676" y="1634"/>
                  </a:lnTo>
                  <a:lnTo>
                    <a:pt x="678" y="1634"/>
                  </a:lnTo>
                  <a:lnTo>
                    <a:pt x="678" y="1637"/>
                  </a:lnTo>
                  <a:lnTo>
                    <a:pt x="681" y="1637"/>
                  </a:lnTo>
                  <a:lnTo>
                    <a:pt x="681" y="1634"/>
                  </a:lnTo>
                  <a:lnTo>
                    <a:pt x="683" y="1634"/>
                  </a:lnTo>
                  <a:lnTo>
                    <a:pt x="683" y="1632"/>
                  </a:lnTo>
                  <a:lnTo>
                    <a:pt x="685" y="1632"/>
                  </a:lnTo>
                  <a:lnTo>
                    <a:pt x="685" y="1629"/>
                  </a:lnTo>
                  <a:lnTo>
                    <a:pt x="685" y="1632"/>
                  </a:lnTo>
                  <a:lnTo>
                    <a:pt x="683" y="1632"/>
                  </a:lnTo>
                  <a:lnTo>
                    <a:pt x="681" y="1634"/>
                  </a:lnTo>
                  <a:lnTo>
                    <a:pt x="681" y="1637"/>
                  </a:lnTo>
                  <a:lnTo>
                    <a:pt x="678" y="1637"/>
                  </a:lnTo>
                  <a:lnTo>
                    <a:pt x="678" y="1634"/>
                  </a:lnTo>
                  <a:lnTo>
                    <a:pt x="676" y="1634"/>
                  </a:lnTo>
                  <a:lnTo>
                    <a:pt x="676" y="1637"/>
                  </a:lnTo>
                  <a:lnTo>
                    <a:pt x="673" y="1637"/>
                  </a:lnTo>
                  <a:lnTo>
                    <a:pt x="673" y="1634"/>
                  </a:lnTo>
                  <a:lnTo>
                    <a:pt x="671" y="1634"/>
                  </a:lnTo>
                  <a:lnTo>
                    <a:pt x="671" y="1637"/>
                  </a:lnTo>
                  <a:lnTo>
                    <a:pt x="669" y="1637"/>
                  </a:lnTo>
                  <a:lnTo>
                    <a:pt x="669" y="1634"/>
                  </a:lnTo>
                  <a:lnTo>
                    <a:pt x="671" y="1634"/>
                  </a:lnTo>
                  <a:lnTo>
                    <a:pt x="671" y="1632"/>
                  </a:lnTo>
                  <a:lnTo>
                    <a:pt x="671" y="1634"/>
                  </a:lnTo>
                  <a:lnTo>
                    <a:pt x="669" y="1634"/>
                  </a:lnTo>
                  <a:lnTo>
                    <a:pt x="666" y="1634"/>
                  </a:lnTo>
                  <a:lnTo>
                    <a:pt x="666" y="1637"/>
                  </a:lnTo>
                  <a:lnTo>
                    <a:pt x="664" y="1637"/>
                  </a:lnTo>
                  <a:lnTo>
                    <a:pt x="662" y="1637"/>
                  </a:lnTo>
                  <a:lnTo>
                    <a:pt x="659" y="1639"/>
                  </a:lnTo>
                  <a:lnTo>
                    <a:pt x="657" y="1639"/>
                  </a:lnTo>
                  <a:lnTo>
                    <a:pt x="654" y="1639"/>
                  </a:lnTo>
                  <a:lnTo>
                    <a:pt x="652" y="1639"/>
                  </a:lnTo>
                  <a:lnTo>
                    <a:pt x="650" y="1639"/>
                  </a:lnTo>
                  <a:lnTo>
                    <a:pt x="650" y="1637"/>
                  </a:lnTo>
                  <a:lnTo>
                    <a:pt x="647" y="1637"/>
                  </a:lnTo>
                  <a:lnTo>
                    <a:pt x="647" y="1634"/>
                  </a:lnTo>
                  <a:lnTo>
                    <a:pt x="647" y="1637"/>
                  </a:lnTo>
                  <a:lnTo>
                    <a:pt x="647" y="1634"/>
                  </a:lnTo>
                  <a:lnTo>
                    <a:pt x="650" y="1634"/>
                  </a:lnTo>
                  <a:lnTo>
                    <a:pt x="652" y="1634"/>
                  </a:lnTo>
                  <a:lnTo>
                    <a:pt x="654" y="1634"/>
                  </a:lnTo>
                  <a:lnTo>
                    <a:pt x="657" y="1634"/>
                  </a:lnTo>
                  <a:lnTo>
                    <a:pt x="657" y="1637"/>
                  </a:lnTo>
                  <a:lnTo>
                    <a:pt x="659" y="1637"/>
                  </a:lnTo>
                  <a:lnTo>
                    <a:pt x="657" y="1637"/>
                  </a:lnTo>
                  <a:lnTo>
                    <a:pt x="654" y="1634"/>
                  </a:lnTo>
                  <a:lnTo>
                    <a:pt x="652" y="1634"/>
                  </a:lnTo>
                  <a:lnTo>
                    <a:pt x="650" y="1634"/>
                  </a:lnTo>
                  <a:lnTo>
                    <a:pt x="647" y="1634"/>
                  </a:lnTo>
                  <a:lnTo>
                    <a:pt x="645" y="1634"/>
                  </a:lnTo>
                  <a:lnTo>
                    <a:pt x="643" y="1634"/>
                  </a:lnTo>
                  <a:lnTo>
                    <a:pt x="643" y="1632"/>
                  </a:lnTo>
                  <a:lnTo>
                    <a:pt x="643" y="1634"/>
                  </a:lnTo>
                  <a:lnTo>
                    <a:pt x="640" y="1634"/>
                  </a:lnTo>
                  <a:lnTo>
                    <a:pt x="638" y="1634"/>
                  </a:lnTo>
                  <a:lnTo>
                    <a:pt x="638" y="1637"/>
                  </a:lnTo>
                  <a:lnTo>
                    <a:pt x="635" y="1637"/>
                  </a:lnTo>
                  <a:lnTo>
                    <a:pt x="635" y="1639"/>
                  </a:lnTo>
                  <a:lnTo>
                    <a:pt x="633" y="1639"/>
                  </a:lnTo>
                  <a:lnTo>
                    <a:pt x="631" y="1639"/>
                  </a:lnTo>
                  <a:lnTo>
                    <a:pt x="628" y="1639"/>
                  </a:lnTo>
                  <a:lnTo>
                    <a:pt x="626" y="1639"/>
                  </a:lnTo>
                  <a:lnTo>
                    <a:pt x="624" y="1641"/>
                  </a:lnTo>
                  <a:lnTo>
                    <a:pt x="626" y="1641"/>
                  </a:lnTo>
                  <a:lnTo>
                    <a:pt x="624" y="1641"/>
                  </a:lnTo>
                  <a:lnTo>
                    <a:pt x="621" y="1639"/>
                  </a:lnTo>
                  <a:lnTo>
                    <a:pt x="624" y="1639"/>
                  </a:lnTo>
                  <a:lnTo>
                    <a:pt x="624" y="1637"/>
                  </a:lnTo>
                  <a:lnTo>
                    <a:pt x="624" y="1639"/>
                  </a:lnTo>
                  <a:lnTo>
                    <a:pt x="621" y="1639"/>
                  </a:lnTo>
                  <a:lnTo>
                    <a:pt x="619" y="1639"/>
                  </a:lnTo>
                  <a:lnTo>
                    <a:pt x="619" y="1641"/>
                  </a:lnTo>
                  <a:lnTo>
                    <a:pt x="619" y="1639"/>
                  </a:lnTo>
                  <a:lnTo>
                    <a:pt x="616" y="1641"/>
                  </a:lnTo>
                  <a:lnTo>
                    <a:pt x="616" y="1639"/>
                  </a:lnTo>
                  <a:lnTo>
                    <a:pt x="616" y="1641"/>
                  </a:lnTo>
                  <a:lnTo>
                    <a:pt x="616" y="1639"/>
                  </a:lnTo>
                  <a:lnTo>
                    <a:pt x="616" y="1641"/>
                  </a:lnTo>
                  <a:lnTo>
                    <a:pt x="614" y="1641"/>
                  </a:lnTo>
                  <a:lnTo>
                    <a:pt x="614" y="1639"/>
                  </a:lnTo>
                  <a:lnTo>
                    <a:pt x="614" y="1637"/>
                  </a:lnTo>
                  <a:lnTo>
                    <a:pt x="616" y="1634"/>
                  </a:lnTo>
                  <a:lnTo>
                    <a:pt x="616" y="1632"/>
                  </a:lnTo>
                  <a:lnTo>
                    <a:pt x="614" y="1632"/>
                  </a:lnTo>
                  <a:lnTo>
                    <a:pt x="614" y="1629"/>
                  </a:lnTo>
                  <a:lnTo>
                    <a:pt x="616" y="1629"/>
                  </a:lnTo>
                  <a:lnTo>
                    <a:pt x="616" y="1627"/>
                  </a:lnTo>
                  <a:lnTo>
                    <a:pt x="616" y="1625"/>
                  </a:lnTo>
                  <a:lnTo>
                    <a:pt x="616" y="1622"/>
                  </a:lnTo>
                  <a:lnTo>
                    <a:pt x="616" y="1620"/>
                  </a:lnTo>
                  <a:lnTo>
                    <a:pt x="619" y="1620"/>
                  </a:lnTo>
                  <a:lnTo>
                    <a:pt x="619" y="1618"/>
                  </a:lnTo>
                  <a:lnTo>
                    <a:pt x="621" y="1618"/>
                  </a:lnTo>
                  <a:lnTo>
                    <a:pt x="621" y="1615"/>
                  </a:lnTo>
                  <a:lnTo>
                    <a:pt x="626" y="1615"/>
                  </a:lnTo>
                  <a:lnTo>
                    <a:pt x="628" y="1615"/>
                  </a:lnTo>
                  <a:lnTo>
                    <a:pt x="628" y="1613"/>
                  </a:lnTo>
                  <a:lnTo>
                    <a:pt x="631" y="1613"/>
                  </a:lnTo>
                  <a:lnTo>
                    <a:pt x="631" y="1615"/>
                  </a:lnTo>
                  <a:lnTo>
                    <a:pt x="631" y="1613"/>
                  </a:lnTo>
                  <a:lnTo>
                    <a:pt x="633" y="1610"/>
                  </a:lnTo>
                  <a:lnTo>
                    <a:pt x="633" y="1608"/>
                  </a:lnTo>
                  <a:lnTo>
                    <a:pt x="633" y="1606"/>
                  </a:lnTo>
                  <a:lnTo>
                    <a:pt x="635" y="1606"/>
                  </a:lnTo>
                  <a:lnTo>
                    <a:pt x="638" y="1606"/>
                  </a:lnTo>
                  <a:lnTo>
                    <a:pt x="640" y="1606"/>
                  </a:lnTo>
                  <a:lnTo>
                    <a:pt x="643" y="1606"/>
                  </a:lnTo>
                  <a:lnTo>
                    <a:pt x="645" y="1606"/>
                  </a:lnTo>
                  <a:lnTo>
                    <a:pt x="647" y="1606"/>
                  </a:lnTo>
                  <a:lnTo>
                    <a:pt x="650" y="1606"/>
                  </a:lnTo>
                  <a:lnTo>
                    <a:pt x="652" y="1606"/>
                  </a:lnTo>
                  <a:lnTo>
                    <a:pt x="652" y="1608"/>
                  </a:lnTo>
                  <a:lnTo>
                    <a:pt x="652" y="1606"/>
                  </a:lnTo>
                  <a:lnTo>
                    <a:pt x="654" y="1606"/>
                  </a:lnTo>
                  <a:lnTo>
                    <a:pt x="657" y="1608"/>
                  </a:lnTo>
                  <a:lnTo>
                    <a:pt x="659" y="1606"/>
                  </a:lnTo>
                  <a:lnTo>
                    <a:pt x="662" y="1608"/>
                  </a:lnTo>
                  <a:lnTo>
                    <a:pt x="664" y="1608"/>
                  </a:lnTo>
                  <a:lnTo>
                    <a:pt x="664" y="1606"/>
                  </a:lnTo>
                  <a:lnTo>
                    <a:pt x="666" y="1606"/>
                  </a:lnTo>
                  <a:lnTo>
                    <a:pt x="666" y="1603"/>
                  </a:lnTo>
                  <a:lnTo>
                    <a:pt x="666" y="1601"/>
                  </a:lnTo>
                  <a:lnTo>
                    <a:pt x="666" y="1599"/>
                  </a:lnTo>
                  <a:lnTo>
                    <a:pt x="664" y="1599"/>
                  </a:lnTo>
                  <a:lnTo>
                    <a:pt x="664" y="1596"/>
                  </a:lnTo>
                  <a:lnTo>
                    <a:pt x="669" y="1596"/>
                  </a:lnTo>
                  <a:lnTo>
                    <a:pt x="666" y="1596"/>
                  </a:lnTo>
                  <a:lnTo>
                    <a:pt x="669" y="1596"/>
                  </a:lnTo>
                  <a:lnTo>
                    <a:pt x="669" y="1594"/>
                  </a:lnTo>
                  <a:lnTo>
                    <a:pt x="669" y="1591"/>
                  </a:lnTo>
                  <a:lnTo>
                    <a:pt x="671" y="1591"/>
                  </a:lnTo>
                  <a:lnTo>
                    <a:pt x="671" y="1589"/>
                  </a:lnTo>
                  <a:lnTo>
                    <a:pt x="673" y="1589"/>
                  </a:lnTo>
                  <a:lnTo>
                    <a:pt x="673" y="1587"/>
                  </a:lnTo>
                  <a:lnTo>
                    <a:pt x="671" y="1584"/>
                  </a:lnTo>
                  <a:lnTo>
                    <a:pt x="669" y="1584"/>
                  </a:lnTo>
                  <a:lnTo>
                    <a:pt x="666" y="1584"/>
                  </a:lnTo>
                  <a:lnTo>
                    <a:pt x="666" y="1582"/>
                  </a:lnTo>
                  <a:lnTo>
                    <a:pt x="669" y="1582"/>
                  </a:lnTo>
                  <a:lnTo>
                    <a:pt x="671" y="1582"/>
                  </a:lnTo>
                  <a:lnTo>
                    <a:pt x="671" y="1580"/>
                  </a:lnTo>
                  <a:lnTo>
                    <a:pt x="669" y="1582"/>
                  </a:lnTo>
                  <a:lnTo>
                    <a:pt x="669" y="1580"/>
                  </a:lnTo>
                  <a:lnTo>
                    <a:pt x="669" y="1577"/>
                  </a:lnTo>
                  <a:lnTo>
                    <a:pt x="666" y="1577"/>
                  </a:lnTo>
                  <a:lnTo>
                    <a:pt x="666" y="1575"/>
                  </a:lnTo>
                  <a:lnTo>
                    <a:pt x="669" y="1575"/>
                  </a:lnTo>
                  <a:lnTo>
                    <a:pt x="666" y="1572"/>
                  </a:lnTo>
                  <a:lnTo>
                    <a:pt x="666" y="1570"/>
                  </a:lnTo>
                  <a:lnTo>
                    <a:pt x="664" y="1570"/>
                  </a:lnTo>
                  <a:lnTo>
                    <a:pt x="662" y="1570"/>
                  </a:lnTo>
                  <a:lnTo>
                    <a:pt x="662" y="1568"/>
                  </a:lnTo>
                  <a:lnTo>
                    <a:pt x="664" y="1565"/>
                  </a:lnTo>
                  <a:lnTo>
                    <a:pt x="662" y="1565"/>
                  </a:lnTo>
                  <a:lnTo>
                    <a:pt x="664" y="1565"/>
                  </a:lnTo>
                  <a:lnTo>
                    <a:pt x="662" y="1565"/>
                  </a:lnTo>
                  <a:lnTo>
                    <a:pt x="664" y="1565"/>
                  </a:lnTo>
                  <a:lnTo>
                    <a:pt x="662" y="1565"/>
                  </a:lnTo>
                  <a:lnTo>
                    <a:pt x="664" y="1565"/>
                  </a:lnTo>
                  <a:lnTo>
                    <a:pt x="664" y="1563"/>
                  </a:lnTo>
                  <a:lnTo>
                    <a:pt x="664" y="1561"/>
                  </a:lnTo>
                  <a:lnTo>
                    <a:pt x="666" y="1561"/>
                  </a:lnTo>
                  <a:lnTo>
                    <a:pt x="666" y="1558"/>
                  </a:lnTo>
                  <a:lnTo>
                    <a:pt x="669" y="1561"/>
                  </a:lnTo>
                  <a:lnTo>
                    <a:pt x="671" y="1561"/>
                  </a:lnTo>
                  <a:lnTo>
                    <a:pt x="673" y="1558"/>
                  </a:lnTo>
                  <a:lnTo>
                    <a:pt x="676" y="1558"/>
                  </a:lnTo>
                  <a:lnTo>
                    <a:pt x="673" y="1556"/>
                  </a:lnTo>
                  <a:lnTo>
                    <a:pt x="671" y="1556"/>
                  </a:lnTo>
                  <a:lnTo>
                    <a:pt x="671" y="1558"/>
                  </a:lnTo>
                  <a:lnTo>
                    <a:pt x="671" y="1556"/>
                  </a:lnTo>
                  <a:lnTo>
                    <a:pt x="669" y="1556"/>
                  </a:lnTo>
                  <a:lnTo>
                    <a:pt x="666" y="1556"/>
                  </a:lnTo>
                  <a:lnTo>
                    <a:pt x="664" y="1556"/>
                  </a:lnTo>
                  <a:lnTo>
                    <a:pt x="664" y="1553"/>
                  </a:lnTo>
                  <a:lnTo>
                    <a:pt x="666" y="1553"/>
                  </a:lnTo>
                  <a:lnTo>
                    <a:pt x="664" y="1553"/>
                  </a:lnTo>
                  <a:lnTo>
                    <a:pt x="664" y="1551"/>
                  </a:lnTo>
                  <a:lnTo>
                    <a:pt x="662" y="1551"/>
                  </a:lnTo>
                  <a:lnTo>
                    <a:pt x="662" y="1549"/>
                  </a:lnTo>
                  <a:lnTo>
                    <a:pt x="664" y="1549"/>
                  </a:lnTo>
                  <a:lnTo>
                    <a:pt x="666" y="1549"/>
                  </a:lnTo>
                  <a:lnTo>
                    <a:pt x="669" y="1549"/>
                  </a:lnTo>
                  <a:lnTo>
                    <a:pt x="671" y="1549"/>
                  </a:lnTo>
                  <a:lnTo>
                    <a:pt x="671" y="1546"/>
                  </a:lnTo>
                  <a:lnTo>
                    <a:pt x="671" y="1544"/>
                  </a:lnTo>
                  <a:lnTo>
                    <a:pt x="673" y="1542"/>
                  </a:lnTo>
                  <a:lnTo>
                    <a:pt x="676" y="1542"/>
                  </a:lnTo>
                  <a:lnTo>
                    <a:pt x="676" y="1539"/>
                  </a:lnTo>
                  <a:lnTo>
                    <a:pt x="678" y="1539"/>
                  </a:lnTo>
                  <a:lnTo>
                    <a:pt x="678" y="1537"/>
                  </a:lnTo>
                  <a:lnTo>
                    <a:pt x="678" y="1534"/>
                  </a:lnTo>
                  <a:lnTo>
                    <a:pt x="678" y="1532"/>
                  </a:lnTo>
                  <a:lnTo>
                    <a:pt x="676" y="1532"/>
                  </a:lnTo>
                  <a:lnTo>
                    <a:pt x="673" y="1530"/>
                  </a:lnTo>
                  <a:lnTo>
                    <a:pt x="673" y="1527"/>
                  </a:lnTo>
                  <a:lnTo>
                    <a:pt x="673" y="1525"/>
                  </a:lnTo>
                  <a:lnTo>
                    <a:pt x="676" y="1525"/>
                  </a:lnTo>
                  <a:lnTo>
                    <a:pt x="678" y="1522"/>
                  </a:lnTo>
                  <a:lnTo>
                    <a:pt x="676" y="1522"/>
                  </a:lnTo>
                  <a:lnTo>
                    <a:pt x="673" y="1522"/>
                  </a:lnTo>
                  <a:lnTo>
                    <a:pt x="671" y="1522"/>
                  </a:lnTo>
                  <a:lnTo>
                    <a:pt x="669" y="1525"/>
                  </a:lnTo>
                  <a:lnTo>
                    <a:pt x="666" y="1525"/>
                  </a:lnTo>
                  <a:lnTo>
                    <a:pt x="664" y="1522"/>
                  </a:lnTo>
                  <a:lnTo>
                    <a:pt x="662" y="1522"/>
                  </a:lnTo>
                  <a:lnTo>
                    <a:pt x="659" y="1520"/>
                  </a:lnTo>
                  <a:lnTo>
                    <a:pt x="659" y="1518"/>
                  </a:lnTo>
                  <a:lnTo>
                    <a:pt x="659" y="1515"/>
                  </a:lnTo>
                  <a:lnTo>
                    <a:pt x="657" y="1515"/>
                  </a:lnTo>
                  <a:lnTo>
                    <a:pt x="654" y="1515"/>
                  </a:lnTo>
                  <a:lnTo>
                    <a:pt x="652" y="1515"/>
                  </a:lnTo>
                  <a:lnTo>
                    <a:pt x="650" y="1515"/>
                  </a:lnTo>
                  <a:lnTo>
                    <a:pt x="647" y="1513"/>
                  </a:lnTo>
                  <a:lnTo>
                    <a:pt x="647" y="1511"/>
                  </a:lnTo>
                  <a:lnTo>
                    <a:pt x="645" y="1508"/>
                  </a:lnTo>
                  <a:lnTo>
                    <a:pt x="643" y="1511"/>
                  </a:lnTo>
                  <a:lnTo>
                    <a:pt x="640" y="1511"/>
                  </a:lnTo>
                  <a:lnTo>
                    <a:pt x="638" y="1513"/>
                  </a:lnTo>
                  <a:lnTo>
                    <a:pt x="635" y="1513"/>
                  </a:lnTo>
                  <a:lnTo>
                    <a:pt x="635" y="1511"/>
                  </a:lnTo>
                  <a:lnTo>
                    <a:pt x="635" y="1508"/>
                  </a:lnTo>
                  <a:lnTo>
                    <a:pt x="633" y="1508"/>
                  </a:lnTo>
                  <a:lnTo>
                    <a:pt x="631" y="1508"/>
                  </a:lnTo>
                  <a:lnTo>
                    <a:pt x="631" y="1506"/>
                  </a:lnTo>
                  <a:lnTo>
                    <a:pt x="628" y="1506"/>
                  </a:lnTo>
                  <a:lnTo>
                    <a:pt x="628" y="1503"/>
                  </a:lnTo>
                  <a:lnTo>
                    <a:pt x="631" y="1503"/>
                  </a:lnTo>
                  <a:lnTo>
                    <a:pt x="628" y="1503"/>
                  </a:lnTo>
                  <a:lnTo>
                    <a:pt x="628" y="1506"/>
                  </a:lnTo>
                  <a:lnTo>
                    <a:pt x="626" y="1503"/>
                  </a:lnTo>
                  <a:lnTo>
                    <a:pt x="624" y="1506"/>
                  </a:lnTo>
                  <a:lnTo>
                    <a:pt x="624" y="1503"/>
                  </a:lnTo>
                  <a:lnTo>
                    <a:pt x="621" y="1503"/>
                  </a:lnTo>
                  <a:lnTo>
                    <a:pt x="619" y="1503"/>
                  </a:lnTo>
                  <a:lnTo>
                    <a:pt x="616" y="1501"/>
                  </a:lnTo>
                  <a:lnTo>
                    <a:pt x="616" y="1499"/>
                  </a:lnTo>
                  <a:lnTo>
                    <a:pt x="614" y="1499"/>
                  </a:lnTo>
                  <a:lnTo>
                    <a:pt x="612" y="1499"/>
                  </a:lnTo>
                  <a:lnTo>
                    <a:pt x="612" y="1501"/>
                  </a:lnTo>
                  <a:lnTo>
                    <a:pt x="614" y="1503"/>
                  </a:lnTo>
                  <a:lnTo>
                    <a:pt x="612" y="1503"/>
                  </a:lnTo>
                  <a:lnTo>
                    <a:pt x="612" y="1506"/>
                  </a:lnTo>
                  <a:lnTo>
                    <a:pt x="609" y="1506"/>
                  </a:lnTo>
                  <a:lnTo>
                    <a:pt x="607" y="1506"/>
                  </a:lnTo>
                  <a:lnTo>
                    <a:pt x="607" y="1508"/>
                  </a:lnTo>
                  <a:lnTo>
                    <a:pt x="607" y="1506"/>
                  </a:lnTo>
                  <a:lnTo>
                    <a:pt x="607" y="1503"/>
                  </a:lnTo>
                  <a:lnTo>
                    <a:pt x="605" y="1503"/>
                  </a:lnTo>
                  <a:lnTo>
                    <a:pt x="605" y="1501"/>
                  </a:lnTo>
                  <a:lnTo>
                    <a:pt x="602" y="1501"/>
                  </a:lnTo>
                  <a:lnTo>
                    <a:pt x="600" y="1499"/>
                  </a:lnTo>
                  <a:lnTo>
                    <a:pt x="597" y="1499"/>
                  </a:lnTo>
                  <a:lnTo>
                    <a:pt x="595" y="1496"/>
                  </a:lnTo>
                  <a:lnTo>
                    <a:pt x="595" y="1494"/>
                  </a:lnTo>
                  <a:lnTo>
                    <a:pt x="593" y="1494"/>
                  </a:lnTo>
                  <a:lnTo>
                    <a:pt x="593" y="1492"/>
                  </a:lnTo>
                  <a:lnTo>
                    <a:pt x="593" y="1489"/>
                  </a:lnTo>
                  <a:lnTo>
                    <a:pt x="595" y="1487"/>
                  </a:lnTo>
                  <a:lnTo>
                    <a:pt x="593" y="1487"/>
                  </a:lnTo>
                  <a:lnTo>
                    <a:pt x="590" y="1487"/>
                  </a:lnTo>
                  <a:lnTo>
                    <a:pt x="590" y="1484"/>
                  </a:lnTo>
                  <a:lnTo>
                    <a:pt x="588" y="1484"/>
                  </a:lnTo>
                  <a:lnTo>
                    <a:pt x="588" y="1482"/>
                  </a:lnTo>
                  <a:lnTo>
                    <a:pt x="590" y="1480"/>
                  </a:lnTo>
                  <a:lnTo>
                    <a:pt x="588" y="1480"/>
                  </a:lnTo>
                  <a:lnTo>
                    <a:pt x="588" y="1482"/>
                  </a:lnTo>
                  <a:lnTo>
                    <a:pt x="586" y="1482"/>
                  </a:lnTo>
                  <a:lnTo>
                    <a:pt x="583" y="1482"/>
                  </a:lnTo>
                  <a:lnTo>
                    <a:pt x="583" y="1484"/>
                  </a:lnTo>
                  <a:lnTo>
                    <a:pt x="581" y="1484"/>
                  </a:lnTo>
                  <a:lnTo>
                    <a:pt x="579" y="1484"/>
                  </a:lnTo>
                  <a:lnTo>
                    <a:pt x="576" y="1484"/>
                  </a:lnTo>
                  <a:lnTo>
                    <a:pt x="576" y="1487"/>
                  </a:lnTo>
                  <a:lnTo>
                    <a:pt x="574" y="1487"/>
                  </a:lnTo>
                  <a:lnTo>
                    <a:pt x="571" y="1487"/>
                  </a:lnTo>
                  <a:lnTo>
                    <a:pt x="569" y="1487"/>
                  </a:lnTo>
                  <a:lnTo>
                    <a:pt x="567" y="1487"/>
                  </a:lnTo>
                  <a:lnTo>
                    <a:pt x="567" y="1489"/>
                  </a:lnTo>
                  <a:lnTo>
                    <a:pt x="564" y="1489"/>
                  </a:lnTo>
                  <a:lnTo>
                    <a:pt x="562" y="1489"/>
                  </a:lnTo>
                  <a:lnTo>
                    <a:pt x="562" y="1492"/>
                  </a:lnTo>
                  <a:lnTo>
                    <a:pt x="560" y="1492"/>
                  </a:lnTo>
                  <a:lnTo>
                    <a:pt x="560" y="1489"/>
                  </a:lnTo>
                  <a:lnTo>
                    <a:pt x="557" y="1489"/>
                  </a:lnTo>
                  <a:lnTo>
                    <a:pt x="557" y="1487"/>
                  </a:lnTo>
                  <a:lnTo>
                    <a:pt x="555" y="1487"/>
                  </a:lnTo>
                  <a:lnTo>
                    <a:pt x="552" y="1487"/>
                  </a:lnTo>
                  <a:lnTo>
                    <a:pt x="552" y="1489"/>
                  </a:lnTo>
                  <a:lnTo>
                    <a:pt x="550" y="1489"/>
                  </a:lnTo>
                  <a:lnTo>
                    <a:pt x="550" y="1487"/>
                  </a:lnTo>
                  <a:lnTo>
                    <a:pt x="548" y="1484"/>
                  </a:lnTo>
                  <a:lnTo>
                    <a:pt x="545" y="1482"/>
                  </a:lnTo>
                  <a:lnTo>
                    <a:pt x="543" y="1482"/>
                  </a:lnTo>
                  <a:lnTo>
                    <a:pt x="543" y="1480"/>
                  </a:lnTo>
                  <a:lnTo>
                    <a:pt x="543" y="1482"/>
                  </a:lnTo>
                  <a:lnTo>
                    <a:pt x="541" y="1482"/>
                  </a:lnTo>
                  <a:lnTo>
                    <a:pt x="538" y="1482"/>
                  </a:lnTo>
                  <a:lnTo>
                    <a:pt x="536" y="1482"/>
                  </a:lnTo>
                  <a:lnTo>
                    <a:pt x="533" y="1482"/>
                  </a:lnTo>
                  <a:lnTo>
                    <a:pt x="533" y="1484"/>
                  </a:lnTo>
                  <a:lnTo>
                    <a:pt x="531" y="1484"/>
                  </a:lnTo>
                  <a:lnTo>
                    <a:pt x="529" y="1484"/>
                  </a:lnTo>
                  <a:lnTo>
                    <a:pt x="529" y="1487"/>
                  </a:lnTo>
                  <a:lnTo>
                    <a:pt x="529" y="1484"/>
                  </a:lnTo>
                  <a:lnTo>
                    <a:pt x="526" y="1484"/>
                  </a:lnTo>
                  <a:lnTo>
                    <a:pt x="526" y="1482"/>
                  </a:lnTo>
                  <a:lnTo>
                    <a:pt x="526" y="1480"/>
                  </a:lnTo>
                  <a:lnTo>
                    <a:pt x="524" y="1480"/>
                  </a:lnTo>
                  <a:lnTo>
                    <a:pt x="522" y="1477"/>
                  </a:lnTo>
                  <a:lnTo>
                    <a:pt x="522" y="1475"/>
                  </a:lnTo>
                  <a:lnTo>
                    <a:pt x="519" y="1475"/>
                  </a:lnTo>
                  <a:lnTo>
                    <a:pt x="522" y="1475"/>
                  </a:lnTo>
                  <a:lnTo>
                    <a:pt x="522" y="1473"/>
                  </a:lnTo>
                  <a:lnTo>
                    <a:pt x="519" y="1473"/>
                  </a:lnTo>
                  <a:lnTo>
                    <a:pt x="519" y="1470"/>
                  </a:lnTo>
                  <a:lnTo>
                    <a:pt x="522" y="1470"/>
                  </a:lnTo>
                  <a:lnTo>
                    <a:pt x="524" y="1470"/>
                  </a:lnTo>
                  <a:lnTo>
                    <a:pt x="522" y="1470"/>
                  </a:lnTo>
                  <a:lnTo>
                    <a:pt x="522" y="1468"/>
                  </a:lnTo>
                  <a:lnTo>
                    <a:pt x="522" y="1465"/>
                  </a:lnTo>
                  <a:lnTo>
                    <a:pt x="524" y="1465"/>
                  </a:lnTo>
                  <a:lnTo>
                    <a:pt x="522" y="1465"/>
                  </a:lnTo>
                  <a:lnTo>
                    <a:pt x="522" y="1463"/>
                  </a:lnTo>
                  <a:lnTo>
                    <a:pt x="522" y="1461"/>
                  </a:lnTo>
                  <a:lnTo>
                    <a:pt x="519" y="1461"/>
                  </a:lnTo>
                  <a:lnTo>
                    <a:pt x="519" y="1458"/>
                  </a:lnTo>
                  <a:lnTo>
                    <a:pt x="522" y="1458"/>
                  </a:lnTo>
                  <a:lnTo>
                    <a:pt x="519" y="1458"/>
                  </a:lnTo>
                  <a:lnTo>
                    <a:pt x="519" y="1456"/>
                  </a:lnTo>
                  <a:lnTo>
                    <a:pt x="519" y="1454"/>
                  </a:lnTo>
                  <a:lnTo>
                    <a:pt x="522" y="1454"/>
                  </a:lnTo>
                  <a:lnTo>
                    <a:pt x="522" y="1451"/>
                  </a:lnTo>
                  <a:lnTo>
                    <a:pt x="519" y="1451"/>
                  </a:lnTo>
                  <a:lnTo>
                    <a:pt x="517" y="1451"/>
                  </a:lnTo>
                  <a:lnTo>
                    <a:pt x="514" y="1451"/>
                  </a:lnTo>
                  <a:lnTo>
                    <a:pt x="512" y="1451"/>
                  </a:lnTo>
                  <a:lnTo>
                    <a:pt x="512" y="1449"/>
                  </a:lnTo>
                  <a:lnTo>
                    <a:pt x="512" y="1446"/>
                  </a:lnTo>
                  <a:lnTo>
                    <a:pt x="512" y="1444"/>
                  </a:lnTo>
                  <a:lnTo>
                    <a:pt x="512" y="1442"/>
                  </a:lnTo>
                  <a:lnTo>
                    <a:pt x="510" y="1442"/>
                  </a:lnTo>
                  <a:lnTo>
                    <a:pt x="510" y="1444"/>
                  </a:lnTo>
                  <a:lnTo>
                    <a:pt x="507" y="1444"/>
                  </a:lnTo>
                  <a:lnTo>
                    <a:pt x="507" y="1442"/>
                  </a:lnTo>
                  <a:lnTo>
                    <a:pt x="505" y="1444"/>
                  </a:lnTo>
                  <a:lnTo>
                    <a:pt x="503" y="1444"/>
                  </a:lnTo>
                  <a:lnTo>
                    <a:pt x="503" y="1446"/>
                  </a:lnTo>
                  <a:lnTo>
                    <a:pt x="500" y="1446"/>
                  </a:lnTo>
                  <a:lnTo>
                    <a:pt x="500" y="1444"/>
                  </a:lnTo>
                  <a:lnTo>
                    <a:pt x="500" y="1446"/>
                  </a:lnTo>
                  <a:lnTo>
                    <a:pt x="500" y="1444"/>
                  </a:lnTo>
                  <a:lnTo>
                    <a:pt x="498" y="1444"/>
                  </a:lnTo>
                  <a:lnTo>
                    <a:pt x="498" y="1446"/>
                  </a:lnTo>
                  <a:lnTo>
                    <a:pt x="498" y="1444"/>
                  </a:lnTo>
                  <a:lnTo>
                    <a:pt x="495" y="1444"/>
                  </a:lnTo>
                  <a:lnTo>
                    <a:pt x="495" y="1442"/>
                  </a:lnTo>
                  <a:lnTo>
                    <a:pt x="493" y="1442"/>
                  </a:lnTo>
                  <a:lnTo>
                    <a:pt x="491" y="1442"/>
                  </a:lnTo>
                  <a:lnTo>
                    <a:pt x="488" y="1442"/>
                  </a:lnTo>
                  <a:lnTo>
                    <a:pt x="486" y="1442"/>
                  </a:lnTo>
                  <a:lnTo>
                    <a:pt x="484" y="1442"/>
                  </a:lnTo>
                  <a:lnTo>
                    <a:pt x="481" y="1442"/>
                  </a:lnTo>
                  <a:lnTo>
                    <a:pt x="481" y="1439"/>
                  </a:lnTo>
                  <a:lnTo>
                    <a:pt x="484" y="1439"/>
                  </a:lnTo>
                  <a:lnTo>
                    <a:pt x="484" y="1437"/>
                  </a:lnTo>
                  <a:lnTo>
                    <a:pt x="486" y="1437"/>
                  </a:lnTo>
                  <a:lnTo>
                    <a:pt x="484" y="1437"/>
                  </a:lnTo>
                  <a:lnTo>
                    <a:pt x="484" y="1435"/>
                  </a:lnTo>
                  <a:lnTo>
                    <a:pt x="481" y="1435"/>
                  </a:lnTo>
                  <a:lnTo>
                    <a:pt x="481" y="1432"/>
                  </a:lnTo>
                  <a:lnTo>
                    <a:pt x="484" y="1432"/>
                  </a:lnTo>
                  <a:lnTo>
                    <a:pt x="484" y="1430"/>
                  </a:lnTo>
                  <a:lnTo>
                    <a:pt x="484" y="1427"/>
                  </a:lnTo>
                  <a:lnTo>
                    <a:pt x="481" y="1425"/>
                  </a:lnTo>
                  <a:lnTo>
                    <a:pt x="481" y="1423"/>
                  </a:lnTo>
                  <a:lnTo>
                    <a:pt x="479" y="1423"/>
                  </a:lnTo>
                  <a:lnTo>
                    <a:pt x="476" y="1423"/>
                  </a:lnTo>
                  <a:lnTo>
                    <a:pt x="476" y="1420"/>
                  </a:lnTo>
                  <a:lnTo>
                    <a:pt x="479" y="1420"/>
                  </a:lnTo>
                  <a:lnTo>
                    <a:pt x="481" y="1420"/>
                  </a:lnTo>
                  <a:lnTo>
                    <a:pt x="484" y="1420"/>
                  </a:lnTo>
                  <a:lnTo>
                    <a:pt x="484" y="1418"/>
                  </a:lnTo>
                  <a:lnTo>
                    <a:pt x="486" y="1418"/>
                  </a:lnTo>
                  <a:lnTo>
                    <a:pt x="488" y="1418"/>
                  </a:lnTo>
                  <a:lnTo>
                    <a:pt x="488" y="1416"/>
                  </a:lnTo>
                  <a:lnTo>
                    <a:pt x="488" y="1413"/>
                  </a:lnTo>
                  <a:lnTo>
                    <a:pt x="486" y="1413"/>
                  </a:lnTo>
                  <a:lnTo>
                    <a:pt x="486" y="1411"/>
                  </a:lnTo>
                  <a:lnTo>
                    <a:pt x="484" y="1411"/>
                  </a:lnTo>
                  <a:lnTo>
                    <a:pt x="484" y="1408"/>
                  </a:lnTo>
                  <a:lnTo>
                    <a:pt x="481" y="1408"/>
                  </a:lnTo>
                  <a:lnTo>
                    <a:pt x="481" y="1406"/>
                  </a:lnTo>
                  <a:lnTo>
                    <a:pt x="479" y="1406"/>
                  </a:lnTo>
                  <a:lnTo>
                    <a:pt x="479" y="1404"/>
                  </a:lnTo>
                  <a:lnTo>
                    <a:pt x="476" y="1404"/>
                  </a:lnTo>
                  <a:lnTo>
                    <a:pt x="476" y="1401"/>
                  </a:lnTo>
                  <a:lnTo>
                    <a:pt x="476" y="1399"/>
                  </a:lnTo>
                  <a:lnTo>
                    <a:pt x="479" y="1399"/>
                  </a:lnTo>
                  <a:lnTo>
                    <a:pt x="476" y="1397"/>
                  </a:lnTo>
                  <a:lnTo>
                    <a:pt x="476" y="1394"/>
                  </a:lnTo>
                  <a:lnTo>
                    <a:pt x="474" y="1394"/>
                  </a:lnTo>
                  <a:lnTo>
                    <a:pt x="472" y="1394"/>
                  </a:lnTo>
                  <a:lnTo>
                    <a:pt x="472" y="1392"/>
                  </a:lnTo>
                  <a:lnTo>
                    <a:pt x="472" y="1389"/>
                  </a:lnTo>
                  <a:lnTo>
                    <a:pt x="469" y="1389"/>
                  </a:lnTo>
                  <a:lnTo>
                    <a:pt x="469" y="1387"/>
                  </a:lnTo>
                  <a:lnTo>
                    <a:pt x="467" y="1387"/>
                  </a:lnTo>
                  <a:lnTo>
                    <a:pt x="465" y="1387"/>
                  </a:lnTo>
                  <a:lnTo>
                    <a:pt x="462" y="1387"/>
                  </a:lnTo>
                  <a:lnTo>
                    <a:pt x="462" y="1389"/>
                  </a:lnTo>
                  <a:lnTo>
                    <a:pt x="460" y="1389"/>
                  </a:lnTo>
                  <a:lnTo>
                    <a:pt x="458" y="1389"/>
                  </a:lnTo>
                  <a:lnTo>
                    <a:pt x="458" y="1387"/>
                  </a:lnTo>
                  <a:lnTo>
                    <a:pt x="455" y="1387"/>
                  </a:lnTo>
                  <a:lnTo>
                    <a:pt x="453" y="1387"/>
                  </a:lnTo>
                  <a:lnTo>
                    <a:pt x="450" y="1387"/>
                  </a:lnTo>
                  <a:lnTo>
                    <a:pt x="448" y="1387"/>
                  </a:lnTo>
                  <a:lnTo>
                    <a:pt x="446" y="1387"/>
                  </a:lnTo>
                  <a:lnTo>
                    <a:pt x="448" y="1387"/>
                  </a:lnTo>
                  <a:lnTo>
                    <a:pt x="446" y="1387"/>
                  </a:lnTo>
                  <a:lnTo>
                    <a:pt x="446" y="1389"/>
                  </a:lnTo>
                  <a:lnTo>
                    <a:pt x="443" y="1389"/>
                  </a:lnTo>
                  <a:lnTo>
                    <a:pt x="441" y="1389"/>
                  </a:lnTo>
                  <a:lnTo>
                    <a:pt x="441" y="1392"/>
                  </a:lnTo>
                  <a:lnTo>
                    <a:pt x="439" y="1392"/>
                  </a:lnTo>
                  <a:lnTo>
                    <a:pt x="436" y="1392"/>
                  </a:lnTo>
                  <a:lnTo>
                    <a:pt x="439" y="1392"/>
                  </a:lnTo>
                  <a:lnTo>
                    <a:pt x="436" y="1392"/>
                  </a:lnTo>
                  <a:lnTo>
                    <a:pt x="434" y="1392"/>
                  </a:lnTo>
                  <a:lnTo>
                    <a:pt x="431" y="1392"/>
                  </a:lnTo>
                  <a:lnTo>
                    <a:pt x="429" y="1389"/>
                  </a:lnTo>
                  <a:lnTo>
                    <a:pt x="427" y="1389"/>
                  </a:lnTo>
                  <a:lnTo>
                    <a:pt x="424" y="1389"/>
                  </a:lnTo>
                  <a:lnTo>
                    <a:pt x="422" y="1389"/>
                  </a:lnTo>
                  <a:lnTo>
                    <a:pt x="422" y="1387"/>
                  </a:lnTo>
                  <a:lnTo>
                    <a:pt x="420" y="1387"/>
                  </a:lnTo>
                  <a:lnTo>
                    <a:pt x="420" y="1389"/>
                  </a:lnTo>
                  <a:lnTo>
                    <a:pt x="420" y="1392"/>
                  </a:lnTo>
                  <a:lnTo>
                    <a:pt x="422" y="1392"/>
                  </a:lnTo>
                  <a:lnTo>
                    <a:pt x="420" y="1394"/>
                  </a:lnTo>
                  <a:lnTo>
                    <a:pt x="420" y="1392"/>
                  </a:lnTo>
                  <a:lnTo>
                    <a:pt x="420" y="1394"/>
                  </a:lnTo>
                  <a:lnTo>
                    <a:pt x="420" y="1392"/>
                  </a:lnTo>
                  <a:lnTo>
                    <a:pt x="420" y="1394"/>
                  </a:lnTo>
                  <a:lnTo>
                    <a:pt x="420" y="1397"/>
                  </a:lnTo>
                  <a:lnTo>
                    <a:pt x="420" y="1399"/>
                  </a:lnTo>
                  <a:lnTo>
                    <a:pt x="417" y="1399"/>
                  </a:lnTo>
                  <a:lnTo>
                    <a:pt x="417" y="1401"/>
                  </a:lnTo>
                  <a:lnTo>
                    <a:pt x="415" y="1401"/>
                  </a:lnTo>
                  <a:lnTo>
                    <a:pt x="412" y="1401"/>
                  </a:lnTo>
                  <a:lnTo>
                    <a:pt x="412" y="1404"/>
                  </a:lnTo>
                  <a:lnTo>
                    <a:pt x="410" y="1404"/>
                  </a:lnTo>
                  <a:lnTo>
                    <a:pt x="410" y="1401"/>
                  </a:lnTo>
                  <a:lnTo>
                    <a:pt x="408" y="1401"/>
                  </a:lnTo>
                  <a:lnTo>
                    <a:pt x="405" y="1404"/>
                  </a:lnTo>
                  <a:lnTo>
                    <a:pt x="405" y="1401"/>
                  </a:lnTo>
                  <a:lnTo>
                    <a:pt x="405" y="1404"/>
                  </a:lnTo>
                  <a:lnTo>
                    <a:pt x="405" y="1401"/>
                  </a:lnTo>
                  <a:lnTo>
                    <a:pt x="408" y="1401"/>
                  </a:lnTo>
                  <a:lnTo>
                    <a:pt x="405" y="1401"/>
                  </a:lnTo>
                  <a:lnTo>
                    <a:pt x="405" y="1399"/>
                  </a:lnTo>
                  <a:lnTo>
                    <a:pt x="403" y="1399"/>
                  </a:lnTo>
                  <a:lnTo>
                    <a:pt x="401" y="1399"/>
                  </a:lnTo>
                  <a:lnTo>
                    <a:pt x="401" y="1397"/>
                  </a:lnTo>
                  <a:lnTo>
                    <a:pt x="398" y="1397"/>
                  </a:lnTo>
                  <a:lnTo>
                    <a:pt x="398" y="1394"/>
                  </a:lnTo>
                  <a:lnTo>
                    <a:pt x="398" y="1392"/>
                  </a:lnTo>
                  <a:lnTo>
                    <a:pt x="396" y="1392"/>
                  </a:lnTo>
                  <a:lnTo>
                    <a:pt x="396" y="1389"/>
                  </a:lnTo>
                  <a:lnTo>
                    <a:pt x="396" y="1387"/>
                  </a:lnTo>
                  <a:lnTo>
                    <a:pt x="396" y="1385"/>
                  </a:lnTo>
                  <a:lnTo>
                    <a:pt x="396" y="1382"/>
                  </a:lnTo>
                  <a:lnTo>
                    <a:pt x="393" y="1382"/>
                  </a:lnTo>
                  <a:lnTo>
                    <a:pt x="393" y="1380"/>
                  </a:lnTo>
                  <a:lnTo>
                    <a:pt x="396" y="1380"/>
                  </a:lnTo>
                  <a:lnTo>
                    <a:pt x="393" y="1380"/>
                  </a:lnTo>
                  <a:lnTo>
                    <a:pt x="396" y="1380"/>
                  </a:lnTo>
                  <a:lnTo>
                    <a:pt x="396" y="1378"/>
                  </a:lnTo>
                  <a:lnTo>
                    <a:pt x="398" y="1378"/>
                  </a:lnTo>
                  <a:lnTo>
                    <a:pt x="396" y="1378"/>
                  </a:lnTo>
                  <a:lnTo>
                    <a:pt x="396" y="1375"/>
                  </a:lnTo>
                  <a:lnTo>
                    <a:pt x="393" y="1375"/>
                  </a:lnTo>
                  <a:lnTo>
                    <a:pt x="393" y="1373"/>
                  </a:lnTo>
                  <a:lnTo>
                    <a:pt x="391" y="1370"/>
                  </a:lnTo>
                  <a:lnTo>
                    <a:pt x="393" y="1370"/>
                  </a:lnTo>
                  <a:lnTo>
                    <a:pt x="393" y="1368"/>
                  </a:lnTo>
                  <a:lnTo>
                    <a:pt x="396" y="1368"/>
                  </a:lnTo>
                  <a:lnTo>
                    <a:pt x="396" y="1366"/>
                  </a:lnTo>
                  <a:lnTo>
                    <a:pt x="393" y="1366"/>
                  </a:lnTo>
                  <a:lnTo>
                    <a:pt x="393" y="1363"/>
                  </a:lnTo>
                  <a:lnTo>
                    <a:pt x="391" y="1363"/>
                  </a:lnTo>
                  <a:lnTo>
                    <a:pt x="391" y="1361"/>
                  </a:lnTo>
                  <a:lnTo>
                    <a:pt x="389" y="1361"/>
                  </a:lnTo>
                  <a:lnTo>
                    <a:pt x="389" y="1359"/>
                  </a:lnTo>
                  <a:lnTo>
                    <a:pt x="389" y="1356"/>
                  </a:lnTo>
                  <a:lnTo>
                    <a:pt x="386" y="1356"/>
                  </a:lnTo>
                  <a:lnTo>
                    <a:pt x="384" y="1354"/>
                  </a:lnTo>
                  <a:lnTo>
                    <a:pt x="386" y="1354"/>
                  </a:lnTo>
                  <a:lnTo>
                    <a:pt x="386" y="1351"/>
                  </a:lnTo>
                  <a:lnTo>
                    <a:pt x="389" y="1351"/>
                  </a:lnTo>
                  <a:lnTo>
                    <a:pt x="389" y="1349"/>
                  </a:lnTo>
                  <a:lnTo>
                    <a:pt x="386" y="1349"/>
                  </a:lnTo>
                  <a:lnTo>
                    <a:pt x="389" y="1347"/>
                  </a:lnTo>
                  <a:lnTo>
                    <a:pt x="389" y="1344"/>
                  </a:lnTo>
                  <a:lnTo>
                    <a:pt x="391" y="1344"/>
                  </a:lnTo>
                  <a:lnTo>
                    <a:pt x="393" y="1347"/>
                  </a:lnTo>
                  <a:lnTo>
                    <a:pt x="396" y="1344"/>
                  </a:lnTo>
                  <a:lnTo>
                    <a:pt x="398" y="1344"/>
                  </a:lnTo>
                  <a:lnTo>
                    <a:pt x="398" y="1347"/>
                  </a:lnTo>
                  <a:lnTo>
                    <a:pt x="401" y="1347"/>
                  </a:lnTo>
                  <a:lnTo>
                    <a:pt x="403" y="1349"/>
                  </a:lnTo>
                  <a:lnTo>
                    <a:pt x="405" y="1349"/>
                  </a:lnTo>
                  <a:lnTo>
                    <a:pt x="405" y="1351"/>
                  </a:lnTo>
                  <a:lnTo>
                    <a:pt x="408" y="1351"/>
                  </a:lnTo>
                  <a:lnTo>
                    <a:pt x="410" y="1351"/>
                  </a:lnTo>
                  <a:lnTo>
                    <a:pt x="412" y="1351"/>
                  </a:lnTo>
                  <a:lnTo>
                    <a:pt x="415" y="1351"/>
                  </a:lnTo>
                  <a:lnTo>
                    <a:pt x="415" y="1349"/>
                  </a:lnTo>
                  <a:lnTo>
                    <a:pt x="415" y="1351"/>
                  </a:lnTo>
                  <a:lnTo>
                    <a:pt x="417" y="1349"/>
                  </a:lnTo>
                  <a:lnTo>
                    <a:pt x="420" y="1349"/>
                  </a:lnTo>
                  <a:lnTo>
                    <a:pt x="420" y="1347"/>
                  </a:lnTo>
                  <a:lnTo>
                    <a:pt x="422" y="1347"/>
                  </a:lnTo>
                  <a:lnTo>
                    <a:pt x="422" y="1344"/>
                  </a:lnTo>
                  <a:lnTo>
                    <a:pt x="424" y="1342"/>
                  </a:lnTo>
                  <a:lnTo>
                    <a:pt x="424" y="1340"/>
                  </a:lnTo>
                  <a:lnTo>
                    <a:pt x="427" y="1340"/>
                  </a:lnTo>
                  <a:lnTo>
                    <a:pt x="427" y="1342"/>
                  </a:lnTo>
                  <a:lnTo>
                    <a:pt x="427" y="1340"/>
                  </a:lnTo>
                  <a:lnTo>
                    <a:pt x="429" y="1340"/>
                  </a:lnTo>
                  <a:lnTo>
                    <a:pt x="431" y="1340"/>
                  </a:lnTo>
                  <a:lnTo>
                    <a:pt x="434" y="1340"/>
                  </a:lnTo>
                  <a:lnTo>
                    <a:pt x="434" y="1337"/>
                  </a:lnTo>
                  <a:lnTo>
                    <a:pt x="431" y="1337"/>
                  </a:lnTo>
                  <a:lnTo>
                    <a:pt x="434" y="1335"/>
                  </a:lnTo>
                  <a:lnTo>
                    <a:pt x="434" y="1332"/>
                  </a:lnTo>
                  <a:lnTo>
                    <a:pt x="431" y="1332"/>
                  </a:lnTo>
                  <a:lnTo>
                    <a:pt x="429" y="1332"/>
                  </a:lnTo>
                  <a:lnTo>
                    <a:pt x="429" y="1330"/>
                  </a:lnTo>
                  <a:lnTo>
                    <a:pt x="429" y="1332"/>
                  </a:lnTo>
                  <a:lnTo>
                    <a:pt x="429" y="1330"/>
                  </a:lnTo>
                  <a:lnTo>
                    <a:pt x="427" y="1330"/>
                  </a:lnTo>
                  <a:lnTo>
                    <a:pt x="427" y="1328"/>
                  </a:lnTo>
                  <a:lnTo>
                    <a:pt x="424" y="1328"/>
                  </a:lnTo>
                  <a:lnTo>
                    <a:pt x="422" y="1325"/>
                  </a:lnTo>
                  <a:lnTo>
                    <a:pt x="422" y="1323"/>
                  </a:lnTo>
                  <a:lnTo>
                    <a:pt x="424" y="1323"/>
                  </a:lnTo>
                  <a:lnTo>
                    <a:pt x="424" y="1321"/>
                  </a:lnTo>
                  <a:lnTo>
                    <a:pt x="424" y="1318"/>
                  </a:lnTo>
                  <a:lnTo>
                    <a:pt x="422" y="1318"/>
                  </a:lnTo>
                  <a:lnTo>
                    <a:pt x="420" y="1318"/>
                  </a:lnTo>
                  <a:lnTo>
                    <a:pt x="420" y="1321"/>
                  </a:lnTo>
                  <a:lnTo>
                    <a:pt x="420" y="1318"/>
                  </a:lnTo>
                  <a:lnTo>
                    <a:pt x="417" y="1318"/>
                  </a:lnTo>
                  <a:lnTo>
                    <a:pt x="417" y="1316"/>
                  </a:lnTo>
                  <a:lnTo>
                    <a:pt x="417" y="1318"/>
                  </a:lnTo>
                  <a:lnTo>
                    <a:pt x="415" y="1318"/>
                  </a:lnTo>
                  <a:lnTo>
                    <a:pt x="415" y="1316"/>
                  </a:lnTo>
                  <a:lnTo>
                    <a:pt x="412" y="1316"/>
                  </a:lnTo>
                  <a:lnTo>
                    <a:pt x="412" y="1313"/>
                  </a:lnTo>
                  <a:lnTo>
                    <a:pt x="412" y="1316"/>
                  </a:lnTo>
                  <a:lnTo>
                    <a:pt x="410" y="1316"/>
                  </a:lnTo>
                  <a:lnTo>
                    <a:pt x="408" y="1316"/>
                  </a:lnTo>
                  <a:lnTo>
                    <a:pt x="405" y="1316"/>
                  </a:lnTo>
                  <a:lnTo>
                    <a:pt x="403" y="1316"/>
                  </a:lnTo>
                  <a:lnTo>
                    <a:pt x="401" y="1316"/>
                  </a:lnTo>
                  <a:lnTo>
                    <a:pt x="401" y="1313"/>
                  </a:lnTo>
                  <a:lnTo>
                    <a:pt x="403" y="1313"/>
                  </a:lnTo>
                  <a:lnTo>
                    <a:pt x="403" y="1311"/>
                  </a:lnTo>
                  <a:lnTo>
                    <a:pt x="403" y="1309"/>
                  </a:lnTo>
                  <a:lnTo>
                    <a:pt x="403" y="1306"/>
                  </a:lnTo>
                  <a:lnTo>
                    <a:pt x="405" y="1306"/>
                  </a:lnTo>
                  <a:lnTo>
                    <a:pt x="403" y="1306"/>
                  </a:lnTo>
                  <a:lnTo>
                    <a:pt x="403" y="1304"/>
                  </a:lnTo>
                  <a:lnTo>
                    <a:pt x="405" y="1304"/>
                  </a:lnTo>
                  <a:lnTo>
                    <a:pt x="405" y="1302"/>
                  </a:lnTo>
                  <a:lnTo>
                    <a:pt x="403" y="1302"/>
                  </a:lnTo>
                  <a:lnTo>
                    <a:pt x="401" y="1302"/>
                  </a:lnTo>
                  <a:lnTo>
                    <a:pt x="401" y="1299"/>
                  </a:lnTo>
                  <a:lnTo>
                    <a:pt x="398" y="1299"/>
                  </a:lnTo>
                  <a:lnTo>
                    <a:pt x="396" y="1299"/>
                  </a:lnTo>
                  <a:lnTo>
                    <a:pt x="393" y="1299"/>
                  </a:lnTo>
                  <a:lnTo>
                    <a:pt x="393" y="1297"/>
                  </a:lnTo>
                  <a:lnTo>
                    <a:pt x="391" y="1297"/>
                  </a:lnTo>
                  <a:lnTo>
                    <a:pt x="391" y="1294"/>
                  </a:lnTo>
                  <a:lnTo>
                    <a:pt x="389" y="1294"/>
                  </a:lnTo>
                  <a:lnTo>
                    <a:pt x="389" y="1292"/>
                  </a:lnTo>
                  <a:lnTo>
                    <a:pt x="386" y="1292"/>
                  </a:lnTo>
                  <a:lnTo>
                    <a:pt x="386" y="1294"/>
                  </a:lnTo>
                  <a:lnTo>
                    <a:pt x="386" y="1292"/>
                  </a:lnTo>
                  <a:lnTo>
                    <a:pt x="386" y="1290"/>
                  </a:lnTo>
                  <a:lnTo>
                    <a:pt x="384" y="1290"/>
                  </a:lnTo>
                  <a:lnTo>
                    <a:pt x="386" y="1287"/>
                  </a:lnTo>
                  <a:lnTo>
                    <a:pt x="384" y="1287"/>
                  </a:lnTo>
                  <a:lnTo>
                    <a:pt x="384" y="1285"/>
                  </a:lnTo>
                  <a:lnTo>
                    <a:pt x="384" y="1283"/>
                  </a:lnTo>
                  <a:lnTo>
                    <a:pt x="382" y="1283"/>
                  </a:lnTo>
                  <a:lnTo>
                    <a:pt x="382" y="1280"/>
                  </a:lnTo>
                  <a:lnTo>
                    <a:pt x="382" y="1283"/>
                  </a:lnTo>
                  <a:lnTo>
                    <a:pt x="379" y="1280"/>
                  </a:lnTo>
                  <a:lnTo>
                    <a:pt x="379" y="1278"/>
                  </a:lnTo>
                  <a:lnTo>
                    <a:pt x="379" y="1275"/>
                  </a:lnTo>
                  <a:lnTo>
                    <a:pt x="382" y="1275"/>
                  </a:lnTo>
                  <a:lnTo>
                    <a:pt x="382" y="1273"/>
                  </a:lnTo>
                  <a:lnTo>
                    <a:pt x="382" y="1271"/>
                  </a:lnTo>
                  <a:lnTo>
                    <a:pt x="379" y="1271"/>
                  </a:lnTo>
                  <a:lnTo>
                    <a:pt x="379" y="1273"/>
                  </a:lnTo>
                  <a:lnTo>
                    <a:pt x="379" y="1271"/>
                  </a:lnTo>
                  <a:lnTo>
                    <a:pt x="377" y="1271"/>
                  </a:lnTo>
                  <a:lnTo>
                    <a:pt x="374" y="1271"/>
                  </a:lnTo>
                  <a:lnTo>
                    <a:pt x="377" y="1268"/>
                  </a:lnTo>
                  <a:lnTo>
                    <a:pt x="374" y="1268"/>
                  </a:lnTo>
                  <a:lnTo>
                    <a:pt x="374" y="1271"/>
                  </a:lnTo>
                  <a:lnTo>
                    <a:pt x="374" y="1268"/>
                  </a:lnTo>
                  <a:lnTo>
                    <a:pt x="372" y="1268"/>
                  </a:lnTo>
                  <a:lnTo>
                    <a:pt x="372" y="1266"/>
                  </a:lnTo>
                  <a:lnTo>
                    <a:pt x="370" y="1266"/>
                  </a:lnTo>
                  <a:lnTo>
                    <a:pt x="367" y="1266"/>
                  </a:lnTo>
                  <a:lnTo>
                    <a:pt x="367" y="1264"/>
                  </a:lnTo>
                  <a:lnTo>
                    <a:pt x="367" y="1261"/>
                  </a:lnTo>
                  <a:lnTo>
                    <a:pt x="370" y="1261"/>
                  </a:lnTo>
                  <a:lnTo>
                    <a:pt x="370" y="1259"/>
                  </a:lnTo>
                  <a:lnTo>
                    <a:pt x="370" y="1256"/>
                  </a:lnTo>
                  <a:lnTo>
                    <a:pt x="372" y="1256"/>
                  </a:lnTo>
                  <a:lnTo>
                    <a:pt x="374" y="1256"/>
                  </a:lnTo>
                  <a:lnTo>
                    <a:pt x="374" y="1254"/>
                  </a:lnTo>
                  <a:lnTo>
                    <a:pt x="372" y="1254"/>
                  </a:lnTo>
                  <a:lnTo>
                    <a:pt x="374" y="1254"/>
                  </a:lnTo>
                  <a:lnTo>
                    <a:pt x="377" y="1252"/>
                  </a:lnTo>
                  <a:lnTo>
                    <a:pt x="374" y="1252"/>
                  </a:lnTo>
                  <a:lnTo>
                    <a:pt x="374" y="1249"/>
                  </a:lnTo>
                  <a:lnTo>
                    <a:pt x="377" y="1249"/>
                  </a:lnTo>
                  <a:lnTo>
                    <a:pt x="377" y="1247"/>
                  </a:lnTo>
                  <a:lnTo>
                    <a:pt x="374" y="1247"/>
                  </a:lnTo>
                  <a:lnTo>
                    <a:pt x="374" y="1245"/>
                  </a:lnTo>
                  <a:lnTo>
                    <a:pt x="372" y="1245"/>
                  </a:lnTo>
                  <a:lnTo>
                    <a:pt x="372" y="1242"/>
                  </a:lnTo>
                  <a:lnTo>
                    <a:pt x="370" y="1240"/>
                  </a:lnTo>
                  <a:lnTo>
                    <a:pt x="370" y="1237"/>
                  </a:lnTo>
                  <a:lnTo>
                    <a:pt x="372" y="1237"/>
                  </a:lnTo>
                  <a:lnTo>
                    <a:pt x="372" y="1235"/>
                  </a:lnTo>
                  <a:lnTo>
                    <a:pt x="372" y="1233"/>
                  </a:lnTo>
                  <a:lnTo>
                    <a:pt x="372" y="1230"/>
                  </a:lnTo>
                  <a:lnTo>
                    <a:pt x="374" y="1230"/>
                  </a:lnTo>
                  <a:lnTo>
                    <a:pt x="374" y="1228"/>
                  </a:lnTo>
                  <a:lnTo>
                    <a:pt x="372" y="1228"/>
                  </a:lnTo>
                  <a:lnTo>
                    <a:pt x="374" y="1228"/>
                  </a:lnTo>
                  <a:lnTo>
                    <a:pt x="374" y="1226"/>
                  </a:lnTo>
                  <a:lnTo>
                    <a:pt x="372" y="1226"/>
                  </a:lnTo>
                  <a:lnTo>
                    <a:pt x="374" y="1226"/>
                  </a:lnTo>
                  <a:lnTo>
                    <a:pt x="372" y="1223"/>
                  </a:lnTo>
                  <a:lnTo>
                    <a:pt x="370" y="1223"/>
                  </a:lnTo>
                  <a:lnTo>
                    <a:pt x="370" y="1226"/>
                  </a:lnTo>
                  <a:lnTo>
                    <a:pt x="367" y="1226"/>
                  </a:lnTo>
                  <a:lnTo>
                    <a:pt x="367" y="1223"/>
                  </a:lnTo>
                  <a:lnTo>
                    <a:pt x="367" y="1221"/>
                  </a:lnTo>
                  <a:lnTo>
                    <a:pt x="365" y="1221"/>
                  </a:lnTo>
                  <a:lnTo>
                    <a:pt x="365" y="1223"/>
                  </a:lnTo>
                  <a:lnTo>
                    <a:pt x="365" y="1221"/>
                  </a:lnTo>
                  <a:lnTo>
                    <a:pt x="363" y="1221"/>
                  </a:lnTo>
                  <a:lnTo>
                    <a:pt x="363" y="1218"/>
                  </a:lnTo>
                  <a:lnTo>
                    <a:pt x="363" y="1216"/>
                  </a:lnTo>
                  <a:lnTo>
                    <a:pt x="360" y="1216"/>
                  </a:lnTo>
                  <a:lnTo>
                    <a:pt x="358" y="1216"/>
                  </a:lnTo>
                  <a:lnTo>
                    <a:pt x="360" y="1214"/>
                  </a:lnTo>
                  <a:lnTo>
                    <a:pt x="358" y="1214"/>
                  </a:lnTo>
                  <a:lnTo>
                    <a:pt x="355" y="1214"/>
                  </a:lnTo>
                  <a:lnTo>
                    <a:pt x="353" y="1214"/>
                  </a:lnTo>
                  <a:lnTo>
                    <a:pt x="353" y="1211"/>
                  </a:lnTo>
                  <a:lnTo>
                    <a:pt x="351" y="1211"/>
                  </a:lnTo>
                  <a:lnTo>
                    <a:pt x="348" y="1211"/>
                  </a:lnTo>
                  <a:lnTo>
                    <a:pt x="346" y="1211"/>
                  </a:lnTo>
                  <a:lnTo>
                    <a:pt x="346" y="1214"/>
                  </a:lnTo>
                  <a:lnTo>
                    <a:pt x="346" y="1211"/>
                  </a:lnTo>
                  <a:lnTo>
                    <a:pt x="344" y="1211"/>
                  </a:lnTo>
                  <a:lnTo>
                    <a:pt x="341" y="1211"/>
                  </a:lnTo>
                  <a:lnTo>
                    <a:pt x="339" y="1211"/>
                  </a:lnTo>
                  <a:lnTo>
                    <a:pt x="339" y="1214"/>
                  </a:lnTo>
                  <a:lnTo>
                    <a:pt x="336" y="1214"/>
                  </a:lnTo>
                  <a:lnTo>
                    <a:pt x="336" y="1216"/>
                  </a:lnTo>
                  <a:lnTo>
                    <a:pt x="334" y="1216"/>
                  </a:lnTo>
                  <a:lnTo>
                    <a:pt x="334" y="1214"/>
                  </a:lnTo>
                  <a:lnTo>
                    <a:pt x="332" y="1214"/>
                  </a:lnTo>
                  <a:lnTo>
                    <a:pt x="332" y="1216"/>
                  </a:lnTo>
                  <a:lnTo>
                    <a:pt x="329" y="1216"/>
                  </a:lnTo>
                  <a:lnTo>
                    <a:pt x="329" y="1218"/>
                  </a:lnTo>
                  <a:lnTo>
                    <a:pt x="327" y="1218"/>
                  </a:lnTo>
                  <a:lnTo>
                    <a:pt x="325" y="1218"/>
                  </a:lnTo>
                  <a:lnTo>
                    <a:pt x="322" y="1216"/>
                  </a:lnTo>
                  <a:lnTo>
                    <a:pt x="322" y="1214"/>
                  </a:lnTo>
                  <a:lnTo>
                    <a:pt x="322" y="1211"/>
                  </a:lnTo>
                  <a:lnTo>
                    <a:pt x="322" y="1209"/>
                  </a:lnTo>
                  <a:lnTo>
                    <a:pt x="325" y="1209"/>
                  </a:lnTo>
                  <a:lnTo>
                    <a:pt x="325" y="1207"/>
                  </a:lnTo>
                  <a:lnTo>
                    <a:pt x="322" y="1207"/>
                  </a:lnTo>
                  <a:lnTo>
                    <a:pt x="325" y="1207"/>
                  </a:lnTo>
                  <a:lnTo>
                    <a:pt x="322" y="1207"/>
                  </a:lnTo>
                  <a:lnTo>
                    <a:pt x="320" y="1207"/>
                  </a:lnTo>
                  <a:lnTo>
                    <a:pt x="320" y="1204"/>
                  </a:lnTo>
                  <a:lnTo>
                    <a:pt x="318" y="1204"/>
                  </a:lnTo>
                  <a:lnTo>
                    <a:pt x="315" y="1204"/>
                  </a:lnTo>
                  <a:lnTo>
                    <a:pt x="315" y="1202"/>
                  </a:lnTo>
                  <a:lnTo>
                    <a:pt x="313" y="1202"/>
                  </a:lnTo>
                  <a:lnTo>
                    <a:pt x="313" y="1204"/>
                  </a:lnTo>
                  <a:lnTo>
                    <a:pt x="313" y="1202"/>
                  </a:lnTo>
                  <a:lnTo>
                    <a:pt x="310" y="1202"/>
                  </a:lnTo>
                  <a:lnTo>
                    <a:pt x="310" y="1204"/>
                  </a:lnTo>
                  <a:lnTo>
                    <a:pt x="308" y="1204"/>
                  </a:lnTo>
                  <a:lnTo>
                    <a:pt x="306" y="1204"/>
                  </a:lnTo>
                  <a:lnTo>
                    <a:pt x="303" y="1204"/>
                  </a:lnTo>
                  <a:lnTo>
                    <a:pt x="303" y="1207"/>
                  </a:lnTo>
                  <a:lnTo>
                    <a:pt x="303" y="1204"/>
                  </a:lnTo>
                  <a:lnTo>
                    <a:pt x="303" y="1207"/>
                  </a:lnTo>
                  <a:lnTo>
                    <a:pt x="301" y="1204"/>
                  </a:lnTo>
                  <a:lnTo>
                    <a:pt x="301" y="1207"/>
                  </a:lnTo>
                  <a:lnTo>
                    <a:pt x="301" y="1204"/>
                  </a:lnTo>
                  <a:lnTo>
                    <a:pt x="299" y="1204"/>
                  </a:lnTo>
                  <a:lnTo>
                    <a:pt x="299" y="1202"/>
                  </a:lnTo>
                  <a:lnTo>
                    <a:pt x="296" y="1199"/>
                  </a:lnTo>
                  <a:lnTo>
                    <a:pt x="299" y="1199"/>
                  </a:lnTo>
                  <a:lnTo>
                    <a:pt x="296" y="1199"/>
                  </a:lnTo>
                  <a:lnTo>
                    <a:pt x="294" y="1197"/>
                  </a:lnTo>
                  <a:lnTo>
                    <a:pt x="294" y="1199"/>
                  </a:lnTo>
                  <a:lnTo>
                    <a:pt x="291" y="1199"/>
                  </a:lnTo>
                  <a:lnTo>
                    <a:pt x="289" y="1199"/>
                  </a:lnTo>
                  <a:lnTo>
                    <a:pt x="289" y="1202"/>
                  </a:lnTo>
                  <a:lnTo>
                    <a:pt x="287" y="1199"/>
                  </a:lnTo>
                  <a:lnTo>
                    <a:pt x="287" y="1202"/>
                  </a:lnTo>
                  <a:lnTo>
                    <a:pt x="287" y="1199"/>
                  </a:lnTo>
                  <a:lnTo>
                    <a:pt x="284" y="1199"/>
                  </a:lnTo>
                  <a:lnTo>
                    <a:pt x="284" y="1197"/>
                  </a:lnTo>
                  <a:lnTo>
                    <a:pt x="282" y="1197"/>
                  </a:lnTo>
                  <a:lnTo>
                    <a:pt x="282" y="1195"/>
                  </a:lnTo>
                  <a:lnTo>
                    <a:pt x="282" y="1192"/>
                  </a:lnTo>
                  <a:lnTo>
                    <a:pt x="284" y="1192"/>
                  </a:lnTo>
                  <a:lnTo>
                    <a:pt x="282" y="1192"/>
                  </a:lnTo>
                  <a:lnTo>
                    <a:pt x="284" y="1192"/>
                  </a:lnTo>
                  <a:lnTo>
                    <a:pt x="284" y="1190"/>
                  </a:lnTo>
                  <a:lnTo>
                    <a:pt x="284" y="1188"/>
                  </a:lnTo>
                  <a:lnTo>
                    <a:pt x="282" y="1188"/>
                  </a:lnTo>
                  <a:lnTo>
                    <a:pt x="282" y="1185"/>
                  </a:lnTo>
                  <a:lnTo>
                    <a:pt x="282" y="1183"/>
                  </a:lnTo>
                  <a:lnTo>
                    <a:pt x="282" y="1180"/>
                  </a:lnTo>
                  <a:lnTo>
                    <a:pt x="280" y="1178"/>
                  </a:lnTo>
                  <a:lnTo>
                    <a:pt x="282" y="1178"/>
                  </a:lnTo>
                  <a:lnTo>
                    <a:pt x="280" y="1178"/>
                  </a:lnTo>
                  <a:lnTo>
                    <a:pt x="280" y="1176"/>
                  </a:lnTo>
                  <a:lnTo>
                    <a:pt x="282" y="1176"/>
                  </a:lnTo>
                  <a:lnTo>
                    <a:pt x="282" y="1173"/>
                  </a:lnTo>
                  <a:lnTo>
                    <a:pt x="280" y="1173"/>
                  </a:lnTo>
                  <a:lnTo>
                    <a:pt x="277" y="1173"/>
                  </a:lnTo>
                  <a:lnTo>
                    <a:pt x="277" y="1171"/>
                  </a:lnTo>
                  <a:lnTo>
                    <a:pt x="277" y="1169"/>
                  </a:lnTo>
                  <a:lnTo>
                    <a:pt x="275" y="1169"/>
                  </a:lnTo>
                  <a:lnTo>
                    <a:pt x="275" y="1166"/>
                  </a:lnTo>
                  <a:lnTo>
                    <a:pt x="272" y="1166"/>
                  </a:lnTo>
                  <a:lnTo>
                    <a:pt x="272" y="1164"/>
                  </a:lnTo>
                  <a:lnTo>
                    <a:pt x="275" y="1164"/>
                  </a:lnTo>
                  <a:lnTo>
                    <a:pt x="275" y="1161"/>
                  </a:lnTo>
                  <a:lnTo>
                    <a:pt x="275" y="1164"/>
                  </a:lnTo>
                  <a:lnTo>
                    <a:pt x="275" y="1161"/>
                  </a:lnTo>
                  <a:lnTo>
                    <a:pt x="272" y="1161"/>
                  </a:lnTo>
                  <a:lnTo>
                    <a:pt x="272" y="1159"/>
                  </a:lnTo>
                  <a:lnTo>
                    <a:pt x="270" y="1159"/>
                  </a:lnTo>
                  <a:lnTo>
                    <a:pt x="268" y="1159"/>
                  </a:lnTo>
                  <a:lnTo>
                    <a:pt x="268" y="1161"/>
                  </a:lnTo>
                  <a:lnTo>
                    <a:pt x="268" y="1159"/>
                  </a:lnTo>
                  <a:lnTo>
                    <a:pt x="268" y="1161"/>
                  </a:lnTo>
                  <a:lnTo>
                    <a:pt x="265" y="1161"/>
                  </a:lnTo>
                  <a:lnTo>
                    <a:pt x="265" y="1159"/>
                  </a:lnTo>
                  <a:lnTo>
                    <a:pt x="265" y="1157"/>
                  </a:lnTo>
                  <a:lnTo>
                    <a:pt x="268" y="1157"/>
                  </a:lnTo>
                  <a:lnTo>
                    <a:pt x="268" y="1154"/>
                  </a:lnTo>
                  <a:lnTo>
                    <a:pt x="268" y="1152"/>
                  </a:lnTo>
                  <a:lnTo>
                    <a:pt x="268" y="1150"/>
                  </a:lnTo>
                  <a:lnTo>
                    <a:pt x="268" y="1147"/>
                  </a:lnTo>
                  <a:lnTo>
                    <a:pt x="268" y="1145"/>
                  </a:lnTo>
                  <a:lnTo>
                    <a:pt x="270" y="1145"/>
                  </a:lnTo>
                  <a:lnTo>
                    <a:pt x="270" y="1142"/>
                  </a:lnTo>
                  <a:lnTo>
                    <a:pt x="270" y="1140"/>
                  </a:lnTo>
                  <a:lnTo>
                    <a:pt x="272" y="1140"/>
                  </a:lnTo>
                  <a:lnTo>
                    <a:pt x="272" y="1138"/>
                  </a:lnTo>
                  <a:lnTo>
                    <a:pt x="270" y="1135"/>
                  </a:lnTo>
                  <a:lnTo>
                    <a:pt x="268" y="1135"/>
                  </a:lnTo>
                  <a:lnTo>
                    <a:pt x="268" y="1133"/>
                  </a:lnTo>
                  <a:lnTo>
                    <a:pt x="265" y="1133"/>
                  </a:lnTo>
                  <a:lnTo>
                    <a:pt x="263" y="1133"/>
                  </a:lnTo>
                  <a:lnTo>
                    <a:pt x="263" y="1131"/>
                  </a:lnTo>
                  <a:lnTo>
                    <a:pt x="261" y="1131"/>
                  </a:lnTo>
                  <a:lnTo>
                    <a:pt x="261" y="1128"/>
                  </a:lnTo>
                  <a:lnTo>
                    <a:pt x="261" y="1126"/>
                  </a:lnTo>
                  <a:lnTo>
                    <a:pt x="263" y="1126"/>
                  </a:lnTo>
                  <a:lnTo>
                    <a:pt x="261" y="1126"/>
                  </a:lnTo>
                  <a:lnTo>
                    <a:pt x="258" y="1126"/>
                  </a:lnTo>
                  <a:lnTo>
                    <a:pt x="256" y="1126"/>
                  </a:lnTo>
                  <a:lnTo>
                    <a:pt x="253" y="1123"/>
                  </a:lnTo>
                  <a:lnTo>
                    <a:pt x="256" y="1121"/>
                  </a:lnTo>
                  <a:lnTo>
                    <a:pt x="256" y="1119"/>
                  </a:lnTo>
                  <a:lnTo>
                    <a:pt x="256" y="1116"/>
                  </a:lnTo>
                  <a:lnTo>
                    <a:pt x="258" y="1116"/>
                  </a:lnTo>
                  <a:lnTo>
                    <a:pt x="261" y="1116"/>
                  </a:lnTo>
                  <a:lnTo>
                    <a:pt x="261" y="1114"/>
                  </a:lnTo>
                  <a:lnTo>
                    <a:pt x="261" y="1112"/>
                  </a:lnTo>
                  <a:lnTo>
                    <a:pt x="261" y="1109"/>
                  </a:lnTo>
                  <a:lnTo>
                    <a:pt x="263" y="1109"/>
                  </a:lnTo>
                  <a:lnTo>
                    <a:pt x="265" y="1109"/>
                  </a:lnTo>
                  <a:lnTo>
                    <a:pt x="268" y="1109"/>
                  </a:lnTo>
                  <a:lnTo>
                    <a:pt x="270" y="1109"/>
                  </a:lnTo>
                  <a:lnTo>
                    <a:pt x="270" y="1107"/>
                  </a:lnTo>
                  <a:lnTo>
                    <a:pt x="268" y="1107"/>
                  </a:lnTo>
                  <a:lnTo>
                    <a:pt x="268" y="1104"/>
                  </a:lnTo>
                  <a:lnTo>
                    <a:pt x="265" y="1104"/>
                  </a:lnTo>
                  <a:lnTo>
                    <a:pt x="265" y="1102"/>
                  </a:lnTo>
                  <a:lnTo>
                    <a:pt x="265" y="1100"/>
                  </a:lnTo>
                  <a:lnTo>
                    <a:pt x="265" y="1102"/>
                  </a:lnTo>
                  <a:lnTo>
                    <a:pt x="265" y="1100"/>
                  </a:lnTo>
                  <a:lnTo>
                    <a:pt x="263" y="1100"/>
                  </a:lnTo>
                  <a:lnTo>
                    <a:pt x="263" y="1097"/>
                  </a:lnTo>
                  <a:lnTo>
                    <a:pt x="265" y="1095"/>
                  </a:lnTo>
                  <a:lnTo>
                    <a:pt x="263" y="1095"/>
                  </a:lnTo>
                  <a:lnTo>
                    <a:pt x="261" y="1090"/>
                  </a:lnTo>
                  <a:lnTo>
                    <a:pt x="261" y="1085"/>
                  </a:lnTo>
                  <a:lnTo>
                    <a:pt x="261" y="1083"/>
                  </a:lnTo>
                  <a:lnTo>
                    <a:pt x="261" y="1081"/>
                  </a:lnTo>
                  <a:lnTo>
                    <a:pt x="261" y="1076"/>
                  </a:lnTo>
                  <a:lnTo>
                    <a:pt x="258" y="1069"/>
                  </a:lnTo>
                  <a:lnTo>
                    <a:pt x="256" y="1064"/>
                  </a:lnTo>
                  <a:lnTo>
                    <a:pt x="256" y="1059"/>
                  </a:lnTo>
                  <a:lnTo>
                    <a:pt x="258" y="1057"/>
                  </a:lnTo>
                  <a:lnTo>
                    <a:pt x="261" y="1054"/>
                  </a:lnTo>
                  <a:lnTo>
                    <a:pt x="268" y="1050"/>
                  </a:lnTo>
                  <a:lnTo>
                    <a:pt x="268" y="1047"/>
                  </a:lnTo>
                  <a:lnTo>
                    <a:pt x="268" y="1045"/>
                  </a:lnTo>
                  <a:lnTo>
                    <a:pt x="270" y="1045"/>
                  </a:lnTo>
                  <a:lnTo>
                    <a:pt x="270" y="1043"/>
                  </a:lnTo>
                  <a:lnTo>
                    <a:pt x="270" y="1040"/>
                  </a:lnTo>
                  <a:lnTo>
                    <a:pt x="272" y="1040"/>
                  </a:lnTo>
                  <a:lnTo>
                    <a:pt x="272" y="1038"/>
                  </a:lnTo>
                  <a:lnTo>
                    <a:pt x="272" y="1035"/>
                  </a:lnTo>
                  <a:lnTo>
                    <a:pt x="275" y="1035"/>
                  </a:lnTo>
                  <a:lnTo>
                    <a:pt x="275" y="1033"/>
                  </a:lnTo>
                  <a:lnTo>
                    <a:pt x="277" y="1033"/>
                  </a:lnTo>
                  <a:lnTo>
                    <a:pt x="280" y="1033"/>
                  </a:lnTo>
                  <a:lnTo>
                    <a:pt x="282" y="1033"/>
                  </a:lnTo>
                  <a:lnTo>
                    <a:pt x="282" y="1031"/>
                  </a:lnTo>
                  <a:lnTo>
                    <a:pt x="284" y="1031"/>
                  </a:lnTo>
                  <a:lnTo>
                    <a:pt x="284" y="1028"/>
                  </a:lnTo>
                  <a:lnTo>
                    <a:pt x="282" y="1028"/>
                  </a:lnTo>
                  <a:lnTo>
                    <a:pt x="284" y="1028"/>
                  </a:lnTo>
                  <a:lnTo>
                    <a:pt x="282" y="1028"/>
                  </a:lnTo>
                  <a:lnTo>
                    <a:pt x="282" y="1026"/>
                  </a:lnTo>
                  <a:lnTo>
                    <a:pt x="280" y="1026"/>
                  </a:lnTo>
                  <a:lnTo>
                    <a:pt x="280" y="1024"/>
                  </a:lnTo>
                  <a:lnTo>
                    <a:pt x="277" y="1024"/>
                  </a:lnTo>
                  <a:lnTo>
                    <a:pt x="280" y="1021"/>
                  </a:lnTo>
                  <a:lnTo>
                    <a:pt x="280" y="1019"/>
                  </a:lnTo>
                  <a:lnTo>
                    <a:pt x="280" y="1016"/>
                  </a:lnTo>
                  <a:lnTo>
                    <a:pt x="277" y="1016"/>
                  </a:lnTo>
                  <a:lnTo>
                    <a:pt x="277" y="1014"/>
                  </a:lnTo>
                  <a:lnTo>
                    <a:pt x="277" y="1012"/>
                  </a:lnTo>
                  <a:lnTo>
                    <a:pt x="277" y="1009"/>
                  </a:lnTo>
                  <a:lnTo>
                    <a:pt x="280" y="1009"/>
                  </a:lnTo>
                  <a:lnTo>
                    <a:pt x="280" y="1007"/>
                  </a:lnTo>
                  <a:lnTo>
                    <a:pt x="280" y="1009"/>
                  </a:lnTo>
                  <a:lnTo>
                    <a:pt x="280" y="1007"/>
                  </a:lnTo>
                  <a:lnTo>
                    <a:pt x="282" y="1007"/>
                  </a:lnTo>
                  <a:lnTo>
                    <a:pt x="282" y="1009"/>
                  </a:lnTo>
                  <a:lnTo>
                    <a:pt x="284" y="1009"/>
                  </a:lnTo>
                  <a:lnTo>
                    <a:pt x="284" y="1012"/>
                  </a:lnTo>
                  <a:lnTo>
                    <a:pt x="287" y="1012"/>
                  </a:lnTo>
                  <a:lnTo>
                    <a:pt x="287" y="1014"/>
                  </a:lnTo>
                  <a:lnTo>
                    <a:pt x="284" y="1014"/>
                  </a:lnTo>
                  <a:lnTo>
                    <a:pt x="282" y="1014"/>
                  </a:lnTo>
                  <a:lnTo>
                    <a:pt x="282" y="1016"/>
                  </a:lnTo>
                  <a:lnTo>
                    <a:pt x="282" y="1019"/>
                  </a:lnTo>
                  <a:lnTo>
                    <a:pt x="284" y="1019"/>
                  </a:lnTo>
                  <a:lnTo>
                    <a:pt x="282" y="1019"/>
                  </a:lnTo>
                  <a:lnTo>
                    <a:pt x="282" y="1016"/>
                  </a:lnTo>
                  <a:lnTo>
                    <a:pt x="282" y="1014"/>
                  </a:lnTo>
                  <a:lnTo>
                    <a:pt x="284" y="1014"/>
                  </a:lnTo>
                  <a:lnTo>
                    <a:pt x="287" y="1014"/>
                  </a:lnTo>
                  <a:lnTo>
                    <a:pt x="287" y="1012"/>
                  </a:lnTo>
                  <a:lnTo>
                    <a:pt x="287" y="1014"/>
                  </a:lnTo>
                  <a:lnTo>
                    <a:pt x="289" y="1014"/>
                  </a:lnTo>
                  <a:lnTo>
                    <a:pt x="289" y="1012"/>
                  </a:lnTo>
                  <a:lnTo>
                    <a:pt x="291" y="1012"/>
                  </a:lnTo>
                  <a:lnTo>
                    <a:pt x="291" y="1009"/>
                  </a:lnTo>
                  <a:lnTo>
                    <a:pt x="291" y="1007"/>
                  </a:lnTo>
                  <a:lnTo>
                    <a:pt x="291" y="1005"/>
                  </a:lnTo>
                  <a:lnTo>
                    <a:pt x="294" y="1005"/>
                  </a:lnTo>
                  <a:lnTo>
                    <a:pt x="296" y="1005"/>
                  </a:lnTo>
                  <a:lnTo>
                    <a:pt x="299" y="1005"/>
                  </a:lnTo>
                  <a:lnTo>
                    <a:pt x="299" y="1007"/>
                  </a:lnTo>
                  <a:lnTo>
                    <a:pt x="301" y="1007"/>
                  </a:lnTo>
                  <a:lnTo>
                    <a:pt x="303" y="1007"/>
                  </a:lnTo>
                  <a:lnTo>
                    <a:pt x="306" y="1007"/>
                  </a:lnTo>
                  <a:lnTo>
                    <a:pt x="306" y="1005"/>
                  </a:lnTo>
                  <a:lnTo>
                    <a:pt x="306" y="1007"/>
                  </a:lnTo>
                  <a:lnTo>
                    <a:pt x="306" y="1005"/>
                  </a:lnTo>
                  <a:lnTo>
                    <a:pt x="306" y="1007"/>
                  </a:lnTo>
                  <a:lnTo>
                    <a:pt x="308" y="1007"/>
                  </a:lnTo>
                  <a:lnTo>
                    <a:pt x="308" y="1005"/>
                  </a:lnTo>
                  <a:lnTo>
                    <a:pt x="310" y="1005"/>
                  </a:lnTo>
                  <a:lnTo>
                    <a:pt x="310" y="1002"/>
                  </a:lnTo>
                  <a:lnTo>
                    <a:pt x="310" y="1000"/>
                  </a:lnTo>
                  <a:lnTo>
                    <a:pt x="308" y="1000"/>
                  </a:lnTo>
                  <a:lnTo>
                    <a:pt x="310" y="1000"/>
                  </a:lnTo>
                  <a:lnTo>
                    <a:pt x="310" y="997"/>
                  </a:lnTo>
                  <a:lnTo>
                    <a:pt x="313" y="997"/>
                  </a:lnTo>
                  <a:lnTo>
                    <a:pt x="313" y="995"/>
                  </a:lnTo>
                  <a:lnTo>
                    <a:pt x="313" y="997"/>
                  </a:lnTo>
                  <a:lnTo>
                    <a:pt x="315" y="997"/>
                  </a:lnTo>
                  <a:lnTo>
                    <a:pt x="318" y="997"/>
                  </a:lnTo>
                  <a:lnTo>
                    <a:pt x="315" y="995"/>
                  </a:lnTo>
                  <a:lnTo>
                    <a:pt x="318" y="995"/>
                  </a:lnTo>
                  <a:lnTo>
                    <a:pt x="318" y="997"/>
                  </a:lnTo>
                  <a:lnTo>
                    <a:pt x="320" y="997"/>
                  </a:lnTo>
                  <a:lnTo>
                    <a:pt x="322" y="997"/>
                  </a:lnTo>
                  <a:lnTo>
                    <a:pt x="325" y="997"/>
                  </a:lnTo>
                  <a:lnTo>
                    <a:pt x="327" y="997"/>
                  </a:lnTo>
                  <a:lnTo>
                    <a:pt x="329" y="997"/>
                  </a:lnTo>
                  <a:lnTo>
                    <a:pt x="329" y="1000"/>
                  </a:lnTo>
                  <a:lnTo>
                    <a:pt x="332" y="1000"/>
                  </a:lnTo>
                  <a:lnTo>
                    <a:pt x="332" y="997"/>
                  </a:lnTo>
                  <a:lnTo>
                    <a:pt x="332" y="1000"/>
                  </a:lnTo>
                  <a:lnTo>
                    <a:pt x="334" y="1000"/>
                  </a:lnTo>
                  <a:lnTo>
                    <a:pt x="336" y="1000"/>
                  </a:lnTo>
                  <a:lnTo>
                    <a:pt x="339" y="1000"/>
                  </a:lnTo>
                  <a:lnTo>
                    <a:pt x="339" y="1002"/>
                  </a:lnTo>
                  <a:lnTo>
                    <a:pt x="341" y="1002"/>
                  </a:lnTo>
                  <a:lnTo>
                    <a:pt x="344" y="1002"/>
                  </a:lnTo>
                  <a:lnTo>
                    <a:pt x="346" y="1002"/>
                  </a:lnTo>
                  <a:lnTo>
                    <a:pt x="348" y="1002"/>
                  </a:lnTo>
                  <a:lnTo>
                    <a:pt x="346" y="1002"/>
                  </a:lnTo>
                  <a:lnTo>
                    <a:pt x="348" y="1002"/>
                  </a:lnTo>
                  <a:lnTo>
                    <a:pt x="346" y="1000"/>
                  </a:lnTo>
                  <a:lnTo>
                    <a:pt x="348" y="1002"/>
                  </a:lnTo>
                  <a:lnTo>
                    <a:pt x="348" y="1000"/>
                  </a:lnTo>
                  <a:lnTo>
                    <a:pt x="351" y="1000"/>
                  </a:lnTo>
                  <a:lnTo>
                    <a:pt x="348" y="1000"/>
                  </a:lnTo>
                  <a:lnTo>
                    <a:pt x="351" y="1000"/>
                  </a:lnTo>
                  <a:lnTo>
                    <a:pt x="353" y="1000"/>
                  </a:lnTo>
                  <a:lnTo>
                    <a:pt x="353" y="997"/>
                  </a:lnTo>
                  <a:lnTo>
                    <a:pt x="355" y="997"/>
                  </a:lnTo>
                  <a:lnTo>
                    <a:pt x="355" y="1000"/>
                  </a:lnTo>
                  <a:lnTo>
                    <a:pt x="358" y="1000"/>
                  </a:lnTo>
                  <a:lnTo>
                    <a:pt x="358" y="1002"/>
                  </a:lnTo>
                  <a:lnTo>
                    <a:pt x="358" y="1005"/>
                  </a:lnTo>
                  <a:lnTo>
                    <a:pt x="360" y="1005"/>
                  </a:lnTo>
                  <a:lnTo>
                    <a:pt x="363" y="1005"/>
                  </a:lnTo>
                  <a:lnTo>
                    <a:pt x="363" y="1007"/>
                  </a:lnTo>
                  <a:lnTo>
                    <a:pt x="365" y="1007"/>
                  </a:lnTo>
                  <a:lnTo>
                    <a:pt x="367" y="1007"/>
                  </a:lnTo>
                  <a:lnTo>
                    <a:pt x="365" y="1007"/>
                  </a:lnTo>
                  <a:lnTo>
                    <a:pt x="363" y="1007"/>
                  </a:lnTo>
                  <a:lnTo>
                    <a:pt x="363" y="1005"/>
                  </a:lnTo>
                  <a:lnTo>
                    <a:pt x="360" y="1005"/>
                  </a:lnTo>
                  <a:lnTo>
                    <a:pt x="358" y="1005"/>
                  </a:lnTo>
                  <a:lnTo>
                    <a:pt x="358" y="1002"/>
                  </a:lnTo>
                  <a:lnTo>
                    <a:pt x="358" y="1000"/>
                  </a:lnTo>
                  <a:lnTo>
                    <a:pt x="355" y="1000"/>
                  </a:lnTo>
                  <a:lnTo>
                    <a:pt x="355" y="997"/>
                  </a:lnTo>
                  <a:lnTo>
                    <a:pt x="353" y="997"/>
                  </a:lnTo>
                  <a:lnTo>
                    <a:pt x="351" y="997"/>
                  </a:lnTo>
                  <a:lnTo>
                    <a:pt x="348" y="997"/>
                  </a:lnTo>
                  <a:lnTo>
                    <a:pt x="348" y="995"/>
                  </a:lnTo>
                  <a:lnTo>
                    <a:pt x="346" y="995"/>
                  </a:lnTo>
                  <a:lnTo>
                    <a:pt x="348" y="995"/>
                  </a:lnTo>
                  <a:lnTo>
                    <a:pt x="348" y="997"/>
                  </a:lnTo>
                  <a:lnTo>
                    <a:pt x="346" y="995"/>
                  </a:lnTo>
                  <a:lnTo>
                    <a:pt x="344" y="995"/>
                  </a:lnTo>
                  <a:lnTo>
                    <a:pt x="341" y="995"/>
                  </a:lnTo>
                  <a:lnTo>
                    <a:pt x="344" y="995"/>
                  </a:lnTo>
                  <a:lnTo>
                    <a:pt x="341" y="995"/>
                  </a:lnTo>
                  <a:lnTo>
                    <a:pt x="341" y="993"/>
                  </a:lnTo>
                  <a:lnTo>
                    <a:pt x="341" y="995"/>
                  </a:lnTo>
                  <a:lnTo>
                    <a:pt x="341" y="993"/>
                  </a:lnTo>
                  <a:lnTo>
                    <a:pt x="341" y="990"/>
                  </a:lnTo>
                  <a:lnTo>
                    <a:pt x="339" y="990"/>
                  </a:lnTo>
                  <a:lnTo>
                    <a:pt x="341" y="990"/>
                  </a:lnTo>
                  <a:lnTo>
                    <a:pt x="339" y="990"/>
                  </a:lnTo>
                  <a:lnTo>
                    <a:pt x="341" y="990"/>
                  </a:lnTo>
                  <a:lnTo>
                    <a:pt x="341" y="988"/>
                  </a:lnTo>
                  <a:lnTo>
                    <a:pt x="339" y="988"/>
                  </a:lnTo>
                  <a:lnTo>
                    <a:pt x="336" y="988"/>
                  </a:lnTo>
                  <a:lnTo>
                    <a:pt x="336" y="986"/>
                  </a:lnTo>
                  <a:lnTo>
                    <a:pt x="334" y="986"/>
                  </a:lnTo>
                  <a:lnTo>
                    <a:pt x="332" y="986"/>
                  </a:lnTo>
                  <a:lnTo>
                    <a:pt x="329" y="986"/>
                  </a:lnTo>
                  <a:lnTo>
                    <a:pt x="327" y="986"/>
                  </a:lnTo>
                  <a:lnTo>
                    <a:pt x="325" y="986"/>
                  </a:lnTo>
                  <a:lnTo>
                    <a:pt x="325" y="988"/>
                  </a:lnTo>
                  <a:lnTo>
                    <a:pt x="322" y="988"/>
                  </a:lnTo>
                  <a:lnTo>
                    <a:pt x="320" y="988"/>
                  </a:lnTo>
                  <a:lnTo>
                    <a:pt x="318" y="988"/>
                  </a:lnTo>
                  <a:lnTo>
                    <a:pt x="315" y="986"/>
                  </a:lnTo>
                  <a:lnTo>
                    <a:pt x="315" y="988"/>
                  </a:lnTo>
                  <a:lnTo>
                    <a:pt x="313" y="986"/>
                  </a:lnTo>
                  <a:lnTo>
                    <a:pt x="310" y="986"/>
                  </a:lnTo>
                  <a:lnTo>
                    <a:pt x="308" y="986"/>
                  </a:lnTo>
                  <a:lnTo>
                    <a:pt x="308" y="983"/>
                  </a:lnTo>
                  <a:lnTo>
                    <a:pt x="310" y="983"/>
                  </a:lnTo>
                  <a:lnTo>
                    <a:pt x="308" y="983"/>
                  </a:lnTo>
                  <a:lnTo>
                    <a:pt x="308" y="981"/>
                  </a:lnTo>
                  <a:lnTo>
                    <a:pt x="308" y="983"/>
                  </a:lnTo>
                  <a:lnTo>
                    <a:pt x="308" y="981"/>
                  </a:lnTo>
                  <a:lnTo>
                    <a:pt x="306" y="981"/>
                  </a:lnTo>
                  <a:lnTo>
                    <a:pt x="303" y="981"/>
                  </a:lnTo>
                  <a:lnTo>
                    <a:pt x="303" y="978"/>
                  </a:lnTo>
                  <a:lnTo>
                    <a:pt x="303" y="976"/>
                  </a:lnTo>
                  <a:lnTo>
                    <a:pt x="303" y="978"/>
                  </a:lnTo>
                  <a:lnTo>
                    <a:pt x="301" y="978"/>
                  </a:lnTo>
                  <a:lnTo>
                    <a:pt x="299" y="978"/>
                  </a:lnTo>
                  <a:lnTo>
                    <a:pt x="299" y="976"/>
                  </a:lnTo>
                  <a:lnTo>
                    <a:pt x="296" y="976"/>
                  </a:lnTo>
                  <a:lnTo>
                    <a:pt x="296" y="974"/>
                  </a:lnTo>
                  <a:lnTo>
                    <a:pt x="294" y="974"/>
                  </a:lnTo>
                  <a:lnTo>
                    <a:pt x="294" y="971"/>
                  </a:lnTo>
                  <a:lnTo>
                    <a:pt x="294" y="969"/>
                  </a:lnTo>
                  <a:lnTo>
                    <a:pt x="291" y="969"/>
                  </a:lnTo>
                  <a:lnTo>
                    <a:pt x="291" y="967"/>
                  </a:lnTo>
                  <a:lnTo>
                    <a:pt x="294" y="967"/>
                  </a:lnTo>
                  <a:lnTo>
                    <a:pt x="294" y="969"/>
                  </a:lnTo>
                  <a:lnTo>
                    <a:pt x="296" y="971"/>
                  </a:lnTo>
                  <a:lnTo>
                    <a:pt x="299" y="971"/>
                  </a:lnTo>
                  <a:lnTo>
                    <a:pt x="299" y="974"/>
                  </a:lnTo>
                  <a:lnTo>
                    <a:pt x="299" y="971"/>
                  </a:lnTo>
                  <a:lnTo>
                    <a:pt x="301" y="971"/>
                  </a:lnTo>
                  <a:lnTo>
                    <a:pt x="299" y="971"/>
                  </a:lnTo>
                  <a:lnTo>
                    <a:pt x="299" y="969"/>
                  </a:lnTo>
                  <a:lnTo>
                    <a:pt x="299" y="967"/>
                  </a:lnTo>
                  <a:lnTo>
                    <a:pt x="299" y="969"/>
                  </a:lnTo>
                  <a:lnTo>
                    <a:pt x="299" y="967"/>
                  </a:lnTo>
                  <a:lnTo>
                    <a:pt x="296" y="967"/>
                  </a:lnTo>
                  <a:lnTo>
                    <a:pt x="296" y="969"/>
                  </a:lnTo>
                  <a:lnTo>
                    <a:pt x="296" y="967"/>
                  </a:lnTo>
                  <a:lnTo>
                    <a:pt x="299" y="967"/>
                  </a:lnTo>
                  <a:lnTo>
                    <a:pt x="299" y="969"/>
                  </a:lnTo>
                  <a:lnTo>
                    <a:pt x="299" y="967"/>
                  </a:lnTo>
                  <a:lnTo>
                    <a:pt x="299" y="964"/>
                  </a:lnTo>
                  <a:lnTo>
                    <a:pt x="299" y="962"/>
                  </a:lnTo>
                  <a:lnTo>
                    <a:pt x="299" y="959"/>
                  </a:lnTo>
                  <a:lnTo>
                    <a:pt x="299" y="962"/>
                  </a:lnTo>
                  <a:lnTo>
                    <a:pt x="299" y="959"/>
                  </a:lnTo>
                  <a:lnTo>
                    <a:pt x="299" y="962"/>
                  </a:lnTo>
                  <a:lnTo>
                    <a:pt x="301" y="962"/>
                  </a:lnTo>
                  <a:lnTo>
                    <a:pt x="299" y="962"/>
                  </a:lnTo>
                  <a:lnTo>
                    <a:pt x="299" y="959"/>
                  </a:lnTo>
                  <a:lnTo>
                    <a:pt x="301" y="959"/>
                  </a:lnTo>
                  <a:lnTo>
                    <a:pt x="301" y="957"/>
                  </a:lnTo>
                  <a:lnTo>
                    <a:pt x="301" y="955"/>
                  </a:lnTo>
                  <a:lnTo>
                    <a:pt x="299" y="955"/>
                  </a:lnTo>
                  <a:lnTo>
                    <a:pt x="301" y="955"/>
                  </a:lnTo>
                  <a:lnTo>
                    <a:pt x="301" y="952"/>
                  </a:lnTo>
                  <a:lnTo>
                    <a:pt x="301" y="955"/>
                  </a:lnTo>
                  <a:lnTo>
                    <a:pt x="299" y="955"/>
                  </a:lnTo>
                  <a:lnTo>
                    <a:pt x="299" y="957"/>
                  </a:lnTo>
                  <a:lnTo>
                    <a:pt x="299" y="955"/>
                  </a:lnTo>
                  <a:lnTo>
                    <a:pt x="299" y="957"/>
                  </a:lnTo>
                  <a:lnTo>
                    <a:pt x="296" y="957"/>
                  </a:lnTo>
                  <a:lnTo>
                    <a:pt x="296" y="959"/>
                  </a:lnTo>
                  <a:lnTo>
                    <a:pt x="299" y="959"/>
                  </a:lnTo>
                  <a:lnTo>
                    <a:pt x="296" y="959"/>
                  </a:lnTo>
                  <a:lnTo>
                    <a:pt x="296" y="962"/>
                  </a:lnTo>
                  <a:lnTo>
                    <a:pt x="296" y="959"/>
                  </a:lnTo>
                  <a:lnTo>
                    <a:pt x="294" y="959"/>
                  </a:lnTo>
                  <a:lnTo>
                    <a:pt x="291" y="959"/>
                  </a:lnTo>
                  <a:lnTo>
                    <a:pt x="294" y="959"/>
                  </a:lnTo>
                  <a:lnTo>
                    <a:pt x="291" y="959"/>
                  </a:lnTo>
                  <a:lnTo>
                    <a:pt x="291" y="962"/>
                  </a:lnTo>
                  <a:lnTo>
                    <a:pt x="291" y="959"/>
                  </a:lnTo>
                  <a:lnTo>
                    <a:pt x="291" y="962"/>
                  </a:lnTo>
                  <a:lnTo>
                    <a:pt x="289" y="962"/>
                  </a:lnTo>
                  <a:lnTo>
                    <a:pt x="289" y="959"/>
                  </a:lnTo>
                  <a:lnTo>
                    <a:pt x="289" y="962"/>
                  </a:lnTo>
                  <a:lnTo>
                    <a:pt x="289" y="964"/>
                  </a:lnTo>
                  <a:lnTo>
                    <a:pt x="289" y="962"/>
                  </a:lnTo>
                  <a:lnTo>
                    <a:pt x="289" y="964"/>
                  </a:lnTo>
                  <a:lnTo>
                    <a:pt x="289" y="962"/>
                  </a:lnTo>
                  <a:lnTo>
                    <a:pt x="287" y="962"/>
                  </a:lnTo>
                  <a:lnTo>
                    <a:pt x="289" y="962"/>
                  </a:lnTo>
                  <a:lnTo>
                    <a:pt x="287" y="962"/>
                  </a:lnTo>
                  <a:lnTo>
                    <a:pt x="287" y="964"/>
                  </a:lnTo>
                  <a:lnTo>
                    <a:pt x="284" y="964"/>
                  </a:lnTo>
                  <a:lnTo>
                    <a:pt x="287" y="964"/>
                  </a:lnTo>
                  <a:lnTo>
                    <a:pt x="284" y="964"/>
                  </a:lnTo>
                  <a:lnTo>
                    <a:pt x="287" y="964"/>
                  </a:lnTo>
                  <a:lnTo>
                    <a:pt x="284" y="964"/>
                  </a:lnTo>
                  <a:lnTo>
                    <a:pt x="284" y="967"/>
                  </a:lnTo>
                  <a:lnTo>
                    <a:pt x="284" y="969"/>
                  </a:lnTo>
                  <a:lnTo>
                    <a:pt x="284" y="967"/>
                  </a:lnTo>
                  <a:lnTo>
                    <a:pt x="282" y="967"/>
                  </a:lnTo>
                  <a:lnTo>
                    <a:pt x="282" y="969"/>
                  </a:lnTo>
                  <a:lnTo>
                    <a:pt x="280" y="969"/>
                  </a:lnTo>
                  <a:lnTo>
                    <a:pt x="280" y="967"/>
                  </a:lnTo>
                  <a:lnTo>
                    <a:pt x="280" y="969"/>
                  </a:lnTo>
                  <a:lnTo>
                    <a:pt x="280" y="967"/>
                  </a:lnTo>
                  <a:lnTo>
                    <a:pt x="280" y="969"/>
                  </a:lnTo>
                  <a:lnTo>
                    <a:pt x="277" y="969"/>
                  </a:lnTo>
                  <a:lnTo>
                    <a:pt x="280" y="969"/>
                  </a:lnTo>
                  <a:lnTo>
                    <a:pt x="277" y="969"/>
                  </a:lnTo>
                  <a:lnTo>
                    <a:pt x="277" y="967"/>
                  </a:lnTo>
                  <a:lnTo>
                    <a:pt x="277" y="969"/>
                  </a:lnTo>
                  <a:lnTo>
                    <a:pt x="275" y="969"/>
                  </a:lnTo>
                  <a:lnTo>
                    <a:pt x="272" y="969"/>
                  </a:lnTo>
                  <a:lnTo>
                    <a:pt x="272" y="967"/>
                  </a:lnTo>
                  <a:lnTo>
                    <a:pt x="270" y="967"/>
                  </a:lnTo>
                  <a:lnTo>
                    <a:pt x="270" y="969"/>
                  </a:lnTo>
                  <a:lnTo>
                    <a:pt x="272" y="969"/>
                  </a:lnTo>
                  <a:lnTo>
                    <a:pt x="270" y="969"/>
                  </a:lnTo>
                  <a:lnTo>
                    <a:pt x="272" y="969"/>
                  </a:lnTo>
                  <a:lnTo>
                    <a:pt x="270" y="969"/>
                  </a:lnTo>
                  <a:lnTo>
                    <a:pt x="270" y="971"/>
                  </a:lnTo>
                  <a:lnTo>
                    <a:pt x="270" y="969"/>
                  </a:lnTo>
                  <a:lnTo>
                    <a:pt x="270" y="971"/>
                  </a:lnTo>
                  <a:lnTo>
                    <a:pt x="270" y="969"/>
                  </a:lnTo>
                  <a:lnTo>
                    <a:pt x="270" y="967"/>
                  </a:lnTo>
                  <a:lnTo>
                    <a:pt x="270" y="964"/>
                  </a:lnTo>
                  <a:lnTo>
                    <a:pt x="272" y="964"/>
                  </a:lnTo>
                  <a:lnTo>
                    <a:pt x="272" y="962"/>
                  </a:lnTo>
                  <a:lnTo>
                    <a:pt x="277" y="957"/>
                  </a:lnTo>
                  <a:lnTo>
                    <a:pt x="280" y="957"/>
                  </a:lnTo>
                  <a:lnTo>
                    <a:pt x="282" y="957"/>
                  </a:lnTo>
                  <a:lnTo>
                    <a:pt x="282" y="955"/>
                  </a:lnTo>
                  <a:lnTo>
                    <a:pt x="284" y="955"/>
                  </a:lnTo>
                  <a:lnTo>
                    <a:pt x="284" y="952"/>
                  </a:lnTo>
                  <a:lnTo>
                    <a:pt x="287" y="950"/>
                  </a:lnTo>
                  <a:lnTo>
                    <a:pt x="291" y="948"/>
                  </a:lnTo>
                  <a:lnTo>
                    <a:pt x="291" y="945"/>
                  </a:lnTo>
                  <a:lnTo>
                    <a:pt x="294" y="945"/>
                  </a:lnTo>
                  <a:lnTo>
                    <a:pt x="296" y="945"/>
                  </a:lnTo>
                  <a:lnTo>
                    <a:pt x="299" y="945"/>
                  </a:lnTo>
                  <a:lnTo>
                    <a:pt x="299" y="943"/>
                  </a:lnTo>
                  <a:lnTo>
                    <a:pt x="299" y="940"/>
                  </a:lnTo>
                  <a:lnTo>
                    <a:pt x="301" y="940"/>
                  </a:lnTo>
                  <a:lnTo>
                    <a:pt x="301" y="938"/>
                  </a:lnTo>
                  <a:lnTo>
                    <a:pt x="303" y="938"/>
                  </a:lnTo>
                  <a:lnTo>
                    <a:pt x="303" y="936"/>
                  </a:lnTo>
                  <a:lnTo>
                    <a:pt x="306" y="936"/>
                  </a:lnTo>
                  <a:lnTo>
                    <a:pt x="306" y="933"/>
                  </a:lnTo>
                  <a:lnTo>
                    <a:pt x="308" y="933"/>
                  </a:lnTo>
                  <a:lnTo>
                    <a:pt x="310" y="931"/>
                  </a:lnTo>
                  <a:lnTo>
                    <a:pt x="313" y="931"/>
                  </a:lnTo>
                  <a:lnTo>
                    <a:pt x="315" y="929"/>
                  </a:lnTo>
                  <a:lnTo>
                    <a:pt x="318" y="929"/>
                  </a:lnTo>
                  <a:lnTo>
                    <a:pt x="318" y="926"/>
                  </a:lnTo>
                  <a:lnTo>
                    <a:pt x="320" y="924"/>
                  </a:lnTo>
                  <a:lnTo>
                    <a:pt x="322" y="921"/>
                  </a:lnTo>
                  <a:lnTo>
                    <a:pt x="327" y="917"/>
                  </a:lnTo>
                  <a:lnTo>
                    <a:pt x="325" y="917"/>
                  </a:lnTo>
                  <a:lnTo>
                    <a:pt x="327" y="917"/>
                  </a:lnTo>
                  <a:lnTo>
                    <a:pt x="329" y="914"/>
                  </a:lnTo>
                  <a:lnTo>
                    <a:pt x="332" y="912"/>
                  </a:lnTo>
                  <a:lnTo>
                    <a:pt x="334" y="912"/>
                  </a:lnTo>
                  <a:lnTo>
                    <a:pt x="334" y="910"/>
                  </a:lnTo>
                  <a:lnTo>
                    <a:pt x="336" y="907"/>
                  </a:lnTo>
                  <a:lnTo>
                    <a:pt x="339" y="905"/>
                  </a:lnTo>
                  <a:lnTo>
                    <a:pt x="344" y="900"/>
                  </a:lnTo>
                  <a:lnTo>
                    <a:pt x="344" y="898"/>
                  </a:lnTo>
                  <a:lnTo>
                    <a:pt x="346" y="895"/>
                  </a:lnTo>
                  <a:lnTo>
                    <a:pt x="348" y="895"/>
                  </a:lnTo>
                  <a:lnTo>
                    <a:pt x="348" y="893"/>
                  </a:lnTo>
                  <a:lnTo>
                    <a:pt x="351" y="893"/>
                  </a:lnTo>
                  <a:lnTo>
                    <a:pt x="351" y="891"/>
                  </a:lnTo>
                  <a:lnTo>
                    <a:pt x="353" y="891"/>
                  </a:lnTo>
                  <a:lnTo>
                    <a:pt x="353" y="888"/>
                  </a:lnTo>
                  <a:lnTo>
                    <a:pt x="355" y="888"/>
                  </a:lnTo>
                  <a:lnTo>
                    <a:pt x="355" y="886"/>
                  </a:lnTo>
                  <a:lnTo>
                    <a:pt x="360" y="881"/>
                  </a:lnTo>
                  <a:lnTo>
                    <a:pt x="363" y="881"/>
                  </a:lnTo>
                  <a:lnTo>
                    <a:pt x="363" y="879"/>
                  </a:lnTo>
                  <a:lnTo>
                    <a:pt x="363" y="876"/>
                  </a:lnTo>
                  <a:lnTo>
                    <a:pt x="365" y="876"/>
                  </a:lnTo>
                  <a:lnTo>
                    <a:pt x="367" y="876"/>
                  </a:lnTo>
                  <a:lnTo>
                    <a:pt x="367" y="874"/>
                  </a:lnTo>
                  <a:lnTo>
                    <a:pt x="370" y="874"/>
                  </a:lnTo>
                  <a:lnTo>
                    <a:pt x="372" y="872"/>
                  </a:lnTo>
                  <a:lnTo>
                    <a:pt x="374" y="872"/>
                  </a:lnTo>
                  <a:lnTo>
                    <a:pt x="374" y="869"/>
                  </a:lnTo>
                  <a:lnTo>
                    <a:pt x="379" y="864"/>
                  </a:lnTo>
                  <a:lnTo>
                    <a:pt x="382" y="864"/>
                  </a:lnTo>
                  <a:lnTo>
                    <a:pt x="382" y="862"/>
                  </a:lnTo>
                  <a:lnTo>
                    <a:pt x="384" y="860"/>
                  </a:lnTo>
                  <a:lnTo>
                    <a:pt x="386" y="853"/>
                  </a:lnTo>
                  <a:lnTo>
                    <a:pt x="389" y="853"/>
                  </a:lnTo>
                  <a:lnTo>
                    <a:pt x="389" y="850"/>
                  </a:lnTo>
                  <a:lnTo>
                    <a:pt x="389" y="845"/>
                  </a:lnTo>
                  <a:lnTo>
                    <a:pt x="391" y="845"/>
                  </a:lnTo>
                  <a:lnTo>
                    <a:pt x="391" y="843"/>
                  </a:lnTo>
                  <a:lnTo>
                    <a:pt x="393" y="838"/>
                  </a:lnTo>
                  <a:lnTo>
                    <a:pt x="391" y="834"/>
                  </a:lnTo>
                  <a:lnTo>
                    <a:pt x="391" y="831"/>
                  </a:lnTo>
                  <a:lnTo>
                    <a:pt x="389" y="831"/>
                  </a:lnTo>
                  <a:lnTo>
                    <a:pt x="386" y="829"/>
                  </a:lnTo>
                  <a:lnTo>
                    <a:pt x="384" y="829"/>
                  </a:lnTo>
                  <a:lnTo>
                    <a:pt x="384" y="826"/>
                  </a:lnTo>
                  <a:lnTo>
                    <a:pt x="384" y="824"/>
                  </a:lnTo>
                  <a:lnTo>
                    <a:pt x="384" y="822"/>
                  </a:lnTo>
                  <a:lnTo>
                    <a:pt x="382" y="822"/>
                  </a:lnTo>
                  <a:lnTo>
                    <a:pt x="382" y="819"/>
                  </a:lnTo>
                  <a:lnTo>
                    <a:pt x="379" y="819"/>
                  </a:lnTo>
                  <a:lnTo>
                    <a:pt x="377" y="817"/>
                  </a:lnTo>
                  <a:lnTo>
                    <a:pt x="374" y="817"/>
                  </a:lnTo>
                  <a:lnTo>
                    <a:pt x="374" y="815"/>
                  </a:lnTo>
                  <a:lnTo>
                    <a:pt x="372" y="815"/>
                  </a:lnTo>
                  <a:lnTo>
                    <a:pt x="370" y="815"/>
                  </a:lnTo>
                  <a:lnTo>
                    <a:pt x="370" y="812"/>
                  </a:lnTo>
                  <a:lnTo>
                    <a:pt x="367" y="812"/>
                  </a:lnTo>
                  <a:lnTo>
                    <a:pt x="365" y="810"/>
                  </a:lnTo>
                  <a:lnTo>
                    <a:pt x="363" y="810"/>
                  </a:lnTo>
                  <a:lnTo>
                    <a:pt x="358" y="807"/>
                  </a:lnTo>
                  <a:lnTo>
                    <a:pt x="355" y="803"/>
                  </a:lnTo>
                  <a:lnTo>
                    <a:pt x="353" y="803"/>
                  </a:lnTo>
                  <a:lnTo>
                    <a:pt x="351" y="800"/>
                  </a:lnTo>
                  <a:lnTo>
                    <a:pt x="346" y="798"/>
                  </a:lnTo>
                  <a:lnTo>
                    <a:pt x="346" y="796"/>
                  </a:lnTo>
                  <a:lnTo>
                    <a:pt x="344" y="796"/>
                  </a:lnTo>
                  <a:lnTo>
                    <a:pt x="341" y="791"/>
                  </a:lnTo>
                  <a:lnTo>
                    <a:pt x="348" y="788"/>
                  </a:lnTo>
                  <a:lnTo>
                    <a:pt x="351" y="788"/>
                  </a:lnTo>
                  <a:lnTo>
                    <a:pt x="353" y="784"/>
                  </a:lnTo>
                  <a:lnTo>
                    <a:pt x="353" y="781"/>
                  </a:lnTo>
                  <a:lnTo>
                    <a:pt x="355" y="781"/>
                  </a:lnTo>
                  <a:lnTo>
                    <a:pt x="358" y="779"/>
                  </a:lnTo>
                  <a:lnTo>
                    <a:pt x="358" y="777"/>
                  </a:lnTo>
                  <a:lnTo>
                    <a:pt x="360" y="777"/>
                  </a:lnTo>
                  <a:lnTo>
                    <a:pt x="360" y="774"/>
                  </a:lnTo>
                  <a:lnTo>
                    <a:pt x="360" y="772"/>
                  </a:lnTo>
                  <a:lnTo>
                    <a:pt x="360" y="769"/>
                  </a:lnTo>
                  <a:lnTo>
                    <a:pt x="358" y="767"/>
                  </a:lnTo>
                  <a:lnTo>
                    <a:pt x="360" y="767"/>
                  </a:lnTo>
                  <a:lnTo>
                    <a:pt x="358" y="765"/>
                  </a:lnTo>
                  <a:lnTo>
                    <a:pt x="355" y="762"/>
                  </a:lnTo>
                  <a:lnTo>
                    <a:pt x="353" y="762"/>
                  </a:lnTo>
                  <a:lnTo>
                    <a:pt x="355" y="762"/>
                  </a:lnTo>
                  <a:lnTo>
                    <a:pt x="351" y="760"/>
                  </a:lnTo>
                  <a:lnTo>
                    <a:pt x="348" y="760"/>
                  </a:lnTo>
                  <a:lnTo>
                    <a:pt x="346" y="758"/>
                  </a:lnTo>
                  <a:lnTo>
                    <a:pt x="344" y="755"/>
                  </a:lnTo>
                  <a:lnTo>
                    <a:pt x="344" y="753"/>
                  </a:lnTo>
                  <a:lnTo>
                    <a:pt x="344" y="750"/>
                  </a:lnTo>
                  <a:lnTo>
                    <a:pt x="341" y="748"/>
                  </a:lnTo>
                  <a:lnTo>
                    <a:pt x="341" y="746"/>
                  </a:lnTo>
                  <a:lnTo>
                    <a:pt x="344" y="743"/>
                  </a:lnTo>
                  <a:lnTo>
                    <a:pt x="346" y="743"/>
                  </a:lnTo>
                  <a:lnTo>
                    <a:pt x="344" y="739"/>
                  </a:lnTo>
                  <a:lnTo>
                    <a:pt x="344" y="736"/>
                  </a:lnTo>
                  <a:lnTo>
                    <a:pt x="346" y="736"/>
                  </a:lnTo>
                  <a:lnTo>
                    <a:pt x="344" y="734"/>
                  </a:lnTo>
                  <a:lnTo>
                    <a:pt x="341" y="734"/>
                  </a:lnTo>
                  <a:lnTo>
                    <a:pt x="339" y="734"/>
                  </a:lnTo>
                  <a:lnTo>
                    <a:pt x="336" y="734"/>
                  </a:lnTo>
                  <a:lnTo>
                    <a:pt x="334" y="734"/>
                  </a:lnTo>
                  <a:lnTo>
                    <a:pt x="332" y="734"/>
                  </a:lnTo>
                  <a:lnTo>
                    <a:pt x="332" y="731"/>
                  </a:lnTo>
                  <a:lnTo>
                    <a:pt x="329" y="729"/>
                  </a:lnTo>
                  <a:lnTo>
                    <a:pt x="329" y="727"/>
                  </a:lnTo>
                  <a:lnTo>
                    <a:pt x="329" y="724"/>
                  </a:lnTo>
                  <a:lnTo>
                    <a:pt x="329" y="722"/>
                  </a:lnTo>
                  <a:lnTo>
                    <a:pt x="329" y="720"/>
                  </a:lnTo>
                  <a:lnTo>
                    <a:pt x="334" y="717"/>
                  </a:lnTo>
                  <a:lnTo>
                    <a:pt x="336" y="717"/>
                  </a:lnTo>
                  <a:lnTo>
                    <a:pt x="339" y="717"/>
                  </a:lnTo>
                  <a:lnTo>
                    <a:pt x="339" y="715"/>
                  </a:lnTo>
                  <a:lnTo>
                    <a:pt x="336" y="715"/>
                  </a:lnTo>
                  <a:lnTo>
                    <a:pt x="339" y="712"/>
                  </a:lnTo>
                  <a:lnTo>
                    <a:pt x="339" y="710"/>
                  </a:lnTo>
                  <a:lnTo>
                    <a:pt x="336" y="710"/>
                  </a:lnTo>
                  <a:lnTo>
                    <a:pt x="334" y="710"/>
                  </a:lnTo>
                  <a:lnTo>
                    <a:pt x="332" y="710"/>
                  </a:lnTo>
                  <a:lnTo>
                    <a:pt x="329" y="710"/>
                  </a:lnTo>
                  <a:lnTo>
                    <a:pt x="329" y="708"/>
                  </a:lnTo>
                  <a:lnTo>
                    <a:pt x="332" y="705"/>
                  </a:lnTo>
                  <a:lnTo>
                    <a:pt x="334" y="703"/>
                  </a:lnTo>
                  <a:lnTo>
                    <a:pt x="334" y="701"/>
                  </a:lnTo>
                  <a:lnTo>
                    <a:pt x="334" y="696"/>
                  </a:lnTo>
                  <a:lnTo>
                    <a:pt x="334" y="693"/>
                  </a:lnTo>
                  <a:lnTo>
                    <a:pt x="339" y="691"/>
                  </a:lnTo>
                  <a:lnTo>
                    <a:pt x="334" y="689"/>
                  </a:lnTo>
                  <a:lnTo>
                    <a:pt x="332" y="686"/>
                  </a:lnTo>
                  <a:lnTo>
                    <a:pt x="339" y="686"/>
                  </a:lnTo>
                  <a:lnTo>
                    <a:pt x="339" y="684"/>
                  </a:lnTo>
                  <a:lnTo>
                    <a:pt x="344" y="684"/>
                  </a:lnTo>
                  <a:lnTo>
                    <a:pt x="346" y="686"/>
                  </a:lnTo>
                  <a:lnTo>
                    <a:pt x="346" y="684"/>
                  </a:lnTo>
                  <a:lnTo>
                    <a:pt x="346" y="682"/>
                  </a:lnTo>
                  <a:lnTo>
                    <a:pt x="346" y="677"/>
                  </a:lnTo>
                  <a:lnTo>
                    <a:pt x="344" y="672"/>
                  </a:lnTo>
                  <a:lnTo>
                    <a:pt x="344" y="667"/>
                  </a:lnTo>
                  <a:lnTo>
                    <a:pt x="341" y="667"/>
                  </a:lnTo>
                  <a:lnTo>
                    <a:pt x="341" y="665"/>
                  </a:lnTo>
                  <a:lnTo>
                    <a:pt x="339" y="660"/>
                  </a:lnTo>
                  <a:lnTo>
                    <a:pt x="339" y="658"/>
                  </a:lnTo>
                  <a:lnTo>
                    <a:pt x="334" y="651"/>
                  </a:lnTo>
                  <a:lnTo>
                    <a:pt x="332" y="651"/>
                  </a:lnTo>
                  <a:lnTo>
                    <a:pt x="332" y="648"/>
                  </a:lnTo>
                  <a:lnTo>
                    <a:pt x="329" y="646"/>
                  </a:lnTo>
                  <a:lnTo>
                    <a:pt x="327" y="636"/>
                  </a:lnTo>
                  <a:lnTo>
                    <a:pt x="325" y="634"/>
                  </a:lnTo>
                  <a:lnTo>
                    <a:pt x="322" y="634"/>
                  </a:lnTo>
                  <a:lnTo>
                    <a:pt x="322" y="632"/>
                  </a:lnTo>
                  <a:lnTo>
                    <a:pt x="320" y="629"/>
                  </a:lnTo>
                  <a:lnTo>
                    <a:pt x="318" y="624"/>
                  </a:lnTo>
                  <a:lnTo>
                    <a:pt x="315" y="622"/>
                  </a:lnTo>
                  <a:lnTo>
                    <a:pt x="313" y="622"/>
                  </a:lnTo>
                  <a:lnTo>
                    <a:pt x="313" y="620"/>
                  </a:lnTo>
                  <a:lnTo>
                    <a:pt x="310" y="617"/>
                  </a:lnTo>
                  <a:lnTo>
                    <a:pt x="310" y="615"/>
                  </a:lnTo>
                  <a:lnTo>
                    <a:pt x="310" y="613"/>
                  </a:lnTo>
                  <a:lnTo>
                    <a:pt x="310" y="610"/>
                  </a:lnTo>
                  <a:lnTo>
                    <a:pt x="313" y="608"/>
                  </a:lnTo>
                  <a:lnTo>
                    <a:pt x="322" y="598"/>
                  </a:lnTo>
                  <a:lnTo>
                    <a:pt x="325" y="594"/>
                  </a:lnTo>
                  <a:lnTo>
                    <a:pt x="327" y="594"/>
                  </a:lnTo>
                  <a:lnTo>
                    <a:pt x="327" y="591"/>
                  </a:lnTo>
                  <a:lnTo>
                    <a:pt x="329" y="591"/>
                  </a:lnTo>
                  <a:lnTo>
                    <a:pt x="327" y="591"/>
                  </a:lnTo>
                  <a:lnTo>
                    <a:pt x="329" y="591"/>
                  </a:lnTo>
                  <a:lnTo>
                    <a:pt x="329" y="589"/>
                  </a:lnTo>
                  <a:lnTo>
                    <a:pt x="332" y="589"/>
                  </a:lnTo>
                  <a:lnTo>
                    <a:pt x="329" y="589"/>
                  </a:lnTo>
                  <a:lnTo>
                    <a:pt x="332" y="589"/>
                  </a:lnTo>
                  <a:lnTo>
                    <a:pt x="332" y="586"/>
                  </a:lnTo>
                  <a:lnTo>
                    <a:pt x="334" y="586"/>
                  </a:lnTo>
                  <a:lnTo>
                    <a:pt x="334" y="584"/>
                  </a:lnTo>
                  <a:lnTo>
                    <a:pt x="336" y="582"/>
                  </a:lnTo>
                  <a:lnTo>
                    <a:pt x="339" y="579"/>
                  </a:lnTo>
                  <a:lnTo>
                    <a:pt x="341" y="572"/>
                  </a:lnTo>
                  <a:lnTo>
                    <a:pt x="344" y="570"/>
                  </a:lnTo>
                  <a:lnTo>
                    <a:pt x="332" y="563"/>
                  </a:lnTo>
                  <a:lnTo>
                    <a:pt x="320" y="548"/>
                  </a:lnTo>
                  <a:lnTo>
                    <a:pt x="299" y="541"/>
                  </a:lnTo>
                  <a:lnTo>
                    <a:pt x="296" y="537"/>
                  </a:lnTo>
                  <a:lnTo>
                    <a:pt x="291" y="520"/>
                  </a:lnTo>
                  <a:lnTo>
                    <a:pt x="294" y="515"/>
                  </a:lnTo>
                  <a:lnTo>
                    <a:pt x="296" y="513"/>
                  </a:lnTo>
                  <a:lnTo>
                    <a:pt x="301" y="508"/>
                  </a:lnTo>
                  <a:lnTo>
                    <a:pt x="303" y="501"/>
                  </a:lnTo>
                  <a:lnTo>
                    <a:pt x="299" y="501"/>
                  </a:lnTo>
                  <a:lnTo>
                    <a:pt x="291" y="501"/>
                  </a:lnTo>
                  <a:lnTo>
                    <a:pt x="289" y="499"/>
                  </a:lnTo>
                  <a:lnTo>
                    <a:pt x="294" y="499"/>
                  </a:lnTo>
                  <a:lnTo>
                    <a:pt x="303" y="491"/>
                  </a:lnTo>
                  <a:lnTo>
                    <a:pt x="308" y="491"/>
                  </a:lnTo>
                  <a:lnTo>
                    <a:pt x="310" y="491"/>
                  </a:lnTo>
                  <a:lnTo>
                    <a:pt x="313" y="491"/>
                  </a:lnTo>
                  <a:lnTo>
                    <a:pt x="313" y="489"/>
                  </a:lnTo>
                  <a:lnTo>
                    <a:pt x="315" y="489"/>
                  </a:lnTo>
                  <a:lnTo>
                    <a:pt x="318" y="487"/>
                  </a:lnTo>
                  <a:lnTo>
                    <a:pt x="318" y="484"/>
                  </a:lnTo>
                  <a:lnTo>
                    <a:pt x="318" y="482"/>
                  </a:lnTo>
                  <a:lnTo>
                    <a:pt x="320" y="482"/>
                  </a:lnTo>
                  <a:lnTo>
                    <a:pt x="320" y="480"/>
                  </a:lnTo>
                  <a:lnTo>
                    <a:pt x="318" y="480"/>
                  </a:lnTo>
                  <a:lnTo>
                    <a:pt x="318" y="477"/>
                  </a:lnTo>
                  <a:lnTo>
                    <a:pt x="320" y="477"/>
                  </a:lnTo>
                  <a:lnTo>
                    <a:pt x="320" y="475"/>
                  </a:lnTo>
                  <a:lnTo>
                    <a:pt x="322" y="475"/>
                  </a:lnTo>
                  <a:lnTo>
                    <a:pt x="325" y="475"/>
                  </a:lnTo>
                  <a:lnTo>
                    <a:pt x="327" y="475"/>
                  </a:lnTo>
                  <a:lnTo>
                    <a:pt x="329" y="475"/>
                  </a:lnTo>
                  <a:lnTo>
                    <a:pt x="332" y="472"/>
                  </a:lnTo>
                  <a:lnTo>
                    <a:pt x="334" y="470"/>
                  </a:lnTo>
                  <a:lnTo>
                    <a:pt x="336" y="470"/>
                  </a:lnTo>
                  <a:lnTo>
                    <a:pt x="336" y="468"/>
                  </a:lnTo>
                  <a:lnTo>
                    <a:pt x="339" y="468"/>
                  </a:lnTo>
                  <a:lnTo>
                    <a:pt x="339" y="470"/>
                  </a:lnTo>
                  <a:lnTo>
                    <a:pt x="341" y="470"/>
                  </a:lnTo>
                  <a:lnTo>
                    <a:pt x="344" y="470"/>
                  </a:lnTo>
                  <a:lnTo>
                    <a:pt x="344" y="468"/>
                  </a:lnTo>
                  <a:lnTo>
                    <a:pt x="346" y="465"/>
                  </a:lnTo>
                  <a:lnTo>
                    <a:pt x="346" y="463"/>
                  </a:lnTo>
                  <a:lnTo>
                    <a:pt x="348" y="463"/>
                  </a:lnTo>
                  <a:lnTo>
                    <a:pt x="348" y="461"/>
                  </a:lnTo>
                  <a:lnTo>
                    <a:pt x="348" y="458"/>
                  </a:lnTo>
                  <a:lnTo>
                    <a:pt x="346" y="456"/>
                  </a:lnTo>
                  <a:lnTo>
                    <a:pt x="346" y="453"/>
                  </a:lnTo>
                  <a:lnTo>
                    <a:pt x="346" y="456"/>
                  </a:lnTo>
                  <a:lnTo>
                    <a:pt x="346" y="453"/>
                  </a:lnTo>
                  <a:lnTo>
                    <a:pt x="348" y="453"/>
                  </a:lnTo>
                  <a:lnTo>
                    <a:pt x="351" y="456"/>
                  </a:lnTo>
                  <a:lnTo>
                    <a:pt x="353" y="456"/>
                  </a:lnTo>
                  <a:lnTo>
                    <a:pt x="355" y="458"/>
                  </a:lnTo>
                  <a:lnTo>
                    <a:pt x="360" y="461"/>
                  </a:lnTo>
                  <a:lnTo>
                    <a:pt x="363" y="461"/>
                  </a:lnTo>
                  <a:lnTo>
                    <a:pt x="367" y="463"/>
                  </a:lnTo>
                  <a:lnTo>
                    <a:pt x="370" y="463"/>
                  </a:lnTo>
                  <a:lnTo>
                    <a:pt x="370" y="461"/>
                  </a:lnTo>
                  <a:lnTo>
                    <a:pt x="372" y="461"/>
                  </a:lnTo>
                  <a:lnTo>
                    <a:pt x="374" y="461"/>
                  </a:lnTo>
                  <a:lnTo>
                    <a:pt x="374" y="458"/>
                  </a:lnTo>
                  <a:lnTo>
                    <a:pt x="374" y="456"/>
                  </a:lnTo>
                  <a:lnTo>
                    <a:pt x="372" y="456"/>
                  </a:lnTo>
                  <a:lnTo>
                    <a:pt x="372" y="453"/>
                  </a:lnTo>
                  <a:lnTo>
                    <a:pt x="374" y="453"/>
                  </a:lnTo>
                  <a:lnTo>
                    <a:pt x="372" y="453"/>
                  </a:lnTo>
                  <a:lnTo>
                    <a:pt x="372" y="451"/>
                  </a:lnTo>
                  <a:lnTo>
                    <a:pt x="372" y="449"/>
                  </a:lnTo>
                  <a:lnTo>
                    <a:pt x="370" y="449"/>
                  </a:lnTo>
                  <a:lnTo>
                    <a:pt x="370" y="446"/>
                  </a:lnTo>
                  <a:lnTo>
                    <a:pt x="372" y="446"/>
                  </a:lnTo>
                  <a:lnTo>
                    <a:pt x="372" y="449"/>
                  </a:lnTo>
                  <a:lnTo>
                    <a:pt x="374" y="449"/>
                  </a:lnTo>
                  <a:lnTo>
                    <a:pt x="372" y="449"/>
                  </a:lnTo>
                  <a:lnTo>
                    <a:pt x="372" y="446"/>
                  </a:lnTo>
                  <a:lnTo>
                    <a:pt x="374" y="446"/>
                  </a:lnTo>
                  <a:lnTo>
                    <a:pt x="374" y="449"/>
                  </a:lnTo>
                  <a:lnTo>
                    <a:pt x="377" y="449"/>
                  </a:lnTo>
                  <a:lnTo>
                    <a:pt x="379" y="449"/>
                  </a:lnTo>
                  <a:lnTo>
                    <a:pt x="382" y="449"/>
                  </a:lnTo>
                  <a:lnTo>
                    <a:pt x="382" y="451"/>
                  </a:lnTo>
                  <a:lnTo>
                    <a:pt x="384" y="451"/>
                  </a:lnTo>
                  <a:lnTo>
                    <a:pt x="382" y="451"/>
                  </a:lnTo>
                  <a:lnTo>
                    <a:pt x="382" y="449"/>
                  </a:lnTo>
                  <a:lnTo>
                    <a:pt x="384" y="449"/>
                  </a:lnTo>
                  <a:lnTo>
                    <a:pt x="384" y="451"/>
                  </a:lnTo>
                  <a:lnTo>
                    <a:pt x="386" y="451"/>
                  </a:lnTo>
                  <a:lnTo>
                    <a:pt x="389" y="451"/>
                  </a:lnTo>
                  <a:lnTo>
                    <a:pt x="389" y="453"/>
                  </a:lnTo>
                  <a:lnTo>
                    <a:pt x="391" y="453"/>
                  </a:lnTo>
                  <a:lnTo>
                    <a:pt x="389" y="453"/>
                  </a:lnTo>
                  <a:lnTo>
                    <a:pt x="389" y="456"/>
                  </a:lnTo>
                  <a:lnTo>
                    <a:pt x="386" y="456"/>
                  </a:lnTo>
                  <a:lnTo>
                    <a:pt x="389" y="456"/>
                  </a:lnTo>
                  <a:lnTo>
                    <a:pt x="386" y="456"/>
                  </a:lnTo>
                  <a:lnTo>
                    <a:pt x="386" y="458"/>
                  </a:lnTo>
                  <a:lnTo>
                    <a:pt x="384" y="458"/>
                  </a:lnTo>
                  <a:lnTo>
                    <a:pt x="384" y="461"/>
                  </a:lnTo>
                  <a:lnTo>
                    <a:pt x="382" y="461"/>
                  </a:lnTo>
                  <a:lnTo>
                    <a:pt x="384" y="461"/>
                  </a:lnTo>
                  <a:lnTo>
                    <a:pt x="384" y="458"/>
                  </a:lnTo>
                  <a:lnTo>
                    <a:pt x="386" y="458"/>
                  </a:lnTo>
                  <a:lnTo>
                    <a:pt x="389" y="458"/>
                  </a:lnTo>
                  <a:lnTo>
                    <a:pt x="389" y="456"/>
                  </a:lnTo>
                  <a:lnTo>
                    <a:pt x="391" y="456"/>
                  </a:lnTo>
                  <a:lnTo>
                    <a:pt x="391" y="453"/>
                  </a:lnTo>
                  <a:lnTo>
                    <a:pt x="391" y="456"/>
                  </a:lnTo>
                  <a:lnTo>
                    <a:pt x="393" y="456"/>
                  </a:lnTo>
                  <a:lnTo>
                    <a:pt x="393" y="453"/>
                  </a:lnTo>
                  <a:lnTo>
                    <a:pt x="391" y="453"/>
                  </a:lnTo>
                  <a:lnTo>
                    <a:pt x="393" y="453"/>
                  </a:lnTo>
                  <a:lnTo>
                    <a:pt x="391" y="453"/>
                  </a:lnTo>
                  <a:lnTo>
                    <a:pt x="393" y="453"/>
                  </a:lnTo>
                  <a:lnTo>
                    <a:pt x="396" y="453"/>
                  </a:lnTo>
                  <a:lnTo>
                    <a:pt x="393" y="453"/>
                  </a:lnTo>
                  <a:lnTo>
                    <a:pt x="396" y="453"/>
                  </a:lnTo>
                  <a:lnTo>
                    <a:pt x="398" y="453"/>
                  </a:lnTo>
                  <a:lnTo>
                    <a:pt x="401" y="453"/>
                  </a:lnTo>
                  <a:lnTo>
                    <a:pt x="401" y="456"/>
                  </a:lnTo>
                  <a:lnTo>
                    <a:pt x="403" y="456"/>
                  </a:lnTo>
                  <a:lnTo>
                    <a:pt x="401" y="453"/>
                  </a:lnTo>
                  <a:lnTo>
                    <a:pt x="398" y="451"/>
                  </a:lnTo>
                  <a:lnTo>
                    <a:pt x="398" y="449"/>
                  </a:lnTo>
                  <a:lnTo>
                    <a:pt x="398" y="446"/>
                  </a:lnTo>
                  <a:lnTo>
                    <a:pt x="401" y="446"/>
                  </a:lnTo>
                  <a:lnTo>
                    <a:pt x="401" y="444"/>
                  </a:lnTo>
                  <a:lnTo>
                    <a:pt x="403" y="444"/>
                  </a:lnTo>
                  <a:lnTo>
                    <a:pt x="403" y="446"/>
                  </a:lnTo>
                  <a:lnTo>
                    <a:pt x="405" y="446"/>
                  </a:lnTo>
                  <a:lnTo>
                    <a:pt x="408" y="446"/>
                  </a:lnTo>
                  <a:lnTo>
                    <a:pt x="408" y="449"/>
                  </a:lnTo>
                  <a:lnTo>
                    <a:pt x="410" y="449"/>
                  </a:lnTo>
                  <a:lnTo>
                    <a:pt x="412" y="449"/>
                  </a:lnTo>
                  <a:lnTo>
                    <a:pt x="410" y="449"/>
                  </a:lnTo>
                  <a:lnTo>
                    <a:pt x="410" y="446"/>
                  </a:lnTo>
                  <a:lnTo>
                    <a:pt x="410" y="444"/>
                  </a:lnTo>
                  <a:lnTo>
                    <a:pt x="408" y="444"/>
                  </a:lnTo>
                  <a:lnTo>
                    <a:pt x="408" y="442"/>
                  </a:lnTo>
                  <a:lnTo>
                    <a:pt x="405" y="442"/>
                  </a:lnTo>
                  <a:lnTo>
                    <a:pt x="405" y="439"/>
                  </a:lnTo>
                  <a:lnTo>
                    <a:pt x="405" y="437"/>
                  </a:lnTo>
                  <a:lnTo>
                    <a:pt x="408" y="437"/>
                  </a:lnTo>
                  <a:lnTo>
                    <a:pt x="405" y="437"/>
                  </a:lnTo>
                  <a:lnTo>
                    <a:pt x="408" y="437"/>
                  </a:lnTo>
                  <a:lnTo>
                    <a:pt x="408" y="439"/>
                  </a:lnTo>
                  <a:lnTo>
                    <a:pt x="410" y="439"/>
                  </a:lnTo>
                  <a:lnTo>
                    <a:pt x="410" y="437"/>
                  </a:lnTo>
                  <a:lnTo>
                    <a:pt x="410" y="439"/>
                  </a:lnTo>
                  <a:lnTo>
                    <a:pt x="410" y="437"/>
                  </a:lnTo>
                  <a:lnTo>
                    <a:pt x="412" y="439"/>
                  </a:lnTo>
                  <a:lnTo>
                    <a:pt x="415" y="439"/>
                  </a:lnTo>
                  <a:lnTo>
                    <a:pt x="415" y="442"/>
                  </a:lnTo>
                  <a:lnTo>
                    <a:pt x="417" y="442"/>
                  </a:lnTo>
                  <a:lnTo>
                    <a:pt x="420" y="442"/>
                  </a:lnTo>
                  <a:lnTo>
                    <a:pt x="417" y="442"/>
                  </a:lnTo>
                  <a:lnTo>
                    <a:pt x="420" y="442"/>
                  </a:lnTo>
                  <a:lnTo>
                    <a:pt x="422" y="442"/>
                  </a:lnTo>
                  <a:lnTo>
                    <a:pt x="420" y="442"/>
                  </a:lnTo>
                  <a:lnTo>
                    <a:pt x="422" y="442"/>
                  </a:lnTo>
                  <a:lnTo>
                    <a:pt x="422" y="444"/>
                  </a:lnTo>
                  <a:lnTo>
                    <a:pt x="424" y="444"/>
                  </a:lnTo>
                  <a:lnTo>
                    <a:pt x="424" y="446"/>
                  </a:lnTo>
                  <a:lnTo>
                    <a:pt x="427" y="446"/>
                  </a:lnTo>
                  <a:lnTo>
                    <a:pt x="429" y="446"/>
                  </a:lnTo>
                  <a:lnTo>
                    <a:pt x="429" y="449"/>
                  </a:lnTo>
                  <a:lnTo>
                    <a:pt x="429" y="446"/>
                  </a:lnTo>
                  <a:lnTo>
                    <a:pt x="429" y="449"/>
                  </a:lnTo>
                  <a:lnTo>
                    <a:pt x="431" y="449"/>
                  </a:lnTo>
                  <a:lnTo>
                    <a:pt x="431" y="446"/>
                  </a:lnTo>
                  <a:lnTo>
                    <a:pt x="434" y="446"/>
                  </a:lnTo>
                  <a:lnTo>
                    <a:pt x="434" y="449"/>
                  </a:lnTo>
                  <a:lnTo>
                    <a:pt x="436" y="449"/>
                  </a:lnTo>
                  <a:lnTo>
                    <a:pt x="439" y="449"/>
                  </a:lnTo>
                  <a:lnTo>
                    <a:pt x="441" y="449"/>
                  </a:lnTo>
                  <a:lnTo>
                    <a:pt x="443" y="449"/>
                  </a:lnTo>
                  <a:lnTo>
                    <a:pt x="443" y="451"/>
                  </a:lnTo>
                  <a:lnTo>
                    <a:pt x="443" y="449"/>
                  </a:lnTo>
                  <a:lnTo>
                    <a:pt x="446" y="451"/>
                  </a:lnTo>
                  <a:lnTo>
                    <a:pt x="443" y="451"/>
                  </a:lnTo>
                  <a:lnTo>
                    <a:pt x="446" y="451"/>
                  </a:lnTo>
                  <a:lnTo>
                    <a:pt x="443" y="451"/>
                  </a:lnTo>
                  <a:lnTo>
                    <a:pt x="446" y="453"/>
                  </a:lnTo>
                  <a:lnTo>
                    <a:pt x="443" y="453"/>
                  </a:lnTo>
                  <a:lnTo>
                    <a:pt x="446" y="453"/>
                  </a:lnTo>
                  <a:lnTo>
                    <a:pt x="443" y="453"/>
                  </a:lnTo>
                  <a:lnTo>
                    <a:pt x="443" y="456"/>
                  </a:lnTo>
                  <a:lnTo>
                    <a:pt x="446" y="456"/>
                  </a:lnTo>
                  <a:lnTo>
                    <a:pt x="443" y="456"/>
                  </a:lnTo>
                  <a:lnTo>
                    <a:pt x="441" y="456"/>
                  </a:lnTo>
                  <a:lnTo>
                    <a:pt x="441" y="458"/>
                  </a:lnTo>
                  <a:lnTo>
                    <a:pt x="439" y="458"/>
                  </a:lnTo>
                  <a:lnTo>
                    <a:pt x="439" y="461"/>
                  </a:lnTo>
                  <a:lnTo>
                    <a:pt x="436" y="461"/>
                  </a:lnTo>
                  <a:lnTo>
                    <a:pt x="434" y="461"/>
                  </a:lnTo>
                  <a:lnTo>
                    <a:pt x="434" y="458"/>
                  </a:lnTo>
                  <a:lnTo>
                    <a:pt x="431" y="458"/>
                  </a:lnTo>
                  <a:lnTo>
                    <a:pt x="429" y="458"/>
                  </a:lnTo>
                  <a:lnTo>
                    <a:pt x="427" y="458"/>
                  </a:lnTo>
                  <a:lnTo>
                    <a:pt x="424" y="458"/>
                  </a:lnTo>
                  <a:lnTo>
                    <a:pt x="424" y="456"/>
                  </a:lnTo>
                  <a:lnTo>
                    <a:pt x="422" y="456"/>
                  </a:lnTo>
                  <a:lnTo>
                    <a:pt x="422" y="458"/>
                  </a:lnTo>
                  <a:lnTo>
                    <a:pt x="420" y="456"/>
                  </a:lnTo>
                  <a:lnTo>
                    <a:pt x="417" y="456"/>
                  </a:lnTo>
                  <a:lnTo>
                    <a:pt x="415" y="456"/>
                  </a:lnTo>
                  <a:lnTo>
                    <a:pt x="412" y="456"/>
                  </a:lnTo>
                  <a:lnTo>
                    <a:pt x="412" y="453"/>
                  </a:lnTo>
                  <a:lnTo>
                    <a:pt x="415" y="453"/>
                  </a:lnTo>
                  <a:lnTo>
                    <a:pt x="415" y="451"/>
                  </a:lnTo>
                  <a:lnTo>
                    <a:pt x="412" y="451"/>
                  </a:lnTo>
                  <a:lnTo>
                    <a:pt x="412" y="449"/>
                  </a:lnTo>
                  <a:lnTo>
                    <a:pt x="412" y="451"/>
                  </a:lnTo>
                  <a:lnTo>
                    <a:pt x="410" y="451"/>
                  </a:lnTo>
                  <a:lnTo>
                    <a:pt x="412" y="451"/>
                  </a:lnTo>
                  <a:lnTo>
                    <a:pt x="412" y="453"/>
                  </a:lnTo>
                  <a:lnTo>
                    <a:pt x="412" y="456"/>
                  </a:lnTo>
                  <a:lnTo>
                    <a:pt x="410" y="456"/>
                  </a:lnTo>
                  <a:lnTo>
                    <a:pt x="408" y="456"/>
                  </a:lnTo>
                  <a:lnTo>
                    <a:pt x="408" y="458"/>
                  </a:lnTo>
                  <a:lnTo>
                    <a:pt x="410" y="458"/>
                  </a:lnTo>
                  <a:lnTo>
                    <a:pt x="410" y="461"/>
                  </a:lnTo>
                  <a:lnTo>
                    <a:pt x="408" y="461"/>
                  </a:lnTo>
                  <a:lnTo>
                    <a:pt x="410" y="461"/>
                  </a:lnTo>
                  <a:lnTo>
                    <a:pt x="412" y="458"/>
                  </a:lnTo>
                  <a:lnTo>
                    <a:pt x="412" y="461"/>
                  </a:lnTo>
                  <a:lnTo>
                    <a:pt x="412" y="458"/>
                  </a:lnTo>
                  <a:lnTo>
                    <a:pt x="415" y="458"/>
                  </a:lnTo>
                  <a:lnTo>
                    <a:pt x="417" y="461"/>
                  </a:lnTo>
                  <a:lnTo>
                    <a:pt x="420" y="461"/>
                  </a:lnTo>
                  <a:lnTo>
                    <a:pt x="422" y="461"/>
                  </a:lnTo>
                  <a:lnTo>
                    <a:pt x="422" y="463"/>
                  </a:lnTo>
                  <a:lnTo>
                    <a:pt x="424" y="463"/>
                  </a:lnTo>
                  <a:lnTo>
                    <a:pt x="424" y="465"/>
                  </a:lnTo>
                  <a:close/>
                  <a:moveTo>
                    <a:pt x="522" y="765"/>
                  </a:moveTo>
                  <a:lnTo>
                    <a:pt x="519" y="765"/>
                  </a:lnTo>
                  <a:lnTo>
                    <a:pt x="522" y="762"/>
                  </a:lnTo>
                  <a:lnTo>
                    <a:pt x="522" y="765"/>
                  </a:lnTo>
                  <a:lnTo>
                    <a:pt x="519" y="765"/>
                  </a:lnTo>
                  <a:lnTo>
                    <a:pt x="522" y="765"/>
                  </a:lnTo>
                  <a:close/>
                  <a:moveTo>
                    <a:pt x="1250" y="781"/>
                  </a:moveTo>
                  <a:lnTo>
                    <a:pt x="1252" y="781"/>
                  </a:lnTo>
                  <a:lnTo>
                    <a:pt x="1250" y="781"/>
                  </a:lnTo>
                  <a:close/>
                  <a:moveTo>
                    <a:pt x="1300" y="686"/>
                  </a:moveTo>
                  <a:lnTo>
                    <a:pt x="1302" y="686"/>
                  </a:lnTo>
                  <a:lnTo>
                    <a:pt x="1302" y="684"/>
                  </a:lnTo>
                  <a:lnTo>
                    <a:pt x="1302" y="686"/>
                  </a:lnTo>
                  <a:lnTo>
                    <a:pt x="1300" y="686"/>
                  </a:lnTo>
                  <a:lnTo>
                    <a:pt x="1300" y="684"/>
                  </a:lnTo>
                  <a:lnTo>
                    <a:pt x="1300" y="686"/>
                  </a:lnTo>
                  <a:lnTo>
                    <a:pt x="1300" y="689"/>
                  </a:lnTo>
                  <a:lnTo>
                    <a:pt x="1297" y="689"/>
                  </a:lnTo>
                  <a:lnTo>
                    <a:pt x="1300" y="689"/>
                  </a:lnTo>
                  <a:lnTo>
                    <a:pt x="1300" y="686"/>
                  </a:lnTo>
                  <a:close/>
                  <a:moveTo>
                    <a:pt x="1300" y="684"/>
                  </a:moveTo>
                  <a:lnTo>
                    <a:pt x="1302" y="684"/>
                  </a:lnTo>
                  <a:lnTo>
                    <a:pt x="1300" y="684"/>
                  </a:lnTo>
                  <a:close/>
                  <a:moveTo>
                    <a:pt x="1452" y="608"/>
                  </a:moveTo>
                  <a:lnTo>
                    <a:pt x="1449" y="608"/>
                  </a:lnTo>
                  <a:lnTo>
                    <a:pt x="1452" y="608"/>
                  </a:lnTo>
                  <a:close/>
                  <a:moveTo>
                    <a:pt x="1089" y="582"/>
                  </a:moveTo>
                  <a:lnTo>
                    <a:pt x="1089" y="579"/>
                  </a:lnTo>
                  <a:lnTo>
                    <a:pt x="1089" y="582"/>
                  </a:lnTo>
                  <a:lnTo>
                    <a:pt x="1089" y="579"/>
                  </a:lnTo>
                  <a:lnTo>
                    <a:pt x="1089" y="582"/>
                  </a:lnTo>
                  <a:close/>
                  <a:moveTo>
                    <a:pt x="1316" y="534"/>
                  </a:moveTo>
                  <a:lnTo>
                    <a:pt x="1314" y="534"/>
                  </a:lnTo>
                  <a:lnTo>
                    <a:pt x="1316" y="534"/>
                  </a:lnTo>
                  <a:close/>
                  <a:moveTo>
                    <a:pt x="1214" y="541"/>
                  </a:moveTo>
                  <a:lnTo>
                    <a:pt x="1214" y="544"/>
                  </a:lnTo>
                  <a:lnTo>
                    <a:pt x="1214" y="541"/>
                  </a:lnTo>
                  <a:close/>
                  <a:moveTo>
                    <a:pt x="773" y="838"/>
                  </a:moveTo>
                  <a:lnTo>
                    <a:pt x="775" y="838"/>
                  </a:lnTo>
                  <a:lnTo>
                    <a:pt x="773" y="836"/>
                  </a:lnTo>
                  <a:lnTo>
                    <a:pt x="773" y="838"/>
                  </a:lnTo>
                  <a:lnTo>
                    <a:pt x="775" y="838"/>
                  </a:lnTo>
                  <a:lnTo>
                    <a:pt x="773" y="838"/>
                  </a:lnTo>
                  <a:close/>
                  <a:moveTo>
                    <a:pt x="773" y="836"/>
                  </a:moveTo>
                  <a:lnTo>
                    <a:pt x="771" y="836"/>
                  </a:lnTo>
                  <a:lnTo>
                    <a:pt x="771" y="834"/>
                  </a:lnTo>
                  <a:lnTo>
                    <a:pt x="771" y="836"/>
                  </a:lnTo>
                  <a:lnTo>
                    <a:pt x="773" y="836"/>
                  </a:lnTo>
                  <a:close/>
                  <a:moveTo>
                    <a:pt x="771" y="836"/>
                  </a:moveTo>
                  <a:lnTo>
                    <a:pt x="773" y="836"/>
                  </a:lnTo>
                  <a:lnTo>
                    <a:pt x="771" y="836"/>
                  </a:lnTo>
                  <a:close/>
                  <a:moveTo>
                    <a:pt x="771" y="834"/>
                  </a:moveTo>
                  <a:lnTo>
                    <a:pt x="771" y="831"/>
                  </a:lnTo>
                  <a:lnTo>
                    <a:pt x="771" y="834"/>
                  </a:lnTo>
                  <a:close/>
                  <a:moveTo>
                    <a:pt x="771" y="831"/>
                  </a:moveTo>
                  <a:lnTo>
                    <a:pt x="768" y="831"/>
                  </a:lnTo>
                  <a:lnTo>
                    <a:pt x="771" y="831"/>
                  </a:lnTo>
                  <a:lnTo>
                    <a:pt x="768" y="831"/>
                  </a:lnTo>
                  <a:lnTo>
                    <a:pt x="771" y="831"/>
                  </a:lnTo>
                  <a:lnTo>
                    <a:pt x="771" y="834"/>
                  </a:lnTo>
                  <a:lnTo>
                    <a:pt x="771" y="831"/>
                  </a:lnTo>
                  <a:close/>
                  <a:moveTo>
                    <a:pt x="1259" y="734"/>
                  </a:moveTo>
                  <a:lnTo>
                    <a:pt x="1259" y="731"/>
                  </a:lnTo>
                  <a:lnTo>
                    <a:pt x="1259" y="734"/>
                  </a:lnTo>
                  <a:close/>
                  <a:moveTo>
                    <a:pt x="1229" y="667"/>
                  </a:moveTo>
                  <a:lnTo>
                    <a:pt x="1229" y="670"/>
                  </a:lnTo>
                  <a:lnTo>
                    <a:pt x="1229" y="667"/>
                  </a:lnTo>
                  <a:close/>
                  <a:moveTo>
                    <a:pt x="1112" y="708"/>
                  </a:moveTo>
                  <a:lnTo>
                    <a:pt x="1115" y="708"/>
                  </a:lnTo>
                  <a:lnTo>
                    <a:pt x="1112" y="708"/>
                  </a:lnTo>
                  <a:close/>
                  <a:moveTo>
                    <a:pt x="1034" y="696"/>
                  </a:moveTo>
                  <a:lnTo>
                    <a:pt x="1036" y="696"/>
                  </a:lnTo>
                  <a:lnTo>
                    <a:pt x="1034" y="696"/>
                  </a:lnTo>
                  <a:close/>
                  <a:moveTo>
                    <a:pt x="1084" y="655"/>
                  </a:moveTo>
                  <a:lnTo>
                    <a:pt x="1082" y="655"/>
                  </a:lnTo>
                  <a:lnTo>
                    <a:pt x="1084" y="655"/>
                  </a:lnTo>
                  <a:close/>
                  <a:moveTo>
                    <a:pt x="1063" y="594"/>
                  </a:moveTo>
                  <a:lnTo>
                    <a:pt x="1063" y="596"/>
                  </a:lnTo>
                  <a:lnTo>
                    <a:pt x="1063" y="594"/>
                  </a:lnTo>
                  <a:lnTo>
                    <a:pt x="1063" y="596"/>
                  </a:lnTo>
                  <a:lnTo>
                    <a:pt x="1063" y="594"/>
                  </a:lnTo>
                  <a:close/>
                  <a:moveTo>
                    <a:pt x="1093" y="563"/>
                  </a:moveTo>
                  <a:lnTo>
                    <a:pt x="1096" y="563"/>
                  </a:lnTo>
                  <a:lnTo>
                    <a:pt x="1093" y="563"/>
                  </a:lnTo>
                  <a:close/>
                  <a:moveTo>
                    <a:pt x="1122" y="527"/>
                  </a:moveTo>
                  <a:lnTo>
                    <a:pt x="1122" y="529"/>
                  </a:lnTo>
                  <a:lnTo>
                    <a:pt x="1122" y="527"/>
                  </a:lnTo>
                  <a:lnTo>
                    <a:pt x="1122" y="529"/>
                  </a:lnTo>
                  <a:lnTo>
                    <a:pt x="1122" y="527"/>
                  </a:lnTo>
                  <a:lnTo>
                    <a:pt x="1122" y="529"/>
                  </a:lnTo>
                  <a:lnTo>
                    <a:pt x="1122" y="527"/>
                  </a:lnTo>
                  <a:lnTo>
                    <a:pt x="1124" y="527"/>
                  </a:lnTo>
                  <a:lnTo>
                    <a:pt x="1122" y="527"/>
                  </a:lnTo>
                  <a:close/>
                  <a:moveTo>
                    <a:pt x="821" y="615"/>
                  </a:moveTo>
                  <a:lnTo>
                    <a:pt x="823" y="615"/>
                  </a:lnTo>
                  <a:lnTo>
                    <a:pt x="821" y="615"/>
                  </a:lnTo>
                  <a:close/>
                  <a:moveTo>
                    <a:pt x="759" y="843"/>
                  </a:moveTo>
                  <a:lnTo>
                    <a:pt x="756" y="843"/>
                  </a:lnTo>
                  <a:lnTo>
                    <a:pt x="759" y="843"/>
                  </a:lnTo>
                  <a:lnTo>
                    <a:pt x="756" y="843"/>
                  </a:lnTo>
                  <a:lnTo>
                    <a:pt x="759" y="843"/>
                  </a:lnTo>
                  <a:close/>
                  <a:moveTo>
                    <a:pt x="726" y="810"/>
                  </a:moveTo>
                  <a:lnTo>
                    <a:pt x="728" y="810"/>
                  </a:lnTo>
                  <a:lnTo>
                    <a:pt x="728" y="807"/>
                  </a:lnTo>
                  <a:lnTo>
                    <a:pt x="728" y="810"/>
                  </a:lnTo>
                  <a:lnTo>
                    <a:pt x="726" y="810"/>
                  </a:lnTo>
                  <a:lnTo>
                    <a:pt x="728" y="810"/>
                  </a:lnTo>
                  <a:lnTo>
                    <a:pt x="726" y="810"/>
                  </a:lnTo>
                  <a:close/>
                  <a:moveTo>
                    <a:pt x="1169" y="389"/>
                  </a:moveTo>
                  <a:lnTo>
                    <a:pt x="1167" y="389"/>
                  </a:lnTo>
                  <a:lnTo>
                    <a:pt x="1169" y="389"/>
                  </a:lnTo>
                  <a:lnTo>
                    <a:pt x="1167" y="389"/>
                  </a:lnTo>
                  <a:lnTo>
                    <a:pt x="1169" y="389"/>
                  </a:lnTo>
                  <a:close/>
                  <a:moveTo>
                    <a:pt x="1108" y="354"/>
                  </a:moveTo>
                  <a:lnTo>
                    <a:pt x="1110" y="354"/>
                  </a:lnTo>
                  <a:lnTo>
                    <a:pt x="1108" y="354"/>
                  </a:lnTo>
                  <a:lnTo>
                    <a:pt x="1110" y="354"/>
                  </a:lnTo>
                  <a:lnTo>
                    <a:pt x="1108" y="354"/>
                  </a:lnTo>
                  <a:lnTo>
                    <a:pt x="1110" y="354"/>
                  </a:lnTo>
                  <a:lnTo>
                    <a:pt x="1110" y="356"/>
                  </a:lnTo>
                  <a:lnTo>
                    <a:pt x="1112" y="356"/>
                  </a:lnTo>
                  <a:lnTo>
                    <a:pt x="1112" y="358"/>
                  </a:lnTo>
                  <a:lnTo>
                    <a:pt x="1115" y="358"/>
                  </a:lnTo>
                  <a:lnTo>
                    <a:pt x="1112" y="358"/>
                  </a:lnTo>
                  <a:lnTo>
                    <a:pt x="1115" y="358"/>
                  </a:lnTo>
                  <a:lnTo>
                    <a:pt x="1112" y="358"/>
                  </a:lnTo>
                  <a:lnTo>
                    <a:pt x="1112" y="356"/>
                  </a:lnTo>
                  <a:lnTo>
                    <a:pt x="1110" y="356"/>
                  </a:lnTo>
                  <a:lnTo>
                    <a:pt x="1110" y="358"/>
                  </a:lnTo>
                  <a:lnTo>
                    <a:pt x="1110" y="356"/>
                  </a:lnTo>
                  <a:lnTo>
                    <a:pt x="1108" y="356"/>
                  </a:lnTo>
                  <a:lnTo>
                    <a:pt x="1110" y="356"/>
                  </a:lnTo>
                  <a:lnTo>
                    <a:pt x="1108" y="354"/>
                  </a:lnTo>
                  <a:lnTo>
                    <a:pt x="1105" y="354"/>
                  </a:lnTo>
                  <a:lnTo>
                    <a:pt x="1108" y="354"/>
                  </a:lnTo>
                  <a:close/>
                  <a:moveTo>
                    <a:pt x="1108" y="347"/>
                  </a:moveTo>
                  <a:lnTo>
                    <a:pt x="1108" y="349"/>
                  </a:lnTo>
                  <a:lnTo>
                    <a:pt x="1110" y="349"/>
                  </a:lnTo>
                  <a:lnTo>
                    <a:pt x="1108" y="349"/>
                  </a:lnTo>
                  <a:lnTo>
                    <a:pt x="1110" y="349"/>
                  </a:lnTo>
                  <a:lnTo>
                    <a:pt x="1108" y="349"/>
                  </a:lnTo>
                  <a:lnTo>
                    <a:pt x="1108" y="347"/>
                  </a:lnTo>
                  <a:close/>
                  <a:moveTo>
                    <a:pt x="1195" y="266"/>
                  </a:moveTo>
                  <a:lnTo>
                    <a:pt x="1193" y="266"/>
                  </a:lnTo>
                  <a:lnTo>
                    <a:pt x="1195" y="266"/>
                  </a:lnTo>
                  <a:lnTo>
                    <a:pt x="1193" y="266"/>
                  </a:lnTo>
                  <a:lnTo>
                    <a:pt x="1193" y="268"/>
                  </a:lnTo>
                  <a:lnTo>
                    <a:pt x="1191" y="268"/>
                  </a:lnTo>
                  <a:lnTo>
                    <a:pt x="1188" y="268"/>
                  </a:lnTo>
                  <a:lnTo>
                    <a:pt x="1188" y="266"/>
                  </a:lnTo>
                  <a:lnTo>
                    <a:pt x="1186" y="266"/>
                  </a:lnTo>
                  <a:lnTo>
                    <a:pt x="1184" y="266"/>
                  </a:lnTo>
                  <a:lnTo>
                    <a:pt x="1186" y="266"/>
                  </a:lnTo>
                  <a:lnTo>
                    <a:pt x="1184" y="266"/>
                  </a:lnTo>
                  <a:lnTo>
                    <a:pt x="1181" y="268"/>
                  </a:lnTo>
                  <a:lnTo>
                    <a:pt x="1184" y="268"/>
                  </a:lnTo>
                  <a:lnTo>
                    <a:pt x="1181" y="268"/>
                  </a:lnTo>
                  <a:lnTo>
                    <a:pt x="1184" y="268"/>
                  </a:lnTo>
                  <a:lnTo>
                    <a:pt x="1186" y="268"/>
                  </a:lnTo>
                  <a:lnTo>
                    <a:pt x="1188" y="268"/>
                  </a:lnTo>
                  <a:lnTo>
                    <a:pt x="1186" y="268"/>
                  </a:lnTo>
                  <a:lnTo>
                    <a:pt x="1188" y="268"/>
                  </a:lnTo>
                  <a:lnTo>
                    <a:pt x="1191" y="268"/>
                  </a:lnTo>
                  <a:lnTo>
                    <a:pt x="1193" y="268"/>
                  </a:lnTo>
                  <a:lnTo>
                    <a:pt x="1195" y="268"/>
                  </a:lnTo>
                  <a:lnTo>
                    <a:pt x="1195" y="271"/>
                  </a:lnTo>
                  <a:lnTo>
                    <a:pt x="1198" y="273"/>
                  </a:lnTo>
                  <a:lnTo>
                    <a:pt x="1198" y="275"/>
                  </a:lnTo>
                  <a:lnTo>
                    <a:pt x="1195" y="275"/>
                  </a:lnTo>
                  <a:lnTo>
                    <a:pt x="1193" y="275"/>
                  </a:lnTo>
                  <a:lnTo>
                    <a:pt x="1193" y="273"/>
                  </a:lnTo>
                  <a:lnTo>
                    <a:pt x="1191" y="275"/>
                  </a:lnTo>
                  <a:lnTo>
                    <a:pt x="1191" y="273"/>
                  </a:lnTo>
                  <a:lnTo>
                    <a:pt x="1188" y="273"/>
                  </a:lnTo>
                  <a:lnTo>
                    <a:pt x="1188" y="275"/>
                  </a:lnTo>
                  <a:lnTo>
                    <a:pt x="1191" y="275"/>
                  </a:lnTo>
                  <a:lnTo>
                    <a:pt x="1191" y="278"/>
                  </a:lnTo>
                  <a:lnTo>
                    <a:pt x="1188" y="278"/>
                  </a:lnTo>
                  <a:lnTo>
                    <a:pt x="1188" y="280"/>
                  </a:lnTo>
                  <a:lnTo>
                    <a:pt x="1186" y="280"/>
                  </a:lnTo>
                  <a:lnTo>
                    <a:pt x="1186" y="282"/>
                  </a:lnTo>
                  <a:lnTo>
                    <a:pt x="1186" y="280"/>
                  </a:lnTo>
                  <a:lnTo>
                    <a:pt x="1186" y="282"/>
                  </a:lnTo>
                  <a:lnTo>
                    <a:pt x="1184" y="282"/>
                  </a:lnTo>
                  <a:lnTo>
                    <a:pt x="1184" y="280"/>
                  </a:lnTo>
                  <a:lnTo>
                    <a:pt x="1181" y="280"/>
                  </a:lnTo>
                  <a:lnTo>
                    <a:pt x="1179" y="280"/>
                  </a:lnTo>
                  <a:lnTo>
                    <a:pt x="1176" y="280"/>
                  </a:lnTo>
                  <a:lnTo>
                    <a:pt x="1176" y="278"/>
                  </a:lnTo>
                  <a:lnTo>
                    <a:pt x="1174" y="278"/>
                  </a:lnTo>
                  <a:lnTo>
                    <a:pt x="1176" y="278"/>
                  </a:lnTo>
                  <a:lnTo>
                    <a:pt x="1176" y="280"/>
                  </a:lnTo>
                  <a:lnTo>
                    <a:pt x="1179" y="280"/>
                  </a:lnTo>
                  <a:lnTo>
                    <a:pt x="1181" y="280"/>
                  </a:lnTo>
                  <a:lnTo>
                    <a:pt x="1184" y="280"/>
                  </a:lnTo>
                  <a:lnTo>
                    <a:pt x="1184" y="282"/>
                  </a:lnTo>
                  <a:lnTo>
                    <a:pt x="1181" y="282"/>
                  </a:lnTo>
                  <a:lnTo>
                    <a:pt x="1184" y="282"/>
                  </a:lnTo>
                  <a:lnTo>
                    <a:pt x="1186" y="282"/>
                  </a:lnTo>
                  <a:lnTo>
                    <a:pt x="1186" y="285"/>
                  </a:lnTo>
                  <a:lnTo>
                    <a:pt x="1186" y="287"/>
                  </a:lnTo>
                  <a:lnTo>
                    <a:pt x="1184" y="287"/>
                  </a:lnTo>
                  <a:lnTo>
                    <a:pt x="1181" y="287"/>
                  </a:lnTo>
                  <a:lnTo>
                    <a:pt x="1179" y="287"/>
                  </a:lnTo>
                  <a:lnTo>
                    <a:pt x="1176" y="287"/>
                  </a:lnTo>
                  <a:lnTo>
                    <a:pt x="1174" y="287"/>
                  </a:lnTo>
                  <a:lnTo>
                    <a:pt x="1172" y="287"/>
                  </a:lnTo>
                  <a:lnTo>
                    <a:pt x="1169" y="287"/>
                  </a:lnTo>
                  <a:lnTo>
                    <a:pt x="1167" y="287"/>
                  </a:lnTo>
                  <a:lnTo>
                    <a:pt x="1165" y="287"/>
                  </a:lnTo>
                  <a:lnTo>
                    <a:pt x="1167" y="287"/>
                  </a:lnTo>
                  <a:lnTo>
                    <a:pt x="1169" y="287"/>
                  </a:lnTo>
                  <a:lnTo>
                    <a:pt x="1172" y="287"/>
                  </a:lnTo>
                  <a:lnTo>
                    <a:pt x="1174" y="287"/>
                  </a:lnTo>
                  <a:lnTo>
                    <a:pt x="1176" y="287"/>
                  </a:lnTo>
                  <a:lnTo>
                    <a:pt x="1179" y="287"/>
                  </a:lnTo>
                  <a:lnTo>
                    <a:pt x="1181" y="287"/>
                  </a:lnTo>
                  <a:lnTo>
                    <a:pt x="1181" y="290"/>
                  </a:lnTo>
                  <a:lnTo>
                    <a:pt x="1181" y="287"/>
                  </a:lnTo>
                  <a:lnTo>
                    <a:pt x="1184" y="287"/>
                  </a:lnTo>
                  <a:lnTo>
                    <a:pt x="1184" y="290"/>
                  </a:lnTo>
                  <a:lnTo>
                    <a:pt x="1184" y="292"/>
                  </a:lnTo>
                  <a:lnTo>
                    <a:pt x="1181" y="292"/>
                  </a:lnTo>
                  <a:lnTo>
                    <a:pt x="1181" y="294"/>
                  </a:lnTo>
                  <a:lnTo>
                    <a:pt x="1184" y="294"/>
                  </a:lnTo>
                  <a:lnTo>
                    <a:pt x="1181" y="294"/>
                  </a:lnTo>
                  <a:lnTo>
                    <a:pt x="1181" y="297"/>
                  </a:lnTo>
                  <a:lnTo>
                    <a:pt x="1179" y="297"/>
                  </a:lnTo>
                  <a:lnTo>
                    <a:pt x="1181" y="297"/>
                  </a:lnTo>
                  <a:lnTo>
                    <a:pt x="1179" y="297"/>
                  </a:lnTo>
                  <a:lnTo>
                    <a:pt x="1179" y="299"/>
                  </a:lnTo>
                  <a:lnTo>
                    <a:pt x="1181" y="297"/>
                  </a:lnTo>
                  <a:lnTo>
                    <a:pt x="1184" y="299"/>
                  </a:lnTo>
                  <a:lnTo>
                    <a:pt x="1181" y="299"/>
                  </a:lnTo>
                  <a:lnTo>
                    <a:pt x="1184" y="299"/>
                  </a:lnTo>
                  <a:lnTo>
                    <a:pt x="1186" y="299"/>
                  </a:lnTo>
                  <a:lnTo>
                    <a:pt x="1184" y="299"/>
                  </a:lnTo>
                  <a:lnTo>
                    <a:pt x="1184" y="301"/>
                  </a:lnTo>
                  <a:lnTo>
                    <a:pt x="1186" y="301"/>
                  </a:lnTo>
                  <a:lnTo>
                    <a:pt x="1186" y="304"/>
                  </a:lnTo>
                  <a:lnTo>
                    <a:pt x="1184" y="304"/>
                  </a:lnTo>
                  <a:lnTo>
                    <a:pt x="1184" y="306"/>
                  </a:lnTo>
                  <a:lnTo>
                    <a:pt x="1181" y="306"/>
                  </a:lnTo>
                  <a:lnTo>
                    <a:pt x="1181" y="309"/>
                  </a:lnTo>
                  <a:lnTo>
                    <a:pt x="1181" y="311"/>
                  </a:lnTo>
                  <a:lnTo>
                    <a:pt x="1181" y="313"/>
                  </a:lnTo>
                  <a:lnTo>
                    <a:pt x="1179" y="313"/>
                  </a:lnTo>
                  <a:lnTo>
                    <a:pt x="1179" y="316"/>
                  </a:lnTo>
                  <a:lnTo>
                    <a:pt x="1181" y="316"/>
                  </a:lnTo>
                  <a:lnTo>
                    <a:pt x="1179" y="316"/>
                  </a:lnTo>
                  <a:lnTo>
                    <a:pt x="1179" y="318"/>
                  </a:lnTo>
                  <a:lnTo>
                    <a:pt x="1181" y="318"/>
                  </a:lnTo>
                  <a:lnTo>
                    <a:pt x="1181" y="316"/>
                  </a:lnTo>
                  <a:lnTo>
                    <a:pt x="1181" y="318"/>
                  </a:lnTo>
                  <a:lnTo>
                    <a:pt x="1179" y="318"/>
                  </a:lnTo>
                  <a:lnTo>
                    <a:pt x="1176" y="318"/>
                  </a:lnTo>
                  <a:lnTo>
                    <a:pt x="1174" y="318"/>
                  </a:lnTo>
                  <a:lnTo>
                    <a:pt x="1174" y="320"/>
                  </a:lnTo>
                  <a:lnTo>
                    <a:pt x="1172" y="320"/>
                  </a:lnTo>
                  <a:lnTo>
                    <a:pt x="1172" y="318"/>
                  </a:lnTo>
                  <a:lnTo>
                    <a:pt x="1169" y="318"/>
                  </a:lnTo>
                  <a:lnTo>
                    <a:pt x="1172" y="320"/>
                  </a:lnTo>
                  <a:lnTo>
                    <a:pt x="1174" y="320"/>
                  </a:lnTo>
                  <a:lnTo>
                    <a:pt x="1176" y="318"/>
                  </a:lnTo>
                  <a:lnTo>
                    <a:pt x="1179" y="318"/>
                  </a:lnTo>
                  <a:lnTo>
                    <a:pt x="1181" y="318"/>
                  </a:lnTo>
                  <a:lnTo>
                    <a:pt x="1181" y="320"/>
                  </a:lnTo>
                  <a:lnTo>
                    <a:pt x="1184" y="320"/>
                  </a:lnTo>
                  <a:lnTo>
                    <a:pt x="1181" y="320"/>
                  </a:lnTo>
                  <a:lnTo>
                    <a:pt x="1184" y="320"/>
                  </a:lnTo>
                  <a:lnTo>
                    <a:pt x="1184" y="323"/>
                  </a:lnTo>
                  <a:lnTo>
                    <a:pt x="1186" y="323"/>
                  </a:lnTo>
                  <a:lnTo>
                    <a:pt x="1184" y="323"/>
                  </a:lnTo>
                  <a:lnTo>
                    <a:pt x="1184" y="325"/>
                  </a:lnTo>
                  <a:lnTo>
                    <a:pt x="1184" y="328"/>
                  </a:lnTo>
                  <a:lnTo>
                    <a:pt x="1186" y="328"/>
                  </a:lnTo>
                  <a:lnTo>
                    <a:pt x="1186" y="330"/>
                  </a:lnTo>
                  <a:lnTo>
                    <a:pt x="1186" y="332"/>
                  </a:lnTo>
                  <a:lnTo>
                    <a:pt x="1188" y="332"/>
                  </a:lnTo>
                  <a:lnTo>
                    <a:pt x="1188" y="335"/>
                  </a:lnTo>
                  <a:lnTo>
                    <a:pt x="1186" y="335"/>
                  </a:lnTo>
                  <a:lnTo>
                    <a:pt x="1188" y="335"/>
                  </a:lnTo>
                  <a:lnTo>
                    <a:pt x="1188" y="337"/>
                  </a:lnTo>
                  <a:lnTo>
                    <a:pt x="1191" y="337"/>
                  </a:lnTo>
                  <a:lnTo>
                    <a:pt x="1188" y="337"/>
                  </a:lnTo>
                  <a:lnTo>
                    <a:pt x="1191" y="337"/>
                  </a:lnTo>
                  <a:lnTo>
                    <a:pt x="1191" y="339"/>
                  </a:lnTo>
                  <a:lnTo>
                    <a:pt x="1191" y="342"/>
                  </a:lnTo>
                  <a:lnTo>
                    <a:pt x="1191" y="339"/>
                  </a:lnTo>
                  <a:lnTo>
                    <a:pt x="1191" y="342"/>
                  </a:lnTo>
                  <a:lnTo>
                    <a:pt x="1193" y="342"/>
                  </a:lnTo>
                  <a:lnTo>
                    <a:pt x="1193" y="344"/>
                  </a:lnTo>
                  <a:lnTo>
                    <a:pt x="1195" y="344"/>
                  </a:lnTo>
                  <a:lnTo>
                    <a:pt x="1195" y="347"/>
                  </a:lnTo>
                  <a:lnTo>
                    <a:pt x="1195" y="349"/>
                  </a:lnTo>
                  <a:lnTo>
                    <a:pt x="1198" y="349"/>
                  </a:lnTo>
                  <a:lnTo>
                    <a:pt x="1198" y="351"/>
                  </a:lnTo>
                  <a:lnTo>
                    <a:pt x="1200" y="351"/>
                  </a:lnTo>
                  <a:lnTo>
                    <a:pt x="1200" y="354"/>
                  </a:lnTo>
                  <a:lnTo>
                    <a:pt x="1200" y="356"/>
                  </a:lnTo>
                  <a:lnTo>
                    <a:pt x="1203" y="356"/>
                  </a:lnTo>
                  <a:lnTo>
                    <a:pt x="1203" y="358"/>
                  </a:lnTo>
                  <a:lnTo>
                    <a:pt x="1205" y="361"/>
                  </a:lnTo>
                  <a:lnTo>
                    <a:pt x="1207" y="363"/>
                  </a:lnTo>
                  <a:lnTo>
                    <a:pt x="1210" y="366"/>
                  </a:lnTo>
                  <a:lnTo>
                    <a:pt x="1212" y="366"/>
                  </a:lnTo>
                  <a:lnTo>
                    <a:pt x="1212" y="368"/>
                  </a:lnTo>
                  <a:lnTo>
                    <a:pt x="1214" y="368"/>
                  </a:lnTo>
                  <a:lnTo>
                    <a:pt x="1217" y="370"/>
                  </a:lnTo>
                  <a:lnTo>
                    <a:pt x="1219" y="370"/>
                  </a:lnTo>
                  <a:lnTo>
                    <a:pt x="1219" y="373"/>
                  </a:lnTo>
                  <a:lnTo>
                    <a:pt x="1222" y="373"/>
                  </a:lnTo>
                  <a:lnTo>
                    <a:pt x="1222" y="375"/>
                  </a:lnTo>
                  <a:lnTo>
                    <a:pt x="1224" y="375"/>
                  </a:lnTo>
                  <a:lnTo>
                    <a:pt x="1226" y="377"/>
                  </a:lnTo>
                  <a:lnTo>
                    <a:pt x="1229" y="380"/>
                  </a:lnTo>
                  <a:lnTo>
                    <a:pt x="1231" y="380"/>
                  </a:lnTo>
                  <a:lnTo>
                    <a:pt x="1231" y="382"/>
                  </a:lnTo>
                  <a:lnTo>
                    <a:pt x="1233" y="382"/>
                  </a:lnTo>
                  <a:lnTo>
                    <a:pt x="1233" y="385"/>
                  </a:lnTo>
                  <a:lnTo>
                    <a:pt x="1233" y="382"/>
                  </a:lnTo>
                  <a:lnTo>
                    <a:pt x="1233" y="385"/>
                  </a:lnTo>
                  <a:lnTo>
                    <a:pt x="1236" y="385"/>
                  </a:lnTo>
                  <a:lnTo>
                    <a:pt x="1238" y="385"/>
                  </a:lnTo>
                  <a:lnTo>
                    <a:pt x="1240" y="385"/>
                  </a:lnTo>
                  <a:lnTo>
                    <a:pt x="1240" y="387"/>
                  </a:lnTo>
                  <a:lnTo>
                    <a:pt x="1240" y="385"/>
                  </a:lnTo>
                  <a:lnTo>
                    <a:pt x="1243" y="387"/>
                  </a:lnTo>
                  <a:lnTo>
                    <a:pt x="1245" y="387"/>
                  </a:lnTo>
                  <a:lnTo>
                    <a:pt x="1248" y="387"/>
                  </a:lnTo>
                  <a:lnTo>
                    <a:pt x="1248" y="389"/>
                  </a:lnTo>
                  <a:lnTo>
                    <a:pt x="1250" y="389"/>
                  </a:lnTo>
                  <a:lnTo>
                    <a:pt x="1252" y="389"/>
                  </a:lnTo>
                  <a:lnTo>
                    <a:pt x="1252" y="392"/>
                  </a:lnTo>
                  <a:lnTo>
                    <a:pt x="1250" y="392"/>
                  </a:lnTo>
                  <a:lnTo>
                    <a:pt x="1248" y="392"/>
                  </a:lnTo>
                  <a:lnTo>
                    <a:pt x="1250" y="392"/>
                  </a:lnTo>
                  <a:lnTo>
                    <a:pt x="1250" y="394"/>
                  </a:lnTo>
                  <a:lnTo>
                    <a:pt x="1248" y="394"/>
                  </a:lnTo>
                  <a:lnTo>
                    <a:pt x="1248" y="396"/>
                  </a:lnTo>
                  <a:lnTo>
                    <a:pt x="1250" y="396"/>
                  </a:lnTo>
                  <a:lnTo>
                    <a:pt x="1248" y="396"/>
                  </a:lnTo>
                  <a:lnTo>
                    <a:pt x="1248" y="399"/>
                  </a:lnTo>
                  <a:lnTo>
                    <a:pt x="1245" y="399"/>
                  </a:lnTo>
                  <a:lnTo>
                    <a:pt x="1248" y="399"/>
                  </a:lnTo>
                  <a:lnTo>
                    <a:pt x="1245" y="399"/>
                  </a:lnTo>
                  <a:lnTo>
                    <a:pt x="1243" y="399"/>
                  </a:lnTo>
                  <a:lnTo>
                    <a:pt x="1240" y="399"/>
                  </a:lnTo>
                  <a:lnTo>
                    <a:pt x="1240" y="396"/>
                  </a:lnTo>
                  <a:lnTo>
                    <a:pt x="1238" y="396"/>
                  </a:lnTo>
                  <a:lnTo>
                    <a:pt x="1236" y="396"/>
                  </a:lnTo>
                  <a:lnTo>
                    <a:pt x="1233" y="396"/>
                  </a:lnTo>
                  <a:lnTo>
                    <a:pt x="1233" y="394"/>
                  </a:lnTo>
                  <a:lnTo>
                    <a:pt x="1233" y="396"/>
                  </a:lnTo>
                  <a:lnTo>
                    <a:pt x="1231" y="396"/>
                  </a:lnTo>
                  <a:lnTo>
                    <a:pt x="1233" y="396"/>
                  </a:lnTo>
                  <a:lnTo>
                    <a:pt x="1231" y="396"/>
                  </a:lnTo>
                  <a:lnTo>
                    <a:pt x="1229" y="396"/>
                  </a:lnTo>
                  <a:lnTo>
                    <a:pt x="1229" y="394"/>
                  </a:lnTo>
                  <a:lnTo>
                    <a:pt x="1226" y="394"/>
                  </a:lnTo>
                  <a:lnTo>
                    <a:pt x="1224" y="394"/>
                  </a:lnTo>
                  <a:lnTo>
                    <a:pt x="1226" y="394"/>
                  </a:lnTo>
                  <a:lnTo>
                    <a:pt x="1226" y="396"/>
                  </a:lnTo>
                  <a:lnTo>
                    <a:pt x="1229" y="396"/>
                  </a:lnTo>
                  <a:lnTo>
                    <a:pt x="1231" y="396"/>
                  </a:lnTo>
                  <a:lnTo>
                    <a:pt x="1231" y="399"/>
                  </a:lnTo>
                  <a:lnTo>
                    <a:pt x="1233" y="399"/>
                  </a:lnTo>
                  <a:lnTo>
                    <a:pt x="1236" y="399"/>
                  </a:lnTo>
                  <a:lnTo>
                    <a:pt x="1236" y="396"/>
                  </a:lnTo>
                  <a:lnTo>
                    <a:pt x="1238" y="396"/>
                  </a:lnTo>
                  <a:lnTo>
                    <a:pt x="1238" y="399"/>
                  </a:lnTo>
                  <a:lnTo>
                    <a:pt x="1240" y="399"/>
                  </a:lnTo>
                  <a:lnTo>
                    <a:pt x="1238" y="399"/>
                  </a:lnTo>
                  <a:lnTo>
                    <a:pt x="1240" y="399"/>
                  </a:lnTo>
                  <a:lnTo>
                    <a:pt x="1240" y="401"/>
                  </a:lnTo>
                  <a:lnTo>
                    <a:pt x="1243" y="401"/>
                  </a:lnTo>
                  <a:lnTo>
                    <a:pt x="1240" y="401"/>
                  </a:lnTo>
                  <a:lnTo>
                    <a:pt x="1238" y="401"/>
                  </a:lnTo>
                  <a:lnTo>
                    <a:pt x="1236" y="401"/>
                  </a:lnTo>
                  <a:lnTo>
                    <a:pt x="1238" y="401"/>
                  </a:lnTo>
                  <a:lnTo>
                    <a:pt x="1236" y="401"/>
                  </a:lnTo>
                  <a:lnTo>
                    <a:pt x="1233" y="401"/>
                  </a:lnTo>
                  <a:lnTo>
                    <a:pt x="1231" y="399"/>
                  </a:lnTo>
                  <a:lnTo>
                    <a:pt x="1231" y="401"/>
                  </a:lnTo>
                  <a:lnTo>
                    <a:pt x="1233" y="401"/>
                  </a:lnTo>
                  <a:lnTo>
                    <a:pt x="1231" y="401"/>
                  </a:lnTo>
                  <a:lnTo>
                    <a:pt x="1231" y="399"/>
                  </a:lnTo>
                  <a:lnTo>
                    <a:pt x="1229" y="399"/>
                  </a:lnTo>
                  <a:lnTo>
                    <a:pt x="1229" y="401"/>
                  </a:lnTo>
                  <a:lnTo>
                    <a:pt x="1231" y="401"/>
                  </a:lnTo>
                  <a:lnTo>
                    <a:pt x="1233" y="401"/>
                  </a:lnTo>
                  <a:lnTo>
                    <a:pt x="1236" y="401"/>
                  </a:lnTo>
                  <a:lnTo>
                    <a:pt x="1233" y="401"/>
                  </a:lnTo>
                  <a:lnTo>
                    <a:pt x="1236" y="401"/>
                  </a:lnTo>
                  <a:lnTo>
                    <a:pt x="1233" y="401"/>
                  </a:lnTo>
                  <a:lnTo>
                    <a:pt x="1236" y="404"/>
                  </a:lnTo>
                  <a:lnTo>
                    <a:pt x="1236" y="401"/>
                  </a:lnTo>
                  <a:lnTo>
                    <a:pt x="1236" y="404"/>
                  </a:lnTo>
                  <a:lnTo>
                    <a:pt x="1238" y="404"/>
                  </a:lnTo>
                  <a:lnTo>
                    <a:pt x="1240" y="404"/>
                  </a:lnTo>
                  <a:lnTo>
                    <a:pt x="1238" y="404"/>
                  </a:lnTo>
                  <a:lnTo>
                    <a:pt x="1240" y="406"/>
                  </a:lnTo>
                  <a:lnTo>
                    <a:pt x="1238" y="406"/>
                  </a:lnTo>
                  <a:lnTo>
                    <a:pt x="1238" y="404"/>
                  </a:lnTo>
                  <a:lnTo>
                    <a:pt x="1236" y="404"/>
                  </a:lnTo>
                  <a:lnTo>
                    <a:pt x="1233" y="404"/>
                  </a:lnTo>
                  <a:lnTo>
                    <a:pt x="1236" y="404"/>
                  </a:lnTo>
                  <a:lnTo>
                    <a:pt x="1236" y="406"/>
                  </a:lnTo>
                  <a:lnTo>
                    <a:pt x="1238" y="406"/>
                  </a:lnTo>
                  <a:lnTo>
                    <a:pt x="1236" y="406"/>
                  </a:lnTo>
                  <a:lnTo>
                    <a:pt x="1233" y="406"/>
                  </a:lnTo>
                  <a:lnTo>
                    <a:pt x="1233" y="404"/>
                  </a:lnTo>
                  <a:lnTo>
                    <a:pt x="1231" y="406"/>
                  </a:lnTo>
                  <a:lnTo>
                    <a:pt x="1231" y="404"/>
                  </a:lnTo>
                  <a:lnTo>
                    <a:pt x="1229" y="404"/>
                  </a:lnTo>
                  <a:lnTo>
                    <a:pt x="1229" y="401"/>
                  </a:lnTo>
                  <a:lnTo>
                    <a:pt x="1229" y="404"/>
                  </a:lnTo>
                  <a:lnTo>
                    <a:pt x="1231" y="404"/>
                  </a:lnTo>
                  <a:lnTo>
                    <a:pt x="1231" y="401"/>
                  </a:lnTo>
                  <a:lnTo>
                    <a:pt x="1229" y="401"/>
                  </a:lnTo>
                  <a:lnTo>
                    <a:pt x="1231" y="401"/>
                  </a:lnTo>
                  <a:lnTo>
                    <a:pt x="1229" y="401"/>
                  </a:lnTo>
                  <a:lnTo>
                    <a:pt x="1226" y="401"/>
                  </a:lnTo>
                  <a:lnTo>
                    <a:pt x="1226" y="399"/>
                  </a:lnTo>
                  <a:lnTo>
                    <a:pt x="1229" y="399"/>
                  </a:lnTo>
                  <a:lnTo>
                    <a:pt x="1226" y="399"/>
                  </a:lnTo>
                  <a:lnTo>
                    <a:pt x="1226" y="396"/>
                  </a:lnTo>
                  <a:lnTo>
                    <a:pt x="1224" y="399"/>
                  </a:lnTo>
                  <a:lnTo>
                    <a:pt x="1224" y="396"/>
                  </a:lnTo>
                  <a:lnTo>
                    <a:pt x="1222" y="396"/>
                  </a:lnTo>
                  <a:lnTo>
                    <a:pt x="1222" y="394"/>
                  </a:lnTo>
                  <a:lnTo>
                    <a:pt x="1219" y="394"/>
                  </a:lnTo>
                  <a:lnTo>
                    <a:pt x="1219" y="396"/>
                  </a:lnTo>
                  <a:lnTo>
                    <a:pt x="1219" y="394"/>
                  </a:lnTo>
                  <a:lnTo>
                    <a:pt x="1219" y="396"/>
                  </a:lnTo>
                  <a:lnTo>
                    <a:pt x="1219" y="394"/>
                  </a:lnTo>
                  <a:lnTo>
                    <a:pt x="1219" y="396"/>
                  </a:lnTo>
                  <a:lnTo>
                    <a:pt x="1222" y="396"/>
                  </a:lnTo>
                  <a:lnTo>
                    <a:pt x="1219" y="396"/>
                  </a:lnTo>
                  <a:lnTo>
                    <a:pt x="1222" y="396"/>
                  </a:lnTo>
                  <a:lnTo>
                    <a:pt x="1222" y="399"/>
                  </a:lnTo>
                  <a:lnTo>
                    <a:pt x="1222" y="396"/>
                  </a:lnTo>
                  <a:lnTo>
                    <a:pt x="1222" y="399"/>
                  </a:lnTo>
                  <a:lnTo>
                    <a:pt x="1219" y="399"/>
                  </a:lnTo>
                  <a:lnTo>
                    <a:pt x="1219" y="396"/>
                  </a:lnTo>
                  <a:lnTo>
                    <a:pt x="1217" y="396"/>
                  </a:lnTo>
                  <a:lnTo>
                    <a:pt x="1217" y="394"/>
                  </a:lnTo>
                  <a:lnTo>
                    <a:pt x="1217" y="392"/>
                  </a:lnTo>
                  <a:lnTo>
                    <a:pt x="1219" y="392"/>
                  </a:lnTo>
                  <a:lnTo>
                    <a:pt x="1219" y="389"/>
                  </a:lnTo>
                  <a:lnTo>
                    <a:pt x="1217" y="389"/>
                  </a:lnTo>
                  <a:lnTo>
                    <a:pt x="1217" y="392"/>
                  </a:lnTo>
                  <a:lnTo>
                    <a:pt x="1214" y="392"/>
                  </a:lnTo>
                  <a:lnTo>
                    <a:pt x="1217" y="392"/>
                  </a:lnTo>
                  <a:lnTo>
                    <a:pt x="1214" y="392"/>
                  </a:lnTo>
                  <a:lnTo>
                    <a:pt x="1212" y="392"/>
                  </a:lnTo>
                  <a:lnTo>
                    <a:pt x="1210" y="392"/>
                  </a:lnTo>
                  <a:lnTo>
                    <a:pt x="1212" y="392"/>
                  </a:lnTo>
                  <a:lnTo>
                    <a:pt x="1210" y="392"/>
                  </a:lnTo>
                  <a:lnTo>
                    <a:pt x="1207" y="392"/>
                  </a:lnTo>
                  <a:lnTo>
                    <a:pt x="1207" y="389"/>
                  </a:lnTo>
                  <a:lnTo>
                    <a:pt x="1207" y="392"/>
                  </a:lnTo>
                  <a:lnTo>
                    <a:pt x="1205" y="392"/>
                  </a:lnTo>
                  <a:lnTo>
                    <a:pt x="1207" y="392"/>
                  </a:lnTo>
                  <a:lnTo>
                    <a:pt x="1210" y="392"/>
                  </a:lnTo>
                  <a:lnTo>
                    <a:pt x="1210" y="394"/>
                  </a:lnTo>
                  <a:lnTo>
                    <a:pt x="1207" y="394"/>
                  </a:lnTo>
                  <a:lnTo>
                    <a:pt x="1207" y="392"/>
                  </a:lnTo>
                  <a:lnTo>
                    <a:pt x="1207" y="394"/>
                  </a:lnTo>
                  <a:lnTo>
                    <a:pt x="1205" y="394"/>
                  </a:lnTo>
                  <a:lnTo>
                    <a:pt x="1207" y="394"/>
                  </a:lnTo>
                  <a:lnTo>
                    <a:pt x="1210" y="394"/>
                  </a:lnTo>
                  <a:lnTo>
                    <a:pt x="1210" y="396"/>
                  </a:lnTo>
                  <a:lnTo>
                    <a:pt x="1207" y="396"/>
                  </a:lnTo>
                  <a:lnTo>
                    <a:pt x="1210" y="396"/>
                  </a:lnTo>
                  <a:lnTo>
                    <a:pt x="1212" y="396"/>
                  </a:lnTo>
                  <a:lnTo>
                    <a:pt x="1214" y="396"/>
                  </a:lnTo>
                  <a:lnTo>
                    <a:pt x="1212" y="396"/>
                  </a:lnTo>
                  <a:lnTo>
                    <a:pt x="1212" y="394"/>
                  </a:lnTo>
                  <a:lnTo>
                    <a:pt x="1214" y="394"/>
                  </a:lnTo>
                  <a:lnTo>
                    <a:pt x="1214" y="396"/>
                  </a:lnTo>
                  <a:lnTo>
                    <a:pt x="1217" y="396"/>
                  </a:lnTo>
                  <a:lnTo>
                    <a:pt x="1214" y="396"/>
                  </a:lnTo>
                  <a:lnTo>
                    <a:pt x="1214" y="399"/>
                  </a:lnTo>
                  <a:lnTo>
                    <a:pt x="1217" y="399"/>
                  </a:lnTo>
                  <a:lnTo>
                    <a:pt x="1219" y="399"/>
                  </a:lnTo>
                  <a:lnTo>
                    <a:pt x="1217" y="399"/>
                  </a:lnTo>
                  <a:lnTo>
                    <a:pt x="1214" y="399"/>
                  </a:lnTo>
                  <a:lnTo>
                    <a:pt x="1217" y="399"/>
                  </a:lnTo>
                  <a:lnTo>
                    <a:pt x="1219" y="399"/>
                  </a:lnTo>
                  <a:lnTo>
                    <a:pt x="1219" y="401"/>
                  </a:lnTo>
                  <a:lnTo>
                    <a:pt x="1222" y="401"/>
                  </a:lnTo>
                  <a:lnTo>
                    <a:pt x="1219" y="401"/>
                  </a:lnTo>
                  <a:lnTo>
                    <a:pt x="1222" y="401"/>
                  </a:lnTo>
                  <a:lnTo>
                    <a:pt x="1219" y="401"/>
                  </a:lnTo>
                  <a:lnTo>
                    <a:pt x="1222" y="401"/>
                  </a:lnTo>
                  <a:lnTo>
                    <a:pt x="1219" y="401"/>
                  </a:lnTo>
                  <a:lnTo>
                    <a:pt x="1219" y="399"/>
                  </a:lnTo>
                  <a:lnTo>
                    <a:pt x="1219" y="401"/>
                  </a:lnTo>
                  <a:lnTo>
                    <a:pt x="1219" y="399"/>
                  </a:lnTo>
                  <a:lnTo>
                    <a:pt x="1217" y="399"/>
                  </a:lnTo>
                  <a:lnTo>
                    <a:pt x="1217" y="401"/>
                  </a:lnTo>
                  <a:lnTo>
                    <a:pt x="1214" y="401"/>
                  </a:lnTo>
                  <a:lnTo>
                    <a:pt x="1212" y="401"/>
                  </a:lnTo>
                  <a:lnTo>
                    <a:pt x="1214" y="401"/>
                  </a:lnTo>
                  <a:lnTo>
                    <a:pt x="1212" y="401"/>
                  </a:lnTo>
                  <a:lnTo>
                    <a:pt x="1212" y="399"/>
                  </a:lnTo>
                  <a:lnTo>
                    <a:pt x="1210" y="399"/>
                  </a:lnTo>
                  <a:lnTo>
                    <a:pt x="1207" y="399"/>
                  </a:lnTo>
                  <a:lnTo>
                    <a:pt x="1210" y="399"/>
                  </a:lnTo>
                  <a:lnTo>
                    <a:pt x="1207" y="399"/>
                  </a:lnTo>
                  <a:lnTo>
                    <a:pt x="1207" y="396"/>
                  </a:lnTo>
                  <a:lnTo>
                    <a:pt x="1205" y="396"/>
                  </a:lnTo>
                  <a:lnTo>
                    <a:pt x="1207" y="396"/>
                  </a:lnTo>
                  <a:lnTo>
                    <a:pt x="1205" y="396"/>
                  </a:lnTo>
                  <a:lnTo>
                    <a:pt x="1207" y="396"/>
                  </a:lnTo>
                  <a:lnTo>
                    <a:pt x="1205" y="396"/>
                  </a:lnTo>
                  <a:lnTo>
                    <a:pt x="1203" y="396"/>
                  </a:lnTo>
                  <a:lnTo>
                    <a:pt x="1205" y="396"/>
                  </a:lnTo>
                  <a:lnTo>
                    <a:pt x="1203" y="396"/>
                  </a:lnTo>
                  <a:lnTo>
                    <a:pt x="1200" y="396"/>
                  </a:lnTo>
                  <a:lnTo>
                    <a:pt x="1200" y="394"/>
                  </a:lnTo>
                  <a:lnTo>
                    <a:pt x="1198" y="394"/>
                  </a:lnTo>
                  <a:lnTo>
                    <a:pt x="1200" y="394"/>
                  </a:lnTo>
                  <a:lnTo>
                    <a:pt x="1200" y="396"/>
                  </a:lnTo>
                  <a:lnTo>
                    <a:pt x="1203" y="396"/>
                  </a:lnTo>
                  <a:lnTo>
                    <a:pt x="1200" y="396"/>
                  </a:lnTo>
                  <a:lnTo>
                    <a:pt x="1203" y="396"/>
                  </a:lnTo>
                  <a:lnTo>
                    <a:pt x="1205" y="396"/>
                  </a:lnTo>
                  <a:lnTo>
                    <a:pt x="1205" y="399"/>
                  </a:lnTo>
                  <a:lnTo>
                    <a:pt x="1203" y="399"/>
                  </a:lnTo>
                  <a:lnTo>
                    <a:pt x="1200" y="399"/>
                  </a:lnTo>
                  <a:lnTo>
                    <a:pt x="1200" y="396"/>
                  </a:lnTo>
                  <a:lnTo>
                    <a:pt x="1198" y="396"/>
                  </a:lnTo>
                  <a:lnTo>
                    <a:pt x="1195" y="394"/>
                  </a:lnTo>
                  <a:lnTo>
                    <a:pt x="1193" y="394"/>
                  </a:lnTo>
                  <a:lnTo>
                    <a:pt x="1195" y="394"/>
                  </a:lnTo>
                  <a:lnTo>
                    <a:pt x="1195" y="396"/>
                  </a:lnTo>
                  <a:lnTo>
                    <a:pt x="1198" y="399"/>
                  </a:lnTo>
                  <a:lnTo>
                    <a:pt x="1200" y="399"/>
                  </a:lnTo>
                  <a:lnTo>
                    <a:pt x="1198" y="399"/>
                  </a:lnTo>
                  <a:lnTo>
                    <a:pt x="1200" y="399"/>
                  </a:lnTo>
                  <a:lnTo>
                    <a:pt x="1200" y="401"/>
                  </a:lnTo>
                  <a:lnTo>
                    <a:pt x="1198" y="401"/>
                  </a:lnTo>
                  <a:lnTo>
                    <a:pt x="1198" y="399"/>
                  </a:lnTo>
                  <a:lnTo>
                    <a:pt x="1195" y="399"/>
                  </a:lnTo>
                  <a:lnTo>
                    <a:pt x="1195" y="401"/>
                  </a:lnTo>
                  <a:lnTo>
                    <a:pt x="1195" y="399"/>
                  </a:lnTo>
                  <a:lnTo>
                    <a:pt x="1193" y="399"/>
                  </a:lnTo>
                  <a:lnTo>
                    <a:pt x="1195" y="399"/>
                  </a:lnTo>
                  <a:lnTo>
                    <a:pt x="1193" y="399"/>
                  </a:lnTo>
                  <a:lnTo>
                    <a:pt x="1195" y="399"/>
                  </a:lnTo>
                  <a:lnTo>
                    <a:pt x="1193" y="399"/>
                  </a:lnTo>
                  <a:lnTo>
                    <a:pt x="1191" y="399"/>
                  </a:lnTo>
                  <a:lnTo>
                    <a:pt x="1188" y="399"/>
                  </a:lnTo>
                  <a:lnTo>
                    <a:pt x="1188" y="396"/>
                  </a:lnTo>
                  <a:lnTo>
                    <a:pt x="1191" y="396"/>
                  </a:lnTo>
                  <a:lnTo>
                    <a:pt x="1191" y="399"/>
                  </a:lnTo>
                  <a:lnTo>
                    <a:pt x="1191" y="396"/>
                  </a:lnTo>
                  <a:lnTo>
                    <a:pt x="1188" y="396"/>
                  </a:lnTo>
                  <a:lnTo>
                    <a:pt x="1186" y="394"/>
                  </a:lnTo>
                  <a:lnTo>
                    <a:pt x="1184" y="394"/>
                  </a:lnTo>
                  <a:lnTo>
                    <a:pt x="1181" y="392"/>
                  </a:lnTo>
                  <a:lnTo>
                    <a:pt x="1184" y="392"/>
                  </a:lnTo>
                  <a:lnTo>
                    <a:pt x="1181" y="392"/>
                  </a:lnTo>
                  <a:lnTo>
                    <a:pt x="1181" y="389"/>
                  </a:lnTo>
                  <a:lnTo>
                    <a:pt x="1181" y="392"/>
                  </a:lnTo>
                  <a:lnTo>
                    <a:pt x="1179" y="392"/>
                  </a:lnTo>
                  <a:lnTo>
                    <a:pt x="1179" y="394"/>
                  </a:lnTo>
                  <a:lnTo>
                    <a:pt x="1176" y="392"/>
                  </a:lnTo>
                  <a:lnTo>
                    <a:pt x="1174" y="392"/>
                  </a:lnTo>
                  <a:lnTo>
                    <a:pt x="1172" y="392"/>
                  </a:lnTo>
                  <a:lnTo>
                    <a:pt x="1172" y="389"/>
                  </a:lnTo>
                  <a:lnTo>
                    <a:pt x="1172" y="392"/>
                  </a:lnTo>
                  <a:lnTo>
                    <a:pt x="1172" y="389"/>
                  </a:lnTo>
                  <a:lnTo>
                    <a:pt x="1169" y="389"/>
                  </a:lnTo>
                  <a:lnTo>
                    <a:pt x="1172" y="389"/>
                  </a:lnTo>
                  <a:lnTo>
                    <a:pt x="1172" y="387"/>
                  </a:lnTo>
                  <a:lnTo>
                    <a:pt x="1169" y="387"/>
                  </a:lnTo>
                  <a:lnTo>
                    <a:pt x="1172" y="387"/>
                  </a:lnTo>
                  <a:lnTo>
                    <a:pt x="1172" y="389"/>
                  </a:lnTo>
                  <a:lnTo>
                    <a:pt x="1169" y="389"/>
                  </a:lnTo>
                  <a:lnTo>
                    <a:pt x="1167" y="389"/>
                  </a:lnTo>
                  <a:lnTo>
                    <a:pt x="1165" y="389"/>
                  </a:lnTo>
                  <a:lnTo>
                    <a:pt x="1167" y="389"/>
                  </a:lnTo>
                  <a:lnTo>
                    <a:pt x="1169" y="392"/>
                  </a:lnTo>
                  <a:lnTo>
                    <a:pt x="1172" y="392"/>
                  </a:lnTo>
                  <a:lnTo>
                    <a:pt x="1174" y="392"/>
                  </a:lnTo>
                  <a:lnTo>
                    <a:pt x="1172" y="392"/>
                  </a:lnTo>
                  <a:lnTo>
                    <a:pt x="1172" y="394"/>
                  </a:lnTo>
                  <a:lnTo>
                    <a:pt x="1174" y="392"/>
                  </a:lnTo>
                  <a:lnTo>
                    <a:pt x="1176" y="392"/>
                  </a:lnTo>
                  <a:lnTo>
                    <a:pt x="1176" y="394"/>
                  </a:lnTo>
                  <a:lnTo>
                    <a:pt x="1179" y="394"/>
                  </a:lnTo>
                  <a:lnTo>
                    <a:pt x="1181" y="394"/>
                  </a:lnTo>
                  <a:lnTo>
                    <a:pt x="1184" y="396"/>
                  </a:lnTo>
                  <a:lnTo>
                    <a:pt x="1181" y="396"/>
                  </a:lnTo>
                  <a:lnTo>
                    <a:pt x="1181" y="394"/>
                  </a:lnTo>
                  <a:lnTo>
                    <a:pt x="1179" y="394"/>
                  </a:lnTo>
                  <a:lnTo>
                    <a:pt x="1181" y="396"/>
                  </a:lnTo>
                  <a:lnTo>
                    <a:pt x="1179" y="394"/>
                  </a:lnTo>
                  <a:lnTo>
                    <a:pt x="1181" y="394"/>
                  </a:lnTo>
                  <a:lnTo>
                    <a:pt x="1181" y="396"/>
                  </a:lnTo>
                  <a:lnTo>
                    <a:pt x="1179" y="396"/>
                  </a:lnTo>
                  <a:lnTo>
                    <a:pt x="1179" y="394"/>
                  </a:lnTo>
                  <a:lnTo>
                    <a:pt x="1176" y="394"/>
                  </a:lnTo>
                  <a:lnTo>
                    <a:pt x="1174" y="394"/>
                  </a:lnTo>
                  <a:lnTo>
                    <a:pt x="1174" y="396"/>
                  </a:lnTo>
                  <a:lnTo>
                    <a:pt x="1176" y="396"/>
                  </a:lnTo>
                  <a:lnTo>
                    <a:pt x="1176" y="399"/>
                  </a:lnTo>
                  <a:lnTo>
                    <a:pt x="1176" y="401"/>
                  </a:lnTo>
                  <a:lnTo>
                    <a:pt x="1174" y="401"/>
                  </a:lnTo>
                  <a:lnTo>
                    <a:pt x="1172" y="401"/>
                  </a:lnTo>
                  <a:lnTo>
                    <a:pt x="1169" y="401"/>
                  </a:lnTo>
                  <a:lnTo>
                    <a:pt x="1169" y="399"/>
                  </a:lnTo>
                  <a:lnTo>
                    <a:pt x="1167" y="399"/>
                  </a:lnTo>
                  <a:lnTo>
                    <a:pt x="1167" y="396"/>
                  </a:lnTo>
                  <a:lnTo>
                    <a:pt x="1165" y="396"/>
                  </a:lnTo>
                  <a:lnTo>
                    <a:pt x="1162" y="396"/>
                  </a:lnTo>
                  <a:lnTo>
                    <a:pt x="1162" y="394"/>
                  </a:lnTo>
                  <a:lnTo>
                    <a:pt x="1160" y="394"/>
                  </a:lnTo>
                  <a:lnTo>
                    <a:pt x="1162" y="394"/>
                  </a:lnTo>
                  <a:lnTo>
                    <a:pt x="1162" y="396"/>
                  </a:lnTo>
                  <a:lnTo>
                    <a:pt x="1160" y="396"/>
                  </a:lnTo>
                  <a:lnTo>
                    <a:pt x="1162" y="396"/>
                  </a:lnTo>
                  <a:lnTo>
                    <a:pt x="1160" y="396"/>
                  </a:lnTo>
                  <a:lnTo>
                    <a:pt x="1160" y="394"/>
                  </a:lnTo>
                  <a:lnTo>
                    <a:pt x="1157" y="394"/>
                  </a:lnTo>
                  <a:lnTo>
                    <a:pt x="1157" y="392"/>
                  </a:lnTo>
                  <a:lnTo>
                    <a:pt x="1157" y="389"/>
                  </a:lnTo>
                  <a:lnTo>
                    <a:pt x="1155" y="389"/>
                  </a:lnTo>
                  <a:lnTo>
                    <a:pt x="1153" y="389"/>
                  </a:lnTo>
                  <a:lnTo>
                    <a:pt x="1153" y="387"/>
                  </a:lnTo>
                  <a:lnTo>
                    <a:pt x="1150" y="387"/>
                  </a:lnTo>
                  <a:lnTo>
                    <a:pt x="1150" y="385"/>
                  </a:lnTo>
                  <a:lnTo>
                    <a:pt x="1153" y="385"/>
                  </a:lnTo>
                  <a:lnTo>
                    <a:pt x="1150" y="385"/>
                  </a:lnTo>
                  <a:lnTo>
                    <a:pt x="1150" y="387"/>
                  </a:lnTo>
                  <a:lnTo>
                    <a:pt x="1150" y="389"/>
                  </a:lnTo>
                  <a:lnTo>
                    <a:pt x="1153" y="389"/>
                  </a:lnTo>
                  <a:lnTo>
                    <a:pt x="1150" y="389"/>
                  </a:lnTo>
                  <a:lnTo>
                    <a:pt x="1150" y="387"/>
                  </a:lnTo>
                  <a:lnTo>
                    <a:pt x="1150" y="389"/>
                  </a:lnTo>
                  <a:lnTo>
                    <a:pt x="1150" y="387"/>
                  </a:lnTo>
                  <a:lnTo>
                    <a:pt x="1148" y="387"/>
                  </a:lnTo>
                  <a:lnTo>
                    <a:pt x="1150" y="387"/>
                  </a:lnTo>
                  <a:lnTo>
                    <a:pt x="1150" y="389"/>
                  </a:lnTo>
                  <a:lnTo>
                    <a:pt x="1150" y="392"/>
                  </a:lnTo>
                  <a:lnTo>
                    <a:pt x="1150" y="389"/>
                  </a:lnTo>
                  <a:lnTo>
                    <a:pt x="1150" y="392"/>
                  </a:lnTo>
                  <a:lnTo>
                    <a:pt x="1148" y="392"/>
                  </a:lnTo>
                  <a:lnTo>
                    <a:pt x="1148" y="389"/>
                  </a:lnTo>
                  <a:lnTo>
                    <a:pt x="1148" y="392"/>
                  </a:lnTo>
                  <a:lnTo>
                    <a:pt x="1150" y="392"/>
                  </a:lnTo>
                  <a:lnTo>
                    <a:pt x="1148" y="392"/>
                  </a:lnTo>
                  <a:lnTo>
                    <a:pt x="1150" y="392"/>
                  </a:lnTo>
                  <a:lnTo>
                    <a:pt x="1153" y="392"/>
                  </a:lnTo>
                  <a:lnTo>
                    <a:pt x="1153" y="394"/>
                  </a:lnTo>
                  <a:lnTo>
                    <a:pt x="1155" y="394"/>
                  </a:lnTo>
                  <a:lnTo>
                    <a:pt x="1153" y="394"/>
                  </a:lnTo>
                  <a:lnTo>
                    <a:pt x="1153" y="392"/>
                  </a:lnTo>
                  <a:lnTo>
                    <a:pt x="1150" y="392"/>
                  </a:lnTo>
                  <a:lnTo>
                    <a:pt x="1148" y="392"/>
                  </a:lnTo>
                  <a:lnTo>
                    <a:pt x="1146" y="389"/>
                  </a:lnTo>
                  <a:lnTo>
                    <a:pt x="1143" y="389"/>
                  </a:lnTo>
                  <a:lnTo>
                    <a:pt x="1141" y="389"/>
                  </a:lnTo>
                  <a:lnTo>
                    <a:pt x="1143" y="389"/>
                  </a:lnTo>
                  <a:lnTo>
                    <a:pt x="1141" y="389"/>
                  </a:lnTo>
                  <a:lnTo>
                    <a:pt x="1143" y="389"/>
                  </a:lnTo>
                  <a:lnTo>
                    <a:pt x="1143" y="392"/>
                  </a:lnTo>
                  <a:lnTo>
                    <a:pt x="1141" y="392"/>
                  </a:lnTo>
                  <a:lnTo>
                    <a:pt x="1138" y="392"/>
                  </a:lnTo>
                  <a:lnTo>
                    <a:pt x="1138" y="389"/>
                  </a:lnTo>
                  <a:lnTo>
                    <a:pt x="1136" y="389"/>
                  </a:lnTo>
                  <a:lnTo>
                    <a:pt x="1138" y="389"/>
                  </a:lnTo>
                  <a:lnTo>
                    <a:pt x="1136" y="389"/>
                  </a:lnTo>
                  <a:lnTo>
                    <a:pt x="1136" y="392"/>
                  </a:lnTo>
                  <a:lnTo>
                    <a:pt x="1138" y="392"/>
                  </a:lnTo>
                  <a:lnTo>
                    <a:pt x="1136" y="392"/>
                  </a:lnTo>
                  <a:lnTo>
                    <a:pt x="1134" y="392"/>
                  </a:lnTo>
                  <a:lnTo>
                    <a:pt x="1134" y="389"/>
                  </a:lnTo>
                  <a:lnTo>
                    <a:pt x="1131" y="389"/>
                  </a:lnTo>
                  <a:lnTo>
                    <a:pt x="1131" y="387"/>
                  </a:lnTo>
                  <a:lnTo>
                    <a:pt x="1131" y="385"/>
                  </a:lnTo>
                  <a:lnTo>
                    <a:pt x="1129" y="387"/>
                  </a:lnTo>
                  <a:lnTo>
                    <a:pt x="1131" y="387"/>
                  </a:lnTo>
                  <a:lnTo>
                    <a:pt x="1131" y="389"/>
                  </a:lnTo>
                  <a:lnTo>
                    <a:pt x="1129" y="389"/>
                  </a:lnTo>
                  <a:lnTo>
                    <a:pt x="1129" y="387"/>
                  </a:lnTo>
                  <a:lnTo>
                    <a:pt x="1127" y="387"/>
                  </a:lnTo>
                  <a:lnTo>
                    <a:pt x="1127" y="389"/>
                  </a:lnTo>
                  <a:lnTo>
                    <a:pt x="1127" y="387"/>
                  </a:lnTo>
                  <a:lnTo>
                    <a:pt x="1124" y="387"/>
                  </a:lnTo>
                  <a:lnTo>
                    <a:pt x="1122" y="385"/>
                  </a:lnTo>
                  <a:lnTo>
                    <a:pt x="1119" y="385"/>
                  </a:lnTo>
                  <a:lnTo>
                    <a:pt x="1119" y="382"/>
                  </a:lnTo>
                  <a:lnTo>
                    <a:pt x="1122" y="382"/>
                  </a:lnTo>
                  <a:lnTo>
                    <a:pt x="1124" y="385"/>
                  </a:lnTo>
                  <a:lnTo>
                    <a:pt x="1124" y="387"/>
                  </a:lnTo>
                  <a:lnTo>
                    <a:pt x="1127" y="387"/>
                  </a:lnTo>
                  <a:lnTo>
                    <a:pt x="1124" y="385"/>
                  </a:lnTo>
                  <a:lnTo>
                    <a:pt x="1124" y="382"/>
                  </a:lnTo>
                  <a:lnTo>
                    <a:pt x="1122" y="382"/>
                  </a:lnTo>
                  <a:lnTo>
                    <a:pt x="1124" y="382"/>
                  </a:lnTo>
                  <a:lnTo>
                    <a:pt x="1124" y="380"/>
                  </a:lnTo>
                  <a:lnTo>
                    <a:pt x="1127" y="380"/>
                  </a:lnTo>
                  <a:lnTo>
                    <a:pt x="1127" y="377"/>
                  </a:lnTo>
                  <a:lnTo>
                    <a:pt x="1124" y="377"/>
                  </a:lnTo>
                  <a:lnTo>
                    <a:pt x="1124" y="375"/>
                  </a:lnTo>
                  <a:lnTo>
                    <a:pt x="1122" y="375"/>
                  </a:lnTo>
                  <a:lnTo>
                    <a:pt x="1122" y="373"/>
                  </a:lnTo>
                  <a:lnTo>
                    <a:pt x="1119" y="373"/>
                  </a:lnTo>
                  <a:lnTo>
                    <a:pt x="1117" y="370"/>
                  </a:lnTo>
                  <a:lnTo>
                    <a:pt x="1119" y="370"/>
                  </a:lnTo>
                  <a:lnTo>
                    <a:pt x="1117" y="370"/>
                  </a:lnTo>
                  <a:lnTo>
                    <a:pt x="1119" y="370"/>
                  </a:lnTo>
                  <a:lnTo>
                    <a:pt x="1119" y="373"/>
                  </a:lnTo>
                  <a:lnTo>
                    <a:pt x="1119" y="370"/>
                  </a:lnTo>
                  <a:lnTo>
                    <a:pt x="1122" y="370"/>
                  </a:lnTo>
                  <a:lnTo>
                    <a:pt x="1122" y="373"/>
                  </a:lnTo>
                  <a:lnTo>
                    <a:pt x="1122" y="370"/>
                  </a:lnTo>
                  <a:lnTo>
                    <a:pt x="1124" y="370"/>
                  </a:lnTo>
                  <a:lnTo>
                    <a:pt x="1122" y="370"/>
                  </a:lnTo>
                  <a:lnTo>
                    <a:pt x="1124" y="370"/>
                  </a:lnTo>
                  <a:lnTo>
                    <a:pt x="1127" y="370"/>
                  </a:lnTo>
                  <a:lnTo>
                    <a:pt x="1127" y="373"/>
                  </a:lnTo>
                  <a:lnTo>
                    <a:pt x="1127" y="370"/>
                  </a:lnTo>
                  <a:lnTo>
                    <a:pt x="1124" y="370"/>
                  </a:lnTo>
                  <a:lnTo>
                    <a:pt x="1127" y="370"/>
                  </a:lnTo>
                  <a:lnTo>
                    <a:pt x="1129" y="370"/>
                  </a:lnTo>
                  <a:lnTo>
                    <a:pt x="1129" y="373"/>
                  </a:lnTo>
                  <a:lnTo>
                    <a:pt x="1131" y="373"/>
                  </a:lnTo>
                  <a:lnTo>
                    <a:pt x="1134" y="373"/>
                  </a:lnTo>
                  <a:lnTo>
                    <a:pt x="1134" y="375"/>
                  </a:lnTo>
                  <a:lnTo>
                    <a:pt x="1134" y="373"/>
                  </a:lnTo>
                  <a:lnTo>
                    <a:pt x="1131" y="373"/>
                  </a:lnTo>
                  <a:lnTo>
                    <a:pt x="1131" y="370"/>
                  </a:lnTo>
                  <a:lnTo>
                    <a:pt x="1134" y="370"/>
                  </a:lnTo>
                  <a:lnTo>
                    <a:pt x="1136" y="370"/>
                  </a:lnTo>
                  <a:lnTo>
                    <a:pt x="1138" y="370"/>
                  </a:lnTo>
                  <a:lnTo>
                    <a:pt x="1141" y="370"/>
                  </a:lnTo>
                  <a:lnTo>
                    <a:pt x="1143" y="370"/>
                  </a:lnTo>
                  <a:lnTo>
                    <a:pt x="1143" y="368"/>
                  </a:lnTo>
                  <a:lnTo>
                    <a:pt x="1141" y="368"/>
                  </a:lnTo>
                  <a:lnTo>
                    <a:pt x="1138" y="368"/>
                  </a:lnTo>
                  <a:lnTo>
                    <a:pt x="1138" y="370"/>
                  </a:lnTo>
                  <a:lnTo>
                    <a:pt x="1138" y="368"/>
                  </a:lnTo>
                  <a:lnTo>
                    <a:pt x="1136" y="368"/>
                  </a:lnTo>
                  <a:lnTo>
                    <a:pt x="1134" y="368"/>
                  </a:lnTo>
                  <a:lnTo>
                    <a:pt x="1134" y="366"/>
                  </a:lnTo>
                  <a:lnTo>
                    <a:pt x="1136" y="366"/>
                  </a:lnTo>
                  <a:lnTo>
                    <a:pt x="1138" y="366"/>
                  </a:lnTo>
                  <a:lnTo>
                    <a:pt x="1141" y="366"/>
                  </a:lnTo>
                  <a:lnTo>
                    <a:pt x="1143" y="366"/>
                  </a:lnTo>
                  <a:lnTo>
                    <a:pt x="1143" y="368"/>
                  </a:lnTo>
                  <a:lnTo>
                    <a:pt x="1146" y="368"/>
                  </a:lnTo>
                  <a:lnTo>
                    <a:pt x="1143" y="368"/>
                  </a:lnTo>
                  <a:lnTo>
                    <a:pt x="1146" y="368"/>
                  </a:lnTo>
                  <a:lnTo>
                    <a:pt x="1148" y="368"/>
                  </a:lnTo>
                  <a:lnTo>
                    <a:pt x="1148" y="370"/>
                  </a:lnTo>
                  <a:lnTo>
                    <a:pt x="1150" y="370"/>
                  </a:lnTo>
                  <a:lnTo>
                    <a:pt x="1148" y="370"/>
                  </a:lnTo>
                  <a:lnTo>
                    <a:pt x="1150" y="370"/>
                  </a:lnTo>
                  <a:lnTo>
                    <a:pt x="1148" y="370"/>
                  </a:lnTo>
                  <a:lnTo>
                    <a:pt x="1148" y="368"/>
                  </a:lnTo>
                  <a:lnTo>
                    <a:pt x="1146" y="368"/>
                  </a:lnTo>
                  <a:lnTo>
                    <a:pt x="1148" y="368"/>
                  </a:lnTo>
                  <a:lnTo>
                    <a:pt x="1146" y="366"/>
                  </a:lnTo>
                  <a:lnTo>
                    <a:pt x="1148" y="368"/>
                  </a:lnTo>
                  <a:lnTo>
                    <a:pt x="1148" y="366"/>
                  </a:lnTo>
                  <a:lnTo>
                    <a:pt x="1146" y="368"/>
                  </a:lnTo>
                  <a:lnTo>
                    <a:pt x="1143" y="368"/>
                  </a:lnTo>
                  <a:lnTo>
                    <a:pt x="1143" y="366"/>
                  </a:lnTo>
                  <a:lnTo>
                    <a:pt x="1141" y="366"/>
                  </a:lnTo>
                  <a:lnTo>
                    <a:pt x="1138" y="366"/>
                  </a:lnTo>
                  <a:lnTo>
                    <a:pt x="1138" y="363"/>
                  </a:lnTo>
                  <a:lnTo>
                    <a:pt x="1141" y="363"/>
                  </a:lnTo>
                  <a:lnTo>
                    <a:pt x="1141" y="366"/>
                  </a:lnTo>
                  <a:lnTo>
                    <a:pt x="1138" y="363"/>
                  </a:lnTo>
                  <a:lnTo>
                    <a:pt x="1138" y="361"/>
                  </a:lnTo>
                  <a:lnTo>
                    <a:pt x="1136" y="361"/>
                  </a:lnTo>
                  <a:lnTo>
                    <a:pt x="1136" y="363"/>
                  </a:lnTo>
                  <a:lnTo>
                    <a:pt x="1136" y="361"/>
                  </a:lnTo>
                  <a:lnTo>
                    <a:pt x="1136" y="363"/>
                  </a:lnTo>
                  <a:lnTo>
                    <a:pt x="1134" y="363"/>
                  </a:lnTo>
                  <a:lnTo>
                    <a:pt x="1136" y="363"/>
                  </a:lnTo>
                  <a:lnTo>
                    <a:pt x="1134" y="363"/>
                  </a:lnTo>
                  <a:lnTo>
                    <a:pt x="1134" y="366"/>
                  </a:lnTo>
                  <a:lnTo>
                    <a:pt x="1131" y="366"/>
                  </a:lnTo>
                  <a:lnTo>
                    <a:pt x="1129" y="363"/>
                  </a:lnTo>
                  <a:lnTo>
                    <a:pt x="1127" y="363"/>
                  </a:lnTo>
                  <a:lnTo>
                    <a:pt x="1129" y="363"/>
                  </a:lnTo>
                  <a:lnTo>
                    <a:pt x="1129" y="366"/>
                  </a:lnTo>
                  <a:lnTo>
                    <a:pt x="1127" y="366"/>
                  </a:lnTo>
                  <a:lnTo>
                    <a:pt x="1124" y="366"/>
                  </a:lnTo>
                  <a:lnTo>
                    <a:pt x="1127" y="366"/>
                  </a:lnTo>
                  <a:lnTo>
                    <a:pt x="1124" y="363"/>
                  </a:lnTo>
                  <a:lnTo>
                    <a:pt x="1122" y="363"/>
                  </a:lnTo>
                  <a:lnTo>
                    <a:pt x="1119" y="363"/>
                  </a:lnTo>
                  <a:lnTo>
                    <a:pt x="1122" y="363"/>
                  </a:lnTo>
                  <a:lnTo>
                    <a:pt x="1119" y="363"/>
                  </a:lnTo>
                  <a:lnTo>
                    <a:pt x="1117" y="361"/>
                  </a:lnTo>
                  <a:lnTo>
                    <a:pt x="1117" y="358"/>
                  </a:lnTo>
                  <a:lnTo>
                    <a:pt x="1117" y="361"/>
                  </a:lnTo>
                  <a:lnTo>
                    <a:pt x="1117" y="358"/>
                  </a:lnTo>
                  <a:lnTo>
                    <a:pt x="1119" y="358"/>
                  </a:lnTo>
                  <a:lnTo>
                    <a:pt x="1117" y="358"/>
                  </a:lnTo>
                  <a:lnTo>
                    <a:pt x="1115" y="358"/>
                  </a:lnTo>
                  <a:lnTo>
                    <a:pt x="1115" y="356"/>
                  </a:lnTo>
                  <a:lnTo>
                    <a:pt x="1112" y="356"/>
                  </a:lnTo>
                  <a:lnTo>
                    <a:pt x="1112" y="354"/>
                  </a:lnTo>
                  <a:lnTo>
                    <a:pt x="1112" y="351"/>
                  </a:lnTo>
                  <a:lnTo>
                    <a:pt x="1112" y="349"/>
                  </a:lnTo>
                  <a:lnTo>
                    <a:pt x="1112" y="351"/>
                  </a:lnTo>
                  <a:lnTo>
                    <a:pt x="1112" y="349"/>
                  </a:lnTo>
                  <a:lnTo>
                    <a:pt x="1110" y="349"/>
                  </a:lnTo>
                  <a:lnTo>
                    <a:pt x="1112" y="349"/>
                  </a:lnTo>
                  <a:lnTo>
                    <a:pt x="1110" y="349"/>
                  </a:lnTo>
                  <a:lnTo>
                    <a:pt x="1112" y="349"/>
                  </a:lnTo>
                  <a:lnTo>
                    <a:pt x="1112" y="347"/>
                  </a:lnTo>
                  <a:lnTo>
                    <a:pt x="1110" y="347"/>
                  </a:lnTo>
                  <a:lnTo>
                    <a:pt x="1112" y="347"/>
                  </a:lnTo>
                  <a:lnTo>
                    <a:pt x="1112" y="349"/>
                  </a:lnTo>
                  <a:lnTo>
                    <a:pt x="1112" y="347"/>
                  </a:lnTo>
                  <a:lnTo>
                    <a:pt x="1112" y="349"/>
                  </a:lnTo>
                  <a:lnTo>
                    <a:pt x="1112" y="347"/>
                  </a:lnTo>
                  <a:lnTo>
                    <a:pt x="1115" y="347"/>
                  </a:lnTo>
                  <a:lnTo>
                    <a:pt x="1112" y="347"/>
                  </a:lnTo>
                  <a:lnTo>
                    <a:pt x="1115" y="347"/>
                  </a:lnTo>
                  <a:lnTo>
                    <a:pt x="1112" y="347"/>
                  </a:lnTo>
                  <a:lnTo>
                    <a:pt x="1112" y="344"/>
                  </a:lnTo>
                  <a:lnTo>
                    <a:pt x="1115" y="344"/>
                  </a:lnTo>
                  <a:lnTo>
                    <a:pt x="1117" y="342"/>
                  </a:lnTo>
                  <a:lnTo>
                    <a:pt x="1117" y="344"/>
                  </a:lnTo>
                  <a:lnTo>
                    <a:pt x="1117" y="342"/>
                  </a:lnTo>
                  <a:lnTo>
                    <a:pt x="1115" y="342"/>
                  </a:lnTo>
                  <a:lnTo>
                    <a:pt x="1112" y="342"/>
                  </a:lnTo>
                  <a:lnTo>
                    <a:pt x="1110" y="344"/>
                  </a:lnTo>
                  <a:lnTo>
                    <a:pt x="1110" y="342"/>
                  </a:lnTo>
                  <a:lnTo>
                    <a:pt x="1110" y="344"/>
                  </a:lnTo>
                  <a:lnTo>
                    <a:pt x="1108" y="344"/>
                  </a:lnTo>
                  <a:lnTo>
                    <a:pt x="1110" y="344"/>
                  </a:lnTo>
                  <a:lnTo>
                    <a:pt x="1108" y="344"/>
                  </a:lnTo>
                  <a:lnTo>
                    <a:pt x="1110" y="344"/>
                  </a:lnTo>
                  <a:lnTo>
                    <a:pt x="1108" y="344"/>
                  </a:lnTo>
                  <a:lnTo>
                    <a:pt x="1108" y="347"/>
                  </a:lnTo>
                  <a:lnTo>
                    <a:pt x="1108" y="344"/>
                  </a:lnTo>
                  <a:lnTo>
                    <a:pt x="1108" y="347"/>
                  </a:lnTo>
                  <a:lnTo>
                    <a:pt x="1105" y="347"/>
                  </a:lnTo>
                  <a:lnTo>
                    <a:pt x="1108" y="347"/>
                  </a:lnTo>
                  <a:lnTo>
                    <a:pt x="1105" y="347"/>
                  </a:lnTo>
                  <a:lnTo>
                    <a:pt x="1105" y="349"/>
                  </a:lnTo>
                  <a:lnTo>
                    <a:pt x="1108" y="349"/>
                  </a:lnTo>
                  <a:lnTo>
                    <a:pt x="1105" y="349"/>
                  </a:lnTo>
                  <a:lnTo>
                    <a:pt x="1105" y="347"/>
                  </a:lnTo>
                  <a:lnTo>
                    <a:pt x="1103" y="347"/>
                  </a:lnTo>
                  <a:lnTo>
                    <a:pt x="1103" y="344"/>
                  </a:lnTo>
                  <a:lnTo>
                    <a:pt x="1101" y="344"/>
                  </a:lnTo>
                  <a:lnTo>
                    <a:pt x="1103" y="347"/>
                  </a:lnTo>
                  <a:lnTo>
                    <a:pt x="1101" y="347"/>
                  </a:lnTo>
                  <a:lnTo>
                    <a:pt x="1098" y="347"/>
                  </a:lnTo>
                  <a:lnTo>
                    <a:pt x="1098" y="349"/>
                  </a:lnTo>
                  <a:lnTo>
                    <a:pt x="1101" y="349"/>
                  </a:lnTo>
                  <a:lnTo>
                    <a:pt x="1103" y="351"/>
                  </a:lnTo>
                  <a:lnTo>
                    <a:pt x="1101" y="351"/>
                  </a:lnTo>
                  <a:lnTo>
                    <a:pt x="1098" y="351"/>
                  </a:lnTo>
                  <a:lnTo>
                    <a:pt x="1098" y="349"/>
                  </a:lnTo>
                  <a:lnTo>
                    <a:pt x="1098" y="351"/>
                  </a:lnTo>
                  <a:lnTo>
                    <a:pt x="1101" y="351"/>
                  </a:lnTo>
                  <a:lnTo>
                    <a:pt x="1098" y="351"/>
                  </a:lnTo>
                  <a:lnTo>
                    <a:pt x="1098" y="349"/>
                  </a:lnTo>
                  <a:lnTo>
                    <a:pt x="1098" y="347"/>
                  </a:lnTo>
                  <a:lnTo>
                    <a:pt x="1096" y="347"/>
                  </a:lnTo>
                  <a:lnTo>
                    <a:pt x="1098" y="347"/>
                  </a:lnTo>
                  <a:lnTo>
                    <a:pt x="1096" y="347"/>
                  </a:lnTo>
                  <a:lnTo>
                    <a:pt x="1098" y="347"/>
                  </a:lnTo>
                  <a:lnTo>
                    <a:pt x="1096" y="347"/>
                  </a:lnTo>
                  <a:lnTo>
                    <a:pt x="1093" y="347"/>
                  </a:lnTo>
                  <a:lnTo>
                    <a:pt x="1096" y="349"/>
                  </a:lnTo>
                  <a:lnTo>
                    <a:pt x="1093" y="347"/>
                  </a:lnTo>
                  <a:lnTo>
                    <a:pt x="1096" y="349"/>
                  </a:lnTo>
                  <a:lnTo>
                    <a:pt x="1093" y="349"/>
                  </a:lnTo>
                  <a:lnTo>
                    <a:pt x="1096" y="349"/>
                  </a:lnTo>
                  <a:lnTo>
                    <a:pt x="1093" y="349"/>
                  </a:lnTo>
                  <a:lnTo>
                    <a:pt x="1093" y="347"/>
                  </a:lnTo>
                  <a:lnTo>
                    <a:pt x="1091" y="347"/>
                  </a:lnTo>
                  <a:lnTo>
                    <a:pt x="1091" y="344"/>
                  </a:lnTo>
                  <a:lnTo>
                    <a:pt x="1091" y="342"/>
                  </a:lnTo>
                  <a:lnTo>
                    <a:pt x="1089" y="342"/>
                  </a:lnTo>
                  <a:lnTo>
                    <a:pt x="1089" y="339"/>
                  </a:lnTo>
                  <a:lnTo>
                    <a:pt x="1086" y="339"/>
                  </a:lnTo>
                  <a:lnTo>
                    <a:pt x="1089" y="339"/>
                  </a:lnTo>
                  <a:lnTo>
                    <a:pt x="1089" y="337"/>
                  </a:lnTo>
                  <a:lnTo>
                    <a:pt x="1086" y="337"/>
                  </a:lnTo>
                  <a:lnTo>
                    <a:pt x="1086" y="335"/>
                  </a:lnTo>
                  <a:lnTo>
                    <a:pt x="1086" y="332"/>
                  </a:lnTo>
                  <a:lnTo>
                    <a:pt x="1086" y="330"/>
                  </a:lnTo>
                  <a:lnTo>
                    <a:pt x="1084" y="330"/>
                  </a:lnTo>
                  <a:lnTo>
                    <a:pt x="1084" y="332"/>
                  </a:lnTo>
                  <a:lnTo>
                    <a:pt x="1086" y="332"/>
                  </a:lnTo>
                  <a:lnTo>
                    <a:pt x="1084" y="332"/>
                  </a:lnTo>
                  <a:lnTo>
                    <a:pt x="1084" y="335"/>
                  </a:lnTo>
                  <a:lnTo>
                    <a:pt x="1086" y="335"/>
                  </a:lnTo>
                  <a:lnTo>
                    <a:pt x="1086" y="337"/>
                  </a:lnTo>
                  <a:lnTo>
                    <a:pt x="1086" y="339"/>
                  </a:lnTo>
                  <a:lnTo>
                    <a:pt x="1084" y="339"/>
                  </a:lnTo>
                  <a:lnTo>
                    <a:pt x="1086" y="339"/>
                  </a:lnTo>
                  <a:lnTo>
                    <a:pt x="1084" y="339"/>
                  </a:lnTo>
                  <a:lnTo>
                    <a:pt x="1086" y="339"/>
                  </a:lnTo>
                  <a:lnTo>
                    <a:pt x="1084" y="342"/>
                  </a:lnTo>
                  <a:lnTo>
                    <a:pt x="1082" y="342"/>
                  </a:lnTo>
                  <a:lnTo>
                    <a:pt x="1084" y="342"/>
                  </a:lnTo>
                  <a:lnTo>
                    <a:pt x="1082" y="342"/>
                  </a:lnTo>
                  <a:lnTo>
                    <a:pt x="1082" y="339"/>
                  </a:lnTo>
                  <a:lnTo>
                    <a:pt x="1082" y="342"/>
                  </a:lnTo>
                  <a:lnTo>
                    <a:pt x="1082" y="344"/>
                  </a:lnTo>
                  <a:lnTo>
                    <a:pt x="1079" y="344"/>
                  </a:lnTo>
                  <a:lnTo>
                    <a:pt x="1079" y="342"/>
                  </a:lnTo>
                  <a:lnTo>
                    <a:pt x="1077" y="342"/>
                  </a:lnTo>
                  <a:lnTo>
                    <a:pt x="1077" y="339"/>
                  </a:lnTo>
                  <a:lnTo>
                    <a:pt x="1079" y="339"/>
                  </a:lnTo>
                  <a:lnTo>
                    <a:pt x="1077" y="339"/>
                  </a:lnTo>
                  <a:lnTo>
                    <a:pt x="1077" y="337"/>
                  </a:lnTo>
                  <a:lnTo>
                    <a:pt x="1077" y="335"/>
                  </a:lnTo>
                  <a:lnTo>
                    <a:pt x="1077" y="337"/>
                  </a:lnTo>
                  <a:lnTo>
                    <a:pt x="1077" y="339"/>
                  </a:lnTo>
                  <a:lnTo>
                    <a:pt x="1074" y="339"/>
                  </a:lnTo>
                  <a:lnTo>
                    <a:pt x="1077" y="339"/>
                  </a:lnTo>
                  <a:lnTo>
                    <a:pt x="1077" y="342"/>
                  </a:lnTo>
                  <a:lnTo>
                    <a:pt x="1074" y="342"/>
                  </a:lnTo>
                  <a:lnTo>
                    <a:pt x="1074" y="344"/>
                  </a:lnTo>
                  <a:lnTo>
                    <a:pt x="1077" y="344"/>
                  </a:lnTo>
                  <a:lnTo>
                    <a:pt x="1077" y="347"/>
                  </a:lnTo>
                  <a:lnTo>
                    <a:pt x="1074" y="347"/>
                  </a:lnTo>
                  <a:lnTo>
                    <a:pt x="1077" y="347"/>
                  </a:lnTo>
                  <a:lnTo>
                    <a:pt x="1074" y="347"/>
                  </a:lnTo>
                  <a:lnTo>
                    <a:pt x="1074" y="344"/>
                  </a:lnTo>
                  <a:lnTo>
                    <a:pt x="1074" y="347"/>
                  </a:lnTo>
                  <a:lnTo>
                    <a:pt x="1072" y="347"/>
                  </a:lnTo>
                  <a:lnTo>
                    <a:pt x="1070" y="347"/>
                  </a:lnTo>
                  <a:lnTo>
                    <a:pt x="1067" y="347"/>
                  </a:lnTo>
                  <a:lnTo>
                    <a:pt x="1065" y="347"/>
                  </a:lnTo>
                  <a:lnTo>
                    <a:pt x="1063" y="344"/>
                  </a:lnTo>
                  <a:lnTo>
                    <a:pt x="1060" y="344"/>
                  </a:lnTo>
                  <a:lnTo>
                    <a:pt x="1058" y="344"/>
                  </a:lnTo>
                  <a:lnTo>
                    <a:pt x="1058" y="342"/>
                  </a:lnTo>
                  <a:lnTo>
                    <a:pt x="1058" y="344"/>
                  </a:lnTo>
                  <a:lnTo>
                    <a:pt x="1055" y="342"/>
                  </a:lnTo>
                  <a:lnTo>
                    <a:pt x="1055" y="339"/>
                  </a:lnTo>
                  <a:lnTo>
                    <a:pt x="1053" y="339"/>
                  </a:lnTo>
                  <a:lnTo>
                    <a:pt x="1055" y="339"/>
                  </a:lnTo>
                  <a:lnTo>
                    <a:pt x="1053" y="339"/>
                  </a:lnTo>
                  <a:lnTo>
                    <a:pt x="1055" y="339"/>
                  </a:lnTo>
                  <a:lnTo>
                    <a:pt x="1055" y="337"/>
                  </a:lnTo>
                  <a:lnTo>
                    <a:pt x="1053" y="337"/>
                  </a:lnTo>
                  <a:lnTo>
                    <a:pt x="1053" y="335"/>
                  </a:lnTo>
                  <a:lnTo>
                    <a:pt x="1053" y="332"/>
                  </a:lnTo>
                  <a:lnTo>
                    <a:pt x="1051" y="332"/>
                  </a:lnTo>
                  <a:lnTo>
                    <a:pt x="1053" y="332"/>
                  </a:lnTo>
                  <a:lnTo>
                    <a:pt x="1051" y="332"/>
                  </a:lnTo>
                  <a:lnTo>
                    <a:pt x="1051" y="330"/>
                  </a:lnTo>
                  <a:lnTo>
                    <a:pt x="1051" y="328"/>
                  </a:lnTo>
                  <a:lnTo>
                    <a:pt x="1048" y="325"/>
                  </a:lnTo>
                  <a:lnTo>
                    <a:pt x="1048" y="323"/>
                  </a:lnTo>
                  <a:lnTo>
                    <a:pt x="1051" y="323"/>
                  </a:lnTo>
                  <a:lnTo>
                    <a:pt x="1051" y="320"/>
                  </a:lnTo>
                  <a:lnTo>
                    <a:pt x="1051" y="318"/>
                  </a:lnTo>
                  <a:lnTo>
                    <a:pt x="1051" y="316"/>
                  </a:lnTo>
                  <a:lnTo>
                    <a:pt x="1053" y="316"/>
                  </a:lnTo>
                  <a:lnTo>
                    <a:pt x="1053" y="313"/>
                  </a:lnTo>
                  <a:lnTo>
                    <a:pt x="1053" y="311"/>
                  </a:lnTo>
                  <a:lnTo>
                    <a:pt x="1055" y="311"/>
                  </a:lnTo>
                  <a:lnTo>
                    <a:pt x="1055" y="309"/>
                  </a:lnTo>
                  <a:lnTo>
                    <a:pt x="1058" y="309"/>
                  </a:lnTo>
                  <a:lnTo>
                    <a:pt x="1060" y="306"/>
                  </a:lnTo>
                  <a:lnTo>
                    <a:pt x="1063" y="306"/>
                  </a:lnTo>
                  <a:lnTo>
                    <a:pt x="1063" y="304"/>
                  </a:lnTo>
                  <a:lnTo>
                    <a:pt x="1063" y="306"/>
                  </a:lnTo>
                  <a:lnTo>
                    <a:pt x="1063" y="304"/>
                  </a:lnTo>
                  <a:lnTo>
                    <a:pt x="1063" y="306"/>
                  </a:lnTo>
                  <a:lnTo>
                    <a:pt x="1065" y="306"/>
                  </a:lnTo>
                  <a:lnTo>
                    <a:pt x="1065" y="309"/>
                  </a:lnTo>
                  <a:lnTo>
                    <a:pt x="1067" y="309"/>
                  </a:lnTo>
                  <a:lnTo>
                    <a:pt x="1065" y="309"/>
                  </a:lnTo>
                  <a:lnTo>
                    <a:pt x="1067" y="309"/>
                  </a:lnTo>
                  <a:lnTo>
                    <a:pt x="1065" y="309"/>
                  </a:lnTo>
                  <a:lnTo>
                    <a:pt x="1067" y="309"/>
                  </a:lnTo>
                  <a:lnTo>
                    <a:pt x="1070" y="309"/>
                  </a:lnTo>
                  <a:lnTo>
                    <a:pt x="1070" y="311"/>
                  </a:lnTo>
                  <a:lnTo>
                    <a:pt x="1070" y="309"/>
                  </a:lnTo>
                  <a:lnTo>
                    <a:pt x="1072" y="309"/>
                  </a:lnTo>
                  <a:lnTo>
                    <a:pt x="1072" y="311"/>
                  </a:lnTo>
                  <a:lnTo>
                    <a:pt x="1072" y="309"/>
                  </a:lnTo>
                  <a:lnTo>
                    <a:pt x="1074" y="309"/>
                  </a:lnTo>
                  <a:lnTo>
                    <a:pt x="1074" y="306"/>
                  </a:lnTo>
                  <a:lnTo>
                    <a:pt x="1077" y="306"/>
                  </a:lnTo>
                  <a:lnTo>
                    <a:pt x="1074" y="306"/>
                  </a:lnTo>
                  <a:lnTo>
                    <a:pt x="1074" y="309"/>
                  </a:lnTo>
                  <a:lnTo>
                    <a:pt x="1077" y="309"/>
                  </a:lnTo>
                  <a:lnTo>
                    <a:pt x="1074" y="309"/>
                  </a:lnTo>
                  <a:lnTo>
                    <a:pt x="1074" y="311"/>
                  </a:lnTo>
                  <a:lnTo>
                    <a:pt x="1074" y="309"/>
                  </a:lnTo>
                  <a:lnTo>
                    <a:pt x="1077" y="309"/>
                  </a:lnTo>
                  <a:lnTo>
                    <a:pt x="1077" y="311"/>
                  </a:lnTo>
                  <a:lnTo>
                    <a:pt x="1077" y="309"/>
                  </a:lnTo>
                  <a:lnTo>
                    <a:pt x="1077" y="311"/>
                  </a:lnTo>
                  <a:lnTo>
                    <a:pt x="1077" y="309"/>
                  </a:lnTo>
                  <a:lnTo>
                    <a:pt x="1079" y="311"/>
                  </a:lnTo>
                  <a:lnTo>
                    <a:pt x="1082" y="311"/>
                  </a:lnTo>
                  <a:lnTo>
                    <a:pt x="1084" y="311"/>
                  </a:lnTo>
                  <a:lnTo>
                    <a:pt x="1082" y="311"/>
                  </a:lnTo>
                  <a:lnTo>
                    <a:pt x="1084" y="311"/>
                  </a:lnTo>
                  <a:lnTo>
                    <a:pt x="1082" y="311"/>
                  </a:lnTo>
                  <a:lnTo>
                    <a:pt x="1084" y="311"/>
                  </a:lnTo>
                  <a:lnTo>
                    <a:pt x="1084" y="309"/>
                  </a:lnTo>
                  <a:lnTo>
                    <a:pt x="1082" y="309"/>
                  </a:lnTo>
                  <a:lnTo>
                    <a:pt x="1082" y="306"/>
                  </a:lnTo>
                  <a:lnTo>
                    <a:pt x="1082" y="304"/>
                  </a:lnTo>
                  <a:lnTo>
                    <a:pt x="1082" y="306"/>
                  </a:lnTo>
                  <a:lnTo>
                    <a:pt x="1082" y="304"/>
                  </a:lnTo>
                  <a:lnTo>
                    <a:pt x="1084" y="304"/>
                  </a:lnTo>
                  <a:lnTo>
                    <a:pt x="1084" y="306"/>
                  </a:lnTo>
                  <a:lnTo>
                    <a:pt x="1086" y="306"/>
                  </a:lnTo>
                  <a:lnTo>
                    <a:pt x="1084" y="306"/>
                  </a:lnTo>
                  <a:lnTo>
                    <a:pt x="1086" y="306"/>
                  </a:lnTo>
                  <a:lnTo>
                    <a:pt x="1084" y="306"/>
                  </a:lnTo>
                  <a:lnTo>
                    <a:pt x="1084" y="304"/>
                  </a:lnTo>
                  <a:lnTo>
                    <a:pt x="1084" y="306"/>
                  </a:lnTo>
                  <a:lnTo>
                    <a:pt x="1086" y="306"/>
                  </a:lnTo>
                  <a:lnTo>
                    <a:pt x="1086" y="304"/>
                  </a:lnTo>
                  <a:lnTo>
                    <a:pt x="1084" y="304"/>
                  </a:lnTo>
                  <a:lnTo>
                    <a:pt x="1086" y="304"/>
                  </a:lnTo>
                  <a:lnTo>
                    <a:pt x="1084" y="304"/>
                  </a:lnTo>
                  <a:lnTo>
                    <a:pt x="1084" y="301"/>
                  </a:lnTo>
                  <a:lnTo>
                    <a:pt x="1082" y="301"/>
                  </a:lnTo>
                  <a:lnTo>
                    <a:pt x="1084" y="301"/>
                  </a:lnTo>
                  <a:lnTo>
                    <a:pt x="1086" y="301"/>
                  </a:lnTo>
                  <a:lnTo>
                    <a:pt x="1086" y="299"/>
                  </a:lnTo>
                  <a:lnTo>
                    <a:pt x="1084" y="299"/>
                  </a:lnTo>
                  <a:lnTo>
                    <a:pt x="1086" y="299"/>
                  </a:lnTo>
                  <a:lnTo>
                    <a:pt x="1084" y="299"/>
                  </a:lnTo>
                  <a:lnTo>
                    <a:pt x="1084" y="297"/>
                  </a:lnTo>
                  <a:lnTo>
                    <a:pt x="1084" y="299"/>
                  </a:lnTo>
                  <a:lnTo>
                    <a:pt x="1084" y="297"/>
                  </a:lnTo>
                  <a:lnTo>
                    <a:pt x="1084" y="299"/>
                  </a:lnTo>
                  <a:lnTo>
                    <a:pt x="1086" y="299"/>
                  </a:lnTo>
                  <a:lnTo>
                    <a:pt x="1089" y="299"/>
                  </a:lnTo>
                  <a:lnTo>
                    <a:pt x="1089" y="297"/>
                  </a:lnTo>
                  <a:lnTo>
                    <a:pt x="1091" y="297"/>
                  </a:lnTo>
                  <a:lnTo>
                    <a:pt x="1091" y="294"/>
                  </a:lnTo>
                  <a:lnTo>
                    <a:pt x="1089" y="294"/>
                  </a:lnTo>
                  <a:lnTo>
                    <a:pt x="1089" y="292"/>
                  </a:lnTo>
                  <a:lnTo>
                    <a:pt x="1086" y="292"/>
                  </a:lnTo>
                  <a:lnTo>
                    <a:pt x="1089" y="292"/>
                  </a:lnTo>
                  <a:lnTo>
                    <a:pt x="1091" y="292"/>
                  </a:lnTo>
                  <a:lnTo>
                    <a:pt x="1091" y="294"/>
                  </a:lnTo>
                  <a:lnTo>
                    <a:pt x="1093" y="294"/>
                  </a:lnTo>
                  <a:lnTo>
                    <a:pt x="1096" y="294"/>
                  </a:lnTo>
                  <a:lnTo>
                    <a:pt x="1098" y="294"/>
                  </a:lnTo>
                  <a:lnTo>
                    <a:pt x="1098" y="292"/>
                  </a:lnTo>
                  <a:lnTo>
                    <a:pt x="1098" y="294"/>
                  </a:lnTo>
                  <a:lnTo>
                    <a:pt x="1096" y="294"/>
                  </a:lnTo>
                  <a:lnTo>
                    <a:pt x="1093" y="294"/>
                  </a:lnTo>
                  <a:lnTo>
                    <a:pt x="1091" y="292"/>
                  </a:lnTo>
                  <a:lnTo>
                    <a:pt x="1093" y="290"/>
                  </a:lnTo>
                  <a:lnTo>
                    <a:pt x="1091" y="290"/>
                  </a:lnTo>
                  <a:lnTo>
                    <a:pt x="1091" y="287"/>
                  </a:lnTo>
                  <a:lnTo>
                    <a:pt x="1091" y="290"/>
                  </a:lnTo>
                  <a:lnTo>
                    <a:pt x="1093" y="287"/>
                  </a:lnTo>
                  <a:lnTo>
                    <a:pt x="1093" y="290"/>
                  </a:lnTo>
                  <a:lnTo>
                    <a:pt x="1093" y="287"/>
                  </a:lnTo>
                  <a:lnTo>
                    <a:pt x="1096" y="287"/>
                  </a:lnTo>
                  <a:lnTo>
                    <a:pt x="1093" y="287"/>
                  </a:lnTo>
                  <a:lnTo>
                    <a:pt x="1096" y="287"/>
                  </a:lnTo>
                  <a:lnTo>
                    <a:pt x="1093" y="287"/>
                  </a:lnTo>
                  <a:lnTo>
                    <a:pt x="1091" y="285"/>
                  </a:lnTo>
                  <a:lnTo>
                    <a:pt x="1093" y="285"/>
                  </a:lnTo>
                  <a:lnTo>
                    <a:pt x="1091" y="285"/>
                  </a:lnTo>
                  <a:lnTo>
                    <a:pt x="1091" y="287"/>
                  </a:lnTo>
                  <a:lnTo>
                    <a:pt x="1091" y="285"/>
                  </a:lnTo>
                  <a:lnTo>
                    <a:pt x="1093" y="285"/>
                  </a:lnTo>
                  <a:lnTo>
                    <a:pt x="1096" y="285"/>
                  </a:lnTo>
                  <a:lnTo>
                    <a:pt x="1096" y="282"/>
                  </a:lnTo>
                  <a:lnTo>
                    <a:pt x="1098" y="285"/>
                  </a:lnTo>
                  <a:lnTo>
                    <a:pt x="1098" y="282"/>
                  </a:lnTo>
                  <a:lnTo>
                    <a:pt x="1096" y="282"/>
                  </a:lnTo>
                  <a:lnTo>
                    <a:pt x="1098" y="282"/>
                  </a:lnTo>
                  <a:lnTo>
                    <a:pt x="1101" y="280"/>
                  </a:lnTo>
                  <a:lnTo>
                    <a:pt x="1098" y="280"/>
                  </a:lnTo>
                  <a:lnTo>
                    <a:pt x="1101" y="280"/>
                  </a:lnTo>
                  <a:lnTo>
                    <a:pt x="1103" y="280"/>
                  </a:lnTo>
                  <a:lnTo>
                    <a:pt x="1103" y="278"/>
                  </a:lnTo>
                  <a:lnTo>
                    <a:pt x="1105" y="280"/>
                  </a:lnTo>
                  <a:lnTo>
                    <a:pt x="1105" y="278"/>
                  </a:lnTo>
                  <a:lnTo>
                    <a:pt x="1105" y="280"/>
                  </a:lnTo>
                  <a:lnTo>
                    <a:pt x="1108" y="280"/>
                  </a:lnTo>
                  <a:lnTo>
                    <a:pt x="1110" y="280"/>
                  </a:lnTo>
                  <a:lnTo>
                    <a:pt x="1112" y="280"/>
                  </a:lnTo>
                  <a:lnTo>
                    <a:pt x="1110" y="280"/>
                  </a:lnTo>
                  <a:lnTo>
                    <a:pt x="1112" y="280"/>
                  </a:lnTo>
                  <a:lnTo>
                    <a:pt x="1110" y="280"/>
                  </a:lnTo>
                  <a:lnTo>
                    <a:pt x="1108" y="280"/>
                  </a:lnTo>
                  <a:lnTo>
                    <a:pt x="1108" y="278"/>
                  </a:lnTo>
                  <a:lnTo>
                    <a:pt x="1105" y="278"/>
                  </a:lnTo>
                  <a:lnTo>
                    <a:pt x="1103" y="278"/>
                  </a:lnTo>
                  <a:lnTo>
                    <a:pt x="1101" y="278"/>
                  </a:lnTo>
                  <a:lnTo>
                    <a:pt x="1098" y="278"/>
                  </a:lnTo>
                  <a:lnTo>
                    <a:pt x="1098" y="280"/>
                  </a:lnTo>
                  <a:lnTo>
                    <a:pt x="1096" y="280"/>
                  </a:lnTo>
                  <a:lnTo>
                    <a:pt x="1093" y="280"/>
                  </a:lnTo>
                  <a:lnTo>
                    <a:pt x="1091" y="280"/>
                  </a:lnTo>
                  <a:lnTo>
                    <a:pt x="1093" y="280"/>
                  </a:lnTo>
                  <a:lnTo>
                    <a:pt x="1091" y="280"/>
                  </a:lnTo>
                  <a:lnTo>
                    <a:pt x="1093" y="280"/>
                  </a:lnTo>
                  <a:lnTo>
                    <a:pt x="1093" y="278"/>
                  </a:lnTo>
                  <a:lnTo>
                    <a:pt x="1096" y="278"/>
                  </a:lnTo>
                  <a:lnTo>
                    <a:pt x="1096" y="275"/>
                  </a:lnTo>
                  <a:lnTo>
                    <a:pt x="1093" y="278"/>
                  </a:lnTo>
                  <a:lnTo>
                    <a:pt x="1093" y="275"/>
                  </a:lnTo>
                  <a:lnTo>
                    <a:pt x="1093" y="278"/>
                  </a:lnTo>
                  <a:lnTo>
                    <a:pt x="1093" y="275"/>
                  </a:lnTo>
                  <a:lnTo>
                    <a:pt x="1096" y="275"/>
                  </a:lnTo>
                  <a:lnTo>
                    <a:pt x="1098" y="275"/>
                  </a:lnTo>
                  <a:lnTo>
                    <a:pt x="1096" y="275"/>
                  </a:lnTo>
                  <a:lnTo>
                    <a:pt x="1098" y="275"/>
                  </a:lnTo>
                  <a:lnTo>
                    <a:pt x="1101" y="273"/>
                  </a:lnTo>
                  <a:lnTo>
                    <a:pt x="1103" y="273"/>
                  </a:lnTo>
                  <a:lnTo>
                    <a:pt x="1103" y="275"/>
                  </a:lnTo>
                  <a:lnTo>
                    <a:pt x="1105" y="275"/>
                  </a:lnTo>
                  <a:lnTo>
                    <a:pt x="1108" y="275"/>
                  </a:lnTo>
                  <a:lnTo>
                    <a:pt x="1110" y="275"/>
                  </a:lnTo>
                  <a:lnTo>
                    <a:pt x="1108" y="275"/>
                  </a:lnTo>
                  <a:lnTo>
                    <a:pt x="1110" y="275"/>
                  </a:lnTo>
                  <a:lnTo>
                    <a:pt x="1108" y="275"/>
                  </a:lnTo>
                  <a:lnTo>
                    <a:pt x="1105" y="275"/>
                  </a:lnTo>
                  <a:lnTo>
                    <a:pt x="1105" y="273"/>
                  </a:lnTo>
                  <a:lnTo>
                    <a:pt x="1103" y="273"/>
                  </a:lnTo>
                  <a:lnTo>
                    <a:pt x="1101" y="273"/>
                  </a:lnTo>
                  <a:lnTo>
                    <a:pt x="1098" y="273"/>
                  </a:lnTo>
                  <a:lnTo>
                    <a:pt x="1096" y="273"/>
                  </a:lnTo>
                  <a:lnTo>
                    <a:pt x="1096" y="275"/>
                  </a:lnTo>
                  <a:lnTo>
                    <a:pt x="1093" y="275"/>
                  </a:lnTo>
                  <a:lnTo>
                    <a:pt x="1093" y="273"/>
                  </a:lnTo>
                  <a:lnTo>
                    <a:pt x="1093" y="275"/>
                  </a:lnTo>
                  <a:lnTo>
                    <a:pt x="1091" y="273"/>
                  </a:lnTo>
                  <a:lnTo>
                    <a:pt x="1089" y="273"/>
                  </a:lnTo>
                  <a:lnTo>
                    <a:pt x="1089" y="275"/>
                  </a:lnTo>
                  <a:lnTo>
                    <a:pt x="1089" y="273"/>
                  </a:lnTo>
                  <a:lnTo>
                    <a:pt x="1086" y="273"/>
                  </a:lnTo>
                  <a:lnTo>
                    <a:pt x="1084" y="273"/>
                  </a:lnTo>
                  <a:lnTo>
                    <a:pt x="1084" y="271"/>
                  </a:lnTo>
                  <a:lnTo>
                    <a:pt x="1082" y="271"/>
                  </a:lnTo>
                  <a:lnTo>
                    <a:pt x="1082" y="268"/>
                  </a:lnTo>
                  <a:lnTo>
                    <a:pt x="1082" y="271"/>
                  </a:lnTo>
                  <a:lnTo>
                    <a:pt x="1084" y="271"/>
                  </a:lnTo>
                  <a:lnTo>
                    <a:pt x="1082" y="271"/>
                  </a:lnTo>
                  <a:lnTo>
                    <a:pt x="1084" y="268"/>
                  </a:lnTo>
                  <a:lnTo>
                    <a:pt x="1084" y="266"/>
                  </a:lnTo>
                  <a:lnTo>
                    <a:pt x="1086" y="266"/>
                  </a:lnTo>
                  <a:lnTo>
                    <a:pt x="1086" y="263"/>
                  </a:lnTo>
                  <a:lnTo>
                    <a:pt x="1089" y="263"/>
                  </a:lnTo>
                  <a:lnTo>
                    <a:pt x="1089" y="261"/>
                  </a:lnTo>
                  <a:lnTo>
                    <a:pt x="1091" y="261"/>
                  </a:lnTo>
                  <a:lnTo>
                    <a:pt x="1093" y="261"/>
                  </a:lnTo>
                  <a:lnTo>
                    <a:pt x="1096" y="261"/>
                  </a:lnTo>
                  <a:lnTo>
                    <a:pt x="1096" y="259"/>
                  </a:lnTo>
                  <a:lnTo>
                    <a:pt x="1098" y="259"/>
                  </a:lnTo>
                  <a:lnTo>
                    <a:pt x="1101" y="259"/>
                  </a:lnTo>
                  <a:lnTo>
                    <a:pt x="1103" y="259"/>
                  </a:lnTo>
                  <a:lnTo>
                    <a:pt x="1105" y="259"/>
                  </a:lnTo>
                  <a:lnTo>
                    <a:pt x="1108" y="259"/>
                  </a:lnTo>
                  <a:lnTo>
                    <a:pt x="1108" y="261"/>
                  </a:lnTo>
                  <a:lnTo>
                    <a:pt x="1110" y="261"/>
                  </a:lnTo>
                  <a:lnTo>
                    <a:pt x="1112" y="261"/>
                  </a:lnTo>
                  <a:lnTo>
                    <a:pt x="1110" y="261"/>
                  </a:lnTo>
                  <a:lnTo>
                    <a:pt x="1112" y="261"/>
                  </a:lnTo>
                  <a:lnTo>
                    <a:pt x="1115" y="261"/>
                  </a:lnTo>
                  <a:lnTo>
                    <a:pt x="1117" y="261"/>
                  </a:lnTo>
                  <a:lnTo>
                    <a:pt x="1119" y="261"/>
                  </a:lnTo>
                  <a:lnTo>
                    <a:pt x="1122" y="259"/>
                  </a:lnTo>
                  <a:lnTo>
                    <a:pt x="1119" y="259"/>
                  </a:lnTo>
                  <a:lnTo>
                    <a:pt x="1119" y="261"/>
                  </a:lnTo>
                  <a:lnTo>
                    <a:pt x="1119" y="259"/>
                  </a:lnTo>
                  <a:lnTo>
                    <a:pt x="1119" y="261"/>
                  </a:lnTo>
                  <a:lnTo>
                    <a:pt x="1117" y="261"/>
                  </a:lnTo>
                  <a:lnTo>
                    <a:pt x="1115" y="261"/>
                  </a:lnTo>
                  <a:lnTo>
                    <a:pt x="1117" y="261"/>
                  </a:lnTo>
                  <a:lnTo>
                    <a:pt x="1115" y="261"/>
                  </a:lnTo>
                  <a:lnTo>
                    <a:pt x="1115" y="259"/>
                  </a:lnTo>
                  <a:lnTo>
                    <a:pt x="1112" y="259"/>
                  </a:lnTo>
                  <a:lnTo>
                    <a:pt x="1110" y="259"/>
                  </a:lnTo>
                  <a:lnTo>
                    <a:pt x="1112" y="259"/>
                  </a:lnTo>
                  <a:lnTo>
                    <a:pt x="1115" y="259"/>
                  </a:lnTo>
                  <a:lnTo>
                    <a:pt x="1112" y="259"/>
                  </a:lnTo>
                  <a:lnTo>
                    <a:pt x="1110" y="259"/>
                  </a:lnTo>
                  <a:lnTo>
                    <a:pt x="1108" y="259"/>
                  </a:lnTo>
                  <a:lnTo>
                    <a:pt x="1105" y="259"/>
                  </a:lnTo>
                  <a:lnTo>
                    <a:pt x="1105" y="256"/>
                  </a:lnTo>
                  <a:lnTo>
                    <a:pt x="1103" y="256"/>
                  </a:lnTo>
                  <a:lnTo>
                    <a:pt x="1105" y="256"/>
                  </a:lnTo>
                  <a:lnTo>
                    <a:pt x="1105" y="254"/>
                  </a:lnTo>
                  <a:lnTo>
                    <a:pt x="1108" y="254"/>
                  </a:lnTo>
                  <a:lnTo>
                    <a:pt x="1108" y="252"/>
                  </a:lnTo>
                  <a:lnTo>
                    <a:pt x="1110" y="252"/>
                  </a:lnTo>
                  <a:lnTo>
                    <a:pt x="1110" y="254"/>
                  </a:lnTo>
                  <a:lnTo>
                    <a:pt x="1112" y="254"/>
                  </a:lnTo>
                  <a:lnTo>
                    <a:pt x="1115" y="254"/>
                  </a:lnTo>
                  <a:lnTo>
                    <a:pt x="1115" y="252"/>
                  </a:lnTo>
                  <a:lnTo>
                    <a:pt x="1112" y="252"/>
                  </a:lnTo>
                  <a:lnTo>
                    <a:pt x="1110" y="252"/>
                  </a:lnTo>
                  <a:lnTo>
                    <a:pt x="1112" y="252"/>
                  </a:lnTo>
                  <a:lnTo>
                    <a:pt x="1110" y="252"/>
                  </a:lnTo>
                  <a:lnTo>
                    <a:pt x="1112" y="252"/>
                  </a:lnTo>
                  <a:lnTo>
                    <a:pt x="1112" y="249"/>
                  </a:lnTo>
                  <a:lnTo>
                    <a:pt x="1110" y="249"/>
                  </a:lnTo>
                  <a:lnTo>
                    <a:pt x="1108" y="249"/>
                  </a:lnTo>
                  <a:lnTo>
                    <a:pt x="1108" y="247"/>
                  </a:lnTo>
                  <a:lnTo>
                    <a:pt x="1105" y="247"/>
                  </a:lnTo>
                  <a:lnTo>
                    <a:pt x="1108" y="247"/>
                  </a:lnTo>
                  <a:lnTo>
                    <a:pt x="1108" y="244"/>
                  </a:lnTo>
                  <a:lnTo>
                    <a:pt x="1110" y="244"/>
                  </a:lnTo>
                  <a:lnTo>
                    <a:pt x="1110" y="242"/>
                  </a:lnTo>
                  <a:lnTo>
                    <a:pt x="1112" y="242"/>
                  </a:lnTo>
                  <a:lnTo>
                    <a:pt x="1112" y="240"/>
                  </a:lnTo>
                  <a:lnTo>
                    <a:pt x="1115" y="240"/>
                  </a:lnTo>
                  <a:lnTo>
                    <a:pt x="1115" y="237"/>
                  </a:lnTo>
                  <a:lnTo>
                    <a:pt x="1117" y="237"/>
                  </a:lnTo>
                  <a:lnTo>
                    <a:pt x="1117" y="240"/>
                  </a:lnTo>
                  <a:lnTo>
                    <a:pt x="1117" y="237"/>
                  </a:lnTo>
                  <a:lnTo>
                    <a:pt x="1117" y="240"/>
                  </a:lnTo>
                  <a:lnTo>
                    <a:pt x="1119" y="240"/>
                  </a:lnTo>
                  <a:lnTo>
                    <a:pt x="1122" y="240"/>
                  </a:lnTo>
                  <a:lnTo>
                    <a:pt x="1122" y="237"/>
                  </a:lnTo>
                  <a:lnTo>
                    <a:pt x="1124" y="237"/>
                  </a:lnTo>
                  <a:lnTo>
                    <a:pt x="1124" y="235"/>
                  </a:lnTo>
                  <a:lnTo>
                    <a:pt x="1127" y="235"/>
                  </a:lnTo>
                  <a:lnTo>
                    <a:pt x="1129" y="235"/>
                  </a:lnTo>
                  <a:lnTo>
                    <a:pt x="1131" y="235"/>
                  </a:lnTo>
                  <a:lnTo>
                    <a:pt x="1129" y="235"/>
                  </a:lnTo>
                  <a:lnTo>
                    <a:pt x="1131" y="235"/>
                  </a:lnTo>
                  <a:lnTo>
                    <a:pt x="1134" y="235"/>
                  </a:lnTo>
                  <a:lnTo>
                    <a:pt x="1136" y="235"/>
                  </a:lnTo>
                  <a:lnTo>
                    <a:pt x="1134" y="235"/>
                  </a:lnTo>
                  <a:lnTo>
                    <a:pt x="1136" y="235"/>
                  </a:lnTo>
                  <a:lnTo>
                    <a:pt x="1134" y="235"/>
                  </a:lnTo>
                  <a:lnTo>
                    <a:pt x="1134" y="237"/>
                  </a:lnTo>
                  <a:lnTo>
                    <a:pt x="1136" y="237"/>
                  </a:lnTo>
                  <a:lnTo>
                    <a:pt x="1138" y="237"/>
                  </a:lnTo>
                  <a:lnTo>
                    <a:pt x="1141" y="237"/>
                  </a:lnTo>
                  <a:lnTo>
                    <a:pt x="1143" y="237"/>
                  </a:lnTo>
                  <a:lnTo>
                    <a:pt x="1143" y="235"/>
                  </a:lnTo>
                  <a:lnTo>
                    <a:pt x="1146" y="235"/>
                  </a:lnTo>
                  <a:lnTo>
                    <a:pt x="1148" y="235"/>
                  </a:lnTo>
                  <a:lnTo>
                    <a:pt x="1150" y="235"/>
                  </a:lnTo>
                  <a:lnTo>
                    <a:pt x="1148" y="235"/>
                  </a:lnTo>
                  <a:lnTo>
                    <a:pt x="1150" y="235"/>
                  </a:lnTo>
                  <a:lnTo>
                    <a:pt x="1150" y="237"/>
                  </a:lnTo>
                  <a:lnTo>
                    <a:pt x="1150" y="235"/>
                  </a:lnTo>
                  <a:lnTo>
                    <a:pt x="1150" y="237"/>
                  </a:lnTo>
                  <a:lnTo>
                    <a:pt x="1150" y="235"/>
                  </a:lnTo>
                  <a:lnTo>
                    <a:pt x="1150" y="237"/>
                  </a:lnTo>
                  <a:lnTo>
                    <a:pt x="1150" y="235"/>
                  </a:lnTo>
                  <a:lnTo>
                    <a:pt x="1153" y="235"/>
                  </a:lnTo>
                  <a:lnTo>
                    <a:pt x="1150" y="235"/>
                  </a:lnTo>
                  <a:lnTo>
                    <a:pt x="1148" y="235"/>
                  </a:lnTo>
                  <a:lnTo>
                    <a:pt x="1148" y="232"/>
                  </a:lnTo>
                  <a:lnTo>
                    <a:pt x="1148" y="235"/>
                  </a:lnTo>
                  <a:lnTo>
                    <a:pt x="1148" y="232"/>
                  </a:lnTo>
                  <a:lnTo>
                    <a:pt x="1150" y="232"/>
                  </a:lnTo>
                  <a:lnTo>
                    <a:pt x="1150" y="230"/>
                  </a:lnTo>
                  <a:lnTo>
                    <a:pt x="1153" y="230"/>
                  </a:lnTo>
                  <a:lnTo>
                    <a:pt x="1155" y="230"/>
                  </a:lnTo>
                  <a:lnTo>
                    <a:pt x="1157" y="230"/>
                  </a:lnTo>
                  <a:lnTo>
                    <a:pt x="1160" y="230"/>
                  </a:lnTo>
                  <a:lnTo>
                    <a:pt x="1160" y="232"/>
                  </a:lnTo>
                  <a:lnTo>
                    <a:pt x="1160" y="230"/>
                  </a:lnTo>
                  <a:lnTo>
                    <a:pt x="1157" y="230"/>
                  </a:lnTo>
                  <a:lnTo>
                    <a:pt x="1155" y="230"/>
                  </a:lnTo>
                  <a:lnTo>
                    <a:pt x="1157" y="230"/>
                  </a:lnTo>
                  <a:lnTo>
                    <a:pt x="1157" y="228"/>
                  </a:lnTo>
                  <a:lnTo>
                    <a:pt x="1160" y="228"/>
                  </a:lnTo>
                  <a:lnTo>
                    <a:pt x="1162" y="228"/>
                  </a:lnTo>
                  <a:lnTo>
                    <a:pt x="1165" y="228"/>
                  </a:lnTo>
                  <a:lnTo>
                    <a:pt x="1165" y="225"/>
                  </a:lnTo>
                  <a:lnTo>
                    <a:pt x="1165" y="228"/>
                  </a:lnTo>
                  <a:lnTo>
                    <a:pt x="1167" y="228"/>
                  </a:lnTo>
                  <a:lnTo>
                    <a:pt x="1169" y="228"/>
                  </a:lnTo>
                  <a:lnTo>
                    <a:pt x="1172" y="228"/>
                  </a:lnTo>
                  <a:lnTo>
                    <a:pt x="1174" y="230"/>
                  </a:lnTo>
                  <a:lnTo>
                    <a:pt x="1176" y="230"/>
                  </a:lnTo>
                  <a:lnTo>
                    <a:pt x="1176" y="232"/>
                  </a:lnTo>
                  <a:lnTo>
                    <a:pt x="1179" y="232"/>
                  </a:lnTo>
                  <a:lnTo>
                    <a:pt x="1181" y="232"/>
                  </a:lnTo>
                  <a:lnTo>
                    <a:pt x="1184" y="232"/>
                  </a:lnTo>
                  <a:lnTo>
                    <a:pt x="1184" y="235"/>
                  </a:lnTo>
                  <a:lnTo>
                    <a:pt x="1184" y="232"/>
                  </a:lnTo>
                  <a:lnTo>
                    <a:pt x="1186" y="232"/>
                  </a:lnTo>
                  <a:lnTo>
                    <a:pt x="1188" y="232"/>
                  </a:lnTo>
                  <a:lnTo>
                    <a:pt x="1191" y="232"/>
                  </a:lnTo>
                  <a:lnTo>
                    <a:pt x="1193" y="232"/>
                  </a:lnTo>
                  <a:lnTo>
                    <a:pt x="1193" y="235"/>
                  </a:lnTo>
                  <a:lnTo>
                    <a:pt x="1195" y="235"/>
                  </a:lnTo>
                  <a:lnTo>
                    <a:pt x="1193" y="235"/>
                  </a:lnTo>
                  <a:lnTo>
                    <a:pt x="1195" y="235"/>
                  </a:lnTo>
                  <a:lnTo>
                    <a:pt x="1198" y="237"/>
                  </a:lnTo>
                  <a:lnTo>
                    <a:pt x="1198" y="235"/>
                  </a:lnTo>
                  <a:lnTo>
                    <a:pt x="1198" y="237"/>
                  </a:lnTo>
                  <a:lnTo>
                    <a:pt x="1198" y="235"/>
                  </a:lnTo>
                  <a:lnTo>
                    <a:pt x="1198" y="237"/>
                  </a:lnTo>
                  <a:lnTo>
                    <a:pt x="1198" y="235"/>
                  </a:lnTo>
                  <a:lnTo>
                    <a:pt x="1198" y="237"/>
                  </a:lnTo>
                  <a:lnTo>
                    <a:pt x="1200" y="237"/>
                  </a:lnTo>
                  <a:lnTo>
                    <a:pt x="1198" y="237"/>
                  </a:lnTo>
                  <a:lnTo>
                    <a:pt x="1200" y="237"/>
                  </a:lnTo>
                  <a:lnTo>
                    <a:pt x="1198" y="237"/>
                  </a:lnTo>
                  <a:lnTo>
                    <a:pt x="1200" y="237"/>
                  </a:lnTo>
                  <a:lnTo>
                    <a:pt x="1203" y="237"/>
                  </a:lnTo>
                  <a:lnTo>
                    <a:pt x="1205" y="237"/>
                  </a:lnTo>
                  <a:lnTo>
                    <a:pt x="1207" y="237"/>
                  </a:lnTo>
                  <a:lnTo>
                    <a:pt x="1210" y="237"/>
                  </a:lnTo>
                  <a:lnTo>
                    <a:pt x="1212" y="240"/>
                  </a:lnTo>
                  <a:lnTo>
                    <a:pt x="1214" y="240"/>
                  </a:lnTo>
                  <a:lnTo>
                    <a:pt x="1217" y="240"/>
                  </a:lnTo>
                  <a:lnTo>
                    <a:pt x="1217" y="242"/>
                  </a:lnTo>
                  <a:lnTo>
                    <a:pt x="1219" y="242"/>
                  </a:lnTo>
                  <a:lnTo>
                    <a:pt x="1219" y="244"/>
                  </a:lnTo>
                  <a:lnTo>
                    <a:pt x="1219" y="247"/>
                  </a:lnTo>
                  <a:lnTo>
                    <a:pt x="1217" y="247"/>
                  </a:lnTo>
                  <a:lnTo>
                    <a:pt x="1214" y="247"/>
                  </a:lnTo>
                  <a:lnTo>
                    <a:pt x="1212" y="247"/>
                  </a:lnTo>
                  <a:lnTo>
                    <a:pt x="1210" y="247"/>
                  </a:lnTo>
                  <a:lnTo>
                    <a:pt x="1207" y="247"/>
                  </a:lnTo>
                  <a:lnTo>
                    <a:pt x="1207" y="249"/>
                  </a:lnTo>
                  <a:lnTo>
                    <a:pt x="1205" y="249"/>
                  </a:lnTo>
                  <a:lnTo>
                    <a:pt x="1203" y="249"/>
                  </a:lnTo>
                  <a:lnTo>
                    <a:pt x="1205" y="249"/>
                  </a:lnTo>
                  <a:lnTo>
                    <a:pt x="1203" y="249"/>
                  </a:lnTo>
                  <a:lnTo>
                    <a:pt x="1200" y="249"/>
                  </a:lnTo>
                  <a:lnTo>
                    <a:pt x="1198" y="249"/>
                  </a:lnTo>
                  <a:lnTo>
                    <a:pt x="1195" y="249"/>
                  </a:lnTo>
                  <a:lnTo>
                    <a:pt x="1198" y="249"/>
                  </a:lnTo>
                  <a:lnTo>
                    <a:pt x="1200" y="249"/>
                  </a:lnTo>
                  <a:lnTo>
                    <a:pt x="1203" y="249"/>
                  </a:lnTo>
                  <a:lnTo>
                    <a:pt x="1205" y="249"/>
                  </a:lnTo>
                  <a:lnTo>
                    <a:pt x="1207" y="249"/>
                  </a:lnTo>
                  <a:lnTo>
                    <a:pt x="1210" y="249"/>
                  </a:lnTo>
                  <a:lnTo>
                    <a:pt x="1212" y="252"/>
                  </a:lnTo>
                  <a:lnTo>
                    <a:pt x="1214" y="252"/>
                  </a:lnTo>
                  <a:lnTo>
                    <a:pt x="1212" y="252"/>
                  </a:lnTo>
                  <a:lnTo>
                    <a:pt x="1210" y="254"/>
                  </a:lnTo>
                  <a:lnTo>
                    <a:pt x="1207" y="254"/>
                  </a:lnTo>
                  <a:lnTo>
                    <a:pt x="1205" y="254"/>
                  </a:lnTo>
                  <a:lnTo>
                    <a:pt x="1203" y="254"/>
                  </a:lnTo>
                  <a:lnTo>
                    <a:pt x="1200" y="254"/>
                  </a:lnTo>
                  <a:lnTo>
                    <a:pt x="1198" y="254"/>
                  </a:lnTo>
                  <a:lnTo>
                    <a:pt x="1198" y="256"/>
                  </a:lnTo>
                  <a:lnTo>
                    <a:pt x="1195" y="256"/>
                  </a:lnTo>
                  <a:lnTo>
                    <a:pt x="1193" y="256"/>
                  </a:lnTo>
                  <a:lnTo>
                    <a:pt x="1191" y="256"/>
                  </a:lnTo>
                  <a:lnTo>
                    <a:pt x="1188" y="256"/>
                  </a:lnTo>
                  <a:lnTo>
                    <a:pt x="1186" y="256"/>
                  </a:lnTo>
                  <a:lnTo>
                    <a:pt x="1188" y="256"/>
                  </a:lnTo>
                  <a:lnTo>
                    <a:pt x="1191" y="256"/>
                  </a:lnTo>
                  <a:lnTo>
                    <a:pt x="1193" y="256"/>
                  </a:lnTo>
                  <a:lnTo>
                    <a:pt x="1195" y="256"/>
                  </a:lnTo>
                  <a:lnTo>
                    <a:pt x="1198" y="256"/>
                  </a:lnTo>
                  <a:lnTo>
                    <a:pt x="1200" y="256"/>
                  </a:lnTo>
                  <a:lnTo>
                    <a:pt x="1203" y="256"/>
                  </a:lnTo>
                  <a:lnTo>
                    <a:pt x="1205" y="256"/>
                  </a:lnTo>
                  <a:lnTo>
                    <a:pt x="1207" y="256"/>
                  </a:lnTo>
                  <a:lnTo>
                    <a:pt x="1210" y="256"/>
                  </a:lnTo>
                  <a:lnTo>
                    <a:pt x="1207" y="256"/>
                  </a:lnTo>
                  <a:lnTo>
                    <a:pt x="1207" y="259"/>
                  </a:lnTo>
                  <a:lnTo>
                    <a:pt x="1207" y="261"/>
                  </a:lnTo>
                  <a:lnTo>
                    <a:pt x="1207" y="263"/>
                  </a:lnTo>
                  <a:lnTo>
                    <a:pt x="1205" y="263"/>
                  </a:lnTo>
                  <a:lnTo>
                    <a:pt x="1205" y="266"/>
                  </a:lnTo>
                  <a:lnTo>
                    <a:pt x="1203" y="266"/>
                  </a:lnTo>
                  <a:lnTo>
                    <a:pt x="1200" y="266"/>
                  </a:lnTo>
                  <a:lnTo>
                    <a:pt x="1198" y="266"/>
                  </a:lnTo>
                  <a:lnTo>
                    <a:pt x="1200" y="266"/>
                  </a:lnTo>
                  <a:lnTo>
                    <a:pt x="1198" y="266"/>
                  </a:lnTo>
                  <a:lnTo>
                    <a:pt x="1195" y="266"/>
                  </a:lnTo>
                  <a:close/>
                  <a:moveTo>
                    <a:pt x="1224" y="211"/>
                  </a:moveTo>
                  <a:lnTo>
                    <a:pt x="1222" y="209"/>
                  </a:lnTo>
                  <a:lnTo>
                    <a:pt x="1224" y="211"/>
                  </a:lnTo>
                  <a:close/>
                  <a:moveTo>
                    <a:pt x="1286" y="166"/>
                  </a:moveTo>
                  <a:lnTo>
                    <a:pt x="1286" y="164"/>
                  </a:lnTo>
                  <a:lnTo>
                    <a:pt x="1286" y="166"/>
                  </a:lnTo>
                  <a:lnTo>
                    <a:pt x="1288" y="166"/>
                  </a:lnTo>
                  <a:lnTo>
                    <a:pt x="1286" y="166"/>
                  </a:lnTo>
                  <a:close/>
                  <a:moveTo>
                    <a:pt x="1630" y="14"/>
                  </a:moveTo>
                  <a:lnTo>
                    <a:pt x="1627" y="14"/>
                  </a:lnTo>
                  <a:lnTo>
                    <a:pt x="1630" y="14"/>
                  </a:lnTo>
                  <a:lnTo>
                    <a:pt x="1627" y="14"/>
                  </a:lnTo>
                  <a:lnTo>
                    <a:pt x="1627" y="16"/>
                  </a:lnTo>
                  <a:lnTo>
                    <a:pt x="1627" y="19"/>
                  </a:lnTo>
                  <a:lnTo>
                    <a:pt x="1627" y="16"/>
                  </a:lnTo>
                  <a:lnTo>
                    <a:pt x="1627" y="19"/>
                  </a:lnTo>
                  <a:lnTo>
                    <a:pt x="1630" y="19"/>
                  </a:lnTo>
                  <a:lnTo>
                    <a:pt x="1630" y="21"/>
                  </a:lnTo>
                  <a:lnTo>
                    <a:pt x="1627" y="21"/>
                  </a:lnTo>
                  <a:lnTo>
                    <a:pt x="1625" y="21"/>
                  </a:lnTo>
                  <a:lnTo>
                    <a:pt x="1625" y="23"/>
                  </a:lnTo>
                  <a:lnTo>
                    <a:pt x="1625" y="21"/>
                  </a:lnTo>
                  <a:lnTo>
                    <a:pt x="1625" y="23"/>
                  </a:lnTo>
                  <a:lnTo>
                    <a:pt x="1623" y="23"/>
                  </a:lnTo>
                  <a:lnTo>
                    <a:pt x="1623" y="26"/>
                  </a:lnTo>
                  <a:lnTo>
                    <a:pt x="1620" y="26"/>
                  </a:lnTo>
                  <a:lnTo>
                    <a:pt x="1623" y="26"/>
                  </a:lnTo>
                  <a:lnTo>
                    <a:pt x="1623" y="28"/>
                  </a:lnTo>
                  <a:lnTo>
                    <a:pt x="1625" y="28"/>
                  </a:lnTo>
                  <a:lnTo>
                    <a:pt x="1623" y="28"/>
                  </a:lnTo>
                  <a:lnTo>
                    <a:pt x="1625" y="28"/>
                  </a:lnTo>
                  <a:lnTo>
                    <a:pt x="1627" y="28"/>
                  </a:lnTo>
                  <a:lnTo>
                    <a:pt x="1625" y="28"/>
                  </a:lnTo>
                  <a:lnTo>
                    <a:pt x="1627" y="28"/>
                  </a:lnTo>
                  <a:lnTo>
                    <a:pt x="1627" y="31"/>
                  </a:lnTo>
                  <a:lnTo>
                    <a:pt x="1625" y="31"/>
                  </a:lnTo>
                  <a:lnTo>
                    <a:pt x="1623" y="31"/>
                  </a:lnTo>
                  <a:lnTo>
                    <a:pt x="1623" y="33"/>
                  </a:lnTo>
                  <a:lnTo>
                    <a:pt x="1620" y="33"/>
                  </a:lnTo>
                  <a:lnTo>
                    <a:pt x="1623" y="33"/>
                  </a:lnTo>
                  <a:lnTo>
                    <a:pt x="1620" y="33"/>
                  </a:lnTo>
                  <a:lnTo>
                    <a:pt x="1618" y="33"/>
                  </a:lnTo>
                  <a:lnTo>
                    <a:pt x="1620" y="33"/>
                  </a:lnTo>
                  <a:lnTo>
                    <a:pt x="1618" y="33"/>
                  </a:lnTo>
                  <a:lnTo>
                    <a:pt x="1620" y="33"/>
                  </a:lnTo>
                  <a:lnTo>
                    <a:pt x="1618" y="35"/>
                  </a:lnTo>
                  <a:lnTo>
                    <a:pt x="1615" y="35"/>
                  </a:lnTo>
                  <a:lnTo>
                    <a:pt x="1618" y="35"/>
                  </a:lnTo>
                  <a:lnTo>
                    <a:pt x="1615" y="38"/>
                  </a:lnTo>
                  <a:lnTo>
                    <a:pt x="1613" y="38"/>
                  </a:lnTo>
                  <a:lnTo>
                    <a:pt x="1611" y="38"/>
                  </a:lnTo>
                  <a:lnTo>
                    <a:pt x="1611" y="40"/>
                  </a:lnTo>
                  <a:lnTo>
                    <a:pt x="1611" y="42"/>
                  </a:lnTo>
                  <a:lnTo>
                    <a:pt x="1608" y="42"/>
                  </a:lnTo>
                  <a:lnTo>
                    <a:pt x="1606" y="42"/>
                  </a:lnTo>
                  <a:lnTo>
                    <a:pt x="1608" y="42"/>
                  </a:lnTo>
                  <a:lnTo>
                    <a:pt x="1608" y="45"/>
                  </a:lnTo>
                  <a:lnTo>
                    <a:pt x="1606" y="42"/>
                  </a:lnTo>
                  <a:lnTo>
                    <a:pt x="1606" y="45"/>
                  </a:lnTo>
                  <a:lnTo>
                    <a:pt x="1604" y="45"/>
                  </a:lnTo>
                  <a:lnTo>
                    <a:pt x="1601" y="45"/>
                  </a:lnTo>
                  <a:lnTo>
                    <a:pt x="1604" y="45"/>
                  </a:lnTo>
                  <a:lnTo>
                    <a:pt x="1601" y="45"/>
                  </a:lnTo>
                  <a:lnTo>
                    <a:pt x="1604" y="45"/>
                  </a:lnTo>
                  <a:lnTo>
                    <a:pt x="1604" y="47"/>
                  </a:lnTo>
                  <a:lnTo>
                    <a:pt x="1606" y="47"/>
                  </a:lnTo>
                  <a:lnTo>
                    <a:pt x="1604" y="47"/>
                  </a:lnTo>
                  <a:lnTo>
                    <a:pt x="1601" y="47"/>
                  </a:lnTo>
                  <a:lnTo>
                    <a:pt x="1599" y="47"/>
                  </a:lnTo>
                  <a:lnTo>
                    <a:pt x="1599" y="50"/>
                  </a:lnTo>
                  <a:lnTo>
                    <a:pt x="1599" y="47"/>
                  </a:lnTo>
                  <a:lnTo>
                    <a:pt x="1596" y="47"/>
                  </a:lnTo>
                  <a:lnTo>
                    <a:pt x="1596" y="50"/>
                  </a:lnTo>
                  <a:lnTo>
                    <a:pt x="1596" y="47"/>
                  </a:lnTo>
                  <a:lnTo>
                    <a:pt x="1596" y="50"/>
                  </a:lnTo>
                  <a:lnTo>
                    <a:pt x="1594" y="50"/>
                  </a:lnTo>
                  <a:lnTo>
                    <a:pt x="1592" y="50"/>
                  </a:lnTo>
                  <a:lnTo>
                    <a:pt x="1589" y="50"/>
                  </a:lnTo>
                  <a:lnTo>
                    <a:pt x="1589" y="52"/>
                  </a:lnTo>
                  <a:lnTo>
                    <a:pt x="1587" y="52"/>
                  </a:lnTo>
                  <a:lnTo>
                    <a:pt x="1585" y="52"/>
                  </a:lnTo>
                  <a:lnTo>
                    <a:pt x="1587" y="52"/>
                  </a:lnTo>
                  <a:lnTo>
                    <a:pt x="1585" y="52"/>
                  </a:lnTo>
                  <a:lnTo>
                    <a:pt x="1582" y="52"/>
                  </a:lnTo>
                  <a:lnTo>
                    <a:pt x="1582" y="54"/>
                  </a:lnTo>
                  <a:lnTo>
                    <a:pt x="1580" y="54"/>
                  </a:lnTo>
                  <a:lnTo>
                    <a:pt x="1577" y="54"/>
                  </a:lnTo>
                  <a:lnTo>
                    <a:pt x="1575" y="54"/>
                  </a:lnTo>
                  <a:lnTo>
                    <a:pt x="1573" y="57"/>
                  </a:lnTo>
                  <a:lnTo>
                    <a:pt x="1570" y="57"/>
                  </a:lnTo>
                  <a:lnTo>
                    <a:pt x="1573" y="57"/>
                  </a:lnTo>
                  <a:lnTo>
                    <a:pt x="1570" y="57"/>
                  </a:lnTo>
                  <a:lnTo>
                    <a:pt x="1568" y="59"/>
                  </a:lnTo>
                  <a:lnTo>
                    <a:pt x="1566" y="59"/>
                  </a:lnTo>
                  <a:lnTo>
                    <a:pt x="1563" y="59"/>
                  </a:lnTo>
                  <a:lnTo>
                    <a:pt x="1561" y="59"/>
                  </a:lnTo>
                  <a:lnTo>
                    <a:pt x="1558" y="61"/>
                  </a:lnTo>
                  <a:lnTo>
                    <a:pt x="1556" y="61"/>
                  </a:lnTo>
                  <a:lnTo>
                    <a:pt x="1554" y="61"/>
                  </a:lnTo>
                  <a:lnTo>
                    <a:pt x="1551" y="61"/>
                  </a:lnTo>
                  <a:lnTo>
                    <a:pt x="1549" y="61"/>
                  </a:lnTo>
                  <a:lnTo>
                    <a:pt x="1549" y="64"/>
                  </a:lnTo>
                  <a:lnTo>
                    <a:pt x="1547" y="64"/>
                  </a:lnTo>
                  <a:lnTo>
                    <a:pt x="1544" y="64"/>
                  </a:lnTo>
                  <a:lnTo>
                    <a:pt x="1547" y="64"/>
                  </a:lnTo>
                  <a:lnTo>
                    <a:pt x="1544" y="64"/>
                  </a:lnTo>
                  <a:lnTo>
                    <a:pt x="1547" y="64"/>
                  </a:lnTo>
                  <a:lnTo>
                    <a:pt x="1544" y="64"/>
                  </a:lnTo>
                  <a:lnTo>
                    <a:pt x="1542" y="64"/>
                  </a:lnTo>
                  <a:lnTo>
                    <a:pt x="1539" y="64"/>
                  </a:lnTo>
                  <a:lnTo>
                    <a:pt x="1537" y="64"/>
                  </a:lnTo>
                  <a:lnTo>
                    <a:pt x="1539" y="64"/>
                  </a:lnTo>
                  <a:lnTo>
                    <a:pt x="1539" y="66"/>
                  </a:lnTo>
                  <a:lnTo>
                    <a:pt x="1537" y="66"/>
                  </a:lnTo>
                  <a:lnTo>
                    <a:pt x="1535" y="66"/>
                  </a:lnTo>
                  <a:lnTo>
                    <a:pt x="1535" y="69"/>
                  </a:lnTo>
                  <a:lnTo>
                    <a:pt x="1532" y="69"/>
                  </a:lnTo>
                  <a:lnTo>
                    <a:pt x="1530" y="69"/>
                  </a:lnTo>
                  <a:lnTo>
                    <a:pt x="1528" y="69"/>
                  </a:lnTo>
                  <a:lnTo>
                    <a:pt x="1525" y="69"/>
                  </a:lnTo>
                  <a:lnTo>
                    <a:pt x="1523" y="69"/>
                  </a:lnTo>
                  <a:lnTo>
                    <a:pt x="1520" y="69"/>
                  </a:lnTo>
                  <a:lnTo>
                    <a:pt x="1520" y="71"/>
                  </a:lnTo>
                  <a:lnTo>
                    <a:pt x="1518" y="71"/>
                  </a:lnTo>
                  <a:lnTo>
                    <a:pt x="1516" y="71"/>
                  </a:lnTo>
                  <a:lnTo>
                    <a:pt x="1513" y="71"/>
                  </a:lnTo>
                  <a:lnTo>
                    <a:pt x="1511" y="73"/>
                  </a:lnTo>
                  <a:lnTo>
                    <a:pt x="1509" y="73"/>
                  </a:lnTo>
                  <a:lnTo>
                    <a:pt x="1506" y="73"/>
                  </a:lnTo>
                  <a:lnTo>
                    <a:pt x="1504" y="76"/>
                  </a:lnTo>
                  <a:lnTo>
                    <a:pt x="1501" y="76"/>
                  </a:lnTo>
                  <a:lnTo>
                    <a:pt x="1501" y="78"/>
                  </a:lnTo>
                  <a:lnTo>
                    <a:pt x="1501" y="76"/>
                  </a:lnTo>
                  <a:lnTo>
                    <a:pt x="1499" y="76"/>
                  </a:lnTo>
                  <a:lnTo>
                    <a:pt x="1499" y="78"/>
                  </a:lnTo>
                  <a:lnTo>
                    <a:pt x="1497" y="78"/>
                  </a:lnTo>
                  <a:lnTo>
                    <a:pt x="1494" y="78"/>
                  </a:lnTo>
                  <a:lnTo>
                    <a:pt x="1492" y="78"/>
                  </a:lnTo>
                  <a:lnTo>
                    <a:pt x="1490" y="78"/>
                  </a:lnTo>
                  <a:lnTo>
                    <a:pt x="1487" y="78"/>
                  </a:lnTo>
                  <a:lnTo>
                    <a:pt x="1487" y="80"/>
                  </a:lnTo>
                  <a:lnTo>
                    <a:pt x="1485" y="80"/>
                  </a:lnTo>
                  <a:lnTo>
                    <a:pt x="1480" y="80"/>
                  </a:lnTo>
                  <a:lnTo>
                    <a:pt x="1478" y="80"/>
                  </a:lnTo>
                  <a:lnTo>
                    <a:pt x="1478" y="83"/>
                  </a:lnTo>
                  <a:lnTo>
                    <a:pt x="1475" y="83"/>
                  </a:lnTo>
                  <a:lnTo>
                    <a:pt x="1473" y="83"/>
                  </a:lnTo>
                  <a:lnTo>
                    <a:pt x="1471" y="83"/>
                  </a:lnTo>
                  <a:lnTo>
                    <a:pt x="1468" y="83"/>
                  </a:lnTo>
                  <a:lnTo>
                    <a:pt x="1466" y="83"/>
                  </a:lnTo>
                  <a:lnTo>
                    <a:pt x="1466" y="85"/>
                  </a:lnTo>
                  <a:lnTo>
                    <a:pt x="1464" y="85"/>
                  </a:lnTo>
                  <a:lnTo>
                    <a:pt x="1461" y="85"/>
                  </a:lnTo>
                  <a:lnTo>
                    <a:pt x="1459" y="85"/>
                  </a:lnTo>
                  <a:lnTo>
                    <a:pt x="1459" y="88"/>
                  </a:lnTo>
                  <a:lnTo>
                    <a:pt x="1456" y="90"/>
                  </a:lnTo>
                  <a:lnTo>
                    <a:pt x="1456" y="88"/>
                  </a:lnTo>
                  <a:lnTo>
                    <a:pt x="1459" y="88"/>
                  </a:lnTo>
                  <a:lnTo>
                    <a:pt x="1456" y="85"/>
                  </a:lnTo>
                  <a:lnTo>
                    <a:pt x="1454" y="85"/>
                  </a:lnTo>
                  <a:lnTo>
                    <a:pt x="1454" y="83"/>
                  </a:lnTo>
                  <a:lnTo>
                    <a:pt x="1452" y="83"/>
                  </a:lnTo>
                  <a:lnTo>
                    <a:pt x="1449" y="83"/>
                  </a:lnTo>
                  <a:lnTo>
                    <a:pt x="1452" y="83"/>
                  </a:lnTo>
                  <a:lnTo>
                    <a:pt x="1449" y="83"/>
                  </a:lnTo>
                  <a:lnTo>
                    <a:pt x="1452" y="83"/>
                  </a:lnTo>
                  <a:lnTo>
                    <a:pt x="1454" y="83"/>
                  </a:lnTo>
                  <a:lnTo>
                    <a:pt x="1452" y="85"/>
                  </a:lnTo>
                  <a:lnTo>
                    <a:pt x="1449" y="85"/>
                  </a:lnTo>
                  <a:lnTo>
                    <a:pt x="1452" y="85"/>
                  </a:lnTo>
                  <a:lnTo>
                    <a:pt x="1449" y="85"/>
                  </a:lnTo>
                  <a:lnTo>
                    <a:pt x="1449" y="88"/>
                  </a:lnTo>
                  <a:lnTo>
                    <a:pt x="1447" y="88"/>
                  </a:lnTo>
                  <a:lnTo>
                    <a:pt x="1449" y="88"/>
                  </a:lnTo>
                  <a:lnTo>
                    <a:pt x="1447" y="88"/>
                  </a:lnTo>
                  <a:lnTo>
                    <a:pt x="1447" y="90"/>
                  </a:lnTo>
                  <a:lnTo>
                    <a:pt x="1445" y="90"/>
                  </a:lnTo>
                  <a:lnTo>
                    <a:pt x="1442" y="90"/>
                  </a:lnTo>
                  <a:lnTo>
                    <a:pt x="1440" y="92"/>
                  </a:lnTo>
                  <a:lnTo>
                    <a:pt x="1437" y="92"/>
                  </a:lnTo>
                  <a:lnTo>
                    <a:pt x="1435" y="92"/>
                  </a:lnTo>
                  <a:lnTo>
                    <a:pt x="1433" y="92"/>
                  </a:lnTo>
                  <a:lnTo>
                    <a:pt x="1430" y="92"/>
                  </a:lnTo>
                  <a:lnTo>
                    <a:pt x="1428" y="92"/>
                  </a:lnTo>
                  <a:lnTo>
                    <a:pt x="1428" y="95"/>
                  </a:lnTo>
                  <a:lnTo>
                    <a:pt x="1426" y="95"/>
                  </a:lnTo>
                  <a:lnTo>
                    <a:pt x="1423" y="95"/>
                  </a:lnTo>
                  <a:lnTo>
                    <a:pt x="1421" y="97"/>
                  </a:lnTo>
                  <a:lnTo>
                    <a:pt x="1418" y="97"/>
                  </a:lnTo>
                  <a:lnTo>
                    <a:pt x="1416" y="97"/>
                  </a:lnTo>
                  <a:lnTo>
                    <a:pt x="1414" y="97"/>
                  </a:lnTo>
                  <a:lnTo>
                    <a:pt x="1414" y="99"/>
                  </a:lnTo>
                  <a:lnTo>
                    <a:pt x="1411" y="99"/>
                  </a:lnTo>
                  <a:lnTo>
                    <a:pt x="1409" y="99"/>
                  </a:lnTo>
                  <a:lnTo>
                    <a:pt x="1409" y="102"/>
                  </a:lnTo>
                  <a:lnTo>
                    <a:pt x="1407" y="102"/>
                  </a:lnTo>
                  <a:lnTo>
                    <a:pt x="1407" y="99"/>
                  </a:lnTo>
                  <a:lnTo>
                    <a:pt x="1407" y="102"/>
                  </a:lnTo>
                  <a:lnTo>
                    <a:pt x="1407" y="99"/>
                  </a:lnTo>
                  <a:lnTo>
                    <a:pt x="1404" y="99"/>
                  </a:lnTo>
                  <a:lnTo>
                    <a:pt x="1402" y="99"/>
                  </a:lnTo>
                  <a:lnTo>
                    <a:pt x="1399" y="99"/>
                  </a:lnTo>
                  <a:lnTo>
                    <a:pt x="1397" y="99"/>
                  </a:lnTo>
                  <a:lnTo>
                    <a:pt x="1395" y="99"/>
                  </a:lnTo>
                  <a:lnTo>
                    <a:pt x="1395" y="102"/>
                  </a:lnTo>
                  <a:lnTo>
                    <a:pt x="1395" y="104"/>
                  </a:lnTo>
                  <a:lnTo>
                    <a:pt x="1395" y="102"/>
                  </a:lnTo>
                  <a:lnTo>
                    <a:pt x="1397" y="102"/>
                  </a:lnTo>
                  <a:lnTo>
                    <a:pt x="1397" y="104"/>
                  </a:lnTo>
                  <a:lnTo>
                    <a:pt x="1395" y="104"/>
                  </a:lnTo>
                  <a:lnTo>
                    <a:pt x="1392" y="104"/>
                  </a:lnTo>
                  <a:lnTo>
                    <a:pt x="1392" y="107"/>
                  </a:lnTo>
                  <a:lnTo>
                    <a:pt x="1390" y="104"/>
                  </a:lnTo>
                  <a:lnTo>
                    <a:pt x="1388" y="104"/>
                  </a:lnTo>
                  <a:lnTo>
                    <a:pt x="1388" y="107"/>
                  </a:lnTo>
                  <a:lnTo>
                    <a:pt x="1388" y="109"/>
                  </a:lnTo>
                  <a:lnTo>
                    <a:pt x="1385" y="109"/>
                  </a:lnTo>
                  <a:lnTo>
                    <a:pt x="1388" y="109"/>
                  </a:lnTo>
                  <a:lnTo>
                    <a:pt x="1385" y="109"/>
                  </a:lnTo>
                  <a:lnTo>
                    <a:pt x="1388" y="109"/>
                  </a:lnTo>
                  <a:lnTo>
                    <a:pt x="1385" y="109"/>
                  </a:lnTo>
                  <a:lnTo>
                    <a:pt x="1385" y="111"/>
                  </a:lnTo>
                  <a:lnTo>
                    <a:pt x="1383" y="111"/>
                  </a:lnTo>
                  <a:lnTo>
                    <a:pt x="1383" y="114"/>
                  </a:lnTo>
                  <a:lnTo>
                    <a:pt x="1380" y="114"/>
                  </a:lnTo>
                  <a:lnTo>
                    <a:pt x="1378" y="114"/>
                  </a:lnTo>
                  <a:lnTo>
                    <a:pt x="1378" y="111"/>
                  </a:lnTo>
                  <a:lnTo>
                    <a:pt x="1378" y="109"/>
                  </a:lnTo>
                  <a:lnTo>
                    <a:pt x="1376" y="109"/>
                  </a:lnTo>
                  <a:lnTo>
                    <a:pt x="1378" y="109"/>
                  </a:lnTo>
                  <a:lnTo>
                    <a:pt x="1376" y="109"/>
                  </a:lnTo>
                  <a:lnTo>
                    <a:pt x="1373" y="107"/>
                  </a:lnTo>
                  <a:lnTo>
                    <a:pt x="1376" y="107"/>
                  </a:lnTo>
                  <a:lnTo>
                    <a:pt x="1376" y="109"/>
                  </a:lnTo>
                  <a:lnTo>
                    <a:pt x="1373" y="109"/>
                  </a:lnTo>
                  <a:lnTo>
                    <a:pt x="1376" y="109"/>
                  </a:lnTo>
                  <a:lnTo>
                    <a:pt x="1373" y="109"/>
                  </a:lnTo>
                  <a:lnTo>
                    <a:pt x="1376" y="109"/>
                  </a:lnTo>
                  <a:lnTo>
                    <a:pt x="1376" y="111"/>
                  </a:lnTo>
                  <a:lnTo>
                    <a:pt x="1373" y="111"/>
                  </a:lnTo>
                  <a:lnTo>
                    <a:pt x="1371" y="111"/>
                  </a:lnTo>
                  <a:lnTo>
                    <a:pt x="1371" y="114"/>
                  </a:lnTo>
                  <a:lnTo>
                    <a:pt x="1369" y="114"/>
                  </a:lnTo>
                  <a:lnTo>
                    <a:pt x="1369" y="116"/>
                  </a:lnTo>
                  <a:lnTo>
                    <a:pt x="1366" y="116"/>
                  </a:lnTo>
                  <a:lnTo>
                    <a:pt x="1364" y="116"/>
                  </a:lnTo>
                  <a:lnTo>
                    <a:pt x="1364" y="118"/>
                  </a:lnTo>
                  <a:lnTo>
                    <a:pt x="1362" y="118"/>
                  </a:lnTo>
                  <a:lnTo>
                    <a:pt x="1359" y="118"/>
                  </a:lnTo>
                  <a:lnTo>
                    <a:pt x="1357" y="118"/>
                  </a:lnTo>
                  <a:lnTo>
                    <a:pt x="1357" y="121"/>
                  </a:lnTo>
                  <a:lnTo>
                    <a:pt x="1359" y="121"/>
                  </a:lnTo>
                  <a:lnTo>
                    <a:pt x="1357" y="121"/>
                  </a:lnTo>
                  <a:lnTo>
                    <a:pt x="1357" y="123"/>
                  </a:lnTo>
                  <a:lnTo>
                    <a:pt x="1359" y="123"/>
                  </a:lnTo>
                  <a:lnTo>
                    <a:pt x="1357" y="123"/>
                  </a:lnTo>
                  <a:lnTo>
                    <a:pt x="1357" y="126"/>
                  </a:lnTo>
                  <a:lnTo>
                    <a:pt x="1357" y="128"/>
                  </a:lnTo>
                  <a:lnTo>
                    <a:pt x="1354" y="128"/>
                  </a:lnTo>
                  <a:lnTo>
                    <a:pt x="1354" y="126"/>
                  </a:lnTo>
                  <a:lnTo>
                    <a:pt x="1352" y="126"/>
                  </a:lnTo>
                  <a:lnTo>
                    <a:pt x="1352" y="123"/>
                  </a:lnTo>
                  <a:lnTo>
                    <a:pt x="1354" y="123"/>
                  </a:lnTo>
                  <a:lnTo>
                    <a:pt x="1354" y="121"/>
                  </a:lnTo>
                  <a:lnTo>
                    <a:pt x="1352" y="121"/>
                  </a:lnTo>
                  <a:lnTo>
                    <a:pt x="1352" y="123"/>
                  </a:lnTo>
                  <a:lnTo>
                    <a:pt x="1352" y="121"/>
                  </a:lnTo>
                  <a:lnTo>
                    <a:pt x="1350" y="121"/>
                  </a:lnTo>
                  <a:lnTo>
                    <a:pt x="1347" y="121"/>
                  </a:lnTo>
                  <a:lnTo>
                    <a:pt x="1350" y="121"/>
                  </a:lnTo>
                  <a:lnTo>
                    <a:pt x="1347" y="121"/>
                  </a:lnTo>
                  <a:lnTo>
                    <a:pt x="1347" y="123"/>
                  </a:lnTo>
                  <a:lnTo>
                    <a:pt x="1350" y="123"/>
                  </a:lnTo>
                  <a:lnTo>
                    <a:pt x="1350" y="121"/>
                  </a:lnTo>
                  <a:lnTo>
                    <a:pt x="1350" y="123"/>
                  </a:lnTo>
                  <a:lnTo>
                    <a:pt x="1347" y="123"/>
                  </a:lnTo>
                  <a:lnTo>
                    <a:pt x="1345" y="123"/>
                  </a:lnTo>
                  <a:lnTo>
                    <a:pt x="1343" y="123"/>
                  </a:lnTo>
                  <a:lnTo>
                    <a:pt x="1345" y="123"/>
                  </a:lnTo>
                  <a:lnTo>
                    <a:pt x="1347" y="123"/>
                  </a:lnTo>
                  <a:lnTo>
                    <a:pt x="1347" y="126"/>
                  </a:lnTo>
                  <a:lnTo>
                    <a:pt x="1345" y="126"/>
                  </a:lnTo>
                  <a:lnTo>
                    <a:pt x="1347" y="126"/>
                  </a:lnTo>
                  <a:lnTo>
                    <a:pt x="1347" y="128"/>
                  </a:lnTo>
                  <a:lnTo>
                    <a:pt x="1345" y="128"/>
                  </a:lnTo>
                  <a:lnTo>
                    <a:pt x="1343" y="128"/>
                  </a:lnTo>
                  <a:lnTo>
                    <a:pt x="1340" y="128"/>
                  </a:lnTo>
                  <a:lnTo>
                    <a:pt x="1338" y="130"/>
                  </a:lnTo>
                  <a:lnTo>
                    <a:pt x="1340" y="128"/>
                  </a:lnTo>
                  <a:lnTo>
                    <a:pt x="1338" y="128"/>
                  </a:lnTo>
                  <a:lnTo>
                    <a:pt x="1338" y="130"/>
                  </a:lnTo>
                  <a:lnTo>
                    <a:pt x="1335" y="130"/>
                  </a:lnTo>
                  <a:lnTo>
                    <a:pt x="1333" y="128"/>
                  </a:lnTo>
                  <a:lnTo>
                    <a:pt x="1331" y="128"/>
                  </a:lnTo>
                  <a:lnTo>
                    <a:pt x="1331" y="130"/>
                  </a:lnTo>
                  <a:lnTo>
                    <a:pt x="1333" y="130"/>
                  </a:lnTo>
                  <a:lnTo>
                    <a:pt x="1335" y="130"/>
                  </a:lnTo>
                  <a:lnTo>
                    <a:pt x="1338" y="133"/>
                  </a:lnTo>
                  <a:lnTo>
                    <a:pt x="1338" y="130"/>
                  </a:lnTo>
                  <a:lnTo>
                    <a:pt x="1340" y="133"/>
                  </a:lnTo>
                  <a:lnTo>
                    <a:pt x="1338" y="133"/>
                  </a:lnTo>
                  <a:lnTo>
                    <a:pt x="1340" y="133"/>
                  </a:lnTo>
                  <a:lnTo>
                    <a:pt x="1340" y="130"/>
                  </a:lnTo>
                  <a:lnTo>
                    <a:pt x="1343" y="130"/>
                  </a:lnTo>
                  <a:lnTo>
                    <a:pt x="1345" y="133"/>
                  </a:lnTo>
                  <a:lnTo>
                    <a:pt x="1347" y="133"/>
                  </a:lnTo>
                  <a:lnTo>
                    <a:pt x="1350" y="130"/>
                  </a:lnTo>
                  <a:lnTo>
                    <a:pt x="1352" y="133"/>
                  </a:lnTo>
                  <a:lnTo>
                    <a:pt x="1352" y="135"/>
                  </a:lnTo>
                  <a:lnTo>
                    <a:pt x="1350" y="135"/>
                  </a:lnTo>
                  <a:lnTo>
                    <a:pt x="1350" y="137"/>
                  </a:lnTo>
                  <a:lnTo>
                    <a:pt x="1347" y="137"/>
                  </a:lnTo>
                  <a:lnTo>
                    <a:pt x="1345" y="137"/>
                  </a:lnTo>
                  <a:lnTo>
                    <a:pt x="1343" y="137"/>
                  </a:lnTo>
                  <a:lnTo>
                    <a:pt x="1340" y="137"/>
                  </a:lnTo>
                  <a:lnTo>
                    <a:pt x="1338" y="137"/>
                  </a:lnTo>
                  <a:lnTo>
                    <a:pt x="1335" y="137"/>
                  </a:lnTo>
                  <a:lnTo>
                    <a:pt x="1338" y="137"/>
                  </a:lnTo>
                  <a:lnTo>
                    <a:pt x="1338" y="140"/>
                  </a:lnTo>
                  <a:lnTo>
                    <a:pt x="1335" y="140"/>
                  </a:lnTo>
                  <a:lnTo>
                    <a:pt x="1338" y="140"/>
                  </a:lnTo>
                  <a:lnTo>
                    <a:pt x="1340" y="140"/>
                  </a:lnTo>
                  <a:lnTo>
                    <a:pt x="1343" y="142"/>
                  </a:lnTo>
                  <a:lnTo>
                    <a:pt x="1340" y="145"/>
                  </a:lnTo>
                  <a:lnTo>
                    <a:pt x="1338" y="145"/>
                  </a:lnTo>
                  <a:lnTo>
                    <a:pt x="1335" y="145"/>
                  </a:lnTo>
                  <a:lnTo>
                    <a:pt x="1333" y="145"/>
                  </a:lnTo>
                  <a:lnTo>
                    <a:pt x="1331" y="147"/>
                  </a:lnTo>
                  <a:lnTo>
                    <a:pt x="1328" y="147"/>
                  </a:lnTo>
                  <a:lnTo>
                    <a:pt x="1326" y="147"/>
                  </a:lnTo>
                  <a:lnTo>
                    <a:pt x="1326" y="145"/>
                  </a:lnTo>
                  <a:lnTo>
                    <a:pt x="1324" y="145"/>
                  </a:lnTo>
                  <a:lnTo>
                    <a:pt x="1321" y="145"/>
                  </a:lnTo>
                  <a:lnTo>
                    <a:pt x="1319" y="145"/>
                  </a:lnTo>
                  <a:lnTo>
                    <a:pt x="1319" y="142"/>
                  </a:lnTo>
                  <a:lnTo>
                    <a:pt x="1316" y="142"/>
                  </a:lnTo>
                  <a:lnTo>
                    <a:pt x="1314" y="142"/>
                  </a:lnTo>
                  <a:lnTo>
                    <a:pt x="1314" y="140"/>
                  </a:lnTo>
                  <a:lnTo>
                    <a:pt x="1312" y="140"/>
                  </a:lnTo>
                  <a:lnTo>
                    <a:pt x="1309" y="140"/>
                  </a:lnTo>
                  <a:lnTo>
                    <a:pt x="1312" y="140"/>
                  </a:lnTo>
                  <a:lnTo>
                    <a:pt x="1309" y="140"/>
                  </a:lnTo>
                  <a:lnTo>
                    <a:pt x="1312" y="140"/>
                  </a:lnTo>
                  <a:lnTo>
                    <a:pt x="1314" y="140"/>
                  </a:lnTo>
                  <a:lnTo>
                    <a:pt x="1314" y="142"/>
                  </a:lnTo>
                  <a:lnTo>
                    <a:pt x="1316" y="142"/>
                  </a:lnTo>
                  <a:lnTo>
                    <a:pt x="1316" y="145"/>
                  </a:lnTo>
                  <a:lnTo>
                    <a:pt x="1319" y="145"/>
                  </a:lnTo>
                  <a:lnTo>
                    <a:pt x="1316" y="145"/>
                  </a:lnTo>
                  <a:lnTo>
                    <a:pt x="1314" y="145"/>
                  </a:lnTo>
                  <a:lnTo>
                    <a:pt x="1316" y="145"/>
                  </a:lnTo>
                  <a:lnTo>
                    <a:pt x="1319" y="145"/>
                  </a:lnTo>
                  <a:lnTo>
                    <a:pt x="1319" y="147"/>
                  </a:lnTo>
                  <a:lnTo>
                    <a:pt x="1321" y="147"/>
                  </a:lnTo>
                  <a:lnTo>
                    <a:pt x="1324" y="147"/>
                  </a:lnTo>
                  <a:lnTo>
                    <a:pt x="1324" y="149"/>
                  </a:lnTo>
                  <a:lnTo>
                    <a:pt x="1326" y="149"/>
                  </a:lnTo>
                  <a:lnTo>
                    <a:pt x="1326" y="152"/>
                  </a:lnTo>
                  <a:lnTo>
                    <a:pt x="1326" y="149"/>
                  </a:lnTo>
                  <a:lnTo>
                    <a:pt x="1326" y="152"/>
                  </a:lnTo>
                  <a:lnTo>
                    <a:pt x="1328" y="152"/>
                  </a:lnTo>
                  <a:lnTo>
                    <a:pt x="1326" y="154"/>
                  </a:lnTo>
                  <a:lnTo>
                    <a:pt x="1324" y="154"/>
                  </a:lnTo>
                  <a:lnTo>
                    <a:pt x="1321" y="154"/>
                  </a:lnTo>
                  <a:lnTo>
                    <a:pt x="1319" y="154"/>
                  </a:lnTo>
                  <a:lnTo>
                    <a:pt x="1316" y="154"/>
                  </a:lnTo>
                  <a:lnTo>
                    <a:pt x="1316" y="152"/>
                  </a:lnTo>
                  <a:lnTo>
                    <a:pt x="1314" y="152"/>
                  </a:lnTo>
                  <a:lnTo>
                    <a:pt x="1312" y="152"/>
                  </a:lnTo>
                  <a:lnTo>
                    <a:pt x="1312" y="149"/>
                  </a:lnTo>
                  <a:lnTo>
                    <a:pt x="1309" y="149"/>
                  </a:lnTo>
                  <a:lnTo>
                    <a:pt x="1309" y="147"/>
                  </a:lnTo>
                  <a:lnTo>
                    <a:pt x="1307" y="147"/>
                  </a:lnTo>
                  <a:lnTo>
                    <a:pt x="1305" y="147"/>
                  </a:lnTo>
                  <a:lnTo>
                    <a:pt x="1305" y="145"/>
                  </a:lnTo>
                  <a:lnTo>
                    <a:pt x="1302" y="145"/>
                  </a:lnTo>
                  <a:lnTo>
                    <a:pt x="1302" y="147"/>
                  </a:lnTo>
                  <a:lnTo>
                    <a:pt x="1302" y="149"/>
                  </a:lnTo>
                  <a:lnTo>
                    <a:pt x="1305" y="149"/>
                  </a:lnTo>
                  <a:lnTo>
                    <a:pt x="1307" y="149"/>
                  </a:lnTo>
                  <a:lnTo>
                    <a:pt x="1305" y="152"/>
                  </a:lnTo>
                  <a:lnTo>
                    <a:pt x="1307" y="152"/>
                  </a:lnTo>
                  <a:lnTo>
                    <a:pt x="1305" y="152"/>
                  </a:lnTo>
                  <a:lnTo>
                    <a:pt x="1305" y="149"/>
                  </a:lnTo>
                  <a:lnTo>
                    <a:pt x="1302" y="152"/>
                  </a:lnTo>
                  <a:lnTo>
                    <a:pt x="1300" y="152"/>
                  </a:lnTo>
                  <a:lnTo>
                    <a:pt x="1300" y="149"/>
                  </a:lnTo>
                  <a:lnTo>
                    <a:pt x="1297" y="149"/>
                  </a:lnTo>
                  <a:lnTo>
                    <a:pt x="1300" y="152"/>
                  </a:lnTo>
                  <a:lnTo>
                    <a:pt x="1302" y="152"/>
                  </a:lnTo>
                  <a:lnTo>
                    <a:pt x="1305" y="152"/>
                  </a:lnTo>
                  <a:lnTo>
                    <a:pt x="1305" y="154"/>
                  </a:lnTo>
                  <a:lnTo>
                    <a:pt x="1305" y="156"/>
                  </a:lnTo>
                  <a:lnTo>
                    <a:pt x="1302" y="156"/>
                  </a:lnTo>
                  <a:lnTo>
                    <a:pt x="1305" y="156"/>
                  </a:lnTo>
                  <a:lnTo>
                    <a:pt x="1302" y="156"/>
                  </a:lnTo>
                  <a:lnTo>
                    <a:pt x="1302" y="159"/>
                  </a:lnTo>
                  <a:lnTo>
                    <a:pt x="1302" y="156"/>
                  </a:lnTo>
                  <a:lnTo>
                    <a:pt x="1302" y="159"/>
                  </a:lnTo>
                  <a:lnTo>
                    <a:pt x="1302" y="161"/>
                  </a:lnTo>
                  <a:lnTo>
                    <a:pt x="1302" y="159"/>
                  </a:lnTo>
                  <a:lnTo>
                    <a:pt x="1302" y="161"/>
                  </a:lnTo>
                  <a:lnTo>
                    <a:pt x="1300" y="161"/>
                  </a:lnTo>
                  <a:lnTo>
                    <a:pt x="1302" y="161"/>
                  </a:lnTo>
                  <a:lnTo>
                    <a:pt x="1302" y="164"/>
                  </a:lnTo>
                  <a:lnTo>
                    <a:pt x="1305" y="164"/>
                  </a:lnTo>
                  <a:lnTo>
                    <a:pt x="1302" y="164"/>
                  </a:lnTo>
                  <a:lnTo>
                    <a:pt x="1300" y="164"/>
                  </a:lnTo>
                  <a:lnTo>
                    <a:pt x="1297" y="164"/>
                  </a:lnTo>
                  <a:lnTo>
                    <a:pt x="1295" y="164"/>
                  </a:lnTo>
                  <a:lnTo>
                    <a:pt x="1293" y="164"/>
                  </a:lnTo>
                  <a:lnTo>
                    <a:pt x="1293" y="161"/>
                  </a:lnTo>
                  <a:lnTo>
                    <a:pt x="1290" y="161"/>
                  </a:lnTo>
                  <a:lnTo>
                    <a:pt x="1293" y="161"/>
                  </a:lnTo>
                  <a:lnTo>
                    <a:pt x="1290" y="161"/>
                  </a:lnTo>
                  <a:lnTo>
                    <a:pt x="1288" y="159"/>
                  </a:lnTo>
                  <a:lnTo>
                    <a:pt x="1286" y="159"/>
                  </a:lnTo>
                  <a:lnTo>
                    <a:pt x="1283" y="159"/>
                  </a:lnTo>
                  <a:lnTo>
                    <a:pt x="1281" y="159"/>
                  </a:lnTo>
                  <a:lnTo>
                    <a:pt x="1281" y="156"/>
                  </a:lnTo>
                  <a:lnTo>
                    <a:pt x="1278" y="156"/>
                  </a:lnTo>
                  <a:lnTo>
                    <a:pt x="1276" y="156"/>
                  </a:lnTo>
                  <a:lnTo>
                    <a:pt x="1274" y="156"/>
                  </a:lnTo>
                  <a:lnTo>
                    <a:pt x="1271" y="156"/>
                  </a:lnTo>
                  <a:lnTo>
                    <a:pt x="1274" y="156"/>
                  </a:lnTo>
                  <a:lnTo>
                    <a:pt x="1271" y="156"/>
                  </a:lnTo>
                  <a:lnTo>
                    <a:pt x="1274" y="156"/>
                  </a:lnTo>
                  <a:lnTo>
                    <a:pt x="1274" y="159"/>
                  </a:lnTo>
                  <a:lnTo>
                    <a:pt x="1276" y="159"/>
                  </a:lnTo>
                  <a:lnTo>
                    <a:pt x="1278" y="159"/>
                  </a:lnTo>
                  <a:lnTo>
                    <a:pt x="1281" y="159"/>
                  </a:lnTo>
                  <a:lnTo>
                    <a:pt x="1283" y="159"/>
                  </a:lnTo>
                  <a:lnTo>
                    <a:pt x="1283" y="161"/>
                  </a:lnTo>
                  <a:lnTo>
                    <a:pt x="1286" y="161"/>
                  </a:lnTo>
                  <a:lnTo>
                    <a:pt x="1286" y="164"/>
                  </a:lnTo>
                  <a:lnTo>
                    <a:pt x="1286" y="166"/>
                  </a:lnTo>
                  <a:lnTo>
                    <a:pt x="1283" y="166"/>
                  </a:lnTo>
                  <a:lnTo>
                    <a:pt x="1283" y="164"/>
                  </a:lnTo>
                  <a:lnTo>
                    <a:pt x="1281" y="164"/>
                  </a:lnTo>
                  <a:lnTo>
                    <a:pt x="1278" y="164"/>
                  </a:lnTo>
                  <a:lnTo>
                    <a:pt x="1276" y="164"/>
                  </a:lnTo>
                  <a:lnTo>
                    <a:pt x="1278" y="164"/>
                  </a:lnTo>
                  <a:lnTo>
                    <a:pt x="1281" y="164"/>
                  </a:lnTo>
                  <a:lnTo>
                    <a:pt x="1283" y="164"/>
                  </a:lnTo>
                  <a:lnTo>
                    <a:pt x="1283" y="166"/>
                  </a:lnTo>
                  <a:lnTo>
                    <a:pt x="1286" y="166"/>
                  </a:lnTo>
                  <a:lnTo>
                    <a:pt x="1286" y="168"/>
                  </a:lnTo>
                  <a:lnTo>
                    <a:pt x="1288" y="168"/>
                  </a:lnTo>
                  <a:lnTo>
                    <a:pt x="1288" y="171"/>
                  </a:lnTo>
                  <a:lnTo>
                    <a:pt x="1288" y="173"/>
                  </a:lnTo>
                  <a:lnTo>
                    <a:pt x="1288" y="175"/>
                  </a:lnTo>
                  <a:lnTo>
                    <a:pt x="1290" y="175"/>
                  </a:lnTo>
                  <a:lnTo>
                    <a:pt x="1288" y="175"/>
                  </a:lnTo>
                  <a:lnTo>
                    <a:pt x="1286" y="175"/>
                  </a:lnTo>
                  <a:lnTo>
                    <a:pt x="1288" y="175"/>
                  </a:lnTo>
                  <a:lnTo>
                    <a:pt x="1290" y="175"/>
                  </a:lnTo>
                  <a:lnTo>
                    <a:pt x="1290" y="178"/>
                  </a:lnTo>
                  <a:lnTo>
                    <a:pt x="1288" y="178"/>
                  </a:lnTo>
                  <a:lnTo>
                    <a:pt x="1286" y="178"/>
                  </a:lnTo>
                  <a:lnTo>
                    <a:pt x="1283" y="178"/>
                  </a:lnTo>
                  <a:lnTo>
                    <a:pt x="1286" y="178"/>
                  </a:lnTo>
                  <a:lnTo>
                    <a:pt x="1288" y="178"/>
                  </a:lnTo>
                  <a:lnTo>
                    <a:pt x="1286" y="178"/>
                  </a:lnTo>
                  <a:lnTo>
                    <a:pt x="1283" y="178"/>
                  </a:lnTo>
                  <a:lnTo>
                    <a:pt x="1281" y="178"/>
                  </a:lnTo>
                  <a:lnTo>
                    <a:pt x="1281" y="180"/>
                  </a:lnTo>
                  <a:lnTo>
                    <a:pt x="1283" y="180"/>
                  </a:lnTo>
                  <a:lnTo>
                    <a:pt x="1283" y="183"/>
                  </a:lnTo>
                  <a:lnTo>
                    <a:pt x="1281" y="183"/>
                  </a:lnTo>
                  <a:lnTo>
                    <a:pt x="1281" y="180"/>
                  </a:lnTo>
                  <a:lnTo>
                    <a:pt x="1283" y="180"/>
                  </a:lnTo>
                  <a:lnTo>
                    <a:pt x="1281" y="180"/>
                  </a:lnTo>
                  <a:lnTo>
                    <a:pt x="1278" y="180"/>
                  </a:lnTo>
                  <a:lnTo>
                    <a:pt x="1276" y="180"/>
                  </a:lnTo>
                  <a:lnTo>
                    <a:pt x="1274" y="180"/>
                  </a:lnTo>
                  <a:lnTo>
                    <a:pt x="1276" y="180"/>
                  </a:lnTo>
                  <a:lnTo>
                    <a:pt x="1276" y="178"/>
                  </a:lnTo>
                  <a:lnTo>
                    <a:pt x="1276" y="180"/>
                  </a:lnTo>
                  <a:lnTo>
                    <a:pt x="1274" y="180"/>
                  </a:lnTo>
                  <a:lnTo>
                    <a:pt x="1276" y="180"/>
                  </a:lnTo>
                  <a:lnTo>
                    <a:pt x="1276" y="183"/>
                  </a:lnTo>
                  <a:lnTo>
                    <a:pt x="1278" y="183"/>
                  </a:lnTo>
                  <a:lnTo>
                    <a:pt x="1281" y="183"/>
                  </a:lnTo>
                  <a:lnTo>
                    <a:pt x="1283" y="183"/>
                  </a:lnTo>
                  <a:lnTo>
                    <a:pt x="1283" y="185"/>
                  </a:lnTo>
                  <a:lnTo>
                    <a:pt x="1283" y="183"/>
                  </a:lnTo>
                  <a:lnTo>
                    <a:pt x="1281" y="183"/>
                  </a:lnTo>
                  <a:lnTo>
                    <a:pt x="1278" y="183"/>
                  </a:lnTo>
                  <a:lnTo>
                    <a:pt x="1276" y="183"/>
                  </a:lnTo>
                  <a:lnTo>
                    <a:pt x="1276" y="185"/>
                  </a:lnTo>
                  <a:lnTo>
                    <a:pt x="1274" y="185"/>
                  </a:lnTo>
                  <a:lnTo>
                    <a:pt x="1276" y="185"/>
                  </a:lnTo>
                  <a:lnTo>
                    <a:pt x="1276" y="183"/>
                  </a:lnTo>
                  <a:lnTo>
                    <a:pt x="1274" y="183"/>
                  </a:lnTo>
                  <a:lnTo>
                    <a:pt x="1271" y="183"/>
                  </a:lnTo>
                  <a:lnTo>
                    <a:pt x="1271" y="185"/>
                  </a:lnTo>
                  <a:lnTo>
                    <a:pt x="1271" y="187"/>
                  </a:lnTo>
                  <a:lnTo>
                    <a:pt x="1271" y="185"/>
                  </a:lnTo>
                  <a:lnTo>
                    <a:pt x="1271" y="187"/>
                  </a:lnTo>
                  <a:lnTo>
                    <a:pt x="1269" y="187"/>
                  </a:lnTo>
                  <a:lnTo>
                    <a:pt x="1269" y="190"/>
                  </a:lnTo>
                  <a:lnTo>
                    <a:pt x="1271" y="190"/>
                  </a:lnTo>
                  <a:lnTo>
                    <a:pt x="1271" y="187"/>
                  </a:lnTo>
                  <a:lnTo>
                    <a:pt x="1271" y="190"/>
                  </a:lnTo>
                  <a:lnTo>
                    <a:pt x="1274" y="190"/>
                  </a:lnTo>
                  <a:lnTo>
                    <a:pt x="1274" y="192"/>
                  </a:lnTo>
                  <a:lnTo>
                    <a:pt x="1274" y="190"/>
                  </a:lnTo>
                  <a:lnTo>
                    <a:pt x="1271" y="190"/>
                  </a:lnTo>
                  <a:lnTo>
                    <a:pt x="1271" y="192"/>
                  </a:lnTo>
                  <a:lnTo>
                    <a:pt x="1269" y="192"/>
                  </a:lnTo>
                  <a:lnTo>
                    <a:pt x="1271" y="192"/>
                  </a:lnTo>
                  <a:lnTo>
                    <a:pt x="1269" y="192"/>
                  </a:lnTo>
                  <a:lnTo>
                    <a:pt x="1267" y="192"/>
                  </a:lnTo>
                  <a:lnTo>
                    <a:pt x="1264" y="190"/>
                  </a:lnTo>
                  <a:lnTo>
                    <a:pt x="1262" y="190"/>
                  </a:lnTo>
                  <a:lnTo>
                    <a:pt x="1259" y="190"/>
                  </a:lnTo>
                  <a:lnTo>
                    <a:pt x="1259" y="187"/>
                  </a:lnTo>
                  <a:lnTo>
                    <a:pt x="1257" y="187"/>
                  </a:lnTo>
                  <a:lnTo>
                    <a:pt x="1255" y="187"/>
                  </a:lnTo>
                  <a:lnTo>
                    <a:pt x="1257" y="187"/>
                  </a:lnTo>
                  <a:lnTo>
                    <a:pt x="1255" y="185"/>
                  </a:lnTo>
                  <a:lnTo>
                    <a:pt x="1255" y="183"/>
                  </a:lnTo>
                  <a:lnTo>
                    <a:pt x="1252" y="183"/>
                  </a:lnTo>
                  <a:lnTo>
                    <a:pt x="1255" y="183"/>
                  </a:lnTo>
                  <a:lnTo>
                    <a:pt x="1252" y="183"/>
                  </a:lnTo>
                  <a:lnTo>
                    <a:pt x="1252" y="180"/>
                  </a:lnTo>
                  <a:lnTo>
                    <a:pt x="1250" y="180"/>
                  </a:lnTo>
                  <a:lnTo>
                    <a:pt x="1250" y="178"/>
                  </a:lnTo>
                  <a:lnTo>
                    <a:pt x="1248" y="178"/>
                  </a:lnTo>
                  <a:lnTo>
                    <a:pt x="1245" y="178"/>
                  </a:lnTo>
                  <a:lnTo>
                    <a:pt x="1245" y="180"/>
                  </a:lnTo>
                  <a:lnTo>
                    <a:pt x="1248" y="180"/>
                  </a:lnTo>
                  <a:lnTo>
                    <a:pt x="1248" y="183"/>
                  </a:lnTo>
                  <a:lnTo>
                    <a:pt x="1250" y="183"/>
                  </a:lnTo>
                  <a:lnTo>
                    <a:pt x="1250" y="185"/>
                  </a:lnTo>
                  <a:lnTo>
                    <a:pt x="1248" y="185"/>
                  </a:lnTo>
                  <a:lnTo>
                    <a:pt x="1248" y="187"/>
                  </a:lnTo>
                  <a:lnTo>
                    <a:pt x="1248" y="185"/>
                  </a:lnTo>
                  <a:lnTo>
                    <a:pt x="1248" y="187"/>
                  </a:lnTo>
                  <a:lnTo>
                    <a:pt x="1248" y="185"/>
                  </a:lnTo>
                  <a:lnTo>
                    <a:pt x="1245" y="185"/>
                  </a:lnTo>
                  <a:lnTo>
                    <a:pt x="1243" y="185"/>
                  </a:lnTo>
                  <a:lnTo>
                    <a:pt x="1240" y="185"/>
                  </a:lnTo>
                  <a:lnTo>
                    <a:pt x="1240" y="187"/>
                  </a:lnTo>
                  <a:lnTo>
                    <a:pt x="1240" y="185"/>
                  </a:lnTo>
                  <a:lnTo>
                    <a:pt x="1238" y="185"/>
                  </a:lnTo>
                  <a:lnTo>
                    <a:pt x="1240" y="185"/>
                  </a:lnTo>
                  <a:lnTo>
                    <a:pt x="1240" y="187"/>
                  </a:lnTo>
                  <a:lnTo>
                    <a:pt x="1240" y="185"/>
                  </a:lnTo>
                  <a:lnTo>
                    <a:pt x="1240" y="187"/>
                  </a:lnTo>
                  <a:lnTo>
                    <a:pt x="1243" y="187"/>
                  </a:lnTo>
                  <a:lnTo>
                    <a:pt x="1245" y="187"/>
                  </a:lnTo>
                  <a:lnTo>
                    <a:pt x="1248" y="187"/>
                  </a:lnTo>
                  <a:lnTo>
                    <a:pt x="1250" y="187"/>
                  </a:lnTo>
                  <a:lnTo>
                    <a:pt x="1252" y="187"/>
                  </a:lnTo>
                  <a:lnTo>
                    <a:pt x="1252" y="190"/>
                  </a:lnTo>
                  <a:lnTo>
                    <a:pt x="1255" y="190"/>
                  </a:lnTo>
                  <a:lnTo>
                    <a:pt x="1255" y="192"/>
                  </a:lnTo>
                  <a:lnTo>
                    <a:pt x="1255" y="190"/>
                  </a:lnTo>
                  <a:lnTo>
                    <a:pt x="1255" y="192"/>
                  </a:lnTo>
                  <a:lnTo>
                    <a:pt x="1257" y="192"/>
                  </a:lnTo>
                  <a:lnTo>
                    <a:pt x="1259" y="192"/>
                  </a:lnTo>
                  <a:lnTo>
                    <a:pt x="1259" y="194"/>
                  </a:lnTo>
                  <a:lnTo>
                    <a:pt x="1259" y="197"/>
                  </a:lnTo>
                  <a:lnTo>
                    <a:pt x="1262" y="197"/>
                  </a:lnTo>
                  <a:lnTo>
                    <a:pt x="1259" y="197"/>
                  </a:lnTo>
                  <a:lnTo>
                    <a:pt x="1257" y="197"/>
                  </a:lnTo>
                  <a:lnTo>
                    <a:pt x="1257" y="199"/>
                  </a:lnTo>
                  <a:lnTo>
                    <a:pt x="1259" y="199"/>
                  </a:lnTo>
                  <a:lnTo>
                    <a:pt x="1262" y="199"/>
                  </a:lnTo>
                  <a:lnTo>
                    <a:pt x="1259" y="199"/>
                  </a:lnTo>
                  <a:lnTo>
                    <a:pt x="1259" y="202"/>
                  </a:lnTo>
                  <a:lnTo>
                    <a:pt x="1262" y="204"/>
                  </a:lnTo>
                  <a:lnTo>
                    <a:pt x="1262" y="206"/>
                  </a:lnTo>
                  <a:lnTo>
                    <a:pt x="1259" y="206"/>
                  </a:lnTo>
                  <a:lnTo>
                    <a:pt x="1257" y="206"/>
                  </a:lnTo>
                  <a:lnTo>
                    <a:pt x="1257" y="209"/>
                  </a:lnTo>
                  <a:lnTo>
                    <a:pt x="1255" y="209"/>
                  </a:lnTo>
                  <a:lnTo>
                    <a:pt x="1255" y="206"/>
                  </a:lnTo>
                  <a:lnTo>
                    <a:pt x="1252" y="206"/>
                  </a:lnTo>
                  <a:lnTo>
                    <a:pt x="1252" y="204"/>
                  </a:lnTo>
                  <a:lnTo>
                    <a:pt x="1250" y="204"/>
                  </a:lnTo>
                  <a:lnTo>
                    <a:pt x="1250" y="202"/>
                  </a:lnTo>
                  <a:lnTo>
                    <a:pt x="1248" y="202"/>
                  </a:lnTo>
                  <a:lnTo>
                    <a:pt x="1245" y="202"/>
                  </a:lnTo>
                  <a:lnTo>
                    <a:pt x="1243" y="202"/>
                  </a:lnTo>
                  <a:lnTo>
                    <a:pt x="1240" y="202"/>
                  </a:lnTo>
                  <a:lnTo>
                    <a:pt x="1240" y="199"/>
                  </a:lnTo>
                  <a:lnTo>
                    <a:pt x="1240" y="202"/>
                  </a:lnTo>
                  <a:lnTo>
                    <a:pt x="1238" y="202"/>
                  </a:lnTo>
                  <a:lnTo>
                    <a:pt x="1238" y="199"/>
                  </a:lnTo>
                  <a:lnTo>
                    <a:pt x="1238" y="202"/>
                  </a:lnTo>
                  <a:lnTo>
                    <a:pt x="1238" y="199"/>
                  </a:lnTo>
                  <a:lnTo>
                    <a:pt x="1236" y="199"/>
                  </a:lnTo>
                  <a:lnTo>
                    <a:pt x="1233" y="199"/>
                  </a:lnTo>
                  <a:lnTo>
                    <a:pt x="1231" y="199"/>
                  </a:lnTo>
                  <a:lnTo>
                    <a:pt x="1229" y="199"/>
                  </a:lnTo>
                  <a:lnTo>
                    <a:pt x="1226" y="199"/>
                  </a:lnTo>
                  <a:lnTo>
                    <a:pt x="1224" y="199"/>
                  </a:lnTo>
                  <a:lnTo>
                    <a:pt x="1222" y="199"/>
                  </a:lnTo>
                  <a:lnTo>
                    <a:pt x="1219" y="199"/>
                  </a:lnTo>
                  <a:lnTo>
                    <a:pt x="1222" y="199"/>
                  </a:lnTo>
                  <a:lnTo>
                    <a:pt x="1224" y="199"/>
                  </a:lnTo>
                  <a:lnTo>
                    <a:pt x="1224" y="202"/>
                  </a:lnTo>
                  <a:lnTo>
                    <a:pt x="1226" y="202"/>
                  </a:lnTo>
                  <a:lnTo>
                    <a:pt x="1229" y="202"/>
                  </a:lnTo>
                  <a:lnTo>
                    <a:pt x="1226" y="202"/>
                  </a:lnTo>
                  <a:lnTo>
                    <a:pt x="1229" y="202"/>
                  </a:lnTo>
                  <a:lnTo>
                    <a:pt x="1231" y="202"/>
                  </a:lnTo>
                  <a:lnTo>
                    <a:pt x="1233" y="202"/>
                  </a:lnTo>
                  <a:lnTo>
                    <a:pt x="1236" y="202"/>
                  </a:lnTo>
                  <a:lnTo>
                    <a:pt x="1238" y="202"/>
                  </a:lnTo>
                  <a:lnTo>
                    <a:pt x="1240" y="202"/>
                  </a:lnTo>
                  <a:lnTo>
                    <a:pt x="1243" y="202"/>
                  </a:lnTo>
                  <a:lnTo>
                    <a:pt x="1243" y="204"/>
                  </a:lnTo>
                  <a:lnTo>
                    <a:pt x="1245" y="204"/>
                  </a:lnTo>
                  <a:lnTo>
                    <a:pt x="1243" y="204"/>
                  </a:lnTo>
                  <a:lnTo>
                    <a:pt x="1245" y="204"/>
                  </a:lnTo>
                  <a:lnTo>
                    <a:pt x="1248" y="206"/>
                  </a:lnTo>
                  <a:lnTo>
                    <a:pt x="1250" y="206"/>
                  </a:lnTo>
                  <a:lnTo>
                    <a:pt x="1250" y="209"/>
                  </a:lnTo>
                  <a:lnTo>
                    <a:pt x="1250" y="211"/>
                  </a:lnTo>
                  <a:lnTo>
                    <a:pt x="1252" y="211"/>
                  </a:lnTo>
                  <a:lnTo>
                    <a:pt x="1252" y="213"/>
                  </a:lnTo>
                  <a:lnTo>
                    <a:pt x="1252" y="216"/>
                  </a:lnTo>
                  <a:lnTo>
                    <a:pt x="1250" y="216"/>
                  </a:lnTo>
                  <a:lnTo>
                    <a:pt x="1248" y="216"/>
                  </a:lnTo>
                  <a:lnTo>
                    <a:pt x="1245" y="216"/>
                  </a:lnTo>
                  <a:lnTo>
                    <a:pt x="1245" y="218"/>
                  </a:lnTo>
                  <a:lnTo>
                    <a:pt x="1243" y="218"/>
                  </a:lnTo>
                  <a:lnTo>
                    <a:pt x="1245" y="218"/>
                  </a:lnTo>
                  <a:lnTo>
                    <a:pt x="1243" y="218"/>
                  </a:lnTo>
                  <a:lnTo>
                    <a:pt x="1240" y="218"/>
                  </a:lnTo>
                  <a:lnTo>
                    <a:pt x="1238" y="218"/>
                  </a:lnTo>
                  <a:lnTo>
                    <a:pt x="1236" y="218"/>
                  </a:lnTo>
                  <a:lnTo>
                    <a:pt x="1233" y="216"/>
                  </a:lnTo>
                  <a:lnTo>
                    <a:pt x="1231" y="216"/>
                  </a:lnTo>
                  <a:lnTo>
                    <a:pt x="1231" y="213"/>
                  </a:lnTo>
                  <a:lnTo>
                    <a:pt x="1229" y="213"/>
                  </a:lnTo>
                  <a:lnTo>
                    <a:pt x="1226" y="213"/>
                  </a:lnTo>
                  <a:lnTo>
                    <a:pt x="1226" y="211"/>
                  </a:lnTo>
                  <a:lnTo>
                    <a:pt x="1224" y="211"/>
                  </a:lnTo>
                  <a:lnTo>
                    <a:pt x="1224" y="209"/>
                  </a:lnTo>
                  <a:lnTo>
                    <a:pt x="1222" y="209"/>
                  </a:lnTo>
                  <a:lnTo>
                    <a:pt x="1222" y="211"/>
                  </a:lnTo>
                  <a:lnTo>
                    <a:pt x="1224" y="211"/>
                  </a:lnTo>
                  <a:lnTo>
                    <a:pt x="1224" y="213"/>
                  </a:lnTo>
                  <a:lnTo>
                    <a:pt x="1226" y="213"/>
                  </a:lnTo>
                  <a:lnTo>
                    <a:pt x="1226" y="216"/>
                  </a:lnTo>
                  <a:lnTo>
                    <a:pt x="1229" y="216"/>
                  </a:lnTo>
                  <a:lnTo>
                    <a:pt x="1226" y="216"/>
                  </a:lnTo>
                  <a:lnTo>
                    <a:pt x="1224" y="216"/>
                  </a:lnTo>
                  <a:lnTo>
                    <a:pt x="1226" y="216"/>
                  </a:lnTo>
                  <a:lnTo>
                    <a:pt x="1224" y="216"/>
                  </a:lnTo>
                  <a:lnTo>
                    <a:pt x="1226" y="216"/>
                  </a:lnTo>
                  <a:lnTo>
                    <a:pt x="1229" y="216"/>
                  </a:lnTo>
                  <a:lnTo>
                    <a:pt x="1231" y="216"/>
                  </a:lnTo>
                  <a:lnTo>
                    <a:pt x="1231" y="218"/>
                  </a:lnTo>
                  <a:lnTo>
                    <a:pt x="1233" y="218"/>
                  </a:lnTo>
                  <a:lnTo>
                    <a:pt x="1231" y="218"/>
                  </a:lnTo>
                  <a:lnTo>
                    <a:pt x="1233" y="218"/>
                  </a:lnTo>
                  <a:lnTo>
                    <a:pt x="1236" y="221"/>
                  </a:lnTo>
                  <a:lnTo>
                    <a:pt x="1238" y="221"/>
                  </a:lnTo>
                  <a:lnTo>
                    <a:pt x="1240" y="223"/>
                  </a:lnTo>
                  <a:lnTo>
                    <a:pt x="1240" y="225"/>
                  </a:lnTo>
                  <a:lnTo>
                    <a:pt x="1238" y="225"/>
                  </a:lnTo>
                  <a:lnTo>
                    <a:pt x="1238" y="228"/>
                  </a:lnTo>
                  <a:lnTo>
                    <a:pt x="1236" y="228"/>
                  </a:lnTo>
                  <a:lnTo>
                    <a:pt x="1236" y="230"/>
                  </a:lnTo>
                  <a:lnTo>
                    <a:pt x="1233" y="232"/>
                  </a:lnTo>
                  <a:lnTo>
                    <a:pt x="1233" y="230"/>
                  </a:lnTo>
                  <a:lnTo>
                    <a:pt x="1233" y="232"/>
                  </a:lnTo>
                  <a:lnTo>
                    <a:pt x="1231" y="232"/>
                  </a:lnTo>
                  <a:lnTo>
                    <a:pt x="1229" y="235"/>
                  </a:lnTo>
                  <a:lnTo>
                    <a:pt x="1229" y="232"/>
                  </a:lnTo>
                  <a:lnTo>
                    <a:pt x="1229" y="235"/>
                  </a:lnTo>
                  <a:lnTo>
                    <a:pt x="1229" y="232"/>
                  </a:lnTo>
                  <a:lnTo>
                    <a:pt x="1226" y="232"/>
                  </a:lnTo>
                  <a:lnTo>
                    <a:pt x="1226" y="230"/>
                  </a:lnTo>
                  <a:lnTo>
                    <a:pt x="1224" y="230"/>
                  </a:lnTo>
                  <a:lnTo>
                    <a:pt x="1226" y="232"/>
                  </a:lnTo>
                  <a:lnTo>
                    <a:pt x="1226" y="230"/>
                  </a:lnTo>
                  <a:lnTo>
                    <a:pt x="1226" y="232"/>
                  </a:lnTo>
                  <a:lnTo>
                    <a:pt x="1224" y="232"/>
                  </a:lnTo>
                  <a:lnTo>
                    <a:pt x="1226" y="232"/>
                  </a:lnTo>
                  <a:lnTo>
                    <a:pt x="1226" y="235"/>
                  </a:lnTo>
                  <a:lnTo>
                    <a:pt x="1226" y="232"/>
                  </a:lnTo>
                  <a:lnTo>
                    <a:pt x="1226" y="235"/>
                  </a:lnTo>
                  <a:lnTo>
                    <a:pt x="1224" y="235"/>
                  </a:lnTo>
                  <a:lnTo>
                    <a:pt x="1224" y="237"/>
                  </a:lnTo>
                  <a:lnTo>
                    <a:pt x="1222" y="237"/>
                  </a:lnTo>
                  <a:lnTo>
                    <a:pt x="1219" y="237"/>
                  </a:lnTo>
                  <a:lnTo>
                    <a:pt x="1217" y="237"/>
                  </a:lnTo>
                  <a:lnTo>
                    <a:pt x="1214" y="237"/>
                  </a:lnTo>
                  <a:lnTo>
                    <a:pt x="1212" y="237"/>
                  </a:lnTo>
                  <a:lnTo>
                    <a:pt x="1210" y="237"/>
                  </a:lnTo>
                  <a:lnTo>
                    <a:pt x="1207" y="237"/>
                  </a:lnTo>
                  <a:lnTo>
                    <a:pt x="1205" y="237"/>
                  </a:lnTo>
                  <a:lnTo>
                    <a:pt x="1203" y="237"/>
                  </a:lnTo>
                  <a:lnTo>
                    <a:pt x="1203" y="235"/>
                  </a:lnTo>
                  <a:lnTo>
                    <a:pt x="1200" y="235"/>
                  </a:lnTo>
                  <a:lnTo>
                    <a:pt x="1203" y="235"/>
                  </a:lnTo>
                  <a:lnTo>
                    <a:pt x="1200" y="232"/>
                  </a:lnTo>
                  <a:lnTo>
                    <a:pt x="1203" y="232"/>
                  </a:lnTo>
                  <a:lnTo>
                    <a:pt x="1200" y="232"/>
                  </a:lnTo>
                  <a:lnTo>
                    <a:pt x="1203" y="232"/>
                  </a:lnTo>
                  <a:lnTo>
                    <a:pt x="1203" y="230"/>
                  </a:lnTo>
                  <a:lnTo>
                    <a:pt x="1203" y="232"/>
                  </a:lnTo>
                  <a:lnTo>
                    <a:pt x="1200" y="230"/>
                  </a:lnTo>
                  <a:lnTo>
                    <a:pt x="1203" y="230"/>
                  </a:lnTo>
                  <a:lnTo>
                    <a:pt x="1200" y="230"/>
                  </a:lnTo>
                  <a:lnTo>
                    <a:pt x="1203" y="230"/>
                  </a:lnTo>
                  <a:lnTo>
                    <a:pt x="1200" y="230"/>
                  </a:lnTo>
                  <a:lnTo>
                    <a:pt x="1203" y="230"/>
                  </a:lnTo>
                  <a:lnTo>
                    <a:pt x="1200" y="230"/>
                  </a:lnTo>
                  <a:lnTo>
                    <a:pt x="1200" y="228"/>
                  </a:lnTo>
                  <a:lnTo>
                    <a:pt x="1200" y="230"/>
                  </a:lnTo>
                  <a:lnTo>
                    <a:pt x="1200" y="228"/>
                  </a:lnTo>
                  <a:lnTo>
                    <a:pt x="1198" y="228"/>
                  </a:lnTo>
                  <a:lnTo>
                    <a:pt x="1198" y="225"/>
                  </a:lnTo>
                  <a:lnTo>
                    <a:pt x="1195" y="225"/>
                  </a:lnTo>
                  <a:lnTo>
                    <a:pt x="1198" y="225"/>
                  </a:lnTo>
                  <a:lnTo>
                    <a:pt x="1195" y="225"/>
                  </a:lnTo>
                  <a:lnTo>
                    <a:pt x="1195" y="223"/>
                  </a:lnTo>
                  <a:lnTo>
                    <a:pt x="1193" y="223"/>
                  </a:lnTo>
                  <a:lnTo>
                    <a:pt x="1195" y="223"/>
                  </a:lnTo>
                  <a:lnTo>
                    <a:pt x="1195" y="225"/>
                  </a:lnTo>
                  <a:lnTo>
                    <a:pt x="1195" y="223"/>
                  </a:lnTo>
                  <a:lnTo>
                    <a:pt x="1195" y="225"/>
                  </a:lnTo>
                  <a:lnTo>
                    <a:pt x="1198" y="225"/>
                  </a:lnTo>
                  <a:lnTo>
                    <a:pt x="1195" y="225"/>
                  </a:lnTo>
                  <a:lnTo>
                    <a:pt x="1195" y="228"/>
                  </a:lnTo>
                  <a:lnTo>
                    <a:pt x="1198" y="228"/>
                  </a:lnTo>
                  <a:lnTo>
                    <a:pt x="1200" y="228"/>
                  </a:lnTo>
                  <a:lnTo>
                    <a:pt x="1200" y="230"/>
                  </a:lnTo>
                  <a:lnTo>
                    <a:pt x="1198" y="230"/>
                  </a:lnTo>
                  <a:lnTo>
                    <a:pt x="1200" y="230"/>
                  </a:lnTo>
                  <a:lnTo>
                    <a:pt x="1198" y="230"/>
                  </a:lnTo>
                  <a:lnTo>
                    <a:pt x="1200" y="230"/>
                  </a:lnTo>
                  <a:lnTo>
                    <a:pt x="1198" y="230"/>
                  </a:lnTo>
                  <a:lnTo>
                    <a:pt x="1200" y="230"/>
                  </a:lnTo>
                  <a:lnTo>
                    <a:pt x="1198" y="230"/>
                  </a:lnTo>
                  <a:lnTo>
                    <a:pt x="1200" y="230"/>
                  </a:lnTo>
                  <a:lnTo>
                    <a:pt x="1198" y="230"/>
                  </a:lnTo>
                  <a:lnTo>
                    <a:pt x="1200" y="232"/>
                  </a:lnTo>
                  <a:lnTo>
                    <a:pt x="1200" y="235"/>
                  </a:lnTo>
                  <a:lnTo>
                    <a:pt x="1200" y="232"/>
                  </a:lnTo>
                  <a:lnTo>
                    <a:pt x="1200" y="235"/>
                  </a:lnTo>
                  <a:lnTo>
                    <a:pt x="1198" y="235"/>
                  </a:lnTo>
                  <a:lnTo>
                    <a:pt x="1195" y="235"/>
                  </a:lnTo>
                  <a:lnTo>
                    <a:pt x="1195" y="232"/>
                  </a:lnTo>
                  <a:lnTo>
                    <a:pt x="1195" y="235"/>
                  </a:lnTo>
                  <a:lnTo>
                    <a:pt x="1195" y="232"/>
                  </a:lnTo>
                  <a:lnTo>
                    <a:pt x="1193" y="232"/>
                  </a:lnTo>
                  <a:lnTo>
                    <a:pt x="1191" y="232"/>
                  </a:lnTo>
                  <a:lnTo>
                    <a:pt x="1188" y="232"/>
                  </a:lnTo>
                  <a:lnTo>
                    <a:pt x="1186" y="232"/>
                  </a:lnTo>
                  <a:lnTo>
                    <a:pt x="1184" y="232"/>
                  </a:lnTo>
                  <a:lnTo>
                    <a:pt x="1181" y="232"/>
                  </a:lnTo>
                  <a:lnTo>
                    <a:pt x="1179" y="232"/>
                  </a:lnTo>
                  <a:lnTo>
                    <a:pt x="1176" y="232"/>
                  </a:lnTo>
                  <a:lnTo>
                    <a:pt x="1176" y="230"/>
                  </a:lnTo>
                  <a:lnTo>
                    <a:pt x="1176" y="228"/>
                  </a:lnTo>
                  <a:lnTo>
                    <a:pt x="1174" y="228"/>
                  </a:lnTo>
                  <a:lnTo>
                    <a:pt x="1172" y="228"/>
                  </a:lnTo>
                  <a:lnTo>
                    <a:pt x="1169" y="228"/>
                  </a:lnTo>
                  <a:lnTo>
                    <a:pt x="1169" y="225"/>
                  </a:lnTo>
                  <a:lnTo>
                    <a:pt x="1169" y="228"/>
                  </a:lnTo>
                  <a:lnTo>
                    <a:pt x="1167" y="225"/>
                  </a:lnTo>
                  <a:lnTo>
                    <a:pt x="1165" y="225"/>
                  </a:lnTo>
                  <a:lnTo>
                    <a:pt x="1162" y="225"/>
                  </a:lnTo>
                  <a:lnTo>
                    <a:pt x="1160" y="225"/>
                  </a:lnTo>
                  <a:lnTo>
                    <a:pt x="1160" y="228"/>
                  </a:lnTo>
                  <a:lnTo>
                    <a:pt x="1157" y="228"/>
                  </a:lnTo>
                  <a:lnTo>
                    <a:pt x="1155" y="228"/>
                  </a:lnTo>
                  <a:lnTo>
                    <a:pt x="1155" y="230"/>
                  </a:lnTo>
                  <a:lnTo>
                    <a:pt x="1155" y="228"/>
                  </a:lnTo>
                  <a:lnTo>
                    <a:pt x="1155" y="230"/>
                  </a:lnTo>
                  <a:lnTo>
                    <a:pt x="1155" y="228"/>
                  </a:lnTo>
                  <a:lnTo>
                    <a:pt x="1155" y="230"/>
                  </a:lnTo>
                  <a:lnTo>
                    <a:pt x="1153" y="230"/>
                  </a:lnTo>
                  <a:lnTo>
                    <a:pt x="1153" y="228"/>
                  </a:lnTo>
                  <a:lnTo>
                    <a:pt x="1150" y="230"/>
                  </a:lnTo>
                  <a:lnTo>
                    <a:pt x="1148" y="230"/>
                  </a:lnTo>
                  <a:lnTo>
                    <a:pt x="1148" y="232"/>
                  </a:lnTo>
                  <a:lnTo>
                    <a:pt x="1146" y="232"/>
                  </a:lnTo>
                  <a:lnTo>
                    <a:pt x="1143" y="232"/>
                  </a:lnTo>
                  <a:lnTo>
                    <a:pt x="1141" y="232"/>
                  </a:lnTo>
                  <a:lnTo>
                    <a:pt x="1138" y="232"/>
                  </a:lnTo>
                  <a:lnTo>
                    <a:pt x="1138" y="230"/>
                  </a:lnTo>
                  <a:lnTo>
                    <a:pt x="1138" y="232"/>
                  </a:lnTo>
                  <a:lnTo>
                    <a:pt x="1138" y="230"/>
                  </a:lnTo>
                  <a:lnTo>
                    <a:pt x="1136" y="232"/>
                  </a:lnTo>
                  <a:lnTo>
                    <a:pt x="1136" y="230"/>
                  </a:lnTo>
                  <a:lnTo>
                    <a:pt x="1138" y="230"/>
                  </a:lnTo>
                  <a:lnTo>
                    <a:pt x="1138" y="228"/>
                  </a:lnTo>
                  <a:lnTo>
                    <a:pt x="1138" y="230"/>
                  </a:lnTo>
                  <a:lnTo>
                    <a:pt x="1138" y="228"/>
                  </a:lnTo>
                  <a:lnTo>
                    <a:pt x="1141" y="228"/>
                  </a:lnTo>
                  <a:lnTo>
                    <a:pt x="1143" y="228"/>
                  </a:lnTo>
                  <a:lnTo>
                    <a:pt x="1141" y="228"/>
                  </a:lnTo>
                  <a:lnTo>
                    <a:pt x="1143" y="228"/>
                  </a:lnTo>
                  <a:lnTo>
                    <a:pt x="1146" y="228"/>
                  </a:lnTo>
                  <a:lnTo>
                    <a:pt x="1143" y="228"/>
                  </a:lnTo>
                  <a:lnTo>
                    <a:pt x="1146" y="228"/>
                  </a:lnTo>
                  <a:lnTo>
                    <a:pt x="1143" y="228"/>
                  </a:lnTo>
                  <a:lnTo>
                    <a:pt x="1146" y="228"/>
                  </a:lnTo>
                  <a:lnTo>
                    <a:pt x="1146" y="225"/>
                  </a:lnTo>
                  <a:lnTo>
                    <a:pt x="1148" y="225"/>
                  </a:lnTo>
                  <a:lnTo>
                    <a:pt x="1150" y="225"/>
                  </a:lnTo>
                  <a:lnTo>
                    <a:pt x="1150" y="223"/>
                  </a:lnTo>
                  <a:lnTo>
                    <a:pt x="1148" y="223"/>
                  </a:lnTo>
                  <a:lnTo>
                    <a:pt x="1146" y="225"/>
                  </a:lnTo>
                  <a:lnTo>
                    <a:pt x="1146" y="223"/>
                  </a:lnTo>
                  <a:lnTo>
                    <a:pt x="1143" y="223"/>
                  </a:lnTo>
                  <a:lnTo>
                    <a:pt x="1141" y="223"/>
                  </a:lnTo>
                  <a:lnTo>
                    <a:pt x="1143" y="223"/>
                  </a:lnTo>
                  <a:lnTo>
                    <a:pt x="1143" y="221"/>
                  </a:lnTo>
                  <a:lnTo>
                    <a:pt x="1146" y="221"/>
                  </a:lnTo>
                  <a:lnTo>
                    <a:pt x="1143" y="221"/>
                  </a:lnTo>
                  <a:lnTo>
                    <a:pt x="1146" y="221"/>
                  </a:lnTo>
                  <a:lnTo>
                    <a:pt x="1146" y="218"/>
                  </a:lnTo>
                  <a:lnTo>
                    <a:pt x="1148" y="218"/>
                  </a:lnTo>
                  <a:lnTo>
                    <a:pt x="1150" y="218"/>
                  </a:lnTo>
                  <a:lnTo>
                    <a:pt x="1150" y="216"/>
                  </a:lnTo>
                  <a:lnTo>
                    <a:pt x="1150" y="218"/>
                  </a:lnTo>
                  <a:lnTo>
                    <a:pt x="1150" y="216"/>
                  </a:lnTo>
                  <a:lnTo>
                    <a:pt x="1153" y="216"/>
                  </a:lnTo>
                  <a:lnTo>
                    <a:pt x="1155" y="216"/>
                  </a:lnTo>
                  <a:lnTo>
                    <a:pt x="1157" y="216"/>
                  </a:lnTo>
                  <a:lnTo>
                    <a:pt x="1157" y="213"/>
                  </a:lnTo>
                  <a:lnTo>
                    <a:pt x="1157" y="216"/>
                  </a:lnTo>
                  <a:lnTo>
                    <a:pt x="1157" y="213"/>
                  </a:lnTo>
                  <a:lnTo>
                    <a:pt x="1160" y="213"/>
                  </a:lnTo>
                  <a:lnTo>
                    <a:pt x="1162" y="213"/>
                  </a:lnTo>
                  <a:lnTo>
                    <a:pt x="1165" y="213"/>
                  </a:lnTo>
                  <a:lnTo>
                    <a:pt x="1165" y="211"/>
                  </a:lnTo>
                  <a:lnTo>
                    <a:pt x="1167" y="211"/>
                  </a:lnTo>
                  <a:lnTo>
                    <a:pt x="1169" y="211"/>
                  </a:lnTo>
                  <a:lnTo>
                    <a:pt x="1172" y="211"/>
                  </a:lnTo>
                  <a:lnTo>
                    <a:pt x="1172" y="209"/>
                  </a:lnTo>
                  <a:lnTo>
                    <a:pt x="1174" y="209"/>
                  </a:lnTo>
                  <a:lnTo>
                    <a:pt x="1174" y="211"/>
                  </a:lnTo>
                  <a:lnTo>
                    <a:pt x="1176" y="209"/>
                  </a:lnTo>
                  <a:lnTo>
                    <a:pt x="1179" y="209"/>
                  </a:lnTo>
                  <a:lnTo>
                    <a:pt x="1179" y="211"/>
                  </a:lnTo>
                  <a:lnTo>
                    <a:pt x="1181" y="211"/>
                  </a:lnTo>
                  <a:lnTo>
                    <a:pt x="1184" y="211"/>
                  </a:lnTo>
                  <a:lnTo>
                    <a:pt x="1181" y="211"/>
                  </a:lnTo>
                  <a:lnTo>
                    <a:pt x="1184" y="211"/>
                  </a:lnTo>
                  <a:lnTo>
                    <a:pt x="1184" y="213"/>
                  </a:lnTo>
                  <a:lnTo>
                    <a:pt x="1184" y="211"/>
                  </a:lnTo>
                  <a:lnTo>
                    <a:pt x="1186" y="211"/>
                  </a:lnTo>
                  <a:lnTo>
                    <a:pt x="1186" y="213"/>
                  </a:lnTo>
                  <a:lnTo>
                    <a:pt x="1186" y="211"/>
                  </a:lnTo>
                  <a:lnTo>
                    <a:pt x="1186" y="213"/>
                  </a:lnTo>
                  <a:lnTo>
                    <a:pt x="1188" y="213"/>
                  </a:lnTo>
                  <a:lnTo>
                    <a:pt x="1191" y="213"/>
                  </a:lnTo>
                  <a:lnTo>
                    <a:pt x="1188" y="213"/>
                  </a:lnTo>
                  <a:lnTo>
                    <a:pt x="1186" y="213"/>
                  </a:lnTo>
                  <a:lnTo>
                    <a:pt x="1186" y="211"/>
                  </a:lnTo>
                  <a:lnTo>
                    <a:pt x="1184" y="211"/>
                  </a:lnTo>
                  <a:lnTo>
                    <a:pt x="1181" y="211"/>
                  </a:lnTo>
                  <a:lnTo>
                    <a:pt x="1181" y="209"/>
                  </a:lnTo>
                  <a:lnTo>
                    <a:pt x="1179" y="209"/>
                  </a:lnTo>
                  <a:lnTo>
                    <a:pt x="1176" y="209"/>
                  </a:lnTo>
                  <a:lnTo>
                    <a:pt x="1174" y="209"/>
                  </a:lnTo>
                  <a:lnTo>
                    <a:pt x="1172" y="209"/>
                  </a:lnTo>
                  <a:lnTo>
                    <a:pt x="1172" y="206"/>
                  </a:lnTo>
                  <a:lnTo>
                    <a:pt x="1174" y="206"/>
                  </a:lnTo>
                  <a:lnTo>
                    <a:pt x="1174" y="209"/>
                  </a:lnTo>
                  <a:lnTo>
                    <a:pt x="1176" y="206"/>
                  </a:lnTo>
                  <a:lnTo>
                    <a:pt x="1174" y="206"/>
                  </a:lnTo>
                  <a:lnTo>
                    <a:pt x="1172" y="206"/>
                  </a:lnTo>
                  <a:lnTo>
                    <a:pt x="1172" y="209"/>
                  </a:lnTo>
                  <a:lnTo>
                    <a:pt x="1172" y="206"/>
                  </a:lnTo>
                  <a:lnTo>
                    <a:pt x="1172" y="209"/>
                  </a:lnTo>
                  <a:lnTo>
                    <a:pt x="1169" y="209"/>
                  </a:lnTo>
                  <a:lnTo>
                    <a:pt x="1167" y="209"/>
                  </a:lnTo>
                  <a:lnTo>
                    <a:pt x="1165" y="209"/>
                  </a:lnTo>
                  <a:lnTo>
                    <a:pt x="1165" y="211"/>
                  </a:lnTo>
                  <a:lnTo>
                    <a:pt x="1162" y="211"/>
                  </a:lnTo>
                  <a:lnTo>
                    <a:pt x="1162" y="209"/>
                  </a:lnTo>
                  <a:lnTo>
                    <a:pt x="1165" y="209"/>
                  </a:lnTo>
                  <a:lnTo>
                    <a:pt x="1162" y="209"/>
                  </a:lnTo>
                  <a:lnTo>
                    <a:pt x="1160" y="209"/>
                  </a:lnTo>
                  <a:lnTo>
                    <a:pt x="1162" y="209"/>
                  </a:lnTo>
                  <a:lnTo>
                    <a:pt x="1160" y="209"/>
                  </a:lnTo>
                  <a:lnTo>
                    <a:pt x="1160" y="211"/>
                  </a:lnTo>
                  <a:lnTo>
                    <a:pt x="1157" y="211"/>
                  </a:lnTo>
                  <a:lnTo>
                    <a:pt x="1155" y="211"/>
                  </a:lnTo>
                  <a:lnTo>
                    <a:pt x="1155" y="209"/>
                  </a:lnTo>
                  <a:lnTo>
                    <a:pt x="1153" y="209"/>
                  </a:lnTo>
                  <a:lnTo>
                    <a:pt x="1153" y="211"/>
                  </a:lnTo>
                  <a:lnTo>
                    <a:pt x="1150" y="211"/>
                  </a:lnTo>
                  <a:lnTo>
                    <a:pt x="1148" y="211"/>
                  </a:lnTo>
                  <a:lnTo>
                    <a:pt x="1148" y="213"/>
                  </a:lnTo>
                  <a:lnTo>
                    <a:pt x="1146" y="213"/>
                  </a:lnTo>
                  <a:lnTo>
                    <a:pt x="1143" y="213"/>
                  </a:lnTo>
                  <a:lnTo>
                    <a:pt x="1143" y="216"/>
                  </a:lnTo>
                  <a:lnTo>
                    <a:pt x="1141" y="216"/>
                  </a:lnTo>
                  <a:lnTo>
                    <a:pt x="1138" y="213"/>
                  </a:lnTo>
                  <a:lnTo>
                    <a:pt x="1138" y="216"/>
                  </a:lnTo>
                  <a:lnTo>
                    <a:pt x="1136" y="216"/>
                  </a:lnTo>
                  <a:lnTo>
                    <a:pt x="1136" y="213"/>
                  </a:lnTo>
                  <a:lnTo>
                    <a:pt x="1136" y="216"/>
                  </a:lnTo>
                  <a:lnTo>
                    <a:pt x="1134" y="213"/>
                  </a:lnTo>
                  <a:lnTo>
                    <a:pt x="1131" y="213"/>
                  </a:lnTo>
                  <a:lnTo>
                    <a:pt x="1131" y="211"/>
                  </a:lnTo>
                  <a:lnTo>
                    <a:pt x="1129" y="211"/>
                  </a:lnTo>
                  <a:lnTo>
                    <a:pt x="1129" y="209"/>
                  </a:lnTo>
                  <a:lnTo>
                    <a:pt x="1127" y="209"/>
                  </a:lnTo>
                  <a:lnTo>
                    <a:pt x="1124" y="209"/>
                  </a:lnTo>
                  <a:lnTo>
                    <a:pt x="1124" y="206"/>
                  </a:lnTo>
                  <a:lnTo>
                    <a:pt x="1124" y="204"/>
                  </a:lnTo>
                  <a:lnTo>
                    <a:pt x="1127" y="204"/>
                  </a:lnTo>
                  <a:lnTo>
                    <a:pt x="1127" y="206"/>
                  </a:lnTo>
                  <a:lnTo>
                    <a:pt x="1129" y="206"/>
                  </a:lnTo>
                  <a:lnTo>
                    <a:pt x="1131" y="206"/>
                  </a:lnTo>
                  <a:lnTo>
                    <a:pt x="1134" y="204"/>
                  </a:lnTo>
                  <a:lnTo>
                    <a:pt x="1136" y="204"/>
                  </a:lnTo>
                  <a:lnTo>
                    <a:pt x="1136" y="202"/>
                  </a:lnTo>
                  <a:lnTo>
                    <a:pt x="1136" y="199"/>
                  </a:lnTo>
                  <a:lnTo>
                    <a:pt x="1138" y="199"/>
                  </a:lnTo>
                  <a:lnTo>
                    <a:pt x="1141" y="199"/>
                  </a:lnTo>
                  <a:lnTo>
                    <a:pt x="1141" y="197"/>
                  </a:lnTo>
                  <a:lnTo>
                    <a:pt x="1143" y="197"/>
                  </a:lnTo>
                  <a:lnTo>
                    <a:pt x="1146" y="197"/>
                  </a:lnTo>
                  <a:lnTo>
                    <a:pt x="1146" y="194"/>
                  </a:lnTo>
                  <a:lnTo>
                    <a:pt x="1148" y="194"/>
                  </a:lnTo>
                  <a:lnTo>
                    <a:pt x="1150" y="194"/>
                  </a:lnTo>
                  <a:lnTo>
                    <a:pt x="1148" y="194"/>
                  </a:lnTo>
                  <a:lnTo>
                    <a:pt x="1150" y="194"/>
                  </a:lnTo>
                  <a:lnTo>
                    <a:pt x="1153" y="194"/>
                  </a:lnTo>
                  <a:lnTo>
                    <a:pt x="1155" y="194"/>
                  </a:lnTo>
                  <a:lnTo>
                    <a:pt x="1157" y="194"/>
                  </a:lnTo>
                  <a:lnTo>
                    <a:pt x="1155" y="194"/>
                  </a:lnTo>
                  <a:lnTo>
                    <a:pt x="1155" y="192"/>
                  </a:lnTo>
                  <a:lnTo>
                    <a:pt x="1157" y="192"/>
                  </a:lnTo>
                  <a:lnTo>
                    <a:pt x="1157" y="194"/>
                  </a:lnTo>
                  <a:lnTo>
                    <a:pt x="1157" y="192"/>
                  </a:lnTo>
                  <a:lnTo>
                    <a:pt x="1157" y="194"/>
                  </a:lnTo>
                  <a:lnTo>
                    <a:pt x="1160" y="194"/>
                  </a:lnTo>
                  <a:lnTo>
                    <a:pt x="1162" y="194"/>
                  </a:lnTo>
                  <a:lnTo>
                    <a:pt x="1162" y="197"/>
                  </a:lnTo>
                  <a:lnTo>
                    <a:pt x="1162" y="194"/>
                  </a:lnTo>
                  <a:lnTo>
                    <a:pt x="1162" y="197"/>
                  </a:lnTo>
                  <a:lnTo>
                    <a:pt x="1165" y="197"/>
                  </a:lnTo>
                  <a:lnTo>
                    <a:pt x="1167" y="197"/>
                  </a:lnTo>
                  <a:lnTo>
                    <a:pt x="1165" y="197"/>
                  </a:lnTo>
                  <a:lnTo>
                    <a:pt x="1162" y="194"/>
                  </a:lnTo>
                  <a:lnTo>
                    <a:pt x="1165" y="194"/>
                  </a:lnTo>
                  <a:lnTo>
                    <a:pt x="1162" y="194"/>
                  </a:lnTo>
                  <a:lnTo>
                    <a:pt x="1162" y="192"/>
                  </a:lnTo>
                  <a:lnTo>
                    <a:pt x="1160" y="192"/>
                  </a:lnTo>
                  <a:lnTo>
                    <a:pt x="1160" y="194"/>
                  </a:lnTo>
                  <a:lnTo>
                    <a:pt x="1160" y="192"/>
                  </a:lnTo>
                  <a:lnTo>
                    <a:pt x="1160" y="194"/>
                  </a:lnTo>
                  <a:lnTo>
                    <a:pt x="1162" y="194"/>
                  </a:lnTo>
                  <a:lnTo>
                    <a:pt x="1160" y="194"/>
                  </a:lnTo>
                  <a:lnTo>
                    <a:pt x="1160" y="192"/>
                  </a:lnTo>
                  <a:lnTo>
                    <a:pt x="1157" y="192"/>
                  </a:lnTo>
                  <a:lnTo>
                    <a:pt x="1155" y="192"/>
                  </a:lnTo>
                  <a:lnTo>
                    <a:pt x="1153" y="192"/>
                  </a:lnTo>
                  <a:lnTo>
                    <a:pt x="1153" y="190"/>
                  </a:lnTo>
                  <a:lnTo>
                    <a:pt x="1153" y="192"/>
                  </a:lnTo>
                  <a:lnTo>
                    <a:pt x="1153" y="190"/>
                  </a:lnTo>
                  <a:lnTo>
                    <a:pt x="1155" y="190"/>
                  </a:lnTo>
                  <a:lnTo>
                    <a:pt x="1155" y="187"/>
                  </a:lnTo>
                  <a:lnTo>
                    <a:pt x="1155" y="190"/>
                  </a:lnTo>
                  <a:lnTo>
                    <a:pt x="1155" y="187"/>
                  </a:lnTo>
                  <a:lnTo>
                    <a:pt x="1157" y="187"/>
                  </a:lnTo>
                  <a:lnTo>
                    <a:pt x="1157" y="185"/>
                  </a:lnTo>
                  <a:lnTo>
                    <a:pt x="1160" y="185"/>
                  </a:lnTo>
                  <a:lnTo>
                    <a:pt x="1162" y="185"/>
                  </a:lnTo>
                  <a:lnTo>
                    <a:pt x="1162" y="183"/>
                  </a:lnTo>
                  <a:lnTo>
                    <a:pt x="1165" y="183"/>
                  </a:lnTo>
                  <a:lnTo>
                    <a:pt x="1167" y="183"/>
                  </a:lnTo>
                  <a:lnTo>
                    <a:pt x="1167" y="180"/>
                  </a:lnTo>
                  <a:lnTo>
                    <a:pt x="1169" y="180"/>
                  </a:lnTo>
                  <a:lnTo>
                    <a:pt x="1169" y="183"/>
                  </a:lnTo>
                  <a:lnTo>
                    <a:pt x="1169" y="180"/>
                  </a:lnTo>
                  <a:lnTo>
                    <a:pt x="1172" y="180"/>
                  </a:lnTo>
                  <a:lnTo>
                    <a:pt x="1174" y="180"/>
                  </a:lnTo>
                  <a:lnTo>
                    <a:pt x="1174" y="183"/>
                  </a:lnTo>
                  <a:lnTo>
                    <a:pt x="1176" y="183"/>
                  </a:lnTo>
                  <a:lnTo>
                    <a:pt x="1179" y="183"/>
                  </a:lnTo>
                  <a:lnTo>
                    <a:pt x="1176" y="183"/>
                  </a:lnTo>
                  <a:lnTo>
                    <a:pt x="1179" y="183"/>
                  </a:lnTo>
                  <a:lnTo>
                    <a:pt x="1181" y="183"/>
                  </a:lnTo>
                  <a:lnTo>
                    <a:pt x="1184" y="183"/>
                  </a:lnTo>
                  <a:lnTo>
                    <a:pt x="1186" y="183"/>
                  </a:lnTo>
                  <a:lnTo>
                    <a:pt x="1186" y="185"/>
                  </a:lnTo>
                  <a:lnTo>
                    <a:pt x="1188" y="185"/>
                  </a:lnTo>
                  <a:lnTo>
                    <a:pt x="1191" y="185"/>
                  </a:lnTo>
                  <a:lnTo>
                    <a:pt x="1193" y="185"/>
                  </a:lnTo>
                  <a:lnTo>
                    <a:pt x="1193" y="187"/>
                  </a:lnTo>
                  <a:lnTo>
                    <a:pt x="1195" y="187"/>
                  </a:lnTo>
                  <a:lnTo>
                    <a:pt x="1195" y="190"/>
                  </a:lnTo>
                  <a:lnTo>
                    <a:pt x="1195" y="187"/>
                  </a:lnTo>
                  <a:lnTo>
                    <a:pt x="1198" y="187"/>
                  </a:lnTo>
                  <a:lnTo>
                    <a:pt x="1195" y="187"/>
                  </a:lnTo>
                  <a:lnTo>
                    <a:pt x="1198" y="187"/>
                  </a:lnTo>
                  <a:lnTo>
                    <a:pt x="1198" y="190"/>
                  </a:lnTo>
                  <a:lnTo>
                    <a:pt x="1200" y="190"/>
                  </a:lnTo>
                  <a:lnTo>
                    <a:pt x="1203" y="190"/>
                  </a:lnTo>
                  <a:lnTo>
                    <a:pt x="1203" y="187"/>
                  </a:lnTo>
                  <a:lnTo>
                    <a:pt x="1203" y="190"/>
                  </a:lnTo>
                  <a:lnTo>
                    <a:pt x="1205" y="190"/>
                  </a:lnTo>
                  <a:lnTo>
                    <a:pt x="1205" y="187"/>
                  </a:lnTo>
                  <a:lnTo>
                    <a:pt x="1205" y="190"/>
                  </a:lnTo>
                  <a:lnTo>
                    <a:pt x="1205" y="187"/>
                  </a:lnTo>
                  <a:lnTo>
                    <a:pt x="1207" y="187"/>
                  </a:lnTo>
                  <a:lnTo>
                    <a:pt x="1210" y="187"/>
                  </a:lnTo>
                  <a:lnTo>
                    <a:pt x="1210" y="190"/>
                  </a:lnTo>
                  <a:lnTo>
                    <a:pt x="1212" y="190"/>
                  </a:lnTo>
                  <a:lnTo>
                    <a:pt x="1210" y="190"/>
                  </a:lnTo>
                  <a:lnTo>
                    <a:pt x="1210" y="187"/>
                  </a:lnTo>
                  <a:lnTo>
                    <a:pt x="1207" y="187"/>
                  </a:lnTo>
                  <a:lnTo>
                    <a:pt x="1205" y="187"/>
                  </a:lnTo>
                  <a:lnTo>
                    <a:pt x="1203" y="187"/>
                  </a:lnTo>
                  <a:lnTo>
                    <a:pt x="1205" y="187"/>
                  </a:lnTo>
                  <a:lnTo>
                    <a:pt x="1203" y="187"/>
                  </a:lnTo>
                  <a:lnTo>
                    <a:pt x="1205" y="187"/>
                  </a:lnTo>
                  <a:lnTo>
                    <a:pt x="1203" y="187"/>
                  </a:lnTo>
                  <a:lnTo>
                    <a:pt x="1200" y="187"/>
                  </a:lnTo>
                  <a:lnTo>
                    <a:pt x="1198" y="187"/>
                  </a:lnTo>
                  <a:lnTo>
                    <a:pt x="1195" y="187"/>
                  </a:lnTo>
                  <a:lnTo>
                    <a:pt x="1195" y="185"/>
                  </a:lnTo>
                  <a:lnTo>
                    <a:pt x="1198" y="185"/>
                  </a:lnTo>
                  <a:lnTo>
                    <a:pt x="1198" y="183"/>
                  </a:lnTo>
                  <a:lnTo>
                    <a:pt x="1198" y="185"/>
                  </a:lnTo>
                  <a:lnTo>
                    <a:pt x="1198" y="183"/>
                  </a:lnTo>
                  <a:lnTo>
                    <a:pt x="1198" y="185"/>
                  </a:lnTo>
                  <a:lnTo>
                    <a:pt x="1195" y="185"/>
                  </a:lnTo>
                  <a:lnTo>
                    <a:pt x="1193" y="185"/>
                  </a:lnTo>
                  <a:lnTo>
                    <a:pt x="1193" y="183"/>
                  </a:lnTo>
                  <a:lnTo>
                    <a:pt x="1191" y="183"/>
                  </a:lnTo>
                  <a:lnTo>
                    <a:pt x="1188" y="183"/>
                  </a:lnTo>
                  <a:lnTo>
                    <a:pt x="1186" y="183"/>
                  </a:lnTo>
                  <a:lnTo>
                    <a:pt x="1188" y="180"/>
                  </a:lnTo>
                  <a:lnTo>
                    <a:pt x="1186" y="180"/>
                  </a:lnTo>
                  <a:lnTo>
                    <a:pt x="1188" y="180"/>
                  </a:lnTo>
                  <a:lnTo>
                    <a:pt x="1186" y="180"/>
                  </a:lnTo>
                  <a:lnTo>
                    <a:pt x="1186" y="178"/>
                  </a:lnTo>
                  <a:lnTo>
                    <a:pt x="1184" y="180"/>
                  </a:lnTo>
                  <a:lnTo>
                    <a:pt x="1184" y="178"/>
                  </a:lnTo>
                  <a:lnTo>
                    <a:pt x="1181" y="178"/>
                  </a:lnTo>
                  <a:lnTo>
                    <a:pt x="1179" y="178"/>
                  </a:lnTo>
                  <a:lnTo>
                    <a:pt x="1176" y="178"/>
                  </a:lnTo>
                  <a:lnTo>
                    <a:pt x="1176" y="175"/>
                  </a:lnTo>
                  <a:lnTo>
                    <a:pt x="1176" y="178"/>
                  </a:lnTo>
                  <a:lnTo>
                    <a:pt x="1174" y="175"/>
                  </a:lnTo>
                  <a:lnTo>
                    <a:pt x="1172" y="175"/>
                  </a:lnTo>
                  <a:lnTo>
                    <a:pt x="1169" y="175"/>
                  </a:lnTo>
                  <a:lnTo>
                    <a:pt x="1172" y="175"/>
                  </a:lnTo>
                  <a:lnTo>
                    <a:pt x="1172" y="173"/>
                  </a:lnTo>
                  <a:lnTo>
                    <a:pt x="1174" y="173"/>
                  </a:lnTo>
                  <a:lnTo>
                    <a:pt x="1176" y="173"/>
                  </a:lnTo>
                  <a:lnTo>
                    <a:pt x="1174" y="173"/>
                  </a:lnTo>
                  <a:lnTo>
                    <a:pt x="1174" y="175"/>
                  </a:lnTo>
                  <a:lnTo>
                    <a:pt x="1176" y="175"/>
                  </a:lnTo>
                  <a:lnTo>
                    <a:pt x="1176" y="173"/>
                  </a:lnTo>
                  <a:lnTo>
                    <a:pt x="1179" y="173"/>
                  </a:lnTo>
                  <a:lnTo>
                    <a:pt x="1181" y="173"/>
                  </a:lnTo>
                  <a:lnTo>
                    <a:pt x="1184" y="173"/>
                  </a:lnTo>
                  <a:lnTo>
                    <a:pt x="1186" y="173"/>
                  </a:lnTo>
                  <a:lnTo>
                    <a:pt x="1188" y="173"/>
                  </a:lnTo>
                  <a:lnTo>
                    <a:pt x="1188" y="175"/>
                  </a:lnTo>
                  <a:lnTo>
                    <a:pt x="1191" y="175"/>
                  </a:lnTo>
                  <a:lnTo>
                    <a:pt x="1191" y="173"/>
                  </a:lnTo>
                  <a:lnTo>
                    <a:pt x="1193" y="173"/>
                  </a:lnTo>
                  <a:lnTo>
                    <a:pt x="1191" y="173"/>
                  </a:lnTo>
                  <a:lnTo>
                    <a:pt x="1193" y="173"/>
                  </a:lnTo>
                  <a:lnTo>
                    <a:pt x="1191" y="173"/>
                  </a:lnTo>
                  <a:lnTo>
                    <a:pt x="1191" y="171"/>
                  </a:lnTo>
                  <a:lnTo>
                    <a:pt x="1188" y="171"/>
                  </a:lnTo>
                  <a:lnTo>
                    <a:pt x="1186" y="171"/>
                  </a:lnTo>
                  <a:lnTo>
                    <a:pt x="1184" y="171"/>
                  </a:lnTo>
                  <a:lnTo>
                    <a:pt x="1184" y="168"/>
                  </a:lnTo>
                  <a:lnTo>
                    <a:pt x="1181" y="168"/>
                  </a:lnTo>
                  <a:lnTo>
                    <a:pt x="1179" y="168"/>
                  </a:lnTo>
                  <a:lnTo>
                    <a:pt x="1176" y="168"/>
                  </a:lnTo>
                  <a:lnTo>
                    <a:pt x="1179" y="168"/>
                  </a:lnTo>
                  <a:lnTo>
                    <a:pt x="1179" y="166"/>
                  </a:lnTo>
                  <a:lnTo>
                    <a:pt x="1181" y="166"/>
                  </a:lnTo>
                  <a:lnTo>
                    <a:pt x="1184" y="166"/>
                  </a:lnTo>
                  <a:lnTo>
                    <a:pt x="1186" y="166"/>
                  </a:lnTo>
                  <a:lnTo>
                    <a:pt x="1186" y="164"/>
                  </a:lnTo>
                  <a:lnTo>
                    <a:pt x="1186" y="166"/>
                  </a:lnTo>
                  <a:lnTo>
                    <a:pt x="1186" y="164"/>
                  </a:lnTo>
                  <a:lnTo>
                    <a:pt x="1188" y="164"/>
                  </a:lnTo>
                  <a:lnTo>
                    <a:pt x="1191" y="164"/>
                  </a:lnTo>
                  <a:lnTo>
                    <a:pt x="1193" y="164"/>
                  </a:lnTo>
                  <a:lnTo>
                    <a:pt x="1195" y="164"/>
                  </a:lnTo>
                  <a:lnTo>
                    <a:pt x="1198" y="164"/>
                  </a:lnTo>
                  <a:lnTo>
                    <a:pt x="1200" y="164"/>
                  </a:lnTo>
                  <a:lnTo>
                    <a:pt x="1203" y="164"/>
                  </a:lnTo>
                  <a:lnTo>
                    <a:pt x="1200" y="164"/>
                  </a:lnTo>
                  <a:lnTo>
                    <a:pt x="1203" y="164"/>
                  </a:lnTo>
                  <a:lnTo>
                    <a:pt x="1205" y="164"/>
                  </a:lnTo>
                  <a:lnTo>
                    <a:pt x="1205" y="161"/>
                  </a:lnTo>
                  <a:lnTo>
                    <a:pt x="1205" y="164"/>
                  </a:lnTo>
                  <a:lnTo>
                    <a:pt x="1207" y="164"/>
                  </a:lnTo>
                  <a:lnTo>
                    <a:pt x="1207" y="161"/>
                  </a:lnTo>
                  <a:lnTo>
                    <a:pt x="1207" y="164"/>
                  </a:lnTo>
                  <a:lnTo>
                    <a:pt x="1207" y="161"/>
                  </a:lnTo>
                  <a:lnTo>
                    <a:pt x="1210" y="161"/>
                  </a:lnTo>
                  <a:lnTo>
                    <a:pt x="1212" y="161"/>
                  </a:lnTo>
                  <a:lnTo>
                    <a:pt x="1214" y="161"/>
                  </a:lnTo>
                  <a:lnTo>
                    <a:pt x="1214" y="164"/>
                  </a:lnTo>
                  <a:lnTo>
                    <a:pt x="1217" y="164"/>
                  </a:lnTo>
                  <a:lnTo>
                    <a:pt x="1219" y="164"/>
                  </a:lnTo>
                  <a:lnTo>
                    <a:pt x="1222" y="164"/>
                  </a:lnTo>
                  <a:lnTo>
                    <a:pt x="1224" y="166"/>
                  </a:lnTo>
                  <a:lnTo>
                    <a:pt x="1226" y="166"/>
                  </a:lnTo>
                  <a:lnTo>
                    <a:pt x="1229" y="166"/>
                  </a:lnTo>
                  <a:lnTo>
                    <a:pt x="1226" y="166"/>
                  </a:lnTo>
                  <a:lnTo>
                    <a:pt x="1229" y="166"/>
                  </a:lnTo>
                  <a:lnTo>
                    <a:pt x="1229" y="168"/>
                  </a:lnTo>
                  <a:lnTo>
                    <a:pt x="1231" y="166"/>
                  </a:lnTo>
                  <a:lnTo>
                    <a:pt x="1231" y="168"/>
                  </a:lnTo>
                  <a:lnTo>
                    <a:pt x="1233" y="168"/>
                  </a:lnTo>
                  <a:lnTo>
                    <a:pt x="1236" y="168"/>
                  </a:lnTo>
                  <a:lnTo>
                    <a:pt x="1233" y="168"/>
                  </a:lnTo>
                  <a:lnTo>
                    <a:pt x="1233" y="166"/>
                  </a:lnTo>
                  <a:lnTo>
                    <a:pt x="1231" y="166"/>
                  </a:lnTo>
                  <a:lnTo>
                    <a:pt x="1229" y="166"/>
                  </a:lnTo>
                  <a:lnTo>
                    <a:pt x="1229" y="164"/>
                  </a:lnTo>
                  <a:lnTo>
                    <a:pt x="1226" y="164"/>
                  </a:lnTo>
                  <a:lnTo>
                    <a:pt x="1224" y="164"/>
                  </a:lnTo>
                  <a:lnTo>
                    <a:pt x="1222" y="164"/>
                  </a:lnTo>
                  <a:lnTo>
                    <a:pt x="1222" y="161"/>
                  </a:lnTo>
                  <a:lnTo>
                    <a:pt x="1219" y="161"/>
                  </a:lnTo>
                  <a:lnTo>
                    <a:pt x="1217" y="161"/>
                  </a:lnTo>
                  <a:lnTo>
                    <a:pt x="1214" y="161"/>
                  </a:lnTo>
                  <a:lnTo>
                    <a:pt x="1212" y="161"/>
                  </a:lnTo>
                  <a:lnTo>
                    <a:pt x="1214" y="161"/>
                  </a:lnTo>
                  <a:lnTo>
                    <a:pt x="1212" y="161"/>
                  </a:lnTo>
                  <a:lnTo>
                    <a:pt x="1214" y="161"/>
                  </a:lnTo>
                  <a:lnTo>
                    <a:pt x="1212" y="161"/>
                  </a:lnTo>
                  <a:lnTo>
                    <a:pt x="1210" y="159"/>
                  </a:lnTo>
                  <a:lnTo>
                    <a:pt x="1212" y="159"/>
                  </a:lnTo>
                  <a:lnTo>
                    <a:pt x="1210" y="161"/>
                  </a:lnTo>
                  <a:lnTo>
                    <a:pt x="1207" y="161"/>
                  </a:lnTo>
                  <a:lnTo>
                    <a:pt x="1205" y="161"/>
                  </a:lnTo>
                  <a:lnTo>
                    <a:pt x="1203" y="161"/>
                  </a:lnTo>
                  <a:lnTo>
                    <a:pt x="1205" y="161"/>
                  </a:lnTo>
                  <a:lnTo>
                    <a:pt x="1203" y="161"/>
                  </a:lnTo>
                  <a:lnTo>
                    <a:pt x="1205" y="161"/>
                  </a:lnTo>
                  <a:lnTo>
                    <a:pt x="1203" y="161"/>
                  </a:lnTo>
                  <a:lnTo>
                    <a:pt x="1200" y="161"/>
                  </a:lnTo>
                  <a:lnTo>
                    <a:pt x="1203" y="161"/>
                  </a:lnTo>
                  <a:lnTo>
                    <a:pt x="1203" y="159"/>
                  </a:lnTo>
                  <a:lnTo>
                    <a:pt x="1200" y="159"/>
                  </a:lnTo>
                  <a:lnTo>
                    <a:pt x="1198" y="159"/>
                  </a:lnTo>
                  <a:lnTo>
                    <a:pt x="1195" y="159"/>
                  </a:lnTo>
                  <a:lnTo>
                    <a:pt x="1193" y="159"/>
                  </a:lnTo>
                  <a:lnTo>
                    <a:pt x="1191" y="159"/>
                  </a:lnTo>
                  <a:lnTo>
                    <a:pt x="1191" y="156"/>
                  </a:lnTo>
                  <a:lnTo>
                    <a:pt x="1188" y="156"/>
                  </a:lnTo>
                  <a:lnTo>
                    <a:pt x="1186" y="156"/>
                  </a:lnTo>
                  <a:lnTo>
                    <a:pt x="1186" y="154"/>
                  </a:lnTo>
                  <a:lnTo>
                    <a:pt x="1188" y="154"/>
                  </a:lnTo>
                  <a:lnTo>
                    <a:pt x="1186" y="154"/>
                  </a:lnTo>
                  <a:lnTo>
                    <a:pt x="1188" y="154"/>
                  </a:lnTo>
                  <a:lnTo>
                    <a:pt x="1186" y="154"/>
                  </a:lnTo>
                  <a:lnTo>
                    <a:pt x="1186" y="152"/>
                  </a:lnTo>
                  <a:lnTo>
                    <a:pt x="1188" y="152"/>
                  </a:lnTo>
                  <a:lnTo>
                    <a:pt x="1191" y="152"/>
                  </a:lnTo>
                  <a:lnTo>
                    <a:pt x="1191" y="149"/>
                  </a:lnTo>
                  <a:lnTo>
                    <a:pt x="1193" y="149"/>
                  </a:lnTo>
                  <a:lnTo>
                    <a:pt x="1195" y="149"/>
                  </a:lnTo>
                  <a:lnTo>
                    <a:pt x="1198" y="149"/>
                  </a:lnTo>
                  <a:lnTo>
                    <a:pt x="1195" y="149"/>
                  </a:lnTo>
                  <a:lnTo>
                    <a:pt x="1198" y="149"/>
                  </a:lnTo>
                  <a:lnTo>
                    <a:pt x="1195" y="149"/>
                  </a:lnTo>
                  <a:lnTo>
                    <a:pt x="1198" y="149"/>
                  </a:lnTo>
                  <a:lnTo>
                    <a:pt x="1198" y="152"/>
                  </a:lnTo>
                  <a:lnTo>
                    <a:pt x="1200" y="152"/>
                  </a:lnTo>
                  <a:lnTo>
                    <a:pt x="1203" y="149"/>
                  </a:lnTo>
                  <a:lnTo>
                    <a:pt x="1205" y="149"/>
                  </a:lnTo>
                  <a:lnTo>
                    <a:pt x="1207" y="149"/>
                  </a:lnTo>
                  <a:lnTo>
                    <a:pt x="1210" y="149"/>
                  </a:lnTo>
                  <a:lnTo>
                    <a:pt x="1210" y="147"/>
                  </a:lnTo>
                  <a:lnTo>
                    <a:pt x="1212" y="147"/>
                  </a:lnTo>
                  <a:lnTo>
                    <a:pt x="1214" y="147"/>
                  </a:lnTo>
                  <a:lnTo>
                    <a:pt x="1214" y="149"/>
                  </a:lnTo>
                  <a:lnTo>
                    <a:pt x="1217" y="149"/>
                  </a:lnTo>
                  <a:lnTo>
                    <a:pt x="1214" y="149"/>
                  </a:lnTo>
                  <a:lnTo>
                    <a:pt x="1217" y="149"/>
                  </a:lnTo>
                  <a:lnTo>
                    <a:pt x="1219" y="149"/>
                  </a:lnTo>
                  <a:lnTo>
                    <a:pt x="1219" y="152"/>
                  </a:lnTo>
                  <a:lnTo>
                    <a:pt x="1219" y="149"/>
                  </a:lnTo>
                  <a:lnTo>
                    <a:pt x="1222" y="152"/>
                  </a:lnTo>
                  <a:lnTo>
                    <a:pt x="1222" y="149"/>
                  </a:lnTo>
                  <a:lnTo>
                    <a:pt x="1224" y="149"/>
                  </a:lnTo>
                  <a:lnTo>
                    <a:pt x="1226" y="149"/>
                  </a:lnTo>
                  <a:lnTo>
                    <a:pt x="1229" y="149"/>
                  </a:lnTo>
                  <a:lnTo>
                    <a:pt x="1231" y="149"/>
                  </a:lnTo>
                  <a:lnTo>
                    <a:pt x="1231" y="147"/>
                  </a:lnTo>
                  <a:lnTo>
                    <a:pt x="1231" y="149"/>
                  </a:lnTo>
                  <a:lnTo>
                    <a:pt x="1231" y="147"/>
                  </a:lnTo>
                  <a:lnTo>
                    <a:pt x="1229" y="147"/>
                  </a:lnTo>
                  <a:lnTo>
                    <a:pt x="1226" y="147"/>
                  </a:lnTo>
                  <a:lnTo>
                    <a:pt x="1224" y="149"/>
                  </a:lnTo>
                  <a:lnTo>
                    <a:pt x="1222" y="149"/>
                  </a:lnTo>
                  <a:lnTo>
                    <a:pt x="1219" y="149"/>
                  </a:lnTo>
                  <a:lnTo>
                    <a:pt x="1219" y="147"/>
                  </a:lnTo>
                  <a:lnTo>
                    <a:pt x="1217" y="145"/>
                  </a:lnTo>
                  <a:lnTo>
                    <a:pt x="1214" y="145"/>
                  </a:lnTo>
                  <a:lnTo>
                    <a:pt x="1217" y="145"/>
                  </a:lnTo>
                  <a:lnTo>
                    <a:pt x="1217" y="142"/>
                  </a:lnTo>
                  <a:lnTo>
                    <a:pt x="1217" y="145"/>
                  </a:lnTo>
                  <a:lnTo>
                    <a:pt x="1217" y="142"/>
                  </a:lnTo>
                  <a:lnTo>
                    <a:pt x="1214" y="142"/>
                  </a:lnTo>
                  <a:lnTo>
                    <a:pt x="1217" y="142"/>
                  </a:lnTo>
                  <a:lnTo>
                    <a:pt x="1214" y="142"/>
                  </a:lnTo>
                  <a:lnTo>
                    <a:pt x="1212" y="142"/>
                  </a:lnTo>
                  <a:lnTo>
                    <a:pt x="1210" y="142"/>
                  </a:lnTo>
                  <a:lnTo>
                    <a:pt x="1207" y="142"/>
                  </a:lnTo>
                  <a:lnTo>
                    <a:pt x="1205" y="142"/>
                  </a:lnTo>
                  <a:lnTo>
                    <a:pt x="1203" y="142"/>
                  </a:lnTo>
                  <a:lnTo>
                    <a:pt x="1200" y="145"/>
                  </a:lnTo>
                  <a:lnTo>
                    <a:pt x="1200" y="142"/>
                  </a:lnTo>
                  <a:lnTo>
                    <a:pt x="1198" y="142"/>
                  </a:lnTo>
                  <a:lnTo>
                    <a:pt x="1195" y="142"/>
                  </a:lnTo>
                  <a:lnTo>
                    <a:pt x="1193" y="142"/>
                  </a:lnTo>
                  <a:lnTo>
                    <a:pt x="1195" y="140"/>
                  </a:lnTo>
                  <a:lnTo>
                    <a:pt x="1198" y="140"/>
                  </a:lnTo>
                  <a:lnTo>
                    <a:pt x="1200" y="140"/>
                  </a:lnTo>
                  <a:lnTo>
                    <a:pt x="1200" y="137"/>
                  </a:lnTo>
                  <a:lnTo>
                    <a:pt x="1203" y="137"/>
                  </a:lnTo>
                  <a:lnTo>
                    <a:pt x="1205" y="137"/>
                  </a:lnTo>
                  <a:lnTo>
                    <a:pt x="1207" y="135"/>
                  </a:lnTo>
                  <a:lnTo>
                    <a:pt x="1210" y="135"/>
                  </a:lnTo>
                  <a:lnTo>
                    <a:pt x="1212" y="135"/>
                  </a:lnTo>
                  <a:lnTo>
                    <a:pt x="1214" y="135"/>
                  </a:lnTo>
                  <a:lnTo>
                    <a:pt x="1217" y="135"/>
                  </a:lnTo>
                  <a:lnTo>
                    <a:pt x="1217" y="133"/>
                  </a:lnTo>
                  <a:lnTo>
                    <a:pt x="1219" y="133"/>
                  </a:lnTo>
                  <a:lnTo>
                    <a:pt x="1217" y="133"/>
                  </a:lnTo>
                  <a:lnTo>
                    <a:pt x="1219" y="133"/>
                  </a:lnTo>
                  <a:lnTo>
                    <a:pt x="1222" y="133"/>
                  </a:lnTo>
                  <a:lnTo>
                    <a:pt x="1219" y="133"/>
                  </a:lnTo>
                  <a:lnTo>
                    <a:pt x="1217" y="133"/>
                  </a:lnTo>
                  <a:lnTo>
                    <a:pt x="1219" y="133"/>
                  </a:lnTo>
                  <a:lnTo>
                    <a:pt x="1222" y="133"/>
                  </a:lnTo>
                  <a:lnTo>
                    <a:pt x="1219" y="133"/>
                  </a:lnTo>
                  <a:lnTo>
                    <a:pt x="1217" y="133"/>
                  </a:lnTo>
                  <a:lnTo>
                    <a:pt x="1214" y="133"/>
                  </a:lnTo>
                  <a:lnTo>
                    <a:pt x="1212" y="133"/>
                  </a:lnTo>
                  <a:lnTo>
                    <a:pt x="1210" y="135"/>
                  </a:lnTo>
                  <a:lnTo>
                    <a:pt x="1210" y="133"/>
                  </a:lnTo>
                  <a:lnTo>
                    <a:pt x="1212" y="133"/>
                  </a:lnTo>
                  <a:lnTo>
                    <a:pt x="1210" y="133"/>
                  </a:lnTo>
                  <a:lnTo>
                    <a:pt x="1207" y="133"/>
                  </a:lnTo>
                  <a:lnTo>
                    <a:pt x="1210" y="133"/>
                  </a:lnTo>
                  <a:lnTo>
                    <a:pt x="1210" y="130"/>
                  </a:lnTo>
                  <a:lnTo>
                    <a:pt x="1212" y="130"/>
                  </a:lnTo>
                  <a:lnTo>
                    <a:pt x="1214" y="130"/>
                  </a:lnTo>
                  <a:lnTo>
                    <a:pt x="1212" y="130"/>
                  </a:lnTo>
                  <a:lnTo>
                    <a:pt x="1214" y="130"/>
                  </a:lnTo>
                  <a:lnTo>
                    <a:pt x="1212" y="130"/>
                  </a:lnTo>
                  <a:lnTo>
                    <a:pt x="1212" y="128"/>
                  </a:lnTo>
                  <a:lnTo>
                    <a:pt x="1212" y="130"/>
                  </a:lnTo>
                  <a:lnTo>
                    <a:pt x="1212" y="128"/>
                  </a:lnTo>
                  <a:lnTo>
                    <a:pt x="1210" y="128"/>
                  </a:lnTo>
                  <a:lnTo>
                    <a:pt x="1207" y="128"/>
                  </a:lnTo>
                  <a:lnTo>
                    <a:pt x="1205" y="128"/>
                  </a:lnTo>
                  <a:lnTo>
                    <a:pt x="1203" y="128"/>
                  </a:lnTo>
                  <a:lnTo>
                    <a:pt x="1200" y="128"/>
                  </a:lnTo>
                  <a:lnTo>
                    <a:pt x="1200" y="130"/>
                  </a:lnTo>
                  <a:lnTo>
                    <a:pt x="1198" y="130"/>
                  </a:lnTo>
                  <a:lnTo>
                    <a:pt x="1195" y="130"/>
                  </a:lnTo>
                  <a:lnTo>
                    <a:pt x="1195" y="128"/>
                  </a:lnTo>
                  <a:lnTo>
                    <a:pt x="1195" y="126"/>
                  </a:lnTo>
                  <a:lnTo>
                    <a:pt x="1198" y="126"/>
                  </a:lnTo>
                  <a:lnTo>
                    <a:pt x="1195" y="123"/>
                  </a:lnTo>
                  <a:lnTo>
                    <a:pt x="1193" y="123"/>
                  </a:lnTo>
                  <a:lnTo>
                    <a:pt x="1193" y="126"/>
                  </a:lnTo>
                  <a:lnTo>
                    <a:pt x="1191" y="126"/>
                  </a:lnTo>
                  <a:lnTo>
                    <a:pt x="1191" y="123"/>
                  </a:lnTo>
                  <a:lnTo>
                    <a:pt x="1193" y="123"/>
                  </a:lnTo>
                  <a:lnTo>
                    <a:pt x="1191" y="123"/>
                  </a:lnTo>
                  <a:lnTo>
                    <a:pt x="1193" y="123"/>
                  </a:lnTo>
                  <a:lnTo>
                    <a:pt x="1193" y="121"/>
                  </a:lnTo>
                  <a:lnTo>
                    <a:pt x="1193" y="118"/>
                  </a:lnTo>
                  <a:lnTo>
                    <a:pt x="1195" y="118"/>
                  </a:lnTo>
                  <a:lnTo>
                    <a:pt x="1198" y="116"/>
                  </a:lnTo>
                  <a:lnTo>
                    <a:pt x="1200" y="116"/>
                  </a:lnTo>
                  <a:lnTo>
                    <a:pt x="1200" y="118"/>
                  </a:lnTo>
                  <a:lnTo>
                    <a:pt x="1203" y="118"/>
                  </a:lnTo>
                  <a:lnTo>
                    <a:pt x="1205" y="116"/>
                  </a:lnTo>
                  <a:lnTo>
                    <a:pt x="1203" y="118"/>
                  </a:lnTo>
                  <a:lnTo>
                    <a:pt x="1205" y="121"/>
                  </a:lnTo>
                  <a:lnTo>
                    <a:pt x="1205" y="118"/>
                  </a:lnTo>
                  <a:lnTo>
                    <a:pt x="1207" y="118"/>
                  </a:lnTo>
                  <a:lnTo>
                    <a:pt x="1210" y="118"/>
                  </a:lnTo>
                  <a:lnTo>
                    <a:pt x="1210" y="121"/>
                  </a:lnTo>
                  <a:lnTo>
                    <a:pt x="1212" y="121"/>
                  </a:lnTo>
                  <a:lnTo>
                    <a:pt x="1212" y="123"/>
                  </a:lnTo>
                  <a:lnTo>
                    <a:pt x="1214" y="123"/>
                  </a:lnTo>
                  <a:lnTo>
                    <a:pt x="1212" y="126"/>
                  </a:lnTo>
                  <a:lnTo>
                    <a:pt x="1214" y="126"/>
                  </a:lnTo>
                  <a:lnTo>
                    <a:pt x="1214" y="123"/>
                  </a:lnTo>
                  <a:lnTo>
                    <a:pt x="1217" y="123"/>
                  </a:lnTo>
                  <a:lnTo>
                    <a:pt x="1219" y="123"/>
                  </a:lnTo>
                  <a:lnTo>
                    <a:pt x="1219" y="121"/>
                  </a:lnTo>
                  <a:lnTo>
                    <a:pt x="1219" y="118"/>
                  </a:lnTo>
                  <a:lnTo>
                    <a:pt x="1222" y="118"/>
                  </a:lnTo>
                  <a:lnTo>
                    <a:pt x="1224" y="118"/>
                  </a:lnTo>
                  <a:lnTo>
                    <a:pt x="1224" y="116"/>
                  </a:lnTo>
                  <a:lnTo>
                    <a:pt x="1226" y="116"/>
                  </a:lnTo>
                  <a:lnTo>
                    <a:pt x="1229" y="116"/>
                  </a:lnTo>
                  <a:lnTo>
                    <a:pt x="1226" y="116"/>
                  </a:lnTo>
                  <a:lnTo>
                    <a:pt x="1229" y="114"/>
                  </a:lnTo>
                  <a:lnTo>
                    <a:pt x="1231" y="114"/>
                  </a:lnTo>
                  <a:lnTo>
                    <a:pt x="1233" y="114"/>
                  </a:lnTo>
                  <a:lnTo>
                    <a:pt x="1233" y="111"/>
                  </a:lnTo>
                  <a:lnTo>
                    <a:pt x="1231" y="111"/>
                  </a:lnTo>
                  <a:lnTo>
                    <a:pt x="1229" y="111"/>
                  </a:lnTo>
                  <a:lnTo>
                    <a:pt x="1231" y="111"/>
                  </a:lnTo>
                  <a:lnTo>
                    <a:pt x="1229" y="111"/>
                  </a:lnTo>
                  <a:lnTo>
                    <a:pt x="1226" y="111"/>
                  </a:lnTo>
                  <a:lnTo>
                    <a:pt x="1224" y="111"/>
                  </a:lnTo>
                  <a:lnTo>
                    <a:pt x="1224" y="109"/>
                  </a:lnTo>
                  <a:lnTo>
                    <a:pt x="1226" y="107"/>
                  </a:lnTo>
                  <a:lnTo>
                    <a:pt x="1229" y="104"/>
                  </a:lnTo>
                  <a:lnTo>
                    <a:pt x="1231" y="104"/>
                  </a:lnTo>
                  <a:lnTo>
                    <a:pt x="1233" y="104"/>
                  </a:lnTo>
                  <a:lnTo>
                    <a:pt x="1236" y="104"/>
                  </a:lnTo>
                  <a:lnTo>
                    <a:pt x="1238" y="104"/>
                  </a:lnTo>
                  <a:lnTo>
                    <a:pt x="1240" y="104"/>
                  </a:lnTo>
                  <a:lnTo>
                    <a:pt x="1243" y="104"/>
                  </a:lnTo>
                  <a:lnTo>
                    <a:pt x="1245" y="104"/>
                  </a:lnTo>
                  <a:lnTo>
                    <a:pt x="1245" y="107"/>
                  </a:lnTo>
                  <a:lnTo>
                    <a:pt x="1248" y="107"/>
                  </a:lnTo>
                  <a:lnTo>
                    <a:pt x="1250" y="107"/>
                  </a:lnTo>
                  <a:lnTo>
                    <a:pt x="1250" y="109"/>
                  </a:lnTo>
                  <a:lnTo>
                    <a:pt x="1252" y="109"/>
                  </a:lnTo>
                  <a:lnTo>
                    <a:pt x="1250" y="109"/>
                  </a:lnTo>
                  <a:lnTo>
                    <a:pt x="1252" y="109"/>
                  </a:lnTo>
                  <a:lnTo>
                    <a:pt x="1255" y="109"/>
                  </a:lnTo>
                  <a:lnTo>
                    <a:pt x="1252" y="109"/>
                  </a:lnTo>
                  <a:lnTo>
                    <a:pt x="1255" y="109"/>
                  </a:lnTo>
                  <a:lnTo>
                    <a:pt x="1257" y="109"/>
                  </a:lnTo>
                  <a:lnTo>
                    <a:pt x="1259" y="109"/>
                  </a:lnTo>
                  <a:lnTo>
                    <a:pt x="1262" y="109"/>
                  </a:lnTo>
                  <a:lnTo>
                    <a:pt x="1262" y="107"/>
                  </a:lnTo>
                  <a:lnTo>
                    <a:pt x="1259" y="107"/>
                  </a:lnTo>
                  <a:lnTo>
                    <a:pt x="1257" y="107"/>
                  </a:lnTo>
                  <a:lnTo>
                    <a:pt x="1257" y="104"/>
                  </a:lnTo>
                  <a:lnTo>
                    <a:pt x="1257" y="102"/>
                  </a:lnTo>
                  <a:lnTo>
                    <a:pt x="1259" y="102"/>
                  </a:lnTo>
                  <a:lnTo>
                    <a:pt x="1257" y="102"/>
                  </a:lnTo>
                  <a:lnTo>
                    <a:pt x="1257" y="99"/>
                  </a:lnTo>
                  <a:lnTo>
                    <a:pt x="1255" y="99"/>
                  </a:lnTo>
                  <a:lnTo>
                    <a:pt x="1252" y="99"/>
                  </a:lnTo>
                  <a:lnTo>
                    <a:pt x="1252" y="97"/>
                  </a:lnTo>
                  <a:lnTo>
                    <a:pt x="1250" y="97"/>
                  </a:lnTo>
                  <a:lnTo>
                    <a:pt x="1252" y="97"/>
                  </a:lnTo>
                  <a:lnTo>
                    <a:pt x="1250" y="97"/>
                  </a:lnTo>
                  <a:lnTo>
                    <a:pt x="1252" y="97"/>
                  </a:lnTo>
                  <a:lnTo>
                    <a:pt x="1252" y="95"/>
                  </a:lnTo>
                  <a:lnTo>
                    <a:pt x="1255" y="95"/>
                  </a:lnTo>
                  <a:lnTo>
                    <a:pt x="1257" y="95"/>
                  </a:lnTo>
                  <a:lnTo>
                    <a:pt x="1259" y="95"/>
                  </a:lnTo>
                  <a:lnTo>
                    <a:pt x="1262" y="95"/>
                  </a:lnTo>
                  <a:lnTo>
                    <a:pt x="1262" y="92"/>
                  </a:lnTo>
                  <a:lnTo>
                    <a:pt x="1264" y="92"/>
                  </a:lnTo>
                  <a:lnTo>
                    <a:pt x="1267" y="92"/>
                  </a:lnTo>
                  <a:lnTo>
                    <a:pt x="1269" y="92"/>
                  </a:lnTo>
                  <a:lnTo>
                    <a:pt x="1271" y="92"/>
                  </a:lnTo>
                  <a:lnTo>
                    <a:pt x="1269" y="92"/>
                  </a:lnTo>
                  <a:lnTo>
                    <a:pt x="1271" y="92"/>
                  </a:lnTo>
                  <a:lnTo>
                    <a:pt x="1269" y="92"/>
                  </a:lnTo>
                  <a:lnTo>
                    <a:pt x="1271" y="92"/>
                  </a:lnTo>
                  <a:lnTo>
                    <a:pt x="1274" y="92"/>
                  </a:lnTo>
                  <a:lnTo>
                    <a:pt x="1274" y="90"/>
                  </a:lnTo>
                  <a:lnTo>
                    <a:pt x="1274" y="92"/>
                  </a:lnTo>
                  <a:lnTo>
                    <a:pt x="1274" y="90"/>
                  </a:lnTo>
                  <a:lnTo>
                    <a:pt x="1276" y="90"/>
                  </a:lnTo>
                  <a:lnTo>
                    <a:pt x="1276" y="92"/>
                  </a:lnTo>
                  <a:lnTo>
                    <a:pt x="1276" y="90"/>
                  </a:lnTo>
                  <a:lnTo>
                    <a:pt x="1276" y="92"/>
                  </a:lnTo>
                  <a:lnTo>
                    <a:pt x="1276" y="90"/>
                  </a:lnTo>
                  <a:lnTo>
                    <a:pt x="1278" y="90"/>
                  </a:lnTo>
                  <a:lnTo>
                    <a:pt x="1276" y="90"/>
                  </a:lnTo>
                  <a:lnTo>
                    <a:pt x="1278" y="90"/>
                  </a:lnTo>
                  <a:lnTo>
                    <a:pt x="1276" y="88"/>
                  </a:lnTo>
                  <a:lnTo>
                    <a:pt x="1274" y="88"/>
                  </a:lnTo>
                  <a:lnTo>
                    <a:pt x="1271" y="88"/>
                  </a:lnTo>
                  <a:lnTo>
                    <a:pt x="1271" y="90"/>
                  </a:lnTo>
                  <a:lnTo>
                    <a:pt x="1271" y="88"/>
                  </a:lnTo>
                  <a:lnTo>
                    <a:pt x="1271" y="90"/>
                  </a:lnTo>
                  <a:lnTo>
                    <a:pt x="1269" y="90"/>
                  </a:lnTo>
                  <a:lnTo>
                    <a:pt x="1269" y="88"/>
                  </a:lnTo>
                  <a:lnTo>
                    <a:pt x="1267" y="88"/>
                  </a:lnTo>
                  <a:lnTo>
                    <a:pt x="1264" y="88"/>
                  </a:lnTo>
                  <a:lnTo>
                    <a:pt x="1267" y="88"/>
                  </a:lnTo>
                  <a:lnTo>
                    <a:pt x="1269" y="85"/>
                  </a:lnTo>
                  <a:lnTo>
                    <a:pt x="1271" y="85"/>
                  </a:lnTo>
                  <a:lnTo>
                    <a:pt x="1274" y="85"/>
                  </a:lnTo>
                  <a:lnTo>
                    <a:pt x="1276" y="85"/>
                  </a:lnTo>
                  <a:lnTo>
                    <a:pt x="1278" y="85"/>
                  </a:lnTo>
                  <a:lnTo>
                    <a:pt x="1278" y="83"/>
                  </a:lnTo>
                  <a:lnTo>
                    <a:pt x="1278" y="85"/>
                  </a:lnTo>
                  <a:lnTo>
                    <a:pt x="1278" y="83"/>
                  </a:lnTo>
                  <a:lnTo>
                    <a:pt x="1281" y="83"/>
                  </a:lnTo>
                  <a:lnTo>
                    <a:pt x="1283" y="83"/>
                  </a:lnTo>
                  <a:lnTo>
                    <a:pt x="1286" y="83"/>
                  </a:lnTo>
                  <a:lnTo>
                    <a:pt x="1283" y="83"/>
                  </a:lnTo>
                  <a:lnTo>
                    <a:pt x="1286" y="83"/>
                  </a:lnTo>
                  <a:lnTo>
                    <a:pt x="1288" y="83"/>
                  </a:lnTo>
                  <a:lnTo>
                    <a:pt x="1288" y="80"/>
                  </a:lnTo>
                  <a:lnTo>
                    <a:pt x="1288" y="83"/>
                  </a:lnTo>
                  <a:lnTo>
                    <a:pt x="1290" y="83"/>
                  </a:lnTo>
                  <a:lnTo>
                    <a:pt x="1293" y="83"/>
                  </a:lnTo>
                  <a:lnTo>
                    <a:pt x="1290" y="80"/>
                  </a:lnTo>
                  <a:lnTo>
                    <a:pt x="1293" y="80"/>
                  </a:lnTo>
                  <a:lnTo>
                    <a:pt x="1293" y="78"/>
                  </a:lnTo>
                  <a:lnTo>
                    <a:pt x="1290" y="78"/>
                  </a:lnTo>
                  <a:lnTo>
                    <a:pt x="1290" y="76"/>
                  </a:lnTo>
                  <a:lnTo>
                    <a:pt x="1293" y="76"/>
                  </a:lnTo>
                  <a:lnTo>
                    <a:pt x="1295" y="73"/>
                  </a:lnTo>
                  <a:lnTo>
                    <a:pt x="1297" y="73"/>
                  </a:lnTo>
                  <a:lnTo>
                    <a:pt x="1295" y="73"/>
                  </a:lnTo>
                  <a:lnTo>
                    <a:pt x="1297" y="73"/>
                  </a:lnTo>
                  <a:lnTo>
                    <a:pt x="1300" y="73"/>
                  </a:lnTo>
                  <a:lnTo>
                    <a:pt x="1297" y="73"/>
                  </a:lnTo>
                  <a:lnTo>
                    <a:pt x="1300" y="73"/>
                  </a:lnTo>
                  <a:lnTo>
                    <a:pt x="1302" y="73"/>
                  </a:lnTo>
                  <a:lnTo>
                    <a:pt x="1305" y="73"/>
                  </a:lnTo>
                  <a:lnTo>
                    <a:pt x="1307" y="73"/>
                  </a:lnTo>
                  <a:lnTo>
                    <a:pt x="1309" y="73"/>
                  </a:lnTo>
                  <a:lnTo>
                    <a:pt x="1309" y="71"/>
                  </a:lnTo>
                  <a:lnTo>
                    <a:pt x="1312" y="73"/>
                  </a:lnTo>
                  <a:lnTo>
                    <a:pt x="1312" y="71"/>
                  </a:lnTo>
                  <a:lnTo>
                    <a:pt x="1309" y="71"/>
                  </a:lnTo>
                  <a:lnTo>
                    <a:pt x="1312" y="71"/>
                  </a:lnTo>
                  <a:lnTo>
                    <a:pt x="1312" y="69"/>
                  </a:lnTo>
                  <a:lnTo>
                    <a:pt x="1314" y="69"/>
                  </a:lnTo>
                  <a:lnTo>
                    <a:pt x="1316" y="69"/>
                  </a:lnTo>
                  <a:lnTo>
                    <a:pt x="1319" y="69"/>
                  </a:lnTo>
                  <a:lnTo>
                    <a:pt x="1319" y="71"/>
                  </a:lnTo>
                  <a:lnTo>
                    <a:pt x="1321" y="71"/>
                  </a:lnTo>
                  <a:lnTo>
                    <a:pt x="1324" y="71"/>
                  </a:lnTo>
                  <a:lnTo>
                    <a:pt x="1321" y="71"/>
                  </a:lnTo>
                  <a:lnTo>
                    <a:pt x="1324" y="71"/>
                  </a:lnTo>
                  <a:lnTo>
                    <a:pt x="1326" y="71"/>
                  </a:lnTo>
                  <a:lnTo>
                    <a:pt x="1326" y="69"/>
                  </a:lnTo>
                  <a:lnTo>
                    <a:pt x="1324" y="69"/>
                  </a:lnTo>
                  <a:lnTo>
                    <a:pt x="1326" y="69"/>
                  </a:lnTo>
                  <a:lnTo>
                    <a:pt x="1328" y="69"/>
                  </a:lnTo>
                  <a:lnTo>
                    <a:pt x="1331" y="69"/>
                  </a:lnTo>
                  <a:lnTo>
                    <a:pt x="1331" y="66"/>
                  </a:lnTo>
                  <a:lnTo>
                    <a:pt x="1333" y="66"/>
                  </a:lnTo>
                  <a:lnTo>
                    <a:pt x="1335" y="66"/>
                  </a:lnTo>
                  <a:lnTo>
                    <a:pt x="1338" y="66"/>
                  </a:lnTo>
                  <a:lnTo>
                    <a:pt x="1340" y="66"/>
                  </a:lnTo>
                  <a:lnTo>
                    <a:pt x="1343" y="66"/>
                  </a:lnTo>
                  <a:lnTo>
                    <a:pt x="1345" y="66"/>
                  </a:lnTo>
                  <a:lnTo>
                    <a:pt x="1343" y="66"/>
                  </a:lnTo>
                  <a:lnTo>
                    <a:pt x="1343" y="64"/>
                  </a:lnTo>
                  <a:lnTo>
                    <a:pt x="1345" y="64"/>
                  </a:lnTo>
                  <a:lnTo>
                    <a:pt x="1343" y="64"/>
                  </a:lnTo>
                  <a:lnTo>
                    <a:pt x="1331" y="64"/>
                  </a:lnTo>
                  <a:lnTo>
                    <a:pt x="1343" y="64"/>
                  </a:lnTo>
                  <a:lnTo>
                    <a:pt x="1340" y="64"/>
                  </a:lnTo>
                  <a:lnTo>
                    <a:pt x="1338" y="64"/>
                  </a:lnTo>
                  <a:lnTo>
                    <a:pt x="1335" y="64"/>
                  </a:lnTo>
                  <a:lnTo>
                    <a:pt x="1335" y="61"/>
                  </a:lnTo>
                  <a:lnTo>
                    <a:pt x="1333" y="64"/>
                  </a:lnTo>
                  <a:lnTo>
                    <a:pt x="1333" y="61"/>
                  </a:lnTo>
                  <a:lnTo>
                    <a:pt x="1335" y="61"/>
                  </a:lnTo>
                  <a:lnTo>
                    <a:pt x="1338" y="59"/>
                  </a:lnTo>
                  <a:lnTo>
                    <a:pt x="1340" y="59"/>
                  </a:lnTo>
                  <a:lnTo>
                    <a:pt x="1343" y="59"/>
                  </a:lnTo>
                  <a:lnTo>
                    <a:pt x="1343" y="57"/>
                  </a:lnTo>
                  <a:lnTo>
                    <a:pt x="1345" y="57"/>
                  </a:lnTo>
                  <a:lnTo>
                    <a:pt x="1347" y="57"/>
                  </a:lnTo>
                  <a:lnTo>
                    <a:pt x="1350" y="57"/>
                  </a:lnTo>
                  <a:lnTo>
                    <a:pt x="1352" y="57"/>
                  </a:lnTo>
                  <a:lnTo>
                    <a:pt x="1354" y="57"/>
                  </a:lnTo>
                  <a:lnTo>
                    <a:pt x="1357" y="57"/>
                  </a:lnTo>
                  <a:lnTo>
                    <a:pt x="1357" y="59"/>
                  </a:lnTo>
                  <a:lnTo>
                    <a:pt x="1354" y="59"/>
                  </a:lnTo>
                  <a:lnTo>
                    <a:pt x="1352" y="59"/>
                  </a:lnTo>
                  <a:lnTo>
                    <a:pt x="1352" y="61"/>
                  </a:lnTo>
                  <a:lnTo>
                    <a:pt x="1350" y="61"/>
                  </a:lnTo>
                  <a:lnTo>
                    <a:pt x="1350" y="64"/>
                  </a:lnTo>
                  <a:lnTo>
                    <a:pt x="1347" y="64"/>
                  </a:lnTo>
                  <a:lnTo>
                    <a:pt x="1350" y="64"/>
                  </a:lnTo>
                  <a:lnTo>
                    <a:pt x="1347" y="64"/>
                  </a:lnTo>
                  <a:lnTo>
                    <a:pt x="1350" y="64"/>
                  </a:lnTo>
                  <a:lnTo>
                    <a:pt x="1352" y="64"/>
                  </a:lnTo>
                  <a:lnTo>
                    <a:pt x="1352" y="66"/>
                  </a:lnTo>
                  <a:lnTo>
                    <a:pt x="1354" y="66"/>
                  </a:lnTo>
                  <a:lnTo>
                    <a:pt x="1354" y="64"/>
                  </a:lnTo>
                  <a:lnTo>
                    <a:pt x="1354" y="66"/>
                  </a:lnTo>
                  <a:lnTo>
                    <a:pt x="1354" y="64"/>
                  </a:lnTo>
                  <a:lnTo>
                    <a:pt x="1357" y="64"/>
                  </a:lnTo>
                  <a:lnTo>
                    <a:pt x="1354" y="64"/>
                  </a:lnTo>
                  <a:lnTo>
                    <a:pt x="1357" y="64"/>
                  </a:lnTo>
                  <a:lnTo>
                    <a:pt x="1359" y="64"/>
                  </a:lnTo>
                  <a:lnTo>
                    <a:pt x="1357" y="64"/>
                  </a:lnTo>
                  <a:lnTo>
                    <a:pt x="1357" y="66"/>
                  </a:lnTo>
                  <a:lnTo>
                    <a:pt x="1357" y="64"/>
                  </a:lnTo>
                  <a:lnTo>
                    <a:pt x="1359" y="64"/>
                  </a:lnTo>
                  <a:lnTo>
                    <a:pt x="1359" y="61"/>
                  </a:lnTo>
                  <a:lnTo>
                    <a:pt x="1362" y="61"/>
                  </a:lnTo>
                  <a:lnTo>
                    <a:pt x="1364" y="61"/>
                  </a:lnTo>
                  <a:lnTo>
                    <a:pt x="1366" y="61"/>
                  </a:lnTo>
                  <a:lnTo>
                    <a:pt x="1369" y="61"/>
                  </a:lnTo>
                  <a:lnTo>
                    <a:pt x="1369" y="59"/>
                  </a:lnTo>
                  <a:lnTo>
                    <a:pt x="1369" y="61"/>
                  </a:lnTo>
                  <a:lnTo>
                    <a:pt x="1369" y="59"/>
                  </a:lnTo>
                  <a:lnTo>
                    <a:pt x="1366" y="59"/>
                  </a:lnTo>
                  <a:lnTo>
                    <a:pt x="1369" y="59"/>
                  </a:lnTo>
                  <a:lnTo>
                    <a:pt x="1369" y="57"/>
                  </a:lnTo>
                  <a:lnTo>
                    <a:pt x="1371" y="57"/>
                  </a:lnTo>
                  <a:lnTo>
                    <a:pt x="1369" y="54"/>
                  </a:lnTo>
                  <a:lnTo>
                    <a:pt x="1366" y="54"/>
                  </a:lnTo>
                  <a:lnTo>
                    <a:pt x="1364" y="54"/>
                  </a:lnTo>
                  <a:lnTo>
                    <a:pt x="1362" y="54"/>
                  </a:lnTo>
                  <a:lnTo>
                    <a:pt x="1364" y="54"/>
                  </a:lnTo>
                  <a:lnTo>
                    <a:pt x="1362" y="54"/>
                  </a:lnTo>
                  <a:lnTo>
                    <a:pt x="1364" y="52"/>
                  </a:lnTo>
                  <a:lnTo>
                    <a:pt x="1366" y="52"/>
                  </a:lnTo>
                  <a:lnTo>
                    <a:pt x="1364" y="52"/>
                  </a:lnTo>
                  <a:lnTo>
                    <a:pt x="1364" y="50"/>
                  </a:lnTo>
                  <a:lnTo>
                    <a:pt x="1366" y="50"/>
                  </a:lnTo>
                  <a:lnTo>
                    <a:pt x="1366" y="47"/>
                  </a:lnTo>
                  <a:lnTo>
                    <a:pt x="1369" y="47"/>
                  </a:lnTo>
                  <a:lnTo>
                    <a:pt x="1366" y="47"/>
                  </a:lnTo>
                  <a:lnTo>
                    <a:pt x="1369" y="47"/>
                  </a:lnTo>
                  <a:lnTo>
                    <a:pt x="1366" y="47"/>
                  </a:lnTo>
                  <a:lnTo>
                    <a:pt x="1364" y="47"/>
                  </a:lnTo>
                  <a:lnTo>
                    <a:pt x="1366" y="47"/>
                  </a:lnTo>
                  <a:lnTo>
                    <a:pt x="1369" y="47"/>
                  </a:lnTo>
                  <a:lnTo>
                    <a:pt x="1369" y="45"/>
                  </a:lnTo>
                  <a:lnTo>
                    <a:pt x="1371" y="45"/>
                  </a:lnTo>
                  <a:lnTo>
                    <a:pt x="1371" y="47"/>
                  </a:lnTo>
                  <a:lnTo>
                    <a:pt x="1373" y="47"/>
                  </a:lnTo>
                  <a:lnTo>
                    <a:pt x="1373" y="45"/>
                  </a:lnTo>
                  <a:lnTo>
                    <a:pt x="1376" y="45"/>
                  </a:lnTo>
                  <a:lnTo>
                    <a:pt x="1378" y="45"/>
                  </a:lnTo>
                  <a:lnTo>
                    <a:pt x="1380" y="45"/>
                  </a:lnTo>
                  <a:lnTo>
                    <a:pt x="1378" y="45"/>
                  </a:lnTo>
                  <a:lnTo>
                    <a:pt x="1380" y="45"/>
                  </a:lnTo>
                  <a:lnTo>
                    <a:pt x="1380" y="47"/>
                  </a:lnTo>
                  <a:lnTo>
                    <a:pt x="1383" y="45"/>
                  </a:lnTo>
                  <a:lnTo>
                    <a:pt x="1385" y="45"/>
                  </a:lnTo>
                  <a:lnTo>
                    <a:pt x="1388" y="45"/>
                  </a:lnTo>
                  <a:lnTo>
                    <a:pt x="1390" y="45"/>
                  </a:lnTo>
                  <a:lnTo>
                    <a:pt x="1388" y="45"/>
                  </a:lnTo>
                  <a:lnTo>
                    <a:pt x="1390" y="45"/>
                  </a:lnTo>
                  <a:lnTo>
                    <a:pt x="1388" y="47"/>
                  </a:lnTo>
                  <a:lnTo>
                    <a:pt x="1388" y="45"/>
                  </a:lnTo>
                  <a:lnTo>
                    <a:pt x="1388" y="47"/>
                  </a:lnTo>
                  <a:lnTo>
                    <a:pt x="1390" y="47"/>
                  </a:lnTo>
                  <a:lnTo>
                    <a:pt x="1392" y="45"/>
                  </a:lnTo>
                  <a:lnTo>
                    <a:pt x="1392" y="47"/>
                  </a:lnTo>
                  <a:lnTo>
                    <a:pt x="1395" y="47"/>
                  </a:lnTo>
                  <a:lnTo>
                    <a:pt x="1397" y="47"/>
                  </a:lnTo>
                  <a:lnTo>
                    <a:pt x="1399" y="47"/>
                  </a:lnTo>
                  <a:lnTo>
                    <a:pt x="1402" y="47"/>
                  </a:lnTo>
                  <a:lnTo>
                    <a:pt x="1404" y="47"/>
                  </a:lnTo>
                  <a:lnTo>
                    <a:pt x="1407" y="47"/>
                  </a:lnTo>
                  <a:lnTo>
                    <a:pt x="1409" y="47"/>
                  </a:lnTo>
                  <a:lnTo>
                    <a:pt x="1411" y="47"/>
                  </a:lnTo>
                  <a:lnTo>
                    <a:pt x="1411" y="50"/>
                  </a:lnTo>
                  <a:lnTo>
                    <a:pt x="1409" y="52"/>
                  </a:lnTo>
                  <a:lnTo>
                    <a:pt x="1411" y="52"/>
                  </a:lnTo>
                  <a:lnTo>
                    <a:pt x="1409" y="52"/>
                  </a:lnTo>
                  <a:lnTo>
                    <a:pt x="1411" y="52"/>
                  </a:lnTo>
                  <a:lnTo>
                    <a:pt x="1414" y="52"/>
                  </a:lnTo>
                  <a:lnTo>
                    <a:pt x="1411" y="52"/>
                  </a:lnTo>
                  <a:lnTo>
                    <a:pt x="1411" y="54"/>
                  </a:lnTo>
                  <a:lnTo>
                    <a:pt x="1414" y="54"/>
                  </a:lnTo>
                  <a:lnTo>
                    <a:pt x="1414" y="52"/>
                  </a:lnTo>
                  <a:lnTo>
                    <a:pt x="1414" y="54"/>
                  </a:lnTo>
                  <a:lnTo>
                    <a:pt x="1416" y="54"/>
                  </a:lnTo>
                  <a:lnTo>
                    <a:pt x="1414" y="54"/>
                  </a:lnTo>
                  <a:lnTo>
                    <a:pt x="1416" y="54"/>
                  </a:lnTo>
                  <a:lnTo>
                    <a:pt x="1416" y="52"/>
                  </a:lnTo>
                  <a:lnTo>
                    <a:pt x="1418" y="52"/>
                  </a:lnTo>
                  <a:lnTo>
                    <a:pt x="1416" y="50"/>
                  </a:lnTo>
                  <a:lnTo>
                    <a:pt x="1418" y="50"/>
                  </a:lnTo>
                  <a:lnTo>
                    <a:pt x="1418" y="52"/>
                  </a:lnTo>
                  <a:lnTo>
                    <a:pt x="1418" y="50"/>
                  </a:lnTo>
                  <a:lnTo>
                    <a:pt x="1421" y="50"/>
                  </a:lnTo>
                  <a:lnTo>
                    <a:pt x="1423" y="50"/>
                  </a:lnTo>
                  <a:lnTo>
                    <a:pt x="1423" y="47"/>
                  </a:lnTo>
                  <a:lnTo>
                    <a:pt x="1421" y="47"/>
                  </a:lnTo>
                  <a:lnTo>
                    <a:pt x="1423" y="47"/>
                  </a:lnTo>
                  <a:lnTo>
                    <a:pt x="1426" y="47"/>
                  </a:lnTo>
                  <a:lnTo>
                    <a:pt x="1426" y="50"/>
                  </a:lnTo>
                  <a:lnTo>
                    <a:pt x="1423" y="50"/>
                  </a:lnTo>
                  <a:lnTo>
                    <a:pt x="1426" y="50"/>
                  </a:lnTo>
                  <a:lnTo>
                    <a:pt x="1428" y="50"/>
                  </a:lnTo>
                  <a:lnTo>
                    <a:pt x="1428" y="52"/>
                  </a:lnTo>
                  <a:lnTo>
                    <a:pt x="1428" y="50"/>
                  </a:lnTo>
                  <a:lnTo>
                    <a:pt x="1428" y="52"/>
                  </a:lnTo>
                  <a:lnTo>
                    <a:pt x="1430" y="52"/>
                  </a:lnTo>
                  <a:lnTo>
                    <a:pt x="1430" y="50"/>
                  </a:lnTo>
                  <a:lnTo>
                    <a:pt x="1430" y="52"/>
                  </a:lnTo>
                  <a:lnTo>
                    <a:pt x="1433" y="52"/>
                  </a:lnTo>
                  <a:lnTo>
                    <a:pt x="1433" y="50"/>
                  </a:lnTo>
                  <a:lnTo>
                    <a:pt x="1435" y="50"/>
                  </a:lnTo>
                  <a:lnTo>
                    <a:pt x="1437" y="50"/>
                  </a:lnTo>
                  <a:lnTo>
                    <a:pt x="1437" y="47"/>
                  </a:lnTo>
                  <a:lnTo>
                    <a:pt x="1440" y="47"/>
                  </a:lnTo>
                  <a:lnTo>
                    <a:pt x="1442" y="47"/>
                  </a:lnTo>
                  <a:lnTo>
                    <a:pt x="1445" y="47"/>
                  </a:lnTo>
                  <a:lnTo>
                    <a:pt x="1447" y="47"/>
                  </a:lnTo>
                  <a:lnTo>
                    <a:pt x="1449" y="47"/>
                  </a:lnTo>
                  <a:lnTo>
                    <a:pt x="1449" y="45"/>
                  </a:lnTo>
                  <a:lnTo>
                    <a:pt x="1452" y="45"/>
                  </a:lnTo>
                  <a:lnTo>
                    <a:pt x="1449" y="45"/>
                  </a:lnTo>
                  <a:lnTo>
                    <a:pt x="1452" y="45"/>
                  </a:lnTo>
                  <a:lnTo>
                    <a:pt x="1449" y="45"/>
                  </a:lnTo>
                  <a:lnTo>
                    <a:pt x="1452" y="45"/>
                  </a:lnTo>
                  <a:lnTo>
                    <a:pt x="1454" y="45"/>
                  </a:lnTo>
                  <a:lnTo>
                    <a:pt x="1452" y="45"/>
                  </a:lnTo>
                  <a:lnTo>
                    <a:pt x="1454" y="42"/>
                  </a:lnTo>
                  <a:lnTo>
                    <a:pt x="1456" y="42"/>
                  </a:lnTo>
                  <a:lnTo>
                    <a:pt x="1459" y="42"/>
                  </a:lnTo>
                  <a:lnTo>
                    <a:pt x="1461" y="42"/>
                  </a:lnTo>
                  <a:lnTo>
                    <a:pt x="1464" y="42"/>
                  </a:lnTo>
                  <a:lnTo>
                    <a:pt x="1466" y="42"/>
                  </a:lnTo>
                  <a:lnTo>
                    <a:pt x="1466" y="45"/>
                  </a:lnTo>
                  <a:lnTo>
                    <a:pt x="1468" y="45"/>
                  </a:lnTo>
                  <a:lnTo>
                    <a:pt x="1471" y="45"/>
                  </a:lnTo>
                  <a:lnTo>
                    <a:pt x="1473" y="45"/>
                  </a:lnTo>
                  <a:lnTo>
                    <a:pt x="1475" y="45"/>
                  </a:lnTo>
                  <a:lnTo>
                    <a:pt x="1475" y="47"/>
                  </a:lnTo>
                  <a:lnTo>
                    <a:pt x="1475" y="45"/>
                  </a:lnTo>
                  <a:lnTo>
                    <a:pt x="1473" y="45"/>
                  </a:lnTo>
                  <a:lnTo>
                    <a:pt x="1473" y="42"/>
                  </a:lnTo>
                  <a:lnTo>
                    <a:pt x="1475" y="42"/>
                  </a:lnTo>
                  <a:lnTo>
                    <a:pt x="1478" y="40"/>
                  </a:lnTo>
                  <a:lnTo>
                    <a:pt x="1478" y="42"/>
                  </a:lnTo>
                  <a:lnTo>
                    <a:pt x="1475" y="42"/>
                  </a:lnTo>
                  <a:lnTo>
                    <a:pt x="1478" y="42"/>
                  </a:lnTo>
                  <a:lnTo>
                    <a:pt x="1480" y="42"/>
                  </a:lnTo>
                  <a:lnTo>
                    <a:pt x="1480" y="40"/>
                  </a:lnTo>
                  <a:lnTo>
                    <a:pt x="1483" y="40"/>
                  </a:lnTo>
                  <a:lnTo>
                    <a:pt x="1485" y="40"/>
                  </a:lnTo>
                  <a:lnTo>
                    <a:pt x="1483" y="40"/>
                  </a:lnTo>
                  <a:lnTo>
                    <a:pt x="1485" y="40"/>
                  </a:lnTo>
                  <a:lnTo>
                    <a:pt x="1487" y="40"/>
                  </a:lnTo>
                  <a:lnTo>
                    <a:pt x="1490" y="40"/>
                  </a:lnTo>
                  <a:lnTo>
                    <a:pt x="1490" y="42"/>
                  </a:lnTo>
                  <a:lnTo>
                    <a:pt x="1492" y="42"/>
                  </a:lnTo>
                  <a:lnTo>
                    <a:pt x="1492" y="40"/>
                  </a:lnTo>
                  <a:lnTo>
                    <a:pt x="1490" y="40"/>
                  </a:lnTo>
                  <a:lnTo>
                    <a:pt x="1487" y="40"/>
                  </a:lnTo>
                  <a:lnTo>
                    <a:pt x="1487" y="38"/>
                  </a:lnTo>
                  <a:lnTo>
                    <a:pt x="1490" y="38"/>
                  </a:lnTo>
                  <a:lnTo>
                    <a:pt x="1490" y="35"/>
                  </a:lnTo>
                  <a:lnTo>
                    <a:pt x="1492" y="35"/>
                  </a:lnTo>
                  <a:lnTo>
                    <a:pt x="1494" y="35"/>
                  </a:lnTo>
                  <a:lnTo>
                    <a:pt x="1492" y="35"/>
                  </a:lnTo>
                  <a:lnTo>
                    <a:pt x="1494" y="35"/>
                  </a:lnTo>
                  <a:lnTo>
                    <a:pt x="1494" y="33"/>
                  </a:lnTo>
                  <a:lnTo>
                    <a:pt x="1497" y="33"/>
                  </a:lnTo>
                  <a:lnTo>
                    <a:pt x="1499" y="33"/>
                  </a:lnTo>
                  <a:lnTo>
                    <a:pt x="1501" y="33"/>
                  </a:lnTo>
                  <a:lnTo>
                    <a:pt x="1501" y="35"/>
                  </a:lnTo>
                  <a:lnTo>
                    <a:pt x="1504" y="35"/>
                  </a:lnTo>
                  <a:lnTo>
                    <a:pt x="1504" y="33"/>
                  </a:lnTo>
                  <a:lnTo>
                    <a:pt x="1506" y="35"/>
                  </a:lnTo>
                  <a:lnTo>
                    <a:pt x="1506" y="33"/>
                  </a:lnTo>
                  <a:lnTo>
                    <a:pt x="1509" y="33"/>
                  </a:lnTo>
                  <a:lnTo>
                    <a:pt x="1511" y="33"/>
                  </a:lnTo>
                  <a:lnTo>
                    <a:pt x="1511" y="31"/>
                  </a:lnTo>
                  <a:lnTo>
                    <a:pt x="1511" y="28"/>
                  </a:lnTo>
                  <a:lnTo>
                    <a:pt x="1513" y="28"/>
                  </a:lnTo>
                  <a:lnTo>
                    <a:pt x="1516" y="28"/>
                  </a:lnTo>
                  <a:lnTo>
                    <a:pt x="1518" y="28"/>
                  </a:lnTo>
                  <a:lnTo>
                    <a:pt x="1520" y="28"/>
                  </a:lnTo>
                  <a:lnTo>
                    <a:pt x="1523" y="31"/>
                  </a:lnTo>
                  <a:lnTo>
                    <a:pt x="1525" y="31"/>
                  </a:lnTo>
                  <a:lnTo>
                    <a:pt x="1528" y="31"/>
                  </a:lnTo>
                  <a:lnTo>
                    <a:pt x="1530" y="31"/>
                  </a:lnTo>
                  <a:lnTo>
                    <a:pt x="1530" y="33"/>
                  </a:lnTo>
                  <a:lnTo>
                    <a:pt x="1532" y="31"/>
                  </a:lnTo>
                  <a:lnTo>
                    <a:pt x="1532" y="33"/>
                  </a:lnTo>
                  <a:lnTo>
                    <a:pt x="1535" y="33"/>
                  </a:lnTo>
                  <a:lnTo>
                    <a:pt x="1532" y="31"/>
                  </a:lnTo>
                  <a:lnTo>
                    <a:pt x="1535" y="31"/>
                  </a:lnTo>
                  <a:lnTo>
                    <a:pt x="1532" y="31"/>
                  </a:lnTo>
                  <a:lnTo>
                    <a:pt x="1535" y="31"/>
                  </a:lnTo>
                  <a:lnTo>
                    <a:pt x="1532" y="31"/>
                  </a:lnTo>
                  <a:lnTo>
                    <a:pt x="1535" y="31"/>
                  </a:lnTo>
                  <a:lnTo>
                    <a:pt x="1537" y="31"/>
                  </a:lnTo>
                  <a:lnTo>
                    <a:pt x="1535" y="28"/>
                  </a:lnTo>
                  <a:lnTo>
                    <a:pt x="1537" y="28"/>
                  </a:lnTo>
                  <a:lnTo>
                    <a:pt x="1539" y="28"/>
                  </a:lnTo>
                  <a:lnTo>
                    <a:pt x="1537" y="28"/>
                  </a:lnTo>
                  <a:lnTo>
                    <a:pt x="1535" y="28"/>
                  </a:lnTo>
                  <a:lnTo>
                    <a:pt x="1532" y="28"/>
                  </a:lnTo>
                  <a:lnTo>
                    <a:pt x="1530" y="28"/>
                  </a:lnTo>
                  <a:lnTo>
                    <a:pt x="1532" y="26"/>
                  </a:lnTo>
                  <a:lnTo>
                    <a:pt x="1530" y="26"/>
                  </a:lnTo>
                  <a:lnTo>
                    <a:pt x="1532" y="26"/>
                  </a:lnTo>
                  <a:lnTo>
                    <a:pt x="1530" y="26"/>
                  </a:lnTo>
                  <a:lnTo>
                    <a:pt x="1530" y="23"/>
                  </a:lnTo>
                  <a:lnTo>
                    <a:pt x="1528" y="23"/>
                  </a:lnTo>
                  <a:lnTo>
                    <a:pt x="1525" y="23"/>
                  </a:lnTo>
                  <a:lnTo>
                    <a:pt x="1525" y="21"/>
                  </a:lnTo>
                  <a:lnTo>
                    <a:pt x="1523" y="21"/>
                  </a:lnTo>
                  <a:lnTo>
                    <a:pt x="1525" y="21"/>
                  </a:lnTo>
                  <a:lnTo>
                    <a:pt x="1528" y="19"/>
                  </a:lnTo>
                  <a:lnTo>
                    <a:pt x="1530" y="16"/>
                  </a:lnTo>
                  <a:lnTo>
                    <a:pt x="1532" y="16"/>
                  </a:lnTo>
                  <a:lnTo>
                    <a:pt x="1535" y="16"/>
                  </a:lnTo>
                  <a:lnTo>
                    <a:pt x="1537" y="16"/>
                  </a:lnTo>
                  <a:lnTo>
                    <a:pt x="1537" y="14"/>
                  </a:lnTo>
                  <a:lnTo>
                    <a:pt x="1539" y="14"/>
                  </a:lnTo>
                  <a:lnTo>
                    <a:pt x="1542" y="14"/>
                  </a:lnTo>
                  <a:lnTo>
                    <a:pt x="1544" y="14"/>
                  </a:lnTo>
                  <a:lnTo>
                    <a:pt x="1542" y="14"/>
                  </a:lnTo>
                  <a:lnTo>
                    <a:pt x="1544" y="14"/>
                  </a:lnTo>
                  <a:lnTo>
                    <a:pt x="1544" y="12"/>
                  </a:lnTo>
                  <a:lnTo>
                    <a:pt x="1547" y="12"/>
                  </a:lnTo>
                  <a:lnTo>
                    <a:pt x="1549" y="12"/>
                  </a:lnTo>
                  <a:lnTo>
                    <a:pt x="1547" y="12"/>
                  </a:lnTo>
                  <a:lnTo>
                    <a:pt x="1549" y="12"/>
                  </a:lnTo>
                  <a:lnTo>
                    <a:pt x="1551" y="12"/>
                  </a:lnTo>
                  <a:lnTo>
                    <a:pt x="1554" y="12"/>
                  </a:lnTo>
                  <a:lnTo>
                    <a:pt x="1554" y="9"/>
                  </a:lnTo>
                  <a:lnTo>
                    <a:pt x="1554" y="12"/>
                  </a:lnTo>
                  <a:lnTo>
                    <a:pt x="1554" y="9"/>
                  </a:lnTo>
                  <a:lnTo>
                    <a:pt x="1556" y="9"/>
                  </a:lnTo>
                  <a:lnTo>
                    <a:pt x="1554" y="9"/>
                  </a:lnTo>
                  <a:lnTo>
                    <a:pt x="1554" y="7"/>
                  </a:lnTo>
                  <a:lnTo>
                    <a:pt x="1556" y="7"/>
                  </a:lnTo>
                  <a:lnTo>
                    <a:pt x="1558" y="7"/>
                  </a:lnTo>
                  <a:lnTo>
                    <a:pt x="1556" y="7"/>
                  </a:lnTo>
                  <a:lnTo>
                    <a:pt x="1558" y="7"/>
                  </a:lnTo>
                  <a:lnTo>
                    <a:pt x="1561" y="7"/>
                  </a:lnTo>
                  <a:lnTo>
                    <a:pt x="1563" y="7"/>
                  </a:lnTo>
                  <a:lnTo>
                    <a:pt x="1563" y="4"/>
                  </a:lnTo>
                  <a:lnTo>
                    <a:pt x="1561" y="4"/>
                  </a:lnTo>
                  <a:lnTo>
                    <a:pt x="1563" y="4"/>
                  </a:lnTo>
                  <a:lnTo>
                    <a:pt x="1566" y="4"/>
                  </a:lnTo>
                  <a:lnTo>
                    <a:pt x="1563" y="4"/>
                  </a:lnTo>
                  <a:lnTo>
                    <a:pt x="1566" y="4"/>
                  </a:lnTo>
                  <a:lnTo>
                    <a:pt x="1566" y="2"/>
                  </a:lnTo>
                  <a:lnTo>
                    <a:pt x="1568" y="2"/>
                  </a:lnTo>
                  <a:lnTo>
                    <a:pt x="1568" y="4"/>
                  </a:lnTo>
                  <a:lnTo>
                    <a:pt x="1570" y="4"/>
                  </a:lnTo>
                  <a:lnTo>
                    <a:pt x="1573" y="4"/>
                  </a:lnTo>
                  <a:lnTo>
                    <a:pt x="1573" y="2"/>
                  </a:lnTo>
                  <a:lnTo>
                    <a:pt x="1575" y="2"/>
                  </a:lnTo>
                  <a:lnTo>
                    <a:pt x="1577" y="2"/>
                  </a:lnTo>
                  <a:lnTo>
                    <a:pt x="1577" y="0"/>
                  </a:lnTo>
                  <a:lnTo>
                    <a:pt x="1580" y="0"/>
                  </a:lnTo>
                  <a:lnTo>
                    <a:pt x="1582" y="0"/>
                  </a:lnTo>
                  <a:lnTo>
                    <a:pt x="1585" y="0"/>
                  </a:lnTo>
                  <a:lnTo>
                    <a:pt x="1587" y="0"/>
                  </a:lnTo>
                  <a:lnTo>
                    <a:pt x="1589" y="0"/>
                  </a:lnTo>
                  <a:lnTo>
                    <a:pt x="1592" y="0"/>
                  </a:lnTo>
                  <a:lnTo>
                    <a:pt x="1594" y="0"/>
                  </a:lnTo>
                  <a:lnTo>
                    <a:pt x="1596" y="0"/>
                  </a:lnTo>
                  <a:lnTo>
                    <a:pt x="1599" y="0"/>
                  </a:lnTo>
                  <a:lnTo>
                    <a:pt x="1599" y="2"/>
                  </a:lnTo>
                  <a:lnTo>
                    <a:pt x="1599" y="0"/>
                  </a:lnTo>
                  <a:lnTo>
                    <a:pt x="1599" y="2"/>
                  </a:lnTo>
                  <a:lnTo>
                    <a:pt x="1601" y="2"/>
                  </a:lnTo>
                  <a:lnTo>
                    <a:pt x="1604" y="2"/>
                  </a:lnTo>
                  <a:lnTo>
                    <a:pt x="1606" y="2"/>
                  </a:lnTo>
                  <a:lnTo>
                    <a:pt x="1608" y="2"/>
                  </a:lnTo>
                  <a:lnTo>
                    <a:pt x="1611" y="2"/>
                  </a:lnTo>
                  <a:lnTo>
                    <a:pt x="1613" y="2"/>
                  </a:lnTo>
                  <a:lnTo>
                    <a:pt x="1615" y="2"/>
                  </a:lnTo>
                  <a:lnTo>
                    <a:pt x="1613" y="2"/>
                  </a:lnTo>
                  <a:lnTo>
                    <a:pt x="1613" y="4"/>
                  </a:lnTo>
                  <a:lnTo>
                    <a:pt x="1615" y="4"/>
                  </a:lnTo>
                  <a:lnTo>
                    <a:pt x="1615" y="7"/>
                  </a:lnTo>
                  <a:lnTo>
                    <a:pt x="1618" y="7"/>
                  </a:lnTo>
                  <a:lnTo>
                    <a:pt x="1620" y="7"/>
                  </a:lnTo>
                  <a:lnTo>
                    <a:pt x="1618" y="7"/>
                  </a:lnTo>
                  <a:lnTo>
                    <a:pt x="1620" y="7"/>
                  </a:lnTo>
                  <a:lnTo>
                    <a:pt x="1623" y="9"/>
                  </a:lnTo>
                  <a:lnTo>
                    <a:pt x="1620" y="9"/>
                  </a:lnTo>
                  <a:lnTo>
                    <a:pt x="1623" y="12"/>
                  </a:lnTo>
                  <a:lnTo>
                    <a:pt x="1620" y="12"/>
                  </a:lnTo>
                  <a:lnTo>
                    <a:pt x="1623" y="12"/>
                  </a:lnTo>
                  <a:lnTo>
                    <a:pt x="1625" y="14"/>
                  </a:lnTo>
                  <a:lnTo>
                    <a:pt x="1627" y="14"/>
                  </a:lnTo>
                  <a:lnTo>
                    <a:pt x="1630" y="14"/>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1" name="Freeform 55220"/>
            <p:cNvSpPr>
              <a:spLocks noEditPoints="1"/>
            </p:cNvSpPr>
            <p:nvPr/>
          </p:nvSpPr>
          <p:spPr bwMode="auto">
            <a:xfrm>
              <a:off x="3068634" y="1816108"/>
              <a:ext cx="2354262" cy="3341700"/>
            </a:xfrm>
            <a:custGeom>
              <a:avLst/>
              <a:gdLst>
                <a:gd name="T0" fmla="*/ 918 w 1483"/>
                <a:gd name="T1" fmla="*/ 2043 h 2105"/>
                <a:gd name="T2" fmla="*/ 921 w 1483"/>
                <a:gd name="T3" fmla="*/ 2036 h 2105"/>
                <a:gd name="T4" fmla="*/ 954 w 1483"/>
                <a:gd name="T5" fmla="*/ 2017 h 2105"/>
                <a:gd name="T6" fmla="*/ 638 w 1483"/>
                <a:gd name="T7" fmla="*/ 1955 h 2105"/>
                <a:gd name="T8" fmla="*/ 342 w 1483"/>
                <a:gd name="T9" fmla="*/ 1311 h 2105"/>
                <a:gd name="T10" fmla="*/ 282 w 1483"/>
                <a:gd name="T11" fmla="*/ 1290 h 2105"/>
                <a:gd name="T12" fmla="*/ 285 w 1483"/>
                <a:gd name="T13" fmla="*/ 1273 h 2105"/>
                <a:gd name="T14" fmla="*/ 759 w 1483"/>
                <a:gd name="T15" fmla="*/ 1159 h 2105"/>
                <a:gd name="T16" fmla="*/ 624 w 1483"/>
                <a:gd name="T17" fmla="*/ 1110 h 2105"/>
                <a:gd name="T18" fmla="*/ 717 w 1483"/>
                <a:gd name="T19" fmla="*/ 1076 h 2105"/>
                <a:gd name="T20" fmla="*/ 712 w 1483"/>
                <a:gd name="T21" fmla="*/ 1076 h 2105"/>
                <a:gd name="T22" fmla="*/ 513 w 1483"/>
                <a:gd name="T23" fmla="*/ 1072 h 2105"/>
                <a:gd name="T24" fmla="*/ 674 w 1483"/>
                <a:gd name="T25" fmla="*/ 1062 h 2105"/>
                <a:gd name="T26" fmla="*/ 667 w 1483"/>
                <a:gd name="T27" fmla="*/ 1060 h 2105"/>
                <a:gd name="T28" fmla="*/ 515 w 1483"/>
                <a:gd name="T29" fmla="*/ 1055 h 2105"/>
                <a:gd name="T30" fmla="*/ 776 w 1483"/>
                <a:gd name="T31" fmla="*/ 1055 h 2105"/>
                <a:gd name="T32" fmla="*/ 679 w 1483"/>
                <a:gd name="T33" fmla="*/ 1050 h 2105"/>
                <a:gd name="T34" fmla="*/ 503 w 1483"/>
                <a:gd name="T35" fmla="*/ 1041 h 2105"/>
                <a:gd name="T36" fmla="*/ 494 w 1483"/>
                <a:gd name="T37" fmla="*/ 1031 h 2105"/>
                <a:gd name="T38" fmla="*/ 520 w 1483"/>
                <a:gd name="T39" fmla="*/ 1036 h 2105"/>
                <a:gd name="T40" fmla="*/ 1089 w 1483"/>
                <a:gd name="T41" fmla="*/ 1022 h 2105"/>
                <a:gd name="T42" fmla="*/ 1075 w 1483"/>
                <a:gd name="T43" fmla="*/ 1015 h 2105"/>
                <a:gd name="T44" fmla="*/ 1224 w 1483"/>
                <a:gd name="T45" fmla="*/ 1005 h 2105"/>
                <a:gd name="T46" fmla="*/ 496 w 1483"/>
                <a:gd name="T47" fmla="*/ 998 h 2105"/>
                <a:gd name="T48" fmla="*/ 1160 w 1483"/>
                <a:gd name="T49" fmla="*/ 988 h 2105"/>
                <a:gd name="T50" fmla="*/ 776 w 1483"/>
                <a:gd name="T51" fmla="*/ 979 h 2105"/>
                <a:gd name="T52" fmla="*/ 1208 w 1483"/>
                <a:gd name="T53" fmla="*/ 967 h 2105"/>
                <a:gd name="T54" fmla="*/ 1186 w 1483"/>
                <a:gd name="T55" fmla="*/ 962 h 2105"/>
                <a:gd name="T56" fmla="*/ 446 w 1483"/>
                <a:gd name="T57" fmla="*/ 953 h 2105"/>
                <a:gd name="T58" fmla="*/ 439 w 1483"/>
                <a:gd name="T59" fmla="*/ 946 h 2105"/>
                <a:gd name="T60" fmla="*/ 812 w 1483"/>
                <a:gd name="T61" fmla="*/ 927 h 2105"/>
                <a:gd name="T62" fmla="*/ 1068 w 1483"/>
                <a:gd name="T63" fmla="*/ 915 h 2105"/>
                <a:gd name="T64" fmla="*/ 1068 w 1483"/>
                <a:gd name="T65" fmla="*/ 889 h 2105"/>
                <a:gd name="T66" fmla="*/ 1084 w 1483"/>
                <a:gd name="T67" fmla="*/ 879 h 2105"/>
                <a:gd name="T68" fmla="*/ 1122 w 1483"/>
                <a:gd name="T69" fmla="*/ 867 h 2105"/>
                <a:gd name="T70" fmla="*/ 1094 w 1483"/>
                <a:gd name="T71" fmla="*/ 860 h 2105"/>
                <a:gd name="T72" fmla="*/ 1132 w 1483"/>
                <a:gd name="T73" fmla="*/ 853 h 2105"/>
                <a:gd name="T74" fmla="*/ 1020 w 1483"/>
                <a:gd name="T75" fmla="*/ 846 h 2105"/>
                <a:gd name="T76" fmla="*/ 968 w 1483"/>
                <a:gd name="T77" fmla="*/ 827 h 2105"/>
                <a:gd name="T78" fmla="*/ 1255 w 1483"/>
                <a:gd name="T79" fmla="*/ 820 h 2105"/>
                <a:gd name="T80" fmla="*/ 1175 w 1483"/>
                <a:gd name="T81" fmla="*/ 813 h 2105"/>
                <a:gd name="T82" fmla="*/ 543 w 1483"/>
                <a:gd name="T83" fmla="*/ 803 h 2105"/>
                <a:gd name="T84" fmla="*/ 430 w 1483"/>
                <a:gd name="T85" fmla="*/ 789 h 2105"/>
                <a:gd name="T86" fmla="*/ 432 w 1483"/>
                <a:gd name="T87" fmla="*/ 786 h 2105"/>
                <a:gd name="T88" fmla="*/ 387 w 1483"/>
                <a:gd name="T89" fmla="*/ 758 h 2105"/>
                <a:gd name="T90" fmla="*/ 1205 w 1483"/>
                <a:gd name="T91" fmla="*/ 715 h 2105"/>
                <a:gd name="T92" fmla="*/ 1208 w 1483"/>
                <a:gd name="T93" fmla="*/ 708 h 2105"/>
                <a:gd name="T94" fmla="*/ 1108 w 1483"/>
                <a:gd name="T95" fmla="*/ 684 h 2105"/>
                <a:gd name="T96" fmla="*/ 1129 w 1483"/>
                <a:gd name="T97" fmla="*/ 677 h 2105"/>
                <a:gd name="T98" fmla="*/ 1099 w 1483"/>
                <a:gd name="T99" fmla="*/ 665 h 2105"/>
                <a:gd name="T100" fmla="*/ 1068 w 1483"/>
                <a:gd name="T101" fmla="*/ 656 h 2105"/>
                <a:gd name="T102" fmla="*/ 1125 w 1483"/>
                <a:gd name="T103" fmla="*/ 539 h 2105"/>
                <a:gd name="T104" fmla="*/ 1298 w 1483"/>
                <a:gd name="T105" fmla="*/ 478 h 2105"/>
                <a:gd name="T106" fmla="*/ 1286 w 1483"/>
                <a:gd name="T107" fmla="*/ 385 h 2105"/>
                <a:gd name="T108" fmla="*/ 1279 w 1483"/>
                <a:gd name="T109" fmla="*/ 128 h 2105"/>
                <a:gd name="T110" fmla="*/ 1213 w 1483"/>
                <a:gd name="T111" fmla="*/ 112 h 2105"/>
                <a:gd name="T112" fmla="*/ 1139 w 1483"/>
                <a:gd name="T113" fmla="*/ 97 h 2105"/>
                <a:gd name="T114" fmla="*/ 1080 w 1483"/>
                <a:gd name="T115" fmla="*/ 93 h 2105"/>
                <a:gd name="T116" fmla="*/ 1141 w 1483"/>
                <a:gd name="T117" fmla="*/ 83 h 2105"/>
                <a:gd name="T118" fmla="*/ 1286 w 1483"/>
                <a:gd name="T119" fmla="*/ 71 h 2105"/>
                <a:gd name="T120" fmla="*/ 1279 w 1483"/>
                <a:gd name="T121" fmla="*/ 43 h 2105"/>
                <a:gd name="T122" fmla="*/ 1324 w 1483"/>
                <a:gd name="T123" fmla="*/ 26 h 2105"/>
                <a:gd name="T124" fmla="*/ 1277 w 1483"/>
                <a:gd name="T125" fmla="*/ 5 h 2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3" h="2105">
                  <a:moveTo>
                    <a:pt x="918" y="2103"/>
                  </a:moveTo>
                  <a:lnTo>
                    <a:pt x="921" y="2103"/>
                  </a:lnTo>
                  <a:lnTo>
                    <a:pt x="923" y="2103"/>
                  </a:lnTo>
                  <a:lnTo>
                    <a:pt x="921" y="2103"/>
                  </a:lnTo>
                  <a:lnTo>
                    <a:pt x="921" y="2105"/>
                  </a:lnTo>
                  <a:lnTo>
                    <a:pt x="918" y="2105"/>
                  </a:lnTo>
                  <a:lnTo>
                    <a:pt x="916" y="2105"/>
                  </a:lnTo>
                  <a:lnTo>
                    <a:pt x="916" y="2103"/>
                  </a:lnTo>
                  <a:lnTo>
                    <a:pt x="916" y="2105"/>
                  </a:lnTo>
                  <a:lnTo>
                    <a:pt x="916" y="2103"/>
                  </a:lnTo>
                  <a:lnTo>
                    <a:pt x="918" y="2103"/>
                  </a:lnTo>
                  <a:lnTo>
                    <a:pt x="916" y="2103"/>
                  </a:lnTo>
                  <a:lnTo>
                    <a:pt x="916" y="2105"/>
                  </a:lnTo>
                  <a:lnTo>
                    <a:pt x="918" y="2105"/>
                  </a:lnTo>
                  <a:lnTo>
                    <a:pt x="918" y="2103"/>
                  </a:lnTo>
                  <a:lnTo>
                    <a:pt x="916" y="2103"/>
                  </a:lnTo>
                  <a:lnTo>
                    <a:pt x="916" y="2105"/>
                  </a:lnTo>
                  <a:lnTo>
                    <a:pt x="916" y="2103"/>
                  </a:lnTo>
                  <a:lnTo>
                    <a:pt x="916" y="2100"/>
                  </a:lnTo>
                  <a:lnTo>
                    <a:pt x="918" y="2100"/>
                  </a:lnTo>
                  <a:lnTo>
                    <a:pt x="918" y="2103"/>
                  </a:lnTo>
                  <a:close/>
                  <a:moveTo>
                    <a:pt x="911" y="2079"/>
                  </a:moveTo>
                  <a:lnTo>
                    <a:pt x="914" y="2079"/>
                  </a:lnTo>
                  <a:lnTo>
                    <a:pt x="914" y="2081"/>
                  </a:lnTo>
                  <a:lnTo>
                    <a:pt x="911" y="2081"/>
                  </a:lnTo>
                  <a:lnTo>
                    <a:pt x="911" y="2079"/>
                  </a:lnTo>
                  <a:close/>
                  <a:moveTo>
                    <a:pt x="911" y="2079"/>
                  </a:moveTo>
                  <a:lnTo>
                    <a:pt x="911" y="2081"/>
                  </a:lnTo>
                  <a:lnTo>
                    <a:pt x="909" y="2081"/>
                  </a:lnTo>
                  <a:lnTo>
                    <a:pt x="909" y="2079"/>
                  </a:lnTo>
                  <a:lnTo>
                    <a:pt x="911" y="2079"/>
                  </a:lnTo>
                  <a:close/>
                  <a:moveTo>
                    <a:pt x="904" y="2065"/>
                  </a:moveTo>
                  <a:lnTo>
                    <a:pt x="904" y="2062"/>
                  </a:lnTo>
                  <a:lnTo>
                    <a:pt x="904" y="2060"/>
                  </a:lnTo>
                  <a:lnTo>
                    <a:pt x="904" y="2062"/>
                  </a:lnTo>
                  <a:lnTo>
                    <a:pt x="904" y="2065"/>
                  </a:lnTo>
                  <a:close/>
                  <a:moveTo>
                    <a:pt x="937" y="2055"/>
                  </a:moveTo>
                  <a:lnTo>
                    <a:pt x="937" y="2053"/>
                  </a:lnTo>
                  <a:lnTo>
                    <a:pt x="937" y="2055"/>
                  </a:lnTo>
                  <a:close/>
                  <a:moveTo>
                    <a:pt x="916" y="2048"/>
                  </a:moveTo>
                  <a:lnTo>
                    <a:pt x="918" y="2048"/>
                  </a:lnTo>
                  <a:lnTo>
                    <a:pt x="916" y="2048"/>
                  </a:lnTo>
                  <a:close/>
                  <a:moveTo>
                    <a:pt x="916" y="2048"/>
                  </a:moveTo>
                  <a:lnTo>
                    <a:pt x="918" y="2048"/>
                  </a:lnTo>
                  <a:lnTo>
                    <a:pt x="916" y="2048"/>
                  </a:lnTo>
                  <a:close/>
                  <a:moveTo>
                    <a:pt x="911" y="2048"/>
                  </a:moveTo>
                  <a:lnTo>
                    <a:pt x="909" y="2048"/>
                  </a:lnTo>
                  <a:lnTo>
                    <a:pt x="911" y="2048"/>
                  </a:lnTo>
                  <a:lnTo>
                    <a:pt x="909" y="2048"/>
                  </a:lnTo>
                  <a:lnTo>
                    <a:pt x="909" y="2046"/>
                  </a:lnTo>
                  <a:lnTo>
                    <a:pt x="909" y="2048"/>
                  </a:lnTo>
                  <a:lnTo>
                    <a:pt x="911" y="2048"/>
                  </a:lnTo>
                  <a:lnTo>
                    <a:pt x="909" y="2048"/>
                  </a:lnTo>
                  <a:lnTo>
                    <a:pt x="911" y="2048"/>
                  </a:lnTo>
                  <a:lnTo>
                    <a:pt x="909" y="2048"/>
                  </a:lnTo>
                  <a:lnTo>
                    <a:pt x="911" y="2048"/>
                  </a:lnTo>
                  <a:close/>
                  <a:moveTo>
                    <a:pt x="918" y="2048"/>
                  </a:moveTo>
                  <a:lnTo>
                    <a:pt x="918" y="2046"/>
                  </a:lnTo>
                  <a:lnTo>
                    <a:pt x="918" y="2048"/>
                  </a:lnTo>
                  <a:close/>
                  <a:moveTo>
                    <a:pt x="918" y="2046"/>
                  </a:moveTo>
                  <a:lnTo>
                    <a:pt x="918" y="2048"/>
                  </a:lnTo>
                  <a:lnTo>
                    <a:pt x="918" y="2046"/>
                  </a:lnTo>
                  <a:close/>
                  <a:moveTo>
                    <a:pt x="918" y="2046"/>
                  </a:moveTo>
                  <a:lnTo>
                    <a:pt x="918" y="2043"/>
                  </a:lnTo>
                  <a:lnTo>
                    <a:pt x="918" y="2046"/>
                  </a:lnTo>
                  <a:close/>
                  <a:moveTo>
                    <a:pt x="928" y="2043"/>
                  </a:moveTo>
                  <a:lnTo>
                    <a:pt x="930" y="2043"/>
                  </a:lnTo>
                  <a:lnTo>
                    <a:pt x="930" y="2046"/>
                  </a:lnTo>
                  <a:lnTo>
                    <a:pt x="928" y="2046"/>
                  </a:lnTo>
                  <a:lnTo>
                    <a:pt x="925" y="2046"/>
                  </a:lnTo>
                  <a:lnTo>
                    <a:pt x="925" y="2043"/>
                  </a:lnTo>
                  <a:lnTo>
                    <a:pt x="928" y="2043"/>
                  </a:lnTo>
                  <a:close/>
                  <a:moveTo>
                    <a:pt x="918" y="2041"/>
                  </a:moveTo>
                  <a:lnTo>
                    <a:pt x="918" y="2043"/>
                  </a:lnTo>
                  <a:lnTo>
                    <a:pt x="918" y="2041"/>
                  </a:lnTo>
                  <a:close/>
                  <a:moveTo>
                    <a:pt x="928" y="2038"/>
                  </a:moveTo>
                  <a:lnTo>
                    <a:pt x="928" y="2041"/>
                  </a:lnTo>
                  <a:lnTo>
                    <a:pt x="930" y="2041"/>
                  </a:lnTo>
                  <a:lnTo>
                    <a:pt x="930" y="2038"/>
                  </a:lnTo>
                  <a:lnTo>
                    <a:pt x="930" y="2041"/>
                  </a:lnTo>
                  <a:lnTo>
                    <a:pt x="928" y="2041"/>
                  </a:lnTo>
                  <a:lnTo>
                    <a:pt x="928" y="2038"/>
                  </a:lnTo>
                  <a:close/>
                  <a:moveTo>
                    <a:pt x="918" y="2041"/>
                  </a:moveTo>
                  <a:lnTo>
                    <a:pt x="918" y="2038"/>
                  </a:lnTo>
                  <a:lnTo>
                    <a:pt x="918" y="2041"/>
                  </a:lnTo>
                  <a:close/>
                  <a:moveTo>
                    <a:pt x="928" y="2036"/>
                  </a:moveTo>
                  <a:lnTo>
                    <a:pt x="928" y="2038"/>
                  </a:lnTo>
                  <a:lnTo>
                    <a:pt x="930" y="2038"/>
                  </a:lnTo>
                  <a:lnTo>
                    <a:pt x="928" y="2038"/>
                  </a:lnTo>
                  <a:lnTo>
                    <a:pt x="930" y="2038"/>
                  </a:lnTo>
                  <a:lnTo>
                    <a:pt x="928" y="2038"/>
                  </a:lnTo>
                  <a:lnTo>
                    <a:pt x="928" y="2036"/>
                  </a:lnTo>
                  <a:close/>
                  <a:moveTo>
                    <a:pt x="921" y="2038"/>
                  </a:moveTo>
                  <a:lnTo>
                    <a:pt x="918" y="2038"/>
                  </a:lnTo>
                  <a:lnTo>
                    <a:pt x="921" y="2038"/>
                  </a:lnTo>
                  <a:lnTo>
                    <a:pt x="918" y="2038"/>
                  </a:lnTo>
                  <a:lnTo>
                    <a:pt x="918" y="2041"/>
                  </a:lnTo>
                  <a:lnTo>
                    <a:pt x="921" y="2041"/>
                  </a:lnTo>
                  <a:lnTo>
                    <a:pt x="918" y="2041"/>
                  </a:lnTo>
                  <a:lnTo>
                    <a:pt x="918" y="2043"/>
                  </a:lnTo>
                  <a:lnTo>
                    <a:pt x="918" y="2046"/>
                  </a:lnTo>
                  <a:lnTo>
                    <a:pt x="918" y="2043"/>
                  </a:lnTo>
                  <a:lnTo>
                    <a:pt x="918" y="2041"/>
                  </a:lnTo>
                  <a:lnTo>
                    <a:pt x="918" y="2038"/>
                  </a:lnTo>
                  <a:lnTo>
                    <a:pt x="921" y="2038"/>
                  </a:lnTo>
                  <a:lnTo>
                    <a:pt x="921" y="2036"/>
                  </a:lnTo>
                  <a:lnTo>
                    <a:pt x="921" y="2038"/>
                  </a:lnTo>
                  <a:close/>
                  <a:moveTo>
                    <a:pt x="918" y="2036"/>
                  </a:moveTo>
                  <a:lnTo>
                    <a:pt x="918" y="2038"/>
                  </a:lnTo>
                  <a:lnTo>
                    <a:pt x="918" y="2036"/>
                  </a:lnTo>
                  <a:close/>
                  <a:moveTo>
                    <a:pt x="916" y="2036"/>
                  </a:moveTo>
                  <a:lnTo>
                    <a:pt x="914" y="2036"/>
                  </a:lnTo>
                  <a:lnTo>
                    <a:pt x="916" y="2036"/>
                  </a:lnTo>
                  <a:lnTo>
                    <a:pt x="914" y="2036"/>
                  </a:lnTo>
                  <a:lnTo>
                    <a:pt x="916" y="2036"/>
                  </a:lnTo>
                  <a:lnTo>
                    <a:pt x="914" y="2036"/>
                  </a:lnTo>
                  <a:lnTo>
                    <a:pt x="916" y="2036"/>
                  </a:lnTo>
                  <a:close/>
                  <a:moveTo>
                    <a:pt x="921" y="2036"/>
                  </a:moveTo>
                  <a:lnTo>
                    <a:pt x="921" y="2038"/>
                  </a:lnTo>
                  <a:lnTo>
                    <a:pt x="921" y="2036"/>
                  </a:lnTo>
                  <a:lnTo>
                    <a:pt x="921" y="2038"/>
                  </a:lnTo>
                  <a:lnTo>
                    <a:pt x="921" y="2036"/>
                  </a:lnTo>
                  <a:lnTo>
                    <a:pt x="923" y="2036"/>
                  </a:lnTo>
                  <a:lnTo>
                    <a:pt x="923" y="2038"/>
                  </a:lnTo>
                  <a:lnTo>
                    <a:pt x="923" y="2041"/>
                  </a:lnTo>
                  <a:lnTo>
                    <a:pt x="921" y="2041"/>
                  </a:lnTo>
                  <a:lnTo>
                    <a:pt x="921" y="2038"/>
                  </a:lnTo>
                  <a:lnTo>
                    <a:pt x="921" y="2036"/>
                  </a:lnTo>
                  <a:close/>
                  <a:moveTo>
                    <a:pt x="935" y="2034"/>
                  </a:moveTo>
                  <a:lnTo>
                    <a:pt x="937" y="2034"/>
                  </a:lnTo>
                  <a:lnTo>
                    <a:pt x="937" y="2036"/>
                  </a:lnTo>
                  <a:lnTo>
                    <a:pt x="935" y="2036"/>
                  </a:lnTo>
                  <a:lnTo>
                    <a:pt x="935" y="2034"/>
                  </a:lnTo>
                  <a:close/>
                  <a:moveTo>
                    <a:pt x="921" y="2034"/>
                  </a:moveTo>
                  <a:lnTo>
                    <a:pt x="918" y="2034"/>
                  </a:lnTo>
                  <a:lnTo>
                    <a:pt x="921" y="2034"/>
                  </a:lnTo>
                  <a:close/>
                  <a:moveTo>
                    <a:pt x="937" y="2031"/>
                  </a:moveTo>
                  <a:lnTo>
                    <a:pt x="937" y="2034"/>
                  </a:lnTo>
                  <a:lnTo>
                    <a:pt x="937" y="2031"/>
                  </a:lnTo>
                  <a:lnTo>
                    <a:pt x="935" y="2031"/>
                  </a:lnTo>
                  <a:lnTo>
                    <a:pt x="937" y="2031"/>
                  </a:lnTo>
                  <a:close/>
                  <a:moveTo>
                    <a:pt x="916" y="2034"/>
                  </a:moveTo>
                  <a:lnTo>
                    <a:pt x="916" y="2031"/>
                  </a:lnTo>
                  <a:lnTo>
                    <a:pt x="918" y="2031"/>
                  </a:lnTo>
                  <a:lnTo>
                    <a:pt x="916" y="2034"/>
                  </a:lnTo>
                  <a:close/>
                  <a:moveTo>
                    <a:pt x="940" y="2031"/>
                  </a:moveTo>
                  <a:lnTo>
                    <a:pt x="937" y="2031"/>
                  </a:lnTo>
                  <a:lnTo>
                    <a:pt x="940" y="2031"/>
                  </a:lnTo>
                  <a:close/>
                  <a:moveTo>
                    <a:pt x="940" y="2029"/>
                  </a:moveTo>
                  <a:lnTo>
                    <a:pt x="940" y="2031"/>
                  </a:lnTo>
                  <a:lnTo>
                    <a:pt x="940" y="2029"/>
                  </a:lnTo>
                  <a:lnTo>
                    <a:pt x="937" y="2029"/>
                  </a:lnTo>
                  <a:lnTo>
                    <a:pt x="940" y="2029"/>
                  </a:lnTo>
                  <a:close/>
                  <a:moveTo>
                    <a:pt x="928" y="2029"/>
                  </a:moveTo>
                  <a:lnTo>
                    <a:pt x="928" y="2031"/>
                  </a:lnTo>
                  <a:lnTo>
                    <a:pt x="928" y="2029"/>
                  </a:lnTo>
                  <a:close/>
                  <a:moveTo>
                    <a:pt x="935" y="2027"/>
                  </a:moveTo>
                  <a:lnTo>
                    <a:pt x="933" y="2027"/>
                  </a:lnTo>
                  <a:lnTo>
                    <a:pt x="935" y="2027"/>
                  </a:lnTo>
                  <a:close/>
                  <a:moveTo>
                    <a:pt x="933" y="2024"/>
                  </a:moveTo>
                  <a:lnTo>
                    <a:pt x="933" y="2027"/>
                  </a:lnTo>
                  <a:lnTo>
                    <a:pt x="930" y="2027"/>
                  </a:lnTo>
                  <a:lnTo>
                    <a:pt x="933" y="2027"/>
                  </a:lnTo>
                  <a:lnTo>
                    <a:pt x="933" y="2024"/>
                  </a:lnTo>
                  <a:close/>
                  <a:moveTo>
                    <a:pt x="937" y="2027"/>
                  </a:moveTo>
                  <a:lnTo>
                    <a:pt x="937" y="2024"/>
                  </a:lnTo>
                  <a:lnTo>
                    <a:pt x="937" y="2027"/>
                  </a:lnTo>
                  <a:close/>
                  <a:moveTo>
                    <a:pt x="935" y="2022"/>
                  </a:moveTo>
                  <a:lnTo>
                    <a:pt x="935" y="2024"/>
                  </a:lnTo>
                  <a:lnTo>
                    <a:pt x="933" y="2024"/>
                  </a:lnTo>
                  <a:lnTo>
                    <a:pt x="935" y="2024"/>
                  </a:lnTo>
                  <a:lnTo>
                    <a:pt x="933" y="2024"/>
                  </a:lnTo>
                  <a:lnTo>
                    <a:pt x="933" y="2022"/>
                  </a:lnTo>
                  <a:lnTo>
                    <a:pt x="933" y="2024"/>
                  </a:lnTo>
                  <a:lnTo>
                    <a:pt x="933" y="2022"/>
                  </a:lnTo>
                  <a:lnTo>
                    <a:pt x="935" y="2022"/>
                  </a:lnTo>
                  <a:close/>
                  <a:moveTo>
                    <a:pt x="916" y="2019"/>
                  </a:moveTo>
                  <a:lnTo>
                    <a:pt x="916" y="2022"/>
                  </a:lnTo>
                  <a:lnTo>
                    <a:pt x="916" y="2019"/>
                  </a:lnTo>
                  <a:lnTo>
                    <a:pt x="914" y="2019"/>
                  </a:lnTo>
                  <a:lnTo>
                    <a:pt x="916" y="2019"/>
                  </a:lnTo>
                  <a:close/>
                  <a:moveTo>
                    <a:pt x="954" y="2017"/>
                  </a:moveTo>
                  <a:lnTo>
                    <a:pt x="954" y="2019"/>
                  </a:lnTo>
                  <a:lnTo>
                    <a:pt x="954" y="2017"/>
                  </a:lnTo>
                  <a:lnTo>
                    <a:pt x="954" y="2019"/>
                  </a:lnTo>
                  <a:lnTo>
                    <a:pt x="954" y="2017"/>
                  </a:lnTo>
                  <a:lnTo>
                    <a:pt x="954" y="2019"/>
                  </a:lnTo>
                  <a:lnTo>
                    <a:pt x="954" y="2017"/>
                  </a:lnTo>
                  <a:lnTo>
                    <a:pt x="954" y="2019"/>
                  </a:lnTo>
                  <a:lnTo>
                    <a:pt x="954" y="2017"/>
                  </a:lnTo>
                  <a:lnTo>
                    <a:pt x="954" y="2019"/>
                  </a:lnTo>
                  <a:lnTo>
                    <a:pt x="954" y="2017"/>
                  </a:lnTo>
                  <a:close/>
                  <a:moveTo>
                    <a:pt x="916" y="2017"/>
                  </a:moveTo>
                  <a:lnTo>
                    <a:pt x="916" y="2019"/>
                  </a:lnTo>
                  <a:lnTo>
                    <a:pt x="914" y="2019"/>
                  </a:lnTo>
                  <a:lnTo>
                    <a:pt x="911" y="2017"/>
                  </a:lnTo>
                  <a:lnTo>
                    <a:pt x="914" y="2015"/>
                  </a:lnTo>
                  <a:lnTo>
                    <a:pt x="914" y="2017"/>
                  </a:lnTo>
                  <a:lnTo>
                    <a:pt x="914" y="2015"/>
                  </a:lnTo>
                  <a:lnTo>
                    <a:pt x="916" y="2015"/>
                  </a:lnTo>
                  <a:lnTo>
                    <a:pt x="916" y="2017"/>
                  </a:lnTo>
                  <a:close/>
                  <a:moveTo>
                    <a:pt x="956" y="2012"/>
                  </a:moveTo>
                  <a:lnTo>
                    <a:pt x="956" y="2015"/>
                  </a:lnTo>
                  <a:lnTo>
                    <a:pt x="956" y="2012"/>
                  </a:lnTo>
                  <a:lnTo>
                    <a:pt x="956" y="2015"/>
                  </a:lnTo>
                  <a:lnTo>
                    <a:pt x="956" y="2012"/>
                  </a:lnTo>
                  <a:close/>
                  <a:moveTo>
                    <a:pt x="961" y="2010"/>
                  </a:moveTo>
                  <a:lnTo>
                    <a:pt x="961" y="2012"/>
                  </a:lnTo>
                  <a:lnTo>
                    <a:pt x="961" y="2010"/>
                  </a:lnTo>
                  <a:close/>
                  <a:moveTo>
                    <a:pt x="978" y="2010"/>
                  </a:moveTo>
                  <a:lnTo>
                    <a:pt x="980" y="2010"/>
                  </a:lnTo>
                  <a:lnTo>
                    <a:pt x="980" y="2012"/>
                  </a:lnTo>
                  <a:lnTo>
                    <a:pt x="978" y="2012"/>
                  </a:lnTo>
                  <a:lnTo>
                    <a:pt x="978" y="2010"/>
                  </a:lnTo>
                  <a:close/>
                  <a:moveTo>
                    <a:pt x="973" y="2010"/>
                  </a:moveTo>
                  <a:lnTo>
                    <a:pt x="975" y="2010"/>
                  </a:lnTo>
                  <a:lnTo>
                    <a:pt x="973" y="2010"/>
                  </a:lnTo>
                  <a:lnTo>
                    <a:pt x="973" y="2012"/>
                  </a:lnTo>
                  <a:lnTo>
                    <a:pt x="973" y="2010"/>
                  </a:lnTo>
                  <a:close/>
                  <a:moveTo>
                    <a:pt x="959" y="2005"/>
                  </a:moveTo>
                  <a:lnTo>
                    <a:pt x="959" y="2008"/>
                  </a:lnTo>
                  <a:lnTo>
                    <a:pt x="959" y="2005"/>
                  </a:lnTo>
                  <a:close/>
                  <a:moveTo>
                    <a:pt x="961" y="2005"/>
                  </a:moveTo>
                  <a:lnTo>
                    <a:pt x="961" y="2008"/>
                  </a:lnTo>
                  <a:lnTo>
                    <a:pt x="963" y="2008"/>
                  </a:lnTo>
                  <a:lnTo>
                    <a:pt x="961" y="2008"/>
                  </a:lnTo>
                  <a:lnTo>
                    <a:pt x="961" y="2010"/>
                  </a:lnTo>
                  <a:lnTo>
                    <a:pt x="963" y="2010"/>
                  </a:lnTo>
                  <a:lnTo>
                    <a:pt x="963" y="2008"/>
                  </a:lnTo>
                  <a:lnTo>
                    <a:pt x="966" y="2008"/>
                  </a:lnTo>
                  <a:lnTo>
                    <a:pt x="966" y="2010"/>
                  </a:lnTo>
                  <a:lnTo>
                    <a:pt x="966" y="2012"/>
                  </a:lnTo>
                  <a:lnTo>
                    <a:pt x="966" y="2010"/>
                  </a:lnTo>
                  <a:lnTo>
                    <a:pt x="966" y="2012"/>
                  </a:lnTo>
                  <a:lnTo>
                    <a:pt x="963" y="2012"/>
                  </a:lnTo>
                  <a:lnTo>
                    <a:pt x="963" y="2015"/>
                  </a:lnTo>
                  <a:lnTo>
                    <a:pt x="963" y="2012"/>
                  </a:lnTo>
                  <a:lnTo>
                    <a:pt x="961" y="2012"/>
                  </a:lnTo>
                  <a:lnTo>
                    <a:pt x="963" y="2012"/>
                  </a:lnTo>
                  <a:lnTo>
                    <a:pt x="961" y="2012"/>
                  </a:lnTo>
                  <a:lnTo>
                    <a:pt x="961" y="2010"/>
                  </a:lnTo>
                  <a:lnTo>
                    <a:pt x="963" y="2010"/>
                  </a:lnTo>
                  <a:lnTo>
                    <a:pt x="961" y="2010"/>
                  </a:lnTo>
                  <a:lnTo>
                    <a:pt x="963" y="2010"/>
                  </a:lnTo>
                  <a:lnTo>
                    <a:pt x="961" y="2010"/>
                  </a:lnTo>
                  <a:lnTo>
                    <a:pt x="961" y="2008"/>
                  </a:lnTo>
                  <a:lnTo>
                    <a:pt x="961" y="2005"/>
                  </a:lnTo>
                  <a:close/>
                  <a:moveTo>
                    <a:pt x="968" y="1996"/>
                  </a:moveTo>
                  <a:lnTo>
                    <a:pt x="970" y="1996"/>
                  </a:lnTo>
                  <a:lnTo>
                    <a:pt x="968" y="1996"/>
                  </a:lnTo>
                  <a:close/>
                  <a:moveTo>
                    <a:pt x="607" y="1972"/>
                  </a:moveTo>
                  <a:lnTo>
                    <a:pt x="610" y="1972"/>
                  </a:lnTo>
                  <a:lnTo>
                    <a:pt x="607" y="1972"/>
                  </a:lnTo>
                  <a:close/>
                  <a:moveTo>
                    <a:pt x="638" y="1955"/>
                  </a:moveTo>
                  <a:lnTo>
                    <a:pt x="638" y="1958"/>
                  </a:lnTo>
                  <a:lnTo>
                    <a:pt x="638" y="1955"/>
                  </a:lnTo>
                  <a:lnTo>
                    <a:pt x="641" y="1955"/>
                  </a:lnTo>
                  <a:lnTo>
                    <a:pt x="638" y="1955"/>
                  </a:lnTo>
                  <a:close/>
                  <a:moveTo>
                    <a:pt x="645" y="1953"/>
                  </a:moveTo>
                  <a:lnTo>
                    <a:pt x="645" y="1955"/>
                  </a:lnTo>
                  <a:lnTo>
                    <a:pt x="645" y="1953"/>
                  </a:lnTo>
                  <a:close/>
                  <a:moveTo>
                    <a:pt x="641" y="1953"/>
                  </a:moveTo>
                  <a:lnTo>
                    <a:pt x="643" y="1953"/>
                  </a:lnTo>
                  <a:lnTo>
                    <a:pt x="645" y="1953"/>
                  </a:lnTo>
                  <a:lnTo>
                    <a:pt x="645" y="1955"/>
                  </a:lnTo>
                  <a:lnTo>
                    <a:pt x="643" y="1955"/>
                  </a:lnTo>
                  <a:lnTo>
                    <a:pt x="641" y="1955"/>
                  </a:lnTo>
                  <a:lnTo>
                    <a:pt x="638" y="1955"/>
                  </a:lnTo>
                  <a:lnTo>
                    <a:pt x="638" y="1953"/>
                  </a:lnTo>
                  <a:lnTo>
                    <a:pt x="641" y="1953"/>
                  </a:lnTo>
                  <a:close/>
                  <a:moveTo>
                    <a:pt x="638" y="1953"/>
                  </a:moveTo>
                  <a:lnTo>
                    <a:pt x="638" y="1951"/>
                  </a:lnTo>
                  <a:lnTo>
                    <a:pt x="638" y="1953"/>
                  </a:lnTo>
                  <a:close/>
                  <a:moveTo>
                    <a:pt x="641" y="1951"/>
                  </a:moveTo>
                  <a:lnTo>
                    <a:pt x="641" y="1953"/>
                  </a:lnTo>
                  <a:lnTo>
                    <a:pt x="638" y="1953"/>
                  </a:lnTo>
                  <a:lnTo>
                    <a:pt x="638" y="1955"/>
                  </a:lnTo>
                  <a:lnTo>
                    <a:pt x="638" y="1953"/>
                  </a:lnTo>
                  <a:lnTo>
                    <a:pt x="638" y="1951"/>
                  </a:lnTo>
                  <a:lnTo>
                    <a:pt x="641" y="1951"/>
                  </a:lnTo>
                  <a:close/>
                  <a:moveTo>
                    <a:pt x="655" y="1951"/>
                  </a:moveTo>
                  <a:lnTo>
                    <a:pt x="657" y="1951"/>
                  </a:lnTo>
                  <a:lnTo>
                    <a:pt x="655" y="1951"/>
                  </a:lnTo>
                  <a:close/>
                  <a:moveTo>
                    <a:pt x="0" y="1587"/>
                  </a:moveTo>
                  <a:lnTo>
                    <a:pt x="2" y="1587"/>
                  </a:lnTo>
                  <a:lnTo>
                    <a:pt x="0" y="1587"/>
                  </a:lnTo>
                  <a:close/>
                  <a:moveTo>
                    <a:pt x="7" y="1587"/>
                  </a:moveTo>
                  <a:lnTo>
                    <a:pt x="7" y="1585"/>
                  </a:lnTo>
                  <a:lnTo>
                    <a:pt x="7" y="1587"/>
                  </a:lnTo>
                  <a:close/>
                  <a:moveTo>
                    <a:pt x="12" y="1585"/>
                  </a:moveTo>
                  <a:lnTo>
                    <a:pt x="14" y="1585"/>
                  </a:lnTo>
                  <a:lnTo>
                    <a:pt x="12" y="1585"/>
                  </a:lnTo>
                  <a:close/>
                  <a:moveTo>
                    <a:pt x="10" y="1585"/>
                  </a:moveTo>
                  <a:lnTo>
                    <a:pt x="12" y="1585"/>
                  </a:lnTo>
                  <a:lnTo>
                    <a:pt x="10" y="1585"/>
                  </a:lnTo>
                  <a:close/>
                  <a:moveTo>
                    <a:pt x="233" y="1319"/>
                  </a:moveTo>
                  <a:lnTo>
                    <a:pt x="233" y="1321"/>
                  </a:lnTo>
                  <a:lnTo>
                    <a:pt x="230" y="1321"/>
                  </a:lnTo>
                  <a:lnTo>
                    <a:pt x="230" y="1319"/>
                  </a:lnTo>
                  <a:lnTo>
                    <a:pt x="233" y="1319"/>
                  </a:lnTo>
                  <a:close/>
                  <a:moveTo>
                    <a:pt x="240" y="1319"/>
                  </a:moveTo>
                  <a:lnTo>
                    <a:pt x="240" y="1316"/>
                  </a:lnTo>
                  <a:lnTo>
                    <a:pt x="242" y="1316"/>
                  </a:lnTo>
                  <a:lnTo>
                    <a:pt x="242" y="1319"/>
                  </a:lnTo>
                  <a:lnTo>
                    <a:pt x="240" y="1319"/>
                  </a:lnTo>
                  <a:close/>
                  <a:moveTo>
                    <a:pt x="342" y="1314"/>
                  </a:moveTo>
                  <a:lnTo>
                    <a:pt x="339" y="1314"/>
                  </a:lnTo>
                  <a:lnTo>
                    <a:pt x="339" y="1311"/>
                  </a:lnTo>
                  <a:lnTo>
                    <a:pt x="342" y="1311"/>
                  </a:lnTo>
                  <a:lnTo>
                    <a:pt x="344" y="1311"/>
                  </a:lnTo>
                  <a:lnTo>
                    <a:pt x="342" y="1314"/>
                  </a:lnTo>
                  <a:close/>
                  <a:moveTo>
                    <a:pt x="344" y="1311"/>
                  </a:moveTo>
                  <a:lnTo>
                    <a:pt x="342" y="1311"/>
                  </a:lnTo>
                  <a:lnTo>
                    <a:pt x="344" y="1311"/>
                  </a:lnTo>
                  <a:close/>
                  <a:moveTo>
                    <a:pt x="344" y="1311"/>
                  </a:moveTo>
                  <a:lnTo>
                    <a:pt x="342" y="1311"/>
                  </a:lnTo>
                  <a:lnTo>
                    <a:pt x="339" y="1311"/>
                  </a:lnTo>
                  <a:lnTo>
                    <a:pt x="342" y="1311"/>
                  </a:lnTo>
                  <a:lnTo>
                    <a:pt x="339" y="1311"/>
                  </a:lnTo>
                  <a:lnTo>
                    <a:pt x="342" y="1311"/>
                  </a:lnTo>
                  <a:lnTo>
                    <a:pt x="344" y="1311"/>
                  </a:lnTo>
                  <a:close/>
                  <a:moveTo>
                    <a:pt x="330" y="1307"/>
                  </a:moveTo>
                  <a:lnTo>
                    <a:pt x="330" y="1309"/>
                  </a:lnTo>
                  <a:lnTo>
                    <a:pt x="330" y="1307"/>
                  </a:lnTo>
                  <a:lnTo>
                    <a:pt x="327" y="1309"/>
                  </a:lnTo>
                  <a:lnTo>
                    <a:pt x="330" y="1309"/>
                  </a:lnTo>
                  <a:lnTo>
                    <a:pt x="332" y="1307"/>
                  </a:lnTo>
                  <a:lnTo>
                    <a:pt x="330" y="1307"/>
                  </a:lnTo>
                  <a:close/>
                  <a:moveTo>
                    <a:pt x="268" y="1307"/>
                  </a:moveTo>
                  <a:lnTo>
                    <a:pt x="268" y="1309"/>
                  </a:lnTo>
                  <a:lnTo>
                    <a:pt x="268" y="1307"/>
                  </a:lnTo>
                  <a:close/>
                  <a:moveTo>
                    <a:pt x="280" y="1307"/>
                  </a:moveTo>
                  <a:lnTo>
                    <a:pt x="280" y="1309"/>
                  </a:lnTo>
                  <a:lnTo>
                    <a:pt x="280" y="1307"/>
                  </a:lnTo>
                  <a:lnTo>
                    <a:pt x="280" y="1309"/>
                  </a:lnTo>
                  <a:lnTo>
                    <a:pt x="280" y="1307"/>
                  </a:lnTo>
                  <a:close/>
                  <a:moveTo>
                    <a:pt x="261" y="1307"/>
                  </a:moveTo>
                  <a:lnTo>
                    <a:pt x="261" y="1309"/>
                  </a:lnTo>
                  <a:lnTo>
                    <a:pt x="263" y="1309"/>
                  </a:lnTo>
                  <a:lnTo>
                    <a:pt x="263" y="1311"/>
                  </a:lnTo>
                  <a:lnTo>
                    <a:pt x="263" y="1309"/>
                  </a:lnTo>
                  <a:lnTo>
                    <a:pt x="261" y="1311"/>
                  </a:lnTo>
                  <a:lnTo>
                    <a:pt x="261" y="1309"/>
                  </a:lnTo>
                  <a:lnTo>
                    <a:pt x="261" y="1311"/>
                  </a:lnTo>
                  <a:lnTo>
                    <a:pt x="261" y="1309"/>
                  </a:lnTo>
                  <a:lnTo>
                    <a:pt x="261" y="1307"/>
                  </a:lnTo>
                  <a:close/>
                  <a:moveTo>
                    <a:pt x="233" y="1304"/>
                  </a:moveTo>
                  <a:lnTo>
                    <a:pt x="235" y="1307"/>
                  </a:lnTo>
                  <a:lnTo>
                    <a:pt x="235" y="1309"/>
                  </a:lnTo>
                  <a:lnTo>
                    <a:pt x="233" y="1309"/>
                  </a:lnTo>
                  <a:lnTo>
                    <a:pt x="233" y="1307"/>
                  </a:lnTo>
                  <a:lnTo>
                    <a:pt x="233" y="1304"/>
                  </a:lnTo>
                  <a:close/>
                  <a:moveTo>
                    <a:pt x="285" y="1292"/>
                  </a:moveTo>
                  <a:lnTo>
                    <a:pt x="287" y="1292"/>
                  </a:lnTo>
                  <a:lnTo>
                    <a:pt x="287" y="1290"/>
                  </a:lnTo>
                  <a:lnTo>
                    <a:pt x="287" y="1292"/>
                  </a:lnTo>
                  <a:lnTo>
                    <a:pt x="287" y="1290"/>
                  </a:lnTo>
                  <a:lnTo>
                    <a:pt x="287" y="1292"/>
                  </a:lnTo>
                  <a:lnTo>
                    <a:pt x="287" y="1290"/>
                  </a:lnTo>
                  <a:lnTo>
                    <a:pt x="287" y="1292"/>
                  </a:lnTo>
                  <a:lnTo>
                    <a:pt x="290" y="1292"/>
                  </a:lnTo>
                  <a:lnTo>
                    <a:pt x="290" y="1295"/>
                  </a:lnTo>
                  <a:lnTo>
                    <a:pt x="290" y="1292"/>
                  </a:lnTo>
                  <a:lnTo>
                    <a:pt x="290" y="1295"/>
                  </a:lnTo>
                  <a:lnTo>
                    <a:pt x="290" y="1292"/>
                  </a:lnTo>
                  <a:lnTo>
                    <a:pt x="290" y="1295"/>
                  </a:lnTo>
                  <a:lnTo>
                    <a:pt x="290" y="1292"/>
                  </a:lnTo>
                  <a:lnTo>
                    <a:pt x="290" y="1295"/>
                  </a:lnTo>
                  <a:lnTo>
                    <a:pt x="292" y="1295"/>
                  </a:lnTo>
                  <a:lnTo>
                    <a:pt x="290" y="1295"/>
                  </a:lnTo>
                  <a:lnTo>
                    <a:pt x="287" y="1295"/>
                  </a:lnTo>
                  <a:lnTo>
                    <a:pt x="285" y="1295"/>
                  </a:lnTo>
                  <a:lnTo>
                    <a:pt x="285" y="1292"/>
                  </a:lnTo>
                  <a:lnTo>
                    <a:pt x="285" y="1290"/>
                  </a:lnTo>
                  <a:lnTo>
                    <a:pt x="285" y="1292"/>
                  </a:lnTo>
                  <a:close/>
                  <a:moveTo>
                    <a:pt x="282" y="1290"/>
                  </a:moveTo>
                  <a:lnTo>
                    <a:pt x="285" y="1290"/>
                  </a:lnTo>
                  <a:lnTo>
                    <a:pt x="285" y="1292"/>
                  </a:lnTo>
                  <a:lnTo>
                    <a:pt x="282" y="1292"/>
                  </a:lnTo>
                  <a:lnTo>
                    <a:pt x="282" y="1290"/>
                  </a:lnTo>
                  <a:lnTo>
                    <a:pt x="282" y="1292"/>
                  </a:lnTo>
                  <a:lnTo>
                    <a:pt x="282" y="1290"/>
                  </a:lnTo>
                  <a:lnTo>
                    <a:pt x="280" y="1290"/>
                  </a:lnTo>
                  <a:lnTo>
                    <a:pt x="282" y="1290"/>
                  </a:lnTo>
                  <a:close/>
                  <a:moveTo>
                    <a:pt x="261" y="1285"/>
                  </a:moveTo>
                  <a:lnTo>
                    <a:pt x="259" y="1285"/>
                  </a:lnTo>
                  <a:lnTo>
                    <a:pt x="261" y="1285"/>
                  </a:lnTo>
                  <a:close/>
                  <a:moveTo>
                    <a:pt x="282" y="1285"/>
                  </a:moveTo>
                  <a:lnTo>
                    <a:pt x="282" y="1288"/>
                  </a:lnTo>
                  <a:lnTo>
                    <a:pt x="285" y="1285"/>
                  </a:lnTo>
                  <a:lnTo>
                    <a:pt x="282" y="1288"/>
                  </a:lnTo>
                  <a:lnTo>
                    <a:pt x="285" y="1288"/>
                  </a:lnTo>
                  <a:lnTo>
                    <a:pt x="282" y="1288"/>
                  </a:lnTo>
                  <a:lnTo>
                    <a:pt x="285" y="1288"/>
                  </a:lnTo>
                  <a:lnTo>
                    <a:pt x="285" y="1290"/>
                  </a:lnTo>
                  <a:lnTo>
                    <a:pt x="282" y="1288"/>
                  </a:lnTo>
                  <a:lnTo>
                    <a:pt x="285" y="1288"/>
                  </a:lnTo>
                  <a:lnTo>
                    <a:pt x="282" y="1288"/>
                  </a:lnTo>
                  <a:lnTo>
                    <a:pt x="282" y="1285"/>
                  </a:lnTo>
                  <a:close/>
                  <a:moveTo>
                    <a:pt x="263" y="1285"/>
                  </a:moveTo>
                  <a:lnTo>
                    <a:pt x="263" y="1283"/>
                  </a:lnTo>
                  <a:lnTo>
                    <a:pt x="263" y="1285"/>
                  </a:lnTo>
                  <a:close/>
                  <a:moveTo>
                    <a:pt x="263" y="1283"/>
                  </a:moveTo>
                  <a:lnTo>
                    <a:pt x="263" y="1285"/>
                  </a:lnTo>
                  <a:lnTo>
                    <a:pt x="263" y="1283"/>
                  </a:lnTo>
                  <a:close/>
                  <a:moveTo>
                    <a:pt x="287" y="1281"/>
                  </a:moveTo>
                  <a:lnTo>
                    <a:pt x="287" y="1283"/>
                  </a:lnTo>
                  <a:lnTo>
                    <a:pt x="290" y="1283"/>
                  </a:lnTo>
                  <a:lnTo>
                    <a:pt x="290" y="1285"/>
                  </a:lnTo>
                  <a:lnTo>
                    <a:pt x="287" y="1285"/>
                  </a:lnTo>
                  <a:lnTo>
                    <a:pt x="287" y="1283"/>
                  </a:lnTo>
                  <a:lnTo>
                    <a:pt x="285" y="1283"/>
                  </a:lnTo>
                  <a:lnTo>
                    <a:pt x="287" y="1281"/>
                  </a:lnTo>
                  <a:close/>
                  <a:moveTo>
                    <a:pt x="285" y="1278"/>
                  </a:moveTo>
                  <a:lnTo>
                    <a:pt x="287" y="1281"/>
                  </a:lnTo>
                  <a:lnTo>
                    <a:pt x="285" y="1278"/>
                  </a:lnTo>
                  <a:close/>
                  <a:moveTo>
                    <a:pt x="282" y="1278"/>
                  </a:moveTo>
                  <a:lnTo>
                    <a:pt x="282" y="1281"/>
                  </a:lnTo>
                  <a:lnTo>
                    <a:pt x="280" y="1278"/>
                  </a:lnTo>
                  <a:lnTo>
                    <a:pt x="282" y="1278"/>
                  </a:lnTo>
                  <a:close/>
                  <a:moveTo>
                    <a:pt x="290" y="1278"/>
                  </a:moveTo>
                  <a:lnTo>
                    <a:pt x="290" y="1276"/>
                  </a:lnTo>
                  <a:lnTo>
                    <a:pt x="287" y="1276"/>
                  </a:lnTo>
                  <a:lnTo>
                    <a:pt x="290" y="1276"/>
                  </a:lnTo>
                  <a:lnTo>
                    <a:pt x="290" y="1278"/>
                  </a:lnTo>
                  <a:close/>
                  <a:moveTo>
                    <a:pt x="287" y="1276"/>
                  </a:moveTo>
                  <a:lnTo>
                    <a:pt x="287" y="1278"/>
                  </a:lnTo>
                  <a:lnTo>
                    <a:pt x="287" y="1276"/>
                  </a:lnTo>
                  <a:lnTo>
                    <a:pt x="287" y="1278"/>
                  </a:lnTo>
                  <a:lnTo>
                    <a:pt x="290" y="1278"/>
                  </a:lnTo>
                  <a:lnTo>
                    <a:pt x="287" y="1278"/>
                  </a:lnTo>
                  <a:lnTo>
                    <a:pt x="290" y="1281"/>
                  </a:lnTo>
                  <a:lnTo>
                    <a:pt x="287" y="1278"/>
                  </a:lnTo>
                  <a:lnTo>
                    <a:pt x="287" y="1281"/>
                  </a:lnTo>
                  <a:lnTo>
                    <a:pt x="287" y="1278"/>
                  </a:lnTo>
                  <a:lnTo>
                    <a:pt x="285" y="1278"/>
                  </a:lnTo>
                  <a:lnTo>
                    <a:pt x="287" y="1278"/>
                  </a:lnTo>
                  <a:lnTo>
                    <a:pt x="285" y="1278"/>
                  </a:lnTo>
                  <a:lnTo>
                    <a:pt x="287" y="1278"/>
                  </a:lnTo>
                  <a:lnTo>
                    <a:pt x="287" y="1276"/>
                  </a:lnTo>
                  <a:lnTo>
                    <a:pt x="285" y="1276"/>
                  </a:lnTo>
                  <a:lnTo>
                    <a:pt x="287" y="1276"/>
                  </a:lnTo>
                  <a:close/>
                  <a:moveTo>
                    <a:pt x="287" y="1276"/>
                  </a:moveTo>
                  <a:lnTo>
                    <a:pt x="285" y="1276"/>
                  </a:lnTo>
                  <a:lnTo>
                    <a:pt x="287" y="1276"/>
                  </a:lnTo>
                  <a:close/>
                  <a:moveTo>
                    <a:pt x="285" y="1273"/>
                  </a:moveTo>
                  <a:lnTo>
                    <a:pt x="285" y="1276"/>
                  </a:lnTo>
                  <a:lnTo>
                    <a:pt x="285" y="1273"/>
                  </a:lnTo>
                  <a:close/>
                  <a:moveTo>
                    <a:pt x="287" y="1276"/>
                  </a:moveTo>
                  <a:lnTo>
                    <a:pt x="287" y="1273"/>
                  </a:lnTo>
                  <a:lnTo>
                    <a:pt x="287" y="1276"/>
                  </a:lnTo>
                  <a:close/>
                  <a:moveTo>
                    <a:pt x="292" y="1271"/>
                  </a:moveTo>
                  <a:lnTo>
                    <a:pt x="290" y="1271"/>
                  </a:lnTo>
                  <a:lnTo>
                    <a:pt x="290" y="1269"/>
                  </a:lnTo>
                  <a:lnTo>
                    <a:pt x="292" y="1271"/>
                  </a:lnTo>
                  <a:close/>
                  <a:moveTo>
                    <a:pt x="757" y="1195"/>
                  </a:moveTo>
                  <a:lnTo>
                    <a:pt x="757" y="1197"/>
                  </a:lnTo>
                  <a:lnTo>
                    <a:pt x="757" y="1195"/>
                  </a:lnTo>
                  <a:close/>
                  <a:moveTo>
                    <a:pt x="762" y="1195"/>
                  </a:moveTo>
                  <a:lnTo>
                    <a:pt x="759" y="1195"/>
                  </a:lnTo>
                  <a:lnTo>
                    <a:pt x="762" y="1195"/>
                  </a:lnTo>
                  <a:close/>
                  <a:moveTo>
                    <a:pt x="762" y="1195"/>
                  </a:moveTo>
                  <a:lnTo>
                    <a:pt x="759" y="1195"/>
                  </a:lnTo>
                  <a:lnTo>
                    <a:pt x="762" y="1195"/>
                  </a:lnTo>
                  <a:close/>
                  <a:moveTo>
                    <a:pt x="757" y="1190"/>
                  </a:moveTo>
                  <a:lnTo>
                    <a:pt x="759" y="1190"/>
                  </a:lnTo>
                  <a:lnTo>
                    <a:pt x="757" y="1190"/>
                  </a:lnTo>
                  <a:close/>
                  <a:moveTo>
                    <a:pt x="764" y="1186"/>
                  </a:moveTo>
                  <a:lnTo>
                    <a:pt x="764" y="1188"/>
                  </a:lnTo>
                  <a:lnTo>
                    <a:pt x="764" y="1186"/>
                  </a:lnTo>
                  <a:close/>
                  <a:moveTo>
                    <a:pt x="764" y="1186"/>
                  </a:moveTo>
                  <a:lnTo>
                    <a:pt x="764" y="1183"/>
                  </a:lnTo>
                  <a:lnTo>
                    <a:pt x="764" y="1186"/>
                  </a:lnTo>
                  <a:close/>
                  <a:moveTo>
                    <a:pt x="812" y="1183"/>
                  </a:moveTo>
                  <a:lnTo>
                    <a:pt x="809" y="1183"/>
                  </a:lnTo>
                  <a:lnTo>
                    <a:pt x="812" y="1183"/>
                  </a:lnTo>
                  <a:close/>
                  <a:moveTo>
                    <a:pt x="762" y="1183"/>
                  </a:moveTo>
                  <a:lnTo>
                    <a:pt x="762" y="1181"/>
                  </a:lnTo>
                  <a:lnTo>
                    <a:pt x="762" y="1183"/>
                  </a:lnTo>
                  <a:close/>
                  <a:moveTo>
                    <a:pt x="795" y="1181"/>
                  </a:moveTo>
                  <a:lnTo>
                    <a:pt x="793" y="1181"/>
                  </a:lnTo>
                  <a:lnTo>
                    <a:pt x="795" y="1181"/>
                  </a:lnTo>
                  <a:close/>
                  <a:moveTo>
                    <a:pt x="793" y="1178"/>
                  </a:moveTo>
                  <a:lnTo>
                    <a:pt x="793" y="1181"/>
                  </a:lnTo>
                  <a:lnTo>
                    <a:pt x="793" y="1178"/>
                  </a:lnTo>
                  <a:lnTo>
                    <a:pt x="793" y="1181"/>
                  </a:lnTo>
                  <a:lnTo>
                    <a:pt x="793" y="1178"/>
                  </a:lnTo>
                  <a:lnTo>
                    <a:pt x="793" y="1181"/>
                  </a:lnTo>
                  <a:lnTo>
                    <a:pt x="793" y="1178"/>
                  </a:lnTo>
                  <a:close/>
                  <a:moveTo>
                    <a:pt x="785" y="1174"/>
                  </a:moveTo>
                  <a:lnTo>
                    <a:pt x="788" y="1174"/>
                  </a:lnTo>
                  <a:lnTo>
                    <a:pt x="785" y="1174"/>
                  </a:lnTo>
                  <a:close/>
                  <a:moveTo>
                    <a:pt x="783" y="1171"/>
                  </a:moveTo>
                  <a:lnTo>
                    <a:pt x="785" y="1171"/>
                  </a:lnTo>
                  <a:lnTo>
                    <a:pt x="785" y="1174"/>
                  </a:lnTo>
                  <a:lnTo>
                    <a:pt x="783" y="1171"/>
                  </a:lnTo>
                  <a:close/>
                  <a:moveTo>
                    <a:pt x="783" y="1169"/>
                  </a:moveTo>
                  <a:lnTo>
                    <a:pt x="783" y="1171"/>
                  </a:lnTo>
                  <a:lnTo>
                    <a:pt x="781" y="1169"/>
                  </a:lnTo>
                  <a:lnTo>
                    <a:pt x="783" y="1169"/>
                  </a:lnTo>
                  <a:close/>
                  <a:moveTo>
                    <a:pt x="1208" y="1169"/>
                  </a:moveTo>
                  <a:lnTo>
                    <a:pt x="1208" y="1167"/>
                  </a:lnTo>
                  <a:lnTo>
                    <a:pt x="1208" y="1169"/>
                  </a:lnTo>
                  <a:close/>
                  <a:moveTo>
                    <a:pt x="766" y="1162"/>
                  </a:moveTo>
                  <a:lnTo>
                    <a:pt x="764" y="1162"/>
                  </a:lnTo>
                  <a:lnTo>
                    <a:pt x="766" y="1162"/>
                  </a:lnTo>
                  <a:close/>
                  <a:moveTo>
                    <a:pt x="759" y="1157"/>
                  </a:moveTo>
                  <a:lnTo>
                    <a:pt x="759" y="1159"/>
                  </a:lnTo>
                  <a:lnTo>
                    <a:pt x="759" y="1157"/>
                  </a:lnTo>
                  <a:lnTo>
                    <a:pt x="759" y="1159"/>
                  </a:lnTo>
                  <a:lnTo>
                    <a:pt x="759" y="1157"/>
                  </a:lnTo>
                  <a:lnTo>
                    <a:pt x="759" y="1159"/>
                  </a:lnTo>
                  <a:lnTo>
                    <a:pt x="759" y="1157"/>
                  </a:lnTo>
                  <a:close/>
                  <a:moveTo>
                    <a:pt x="755" y="1155"/>
                  </a:moveTo>
                  <a:lnTo>
                    <a:pt x="757" y="1155"/>
                  </a:lnTo>
                  <a:lnTo>
                    <a:pt x="757" y="1157"/>
                  </a:lnTo>
                  <a:lnTo>
                    <a:pt x="755" y="1155"/>
                  </a:lnTo>
                  <a:lnTo>
                    <a:pt x="752" y="1155"/>
                  </a:lnTo>
                  <a:lnTo>
                    <a:pt x="755" y="1155"/>
                  </a:lnTo>
                  <a:close/>
                  <a:moveTo>
                    <a:pt x="1196" y="1150"/>
                  </a:moveTo>
                  <a:lnTo>
                    <a:pt x="1196" y="1152"/>
                  </a:lnTo>
                  <a:lnTo>
                    <a:pt x="1196" y="1150"/>
                  </a:lnTo>
                  <a:close/>
                  <a:moveTo>
                    <a:pt x="750" y="1150"/>
                  </a:moveTo>
                  <a:lnTo>
                    <a:pt x="747" y="1152"/>
                  </a:lnTo>
                  <a:lnTo>
                    <a:pt x="747" y="1150"/>
                  </a:lnTo>
                  <a:lnTo>
                    <a:pt x="750" y="1150"/>
                  </a:lnTo>
                  <a:close/>
                  <a:moveTo>
                    <a:pt x="747" y="1145"/>
                  </a:moveTo>
                  <a:lnTo>
                    <a:pt x="747" y="1148"/>
                  </a:lnTo>
                  <a:lnTo>
                    <a:pt x="747" y="1145"/>
                  </a:lnTo>
                  <a:close/>
                  <a:moveTo>
                    <a:pt x="728" y="1126"/>
                  </a:moveTo>
                  <a:lnTo>
                    <a:pt x="728" y="1129"/>
                  </a:lnTo>
                  <a:lnTo>
                    <a:pt x="728" y="1126"/>
                  </a:lnTo>
                  <a:close/>
                  <a:moveTo>
                    <a:pt x="726" y="1124"/>
                  </a:moveTo>
                  <a:lnTo>
                    <a:pt x="726" y="1126"/>
                  </a:lnTo>
                  <a:lnTo>
                    <a:pt x="726" y="1124"/>
                  </a:lnTo>
                  <a:lnTo>
                    <a:pt x="726" y="1126"/>
                  </a:lnTo>
                  <a:lnTo>
                    <a:pt x="726" y="1124"/>
                  </a:lnTo>
                  <a:lnTo>
                    <a:pt x="724" y="1124"/>
                  </a:lnTo>
                  <a:lnTo>
                    <a:pt x="726" y="1124"/>
                  </a:lnTo>
                  <a:close/>
                  <a:moveTo>
                    <a:pt x="726" y="1126"/>
                  </a:moveTo>
                  <a:lnTo>
                    <a:pt x="724" y="1124"/>
                  </a:lnTo>
                  <a:lnTo>
                    <a:pt x="726" y="1126"/>
                  </a:lnTo>
                  <a:close/>
                  <a:moveTo>
                    <a:pt x="724" y="1121"/>
                  </a:moveTo>
                  <a:lnTo>
                    <a:pt x="726" y="1121"/>
                  </a:lnTo>
                  <a:lnTo>
                    <a:pt x="724" y="1121"/>
                  </a:lnTo>
                  <a:close/>
                  <a:moveTo>
                    <a:pt x="728" y="1119"/>
                  </a:moveTo>
                  <a:lnTo>
                    <a:pt x="726" y="1119"/>
                  </a:lnTo>
                  <a:lnTo>
                    <a:pt x="728" y="1119"/>
                  </a:lnTo>
                  <a:close/>
                  <a:moveTo>
                    <a:pt x="724" y="1114"/>
                  </a:moveTo>
                  <a:lnTo>
                    <a:pt x="726" y="1117"/>
                  </a:lnTo>
                  <a:lnTo>
                    <a:pt x="724" y="1114"/>
                  </a:lnTo>
                  <a:close/>
                  <a:moveTo>
                    <a:pt x="726" y="1117"/>
                  </a:moveTo>
                  <a:lnTo>
                    <a:pt x="726" y="1119"/>
                  </a:lnTo>
                  <a:lnTo>
                    <a:pt x="726" y="1117"/>
                  </a:lnTo>
                  <a:lnTo>
                    <a:pt x="724" y="1114"/>
                  </a:lnTo>
                  <a:lnTo>
                    <a:pt x="726" y="1114"/>
                  </a:lnTo>
                  <a:lnTo>
                    <a:pt x="726" y="1117"/>
                  </a:lnTo>
                  <a:close/>
                  <a:moveTo>
                    <a:pt x="1210" y="1114"/>
                  </a:moveTo>
                  <a:lnTo>
                    <a:pt x="1213" y="1114"/>
                  </a:lnTo>
                  <a:lnTo>
                    <a:pt x="1210" y="1114"/>
                  </a:lnTo>
                  <a:close/>
                  <a:moveTo>
                    <a:pt x="714" y="1112"/>
                  </a:moveTo>
                  <a:lnTo>
                    <a:pt x="717" y="1112"/>
                  </a:lnTo>
                  <a:lnTo>
                    <a:pt x="714" y="1112"/>
                  </a:lnTo>
                  <a:close/>
                  <a:moveTo>
                    <a:pt x="1215" y="1110"/>
                  </a:moveTo>
                  <a:lnTo>
                    <a:pt x="1215" y="1107"/>
                  </a:lnTo>
                  <a:lnTo>
                    <a:pt x="1215" y="1110"/>
                  </a:lnTo>
                  <a:close/>
                  <a:moveTo>
                    <a:pt x="631" y="1114"/>
                  </a:moveTo>
                  <a:lnTo>
                    <a:pt x="629" y="1114"/>
                  </a:lnTo>
                  <a:lnTo>
                    <a:pt x="629" y="1117"/>
                  </a:lnTo>
                  <a:lnTo>
                    <a:pt x="626" y="1117"/>
                  </a:lnTo>
                  <a:lnTo>
                    <a:pt x="626" y="1114"/>
                  </a:lnTo>
                  <a:lnTo>
                    <a:pt x="624" y="1114"/>
                  </a:lnTo>
                  <a:lnTo>
                    <a:pt x="622" y="1114"/>
                  </a:lnTo>
                  <a:lnTo>
                    <a:pt x="622" y="1112"/>
                  </a:lnTo>
                  <a:lnTo>
                    <a:pt x="622" y="1110"/>
                  </a:lnTo>
                  <a:lnTo>
                    <a:pt x="624" y="1110"/>
                  </a:lnTo>
                  <a:lnTo>
                    <a:pt x="624" y="1107"/>
                  </a:lnTo>
                  <a:lnTo>
                    <a:pt x="626" y="1110"/>
                  </a:lnTo>
                  <a:lnTo>
                    <a:pt x="629" y="1110"/>
                  </a:lnTo>
                  <a:lnTo>
                    <a:pt x="629" y="1112"/>
                  </a:lnTo>
                  <a:lnTo>
                    <a:pt x="631" y="1112"/>
                  </a:lnTo>
                  <a:lnTo>
                    <a:pt x="631" y="1114"/>
                  </a:lnTo>
                  <a:close/>
                  <a:moveTo>
                    <a:pt x="1243" y="1095"/>
                  </a:moveTo>
                  <a:lnTo>
                    <a:pt x="1243" y="1098"/>
                  </a:lnTo>
                  <a:lnTo>
                    <a:pt x="1241" y="1095"/>
                  </a:lnTo>
                  <a:lnTo>
                    <a:pt x="1243" y="1095"/>
                  </a:lnTo>
                  <a:close/>
                  <a:moveTo>
                    <a:pt x="558" y="1091"/>
                  </a:moveTo>
                  <a:lnTo>
                    <a:pt x="555" y="1093"/>
                  </a:lnTo>
                  <a:lnTo>
                    <a:pt x="555" y="1091"/>
                  </a:lnTo>
                  <a:lnTo>
                    <a:pt x="558" y="1091"/>
                  </a:lnTo>
                  <a:lnTo>
                    <a:pt x="555" y="1091"/>
                  </a:lnTo>
                  <a:lnTo>
                    <a:pt x="555" y="1088"/>
                  </a:lnTo>
                  <a:lnTo>
                    <a:pt x="558" y="1088"/>
                  </a:lnTo>
                  <a:lnTo>
                    <a:pt x="558" y="1091"/>
                  </a:lnTo>
                  <a:close/>
                  <a:moveTo>
                    <a:pt x="577" y="1086"/>
                  </a:moveTo>
                  <a:lnTo>
                    <a:pt x="577" y="1088"/>
                  </a:lnTo>
                  <a:lnTo>
                    <a:pt x="579" y="1088"/>
                  </a:lnTo>
                  <a:lnTo>
                    <a:pt x="577" y="1088"/>
                  </a:lnTo>
                  <a:lnTo>
                    <a:pt x="577" y="1086"/>
                  </a:lnTo>
                  <a:close/>
                  <a:moveTo>
                    <a:pt x="553" y="1086"/>
                  </a:moveTo>
                  <a:lnTo>
                    <a:pt x="553" y="1088"/>
                  </a:lnTo>
                  <a:lnTo>
                    <a:pt x="553" y="1086"/>
                  </a:lnTo>
                  <a:lnTo>
                    <a:pt x="553" y="1088"/>
                  </a:lnTo>
                  <a:lnTo>
                    <a:pt x="553" y="1086"/>
                  </a:lnTo>
                  <a:close/>
                  <a:moveTo>
                    <a:pt x="1243" y="1086"/>
                  </a:moveTo>
                  <a:lnTo>
                    <a:pt x="1246" y="1086"/>
                  </a:lnTo>
                  <a:lnTo>
                    <a:pt x="1243" y="1086"/>
                  </a:lnTo>
                  <a:close/>
                  <a:moveTo>
                    <a:pt x="721" y="1086"/>
                  </a:moveTo>
                  <a:lnTo>
                    <a:pt x="724" y="1086"/>
                  </a:lnTo>
                  <a:lnTo>
                    <a:pt x="721" y="1086"/>
                  </a:lnTo>
                  <a:close/>
                  <a:moveTo>
                    <a:pt x="726" y="1086"/>
                  </a:moveTo>
                  <a:lnTo>
                    <a:pt x="724" y="1086"/>
                  </a:lnTo>
                  <a:lnTo>
                    <a:pt x="726" y="1083"/>
                  </a:lnTo>
                  <a:lnTo>
                    <a:pt x="726" y="1086"/>
                  </a:lnTo>
                  <a:lnTo>
                    <a:pt x="726" y="1083"/>
                  </a:lnTo>
                  <a:lnTo>
                    <a:pt x="726" y="1086"/>
                  </a:lnTo>
                  <a:close/>
                  <a:moveTo>
                    <a:pt x="570" y="1083"/>
                  </a:moveTo>
                  <a:lnTo>
                    <a:pt x="570" y="1086"/>
                  </a:lnTo>
                  <a:lnTo>
                    <a:pt x="570" y="1083"/>
                  </a:lnTo>
                  <a:close/>
                  <a:moveTo>
                    <a:pt x="555" y="1081"/>
                  </a:moveTo>
                  <a:lnTo>
                    <a:pt x="555" y="1083"/>
                  </a:lnTo>
                  <a:lnTo>
                    <a:pt x="555" y="1081"/>
                  </a:lnTo>
                  <a:close/>
                  <a:moveTo>
                    <a:pt x="721" y="1081"/>
                  </a:moveTo>
                  <a:lnTo>
                    <a:pt x="724" y="1081"/>
                  </a:lnTo>
                  <a:lnTo>
                    <a:pt x="721" y="1081"/>
                  </a:lnTo>
                  <a:close/>
                  <a:moveTo>
                    <a:pt x="551" y="1079"/>
                  </a:moveTo>
                  <a:lnTo>
                    <a:pt x="553" y="1079"/>
                  </a:lnTo>
                  <a:lnTo>
                    <a:pt x="553" y="1081"/>
                  </a:lnTo>
                  <a:lnTo>
                    <a:pt x="555" y="1081"/>
                  </a:lnTo>
                  <a:lnTo>
                    <a:pt x="553" y="1081"/>
                  </a:lnTo>
                  <a:lnTo>
                    <a:pt x="555" y="1081"/>
                  </a:lnTo>
                  <a:lnTo>
                    <a:pt x="553" y="1081"/>
                  </a:lnTo>
                  <a:lnTo>
                    <a:pt x="551" y="1081"/>
                  </a:lnTo>
                  <a:lnTo>
                    <a:pt x="553" y="1081"/>
                  </a:lnTo>
                  <a:lnTo>
                    <a:pt x="551" y="1081"/>
                  </a:lnTo>
                  <a:lnTo>
                    <a:pt x="551" y="1079"/>
                  </a:lnTo>
                  <a:close/>
                  <a:moveTo>
                    <a:pt x="719" y="1079"/>
                  </a:moveTo>
                  <a:lnTo>
                    <a:pt x="717" y="1076"/>
                  </a:lnTo>
                  <a:lnTo>
                    <a:pt x="719" y="1079"/>
                  </a:lnTo>
                  <a:close/>
                  <a:moveTo>
                    <a:pt x="717" y="1076"/>
                  </a:moveTo>
                  <a:lnTo>
                    <a:pt x="714" y="1076"/>
                  </a:lnTo>
                  <a:lnTo>
                    <a:pt x="717" y="1076"/>
                  </a:lnTo>
                  <a:close/>
                  <a:moveTo>
                    <a:pt x="717" y="1076"/>
                  </a:moveTo>
                  <a:lnTo>
                    <a:pt x="717" y="1079"/>
                  </a:lnTo>
                  <a:lnTo>
                    <a:pt x="717" y="1076"/>
                  </a:lnTo>
                  <a:lnTo>
                    <a:pt x="719" y="1079"/>
                  </a:lnTo>
                  <a:lnTo>
                    <a:pt x="721" y="1079"/>
                  </a:lnTo>
                  <a:lnTo>
                    <a:pt x="724" y="1079"/>
                  </a:lnTo>
                  <a:lnTo>
                    <a:pt x="726" y="1079"/>
                  </a:lnTo>
                  <a:lnTo>
                    <a:pt x="726" y="1081"/>
                  </a:lnTo>
                  <a:lnTo>
                    <a:pt x="724" y="1081"/>
                  </a:lnTo>
                  <a:lnTo>
                    <a:pt x="721" y="1081"/>
                  </a:lnTo>
                  <a:lnTo>
                    <a:pt x="724" y="1081"/>
                  </a:lnTo>
                  <a:lnTo>
                    <a:pt x="721" y="1081"/>
                  </a:lnTo>
                  <a:lnTo>
                    <a:pt x="719" y="1081"/>
                  </a:lnTo>
                  <a:lnTo>
                    <a:pt x="719" y="1079"/>
                  </a:lnTo>
                  <a:lnTo>
                    <a:pt x="717" y="1079"/>
                  </a:lnTo>
                  <a:lnTo>
                    <a:pt x="714" y="1079"/>
                  </a:lnTo>
                  <a:lnTo>
                    <a:pt x="714" y="1076"/>
                  </a:lnTo>
                  <a:lnTo>
                    <a:pt x="717" y="1076"/>
                  </a:lnTo>
                  <a:close/>
                  <a:moveTo>
                    <a:pt x="714" y="1079"/>
                  </a:moveTo>
                  <a:lnTo>
                    <a:pt x="714" y="1076"/>
                  </a:lnTo>
                  <a:lnTo>
                    <a:pt x="712" y="1076"/>
                  </a:lnTo>
                  <a:lnTo>
                    <a:pt x="714" y="1076"/>
                  </a:lnTo>
                  <a:lnTo>
                    <a:pt x="714" y="1079"/>
                  </a:lnTo>
                  <a:close/>
                  <a:moveTo>
                    <a:pt x="548" y="1076"/>
                  </a:moveTo>
                  <a:lnTo>
                    <a:pt x="546" y="1076"/>
                  </a:lnTo>
                  <a:lnTo>
                    <a:pt x="548" y="1076"/>
                  </a:lnTo>
                  <a:close/>
                  <a:moveTo>
                    <a:pt x="714" y="1076"/>
                  </a:moveTo>
                  <a:lnTo>
                    <a:pt x="717" y="1076"/>
                  </a:lnTo>
                  <a:lnTo>
                    <a:pt x="714" y="1076"/>
                  </a:lnTo>
                  <a:close/>
                  <a:moveTo>
                    <a:pt x="543" y="1076"/>
                  </a:moveTo>
                  <a:lnTo>
                    <a:pt x="546" y="1076"/>
                  </a:lnTo>
                  <a:lnTo>
                    <a:pt x="543" y="1076"/>
                  </a:lnTo>
                  <a:close/>
                  <a:moveTo>
                    <a:pt x="712" y="1076"/>
                  </a:moveTo>
                  <a:lnTo>
                    <a:pt x="714" y="1076"/>
                  </a:lnTo>
                  <a:lnTo>
                    <a:pt x="712" y="1076"/>
                  </a:lnTo>
                  <a:lnTo>
                    <a:pt x="712" y="1074"/>
                  </a:lnTo>
                  <a:lnTo>
                    <a:pt x="712" y="1076"/>
                  </a:lnTo>
                  <a:close/>
                  <a:moveTo>
                    <a:pt x="717" y="1076"/>
                  </a:moveTo>
                  <a:lnTo>
                    <a:pt x="719" y="1076"/>
                  </a:lnTo>
                  <a:lnTo>
                    <a:pt x="721" y="1076"/>
                  </a:lnTo>
                  <a:lnTo>
                    <a:pt x="719" y="1076"/>
                  </a:lnTo>
                  <a:lnTo>
                    <a:pt x="721" y="1076"/>
                  </a:lnTo>
                  <a:lnTo>
                    <a:pt x="724" y="1076"/>
                  </a:lnTo>
                  <a:lnTo>
                    <a:pt x="724" y="1079"/>
                  </a:lnTo>
                  <a:lnTo>
                    <a:pt x="721" y="1079"/>
                  </a:lnTo>
                  <a:lnTo>
                    <a:pt x="719" y="1079"/>
                  </a:lnTo>
                  <a:lnTo>
                    <a:pt x="719" y="1076"/>
                  </a:lnTo>
                  <a:lnTo>
                    <a:pt x="717" y="1076"/>
                  </a:lnTo>
                  <a:lnTo>
                    <a:pt x="714" y="1076"/>
                  </a:lnTo>
                  <a:lnTo>
                    <a:pt x="714" y="1074"/>
                  </a:lnTo>
                  <a:lnTo>
                    <a:pt x="714" y="1076"/>
                  </a:lnTo>
                  <a:lnTo>
                    <a:pt x="717" y="1076"/>
                  </a:lnTo>
                  <a:close/>
                  <a:moveTo>
                    <a:pt x="539" y="1074"/>
                  </a:moveTo>
                  <a:lnTo>
                    <a:pt x="539" y="1076"/>
                  </a:lnTo>
                  <a:lnTo>
                    <a:pt x="539" y="1074"/>
                  </a:lnTo>
                  <a:close/>
                  <a:moveTo>
                    <a:pt x="714" y="1074"/>
                  </a:moveTo>
                  <a:lnTo>
                    <a:pt x="714" y="1076"/>
                  </a:lnTo>
                  <a:lnTo>
                    <a:pt x="712" y="1076"/>
                  </a:lnTo>
                  <a:lnTo>
                    <a:pt x="712" y="1074"/>
                  </a:lnTo>
                  <a:lnTo>
                    <a:pt x="712" y="1076"/>
                  </a:lnTo>
                  <a:lnTo>
                    <a:pt x="714" y="1076"/>
                  </a:lnTo>
                  <a:lnTo>
                    <a:pt x="712" y="1076"/>
                  </a:lnTo>
                  <a:lnTo>
                    <a:pt x="712" y="1074"/>
                  </a:lnTo>
                  <a:lnTo>
                    <a:pt x="714" y="1074"/>
                  </a:lnTo>
                  <a:close/>
                  <a:moveTo>
                    <a:pt x="546" y="1074"/>
                  </a:moveTo>
                  <a:lnTo>
                    <a:pt x="548" y="1074"/>
                  </a:lnTo>
                  <a:lnTo>
                    <a:pt x="546" y="1074"/>
                  </a:lnTo>
                  <a:close/>
                  <a:moveTo>
                    <a:pt x="714" y="1074"/>
                  </a:moveTo>
                  <a:lnTo>
                    <a:pt x="717" y="1074"/>
                  </a:lnTo>
                  <a:lnTo>
                    <a:pt x="717" y="1076"/>
                  </a:lnTo>
                  <a:lnTo>
                    <a:pt x="714" y="1074"/>
                  </a:lnTo>
                  <a:lnTo>
                    <a:pt x="714" y="1076"/>
                  </a:lnTo>
                  <a:lnTo>
                    <a:pt x="714" y="1074"/>
                  </a:lnTo>
                  <a:lnTo>
                    <a:pt x="712" y="1074"/>
                  </a:lnTo>
                  <a:lnTo>
                    <a:pt x="714" y="1074"/>
                  </a:lnTo>
                  <a:close/>
                  <a:moveTo>
                    <a:pt x="527" y="1074"/>
                  </a:moveTo>
                  <a:lnTo>
                    <a:pt x="527" y="1076"/>
                  </a:lnTo>
                  <a:lnTo>
                    <a:pt x="527" y="1074"/>
                  </a:lnTo>
                  <a:close/>
                  <a:moveTo>
                    <a:pt x="705" y="1074"/>
                  </a:moveTo>
                  <a:lnTo>
                    <a:pt x="702" y="1074"/>
                  </a:lnTo>
                  <a:lnTo>
                    <a:pt x="705" y="1074"/>
                  </a:lnTo>
                  <a:close/>
                  <a:moveTo>
                    <a:pt x="707" y="1074"/>
                  </a:moveTo>
                  <a:lnTo>
                    <a:pt x="705" y="1074"/>
                  </a:lnTo>
                  <a:lnTo>
                    <a:pt x="707" y="1074"/>
                  </a:lnTo>
                  <a:close/>
                  <a:moveTo>
                    <a:pt x="702" y="1074"/>
                  </a:moveTo>
                  <a:lnTo>
                    <a:pt x="700" y="1074"/>
                  </a:lnTo>
                  <a:lnTo>
                    <a:pt x="702" y="1074"/>
                  </a:lnTo>
                  <a:lnTo>
                    <a:pt x="700" y="1074"/>
                  </a:lnTo>
                  <a:lnTo>
                    <a:pt x="702" y="1074"/>
                  </a:lnTo>
                  <a:close/>
                  <a:moveTo>
                    <a:pt x="534" y="1074"/>
                  </a:moveTo>
                  <a:lnTo>
                    <a:pt x="536" y="1074"/>
                  </a:lnTo>
                  <a:lnTo>
                    <a:pt x="534" y="1074"/>
                  </a:lnTo>
                  <a:close/>
                  <a:moveTo>
                    <a:pt x="695" y="1072"/>
                  </a:moveTo>
                  <a:lnTo>
                    <a:pt x="695" y="1074"/>
                  </a:lnTo>
                  <a:lnTo>
                    <a:pt x="693" y="1074"/>
                  </a:lnTo>
                  <a:lnTo>
                    <a:pt x="693" y="1072"/>
                  </a:lnTo>
                  <a:lnTo>
                    <a:pt x="695" y="1072"/>
                  </a:lnTo>
                  <a:close/>
                  <a:moveTo>
                    <a:pt x="536" y="1072"/>
                  </a:moveTo>
                  <a:lnTo>
                    <a:pt x="534" y="1072"/>
                  </a:lnTo>
                  <a:lnTo>
                    <a:pt x="536" y="1072"/>
                  </a:lnTo>
                  <a:close/>
                  <a:moveTo>
                    <a:pt x="1248" y="1072"/>
                  </a:moveTo>
                  <a:lnTo>
                    <a:pt x="1246" y="1072"/>
                  </a:lnTo>
                  <a:lnTo>
                    <a:pt x="1248" y="1072"/>
                  </a:lnTo>
                  <a:close/>
                  <a:moveTo>
                    <a:pt x="695" y="1072"/>
                  </a:moveTo>
                  <a:lnTo>
                    <a:pt x="693" y="1072"/>
                  </a:lnTo>
                  <a:lnTo>
                    <a:pt x="695" y="1072"/>
                  </a:lnTo>
                  <a:close/>
                  <a:moveTo>
                    <a:pt x="522" y="1072"/>
                  </a:moveTo>
                  <a:lnTo>
                    <a:pt x="524" y="1072"/>
                  </a:lnTo>
                  <a:lnTo>
                    <a:pt x="522" y="1072"/>
                  </a:lnTo>
                  <a:close/>
                  <a:moveTo>
                    <a:pt x="529" y="1072"/>
                  </a:moveTo>
                  <a:lnTo>
                    <a:pt x="532" y="1072"/>
                  </a:lnTo>
                  <a:lnTo>
                    <a:pt x="532" y="1074"/>
                  </a:lnTo>
                  <a:lnTo>
                    <a:pt x="532" y="1076"/>
                  </a:lnTo>
                  <a:lnTo>
                    <a:pt x="529" y="1076"/>
                  </a:lnTo>
                  <a:lnTo>
                    <a:pt x="529" y="1074"/>
                  </a:lnTo>
                  <a:lnTo>
                    <a:pt x="527" y="1074"/>
                  </a:lnTo>
                  <a:lnTo>
                    <a:pt x="527" y="1072"/>
                  </a:lnTo>
                  <a:lnTo>
                    <a:pt x="529" y="1072"/>
                  </a:lnTo>
                  <a:close/>
                  <a:moveTo>
                    <a:pt x="508" y="1072"/>
                  </a:moveTo>
                  <a:lnTo>
                    <a:pt x="508" y="1069"/>
                  </a:lnTo>
                  <a:lnTo>
                    <a:pt x="508" y="1072"/>
                  </a:lnTo>
                  <a:close/>
                  <a:moveTo>
                    <a:pt x="524" y="1072"/>
                  </a:moveTo>
                  <a:lnTo>
                    <a:pt x="524" y="1069"/>
                  </a:lnTo>
                  <a:lnTo>
                    <a:pt x="524" y="1072"/>
                  </a:lnTo>
                  <a:close/>
                  <a:moveTo>
                    <a:pt x="513" y="1069"/>
                  </a:moveTo>
                  <a:lnTo>
                    <a:pt x="513" y="1072"/>
                  </a:lnTo>
                  <a:lnTo>
                    <a:pt x="513" y="1069"/>
                  </a:lnTo>
                  <a:close/>
                  <a:moveTo>
                    <a:pt x="693" y="1072"/>
                  </a:moveTo>
                  <a:lnTo>
                    <a:pt x="691" y="1069"/>
                  </a:lnTo>
                  <a:lnTo>
                    <a:pt x="693" y="1069"/>
                  </a:lnTo>
                  <a:lnTo>
                    <a:pt x="693" y="1072"/>
                  </a:lnTo>
                  <a:close/>
                  <a:moveTo>
                    <a:pt x="517" y="1069"/>
                  </a:moveTo>
                  <a:lnTo>
                    <a:pt x="517" y="1072"/>
                  </a:lnTo>
                  <a:lnTo>
                    <a:pt x="515" y="1072"/>
                  </a:lnTo>
                  <a:lnTo>
                    <a:pt x="515" y="1069"/>
                  </a:lnTo>
                  <a:lnTo>
                    <a:pt x="517" y="1069"/>
                  </a:lnTo>
                  <a:close/>
                  <a:moveTo>
                    <a:pt x="695" y="1069"/>
                  </a:moveTo>
                  <a:lnTo>
                    <a:pt x="695" y="1072"/>
                  </a:lnTo>
                  <a:lnTo>
                    <a:pt x="693" y="1072"/>
                  </a:lnTo>
                  <a:lnTo>
                    <a:pt x="693" y="1069"/>
                  </a:lnTo>
                  <a:lnTo>
                    <a:pt x="695" y="1069"/>
                  </a:lnTo>
                  <a:close/>
                  <a:moveTo>
                    <a:pt x="517" y="1069"/>
                  </a:moveTo>
                  <a:lnTo>
                    <a:pt x="517" y="1067"/>
                  </a:lnTo>
                  <a:lnTo>
                    <a:pt x="517" y="1069"/>
                  </a:lnTo>
                  <a:close/>
                  <a:moveTo>
                    <a:pt x="691" y="1069"/>
                  </a:moveTo>
                  <a:lnTo>
                    <a:pt x="693" y="1069"/>
                  </a:lnTo>
                  <a:lnTo>
                    <a:pt x="691" y="1069"/>
                  </a:lnTo>
                  <a:lnTo>
                    <a:pt x="691" y="1067"/>
                  </a:lnTo>
                  <a:lnTo>
                    <a:pt x="693" y="1069"/>
                  </a:lnTo>
                  <a:lnTo>
                    <a:pt x="693" y="1072"/>
                  </a:lnTo>
                  <a:lnTo>
                    <a:pt x="693" y="1069"/>
                  </a:lnTo>
                  <a:lnTo>
                    <a:pt x="691" y="1069"/>
                  </a:lnTo>
                  <a:lnTo>
                    <a:pt x="691" y="1067"/>
                  </a:lnTo>
                  <a:lnTo>
                    <a:pt x="691" y="1069"/>
                  </a:lnTo>
                  <a:close/>
                  <a:moveTo>
                    <a:pt x="683" y="1064"/>
                  </a:moveTo>
                  <a:lnTo>
                    <a:pt x="683" y="1067"/>
                  </a:lnTo>
                  <a:lnTo>
                    <a:pt x="686" y="1067"/>
                  </a:lnTo>
                  <a:lnTo>
                    <a:pt x="683" y="1067"/>
                  </a:lnTo>
                  <a:lnTo>
                    <a:pt x="683" y="1064"/>
                  </a:lnTo>
                  <a:close/>
                  <a:moveTo>
                    <a:pt x="769" y="1067"/>
                  </a:moveTo>
                  <a:lnTo>
                    <a:pt x="769" y="1064"/>
                  </a:lnTo>
                  <a:lnTo>
                    <a:pt x="771" y="1064"/>
                  </a:lnTo>
                  <a:lnTo>
                    <a:pt x="771" y="1067"/>
                  </a:lnTo>
                  <a:lnTo>
                    <a:pt x="769" y="1067"/>
                  </a:lnTo>
                  <a:close/>
                  <a:moveTo>
                    <a:pt x="771" y="1064"/>
                  </a:moveTo>
                  <a:lnTo>
                    <a:pt x="769" y="1064"/>
                  </a:lnTo>
                  <a:lnTo>
                    <a:pt x="771" y="1064"/>
                  </a:lnTo>
                  <a:close/>
                  <a:moveTo>
                    <a:pt x="683" y="1064"/>
                  </a:moveTo>
                  <a:lnTo>
                    <a:pt x="686" y="1064"/>
                  </a:lnTo>
                  <a:lnTo>
                    <a:pt x="683" y="1064"/>
                  </a:lnTo>
                  <a:close/>
                  <a:moveTo>
                    <a:pt x="679" y="1064"/>
                  </a:moveTo>
                  <a:lnTo>
                    <a:pt x="676" y="1064"/>
                  </a:lnTo>
                  <a:lnTo>
                    <a:pt x="679" y="1064"/>
                  </a:lnTo>
                  <a:lnTo>
                    <a:pt x="679" y="1062"/>
                  </a:lnTo>
                  <a:lnTo>
                    <a:pt x="679" y="1064"/>
                  </a:lnTo>
                  <a:close/>
                  <a:moveTo>
                    <a:pt x="676" y="1062"/>
                  </a:moveTo>
                  <a:lnTo>
                    <a:pt x="679" y="1062"/>
                  </a:lnTo>
                  <a:lnTo>
                    <a:pt x="676" y="1062"/>
                  </a:lnTo>
                  <a:close/>
                  <a:moveTo>
                    <a:pt x="672" y="1062"/>
                  </a:moveTo>
                  <a:lnTo>
                    <a:pt x="669" y="1062"/>
                  </a:lnTo>
                  <a:lnTo>
                    <a:pt x="672" y="1062"/>
                  </a:lnTo>
                  <a:close/>
                  <a:moveTo>
                    <a:pt x="676" y="1060"/>
                  </a:moveTo>
                  <a:lnTo>
                    <a:pt x="679" y="1062"/>
                  </a:lnTo>
                  <a:lnTo>
                    <a:pt x="676" y="1062"/>
                  </a:lnTo>
                  <a:lnTo>
                    <a:pt x="676" y="1060"/>
                  </a:lnTo>
                  <a:close/>
                  <a:moveTo>
                    <a:pt x="674" y="1062"/>
                  </a:moveTo>
                  <a:lnTo>
                    <a:pt x="676" y="1062"/>
                  </a:lnTo>
                  <a:lnTo>
                    <a:pt x="674" y="1062"/>
                  </a:lnTo>
                  <a:lnTo>
                    <a:pt x="674" y="1060"/>
                  </a:lnTo>
                  <a:lnTo>
                    <a:pt x="674" y="1062"/>
                  </a:lnTo>
                  <a:close/>
                  <a:moveTo>
                    <a:pt x="674" y="1062"/>
                  </a:moveTo>
                  <a:lnTo>
                    <a:pt x="672" y="1062"/>
                  </a:lnTo>
                  <a:lnTo>
                    <a:pt x="672" y="1060"/>
                  </a:lnTo>
                  <a:lnTo>
                    <a:pt x="674" y="1060"/>
                  </a:lnTo>
                  <a:lnTo>
                    <a:pt x="674" y="1062"/>
                  </a:lnTo>
                  <a:lnTo>
                    <a:pt x="674" y="1060"/>
                  </a:lnTo>
                  <a:lnTo>
                    <a:pt x="674" y="1062"/>
                  </a:lnTo>
                  <a:close/>
                  <a:moveTo>
                    <a:pt x="676" y="1060"/>
                  </a:moveTo>
                  <a:lnTo>
                    <a:pt x="679" y="1060"/>
                  </a:lnTo>
                  <a:lnTo>
                    <a:pt x="676" y="1060"/>
                  </a:lnTo>
                  <a:lnTo>
                    <a:pt x="679" y="1060"/>
                  </a:lnTo>
                  <a:lnTo>
                    <a:pt x="679" y="1062"/>
                  </a:lnTo>
                  <a:lnTo>
                    <a:pt x="676" y="1060"/>
                  </a:lnTo>
                  <a:close/>
                  <a:moveTo>
                    <a:pt x="660" y="1060"/>
                  </a:moveTo>
                  <a:lnTo>
                    <a:pt x="657" y="1060"/>
                  </a:lnTo>
                  <a:lnTo>
                    <a:pt x="660" y="1060"/>
                  </a:lnTo>
                  <a:close/>
                  <a:moveTo>
                    <a:pt x="674" y="1060"/>
                  </a:moveTo>
                  <a:lnTo>
                    <a:pt x="676" y="1060"/>
                  </a:lnTo>
                  <a:lnTo>
                    <a:pt x="676" y="1062"/>
                  </a:lnTo>
                  <a:lnTo>
                    <a:pt x="674" y="1062"/>
                  </a:lnTo>
                  <a:lnTo>
                    <a:pt x="674" y="1060"/>
                  </a:lnTo>
                  <a:lnTo>
                    <a:pt x="672" y="1060"/>
                  </a:lnTo>
                  <a:lnTo>
                    <a:pt x="674" y="1060"/>
                  </a:lnTo>
                  <a:lnTo>
                    <a:pt x="674" y="1057"/>
                  </a:lnTo>
                  <a:lnTo>
                    <a:pt x="674" y="1060"/>
                  </a:lnTo>
                  <a:close/>
                  <a:moveTo>
                    <a:pt x="679" y="1057"/>
                  </a:moveTo>
                  <a:lnTo>
                    <a:pt x="679" y="1060"/>
                  </a:lnTo>
                  <a:lnTo>
                    <a:pt x="679" y="1062"/>
                  </a:lnTo>
                  <a:lnTo>
                    <a:pt x="679" y="1060"/>
                  </a:lnTo>
                  <a:lnTo>
                    <a:pt x="676" y="1060"/>
                  </a:lnTo>
                  <a:lnTo>
                    <a:pt x="676" y="1057"/>
                  </a:lnTo>
                  <a:lnTo>
                    <a:pt x="676" y="1060"/>
                  </a:lnTo>
                  <a:lnTo>
                    <a:pt x="676" y="1057"/>
                  </a:lnTo>
                  <a:lnTo>
                    <a:pt x="679" y="1057"/>
                  </a:lnTo>
                  <a:close/>
                  <a:moveTo>
                    <a:pt x="667" y="1057"/>
                  </a:moveTo>
                  <a:lnTo>
                    <a:pt x="667" y="1060"/>
                  </a:lnTo>
                  <a:lnTo>
                    <a:pt x="667" y="1057"/>
                  </a:lnTo>
                  <a:lnTo>
                    <a:pt x="667" y="1060"/>
                  </a:lnTo>
                  <a:lnTo>
                    <a:pt x="667" y="1057"/>
                  </a:lnTo>
                  <a:close/>
                  <a:moveTo>
                    <a:pt x="683" y="1060"/>
                  </a:moveTo>
                  <a:lnTo>
                    <a:pt x="683" y="1057"/>
                  </a:lnTo>
                  <a:lnTo>
                    <a:pt x="683" y="1060"/>
                  </a:lnTo>
                  <a:close/>
                  <a:moveTo>
                    <a:pt x="676" y="1057"/>
                  </a:moveTo>
                  <a:lnTo>
                    <a:pt x="676" y="1060"/>
                  </a:lnTo>
                  <a:lnTo>
                    <a:pt x="676" y="1057"/>
                  </a:lnTo>
                  <a:lnTo>
                    <a:pt x="674" y="1057"/>
                  </a:lnTo>
                  <a:lnTo>
                    <a:pt x="676" y="1057"/>
                  </a:lnTo>
                  <a:close/>
                  <a:moveTo>
                    <a:pt x="662" y="1057"/>
                  </a:moveTo>
                  <a:lnTo>
                    <a:pt x="664" y="1057"/>
                  </a:lnTo>
                  <a:lnTo>
                    <a:pt x="662" y="1057"/>
                  </a:lnTo>
                  <a:close/>
                  <a:moveTo>
                    <a:pt x="672" y="1057"/>
                  </a:moveTo>
                  <a:lnTo>
                    <a:pt x="674" y="1057"/>
                  </a:lnTo>
                  <a:lnTo>
                    <a:pt x="674" y="1060"/>
                  </a:lnTo>
                  <a:lnTo>
                    <a:pt x="672" y="1060"/>
                  </a:lnTo>
                  <a:lnTo>
                    <a:pt x="672" y="1062"/>
                  </a:lnTo>
                  <a:lnTo>
                    <a:pt x="672" y="1060"/>
                  </a:lnTo>
                  <a:lnTo>
                    <a:pt x="669" y="1062"/>
                  </a:lnTo>
                  <a:lnTo>
                    <a:pt x="667" y="1060"/>
                  </a:lnTo>
                  <a:lnTo>
                    <a:pt x="669" y="1060"/>
                  </a:lnTo>
                  <a:lnTo>
                    <a:pt x="667" y="1060"/>
                  </a:lnTo>
                  <a:lnTo>
                    <a:pt x="669" y="1060"/>
                  </a:lnTo>
                  <a:lnTo>
                    <a:pt x="667" y="1060"/>
                  </a:lnTo>
                  <a:lnTo>
                    <a:pt x="669" y="1060"/>
                  </a:lnTo>
                  <a:lnTo>
                    <a:pt x="667" y="1060"/>
                  </a:lnTo>
                  <a:lnTo>
                    <a:pt x="669" y="1060"/>
                  </a:lnTo>
                  <a:lnTo>
                    <a:pt x="667" y="1060"/>
                  </a:lnTo>
                  <a:lnTo>
                    <a:pt x="669" y="1060"/>
                  </a:lnTo>
                  <a:lnTo>
                    <a:pt x="669" y="1057"/>
                  </a:lnTo>
                  <a:lnTo>
                    <a:pt x="672" y="1057"/>
                  </a:lnTo>
                  <a:close/>
                  <a:moveTo>
                    <a:pt x="667" y="1057"/>
                  </a:moveTo>
                  <a:lnTo>
                    <a:pt x="664" y="1057"/>
                  </a:lnTo>
                  <a:lnTo>
                    <a:pt x="667" y="1057"/>
                  </a:lnTo>
                  <a:close/>
                  <a:moveTo>
                    <a:pt x="520" y="1057"/>
                  </a:moveTo>
                  <a:lnTo>
                    <a:pt x="522" y="1057"/>
                  </a:lnTo>
                  <a:lnTo>
                    <a:pt x="522" y="1060"/>
                  </a:lnTo>
                  <a:lnTo>
                    <a:pt x="520" y="1057"/>
                  </a:lnTo>
                  <a:close/>
                  <a:moveTo>
                    <a:pt x="662" y="1057"/>
                  </a:moveTo>
                  <a:lnTo>
                    <a:pt x="664" y="1057"/>
                  </a:lnTo>
                  <a:lnTo>
                    <a:pt x="662" y="1057"/>
                  </a:lnTo>
                  <a:close/>
                  <a:moveTo>
                    <a:pt x="672" y="1057"/>
                  </a:moveTo>
                  <a:lnTo>
                    <a:pt x="674" y="1057"/>
                  </a:lnTo>
                  <a:lnTo>
                    <a:pt x="672" y="1057"/>
                  </a:lnTo>
                  <a:lnTo>
                    <a:pt x="674" y="1057"/>
                  </a:lnTo>
                  <a:lnTo>
                    <a:pt x="676" y="1057"/>
                  </a:lnTo>
                  <a:lnTo>
                    <a:pt x="676" y="1060"/>
                  </a:lnTo>
                  <a:lnTo>
                    <a:pt x="676" y="1057"/>
                  </a:lnTo>
                  <a:lnTo>
                    <a:pt x="676" y="1060"/>
                  </a:lnTo>
                  <a:lnTo>
                    <a:pt x="674" y="1060"/>
                  </a:lnTo>
                  <a:lnTo>
                    <a:pt x="674" y="1057"/>
                  </a:lnTo>
                  <a:lnTo>
                    <a:pt x="672" y="1057"/>
                  </a:lnTo>
                  <a:close/>
                  <a:moveTo>
                    <a:pt x="672" y="1057"/>
                  </a:moveTo>
                  <a:lnTo>
                    <a:pt x="669" y="1057"/>
                  </a:lnTo>
                  <a:lnTo>
                    <a:pt x="672" y="1057"/>
                  </a:lnTo>
                  <a:close/>
                  <a:moveTo>
                    <a:pt x="683" y="1057"/>
                  </a:moveTo>
                  <a:lnTo>
                    <a:pt x="683" y="1055"/>
                  </a:lnTo>
                  <a:lnTo>
                    <a:pt x="683" y="1057"/>
                  </a:lnTo>
                  <a:close/>
                  <a:moveTo>
                    <a:pt x="657" y="1057"/>
                  </a:moveTo>
                  <a:lnTo>
                    <a:pt x="660" y="1057"/>
                  </a:lnTo>
                  <a:lnTo>
                    <a:pt x="662" y="1057"/>
                  </a:lnTo>
                  <a:lnTo>
                    <a:pt x="662" y="1060"/>
                  </a:lnTo>
                  <a:lnTo>
                    <a:pt x="660" y="1060"/>
                  </a:lnTo>
                  <a:lnTo>
                    <a:pt x="660" y="1057"/>
                  </a:lnTo>
                  <a:lnTo>
                    <a:pt x="660" y="1060"/>
                  </a:lnTo>
                  <a:lnTo>
                    <a:pt x="657" y="1060"/>
                  </a:lnTo>
                  <a:lnTo>
                    <a:pt x="657" y="1057"/>
                  </a:lnTo>
                  <a:lnTo>
                    <a:pt x="657" y="1060"/>
                  </a:lnTo>
                  <a:lnTo>
                    <a:pt x="655" y="1060"/>
                  </a:lnTo>
                  <a:lnTo>
                    <a:pt x="657" y="1060"/>
                  </a:lnTo>
                  <a:lnTo>
                    <a:pt x="657" y="1057"/>
                  </a:lnTo>
                  <a:lnTo>
                    <a:pt x="657" y="1055"/>
                  </a:lnTo>
                  <a:lnTo>
                    <a:pt x="657" y="1057"/>
                  </a:lnTo>
                  <a:lnTo>
                    <a:pt x="660" y="1057"/>
                  </a:lnTo>
                  <a:lnTo>
                    <a:pt x="657" y="1057"/>
                  </a:lnTo>
                  <a:close/>
                  <a:moveTo>
                    <a:pt x="498" y="1055"/>
                  </a:moveTo>
                  <a:lnTo>
                    <a:pt x="498" y="1057"/>
                  </a:lnTo>
                  <a:lnTo>
                    <a:pt x="498" y="1055"/>
                  </a:lnTo>
                  <a:close/>
                  <a:moveTo>
                    <a:pt x="657" y="1057"/>
                  </a:moveTo>
                  <a:lnTo>
                    <a:pt x="657" y="1055"/>
                  </a:lnTo>
                  <a:lnTo>
                    <a:pt x="657" y="1057"/>
                  </a:lnTo>
                  <a:close/>
                  <a:moveTo>
                    <a:pt x="672" y="1055"/>
                  </a:moveTo>
                  <a:lnTo>
                    <a:pt x="669" y="1055"/>
                  </a:lnTo>
                  <a:lnTo>
                    <a:pt x="672" y="1055"/>
                  </a:lnTo>
                  <a:lnTo>
                    <a:pt x="669" y="1055"/>
                  </a:lnTo>
                  <a:lnTo>
                    <a:pt x="672" y="1055"/>
                  </a:lnTo>
                  <a:lnTo>
                    <a:pt x="669" y="1055"/>
                  </a:lnTo>
                  <a:lnTo>
                    <a:pt x="672" y="1055"/>
                  </a:lnTo>
                  <a:close/>
                  <a:moveTo>
                    <a:pt x="517" y="1055"/>
                  </a:moveTo>
                  <a:lnTo>
                    <a:pt x="515" y="1055"/>
                  </a:lnTo>
                  <a:lnTo>
                    <a:pt x="517" y="1055"/>
                  </a:lnTo>
                  <a:close/>
                  <a:moveTo>
                    <a:pt x="667" y="1053"/>
                  </a:moveTo>
                  <a:lnTo>
                    <a:pt x="667" y="1055"/>
                  </a:lnTo>
                  <a:lnTo>
                    <a:pt x="667" y="1053"/>
                  </a:lnTo>
                  <a:lnTo>
                    <a:pt x="669" y="1055"/>
                  </a:lnTo>
                  <a:lnTo>
                    <a:pt x="669" y="1057"/>
                  </a:lnTo>
                  <a:lnTo>
                    <a:pt x="669" y="1060"/>
                  </a:lnTo>
                  <a:lnTo>
                    <a:pt x="667" y="1060"/>
                  </a:lnTo>
                  <a:lnTo>
                    <a:pt x="667" y="1057"/>
                  </a:lnTo>
                  <a:lnTo>
                    <a:pt x="664" y="1057"/>
                  </a:lnTo>
                  <a:lnTo>
                    <a:pt x="664" y="1055"/>
                  </a:lnTo>
                  <a:lnTo>
                    <a:pt x="662" y="1055"/>
                  </a:lnTo>
                  <a:lnTo>
                    <a:pt x="660" y="1055"/>
                  </a:lnTo>
                  <a:lnTo>
                    <a:pt x="662" y="1055"/>
                  </a:lnTo>
                  <a:lnTo>
                    <a:pt x="660" y="1055"/>
                  </a:lnTo>
                  <a:lnTo>
                    <a:pt x="662" y="1055"/>
                  </a:lnTo>
                  <a:lnTo>
                    <a:pt x="660" y="1055"/>
                  </a:lnTo>
                  <a:lnTo>
                    <a:pt x="662" y="1055"/>
                  </a:lnTo>
                  <a:lnTo>
                    <a:pt x="664" y="1055"/>
                  </a:lnTo>
                  <a:lnTo>
                    <a:pt x="667" y="1055"/>
                  </a:lnTo>
                  <a:lnTo>
                    <a:pt x="667" y="1057"/>
                  </a:lnTo>
                  <a:lnTo>
                    <a:pt x="667" y="1055"/>
                  </a:lnTo>
                  <a:lnTo>
                    <a:pt x="667" y="1057"/>
                  </a:lnTo>
                  <a:lnTo>
                    <a:pt x="669" y="1057"/>
                  </a:lnTo>
                  <a:lnTo>
                    <a:pt x="667" y="1057"/>
                  </a:lnTo>
                  <a:lnTo>
                    <a:pt x="667" y="1055"/>
                  </a:lnTo>
                  <a:lnTo>
                    <a:pt x="667" y="1057"/>
                  </a:lnTo>
                  <a:lnTo>
                    <a:pt x="667" y="1055"/>
                  </a:lnTo>
                  <a:lnTo>
                    <a:pt x="669" y="1055"/>
                  </a:lnTo>
                  <a:lnTo>
                    <a:pt x="667" y="1055"/>
                  </a:lnTo>
                  <a:lnTo>
                    <a:pt x="667" y="1053"/>
                  </a:lnTo>
                  <a:close/>
                  <a:moveTo>
                    <a:pt x="669" y="1053"/>
                  </a:moveTo>
                  <a:lnTo>
                    <a:pt x="669" y="1055"/>
                  </a:lnTo>
                  <a:lnTo>
                    <a:pt x="669" y="1053"/>
                  </a:lnTo>
                  <a:close/>
                  <a:moveTo>
                    <a:pt x="672" y="1055"/>
                  </a:moveTo>
                  <a:lnTo>
                    <a:pt x="669" y="1055"/>
                  </a:lnTo>
                  <a:lnTo>
                    <a:pt x="672" y="1055"/>
                  </a:lnTo>
                  <a:lnTo>
                    <a:pt x="669" y="1055"/>
                  </a:lnTo>
                  <a:lnTo>
                    <a:pt x="672" y="1055"/>
                  </a:lnTo>
                  <a:lnTo>
                    <a:pt x="672" y="1053"/>
                  </a:lnTo>
                  <a:lnTo>
                    <a:pt x="672" y="1055"/>
                  </a:lnTo>
                  <a:close/>
                  <a:moveTo>
                    <a:pt x="669" y="1053"/>
                  </a:moveTo>
                  <a:lnTo>
                    <a:pt x="669" y="1055"/>
                  </a:lnTo>
                  <a:lnTo>
                    <a:pt x="667" y="1053"/>
                  </a:lnTo>
                  <a:lnTo>
                    <a:pt x="669" y="1053"/>
                  </a:lnTo>
                  <a:lnTo>
                    <a:pt x="669" y="1055"/>
                  </a:lnTo>
                  <a:lnTo>
                    <a:pt x="669" y="1053"/>
                  </a:lnTo>
                  <a:lnTo>
                    <a:pt x="669" y="1055"/>
                  </a:lnTo>
                  <a:lnTo>
                    <a:pt x="669" y="1053"/>
                  </a:lnTo>
                  <a:close/>
                  <a:moveTo>
                    <a:pt x="660" y="1053"/>
                  </a:moveTo>
                  <a:lnTo>
                    <a:pt x="662" y="1053"/>
                  </a:lnTo>
                  <a:lnTo>
                    <a:pt x="660" y="1053"/>
                  </a:lnTo>
                  <a:lnTo>
                    <a:pt x="662" y="1053"/>
                  </a:lnTo>
                  <a:lnTo>
                    <a:pt x="660" y="1055"/>
                  </a:lnTo>
                  <a:lnTo>
                    <a:pt x="660" y="1053"/>
                  </a:lnTo>
                  <a:lnTo>
                    <a:pt x="660" y="1055"/>
                  </a:lnTo>
                  <a:lnTo>
                    <a:pt x="660" y="1053"/>
                  </a:lnTo>
                  <a:lnTo>
                    <a:pt x="657" y="1055"/>
                  </a:lnTo>
                  <a:lnTo>
                    <a:pt x="660" y="1053"/>
                  </a:lnTo>
                  <a:close/>
                  <a:moveTo>
                    <a:pt x="662" y="1053"/>
                  </a:moveTo>
                  <a:lnTo>
                    <a:pt x="662" y="1055"/>
                  </a:lnTo>
                  <a:lnTo>
                    <a:pt x="662" y="1053"/>
                  </a:lnTo>
                  <a:close/>
                  <a:moveTo>
                    <a:pt x="776" y="1053"/>
                  </a:moveTo>
                  <a:lnTo>
                    <a:pt x="776" y="1055"/>
                  </a:lnTo>
                  <a:lnTo>
                    <a:pt x="776" y="1057"/>
                  </a:lnTo>
                  <a:lnTo>
                    <a:pt x="774" y="1057"/>
                  </a:lnTo>
                  <a:lnTo>
                    <a:pt x="776" y="1057"/>
                  </a:lnTo>
                  <a:lnTo>
                    <a:pt x="776" y="1055"/>
                  </a:lnTo>
                  <a:lnTo>
                    <a:pt x="776" y="1053"/>
                  </a:lnTo>
                  <a:close/>
                  <a:moveTo>
                    <a:pt x="662" y="1053"/>
                  </a:moveTo>
                  <a:lnTo>
                    <a:pt x="664" y="1053"/>
                  </a:lnTo>
                  <a:lnTo>
                    <a:pt x="662" y="1053"/>
                  </a:lnTo>
                  <a:close/>
                  <a:moveTo>
                    <a:pt x="778" y="1053"/>
                  </a:moveTo>
                  <a:lnTo>
                    <a:pt x="776" y="1053"/>
                  </a:lnTo>
                  <a:lnTo>
                    <a:pt x="778" y="1053"/>
                  </a:lnTo>
                  <a:close/>
                  <a:moveTo>
                    <a:pt x="676" y="1053"/>
                  </a:moveTo>
                  <a:lnTo>
                    <a:pt x="676" y="1055"/>
                  </a:lnTo>
                  <a:lnTo>
                    <a:pt x="676" y="1053"/>
                  </a:lnTo>
                  <a:close/>
                  <a:moveTo>
                    <a:pt x="498" y="1053"/>
                  </a:moveTo>
                  <a:lnTo>
                    <a:pt x="501" y="1053"/>
                  </a:lnTo>
                  <a:lnTo>
                    <a:pt x="501" y="1050"/>
                  </a:lnTo>
                  <a:lnTo>
                    <a:pt x="501" y="1053"/>
                  </a:lnTo>
                  <a:lnTo>
                    <a:pt x="498" y="1053"/>
                  </a:lnTo>
                  <a:close/>
                  <a:moveTo>
                    <a:pt x="674" y="1050"/>
                  </a:moveTo>
                  <a:lnTo>
                    <a:pt x="676" y="1050"/>
                  </a:lnTo>
                  <a:lnTo>
                    <a:pt x="676" y="1053"/>
                  </a:lnTo>
                  <a:lnTo>
                    <a:pt x="674" y="1053"/>
                  </a:lnTo>
                  <a:lnTo>
                    <a:pt x="674" y="1050"/>
                  </a:lnTo>
                  <a:lnTo>
                    <a:pt x="676" y="1053"/>
                  </a:lnTo>
                  <a:lnTo>
                    <a:pt x="674" y="1050"/>
                  </a:lnTo>
                  <a:close/>
                  <a:moveTo>
                    <a:pt x="676" y="1050"/>
                  </a:moveTo>
                  <a:lnTo>
                    <a:pt x="679" y="1050"/>
                  </a:lnTo>
                  <a:lnTo>
                    <a:pt x="676" y="1050"/>
                  </a:lnTo>
                  <a:lnTo>
                    <a:pt x="676" y="1053"/>
                  </a:lnTo>
                  <a:lnTo>
                    <a:pt x="676" y="1050"/>
                  </a:lnTo>
                  <a:close/>
                  <a:moveTo>
                    <a:pt x="498" y="1050"/>
                  </a:moveTo>
                  <a:lnTo>
                    <a:pt x="498" y="1053"/>
                  </a:lnTo>
                  <a:lnTo>
                    <a:pt x="496" y="1053"/>
                  </a:lnTo>
                  <a:lnTo>
                    <a:pt x="498" y="1053"/>
                  </a:lnTo>
                  <a:lnTo>
                    <a:pt x="496" y="1053"/>
                  </a:lnTo>
                  <a:lnTo>
                    <a:pt x="494" y="1053"/>
                  </a:lnTo>
                  <a:lnTo>
                    <a:pt x="496" y="1053"/>
                  </a:lnTo>
                  <a:lnTo>
                    <a:pt x="494" y="1053"/>
                  </a:lnTo>
                  <a:lnTo>
                    <a:pt x="491" y="1053"/>
                  </a:lnTo>
                  <a:lnTo>
                    <a:pt x="494" y="1053"/>
                  </a:lnTo>
                  <a:lnTo>
                    <a:pt x="494" y="1050"/>
                  </a:lnTo>
                  <a:lnTo>
                    <a:pt x="496" y="1050"/>
                  </a:lnTo>
                  <a:lnTo>
                    <a:pt x="498" y="1050"/>
                  </a:lnTo>
                  <a:close/>
                  <a:moveTo>
                    <a:pt x="664" y="1050"/>
                  </a:moveTo>
                  <a:lnTo>
                    <a:pt x="664" y="1053"/>
                  </a:lnTo>
                  <a:lnTo>
                    <a:pt x="662" y="1053"/>
                  </a:lnTo>
                  <a:lnTo>
                    <a:pt x="662" y="1050"/>
                  </a:lnTo>
                  <a:lnTo>
                    <a:pt x="662" y="1053"/>
                  </a:lnTo>
                  <a:lnTo>
                    <a:pt x="662" y="1050"/>
                  </a:lnTo>
                  <a:lnTo>
                    <a:pt x="662" y="1053"/>
                  </a:lnTo>
                  <a:lnTo>
                    <a:pt x="662" y="1050"/>
                  </a:lnTo>
                  <a:lnTo>
                    <a:pt x="662" y="1053"/>
                  </a:lnTo>
                  <a:lnTo>
                    <a:pt x="660" y="1053"/>
                  </a:lnTo>
                  <a:lnTo>
                    <a:pt x="662" y="1050"/>
                  </a:lnTo>
                  <a:lnTo>
                    <a:pt x="664" y="1050"/>
                  </a:lnTo>
                  <a:close/>
                  <a:moveTo>
                    <a:pt x="674" y="1050"/>
                  </a:moveTo>
                  <a:lnTo>
                    <a:pt x="676" y="1050"/>
                  </a:lnTo>
                  <a:lnTo>
                    <a:pt x="674" y="1050"/>
                  </a:lnTo>
                  <a:close/>
                  <a:moveTo>
                    <a:pt x="498" y="1050"/>
                  </a:moveTo>
                  <a:lnTo>
                    <a:pt x="501" y="1050"/>
                  </a:lnTo>
                  <a:lnTo>
                    <a:pt x="498" y="1050"/>
                  </a:lnTo>
                  <a:close/>
                  <a:moveTo>
                    <a:pt x="679" y="1048"/>
                  </a:moveTo>
                  <a:lnTo>
                    <a:pt x="679" y="1050"/>
                  </a:lnTo>
                  <a:lnTo>
                    <a:pt x="679" y="1048"/>
                  </a:lnTo>
                  <a:lnTo>
                    <a:pt x="679" y="1050"/>
                  </a:lnTo>
                  <a:lnTo>
                    <a:pt x="681" y="1050"/>
                  </a:lnTo>
                  <a:lnTo>
                    <a:pt x="679" y="1050"/>
                  </a:lnTo>
                  <a:lnTo>
                    <a:pt x="679" y="1048"/>
                  </a:lnTo>
                  <a:close/>
                  <a:moveTo>
                    <a:pt x="669" y="1048"/>
                  </a:moveTo>
                  <a:lnTo>
                    <a:pt x="669" y="1050"/>
                  </a:lnTo>
                  <a:lnTo>
                    <a:pt x="667" y="1050"/>
                  </a:lnTo>
                  <a:lnTo>
                    <a:pt x="669" y="1050"/>
                  </a:lnTo>
                  <a:lnTo>
                    <a:pt x="667" y="1050"/>
                  </a:lnTo>
                  <a:lnTo>
                    <a:pt x="664" y="1050"/>
                  </a:lnTo>
                  <a:lnTo>
                    <a:pt x="667" y="1050"/>
                  </a:lnTo>
                  <a:lnTo>
                    <a:pt x="667" y="1048"/>
                  </a:lnTo>
                  <a:lnTo>
                    <a:pt x="669" y="1048"/>
                  </a:lnTo>
                  <a:close/>
                  <a:moveTo>
                    <a:pt x="496" y="1048"/>
                  </a:moveTo>
                  <a:lnTo>
                    <a:pt x="498" y="1048"/>
                  </a:lnTo>
                  <a:lnTo>
                    <a:pt x="496" y="1048"/>
                  </a:lnTo>
                  <a:close/>
                  <a:moveTo>
                    <a:pt x="503" y="1048"/>
                  </a:moveTo>
                  <a:lnTo>
                    <a:pt x="501" y="1048"/>
                  </a:lnTo>
                  <a:lnTo>
                    <a:pt x="503" y="1048"/>
                  </a:lnTo>
                  <a:lnTo>
                    <a:pt x="503" y="1045"/>
                  </a:lnTo>
                  <a:lnTo>
                    <a:pt x="503" y="1048"/>
                  </a:lnTo>
                  <a:close/>
                  <a:moveTo>
                    <a:pt x="1253" y="1045"/>
                  </a:moveTo>
                  <a:lnTo>
                    <a:pt x="1253" y="1048"/>
                  </a:lnTo>
                  <a:lnTo>
                    <a:pt x="1250" y="1048"/>
                  </a:lnTo>
                  <a:lnTo>
                    <a:pt x="1250" y="1045"/>
                  </a:lnTo>
                  <a:lnTo>
                    <a:pt x="1253" y="1045"/>
                  </a:lnTo>
                  <a:close/>
                  <a:moveTo>
                    <a:pt x="494" y="1043"/>
                  </a:moveTo>
                  <a:lnTo>
                    <a:pt x="494" y="1041"/>
                  </a:lnTo>
                  <a:lnTo>
                    <a:pt x="494" y="1043"/>
                  </a:lnTo>
                  <a:close/>
                  <a:moveTo>
                    <a:pt x="496" y="1043"/>
                  </a:moveTo>
                  <a:lnTo>
                    <a:pt x="496" y="1041"/>
                  </a:lnTo>
                  <a:lnTo>
                    <a:pt x="496" y="1043"/>
                  </a:lnTo>
                  <a:close/>
                  <a:moveTo>
                    <a:pt x="496" y="1041"/>
                  </a:moveTo>
                  <a:lnTo>
                    <a:pt x="496" y="1043"/>
                  </a:lnTo>
                  <a:lnTo>
                    <a:pt x="494" y="1043"/>
                  </a:lnTo>
                  <a:lnTo>
                    <a:pt x="496" y="1043"/>
                  </a:lnTo>
                  <a:lnTo>
                    <a:pt x="494" y="1043"/>
                  </a:lnTo>
                  <a:lnTo>
                    <a:pt x="494" y="1041"/>
                  </a:lnTo>
                  <a:lnTo>
                    <a:pt x="496" y="1041"/>
                  </a:lnTo>
                  <a:close/>
                  <a:moveTo>
                    <a:pt x="503" y="1041"/>
                  </a:moveTo>
                  <a:lnTo>
                    <a:pt x="501" y="1041"/>
                  </a:lnTo>
                  <a:lnTo>
                    <a:pt x="503" y="1041"/>
                  </a:lnTo>
                  <a:close/>
                  <a:moveTo>
                    <a:pt x="479" y="1041"/>
                  </a:moveTo>
                  <a:lnTo>
                    <a:pt x="477" y="1041"/>
                  </a:lnTo>
                  <a:lnTo>
                    <a:pt x="479" y="1041"/>
                  </a:lnTo>
                  <a:close/>
                  <a:moveTo>
                    <a:pt x="496" y="1041"/>
                  </a:moveTo>
                  <a:lnTo>
                    <a:pt x="494" y="1041"/>
                  </a:lnTo>
                  <a:lnTo>
                    <a:pt x="496" y="1041"/>
                  </a:lnTo>
                  <a:close/>
                  <a:moveTo>
                    <a:pt x="503" y="1041"/>
                  </a:moveTo>
                  <a:lnTo>
                    <a:pt x="501" y="1041"/>
                  </a:lnTo>
                  <a:lnTo>
                    <a:pt x="503" y="1041"/>
                  </a:lnTo>
                  <a:close/>
                  <a:moveTo>
                    <a:pt x="496" y="1041"/>
                  </a:moveTo>
                  <a:lnTo>
                    <a:pt x="496" y="1038"/>
                  </a:lnTo>
                  <a:lnTo>
                    <a:pt x="496" y="1041"/>
                  </a:lnTo>
                  <a:close/>
                  <a:moveTo>
                    <a:pt x="505" y="1041"/>
                  </a:moveTo>
                  <a:lnTo>
                    <a:pt x="503" y="1041"/>
                  </a:lnTo>
                  <a:lnTo>
                    <a:pt x="503" y="1038"/>
                  </a:lnTo>
                  <a:lnTo>
                    <a:pt x="505" y="1041"/>
                  </a:lnTo>
                  <a:lnTo>
                    <a:pt x="503" y="1041"/>
                  </a:lnTo>
                  <a:lnTo>
                    <a:pt x="505" y="1041"/>
                  </a:lnTo>
                  <a:close/>
                  <a:moveTo>
                    <a:pt x="503" y="1041"/>
                  </a:moveTo>
                  <a:lnTo>
                    <a:pt x="503" y="1038"/>
                  </a:lnTo>
                  <a:lnTo>
                    <a:pt x="503" y="1041"/>
                  </a:lnTo>
                  <a:close/>
                  <a:moveTo>
                    <a:pt x="1241" y="1038"/>
                  </a:moveTo>
                  <a:lnTo>
                    <a:pt x="1241" y="1041"/>
                  </a:lnTo>
                  <a:lnTo>
                    <a:pt x="1241" y="1038"/>
                  </a:lnTo>
                  <a:close/>
                  <a:moveTo>
                    <a:pt x="498" y="1038"/>
                  </a:moveTo>
                  <a:lnTo>
                    <a:pt x="498" y="1041"/>
                  </a:lnTo>
                  <a:lnTo>
                    <a:pt x="498" y="1038"/>
                  </a:lnTo>
                  <a:close/>
                  <a:moveTo>
                    <a:pt x="501" y="1038"/>
                  </a:moveTo>
                  <a:lnTo>
                    <a:pt x="498" y="1038"/>
                  </a:lnTo>
                  <a:lnTo>
                    <a:pt x="501" y="1038"/>
                  </a:lnTo>
                  <a:close/>
                  <a:moveTo>
                    <a:pt x="520" y="1038"/>
                  </a:moveTo>
                  <a:lnTo>
                    <a:pt x="522" y="1038"/>
                  </a:lnTo>
                  <a:lnTo>
                    <a:pt x="520" y="1038"/>
                  </a:lnTo>
                  <a:close/>
                  <a:moveTo>
                    <a:pt x="672" y="1041"/>
                  </a:moveTo>
                  <a:lnTo>
                    <a:pt x="674" y="1041"/>
                  </a:lnTo>
                  <a:lnTo>
                    <a:pt x="672" y="1041"/>
                  </a:lnTo>
                  <a:lnTo>
                    <a:pt x="672" y="1043"/>
                  </a:lnTo>
                  <a:lnTo>
                    <a:pt x="674" y="1043"/>
                  </a:lnTo>
                  <a:lnTo>
                    <a:pt x="672" y="1043"/>
                  </a:lnTo>
                  <a:lnTo>
                    <a:pt x="674" y="1043"/>
                  </a:lnTo>
                  <a:lnTo>
                    <a:pt x="672" y="1043"/>
                  </a:lnTo>
                  <a:lnTo>
                    <a:pt x="674" y="1045"/>
                  </a:lnTo>
                  <a:lnTo>
                    <a:pt x="672" y="1045"/>
                  </a:lnTo>
                  <a:lnTo>
                    <a:pt x="672" y="1043"/>
                  </a:lnTo>
                  <a:lnTo>
                    <a:pt x="669" y="1043"/>
                  </a:lnTo>
                  <a:lnTo>
                    <a:pt x="672" y="1043"/>
                  </a:lnTo>
                  <a:lnTo>
                    <a:pt x="669" y="1043"/>
                  </a:lnTo>
                  <a:lnTo>
                    <a:pt x="669" y="1041"/>
                  </a:lnTo>
                  <a:lnTo>
                    <a:pt x="669" y="1038"/>
                  </a:lnTo>
                  <a:lnTo>
                    <a:pt x="672" y="1038"/>
                  </a:lnTo>
                  <a:lnTo>
                    <a:pt x="672" y="1041"/>
                  </a:lnTo>
                  <a:close/>
                  <a:moveTo>
                    <a:pt x="494" y="1038"/>
                  </a:moveTo>
                  <a:lnTo>
                    <a:pt x="491" y="1038"/>
                  </a:lnTo>
                  <a:lnTo>
                    <a:pt x="494" y="1038"/>
                  </a:lnTo>
                  <a:lnTo>
                    <a:pt x="491" y="1038"/>
                  </a:lnTo>
                  <a:lnTo>
                    <a:pt x="494" y="1038"/>
                  </a:lnTo>
                  <a:lnTo>
                    <a:pt x="494" y="1036"/>
                  </a:lnTo>
                  <a:lnTo>
                    <a:pt x="494" y="1038"/>
                  </a:lnTo>
                  <a:close/>
                  <a:moveTo>
                    <a:pt x="496" y="1038"/>
                  </a:moveTo>
                  <a:lnTo>
                    <a:pt x="496" y="1036"/>
                  </a:lnTo>
                  <a:lnTo>
                    <a:pt x="496" y="1038"/>
                  </a:lnTo>
                  <a:close/>
                  <a:moveTo>
                    <a:pt x="669" y="1038"/>
                  </a:moveTo>
                  <a:lnTo>
                    <a:pt x="669" y="1036"/>
                  </a:lnTo>
                  <a:lnTo>
                    <a:pt x="669" y="1038"/>
                  </a:lnTo>
                  <a:close/>
                  <a:moveTo>
                    <a:pt x="529" y="1036"/>
                  </a:moveTo>
                  <a:lnTo>
                    <a:pt x="532" y="1036"/>
                  </a:lnTo>
                  <a:lnTo>
                    <a:pt x="529" y="1036"/>
                  </a:lnTo>
                  <a:lnTo>
                    <a:pt x="532" y="1036"/>
                  </a:lnTo>
                  <a:lnTo>
                    <a:pt x="529" y="1036"/>
                  </a:lnTo>
                  <a:lnTo>
                    <a:pt x="532" y="1036"/>
                  </a:lnTo>
                  <a:lnTo>
                    <a:pt x="529" y="1036"/>
                  </a:lnTo>
                  <a:close/>
                  <a:moveTo>
                    <a:pt x="1231" y="1034"/>
                  </a:moveTo>
                  <a:lnTo>
                    <a:pt x="1231" y="1036"/>
                  </a:lnTo>
                  <a:lnTo>
                    <a:pt x="1231" y="1034"/>
                  </a:lnTo>
                  <a:close/>
                  <a:moveTo>
                    <a:pt x="532" y="1034"/>
                  </a:moveTo>
                  <a:lnTo>
                    <a:pt x="532" y="1036"/>
                  </a:lnTo>
                  <a:lnTo>
                    <a:pt x="529" y="1036"/>
                  </a:lnTo>
                  <a:lnTo>
                    <a:pt x="527" y="1036"/>
                  </a:lnTo>
                  <a:lnTo>
                    <a:pt x="527" y="1034"/>
                  </a:lnTo>
                  <a:lnTo>
                    <a:pt x="527" y="1036"/>
                  </a:lnTo>
                  <a:lnTo>
                    <a:pt x="527" y="1034"/>
                  </a:lnTo>
                  <a:lnTo>
                    <a:pt x="529" y="1034"/>
                  </a:lnTo>
                  <a:lnTo>
                    <a:pt x="532" y="1034"/>
                  </a:lnTo>
                  <a:close/>
                  <a:moveTo>
                    <a:pt x="491" y="1031"/>
                  </a:moveTo>
                  <a:lnTo>
                    <a:pt x="494" y="1031"/>
                  </a:lnTo>
                  <a:lnTo>
                    <a:pt x="491" y="1031"/>
                  </a:lnTo>
                  <a:lnTo>
                    <a:pt x="491" y="1034"/>
                  </a:lnTo>
                  <a:lnTo>
                    <a:pt x="491" y="1031"/>
                  </a:lnTo>
                  <a:close/>
                  <a:moveTo>
                    <a:pt x="489" y="1029"/>
                  </a:moveTo>
                  <a:lnTo>
                    <a:pt x="489" y="1031"/>
                  </a:lnTo>
                  <a:lnTo>
                    <a:pt x="486" y="1031"/>
                  </a:lnTo>
                  <a:lnTo>
                    <a:pt x="489" y="1031"/>
                  </a:lnTo>
                  <a:lnTo>
                    <a:pt x="489" y="1029"/>
                  </a:lnTo>
                  <a:close/>
                  <a:moveTo>
                    <a:pt x="1227" y="1029"/>
                  </a:moveTo>
                  <a:lnTo>
                    <a:pt x="1227" y="1031"/>
                  </a:lnTo>
                  <a:lnTo>
                    <a:pt x="1227" y="1029"/>
                  </a:lnTo>
                  <a:lnTo>
                    <a:pt x="1227" y="1031"/>
                  </a:lnTo>
                  <a:lnTo>
                    <a:pt x="1227" y="1029"/>
                  </a:lnTo>
                  <a:close/>
                  <a:moveTo>
                    <a:pt x="1118" y="1029"/>
                  </a:moveTo>
                  <a:lnTo>
                    <a:pt x="1120" y="1031"/>
                  </a:lnTo>
                  <a:lnTo>
                    <a:pt x="1122" y="1031"/>
                  </a:lnTo>
                  <a:lnTo>
                    <a:pt x="1122" y="1034"/>
                  </a:lnTo>
                  <a:lnTo>
                    <a:pt x="1120" y="1034"/>
                  </a:lnTo>
                  <a:lnTo>
                    <a:pt x="1120" y="1031"/>
                  </a:lnTo>
                  <a:lnTo>
                    <a:pt x="1118" y="1031"/>
                  </a:lnTo>
                  <a:lnTo>
                    <a:pt x="1118" y="1029"/>
                  </a:lnTo>
                  <a:close/>
                  <a:moveTo>
                    <a:pt x="1231" y="1029"/>
                  </a:moveTo>
                  <a:lnTo>
                    <a:pt x="1231" y="1031"/>
                  </a:lnTo>
                  <a:lnTo>
                    <a:pt x="1231" y="1029"/>
                  </a:lnTo>
                  <a:close/>
                  <a:moveTo>
                    <a:pt x="1231" y="1029"/>
                  </a:moveTo>
                  <a:lnTo>
                    <a:pt x="1229" y="1031"/>
                  </a:lnTo>
                  <a:lnTo>
                    <a:pt x="1229" y="1029"/>
                  </a:lnTo>
                  <a:lnTo>
                    <a:pt x="1229" y="1031"/>
                  </a:lnTo>
                  <a:lnTo>
                    <a:pt x="1229" y="1029"/>
                  </a:lnTo>
                  <a:lnTo>
                    <a:pt x="1231" y="1029"/>
                  </a:lnTo>
                  <a:close/>
                  <a:moveTo>
                    <a:pt x="489" y="1029"/>
                  </a:moveTo>
                  <a:lnTo>
                    <a:pt x="486" y="1029"/>
                  </a:lnTo>
                  <a:lnTo>
                    <a:pt x="489" y="1029"/>
                  </a:lnTo>
                  <a:close/>
                  <a:moveTo>
                    <a:pt x="520" y="1029"/>
                  </a:moveTo>
                  <a:lnTo>
                    <a:pt x="517" y="1029"/>
                  </a:lnTo>
                  <a:lnTo>
                    <a:pt x="520" y="1029"/>
                  </a:lnTo>
                  <a:lnTo>
                    <a:pt x="517" y="1029"/>
                  </a:lnTo>
                  <a:lnTo>
                    <a:pt x="520" y="1029"/>
                  </a:lnTo>
                  <a:close/>
                  <a:moveTo>
                    <a:pt x="847" y="1029"/>
                  </a:moveTo>
                  <a:lnTo>
                    <a:pt x="845" y="1029"/>
                  </a:lnTo>
                  <a:lnTo>
                    <a:pt x="847" y="1029"/>
                  </a:lnTo>
                  <a:close/>
                  <a:moveTo>
                    <a:pt x="522" y="1026"/>
                  </a:moveTo>
                  <a:lnTo>
                    <a:pt x="524" y="1026"/>
                  </a:lnTo>
                  <a:lnTo>
                    <a:pt x="524" y="1029"/>
                  </a:lnTo>
                  <a:lnTo>
                    <a:pt x="527" y="1029"/>
                  </a:lnTo>
                  <a:lnTo>
                    <a:pt x="524" y="1029"/>
                  </a:lnTo>
                  <a:lnTo>
                    <a:pt x="527" y="1031"/>
                  </a:lnTo>
                  <a:lnTo>
                    <a:pt x="524" y="1031"/>
                  </a:lnTo>
                  <a:lnTo>
                    <a:pt x="527" y="1031"/>
                  </a:lnTo>
                  <a:lnTo>
                    <a:pt x="527" y="1034"/>
                  </a:lnTo>
                  <a:lnTo>
                    <a:pt x="524" y="1034"/>
                  </a:lnTo>
                  <a:lnTo>
                    <a:pt x="524" y="1031"/>
                  </a:lnTo>
                  <a:lnTo>
                    <a:pt x="524" y="1034"/>
                  </a:lnTo>
                  <a:lnTo>
                    <a:pt x="522" y="1034"/>
                  </a:lnTo>
                  <a:lnTo>
                    <a:pt x="524" y="1034"/>
                  </a:lnTo>
                  <a:lnTo>
                    <a:pt x="522" y="1034"/>
                  </a:lnTo>
                  <a:lnTo>
                    <a:pt x="524" y="1034"/>
                  </a:lnTo>
                  <a:lnTo>
                    <a:pt x="527" y="1034"/>
                  </a:lnTo>
                  <a:lnTo>
                    <a:pt x="527" y="1036"/>
                  </a:lnTo>
                  <a:lnTo>
                    <a:pt x="527" y="1038"/>
                  </a:lnTo>
                  <a:lnTo>
                    <a:pt x="524" y="1038"/>
                  </a:lnTo>
                  <a:lnTo>
                    <a:pt x="522" y="1038"/>
                  </a:lnTo>
                  <a:lnTo>
                    <a:pt x="522" y="1036"/>
                  </a:lnTo>
                  <a:lnTo>
                    <a:pt x="520" y="1036"/>
                  </a:lnTo>
                  <a:lnTo>
                    <a:pt x="522" y="1036"/>
                  </a:lnTo>
                  <a:lnTo>
                    <a:pt x="520" y="1036"/>
                  </a:lnTo>
                  <a:lnTo>
                    <a:pt x="520" y="1034"/>
                  </a:lnTo>
                  <a:lnTo>
                    <a:pt x="520" y="1036"/>
                  </a:lnTo>
                  <a:lnTo>
                    <a:pt x="520" y="1034"/>
                  </a:lnTo>
                  <a:lnTo>
                    <a:pt x="520" y="1036"/>
                  </a:lnTo>
                  <a:lnTo>
                    <a:pt x="520" y="1034"/>
                  </a:lnTo>
                  <a:lnTo>
                    <a:pt x="517" y="1034"/>
                  </a:lnTo>
                  <a:lnTo>
                    <a:pt x="515" y="1034"/>
                  </a:lnTo>
                  <a:lnTo>
                    <a:pt x="515" y="1031"/>
                  </a:lnTo>
                  <a:lnTo>
                    <a:pt x="515" y="1029"/>
                  </a:lnTo>
                  <a:lnTo>
                    <a:pt x="517" y="1029"/>
                  </a:lnTo>
                  <a:lnTo>
                    <a:pt x="520" y="1029"/>
                  </a:lnTo>
                  <a:lnTo>
                    <a:pt x="520" y="1026"/>
                  </a:lnTo>
                  <a:lnTo>
                    <a:pt x="522" y="1026"/>
                  </a:lnTo>
                  <a:close/>
                  <a:moveTo>
                    <a:pt x="532" y="1026"/>
                  </a:moveTo>
                  <a:lnTo>
                    <a:pt x="529" y="1026"/>
                  </a:lnTo>
                  <a:lnTo>
                    <a:pt x="529" y="1029"/>
                  </a:lnTo>
                  <a:lnTo>
                    <a:pt x="532" y="1029"/>
                  </a:lnTo>
                  <a:lnTo>
                    <a:pt x="532" y="1026"/>
                  </a:lnTo>
                  <a:lnTo>
                    <a:pt x="529" y="1026"/>
                  </a:lnTo>
                  <a:lnTo>
                    <a:pt x="532" y="1026"/>
                  </a:lnTo>
                  <a:lnTo>
                    <a:pt x="534" y="1026"/>
                  </a:lnTo>
                  <a:lnTo>
                    <a:pt x="534" y="1029"/>
                  </a:lnTo>
                  <a:lnTo>
                    <a:pt x="536" y="1029"/>
                  </a:lnTo>
                  <a:lnTo>
                    <a:pt x="539" y="1029"/>
                  </a:lnTo>
                  <a:lnTo>
                    <a:pt x="539" y="1026"/>
                  </a:lnTo>
                  <a:lnTo>
                    <a:pt x="541" y="1026"/>
                  </a:lnTo>
                  <a:lnTo>
                    <a:pt x="541" y="1029"/>
                  </a:lnTo>
                  <a:lnTo>
                    <a:pt x="539" y="1029"/>
                  </a:lnTo>
                  <a:lnTo>
                    <a:pt x="536" y="1029"/>
                  </a:lnTo>
                  <a:lnTo>
                    <a:pt x="534" y="1029"/>
                  </a:lnTo>
                  <a:lnTo>
                    <a:pt x="532" y="1029"/>
                  </a:lnTo>
                  <a:lnTo>
                    <a:pt x="529" y="1029"/>
                  </a:lnTo>
                  <a:lnTo>
                    <a:pt x="529" y="1026"/>
                  </a:lnTo>
                  <a:lnTo>
                    <a:pt x="532" y="1026"/>
                  </a:lnTo>
                  <a:close/>
                  <a:moveTo>
                    <a:pt x="842" y="1026"/>
                  </a:moveTo>
                  <a:lnTo>
                    <a:pt x="840" y="1026"/>
                  </a:lnTo>
                  <a:lnTo>
                    <a:pt x="842" y="1026"/>
                  </a:lnTo>
                  <a:lnTo>
                    <a:pt x="840" y="1026"/>
                  </a:lnTo>
                  <a:lnTo>
                    <a:pt x="842" y="1026"/>
                  </a:lnTo>
                  <a:close/>
                  <a:moveTo>
                    <a:pt x="840" y="1026"/>
                  </a:moveTo>
                  <a:lnTo>
                    <a:pt x="840" y="1024"/>
                  </a:lnTo>
                  <a:lnTo>
                    <a:pt x="840" y="1026"/>
                  </a:lnTo>
                  <a:close/>
                  <a:moveTo>
                    <a:pt x="558" y="1024"/>
                  </a:moveTo>
                  <a:lnTo>
                    <a:pt x="558" y="1026"/>
                  </a:lnTo>
                  <a:lnTo>
                    <a:pt x="558" y="1024"/>
                  </a:lnTo>
                  <a:lnTo>
                    <a:pt x="560" y="1024"/>
                  </a:lnTo>
                  <a:lnTo>
                    <a:pt x="558" y="1024"/>
                  </a:lnTo>
                  <a:close/>
                  <a:moveTo>
                    <a:pt x="1227" y="1024"/>
                  </a:moveTo>
                  <a:lnTo>
                    <a:pt x="1224" y="1024"/>
                  </a:lnTo>
                  <a:lnTo>
                    <a:pt x="1227" y="1024"/>
                  </a:lnTo>
                  <a:close/>
                  <a:moveTo>
                    <a:pt x="835" y="1024"/>
                  </a:moveTo>
                  <a:lnTo>
                    <a:pt x="835" y="1022"/>
                  </a:lnTo>
                  <a:lnTo>
                    <a:pt x="835" y="1024"/>
                  </a:lnTo>
                  <a:close/>
                  <a:moveTo>
                    <a:pt x="1227" y="1022"/>
                  </a:moveTo>
                  <a:lnTo>
                    <a:pt x="1227" y="1024"/>
                  </a:lnTo>
                  <a:lnTo>
                    <a:pt x="1224" y="1024"/>
                  </a:lnTo>
                  <a:lnTo>
                    <a:pt x="1224" y="1022"/>
                  </a:lnTo>
                  <a:lnTo>
                    <a:pt x="1227" y="1022"/>
                  </a:lnTo>
                  <a:lnTo>
                    <a:pt x="1224" y="1022"/>
                  </a:lnTo>
                  <a:lnTo>
                    <a:pt x="1227" y="1022"/>
                  </a:lnTo>
                  <a:close/>
                  <a:moveTo>
                    <a:pt x="1092" y="1022"/>
                  </a:moveTo>
                  <a:lnTo>
                    <a:pt x="1089" y="1022"/>
                  </a:lnTo>
                  <a:lnTo>
                    <a:pt x="1092" y="1022"/>
                  </a:lnTo>
                  <a:close/>
                  <a:moveTo>
                    <a:pt x="1096" y="1022"/>
                  </a:moveTo>
                  <a:lnTo>
                    <a:pt x="1099" y="1022"/>
                  </a:lnTo>
                  <a:lnTo>
                    <a:pt x="1096" y="1022"/>
                  </a:lnTo>
                  <a:close/>
                  <a:moveTo>
                    <a:pt x="833" y="1019"/>
                  </a:moveTo>
                  <a:lnTo>
                    <a:pt x="835" y="1019"/>
                  </a:lnTo>
                  <a:lnTo>
                    <a:pt x="833" y="1019"/>
                  </a:lnTo>
                  <a:close/>
                  <a:moveTo>
                    <a:pt x="1092" y="1017"/>
                  </a:moveTo>
                  <a:lnTo>
                    <a:pt x="1089" y="1019"/>
                  </a:lnTo>
                  <a:lnTo>
                    <a:pt x="1089" y="1017"/>
                  </a:lnTo>
                  <a:lnTo>
                    <a:pt x="1092" y="1017"/>
                  </a:lnTo>
                  <a:close/>
                  <a:moveTo>
                    <a:pt x="1087" y="1019"/>
                  </a:moveTo>
                  <a:lnTo>
                    <a:pt x="1087" y="1017"/>
                  </a:lnTo>
                  <a:lnTo>
                    <a:pt x="1089" y="1019"/>
                  </a:lnTo>
                  <a:lnTo>
                    <a:pt x="1087" y="1019"/>
                  </a:lnTo>
                  <a:close/>
                  <a:moveTo>
                    <a:pt x="1089" y="1019"/>
                  </a:moveTo>
                  <a:lnTo>
                    <a:pt x="1087" y="1017"/>
                  </a:lnTo>
                  <a:lnTo>
                    <a:pt x="1089" y="1017"/>
                  </a:lnTo>
                  <a:lnTo>
                    <a:pt x="1089" y="1019"/>
                  </a:lnTo>
                  <a:close/>
                  <a:moveTo>
                    <a:pt x="1089" y="1017"/>
                  </a:moveTo>
                  <a:lnTo>
                    <a:pt x="1092" y="1017"/>
                  </a:lnTo>
                  <a:lnTo>
                    <a:pt x="1089" y="1017"/>
                  </a:lnTo>
                  <a:close/>
                  <a:moveTo>
                    <a:pt x="1106" y="1017"/>
                  </a:moveTo>
                  <a:lnTo>
                    <a:pt x="1103" y="1017"/>
                  </a:lnTo>
                  <a:lnTo>
                    <a:pt x="1106" y="1017"/>
                  </a:lnTo>
                  <a:close/>
                  <a:moveTo>
                    <a:pt x="1092" y="1017"/>
                  </a:moveTo>
                  <a:lnTo>
                    <a:pt x="1094" y="1017"/>
                  </a:lnTo>
                  <a:lnTo>
                    <a:pt x="1092" y="1017"/>
                  </a:lnTo>
                  <a:lnTo>
                    <a:pt x="1089" y="1017"/>
                  </a:lnTo>
                  <a:lnTo>
                    <a:pt x="1092" y="1017"/>
                  </a:lnTo>
                  <a:close/>
                  <a:moveTo>
                    <a:pt x="477" y="1015"/>
                  </a:moveTo>
                  <a:lnTo>
                    <a:pt x="477" y="1017"/>
                  </a:lnTo>
                  <a:lnTo>
                    <a:pt x="477" y="1015"/>
                  </a:lnTo>
                  <a:close/>
                  <a:moveTo>
                    <a:pt x="477" y="1017"/>
                  </a:moveTo>
                  <a:lnTo>
                    <a:pt x="475" y="1015"/>
                  </a:lnTo>
                  <a:lnTo>
                    <a:pt x="477" y="1015"/>
                  </a:lnTo>
                  <a:lnTo>
                    <a:pt x="477" y="1017"/>
                  </a:lnTo>
                  <a:close/>
                  <a:moveTo>
                    <a:pt x="1084" y="1015"/>
                  </a:moveTo>
                  <a:lnTo>
                    <a:pt x="1084" y="1017"/>
                  </a:lnTo>
                  <a:lnTo>
                    <a:pt x="1082" y="1017"/>
                  </a:lnTo>
                  <a:lnTo>
                    <a:pt x="1084" y="1017"/>
                  </a:lnTo>
                  <a:lnTo>
                    <a:pt x="1082" y="1017"/>
                  </a:lnTo>
                  <a:lnTo>
                    <a:pt x="1082" y="1015"/>
                  </a:lnTo>
                  <a:lnTo>
                    <a:pt x="1084" y="1015"/>
                  </a:lnTo>
                  <a:close/>
                  <a:moveTo>
                    <a:pt x="482" y="1015"/>
                  </a:moveTo>
                  <a:lnTo>
                    <a:pt x="484" y="1015"/>
                  </a:lnTo>
                  <a:lnTo>
                    <a:pt x="482" y="1015"/>
                  </a:lnTo>
                  <a:close/>
                  <a:moveTo>
                    <a:pt x="1077" y="1015"/>
                  </a:moveTo>
                  <a:lnTo>
                    <a:pt x="1075" y="1015"/>
                  </a:lnTo>
                  <a:lnTo>
                    <a:pt x="1077" y="1015"/>
                  </a:lnTo>
                  <a:close/>
                  <a:moveTo>
                    <a:pt x="1073" y="1015"/>
                  </a:moveTo>
                  <a:lnTo>
                    <a:pt x="1070" y="1015"/>
                  </a:lnTo>
                  <a:lnTo>
                    <a:pt x="1073" y="1015"/>
                  </a:lnTo>
                  <a:close/>
                  <a:moveTo>
                    <a:pt x="1227" y="1015"/>
                  </a:moveTo>
                  <a:lnTo>
                    <a:pt x="1224" y="1015"/>
                  </a:lnTo>
                  <a:lnTo>
                    <a:pt x="1227" y="1015"/>
                  </a:lnTo>
                  <a:lnTo>
                    <a:pt x="1227" y="1017"/>
                  </a:lnTo>
                  <a:lnTo>
                    <a:pt x="1224" y="1017"/>
                  </a:lnTo>
                  <a:lnTo>
                    <a:pt x="1224" y="1015"/>
                  </a:lnTo>
                  <a:lnTo>
                    <a:pt x="1227" y="1012"/>
                  </a:lnTo>
                  <a:lnTo>
                    <a:pt x="1224" y="1015"/>
                  </a:lnTo>
                  <a:lnTo>
                    <a:pt x="1227" y="1012"/>
                  </a:lnTo>
                  <a:lnTo>
                    <a:pt x="1227" y="1015"/>
                  </a:lnTo>
                  <a:close/>
                  <a:moveTo>
                    <a:pt x="1075" y="1015"/>
                  </a:moveTo>
                  <a:lnTo>
                    <a:pt x="1073" y="1015"/>
                  </a:lnTo>
                  <a:lnTo>
                    <a:pt x="1070" y="1015"/>
                  </a:lnTo>
                  <a:lnTo>
                    <a:pt x="1070" y="1012"/>
                  </a:lnTo>
                  <a:lnTo>
                    <a:pt x="1073" y="1012"/>
                  </a:lnTo>
                  <a:lnTo>
                    <a:pt x="1075" y="1015"/>
                  </a:lnTo>
                  <a:close/>
                  <a:moveTo>
                    <a:pt x="1227" y="1015"/>
                  </a:moveTo>
                  <a:lnTo>
                    <a:pt x="1227" y="1012"/>
                  </a:lnTo>
                  <a:lnTo>
                    <a:pt x="1227" y="1015"/>
                  </a:lnTo>
                  <a:close/>
                  <a:moveTo>
                    <a:pt x="831" y="1012"/>
                  </a:moveTo>
                  <a:lnTo>
                    <a:pt x="831" y="1015"/>
                  </a:lnTo>
                  <a:lnTo>
                    <a:pt x="831" y="1012"/>
                  </a:lnTo>
                  <a:lnTo>
                    <a:pt x="828" y="1012"/>
                  </a:lnTo>
                  <a:lnTo>
                    <a:pt x="831" y="1012"/>
                  </a:lnTo>
                  <a:close/>
                  <a:moveTo>
                    <a:pt x="1063" y="1012"/>
                  </a:moveTo>
                  <a:lnTo>
                    <a:pt x="1065" y="1015"/>
                  </a:lnTo>
                  <a:lnTo>
                    <a:pt x="1063" y="1015"/>
                  </a:lnTo>
                  <a:lnTo>
                    <a:pt x="1063" y="1012"/>
                  </a:lnTo>
                  <a:close/>
                  <a:moveTo>
                    <a:pt x="1118" y="1012"/>
                  </a:moveTo>
                  <a:lnTo>
                    <a:pt x="1115" y="1012"/>
                  </a:lnTo>
                  <a:lnTo>
                    <a:pt x="1113" y="1012"/>
                  </a:lnTo>
                  <a:lnTo>
                    <a:pt x="1113" y="1015"/>
                  </a:lnTo>
                  <a:lnTo>
                    <a:pt x="1113" y="1012"/>
                  </a:lnTo>
                  <a:lnTo>
                    <a:pt x="1115" y="1012"/>
                  </a:lnTo>
                  <a:lnTo>
                    <a:pt x="1113" y="1012"/>
                  </a:lnTo>
                  <a:lnTo>
                    <a:pt x="1115" y="1012"/>
                  </a:lnTo>
                  <a:lnTo>
                    <a:pt x="1118" y="1012"/>
                  </a:lnTo>
                  <a:close/>
                  <a:moveTo>
                    <a:pt x="1125" y="1012"/>
                  </a:moveTo>
                  <a:lnTo>
                    <a:pt x="1122" y="1012"/>
                  </a:lnTo>
                  <a:lnTo>
                    <a:pt x="1120" y="1012"/>
                  </a:lnTo>
                  <a:lnTo>
                    <a:pt x="1118" y="1012"/>
                  </a:lnTo>
                  <a:lnTo>
                    <a:pt x="1120" y="1012"/>
                  </a:lnTo>
                  <a:lnTo>
                    <a:pt x="1122" y="1012"/>
                  </a:lnTo>
                  <a:lnTo>
                    <a:pt x="1125" y="1012"/>
                  </a:lnTo>
                  <a:close/>
                  <a:moveTo>
                    <a:pt x="1118" y="1010"/>
                  </a:moveTo>
                  <a:lnTo>
                    <a:pt x="1120" y="1010"/>
                  </a:lnTo>
                  <a:lnTo>
                    <a:pt x="1118" y="1010"/>
                  </a:lnTo>
                  <a:lnTo>
                    <a:pt x="1115" y="1010"/>
                  </a:lnTo>
                  <a:lnTo>
                    <a:pt x="1118" y="1010"/>
                  </a:lnTo>
                  <a:close/>
                  <a:moveTo>
                    <a:pt x="1134" y="1010"/>
                  </a:moveTo>
                  <a:lnTo>
                    <a:pt x="1134" y="1012"/>
                  </a:lnTo>
                  <a:lnTo>
                    <a:pt x="1132" y="1012"/>
                  </a:lnTo>
                  <a:lnTo>
                    <a:pt x="1134" y="1010"/>
                  </a:lnTo>
                  <a:close/>
                  <a:moveTo>
                    <a:pt x="1137" y="1010"/>
                  </a:moveTo>
                  <a:lnTo>
                    <a:pt x="1137" y="1012"/>
                  </a:lnTo>
                  <a:lnTo>
                    <a:pt x="1134" y="1012"/>
                  </a:lnTo>
                  <a:lnTo>
                    <a:pt x="1137" y="1012"/>
                  </a:lnTo>
                  <a:lnTo>
                    <a:pt x="1137" y="1010"/>
                  </a:lnTo>
                  <a:close/>
                  <a:moveTo>
                    <a:pt x="826" y="1010"/>
                  </a:moveTo>
                  <a:lnTo>
                    <a:pt x="828" y="1010"/>
                  </a:lnTo>
                  <a:lnTo>
                    <a:pt x="828" y="1012"/>
                  </a:lnTo>
                  <a:lnTo>
                    <a:pt x="828" y="1010"/>
                  </a:lnTo>
                  <a:lnTo>
                    <a:pt x="828" y="1012"/>
                  </a:lnTo>
                  <a:lnTo>
                    <a:pt x="828" y="1010"/>
                  </a:lnTo>
                  <a:lnTo>
                    <a:pt x="826" y="1010"/>
                  </a:lnTo>
                  <a:close/>
                  <a:moveTo>
                    <a:pt x="1227" y="1007"/>
                  </a:moveTo>
                  <a:lnTo>
                    <a:pt x="1224" y="1007"/>
                  </a:lnTo>
                  <a:lnTo>
                    <a:pt x="1227" y="1007"/>
                  </a:lnTo>
                  <a:close/>
                  <a:moveTo>
                    <a:pt x="819" y="1007"/>
                  </a:moveTo>
                  <a:lnTo>
                    <a:pt x="821" y="1007"/>
                  </a:lnTo>
                  <a:lnTo>
                    <a:pt x="819" y="1007"/>
                  </a:lnTo>
                  <a:close/>
                  <a:moveTo>
                    <a:pt x="1137" y="1007"/>
                  </a:moveTo>
                  <a:lnTo>
                    <a:pt x="1137" y="1005"/>
                  </a:lnTo>
                  <a:lnTo>
                    <a:pt x="1137" y="1007"/>
                  </a:lnTo>
                  <a:close/>
                  <a:moveTo>
                    <a:pt x="1224" y="1005"/>
                  </a:moveTo>
                  <a:lnTo>
                    <a:pt x="1224" y="1007"/>
                  </a:lnTo>
                  <a:lnTo>
                    <a:pt x="1224" y="1005"/>
                  </a:lnTo>
                  <a:close/>
                  <a:moveTo>
                    <a:pt x="1063" y="1007"/>
                  </a:moveTo>
                  <a:lnTo>
                    <a:pt x="1061" y="1007"/>
                  </a:lnTo>
                  <a:lnTo>
                    <a:pt x="1063" y="1007"/>
                  </a:lnTo>
                  <a:lnTo>
                    <a:pt x="1063" y="1005"/>
                  </a:lnTo>
                  <a:lnTo>
                    <a:pt x="1063" y="1007"/>
                  </a:lnTo>
                  <a:close/>
                  <a:moveTo>
                    <a:pt x="491" y="1005"/>
                  </a:moveTo>
                  <a:lnTo>
                    <a:pt x="489" y="1005"/>
                  </a:lnTo>
                  <a:lnTo>
                    <a:pt x="491" y="1005"/>
                  </a:lnTo>
                  <a:close/>
                  <a:moveTo>
                    <a:pt x="816" y="1003"/>
                  </a:moveTo>
                  <a:lnTo>
                    <a:pt x="814" y="1003"/>
                  </a:lnTo>
                  <a:lnTo>
                    <a:pt x="816" y="1003"/>
                  </a:lnTo>
                  <a:close/>
                  <a:moveTo>
                    <a:pt x="1222" y="1003"/>
                  </a:moveTo>
                  <a:lnTo>
                    <a:pt x="1224" y="1005"/>
                  </a:lnTo>
                  <a:lnTo>
                    <a:pt x="1222" y="1005"/>
                  </a:lnTo>
                  <a:lnTo>
                    <a:pt x="1222" y="1003"/>
                  </a:lnTo>
                  <a:lnTo>
                    <a:pt x="1224" y="1003"/>
                  </a:lnTo>
                  <a:lnTo>
                    <a:pt x="1224" y="1005"/>
                  </a:lnTo>
                  <a:lnTo>
                    <a:pt x="1222" y="1005"/>
                  </a:lnTo>
                  <a:lnTo>
                    <a:pt x="1222" y="1003"/>
                  </a:lnTo>
                  <a:close/>
                  <a:moveTo>
                    <a:pt x="814" y="1003"/>
                  </a:moveTo>
                  <a:lnTo>
                    <a:pt x="812" y="1003"/>
                  </a:lnTo>
                  <a:lnTo>
                    <a:pt x="814" y="1003"/>
                  </a:lnTo>
                  <a:close/>
                  <a:moveTo>
                    <a:pt x="814" y="1003"/>
                  </a:moveTo>
                  <a:lnTo>
                    <a:pt x="812" y="1003"/>
                  </a:lnTo>
                  <a:lnTo>
                    <a:pt x="814" y="1003"/>
                  </a:lnTo>
                  <a:close/>
                  <a:moveTo>
                    <a:pt x="1217" y="1003"/>
                  </a:moveTo>
                  <a:lnTo>
                    <a:pt x="1220" y="1003"/>
                  </a:lnTo>
                  <a:lnTo>
                    <a:pt x="1217" y="1003"/>
                  </a:lnTo>
                  <a:lnTo>
                    <a:pt x="1217" y="1000"/>
                  </a:lnTo>
                  <a:lnTo>
                    <a:pt x="1217" y="1003"/>
                  </a:lnTo>
                  <a:close/>
                  <a:moveTo>
                    <a:pt x="496" y="1003"/>
                  </a:moveTo>
                  <a:lnTo>
                    <a:pt x="496" y="1000"/>
                  </a:lnTo>
                  <a:lnTo>
                    <a:pt x="496" y="1003"/>
                  </a:lnTo>
                  <a:close/>
                  <a:moveTo>
                    <a:pt x="1139" y="1003"/>
                  </a:moveTo>
                  <a:lnTo>
                    <a:pt x="1141" y="1000"/>
                  </a:lnTo>
                  <a:lnTo>
                    <a:pt x="1141" y="1003"/>
                  </a:lnTo>
                  <a:lnTo>
                    <a:pt x="1139" y="1003"/>
                  </a:lnTo>
                  <a:close/>
                  <a:moveTo>
                    <a:pt x="809" y="1000"/>
                  </a:moveTo>
                  <a:lnTo>
                    <a:pt x="807" y="1000"/>
                  </a:lnTo>
                  <a:lnTo>
                    <a:pt x="809" y="1000"/>
                  </a:lnTo>
                  <a:close/>
                  <a:moveTo>
                    <a:pt x="1063" y="1003"/>
                  </a:moveTo>
                  <a:lnTo>
                    <a:pt x="1065" y="1003"/>
                  </a:lnTo>
                  <a:lnTo>
                    <a:pt x="1063" y="1003"/>
                  </a:lnTo>
                  <a:lnTo>
                    <a:pt x="1065" y="1003"/>
                  </a:lnTo>
                  <a:lnTo>
                    <a:pt x="1063" y="1005"/>
                  </a:lnTo>
                  <a:lnTo>
                    <a:pt x="1063" y="1003"/>
                  </a:lnTo>
                  <a:lnTo>
                    <a:pt x="1063" y="1000"/>
                  </a:lnTo>
                  <a:lnTo>
                    <a:pt x="1065" y="1000"/>
                  </a:lnTo>
                  <a:lnTo>
                    <a:pt x="1065" y="1003"/>
                  </a:lnTo>
                  <a:lnTo>
                    <a:pt x="1063" y="1003"/>
                  </a:lnTo>
                  <a:close/>
                  <a:moveTo>
                    <a:pt x="807" y="998"/>
                  </a:moveTo>
                  <a:lnTo>
                    <a:pt x="804" y="998"/>
                  </a:lnTo>
                  <a:lnTo>
                    <a:pt x="807" y="998"/>
                  </a:lnTo>
                  <a:close/>
                  <a:moveTo>
                    <a:pt x="1148" y="998"/>
                  </a:moveTo>
                  <a:lnTo>
                    <a:pt x="1146" y="998"/>
                  </a:lnTo>
                  <a:lnTo>
                    <a:pt x="1148" y="998"/>
                  </a:lnTo>
                  <a:close/>
                  <a:moveTo>
                    <a:pt x="494" y="998"/>
                  </a:moveTo>
                  <a:lnTo>
                    <a:pt x="491" y="998"/>
                  </a:lnTo>
                  <a:lnTo>
                    <a:pt x="494" y="998"/>
                  </a:lnTo>
                  <a:close/>
                  <a:moveTo>
                    <a:pt x="496" y="998"/>
                  </a:moveTo>
                  <a:lnTo>
                    <a:pt x="498" y="998"/>
                  </a:lnTo>
                  <a:lnTo>
                    <a:pt x="496" y="998"/>
                  </a:lnTo>
                  <a:close/>
                  <a:moveTo>
                    <a:pt x="494" y="998"/>
                  </a:moveTo>
                  <a:lnTo>
                    <a:pt x="491" y="998"/>
                  </a:lnTo>
                  <a:lnTo>
                    <a:pt x="494" y="998"/>
                  </a:lnTo>
                  <a:close/>
                  <a:moveTo>
                    <a:pt x="804" y="996"/>
                  </a:moveTo>
                  <a:lnTo>
                    <a:pt x="804" y="998"/>
                  </a:lnTo>
                  <a:lnTo>
                    <a:pt x="804" y="996"/>
                  </a:lnTo>
                  <a:close/>
                  <a:moveTo>
                    <a:pt x="489" y="996"/>
                  </a:moveTo>
                  <a:lnTo>
                    <a:pt x="489" y="998"/>
                  </a:lnTo>
                  <a:lnTo>
                    <a:pt x="489" y="996"/>
                  </a:lnTo>
                  <a:close/>
                  <a:moveTo>
                    <a:pt x="1151" y="996"/>
                  </a:moveTo>
                  <a:lnTo>
                    <a:pt x="1151" y="998"/>
                  </a:lnTo>
                  <a:lnTo>
                    <a:pt x="1151" y="996"/>
                  </a:lnTo>
                  <a:lnTo>
                    <a:pt x="1153" y="996"/>
                  </a:lnTo>
                  <a:lnTo>
                    <a:pt x="1151" y="996"/>
                  </a:lnTo>
                  <a:close/>
                  <a:moveTo>
                    <a:pt x="1215" y="996"/>
                  </a:moveTo>
                  <a:lnTo>
                    <a:pt x="1213" y="996"/>
                  </a:lnTo>
                  <a:lnTo>
                    <a:pt x="1215" y="996"/>
                  </a:lnTo>
                  <a:close/>
                  <a:moveTo>
                    <a:pt x="1065" y="996"/>
                  </a:moveTo>
                  <a:lnTo>
                    <a:pt x="1065" y="993"/>
                  </a:lnTo>
                  <a:lnTo>
                    <a:pt x="1065" y="996"/>
                  </a:lnTo>
                  <a:lnTo>
                    <a:pt x="1065" y="993"/>
                  </a:lnTo>
                  <a:lnTo>
                    <a:pt x="1065" y="996"/>
                  </a:lnTo>
                  <a:close/>
                  <a:moveTo>
                    <a:pt x="1153" y="993"/>
                  </a:moveTo>
                  <a:lnTo>
                    <a:pt x="1156" y="993"/>
                  </a:lnTo>
                  <a:lnTo>
                    <a:pt x="1153" y="993"/>
                  </a:lnTo>
                  <a:close/>
                  <a:moveTo>
                    <a:pt x="804" y="996"/>
                  </a:moveTo>
                  <a:lnTo>
                    <a:pt x="802" y="996"/>
                  </a:lnTo>
                  <a:lnTo>
                    <a:pt x="804" y="996"/>
                  </a:lnTo>
                  <a:lnTo>
                    <a:pt x="802" y="993"/>
                  </a:lnTo>
                  <a:lnTo>
                    <a:pt x="804" y="993"/>
                  </a:lnTo>
                  <a:lnTo>
                    <a:pt x="804" y="996"/>
                  </a:lnTo>
                  <a:close/>
                  <a:moveTo>
                    <a:pt x="1068" y="993"/>
                  </a:moveTo>
                  <a:lnTo>
                    <a:pt x="1065" y="993"/>
                  </a:lnTo>
                  <a:lnTo>
                    <a:pt x="1068" y="993"/>
                  </a:lnTo>
                  <a:lnTo>
                    <a:pt x="1068" y="991"/>
                  </a:lnTo>
                  <a:lnTo>
                    <a:pt x="1068" y="993"/>
                  </a:lnTo>
                  <a:close/>
                  <a:moveTo>
                    <a:pt x="1065" y="991"/>
                  </a:moveTo>
                  <a:lnTo>
                    <a:pt x="1068" y="991"/>
                  </a:lnTo>
                  <a:lnTo>
                    <a:pt x="1065" y="993"/>
                  </a:lnTo>
                  <a:lnTo>
                    <a:pt x="1065" y="991"/>
                  </a:lnTo>
                  <a:close/>
                  <a:moveTo>
                    <a:pt x="802" y="991"/>
                  </a:moveTo>
                  <a:lnTo>
                    <a:pt x="802" y="988"/>
                  </a:lnTo>
                  <a:lnTo>
                    <a:pt x="802" y="991"/>
                  </a:lnTo>
                  <a:lnTo>
                    <a:pt x="802" y="988"/>
                  </a:lnTo>
                  <a:lnTo>
                    <a:pt x="802" y="991"/>
                  </a:lnTo>
                  <a:close/>
                  <a:moveTo>
                    <a:pt x="494" y="991"/>
                  </a:moveTo>
                  <a:lnTo>
                    <a:pt x="494" y="988"/>
                  </a:lnTo>
                  <a:lnTo>
                    <a:pt x="494" y="991"/>
                  </a:lnTo>
                  <a:close/>
                  <a:moveTo>
                    <a:pt x="494" y="988"/>
                  </a:moveTo>
                  <a:lnTo>
                    <a:pt x="494" y="991"/>
                  </a:lnTo>
                  <a:lnTo>
                    <a:pt x="494" y="988"/>
                  </a:lnTo>
                  <a:close/>
                  <a:moveTo>
                    <a:pt x="1068" y="991"/>
                  </a:moveTo>
                  <a:lnTo>
                    <a:pt x="1068" y="988"/>
                  </a:lnTo>
                  <a:lnTo>
                    <a:pt x="1068" y="991"/>
                  </a:lnTo>
                  <a:close/>
                  <a:moveTo>
                    <a:pt x="1220" y="988"/>
                  </a:moveTo>
                  <a:lnTo>
                    <a:pt x="1217" y="988"/>
                  </a:lnTo>
                  <a:lnTo>
                    <a:pt x="1220" y="988"/>
                  </a:lnTo>
                  <a:close/>
                  <a:moveTo>
                    <a:pt x="1217" y="986"/>
                  </a:moveTo>
                  <a:lnTo>
                    <a:pt x="1220" y="988"/>
                  </a:lnTo>
                  <a:lnTo>
                    <a:pt x="1220" y="986"/>
                  </a:lnTo>
                  <a:lnTo>
                    <a:pt x="1220" y="988"/>
                  </a:lnTo>
                  <a:lnTo>
                    <a:pt x="1217" y="988"/>
                  </a:lnTo>
                  <a:lnTo>
                    <a:pt x="1217" y="986"/>
                  </a:lnTo>
                  <a:close/>
                  <a:moveTo>
                    <a:pt x="1160" y="988"/>
                  </a:moveTo>
                  <a:lnTo>
                    <a:pt x="1158" y="988"/>
                  </a:lnTo>
                  <a:lnTo>
                    <a:pt x="1160" y="988"/>
                  </a:lnTo>
                  <a:lnTo>
                    <a:pt x="1158" y="988"/>
                  </a:lnTo>
                  <a:lnTo>
                    <a:pt x="1160" y="988"/>
                  </a:lnTo>
                  <a:lnTo>
                    <a:pt x="1160" y="986"/>
                  </a:lnTo>
                  <a:lnTo>
                    <a:pt x="1160" y="988"/>
                  </a:lnTo>
                  <a:close/>
                  <a:moveTo>
                    <a:pt x="802" y="988"/>
                  </a:moveTo>
                  <a:lnTo>
                    <a:pt x="800" y="988"/>
                  </a:lnTo>
                  <a:lnTo>
                    <a:pt x="800" y="986"/>
                  </a:lnTo>
                  <a:lnTo>
                    <a:pt x="802" y="988"/>
                  </a:lnTo>
                  <a:close/>
                  <a:moveTo>
                    <a:pt x="1160" y="986"/>
                  </a:moveTo>
                  <a:lnTo>
                    <a:pt x="1160" y="988"/>
                  </a:lnTo>
                  <a:lnTo>
                    <a:pt x="1160" y="986"/>
                  </a:lnTo>
                  <a:close/>
                  <a:moveTo>
                    <a:pt x="1070" y="986"/>
                  </a:moveTo>
                  <a:lnTo>
                    <a:pt x="1068" y="988"/>
                  </a:lnTo>
                  <a:lnTo>
                    <a:pt x="1070" y="986"/>
                  </a:lnTo>
                  <a:close/>
                  <a:moveTo>
                    <a:pt x="1073" y="986"/>
                  </a:moveTo>
                  <a:lnTo>
                    <a:pt x="1070" y="986"/>
                  </a:lnTo>
                  <a:lnTo>
                    <a:pt x="1073" y="986"/>
                  </a:lnTo>
                  <a:close/>
                  <a:moveTo>
                    <a:pt x="1229" y="986"/>
                  </a:moveTo>
                  <a:lnTo>
                    <a:pt x="1231" y="986"/>
                  </a:lnTo>
                  <a:lnTo>
                    <a:pt x="1229" y="986"/>
                  </a:lnTo>
                  <a:lnTo>
                    <a:pt x="1227" y="986"/>
                  </a:lnTo>
                  <a:lnTo>
                    <a:pt x="1229" y="986"/>
                  </a:lnTo>
                  <a:close/>
                  <a:moveTo>
                    <a:pt x="1075" y="984"/>
                  </a:moveTo>
                  <a:lnTo>
                    <a:pt x="1073" y="986"/>
                  </a:lnTo>
                  <a:lnTo>
                    <a:pt x="1075" y="986"/>
                  </a:lnTo>
                  <a:lnTo>
                    <a:pt x="1075" y="984"/>
                  </a:lnTo>
                  <a:close/>
                  <a:moveTo>
                    <a:pt x="800" y="984"/>
                  </a:moveTo>
                  <a:lnTo>
                    <a:pt x="800" y="986"/>
                  </a:lnTo>
                  <a:lnTo>
                    <a:pt x="800" y="984"/>
                  </a:lnTo>
                  <a:close/>
                  <a:moveTo>
                    <a:pt x="1077" y="984"/>
                  </a:moveTo>
                  <a:lnTo>
                    <a:pt x="1075" y="984"/>
                  </a:lnTo>
                  <a:lnTo>
                    <a:pt x="1077" y="984"/>
                  </a:lnTo>
                  <a:close/>
                  <a:moveTo>
                    <a:pt x="1246" y="984"/>
                  </a:moveTo>
                  <a:lnTo>
                    <a:pt x="1243" y="984"/>
                  </a:lnTo>
                  <a:lnTo>
                    <a:pt x="1246" y="984"/>
                  </a:lnTo>
                  <a:close/>
                  <a:moveTo>
                    <a:pt x="1077" y="984"/>
                  </a:moveTo>
                  <a:lnTo>
                    <a:pt x="1075" y="984"/>
                  </a:lnTo>
                  <a:lnTo>
                    <a:pt x="1077" y="984"/>
                  </a:lnTo>
                  <a:lnTo>
                    <a:pt x="1077" y="981"/>
                  </a:lnTo>
                  <a:lnTo>
                    <a:pt x="1077" y="984"/>
                  </a:lnTo>
                  <a:close/>
                  <a:moveTo>
                    <a:pt x="1258" y="981"/>
                  </a:moveTo>
                  <a:lnTo>
                    <a:pt x="1260" y="981"/>
                  </a:lnTo>
                  <a:lnTo>
                    <a:pt x="1258" y="981"/>
                  </a:lnTo>
                  <a:close/>
                  <a:moveTo>
                    <a:pt x="1255" y="981"/>
                  </a:moveTo>
                  <a:lnTo>
                    <a:pt x="1253" y="981"/>
                  </a:lnTo>
                  <a:lnTo>
                    <a:pt x="1255" y="981"/>
                  </a:lnTo>
                  <a:close/>
                  <a:moveTo>
                    <a:pt x="1165" y="981"/>
                  </a:moveTo>
                  <a:lnTo>
                    <a:pt x="1163" y="981"/>
                  </a:lnTo>
                  <a:lnTo>
                    <a:pt x="1165" y="981"/>
                  </a:lnTo>
                  <a:close/>
                  <a:moveTo>
                    <a:pt x="1077" y="979"/>
                  </a:moveTo>
                  <a:lnTo>
                    <a:pt x="1077" y="981"/>
                  </a:lnTo>
                  <a:lnTo>
                    <a:pt x="1077" y="979"/>
                  </a:lnTo>
                  <a:close/>
                  <a:moveTo>
                    <a:pt x="1217" y="981"/>
                  </a:moveTo>
                  <a:lnTo>
                    <a:pt x="1217" y="979"/>
                  </a:lnTo>
                  <a:lnTo>
                    <a:pt x="1217" y="981"/>
                  </a:lnTo>
                  <a:close/>
                  <a:moveTo>
                    <a:pt x="1080" y="979"/>
                  </a:moveTo>
                  <a:lnTo>
                    <a:pt x="1080" y="981"/>
                  </a:lnTo>
                  <a:lnTo>
                    <a:pt x="1077" y="979"/>
                  </a:lnTo>
                  <a:lnTo>
                    <a:pt x="1080" y="979"/>
                  </a:lnTo>
                  <a:close/>
                  <a:moveTo>
                    <a:pt x="776" y="979"/>
                  </a:moveTo>
                  <a:lnTo>
                    <a:pt x="776" y="976"/>
                  </a:lnTo>
                  <a:lnTo>
                    <a:pt x="776" y="979"/>
                  </a:lnTo>
                  <a:close/>
                  <a:moveTo>
                    <a:pt x="1077" y="976"/>
                  </a:moveTo>
                  <a:lnTo>
                    <a:pt x="1077" y="979"/>
                  </a:lnTo>
                  <a:lnTo>
                    <a:pt x="1077" y="976"/>
                  </a:lnTo>
                  <a:close/>
                  <a:moveTo>
                    <a:pt x="1163" y="976"/>
                  </a:moveTo>
                  <a:lnTo>
                    <a:pt x="1163" y="979"/>
                  </a:lnTo>
                  <a:lnTo>
                    <a:pt x="1163" y="976"/>
                  </a:lnTo>
                  <a:close/>
                  <a:moveTo>
                    <a:pt x="1213" y="976"/>
                  </a:moveTo>
                  <a:lnTo>
                    <a:pt x="1215" y="976"/>
                  </a:lnTo>
                  <a:lnTo>
                    <a:pt x="1215" y="979"/>
                  </a:lnTo>
                  <a:lnTo>
                    <a:pt x="1213" y="976"/>
                  </a:lnTo>
                  <a:close/>
                  <a:moveTo>
                    <a:pt x="1260" y="976"/>
                  </a:moveTo>
                  <a:lnTo>
                    <a:pt x="1260" y="979"/>
                  </a:lnTo>
                  <a:lnTo>
                    <a:pt x="1260" y="976"/>
                  </a:lnTo>
                  <a:close/>
                  <a:moveTo>
                    <a:pt x="1260" y="976"/>
                  </a:moveTo>
                  <a:lnTo>
                    <a:pt x="1260" y="974"/>
                  </a:lnTo>
                  <a:lnTo>
                    <a:pt x="1260" y="976"/>
                  </a:lnTo>
                  <a:close/>
                  <a:moveTo>
                    <a:pt x="1262" y="974"/>
                  </a:moveTo>
                  <a:lnTo>
                    <a:pt x="1260" y="974"/>
                  </a:lnTo>
                  <a:lnTo>
                    <a:pt x="1260" y="976"/>
                  </a:lnTo>
                  <a:lnTo>
                    <a:pt x="1260" y="974"/>
                  </a:lnTo>
                  <a:lnTo>
                    <a:pt x="1260" y="976"/>
                  </a:lnTo>
                  <a:lnTo>
                    <a:pt x="1260" y="974"/>
                  </a:lnTo>
                  <a:lnTo>
                    <a:pt x="1262" y="974"/>
                  </a:lnTo>
                  <a:lnTo>
                    <a:pt x="1260" y="974"/>
                  </a:lnTo>
                  <a:lnTo>
                    <a:pt x="1262" y="974"/>
                  </a:lnTo>
                  <a:close/>
                  <a:moveTo>
                    <a:pt x="1165" y="974"/>
                  </a:moveTo>
                  <a:lnTo>
                    <a:pt x="1165" y="976"/>
                  </a:lnTo>
                  <a:lnTo>
                    <a:pt x="1165" y="974"/>
                  </a:lnTo>
                  <a:lnTo>
                    <a:pt x="1163" y="976"/>
                  </a:lnTo>
                  <a:lnTo>
                    <a:pt x="1163" y="974"/>
                  </a:lnTo>
                  <a:lnTo>
                    <a:pt x="1165" y="974"/>
                  </a:lnTo>
                  <a:lnTo>
                    <a:pt x="1165" y="972"/>
                  </a:lnTo>
                  <a:lnTo>
                    <a:pt x="1167" y="972"/>
                  </a:lnTo>
                  <a:lnTo>
                    <a:pt x="1167" y="974"/>
                  </a:lnTo>
                  <a:lnTo>
                    <a:pt x="1165" y="974"/>
                  </a:lnTo>
                  <a:close/>
                  <a:moveTo>
                    <a:pt x="1077" y="972"/>
                  </a:moveTo>
                  <a:lnTo>
                    <a:pt x="1077" y="974"/>
                  </a:lnTo>
                  <a:lnTo>
                    <a:pt x="1077" y="972"/>
                  </a:lnTo>
                  <a:close/>
                  <a:moveTo>
                    <a:pt x="472" y="969"/>
                  </a:moveTo>
                  <a:lnTo>
                    <a:pt x="472" y="972"/>
                  </a:lnTo>
                  <a:lnTo>
                    <a:pt x="475" y="972"/>
                  </a:lnTo>
                  <a:lnTo>
                    <a:pt x="472" y="972"/>
                  </a:lnTo>
                  <a:lnTo>
                    <a:pt x="475" y="972"/>
                  </a:lnTo>
                  <a:lnTo>
                    <a:pt x="472" y="972"/>
                  </a:lnTo>
                  <a:lnTo>
                    <a:pt x="472" y="969"/>
                  </a:lnTo>
                  <a:close/>
                  <a:moveTo>
                    <a:pt x="1208" y="969"/>
                  </a:moveTo>
                  <a:lnTo>
                    <a:pt x="1210" y="969"/>
                  </a:lnTo>
                  <a:lnTo>
                    <a:pt x="1213" y="969"/>
                  </a:lnTo>
                  <a:lnTo>
                    <a:pt x="1210" y="969"/>
                  </a:lnTo>
                  <a:lnTo>
                    <a:pt x="1208" y="969"/>
                  </a:lnTo>
                  <a:close/>
                  <a:moveTo>
                    <a:pt x="1267" y="969"/>
                  </a:moveTo>
                  <a:lnTo>
                    <a:pt x="1265" y="969"/>
                  </a:lnTo>
                  <a:lnTo>
                    <a:pt x="1267" y="969"/>
                  </a:lnTo>
                  <a:close/>
                  <a:moveTo>
                    <a:pt x="1075" y="969"/>
                  </a:moveTo>
                  <a:lnTo>
                    <a:pt x="1077" y="969"/>
                  </a:lnTo>
                  <a:lnTo>
                    <a:pt x="1077" y="972"/>
                  </a:lnTo>
                  <a:lnTo>
                    <a:pt x="1075" y="969"/>
                  </a:lnTo>
                  <a:lnTo>
                    <a:pt x="1077" y="969"/>
                  </a:lnTo>
                  <a:lnTo>
                    <a:pt x="1075" y="969"/>
                  </a:lnTo>
                  <a:close/>
                  <a:moveTo>
                    <a:pt x="1208" y="967"/>
                  </a:moveTo>
                  <a:lnTo>
                    <a:pt x="1208" y="969"/>
                  </a:lnTo>
                  <a:lnTo>
                    <a:pt x="1208" y="967"/>
                  </a:lnTo>
                  <a:lnTo>
                    <a:pt x="1208" y="969"/>
                  </a:lnTo>
                  <a:lnTo>
                    <a:pt x="1208" y="967"/>
                  </a:lnTo>
                  <a:close/>
                  <a:moveTo>
                    <a:pt x="463" y="967"/>
                  </a:moveTo>
                  <a:lnTo>
                    <a:pt x="463" y="969"/>
                  </a:lnTo>
                  <a:lnTo>
                    <a:pt x="463" y="967"/>
                  </a:lnTo>
                  <a:close/>
                  <a:moveTo>
                    <a:pt x="1267" y="967"/>
                  </a:moveTo>
                  <a:lnTo>
                    <a:pt x="1267" y="969"/>
                  </a:lnTo>
                  <a:lnTo>
                    <a:pt x="1267" y="967"/>
                  </a:lnTo>
                  <a:lnTo>
                    <a:pt x="1269" y="967"/>
                  </a:lnTo>
                  <a:lnTo>
                    <a:pt x="1267" y="967"/>
                  </a:lnTo>
                  <a:close/>
                  <a:moveTo>
                    <a:pt x="1075" y="965"/>
                  </a:moveTo>
                  <a:lnTo>
                    <a:pt x="1075" y="967"/>
                  </a:lnTo>
                  <a:lnTo>
                    <a:pt x="1075" y="965"/>
                  </a:lnTo>
                  <a:lnTo>
                    <a:pt x="1075" y="967"/>
                  </a:lnTo>
                  <a:lnTo>
                    <a:pt x="1075" y="965"/>
                  </a:lnTo>
                  <a:close/>
                  <a:moveTo>
                    <a:pt x="437" y="965"/>
                  </a:moveTo>
                  <a:lnTo>
                    <a:pt x="434" y="965"/>
                  </a:lnTo>
                  <a:lnTo>
                    <a:pt x="437" y="965"/>
                  </a:lnTo>
                  <a:close/>
                  <a:moveTo>
                    <a:pt x="1177" y="965"/>
                  </a:moveTo>
                  <a:lnTo>
                    <a:pt x="1179" y="965"/>
                  </a:lnTo>
                  <a:lnTo>
                    <a:pt x="1177" y="965"/>
                  </a:lnTo>
                  <a:close/>
                  <a:moveTo>
                    <a:pt x="460" y="965"/>
                  </a:moveTo>
                  <a:lnTo>
                    <a:pt x="463" y="965"/>
                  </a:lnTo>
                  <a:lnTo>
                    <a:pt x="465" y="965"/>
                  </a:lnTo>
                  <a:lnTo>
                    <a:pt x="463" y="965"/>
                  </a:lnTo>
                  <a:lnTo>
                    <a:pt x="463" y="967"/>
                  </a:lnTo>
                  <a:lnTo>
                    <a:pt x="460" y="967"/>
                  </a:lnTo>
                  <a:lnTo>
                    <a:pt x="460" y="965"/>
                  </a:lnTo>
                  <a:lnTo>
                    <a:pt x="458" y="965"/>
                  </a:lnTo>
                  <a:lnTo>
                    <a:pt x="460" y="965"/>
                  </a:lnTo>
                  <a:close/>
                  <a:moveTo>
                    <a:pt x="453" y="965"/>
                  </a:moveTo>
                  <a:lnTo>
                    <a:pt x="456" y="965"/>
                  </a:lnTo>
                  <a:lnTo>
                    <a:pt x="453" y="965"/>
                  </a:lnTo>
                  <a:close/>
                  <a:moveTo>
                    <a:pt x="453" y="965"/>
                  </a:moveTo>
                  <a:lnTo>
                    <a:pt x="453" y="962"/>
                  </a:lnTo>
                  <a:lnTo>
                    <a:pt x="453" y="965"/>
                  </a:lnTo>
                  <a:close/>
                  <a:moveTo>
                    <a:pt x="446" y="962"/>
                  </a:moveTo>
                  <a:lnTo>
                    <a:pt x="444" y="962"/>
                  </a:lnTo>
                  <a:lnTo>
                    <a:pt x="446" y="962"/>
                  </a:lnTo>
                  <a:close/>
                  <a:moveTo>
                    <a:pt x="1319" y="962"/>
                  </a:moveTo>
                  <a:lnTo>
                    <a:pt x="1317" y="962"/>
                  </a:lnTo>
                  <a:lnTo>
                    <a:pt x="1319" y="962"/>
                  </a:lnTo>
                  <a:close/>
                  <a:moveTo>
                    <a:pt x="463" y="962"/>
                  </a:moveTo>
                  <a:lnTo>
                    <a:pt x="460" y="962"/>
                  </a:lnTo>
                  <a:lnTo>
                    <a:pt x="463" y="962"/>
                  </a:lnTo>
                  <a:close/>
                  <a:moveTo>
                    <a:pt x="1208" y="962"/>
                  </a:moveTo>
                  <a:lnTo>
                    <a:pt x="1205" y="962"/>
                  </a:lnTo>
                  <a:lnTo>
                    <a:pt x="1208" y="962"/>
                  </a:lnTo>
                  <a:lnTo>
                    <a:pt x="1205" y="962"/>
                  </a:lnTo>
                  <a:lnTo>
                    <a:pt x="1208" y="962"/>
                  </a:lnTo>
                  <a:close/>
                  <a:moveTo>
                    <a:pt x="446" y="962"/>
                  </a:moveTo>
                  <a:lnTo>
                    <a:pt x="449" y="962"/>
                  </a:lnTo>
                  <a:lnTo>
                    <a:pt x="446" y="962"/>
                  </a:lnTo>
                  <a:close/>
                  <a:moveTo>
                    <a:pt x="460" y="962"/>
                  </a:moveTo>
                  <a:lnTo>
                    <a:pt x="458" y="962"/>
                  </a:lnTo>
                  <a:lnTo>
                    <a:pt x="460" y="962"/>
                  </a:lnTo>
                  <a:close/>
                  <a:moveTo>
                    <a:pt x="1198" y="962"/>
                  </a:moveTo>
                  <a:lnTo>
                    <a:pt x="1196" y="962"/>
                  </a:lnTo>
                  <a:lnTo>
                    <a:pt x="1194" y="962"/>
                  </a:lnTo>
                  <a:lnTo>
                    <a:pt x="1196" y="962"/>
                  </a:lnTo>
                  <a:lnTo>
                    <a:pt x="1198" y="962"/>
                  </a:lnTo>
                  <a:close/>
                  <a:moveTo>
                    <a:pt x="1201" y="962"/>
                  </a:moveTo>
                  <a:lnTo>
                    <a:pt x="1203" y="962"/>
                  </a:lnTo>
                  <a:lnTo>
                    <a:pt x="1201" y="962"/>
                  </a:lnTo>
                  <a:close/>
                  <a:moveTo>
                    <a:pt x="1189" y="962"/>
                  </a:moveTo>
                  <a:lnTo>
                    <a:pt x="1186" y="962"/>
                  </a:lnTo>
                  <a:lnTo>
                    <a:pt x="1189" y="962"/>
                  </a:lnTo>
                  <a:lnTo>
                    <a:pt x="1186" y="962"/>
                  </a:lnTo>
                  <a:lnTo>
                    <a:pt x="1189" y="962"/>
                  </a:lnTo>
                  <a:lnTo>
                    <a:pt x="1191" y="962"/>
                  </a:lnTo>
                  <a:lnTo>
                    <a:pt x="1189" y="962"/>
                  </a:lnTo>
                  <a:close/>
                  <a:moveTo>
                    <a:pt x="458" y="962"/>
                  </a:moveTo>
                  <a:lnTo>
                    <a:pt x="456" y="962"/>
                  </a:lnTo>
                  <a:lnTo>
                    <a:pt x="453" y="962"/>
                  </a:lnTo>
                  <a:lnTo>
                    <a:pt x="456" y="962"/>
                  </a:lnTo>
                  <a:lnTo>
                    <a:pt x="458" y="962"/>
                  </a:lnTo>
                  <a:close/>
                  <a:moveTo>
                    <a:pt x="1194" y="962"/>
                  </a:moveTo>
                  <a:lnTo>
                    <a:pt x="1191" y="962"/>
                  </a:lnTo>
                  <a:lnTo>
                    <a:pt x="1194" y="962"/>
                  </a:lnTo>
                  <a:close/>
                  <a:moveTo>
                    <a:pt x="1194" y="962"/>
                  </a:moveTo>
                  <a:lnTo>
                    <a:pt x="1196" y="960"/>
                  </a:lnTo>
                  <a:lnTo>
                    <a:pt x="1196" y="962"/>
                  </a:lnTo>
                  <a:lnTo>
                    <a:pt x="1194" y="962"/>
                  </a:lnTo>
                  <a:close/>
                  <a:moveTo>
                    <a:pt x="778" y="960"/>
                  </a:moveTo>
                  <a:lnTo>
                    <a:pt x="781" y="962"/>
                  </a:lnTo>
                  <a:lnTo>
                    <a:pt x="781" y="960"/>
                  </a:lnTo>
                  <a:lnTo>
                    <a:pt x="778" y="960"/>
                  </a:lnTo>
                  <a:close/>
                  <a:moveTo>
                    <a:pt x="1205" y="960"/>
                  </a:moveTo>
                  <a:lnTo>
                    <a:pt x="1203" y="960"/>
                  </a:lnTo>
                  <a:lnTo>
                    <a:pt x="1205" y="960"/>
                  </a:lnTo>
                  <a:close/>
                  <a:moveTo>
                    <a:pt x="460" y="960"/>
                  </a:moveTo>
                  <a:lnTo>
                    <a:pt x="460" y="962"/>
                  </a:lnTo>
                  <a:lnTo>
                    <a:pt x="458" y="962"/>
                  </a:lnTo>
                  <a:lnTo>
                    <a:pt x="458" y="960"/>
                  </a:lnTo>
                  <a:lnTo>
                    <a:pt x="460" y="960"/>
                  </a:lnTo>
                  <a:close/>
                  <a:moveTo>
                    <a:pt x="1073" y="957"/>
                  </a:moveTo>
                  <a:lnTo>
                    <a:pt x="1073" y="960"/>
                  </a:lnTo>
                  <a:lnTo>
                    <a:pt x="1073" y="957"/>
                  </a:lnTo>
                  <a:close/>
                  <a:moveTo>
                    <a:pt x="458" y="955"/>
                  </a:moveTo>
                  <a:lnTo>
                    <a:pt x="458" y="957"/>
                  </a:lnTo>
                  <a:lnTo>
                    <a:pt x="456" y="957"/>
                  </a:lnTo>
                  <a:lnTo>
                    <a:pt x="458" y="955"/>
                  </a:lnTo>
                  <a:close/>
                  <a:moveTo>
                    <a:pt x="460" y="957"/>
                  </a:moveTo>
                  <a:lnTo>
                    <a:pt x="458" y="957"/>
                  </a:lnTo>
                  <a:lnTo>
                    <a:pt x="458" y="955"/>
                  </a:lnTo>
                  <a:lnTo>
                    <a:pt x="460" y="957"/>
                  </a:lnTo>
                  <a:lnTo>
                    <a:pt x="458" y="957"/>
                  </a:lnTo>
                  <a:lnTo>
                    <a:pt x="460" y="957"/>
                  </a:lnTo>
                  <a:close/>
                  <a:moveTo>
                    <a:pt x="460" y="955"/>
                  </a:moveTo>
                  <a:lnTo>
                    <a:pt x="460" y="957"/>
                  </a:lnTo>
                  <a:lnTo>
                    <a:pt x="460" y="955"/>
                  </a:lnTo>
                  <a:lnTo>
                    <a:pt x="460" y="957"/>
                  </a:lnTo>
                  <a:lnTo>
                    <a:pt x="460" y="955"/>
                  </a:lnTo>
                  <a:close/>
                  <a:moveTo>
                    <a:pt x="1293" y="955"/>
                  </a:moveTo>
                  <a:lnTo>
                    <a:pt x="1291" y="955"/>
                  </a:lnTo>
                  <a:lnTo>
                    <a:pt x="1291" y="957"/>
                  </a:lnTo>
                  <a:lnTo>
                    <a:pt x="1288" y="957"/>
                  </a:lnTo>
                  <a:lnTo>
                    <a:pt x="1291" y="955"/>
                  </a:lnTo>
                  <a:lnTo>
                    <a:pt x="1293" y="955"/>
                  </a:lnTo>
                  <a:close/>
                  <a:moveTo>
                    <a:pt x="1355" y="955"/>
                  </a:moveTo>
                  <a:lnTo>
                    <a:pt x="1353" y="955"/>
                  </a:lnTo>
                  <a:lnTo>
                    <a:pt x="1355" y="955"/>
                  </a:lnTo>
                  <a:close/>
                  <a:moveTo>
                    <a:pt x="1077" y="955"/>
                  </a:moveTo>
                  <a:lnTo>
                    <a:pt x="1077" y="957"/>
                  </a:lnTo>
                  <a:lnTo>
                    <a:pt x="1077" y="955"/>
                  </a:lnTo>
                  <a:lnTo>
                    <a:pt x="1075" y="955"/>
                  </a:lnTo>
                  <a:lnTo>
                    <a:pt x="1077" y="955"/>
                  </a:lnTo>
                  <a:close/>
                  <a:moveTo>
                    <a:pt x="449" y="955"/>
                  </a:moveTo>
                  <a:lnTo>
                    <a:pt x="446" y="955"/>
                  </a:lnTo>
                  <a:lnTo>
                    <a:pt x="446" y="953"/>
                  </a:lnTo>
                  <a:lnTo>
                    <a:pt x="446" y="955"/>
                  </a:lnTo>
                  <a:lnTo>
                    <a:pt x="449" y="955"/>
                  </a:lnTo>
                  <a:close/>
                  <a:moveTo>
                    <a:pt x="449" y="955"/>
                  </a:moveTo>
                  <a:lnTo>
                    <a:pt x="449" y="953"/>
                  </a:lnTo>
                  <a:lnTo>
                    <a:pt x="449" y="955"/>
                  </a:lnTo>
                  <a:close/>
                  <a:moveTo>
                    <a:pt x="1312" y="955"/>
                  </a:moveTo>
                  <a:lnTo>
                    <a:pt x="1310" y="955"/>
                  </a:lnTo>
                  <a:lnTo>
                    <a:pt x="1310" y="953"/>
                  </a:lnTo>
                  <a:lnTo>
                    <a:pt x="1312" y="953"/>
                  </a:lnTo>
                  <a:lnTo>
                    <a:pt x="1312" y="955"/>
                  </a:lnTo>
                  <a:close/>
                  <a:moveTo>
                    <a:pt x="446" y="953"/>
                  </a:moveTo>
                  <a:lnTo>
                    <a:pt x="444" y="953"/>
                  </a:lnTo>
                  <a:lnTo>
                    <a:pt x="446" y="953"/>
                  </a:lnTo>
                  <a:close/>
                  <a:moveTo>
                    <a:pt x="446" y="953"/>
                  </a:moveTo>
                  <a:lnTo>
                    <a:pt x="444" y="953"/>
                  </a:lnTo>
                  <a:lnTo>
                    <a:pt x="446" y="953"/>
                  </a:lnTo>
                  <a:close/>
                  <a:moveTo>
                    <a:pt x="1364" y="953"/>
                  </a:moveTo>
                  <a:lnTo>
                    <a:pt x="1362" y="953"/>
                  </a:lnTo>
                  <a:lnTo>
                    <a:pt x="1364" y="953"/>
                  </a:lnTo>
                  <a:close/>
                  <a:moveTo>
                    <a:pt x="1075" y="953"/>
                  </a:moveTo>
                  <a:lnTo>
                    <a:pt x="1075" y="955"/>
                  </a:lnTo>
                  <a:lnTo>
                    <a:pt x="1073" y="953"/>
                  </a:lnTo>
                  <a:lnTo>
                    <a:pt x="1075" y="950"/>
                  </a:lnTo>
                  <a:lnTo>
                    <a:pt x="1075" y="953"/>
                  </a:lnTo>
                  <a:close/>
                  <a:moveTo>
                    <a:pt x="434" y="950"/>
                  </a:moveTo>
                  <a:lnTo>
                    <a:pt x="437" y="950"/>
                  </a:lnTo>
                  <a:lnTo>
                    <a:pt x="434" y="950"/>
                  </a:lnTo>
                  <a:lnTo>
                    <a:pt x="432" y="950"/>
                  </a:lnTo>
                  <a:lnTo>
                    <a:pt x="434" y="950"/>
                  </a:lnTo>
                  <a:close/>
                  <a:moveTo>
                    <a:pt x="1303" y="948"/>
                  </a:moveTo>
                  <a:lnTo>
                    <a:pt x="1300" y="948"/>
                  </a:lnTo>
                  <a:lnTo>
                    <a:pt x="1303" y="948"/>
                  </a:lnTo>
                  <a:close/>
                  <a:moveTo>
                    <a:pt x="1075" y="948"/>
                  </a:moveTo>
                  <a:lnTo>
                    <a:pt x="1075" y="946"/>
                  </a:lnTo>
                  <a:lnTo>
                    <a:pt x="1075" y="948"/>
                  </a:lnTo>
                  <a:close/>
                  <a:moveTo>
                    <a:pt x="439" y="946"/>
                  </a:moveTo>
                  <a:lnTo>
                    <a:pt x="441" y="946"/>
                  </a:lnTo>
                  <a:lnTo>
                    <a:pt x="444" y="946"/>
                  </a:lnTo>
                  <a:lnTo>
                    <a:pt x="444" y="948"/>
                  </a:lnTo>
                  <a:lnTo>
                    <a:pt x="446" y="948"/>
                  </a:lnTo>
                  <a:lnTo>
                    <a:pt x="446" y="950"/>
                  </a:lnTo>
                  <a:lnTo>
                    <a:pt x="449" y="950"/>
                  </a:lnTo>
                  <a:lnTo>
                    <a:pt x="451" y="950"/>
                  </a:lnTo>
                  <a:lnTo>
                    <a:pt x="449" y="950"/>
                  </a:lnTo>
                  <a:lnTo>
                    <a:pt x="446" y="950"/>
                  </a:lnTo>
                  <a:lnTo>
                    <a:pt x="444" y="950"/>
                  </a:lnTo>
                  <a:lnTo>
                    <a:pt x="441" y="950"/>
                  </a:lnTo>
                  <a:lnTo>
                    <a:pt x="441" y="948"/>
                  </a:lnTo>
                  <a:lnTo>
                    <a:pt x="439" y="948"/>
                  </a:lnTo>
                  <a:lnTo>
                    <a:pt x="441" y="948"/>
                  </a:lnTo>
                  <a:lnTo>
                    <a:pt x="439" y="948"/>
                  </a:lnTo>
                  <a:lnTo>
                    <a:pt x="437" y="948"/>
                  </a:lnTo>
                  <a:lnTo>
                    <a:pt x="434" y="948"/>
                  </a:lnTo>
                  <a:lnTo>
                    <a:pt x="437" y="948"/>
                  </a:lnTo>
                  <a:lnTo>
                    <a:pt x="439" y="948"/>
                  </a:lnTo>
                  <a:lnTo>
                    <a:pt x="441" y="948"/>
                  </a:lnTo>
                  <a:lnTo>
                    <a:pt x="439" y="948"/>
                  </a:lnTo>
                  <a:lnTo>
                    <a:pt x="439" y="946"/>
                  </a:lnTo>
                  <a:lnTo>
                    <a:pt x="441" y="946"/>
                  </a:lnTo>
                  <a:lnTo>
                    <a:pt x="439" y="946"/>
                  </a:lnTo>
                  <a:lnTo>
                    <a:pt x="441" y="946"/>
                  </a:lnTo>
                  <a:lnTo>
                    <a:pt x="439" y="946"/>
                  </a:lnTo>
                  <a:lnTo>
                    <a:pt x="441" y="946"/>
                  </a:lnTo>
                  <a:lnTo>
                    <a:pt x="439" y="946"/>
                  </a:lnTo>
                  <a:lnTo>
                    <a:pt x="441" y="946"/>
                  </a:lnTo>
                  <a:lnTo>
                    <a:pt x="439" y="946"/>
                  </a:lnTo>
                  <a:close/>
                  <a:moveTo>
                    <a:pt x="439" y="946"/>
                  </a:moveTo>
                  <a:lnTo>
                    <a:pt x="437" y="946"/>
                  </a:lnTo>
                  <a:lnTo>
                    <a:pt x="439" y="943"/>
                  </a:lnTo>
                  <a:lnTo>
                    <a:pt x="439" y="946"/>
                  </a:lnTo>
                  <a:close/>
                  <a:moveTo>
                    <a:pt x="482" y="943"/>
                  </a:moveTo>
                  <a:lnTo>
                    <a:pt x="482" y="946"/>
                  </a:lnTo>
                  <a:lnTo>
                    <a:pt x="482" y="943"/>
                  </a:lnTo>
                  <a:close/>
                  <a:moveTo>
                    <a:pt x="812" y="943"/>
                  </a:moveTo>
                  <a:lnTo>
                    <a:pt x="814" y="943"/>
                  </a:lnTo>
                  <a:lnTo>
                    <a:pt x="812" y="943"/>
                  </a:lnTo>
                  <a:close/>
                  <a:moveTo>
                    <a:pt x="432" y="941"/>
                  </a:moveTo>
                  <a:lnTo>
                    <a:pt x="430" y="941"/>
                  </a:lnTo>
                  <a:lnTo>
                    <a:pt x="432" y="941"/>
                  </a:lnTo>
                  <a:close/>
                  <a:moveTo>
                    <a:pt x="453" y="941"/>
                  </a:moveTo>
                  <a:lnTo>
                    <a:pt x="453" y="938"/>
                  </a:lnTo>
                  <a:lnTo>
                    <a:pt x="453" y="941"/>
                  </a:lnTo>
                  <a:close/>
                  <a:moveTo>
                    <a:pt x="876" y="938"/>
                  </a:moveTo>
                  <a:lnTo>
                    <a:pt x="873" y="938"/>
                  </a:lnTo>
                  <a:lnTo>
                    <a:pt x="873" y="936"/>
                  </a:lnTo>
                  <a:lnTo>
                    <a:pt x="876" y="936"/>
                  </a:lnTo>
                  <a:lnTo>
                    <a:pt x="876" y="938"/>
                  </a:lnTo>
                  <a:close/>
                  <a:moveTo>
                    <a:pt x="752" y="943"/>
                  </a:moveTo>
                  <a:lnTo>
                    <a:pt x="750" y="943"/>
                  </a:lnTo>
                  <a:lnTo>
                    <a:pt x="750" y="941"/>
                  </a:lnTo>
                  <a:lnTo>
                    <a:pt x="747" y="941"/>
                  </a:lnTo>
                  <a:lnTo>
                    <a:pt x="745" y="941"/>
                  </a:lnTo>
                  <a:lnTo>
                    <a:pt x="743" y="938"/>
                  </a:lnTo>
                  <a:lnTo>
                    <a:pt x="743" y="936"/>
                  </a:lnTo>
                  <a:lnTo>
                    <a:pt x="745" y="936"/>
                  </a:lnTo>
                  <a:lnTo>
                    <a:pt x="747" y="936"/>
                  </a:lnTo>
                  <a:lnTo>
                    <a:pt x="750" y="936"/>
                  </a:lnTo>
                  <a:lnTo>
                    <a:pt x="750" y="938"/>
                  </a:lnTo>
                  <a:lnTo>
                    <a:pt x="752" y="941"/>
                  </a:lnTo>
                  <a:lnTo>
                    <a:pt x="752" y="943"/>
                  </a:lnTo>
                  <a:close/>
                  <a:moveTo>
                    <a:pt x="1073" y="936"/>
                  </a:moveTo>
                  <a:lnTo>
                    <a:pt x="1070" y="936"/>
                  </a:lnTo>
                  <a:lnTo>
                    <a:pt x="1073" y="936"/>
                  </a:lnTo>
                  <a:close/>
                  <a:moveTo>
                    <a:pt x="456" y="936"/>
                  </a:moveTo>
                  <a:lnTo>
                    <a:pt x="453" y="936"/>
                  </a:lnTo>
                  <a:lnTo>
                    <a:pt x="456" y="936"/>
                  </a:lnTo>
                  <a:close/>
                  <a:moveTo>
                    <a:pt x="422" y="934"/>
                  </a:moveTo>
                  <a:lnTo>
                    <a:pt x="422" y="936"/>
                  </a:lnTo>
                  <a:lnTo>
                    <a:pt x="422" y="934"/>
                  </a:lnTo>
                  <a:close/>
                  <a:moveTo>
                    <a:pt x="1070" y="934"/>
                  </a:moveTo>
                  <a:lnTo>
                    <a:pt x="1070" y="936"/>
                  </a:lnTo>
                  <a:lnTo>
                    <a:pt x="1070" y="934"/>
                  </a:lnTo>
                  <a:lnTo>
                    <a:pt x="1070" y="936"/>
                  </a:lnTo>
                  <a:lnTo>
                    <a:pt x="1070" y="934"/>
                  </a:lnTo>
                  <a:close/>
                  <a:moveTo>
                    <a:pt x="1070" y="934"/>
                  </a:moveTo>
                  <a:lnTo>
                    <a:pt x="1070" y="936"/>
                  </a:lnTo>
                  <a:lnTo>
                    <a:pt x="1070" y="934"/>
                  </a:lnTo>
                  <a:close/>
                  <a:moveTo>
                    <a:pt x="812" y="931"/>
                  </a:moveTo>
                  <a:lnTo>
                    <a:pt x="812" y="934"/>
                  </a:lnTo>
                  <a:lnTo>
                    <a:pt x="812" y="931"/>
                  </a:lnTo>
                  <a:close/>
                  <a:moveTo>
                    <a:pt x="1070" y="929"/>
                  </a:moveTo>
                  <a:lnTo>
                    <a:pt x="1070" y="931"/>
                  </a:lnTo>
                  <a:lnTo>
                    <a:pt x="1070" y="929"/>
                  </a:lnTo>
                  <a:lnTo>
                    <a:pt x="1070" y="931"/>
                  </a:lnTo>
                  <a:lnTo>
                    <a:pt x="1070" y="929"/>
                  </a:lnTo>
                  <a:close/>
                  <a:moveTo>
                    <a:pt x="809" y="927"/>
                  </a:moveTo>
                  <a:lnTo>
                    <a:pt x="812" y="929"/>
                  </a:lnTo>
                  <a:lnTo>
                    <a:pt x="812" y="927"/>
                  </a:lnTo>
                  <a:lnTo>
                    <a:pt x="812" y="929"/>
                  </a:lnTo>
                  <a:lnTo>
                    <a:pt x="809" y="929"/>
                  </a:lnTo>
                  <a:lnTo>
                    <a:pt x="812" y="929"/>
                  </a:lnTo>
                  <a:lnTo>
                    <a:pt x="809" y="927"/>
                  </a:lnTo>
                  <a:lnTo>
                    <a:pt x="809" y="929"/>
                  </a:lnTo>
                  <a:lnTo>
                    <a:pt x="809" y="927"/>
                  </a:lnTo>
                  <a:lnTo>
                    <a:pt x="812" y="927"/>
                  </a:lnTo>
                  <a:lnTo>
                    <a:pt x="809" y="927"/>
                  </a:lnTo>
                  <a:close/>
                  <a:moveTo>
                    <a:pt x="422" y="924"/>
                  </a:moveTo>
                  <a:lnTo>
                    <a:pt x="422" y="927"/>
                  </a:lnTo>
                  <a:lnTo>
                    <a:pt x="422" y="924"/>
                  </a:lnTo>
                  <a:close/>
                  <a:moveTo>
                    <a:pt x="422" y="924"/>
                  </a:moveTo>
                  <a:lnTo>
                    <a:pt x="420" y="924"/>
                  </a:lnTo>
                  <a:lnTo>
                    <a:pt x="422" y="924"/>
                  </a:lnTo>
                  <a:lnTo>
                    <a:pt x="420" y="924"/>
                  </a:lnTo>
                  <a:lnTo>
                    <a:pt x="422" y="924"/>
                  </a:lnTo>
                  <a:close/>
                  <a:moveTo>
                    <a:pt x="1073" y="924"/>
                  </a:moveTo>
                  <a:lnTo>
                    <a:pt x="1070" y="924"/>
                  </a:lnTo>
                  <a:lnTo>
                    <a:pt x="1073" y="922"/>
                  </a:lnTo>
                  <a:lnTo>
                    <a:pt x="1073" y="924"/>
                  </a:lnTo>
                  <a:close/>
                  <a:moveTo>
                    <a:pt x="707" y="922"/>
                  </a:moveTo>
                  <a:lnTo>
                    <a:pt x="710" y="922"/>
                  </a:lnTo>
                  <a:lnTo>
                    <a:pt x="707" y="922"/>
                  </a:lnTo>
                  <a:close/>
                  <a:moveTo>
                    <a:pt x="418" y="922"/>
                  </a:moveTo>
                  <a:lnTo>
                    <a:pt x="418" y="924"/>
                  </a:lnTo>
                  <a:lnTo>
                    <a:pt x="418" y="922"/>
                  </a:lnTo>
                  <a:close/>
                  <a:moveTo>
                    <a:pt x="418" y="919"/>
                  </a:moveTo>
                  <a:lnTo>
                    <a:pt x="418" y="922"/>
                  </a:lnTo>
                  <a:lnTo>
                    <a:pt x="418" y="919"/>
                  </a:lnTo>
                  <a:lnTo>
                    <a:pt x="420" y="922"/>
                  </a:lnTo>
                  <a:lnTo>
                    <a:pt x="418" y="922"/>
                  </a:lnTo>
                  <a:lnTo>
                    <a:pt x="418" y="919"/>
                  </a:lnTo>
                  <a:close/>
                  <a:moveTo>
                    <a:pt x="1075" y="919"/>
                  </a:moveTo>
                  <a:lnTo>
                    <a:pt x="1077" y="919"/>
                  </a:lnTo>
                  <a:lnTo>
                    <a:pt x="1077" y="922"/>
                  </a:lnTo>
                  <a:lnTo>
                    <a:pt x="1075" y="919"/>
                  </a:lnTo>
                  <a:close/>
                  <a:moveTo>
                    <a:pt x="1073" y="919"/>
                  </a:moveTo>
                  <a:lnTo>
                    <a:pt x="1073" y="922"/>
                  </a:lnTo>
                  <a:lnTo>
                    <a:pt x="1075" y="922"/>
                  </a:lnTo>
                  <a:lnTo>
                    <a:pt x="1073" y="922"/>
                  </a:lnTo>
                  <a:lnTo>
                    <a:pt x="1073" y="919"/>
                  </a:lnTo>
                  <a:lnTo>
                    <a:pt x="1073" y="922"/>
                  </a:lnTo>
                  <a:lnTo>
                    <a:pt x="1073" y="919"/>
                  </a:lnTo>
                  <a:close/>
                  <a:moveTo>
                    <a:pt x="422" y="917"/>
                  </a:moveTo>
                  <a:lnTo>
                    <a:pt x="422" y="919"/>
                  </a:lnTo>
                  <a:lnTo>
                    <a:pt x="422" y="917"/>
                  </a:lnTo>
                  <a:lnTo>
                    <a:pt x="422" y="919"/>
                  </a:lnTo>
                  <a:lnTo>
                    <a:pt x="422" y="917"/>
                  </a:lnTo>
                  <a:lnTo>
                    <a:pt x="422" y="919"/>
                  </a:lnTo>
                  <a:lnTo>
                    <a:pt x="422" y="917"/>
                  </a:lnTo>
                  <a:close/>
                  <a:moveTo>
                    <a:pt x="418" y="917"/>
                  </a:moveTo>
                  <a:lnTo>
                    <a:pt x="415" y="917"/>
                  </a:lnTo>
                  <a:lnTo>
                    <a:pt x="418" y="917"/>
                  </a:lnTo>
                  <a:close/>
                  <a:moveTo>
                    <a:pt x="411" y="917"/>
                  </a:moveTo>
                  <a:lnTo>
                    <a:pt x="413" y="917"/>
                  </a:lnTo>
                  <a:lnTo>
                    <a:pt x="413" y="919"/>
                  </a:lnTo>
                  <a:lnTo>
                    <a:pt x="411" y="919"/>
                  </a:lnTo>
                  <a:lnTo>
                    <a:pt x="411" y="917"/>
                  </a:lnTo>
                  <a:close/>
                  <a:moveTo>
                    <a:pt x="411" y="917"/>
                  </a:moveTo>
                  <a:lnTo>
                    <a:pt x="408" y="917"/>
                  </a:lnTo>
                  <a:lnTo>
                    <a:pt x="411" y="917"/>
                  </a:lnTo>
                  <a:close/>
                  <a:moveTo>
                    <a:pt x="1068" y="915"/>
                  </a:moveTo>
                  <a:lnTo>
                    <a:pt x="1068" y="912"/>
                  </a:lnTo>
                  <a:lnTo>
                    <a:pt x="1068" y="915"/>
                  </a:lnTo>
                  <a:close/>
                  <a:moveTo>
                    <a:pt x="1065" y="912"/>
                  </a:moveTo>
                  <a:lnTo>
                    <a:pt x="1068" y="912"/>
                  </a:lnTo>
                  <a:lnTo>
                    <a:pt x="1065" y="915"/>
                  </a:lnTo>
                  <a:lnTo>
                    <a:pt x="1065" y="912"/>
                  </a:lnTo>
                  <a:close/>
                  <a:moveTo>
                    <a:pt x="1065" y="912"/>
                  </a:moveTo>
                  <a:lnTo>
                    <a:pt x="1065" y="910"/>
                  </a:lnTo>
                  <a:lnTo>
                    <a:pt x="1068" y="912"/>
                  </a:lnTo>
                  <a:lnTo>
                    <a:pt x="1065" y="912"/>
                  </a:lnTo>
                  <a:lnTo>
                    <a:pt x="1065" y="910"/>
                  </a:lnTo>
                  <a:lnTo>
                    <a:pt x="1065" y="912"/>
                  </a:lnTo>
                  <a:close/>
                  <a:moveTo>
                    <a:pt x="1068" y="910"/>
                  </a:moveTo>
                  <a:lnTo>
                    <a:pt x="1068" y="912"/>
                  </a:lnTo>
                  <a:lnTo>
                    <a:pt x="1068" y="910"/>
                  </a:lnTo>
                  <a:lnTo>
                    <a:pt x="1065" y="910"/>
                  </a:lnTo>
                  <a:lnTo>
                    <a:pt x="1068" y="910"/>
                  </a:lnTo>
                  <a:close/>
                  <a:moveTo>
                    <a:pt x="1065" y="910"/>
                  </a:moveTo>
                  <a:lnTo>
                    <a:pt x="1065" y="912"/>
                  </a:lnTo>
                  <a:lnTo>
                    <a:pt x="1065" y="910"/>
                  </a:lnTo>
                  <a:close/>
                  <a:moveTo>
                    <a:pt x="1063" y="908"/>
                  </a:moveTo>
                  <a:lnTo>
                    <a:pt x="1063" y="910"/>
                  </a:lnTo>
                  <a:lnTo>
                    <a:pt x="1063" y="908"/>
                  </a:lnTo>
                  <a:lnTo>
                    <a:pt x="1063" y="910"/>
                  </a:lnTo>
                  <a:lnTo>
                    <a:pt x="1065" y="910"/>
                  </a:lnTo>
                  <a:lnTo>
                    <a:pt x="1063" y="912"/>
                  </a:lnTo>
                  <a:lnTo>
                    <a:pt x="1065" y="912"/>
                  </a:lnTo>
                  <a:lnTo>
                    <a:pt x="1063" y="912"/>
                  </a:lnTo>
                  <a:lnTo>
                    <a:pt x="1063" y="910"/>
                  </a:lnTo>
                  <a:lnTo>
                    <a:pt x="1061" y="910"/>
                  </a:lnTo>
                  <a:lnTo>
                    <a:pt x="1063" y="910"/>
                  </a:lnTo>
                  <a:lnTo>
                    <a:pt x="1061" y="910"/>
                  </a:lnTo>
                  <a:lnTo>
                    <a:pt x="1063" y="910"/>
                  </a:lnTo>
                  <a:lnTo>
                    <a:pt x="1061" y="910"/>
                  </a:lnTo>
                  <a:lnTo>
                    <a:pt x="1063" y="908"/>
                  </a:lnTo>
                  <a:close/>
                  <a:moveTo>
                    <a:pt x="1063" y="908"/>
                  </a:moveTo>
                  <a:lnTo>
                    <a:pt x="1061" y="908"/>
                  </a:lnTo>
                  <a:lnTo>
                    <a:pt x="1061" y="905"/>
                  </a:lnTo>
                  <a:lnTo>
                    <a:pt x="1063" y="905"/>
                  </a:lnTo>
                  <a:lnTo>
                    <a:pt x="1063" y="908"/>
                  </a:lnTo>
                  <a:close/>
                  <a:moveTo>
                    <a:pt x="1065" y="903"/>
                  </a:moveTo>
                  <a:lnTo>
                    <a:pt x="1063" y="905"/>
                  </a:lnTo>
                  <a:lnTo>
                    <a:pt x="1063" y="903"/>
                  </a:lnTo>
                  <a:lnTo>
                    <a:pt x="1063" y="905"/>
                  </a:lnTo>
                  <a:lnTo>
                    <a:pt x="1063" y="903"/>
                  </a:lnTo>
                  <a:lnTo>
                    <a:pt x="1065" y="903"/>
                  </a:lnTo>
                  <a:close/>
                  <a:moveTo>
                    <a:pt x="1065" y="900"/>
                  </a:moveTo>
                  <a:lnTo>
                    <a:pt x="1063" y="903"/>
                  </a:lnTo>
                  <a:lnTo>
                    <a:pt x="1063" y="900"/>
                  </a:lnTo>
                  <a:lnTo>
                    <a:pt x="1065" y="900"/>
                  </a:lnTo>
                  <a:close/>
                  <a:moveTo>
                    <a:pt x="1068" y="898"/>
                  </a:moveTo>
                  <a:lnTo>
                    <a:pt x="1068" y="900"/>
                  </a:lnTo>
                  <a:lnTo>
                    <a:pt x="1068" y="898"/>
                  </a:lnTo>
                  <a:close/>
                  <a:moveTo>
                    <a:pt x="1056" y="893"/>
                  </a:moveTo>
                  <a:lnTo>
                    <a:pt x="1056" y="896"/>
                  </a:lnTo>
                  <a:lnTo>
                    <a:pt x="1056" y="893"/>
                  </a:lnTo>
                  <a:close/>
                  <a:moveTo>
                    <a:pt x="1063" y="893"/>
                  </a:moveTo>
                  <a:lnTo>
                    <a:pt x="1065" y="893"/>
                  </a:lnTo>
                  <a:lnTo>
                    <a:pt x="1063" y="893"/>
                  </a:lnTo>
                  <a:lnTo>
                    <a:pt x="1063" y="896"/>
                  </a:lnTo>
                  <a:lnTo>
                    <a:pt x="1063" y="893"/>
                  </a:lnTo>
                  <a:close/>
                  <a:moveTo>
                    <a:pt x="1061" y="891"/>
                  </a:moveTo>
                  <a:lnTo>
                    <a:pt x="1061" y="889"/>
                  </a:lnTo>
                  <a:lnTo>
                    <a:pt x="1061" y="891"/>
                  </a:lnTo>
                  <a:close/>
                  <a:moveTo>
                    <a:pt x="1068" y="886"/>
                  </a:moveTo>
                  <a:lnTo>
                    <a:pt x="1068" y="889"/>
                  </a:lnTo>
                  <a:lnTo>
                    <a:pt x="1065" y="889"/>
                  </a:lnTo>
                  <a:lnTo>
                    <a:pt x="1065" y="886"/>
                  </a:lnTo>
                  <a:lnTo>
                    <a:pt x="1068" y="886"/>
                  </a:lnTo>
                  <a:close/>
                  <a:moveTo>
                    <a:pt x="1073" y="886"/>
                  </a:moveTo>
                  <a:lnTo>
                    <a:pt x="1070" y="886"/>
                  </a:lnTo>
                  <a:lnTo>
                    <a:pt x="1073" y="886"/>
                  </a:lnTo>
                  <a:lnTo>
                    <a:pt x="1070" y="886"/>
                  </a:lnTo>
                  <a:lnTo>
                    <a:pt x="1073" y="886"/>
                  </a:lnTo>
                  <a:lnTo>
                    <a:pt x="1075" y="884"/>
                  </a:lnTo>
                  <a:lnTo>
                    <a:pt x="1073" y="886"/>
                  </a:lnTo>
                  <a:close/>
                  <a:moveTo>
                    <a:pt x="1094" y="884"/>
                  </a:moveTo>
                  <a:lnTo>
                    <a:pt x="1092" y="884"/>
                  </a:lnTo>
                  <a:lnTo>
                    <a:pt x="1094" y="884"/>
                  </a:lnTo>
                  <a:close/>
                  <a:moveTo>
                    <a:pt x="1084" y="884"/>
                  </a:moveTo>
                  <a:lnTo>
                    <a:pt x="1082" y="886"/>
                  </a:lnTo>
                  <a:lnTo>
                    <a:pt x="1082" y="884"/>
                  </a:lnTo>
                  <a:lnTo>
                    <a:pt x="1084" y="884"/>
                  </a:lnTo>
                  <a:close/>
                  <a:moveTo>
                    <a:pt x="1080" y="886"/>
                  </a:moveTo>
                  <a:lnTo>
                    <a:pt x="1082" y="886"/>
                  </a:lnTo>
                  <a:lnTo>
                    <a:pt x="1080" y="886"/>
                  </a:lnTo>
                  <a:lnTo>
                    <a:pt x="1077" y="886"/>
                  </a:lnTo>
                  <a:lnTo>
                    <a:pt x="1080" y="886"/>
                  </a:lnTo>
                  <a:lnTo>
                    <a:pt x="1077" y="889"/>
                  </a:lnTo>
                  <a:lnTo>
                    <a:pt x="1077" y="886"/>
                  </a:lnTo>
                  <a:lnTo>
                    <a:pt x="1077" y="889"/>
                  </a:lnTo>
                  <a:lnTo>
                    <a:pt x="1077" y="886"/>
                  </a:lnTo>
                  <a:lnTo>
                    <a:pt x="1075" y="886"/>
                  </a:lnTo>
                  <a:lnTo>
                    <a:pt x="1075" y="889"/>
                  </a:lnTo>
                  <a:lnTo>
                    <a:pt x="1073" y="891"/>
                  </a:lnTo>
                  <a:lnTo>
                    <a:pt x="1070" y="891"/>
                  </a:lnTo>
                  <a:lnTo>
                    <a:pt x="1070" y="889"/>
                  </a:lnTo>
                  <a:lnTo>
                    <a:pt x="1068" y="889"/>
                  </a:lnTo>
                  <a:lnTo>
                    <a:pt x="1065" y="889"/>
                  </a:lnTo>
                  <a:lnTo>
                    <a:pt x="1068" y="889"/>
                  </a:lnTo>
                  <a:lnTo>
                    <a:pt x="1070" y="886"/>
                  </a:lnTo>
                  <a:lnTo>
                    <a:pt x="1073" y="886"/>
                  </a:lnTo>
                  <a:lnTo>
                    <a:pt x="1075" y="886"/>
                  </a:lnTo>
                  <a:lnTo>
                    <a:pt x="1075" y="884"/>
                  </a:lnTo>
                  <a:lnTo>
                    <a:pt x="1077" y="884"/>
                  </a:lnTo>
                  <a:lnTo>
                    <a:pt x="1080" y="886"/>
                  </a:lnTo>
                  <a:close/>
                  <a:moveTo>
                    <a:pt x="1080" y="886"/>
                  </a:moveTo>
                  <a:lnTo>
                    <a:pt x="1077" y="884"/>
                  </a:lnTo>
                  <a:lnTo>
                    <a:pt x="1080" y="884"/>
                  </a:lnTo>
                  <a:lnTo>
                    <a:pt x="1080" y="886"/>
                  </a:lnTo>
                  <a:lnTo>
                    <a:pt x="1080" y="884"/>
                  </a:lnTo>
                  <a:lnTo>
                    <a:pt x="1080" y="886"/>
                  </a:lnTo>
                  <a:close/>
                  <a:moveTo>
                    <a:pt x="1096" y="884"/>
                  </a:moveTo>
                  <a:lnTo>
                    <a:pt x="1094" y="884"/>
                  </a:lnTo>
                  <a:lnTo>
                    <a:pt x="1096" y="884"/>
                  </a:lnTo>
                  <a:close/>
                  <a:moveTo>
                    <a:pt x="1096" y="884"/>
                  </a:moveTo>
                  <a:lnTo>
                    <a:pt x="1096" y="881"/>
                  </a:lnTo>
                  <a:lnTo>
                    <a:pt x="1096" y="884"/>
                  </a:lnTo>
                  <a:close/>
                  <a:moveTo>
                    <a:pt x="1096" y="881"/>
                  </a:moveTo>
                  <a:lnTo>
                    <a:pt x="1096" y="884"/>
                  </a:lnTo>
                  <a:lnTo>
                    <a:pt x="1094" y="884"/>
                  </a:lnTo>
                  <a:lnTo>
                    <a:pt x="1094" y="881"/>
                  </a:lnTo>
                  <a:lnTo>
                    <a:pt x="1096" y="881"/>
                  </a:lnTo>
                  <a:close/>
                  <a:moveTo>
                    <a:pt x="1084" y="879"/>
                  </a:moveTo>
                  <a:lnTo>
                    <a:pt x="1084" y="881"/>
                  </a:lnTo>
                  <a:lnTo>
                    <a:pt x="1082" y="881"/>
                  </a:lnTo>
                  <a:lnTo>
                    <a:pt x="1082" y="879"/>
                  </a:lnTo>
                  <a:lnTo>
                    <a:pt x="1084" y="879"/>
                  </a:lnTo>
                  <a:close/>
                  <a:moveTo>
                    <a:pt x="1087" y="879"/>
                  </a:moveTo>
                  <a:lnTo>
                    <a:pt x="1084" y="879"/>
                  </a:lnTo>
                  <a:lnTo>
                    <a:pt x="1087" y="879"/>
                  </a:lnTo>
                  <a:close/>
                  <a:moveTo>
                    <a:pt x="1094" y="877"/>
                  </a:moveTo>
                  <a:lnTo>
                    <a:pt x="1092" y="877"/>
                  </a:lnTo>
                  <a:lnTo>
                    <a:pt x="1092" y="879"/>
                  </a:lnTo>
                  <a:lnTo>
                    <a:pt x="1092" y="877"/>
                  </a:lnTo>
                  <a:lnTo>
                    <a:pt x="1089" y="877"/>
                  </a:lnTo>
                  <a:lnTo>
                    <a:pt x="1092" y="877"/>
                  </a:lnTo>
                  <a:lnTo>
                    <a:pt x="1094" y="877"/>
                  </a:lnTo>
                  <a:close/>
                  <a:moveTo>
                    <a:pt x="1101" y="877"/>
                  </a:moveTo>
                  <a:lnTo>
                    <a:pt x="1099" y="877"/>
                  </a:lnTo>
                  <a:lnTo>
                    <a:pt x="1101" y="877"/>
                  </a:lnTo>
                  <a:close/>
                  <a:moveTo>
                    <a:pt x="681" y="874"/>
                  </a:moveTo>
                  <a:lnTo>
                    <a:pt x="681" y="877"/>
                  </a:lnTo>
                  <a:lnTo>
                    <a:pt x="679" y="877"/>
                  </a:lnTo>
                  <a:lnTo>
                    <a:pt x="679" y="874"/>
                  </a:lnTo>
                  <a:lnTo>
                    <a:pt x="679" y="877"/>
                  </a:lnTo>
                  <a:lnTo>
                    <a:pt x="681" y="877"/>
                  </a:lnTo>
                  <a:lnTo>
                    <a:pt x="681" y="874"/>
                  </a:lnTo>
                  <a:lnTo>
                    <a:pt x="679" y="874"/>
                  </a:lnTo>
                  <a:lnTo>
                    <a:pt x="681" y="874"/>
                  </a:lnTo>
                  <a:close/>
                  <a:moveTo>
                    <a:pt x="1103" y="877"/>
                  </a:moveTo>
                  <a:lnTo>
                    <a:pt x="1101" y="877"/>
                  </a:lnTo>
                  <a:lnTo>
                    <a:pt x="1103" y="874"/>
                  </a:lnTo>
                  <a:lnTo>
                    <a:pt x="1103" y="877"/>
                  </a:lnTo>
                  <a:close/>
                  <a:moveTo>
                    <a:pt x="1115" y="874"/>
                  </a:moveTo>
                  <a:lnTo>
                    <a:pt x="1113" y="874"/>
                  </a:lnTo>
                  <a:lnTo>
                    <a:pt x="1110" y="874"/>
                  </a:lnTo>
                  <a:lnTo>
                    <a:pt x="1113" y="874"/>
                  </a:lnTo>
                  <a:lnTo>
                    <a:pt x="1115" y="874"/>
                  </a:lnTo>
                  <a:close/>
                  <a:moveTo>
                    <a:pt x="1103" y="874"/>
                  </a:moveTo>
                  <a:lnTo>
                    <a:pt x="1101" y="877"/>
                  </a:lnTo>
                  <a:lnTo>
                    <a:pt x="1101" y="874"/>
                  </a:lnTo>
                  <a:lnTo>
                    <a:pt x="1103" y="874"/>
                  </a:lnTo>
                  <a:lnTo>
                    <a:pt x="1103" y="872"/>
                  </a:lnTo>
                  <a:lnTo>
                    <a:pt x="1106" y="872"/>
                  </a:lnTo>
                  <a:lnTo>
                    <a:pt x="1103" y="874"/>
                  </a:lnTo>
                  <a:close/>
                  <a:moveTo>
                    <a:pt x="1118" y="872"/>
                  </a:moveTo>
                  <a:lnTo>
                    <a:pt x="1115" y="872"/>
                  </a:lnTo>
                  <a:lnTo>
                    <a:pt x="1118" y="870"/>
                  </a:lnTo>
                  <a:lnTo>
                    <a:pt x="1118" y="872"/>
                  </a:lnTo>
                  <a:close/>
                  <a:moveTo>
                    <a:pt x="1082" y="872"/>
                  </a:moveTo>
                  <a:lnTo>
                    <a:pt x="1082" y="870"/>
                  </a:lnTo>
                  <a:lnTo>
                    <a:pt x="1082" y="872"/>
                  </a:lnTo>
                  <a:close/>
                  <a:moveTo>
                    <a:pt x="1118" y="870"/>
                  </a:moveTo>
                  <a:lnTo>
                    <a:pt x="1115" y="870"/>
                  </a:lnTo>
                  <a:lnTo>
                    <a:pt x="1118" y="870"/>
                  </a:lnTo>
                  <a:close/>
                  <a:moveTo>
                    <a:pt x="1118" y="870"/>
                  </a:moveTo>
                  <a:lnTo>
                    <a:pt x="1115" y="872"/>
                  </a:lnTo>
                  <a:lnTo>
                    <a:pt x="1113" y="872"/>
                  </a:lnTo>
                  <a:lnTo>
                    <a:pt x="1115" y="872"/>
                  </a:lnTo>
                  <a:lnTo>
                    <a:pt x="1115" y="870"/>
                  </a:lnTo>
                  <a:lnTo>
                    <a:pt x="1115" y="872"/>
                  </a:lnTo>
                  <a:lnTo>
                    <a:pt x="1115" y="870"/>
                  </a:lnTo>
                  <a:lnTo>
                    <a:pt x="1118" y="870"/>
                  </a:lnTo>
                  <a:close/>
                  <a:moveTo>
                    <a:pt x="1118" y="870"/>
                  </a:moveTo>
                  <a:lnTo>
                    <a:pt x="1120" y="870"/>
                  </a:lnTo>
                  <a:lnTo>
                    <a:pt x="1118" y="870"/>
                  </a:lnTo>
                  <a:close/>
                  <a:moveTo>
                    <a:pt x="1122" y="867"/>
                  </a:moveTo>
                  <a:lnTo>
                    <a:pt x="1120" y="867"/>
                  </a:lnTo>
                  <a:lnTo>
                    <a:pt x="1122" y="867"/>
                  </a:lnTo>
                  <a:lnTo>
                    <a:pt x="1120" y="867"/>
                  </a:lnTo>
                  <a:lnTo>
                    <a:pt x="1118" y="867"/>
                  </a:lnTo>
                  <a:lnTo>
                    <a:pt x="1120" y="867"/>
                  </a:lnTo>
                  <a:lnTo>
                    <a:pt x="1122" y="867"/>
                  </a:lnTo>
                  <a:close/>
                  <a:moveTo>
                    <a:pt x="1125" y="867"/>
                  </a:moveTo>
                  <a:lnTo>
                    <a:pt x="1122" y="867"/>
                  </a:lnTo>
                  <a:lnTo>
                    <a:pt x="1125" y="865"/>
                  </a:lnTo>
                  <a:lnTo>
                    <a:pt x="1125" y="867"/>
                  </a:lnTo>
                  <a:close/>
                  <a:moveTo>
                    <a:pt x="1110" y="865"/>
                  </a:moveTo>
                  <a:lnTo>
                    <a:pt x="1108" y="865"/>
                  </a:lnTo>
                  <a:lnTo>
                    <a:pt x="1110" y="865"/>
                  </a:lnTo>
                  <a:close/>
                  <a:moveTo>
                    <a:pt x="1092" y="865"/>
                  </a:moveTo>
                  <a:lnTo>
                    <a:pt x="1092" y="867"/>
                  </a:lnTo>
                  <a:lnTo>
                    <a:pt x="1092" y="865"/>
                  </a:lnTo>
                  <a:close/>
                  <a:moveTo>
                    <a:pt x="650" y="862"/>
                  </a:moveTo>
                  <a:lnTo>
                    <a:pt x="650" y="865"/>
                  </a:lnTo>
                  <a:lnTo>
                    <a:pt x="650" y="862"/>
                  </a:lnTo>
                  <a:close/>
                  <a:moveTo>
                    <a:pt x="1092" y="865"/>
                  </a:moveTo>
                  <a:lnTo>
                    <a:pt x="1092" y="862"/>
                  </a:lnTo>
                  <a:lnTo>
                    <a:pt x="1092" y="865"/>
                  </a:lnTo>
                  <a:lnTo>
                    <a:pt x="1094" y="865"/>
                  </a:lnTo>
                  <a:lnTo>
                    <a:pt x="1092" y="865"/>
                  </a:lnTo>
                  <a:lnTo>
                    <a:pt x="1094" y="865"/>
                  </a:lnTo>
                  <a:lnTo>
                    <a:pt x="1092" y="865"/>
                  </a:lnTo>
                  <a:lnTo>
                    <a:pt x="1092" y="862"/>
                  </a:lnTo>
                  <a:lnTo>
                    <a:pt x="1092" y="865"/>
                  </a:lnTo>
                  <a:lnTo>
                    <a:pt x="1094" y="865"/>
                  </a:lnTo>
                  <a:lnTo>
                    <a:pt x="1096" y="865"/>
                  </a:lnTo>
                  <a:lnTo>
                    <a:pt x="1094" y="865"/>
                  </a:lnTo>
                  <a:lnTo>
                    <a:pt x="1094" y="867"/>
                  </a:lnTo>
                  <a:lnTo>
                    <a:pt x="1092" y="867"/>
                  </a:lnTo>
                  <a:lnTo>
                    <a:pt x="1092" y="865"/>
                  </a:lnTo>
                  <a:close/>
                  <a:moveTo>
                    <a:pt x="650" y="862"/>
                  </a:moveTo>
                  <a:lnTo>
                    <a:pt x="648" y="862"/>
                  </a:lnTo>
                  <a:lnTo>
                    <a:pt x="650" y="862"/>
                  </a:lnTo>
                  <a:close/>
                  <a:moveTo>
                    <a:pt x="887" y="860"/>
                  </a:moveTo>
                  <a:lnTo>
                    <a:pt x="887" y="862"/>
                  </a:lnTo>
                  <a:lnTo>
                    <a:pt x="885" y="862"/>
                  </a:lnTo>
                  <a:lnTo>
                    <a:pt x="885" y="860"/>
                  </a:lnTo>
                  <a:lnTo>
                    <a:pt x="887" y="860"/>
                  </a:lnTo>
                  <a:close/>
                  <a:moveTo>
                    <a:pt x="1110" y="860"/>
                  </a:moveTo>
                  <a:lnTo>
                    <a:pt x="1110" y="862"/>
                  </a:lnTo>
                  <a:lnTo>
                    <a:pt x="1113" y="860"/>
                  </a:lnTo>
                  <a:lnTo>
                    <a:pt x="1113" y="862"/>
                  </a:lnTo>
                  <a:lnTo>
                    <a:pt x="1110" y="862"/>
                  </a:lnTo>
                  <a:lnTo>
                    <a:pt x="1110" y="860"/>
                  </a:lnTo>
                  <a:lnTo>
                    <a:pt x="1113" y="860"/>
                  </a:lnTo>
                  <a:lnTo>
                    <a:pt x="1110" y="860"/>
                  </a:lnTo>
                  <a:close/>
                  <a:moveTo>
                    <a:pt x="650" y="860"/>
                  </a:moveTo>
                  <a:lnTo>
                    <a:pt x="648" y="860"/>
                  </a:lnTo>
                  <a:lnTo>
                    <a:pt x="650" y="860"/>
                  </a:lnTo>
                  <a:close/>
                  <a:moveTo>
                    <a:pt x="645" y="860"/>
                  </a:moveTo>
                  <a:lnTo>
                    <a:pt x="648" y="860"/>
                  </a:lnTo>
                  <a:lnTo>
                    <a:pt x="648" y="862"/>
                  </a:lnTo>
                  <a:lnTo>
                    <a:pt x="648" y="860"/>
                  </a:lnTo>
                  <a:lnTo>
                    <a:pt x="648" y="862"/>
                  </a:lnTo>
                  <a:lnTo>
                    <a:pt x="645" y="860"/>
                  </a:lnTo>
                  <a:close/>
                  <a:moveTo>
                    <a:pt x="645" y="860"/>
                  </a:moveTo>
                  <a:lnTo>
                    <a:pt x="643" y="860"/>
                  </a:lnTo>
                  <a:lnTo>
                    <a:pt x="645" y="860"/>
                  </a:lnTo>
                  <a:close/>
                  <a:moveTo>
                    <a:pt x="1113" y="860"/>
                  </a:moveTo>
                  <a:lnTo>
                    <a:pt x="1110" y="860"/>
                  </a:lnTo>
                  <a:lnTo>
                    <a:pt x="1113" y="860"/>
                  </a:lnTo>
                  <a:close/>
                  <a:moveTo>
                    <a:pt x="645" y="860"/>
                  </a:moveTo>
                  <a:lnTo>
                    <a:pt x="648" y="860"/>
                  </a:lnTo>
                  <a:lnTo>
                    <a:pt x="645" y="860"/>
                  </a:lnTo>
                  <a:close/>
                  <a:moveTo>
                    <a:pt x="1096" y="860"/>
                  </a:moveTo>
                  <a:lnTo>
                    <a:pt x="1094" y="860"/>
                  </a:lnTo>
                  <a:lnTo>
                    <a:pt x="1096" y="860"/>
                  </a:lnTo>
                  <a:lnTo>
                    <a:pt x="1094" y="860"/>
                  </a:lnTo>
                  <a:lnTo>
                    <a:pt x="1096" y="860"/>
                  </a:lnTo>
                  <a:close/>
                  <a:moveTo>
                    <a:pt x="1113" y="860"/>
                  </a:moveTo>
                  <a:lnTo>
                    <a:pt x="1113" y="858"/>
                  </a:lnTo>
                  <a:lnTo>
                    <a:pt x="1113" y="860"/>
                  </a:lnTo>
                  <a:close/>
                  <a:moveTo>
                    <a:pt x="883" y="855"/>
                  </a:moveTo>
                  <a:lnTo>
                    <a:pt x="883" y="858"/>
                  </a:lnTo>
                  <a:lnTo>
                    <a:pt x="883" y="855"/>
                  </a:lnTo>
                  <a:close/>
                  <a:moveTo>
                    <a:pt x="1099" y="855"/>
                  </a:moveTo>
                  <a:lnTo>
                    <a:pt x="1099" y="858"/>
                  </a:lnTo>
                  <a:lnTo>
                    <a:pt x="1099" y="855"/>
                  </a:lnTo>
                  <a:close/>
                  <a:moveTo>
                    <a:pt x="1099" y="853"/>
                  </a:moveTo>
                  <a:lnTo>
                    <a:pt x="1099" y="855"/>
                  </a:lnTo>
                  <a:lnTo>
                    <a:pt x="1099" y="853"/>
                  </a:lnTo>
                  <a:close/>
                  <a:moveTo>
                    <a:pt x="1132" y="855"/>
                  </a:moveTo>
                  <a:lnTo>
                    <a:pt x="1129" y="855"/>
                  </a:lnTo>
                  <a:lnTo>
                    <a:pt x="1132" y="855"/>
                  </a:lnTo>
                  <a:lnTo>
                    <a:pt x="1132" y="853"/>
                  </a:lnTo>
                  <a:lnTo>
                    <a:pt x="1132" y="855"/>
                  </a:lnTo>
                  <a:close/>
                  <a:moveTo>
                    <a:pt x="1122" y="853"/>
                  </a:moveTo>
                  <a:lnTo>
                    <a:pt x="1122" y="855"/>
                  </a:lnTo>
                  <a:lnTo>
                    <a:pt x="1120" y="855"/>
                  </a:lnTo>
                  <a:lnTo>
                    <a:pt x="1120" y="853"/>
                  </a:lnTo>
                  <a:lnTo>
                    <a:pt x="1122" y="853"/>
                  </a:lnTo>
                  <a:close/>
                  <a:moveTo>
                    <a:pt x="1122" y="853"/>
                  </a:moveTo>
                  <a:lnTo>
                    <a:pt x="1122" y="855"/>
                  </a:lnTo>
                  <a:lnTo>
                    <a:pt x="1122" y="853"/>
                  </a:lnTo>
                  <a:close/>
                  <a:moveTo>
                    <a:pt x="1099" y="853"/>
                  </a:moveTo>
                  <a:lnTo>
                    <a:pt x="1099" y="855"/>
                  </a:lnTo>
                  <a:lnTo>
                    <a:pt x="1096" y="855"/>
                  </a:lnTo>
                  <a:lnTo>
                    <a:pt x="1099" y="855"/>
                  </a:lnTo>
                  <a:lnTo>
                    <a:pt x="1096" y="853"/>
                  </a:lnTo>
                  <a:lnTo>
                    <a:pt x="1099" y="853"/>
                  </a:lnTo>
                  <a:close/>
                  <a:moveTo>
                    <a:pt x="1122" y="853"/>
                  </a:moveTo>
                  <a:lnTo>
                    <a:pt x="1120" y="853"/>
                  </a:lnTo>
                  <a:lnTo>
                    <a:pt x="1122" y="853"/>
                  </a:lnTo>
                  <a:lnTo>
                    <a:pt x="1120" y="853"/>
                  </a:lnTo>
                  <a:lnTo>
                    <a:pt x="1122" y="853"/>
                  </a:lnTo>
                  <a:close/>
                  <a:moveTo>
                    <a:pt x="1101" y="853"/>
                  </a:moveTo>
                  <a:lnTo>
                    <a:pt x="1099" y="853"/>
                  </a:lnTo>
                  <a:lnTo>
                    <a:pt x="1101" y="853"/>
                  </a:lnTo>
                  <a:close/>
                  <a:moveTo>
                    <a:pt x="1229" y="853"/>
                  </a:moveTo>
                  <a:lnTo>
                    <a:pt x="1231" y="853"/>
                  </a:lnTo>
                  <a:lnTo>
                    <a:pt x="1229" y="853"/>
                  </a:lnTo>
                  <a:close/>
                  <a:moveTo>
                    <a:pt x="1101" y="853"/>
                  </a:moveTo>
                  <a:lnTo>
                    <a:pt x="1101" y="851"/>
                  </a:lnTo>
                  <a:lnTo>
                    <a:pt x="1101" y="853"/>
                  </a:lnTo>
                  <a:close/>
                  <a:moveTo>
                    <a:pt x="1108" y="851"/>
                  </a:moveTo>
                  <a:lnTo>
                    <a:pt x="1108" y="853"/>
                  </a:lnTo>
                  <a:lnTo>
                    <a:pt x="1108" y="851"/>
                  </a:lnTo>
                  <a:close/>
                  <a:moveTo>
                    <a:pt x="871" y="851"/>
                  </a:moveTo>
                  <a:lnTo>
                    <a:pt x="871" y="853"/>
                  </a:lnTo>
                  <a:lnTo>
                    <a:pt x="873" y="853"/>
                  </a:lnTo>
                  <a:lnTo>
                    <a:pt x="871" y="853"/>
                  </a:lnTo>
                  <a:lnTo>
                    <a:pt x="871" y="851"/>
                  </a:lnTo>
                  <a:close/>
                  <a:moveTo>
                    <a:pt x="1099" y="853"/>
                  </a:moveTo>
                  <a:lnTo>
                    <a:pt x="1099" y="851"/>
                  </a:lnTo>
                  <a:lnTo>
                    <a:pt x="1101" y="851"/>
                  </a:lnTo>
                  <a:lnTo>
                    <a:pt x="1099" y="851"/>
                  </a:lnTo>
                  <a:lnTo>
                    <a:pt x="1099" y="853"/>
                  </a:lnTo>
                  <a:close/>
                  <a:moveTo>
                    <a:pt x="1129" y="851"/>
                  </a:moveTo>
                  <a:lnTo>
                    <a:pt x="1132" y="851"/>
                  </a:lnTo>
                  <a:lnTo>
                    <a:pt x="1132" y="853"/>
                  </a:lnTo>
                  <a:lnTo>
                    <a:pt x="1129" y="853"/>
                  </a:lnTo>
                  <a:lnTo>
                    <a:pt x="1129" y="851"/>
                  </a:lnTo>
                  <a:close/>
                  <a:moveTo>
                    <a:pt x="871" y="851"/>
                  </a:moveTo>
                  <a:lnTo>
                    <a:pt x="871" y="848"/>
                  </a:lnTo>
                  <a:lnTo>
                    <a:pt x="871" y="851"/>
                  </a:lnTo>
                  <a:close/>
                  <a:moveTo>
                    <a:pt x="1129" y="851"/>
                  </a:moveTo>
                  <a:lnTo>
                    <a:pt x="1132" y="851"/>
                  </a:lnTo>
                  <a:lnTo>
                    <a:pt x="1129" y="851"/>
                  </a:lnTo>
                  <a:lnTo>
                    <a:pt x="1129" y="848"/>
                  </a:lnTo>
                  <a:lnTo>
                    <a:pt x="1129" y="851"/>
                  </a:lnTo>
                  <a:lnTo>
                    <a:pt x="1129" y="848"/>
                  </a:lnTo>
                  <a:lnTo>
                    <a:pt x="1129" y="851"/>
                  </a:lnTo>
                  <a:close/>
                  <a:moveTo>
                    <a:pt x="873" y="848"/>
                  </a:moveTo>
                  <a:lnTo>
                    <a:pt x="871" y="848"/>
                  </a:lnTo>
                  <a:lnTo>
                    <a:pt x="873" y="848"/>
                  </a:lnTo>
                  <a:close/>
                  <a:moveTo>
                    <a:pt x="1132" y="851"/>
                  </a:moveTo>
                  <a:lnTo>
                    <a:pt x="1129" y="851"/>
                  </a:lnTo>
                  <a:lnTo>
                    <a:pt x="1129" y="848"/>
                  </a:lnTo>
                  <a:lnTo>
                    <a:pt x="1132" y="848"/>
                  </a:lnTo>
                  <a:lnTo>
                    <a:pt x="1132" y="851"/>
                  </a:lnTo>
                  <a:close/>
                  <a:moveTo>
                    <a:pt x="1129" y="848"/>
                  </a:moveTo>
                  <a:lnTo>
                    <a:pt x="1129" y="846"/>
                  </a:lnTo>
                  <a:lnTo>
                    <a:pt x="1129" y="848"/>
                  </a:lnTo>
                  <a:close/>
                  <a:moveTo>
                    <a:pt x="1134" y="848"/>
                  </a:moveTo>
                  <a:lnTo>
                    <a:pt x="1132" y="848"/>
                  </a:lnTo>
                  <a:lnTo>
                    <a:pt x="1132" y="846"/>
                  </a:lnTo>
                  <a:lnTo>
                    <a:pt x="1132" y="848"/>
                  </a:lnTo>
                  <a:lnTo>
                    <a:pt x="1134" y="848"/>
                  </a:lnTo>
                  <a:lnTo>
                    <a:pt x="1134" y="846"/>
                  </a:lnTo>
                  <a:lnTo>
                    <a:pt x="1134" y="848"/>
                  </a:lnTo>
                  <a:close/>
                  <a:moveTo>
                    <a:pt x="1068" y="848"/>
                  </a:moveTo>
                  <a:lnTo>
                    <a:pt x="1068" y="846"/>
                  </a:lnTo>
                  <a:lnTo>
                    <a:pt x="1068" y="848"/>
                  </a:lnTo>
                  <a:close/>
                  <a:moveTo>
                    <a:pt x="1120" y="846"/>
                  </a:moveTo>
                  <a:lnTo>
                    <a:pt x="1120" y="848"/>
                  </a:lnTo>
                  <a:lnTo>
                    <a:pt x="1118" y="846"/>
                  </a:lnTo>
                  <a:lnTo>
                    <a:pt x="1120" y="846"/>
                  </a:lnTo>
                  <a:close/>
                  <a:moveTo>
                    <a:pt x="873" y="846"/>
                  </a:moveTo>
                  <a:lnTo>
                    <a:pt x="871" y="846"/>
                  </a:lnTo>
                  <a:lnTo>
                    <a:pt x="873" y="846"/>
                  </a:lnTo>
                  <a:lnTo>
                    <a:pt x="873" y="848"/>
                  </a:lnTo>
                  <a:lnTo>
                    <a:pt x="873" y="846"/>
                  </a:lnTo>
                  <a:lnTo>
                    <a:pt x="871" y="848"/>
                  </a:lnTo>
                  <a:lnTo>
                    <a:pt x="871" y="846"/>
                  </a:lnTo>
                  <a:lnTo>
                    <a:pt x="868" y="846"/>
                  </a:lnTo>
                  <a:lnTo>
                    <a:pt x="866" y="846"/>
                  </a:lnTo>
                  <a:lnTo>
                    <a:pt x="868" y="846"/>
                  </a:lnTo>
                  <a:lnTo>
                    <a:pt x="871" y="846"/>
                  </a:lnTo>
                  <a:lnTo>
                    <a:pt x="873" y="846"/>
                  </a:lnTo>
                  <a:close/>
                  <a:moveTo>
                    <a:pt x="1120" y="846"/>
                  </a:moveTo>
                  <a:lnTo>
                    <a:pt x="1120" y="843"/>
                  </a:lnTo>
                  <a:lnTo>
                    <a:pt x="1120" y="846"/>
                  </a:lnTo>
                  <a:close/>
                  <a:moveTo>
                    <a:pt x="1122" y="843"/>
                  </a:moveTo>
                  <a:lnTo>
                    <a:pt x="1125" y="843"/>
                  </a:lnTo>
                  <a:lnTo>
                    <a:pt x="1125" y="846"/>
                  </a:lnTo>
                  <a:lnTo>
                    <a:pt x="1125" y="848"/>
                  </a:lnTo>
                  <a:lnTo>
                    <a:pt x="1122" y="848"/>
                  </a:lnTo>
                  <a:lnTo>
                    <a:pt x="1120" y="848"/>
                  </a:lnTo>
                  <a:lnTo>
                    <a:pt x="1120" y="846"/>
                  </a:lnTo>
                  <a:lnTo>
                    <a:pt x="1122" y="846"/>
                  </a:lnTo>
                  <a:lnTo>
                    <a:pt x="1122" y="843"/>
                  </a:lnTo>
                  <a:close/>
                  <a:moveTo>
                    <a:pt x="1023" y="843"/>
                  </a:moveTo>
                  <a:lnTo>
                    <a:pt x="1023" y="846"/>
                  </a:lnTo>
                  <a:lnTo>
                    <a:pt x="1020" y="846"/>
                  </a:lnTo>
                  <a:lnTo>
                    <a:pt x="1023" y="846"/>
                  </a:lnTo>
                  <a:lnTo>
                    <a:pt x="1020" y="846"/>
                  </a:lnTo>
                  <a:lnTo>
                    <a:pt x="1020" y="843"/>
                  </a:lnTo>
                  <a:lnTo>
                    <a:pt x="1020" y="846"/>
                  </a:lnTo>
                  <a:lnTo>
                    <a:pt x="1020" y="843"/>
                  </a:lnTo>
                  <a:lnTo>
                    <a:pt x="1023" y="843"/>
                  </a:lnTo>
                  <a:close/>
                  <a:moveTo>
                    <a:pt x="612" y="843"/>
                  </a:moveTo>
                  <a:lnTo>
                    <a:pt x="615" y="843"/>
                  </a:lnTo>
                  <a:lnTo>
                    <a:pt x="615" y="846"/>
                  </a:lnTo>
                  <a:lnTo>
                    <a:pt x="612" y="846"/>
                  </a:lnTo>
                  <a:lnTo>
                    <a:pt x="612" y="843"/>
                  </a:lnTo>
                  <a:close/>
                  <a:moveTo>
                    <a:pt x="864" y="843"/>
                  </a:moveTo>
                  <a:lnTo>
                    <a:pt x="866" y="843"/>
                  </a:lnTo>
                  <a:lnTo>
                    <a:pt x="864" y="843"/>
                  </a:lnTo>
                  <a:close/>
                  <a:moveTo>
                    <a:pt x="864" y="841"/>
                  </a:moveTo>
                  <a:lnTo>
                    <a:pt x="861" y="841"/>
                  </a:lnTo>
                  <a:lnTo>
                    <a:pt x="864" y="841"/>
                  </a:lnTo>
                  <a:close/>
                  <a:moveTo>
                    <a:pt x="1042" y="841"/>
                  </a:moveTo>
                  <a:lnTo>
                    <a:pt x="1039" y="841"/>
                  </a:lnTo>
                  <a:lnTo>
                    <a:pt x="1042" y="841"/>
                  </a:lnTo>
                  <a:close/>
                  <a:moveTo>
                    <a:pt x="1042" y="839"/>
                  </a:moveTo>
                  <a:lnTo>
                    <a:pt x="1039" y="839"/>
                  </a:lnTo>
                  <a:lnTo>
                    <a:pt x="1037" y="839"/>
                  </a:lnTo>
                  <a:lnTo>
                    <a:pt x="1037" y="841"/>
                  </a:lnTo>
                  <a:lnTo>
                    <a:pt x="1035" y="841"/>
                  </a:lnTo>
                  <a:lnTo>
                    <a:pt x="1032" y="839"/>
                  </a:lnTo>
                  <a:lnTo>
                    <a:pt x="1032" y="841"/>
                  </a:lnTo>
                  <a:lnTo>
                    <a:pt x="1032" y="839"/>
                  </a:lnTo>
                  <a:lnTo>
                    <a:pt x="1032" y="841"/>
                  </a:lnTo>
                  <a:lnTo>
                    <a:pt x="1030" y="841"/>
                  </a:lnTo>
                  <a:lnTo>
                    <a:pt x="1027" y="841"/>
                  </a:lnTo>
                  <a:lnTo>
                    <a:pt x="1025" y="841"/>
                  </a:lnTo>
                  <a:lnTo>
                    <a:pt x="1025" y="843"/>
                  </a:lnTo>
                  <a:lnTo>
                    <a:pt x="1023" y="843"/>
                  </a:lnTo>
                  <a:lnTo>
                    <a:pt x="1020" y="843"/>
                  </a:lnTo>
                  <a:lnTo>
                    <a:pt x="1023" y="841"/>
                  </a:lnTo>
                  <a:lnTo>
                    <a:pt x="1025" y="841"/>
                  </a:lnTo>
                  <a:lnTo>
                    <a:pt x="1025" y="839"/>
                  </a:lnTo>
                  <a:lnTo>
                    <a:pt x="1027" y="839"/>
                  </a:lnTo>
                  <a:lnTo>
                    <a:pt x="1030" y="839"/>
                  </a:lnTo>
                  <a:lnTo>
                    <a:pt x="1032" y="836"/>
                  </a:lnTo>
                  <a:lnTo>
                    <a:pt x="1035" y="836"/>
                  </a:lnTo>
                  <a:lnTo>
                    <a:pt x="1039" y="836"/>
                  </a:lnTo>
                  <a:lnTo>
                    <a:pt x="1042" y="839"/>
                  </a:lnTo>
                  <a:close/>
                  <a:moveTo>
                    <a:pt x="1070" y="834"/>
                  </a:moveTo>
                  <a:lnTo>
                    <a:pt x="1070" y="836"/>
                  </a:lnTo>
                  <a:lnTo>
                    <a:pt x="1070" y="834"/>
                  </a:lnTo>
                  <a:lnTo>
                    <a:pt x="1070" y="836"/>
                  </a:lnTo>
                  <a:lnTo>
                    <a:pt x="1070" y="834"/>
                  </a:lnTo>
                  <a:lnTo>
                    <a:pt x="1070" y="836"/>
                  </a:lnTo>
                  <a:lnTo>
                    <a:pt x="1070" y="834"/>
                  </a:lnTo>
                  <a:close/>
                  <a:moveTo>
                    <a:pt x="1070" y="834"/>
                  </a:moveTo>
                  <a:lnTo>
                    <a:pt x="1068" y="834"/>
                  </a:lnTo>
                  <a:lnTo>
                    <a:pt x="1070" y="834"/>
                  </a:lnTo>
                  <a:close/>
                  <a:moveTo>
                    <a:pt x="1073" y="832"/>
                  </a:moveTo>
                  <a:lnTo>
                    <a:pt x="1073" y="834"/>
                  </a:lnTo>
                  <a:lnTo>
                    <a:pt x="1073" y="832"/>
                  </a:lnTo>
                  <a:lnTo>
                    <a:pt x="1073" y="834"/>
                  </a:lnTo>
                  <a:lnTo>
                    <a:pt x="1073" y="832"/>
                  </a:lnTo>
                  <a:lnTo>
                    <a:pt x="1073" y="834"/>
                  </a:lnTo>
                  <a:lnTo>
                    <a:pt x="1073" y="832"/>
                  </a:lnTo>
                  <a:close/>
                  <a:moveTo>
                    <a:pt x="968" y="827"/>
                  </a:moveTo>
                  <a:lnTo>
                    <a:pt x="966" y="827"/>
                  </a:lnTo>
                  <a:lnTo>
                    <a:pt x="968" y="827"/>
                  </a:lnTo>
                  <a:close/>
                  <a:moveTo>
                    <a:pt x="1229" y="827"/>
                  </a:moveTo>
                  <a:lnTo>
                    <a:pt x="1231" y="827"/>
                  </a:lnTo>
                  <a:lnTo>
                    <a:pt x="1229" y="827"/>
                  </a:lnTo>
                  <a:close/>
                  <a:moveTo>
                    <a:pt x="980" y="824"/>
                  </a:moveTo>
                  <a:lnTo>
                    <a:pt x="980" y="827"/>
                  </a:lnTo>
                  <a:lnTo>
                    <a:pt x="978" y="827"/>
                  </a:lnTo>
                  <a:lnTo>
                    <a:pt x="975" y="827"/>
                  </a:lnTo>
                  <a:lnTo>
                    <a:pt x="973" y="827"/>
                  </a:lnTo>
                  <a:lnTo>
                    <a:pt x="975" y="827"/>
                  </a:lnTo>
                  <a:lnTo>
                    <a:pt x="978" y="827"/>
                  </a:lnTo>
                  <a:lnTo>
                    <a:pt x="978" y="824"/>
                  </a:lnTo>
                  <a:lnTo>
                    <a:pt x="980" y="824"/>
                  </a:lnTo>
                  <a:lnTo>
                    <a:pt x="980" y="827"/>
                  </a:lnTo>
                  <a:lnTo>
                    <a:pt x="980" y="824"/>
                  </a:lnTo>
                  <a:close/>
                  <a:moveTo>
                    <a:pt x="940" y="822"/>
                  </a:moveTo>
                  <a:lnTo>
                    <a:pt x="942" y="822"/>
                  </a:lnTo>
                  <a:lnTo>
                    <a:pt x="940" y="822"/>
                  </a:lnTo>
                  <a:close/>
                  <a:moveTo>
                    <a:pt x="1369" y="822"/>
                  </a:moveTo>
                  <a:lnTo>
                    <a:pt x="1367" y="822"/>
                  </a:lnTo>
                  <a:lnTo>
                    <a:pt x="1369" y="822"/>
                  </a:lnTo>
                  <a:close/>
                  <a:moveTo>
                    <a:pt x="1255" y="822"/>
                  </a:moveTo>
                  <a:lnTo>
                    <a:pt x="1253" y="822"/>
                  </a:lnTo>
                  <a:lnTo>
                    <a:pt x="1255" y="822"/>
                  </a:lnTo>
                  <a:close/>
                  <a:moveTo>
                    <a:pt x="942" y="822"/>
                  </a:moveTo>
                  <a:lnTo>
                    <a:pt x="944" y="822"/>
                  </a:lnTo>
                  <a:lnTo>
                    <a:pt x="942" y="822"/>
                  </a:lnTo>
                  <a:lnTo>
                    <a:pt x="940" y="822"/>
                  </a:lnTo>
                  <a:lnTo>
                    <a:pt x="940" y="820"/>
                  </a:lnTo>
                  <a:lnTo>
                    <a:pt x="940" y="822"/>
                  </a:lnTo>
                  <a:lnTo>
                    <a:pt x="942" y="822"/>
                  </a:lnTo>
                  <a:close/>
                  <a:moveTo>
                    <a:pt x="579" y="820"/>
                  </a:moveTo>
                  <a:lnTo>
                    <a:pt x="581" y="820"/>
                  </a:lnTo>
                  <a:lnTo>
                    <a:pt x="581" y="822"/>
                  </a:lnTo>
                  <a:lnTo>
                    <a:pt x="579" y="820"/>
                  </a:lnTo>
                  <a:close/>
                  <a:moveTo>
                    <a:pt x="1096" y="820"/>
                  </a:moveTo>
                  <a:lnTo>
                    <a:pt x="1094" y="820"/>
                  </a:lnTo>
                  <a:lnTo>
                    <a:pt x="1096" y="820"/>
                  </a:lnTo>
                  <a:lnTo>
                    <a:pt x="1094" y="820"/>
                  </a:lnTo>
                  <a:lnTo>
                    <a:pt x="1096" y="820"/>
                  </a:lnTo>
                  <a:close/>
                  <a:moveTo>
                    <a:pt x="579" y="820"/>
                  </a:moveTo>
                  <a:lnTo>
                    <a:pt x="577" y="820"/>
                  </a:lnTo>
                  <a:lnTo>
                    <a:pt x="579" y="820"/>
                  </a:lnTo>
                  <a:close/>
                  <a:moveTo>
                    <a:pt x="1253" y="822"/>
                  </a:moveTo>
                  <a:lnTo>
                    <a:pt x="1255" y="822"/>
                  </a:lnTo>
                  <a:lnTo>
                    <a:pt x="1253" y="822"/>
                  </a:lnTo>
                  <a:lnTo>
                    <a:pt x="1250" y="822"/>
                  </a:lnTo>
                  <a:lnTo>
                    <a:pt x="1248" y="822"/>
                  </a:lnTo>
                  <a:lnTo>
                    <a:pt x="1246" y="822"/>
                  </a:lnTo>
                  <a:lnTo>
                    <a:pt x="1243" y="822"/>
                  </a:lnTo>
                  <a:lnTo>
                    <a:pt x="1241" y="822"/>
                  </a:lnTo>
                  <a:lnTo>
                    <a:pt x="1239" y="822"/>
                  </a:lnTo>
                  <a:lnTo>
                    <a:pt x="1239" y="824"/>
                  </a:lnTo>
                  <a:lnTo>
                    <a:pt x="1236" y="824"/>
                  </a:lnTo>
                  <a:lnTo>
                    <a:pt x="1234" y="824"/>
                  </a:lnTo>
                  <a:lnTo>
                    <a:pt x="1231" y="824"/>
                  </a:lnTo>
                  <a:lnTo>
                    <a:pt x="1234" y="824"/>
                  </a:lnTo>
                  <a:lnTo>
                    <a:pt x="1234" y="822"/>
                  </a:lnTo>
                  <a:lnTo>
                    <a:pt x="1236" y="822"/>
                  </a:lnTo>
                  <a:lnTo>
                    <a:pt x="1239" y="822"/>
                  </a:lnTo>
                  <a:lnTo>
                    <a:pt x="1241" y="822"/>
                  </a:lnTo>
                  <a:lnTo>
                    <a:pt x="1243" y="822"/>
                  </a:lnTo>
                  <a:lnTo>
                    <a:pt x="1250" y="820"/>
                  </a:lnTo>
                  <a:lnTo>
                    <a:pt x="1253" y="820"/>
                  </a:lnTo>
                  <a:lnTo>
                    <a:pt x="1255" y="820"/>
                  </a:lnTo>
                  <a:lnTo>
                    <a:pt x="1253" y="822"/>
                  </a:lnTo>
                  <a:close/>
                  <a:moveTo>
                    <a:pt x="1208" y="820"/>
                  </a:moveTo>
                  <a:lnTo>
                    <a:pt x="1208" y="817"/>
                  </a:lnTo>
                  <a:lnTo>
                    <a:pt x="1208" y="820"/>
                  </a:lnTo>
                  <a:close/>
                  <a:moveTo>
                    <a:pt x="1125" y="817"/>
                  </a:moveTo>
                  <a:lnTo>
                    <a:pt x="1125" y="820"/>
                  </a:lnTo>
                  <a:lnTo>
                    <a:pt x="1125" y="817"/>
                  </a:lnTo>
                  <a:close/>
                  <a:moveTo>
                    <a:pt x="574" y="817"/>
                  </a:moveTo>
                  <a:lnTo>
                    <a:pt x="577" y="817"/>
                  </a:lnTo>
                  <a:lnTo>
                    <a:pt x="577" y="820"/>
                  </a:lnTo>
                  <a:lnTo>
                    <a:pt x="574" y="820"/>
                  </a:lnTo>
                  <a:lnTo>
                    <a:pt x="574" y="817"/>
                  </a:lnTo>
                  <a:close/>
                  <a:moveTo>
                    <a:pt x="980" y="817"/>
                  </a:moveTo>
                  <a:lnTo>
                    <a:pt x="978" y="820"/>
                  </a:lnTo>
                  <a:lnTo>
                    <a:pt x="975" y="820"/>
                  </a:lnTo>
                  <a:lnTo>
                    <a:pt x="978" y="820"/>
                  </a:lnTo>
                  <a:lnTo>
                    <a:pt x="978" y="817"/>
                  </a:lnTo>
                  <a:lnTo>
                    <a:pt x="980" y="817"/>
                  </a:lnTo>
                  <a:close/>
                  <a:moveTo>
                    <a:pt x="1132" y="817"/>
                  </a:moveTo>
                  <a:lnTo>
                    <a:pt x="1134" y="817"/>
                  </a:lnTo>
                  <a:lnTo>
                    <a:pt x="1137" y="817"/>
                  </a:lnTo>
                  <a:lnTo>
                    <a:pt x="1137" y="820"/>
                  </a:lnTo>
                  <a:lnTo>
                    <a:pt x="1139" y="820"/>
                  </a:lnTo>
                  <a:lnTo>
                    <a:pt x="1137" y="820"/>
                  </a:lnTo>
                  <a:lnTo>
                    <a:pt x="1134" y="820"/>
                  </a:lnTo>
                  <a:lnTo>
                    <a:pt x="1132" y="820"/>
                  </a:lnTo>
                  <a:lnTo>
                    <a:pt x="1132" y="817"/>
                  </a:lnTo>
                  <a:close/>
                  <a:moveTo>
                    <a:pt x="978" y="817"/>
                  </a:moveTo>
                  <a:lnTo>
                    <a:pt x="980" y="817"/>
                  </a:lnTo>
                  <a:lnTo>
                    <a:pt x="978" y="817"/>
                  </a:lnTo>
                  <a:close/>
                  <a:moveTo>
                    <a:pt x="1355" y="815"/>
                  </a:moveTo>
                  <a:lnTo>
                    <a:pt x="1355" y="817"/>
                  </a:lnTo>
                  <a:lnTo>
                    <a:pt x="1355" y="815"/>
                  </a:lnTo>
                  <a:close/>
                  <a:moveTo>
                    <a:pt x="1357" y="815"/>
                  </a:moveTo>
                  <a:lnTo>
                    <a:pt x="1360" y="815"/>
                  </a:lnTo>
                  <a:lnTo>
                    <a:pt x="1362" y="815"/>
                  </a:lnTo>
                  <a:lnTo>
                    <a:pt x="1362" y="817"/>
                  </a:lnTo>
                  <a:lnTo>
                    <a:pt x="1360" y="817"/>
                  </a:lnTo>
                  <a:lnTo>
                    <a:pt x="1360" y="815"/>
                  </a:lnTo>
                  <a:lnTo>
                    <a:pt x="1357" y="815"/>
                  </a:lnTo>
                  <a:lnTo>
                    <a:pt x="1355" y="815"/>
                  </a:lnTo>
                  <a:lnTo>
                    <a:pt x="1357" y="815"/>
                  </a:lnTo>
                  <a:lnTo>
                    <a:pt x="1355" y="815"/>
                  </a:lnTo>
                  <a:lnTo>
                    <a:pt x="1357" y="815"/>
                  </a:lnTo>
                  <a:close/>
                  <a:moveTo>
                    <a:pt x="987" y="815"/>
                  </a:moveTo>
                  <a:lnTo>
                    <a:pt x="989" y="815"/>
                  </a:lnTo>
                  <a:lnTo>
                    <a:pt x="987" y="815"/>
                  </a:lnTo>
                  <a:close/>
                  <a:moveTo>
                    <a:pt x="1360" y="815"/>
                  </a:moveTo>
                  <a:lnTo>
                    <a:pt x="1360" y="813"/>
                  </a:lnTo>
                  <a:lnTo>
                    <a:pt x="1360" y="815"/>
                  </a:lnTo>
                  <a:close/>
                  <a:moveTo>
                    <a:pt x="1177" y="815"/>
                  </a:moveTo>
                  <a:lnTo>
                    <a:pt x="1175" y="815"/>
                  </a:lnTo>
                  <a:lnTo>
                    <a:pt x="1175" y="813"/>
                  </a:lnTo>
                  <a:lnTo>
                    <a:pt x="1177" y="815"/>
                  </a:lnTo>
                  <a:close/>
                  <a:moveTo>
                    <a:pt x="989" y="813"/>
                  </a:moveTo>
                  <a:lnTo>
                    <a:pt x="987" y="813"/>
                  </a:lnTo>
                  <a:lnTo>
                    <a:pt x="989" y="813"/>
                  </a:lnTo>
                  <a:lnTo>
                    <a:pt x="987" y="813"/>
                  </a:lnTo>
                  <a:lnTo>
                    <a:pt x="985" y="815"/>
                  </a:lnTo>
                  <a:lnTo>
                    <a:pt x="985" y="813"/>
                  </a:lnTo>
                  <a:lnTo>
                    <a:pt x="987" y="813"/>
                  </a:lnTo>
                  <a:lnTo>
                    <a:pt x="989" y="813"/>
                  </a:lnTo>
                  <a:close/>
                  <a:moveTo>
                    <a:pt x="1172" y="813"/>
                  </a:moveTo>
                  <a:lnTo>
                    <a:pt x="1175" y="813"/>
                  </a:lnTo>
                  <a:lnTo>
                    <a:pt x="1177" y="813"/>
                  </a:lnTo>
                  <a:lnTo>
                    <a:pt x="1179" y="815"/>
                  </a:lnTo>
                  <a:lnTo>
                    <a:pt x="1177" y="815"/>
                  </a:lnTo>
                  <a:lnTo>
                    <a:pt x="1177" y="813"/>
                  </a:lnTo>
                  <a:lnTo>
                    <a:pt x="1175" y="813"/>
                  </a:lnTo>
                  <a:lnTo>
                    <a:pt x="1172" y="813"/>
                  </a:lnTo>
                  <a:lnTo>
                    <a:pt x="1170" y="813"/>
                  </a:lnTo>
                  <a:lnTo>
                    <a:pt x="1172" y="813"/>
                  </a:lnTo>
                  <a:close/>
                  <a:moveTo>
                    <a:pt x="1170" y="813"/>
                  </a:moveTo>
                  <a:lnTo>
                    <a:pt x="1167" y="813"/>
                  </a:lnTo>
                  <a:lnTo>
                    <a:pt x="1170" y="813"/>
                  </a:lnTo>
                  <a:close/>
                  <a:moveTo>
                    <a:pt x="1158" y="813"/>
                  </a:moveTo>
                  <a:lnTo>
                    <a:pt x="1156" y="813"/>
                  </a:lnTo>
                  <a:lnTo>
                    <a:pt x="1156" y="810"/>
                  </a:lnTo>
                  <a:lnTo>
                    <a:pt x="1158" y="810"/>
                  </a:lnTo>
                  <a:lnTo>
                    <a:pt x="1158" y="813"/>
                  </a:lnTo>
                  <a:close/>
                  <a:moveTo>
                    <a:pt x="1141" y="810"/>
                  </a:moveTo>
                  <a:lnTo>
                    <a:pt x="1144" y="810"/>
                  </a:lnTo>
                  <a:lnTo>
                    <a:pt x="1141" y="810"/>
                  </a:lnTo>
                  <a:close/>
                  <a:moveTo>
                    <a:pt x="997" y="810"/>
                  </a:moveTo>
                  <a:lnTo>
                    <a:pt x="994" y="810"/>
                  </a:lnTo>
                  <a:lnTo>
                    <a:pt x="992" y="813"/>
                  </a:lnTo>
                  <a:lnTo>
                    <a:pt x="994" y="813"/>
                  </a:lnTo>
                  <a:lnTo>
                    <a:pt x="994" y="810"/>
                  </a:lnTo>
                  <a:lnTo>
                    <a:pt x="997" y="810"/>
                  </a:lnTo>
                  <a:close/>
                  <a:moveTo>
                    <a:pt x="992" y="810"/>
                  </a:moveTo>
                  <a:lnTo>
                    <a:pt x="992" y="808"/>
                  </a:lnTo>
                  <a:lnTo>
                    <a:pt x="992" y="810"/>
                  </a:lnTo>
                  <a:close/>
                  <a:moveTo>
                    <a:pt x="1001" y="808"/>
                  </a:moveTo>
                  <a:lnTo>
                    <a:pt x="1001" y="810"/>
                  </a:lnTo>
                  <a:lnTo>
                    <a:pt x="1001" y="808"/>
                  </a:lnTo>
                  <a:close/>
                  <a:moveTo>
                    <a:pt x="1148" y="810"/>
                  </a:moveTo>
                  <a:lnTo>
                    <a:pt x="1146" y="810"/>
                  </a:lnTo>
                  <a:lnTo>
                    <a:pt x="1144" y="810"/>
                  </a:lnTo>
                  <a:lnTo>
                    <a:pt x="1144" y="808"/>
                  </a:lnTo>
                  <a:lnTo>
                    <a:pt x="1146" y="808"/>
                  </a:lnTo>
                  <a:lnTo>
                    <a:pt x="1148" y="810"/>
                  </a:lnTo>
                  <a:close/>
                  <a:moveTo>
                    <a:pt x="994" y="808"/>
                  </a:moveTo>
                  <a:lnTo>
                    <a:pt x="992" y="808"/>
                  </a:lnTo>
                  <a:lnTo>
                    <a:pt x="994" y="808"/>
                  </a:lnTo>
                  <a:close/>
                  <a:moveTo>
                    <a:pt x="1004" y="808"/>
                  </a:moveTo>
                  <a:lnTo>
                    <a:pt x="1001" y="808"/>
                  </a:lnTo>
                  <a:lnTo>
                    <a:pt x="1004" y="808"/>
                  </a:lnTo>
                  <a:close/>
                  <a:moveTo>
                    <a:pt x="1305" y="805"/>
                  </a:moveTo>
                  <a:lnTo>
                    <a:pt x="1307" y="805"/>
                  </a:lnTo>
                  <a:lnTo>
                    <a:pt x="1305" y="805"/>
                  </a:lnTo>
                  <a:close/>
                  <a:moveTo>
                    <a:pt x="994" y="803"/>
                  </a:moveTo>
                  <a:lnTo>
                    <a:pt x="994" y="805"/>
                  </a:lnTo>
                  <a:lnTo>
                    <a:pt x="994" y="803"/>
                  </a:lnTo>
                  <a:lnTo>
                    <a:pt x="992" y="803"/>
                  </a:lnTo>
                  <a:lnTo>
                    <a:pt x="994" y="803"/>
                  </a:lnTo>
                  <a:close/>
                  <a:moveTo>
                    <a:pt x="1303" y="803"/>
                  </a:moveTo>
                  <a:lnTo>
                    <a:pt x="1305" y="803"/>
                  </a:lnTo>
                  <a:lnTo>
                    <a:pt x="1305" y="805"/>
                  </a:lnTo>
                  <a:lnTo>
                    <a:pt x="1305" y="803"/>
                  </a:lnTo>
                  <a:lnTo>
                    <a:pt x="1305" y="805"/>
                  </a:lnTo>
                  <a:lnTo>
                    <a:pt x="1303" y="803"/>
                  </a:lnTo>
                  <a:close/>
                  <a:moveTo>
                    <a:pt x="543" y="803"/>
                  </a:moveTo>
                  <a:lnTo>
                    <a:pt x="546" y="803"/>
                  </a:lnTo>
                  <a:lnTo>
                    <a:pt x="543" y="803"/>
                  </a:lnTo>
                  <a:lnTo>
                    <a:pt x="546" y="803"/>
                  </a:lnTo>
                  <a:lnTo>
                    <a:pt x="543" y="803"/>
                  </a:lnTo>
                  <a:lnTo>
                    <a:pt x="541" y="803"/>
                  </a:lnTo>
                  <a:lnTo>
                    <a:pt x="543" y="803"/>
                  </a:lnTo>
                  <a:close/>
                  <a:moveTo>
                    <a:pt x="524" y="803"/>
                  </a:moveTo>
                  <a:lnTo>
                    <a:pt x="524" y="801"/>
                  </a:lnTo>
                  <a:lnTo>
                    <a:pt x="524" y="803"/>
                  </a:lnTo>
                  <a:close/>
                  <a:moveTo>
                    <a:pt x="1476" y="803"/>
                  </a:moveTo>
                  <a:lnTo>
                    <a:pt x="1476" y="801"/>
                  </a:lnTo>
                  <a:lnTo>
                    <a:pt x="1478" y="801"/>
                  </a:lnTo>
                  <a:lnTo>
                    <a:pt x="1476" y="803"/>
                  </a:lnTo>
                  <a:close/>
                  <a:moveTo>
                    <a:pt x="1481" y="798"/>
                  </a:moveTo>
                  <a:lnTo>
                    <a:pt x="1481" y="801"/>
                  </a:lnTo>
                  <a:lnTo>
                    <a:pt x="1481" y="798"/>
                  </a:lnTo>
                  <a:close/>
                  <a:moveTo>
                    <a:pt x="1478" y="798"/>
                  </a:moveTo>
                  <a:lnTo>
                    <a:pt x="1481" y="798"/>
                  </a:lnTo>
                  <a:lnTo>
                    <a:pt x="1478" y="798"/>
                  </a:lnTo>
                  <a:lnTo>
                    <a:pt x="1478" y="801"/>
                  </a:lnTo>
                  <a:lnTo>
                    <a:pt x="1476" y="801"/>
                  </a:lnTo>
                  <a:lnTo>
                    <a:pt x="1476" y="798"/>
                  </a:lnTo>
                  <a:lnTo>
                    <a:pt x="1478" y="798"/>
                  </a:lnTo>
                  <a:close/>
                  <a:moveTo>
                    <a:pt x="529" y="796"/>
                  </a:moveTo>
                  <a:lnTo>
                    <a:pt x="529" y="798"/>
                  </a:lnTo>
                  <a:lnTo>
                    <a:pt x="529" y="796"/>
                  </a:lnTo>
                  <a:lnTo>
                    <a:pt x="529" y="798"/>
                  </a:lnTo>
                  <a:lnTo>
                    <a:pt x="527" y="796"/>
                  </a:lnTo>
                  <a:lnTo>
                    <a:pt x="529" y="796"/>
                  </a:lnTo>
                  <a:close/>
                  <a:moveTo>
                    <a:pt x="1483" y="796"/>
                  </a:moveTo>
                  <a:lnTo>
                    <a:pt x="1483" y="798"/>
                  </a:lnTo>
                  <a:lnTo>
                    <a:pt x="1483" y="796"/>
                  </a:lnTo>
                  <a:lnTo>
                    <a:pt x="1483" y="798"/>
                  </a:lnTo>
                  <a:lnTo>
                    <a:pt x="1483" y="796"/>
                  </a:lnTo>
                  <a:close/>
                  <a:moveTo>
                    <a:pt x="1300" y="801"/>
                  </a:moveTo>
                  <a:lnTo>
                    <a:pt x="1298" y="801"/>
                  </a:lnTo>
                  <a:lnTo>
                    <a:pt x="1298" y="798"/>
                  </a:lnTo>
                  <a:lnTo>
                    <a:pt x="1298" y="796"/>
                  </a:lnTo>
                  <a:lnTo>
                    <a:pt x="1300" y="796"/>
                  </a:lnTo>
                  <a:lnTo>
                    <a:pt x="1300" y="798"/>
                  </a:lnTo>
                  <a:lnTo>
                    <a:pt x="1300" y="801"/>
                  </a:lnTo>
                  <a:close/>
                  <a:moveTo>
                    <a:pt x="446" y="794"/>
                  </a:moveTo>
                  <a:lnTo>
                    <a:pt x="449" y="794"/>
                  </a:lnTo>
                  <a:lnTo>
                    <a:pt x="449" y="796"/>
                  </a:lnTo>
                  <a:lnTo>
                    <a:pt x="446" y="796"/>
                  </a:lnTo>
                  <a:lnTo>
                    <a:pt x="446" y="794"/>
                  </a:lnTo>
                  <a:close/>
                  <a:moveTo>
                    <a:pt x="441" y="794"/>
                  </a:moveTo>
                  <a:lnTo>
                    <a:pt x="441" y="791"/>
                  </a:lnTo>
                  <a:lnTo>
                    <a:pt x="441" y="794"/>
                  </a:lnTo>
                  <a:close/>
                  <a:moveTo>
                    <a:pt x="486" y="791"/>
                  </a:moveTo>
                  <a:lnTo>
                    <a:pt x="489" y="791"/>
                  </a:lnTo>
                  <a:lnTo>
                    <a:pt x="491" y="791"/>
                  </a:lnTo>
                  <a:lnTo>
                    <a:pt x="491" y="794"/>
                  </a:lnTo>
                  <a:lnTo>
                    <a:pt x="494" y="794"/>
                  </a:lnTo>
                  <a:lnTo>
                    <a:pt x="491" y="794"/>
                  </a:lnTo>
                  <a:lnTo>
                    <a:pt x="489" y="794"/>
                  </a:lnTo>
                  <a:lnTo>
                    <a:pt x="486" y="794"/>
                  </a:lnTo>
                  <a:lnTo>
                    <a:pt x="486" y="791"/>
                  </a:lnTo>
                  <a:close/>
                  <a:moveTo>
                    <a:pt x="444" y="791"/>
                  </a:moveTo>
                  <a:lnTo>
                    <a:pt x="441" y="791"/>
                  </a:lnTo>
                  <a:lnTo>
                    <a:pt x="444" y="791"/>
                  </a:lnTo>
                  <a:close/>
                  <a:moveTo>
                    <a:pt x="427" y="789"/>
                  </a:moveTo>
                  <a:lnTo>
                    <a:pt x="430" y="789"/>
                  </a:lnTo>
                  <a:lnTo>
                    <a:pt x="427" y="789"/>
                  </a:lnTo>
                  <a:lnTo>
                    <a:pt x="430" y="789"/>
                  </a:lnTo>
                  <a:lnTo>
                    <a:pt x="427" y="791"/>
                  </a:lnTo>
                  <a:lnTo>
                    <a:pt x="427" y="789"/>
                  </a:lnTo>
                  <a:close/>
                  <a:moveTo>
                    <a:pt x="430" y="789"/>
                  </a:moveTo>
                  <a:lnTo>
                    <a:pt x="427" y="789"/>
                  </a:lnTo>
                  <a:lnTo>
                    <a:pt x="430" y="789"/>
                  </a:lnTo>
                  <a:close/>
                  <a:moveTo>
                    <a:pt x="1291" y="789"/>
                  </a:moveTo>
                  <a:lnTo>
                    <a:pt x="1291" y="791"/>
                  </a:lnTo>
                  <a:lnTo>
                    <a:pt x="1293" y="791"/>
                  </a:lnTo>
                  <a:lnTo>
                    <a:pt x="1296" y="791"/>
                  </a:lnTo>
                  <a:lnTo>
                    <a:pt x="1298" y="791"/>
                  </a:lnTo>
                  <a:lnTo>
                    <a:pt x="1298" y="794"/>
                  </a:lnTo>
                  <a:lnTo>
                    <a:pt x="1300" y="794"/>
                  </a:lnTo>
                  <a:lnTo>
                    <a:pt x="1298" y="794"/>
                  </a:lnTo>
                  <a:lnTo>
                    <a:pt x="1300" y="796"/>
                  </a:lnTo>
                  <a:lnTo>
                    <a:pt x="1298" y="796"/>
                  </a:lnTo>
                  <a:lnTo>
                    <a:pt x="1298" y="794"/>
                  </a:lnTo>
                  <a:lnTo>
                    <a:pt x="1298" y="796"/>
                  </a:lnTo>
                  <a:lnTo>
                    <a:pt x="1298" y="798"/>
                  </a:lnTo>
                  <a:lnTo>
                    <a:pt x="1298" y="801"/>
                  </a:lnTo>
                  <a:lnTo>
                    <a:pt x="1300" y="801"/>
                  </a:lnTo>
                  <a:lnTo>
                    <a:pt x="1298" y="801"/>
                  </a:lnTo>
                  <a:lnTo>
                    <a:pt x="1298" y="798"/>
                  </a:lnTo>
                  <a:lnTo>
                    <a:pt x="1298" y="796"/>
                  </a:lnTo>
                  <a:lnTo>
                    <a:pt x="1296" y="796"/>
                  </a:lnTo>
                  <a:lnTo>
                    <a:pt x="1296" y="794"/>
                  </a:lnTo>
                  <a:lnTo>
                    <a:pt x="1293" y="794"/>
                  </a:lnTo>
                  <a:lnTo>
                    <a:pt x="1293" y="791"/>
                  </a:lnTo>
                  <a:lnTo>
                    <a:pt x="1291" y="791"/>
                  </a:lnTo>
                  <a:lnTo>
                    <a:pt x="1288" y="791"/>
                  </a:lnTo>
                  <a:lnTo>
                    <a:pt x="1286" y="791"/>
                  </a:lnTo>
                  <a:lnTo>
                    <a:pt x="1286" y="789"/>
                  </a:lnTo>
                  <a:lnTo>
                    <a:pt x="1284" y="789"/>
                  </a:lnTo>
                  <a:lnTo>
                    <a:pt x="1281" y="789"/>
                  </a:lnTo>
                  <a:lnTo>
                    <a:pt x="1281" y="786"/>
                  </a:lnTo>
                  <a:lnTo>
                    <a:pt x="1284" y="786"/>
                  </a:lnTo>
                  <a:lnTo>
                    <a:pt x="1286" y="789"/>
                  </a:lnTo>
                  <a:lnTo>
                    <a:pt x="1288" y="789"/>
                  </a:lnTo>
                  <a:lnTo>
                    <a:pt x="1291" y="789"/>
                  </a:lnTo>
                  <a:close/>
                  <a:moveTo>
                    <a:pt x="467" y="784"/>
                  </a:moveTo>
                  <a:lnTo>
                    <a:pt x="470" y="784"/>
                  </a:lnTo>
                  <a:lnTo>
                    <a:pt x="472" y="784"/>
                  </a:lnTo>
                  <a:lnTo>
                    <a:pt x="472" y="786"/>
                  </a:lnTo>
                  <a:lnTo>
                    <a:pt x="475" y="786"/>
                  </a:lnTo>
                  <a:lnTo>
                    <a:pt x="477" y="786"/>
                  </a:lnTo>
                  <a:lnTo>
                    <a:pt x="479" y="786"/>
                  </a:lnTo>
                  <a:lnTo>
                    <a:pt x="479" y="789"/>
                  </a:lnTo>
                  <a:lnTo>
                    <a:pt x="477" y="789"/>
                  </a:lnTo>
                  <a:lnTo>
                    <a:pt x="475" y="789"/>
                  </a:lnTo>
                  <a:lnTo>
                    <a:pt x="472" y="789"/>
                  </a:lnTo>
                  <a:lnTo>
                    <a:pt x="470" y="789"/>
                  </a:lnTo>
                  <a:lnTo>
                    <a:pt x="467" y="789"/>
                  </a:lnTo>
                  <a:lnTo>
                    <a:pt x="465" y="786"/>
                  </a:lnTo>
                  <a:lnTo>
                    <a:pt x="465" y="789"/>
                  </a:lnTo>
                  <a:lnTo>
                    <a:pt x="465" y="786"/>
                  </a:lnTo>
                  <a:lnTo>
                    <a:pt x="465" y="789"/>
                  </a:lnTo>
                  <a:lnTo>
                    <a:pt x="465" y="786"/>
                  </a:lnTo>
                  <a:lnTo>
                    <a:pt x="463" y="786"/>
                  </a:lnTo>
                  <a:lnTo>
                    <a:pt x="465" y="786"/>
                  </a:lnTo>
                  <a:lnTo>
                    <a:pt x="465" y="784"/>
                  </a:lnTo>
                  <a:lnTo>
                    <a:pt x="467" y="784"/>
                  </a:lnTo>
                  <a:close/>
                  <a:moveTo>
                    <a:pt x="437" y="782"/>
                  </a:moveTo>
                  <a:lnTo>
                    <a:pt x="439" y="782"/>
                  </a:lnTo>
                  <a:lnTo>
                    <a:pt x="439" y="784"/>
                  </a:lnTo>
                  <a:lnTo>
                    <a:pt x="437" y="784"/>
                  </a:lnTo>
                  <a:lnTo>
                    <a:pt x="437" y="782"/>
                  </a:lnTo>
                  <a:lnTo>
                    <a:pt x="437" y="784"/>
                  </a:lnTo>
                  <a:lnTo>
                    <a:pt x="434" y="784"/>
                  </a:lnTo>
                  <a:lnTo>
                    <a:pt x="432" y="784"/>
                  </a:lnTo>
                  <a:lnTo>
                    <a:pt x="432" y="786"/>
                  </a:lnTo>
                  <a:lnTo>
                    <a:pt x="432" y="784"/>
                  </a:lnTo>
                  <a:lnTo>
                    <a:pt x="434" y="784"/>
                  </a:lnTo>
                  <a:lnTo>
                    <a:pt x="437" y="784"/>
                  </a:lnTo>
                  <a:lnTo>
                    <a:pt x="437" y="782"/>
                  </a:lnTo>
                  <a:close/>
                  <a:moveTo>
                    <a:pt x="430" y="782"/>
                  </a:moveTo>
                  <a:lnTo>
                    <a:pt x="427" y="782"/>
                  </a:lnTo>
                  <a:lnTo>
                    <a:pt x="430" y="782"/>
                  </a:lnTo>
                  <a:close/>
                  <a:moveTo>
                    <a:pt x="418" y="779"/>
                  </a:moveTo>
                  <a:lnTo>
                    <a:pt x="420" y="779"/>
                  </a:lnTo>
                  <a:lnTo>
                    <a:pt x="418" y="779"/>
                  </a:lnTo>
                  <a:close/>
                  <a:moveTo>
                    <a:pt x="430" y="779"/>
                  </a:moveTo>
                  <a:lnTo>
                    <a:pt x="430" y="782"/>
                  </a:lnTo>
                  <a:lnTo>
                    <a:pt x="430" y="779"/>
                  </a:lnTo>
                  <a:close/>
                  <a:moveTo>
                    <a:pt x="1274" y="779"/>
                  </a:moveTo>
                  <a:lnTo>
                    <a:pt x="1277" y="779"/>
                  </a:lnTo>
                  <a:lnTo>
                    <a:pt x="1274" y="779"/>
                  </a:lnTo>
                  <a:lnTo>
                    <a:pt x="1274" y="782"/>
                  </a:lnTo>
                  <a:lnTo>
                    <a:pt x="1272" y="782"/>
                  </a:lnTo>
                  <a:lnTo>
                    <a:pt x="1272" y="779"/>
                  </a:lnTo>
                  <a:lnTo>
                    <a:pt x="1274" y="779"/>
                  </a:lnTo>
                  <a:lnTo>
                    <a:pt x="1272" y="779"/>
                  </a:lnTo>
                  <a:lnTo>
                    <a:pt x="1274" y="779"/>
                  </a:lnTo>
                  <a:close/>
                  <a:moveTo>
                    <a:pt x="418" y="777"/>
                  </a:moveTo>
                  <a:lnTo>
                    <a:pt x="418" y="779"/>
                  </a:lnTo>
                  <a:lnTo>
                    <a:pt x="418" y="777"/>
                  </a:lnTo>
                  <a:close/>
                  <a:moveTo>
                    <a:pt x="401" y="772"/>
                  </a:moveTo>
                  <a:lnTo>
                    <a:pt x="401" y="775"/>
                  </a:lnTo>
                  <a:lnTo>
                    <a:pt x="401" y="772"/>
                  </a:lnTo>
                  <a:close/>
                  <a:moveTo>
                    <a:pt x="1345" y="770"/>
                  </a:moveTo>
                  <a:lnTo>
                    <a:pt x="1345" y="767"/>
                  </a:lnTo>
                  <a:lnTo>
                    <a:pt x="1348" y="767"/>
                  </a:lnTo>
                  <a:lnTo>
                    <a:pt x="1348" y="770"/>
                  </a:lnTo>
                  <a:lnTo>
                    <a:pt x="1345" y="770"/>
                  </a:lnTo>
                  <a:lnTo>
                    <a:pt x="1345" y="767"/>
                  </a:lnTo>
                  <a:lnTo>
                    <a:pt x="1345" y="770"/>
                  </a:lnTo>
                  <a:close/>
                  <a:moveTo>
                    <a:pt x="1345" y="767"/>
                  </a:moveTo>
                  <a:lnTo>
                    <a:pt x="1345" y="770"/>
                  </a:lnTo>
                  <a:lnTo>
                    <a:pt x="1345" y="767"/>
                  </a:lnTo>
                  <a:close/>
                  <a:moveTo>
                    <a:pt x="1345" y="770"/>
                  </a:moveTo>
                  <a:lnTo>
                    <a:pt x="1345" y="767"/>
                  </a:lnTo>
                  <a:lnTo>
                    <a:pt x="1345" y="770"/>
                  </a:lnTo>
                  <a:close/>
                  <a:moveTo>
                    <a:pt x="1345" y="767"/>
                  </a:moveTo>
                  <a:lnTo>
                    <a:pt x="1348" y="767"/>
                  </a:lnTo>
                  <a:lnTo>
                    <a:pt x="1345" y="767"/>
                  </a:lnTo>
                  <a:close/>
                  <a:moveTo>
                    <a:pt x="1426" y="767"/>
                  </a:moveTo>
                  <a:lnTo>
                    <a:pt x="1424" y="767"/>
                  </a:lnTo>
                  <a:lnTo>
                    <a:pt x="1426" y="767"/>
                  </a:lnTo>
                  <a:lnTo>
                    <a:pt x="1424" y="767"/>
                  </a:lnTo>
                  <a:lnTo>
                    <a:pt x="1426" y="767"/>
                  </a:lnTo>
                  <a:close/>
                  <a:moveTo>
                    <a:pt x="1307" y="765"/>
                  </a:moveTo>
                  <a:lnTo>
                    <a:pt x="1310" y="765"/>
                  </a:lnTo>
                  <a:lnTo>
                    <a:pt x="1307" y="765"/>
                  </a:lnTo>
                  <a:close/>
                  <a:moveTo>
                    <a:pt x="387" y="760"/>
                  </a:moveTo>
                  <a:lnTo>
                    <a:pt x="387" y="758"/>
                  </a:lnTo>
                  <a:lnTo>
                    <a:pt x="387" y="760"/>
                  </a:lnTo>
                  <a:close/>
                  <a:moveTo>
                    <a:pt x="1303" y="758"/>
                  </a:moveTo>
                  <a:lnTo>
                    <a:pt x="1305" y="758"/>
                  </a:lnTo>
                  <a:lnTo>
                    <a:pt x="1303" y="758"/>
                  </a:lnTo>
                  <a:close/>
                  <a:moveTo>
                    <a:pt x="1305" y="758"/>
                  </a:moveTo>
                  <a:lnTo>
                    <a:pt x="1307" y="758"/>
                  </a:lnTo>
                  <a:lnTo>
                    <a:pt x="1305" y="758"/>
                  </a:lnTo>
                  <a:close/>
                  <a:moveTo>
                    <a:pt x="387" y="758"/>
                  </a:moveTo>
                  <a:lnTo>
                    <a:pt x="384" y="758"/>
                  </a:lnTo>
                  <a:lnTo>
                    <a:pt x="387" y="758"/>
                  </a:lnTo>
                  <a:close/>
                  <a:moveTo>
                    <a:pt x="1364" y="758"/>
                  </a:moveTo>
                  <a:lnTo>
                    <a:pt x="1362" y="758"/>
                  </a:lnTo>
                  <a:lnTo>
                    <a:pt x="1362" y="756"/>
                  </a:lnTo>
                  <a:lnTo>
                    <a:pt x="1362" y="758"/>
                  </a:lnTo>
                  <a:lnTo>
                    <a:pt x="1364" y="758"/>
                  </a:lnTo>
                  <a:close/>
                  <a:moveTo>
                    <a:pt x="1305" y="756"/>
                  </a:moveTo>
                  <a:lnTo>
                    <a:pt x="1305" y="758"/>
                  </a:lnTo>
                  <a:lnTo>
                    <a:pt x="1305" y="756"/>
                  </a:lnTo>
                  <a:lnTo>
                    <a:pt x="1305" y="758"/>
                  </a:lnTo>
                  <a:lnTo>
                    <a:pt x="1303" y="758"/>
                  </a:lnTo>
                  <a:lnTo>
                    <a:pt x="1305" y="758"/>
                  </a:lnTo>
                  <a:lnTo>
                    <a:pt x="1303" y="758"/>
                  </a:lnTo>
                  <a:lnTo>
                    <a:pt x="1303" y="756"/>
                  </a:lnTo>
                  <a:lnTo>
                    <a:pt x="1305" y="756"/>
                  </a:lnTo>
                  <a:close/>
                  <a:moveTo>
                    <a:pt x="1272" y="737"/>
                  </a:moveTo>
                  <a:lnTo>
                    <a:pt x="1269" y="737"/>
                  </a:lnTo>
                  <a:lnTo>
                    <a:pt x="1272" y="737"/>
                  </a:lnTo>
                  <a:close/>
                  <a:moveTo>
                    <a:pt x="1210" y="722"/>
                  </a:moveTo>
                  <a:lnTo>
                    <a:pt x="1208" y="722"/>
                  </a:lnTo>
                  <a:lnTo>
                    <a:pt x="1210" y="722"/>
                  </a:lnTo>
                  <a:close/>
                  <a:moveTo>
                    <a:pt x="1279" y="720"/>
                  </a:moveTo>
                  <a:lnTo>
                    <a:pt x="1281" y="722"/>
                  </a:lnTo>
                  <a:lnTo>
                    <a:pt x="1279" y="722"/>
                  </a:lnTo>
                  <a:lnTo>
                    <a:pt x="1279" y="720"/>
                  </a:lnTo>
                  <a:close/>
                  <a:moveTo>
                    <a:pt x="1234" y="720"/>
                  </a:moveTo>
                  <a:lnTo>
                    <a:pt x="1236" y="720"/>
                  </a:lnTo>
                  <a:lnTo>
                    <a:pt x="1234" y="720"/>
                  </a:lnTo>
                  <a:close/>
                  <a:moveTo>
                    <a:pt x="1217" y="718"/>
                  </a:moveTo>
                  <a:lnTo>
                    <a:pt x="1217" y="720"/>
                  </a:lnTo>
                  <a:lnTo>
                    <a:pt x="1217" y="718"/>
                  </a:lnTo>
                  <a:close/>
                  <a:moveTo>
                    <a:pt x="1203" y="718"/>
                  </a:moveTo>
                  <a:lnTo>
                    <a:pt x="1205" y="718"/>
                  </a:lnTo>
                  <a:lnTo>
                    <a:pt x="1205" y="720"/>
                  </a:lnTo>
                  <a:lnTo>
                    <a:pt x="1205" y="718"/>
                  </a:lnTo>
                  <a:lnTo>
                    <a:pt x="1203" y="718"/>
                  </a:lnTo>
                  <a:close/>
                  <a:moveTo>
                    <a:pt x="1203" y="718"/>
                  </a:moveTo>
                  <a:lnTo>
                    <a:pt x="1201" y="718"/>
                  </a:lnTo>
                  <a:lnTo>
                    <a:pt x="1201" y="720"/>
                  </a:lnTo>
                  <a:lnTo>
                    <a:pt x="1201" y="718"/>
                  </a:lnTo>
                  <a:lnTo>
                    <a:pt x="1203" y="718"/>
                  </a:lnTo>
                  <a:close/>
                  <a:moveTo>
                    <a:pt x="1208" y="718"/>
                  </a:moveTo>
                  <a:lnTo>
                    <a:pt x="1205" y="718"/>
                  </a:lnTo>
                  <a:lnTo>
                    <a:pt x="1208" y="718"/>
                  </a:lnTo>
                  <a:close/>
                  <a:moveTo>
                    <a:pt x="1215" y="715"/>
                  </a:moveTo>
                  <a:lnTo>
                    <a:pt x="1215" y="718"/>
                  </a:lnTo>
                  <a:lnTo>
                    <a:pt x="1213" y="718"/>
                  </a:lnTo>
                  <a:lnTo>
                    <a:pt x="1210" y="720"/>
                  </a:lnTo>
                  <a:lnTo>
                    <a:pt x="1210" y="718"/>
                  </a:lnTo>
                  <a:lnTo>
                    <a:pt x="1213" y="718"/>
                  </a:lnTo>
                  <a:lnTo>
                    <a:pt x="1213" y="715"/>
                  </a:lnTo>
                  <a:lnTo>
                    <a:pt x="1215" y="715"/>
                  </a:lnTo>
                  <a:close/>
                  <a:moveTo>
                    <a:pt x="1234" y="715"/>
                  </a:moveTo>
                  <a:lnTo>
                    <a:pt x="1236" y="718"/>
                  </a:lnTo>
                  <a:lnTo>
                    <a:pt x="1239" y="718"/>
                  </a:lnTo>
                  <a:lnTo>
                    <a:pt x="1236" y="718"/>
                  </a:lnTo>
                  <a:lnTo>
                    <a:pt x="1234" y="718"/>
                  </a:lnTo>
                  <a:lnTo>
                    <a:pt x="1236" y="718"/>
                  </a:lnTo>
                  <a:lnTo>
                    <a:pt x="1234" y="718"/>
                  </a:lnTo>
                  <a:lnTo>
                    <a:pt x="1234" y="715"/>
                  </a:lnTo>
                  <a:close/>
                  <a:moveTo>
                    <a:pt x="1229" y="715"/>
                  </a:moveTo>
                  <a:lnTo>
                    <a:pt x="1231" y="715"/>
                  </a:lnTo>
                  <a:lnTo>
                    <a:pt x="1231" y="718"/>
                  </a:lnTo>
                  <a:lnTo>
                    <a:pt x="1229" y="715"/>
                  </a:lnTo>
                  <a:close/>
                  <a:moveTo>
                    <a:pt x="1205" y="715"/>
                  </a:moveTo>
                  <a:lnTo>
                    <a:pt x="1208" y="715"/>
                  </a:lnTo>
                  <a:lnTo>
                    <a:pt x="1210" y="715"/>
                  </a:lnTo>
                  <a:lnTo>
                    <a:pt x="1213" y="715"/>
                  </a:lnTo>
                  <a:lnTo>
                    <a:pt x="1210" y="715"/>
                  </a:lnTo>
                  <a:lnTo>
                    <a:pt x="1213" y="715"/>
                  </a:lnTo>
                  <a:lnTo>
                    <a:pt x="1210" y="715"/>
                  </a:lnTo>
                  <a:lnTo>
                    <a:pt x="1208" y="715"/>
                  </a:lnTo>
                  <a:lnTo>
                    <a:pt x="1210" y="715"/>
                  </a:lnTo>
                  <a:lnTo>
                    <a:pt x="1210" y="718"/>
                  </a:lnTo>
                  <a:lnTo>
                    <a:pt x="1208" y="718"/>
                  </a:lnTo>
                  <a:lnTo>
                    <a:pt x="1205" y="718"/>
                  </a:lnTo>
                  <a:lnTo>
                    <a:pt x="1205" y="715"/>
                  </a:lnTo>
                  <a:lnTo>
                    <a:pt x="1205" y="718"/>
                  </a:lnTo>
                  <a:lnTo>
                    <a:pt x="1205" y="715"/>
                  </a:lnTo>
                  <a:lnTo>
                    <a:pt x="1203" y="715"/>
                  </a:lnTo>
                  <a:lnTo>
                    <a:pt x="1205" y="715"/>
                  </a:lnTo>
                  <a:lnTo>
                    <a:pt x="1208" y="715"/>
                  </a:lnTo>
                  <a:lnTo>
                    <a:pt x="1210" y="715"/>
                  </a:lnTo>
                  <a:lnTo>
                    <a:pt x="1208" y="715"/>
                  </a:lnTo>
                  <a:lnTo>
                    <a:pt x="1205" y="715"/>
                  </a:lnTo>
                  <a:close/>
                  <a:moveTo>
                    <a:pt x="1182" y="715"/>
                  </a:moveTo>
                  <a:lnTo>
                    <a:pt x="1179" y="715"/>
                  </a:lnTo>
                  <a:lnTo>
                    <a:pt x="1182" y="715"/>
                  </a:lnTo>
                  <a:close/>
                  <a:moveTo>
                    <a:pt x="1179" y="715"/>
                  </a:moveTo>
                  <a:lnTo>
                    <a:pt x="1179" y="713"/>
                  </a:lnTo>
                  <a:lnTo>
                    <a:pt x="1179" y="715"/>
                  </a:lnTo>
                  <a:close/>
                  <a:moveTo>
                    <a:pt x="1182" y="713"/>
                  </a:moveTo>
                  <a:lnTo>
                    <a:pt x="1179" y="713"/>
                  </a:lnTo>
                  <a:lnTo>
                    <a:pt x="1182" y="715"/>
                  </a:lnTo>
                  <a:lnTo>
                    <a:pt x="1179" y="715"/>
                  </a:lnTo>
                  <a:lnTo>
                    <a:pt x="1179" y="713"/>
                  </a:lnTo>
                  <a:lnTo>
                    <a:pt x="1182" y="713"/>
                  </a:lnTo>
                  <a:close/>
                  <a:moveTo>
                    <a:pt x="1236" y="713"/>
                  </a:moveTo>
                  <a:lnTo>
                    <a:pt x="1236" y="715"/>
                  </a:lnTo>
                  <a:lnTo>
                    <a:pt x="1236" y="713"/>
                  </a:lnTo>
                  <a:close/>
                  <a:moveTo>
                    <a:pt x="1213" y="713"/>
                  </a:moveTo>
                  <a:lnTo>
                    <a:pt x="1215" y="713"/>
                  </a:lnTo>
                  <a:lnTo>
                    <a:pt x="1215" y="715"/>
                  </a:lnTo>
                  <a:lnTo>
                    <a:pt x="1213" y="715"/>
                  </a:lnTo>
                  <a:lnTo>
                    <a:pt x="1215" y="715"/>
                  </a:lnTo>
                  <a:lnTo>
                    <a:pt x="1213" y="715"/>
                  </a:lnTo>
                  <a:lnTo>
                    <a:pt x="1213" y="713"/>
                  </a:lnTo>
                  <a:close/>
                  <a:moveTo>
                    <a:pt x="1213" y="713"/>
                  </a:moveTo>
                  <a:lnTo>
                    <a:pt x="1215" y="713"/>
                  </a:lnTo>
                  <a:lnTo>
                    <a:pt x="1213" y="713"/>
                  </a:lnTo>
                  <a:lnTo>
                    <a:pt x="1215" y="713"/>
                  </a:lnTo>
                  <a:lnTo>
                    <a:pt x="1213" y="713"/>
                  </a:lnTo>
                  <a:lnTo>
                    <a:pt x="1210" y="713"/>
                  </a:lnTo>
                  <a:lnTo>
                    <a:pt x="1213" y="713"/>
                  </a:lnTo>
                  <a:close/>
                  <a:moveTo>
                    <a:pt x="1189" y="710"/>
                  </a:moveTo>
                  <a:lnTo>
                    <a:pt x="1191" y="713"/>
                  </a:lnTo>
                  <a:lnTo>
                    <a:pt x="1194" y="713"/>
                  </a:lnTo>
                  <a:lnTo>
                    <a:pt x="1191" y="713"/>
                  </a:lnTo>
                  <a:lnTo>
                    <a:pt x="1189" y="710"/>
                  </a:lnTo>
                  <a:close/>
                  <a:moveTo>
                    <a:pt x="1227" y="710"/>
                  </a:moveTo>
                  <a:lnTo>
                    <a:pt x="1224" y="710"/>
                  </a:lnTo>
                  <a:lnTo>
                    <a:pt x="1227" y="710"/>
                  </a:lnTo>
                  <a:close/>
                  <a:moveTo>
                    <a:pt x="1186" y="710"/>
                  </a:moveTo>
                  <a:lnTo>
                    <a:pt x="1189" y="710"/>
                  </a:lnTo>
                  <a:lnTo>
                    <a:pt x="1186" y="710"/>
                  </a:lnTo>
                  <a:close/>
                  <a:moveTo>
                    <a:pt x="1177" y="710"/>
                  </a:moveTo>
                  <a:lnTo>
                    <a:pt x="1175" y="710"/>
                  </a:lnTo>
                  <a:lnTo>
                    <a:pt x="1177" y="710"/>
                  </a:lnTo>
                  <a:close/>
                  <a:moveTo>
                    <a:pt x="1208" y="708"/>
                  </a:moveTo>
                  <a:lnTo>
                    <a:pt x="1205" y="708"/>
                  </a:lnTo>
                  <a:lnTo>
                    <a:pt x="1208" y="708"/>
                  </a:lnTo>
                  <a:close/>
                  <a:moveTo>
                    <a:pt x="1144" y="708"/>
                  </a:moveTo>
                  <a:lnTo>
                    <a:pt x="1146" y="708"/>
                  </a:lnTo>
                  <a:lnTo>
                    <a:pt x="1148" y="708"/>
                  </a:lnTo>
                  <a:lnTo>
                    <a:pt x="1148" y="710"/>
                  </a:lnTo>
                  <a:lnTo>
                    <a:pt x="1151" y="710"/>
                  </a:lnTo>
                  <a:lnTo>
                    <a:pt x="1148" y="710"/>
                  </a:lnTo>
                  <a:lnTo>
                    <a:pt x="1146" y="710"/>
                  </a:lnTo>
                  <a:lnTo>
                    <a:pt x="1144" y="710"/>
                  </a:lnTo>
                  <a:lnTo>
                    <a:pt x="1144" y="708"/>
                  </a:lnTo>
                  <a:lnTo>
                    <a:pt x="1141" y="708"/>
                  </a:lnTo>
                  <a:lnTo>
                    <a:pt x="1144" y="708"/>
                  </a:lnTo>
                  <a:close/>
                  <a:moveTo>
                    <a:pt x="1110" y="699"/>
                  </a:moveTo>
                  <a:lnTo>
                    <a:pt x="1113" y="699"/>
                  </a:lnTo>
                  <a:lnTo>
                    <a:pt x="1110" y="699"/>
                  </a:lnTo>
                  <a:lnTo>
                    <a:pt x="1113" y="699"/>
                  </a:lnTo>
                  <a:lnTo>
                    <a:pt x="1113" y="701"/>
                  </a:lnTo>
                  <a:lnTo>
                    <a:pt x="1113" y="699"/>
                  </a:lnTo>
                  <a:lnTo>
                    <a:pt x="1110" y="699"/>
                  </a:lnTo>
                  <a:close/>
                  <a:moveTo>
                    <a:pt x="1110" y="699"/>
                  </a:moveTo>
                  <a:lnTo>
                    <a:pt x="1108" y="699"/>
                  </a:lnTo>
                  <a:lnTo>
                    <a:pt x="1110" y="699"/>
                  </a:lnTo>
                  <a:lnTo>
                    <a:pt x="1108" y="699"/>
                  </a:lnTo>
                  <a:lnTo>
                    <a:pt x="1108" y="701"/>
                  </a:lnTo>
                  <a:lnTo>
                    <a:pt x="1110" y="701"/>
                  </a:lnTo>
                  <a:lnTo>
                    <a:pt x="1108" y="701"/>
                  </a:lnTo>
                  <a:lnTo>
                    <a:pt x="1108" y="699"/>
                  </a:lnTo>
                  <a:lnTo>
                    <a:pt x="1106" y="699"/>
                  </a:lnTo>
                  <a:lnTo>
                    <a:pt x="1103" y="699"/>
                  </a:lnTo>
                  <a:lnTo>
                    <a:pt x="1103" y="696"/>
                  </a:lnTo>
                  <a:lnTo>
                    <a:pt x="1106" y="696"/>
                  </a:lnTo>
                  <a:lnTo>
                    <a:pt x="1106" y="699"/>
                  </a:lnTo>
                  <a:lnTo>
                    <a:pt x="1106" y="696"/>
                  </a:lnTo>
                  <a:lnTo>
                    <a:pt x="1108" y="696"/>
                  </a:lnTo>
                  <a:lnTo>
                    <a:pt x="1110" y="696"/>
                  </a:lnTo>
                  <a:lnTo>
                    <a:pt x="1110" y="699"/>
                  </a:lnTo>
                  <a:lnTo>
                    <a:pt x="1108" y="699"/>
                  </a:lnTo>
                  <a:lnTo>
                    <a:pt x="1110" y="699"/>
                  </a:lnTo>
                  <a:lnTo>
                    <a:pt x="1108" y="699"/>
                  </a:lnTo>
                  <a:lnTo>
                    <a:pt x="1110" y="699"/>
                  </a:lnTo>
                  <a:close/>
                  <a:moveTo>
                    <a:pt x="1110" y="696"/>
                  </a:moveTo>
                  <a:lnTo>
                    <a:pt x="1108" y="694"/>
                  </a:lnTo>
                  <a:lnTo>
                    <a:pt x="1110" y="694"/>
                  </a:lnTo>
                  <a:lnTo>
                    <a:pt x="1110" y="696"/>
                  </a:lnTo>
                  <a:close/>
                  <a:moveTo>
                    <a:pt x="1099" y="691"/>
                  </a:moveTo>
                  <a:lnTo>
                    <a:pt x="1096" y="691"/>
                  </a:lnTo>
                  <a:lnTo>
                    <a:pt x="1099" y="691"/>
                  </a:lnTo>
                  <a:close/>
                  <a:moveTo>
                    <a:pt x="1094" y="687"/>
                  </a:moveTo>
                  <a:lnTo>
                    <a:pt x="1094" y="689"/>
                  </a:lnTo>
                  <a:lnTo>
                    <a:pt x="1094" y="687"/>
                  </a:lnTo>
                  <a:close/>
                  <a:moveTo>
                    <a:pt x="1092" y="687"/>
                  </a:moveTo>
                  <a:lnTo>
                    <a:pt x="1094" y="687"/>
                  </a:lnTo>
                  <a:lnTo>
                    <a:pt x="1094" y="689"/>
                  </a:lnTo>
                  <a:lnTo>
                    <a:pt x="1094" y="691"/>
                  </a:lnTo>
                  <a:lnTo>
                    <a:pt x="1096" y="691"/>
                  </a:lnTo>
                  <a:lnTo>
                    <a:pt x="1094" y="691"/>
                  </a:lnTo>
                  <a:lnTo>
                    <a:pt x="1094" y="689"/>
                  </a:lnTo>
                  <a:lnTo>
                    <a:pt x="1092" y="689"/>
                  </a:lnTo>
                  <a:lnTo>
                    <a:pt x="1092" y="687"/>
                  </a:lnTo>
                  <a:close/>
                  <a:moveTo>
                    <a:pt x="1108" y="684"/>
                  </a:moveTo>
                  <a:lnTo>
                    <a:pt x="1106" y="684"/>
                  </a:lnTo>
                  <a:lnTo>
                    <a:pt x="1108" y="684"/>
                  </a:lnTo>
                  <a:close/>
                  <a:moveTo>
                    <a:pt x="1108" y="684"/>
                  </a:moveTo>
                  <a:lnTo>
                    <a:pt x="1110" y="684"/>
                  </a:lnTo>
                  <a:lnTo>
                    <a:pt x="1108" y="684"/>
                  </a:lnTo>
                  <a:close/>
                  <a:moveTo>
                    <a:pt x="1125" y="682"/>
                  </a:moveTo>
                  <a:lnTo>
                    <a:pt x="1127" y="684"/>
                  </a:lnTo>
                  <a:lnTo>
                    <a:pt x="1125" y="684"/>
                  </a:lnTo>
                  <a:lnTo>
                    <a:pt x="1122" y="684"/>
                  </a:lnTo>
                  <a:lnTo>
                    <a:pt x="1122" y="682"/>
                  </a:lnTo>
                  <a:lnTo>
                    <a:pt x="1125" y="682"/>
                  </a:lnTo>
                  <a:close/>
                  <a:moveTo>
                    <a:pt x="1120" y="682"/>
                  </a:moveTo>
                  <a:lnTo>
                    <a:pt x="1118" y="682"/>
                  </a:lnTo>
                  <a:lnTo>
                    <a:pt x="1120" y="682"/>
                  </a:lnTo>
                  <a:close/>
                  <a:moveTo>
                    <a:pt x="1122" y="682"/>
                  </a:moveTo>
                  <a:lnTo>
                    <a:pt x="1125" y="682"/>
                  </a:lnTo>
                  <a:lnTo>
                    <a:pt x="1127" y="682"/>
                  </a:lnTo>
                  <a:lnTo>
                    <a:pt x="1129" y="682"/>
                  </a:lnTo>
                  <a:lnTo>
                    <a:pt x="1129" y="684"/>
                  </a:lnTo>
                  <a:lnTo>
                    <a:pt x="1127" y="684"/>
                  </a:lnTo>
                  <a:lnTo>
                    <a:pt x="1127" y="682"/>
                  </a:lnTo>
                  <a:lnTo>
                    <a:pt x="1125" y="682"/>
                  </a:lnTo>
                  <a:lnTo>
                    <a:pt x="1127" y="682"/>
                  </a:lnTo>
                  <a:lnTo>
                    <a:pt x="1125" y="682"/>
                  </a:lnTo>
                  <a:lnTo>
                    <a:pt x="1122" y="682"/>
                  </a:lnTo>
                  <a:lnTo>
                    <a:pt x="1122" y="684"/>
                  </a:lnTo>
                  <a:lnTo>
                    <a:pt x="1120" y="684"/>
                  </a:lnTo>
                  <a:lnTo>
                    <a:pt x="1122" y="684"/>
                  </a:lnTo>
                  <a:lnTo>
                    <a:pt x="1120" y="684"/>
                  </a:lnTo>
                  <a:lnTo>
                    <a:pt x="1120" y="682"/>
                  </a:lnTo>
                  <a:lnTo>
                    <a:pt x="1122" y="682"/>
                  </a:lnTo>
                  <a:close/>
                  <a:moveTo>
                    <a:pt x="1108" y="682"/>
                  </a:moveTo>
                  <a:lnTo>
                    <a:pt x="1108" y="680"/>
                  </a:lnTo>
                  <a:lnTo>
                    <a:pt x="1108" y="682"/>
                  </a:lnTo>
                  <a:close/>
                  <a:moveTo>
                    <a:pt x="1110" y="680"/>
                  </a:moveTo>
                  <a:lnTo>
                    <a:pt x="1113" y="680"/>
                  </a:lnTo>
                  <a:lnTo>
                    <a:pt x="1113" y="682"/>
                  </a:lnTo>
                  <a:lnTo>
                    <a:pt x="1113" y="680"/>
                  </a:lnTo>
                  <a:lnTo>
                    <a:pt x="1113" y="682"/>
                  </a:lnTo>
                  <a:lnTo>
                    <a:pt x="1113" y="684"/>
                  </a:lnTo>
                  <a:lnTo>
                    <a:pt x="1113" y="682"/>
                  </a:lnTo>
                  <a:lnTo>
                    <a:pt x="1113" y="684"/>
                  </a:lnTo>
                  <a:lnTo>
                    <a:pt x="1110" y="684"/>
                  </a:lnTo>
                  <a:lnTo>
                    <a:pt x="1110" y="682"/>
                  </a:lnTo>
                  <a:lnTo>
                    <a:pt x="1108" y="682"/>
                  </a:lnTo>
                  <a:lnTo>
                    <a:pt x="1110" y="682"/>
                  </a:lnTo>
                  <a:lnTo>
                    <a:pt x="1108" y="682"/>
                  </a:lnTo>
                  <a:lnTo>
                    <a:pt x="1110" y="682"/>
                  </a:lnTo>
                  <a:lnTo>
                    <a:pt x="1113" y="682"/>
                  </a:lnTo>
                  <a:lnTo>
                    <a:pt x="1110" y="682"/>
                  </a:lnTo>
                  <a:lnTo>
                    <a:pt x="1110" y="680"/>
                  </a:lnTo>
                  <a:close/>
                  <a:moveTo>
                    <a:pt x="1113" y="680"/>
                  </a:moveTo>
                  <a:lnTo>
                    <a:pt x="1113" y="677"/>
                  </a:lnTo>
                  <a:lnTo>
                    <a:pt x="1113" y="680"/>
                  </a:lnTo>
                  <a:close/>
                  <a:moveTo>
                    <a:pt x="1101" y="677"/>
                  </a:moveTo>
                  <a:lnTo>
                    <a:pt x="1103" y="677"/>
                  </a:lnTo>
                  <a:lnTo>
                    <a:pt x="1101" y="677"/>
                  </a:lnTo>
                  <a:close/>
                  <a:moveTo>
                    <a:pt x="1108" y="677"/>
                  </a:moveTo>
                  <a:lnTo>
                    <a:pt x="1106" y="677"/>
                  </a:lnTo>
                  <a:lnTo>
                    <a:pt x="1108" y="677"/>
                  </a:lnTo>
                  <a:lnTo>
                    <a:pt x="1106" y="677"/>
                  </a:lnTo>
                  <a:lnTo>
                    <a:pt x="1108" y="677"/>
                  </a:lnTo>
                  <a:close/>
                  <a:moveTo>
                    <a:pt x="1101" y="677"/>
                  </a:moveTo>
                  <a:lnTo>
                    <a:pt x="1099" y="677"/>
                  </a:lnTo>
                  <a:lnTo>
                    <a:pt x="1101" y="677"/>
                  </a:lnTo>
                  <a:close/>
                  <a:moveTo>
                    <a:pt x="1127" y="677"/>
                  </a:moveTo>
                  <a:lnTo>
                    <a:pt x="1129" y="677"/>
                  </a:lnTo>
                  <a:lnTo>
                    <a:pt x="1127" y="677"/>
                  </a:lnTo>
                  <a:close/>
                  <a:moveTo>
                    <a:pt x="1103" y="677"/>
                  </a:moveTo>
                  <a:lnTo>
                    <a:pt x="1106" y="677"/>
                  </a:lnTo>
                  <a:lnTo>
                    <a:pt x="1103" y="677"/>
                  </a:lnTo>
                  <a:close/>
                  <a:moveTo>
                    <a:pt x="1096" y="675"/>
                  </a:moveTo>
                  <a:lnTo>
                    <a:pt x="1094" y="675"/>
                  </a:lnTo>
                  <a:lnTo>
                    <a:pt x="1096" y="675"/>
                  </a:lnTo>
                  <a:close/>
                  <a:moveTo>
                    <a:pt x="1094" y="672"/>
                  </a:moveTo>
                  <a:lnTo>
                    <a:pt x="1094" y="675"/>
                  </a:lnTo>
                  <a:lnTo>
                    <a:pt x="1094" y="672"/>
                  </a:lnTo>
                  <a:lnTo>
                    <a:pt x="1094" y="675"/>
                  </a:lnTo>
                  <a:lnTo>
                    <a:pt x="1094" y="672"/>
                  </a:lnTo>
                  <a:close/>
                  <a:moveTo>
                    <a:pt x="1103" y="675"/>
                  </a:moveTo>
                  <a:lnTo>
                    <a:pt x="1103" y="672"/>
                  </a:lnTo>
                  <a:lnTo>
                    <a:pt x="1103" y="675"/>
                  </a:lnTo>
                  <a:lnTo>
                    <a:pt x="1106" y="675"/>
                  </a:lnTo>
                  <a:lnTo>
                    <a:pt x="1106" y="677"/>
                  </a:lnTo>
                  <a:lnTo>
                    <a:pt x="1106" y="675"/>
                  </a:lnTo>
                  <a:lnTo>
                    <a:pt x="1103" y="675"/>
                  </a:lnTo>
                  <a:lnTo>
                    <a:pt x="1106" y="675"/>
                  </a:lnTo>
                  <a:lnTo>
                    <a:pt x="1103" y="675"/>
                  </a:lnTo>
                  <a:lnTo>
                    <a:pt x="1103" y="672"/>
                  </a:lnTo>
                  <a:lnTo>
                    <a:pt x="1103" y="675"/>
                  </a:lnTo>
                  <a:close/>
                  <a:moveTo>
                    <a:pt x="1096" y="672"/>
                  </a:moveTo>
                  <a:lnTo>
                    <a:pt x="1099" y="672"/>
                  </a:lnTo>
                  <a:lnTo>
                    <a:pt x="1096" y="672"/>
                  </a:lnTo>
                  <a:close/>
                  <a:moveTo>
                    <a:pt x="1096" y="670"/>
                  </a:moveTo>
                  <a:lnTo>
                    <a:pt x="1096" y="672"/>
                  </a:lnTo>
                  <a:lnTo>
                    <a:pt x="1096" y="670"/>
                  </a:lnTo>
                  <a:close/>
                  <a:moveTo>
                    <a:pt x="1099" y="670"/>
                  </a:moveTo>
                  <a:lnTo>
                    <a:pt x="1101" y="670"/>
                  </a:lnTo>
                  <a:lnTo>
                    <a:pt x="1099" y="670"/>
                  </a:lnTo>
                  <a:lnTo>
                    <a:pt x="1101" y="670"/>
                  </a:lnTo>
                  <a:lnTo>
                    <a:pt x="1101" y="672"/>
                  </a:lnTo>
                  <a:lnTo>
                    <a:pt x="1099" y="672"/>
                  </a:lnTo>
                  <a:lnTo>
                    <a:pt x="1101" y="672"/>
                  </a:lnTo>
                  <a:lnTo>
                    <a:pt x="1099" y="672"/>
                  </a:lnTo>
                  <a:lnTo>
                    <a:pt x="1101" y="672"/>
                  </a:lnTo>
                  <a:lnTo>
                    <a:pt x="1099" y="672"/>
                  </a:lnTo>
                  <a:lnTo>
                    <a:pt x="1101" y="672"/>
                  </a:lnTo>
                  <a:lnTo>
                    <a:pt x="1099" y="672"/>
                  </a:lnTo>
                  <a:lnTo>
                    <a:pt x="1099" y="670"/>
                  </a:lnTo>
                  <a:lnTo>
                    <a:pt x="1096" y="670"/>
                  </a:lnTo>
                  <a:lnTo>
                    <a:pt x="1099" y="670"/>
                  </a:lnTo>
                  <a:close/>
                  <a:moveTo>
                    <a:pt x="1089" y="670"/>
                  </a:moveTo>
                  <a:lnTo>
                    <a:pt x="1092" y="670"/>
                  </a:lnTo>
                  <a:lnTo>
                    <a:pt x="1092" y="672"/>
                  </a:lnTo>
                  <a:lnTo>
                    <a:pt x="1089" y="670"/>
                  </a:lnTo>
                  <a:lnTo>
                    <a:pt x="1092" y="670"/>
                  </a:lnTo>
                  <a:lnTo>
                    <a:pt x="1089" y="670"/>
                  </a:lnTo>
                  <a:close/>
                  <a:moveTo>
                    <a:pt x="1094" y="668"/>
                  </a:moveTo>
                  <a:lnTo>
                    <a:pt x="1094" y="665"/>
                  </a:lnTo>
                  <a:lnTo>
                    <a:pt x="1094" y="668"/>
                  </a:lnTo>
                  <a:close/>
                  <a:moveTo>
                    <a:pt x="1094" y="665"/>
                  </a:moveTo>
                  <a:lnTo>
                    <a:pt x="1092" y="665"/>
                  </a:lnTo>
                  <a:lnTo>
                    <a:pt x="1094" y="665"/>
                  </a:lnTo>
                  <a:lnTo>
                    <a:pt x="1092" y="665"/>
                  </a:lnTo>
                  <a:lnTo>
                    <a:pt x="1094" y="665"/>
                  </a:lnTo>
                  <a:close/>
                  <a:moveTo>
                    <a:pt x="1099" y="665"/>
                  </a:moveTo>
                  <a:lnTo>
                    <a:pt x="1099" y="668"/>
                  </a:lnTo>
                  <a:lnTo>
                    <a:pt x="1099" y="665"/>
                  </a:lnTo>
                  <a:lnTo>
                    <a:pt x="1096" y="665"/>
                  </a:lnTo>
                  <a:lnTo>
                    <a:pt x="1099" y="665"/>
                  </a:lnTo>
                  <a:close/>
                  <a:moveTo>
                    <a:pt x="1099" y="665"/>
                  </a:moveTo>
                  <a:lnTo>
                    <a:pt x="1101" y="665"/>
                  </a:lnTo>
                  <a:lnTo>
                    <a:pt x="1101" y="668"/>
                  </a:lnTo>
                  <a:lnTo>
                    <a:pt x="1101" y="665"/>
                  </a:lnTo>
                  <a:lnTo>
                    <a:pt x="1101" y="668"/>
                  </a:lnTo>
                  <a:lnTo>
                    <a:pt x="1101" y="665"/>
                  </a:lnTo>
                  <a:lnTo>
                    <a:pt x="1101" y="668"/>
                  </a:lnTo>
                  <a:lnTo>
                    <a:pt x="1103" y="668"/>
                  </a:lnTo>
                  <a:lnTo>
                    <a:pt x="1101" y="668"/>
                  </a:lnTo>
                  <a:lnTo>
                    <a:pt x="1099" y="665"/>
                  </a:lnTo>
                  <a:lnTo>
                    <a:pt x="1096" y="665"/>
                  </a:lnTo>
                  <a:lnTo>
                    <a:pt x="1099" y="665"/>
                  </a:lnTo>
                  <a:close/>
                  <a:moveTo>
                    <a:pt x="1094" y="665"/>
                  </a:moveTo>
                  <a:lnTo>
                    <a:pt x="1096" y="665"/>
                  </a:lnTo>
                  <a:lnTo>
                    <a:pt x="1094" y="665"/>
                  </a:lnTo>
                  <a:lnTo>
                    <a:pt x="1096" y="665"/>
                  </a:lnTo>
                  <a:lnTo>
                    <a:pt x="1094" y="665"/>
                  </a:lnTo>
                  <a:close/>
                  <a:moveTo>
                    <a:pt x="1080" y="665"/>
                  </a:moveTo>
                  <a:lnTo>
                    <a:pt x="1082" y="665"/>
                  </a:lnTo>
                  <a:lnTo>
                    <a:pt x="1080" y="665"/>
                  </a:lnTo>
                  <a:lnTo>
                    <a:pt x="1082" y="665"/>
                  </a:lnTo>
                  <a:lnTo>
                    <a:pt x="1080" y="665"/>
                  </a:lnTo>
                  <a:close/>
                  <a:moveTo>
                    <a:pt x="1077" y="663"/>
                  </a:moveTo>
                  <a:lnTo>
                    <a:pt x="1077" y="665"/>
                  </a:lnTo>
                  <a:lnTo>
                    <a:pt x="1077" y="663"/>
                  </a:lnTo>
                  <a:lnTo>
                    <a:pt x="1075" y="663"/>
                  </a:lnTo>
                  <a:lnTo>
                    <a:pt x="1077" y="663"/>
                  </a:lnTo>
                  <a:lnTo>
                    <a:pt x="1075" y="663"/>
                  </a:lnTo>
                  <a:lnTo>
                    <a:pt x="1077" y="663"/>
                  </a:lnTo>
                  <a:close/>
                  <a:moveTo>
                    <a:pt x="1089" y="663"/>
                  </a:moveTo>
                  <a:lnTo>
                    <a:pt x="1087" y="663"/>
                  </a:lnTo>
                  <a:lnTo>
                    <a:pt x="1089" y="663"/>
                  </a:lnTo>
                  <a:close/>
                  <a:moveTo>
                    <a:pt x="1094" y="661"/>
                  </a:moveTo>
                  <a:lnTo>
                    <a:pt x="1096" y="663"/>
                  </a:lnTo>
                  <a:lnTo>
                    <a:pt x="1094" y="663"/>
                  </a:lnTo>
                  <a:lnTo>
                    <a:pt x="1096" y="663"/>
                  </a:lnTo>
                  <a:lnTo>
                    <a:pt x="1094" y="663"/>
                  </a:lnTo>
                  <a:lnTo>
                    <a:pt x="1092" y="663"/>
                  </a:lnTo>
                  <a:lnTo>
                    <a:pt x="1092" y="661"/>
                  </a:lnTo>
                  <a:lnTo>
                    <a:pt x="1094" y="661"/>
                  </a:lnTo>
                  <a:close/>
                  <a:moveTo>
                    <a:pt x="1082" y="661"/>
                  </a:moveTo>
                  <a:lnTo>
                    <a:pt x="1080" y="661"/>
                  </a:lnTo>
                  <a:lnTo>
                    <a:pt x="1080" y="658"/>
                  </a:lnTo>
                  <a:lnTo>
                    <a:pt x="1080" y="661"/>
                  </a:lnTo>
                  <a:lnTo>
                    <a:pt x="1082" y="661"/>
                  </a:lnTo>
                  <a:close/>
                  <a:moveTo>
                    <a:pt x="1101" y="658"/>
                  </a:moveTo>
                  <a:lnTo>
                    <a:pt x="1101" y="661"/>
                  </a:lnTo>
                  <a:lnTo>
                    <a:pt x="1101" y="658"/>
                  </a:lnTo>
                  <a:close/>
                  <a:moveTo>
                    <a:pt x="1073" y="658"/>
                  </a:moveTo>
                  <a:lnTo>
                    <a:pt x="1075" y="658"/>
                  </a:lnTo>
                  <a:lnTo>
                    <a:pt x="1075" y="661"/>
                  </a:lnTo>
                  <a:lnTo>
                    <a:pt x="1073" y="661"/>
                  </a:lnTo>
                  <a:lnTo>
                    <a:pt x="1073" y="658"/>
                  </a:lnTo>
                  <a:close/>
                  <a:moveTo>
                    <a:pt x="1082" y="661"/>
                  </a:moveTo>
                  <a:lnTo>
                    <a:pt x="1080" y="658"/>
                  </a:lnTo>
                  <a:lnTo>
                    <a:pt x="1082" y="658"/>
                  </a:lnTo>
                  <a:lnTo>
                    <a:pt x="1082" y="661"/>
                  </a:lnTo>
                  <a:close/>
                  <a:moveTo>
                    <a:pt x="1070" y="658"/>
                  </a:moveTo>
                  <a:lnTo>
                    <a:pt x="1073" y="658"/>
                  </a:lnTo>
                  <a:lnTo>
                    <a:pt x="1073" y="661"/>
                  </a:lnTo>
                  <a:lnTo>
                    <a:pt x="1073" y="658"/>
                  </a:lnTo>
                  <a:lnTo>
                    <a:pt x="1070" y="658"/>
                  </a:lnTo>
                  <a:close/>
                  <a:moveTo>
                    <a:pt x="1068" y="656"/>
                  </a:moveTo>
                  <a:lnTo>
                    <a:pt x="1068" y="653"/>
                  </a:lnTo>
                  <a:lnTo>
                    <a:pt x="1068" y="656"/>
                  </a:lnTo>
                  <a:close/>
                  <a:moveTo>
                    <a:pt x="1073" y="625"/>
                  </a:moveTo>
                  <a:lnTo>
                    <a:pt x="1075" y="625"/>
                  </a:lnTo>
                  <a:lnTo>
                    <a:pt x="1073" y="625"/>
                  </a:lnTo>
                  <a:lnTo>
                    <a:pt x="1075" y="625"/>
                  </a:lnTo>
                  <a:lnTo>
                    <a:pt x="1073" y="625"/>
                  </a:lnTo>
                  <a:close/>
                  <a:moveTo>
                    <a:pt x="1070" y="620"/>
                  </a:moveTo>
                  <a:lnTo>
                    <a:pt x="1070" y="623"/>
                  </a:lnTo>
                  <a:lnTo>
                    <a:pt x="1068" y="623"/>
                  </a:lnTo>
                  <a:lnTo>
                    <a:pt x="1068" y="620"/>
                  </a:lnTo>
                  <a:lnTo>
                    <a:pt x="1070" y="620"/>
                  </a:lnTo>
                  <a:close/>
                  <a:moveTo>
                    <a:pt x="1073" y="620"/>
                  </a:moveTo>
                  <a:lnTo>
                    <a:pt x="1070" y="620"/>
                  </a:lnTo>
                  <a:lnTo>
                    <a:pt x="1073" y="620"/>
                  </a:lnTo>
                  <a:close/>
                  <a:moveTo>
                    <a:pt x="1073" y="620"/>
                  </a:moveTo>
                  <a:lnTo>
                    <a:pt x="1070" y="620"/>
                  </a:lnTo>
                  <a:lnTo>
                    <a:pt x="1070" y="618"/>
                  </a:lnTo>
                  <a:lnTo>
                    <a:pt x="1073" y="618"/>
                  </a:lnTo>
                  <a:lnTo>
                    <a:pt x="1073" y="620"/>
                  </a:lnTo>
                  <a:close/>
                  <a:moveTo>
                    <a:pt x="1075" y="613"/>
                  </a:moveTo>
                  <a:lnTo>
                    <a:pt x="1075" y="615"/>
                  </a:lnTo>
                  <a:lnTo>
                    <a:pt x="1073" y="613"/>
                  </a:lnTo>
                  <a:lnTo>
                    <a:pt x="1075" y="613"/>
                  </a:lnTo>
                  <a:close/>
                  <a:moveTo>
                    <a:pt x="1077" y="606"/>
                  </a:moveTo>
                  <a:lnTo>
                    <a:pt x="1077" y="608"/>
                  </a:lnTo>
                  <a:lnTo>
                    <a:pt x="1077" y="606"/>
                  </a:lnTo>
                  <a:close/>
                  <a:moveTo>
                    <a:pt x="1082" y="604"/>
                  </a:moveTo>
                  <a:lnTo>
                    <a:pt x="1080" y="604"/>
                  </a:lnTo>
                  <a:lnTo>
                    <a:pt x="1080" y="606"/>
                  </a:lnTo>
                  <a:lnTo>
                    <a:pt x="1080" y="604"/>
                  </a:lnTo>
                  <a:lnTo>
                    <a:pt x="1082" y="604"/>
                  </a:lnTo>
                  <a:close/>
                  <a:moveTo>
                    <a:pt x="1089" y="594"/>
                  </a:moveTo>
                  <a:lnTo>
                    <a:pt x="1089" y="596"/>
                  </a:lnTo>
                  <a:lnTo>
                    <a:pt x="1087" y="596"/>
                  </a:lnTo>
                  <a:lnTo>
                    <a:pt x="1087" y="594"/>
                  </a:lnTo>
                  <a:lnTo>
                    <a:pt x="1089" y="594"/>
                  </a:lnTo>
                  <a:close/>
                  <a:moveTo>
                    <a:pt x="1082" y="589"/>
                  </a:moveTo>
                  <a:lnTo>
                    <a:pt x="1084" y="589"/>
                  </a:lnTo>
                  <a:lnTo>
                    <a:pt x="1082" y="589"/>
                  </a:lnTo>
                  <a:lnTo>
                    <a:pt x="1082" y="592"/>
                  </a:lnTo>
                  <a:lnTo>
                    <a:pt x="1082" y="589"/>
                  </a:lnTo>
                  <a:close/>
                  <a:moveTo>
                    <a:pt x="1080" y="589"/>
                  </a:moveTo>
                  <a:lnTo>
                    <a:pt x="1082" y="589"/>
                  </a:lnTo>
                  <a:lnTo>
                    <a:pt x="1080" y="589"/>
                  </a:lnTo>
                  <a:close/>
                  <a:moveTo>
                    <a:pt x="1101" y="573"/>
                  </a:moveTo>
                  <a:lnTo>
                    <a:pt x="1103" y="573"/>
                  </a:lnTo>
                  <a:lnTo>
                    <a:pt x="1101" y="573"/>
                  </a:lnTo>
                  <a:lnTo>
                    <a:pt x="1099" y="573"/>
                  </a:lnTo>
                  <a:lnTo>
                    <a:pt x="1101" y="573"/>
                  </a:lnTo>
                  <a:close/>
                  <a:moveTo>
                    <a:pt x="1191" y="549"/>
                  </a:moveTo>
                  <a:lnTo>
                    <a:pt x="1191" y="546"/>
                  </a:lnTo>
                  <a:lnTo>
                    <a:pt x="1191" y="549"/>
                  </a:lnTo>
                  <a:close/>
                  <a:moveTo>
                    <a:pt x="1137" y="546"/>
                  </a:moveTo>
                  <a:lnTo>
                    <a:pt x="1137" y="549"/>
                  </a:lnTo>
                  <a:lnTo>
                    <a:pt x="1137" y="546"/>
                  </a:lnTo>
                  <a:lnTo>
                    <a:pt x="1139" y="546"/>
                  </a:lnTo>
                  <a:lnTo>
                    <a:pt x="1137" y="546"/>
                  </a:lnTo>
                  <a:close/>
                  <a:moveTo>
                    <a:pt x="1129" y="539"/>
                  </a:moveTo>
                  <a:lnTo>
                    <a:pt x="1132" y="539"/>
                  </a:lnTo>
                  <a:lnTo>
                    <a:pt x="1129" y="539"/>
                  </a:lnTo>
                  <a:lnTo>
                    <a:pt x="1127" y="542"/>
                  </a:lnTo>
                  <a:lnTo>
                    <a:pt x="1127" y="539"/>
                  </a:lnTo>
                  <a:lnTo>
                    <a:pt x="1127" y="542"/>
                  </a:lnTo>
                  <a:lnTo>
                    <a:pt x="1125" y="542"/>
                  </a:lnTo>
                  <a:lnTo>
                    <a:pt x="1125" y="539"/>
                  </a:lnTo>
                  <a:lnTo>
                    <a:pt x="1127" y="539"/>
                  </a:lnTo>
                  <a:lnTo>
                    <a:pt x="1129" y="539"/>
                  </a:lnTo>
                  <a:close/>
                  <a:moveTo>
                    <a:pt x="1146" y="527"/>
                  </a:moveTo>
                  <a:lnTo>
                    <a:pt x="1144" y="527"/>
                  </a:lnTo>
                  <a:lnTo>
                    <a:pt x="1144" y="525"/>
                  </a:lnTo>
                  <a:lnTo>
                    <a:pt x="1146" y="527"/>
                  </a:lnTo>
                  <a:close/>
                  <a:moveTo>
                    <a:pt x="1255" y="516"/>
                  </a:moveTo>
                  <a:lnTo>
                    <a:pt x="1255" y="513"/>
                  </a:lnTo>
                  <a:lnTo>
                    <a:pt x="1255" y="516"/>
                  </a:lnTo>
                  <a:close/>
                  <a:moveTo>
                    <a:pt x="1272" y="497"/>
                  </a:moveTo>
                  <a:lnTo>
                    <a:pt x="1274" y="499"/>
                  </a:lnTo>
                  <a:lnTo>
                    <a:pt x="1272" y="499"/>
                  </a:lnTo>
                  <a:lnTo>
                    <a:pt x="1272" y="497"/>
                  </a:lnTo>
                  <a:close/>
                  <a:moveTo>
                    <a:pt x="1182" y="497"/>
                  </a:moveTo>
                  <a:lnTo>
                    <a:pt x="1182" y="499"/>
                  </a:lnTo>
                  <a:lnTo>
                    <a:pt x="1182" y="497"/>
                  </a:lnTo>
                  <a:close/>
                  <a:moveTo>
                    <a:pt x="1277" y="494"/>
                  </a:moveTo>
                  <a:lnTo>
                    <a:pt x="1274" y="494"/>
                  </a:lnTo>
                  <a:lnTo>
                    <a:pt x="1277" y="494"/>
                  </a:lnTo>
                  <a:close/>
                  <a:moveTo>
                    <a:pt x="1170" y="494"/>
                  </a:moveTo>
                  <a:lnTo>
                    <a:pt x="1167" y="494"/>
                  </a:lnTo>
                  <a:lnTo>
                    <a:pt x="1170" y="494"/>
                  </a:lnTo>
                  <a:close/>
                  <a:moveTo>
                    <a:pt x="1284" y="485"/>
                  </a:moveTo>
                  <a:lnTo>
                    <a:pt x="1281" y="485"/>
                  </a:lnTo>
                  <a:lnTo>
                    <a:pt x="1281" y="482"/>
                  </a:lnTo>
                  <a:lnTo>
                    <a:pt x="1284" y="482"/>
                  </a:lnTo>
                  <a:lnTo>
                    <a:pt x="1284" y="485"/>
                  </a:lnTo>
                  <a:close/>
                  <a:moveTo>
                    <a:pt x="1298" y="482"/>
                  </a:moveTo>
                  <a:lnTo>
                    <a:pt x="1296" y="482"/>
                  </a:lnTo>
                  <a:lnTo>
                    <a:pt x="1298" y="482"/>
                  </a:lnTo>
                  <a:close/>
                  <a:moveTo>
                    <a:pt x="1291" y="480"/>
                  </a:moveTo>
                  <a:lnTo>
                    <a:pt x="1291" y="482"/>
                  </a:lnTo>
                  <a:lnTo>
                    <a:pt x="1291" y="480"/>
                  </a:lnTo>
                  <a:close/>
                  <a:moveTo>
                    <a:pt x="1279" y="480"/>
                  </a:moveTo>
                  <a:lnTo>
                    <a:pt x="1277" y="480"/>
                  </a:lnTo>
                  <a:lnTo>
                    <a:pt x="1279" y="480"/>
                  </a:lnTo>
                  <a:close/>
                  <a:moveTo>
                    <a:pt x="1293" y="480"/>
                  </a:moveTo>
                  <a:lnTo>
                    <a:pt x="1296" y="480"/>
                  </a:lnTo>
                  <a:lnTo>
                    <a:pt x="1293" y="480"/>
                  </a:lnTo>
                  <a:lnTo>
                    <a:pt x="1293" y="482"/>
                  </a:lnTo>
                  <a:lnTo>
                    <a:pt x="1291" y="482"/>
                  </a:lnTo>
                  <a:lnTo>
                    <a:pt x="1293" y="482"/>
                  </a:lnTo>
                  <a:lnTo>
                    <a:pt x="1291" y="482"/>
                  </a:lnTo>
                  <a:lnTo>
                    <a:pt x="1293" y="482"/>
                  </a:lnTo>
                  <a:lnTo>
                    <a:pt x="1293" y="485"/>
                  </a:lnTo>
                  <a:lnTo>
                    <a:pt x="1291" y="485"/>
                  </a:lnTo>
                  <a:lnTo>
                    <a:pt x="1291" y="482"/>
                  </a:lnTo>
                  <a:lnTo>
                    <a:pt x="1288" y="482"/>
                  </a:lnTo>
                  <a:lnTo>
                    <a:pt x="1288" y="485"/>
                  </a:lnTo>
                  <a:lnTo>
                    <a:pt x="1288" y="482"/>
                  </a:lnTo>
                  <a:lnTo>
                    <a:pt x="1288" y="485"/>
                  </a:lnTo>
                  <a:lnTo>
                    <a:pt x="1288" y="482"/>
                  </a:lnTo>
                  <a:lnTo>
                    <a:pt x="1291" y="482"/>
                  </a:lnTo>
                  <a:lnTo>
                    <a:pt x="1291" y="480"/>
                  </a:lnTo>
                  <a:lnTo>
                    <a:pt x="1293" y="480"/>
                  </a:lnTo>
                  <a:lnTo>
                    <a:pt x="1291" y="480"/>
                  </a:lnTo>
                  <a:lnTo>
                    <a:pt x="1293" y="480"/>
                  </a:lnTo>
                  <a:close/>
                  <a:moveTo>
                    <a:pt x="1293" y="480"/>
                  </a:moveTo>
                  <a:lnTo>
                    <a:pt x="1293" y="478"/>
                  </a:lnTo>
                  <a:lnTo>
                    <a:pt x="1293" y="480"/>
                  </a:lnTo>
                  <a:close/>
                  <a:moveTo>
                    <a:pt x="1281" y="478"/>
                  </a:moveTo>
                  <a:lnTo>
                    <a:pt x="1279" y="478"/>
                  </a:lnTo>
                  <a:lnTo>
                    <a:pt x="1281" y="478"/>
                  </a:lnTo>
                  <a:close/>
                  <a:moveTo>
                    <a:pt x="1298" y="478"/>
                  </a:moveTo>
                  <a:lnTo>
                    <a:pt x="1300" y="478"/>
                  </a:lnTo>
                  <a:lnTo>
                    <a:pt x="1303" y="478"/>
                  </a:lnTo>
                  <a:lnTo>
                    <a:pt x="1300" y="480"/>
                  </a:lnTo>
                  <a:lnTo>
                    <a:pt x="1298" y="480"/>
                  </a:lnTo>
                  <a:lnTo>
                    <a:pt x="1298" y="478"/>
                  </a:lnTo>
                  <a:lnTo>
                    <a:pt x="1296" y="478"/>
                  </a:lnTo>
                  <a:lnTo>
                    <a:pt x="1298" y="478"/>
                  </a:lnTo>
                  <a:close/>
                  <a:moveTo>
                    <a:pt x="1298" y="475"/>
                  </a:moveTo>
                  <a:lnTo>
                    <a:pt x="1296" y="475"/>
                  </a:lnTo>
                  <a:lnTo>
                    <a:pt x="1296" y="473"/>
                  </a:lnTo>
                  <a:lnTo>
                    <a:pt x="1298" y="475"/>
                  </a:lnTo>
                  <a:close/>
                  <a:moveTo>
                    <a:pt x="1298" y="473"/>
                  </a:moveTo>
                  <a:lnTo>
                    <a:pt x="1296" y="473"/>
                  </a:lnTo>
                  <a:lnTo>
                    <a:pt x="1296" y="470"/>
                  </a:lnTo>
                  <a:lnTo>
                    <a:pt x="1298" y="470"/>
                  </a:lnTo>
                  <a:lnTo>
                    <a:pt x="1298" y="468"/>
                  </a:lnTo>
                  <a:lnTo>
                    <a:pt x="1298" y="470"/>
                  </a:lnTo>
                  <a:lnTo>
                    <a:pt x="1298" y="473"/>
                  </a:lnTo>
                  <a:close/>
                  <a:moveTo>
                    <a:pt x="1383" y="421"/>
                  </a:moveTo>
                  <a:lnTo>
                    <a:pt x="1381" y="421"/>
                  </a:lnTo>
                  <a:lnTo>
                    <a:pt x="1383" y="421"/>
                  </a:lnTo>
                  <a:close/>
                  <a:moveTo>
                    <a:pt x="1390" y="418"/>
                  </a:moveTo>
                  <a:lnTo>
                    <a:pt x="1388" y="418"/>
                  </a:lnTo>
                  <a:lnTo>
                    <a:pt x="1390" y="418"/>
                  </a:lnTo>
                  <a:close/>
                  <a:moveTo>
                    <a:pt x="1277" y="394"/>
                  </a:moveTo>
                  <a:lnTo>
                    <a:pt x="1277" y="392"/>
                  </a:lnTo>
                  <a:lnTo>
                    <a:pt x="1279" y="392"/>
                  </a:lnTo>
                  <a:lnTo>
                    <a:pt x="1281" y="392"/>
                  </a:lnTo>
                  <a:lnTo>
                    <a:pt x="1281" y="394"/>
                  </a:lnTo>
                  <a:lnTo>
                    <a:pt x="1279" y="394"/>
                  </a:lnTo>
                  <a:lnTo>
                    <a:pt x="1277" y="394"/>
                  </a:lnTo>
                  <a:close/>
                  <a:moveTo>
                    <a:pt x="1300" y="383"/>
                  </a:moveTo>
                  <a:lnTo>
                    <a:pt x="1300" y="385"/>
                  </a:lnTo>
                  <a:lnTo>
                    <a:pt x="1300" y="383"/>
                  </a:lnTo>
                  <a:close/>
                  <a:moveTo>
                    <a:pt x="1296" y="385"/>
                  </a:moveTo>
                  <a:lnTo>
                    <a:pt x="1298" y="385"/>
                  </a:lnTo>
                  <a:lnTo>
                    <a:pt x="1300" y="385"/>
                  </a:lnTo>
                  <a:lnTo>
                    <a:pt x="1298" y="385"/>
                  </a:lnTo>
                  <a:lnTo>
                    <a:pt x="1296" y="385"/>
                  </a:lnTo>
                  <a:lnTo>
                    <a:pt x="1296" y="387"/>
                  </a:lnTo>
                  <a:lnTo>
                    <a:pt x="1293" y="385"/>
                  </a:lnTo>
                  <a:lnTo>
                    <a:pt x="1291" y="385"/>
                  </a:lnTo>
                  <a:lnTo>
                    <a:pt x="1293" y="385"/>
                  </a:lnTo>
                  <a:lnTo>
                    <a:pt x="1296" y="385"/>
                  </a:lnTo>
                  <a:lnTo>
                    <a:pt x="1298" y="383"/>
                  </a:lnTo>
                  <a:lnTo>
                    <a:pt x="1296" y="385"/>
                  </a:lnTo>
                  <a:close/>
                  <a:moveTo>
                    <a:pt x="1298" y="383"/>
                  </a:moveTo>
                  <a:lnTo>
                    <a:pt x="1300" y="383"/>
                  </a:lnTo>
                  <a:lnTo>
                    <a:pt x="1298" y="383"/>
                  </a:lnTo>
                  <a:close/>
                  <a:moveTo>
                    <a:pt x="1298" y="380"/>
                  </a:moveTo>
                  <a:lnTo>
                    <a:pt x="1298" y="383"/>
                  </a:lnTo>
                  <a:lnTo>
                    <a:pt x="1300" y="383"/>
                  </a:lnTo>
                  <a:lnTo>
                    <a:pt x="1298" y="383"/>
                  </a:lnTo>
                  <a:lnTo>
                    <a:pt x="1300" y="383"/>
                  </a:lnTo>
                  <a:lnTo>
                    <a:pt x="1298" y="383"/>
                  </a:lnTo>
                  <a:lnTo>
                    <a:pt x="1296" y="383"/>
                  </a:lnTo>
                  <a:lnTo>
                    <a:pt x="1293" y="383"/>
                  </a:lnTo>
                  <a:lnTo>
                    <a:pt x="1291" y="385"/>
                  </a:lnTo>
                  <a:lnTo>
                    <a:pt x="1288" y="385"/>
                  </a:lnTo>
                  <a:lnTo>
                    <a:pt x="1286" y="385"/>
                  </a:lnTo>
                  <a:lnTo>
                    <a:pt x="1284" y="385"/>
                  </a:lnTo>
                  <a:lnTo>
                    <a:pt x="1286" y="385"/>
                  </a:lnTo>
                  <a:lnTo>
                    <a:pt x="1286" y="383"/>
                  </a:lnTo>
                  <a:lnTo>
                    <a:pt x="1286" y="385"/>
                  </a:lnTo>
                  <a:lnTo>
                    <a:pt x="1286" y="383"/>
                  </a:lnTo>
                  <a:lnTo>
                    <a:pt x="1286" y="385"/>
                  </a:lnTo>
                  <a:lnTo>
                    <a:pt x="1286" y="383"/>
                  </a:lnTo>
                  <a:lnTo>
                    <a:pt x="1286" y="385"/>
                  </a:lnTo>
                  <a:lnTo>
                    <a:pt x="1288" y="385"/>
                  </a:lnTo>
                  <a:lnTo>
                    <a:pt x="1288" y="383"/>
                  </a:lnTo>
                  <a:lnTo>
                    <a:pt x="1291" y="383"/>
                  </a:lnTo>
                  <a:lnTo>
                    <a:pt x="1293" y="383"/>
                  </a:lnTo>
                  <a:lnTo>
                    <a:pt x="1291" y="383"/>
                  </a:lnTo>
                  <a:lnTo>
                    <a:pt x="1293" y="383"/>
                  </a:lnTo>
                  <a:lnTo>
                    <a:pt x="1296" y="380"/>
                  </a:lnTo>
                  <a:lnTo>
                    <a:pt x="1298" y="380"/>
                  </a:lnTo>
                  <a:close/>
                  <a:moveTo>
                    <a:pt x="1326" y="380"/>
                  </a:moveTo>
                  <a:lnTo>
                    <a:pt x="1329" y="380"/>
                  </a:lnTo>
                  <a:lnTo>
                    <a:pt x="1326" y="380"/>
                  </a:lnTo>
                  <a:close/>
                  <a:moveTo>
                    <a:pt x="1312" y="375"/>
                  </a:moveTo>
                  <a:lnTo>
                    <a:pt x="1315" y="375"/>
                  </a:lnTo>
                  <a:lnTo>
                    <a:pt x="1312" y="375"/>
                  </a:lnTo>
                  <a:lnTo>
                    <a:pt x="1310" y="375"/>
                  </a:lnTo>
                  <a:lnTo>
                    <a:pt x="1310" y="378"/>
                  </a:lnTo>
                  <a:lnTo>
                    <a:pt x="1310" y="375"/>
                  </a:lnTo>
                  <a:lnTo>
                    <a:pt x="1307" y="378"/>
                  </a:lnTo>
                  <a:lnTo>
                    <a:pt x="1307" y="375"/>
                  </a:lnTo>
                  <a:lnTo>
                    <a:pt x="1310" y="375"/>
                  </a:lnTo>
                  <a:lnTo>
                    <a:pt x="1312" y="375"/>
                  </a:lnTo>
                  <a:close/>
                  <a:moveTo>
                    <a:pt x="1307" y="375"/>
                  </a:moveTo>
                  <a:lnTo>
                    <a:pt x="1305" y="375"/>
                  </a:lnTo>
                  <a:lnTo>
                    <a:pt x="1305" y="378"/>
                  </a:lnTo>
                  <a:lnTo>
                    <a:pt x="1303" y="378"/>
                  </a:lnTo>
                  <a:lnTo>
                    <a:pt x="1303" y="375"/>
                  </a:lnTo>
                  <a:lnTo>
                    <a:pt x="1305" y="375"/>
                  </a:lnTo>
                  <a:lnTo>
                    <a:pt x="1307" y="375"/>
                  </a:lnTo>
                  <a:close/>
                  <a:moveTo>
                    <a:pt x="1291" y="375"/>
                  </a:moveTo>
                  <a:lnTo>
                    <a:pt x="1293" y="373"/>
                  </a:lnTo>
                  <a:lnTo>
                    <a:pt x="1291" y="375"/>
                  </a:lnTo>
                  <a:close/>
                  <a:moveTo>
                    <a:pt x="1338" y="366"/>
                  </a:moveTo>
                  <a:lnTo>
                    <a:pt x="1338" y="368"/>
                  </a:lnTo>
                  <a:lnTo>
                    <a:pt x="1336" y="368"/>
                  </a:lnTo>
                  <a:lnTo>
                    <a:pt x="1334" y="371"/>
                  </a:lnTo>
                  <a:lnTo>
                    <a:pt x="1331" y="371"/>
                  </a:lnTo>
                  <a:lnTo>
                    <a:pt x="1331" y="373"/>
                  </a:lnTo>
                  <a:lnTo>
                    <a:pt x="1329" y="373"/>
                  </a:lnTo>
                  <a:lnTo>
                    <a:pt x="1326" y="373"/>
                  </a:lnTo>
                  <a:lnTo>
                    <a:pt x="1326" y="371"/>
                  </a:lnTo>
                  <a:lnTo>
                    <a:pt x="1324" y="371"/>
                  </a:lnTo>
                  <a:lnTo>
                    <a:pt x="1326" y="371"/>
                  </a:lnTo>
                  <a:lnTo>
                    <a:pt x="1324" y="371"/>
                  </a:lnTo>
                  <a:lnTo>
                    <a:pt x="1324" y="373"/>
                  </a:lnTo>
                  <a:lnTo>
                    <a:pt x="1322" y="373"/>
                  </a:lnTo>
                  <a:lnTo>
                    <a:pt x="1319" y="373"/>
                  </a:lnTo>
                  <a:lnTo>
                    <a:pt x="1322" y="371"/>
                  </a:lnTo>
                  <a:lnTo>
                    <a:pt x="1324" y="371"/>
                  </a:lnTo>
                  <a:lnTo>
                    <a:pt x="1324" y="368"/>
                  </a:lnTo>
                  <a:lnTo>
                    <a:pt x="1326" y="368"/>
                  </a:lnTo>
                  <a:lnTo>
                    <a:pt x="1329" y="368"/>
                  </a:lnTo>
                  <a:lnTo>
                    <a:pt x="1331" y="368"/>
                  </a:lnTo>
                  <a:lnTo>
                    <a:pt x="1334" y="368"/>
                  </a:lnTo>
                  <a:lnTo>
                    <a:pt x="1336" y="368"/>
                  </a:lnTo>
                  <a:lnTo>
                    <a:pt x="1338" y="366"/>
                  </a:lnTo>
                  <a:close/>
                  <a:moveTo>
                    <a:pt x="1421" y="364"/>
                  </a:moveTo>
                  <a:lnTo>
                    <a:pt x="1419" y="364"/>
                  </a:lnTo>
                  <a:lnTo>
                    <a:pt x="1421" y="364"/>
                  </a:lnTo>
                  <a:close/>
                  <a:moveTo>
                    <a:pt x="1277" y="128"/>
                  </a:moveTo>
                  <a:lnTo>
                    <a:pt x="1279" y="128"/>
                  </a:lnTo>
                  <a:lnTo>
                    <a:pt x="1277" y="128"/>
                  </a:lnTo>
                  <a:close/>
                  <a:moveTo>
                    <a:pt x="1317" y="119"/>
                  </a:moveTo>
                  <a:lnTo>
                    <a:pt x="1319" y="119"/>
                  </a:lnTo>
                  <a:lnTo>
                    <a:pt x="1322" y="121"/>
                  </a:lnTo>
                  <a:lnTo>
                    <a:pt x="1319" y="121"/>
                  </a:lnTo>
                  <a:lnTo>
                    <a:pt x="1317" y="121"/>
                  </a:lnTo>
                  <a:lnTo>
                    <a:pt x="1315" y="121"/>
                  </a:lnTo>
                  <a:lnTo>
                    <a:pt x="1317" y="121"/>
                  </a:lnTo>
                  <a:lnTo>
                    <a:pt x="1317" y="119"/>
                  </a:lnTo>
                  <a:close/>
                  <a:moveTo>
                    <a:pt x="1279" y="116"/>
                  </a:moveTo>
                  <a:lnTo>
                    <a:pt x="1281" y="119"/>
                  </a:lnTo>
                  <a:lnTo>
                    <a:pt x="1284" y="119"/>
                  </a:lnTo>
                  <a:lnTo>
                    <a:pt x="1286" y="119"/>
                  </a:lnTo>
                  <a:lnTo>
                    <a:pt x="1288" y="121"/>
                  </a:lnTo>
                  <a:lnTo>
                    <a:pt x="1286" y="121"/>
                  </a:lnTo>
                  <a:lnTo>
                    <a:pt x="1284" y="121"/>
                  </a:lnTo>
                  <a:lnTo>
                    <a:pt x="1281" y="121"/>
                  </a:lnTo>
                  <a:lnTo>
                    <a:pt x="1279" y="121"/>
                  </a:lnTo>
                  <a:lnTo>
                    <a:pt x="1279" y="119"/>
                  </a:lnTo>
                  <a:lnTo>
                    <a:pt x="1277" y="119"/>
                  </a:lnTo>
                  <a:lnTo>
                    <a:pt x="1274" y="119"/>
                  </a:lnTo>
                  <a:lnTo>
                    <a:pt x="1272" y="119"/>
                  </a:lnTo>
                  <a:lnTo>
                    <a:pt x="1269" y="119"/>
                  </a:lnTo>
                  <a:lnTo>
                    <a:pt x="1267" y="119"/>
                  </a:lnTo>
                  <a:lnTo>
                    <a:pt x="1265" y="119"/>
                  </a:lnTo>
                  <a:lnTo>
                    <a:pt x="1267" y="119"/>
                  </a:lnTo>
                  <a:lnTo>
                    <a:pt x="1267" y="116"/>
                  </a:lnTo>
                  <a:lnTo>
                    <a:pt x="1269" y="116"/>
                  </a:lnTo>
                  <a:lnTo>
                    <a:pt x="1272" y="116"/>
                  </a:lnTo>
                  <a:lnTo>
                    <a:pt x="1274" y="116"/>
                  </a:lnTo>
                  <a:lnTo>
                    <a:pt x="1277" y="116"/>
                  </a:lnTo>
                  <a:lnTo>
                    <a:pt x="1279" y="114"/>
                  </a:lnTo>
                  <a:lnTo>
                    <a:pt x="1279" y="116"/>
                  </a:lnTo>
                  <a:close/>
                  <a:moveTo>
                    <a:pt x="1001" y="116"/>
                  </a:moveTo>
                  <a:lnTo>
                    <a:pt x="1001" y="119"/>
                  </a:lnTo>
                  <a:lnTo>
                    <a:pt x="1001" y="116"/>
                  </a:lnTo>
                  <a:lnTo>
                    <a:pt x="999" y="116"/>
                  </a:lnTo>
                  <a:lnTo>
                    <a:pt x="997" y="116"/>
                  </a:lnTo>
                  <a:lnTo>
                    <a:pt x="994" y="116"/>
                  </a:lnTo>
                  <a:lnTo>
                    <a:pt x="997" y="116"/>
                  </a:lnTo>
                  <a:lnTo>
                    <a:pt x="999" y="116"/>
                  </a:lnTo>
                  <a:lnTo>
                    <a:pt x="1001" y="114"/>
                  </a:lnTo>
                  <a:lnTo>
                    <a:pt x="1004" y="114"/>
                  </a:lnTo>
                  <a:lnTo>
                    <a:pt x="1004" y="116"/>
                  </a:lnTo>
                  <a:lnTo>
                    <a:pt x="1001" y="116"/>
                  </a:lnTo>
                  <a:close/>
                  <a:moveTo>
                    <a:pt x="970" y="112"/>
                  </a:moveTo>
                  <a:lnTo>
                    <a:pt x="970" y="114"/>
                  </a:lnTo>
                  <a:lnTo>
                    <a:pt x="968" y="114"/>
                  </a:lnTo>
                  <a:lnTo>
                    <a:pt x="966" y="114"/>
                  </a:lnTo>
                  <a:lnTo>
                    <a:pt x="963" y="114"/>
                  </a:lnTo>
                  <a:lnTo>
                    <a:pt x="966" y="112"/>
                  </a:lnTo>
                  <a:lnTo>
                    <a:pt x="966" y="114"/>
                  </a:lnTo>
                  <a:lnTo>
                    <a:pt x="968" y="114"/>
                  </a:lnTo>
                  <a:lnTo>
                    <a:pt x="968" y="112"/>
                  </a:lnTo>
                  <a:lnTo>
                    <a:pt x="970" y="112"/>
                  </a:lnTo>
                  <a:close/>
                  <a:moveTo>
                    <a:pt x="1103" y="112"/>
                  </a:moveTo>
                  <a:lnTo>
                    <a:pt x="1101" y="112"/>
                  </a:lnTo>
                  <a:lnTo>
                    <a:pt x="1103" y="112"/>
                  </a:lnTo>
                  <a:close/>
                  <a:moveTo>
                    <a:pt x="968" y="112"/>
                  </a:moveTo>
                  <a:lnTo>
                    <a:pt x="966" y="112"/>
                  </a:lnTo>
                  <a:lnTo>
                    <a:pt x="963" y="112"/>
                  </a:lnTo>
                  <a:lnTo>
                    <a:pt x="966" y="112"/>
                  </a:lnTo>
                  <a:lnTo>
                    <a:pt x="968" y="112"/>
                  </a:lnTo>
                  <a:close/>
                  <a:moveTo>
                    <a:pt x="1213" y="112"/>
                  </a:moveTo>
                  <a:lnTo>
                    <a:pt x="1210" y="112"/>
                  </a:lnTo>
                  <a:lnTo>
                    <a:pt x="1213" y="112"/>
                  </a:lnTo>
                  <a:close/>
                  <a:moveTo>
                    <a:pt x="1213" y="112"/>
                  </a:moveTo>
                  <a:lnTo>
                    <a:pt x="1215" y="112"/>
                  </a:lnTo>
                  <a:lnTo>
                    <a:pt x="1213" y="112"/>
                  </a:lnTo>
                  <a:close/>
                  <a:moveTo>
                    <a:pt x="1001" y="109"/>
                  </a:moveTo>
                  <a:lnTo>
                    <a:pt x="999" y="109"/>
                  </a:lnTo>
                  <a:lnTo>
                    <a:pt x="1001" y="109"/>
                  </a:lnTo>
                  <a:close/>
                  <a:moveTo>
                    <a:pt x="1073" y="109"/>
                  </a:moveTo>
                  <a:lnTo>
                    <a:pt x="1070" y="109"/>
                  </a:lnTo>
                  <a:lnTo>
                    <a:pt x="1070" y="107"/>
                  </a:lnTo>
                  <a:lnTo>
                    <a:pt x="1073" y="107"/>
                  </a:lnTo>
                  <a:lnTo>
                    <a:pt x="1073" y="109"/>
                  </a:lnTo>
                  <a:close/>
                  <a:moveTo>
                    <a:pt x="973" y="114"/>
                  </a:moveTo>
                  <a:lnTo>
                    <a:pt x="973" y="112"/>
                  </a:lnTo>
                  <a:lnTo>
                    <a:pt x="970" y="112"/>
                  </a:lnTo>
                  <a:lnTo>
                    <a:pt x="970" y="109"/>
                  </a:lnTo>
                  <a:lnTo>
                    <a:pt x="973" y="109"/>
                  </a:lnTo>
                  <a:lnTo>
                    <a:pt x="973" y="107"/>
                  </a:lnTo>
                  <a:lnTo>
                    <a:pt x="975" y="107"/>
                  </a:lnTo>
                  <a:lnTo>
                    <a:pt x="980" y="109"/>
                  </a:lnTo>
                  <a:lnTo>
                    <a:pt x="982" y="109"/>
                  </a:lnTo>
                  <a:lnTo>
                    <a:pt x="982" y="112"/>
                  </a:lnTo>
                  <a:lnTo>
                    <a:pt x="980" y="112"/>
                  </a:lnTo>
                  <a:lnTo>
                    <a:pt x="975" y="112"/>
                  </a:lnTo>
                  <a:lnTo>
                    <a:pt x="973" y="114"/>
                  </a:lnTo>
                  <a:close/>
                  <a:moveTo>
                    <a:pt x="1298" y="105"/>
                  </a:moveTo>
                  <a:lnTo>
                    <a:pt x="1296" y="105"/>
                  </a:lnTo>
                  <a:lnTo>
                    <a:pt x="1293" y="107"/>
                  </a:lnTo>
                  <a:lnTo>
                    <a:pt x="1291" y="107"/>
                  </a:lnTo>
                  <a:lnTo>
                    <a:pt x="1293" y="105"/>
                  </a:lnTo>
                  <a:lnTo>
                    <a:pt x="1296" y="105"/>
                  </a:lnTo>
                  <a:lnTo>
                    <a:pt x="1298" y="105"/>
                  </a:lnTo>
                  <a:close/>
                  <a:moveTo>
                    <a:pt x="1326" y="102"/>
                  </a:moveTo>
                  <a:lnTo>
                    <a:pt x="1329" y="102"/>
                  </a:lnTo>
                  <a:lnTo>
                    <a:pt x="1331" y="105"/>
                  </a:lnTo>
                  <a:lnTo>
                    <a:pt x="1329" y="105"/>
                  </a:lnTo>
                  <a:lnTo>
                    <a:pt x="1326" y="105"/>
                  </a:lnTo>
                  <a:lnTo>
                    <a:pt x="1324" y="105"/>
                  </a:lnTo>
                  <a:lnTo>
                    <a:pt x="1322" y="105"/>
                  </a:lnTo>
                  <a:lnTo>
                    <a:pt x="1322" y="102"/>
                  </a:lnTo>
                  <a:lnTo>
                    <a:pt x="1319" y="102"/>
                  </a:lnTo>
                  <a:lnTo>
                    <a:pt x="1322" y="102"/>
                  </a:lnTo>
                  <a:lnTo>
                    <a:pt x="1324" y="102"/>
                  </a:lnTo>
                  <a:lnTo>
                    <a:pt x="1324" y="100"/>
                  </a:lnTo>
                  <a:lnTo>
                    <a:pt x="1326" y="102"/>
                  </a:lnTo>
                  <a:close/>
                  <a:moveTo>
                    <a:pt x="1319" y="100"/>
                  </a:moveTo>
                  <a:lnTo>
                    <a:pt x="1317" y="100"/>
                  </a:lnTo>
                  <a:lnTo>
                    <a:pt x="1319" y="100"/>
                  </a:lnTo>
                  <a:close/>
                  <a:moveTo>
                    <a:pt x="1286" y="95"/>
                  </a:moveTo>
                  <a:lnTo>
                    <a:pt x="1284" y="95"/>
                  </a:lnTo>
                  <a:lnTo>
                    <a:pt x="1286" y="93"/>
                  </a:lnTo>
                  <a:lnTo>
                    <a:pt x="1286" y="95"/>
                  </a:lnTo>
                  <a:lnTo>
                    <a:pt x="1288" y="95"/>
                  </a:lnTo>
                  <a:lnTo>
                    <a:pt x="1286" y="95"/>
                  </a:lnTo>
                  <a:close/>
                  <a:moveTo>
                    <a:pt x="1127" y="93"/>
                  </a:moveTo>
                  <a:lnTo>
                    <a:pt x="1125" y="93"/>
                  </a:lnTo>
                  <a:lnTo>
                    <a:pt x="1122" y="93"/>
                  </a:lnTo>
                  <a:lnTo>
                    <a:pt x="1125" y="93"/>
                  </a:lnTo>
                  <a:lnTo>
                    <a:pt x="1127" y="93"/>
                  </a:lnTo>
                  <a:close/>
                  <a:moveTo>
                    <a:pt x="1134" y="93"/>
                  </a:moveTo>
                  <a:lnTo>
                    <a:pt x="1137" y="93"/>
                  </a:lnTo>
                  <a:lnTo>
                    <a:pt x="1139" y="95"/>
                  </a:lnTo>
                  <a:lnTo>
                    <a:pt x="1139" y="97"/>
                  </a:lnTo>
                  <a:lnTo>
                    <a:pt x="1139" y="100"/>
                  </a:lnTo>
                  <a:lnTo>
                    <a:pt x="1137" y="100"/>
                  </a:lnTo>
                  <a:lnTo>
                    <a:pt x="1134" y="100"/>
                  </a:lnTo>
                  <a:lnTo>
                    <a:pt x="1132" y="100"/>
                  </a:lnTo>
                  <a:lnTo>
                    <a:pt x="1129" y="100"/>
                  </a:lnTo>
                  <a:lnTo>
                    <a:pt x="1132" y="100"/>
                  </a:lnTo>
                  <a:lnTo>
                    <a:pt x="1129" y="100"/>
                  </a:lnTo>
                  <a:lnTo>
                    <a:pt x="1132" y="97"/>
                  </a:lnTo>
                  <a:lnTo>
                    <a:pt x="1129" y="97"/>
                  </a:lnTo>
                  <a:lnTo>
                    <a:pt x="1129" y="95"/>
                  </a:lnTo>
                  <a:lnTo>
                    <a:pt x="1129" y="93"/>
                  </a:lnTo>
                  <a:lnTo>
                    <a:pt x="1132" y="93"/>
                  </a:lnTo>
                  <a:lnTo>
                    <a:pt x="1134" y="93"/>
                  </a:lnTo>
                  <a:close/>
                  <a:moveTo>
                    <a:pt x="1172" y="93"/>
                  </a:moveTo>
                  <a:lnTo>
                    <a:pt x="1175" y="93"/>
                  </a:lnTo>
                  <a:lnTo>
                    <a:pt x="1177" y="93"/>
                  </a:lnTo>
                  <a:lnTo>
                    <a:pt x="1175" y="93"/>
                  </a:lnTo>
                  <a:lnTo>
                    <a:pt x="1175" y="95"/>
                  </a:lnTo>
                  <a:lnTo>
                    <a:pt x="1172" y="95"/>
                  </a:lnTo>
                  <a:lnTo>
                    <a:pt x="1167" y="97"/>
                  </a:lnTo>
                  <a:lnTo>
                    <a:pt x="1165" y="97"/>
                  </a:lnTo>
                  <a:lnTo>
                    <a:pt x="1165" y="100"/>
                  </a:lnTo>
                  <a:lnTo>
                    <a:pt x="1163" y="100"/>
                  </a:lnTo>
                  <a:lnTo>
                    <a:pt x="1160" y="100"/>
                  </a:lnTo>
                  <a:lnTo>
                    <a:pt x="1158" y="97"/>
                  </a:lnTo>
                  <a:lnTo>
                    <a:pt x="1160" y="97"/>
                  </a:lnTo>
                  <a:lnTo>
                    <a:pt x="1158" y="97"/>
                  </a:lnTo>
                  <a:lnTo>
                    <a:pt x="1156" y="97"/>
                  </a:lnTo>
                  <a:lnTo>
                    <a:pt x="1156" y="95"/>
                  </a:lnTo>
                  <a:lnTo>
                    <a:pt x="1158" y="95"/>
                  </a:lnTo>
                  <a:lnTo>
                    <a:pt x="1158" y="97"/>
                  </a:lnTo>
                  <a:lnTo>
                    <a:pt x="1160" y="97"/>
                  </a:lnTo>
                  <a:lnTo>
                    <a:pt x="1160" y="95"/>
                  </a:lnTo>
                  <a:lnTo>
                    <a:pt x="1163" y="95"/>
                  </a:lnTo>
                  <a:lnTo>
                    <a:pt x="1165" y="95"/>
                  </a:lnTo>
                  <a:lnTo>
                    <a:pt x="1163" y="95"/>
                  </a:lnTo>
                  <a:lnTo>
                    <a:pt x="1163" y="93"/>
                  </a:lnTo>
                  <a:lnTo>
                    <a:pt x="1165" y="93"/>
                  </a:lnTo>
                  <a:lnTo>
                    <a:pt x="1167" y="90"/>
                  </a:lnTo>
                  <a:lnTo>
                    <a:pt x="1170" y="90"/>
                  </a:lnTo>
                  <a:lnTo>
                    <a:pt x="1172" y="93"/>
                  </a:lnTo>
                  <a:close/>
                  <a:moveTo>
                    <a:pt x="1125" y="93"/>
                  </a:moveTo>
                  <a:lnTo>
                    <a:pt x="1122" y="93"/>
                  </a:lnTo>
                  <a:lnTo>
                    <a:pt x="1122" y="90"/>
                  </a:lnTo>
                  <a:lnTo>
                    <a:pt x="1125" y="90"/>
                  </a:lnTo>
                  <a:lnTo>
                    <a:pt x="1127" y="90"/>
                  </a:lnTo>
                  <a:lnTo>
                    <a:pt x="1127" y="93"/>
                  </a:lnTo>
                  <a:lnTo>
                    <a:pt x="1125" y="93"/>
                  </a:lnTo>
                  <a:close/>
                  <a:moveTo>
                    <a:pt x="1046" y="93"/>
                  </a:moveTo>
                  <a:lnTo>
                    <a:pt x="1044" y="93"/>
                  </a:lnTo>
                  <a:lnTo>
                    <a:pt x="1044" y="90"/>
                  </a:lnTo>
                  <a:lnTo>
                    <a:pt x="1046" y="90"/>
                  </a:lnTo>
                  <a:lnTo>
                    <a:pt x="1046" y="93"/>
                  </a:lnTo>
                  <a:close/>
                  <a:moveTo>
                    <a:pt x="1360" y="90"/>
                  </a:moveTo>
                  <a:lnTo>
                    <a:pt x="1362" y="90"/>
                  </a:lnTo>
                  <a:lnTo>
                    <a:pt x="1360" y="90"/>
                  </a:lnTo>
                  <a:close/>
                  <a:moveTo>
                    <a:pt x="1070" y="90"/>
                  </a:moveTo>
                  <a:lnTo>
                    <a:pt x="1073" y="90"/>
                  </a:lnTo>
                  <a:lnTo>
                    <a:pt x="1075" y="90"/>
                  </a:lnTo>
                  <a:lnTo>
                    <a:pt x="1077" y="90"/>
                  </a:lnTo>
                  <a:lnTo>
                    <a:pt x="1080" y="90"/>
                  </a:lnTo>
                  <a:lnTo>
                    <a:pt x="1082" y="90"/>
                  </a:lnTo>
                  <a:lnTo>
                    <a:pt x="1082" y="93"/>
                  </a:lnTo>
                  <a:lnTo>
                    <a:pt x="1080" y="93"/>
                  </a:lnTo>
                  <a:lnTo>
                    <a:pt x="1077" y="93"/>
                  </a:lnTo>
                  <a:lnTo>
                    <a:pt x="1073" y="93"/>
                  </a:lnTo>
                  <a:lnTo>
                    <a:pt x="1070" y="93"/>
                  </a:lnTo>
                  <a:lnTo>
                    <a:pt x="1070" y="90"/>
                  </a:lnTo>
                  <a:lnTo>
                    <a:pt x="1068" y="90"/>
                  </a:lnTo>
                  <a:lnTo>
                    <a:pt x="1070" y="90"/>
                  </a:lnTo>
                  <a:close/>
                  <a:moveTo>
                    <a:pt x="1334" y="90"/>
                  </a:moveTo>
                  <a:lnTo>
                    <a:pt x="1331" y="90"/>
                  </a:lnTo>
                  <a:lnTo>
                    <a:pt x="1329" y="90"/>
                  </a:lnTo>
                  <a:lnTo>
                    <a:pt x="1326" y="90"/>
                  </a:lnTo>
                  <a:lnTo>
                    <a:pt x="1324" y="90"/>
                  </a:lnTo>
                  <a:lnTo>
                    <a:pt x="1326" y="90"/>
                  </a:lnTo>
                  <a:lnTo>
                    <a:pt x="1329" y="90"/>
                  </a:lnTo>
                  <a:lnTo>
                    <a:pt x="1331" y="90"/>
                  </a:lnTo>
                  <a:lnTo>
                    <a:pt x="1334" y="90"/>
                  </a:lnTo>
                  <a:close/>
                  <a:moveTo>
                    <a:pt x="1369" y="90"/>
                  </a:moveTo>
                  <a:lnTo>
                    <a:pt x="1367" y="90"/>
                  </a:lnTo>
                  <a:lnTo>
                    <a:pt x="1369" y="90"/>
                  </a:lnTo>
                  <a:close/>
                  <a:moveTo>
                    <a:pt x="1371" y="88"/>
                  </a:moveTo>
                  <a:lnTo>
                    <a:pt x="1369" y="88"/>
                  </a:lnTo>
                  <a:lnTo>
                    <a:pt x="1371" y="88"/>
                  </a:lnTo>
                  <a:close/>
                  <a:moveTo>
                    <a:pt x="1148" y="90"/>
                  </a:moveTo>
                  <a:lnTo>
                    <a:pt x="1146" y="90"/>
                  </a:lnTo>
                  <a:lnTo>
                    <a:pt x="1146" y="88"/>
                  </a:lnTo>
                  <a:lnTo>
                    <a:pt x="1148" y="88"/>
                  </a:lnTo>
                  <a:lnTo>
                    <a:pt x="1151" y="88"/>
                  </a:lnTo>
                  <a:lnTo>
                    <a:pt x="1153" y="88"/>
                  </a:lnTo>
                  <a:lnTo>
                    <a:pt x="1148" y="90"/>
                  </a:lnTo>
                  <a:close/>
                  <a:moveTo>
                    <a:pt x="1194" y="86"/>
                  </a:moveTo>
                  <a:lnTo>
                    <a:pt x="1196" y="88"/>
                  </a:lnTo>
                  <a:lnTo>
                    <a:pt x="1198" y="88"/>
                  </a:lnTo>
                  <a:lnTo>
                    <a:pt x="1201" y="88"/>
                  </a:lnTo>
                  <a:lnTo>
                    <a:pt x="1201" y="90"/>
                  </a:lnTo>
                  <a:lnTo>
                    <a:pt x="1198" y="90"/>
                  </a:lnTo>
                  <a:lnTo>
                    <a:pt x="1196" y="90"/>
                  </a:lnTo>
                  <a:lnTo>
                    <a:pt x="1194" y="90"/>
                  </a:lnTo>
                  <a:lnTo>
                    <a:pt x="1194" y="88"/>
                  </a:lnTo>
                  <a:lnTo>
                    <a:pt x="1191" y="88"/>
                  </a:lnTo>
                  <a:lnTo>
                    <a:pt x="1189" y="88"/>
                  </a:lnTo>
                  <a:lnTo>
                    <a:pt x="1186" y="88"/>
                  </a:lnTo>
                  <a:lnTo>
                    <a:pt x="1184" y="88"/>
                  </a:lnTo>
                  <a:lnTo>
                    <a:pt x="1182" y="88"/>
                  </a:lnTo>
                  <a:lnTo>
                    <a:pt x="1184" y="86"/>
                  </a:lnTo>
                  <a:lnTo>
                    <a:pt x="1186" y="86"/>
                  </a:lnTo>
                  <a:lnTo>
                    <a:pt x="1189" y="86"/>
                  </a:lnTo>
                  <a:lnTo>
                    <a:pt x="1194" y="86"/>
                  </a:lnTo>
                  <a:close/>
                  <a:moveTo>
                    <a:pt x="1167" y="86"/>
                  </a:moveTo>
                  <a:lnTo>
                    <a:pt x="1170" y="88"/>
                  </a:lnTo>
                  <a:lnTo>
                    <a:pt x="1167" y="88"/>
                  </a:lnTo>
                  <a:lnTo>
                    <a:pt x="1165" y="88"/>
                  </a:lnTo>
                  <a:lnTo>
                    <a:pt x="1163" y="88"/>
                  </a:lnTo>
                  <a:lnTo>
                    <a:pt x="1160" y="88"/>
                  </a:lnTo>
                  <a:lnTo>
                    <a:pt x="1158" y="86"/>
                  </a:lnTo>
                  <a:lnTo>
                    <a:pt x="1160" y="86"/>
                  </a:lnTo>
                  <a:lnTo>
                    <a:pt x="1163" y="86"/>
                  </a:lnTo>
                  <a:lnTo>
                    <a:pt x="1165" y="86"/>
                  </a:lnTo>
                  <a:lnTo>
                    <a:pt x="1165" y="83"/>
                  </a:lnTo>
                  <a:lnTo>
                    <a:pt x="1167" y="83"/>
                  </a:lnTo>
                  <a:lnTo>
                    <a:pt x="1167" y="86"/>
                  </a:lnTo>
                  <a:close/>
                  <a:moveTo>
                    <a:pt x="1144" y="88"/>
                  </a:moveTo>
                  <a:lnTo>
                    <a:pt x="1141" y="88"/>
                  </a:lnTo>
                  <a:lnTo>
                    <a:pt x="1139" y="88"/>
                  </a:lnTo>
                  <a:lnTo>
                    <a:pt x="1141" y="86"/>
                  </a:lnTo>
                  <a:lnTo>
                    <a:pt x="1141" y="83"/>
                  </a:lnTo>
                  <a:lnTo>
                    <a:pt x="1146" y="83"/>
                  </a:lnTo>
                  <a:lnTo>
                    <a:pt x="1144" y="81"/>
                  </a:lnTo>
                  <a:lnTo>
                    <a:pt x="1146" y="81"/>
                  </a:lnTo>
                  <a:lnTo>
                    <a:pt x="1148" y="81"/>
                  </a:lnTo>
                  <a:lnTo>
                    <a:pt x="1148" y="83"/>
                  </a:lnTo>
                  <a:lnTo>
                    <a:pt x="1151" y="83"/>
                  </a:lnTo>
                  <a:lnTo>
                    <a:pt x="1153" y="83"/>
                  </a:lnTo>
                  <a:lnTo>
                    <a:pt x="1153" y="86"/>
                  </a:lnTo>
                  <a:lnTo>
                    <a:pt x="1151" y="86"/>
                  </a:lnTo>
                  <a:lnTo>
                    <a:pt x="1151" y="88"/>
                  </a:lnTo>
                  <a:lnTo>
                    <a:pt x="1148" y="88"/>
                  </a:lnTo>
                  <a:lnTo>
                    <a:pt x="1146" y="88"/>
                  </a:lnTo>
                  <a:lnTo>
                    <a:pt x="1144" y="88"/>
                  </a:lnTo>
                  <a:close/>
                  <a:moveTo>
                    <a:pt x="1215" y="81"/>
                  </a:moveTo>
                  <a:lnTo>
                    <a:pt x="1213" y="81"/>
                  </a:lnTo>
                  <a:lnTo>
                    <a:pt x="1210" y="81"/>
                  </a:lnTo>
                  <a:lnTo>
                    <a:pt x="1208" y="81"/>
                  </a:lnTo>
                  <a:lnTo>
                    <a:pt x="1210" y="81"/>
                  </a:lnTo>
                  <a:lnTo>
                    <a:pt x="1213" y="81"/>
                  </a:lnTo>
                  <a:lnTo>
                    <a:pt x="1215" y="81"/>
                  </a:lnTo>
                  <a:close/>
                  <a:moveTo>
                    <a:pt x="1156" y="78"/>
                  </a:moveTo>
                  <a:lnTo>
                    <a:pt x="1158" y="78"/>
                  </a:lnTo>
                  <a:lnTo>
                    <a:pt x="1160" y="78"/>
                  </a:lnTo>
                  <a:lnTo>
                    <a:pt x="1163" y="81"/>
                  </a:lnTo>
                  <a:lnTo>
                    <a:pt x="1160" y="81"/>
                  </a:lnTo>
                  <a:lnTo>
                    <a:pt x="1160" y="83"/>
                  </a:lnTo>
                  <a:lnTo>
                    <a:pt x="1158" y="83"/>
                  </a:lnTo>
                  <a:lnTo>
                    <a:pt x="1156" y="83"/>
                  </a:lnTo>
                  <a:lnTo>
                    <a:pt x="1153" y="83"/>
                  </a:lnTo>
                  <a:lnTo>
                    <a:pt x="1151" y="81"/>
                  </a:lnTo>
                  <a:lnTo>
                    <a:pt x="1146" y="81"/>
                  </a:lnTo>
                  <a:lnTo>
                    <a:pt x="1146" y="78"/>
                  </a:lnTo>
                  <a:lnTo>
                    <a:pt x="1148" y="78"/>
                  </a:lnTo>
                  <a:lnTo>
                    <a:pt x="1151" y="78"/>
                  </a:lnTo>
                  <a:lnTo>
                    <a:pt x="1153" y="78"/>
                  </a:lnTo>
                  <a:lnTo>
                    <a:pt x="1156" y="78"/>
                  </a:lnTo>
                  <a:close/>
                  <a:moveTo>
                    <a:pt x="1393" y="76"/>
                  </a:moveTo>
                  <a:lnTo>
                    <a:pt x="1393" y="74"/>
                  </a:lnTo>
                  <a:lnTo>
                    <a:pt x="1390" y="74"/>
                  </a:lnTo>
                  <a:lnTo>
                    <a:pt x="1393" y="74"/>
                  </a:lnTo>
                  <a:lnTo>
                    <a:pt x="1393" y="76"/>
                  </a:lnTo>
                  <a:close/>
                  <a:moveTo>
                    <a:pt x="1139" y="76"/>
                  </a:moveTo>
                  <a:lnTo>
                    <a:pt x="1137" y="76"/>
                  </a:lnTo>
                  <a:lnTo>
                    <a:pt x="1134" y="76"/>
                  </a:lnTo>
                  <a:lnTo>
                    <a:pt x="1137" y="74"/>
                  </a:lnTo>
                  <a:lnTo>
                    <a:pt x="1139" y="76"/>
                  </a:lnTo>
                  <a:close/>
                  <a:moveTo>
                    <a:pt x="1284" y="76"/>
                  </a:moveTo>
                  <a:lnTo>
                    <a:pt x="1281" y="76"/>
                  </a:lnTo>
                  <a:lnTo>
                    <a:pt x="1279" y="76"/>
                  </a:lnTo>
                  <a:lnTo>
                    <a:pt x="1277" y="76"/>
                  </a:lnTo>
                  <a:lnTo>
                    <a:pt x="1274" y="74"/>
                  </a:lnTo>
                  <a:lnTo>
                    <a:pt x="1277" y="74"/>
                  </a:lnTo>
                  <a:lnTo>
                    <a:pt x="1279" y="74"/>
                  </a:lnTo>
                  <a:lnTo>
                    <a:pt x="1284" y="74"/>
                  </a:lnTo>
                  <a:lnTo>
                    <a:pt x="1284" y="71"/>
                  </a:lnTo>
                  <a:lnTo>
                    <a:pt x="1286" y="71"/>
                  </a:lnTo>
                  <a:lnTo>
                    <a:pt x="1284" y="74"/>
                  </a:lnTo>
                  <a:lnTo>
                    <a:pt x="1284" y="76"/>
                  </a:lnTo>
                  <a:close/>
                  <a:moveTo>
                    <a:pt x="1258" y="71"/>
                  </a:moveTo>
                  <a:lnTo>
                    <a:pt x="1255" y="71"/>
                  </a:lnTo>
                  <a:lnTo>
                    <a:pt x="1258" y="71"/>
                  </a:lnTo>
                  <a:close/>
                  <a:moveTo>
                    <a:pt x="1286" y="71"/>
                  </a:moveTo>
                  <a:lnTo>
                    <a:pt x="1288" y="71"/>
                  </a:lnTo>
                  <a:lnTo>
                    <a:pt x="1286" y="71"/>
                  </a:lnTo>
                  <a:close/>
                  <a:moveTo>
                    <a:pt x="1108" y="81"/>
                  </a:moveTo>
                  <a:lnTo>
                    <a:pt x="1106" y="81"/>
                  </a:lnTo>
                  <a:lnTo>
                    <a:pt x="1103" y="81"/>
                  </a:lnTo>
                  <a:lnTo>
                    <a:pt x="1101" y="81"/>
                  </a:lnTo>
                  <a:lnTo>
                    <a:pt x="1101" y="78"/>
                  </a:lnTo>
                  <a:lnTo>
                    <a:pt x="1099" y="78"/>
                  </a:lnTo>
                  <a:lnTo>
                    <a:pt x="1101" y="78"/>
                  </a:lnTo>
                  <a:lnTo>
                    <a:pt x="1101" y="76"/>
                  </a:lnTo>
                  <a:lnTo>
                    <a:pt x="1099" y="76"/>
                  </a:lnTo>
                  <a:lnTo>
                    <a:pt x="1101" y="76"/>
                  </a:lnTo>
                  <a:lnTo>
                    <a:pt x="1101" y="74"/>
                  </a:lnTo>
                  <a:lnTo>
                    <a:pt x="1103" y="74"/>
                  </a:lnTo>
                  <a:lnTo>
                    <a:pt x="1101" y="74"/>
                  </a:lnTo>
                  <a:lnTo>
                    <a:pt x="1099" y="74"/>
                  </a:lnTo>
                  <a:lnTo>
                    <a:pt x="1099" y="71"/>
                  </a:lnTo>
                  <a:lnTo>
                    <a:pt x="1096" y="71"/>
                  </a:lnTo>
                  <a:lnTo>
                    <a:pt x="1094" y="71"/>
                  </a:lnTo>
                  <a:lnTo>
                    <a:pt x="1096" y="71"/>
                  </a:lnTo>
                  <a:lnTo>
                    <a:pt x="1099" y="71"/>
                  </a:lnTo>
                  <a:lnTo>
                    <a:pt x="1099" y="69"/>
                  </a:lnTo>
                  <a:lnTo>
                    <a:pt x="1101" y="69"/>
                  </a:lnTo>
                  <a:lnTo>
                    <a:pt x="1101" y="71"/>
                  </a:lnTo>
                  <a:lnTo>
                    <a:pt x="1103" y="71"/>
                  </a:lnTo>
                  <a:lnTo>
                    <a:pt x="1106" y="71"/>
                  </a:lnTo>
                  <a:lnTo>
                    <a:pt x="1106" y="74"/>
                  </a:lnTo>
                  <a:lnTo>
                    <a:pt x="1106" y="76"/>
                  </a:lnTo>
                  <a:lnTo>
                    <a:pt x="1108" y="78"/>
                  </a:lnTo>
                  <a:lnTo>
                    <a:pt x="1110" y="78"/>
                  </a:lnTo>
                  <a:lnTo>
                    <a:pt x="1110" y="81"/>
                  </a:lnTo>
                  <a:lnTo>
                    <a:pt x="1108" y="81"/>
                  </a:lnTo>
                  <a:close/>
                  <a:moveTo>
                    <a:pt x="1445" y="69"/>
                  </a:moveTo>
                  <a:lnTo>
                    <a:pt x="1443" y="69"/>
                  </a:lnTo>
                  <a:lnTo>
                    <a:pt x="1440" y="69"/>
                  </a:lnTo>
                  <a:lnTo>
                    <a:pt x="1443" y="69"/>
                  </a:lnTo>
                  <a:lnTo>
                    <a:pt x="1443" y="67"/>
                  </a:lnTo>
                  <a:lnTo>
                    <a:pt x="1445" y="69"/>
                  </a:lnTo>
                  <a:close/>
                  <a:moveTo>
                    <a:pt x="1326" y="55"/>
                  </a:moveTo>
                  <a:lnTo>
                    <a:pt x="1329" y="55"/>
                  </a:lnTo>
                  <a:lnTo>
                    <a:pt x="1326" y="55"/>
                  </a:lnTo>
                  <a:close/>
                  <a:moveTo>
                    <a:pt x="1426" y="50"/>
                  </a:moveTo>
                  <a:lnTo>
                    <a:pt x="1424" y="50"/>
                  </a:lnTo>
                  <a:lnTo>
                    <a:pt x="1424" y="48"/>
                  </a:lnTo>
                  <a:lnTo>
                    <a:pt x="1426" y="50"/>
                  </a:lnTo>
                  <a:close/>
                  <a:moveTo>
                    <a:pt x="1260" y="50"/>
                  </a:moveTo>
                  <a:lnTo>
                    <a:pt x="1258" y="50"/>
                  </a:lnTo>
                  <a:lnTo>
                    <a:pt x="1255" y="48"/>
                  </a:lnTo>
                  <a:lnTo>
                    <a:pt x="1258" y="48"/>
                  </a:lnTo>
                  <a:lnTo>
                    <a:pt x="1260" y="48"/>
                  </a:lnTo>
                  <a:lnTo>
                    <a:pt x="1262" y="48"/>
                  </a:lnTo>
                  <a:lnTo>
                    <a:pt x="1262" y="50"/>
                  </a:lnTo>
                  <a:lnTo>
                    <a:pt x="1260" y="50"/>
                  </a:lnTo>
                  <a:close/>
                  <a:moveTo>
                    <a:pt x="1279" y="43"/>
                  </a:moveTo>
                  <a:lnTo>
                    <a:pt x="1277" y="43"/>
                  </a:lnTo>
                  <a:lnTo>
                    <a:pt x="1274" y="40"/>
                  </a:lnTo>
                  <a:lnTo>
                    <a:pt x="1272" y="40"/>
                  </a:lnTo>
                  <a:lnTo>
                    <a:pt x="1272" y="38"/>
                  </a:lnTo>
                  <a:lnTo>
                    <a:pt x="1274" y="38"/>
                  </a:lnTo>
                  <a:lnTo>
                    <a:pt x="1277" y="38"/>
                  </a:lnTo>
                  <a:lnTo>
                    <a:pt x="1279" y="38"/>
                  </a:lnTo>
                  <a:lnTo>
                    <a:pt x="1281" y="38"/>
                  </a:lnTo>
                  <a:lnTo>
                    <a:pt x="1284" y="38"/>
                  </a:lnTo>
                  <a:lnTo>
                    <a:pt x="1284" y="40"/>
                  </a:lnTo>
                  <a:lnTo>
                    <a:pt x="1281" y="40"/>
                  </a:lnTo>
                  <a:lnTo>
                    <a:pt x="1279" y="43"/>
                  </a:lnTo>
                  <a:close/>
                  <a:moveTo>
                    <a:pt x="1134" y="40"/>
                  </a:moveTo>
                  <a:lnTo>
                    <a:pt x="1132" y="40"/>
                  </a:lnTo>
                  <a:lnTo>
                    <a:pt x="1132" y="38"/>
                  </a:lnTo>
                  <a:lnTo>
                    <a:pt x="1134" y="38"/>
                  </a:lnTo>
                  <a:lnTo>
                    <a:pt x="1137" y="40"/>
                  </a:lnTo>
                  <a:lnTo>
                    <a:pt x="1134" y="40"/>
                  </a:lnTo>
                  <a:close/>
                  <a:moveTo>
                    <a:pt x="1277" y="36"/>
                  </a:moveTo>
                  <a:lnTo>
                    <a:pt x="1277" y="38"/>
                  </a:lnTo>
                  <a:lnTo>
                    <a:pt x="1274" y="38"/>
                  </a:lnTo>
                  <a:lnTo>
                    <a:pt x="1272" y="38"/>
                  </a:lnTo>
                  <a:lnTo>
                    <a:pt x="1269" y="38"/>
                  </a:lnTo>
                  <a:lnTo>
                    <a:pt x="1272" y="38"/>
                  </a:lnTo>
                  <a:lnTo>
                    <a:pt x="1269" y="38"/>
                  </a:lnTo>
                  <a:lnTo>
                    <a:pt x="1267" y="38"/>
                  </a:lnTo>
                  <a:lnTo>
                    <a:pt x="1265" y="38"/>
                  </a:lnTo>
                  <a:lnTo>
                    <a:pt x="1262" y="38"/>
                  </a:lnTo>
                  <a:lnTo>
                    <a:pt x="1260" y="38"/>
                  </a:lnTo>
                  <a:lnTo>
                    <a:pt x="1262" y="36"/>
                  </a:lnTo>
                  <a:lnTo>
                    <a:pt x="1265" y="36"/>
                  </a:lnTo>
                  <a:lnTo>
                    <a:pt x="1267" y="36"/>
                  </a:lnTo>
                  <a:lnTo>
                    <a:pt x="1269" y="36"/>
                  </a:lnTo>
                  <a:lnTo>
                    <a:pt x="1272" y="36"/>
                  </a:lnTo>
                  <a:lnTo>
                    <a:pt x="1277" y="36"/>
                  </a:lnTo>
                  <a:close/>
                  <a:moveTo>
                    <a:pt x="1267" y="33"/>
                  </a:moveTo>
                  <a:lnTo>
                    <a:pt x="1265" y="33"/>
                  </a:lnTo>
                  <a:lnTo>
                    <a:pt x="1267" y="33"/>
                  </a:lnTo>
                  <a:lnTo>
                    <a:pt x="1267" y="31"/>
                  </a:lnTo>
                  <a:lnTo>
                    <a:pt x="1267" y="33"/>
                  </a:lnTo>
                  <a:close/>
                  <a:moveTo>
                    <a:pt x="1296" y="31"/>
                  </a:moveTo>
                  <a:lnTo>
                    <a:pt x="1298" y="31"/>
                  </a:lnTo>
                  <a:lnTo>
                    <a:pt x="1300" y="31"/>
                  </a:lnTo>
                  <a:lnTo>
                    <a:pt x="1305" y="31"/>
                  </a:lnTo>
                  <a:lnTo>
                    <a:pt x="1307" y="31"/>
                  </a:lnTo>
                  <a:lnTo>
                    <a:pt x="1310" y="31"/>
                  </a:lnTo>
                  <a:lnTo>
                    <a:pt x="1312" y="31"/>
                  </a:lnTo>
                  <a:lnTo>
                    <a:pt x="1312" y="33"/>
                  </a:lnTo>
                  <a:lnTo>
                    <a:pt x="1315" y="33"/>
                  </a:lnTo>
                  <a:lnTo>
                    <a:pt x="1312" y="33"/>
                  </a:lnTo>
                  <a:lnTo>
                    <a:pt x="1310" y="33"/>
                  </a:lnTo>
                  <a:lnTo>
                    <a:pt x="1305" y="33"/>
                  </a:lnTo>
                  <a:lnTo>
                    <a:pt x="1300" y="33"/>
                  </a:lnTo>
                  <a:lnTo>
                    <a:pt x="1296" y="33"/>
                  </a:lnTo>
                  <a:lnTo>
                    <a:pt x="1293" y="33"/>
                  </a:lnTo>
                  <a:lnTo>
                    <a:pt x="1291" y="33"/>
                  </a:lnTo>
                  <a:lnTo>
                    <a:pt x="1291" y="31"/>
                  </a:lnTo>
                  <a:lnTo>
                    <a:pt x="1288" y="31"/>
                  </a:lnTo>
                  <a:lnTo>
                    <a:pt x="1291" y="31"/>
                  </a:lnTo>
                  <a:lnTo>
                    <a:pt x="1293" y="31"/>
                  </a:lnTo>
                  <a:lnTo>
                    <a:pt x="1296" y="31"/>
                  </a:lnTo>
                  <a:close/>
                  <a:moveTo>
                    <a:pt x="1241" y="29"/>
                  </a:moveTo>
                  <a:lnTo>
                    <a:pt x="1239" y="29"/>
                  </a:lnTo>
                  <a:lnTo>
                    <a:pt x="1241" y="29"/>
                  </a:lnTo>
                  <a:close/>
                  <a:moveTo>
                    <a:pt x="1241" y="29"/>
                  </a:moveTo>
                  <a:lnTo>
                    <a:pt x="1241" y="26"/>
                  </a:lnTo>
                  <a:lnTo>
                    <a:pt x="1241" y="29"/>
                  </a:lnTo>
                  <a:close/>
                  <a:moveTo>
                    <a:pt x="1341" y="26"/>
                  </a:moveTo>
                  <a:lnTo>
                    <a:pt x="1343" y="26"/>
                  </a:lnTo>
                  <a:lnTo>
                    <a:pt x="1343" y="29"/>
                  </a:lnTo>
                  <a:lnTo>
                    <a:pt x="1341" y="29"/>
                  </a:lnTo>
                  <a:lnTo>
                    <a:pt x="1338" y="29"/>
                  </a:lnTo>
                  <a:lnTo>
                    <a:pt x="1336" y="29"/>
                  </a:lnTo>
                  <a:lnTo>
                    <a:pt x="1334" y="29"/>
                  </a:lnTo>
                  <a:lnTo>
                    <a:pt x="1326" y="26"/>
                  </a:lnTo>
                  <a:lnTo>
                    <a:pt x="1324" y="26"/>
                  </a:lnTo>
                  <a:lnTo>
                    <a:pt x="1322" y="26"/>
                  </a:lnTo>
                  <a:lnTo>
                    <a:pt x="1319" y="26"/>
                  </a:lnTo>
                  <a:lnTo>
                    <a:pt x="1317" y="26"/>
                  </a:lnTo>
                  <a:lnTo>
                    <a:pt x="1319" y="24"/>
                  </a:lnTo>
                  <a:lnTo>
                    <a:pt x="1322" y="24"/>
                  </a:lnTo>
                  <a:lnTo>
                    <a:pt x="1324" y="24"/>
                  </a:lnTo>
                  <a:lnTo>
                    <a:pt x="1326" y="24"/>
                  </a:lnTo>
                  <a:lnTo>
                    <a:pt x="1331" y="24"/>
                  </a:lnTo>
                  <a:lnTo>
                    <a:pt x="1334" y="24"/>
                  </a:lnTo>
                  <a:lnTo>
                    <a:pt x="1338" y="26"/>
                  </a:lnTo>
                  <a:lnTo>
                    <a:pt x="1341" y="26"/>
                  </a:lnTo>
                  <a:close/>
                  <a:moveTo>
                    <a:pt x="1141" y="26"/>
                  </a:moveTo>
                  <a:lnTo>
                    <a:pt x="1139" y="26"/>
                  </a:lnTo>
                  <a:lnTo>
                    <a:pt x="1137" y="26"/>
                  </a:lnTo>
                  <a:lnTo>
                    <a:pt x="1137" y="24"/>
                  </a:lnTo>
                  <a:lnTo>
                    <a:pt x="1134" y="24"/>
                  </a:lnTo>
                  <a:lnTo>
                    <a:pt x="1134" y="21"/>
                  </a:lnTo>
                  <a:lnTo>
                    <a:pt x="1132" y="21"/>
                  </a:lnTo>
                  <a:lnTo>
                    <a:pt x="1134" y="21"/>
                  </a:lnTo>
                  <a:lnTo>
                    <a:pt x="1137" y="24"/>
                  </a:lnTo>
                  <a:lnTo>
                    <a:pt x="1139" y="24"/>
                  </a:lnTo>
                  <a:lnTo>
                    <a:pt x="1139" y="26"/>
                  </a:lnTo>
                  <a:lnTo>
                    <a:pt x="1141" y="26"/>
                  </a:lnTo>
                  <a:lnTo>
                    <a:pt x="1144" y="26"/>
                  </a:lnTo>
                  <a:lnTo>
                    <a:pt x="1141" y="26"/>
                  </a:lnTo>
                  <a:close/>
                  <a:moveTo>
                    <a:pt x="1156" y="19"/>
                  </a:moveTo>
                  <a:lnTo>
                    <a:pt x="1153" y="19"/>
                  </a:lnTo>
                  <a:lnTo>
                    <a:pt x="1156" y="19"/>
                  </a:lnTo>
                  <a:lnTo>
                    <a:pt x="1153" y="19"/>
                  </a:lnTo>
                  <a:lnTo>
                    <a:pt x="1156" y="19"/>
                  </a:lnTo>
                  <a:close/>
                  <a:moveTo>
                    <a:pt x="1284" y="14"/>
                  </a:moveTo>
                  <a:lnTo>
                    <a:pt x="1281" y="14"/>
                  </a:lnTo>
                  <a:lnTo>
                    <a:pt x="1279" y="14"/>
                  </a:lnTo>
                  <a:lnTo>
                    <a:pt x="1281" y="14"/>
                  </a:lnTo>
                  <a:lnTo>
                    <a:pt x="1284" y="14"/>
                  </a:lnTo>
                  <a:close/>
                  <a:moveTo>
                    <a:pt x="1267" y="10"/>
                  </a:moveTo>
                  <a:lnTo>
                    <a:pt x="1265" y="10"/>
                  </a:lnTo>
                  <a:lnTo>
                    <a:pt x="1267" y="10"/>
                  </a:lnTo>
                  <a:lnTo>
                    <a:pt x="1269" y="10"/>
                  </a:lnTo>
                  <a:lnTo>
                    <a:pt x="1267" y="10"/>
                  </a:lnTo>
                  <a:close/>
                  <a:moveTo>
                    <a:pt x="1265" y="10"/>
                  </a:moveTo>
                  <a:lnTo>
                    <a:pt x="1267" y="10"/>
                  </a:lnTo>
                  <a:lnTo>
                    <a:pt x="1265" y="10"/>
                  </a:lnTo>
                  <a:close/>
                  <a:moveTo>
                    <a:pt x="1393" y="10"/>
                  </a:moveTo>
                  <a:lnTo>
                    <a:pt x="1390" y="10"/>
                  </a:lnTo>
                  <a:lnTo>
                    <a:pt x="1388" y="10"/>
                  </a:lnTo>
                  <a:lnTo>
                    <a:pt x="1386" y="10"/>
                  </a:lnTo>
                  <a:lnTo>
                    <a:pt x="1383" y="7"/>
                  </a:lnTo>
                  <a:lnTo>
                    <a:pt x="1383" y="5"/>
                  </a:lnTo>
                  <a:lnTo>
                    <a:pt x="1381" y="5"/>
                  </a:lnTo>
                  <a:lnTo>
                    <a:pt x="1383" y="5"/>
                  </a:lnTo>
                  <a:lnTo>
                    <a:pt x="1386" y="5"/>
                  </a:lnTo>
                  <a:lnTo>
                    <a:pt x="1390" y="5"/>
                  </a:lnTo>
                  <a:lnTo>
                    <a:pt x="1393" y="5"/>
                  </a:lnTo>
                  <a:lnTo>
                    <a:pt x="1395" y="7"/>
                  </a:lnTo>
                  <a:lnTo>
                    <a:pt x="1398" y="7"/>
                  </a:lnTo>
                  <a:lnTo>
                    <a:pt x="1393" y="10"/>
                  </a:lnTo>
                  <a:close/>
                  <a:moveTo>
                    <a:pt x="1281" y="2"/>
                  </a:moveTo>
                  <a:lnTo>
                    <a:pt x="1279" y="2"/>
                  </a:lnTo>
                  <a:lnTo>
                    <a:pt x="1281" y="2"/>
                  </a:lnTo>
                  <a:close/>
                  <a:moveTo>
                    <a:pt x="1279" y="2"/>
                  </a:moveTo>
                  <a:lnTo>
                    <a:pt x="1281" y="2"/>
                  </a:lnTo>
                  <a:lnTo>
                    <a:pt x="1279" y="5"/>
                  </a:lnTo>
                  <a:lnTo>
                    <a:pt x="1277" y="5"/>
                  </a:lnTo>
                  <a:lnTo>
                    <a:pt x="1274" y="5"/>
                  </a:lnTo>
                  <a:lnTo>
                    <a:pt x="1272" y="5"/>
                  </a:lnTo>
                  <a:lnTo>
                    <a:pt x="1269" y="5"/>
                  </a:lnTo>
                  <a:lnTo>
                    <a:pt x="1267" y="5"/>
                  </a:lnTo>
                  <a:lnTo>
                    <a:pt x="1265" y="5"/>
                  </a:lnTo>
                  <a:lnTo>
                    <a:pt x="1267" y="5"/>
                  </a:lnTo>
                  <a:lnTo>
                    <a:pt x="1269" y="2"/>
                  </a:lnTo>
                  <a:lnTo>
                    <a:pt x="1272" y="2"/>
                  </a:lnTo>
                  <a:lnTo>
                    <a:pt x="1274" y="2"/>
                  </a:lnTo>
                  <a:lnTo>
                    <a:pt x="1277" y="2"/>
                  </a:lnTo>
                  <a:lnTo>
                    <a:pt x="1279" y="2"/>
                  </a:lnTo>
                  <a:close/>
                  <a:moveTo>
                    <a:pt x="1284" y="2"/>
                  </a:moveTo>
                  <a:lnTo>
                    <a:pt x="1281" y="2"/>
                  </a:lnTo>
                  <a:lnTo>
                    <a:pt x="1284" y="2"/>
                  </a:lnTo>
                  <a:close/>
                  <a:moveTo>
                    <a:pt x="1386" y="2"/>
                  </a:moveTo>
                  <a:lnTo>
                    <a:pt x="1386" y="0"/>
                  </a:lnTo>
                  <a:lnTo>
                    <a:pt x="1388" y="0"/>
                  </a:lnTo>
                  <a:lnTo>
                    <a:pt x="1388" y="2"/>
                  </a:lnTo>
                  <a:lnTo>
                    <a:pt x="1386" y="2"/>
                  </a:lnTo>
                  <a:close/>
                  <a:moveTo>
                    <a:pt x="1281" y="0"/>
                  </a:moveTo>
                  <a:lnTo>
                    <a:pt x="1284" y="0"/>
                  </a:lnTo>
                  <a:lnTo>
                    <a:pt x="128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2" name="Freeform 55952"/>
            <p:cNvSpPr>
              <a:spLocks noEditPoints="1"/>
            </p:cNvSpPr>
            <p:nvPr/>
          </p:nvSpPr>
          <p:spPr bwMode="auto">
            <a:xfrm>
              <a:off x="3071809" y="2408247"/>
              <a:ext cx="2351086" cy="2662247"/>
            </a:xfrm>
            <a:custGeom>
              <a:avLst/>
              <a:gdLst>
                <a:gd name="T0" fmla="*/ 926 w 1481"/>
                <a:gd name="T1" fmla="*/ 1658 h 1677"/>
                <a:gd name="T2" fmla="*/ 954 w 1481"/>
                <a:gd name="T3" fmla="*/ 1646 h 1677"/>
                <a:gd name="T4" fmla="*/ 957 w 1481"/>
                <a:gd name="T5" fmla="*/ 1632 h 1677"/>
                <a:gd name="T6" fmla="*/ 3 w 1481"/>
                <a:gd name="T7" fmla="*/ 1214 h 1677"/>
                <a:gd name="T8" fmla="*/ 276 w 1481"/>
                <a:gd name="T9" fmla="*/ 934 h 1677"/>
                <a:gd name="T10" fmla="*/ 264 w 1481"/>
                <a:gd name="T11" fmla="*/ 910 h 1677"/>
                <a:gd name="T12" fmla="*/ 285 w 1481"/>
                <a:gd name="T13" fmla="*/ 903 h 1677"/>
                <a:gd name="T14" fmla="*/ 753 w 1481"/>
                <a:gd name="T15" fmla="*/ 827 h 1677"/>
                <a:gd name="T16" fmla="*/ 791 w 1481"/>
                <a:gd name="T17" fmla="*/ 805 h 1677"/>
                <a:gd name="T18" fmla="*/ 748 w 1481"/>
                <a:gd name="T19" fmla="*/ 777 h 1677"/>
                <a:gd name="T20" fmla="*/ 1189 w 1481"/>
                <a:gd name="T21" fmla="*/ 763 h 1677"/>
                <a:gd name="T22" fmla="*/ 558 w 1481"/>
                <a:gd name="T23" fmla="*/ 722 h 1677"/>
                <a:gd name="T24" fmla="*/ 556 w 1481"/>
                <a:gd name="T25" fmla="*/ 710 h 1677"/>
                <a:gd name="T26" fmla="*/ 712 w 1481"/>
                <a:gd name="T27" fmla="*/ 703 h 1677"/>
                <a:gd name="T28" fmla="*/ 518 w 1481"/>
                <a:gd name="T29" fmla="*/ 699 h 1677"/>
                <a:gd name="T30" fmla="*/ 496 w 1481"/>
                <a:gd name="T31" fmla="*/ 691 h 1677"/>
                <a:gd name="T32" fmla="*/ 665 w 1481"/>
                <a:gd name="T33" fmla="*/ 689 h 1677"/>
                <a:gd name="T34" fmla="*/ 786 w 1481"/>
                <a:gd name="T35" fmla="*/ 680 h 1677"/>
                <a:gd name="T36" fmla="*/ 674 w 1481"/>
                <a:gd name="T37" fmla="*/ 677 h 1677"/>
                <a:gd name="T38" fmla="*/ 492 w 1481"/>
                <a:gd name="T39" fmla="*/ 668 h 1677"/>
                <a:gd name="T40" fmla="*/ 489 w 1481"/>
                <a:gd name="T41" fmla="*/ 665 h 1677"/>
                <a:gd name="T42" fmla="*/ 494 w 1481"/>
                <a:gd name="T43" fmla="*/ 661 h 1677"/>
                <a:gd name="T44" fmla="*/ 484 w 1481"/>
                <a:gd name="T45" fmla="*/ 656 h 1677"/>
                <a:gd name="T46" fmla="*/ 829 w 1481"/>
                <a:gd name="T47" fmla="*/ 646 h 1677"/>
                <a:gd name="T48" fmla="*/ 484 w 1481"/>
                <a:gd name="T49" fmla="*/ 639 h 1677"/>
                <a:gd name="T50" fmla="*/ 487 w 1481"/>
                <a:gd name="T51" fmla="*/ 634 h 1677"/>
                <a:gd name="T52" fmla="*/ 487 w 1481"/>
                <a:gd name="T53" fmla="*/ 625 h 1677"/>
                <a:gd name="T54" fmla="*/ 489 w 1481"/>
                <a:gd name="T55" fmla="*/ 620 h 1677"/>
                <a:gd name="T56" fmla="*/ 494 w 1481"/>
                <a:gd name="T57" fmla="*/ 618 h 1677"/>
                <a:gd name="T58" fmla="*/ 492 w 1481"/>
                <a:gd name="T59" fmla="*/ 613 h 1677"/>
                <a:gd name="T60" fmla="*/ 774 w 1481"/>
                <a:gd name="T61" fmla="*/ 606 h 1677"/>
                <a:gd name="T62" fmla="*/ 1315 w 1481"/>
                <a:gd name="T63" fmla="*/ 592 h 1677"/>
                <a:gd name="T64" fmla="*/ 456 w 1481"/>
                <a:gd name="T65" fmla="*/ 582 h 1677"/>
                <a:gd name="T66" fmla="*/ 805 w 1481"/>
                <a:gd name="T67" fmla="*/ 580 h 1677"/>
                <a:gd name="T68" fmla="*/ 1407 w 1481"/>
                <a:gd name="T69" fmla="*/ 573 h 1677"/>
                <a:gd name="T70" fmla="*/ 425 w 1481"/>
                <a:gd name="T71" fmla="*/ 568 h 1677"/>
                <a:gd name="T72" fmla="*/ 420 w 1481"/>
                <a:gd name="T73" fmla="*/ 561 h 1677"/>
                <a:gd name="T74" fmla="*/ 425 w 1481"/>
                <a:gd name="T75" fmla="*/ 551 h 1677"/>
                <a:gd name="T76" fmla="*/ 413 w 1481"/>
                <a:gd name="T77" fmla="*/ 546 h 1677"/>
                <a:gd name="T78" fmla="*/ 1049 w 1481"/>
                <a:gd name="T79" fmla="*/ 535 h 1677"/>
                <a:gd name="T80" fmla="*/ 1066 w 1481"/>
                <a:gd name="T81" fmla="*/ 506 h 1677"/>
                <a:gd name="T82" fmla="*/ 800 w 1481"/>
                <a:gd name="T83" fmla="*/ 492 h 1677"/>
                <a:gd name="T84" fmla="*/ 883 w 1481"/>
                <a:gd name="T85" fmla="*/ 485 h 1677"/>
                <a:gd name="T86" fmla="*/ 1313 w 1481"/>
                <a:gd name="T87" fmla="*/ 473 h 1677"/>
                <a:gd name="T88" fmla="*/ 1163 w 1481"/>
                <a:gd name="T89" fmla="*/ 463 h 1677"/>
                <a:gd name="T90" fmla="*/ 1071 w 1481"/>
                <a:gd name="T91" fmla="*/ 461 h 1677"/>
                <a:gd name="T92" fmla="*/ 1215 w 1481"/>
                <a:gd name="T93" fmla="*/ 459 h 1677"/>
                <a:gd name="T94" fmla="*/ 1294 w 1481"/>
                <a:gd name="T95" fmla="*/ 456 h 1677"/>
                <a:gd name="T96" fmla="*/ 1310 w 1481"/>
                <a:gd name="T97" fmla="*/ 451 h 1677"/>
                <a:gd name="T98" fmla="*/ 1123 w 1481"/>
                <a:gd name="T99" fmla="*/ 447 h 1677"/>
                <a:gd name="T100" fmla="*/ 1118 w 1481"/>
                <a:gd name="T101" fmla="*/ 442 h 1677"/>
                <a:gd name="T102" fmla="*/ 1298 w 1481"/>
                <a:gd name="T103" fmla="*/ 442 h 1677"/>
                <a:gd name="T104" fmla="*/ 987 w 1481"/>
                <a:gd name="T105" fmla="*/ 435 h 1677"/>
                <a:gd name="T106" fmla="*/ 992 w 1481"/>
                <a:gd name="T107" fmla="*/ 435 h 1677"/>
                <a:gd name="T108" fmla="*/ 1310 w 1481"/>
                <a:gd name="T109" fmla="*/ 430 h 1677"/>
                <a:gd name="T110" fmla="*/ 489 w 1481"/>
                <a:gd name="T111" fmla="*/ 421 h 1677"/>
                <a:gd name="T112" fmla="*/ 1410 w 1481"/>
                <a:gd name="T113" fmla="*/ 392 h 1677"/>
                <a:gd name="T114" fmla="*/ 1168 w 1481"/>
                <a:gd name="T115" fmla="*/ 345 h 1677"/>
                <a:gd name="T116" fmla="*/ 1108 w 1481"/>
                <a:gd name="T117" fmla="*/ 326 h 1677"/>
                <a:gd name="T118" fmla="*/ 1066 w 1481"/>
                <a:gd name="T119" fmla="*/ 283 h 1677"/>
                <a:gd name="T120" fmla="*/ 1184 w 1481"/>
                <a:gd name="T121" fmla="*/ 197 h 1677"/>
                <a:gd name="T122" fmla="*/ 1275 w 1481"/>
                <a:gd name="T123" fmla="*/ 107 h 1677"/>
                <a:gd name="T124" fmla="*/ 1348 w 1481"/>
                <a:gd name="T125" fmla="*/ 2 h 1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1" h="1677">
                  <a:moveTo>
                    <a:pt x="914" y="1675"/>
                  </a:moveTo>
                  <a:lnTo>
                    <a:pt x="914" y="1677"/>
                  </a:lnTo>
                  <a:lnTo>
                    <a:pt x="914" y="1675"/>
                  </a:lnTo>
                  <a:close/>
                  <a:moveTo>
                    <a:pt x="926" y="1673"/>
                  </a:moveTo>
                  <a:lnTo>
                    <a:pt x="926" y="1675"/>
                  </a:lnTo>
                  <a:lnTo>
                    <a:pt x="926" y="1673"/>
                  </a:lnTo>
                  <a:close/>
                  <a:moveTo>
                    <a:pt x="928" y="1665"/>
                  </a:moveTo>
                  <a:lnTo>
                    <a:pt x="928" y="1668"/>
                  </a:lnTo>
                  <a:lnTo>
                    <a:pt x="928" y="1665"/>
                  </a:lnTo>
                  <a:lnTo>
                    <a:pt x="928" y="1668"/>
                  </a:lnTo>
                  <a:lnTo>
                    <a:pt x="928" y="1665"/>
                  </a:lnTo>
                  <a:close/>
                  <a:moveTo>
                    <a:pt x="928" y="1665"/>
                  </a:moveTo>
                  <a:lnTo>
                    <a:pt x="926" y="1665"/>
                  </a:lnTo>
                  <a:lnTo>
                    <a:pt x="928" y="1665"/>
                  </a:lnTo>
                  <a:lnTo>
                    <a:pt x="926" y="1665"/>
                  </a:lnTo>
                  <a:lnTo>
                    <a:pt x="928" y="1665"/>
                  </a:lnTo>
                  <a:close/>
                  <a:moveTo>
                    <a:pt x="928" y="1665"/>
                  </a:moveTo>
                  <a:lnTo>
                    <a:pt x="926" y="1665"/>
                  </a:lnTo>
                  <a:lnTo>
                    <a:pt x="928" y="1665"/>
                  </a:lnTo>
                  <a:close/>
                  <a:moveTo>
                    <a:pt x="921" y="1665"/>
                  </a:moveTo>
                  <a:lnTo>
                    <a:pt x="923" y="1665"/>
                  </a:lnTo>
                  <a:lnTo>
                    <a:pt x="921" y="1665"/>
                  </a:lnTo>
                  <a:close/>
                  <a:moveTo>
                    <a:pt x="919" y="1663"/>
                  </a:moveTo>
                  <a:lnTo>
                    <a:pt x="919" y="1661"/>
                  </a:lnTo>
                  <a:lnTo>
                    <a:pt x="919" y="1663"/>
                  </a:lnTo>
                  <a:close/>
                  <a:moveTo>
                    <a:pt x="919" y="1663"/>
                  </a:moveTo>
                  <a:lnTo>
                    <a:pt x="919" y="1661"/>
                  </a:lnTo>
                  <a:lnTo>
                    <a:pt x="919" y="1663"/>
                  </a:lnTo>
                  <a:close/>
                  <a:moveTo>
                    <a:pt x="933" y="1661"/>
                  </a:moveTo>
                  <a:lnTo>
                    <a:pt x="931" y="1661"/>
                  </a:lnTo>
                  <a:lnTo>
                    <a:pt x="933" y="1661"/>
                  </a:lnTo>
                  <a:close/>
                  <a:moveTo>
                    <a:pt x="926" y="1661"/>
                  </a:moveTo>
                  <a:lnTo>
                    <a:pt x="926" y="1658"/>
                  </a:lnTo>
                  <a:lnTo>
                    <a:pt x="926" y="1661"/>
                  </a:lnTo>
                  <a:close/>
                  <a:moveTo>
                    <a:pt x="933" y="1658"/>
                  </a:moveTo>
                  <a:lnTo>
                    <a:pt x="935" y="1658"/>
                  </a:lnTo>
                  <a:lnTo>
                    <a:pt x="933" y="1658"/>
                  </a:lnTo>
                  <a:close/>
                  <a:moveTo>
                    <a:pt x="926" y="1656"/>
                  </a:moveTo>
                  <a:lnTo>
                    <a:pt x="926" y="1658"/>
                  </a:lnTo>
                  <a:lnTo>
                    <a:pt x="926" y="1656"/>
                  </a:lnTo>
                  <a:close/>
                  <a:moveTo>
                    <a:pt x="916" y="1656"/>
                  </a:moveTo>
                  <a:lnTo>
                    <a:pt x="914" y="1656"/>
                  </a:lnTo>
                  <a:lnTo>
                    <a:pt x="916" y="1656"/>
                  </a:lnTo>
                  <a:close/>
                  <a:moveTo>
                    <a:pt x="928" y="1654"/>
                  </a:moveTo>
                  <a:lnTo>
                    <a:pt x="926" y="1654"/>
                  </a:lnTo>
                  <a:lnTo>
                    <a:pt x="928" y="1654"/>
                  </a:lnTo>
                  <a:close/>
                  <a:moveTo>
                    <a:pt x="923" y="1654"/>
                  </a:moveTo>
                  <a:lnTo>
                    <a:pt x="926" y="1654"/>
                  </a:lnTo>
                  <a:lnTo>
                    <a:pt x="923" y="1654"/>
                  </a:lnTo>
                  <a:close/>
                  <a:moveTo>
                    <a:pt x="935" y="1651"/>
                  </a:moveTo>
                  <a:lnTo>
                    <a:pt x="933" y="1651"/>
                  </a:lnTo>
                  <a:lnTo>
                    <a:pt x="935" y="1651"/>
                  </a:lnTo>
                  <a:close/>
                  <a:moveTo>
                    <a:pt x="950" y="1651"/>
                  </a:moveTo>
                  <a:lnTo>
                    <a:pt x="950" y="1649"/>
                  </a:lnTo>
                  <a:lnTo>
                    <a:pt x="950" y="1651"/>
                  </a:lnTo>
                  <a:close/>
                  <a:moveTo>
                    <a:pt x="926" y="1651"/>
                  </a:moveTo>
                  <a:lnTo>
                    <a:pt x="926" y="1649"/>
                  </a:lnTo>
                  <a:lnTo>
                    <a:pt x="926" y="1651"/>
                  </a:lnTo>
                  <a:close/>
                  <a:moveTo>
                    <a:pt x="954" y="1646"/>
                  </a:moveTo>
                  <a:lnTo>
                    <a:pt x="952" y="1646"/>
                  </a:lnTo>
                  <a:lnTo>
                    <a:pt x="954" y="1646"/>
                  </a:lnTo>
                  <a:close/>
                  <a:moveTo>
                    <a:pt x="952" y="1646"/>
                  </a:moveTo>
                  <a:lnTo>
                    <a:pt x="954" y="1646"/>
                  </a:lnTo>
                  <a:lnTo>
                    <a:pt x="952" y="1646"/>
                  </a:lnTo>
                  <a:close/>
                  <a:moveTo>
                    <a:pt x="952" y="1646"/>
                  </a:moveTo>
                  <a:lnTo>
                    <a:pt x="954" y="1646"/>
                  </a:lnTo>
                  <a:lnTo>
                    <a:pt x="952" y="1646"/>
                  </a:lnTo>
                  <a:close/>
                  <a:moveTo>
                    <a:pt x="954" y="1646"/>
                  </a:moveTo>
                  <a:lnTo>
                    <a:pt x="952" y="1646"/>
                  </a:lnTo>
                  <a:lnTo>
                    <a:pt x="954" y="1646"/>
                  </a:lnTo>
                  <a:close/>
                  <a:moveTo>
                    <a:pt x="952" y="1644"/>
                  </a:moveTo>
                  <a:lnTo>
                    <a:pt x="952" y="1646"/>
                  </a:lnTo>
                  <a:lnTo>
                    <a:pt x="952" y="1644"/>
                  </a:lnTo>
                  <a:close/>
                  <a:moveTo>
                    <a:pt x="952" y="1646"/>
                  </a:moveTo>
                  <a:lnTo>
                    <a:pt x="952" y="1644"/>
                  </a:lnTo>
                  <a:lnTo>
                    <a:pt x="952" y="1646"/>
                  </a:lnTo>
                  <a:close/>
                  <a:moveTo>
                    <a:pt x="952" y="1644"/>
                  </a:moveTo>
                  <a:lnTo>
                    <a:pt x="950" y="1644"/>
                  </a:lnTo>
                  <a:lnTo>
                    <a:pt x="952" y="1644"/>
                  </a:lnTo>
                  <a:close/>
                  <a:moveTo>
                    <a:pt x="952" y="1644"/>
                  </a:moveTo>
                  <a:lnTo>
                    <a:pt x="950" y="1644"/>
                  </a:lnTo>
                  <a:lnTo>
                    <a:pt x="952" y="1644"/>
                  </a:lnTo>
                  <a:close/>
                  <a:moveTo>
                    <a:pt x="952" y="1642"/>
                  </a:moveTo>
                  <a:lnTo>
                    <a:pt x="950" y="1642"/>
                  </a:lnTo>
                  <a:lnTo>
                    <a:pt x="952" y="1642"/>
                  </a:lnTo>
                  <a:close/>
                  <a:moveTo>
                    <a:pt x="964" y="1642"/>
                  </a:moveTo>
                  <a:lnTo>
                    <a:pt x="961" y="1642"/>
                  </a:lnTo>
                  <a:lnTo>
                    <a:pt x="964" y="1642"/>
                  </a:lnTo>
                  <a:close/>
                  <a:moveTo>
                    <a:pt x="952" y="1642"/>
                  </a:moveTo>
                  <a:lnTo>
                    <a:pt x="952" y="1639"/>
                  </a:lnTo>
                  <a:lnTo>
                    <a:pt x="952" y="1642"/>
                  </a:lnTo>
                  <a:close/>
                  <a:moveTo>
                    <a:pt x="952" y="1642"/>
                  </a:moveTo>
                  <a:lnTo>
                    <a:pt x="952" y="1639"/>
                  </a:lnTo>
                  <a:lnTo>
                    <a:pt x="952" y="1642"/>
                  </a:lnTo>
                  <a:close/>
                  <a:moveTo>
                    <a:pt x="952" y="1639"/>
                  </a:moveTo>
                  <a:lnTo>
                    <a:pt x="950" y="1639"/>
                  </a:lnTo>
                  <a:lnTo>
                    <a:pt x="952" y="1639"/>
                  </a:lnTo>
                  <a:close/>
                  <a:moveTo>
                    <a:pt x="957" y="1635"/>
                  </a:moveTo>
                  <a:lnTo>
                    <a:pt x="957" y="1632"/>
                  </a:lnTo>
                  <a:lnTo>
                    <a:pt x="957" y="1635"/>
                  </a:lnTo>
                  <a:close/>
                  <a:moveTo>
                    <a:pt x="957" y="1635"/>
                  </a:moveTo>
                  <a:lnTo>
                    <a:pt x="957" y="1632"/>
                  </a:lnTo>
                  <a:lnTo>
                    <a:pt x="957" y="1635"/>
                  </a:lnTo>
                  <a:close/>
                  <a:moveTo>
                    <a:pt x="959" y="1632"/>
                  </a:moveTo>
                  <a:lnTo>
                    <a:pt x="957" y="1632"/>
                  </a:lnTo>
                  <a:lnTo>
                    <a:pt x="959" y="1632"/>
                  </a:lnTo>
                  <a:close/>
                  <a:moveTo>
                    <a:pt x="959" y="1632"/>
                  </a:moveTo>
                  <a:lnTo>
                    <a:pt x="957" y="1632"/>
                  </a:lnTo>
                  <a:lnTo>
                    <a:pt x="959" y="1632"/>
                  </a:lnTo>
                  <a:close/>
                  <a:moveTo>
                    <a:pt x="959" y="1632"/>
                  </a:moveTo>
                  <a:lnTo>
                    <a:pt x="957" y="1632"/>
                  </a:lnTo>
                  <a:lnTo>
                    <a:pt x="959" y="1632"/>
                  </a:lnTo>
                  <a:close/>
                  <a:moveTo>
                    <a:pt x="968" y="1632"/>
                  </a:moveTo>
                  <a:lnTo>
                    <a:pt x="968" y="1630"/>
                  </a:lnTo>
                  <a:lnTo>
                    <a:pt x="968" y="1632"/>
                  </a:lnTo>
                  <a:close/>
                  <a:moveTo>
                    <a:pt x="959" y="1632"/>
                  </a:moveTo>
                  <a:lnTo>
                    <a:pt x="959" y="1630"/>
                  </a:lnTo>
                  <a:lnTo>
                    <a:pt x="959" y="1632"/>
                  </a:lnTo>
                  <a:close/>
                  <a:moveTo>
                    <a:pt x="966" y="1630"/>
                  </a:moveTo>
                  <a:lnTo>
                    <a:pt x="966" y="1627"/>
                  </a:lnTo>
                  <a:lnTo>
                    <a:pt x="966" y="1630"/>
                  </a:lnTo>
                  <a:close/>
                  <a:moveTo>
                    <a:pt x="605" y="1625"/>
                  </a:moveTo>
                  <a:lnTo>
                    <a:pt x="603" y="1625"/>
                  </a:lnTo>
                  <a:lnTo>
                    <a:pt x="605" y="1625"/>
                  </a:lnTo>
                  <a:close/>
                  <a:moveTo>
                    <a:pt x="966" y="1623"/>
                  </a:moveTo>
                  <a:lnTo>
                    <a:pt x="966" y="1625"/>
                  </a:lnTo>
                  <a:lnTo>
                    <a:pt x="966" y="1623"/>
                  </a:lnTo>
                  <a:close/>
                  <a:moveTo>
                    <a:pt x="610" y="1601"/>
                  </a:moveTo>
                  <a:lnTo>
                    <a:pt x="608" y="1601"/>
                  </a:lnTo>
                  <a:lnTo>
                    <a:pt x="610" y="1601"/>
                  </a:lnTo>
                  <a:close/>
                  <a:moveTo>
                    <a:pt x="0" y="1214"/>
                  </a:moveTo>
                  <a:lnTo>
                    <a:pt x="3" y="1214"/>
                  </a:lnTo>
                  <a:lnTo>
                    <a:pt x="0" y="1214"/>
                  </a:lnTo>
                  <a:close/>
                  <a:moveTo>
                    <a:pt x="15" y="1212"/>
                  </a:moveTo>
                  <a:lnTo>
                    <a:pt x="12" y="1212"/>
                  </a:lnTo>
                  <a:lnTo>
                    <a:pt x="15" y="1212"/>
                  </a:lnTo>
                  <a:close/>
                  <a:moveTo>
                    <a:pt x="266" y="955"/>
                  </a:moveTo>
                  <a:lnTo>
                    <a:pt x="264" y="955"/>
                  </a:lnTo>
                  <a:lnTo>
                    <a:pt x="266" y="955"/>
                  </a:lnTo>
                  <a:close/>
                  <a:moveTo>
                    <a:pt x="280" y="953"/>
                  </a:moveTo>
                  <a:lnTo>
                    <a:pt x="278" y="953"/>
                  </a:lnTo>
                  <a:lnTo>
                    <a:pt x="280" y="953"/>
                  </a:lnTo>
                  <a:close/>
                  <a:moveTo>
                    <a:pt x="269" y="946"/>
                  </a:moveTo>
                  <a:lnTo>
                    <a:pt x="269" y="948"/>
                  </a:lnTo>
                  <a:lnTo>
                    <a:pt x="269" y="946"/>
                  </a:lnTo>
                  <a:close/>
                  <a:moveTo>
                    <a:pt x="328" y="938"/>
                  </a:moveTo>
                  <a:lnTo>
                    <a:pt x="325" y="938"/>
                  </a:lnTo>
                  <a:lnTo>
                    <a:pt x="328" y="938"/>
                  </a:lnTo>
                  <a:close/>
                  <a:moveTo>
                    <a:pt x="323" y="938"/>
                  </a:moveTo>
                  <a:lnTo>
                    <a:pt x="321" y="938"/>
                  </a:lnTo>
                  <a:lnTo>
                    <a:pt x="323" y="938"/>
                  </a:lnTo>
                  <a:close/>
                  <a:moveTo>
                    <a:pt x="278" y="936"/>
                  </a:moveTo>
                  <a:lnTo>
                    <a:pt x="276" y="936"/>
                  </a:lnTo>
                  <a:lnTo>
                    <a:pt x="278" y="936"/>
                  </a:lnTo>
                  <a:close/>
                  <a:moveTo>
                    <a:pt x="325" y="936"/>
                  </a:moveTo>
                  <a:lnTo>
                    <a:pt x="323" y="936"/>
                  </a:lnTo>
                  <a:lnTo>
                    <a:pt x="325" y="936"/>
                  </a:lnTo>
                  <a:close/>
                  <a:moveTo>
                    <a:pt x="259" y="936"/>
                  </a:moveTo>
                  <a:lnTo>
                    <a:pt x="259" y="934"/>
                  </a:lnTo>
                  <a:lnTo>
                    <a:pt x="259" y="936"/>
                  </a:lnTo>
                  <a:close/>
                  <a:moveTo>
                    <a:pt x="276" y="936"/>
                  </a:moveTo>
                  <a:lnTo>
                    <a:pt x="276" y="934"/>
                  </a:lnTo>
                  <a:lnTo>
                    <a:pt x="276" y="936"/>
                  </a:lnTo>
                  <a:close/>
                  <a:moveTo>
                    <a:pt x="278" y="934"/>
                  </a:moveTo>
                  <a:lnTo>
                    <a:pt x="276" y="934"/>
                  </a:lnTo>
                  <a:lnTo>
                    <a:pt x="278" y="934"/>
                  </a:lnTo>
                  <a:close/>
                  <a:moveTo>
                    <a:pt x="323" y="934"/>
                  </a:moveTo>
                  <a:lnTo>
                    <a:pt x="321" y="934"/>
                  </a:lnTo>
                  <a:lnTo>
                    <a:pt x="323" y="934"/>
                  </a:lnTo>
                  <a:close/>
                  <a:moveTo>
                    <a:pt x="285" y="919"/>
                  </a:moveTo>
                  <a:lnTo>
                    <a:pt x="288" y="919"/>
                  </a:lnTo>
                  <a:lnTo>
                    <a:pt x="285" y="919"/>
                  </a:lnTo>
                  <a:close/>
                  <a:moveTo>
                    <a:pt x="257" y="915"/>
                  </a:moveTo>
                  <a:lnTo>
                    <a:pt x="254" y="915"/>
                  </a:lnTo>
                  <a:lnTo>
                    <a:pt x="254" y="912"/>
                  </a:lnTo>
                  <a:lnTo>
                    <a:pt x="257" y="915"/>
                  </a:lnTo>
                  <a:close/>
                  <a:moveTo>
                    <a:pt x="257" y="915"/>
                  </a:moveTo>
                  <a:lnTo>
                    <a:pt x="257" y="912"/>
                  </a:lnTo>
                  <a:lnTo>
                    <a:pt x="257" y="915"/>
                  </a:lnTo>
                  <a:close/>
                  <a:moveTo>
                    <a:pt x="259" y="912"/>
                  </a:moveTo>
                  <a:lnTo>
                    <a:pt x="257" y="912"/>
                  </a:lnTo>
                  <a:lnTo>
                    <a:pt x="259" y="912"/>
                  </a:lnTo>
                  <a:close/>
                  <a:moveTo>
                    <a:pt x="288" y="912"/>
                  </a:moveTo>
                  <a:lnTo>
                    <a:pt x="285" y="912"/>
                  </a:lnTo>
                  <a:lnTo>
                    <a:pt x="288" y="912"/>
                  </a:lnTo>
                  <a:close/>
                  <a:moveTo>
                    <a:pt x="259" y="912"/>
                  </a:moveTo>
                  <a:lnTo>
                    <a:pt x="257" y="912"/>
                  </a:lnTo>
                  <a:lnTo>
                    <a:pt x="259" y="912"/>
                  </a:lnTo>
                  <a:close/>
                  <a:moveTo>
                    <a:pt x="261" y="912"/>
                  </a:moveTo>
                  <a:lnTo>
                    <a:pt x="259" y="912"/>
                  </a:lnTo>
                  <a:lnTo>
                    <a:pt x="259" y="910"/>
                  </a:lnTo>
                  <a:lnTo>
                    <a:pt x="261" y="912"/>
                  </a:lnTo>
                  <a:close/>
                  <a:moveTo>
                    <a:pt x="261" y="910"/>
                  </a:moveTo>
                  <a:lnTo>
                    <a:pt x="259" y="910"/>
                  </a:lnTo>
                  <a:lnTo>
                    <a:pt x="261" y="910"/>
                  </a:lnTo>
                  <a:close/>
                  <a:moveTo>
                    <a:pt x="264" y="910"/>
                  </a:moveTo>
                  <a:lnTo>
                    <a:pt x="261" y="910"/>
                  </a:lnTo>
                  <a:lnTo>
                    <a:pt x="264" y="910"/>
                  </a:lnTo>
                  <a:close/>
                  <a:moveTo>
                    <a:pt x="285" y="908"/>
                  </a:moveTo>
                  <a:lnTo>
                    <a:pt x="283" y="908"/>
                  </a:lnTo>
                  <a:lnTo>
                    <a:pt x="285" y="908"/>
                  </a:lnTo>
                  <a:close/>
                  <a:moveTo>
                    <a:pt x="285" y="905"/>
                  </a:moveTo>
                  <a:lnTo>
                    <a:pt x="285" y="908"/>
                  </a:lnTo>
                  <a:lnTo>
                    <a:pt x="285" y="905"/>
                  </a:lnTo>
                  <a:close/>
                  <a:moveTo>
                    <a:pt x="283" y="905"/>
                  </a:moveTo>
                  <a:lnTo>
                    <a:pt x="283" y="908"/>
                  </a:lnTo>
                  <a:lnTo>
                    <a:pt x="283" y="905"/>
                  </a:lnTo>
                  <a:close/>
                  <a:moveTo>
                    <a:pt x="276" y="905"/>
                  </a:moveTo>
                  <a:lnTo>
                    <a:pt x="276" y="908"/>
                  </a:lnTo>
                  <a:lnTo>
                    <a:pt x="276" y="905"/>
                  </a:lnTo>
                  <a:close/>
                  <a:moveTo>
                    <a:pt x="288" y="905"/>
                  </a:moveTo>
                  <a:lnTo>
                    <a:pt x="285" y="905"/>
                  </a:lnTo>
                  <a:lnTo>
                    <a:pt x="288" y="905"/>
                  </a:lnTo>
                  <a:close/>
                  <a:moveTo>
                    <a:pt x="280" y="905"/>
                  </a:moveTo>
                  <a:lnTo>
                    <a:pt x="278" y="905"/>
                  </a:lnTo>
                  <a:lnTo>
                    <a:pt x="280" y="905"/>
                  </a:lnTo>
                  <a:close/>
                  <a:moveTo>
                    <a:pt x="290" y="903"/>
                  </a:moveTo>
                  <a:lnTo>
                    <a:pt x="288" y="903"/>
                  </a:lnTo>
                  <a:lnTo>
                    <a:pt x="290" y="903"/>
                  </a:lnTo>
                  <a:close/>
                  <a:moveTo>
                    <a:pt x="290" y="903"/>
                  </a:moveTo>
                  <a:lnTo>
                    <a:pt x="288" y="903"/>
                  </a:lnTo>
                  <a:lnTo>
                    <a:pt x="290" y="903"/>
                  </a:lnTo>
                  <a:close/>
                  <a:moveTo>
                    <a:pt x="280" y="903"/>
                  </a:moveTo>
                  <a:lnTo>
                    <a:pt x="278" y="903"/>
                  </a:lnTo>
                  <a:lnTo>
                    <a:pt x="280" y="903"/>
                  </a:lnTo>
                  <a:close/>
                  <a:moveTo>
                    <a:pt x="288" y="903"/>
                  </a:moveTo>
                  <a:lnTo>
                    <a:pt x="285" y="903"/>
                  </a:lnTo>
                  <a:lnTo>
                    <a:pt x="288" y="903"/>
                  </a:lnTo>
                  <a:close/>
                  <a:moveTo>
                    <a:pt x="285" y="903"/>
                  </a:moveTo>
                  <a:lnTo>
                    <a:pt x="283" y="903"/>
                  </a:lnTo>
                  <a:lnTo>
                    <a:pt x="285" y="903"/>
                  </a:lnTo>
                  <a:close/>
                  <a:moveTo>
                    <a:pt x="283" y="903"/>
                  </a:moveTo>
                  <a:lnTo>
                    <a:pt x="280" y="903"/>
                  </a:lnTo>
                  <a:lnTo>
                    <a:pt x="283" y="903"/>
                  </a:lnTo>
                  <a:close/>
                  <a:moveTo>
                    <a:pt x="283" y="900"/>
                  </a:moveTo>
                  <a:lnTo>
                    <a:pt x="283" y="903"/>
                  </a:lnTo>
                  <a:lnTo>
                    <a:pt x="283" y="900"/>
                  </a:lnTo>
                  <a:close/>
                  <a:moveTo>
                    <a:pt x="288" y="898"/>
                  </a:moveTo>
                  <a:lnTo>
                    <a:pt x="288" y="900"/>
                  </a:lnTo>
                  <a:lnTo>
                    <a:pt x="288" y="898"/>
                  </a:lnTo>
                  <a:close/>
                  <a:moveTo>
                    <a:pt x="288" y="900"/>
                  </a:moveTo>
                  <a:lnTo>
                    <a:pt x="288" y="898"/>
                  </a:lnTo>
                  <a:lnTo>
                    <a:pt x="288" y="900"/>
                  </a:lnTo>
                  <a:close/>
                  <a:moveTo>
                    <a:pt x="288" y="898"/>
                  </a:moveTo>
                  <a:lnTo>
                    <a:pt x="285" y="898"/>
                  </a:lnTo>
                  <a:lnTo>
                    <a:pt x="288" y="898"/>
                  </a:lnTo>
                  <a:close/>
                  <a:moveTo>
                    <a:pt x="290" y="896"/>
                  </a:moveTo>
                  <a:lnTo>
                    <a:pt x="288" y="896"/>
                  </a:lnTo>
                  <a:lnTo>
                    <a:pt x="290" y="896"/>
                  </a:lnTo>
                  <a:close/>
                  <a:moveTo>
                    <a:pt x="745" y="858"/>
                  </a:moveTo>
                  <a:lnTo>
                    <a:pt x="743" y="858"/>
                  </a:lnTo>
                  <a:lnTo>
                    <a:pt x="743" y="855"/>
                  </a:lnTo>
                  <a:lnTo>
                    <a:pt x="745" y="855"/>
                  </a:lnTo>
                  <a:lnTo>
                    <a:pt x="745" y="858"/>
                  </a:lnTo>
                  <a:close/>
                  <a:moveTo>
                    <a:pt x="745" y="846"/>
                  </a:moveTo>
                  <a:lnTo>
                    <a:pt x="745" y="848"/>
                  </a:lnTo>
                  <a:lnTo>
                    <a:pt x="745" y="846"/>
                  </a:lnTo>
                  <a:close/>
                  <a:moveTo>
                    <a:pt x="743" y="846"/>
                  </a:moveTo>
                  <a:lnTo>
                    <a:pt x="745" y="846"/>
                  </a:lnTo>
                  <a:lnTo>
                    <a:pt x="743" y="846"/>
                  </a:lnTo>
                  <a:close/>
                  <a:moveTo>
                    <a:pt x="745" y="846"/>
                  </a:moveTo>
                  <a:lnTo>
                    <a:pt x="743" y="846"/>
                  </a:lnTo>
                  <a:lnTo>
                    <a:pt x="745" y="846"/>
                  </a:lnTo>
                  <a:close/>
                  <a:moveTo>
                    <a:pt x="753" y="827"/>
                  </a:moveTo>
                  <a:lnTo>
                    <a:pt x="753" y="829"/>
                  </a:lnTo>
                  <a:lnTo>
                    <a:pt x="753" y="827"/>
                  </a:lnTo>
                  <a:close/>
                  <a:moveTo>
                    <a:pt x="760" y="820"/>
                  </a:moveTo>
                  <a:lnTo>
                    <a:pt x="760" y="822"/>
                  </a:lnTo>
                  <a:lnTo>
                    <a:pt x="760" y="820"/>
                  </a:lnTo>
                  <a:close/>
                  <a:moveTo>
                    <a:pt x="757" y="817"/>
                  </a:moveTo>
                  <a:lnTo>
                    <a:pt x="760" y="820"/>
                  </a:lnTo>
                  <a:lnTo>
                    <a:pt x="757" y="817"/>
                  </a:lnTo>
                  <a:close/>
                  <a:moveTo>
                    <a:pt x="762" y="817"/>
                  </a:moveTo>
                  <a:lnTo>
                    <a:pt x="760" y="817"/>
                  </a:lnTo>
                  <a:lnTo>
                    <a:pt x="762" y="817"/>
                  </a:lnTo>
                  <a:close/>
                  <a:moveTo>
                    <a:pt x="757" y="817"/>
                  </a:moveTo>
                  <a:lnTo>
                    <a:pt x="755" y="817"/>
                  </a:lnTo>
                  <a:lnTo>
                    <a:pt x="757" y="817"/>
                  </a:lnTo>
                  <a:close/>
                  <a:moveTo>
                    <a:pt x="762" y="813"/>
                  </a:moveTo>
                  <a:lnTo>
                    <a:pt x="762" y="815"/>
                  </a:lnTo>
                  <a:lnTo>
                    <a:pt x="762" y="813"/>
                  </a:lnTo>
                  <a:close/>
                  <a:moveTo>
                    <a:pt x="819" y="815"/>
                  </a:moveTo>
                  <a:lnTo>
                    <a:pt x="819" y="813"/>
                  </a:lnTo>
                  <a:lnTo>
                    <a:pt x="819" y="815"/>
                  </a:lnTo>
                  <a:close/>
                  <a:moveTo>
                    <a:pt x="762" y="813"/>
                  </a:moveTo>
                  <a:lnTo>
                    <a:pt x="762" y="810"/>
                  </a:lnTo>
                  <a:lnTo>
                    <a:pt x="762" y="813"/>
                  </a:lnTo>
                  <a:close/>
                  <a:moveTo>
                    <a:pt x="762" y="810"/>
                  </a:moveTo>
                  <a:lnTo>
                    <a:pt x="762" y="808"/>
                  </a:lnTo>
                  <a:lnTo>
                    <a:pt x="762" y="810"/>
                  </a:lnTo>
                  <a:close/>
                  <a:moveTo>
                    <a:pt x="791" y="805"/>
                  </a:moveTo>
                  <a:lnTo>
                    <a:pt x="791" y="808"/>
                  </a:lnTo>
                  <a:lnTo>
                    <a:pt x="791" y="805"/>
                  </a:lnTo>
                  <a:close/>
                  <a:moveTo>
                    <a:pt x="791" y="805"/>
                  </a:moveTo>
                  <a:lnTo>
                    <a:pt x="791" y="808"/>
                  </a:lnTo>
                  <a:lnTo>
                    <a:pt x="791" y="805"/>
                  </a:lnTo>
                  <a:close/>
                  <a:moveTo>
                    <a:pt x="791" y="805"/>
                  </a:moveTo>
                  <a:lnTo>
                    <a:pt x="788" y="803"/>
                  </a:lnTo>
                  <a:lnTo>
                    <a:pt x="791" y="805"/>
                  </a:lnTo>
                  <a:close/>
                  <a:moveTo>
                    <a:pt x="786" y="801"/>
                  </a:moveTo>
                  <a:lnTo>
                    <a:pt x="783" y="801"/>
                  </a:lnTo>
                  <a:lnTo>
                    <a:pt x="786" y="801"/>
                  </a:lnTo>
                  <a:close/>
                  <a:moveTo>
                    <a:pt x="783" y="801"/>
                  </a:moveTo>
                  <a:lnTo>
                    <a:pt x="781" y="801"/>
                  </a:lnTo>
                  <a:lnTo>
                    <a:pt x="783" y="801"/>
                  </a:lnTo>
                  <a:lnTo>
                    <a:pt x="781" y="801"/>
                  </a:lnTo>
                  <a:lnTo>
                    <a:pt x="783" y="801"/>
                  </a:lnTo>
                  <a:close/>
                  <a:moveTo>
                    <a:pt x="786" y="801"/>
                  </a:moveTo>
                  <a:lnTo>
                    <a:pt x="783" y="801"/>
                  </a:lnTo>
                  <a:lnTo>
                    <a:pt x="786" y="801"/>
                  </a:lnTo>
                  <a:close/>
                  <a:moveTo>
                    <a:pt x="783" y="801"/>
                  </a:moveTo>
                  <a:lnTo>
                    <a:pt x="781" y="801"/>
                  </a:lnTo>
                  <a:lnTo>
                    <a:pt x="783" y="801"/>
                  </a:lnTo>
                  <a:close/>
                  <a:moveTo>
                    <a:pt x="779" y="798"/>
                  </a:moveTo>
                  <a:lnTo>
                    <a:pt x="779" y="796"/>
                  </a:lnTo>
                  <a:lnTo>
                    <a:pt x="779" y="798"/>
                  </a:lnTo>
                  <a:close/>
                  <a:moveTo>
                    <a:pt x="779" y="796"/>
                  </a:moveTo>
                  <a:lnTo>
                    <a:pt x="776" y="796"/>
                  </a:lnTo>
                  <a:lnTo>
                    <a:pt x="779" y="796"/>
                  </a:lnTo>
                  <a:close/>
                  <a:moveTo>
                    <a:pt x="772" y="794"/>
                  </a:moveTo>
                  <a:lnTo>
                    <a:pt x="774" y="794"/>
                  </a:lnTo>
                  <a:lnTo>
                    <a:pt x="772" y="794"/>
                  </a:lnTo>
                  <a:close/>
                  <a:moveTo>
                    <a:pt x="760" y="784"/>
                  </a:moveTo>
                  <a:lnTo>
                    <a:pt x="760" y="786"/>
                  </a:lnTo>
                  <a:lnTo>
                    <a:pt x="760" y="784"/>
                  </a:lnTo>
                  <a:close/>
                  <a:moveTo>
                    <a:pt x="748" y="782"/>
                  </a:moveTo>
                  <a:lnTo>
                    <a:pt x="748" y="779"/>
                  </a:lnTo>
                  <a:lnTo>
                    <a:pt x="748" y="782"/>
                  </a:lnTo>
                  <a:close/>
                  <a:moveTo>
                    <a:pt x="748" y="775"/>
                  </a:moveTo>
                  <a:lnTo>
                    <a:pt x="748" y="777"/>
                  </a:lnTo>
                  <a:lnTo>
                    <a:pt x="748" y="775"/>
                  </a:lnTo>
                  <a:close/>
                  <a:moveTo>
                    <a:pt x="755" y="777"/>
                  </a:moveTo>
                  <a:lnTo>
                    <a:pt x="755" y="775"/>
                  </a:lnTo>
                  <a:lnTo>
                    <a:pt x="755" y="777"/>
                  </a:lnTo>
                  <a:close/>
                  <a:moveTo>
                    <a:pt x="748" y="775"/>
                  </a:moveTo>
                  <a:lnTo>
                    <a:pt x="748" y="777"/>
                  </a:lnTo>
                  <a:lnTo>
                    <a:pt x="748" y="775"/>
                  </a:lnTo>
                  <a:close/>
                  <a:moveTo>
                    <a:pt x="760" y="772"/>
                  </a:moveTo>
                  <a:lnTo>
                    <a:pt x="760" y="775"/>
                  </a:lnTo>
                  <a:lnTo>
                    <a:pt x="760" y="772"/>
                  </a:lnTo>
                  <a:close/>
                  <a:moveTo>
                    <a:pt x="736" y="772"/>
                  </a:moveTo>
                  <a:lnTo>
                    <a:pt x="734" y="772"/>
                  </a:lnTo>
                  <a:lnTo>
                    <a:pt x="736" y="772"/>
                  </a:lnTo>
                  <a:close/>
                  <a:moveTo>
                    <a:pt x="731" y="772"/>
                  </a:moveTo>
                  <a:lnTo>
                    <a:pt x="734" y="772"/>
                  </a:lnTo>
                  <a:lnTo>
                    <a:pt x="731" y="772"/>
                  </a:lnTo>
                  <a:close/>
                  <a:moveTo>
                    <a:pt x="734" y="772"/>
                  </a:moveTo>
                  <a:lnTo>
                    <a:pt x="731" y="772"/>
                  </a:lnTo>
                  <a:lnTo>
                    <a:pt x="734" y="772"/>
                  </a:lnTo>
                  <a:close/>
                  <a:moveTo>
                    <a:pt x="734" y="772"/>
                  </a:moveTo>
                  <a:lnTo>
                    <a:pt x="731" y="770"/>
                  </a:lnTo>
                  <a:lnTo>
                    <a:pt x="734" y="772"/>
                  </a:lnTo>
                  <a:close/>
                  <a:moveTo>
                    <a:pt x="731" y="770"/>
                  </a:moveTo>
                  <a:lnTo>
                    <a:pt x="731" y="772"/>
                  </a:lnTo>
                  <a:lnTo>
                    <a:pt x="731" y="770"/>
                  </a:lnTo>
                  <a:close/>
                  <a:moveTo>
                    <a:pt x="1194" y="765"/>
                  </a:moveTo>
                  <a:lnTo>
                    <a:pt x="1192" y="765"/>
                  </a:lnTo>
                  <a:lnTo>
                    <a:pt x="1194" y="765"/>
                  </a:lnTo>
                  <a:close/>
                  <a:moveTo>
                    <a:pt x="1194" y="765"/>
                  </a:moveTo>
                  <a:lnTo>
                    <a:pt x="1194" y="763"/>
                  </a:lnTo>
                  <a:lnTo>
                    <a:pt x="1194" y="765"/>
                  </a:lnTo>
                  <a:close/>
                  <a:moveTo>
                    <a:pt x="1187" y="763"/>
                  </a:moveTo>
                  <a:lnTo>
                    <a:pt x="1189" y="763"/>
                  </a:lnTo>
                  <a:lnTo>
                    <a:pt x="1187" y="763"/>
                  </a:lnTo>
                  <a:close/>
                  <a:moveTo>
                    <a:pt x="726" y="760"/>
                  </a:moveTo>
                  <a:lnTo>
                    <a:pt x="726" y="763"/>
                  </a:lnTo>
                  <a:lnTo>
                    <a:pt x="726" y="760"/>
                  </a:lnTo>
                  <a:close/>
                  <a:moveTo>
                    <a:pt x="724" y="756"/>
                  </a:moveTo>
                  <a:lnTo>
                    <a:pt x="724" y="753"/>
                  </a:lnTo>
                  <a:lnTo>
                    <a:pt x="724" y="756"/>
                  </a:lnTo>
                  <a:close/>
                  <a:moveTo>
                    <a:pt x="724" y="753"/>
                  </a:moveTo>
                  <a:lnTo>
                    <a:pt x="722" y="753"/>
                  </a:lnTo>
                  <a:lnTo>
                    <a:pt x="724" y="753"/>
                  </a:lnTo>
                  <a:close/>
                  <a:moveTo>
                    <a:pt x="722" y="751"/>
                  </a:moveTo>
                  <a:lnTo>
                    <a:pt x="724" y="751"/>
                  </a:lnTo>
                  <a:lnTo>
                    <a:pt x="722" y="751"/>
                  </a:lnTo>
                  <a:close/>
                  <a:moveTo>
                    <a:pt x="722" y="748"/>
                  </a:moveTo>
                  <a:lnTo>
                    <a:pt x="724" y="748"/>
                  </a:lnTo>
                  <a:lnTo>
                    <a:pt x="722" y="748"/>
                  </a:lnTo>
                  <a:close/>
                  <a:moveTo>
                    <a:pt x="722" y="748"/>
                  </a:moveTo>
                  <a:lnTo>
                    <a:pt x="722" y="746"/>
                  </a:lnTo>
                  <a:lnTo>
                    <a:pt x="722" y="748"/>
                  </a:lnTo>
                  <a:close/>
                  <a:moveTo>
                    <a:pt x="724" y="746"/>
                  </a:moveTo>
                  <a:lnTo>
                    <a:pt x="722" y="746"/>
                  </a:lnTo>
                  <a:lnTo>
                    <a:pt x="724" y="746"/>
                  </a:lnTo>
                  <a:close/>
                  <a:moveTo>
                    <a:pt x="629" y="746"/>
                  </a:moveTo>
                  <a:lnTo>
                    <a:pt x="629" y="748"/>
                  </a:lnTo>
                  <a:lnTo>
                    <a:pt x="629" y="746"/>
                  </a:lnTo>
                  <a:close/>
                  <a:moveTo>
                    <a:pt x="719" y="741"/>
                  </a:moveTo>
                  <a:lnTo>
                    <a:pt x="719" y="739"/>
                  </a:lnTo>
                  <a:lnTo>
                    <a:pt x="719" y="741"/>
                  </a:lnTo>
                  <a:close/>
                  <a:moveTo>
                    <a:pt x="1232" y="727"/>
                  </a:moveTo>
                  <a:lnTo>
                    <a:pt x="1232" y="725"/>
                  </a:lnTo>
                  <a:lnTo>
                    <a:pt x="1232" y="727"/>
                  </a:lnTo>
                  <a:close/>
                  <a:moveTo>
                    <a:pt x="558" y="725"/>
                  </a:moveTo>
                  <a:lnTo>
                    <a:pt x="558" y="722"/>
                  </a:lnTo>
                  <a:lnTo>
                    <a:pt x="558" y="725"/>
                  </a:lnTo>
                  <a:close/>
                  <a:moveTo>
                    <a:pt x="556" y="722"/>
                  </a:moveTo>
                  <a:lnTo>
                    <a:pt x="553" y="722"/>
                  </a:lnTo>
                  <a:lnTo>
                    <a:pt x="556" y="722"/>
                  </a:lnTo>
                  <a:close/>
                  <a:moveTo>
                    <a:pt x="568" y="722"/>
                  </a:moveTo>
                  <a:lnTo>
                    <a:pt x="565" y="722"/>
                  </a:lnTo>
                  <a:lnTo>
                    <a:pt x="568" y="722"/>
                  </a:lnTo>
                  <a:close/>
                  <a:moveTo>
                    <a:pt x="549" y="722"/>
                  </a:moveTo>
                  <a:lnTo>
                    <a:pt x="549" y="720"/>
                  </a:lnTo>
                  <a:lnTo>
                    <a:pt x="549" y="722"/>
                  </a:lnTo>
                  <a:close/>
                  <a:moveTo>
                    <a:pt x="1241" y="718"/>
                  </a:moveTo>
                  <a:lnTo>
                    <a:pt x="1244" y="718"/>
                  </a:lnTo>
                  <a:lnTo>
                    <a:pt x="1241" y="718"/>
                  </a:lnTo>
                  <a:close/>
                  <a:moveTo>
                    <a:pt x="544" y="718"/>
                  </a:moveTo>
                  <a:lnTo>
                    <a:pt x="541" y="718"/>
                  </a:lnTo>
                  <a:lnTo>
                    <a:pt x="544" y="718"/>
                  </a:lnTo>
                  <a:close/>
                  <a:moveTo>
                    <a:pt x="544" y="713"/>
                  </a:moveTo>
                  <a:lnTo>
                    <a:pt x="544" y="715"/>
                  </a:lnTo>
                  <a:lnTo>
                    <a:pt x="544" y="713"/>
                  </a:lnTo>
                  <a:close/>
                  <a:moveTo>
                    <a:pt x="556" y="715"/>
                  </a:moveTo>
                  <a:lnTo>
                    <a:pt x="556" y="713"/>
                  </a:lnTo>
                  <a:lnTo>
                    <a:pt x="556" y="715"/>
                  </a:lnTo>
                  <a:close/>
                  <a:moveTo>
                    <a:pt x="539" y="713"/>
                  </a:moveTo>
                  <a:lnTo>
                    <a:pt x="539" y="715"/>
                  </a:lnTo>
                  <a:lnTo>
                    <a:pt x="539" y="713"/>
                  </a:lnTo>
                  <a:close/>
                  <a:moveTo>
                    <a:pt x="558" y="713"/>
                  </a:moveTo>
                  <a:lnTo>
                    <a:pt x="556" y="713"/>
                  </a:lnTo>
                  <a:lnTo>
                    <a:pt x="558" y="713"/>
                  </a:lnTo>
                  <a:close/>
                  <a:moveTo>
                    <a:pt x="570" y="713"/>
                  </a:moveTo>
                  <a:lnTo>
                    <a:pt x="568" y="713"/>
                  </a:lnTo>
                  <a:lnTo>
                    <a:pt x="570" y="713"/>
                  </a:lnTo>
                  <a:close/>
                  <a:moveTo>
                    <a:pt x="556" y="713"/>
                  </a:moveTo>
                  <a:lnTo>
                    <a:pt x="556" y="710"/>
                  </a:lnTo>
                  <a:lnTo>
                    <a:pt x="556" y="713"/>
                  </a:lnTo>
                  <a:close/>
                  <a:moveTo>
                    <a:pt x="558" y="710"/>
                  </a:moveTo>
                  <a:lnTo>
                    <a:pt x="556" y="710"/>
                  </a:lnTo>
                  <a:lnTo>
                    <a:pt x="558" y="710"/>
                  </a:lnTo>
                  <a:close/>
                  <a:moveTo>
                    <a:pt x="544" y="710"/>
                  </a:moveTo>
                  <a:lnTo>
                    <a:pt x="544" y="708"/>
                  </a:lnTo>
                  <a:lnTo>
                    <a:pt x="544" y="710"/>
                  </a:lnTo>
                  <a:close/>
                  <a:moveTo>
                    <a:pt x="541" y="708"/>
                  </a:moveTo>
                  <a:lnTo>
                    <a:pt x="539" y="708"/>
                  </a:lnTo>
                  <a:lnTo>
                    <a:pt x="541" y="708"/>
                  </a:lnTo>
                  <a:close/>
                  <a:moveTo>
                    <a:pt x="544" y="708"/>
                  </a:moveTo>
                  <a:lnTo>
                    <a:pt x="546" y="708"/>
                  </a:lnTo>
                  <a:lnTo>
                    <a:pt x="544" y="708"/>
                  </a:lnTo>
                  <a:close/>
                  <a:moveTo>
                    <a:pt x="549" y="708"/>
                  </a:moveTo>
                  <a:lnTo>
                    <a:pt x="546" y="708"/>
                  </a:lnTo>
                  <a:lnTo>
                    <a:pt x="549" y="708"/>
                  </a:lnTo>
                  <a:close/>
                  <a:moveTo>
                    <a:pt x="575" y="706"/>
                  </a:moveTo>
                  <a:lnTo>
                    <a:pt x="575" y="708"/>
                  </a:lnTo>
                  <a:lnTo>
                    <a:pt x="575" y="706"/>
                  </a:lnTo>
                  <a:close/>
                  <a:moveTo>
                    <a:pt x="724" y="706"/>
                  </a:moveTo>
                  <a:lnTo>
                    <a:pt x="722" y="706"/>
                  </a:lnTo>
                  <a:lnTo>
                    <a:pt x="724" y="706"/>
                  </a:lnTo>
                  <a:close/>
                  <a:moveTo>
                    <a:pt x="527" y="703"/>
                  </a:moveTo>
                  <a:lnTo>
                    <a:pt x="525" y="703"/>
                  </a:lnTo>
                  <a:lnTo>
                    <a:pt x="527" y="703"/>
                  </a:lnTo>
                  <a:close/>
                  <a:moveTo>
                    <a:pt x="537" y="703"/>
                  </a:moveTo>
                  <a:lnTo>
                    <a:pt x="537" y="701"/>
                  </a:lnTo>
                  <a:lnTo>
                    <a:pt x="537" y="703"/>
                  </a:lnTo>
                  <a:close/>
                  <a:moveTo>
                    <a:pt x="525" y="701"/>
                  </a:moveTo>
                  <a:lnTo>
                    <a:pt x="525" y="703"/>
                  </a:lnTo>
                  <a:lnTo>
                    <a:pt x="525" y="701"/>
                  </a:lnTo>
                  <a:close/>
                  <a:moveTo>
                    <a:pt x="712" y="701"/>
                  </a:moveTo>
                  <a:lnTo>
                    <a:pt x="712" y="703"/>
                  </a:lnTo>
                  <a:lnTo>
                    <a:pt x="712" y="701"/>
                  </a:lnTo>
                  <a:close/>
                  <a:moveTo>
                    <a:pt x="1241" y="701"/>
                  </a:moveTo>
                  <a:lnTo>
                    <a:pt x="1244" y="701"/>
                  </a:lnTo>
                  <a:lnTo>
                    <a:pt x="1241" y="701"/>
                  </a:lnTo>
                  <a:close/>
                  <a:moveTo>
                    <a:pt x="705" y="701"/>
                  </a:moveTo>
                  <a:lnTo>
                    <a:pt x="703" y="701"/>
                  </a:lnTo>
                  <a:lnTo>
                    <a:pt x="705" y="701"/>
                  </a:lnTo>
                  <a:close/>
                  <a:moveTo>
                    <a:pt x="764" y="701"/>
                  </a:moveTo>
                  <a:lnTo>
                    <a:pt x="762" y="701"/>
                  </a:lnTo>
                  <a:lnTo>
                    <a:pt x="764" y="701"/>
                  </a:lnTo>
                  <a:close/>
                  <a:moveTo>
                    <a:pt x="506" y="699"/>
                  </a:moveTo>
                  <a:lnTo>
                    <a:pt x="506" y="701"/>
                  </a:lnTo>
                  <a:lnTo>
                    <a:pt x="506" y="699"/>
                  </a:lnTo>
                  <a:close/>
                  <a:moveTo>
                    <a:pt x="508" y="701"/>
                  </a:moveTo>
                  <a:lnTo>
                    <a:pt x="508" y="699"/>
                  </a:lnTo>
                  <a:lnTo>
                    <a:pt x="508" y="701"/>
                  </a:lnTo>
                  <a:close/>
                  <a:moveTo>
                    <a:pt x="503" y="699"/>
                  </a:moveTo>
                  <a:lnTo>
                    <a:pt x="503" y="701"/>
                  </a:lnTo>
                  <a:lnTo>
                    <a:pt x="503" y="699"/>
                  </a:lnTo>
                  <a:lnTo>
                    <a:pt x="503" y="701"/>
                  </a:lnTo>
                  <a:lnTo>
                    <a:pt x="503" y="699"/>
                  </a:lnTo>
                  <a:close/>
                  <a:moveTo>
                    <a:pt x="764" y="701"/>
                  </a:moveTo>
                  <a:lnTo>
                    <a:pt x="764" y="699"/>
                  </a:lnTo>
                  <a:lnTo>
                    <a:pt x="764" y="701"/>
                  </a:lnTo>
                  <a:close/>
                  <a:moveTo>
                    <a:pt x="515" y="699"/>
                  </a:moveTo>
                  <a:lnTo>
                    <a:pt x="513" y="699"/>
                  </a:lnTo>
                  <a:lnTo>
                    <a:pt x="515" y="699"/>
                  </a:lnTo>
                  <a:close/>
                  <a:moveTo>
                    <a:pt x="537" y="699"/>
                  </a:moveTo>
                  <a:lnTo>
                    <a:pt x="534" y="699"/>
                  </a:lnTo>
                  <a:lnTo>
                    <a:pt x="537" y="699"/>
                  </a:lnTo>
                  <a:close/>
                  <a:moveTo>
                    <a:pt x="518" y="699"/>
                  </a:moveTo>
                  <a:lnTo>
                    <a:pt x="515" y="699"/>
                  </a:lnTo>
                  <a:lnTo>
                    <a:pt x="518" y="699"/>
                  </a:lnTo>
                  <a:close/>
                  <a:moveTo>
                    <a:pt x="506" y="696"/>
                  </a:moveTo>
                  <a:lnTo>
                    <a:pt x="506" y="699"/>
                  </a:lnTo>
                  <a:lnTo>
                    <a:pt x="506" y="696"/>
                  </a:lnTo>
                  <a:close/>
                  <a:moveTo>
                    <a:pt x="506" y="696"/>
                  </a:moveTo>
                  <a:lnTo>
                    <a:pt x="503" y="696"/>
                  </a:lnTo>
                  <a:lnTo>
                    <a:pt x="506" y="696"/>
                  </a:lnTo>
                  <a:close/>
                  <a:moveTo>
                    <a:pt x="767" y="696"/>
                  </a:moveTo>
                  <a:lnTo>
                    <a:pt x="764" y="696"/>
                  </a:lnTo>
                  <a:lnTo>
                    <a:pt x="767" y="696"/>
                  </a:lnTo>
                  <a:close/>
                  <a:moveTo>
                    <a:pt x="499" y="696"/>
                  </a:moveTo>
                  <a:lnTo>
                    <a:pt x="501" y="696"/>
                  </a:lnTo>
                  <a:lnTo>
                    <a:pt x="499" y="696"/>
                  </a:lnTo>
                  <a:close/>
                  <a:moveTo>
                    <a:pt x="499" y="696"/>
                  </a:moveTo>
                  <a:lnTo>
                    <a:pt x="499" y="694"/>
                  </a:lnTo>
                  <a:lnTo>
                    <a:pt x="499" y="696"/>
                  </a:lnTo>
                  <a:close/>
                  <a:moveTo>
                    <a:pt x="499" y="696"/>
                  </a:moveTo>
                  <a:lnTo>
                    <a:pt x="499" y="694"/>
                  </a:lnTo>
                  <a:lnTo>
                    <a:pt x="499" y="696"/>
                  </a:lnTo>
                  <a:close/>
                  <a:moveTo>
                    <a:pt x="499" y="696"/>
                  </a:moveTo>
                  <a:lnTo>
                    <a:pt x="499" y="694"/>
                  </a:lnTo>
                  <a:lnTo>
                    <a:pt x="499" y="696"/>
                  </a:lnTo>
                  <a:close/>
                  <a:moveTo>
                    <a:pt x="496" y="694"/>
                  </a:moveTo>
                  <a:lnTo>
                    <a:pt x="496" y="696"/>
                  </a:lnTo>
                  <a:lnTo>
                    <a:pt x="496" y="694"/>
                  </a:lnTo>
                  <a:close/>
                  <a:moveTo>
                    <a:pt x="499" y="694"/>
                  </a:moveTo>
                  <a:lnTo>
                    <a:pt x="496" y="694"/>
                  </a:lnTo>
                  <a:lnTo>
                    <a:pt x="499" y="694"/>
                  </a:lnTo>
                  <a:close/>
                  <a:moveTo>
                    <a:pt x="499" y="691"/>
                  </a:moveTo>
                  <a:lnTo>
                    <a:pt x="499" y="694"/>
                  </a:lnTo>
                  <a:lnTo>
                    <a:pt x="499" y="691"/>
                  </a:lnTo>
                  <a:close/>
                  <a:moveTo>
                    <a:pt x="496" y="691"/>
                  </a:moveTo>
                  <a:lnTo>
                    <a:pt x="494" y="691"/>
                  </a:lnTo>
                  <a:lnTo>
                    <a:pt x="496" y="691"/>
                  </a:lnTo>
                  <a:close/>
                  <a:moveTo>
                    <a:pt x="492" y="691"/>
                  </a:moveTo>
                  <a:lnTo>
                    <a:pt x="489" y="691"/>
                  </a:lnTo>
                  <a:lnTo>
                    <a:pt x="492" y="691"/>
                  </a:lnTo>
                  <a:close/>
                  <a:moveTo>
                    <a:pt x="674" y="691"/>
                  </a:moveTo>
                  <a:lnTo>
                    <a:pt x="672" y="691"/>
                  </a:lnTo>
                  <a:lnTo>
                    <a:pt x="674" y="691"/>
                  </a:lnTo>
                  <a:close/>
                  <a:moveTo>
                    <a:pt x="674" y="691"/>
                  </a:moveTo>
                  <a:lnTo>
                    <a:pt x="677" y="691"/>
                  </a:lnTo>
                  <a:lnTo>
                    <a:pt x="674" y="691"/>
                  </a:lnTo>
                  <a:close/>
                  <a:moveTo>
                    <a:pt x="769" y="691"/>
                  </a:moveTo>
                  <a:lnTo>
                    <a:pt x="769" y="689"/>
                  </a:lnTo>
                  <a:lnTo>
                    <a:pt x="769" y="691"/>
                  </a:lnTo>
                  <a:close/>
                  <a:moveTo>
                    <a:pt x="489" y="691"/>
                  </a:moveTo>
                  <a:lnTo>
                    <a:pt x="489" y="689"/>
                  </a:lnTo>
                  <a:lnTo>
                    <a:pt x="489" y="691"/>
                  </a:lnTo>
                  <a:close/>
                  <a:moveTo>
                    <a:pt x="674" y="691"/>
                  </a:moveTo>
                  <a:lnTo>
                    <a:pt x="674" y="689"/>
                  </a:lnTo>
                  <a:lnTo>
                    <a:pt x="674" y="691"/>
                  </a:lnTo>
                  <a:close/>
                  <a:moveTo>
                    <a:pt x="492" y="689"/>
                  </a:moveTo>
                  <a:lnTo>
                    <a:pt x="489" y="689"/>
                  </a:lnTo>
                  <a:lnTo>
                    <a:pt x="492" y="689"/>
                  </a:lnTo>
                  <a:close/>
                  <a:moveTo>
                    <a:pt x="667" y="689"/>
                  </a:moveTo>
                  <a:lnTo>
                    <a:pt x="665" y="689"/>
                  </a:lnTo>
                  <a:lnTo>
                    <a:pt x="667" y="689"/>
                  </a:lnTo>
                  <a:close/>
                  <a:moveTo>
                    <a:pt x="1248" y="687"/>
                  </a:moveTo>
                  <a:lnTo>
                    <a:pt x="1248" y="689"/>
                  </a:lnTo>
                  <a:lnTo>
                    <a:pt x="1248" y="687"/>
                  </a:lnTo>
                  <a:close/>
                  <a:moveTo>
                    <a:pt x="672" y="687"/>
                  </a:moveTo>
                  <a:lnTo>
                    <a:pt x="672" y="689"/>
                  </a:lnTo>
                  <a:lnTo>
                    <a:pt x="672" y="687"/>
                  </a:lnTo>
                  <a:close/>
                  <a:moveTo>
                    <a:pt x="665" y="689"/>
                  </a:moveTo>
                  <a:lnTo>
                    <a:pt x="665" y="687"/>
                  </a:lnTo>
                  <a:lnTo>
                    <a:pt x="665" y="689"/>
                  </a:lnTo>
                  <a:close/>
                  <a:moveTo>
                    <a:pt x="672" y="687"/>
                  </a:moveTo>
                  <a:lnTo>
                    <a:pt x="670" y="687"/>
                  </a:lnTo>
                  <a:lnTo>
                    <a:pt x="672" y="687"/>
                  </a:lnTo>
                  <a:close/>
                  <a:moveTo>
                    <a:pt x="496" y="684"/>
                  </a:moveTo>
                  <a:lnTo>
                    <a:pt x="494" y="684"/>
                  </a:lnTo>
                  <a:lnTo>
                    <a:pt x="496" y="684"/>
                  </a:lnTo>
                  <a:close/>
                  <a:moveTo>
                    <a:pt x="515" y="684"/>
                  </a:moveTo>
                  <a:lnTo>
                    <a:pt x="518" y="684"/>
                  </a:lnTo>
                  <a:lnTo>
                    <a:pt x="515" y="684"/>
                  </a:lnTo>
                  <a:close/>
                  <a:moveTo>
                    <a:pt x="674" y="682"/>
                  </a:moveTo>
                  <a:lnTo>
                    <a:pt x="674" y="684"/>
                  </a:lnTo>
                  <a:lnTo>
                    <a:pt x="674" y="682"/>
                  </a:lnTo>
                  <a:close/>
                  <a:moveTo>
                    <a:pt x="674" y="684"/>
                  </a:moveTo>
                  <a:lnTo>
                    <a:pt x="674" y="682"/>
                  </a:lnTo>
                  <a:lnTo>
                    <a:pt x="674" y="684"/>
                  </a:lnTo>
                  <a:close/>
                  <a:moveTo>
                    <a:pt x="494" y="682"/>
                  </a:moveTo>
                  <a:lnTo>
                    <a:pt x="492" y="682"/>
                  </a:lnTo>
                  <a:lnTo>
                    <a:pt x="494" y="682"/>
                  </a:lnTo>
                  <a:close/>
                  <a:moveTo>
                    <a:pt x="496" y="680"/>
                  </a:moveTo>
                  <a:lnTo>
                    <a:pt x="496" y="682"/>
                  </a:lnTo>
                  <a:lnTo>
                    <a:pt x="496" y="680"/>
                  </a:lnTo>
                  <a:close/>
                  <a:moveTo>
                    <a:pt x="492" y="682"/>
                  </a:moveTo>
                  <a:lnTo>
                    <a:pt x="492" y="680"/>
                  </a:lnTo>
                  <a:lnTo>
                    <a:pt x="492" y="682"/>
                  </a:lnTo>
                  <a:close/>
                  <a:moveTo>
                    <a:pt x="667" y="682"/>
                  </a:moveTo>
                  <a:lnTo>
                    <a:pt x="667" y="680"/>
                  </a:lnTo>
                  <a:lnTo>
                    <a:pt x="667" y="682"/>
                  </a:lnTo>
                  <a:close/>
                  <a:moveTo>
                    <a:pt x="660" y="680"/>
                  </a:moveTo>
                  <a:lnTo>
                    <a:pt x="660" y="682"/>
                  </a:lnTo>
                  <a:lnTo>
                    <a:pt x="660" y="680"/>
                  </a:lnTo>
                  <a:close/>
                  <a:moveTo>
                    <a:pt x="786" y="680"/>
                  </a:moveTo>
                  <a:lnTo>
                    <a:pt x="786" y="682"/>
                  </a:lnTo>
                  <a:lnTo>
                    <a:pt x="786" y="680"/>
                  </a:lnTo>
                  <a:close/>
                  <a:moveTo>
                    <a:pt x="494" y="680"/>
                  </a:moveTo>
                  <a:lnTo>
                    <a:pt x="492" y="680"/>
                  </a:lnTo>
                  <a:lnTo>
                    <a:pt x="494" y="680"/>
                  </a:lnTo>
                  <a:close/>
                  <a:moveTo>
                    <a:pt x="670" y="680"/>
                  </a:moveTo>
                  <a:lnTo>
                    <a:pt x="667" y="680"/>
                  </a:lnTo>
                  <a:lnTo>
                    <a:pt x="670" y="680"/>
                  </a:lnTo>
                  <a:close/>
                  <a:moveTo>
                    <a:pt x="496" y="680"/>
                  </a:moveTo>
                  <a:lnTo>
                    <a:pt x="494" y="680"/>
                  </a:lnTo>
                  <a:lnTo>
                    <a:pt x="496" y="680"/>
                  </a:lnTo>
                  <a:close/>
                  <a:moveTo>
                    <a:pt x="660" y="680"/>
                  </a:moveTo>
                  <a:lnTo>
                    <a:pt x="658" y="680"/>
                  </a:lnTo>
                  <a:lnTo>
                    <a:pt x="660" y="680"/>
                  </a:lnTo>
                  <a:close/>
                  <a:moveTo>
                    <a:pt x="598" y="680"/>
                  </a:moveTo>
                  <a:lnTo>
                    <a:pt x="596" y="680"/>
                  </a:lnTo>
                  <a:lnTo>
                    <a:pt x="598" y="680"/>
                  </a:lnTo>
                  <a:close/>
                  <a:moveTo>
                    <a:pt x="670" y="680"/>
                  </a:moveTo>
                  <a:lnTo>
                    <a:pt x="667" y="680"/>
                  </a:lnTo>
                  <a:lnTo>
                    <a:pt x="670" y="680"/>
                  </a:lnTo>
                  <a:close/>
                  <a:moveTo>
                    <a:pt x="487" y="677"/>
                  </a:moveTo>
                  <a:lnTo>
                    <a:pt x="487" y="680"/>
                  </a:lnTo>
                  <a:lnTo>
                    <a:pt x="487" y="677"/>
                  </a:lnTo>
                  <a:close/>
                  <a:moveTo>
                    <a:pt x="489" y="677"/>
                  </a:moveTo>
                  <a:lnTo>
                    <a:pt x="489" y="680"/>
                  </a:lnTo>
                  <a:lnTo>
                    <a:pt x="489" y="677"/>
                  </a:lnTo>
                  <a:close/>
                  <a:moveTo>
                    <a:pt x="496" y="677"/>
                  </a:moveTo>
                  <a:lnTo>
                    <a:pt x="494" y="677"/>
                  </a:lnTo>
                  <a:lnTo>
                    <a:pt x="496" y="677"/>
                  </a:lnTo>
                  <a:close/>
                  <a:moveTo>
                    <a:pt x="674" y="677"/>
                  </a:moveTo>
                  <a:lnTo>
                    <a:pt x="672" y="677"/>
                  </a:lnTo>
                  <a:lnTo>
                    <a:pt x="674" y="677"/>
                  </a:lnTo>
                  <a:close/>
                  <a:moveTo>
                    <a:pt x="674" y="677"/>
                  </a:moveTo>
                  <a:lnTo>
                    <a:pt x="672" y="677"/>
                  </a:lnTo>
                  <a:lnTo>
                    <a:pt x="674" y="677"/>
                  </a:lnTo>
                  <a:close/>
                  <a:moveTo>
                    <a:pt x="667" y="675"/>
                  </a:moveTo>
                  <a:lnTo>
                    <a:pt x="667" y="677"/>
                  </a:lnTo>
                  <a:lnTo>
                    <a:pt x="667" y="675"/>
                  </a:lnTo>
                  <a:close/>
                  <a:moveTo>
                    <a:pt x="672" y="675"/>
                  </a:moveTo>
                  <a:lnTo>
                    <a:pt x="672" y="677"/>
                  </a:lnTo>
                  <a:lnTo>
                    <a:pt x="672" y="675"/>
                  </a:lnTo>
                  <a:close/>
                  <a:moveTo>
                    <a:pt x="670" y="675"/>
                  </a:moveTo>
                  <a:lnTo>
                    <a:pt x="670" y="677"/>
                  </a:lnTo>
                  <a:lnTo>
                    <a:pt x="670" y="675"/>
                  </a:lnTo>
                  <a:close/>
                  <a:moveTo>
                    <a:pt x="496" y="675"/>
                  </a:moveTo>
                  <a:lnTo>
                    <a:pt x="494" y="675"/>
                  </a:lnTo>
                  <a:lnTo>
                    <a:pt x="496" y="675"/>
                  </a:lnTo>
                  <a:close/>
                  <a:moveTo>
                    <a:pt x="546" y="675"/>
                  </a:moveTo>
                  <a:lnTo>
                    <a:pt x="546" y="672"/>
                  </a:lnTo>
                  <a:lnTo>
                    <a:pt x="546" y="675"/>
                  </a:lnTo>
                  <a:close/>
                  <a:moveTo>
                    <a:pt x="515" y="675"/>
                  </a:moveTo>
                  <a:lnTo>
                    <a:pt x="515" y="672"/>
                  </a:lnTo>
                  <a:lnTo>
                    <a:pt x="515" y="675"/>
                  </a:lnTo>
                  <a:close/>
                  <a:moveTo>
                    <a:pt x="499" y="675"/>
                  </a:moveTo>
                  <a:lnTo>
                    <a:pt x="496" y="675"/>
                  </a:lnTo>
                  <a:lnTo>
                    <a:pt x="496" y="672"/>
                  </a:lnTo>
                  <a:lnTo>
                    <a:pt x="499" y="675"/>
                  </a:lnTo>
                  <a:close/>
                  <a:moveTo>
                    <a:pt x="672" y="672"/>
                  </a:moveTo>
                  <a:lnTo>
                    <a:pt x="670" y="672"/>
                  </a:lnTo>
                  <a:lnTo>
                    <a:pt x="672" y="672"/>
                  </a:lnTo>
                  <a:close/>
                  <a:moveTo>
                    <a:pt x="499" y="670"/>
                  </a:moveTo>
                  <a:lnTo>
                    <a:pt x="499" y="668"/>
                  </a:lnTo>
                  <a:lnTo>
                    <a:pt x="499" y="670"/>
                  </a:lnTo>
                  <a:close/>
                  <a:moveTo>
                    <a:pt x="501" y="668"/>
                  </a:moveTo>
                  <a:lnTo>
                    <a:pt x="501" y="670"/>
                  </a:lnTo>
                  <a:lnTo>
                    <a:pt x="501" y="668"/>
                  </a:lnTo>
                  <a:close/>
                  <a:moveTo>
                    <a:pt x="489" y="668"/>
                  </a:moveTo>
                  <a:lnTo>
                    <a:pt x="492" y="668"/>
                  </a:lnTo>
                  <a:lnTo>
                    <a:pt x="489" y="668"/>
                  </a:lnTo>
                  <a:close/>
                  <a:moveTo>
                    <a:pt x="503" y="668"/>
                  </a:moveTo>
                  <a:lnTo>
                    <a:pt x="501" y="668"/>
                  </a:lnTo>
                  <a:lnTo>
                    <a:pt x="503" y="668"/>
                  </a:lnTo>
                  <a:close/>
                  <a:moveTo>
                    <a:pt x="499" y="668"/>
                  </a:moveTo>
                  <a:lnTo>
                    <a:pt x="496" y="668"/>
                  </a:lnTo>
                  <a:lnTo>
                    <a:pt x="499" y="668"/>
                  </a:lnTo>
                  <a:close/>
                  <a:moveTo>
                    <a:pt x="1239" y="668"/>
                  </a:moveTo>
                  <a:lnTo>
                    <a:pt x="1241" y="668"/>
                  </a:lnTo>
                  <a:lnTo>
                    <a:pt x="1239" y="668"/>
                  </a:lnTo>
                  <a:close/>
                  <a:moveTo>
                    <a:pt x="494" y="668"/>
                  </a:moveTo>
                  <a:lnTo>
                    <a:pt x="496" y="668"/>
                  </a:lnTo>
                  <a:lnTo>
                    <a:pt x="494" y="668"/>
                  </a:lnTo>
                  <a:close/>
                  <a:moveTo>
                    <a:pt x="484" y="668"/>
                  </a:moveTo>
                  <a:lnTo>
                    <a:pt x="484" y="665"/>
                  </a:lnTo>
                  <a:lnTo>
                    <a:pt x="484" y="668"/>
                  </a:lnTo>
                  <a:close/>
                  <a:moveTo>
                    <a:pt x="492" y="665"/>
                  </a:moveTo>
                  <a:lnTo>
                    <a:pt x="492" y="668"/>
                  </a:lnTo>
                  <a:lnTo>
                    <a:pt x="492" y="665"/>
                  </a:lnTo>
                  <a:close/>
                  <a:moveTo>
                    <a:pt x="492" y="665"/>
                  </a:moveTo>
                  <a:lnTo>
                    <a:pt x="492" y="668"/>
                  </a:lnTo>
                  <a:lnTo>
                    <a:pt x="492" y="665"/>
                  </a:lnTo>
                  <a:close/>
                  <a:moveTo>
                    <a:pt x="492" y="665"/>
                  </a:moveTo>
                  <a:lnTo>
                    <a:pt x="492" y="668"/>
                  </a:lnTo>
                  <a:lnTo>
                    <a:pt x="492" y="665"/>
                  </a:lnTo>
                  <a:close/>
                  <a:moveTo>
                    <a:pt x="487" y="665"/>
                  </a:moveTo>
                  <a:lnTo>
                    <a:pt x="484" y="665"/>
                  </a:lnTo>
                  <a:lnTo>
                    <a:pt x="487" y="665"/>
                  </a:lnTo>
                  <a:close/>
                  <a:moveTo>
                    <a:pt x="1239" y="665"/>
                  </a:moveTo>
                  <a:lnTo>
                    <a:pt x="1237" y="665"/>
                  </a:lnTo>
                  <a:lnTo>
                    <a:pt x="1239" y="665"/>
                  </a:lnTo>
                  <a:close/>
                  <a:moveTo>
                    <a:pt x="492" y="665"/>
                  </a:moveTo>
                  <a:lnTo>
                    <a:pt x="489" y="665"/>
                  </a:lnTo>
                  <a:lnTo>
                    <a:pt x="492" y="665"/>
                  </a:lnTo>
                  <a:close/>
                  <a:moveTo>
                    <a:pt x="499" y="665"/>
                  </a:moveTo>
                  <a:lnTo>
                    <a:pt x="496" y="665"/>
                  </a:lnTo>
                  <a:lnTo>
                    <a:pt x="499" y="665"/>
                  </a:lnTo>
                  <a:close/>
                  <a:moveTo>
                    <a:pt x="494" y="665"/>
                  </a:moveTo>
                  <a:lnTo>
                    <a:pt x="492" y="665"/>
                  </a:lnTo>
                  <a:lnTo>
                    <a:pt x="494" y="665"/>
                  </a:lnTo>
                  <a:close/>
                  <a:moveTo>
                    <a:pt x="494" y="665"/>
                  </a:moveTo>
                  <a:lnTo>
                    <a:pt x="492" y="665"/>
                  </a:lnTo>
                  <a:lnTo>
                    <a:pt x="494" y="665"/>
                  </a:lnTo>
                  <a:close/>
                  <a:moveTo>
                    <a:pt x="520" y="665"/>
                  </a:moveTo>
                  <a:lnTo>
                    <a:pt x="518" y="665"/>
                  </a:lnTo>
                  <a:lnTo>
                    <a:pt x="520" y="665"/>
                  </a:lnTo>
                  <a:close/>
                  <a:moveTo>
                    <a:pt x="492" y="665"/>
                  </a:moveTo>
                  <a:lnTo>
                    <a:pt x="489" y="665"/>
                  </a:lnTo>
                  <a:lnTo>
                    <a:pt x="492" y="665"/>
                  </a:lnTo>
                  <a:close/>
                  <a:moveTo>
                    <a:pt x="492" y="665"/>
                  </a:moveTo>
                  <a:lnTo>
                    <a:pt x="492" y="663"/>
                  </a:lnTo>
                  <a:lnTo>
                    <a:pt x="492" y="665"/>
                  </a:lnTo>
                  <a:close/>
                  <a:moveTo>
                    <a:pt x="518" y="665"/>
                  </a:moveTo>
                  <a:lnTo>
                    <a:pt x="518" y="663"/>
                  </a:lnTo>
                  <a:lnTo>
                    <a:pt x="518" y="665"/>
                  </a:lnTo>
                  <a:close/>
                  <a:moveTo>
                    <a:pt x="520" y="663"/>
                  </a:moveTo>
                  <a:lnTo>
                    <a:pt x="518" y="663"/>
                  </a:lnTo>
                  <a:lnTo>
                    <a:pt x="520" y="663"/>
                  </a:lnTo>
                  <a:close/>
                  <a:moveTo>
                    <a:pt x="667" y="661"/>
                  </a:moveTo>
                  <a:lnTo>
                    <a:pt x="667" y="663"/>
                  </a:lnTo>
                  <a:lnTo>
                    <a:pt x="667" y="661"/>
                  </a:lnTo>
                  <a:close/>
                  <a:moveTo>
                    <a:pt x="499" y="663"/>
                  </a:moveTo>
                  <a:lnTo>
                    <a:pt x="496" y="663"/>
                  </a:lnTo>
                  <a:lnTo>
                    <a:pt x="496" y="661"/>
                  </a:lnTo>
                  <a:lnTo>
                    <a:pt x="499" y="663"/>
                  </a:lnTo>
                  <a:close/>
                  <a:moveTo>
                    <a:pt x="494" y="661"/>
                  </a:moveTo>
                  <a:lnTo>
                    <a:pt x="492" y="661"/>
                  </a:lnTo>
                  <a:lnTo>
                    <a:pt x="494" y="661"/>
                  </a:lnTo>
                  <a:close/>
                  <a:moveTo>
                    <a:pt x="522" y="661"/>
                  </a:moveTo>
                  <a:lnTo>
                    <a:pt x="520" y="661"/>
                  </a:lnTo>
                  <a:lnTo>
                    <a:pt x="522" y="661"/>
                  </a:lnTo>
                  <a:close/>
                  <a:moveTo>
                    <a:pt x="494" y="661"/>
                  </a:moveTo>
                  <a:lnTo>
                    <a:pt x="496" y="661"/>
                  </a:lnTo>
                  <a:lnTo>
                    <a:pt x="494" y="661"/>
                  </a:lnTo>
                  <a:close/>
                  <a:moveTo>
                    <a:pt x="530" y="661"/>
                  </a:moveTo>
                  <a:lnTo>
                    <a:pt x="527" y="661"/>
                  </a:lnTo>
                  <a:lnTo>
                    <a:pt x="530" y="661"/>
                  </a:lnTo>
                  <a:close/>
                  <a:moveTo>
                    <a:pt x="492" y="661"/>
                  </a:moveTo>
                  <a:lnTo>
                    <a:pt x="489" y="661"/>
                  </a:lnTo>
                  <a:lnTo>
                    <a:pt x="492" y="661"/>
                  </a:lnTo>
                  <a:close/>
                  <a:moveTo>
                    <a:pt x="492" y="661"/>
                  </a:moveTo>
                  <a:lnTo>
                    <a:pt x="489" y="661"/>
                  </a:lnTo>
                  <a:lnTo>
                    <a:pt x="492" y="661"/>
                  </a:lnTo>
                  <a:close/>
                  <a:moveTo>
                    <a:pt x="492" y="661"/>
                  </a:moveTo>
                  <a:lnTo>
                    <a:pt x="492" y="658"/>
                  </a:lnTo>
                  <a:lnTo>
                    <a:pt x="492" y="661"/>
                  </a:lnTo>
                  <a:close/>
                  <a:moveTo>
                    <a:pt x="487" y="656"/>
                  </a:moveTo>
                  <a:lnTo>
                    <a:pt x="487" y="658"/>
                  </a:lnTo>
                  <a:lnTo>
                    <a:pt x="487" y="656"/>
                  </a:lnTo>
                  <a:close/>
                  <a:moveTo>
                    <a:pt x="847" y="658"/>
                  </a:moveTo>
                  <a:lnTo>
                    <a:pt x="845" y="658"/>
                  </a:lnTo>
                  <a:lnTo>
                    <a:pt x="845" y="656"/>
                  </a:lnTo>
                  <a:lnTo>
                    <a:pt x="847" y="656"/>
                  </a:lnTo>
                  <a:lnTo>
                    <a:pt x="847" y="658"/>
                  </a:lnTo>
                  <a:close/>
                  <a:moveTo>
                    <a:pt x="487" y="656"/>
                  </a:moveTo>
                  <a:lnTo>
                    <a:pt x="484" y="656"/>
                  </a:lnTo>
                  <a:lnTo>
                    <a:pt x="487" y="656"/>
                  </a:lnTo>
                  <a:close/>
                  <a:moveTo>
                    <a:pt x="487" y="656"/>
                  </a:moveTo>
                  <a:lnTo>
                    <a:pt x="484" y="656"/>
                  </a:lnTo>
                  <a:lnTo>
                    <a:pt x="487" y="656"/>
                  </a:lnTo>
                  <a:close/>
                  <a:moveTo>
                    <a:pt x="843" y="653"/>
                  </a:moveTo>
                  <a:lnTo>
                    <a:pt x="840" y="653"/>
                  </a:lnTo>
                  <a:lnTo>
                    <a:pt x="843" y="653"/>
                  </a:lnTo>
                  <a:close/>
                  <a:moveTo>
                    <a:pt x="1225" y="651"/>
                  </a:moveTo>
                  <a:lnTo>
                    <a:pt x="1222" y="651"/>
                  </a:lnTo>
                  <a:lnTo>
                    <a:pt x="1225" y="651"/>
                  </a:lnTo>
                  <a:close/>
                  <a:moveTo>
                    <a:pt x="836" y="651"/>
                  </a:moveTo>
                  <a:lnTo>
                    <a:pt x="833" y="651"/>
                  </a:lnTo>
                  <a:lnTo>
                    <a:pt x="836" y="651"/>
                  </a:lnTo>
                  <a:close/>
                  <a:moveTo>
                    <a:pt x="484" y="651"/>
                  </a:moveTo>
                  <a:lnTo>
                    <a:pt x="482" y="651"/>
                  </a:lnTo>
                  <a:lnTo>
                    <a:pt x="484" y="651"/>
                  </a:lnTo>
                  <a:close/>
                  <a:moveTo>
                    <a:pt x="1092" y="649"/>
                  </a:moveTo>
                  <a:lnTo>
                    <a:pt x="1090" y="649"/>
                  </a:lnTo>
                  <a:lnTo>
                    <a:pt x="1092" y="649"/>
                  </a:lnTo>
                  <a:close/>
                  <a:moveTo>
                    <a:pt x="482" y="649"/>
                  </a:moveTo>
                  <a:lnTo>
                    <a:pt x="480" y="649"/>
                  </a:lnTo>
                  <a:lnTo>
                    <a:pt x="482" y="649"/>
                  </a:lnTo>
                  <a:close/>
                  <a:moveTo>
                    <a:pt x="482" y="649"/>
                  </a:moveTo>
                  <a:lnTo>
                    <a:pt x="480" y="649"/>
                  </a:lnTo>
                  <a:lnTo>
                    <a:pt x="482" y="649"/>
                  </a:lnTo>
                  <a:close/>
                  <a:moveTo>
                    <a:pt x="482" y="646"/>
                  </a:moveTo>
                  <a:lnTo>
                    <a:pt x="480" y="646"/>
                  </a:lnTo>
                  <a:lnTo>
                    <a:pt x="482" y="646"/>
                  </a:lnTo>
                  <a:close/>
                  <a:moveTo>
                    <a:pt x="482" y="646"/>
                  </a:moveTo>
                  <a:lnTo>
                    <a:pt x="480" y="646"/>
                  </a:lnTo>
                  <a:lnTo>
                    <a:pt x="482" y="646"/>
                  </a:lnTo>
                  <a:close/>
                  <a:moveTo>
                    <a:pt x="480" y="644"/>
                  </a:moveTo>
                  <a:lnTo>
                    <a:pt x="480" y="646"/>
                  </a:lnTo>
                  <a:lnTo>
                    <a:pt x="480" y="644"/>
                  </a:lnTo>
                  <a:close/>
                  <a:moveTo>
                    <a:pt x="829" y="644"/>
                  </a:moveTo>
                  <a:lnTo>
                    <a:pt x="829" y="646"/>
                  </a:lnTo>
                  <a:lnTo>
                    <a:pt x="829" y="644"/>
                  </a:lnTo>
                  <a:close/>
                  <a:moveTo>
                    <a:pt x="477" y="644"/>
                  </a:moveTo>
                  <a:lnTo>
                    <a:pt x="475" y="644"/>
                  </a:lnTo>
                  <a:lnTo>
                    <a:pt x="477" y="644"/>
                  </a:lnTo>
                  <a:close/>
                  <a:moveTo>
                    <a:pt x="477" y="644"/>
                  </a:moveTo>
                  <a:lnTo>
                    <a:pt x="475" y="644"/>
                  </a:lnTo>
                  <a:lnTo>
                    <a:pt x="477" y="644"/>
                  </a:lnTo>
                  <a:close/>
                  <a:moveTo>
                    <a:pt x="477" y="644"/>
                  </a:moveTo>
                  <a:lnTo>
                    <a:pt x="475" y="642"/>
                  </a:lnTo>
                  <a:lnTo>
                    <a:pt x="477" y="642"/>
                  </a:lnTo>
                  <a:lnTo>
                    <a:pt x="477" y="644"/>
                  </a:lnTo>
                  <a:close/>
                  <a:moveTo>
                    <a:pt x="482" y="642"/>
                  </a:moveTo>
                  <a:lnTo>
                    <a:pt x="480" y="642"/>
                  </a:lnTo>
                  <a:lnTo>
                    <a:pt x="482" y="642"/>
                  </a:lnTo>
                  <a:close/>
                  <a:moveTo>
                    <a:pt x="482" y="642"/>
                  </a:moveTo>
                  <a:lnTo>
                    <a:pt x="480" y="642"/>
                  </a:lnTo>
                  <a:lnTo>
                    <a:pt x="482" y="642"/>
                  </a:lnTo>
                  <a:close/>
                  <a:moveTo>
                    <a:pt x="1111" y="642"/>
                  </a:moveTo>
                  <a:lnTo>
                    <a:pt x="1108" y="642"/>
                  </a:lnTo>
                  <a:lnTo>
                    <a:pt x="1111" y="642"/>
                  </a:lnTo>
                  <a:lnTo>
                    <a:pt x="1108" y="642"/>
                  </a:lnTo>
                  <a:lnTo>
                    <a:pt x="1111" y="642"/>
                  </a:lnTo>
                  <a:close/>
                  <a:moveTo>
                    <a:pt x="1061" y="642"/>
                  </a:moveTo>
                  <a:lnTo>
                    <a:pt x="1061" y="639"/>
                  </a:lnTo>
                  <a:lnTo>
                    <a:pt x="1061" y="642"/>
                  </a:lnTo>
                  <a:close/>
                  <a:moveTo>
                    <a:pt x="484" y="639"/>
                  </a:moveTo>
                  <a:lnTo>
                    <a:pt x="482" y="639"/>
                  </a:lnTo>
                  <a:lnTo>
                    <a:pt x="484" y="639"/>
                  </a:lnTo>
                  <a:close/>
                  <a:moveTo>
                    <a:pt x="826" y="642"/>
                  </a:moveTo>
                  <a:lnTo>
                    <a:pt x="826" y="639"/>
                  </a:lnTo>
                  <a:lnTo>
                    <a:pt x="829" y="639"/>
                  </a:lnTo>
                  <a:lnTo>
                    <a:pt x="826" y="642"/>
                  </a:lnTo>
                  <a:close/>
                  <a:moveTo>
                    <a:pt x="484" y="639"/>
                  </a:moveTo>
                  <a:lnTo>
                    <a:pt x="484" y="642"/>
                  </a:lnTo>
                  <a:lnTo>
                    <a:pt x="484" y="639"/>
                  </a:lnTo>
                  <a:close/>
                  <a:moveTo>
                    <a:pt x="484" y="639"/>
                  </a:moveTo>
                  <a:lnTo>
                    <a:pt x="482" y="639"/>
                  </a:lnTo>
                  <a:lnTo>
                    <a:pt x="484" y="639"/>
                  </a:lnTo>
                  <a:close/>
                  <a:moveTo>
                    <a:pt x="1073" y="639"/>
                  </a:moveTo>
                  <a:lnTo>
                    <a:pt x="1071" y="639"/>
                  </a:lnTo>
                  <a:lnTo>
                    <a:pt x="1073" y="639"/>
                  </a:lnTo>
                  <a:close/>
                  <a:moveTo>
                    <a:pt x="487" y="639"/>
                  </a:moveTo>
                  <a:lnTo>
                    <a:pt x="484" y="639"/>
                  </a:lnTo>
                  <a:lnTo>
                    <a:pt x="487" y="639"/>
                  </a:lnTo>
                  <a:close/>
                  <a:moveTo>
                    <a:pt x="487" y="639"/>
                  </a:moveTo>
                  <a:lnTo>
                    <a:pt x="484" y="639"/>
                  </a:lnTo>
                  <a:lnTo>
                    <a:pt x="487" y="639"/>
                  </a:lnTo>
                  <a:close/>
                  <a:moveTo>
                    <a:pt x="1127" y="637"/>
                  </a:moveTo>
                  <a:lnTo>
                    <a:pt x="1125" y="637"/>
                  </a:lnTo>
                  <a:lnTo>
                    <a:pt x="1127" y="637"/>
                  </a:lnTo>
                  <a:close/>
                  <a:moveTo>
                    <a:pt x="487" y="637"/>
                  </a:moveTo>
                  <a:lnTo>
                    <a:pt x="484" y="637"/>
                  </a:lnTo>
                  <a:lnTo>
                    <a:pt x="487" y="637"/>
                  </a:lnTo>
                  <a:close/>
                  <a:moveTo>
                    <a:pt x="821" y="634"/>
                  </a:moveTo>
                  <a:lnTo>
                    <a:pt x="824" y="634"/>
                  </a:lnTo>
                  <a:lnTo>
                    <a:pt x="821" y="634"/>
                  </a:lnTo>
                  <a:close/>
                  <a:moveTo>
                    <a:pt x="821" y="634"/>
                  </a:moveTo>
                  <a:lnTo>
                    <a:pt x="819" y="634"/>
                  </a:lnTo>
                  <a:lnTo>
                    <a:pt x="821" y="634"/>
                  </a:lnTo>
                  <a:close/>
                  <a:moveTo>
                    <a:pt x="817" y="634"/>
                  </a:moveTo>
                  <a:lnTo>
                    <a:pt x="819" y="634"/>
                  </a:lnTo>
                  <a:lnTo>
                    <a:pt x="817" y="634"/>
                  </a:lnTo>
                  <a:close/>
                  <a:moveTo>
                    <a:pt x="489" y="634"/>
                  </a:moveTo>
                  <a:lnTo>
                    <a:pt x="487" y="634"/>
                  </a:lnTo>
                  <a:lnTo>
                    <a:pt x="489" y="634"/>
                  </a:lnTo>
                  <a:lnTo>
                    <a:pt x="487" y="634"/>
                  </a:lnTo>
                  <a:lnTo>
                    <a:pt x="489" y="634"/>
                  </a:lnTo>
                  <a:close/>
                  <a:moveTo>
                    <a:pt x="489" y="634"/>
                  </a:moveTo>
                  <a:lnTo>
                    <a:pt x="487" y="634"/>
                  </a:lnTo>
                  <a:lnTo>
                    <a:pt x="489" y="634"/>
                  </a:lnTo>
                  <a:close/>
                  <a:moveTo>
                    <a:pt x="1142" y="634"/>
                  </a:moveTo>
                  <a:lnTo>
                    <a:pt x="1139" y="634"/>
                  </a:lnTo>
                  <a:lnTo>
                    <a:pt x="1142" y="634"/>
                  </a:lnTo>
                  <a:close/>
                  <a:moveTo>
                    <a:pt x="1142" y="632"/>
                  </a:moveTo>
                  <a:lnTo>
                    <a:pt x="1142" y="634"/>
                  </a:lnTo>
                  <a:lnTo>
                    <a:pt x="1142" y="632"/>
                  </a:lnTo>
                  <a:close/>
                  <a:moveTo>
                    <a:pt x="814" y="632"/>
                  </a:moveTo>
                  <a:lnTo>
                    <a:pt x="814" y="634"/>
                  </a:lnTo>
                  <a:lnTo>
                    <a:pt x="814" y="632"/>
                  </a:lnTo>
                  <a:close/>
                  <a:moveTo>
                    <a:pt x="489" y="630"/>
                  </a:moveTo>
                  <a:lnTo>
                    <a:pt x="487" y="630"/>
                  </a:lnTo>
                  <a:lnTo>
                    <a:pt x="489" y="630"/>
                  </a:lnTo>
                  <a:close/>
                  <a:moveTo>
                    <a:pt x="807" y="630"/>
                  </a:moveTo>
                  <a:lnTo>
                    <a:pt x="807" y="627"/>
                  </a:lnTo>
                  <a:lnTo>
                    <a:pt x="807" y="630"/>
                  </a:lnTo>
                  <a:close/>
                  <a:moveTo>
                    <a:pt x="489" y="627"/>
                  </a:moveTo>
                  <a:lnTo>
                    <a:pt x="487" y="627"/>
                  </a:lnTo>
                  <a:lnTo>
                    <a:pt x="489" y="627"/>
                  </a:lnTo>
                  <a:close/>
                  <a:moveTo>
                    <a:pt x="487" y="627"/>
                  </a:moveTo>
                  <a:lnTo>
                    <a:pt x="487" y="625"/>
                  </a:lnTo>
                  <a:lnTo>
                    <a:pt x="487" y="627"/>
                  </a:lnTo>
                  <a:close/>
                  <a:moveTo>
                    <a:pt x="494" y="625"/>
                  </a:moveTo>
                  <a:lnTo>
                    <a:pt x="494" y="627"/>
                  </a:lnTo>
                  <a:lnTo>
                    <a:pt x="494" y="625"/>
                  </a:lnTo>
                  <a:close/>
                  <a:moveTo>
                    <a:pt x="487" y="625"/>
                  </a:moveTo>
                  <a:lnTo>
                    <a:pt x="487" y="627"/>
                  </a:lnTo>
                  <a:lnTo>
                    <a:pt x="487" y="625"/>
                  </a:lnTo>
                  <a:close/>
                  <a:moveTo>
                    <a:pt x="489" y="625"/>
                  </a:moveTo>
                  <a:lnTo>
                    <a:pt x="487" y="625"/>
                  </a:lnTo>
                  <a:lnTo>
                    <a:pt x="489" y="625"/>
                  </a:lnTo>
                  <a:close/>
                  <a:moveTo>
                    <a:pt x="489" y="625"/>
                  </a:moveTo>
                  <a:lnTo>
                    <a:pt x="487" y="625"/>
                  </a:lnTo>
                  <a:lnTo>
                    <a:pt x="489" y="625"/>
                  </a:lnTo>
                  <a:close/>
                  <a:moveTo>
                    <a:pt x="496" y="623"/>
                  </a:moveTo>
                  <a:lnTo>
                    <a:pt x="494" y="625"/>
                  </a:lnTo>
                  <a:lnTo>
                    <a:pt x="496" y="623"/>
                  </a:lnTo>
                  <a:close/>
                  <a:moveTo>
                    <a:pt x="1213" y="625"/>
                  </a:moveTo>
                  <a:lnTo>
                    <a:pt x="1213" y="623"/>
                  </a:lnTo>
                  <a:lnTo>
                    <a:pt x="1213" y="625"/>
                  </a:lnTo>
                  <a:close/>
                  <a:moveTo>
                    <a:pt x="487" y="623"/>
                  </a:moveTo>
                  <a:lnTo>
                    <a:pt x="487" y="625"/>
                  </a:lnTo>
                  <a:lnTo>
                    <a:pt x="487" y="623"/>
                  </a:lnTo>
                  <a:lnTo>
                    <a:pt x="487" y="625"/>
                  </a:lnTo>
                  <a:lnTo>
                    <a:pt x="487" y="623"/>
                  </a:lnTo>
                  <a:close/>
                  <a:moveTo>
                    <a:pt x="487" y="623"/>
                  </a:moveTo>
                  <a:lnTo>
                    <a:pt x="489" y="623"/>
                  </a:lnTo>
                  <a:lnTo>
                    <a:pt x="487" y="623"/>
                  </a:lnTo>
                  <a:close/>
                  <a:moveTo>
                    <a:pt x="496" y="623"/>
                  </a:moveTo>
                  <a:lnTo>
                    <a:pt x="494" y="623"/>
                  </a:lnTo>
                  <a:lnTo>
                    <a:pt x="496" y="623"/>
                  </a:lnTo>
                  <a:close/>
                  <a:moveTo>
                    <a:pt x="494" y="623"/>
                  </a:moveTo>
                  <a:lnTo>
                    <a:pt x="492" y="623"/>
                  </a:lnTo>
                  <a:lnTo>
                    <a:pt x="494" y="623"/>
                  </a:lnTo>
                  <a:close/>
                  <a:moveTo>
                    <a:pt x="499" y="623"/>
                  </a:moveTo>
                  <a:lnTo>
                    <a:pt x="496" y="623"/>
                  </a:lnTo>
                  <a:lnTo>
                    <a:pt x="499" y="623"/>
                  </a:lnTo>
                  <a:close/>
                  <a:moveTo>
                    <a:pt x="494" y="623"/>
                  </a:moveTo>
                  <a:lnTo>
                    <a:pt x="492" y="623"/>
                  </a:lnTo>
                  <a:lnTo>
                    <a:pt x="494" y="623"/>
                  </a:lnTo>
                  <a:close/>
                  <a:moveTo>
                    <a:pt x="489" y="620"/>
                  </a:moveTo>
                  <a:lnTo>
                    <a:pt x="489" y="623"/>
                  </a:lnTo>
                  <a:lnTo>
                    <a:pt x="489" y="620"/>
                  </a:lnTo>
                  <a:close/>
                  <a:moveTo>
                    <a:pt x="487" y="623"/>
                  </a:moveTo>
                  <a:lnTo>
                    <a:pt x="484" y="623"/>
                  </a:lnTo>
                  <a:lnTo>
                    <a:pt x="487" y="620"/>
                  </a:lnTo>
                  <a:lnTo>
                    <a:pt x="487" y="623"/>
                  </a:lnTo>
                  <a:close/>
                  <a:moveTo>
                    <a:pt x="494" y="620"/>
                  </a:moveTo>
                  <a:lnTo>
                    <a:pt x="494" y="623"/>
                  </a:lnTo>
                  <a:lnTo>
                    <a:pt x="494" y="620"/>
                  </a:lnTo>
                  <a:close/>
                  <a:moveTo>
                    <a:pt x="496" y="623"/>
                  </a:moveTo>
                  <a:lnTo>
                    <a:pt x="496" y="620"/>
                  </a:lnTo>
                  <a:lnTo>
                    <a:pt x="496" y="623"/>
                  </a:lnTo>
                  <a:close/>
                  <a:moveTo>
                    <a:pt x="494" y="620"/>
                  </a:moveTo>
                  <a:lnTo>
                    <a:pt x="492" y="620"/>
                  </a:lnTo>
                  <a:lnTo>
                    <a:pt x="494" y="620"/>
                  </a:lnTo>
                  <a:close/>
                  <a:moveTo>
                    <a:pt x="487" y="620"/>
                  </a:moveTo>
                  <a:lnTo>
                    <a:pt x="484" y="620"/>
                  </a:lnTo>
                  <a:lnTo>
                    <a:pt x="487" y="620"/>
                  </a:lnTo>
                  <a:close/>
                  <a:moveTo>
                    <a:pt x="496" y="620"/>
                  </a:moveTo>
                  <a:lnTo>
                    <a:pt x="494" y="620"/>
                  </a:lnTo>
                  <a:lnTo>
                    <a:pt x="496" y="620"/>
                  </a:lnTo>
                  <a:close/>
                  <a:moveTo>
                    <a:pt x="496" y="620"/>
                  </a:moveTo>
                  <a:lnTo>
                    <a:pt x="496" y="618"/>
                  </a:lnTo>
                  <a:lnTo>
                    <a:pt x="496" y="620"/>
                  </a:lnTo>
                  <a:close/>
                  <a:moveTo>
                    <a:pt x="800" y="618"/>
                  </a:moveTo>
                  <a:lnTo>
                    <a:pt x="800" y="620"/>
                  </a:lnTo>
                  <a:lnTo>
                    <a:pt x="800" y="618"/>
                  </a:lnTo>
                  <a:close/>
                  <a:moveTo>
                    <a:pt x="1063" y="618"/>
                  </a:moveTo>
                  <a:lnTo>
                    <a:pt x="1066" y="618"/>
                  </a:lnTo>
                  <a:lnTo>
                    <a:pt x="1063" y="618"/>
                  </a:lnTo>
                  <a:close/>
                  <a:moveTo>
                    <a:pt x="494" y="618"/>
                  </a:moveTo>
                  <a:lnTo>
                    <a:pt x="492" y="618"/>
                  </a:lnTo>
                  <a:lnTo>
                    <a:pt x="494" y="618"/>
                  </a:lnTo>
                  <a:close/>
                  <a:moveTo>
                    <a:pt x="494" y="615"/>
                  </a:moveTo>
                  <a:lnTo>
                    <a:pt x="494" y="618"/>
                  </a:lnTo>
                  <a:lnTo>
                    <a:pt x="494" y="615"/>
                  </a:lnTo>
                  <a:close/>
                  <a:moveTo>
                    <a:pt x="492" y="618"/>
                  </a:moveTo>
                  <a:lnTo>
                    <a:pt x="492" y="615"/>
                  </a:lnTo>
                  <a:lnTo>
                    <a:pt x="492" y="618"/>
                  </a:lnTo>
                  <a:close/>
                  <a:moveTo>
                    <a:pt x="800" y="615"/>
                  </a:moveTo>
                  <a:lnTo>
                    <a:pt x="800" y="618"/>
                  </a:lnTo>
                  <a:lnTo>
                    <a:pt x="800" y="615"/>
                  </a:lnTo>
                  <a:lnTo>
                    <a:pt x="800" y="618"/>
                  </a:lnTo>
                  <a:lnTo>
                    <a:pt x="800" y="615"/>
                  </a:lnTo>
                  <a:close/>
                  <a:moveTo>
                    <a:pt x="492" y="615"/>
                  </a:moveTo>
                  <a:lnTo>
                    <a:pt x="492" y="618"/>
                  </a:lnTo>
                  <a:lnTo>
                    <a:pt x="492" y="615"/>
                  </a:lnTo>
                  <a:close/>
                  <a:moveTo>
                    <a:pt x="492" y="615"/>
                  </a:moveTo>
                  <a:lnTo>
                    <a:pt x="492" y="618"/>
                  </a:lnTo>
                  <a:lnTo>
                    <a:pt x="492" y="615"/>
                  </a:lnTo>
                  <a:close/>
                  <a:moveTo>
                    <a:pt x="1215" y="615"/>
                  </a:moveTo>
                  <a:lnTo>
                    <a:pt x="1213" y="615"/>
                  </a:lnTo>
                  <a:lnTo>
                    <a:pt x="1215" y="615"/>
                  </a:lnTo>
                  <a:close/>
                  <a:moveTo>
                    <a:pt x="492" y="613"/>
                  </a:moveTo>
                  <a:lnTo>
                    <a:pt x="492" y="615"/>
                  </a:lnTo>
                  <a:lnTo>
                    <a:pt x="492" y="613"/>
                  </a:lnTo>
                  <a:close/>
                  <a:moveTo>
                    <a:pt x="798" y="613"/>
                  </a:moveTo>
                  <a:lnTo>
                    <a:pt x="798" y="615"/>
                  </a:lnTo>
                  <a:lnTo>
                    <a:pt x="798" y="613"/>
                  </a:lnTo>
                  <a:close/>
                  <a:moveTo>
                    <a:pt x="1303" y="613"/>
                  </a:moveTo>
                  <a:lnTo>
                    <a:pt x="1303" y="615"/>
                  </a:lnTo>
                  <a:lnTo>
                    <a:pt x="1303" y="613"/>
                  </a:lnTo>
                  <a:close/>
                  <a:moveTo>
                    <a:pt x="798" y="613"/>
                  </a:moveTo>
                  <a:lnTo>
                    <a:pt x="798" y="615"/>
                  </a:lnTo>
                  <a:lnTo>
                    <a:pt x="798" y="613"/>
                  </a:lnTo>
                  <a:close/>
                  <a:moveTo>
                    <a:pt x="492" y="613"/>
                  </a:moveTo>
                  <a:lnTo>
                    <a:pt x="489" y="613"/>
                  </a:lnTo>
                  <a:lnTo>
                    <a:pt x="492" y="613"/>
                  </a:lnTo>
                  <a:close/>
                  <a:moveTo>
                    <a:pt x="489" y="613"/>
                  </a:moveTo>
                  <a:lnTo>
                    <a:pt x="487" y="613"/>
                  </a:lnTo>
                  <a:lnTo>
                    <a:pt x="489" y="613"/>
                  </a:lnTo>
                  <a:close/>
                  <a:moveTo>
                    <a:pt x="487" y="613"/>
                  </a:moveTo>
                  <a:lnTo>
                    <a:pt x="484" y="613"/>
                  </a:lnTo>
                  <a:lnTo>
                    <a:pt x="487" y="613"/>
                  </a:lnTo>
                  <a:close/>
                  <a:moveTo>
                    <a:pt x="487" y="611"/>
                  </a:moveTo>
                  <a:lnTo>
                    <a:pt x="487" y="613"/>
                  </a:lnTo>
                  <a:lnTo>
                    <a:pt x="487" y="611"/>
                  </a:lnTo>
                  <a:close/>
                  <a:moveTo>
                    <a:pt x="487" y="611"/>
                  </a:moveTo>
                  <a:lnTo>
                    <a:pt x="484" y="611"/>
                  </a:lnTo>
                  <a:lnTo>
                    <a:pt x="487" y="611"/>
                  </a:lnTo>
                  <a:close/>
                  <a:moveTo>
                    <a:pt x="798" y="611"/>
                  </a:moveTo>
                  <a:lnTo>
                    <a:pt x="795" y="611"/>
                  </a:lnTo>
                  <a:lnTo>
                    <a:pt x="798" y="611"/>
                  </a:lnTo>
                  <a:close/>
                  <a:moveTo>
                    <a:pt x="795" y="608"/>
                  </a:moveTo>
                  <a:lnTo>
                    <a:pt x="798" y="611"/>
                  </a:lnTo>
                  <a:lnTo>
                    <a:pt x="795" y="611"/>
                  </a:lnTo>
                  <a:lnTo>
                    <a:pt x="795" y="608"/>
                  </a:lnTo>
                  <a:close/>
                  <a:moveTo>
                    <a:pt x="1248" y="608"/>
                  </a:moveTo>
                  <a:lnTo>
                    <a:pt x="1251" y="608"/>
                  </a:lnTo>
                  <a:lnTo>
                    <a:pt x="1248" y="608"/>
                  </a:lnTo>
                  <a:close/>
                  <a:moveTo>
                    <a:pt x="798" y="606"/>
                  </a:moveTo>
                  <a:lnTo>
                    <a:pt x="795" y="606"/>
                  </a:lnTo>
                  <a:lnTo>
                    <a:pt x="798" y="606"/>
                  </a:lnTo>
                  <a:lnTo>
                    <a:pt x="795" y="606"/>
                  </a:lnTo>
                  <a:lnTo>
                    <a:pt x="798" y="606"/>
                  </a:lnTo>
                  <a:close/>
                  <a:moveTo>
                    <a:pt x="703" y="606"/>
                  </a:moveTo>
                  <a:lnTo>
                    <a:pt x="703" y="603"/>
                  </a:lnTo>
                  <a:lnTo>
                    <a:pt x="703" y="606"/>
                  </a:lnTo>
                  <a:close/>
                  <a:moveTo>
                    <a:pt x="774" y="606"/>
                  </a:moveTo>
                  <a:lnTo>
                    <a:pt x="774" y="603"/>
                  </a:lnTo>
                  <a:lnTo>
                    <a:pt x="774" y="606"/>
                  </a:lnTo>
                  <a:close/>
                  <a:moveTo>
                    <a:pt x="774" y="606"/>
                  </a:moveTo>
                  <a:lnTo>
                    <a:pt x="774" y="603"/>
                  </a:lnTo>
                  <a:lnTo>
                    <a:pt x="774" y="606"/>
                  </a:lnTo>
                  <a:close/>
                  <a:moveTo>
                    <a:pt x="1258" y="606"/>
                  </a:moveTo>
                  <a:lnTo>
                    <a:pt x="1258" y="603"/>
                  </a:lnTo>
                  <a:lnTo>
                    <a:pt x="1258" y="606"/>
                  </a:lnTo>
                  <a:close/>
                  <a:moveTo>
                    <a:pt x="622" y="603"/>
                  </a:moveTo>
                  <a:lnTo>
                    <a:pt x="620" y="603"/>
                  </a:lnTo>
                  <a:lnTo>
                    <a:pt x="622" y="603"/>
                  </a:lnTo>
                  <a:close/>
                  <a:moveTo>
                    <a:pt x="774" y="601"/>
                  </a:moveTo>
                  <a:lnTo>
                    <a:pt x="772" y="601"/>
                  </a:lnTo>
                  <a:lnTo>
                    <a:pt x="774" y="601"/>
                  </a:lnTo>
                  <a:close/>
                  <a:moveTo>
                    <a:pt x="1213" y="601"/>
                  </a:moveTo>
                  <a:lnTo>
                    <a:pt x="1213" y="599"/>
                  </a:lnTo>
                  <a:lnTo>
                    <a:pt x="1213" y="601"/>
                  </a:lnTo>
                  <a:close/>
                  <a:moveTo>
                    <a:pt x="715" y="601"/>
                  </a:moveTo>
                  <a:lnTo>
                    <a:pt x="715" y="599"/>
                  </a:lnTo>
                  <a:lnTo>
                    <a:pt x="715" y="601"/>
                  </a:lnTo>
                  <a:close/>
                  <a:moveTo>
                    <a:pt x="1163" y="596"/>
                  </a:moveTo>
                  <a:lnTo>
                    <a:pt x="1163" y="599"/>
                  </a:lnTo>
                  <a:lnTo>
                    <a:pt x="1163" y="596"/>
                  </a:lnTo>
                  <a:close/>
                  <a:moveTo>
                    <a:pt x="781" y="596"/>
                  </a:moveTo>
                  <a:lnTo>
                    <a:pt x="779" y="596"/>
                  </a:lnTo>
                  <a:lnTo>
                    <a:pt x="781" y="596"/>
                  </a:lnTo>
                  <a:close/>
                  <a:moveTo>
                    <a:pt x="783" y="596"/>
                  </a:moveTo>
                  <a:lnTo>
                    <a:pt x="786" y="596"/>
                  </a:lnTo>
                  <a:lnTo>
                    <a:pt x="783" y="596"/>
                  </a:lnTo>
                  <a:close/>
                  <a:moveTo>
                    <a:pt x="1173" y="594"/>
                  </a:moveTo>
                  <a:lnTo>
                    <a:pt x="1175" y="594"/>
                  </a:lnTo>
                  <a:lnTo>
                    <a:pt x="1173" y="594"/>
                  </a:lnTo>
                  <a:close/>
                  <a:moveTo>
                    <a:pt x="1315" y="592"/>
                  </a:moveTo>
                  <a:lnTo>
                    <a:pt x="1315" y="589"/>
                  </a:lnTo>
                  <a:lnTo>
                    <a:pt x="1315" y="592"/>
                  </a:lnTo>
                  <a:close/>
                  <a:moveTo>
                    <a:pt x="558" y="589"/>
                  </a:moveTo>
                  <a:lnTo>
                    <a:pt x="558" y="592"/>
                  </a:lnTo>
                  <a:lnTo>
                    <a:pt x="558" y="589"/>
                  </a:lnTo>
                  <a:close/>
                  <a:moveTo>
                    <a:pt x="458" y="589"/>
                  </a:moveTo>
                  <a:lnTo>
                    <a:pt x="456" y="589"/>
                  </a:lnTo>
                  <a:lnTo>
                    <a:pt x="458" y="589"/>
                  </a:lnTo>
                  <a:close/>
                  <a:moveTo>
                    <a:pt x="1201" y="589"/>
                  </a:moveTo>
                  <a:lnTo>
                    <a:pt x="1199" y="589"/>
                  </a:lnTo>
                  <a:lnTo>
                    <a:pt x="1201" y="589"/>
                  </a:lnTo>
                  <a:close/>
                  <a:moveTo>
                    <a:pt x="553" y="589"/>
                  </a:moveTo>
                  <a:lnTo>
                    <a:pt x="551" y="589"/>
                  </a:lnTo>
                  <a:lnTo>
                    <a:pt x="553" y="589"/>
                  </a:lnTo>
                  <a:close/>
                  <a:moveTo>
                    <a:pt x="772" y="589"/>
                  </a:moveTo>
                  <a:lnTo>
                    <a:pt x="772" y="587"/>
                  </a:lnTo>
                  <a:lnTo>
                    <a:pt x="772" y="589"/>
                  </a:lnTo>
                  <a:close/>
                  <a:moveTo>
                    <a:pt x="726" y="587"/>
                  </a:moveTo>
                  <a:lnTo>
                    <a:pt x="726" y="589"/>
                  </a:lnTo>
                  <a:lnTo>
                    <a:pt x="726" y="587"/>
                  </a:lnTo>
                  <a:close/>
                  <a:moveTo>
                    <a:pt x="454" y="587"/>
                  </a:moveTo>
                  <a:lnTo>
                    <a:pt x="451" y="587"/>
                  </a:lnTo>
                  <a:lnTo>
                    <a:pt x="454" y="587"/>
                  </a:lnTo>
                  <a:close/>
                  <a:moveTo>
                    <a:pt x="551" y="587"/>
                  </a:moveTo>
                  <a:lnTo>
                    <a:pt x="551" y="589"/>
                  </a:lnTo>
                  <a:lnTo>
                    <a:pt x="551" y="587"/>
                  </a:lnTo>
                  <a:close/>
                  <a:moveTo>
                    <a:pt x="454" y="587"/>
                  </a:moveTo>
                  <a:lnTo>
                    <a:pt x="451" y="587"/>
                  </a:lnTo>
                  <a:lnTo>
                    <a:pt x="454" y="587"/>
                  </a:lnTo>
                  <a:close/>
                  <a:moveTo>
                    <a:pt x="454" y="587"/>
                  </a:moveTo>
                  <a:lnTo>
                    <a:pt x="451" y="587"/>
                  </a:lnTo>
                  <a:lnTo>
                    <a:pt x="454" y="587"/>
                  </a:lnTo>
                  <a:close/>
                  <a:moveTo>
                    <a:pt x="456" y="582"/>
                  </a:moveTo>
                  <a:lnTo>
                    <a:pt x="456" y="584"/>
                  </a:lnTo>
                  <a:lnTo>
                    <a:pt x="456" y="582"/>
                  </a:lnTo>
                  <a:close/>
                  <a:moveTo>
                    <a:pt x="769" y="584"/>
                  </a:moveTo>
                  <a:lnTo>
                    <a:pt x="767" y="584"/>
                  </a:lnTo>
                  <a:lnTo>
                    <a:pt x="767" y="582"/>
                  </a:lnTo>
                  <a:lnTo>
                    <a:pt x="769" y="584"/>
                  </a:lnTo>
                  <a:close/>
                  <a:moveTo>
                    <a:pt x="1310" y="582"/>
                  </a:moveTo>
                  <a:lnTo>
                    <a:pt x="1310" y="584"/>
                  </a:lnTo>
                  <a:lnTo>
                    <a:pt x="1310" y="582"/>
                  </a:lnTo>
                  <a:close/>
                  <a:moveTo>
                    <a:pt x="451" y="582"/>
                  </a:moveTo>
                  <a:lnTo>
                    <a:pt x="449" y="582"/>
                  </a:lnTo>
                  <a:lnTo>
                    <a:pt x="451" y="582"/>
                  </a:lnTo>
                  <a:close/>
                  <a:moveTo>
                    <a:pt x="447" y="582"/>
                  </a:moveTo>
                  <a:lnTo>
                    <a:pt x="447" y="580"/>
                  </a:lnTo>
                  <a:lnTo>
                    <a:pt x="447" y="582"/>
                  </a:lnTo>
                  <a:close/>
                  <a:moveTo>
                    <a:pt x="447" y="582"/>
                  </a:moveTo>
                  <a:lnTo>
                    <a:pt x="447" y="580"/>
                  </a:lnTo>
                  <a:lnTo>
                    <a:pt x="447" y="582"/>
                  </a:lnTo>
                  <a:close/>
                  <a:moveTo>
                    <a:pt x="447" y="580"/>
                  </a:moveTo>
                  <a:lnTo>
                    <a:pt x="449" y="580"/>
                  </a:lnTo>
                  <a:lnTo>
                    <a:pt x="447" y="580"/>
                  </a:lnTo>
                  <a:close/>
                  <a:moveTo>
                    <a:pt x="1310" y="580"/>
                  </a:moveTo>
                  <a:lnTo>
                    <a:pt x="1308" y="580"/>
                  </a:lnTo>
                  <a:lnTo>
                    <a:pt x="1310" y="580"/>
                  </a:lnTo>
                  <a:close/>
                  <a:moveTo>
                    <a:pt x="442" y="580"/>
                  </a:moveTo>
                  <a:lnTo>
                    <a:pt x="439" y="580"/>
                  </a:lnTo>
                  <a:lnTo>
                    <a:pt x="442" y="580"/>
                  </a:lnTo>
                  <a:close/>
                  <a:moveTo>
                    <a:pt x="447" y="580"/>
                  </a:moveTo>
                  <a:lnTo>
                    <a:pt x="444" y="580"/>
                  </a:lnTo>
                  <a:lnTo>
                    <a:pt x="447" y="580"/>
                  </a:lnTo>
                  <a:close/>
                  <a:moveTo>
                    <a:pt x="501" y="580"/>
                  </a:moveTo>
                  <a:lnTo>
                    <a:pt x="499" y="580"/>
                  </a:lnTo>
                  <a:lnTo>
                    <a:pt x="501" y="580"/>
                  </a:lnTo>
                  <a:close/>
                  <a:moveTo>
                    <a:pt x="805" y="577"/>
                  </a:moveTo>
                  <a:lnTo>
                    <a:pt x="805" y="580"/>
                  </a:lnTo>
                  <a:lnTo>
                    <a:pt x="805" y="577"/>
                  </a:lnTo>
                  <a:close/>
                  <a:moveTo>
                    <a:pt x="805" y="577"/>
                  </a:moveTo>
                  <a:lnTo>
                    <a:pt x="805" y="580"/>
                  </a:lnTo>
                  <a:lnTo>
                    <a:pt x="805" y="577"/>
                  </a:lnTo>
                  <a:close/>
                  <a:moveTo>
                    <a:pt x="449" y="577"/>
                  </a:moveTo>
                  <a:lnTo>
                    <a:pt x="449" y="580"/>
                  </a:lnTo>
                  <a:lnTo>
                    <a:pt x="449" y="577"/>
                  </a:lnTo>
                  <a:close/>
                  <a:moveTo>
                    <a:pt x="449" y="577"/>
                  </a:moveTo>
                  <a:lnTo>
                    <a:pt x="447" y="577"/>
                  </a:lnTo>
                  <a:lnTo>
                    <a:pt x="449" y="577"/>
                  </a:lnTo>
                  <a:close/>
                  <a:moveTo>
                    <a:pt x="1294" y="577"/>
                  </a:moveTo>
                  <a:lnTo>
                    <a:pt x="1291" y="577"/>
                  </a:lnTo>
                  <a:lnTo>
                    <a:pt x="1294" y="577"/>
                  </a:lnTo>
                  <a:close/>
                  <a:moveTo>
                    <a:pt x="1073" y="577"/>
                  </a:moveTo>
                  <a:lnTo>
                    <a:pt x="1073" y="575"/>
                  </a:lnTo>
                  <a:lnTo>
                    <a:pt x="1073" y="577"/>
                  </a:lnTo>
                  <a:close/>
                  <a:moveTo>
                    <a:pt x="428" y="575"/>
                  </a:moveTo>
                  <a:lnTo>
                    <a:pt x="425" y="575"/>
                  </a:lnTo>
                  <a:lnTo>
                    <a:pt x="428" y="575"/>
                  </a:lnTo>
                  <a:close/>
                  <a:moveTo>
                    <a:pt x="428" y="575"/>
                  </a:moveTo>
                  <a:lnTo>
                    <a:pt x="428" y="573"/>
                  </a:lnTo>
                  <a:lnTo>
                    <a:pt x="428" y="575"/>
                  </a:lnTo>
                  <a:close/>
                  <a:moveTo>
                    <a:pt x="428" y="573"/>
                  </a:moveTo>
                  <a:lnTo>
                    <a:pt x="428" y="575"/>
                  </a:lnTo>
                  <a:lnTo>
                    <a:pt x="428" y="573"/>
                  </a:lnTo>
                  <a:lnTo>
                    <a:pt x="428" y="575"/>
                  </a:lnTo>
                  <a:lnTo>
                    <a:pt x="428" y="573"/>
                  </a:lnTo>
                  <a:close/>
                  <a:moveTo>
                    <a:pt x="428" y="573"/>
                  </a:moveTo>
                  <a:lnTo>
                    <a:pt x="425" y="573"/>
                  </a:lnTo>
                  <a:lnTo>
                    <a:pt x="428" y="573"/>
                  </a:lnTo>
                  <a:close/>
                  <a:moveTo>
                    <a:pt x="1407" y="573"/>
                  </a:moveTo>
                  <a:lnTo>
                    <a:pt x="1405" y="573"/>
                  </a:lnTo>
                  <a:lnTo>
                    <a:pt x="1407" y="573"/>
                  </a:lnTo>
                  <a:close/>
                  <a:moveTo>
                    <a:pt x="480" y="570"/>
                  </a:moveTo>
                  <a:lnTo>
                    <a:pt x="480" y="573"/>
                  </a:lnTo>
                  <a:lnTo>
                    <a:pt x="477" y="570"/>
                  </a:lnTo>
                  <a:lnTo>
                    <a:pt x="480" y="570"/>
                  </a:lnTo>
                  <a:close/>
                  <a:moveTo>
                    <a:pt x="439" y="570"/>
                  </a:moveTo>
                  <a:lnTo>
                    <a:pt x="439" y="573"/>
                  </a:lnTo>
                  <a:lnTo>
                    <a:pt x="439" y="570"/>
                  </a:lnTo>
                  <a:close/>
                  <a:moveTo>
                    <a:pt x="1071" y="570"/>
                  </a:moveTo>
                  <a:lnTo>
                    <a:pt x="1073" y="570"/>
                  </a:lnTo>
                  <a:lnTo>
                    <a:pt x="1071" y="570"/>
                  </a:lnTo>
                  <a:close/>
                  <a:moveTo>
                    <a:pt x="470" y="568"/>
                  </a:moveTo>
                  <a:lnTo>
                    <a:pt x="468" y="568"/>
                  </a:lnTo>
                  <a:lnTo>
                    <a:pt x="470" y="568"/>
                  </a:lnTo>
                  <a:close/>
                  <a:moveTo>
                    <a:pt x="468" y="568"/>
                  </a:moveTo>
                  <a:lnTo>
                    <a:pt x="468" y="570"/>
                  </a:lnTo>
                  <a:lnTo>
                    <a:pt x="468" y="568"/>
                  </a:lnTo>
                  <a:close/>
                  <a:moveTo>
                    <a:pt x="802" y="568"/>
                  </a:moveTo>
                  <a:lnTo>
                    <a:pt x="800" y="568"/>
                  </a:lnTo>
                  <a:lnTo>
                    <a:pt x="802" y="568"/>
                  </a:lnTo>
                  <a:close/>
                  <a:moveTo>
                    <a:pt x="458" y="568"/>
                  </a:moveTo>
                  <a:lnTo>
                    <a:pt x="461" y="568"/>
                  </a:lnTo>
                  <a:lnTo>
                    <a:pt x="458" y="568"/>
                  </a:lnTo>
                  <a:close/>
                  <a:moveTo>
                    <a:pt x="461" y="568"/>
                  </a:moveTo>
                  <a:lnTo>
                    <a:pt x="458" y="568"/>
                  </a:lnTo>
                  <a:lnTo>
                    <a:pt x="461" y="568"/>
                  </a:lnTo>
                  <a:close/>
                  <a:moveTo>
                    <a:pt x="458" y="568"/>
                  </a:moveTo>
                  <a:lnTo>
                    <a:pt x="456" y="568"/>
                  </a:lnTo>
                  <a:lnTo>
                    <a:pt x="458" y="568"/>
                  </a:lnTo>
                  <a:close/>
                  <a:moveTo>
                    <a:pt x="447" y="568"/>
                  </a:moveTo>
                  <a:lnTo>
                    <a:pt x="447" y="565"/>
                  </a:lnTo>
                  <a:lnTo>
                    <a:pt x="447" y="568"/>
                  </a:lnTo>
                  <a:close/>
                  <a:moveTo>
                    <a:pt x="425" y="565"/>
                  </a:moveTo>
                  <a:lnTo>
                    <a:pt x="425" y="568"/>
                  </a:lnTo>
                  <a:lnTo>
                    <a:pt x="425" y="565"/>
                  </a:lnTo>
                  <a:close/>
                  <a:moveTo>
                    <a:pt x="1068" y="565"/>
                  </a:moveTo>
                  <a:lnTo>
                    <a:pt x="1068" y="568"/>
                  </a:lnTo>
                  <a:lnTo>
                    <a:pt x="1068" y="565"/>
                  </a:lnTo>
                  <a:close/>
                  <a:moveTo>
                    <a:pt x="456" y="565"/>
                  </a:moveTo>
                  <a:lnTo>
                    <a:pt x="456" y="568"/>
                  </a:lnTo>
                  <a:lnTo>
                    <a:pt x="456" y="565"/>
                  </a:lnTo>
                  <a:close/>
                  <a:moveTo>
                    <a:pt x="458" y="565"/>
                  </a:moveTo>
                  <a:lnTo>
                    <a:pt x="456" y="565"/>
                  </a:lnTo>
                  <a:lnTo>
                    <a:pt x="458" y="565"/>
                  </a:lnTo>
                  <a:close/>
                  <a:moveTo>
                    <a:pt x="698" y="565"/>
                  </a:moveTo>
                  <a:lnTo>
                    <a:pt x="696" y="565"/>
                  </a:lnTo>
                  <a:lnTo>
                    <a:pt x="698" y="565"/>
                  </a:lnTo>
                  <a:close/>
                  <a:moveTo>
                    <a:pt x="874" y="565"/>
                  </a:moveTo>
                  <a:lnTo>
                    <a:pt x="871" y="565"/>
                  </a:lnTo>
                  <a:lnTo>
                    <a:pt x="874" y="565"/>
                  </a:lnTo>
                  <a:close/>
                  <a:moveTo>
                    <a:pt x="432" y="565"/>
                  </a:moveTo>
                  <a:lnTo>
                    <a:pt x="430" y="565"/>
                  </a:lnTo>
                  <a:lnTo>
                    <a:pt x="432" y="565"/>
                  </a:lnTo>
                  <a:close/>
                  <a:moveTo>
                    <a:pt x="423" y="565"/>
                  </a:moveTo>
                  <a:lnTo>
                    <a:pt x="420" y="565"/>
                  </a:lnTo>
                  <a:lnTo>
                    <a:pt x="423" y="565"/>
                  </a:lnTo>
                  <a:close/>
                  <a:moveTo>
                    <a:pt x="423" y="565"/>
                  </a:moveTo>
                  <a:lnTo>
                    <a:pt x="420" y="565"/>
                  </a:lnTo>
                  <a:lnTo>
                    <a:pt x="423" y="565"/>
                  </a:lnTo>
                  <a:close/>
                  <a:moveTo>
                    <a:pt x="1071" y="563"/>
                  </a:moveTo>
                  <a:lnTo>
                    <a:pt x="1071" y="565"/>
                  </a:lnTo>
                  <a:lnTo>
                    <a:pt x="1071" y="563"/>
                  </a:lnTo>
                  <a:close/>
                  <a:moveTo>
                    <a:pt x="451" y="563"/>
                  </a:moveTo>
                  <a:lnTo>
                    <a:pt x="451" y="561"/>
                  </a:lnTo>
                  <a:lnTo>
                    <a:pt x="451" y="563"/>
                  </a:lnTo>
                  <a:close/>
                  <a:moveTo>
                    <a:pt x="423" y="561"/>
                  </a:moveTo>
                  <a:lnTo>
                    <a:pt x="420" y="561"/>
                  </a:lnTo>
                  <a:lnTo>
                    <a:pt x="423" y="561"/>
                  </a:lnTo>
                  <a:close/>
                  <a:moveTo>
                    <a:pt x="916" y="561"/>
                  </a:moveTo>
                  <a:lnTo>
                    <a:pt x="914" y="561"/>
                  </a:lnTo>
                  <a:lnTo>
                    <a:pt x="916" y="561"/>
                  </a:lnTo>
                  <a:close/>
                  <a:moveTo>
                    <a:pt x="810" y="561"/>
                  </a:moveTo>
                  <a:lnTo>
                    <a:pt x="807" y="561"/>
                  </a:lnTo>
                  <a:lnTo>
                    <a:pt x="810" y="561"/>
                  </a:lnTo>
                  <a:close/>
                  <a:moveTo>
                    <a:pt x="423" y="558"/>
                  </a:moveTo>
                  <a:lnTo>
                    <a:pt x="423" y="561"/>
                  </a:lnTo>
                  <a:lnTo>
                    <a:pt x="423" y="558"/>
                  </a:lnTo>
                  <a:close/>
                  <a:moveTo>
                    <a:pt x="810" y="558"/>
                  </a:moveTo>
                  <a:lnTo>
                    <a:pt x="807" y="558"/>
                  </a:lnTo>
                  <a:lnTo>
                    <a:pt x="810" y="558"/>
                  </a:lnTo>
                  <a:close/>
                  <a:moveTo>
                    <a:pt x="895" y="558"/>
                  </a:moveTo>
                  <a:lnTo>
                    <a:pt x="893" y="558"/>
                  </a:lnTo>
                  <a:lnTo>
                    <a:pt x="895" y="558"/>
                  </a:lnTo>
                  <a:close/>
                  <a:moveTo>
                    <a:pt x="810" y="558"/>
                  </a:moveTo>
                  <a:lnTo>
                    <a:pt x="807" y="558"/>
                  </a:lnTo>
                  <a:lnTo>
                    <a:pt x="810" y="558"/>
                  </a:lnTo>
                  <a:close/>
                  <a:moveTo>
                    <a:pt x="416" y="558"/>
                  </a:moveTo>
                  <a:lnTo>
                    <a:pt x="413" y="558"/>
                  </a:lnTo>
                  <a:lnTo>
                    <a:pt x="416" y="558"/>
                  </a:lnTo>
                  <a:close/>
                  <a:moveTo>
                    <a:pt x="810" y="556"/>
                  </a:moveTo>
                  <a:lnTo>
                    <a:pt x="807" y="556"/>
                  </a:lnTo>
                  <a:lnTo>
                    <a:pt x="810" y="556"/>
                  </a:lnTo>
                  <a:close/>
                  <a:moveTo>
                    <a:pt x="418" y="551"/>
                  </a:moveTo>
                  <a:lnTo>
                    <a:pt x="418" y="554"/>
                  </a:lnTo>
                  <a:lnTo>
                    <a:pt x="418" y="551"/>
                  </a:lnTo>
                  <a:close/>
                  <a:moveTo>
                    <a:pt x="418" y="551"/>
                  </a:moveTo>
                  <a:lnTo>
                    <a:pt x="418" y="554"/>
                  </a:lnTo>
                  <a:lnTo>
                    <a:pt x="418" y="551"/>
                  </a:lnTo>
                  <a:close/>
                  <a:moveTo>
                    <a:pt x="425" y="549"/>
                  </a:moveTo>
                  <a:lnTo>
                    <a:pt x="425" y="551"/>
                  </a:lnTo>
                  <a:lnTo>
                    <a:pt x="425" y="549"/>
                  </a:lnTo>
                  <a:close/>
                  <a:moveTo>
                    <a:pt x="418" y="549"/>
                  </a:moveTo>
                  <a:lnTo>
                    <a:pt x="420" y="549"/>
                  </a:lnTo>
                  <a:lnTo>
                    <a:pt x="420" y="551"/>
                  </a:lnTo>
                  <a:lnTo>
                    <a:pt x="420" y="549"/>
                  </a:lnTo>
                  <a:lnTo>
                    <a:pt x="418" y="549"/>
                  </a:lnTo>
                  <a:close/>
                  <a:moveTo>
                    <a:pt x="418" y="549"/>
                  </a:moveTo>
                  <a:lnTo>
                    <a:pt x="416" y="549"/>
                  </a:lnTo>
                  <a:lnTo>
                    <a:pt x="418" y="549"/>
                  </a:lnTo>
                  <a:close/>
                  <a:moveTo>
                    <a:pt x="1071" y="549"/>
                  </a:moveTo>
                  <a:lnTo>
                    <a:pt x="1068" y="549"/>
                  </a:lnTo>
                  <a:lnTo>
                    <a:pt x="1071" y="549"/>
                  </a:lnTo>
                  <a:close/>
                  <a:moveTo>
                    <a:pt x="1071" y="549"/>
                  </a:moveTo>
                  <a:lnTo>
                    <a:pt x="1068" y="549"/>
                  </a:lnTo>
                  <a:lnTo>
                    <a:pt x="1071" y="549"/>
                  </a:lnTo>
                  <a:close/>
                  <a:moveTo>
                    <a:pt x="1075" y="546"/>
                  </a:moveTo>
                  <a:lnTo>
                    <a:pt x="1075" y="549"/>
                  </a:lnTo>
                  <a:lnTo>
                    <a:pt x="1075" y="546"/>
                  </a:lnTo>
                  <a:close/>
                  <a:moveTo>
                    <a:pt x="409" y="546"/>
                  </a:moveTo>
                  <a:lnTo>
                    <a:pt x="409" y="549"/>
                  </a:lnTo>
                  <a:lnTo>
                    <a:pt x="409" y="546"/>
                  </a:lnTo>
                  <a:close/>
                  <a:moveTo>
                    <a:pt x="418" y="546"/>
                  </a:moveTo>
                  <a:lnTo>
                    <a:pt x="416" y="546"/>
                  </a:lnTo>
                  <a:lnTo>
                    <a:pt x="418" y="546"/>
                  </a:lnTo>
                  <a:close/>
                  <a:moveTo>
                    <a:pt x="409" y="546"/>
                  </a:moveTo>
                  <a:lnTo>
                    <a:pt x="406" y="546"/>
                  </a:lnTo>
                  <a:lnTo>
                    <a:pt x="409" y="546"/>
                  </a:lnTo>
                  <a:close/>
                  <a:moveTo>
                    <a:pt x="423" y="546"/>
                  </a:moveTo>
                  <a:lnTo>
                    <a:pt x="420" y="546"/>
                  </a:lnTo>
                  <a:lnTo>
                    <a:pt x="423" y="546"/>
                  </a:lnTo>
                  <a:close/>
                  <a:moveTo>
                    <a:pt x="413" y="546"/>
                  </a:moveTo>
                  <a:lnTo>
                    <a:pt x="411" y="546"/>
                  </a:lnTo>
                  <a:lnTo>
                    <a:pt x="413" y="546"/>
                  </a:lnTo>
                  <a:close/>
                  <a:moveTo>
                    <a:pt x="420" y="546"/>
                  </a:moveTo>
                  <a:lnTo>
                    <a:pt x="420" y="544"/>
                  </a:lnTo>
                  <a:lnTo>
                    <a:pt x="420" y="546"/>
                  </a:lnTo>
                  <a:close/>
                  <a:moveTo>
                    <a:pt x="1061" y="544"/>
                  </a:moveTo>
                  <a:lnTo>
                    <a:pt x="1059" y="544"/>
                  </a:lnTo>
                  <a:lnTo>
                    <a:pt x="1061" y="544"/>
                  </a:lnTo>
                  <a:close/>
                  <a:moveTo>
                    <a:pt x="420" y="544"/>
                  </a:moveTo>
                  <a:lnTo>
                    <a:pt x="418" y="544"/>
                  </a:lnTo>
                  <a:lnTo>
                    <a:pt x="420" y="544"/>
                  </a:lnTo>
                  <a:close/>
                  <a:moveTo>
                    <a:pt x="411" y="544"/>
                  </a:moveTo>
                  <a:lnTo>
                    <a:pt x="409" y="544"/>
                  </a:lnTo>
                  <a:lnTo>
                    <a:pt x="411" y="544"/>
                  </a:lnTo>
                  <a:close/>
                  <a:moveTo>
                    <a:pt x="916" y="542"/>
                  </a:moveTo>
                  <a:lnTo>
                    <a:pt x="919" y="542"/>
                  </a:lnTo>
                  <a:lnTo>
                    <a:pt x="916" y="542"/>
                  </a:lnTo>
                  <a:close/>
                  <a:moveTo>
                    <a:pt x="1047" y="537"/>
                  </a:moveTo>
                  <a:lnTo>
                    <a:pt x="1047" y="539"/>
                  </a:lnTo>
                  <a:lnTo>
                    <a:pt x="1047" y="537"/>
                  </a:lnTo>
                  <a:close/>
                  <a:moveTo>
                    <a:pt x="1047" y="537"/>
                  </a:moveTo>
                  <a:lnTo>
                    <a:pt x="1047" y="539"/>
                  </a:lnTo>
                  <a:lnTo>
                    <a:pt x="1047" y="537"/>
                  </a:lnTo>
                  <a:close/>
                  <a:moveTo>
                    <a:pt x="1049" y="537"/>
                  </a:moveTo>
                  <a:lnTo>
                    <a:pt x="1047" y="537"/>
                  </a:lnTo>
                  <a:lnTo>
                    <a:pt x="1049" y="537"/>
                  </a:lnTo>
                  <a:close/>
                  <a:moveTo>
                    <a:pt x="1047" y="535"/>
                  </a:moveTo>
                  <a:lnTo>
                    <a:pt x="1049" y="535"/>
                  </a:lnTo>
                  <a:lnTo>
                    <a:pt x="1047" y="535"/>
                  </a:lnTo>
                  <a:close/>
                  <a:moveTo>
                    <a:pt x="1044" y="535"/>
                  </a:moveTo>
                  <a:lnTo>
                    <a:pt x="1047" y="535"/>
                  </a:lnTo>
                  <a:lnTo>
                    <a:pt x="1044" y="535"/>
                  </a:lnTo>
                  <a:close/>
                  <a:moveTo>
                    <a:pt x="1049" y="535"/>
                  </a:moveTo>
                  <a:lnTo>
                    <a:pt x="1049" y="532"/>
                  </a:lnTo>
                  <a:lnTo>
                    <a:pt x="1049" y="535"/>
                  </a:lnTo>
                  <a:close/>
                  <a:moveTo>
                    <a:pt x="1052" y="532"/>
                  </a:moveTo>
                  <a:lnTo>
                    <a:pt x="1049" y="532"/>
                  </a:lnTo>
                  <a:lnTo>
                    <a:pt x="1052" y="532"/>
                  </a:lnTo>
                  <a:close/>
                  <a:moveTo>
                    <a:pt x="1047" y="530"/>
                  </a:moveTo>
                  <a:lnTo>
                    <a:pt x="1044" y="530"/>
                  </a:lnTo>
                  <a:lnTo>
                    <a:pt x="1047" y="530"/>
                  </a:lnTo>
                  <a:close/>
                  <a:moveTo>
                    <a:pt x="1049" y="527"/>
                  </a:moveTo>
                  <a:lnTo>
                    <a:pt x="1047" y="527"/>
                  </a:lnTo>
                  <a:lnTo>
                    <a:pt x="1049" y="527"/>
                  </a:lnTo>
                  <a:close/>
                  <a:moveTo>
                    <a:pt x="1052" y="527"/>
                  </a:moveTo>
                  <a:lnTo>
                    <a:pt x="1049" y="527"/>
                  </a:lnTo>
                  <a:lnTo>
                    <a:pt x="1052" y="527"/>
                  </a:lnTo>
                  <a:close/>
                  <a:moveTo>
                    <a:pt x="1052" y="527"/>
                  </a:moveTo>
                  <a:lnTo>
                    <a:pt x="1049" y="527"/>
                  </a:lnTo>
                  <a:lnTo>
                    <a:pt x="1052" y="527"/>
                  </a:lnTo>
                  <a:close/>
                  <a:moveTo>
                    <a:pt x="1052" y="527"/>
                  </a:moveTo>
                  <a:lnTo>
                    <a:pt x="1049" y="527"/>
                  </a:lnTo>
                  <a:lnTo>
                    <a:pt x="1052" y="527"/>
                  </a:lnTo>
                  <a:close/>
                  <a:moveTo>
                    <a:pt x="1056" y="520"/>
                  </a:moveTo>
                  <a:lnTo>
                    <a:pt x="1059" y="520"/>
                  </a:lnTo>
                  <a:lnTo>
                    <a:pt x="1056" y="520"/>
                  </a:lnTo>
                  <a:close/>
                  <a:moveTo>
                    <a:pt x="1059" y="518"/>
                  </a:moveTo>
                  <a:lnTo>
                    <a:pt x="1056" y="518"/>
                  </a:lnTo>
                  <a:lnTo>
                    <a:pt x="1059" y="518"/>
                  </a:lnTo>
                  <a:close/>
                  <a:moveTo>
                    <a:pt x="1085" y="513"/>
                  </a:moveTo>
                  <a:lnTo>
                    <a:pt x="1082" y="513"/>
                  </a:lnTo>
                  <a:lnTo>
                    <a:pt x="1085" y="513"/>
                  </a:lnTo>
                  <a:close/>
                  <a:moveTo>
                    <a:pt x="1068" y="506"/>
                  </a:moveTo>
                  <a:lnTo>
                    <a:pt x="1068" y="508"/>
                  </a:lnTo>
                  <a:lnTo>
                    <a:pt x="1068" y="506"/>
                  </a:lnTo>
                  <a:close/>
                  <a:moveTo>
                    <a:pt x="1066" y="506"/>
                  </a:moveTo>
                  <a:lnTo>
                    <a:pt x="1066" y="508"/>
                  </a:lnTo>
                  <a:lnTo>
                    <a:pt x="1066" y="506"/>
                  </a:lnTo>
                  <a:close/>
                  <a:moveTo>
                    <a:pt x="859" y="506"/>
                  </a:moveTo>
                  <a:lnTo>
                    <a:pt x="859" y="504"/>
                  </a:lnTo>
                  <a:lnTo>
                    <a:pt x="859" y="506"/>
                  </a:lnTo>
                  <a:close/>
                  <a:moveTo>
                    <a:pt x="1099" y="504"/>
                  </a:moveTo>
                  <a:lnTo>
                    <a:pt x="1099" y="506"/>
                  </a:lnTo>
                  <a:lnTo>
                    <a:pt x="1099" y="504"/>
                  </a:lnTo>
                  <a:close/>
                  <a:moveTo>
                    <a:pt x="679" y="501"/>
                  </a:moveTo>
                  <a:lnTo>
                    <a:pt x="679" y="504"/>
                  </a:lnTo>
                  <a:lnTo>
                    <a:pt x="679" y="501"/>
                  </a:lnTo>
                  <a:close/>
                  <a:moveTo>
                    <a:pt x="677" y="504"/>
                  </a:moveTo>
                  <a:lnTo>
                    <a:pt x="677" y="501"/>
                  </a:lnTo>
                  <a:lnTo>
                    <a:pt x="677" y="504"/>
                  </a:lnTo>
                  <a:close/>
                  <a:moveTo>
                    <a:pt x="802" y="499"/>
                  </a:moveTo>
                  <a:lnTo>
                    <a:pt x="800" y="499"/>
                  </a:lnTo>
                  <a:lnTo>
                    <a:pt x="802" y="499"/>
                  </a:lnTo>
                  <a:close/>
                  <a:moveTo>
                    <a:pt x="1099" y="499"/>
                  </a:moveTo>
                  <a:lnTo>
                    <a:pt x="1097" y="499"/>
                  </a:lnTo>
                  <a:lnTo>
                    <a:pt x="1099" y="499"/>
                  </a:lnTo>
                  <a:close/>
                  <a:moveTo>
                    <a:pt x="1082" y="499"/>
                  </a:moveTo>
                  <a:lnTo>
                    <a:pt x="1082" y="497"/>
                  </a:lnTo>
                  <a:lnTo>
                    <a:pt x="1082" y="499"/>
                  </a:lnTo>
                  <a:close/>
                  <a:moveTo>
                    <a:pt x="1080" y="499"/>
                  </a:moveTo>
                  <a:lnTo>
                    <a:pt x="1080" y="497"/>
                  </a:lnTo>
                  <a:lnTo>
                    <a:pt x="1080" y="499"/>
                  </a:lnTo>
                  <a:close/>
                  <a:moveTo>
                    <a:pt x="670" y="497"/>
                  </a:moveTo>
                  <a:lnTo>
                    <a:pt x="667" y="497"/>
                  </a:lnTo>
                  <a:lnTo>
                    <a:pt x="670" y="497"/>
                  </a:lnTo>
                  <a:close/>
                  <a:moveTo>
                    <a:pt x="798" y="497"/>
                  </a:moveTo>
                  <a:lnTo>
                    <a:pt x="798" y="494"/>
                  </a:lnTo>
                  <a:lnTo>
                    <a:pt x="798" y="497"/>
                  </a:lnTo>
                  <a:close/>
                  <a:moveTo>
                    <a:pt x="800" y="492"/>
                  </a:moveTo>
                  <a:lnTo>
                    <a:pt x="798" y="492"/>
                  </a:lnTo>
                  <a:lnTo>
                    <a:pt x="800" y="492"/>
                  </a:lnTo>
                  <a:close/>
                  <a:moveTo>
                    <a:pt x="800" y="489"/>
                  </a:moveTo>
                  <a:lnTo>
                    <a:pt x="800" y="492"/>
                  </a:lnTo>
                  <a:lnTo>
                    <a:pt x="800" y="489"/>
                  </a:lnTo>
                  <a:close/>
                  <a:moveTo>
                    <a:pt x="651" y="489"/>
                  </a:moveTo>
                  <a:lnTo>
                    <a:pt x="648" y="489"/>
                  </a:lnTo>
                  <a:lnTo>
                    <a:pt x="651" y="489"/>
                  </a:lnTo>
                  <a:close/>
                  <a:moveTo>
                    <a:pt x="1229" y="487"/>
                  </a:moveTo>
                  <a:lnTo>
                    <a:pt x="1229" y="489"/>
                  </a:lnTo>
                  <a:lnTo>
                    <a:pt x="1229" y="487"/>
                  </a:lnTo>
                  <a:close/>
                  <a:moveTo>
                    <a:pt x="1111" y="489"/>
                  </a:moveTo>
                  <a:lnTo>
                    <a:pt x="1111" y="487"/>
                  </a:lnTo>
                  <a:lnTo>
                    <a:pt x="1111" y="489"/>
                  </a:lnTo>
                  <a:close/>
                  <a:moveTo>
                    <a:pt x="643" y="487"/>
                  </a:moveTo>
                  <a:lnTo>
                    <a:pt x="641" y="487"/>
                  </a:lnTo>
                  <a:lnTo>
                    <a:pt x="643" y="487"/>
                  </a:lnTo>
                  <a:close/>
                  <a:moveTo>
                    <a:pt x="641" y="487"/>
                  </a:moveTo>
                  <a:lnTo>
                    <a:pt x="643" y="487"/>
                  </a:lnTo>
                  <a:lnTo>
                    <a:pt x="641" y="487"/>
                  </a:lnTo>
                  <a:close/>
                  <a:moveTo>
                    <a:pt x="1097" y="487"/>
                  </a:moveTo>
                  <a:lnTo>
                    <a:pt x="1097" y="485"/>
                  </a:lnTo>
                  <a:lnTo>
                    <a:pt x="1097" y="487"/>
                  </a:lnTo>
                  <a:close/>
                  <a:moveTo>
                    <a:pt x="1127" y="485"/>
                  </a:moveTo>
                  <a:lnTo>
                    <a:pt x="1127" y="487"/>
                  </a:lnTo>
                  <a:lnTo>
                    <a:pt x="1127" y="485"/>
                  </a:lnTo>
                  <a:close/>
                  <a:moveTo>
                    <a:pt x="1094" y="485"/>
                  </a:moveTo>
                  <a:lnTo>
                    <a:pt x="1094" y="487"/>
                  </a:lnTo>
                  <a:lnTo>
                    <a:pt x="1094" y="485"/>
                  </a:lnTo>
                  <a:close/>
                  <a:moveTo>
                    <a:pt x="1097" y="485"/>
                  </a:moveTo>
                  <a:lnTo>
                    <a:pt x="1094" y="485"/>
                  </a:lnTo>
                  <a:lnTo>
                    <a:pt x="1097" y="485"/>
                  </a:lnTo>
                  <a:close/>
                  <a:moveTo>
                    <a:pt x="883" y="485"/>
                  </a:moveTo>
                  <a:lnTo>
                    <a:pt x="881" y="485"/>
                  </a:lnTo>
                  <a:lnTo>
                    <a:pt x="883" y="485"/>
                  </a:lnTo>
                  <a:close/>
                  <a:moveTo>
                    <a:pt x="881" y="482"/>
                  </a:moveTo>
                  <a:lnTo>
                    <a:pt x="881" y="485"/>
                  </a:lnTo>
                  <a:lnTo>
                    <a:pt x="881" y="482"/>
                  </a:lnTo>
                  <a:close/>
                  <a:moveTo>
                    <a:pt x="881" y="482"/>
                  </a:moveTo>
                  <a:lnTo>
                    <a:pt x="878" y="482"/>
                  </a:lnTo>
                  <a:lnTo>
                    <a:pt x="881" y="482"/>
                  </a:lnTo>
                  <a:close/>
                  <a:moveTo>
                    <a:pt x="871" y="482"/>
                  </a:moveTo>
                  <a:lnTo>
                    <a:pt x="869" y="482"/>
                  </a:lnTo>
                  <a:lnTo>
                    <a:pt x="871" y="482"/>
                  </a:lnTo>
                  <a:close/>
                  <a:moveTo>
                    <a:pt x="1123" y="480"/>
                  </a:moveTo>
                  <a:lnTo>
                    <a:pt x="1120" y="480"/>
                  </a:lnTo>
                  <a:lnTo>
                    <a:pt x="1123" y="480"/>
                  </a:lnTo>
                  <a:close/>
                  <a:moveTo>
                    <a:pt x="1104" y="478"/>
                  </a:moveTo>
                  <a:lnTo>
                    <a:pt x="1104" y="480"/>
                  </a:lnTo>
                  <a:lnTo>
                    <a:pt x="1104" y="478"/>
                  </a:lnTo>
                  <a:close/>
                  <a:moveTo>
                    <a:pt x="1125" y="480"/>
                  </a:moveTo>
                  <a:lnTo>
                    <a:pt x="1125" y="478"/>
                  </a:lnTo>
                  <a:lnTo>
                    <a:pt x="1125" y="480"/>
                  </a:lnTo>
                  <a:close/>
                  <a:moveTo>
                    <a:pt x="1099" y="478"/>
                  </a:moveTo>
                  <a:lnTo>
                    <a:pt x="1099" y="480"/>
                  </a:lnTo>
                  <a:lnTo>
                    <a:pt x="1099" y="478"/>
                  </a:lnTo>
                  <a:close/>
                  <a:moveTo>
                    <a:pt x="1127" y="480"/>
                  </a:moveTo>
                  <a:lnTo>
                    <a:pt x="1127" y="478"/>
                  </a:lnTo>
                  <a:lnTo>
                    <a:pt x="1127" y="480"/>
                  </a:lnTo>
                  <a:close/>
                  <a:moveTo>
                    <a:pt x="1310" y="473"/>
                  </a:moveTo>
                  <a:lnTo>
                    <a:pt x="1313" y="473"/>
                  </a:lnTo>
                  <a:lnTo>
                    <a:pt x="1310" y="473"/>
                  </a:lnTo>
                  <a:close/>
                  <a:moveTo>
                    <a:pt x="1310" y="473"/>
                  </a:moveTo>
                  <a:lnTo>
                    <a:pt x="1313" y="473"/>
                  </a:lnTo>
                  <a:lnTo>
                    <a:pt x="1310" y="473"/>
                  </a:lnTo>
                  <a:close/>
                  <a:moveTo>
                    <a:pt x="1313" y="473"/>
                  </a:moveTo>
                  <a:lnTo>
                    <a:pt x="1315" y="473"/>
                  </a:lnTo>
                  <a:lnTo>
                    <a:pt x="1313" y="473"/>
                  </a:lnTo>
                  <a:close/>
                  <a:moveTo>
                    <a:pt x="1315" y="470"/>
                  </a:moveTo>
                  <a:lnTo>
                    <a:pt x="1315" y="473"/>
                  </a:lnTo>
                  <a:lnTo>
                    <a:pt x="1315" y="470"/>
                  </a:lnTo>
                  <a:close/>
                  <a:moveTo>
                    <a:pt x="1018" y="470"/>
                  </a:moveTo>
                  <a:lnTo>
                    <a:pt x="1018" y="473"/>
                  </a:lnTo>
                  <a:lnTo>
                    <a:pt x="1018" y="470"/>
                  </a:lnTo>
                  <a:close/>
                  <a:moveTo>
                    <a:pt x="1218" y="470"/>
                  </a:moveTo>
                  <a:lnTo>
                    <a:pt x="1215" y="470"/>
                  </a:lnTo>
                  <a:lnTo>
                    <a:pt x="1218" y="470"/>
                  </a:lnTo>
                  <a:close/>
                  <a:moveTo>
                    <a:pt x="1023" y="470"/>
                  </a:moveTo>
                  <a:lnTo>
                    <a:pt x="1021" y="470"/>
                  </a:lnTo>
                  <a:lnTo>
                    <a:pt x="1023" y="470"/>
                  </a:lnTo>
                  <a:close/>
                  <a:moveTo>
                    <a:pt x="1317" y="468"/>
                  </a:moveTo>
                  <a:lnTo>
                    <a:pt x="1320" y="468"/>
                  </a:lnTo>
                  <a:lnTo>
                    <a:pt x="1317" y="468"/>
                  </a:lnTo>
                  <a:close/>
                  <a:moveTo>
                    <a:pt x="1042" y="468"/>
                  </a:moveTo>
                  <a:lnTo>
                    <a:pt x="1040" y="468"/>
                  </a:lnTo>
                  <a:lnTo>
                    <a:pt x="1042" y="468"/>
                  </a:lnTo>
                  <a:close/>
                  <a:moveTo>
                    <a:pt x="1042" y="466"/>
                  </a:moveTo>
                  <a:lnTo>
                    <a:pt x="1040" y="466"/>
                  </a:lnTo>
                  <a:lnTo>
                    <a:pt x="1042" y="466"/>
                  </a:lnTo>
                  <a:close/>
                  <a:moveTo>
                    <a:pt x="1082" y="466"/>
                  </a:moveTo>
                  <a:lnTo>
                    <a:pt x="1080" y="466"/>
                  </a:lnTo>
                  <a:lnTo>
                    <a:pt x="1082" y="466"/>
                  </a:lnTo>
                  <a:close/>
                  <a:moveTo>
                    <a:pt x="1042" y="466"/>
                  </a:moveTo>
                  <a:lnTo>
                    <a:pt x="1042" y="463"/>
                  </a:lnTo>
                  <a:lnTo>
                    <a:pt x="1042" y="466"/>
                  </a:lnTo>
                  <a:close/>
                  <a:moveTo>
                    <a:pt x="1163" y="466"/>
                  </a:moveTo>
                  <a:lnTo>
                    <a:pt x="1163" y="463"/>
                  </a:lnTo>
                  <a:lnTo>
                    <a:pt x="1163" y="466"/>
                  </a:lnTo>
                  <a:close/>
                  <a:moveTo>
                    <a:pt x="1163" y="463"/>
                  </a:moveTo>
                  <a:lnTo>
                    <a:pt x="1163" y="466"/>
                  </a:lnTo>
                  <a:lnTo>
                    <a:pt x="1163" y="463"/>
                  </a:lnTo>
                  <a:close/>
                  <a:moveTo>
                    <a:pt x="1225" y="463"/>
                  </a:moveTo>
                  <a:lnTo>
                    <a:pt x="1222" y="463"/>
                  </a:lnTo>
                  <a:lnTo>
                    <a:pt x="1222" y="461"/>
                  </a:lnTo>
                  <a:lnTo>
                    <a:pt x="1225" y="463"/>
                  </a:lnTo>
                  <a:close/>
                  <a:moveTo>
                    <a:pt x="1232" y="461"/>
                  </a:moveTo>
                  <a:lnTo>
                    <a:pt x="1232" y="463"/>
                  </a:lnTo>
                  <a:lnTo>
                    <a:pt x="1232" y="461"/>
                  </a:lnTo>
                  <a:close/>
                  <a:moveTo>
                    <a:pt x="1068" y="461"/>
                  </a:moveTo>
                  <a:lnTo>
                    <a:pt x="1068" y="463"/>
                  </a:lnTo>
                  <a:lnTo>
                    <a:pt x="1068" y="461"/>
                  </a:lnTo>
                  <a:close/>
                  <a:moveTo>
                    <a:pt x="1232" y="461"/>
                  </a:moveTo>
                  <a:lnTo>
                    <a:pt x="1232" y="463"/>
                  </a:lnTo>
                  <a:lnTo>
                    <a:pt x="1232" y="461"/>
                  </a:lnTo>
                  <a:close/>
                  <a:moveTo>
                    <a:pt x="1229" y="461"/>
                  </a:moveTo>
                  <a:lnTo>
                    <a:pt x="1229" y="463"/>
                  </a:lnTo>
                  <a:lnTo>
                    <a:pt x="1229" y="461"/>
                  </a:lnTo>
                  <a:close/>
                  <a:moveTo>
                    <a:pt x="1073" y="461"/>
                  </a:moveTo>
                  <a:lnTo>
                    <a:pt x="1071" y="461"/>
                  </a:lnTo>
                  <a:lnTo>
                    <a:pt x="1073" y="461"/>
                  </a:lnTo>
                  <a:close/>
                  <a:moveTo>
                    <a:pt x="1165" y="461"/>
                  </a:moveTo>
                  <a:lnTo>
                    <a:pt x="1165" y="463"/>
                  </a:lnTo>
                  <a:lnTo>
                    <a:pt x="1165" y="461"/>
                  </a:lnTo>
                  <a:close/>
                  <a:moveTo>
                    <a:pt x="1234" y="461"/>
                  </a:moveTo>
                  <a:lnTo>
                    <a:pt x="1232" y="461"/>
                  </a:lnTo>
                  <a:lnTo>
                    <a:pt x="1234" y="461"/>
                  </a:lnTo>
                  <a:close/>
                  <a:moveTo>
                    <a:pt x="1066" y="461"/>
                  </a:moveTo>
                  <a:lnTo>
                    <a:pt x="1063" y="461"/>
                  </a:lnTo>
                  <a:lnTo>
                    <a:pt x="1066" y="461"/>
                  </a:lnTo>
                  <a:lnTo>
                    <a:pt x="1063" y="461"/>
                  </a:lnTo>
                  <a:lnTo>
                    <a:pt x="1066" y="461"/>
                  </a:lnTo>
                  <a:close/>
                  <a:moveTo>
                    <a:pt x="1071" y="461"/>
                  </a:moveTo>
                  <a:lnTo>
                    <a:pt x="1068" y="461"/>
                  </a:lnTo>
                  <a:lnTo>
                    <a:pt x="1071" y="461"/>
                  </a:lnTo>
                  <a:close/>
                  <a:moveTo>
                    <a:pt x="1177" y="461"/>
                  </a:moveTo>
                  <a:lnTo>
                    <a:pt x="1175" y="461"/>
                  </a:lnTo>
                  <a:lnTo>
                    <a:pt x="1177" y="461"/>
                  </a:lnTo>
                  <a:close/>
                  <a:moveTo>
                    <a:pt x="1237" y="459"/>
                  </a:moveTo>
                  <a:lnTo>
                    <a:pt x="1237" y="461"/>
                  </a:lnTo>
                  <a:lnTo>
                    <a:pt x="1237" y="459"/>
                  </a:lnTo>
                  <a:close/>
                  <a:moveTo>
                    <a:pt x="1215" y="461"/>
                  </a:moveTo>
                  <a:lnTo>
                    <a:pt x="1215" y="459"/>
                  </a:lnTo>
                  <a:lnTo>
                    <a:pt x="1215" y="461"/>
                  </a:lnTo>
                  <a:close/>
                  <a:moveTo>
                    <a:pt x="1237" y="461"/>
                  </a:moveTo>
                  <a:lnTo>
                    <a:pt x="1237" y="459"/>
                  </a:lnTo>
                  <a:lnTo>
                    <a:pt x="1237" y="461"/>
                  </a:lnTo>
                  <a:close/>
                  <a:moveTo>
                    <a:pt x="1213" y="461"/>
                  </a:moveTo>
                  <a:lnTo>
                    <a:pt x="1213" y="459"/>
                  </a:lnTo>
                  <a:lnTo>
                    <a:pt x="1213" y="461"/>
                  </a:lnTo>
                  <a:close/>
                  <a:moveTo>
                    <a:pt x="1291" y="459"/>
                  </a:moveTo>
                  <a:lnTo>
                    <a:pt x="1291" y="461"/>
                  </a:lnTo>
                  <a:lnTo>
                    <a:pt x="1291" y="459"/>
                  </a:lnTo>
                  <a:close/>
                  <a:moveTo>
                    <a:pt x="1215" y="459"/>
                  </a:moveTo>
                  <a:lnTo>
                    <a:pt x="1213" y="459"/>
                  </a:lnTo>
                  <a:lnTo>
                    <a:pt x="1215" y="459"/>
                  </a:lnTo>
                  <a:close/>
                  <a:moveTo>
                    <a:pt x="1068" y="459"/>
                  </a:moveTo>
                  <a:lnTo>
                    <a:pt x="1071" y="459"/>
                  </a:lnTo>
                  <a:lnTo>
                    <a:pt x="1068" y="459"/>
                  </a:lnTo>
                  <a:lnTo>
                    <a:pt x="1071" y="459"/>
                  </a:lnTo>
                  <a:lnTo>
                    <a:pt x="1068" y="459"/>
                  </a:lnTo>
                  <a:close/>
                  <a:moveTo>
                    <a:pt x="1208" y="459"/>
                  </a:moveTo>
                  <a:lnTo>
                    <a:pt x="1206" y="459"/>
                  </a:lnTo>
                  <a:lnTo>
                    <a:pt x="1208" y="459"/>
                  </a:lnTo>
                  <a:close/>
                  <a:moveTo>
                    <a:pt x="1068" y="459"/>
                  </a:moveTo>
                  <a:lnTo>
                    <a:pt x="1071" y="459"/>
                  </a:lnTo>
                  <a:lnTo>
                    <a:pt x="1068" y="459"/>
                  </a:lnTo>
                  <a:close/>
                  <a:moveTo>
                    <a:pt x="1215" y="459"/>
                  </a:moveTo>
                  <a:lnTo>
                    <a:pt x="1213" y="459"/>
                  </a:lnTo>
                  <a:lnTo>
                    <a:pt x="1215" y="459"/>
                  </a:lnTo>
                  <a:close/>
                  <a:moveTo>
                    <a:pt x="1215" y="459"/>
                  </a:moveTo>
                  <a:lnTo>
                    <a:pt x="1213" y="459"/>
                  </a:lnTo>
                  <a:lnTo>
                    <a:pt x="1215" y="459"/>
                  </a:lnTo>
                  <a:close/>
                  <a:moveTo>
                    <a:pt x="1199" y="459"/>
                  </a:moveTo>
                  <a:lnTo>
                    <a:pt x="1196" y="459"/>
                  </a:lnTo>
                  <a:lnTo>
                    <a:pt x="1199" y="459"/>
                  </a:lnTo>
                  <a:close/>
                  <a:moveTo>
                    <a:pt x="1284" y="459"/>
                  </a:moveTo>
                  <a:lnTo>
                    <a:pt x="1286" y="459"/>
                  </a:lnTo>
                  <a:lnTo>
                    <a:pt x="1284" y="459"/>
                  </a:lnTo>
                  <a:close/>
                  <a:moveTo>
                    <a:pt x="1066" y="459"/>
                  </a:moveTo>
                  <a:lnTo>
                    <a:pt x="1063" y="459"/>
                  </a:lnTo>
                  <a:lnTo>
                    <a:pt x="1066" y="459"/>
                  </a:lnTo>
                  <a:close/>
                  <a:moveTo>
                    <a:pt x="1213" y="459"/>
                  </a:moveTo>
                  <a:lnTo>
                    <a:pt x="1215" y="459"/>
                  </a:lnTo>
                  <a:lnTo>
                    <a:pt x="1213" y="459"/>
                  </a:lnTo>
                  <a:close/>
                  <a:moveTo>
                    <a:pt x="591" y="456"/>
                  </a:moveTo>
                  <a:lnTo>
                    <a:pt x="589" y="456"/>
                  </a:lnTo>
                  <a:lnTo>
                    <a:pt x="591" y="456"/>
                  </a:lnTo>
                  <a:close/>
                  <a:moveTo>
                    <a:pt x="1291" y="456"/>
                  </a:moveTo>
                  <a:lnTo>
                    <a:pt x="1294" y="456"/>
                  </a:lnTo>
                  <a:lnTo>
                    <a:pt x="1291" y="456"/>
                  </a:lnTo>
                  <a:close/>
                  <a:moveTo>
                    <a:pt x="1294" y="456"/>
                  </a:moveTo>
                  <a:lnTo>
                    <a:pt x="1291" y="456"/>
                  </a:lnTo>
                  <a:lnTo>
                    <a:pt x="1294" y="456"/>
                  </a:lnTo>
                  <a:close/>
                  <a:moveTo>
                    <a:pt x="1294" y="456"/>
                  </a:moveTo>
                  <a:lnTo>
                    <a:pt x="1294" y="454"/>
                  </a:lnTo>
                  <a:lnTo>
                    <a:pt x="1294" y="456"/>
                  </a:lnTo>
                  <a:close/>
                  <a:moveTo>
                    <a:pt x="1294" y="456"/>
                  </a:moveTo>
                  <a:lnTo>
                    <a:pt x="1294" y="454"/>
                  </a:lnTo>
                  <a:lnTo>
                    <a:pt x="1294" y="456"/>
                  </a:lnTo>
                  <a:close/>
                  <a:moveTo>
                    <a:pt x="1294" y="456"/>
                  </a:moveTo>
                  <a:lnTo>
                    <a:pt x="1294" y="454"/>
                  </a:lnTo>
                  <a:lnTo>
                    <a:pt x="1294" y="456"/>
                  </a:lnTo>
                  <a:close/>
                  <a:moveTo>
                    <a:pt x="1294" y="454"/>
                  </a:moveTo>
                  <a:lnTo>
                    <a:pt x="1294" y="456"/>
                  </a:lnTo>
                  <a:lnTo>
                    <a:pt x="1294" y="454"/>
                  </a:lnTo>
                  <a:close/>
                  <a:moveTo>
                    <a:pt x="589" y="454"/>
                  </a:moveTo>
                  <a:lnTo>
                    <a:pt x="586" y="454"/>
                  </a:lnTo>
                  <a:lnTo>
                    <a:pt x="589" y="454"/>
                  </a:lnTo>
                  <a:close/>
                  <a:moveTo>
                    <a:pt x="1296" y="454"/>
                  </a:moveTo>
                  <a:lnTo>
                    <a:pt x="1294" y="454"/>
                  </a:lnTo>
                  <a:lnTo>
                    <a:pt x="1296" y="454"/>
                  </a:lnTo>
                  <a:close/>
                  <a:moveTo>
                    <a:pt x="959" y="451"/>
                  </a:moveTo>
                  <a:lnTo>
                    <a:pt x="959" y="454"/>
                  </a:lnTo>
                  <a:lnTo>
                    <a:pt x="959" y="451"/>
                  </a:lnTo>
                  <a:close/>
                  <a:moveTo>
                    <a:pt x="1094" y="454"/>
                  </a:moveTo>
                  <a:lnTo>
                    <a:pt x="1094" y="451"/>
                  </a:lnTo>
                  <a:lnTo>
                    <a:pt x="1094" y="454"/>
                  </a:lnTo>
                  <a:close/>
                  <a:moveTo>
                    <a:pt x="1092" y="451"/>
                  </a:moveTo>
                  <a:lnTo>
                    <a:pt x="1092" y="454"/>
                  </a:lnTo>
                  <a:lnTo>
                    <a:pt x="1092" y="451"/>
                  </a:lnTo>
                  <a:close/>
                  <a:moveTo>
                    <a:pt x="957" y="451"/>
                  </a:moveTo>
                  <a:lnTo>
                    <a:pt x="959" y="451"/>
                  </a:lnTo>
                  <a:lnTo>
                    <a:pt x="957" y="451"/>
                  </a:lnTo>
                  <a:close/>
                  <a:moveTo>
                    <a:pt x="957" y="451"/>
                  </a:moveTo>
                  <a:lnTo>
                    <a:pt x="959" y="451"/>
                  </a:lnTo>
                  <a:lnTo>
                    <a:pt x="957" y="451"/>
                  </a:lnTo>
                  <a:close/>
                  <a:moveTo>
                    <a:pt x="957" y="451"/>
                  </a:moveTo>
                  <a:lnTo>
                    <a:pt x="959" y="451"/>
                  </a:lnTo>
                  <a:lnTo>
                    <a:pt x="957" y="451"/>
                  </a:lnTo>
                  <a:close/>
                  <a:moveTo>
                    <a:pt x="1310" y="449"/>
                  </a:moveTo>
                  <a:lnTo>
                    <a:pt x="1310" y="451"/>
                  </a:lnTo>
                  <a:lnTo>
                    <a:pt x="1310" y="449"/>
                  </a:lnTo>
                  <a:close/>
                  <a:moveTo>
                    <a:pt x="1310" y="451"/>
                  </a:moveTo>
                  <a:lnTo>
                    <a:pt x="1310" y="449"/>
                  </a:lnTo>
                  <a:lnTo>
                    <a:pt x="1310" y="451"/>
                  </a:lnTo>
                  <a:lnTo>
                    <a:pt x="1310" y="449"/>
                  </a:lnTo>
                  <a:lnTo>
                    <a:pt x="1310" y="451"/>
                  </a:lnTo>
                  <a:close/>
                  <a:moveTo>
                    <a:pt x="579" y="449"/>
                  </a:moveTo>
                  <a:lnTo>
                    <a:pt x="579" y="451"/>
                  </a:lnTo>
                  <a:lnTo>
                    <a:pt x="579" y="449"/>
                  </a:lnTo>
                  <a:close/>
                  <a:moveTo>
                    <a:pt x="1097" y="449"/>
                  </a:moveTo>
                  <a:lnTo>
                    <a:pt x="1094" y="449"/>
                  </a:lnTo>
                  <a:lnTo>
                    <a:pt x="1097" y="449"/>
                  </a:lnTo>
                  <a:close/>
                  <a:moveTo>
                    <a:pt x="1199" y="447"/>
                  </a:moveTo>
                  <a:lnTo>
                    <a:pt x="1199" y="449"/>
                  </a:lnTo>
                  <a:lnTo>
                    <a:pt x="1199" y="447"/>
                  </a:lnTo>
                  <a:close/>
                  <a:moveTo>
                    <a:pt x="938" y="449"/>
                  </a:moveTo>
                  <a:lnTo>
                    <a:pt x="938" y="447"/>
                  </a:lnTo>
                  <a:lnTo>
                    <a:pt x="938" y="449"/>
                  </a:lnTo>
                  <a:close/>
                  <a:moveTo>
                    <a:pt x="1137" y="447"/>
                  </a:moveTo>
                  <a:lnTo>
                    <a:pt x="1135" y="447"/>
                  </a:lnTo>
                  <a:lnTo>
                    <a:pt x="1137" y="447"/>
                  </a:lnTo>
                  <a:close/>
                  <a:moveTo>
                    <a:pt x="1362" y="447"/>
                  </a:moveTo>
                  <a:lnTo>
                    <a:pt x="1360" y="447"/>
                  </a:lnTo>
                  <a:lnTo>
                    <a:pt x="1362" y="447"/>
                  </a:lnTo>
                  <a:close/>
                  <a:moveTo>
                    <a:pt x="1348" y="447"/>
                  </a:moveTo>
                  <a:lnTo>
                    <a:pt x="1346" y="447"/>
                  </a:lnTo>
                  <a:lnTo>
                    <a:pt x="1348" y="447"/>
                  </a:lnTo>
                  <a:close/>
                  <a:moveTo>
                    <a:pt x="1137" y="447"/>
                  </a:moveTo>
                  <a:lnTo>
                    <a:pt x="1135" y="447"/>
                  </a:lnTo>
                  <a:lnTo>
                    <a:pt x="1137" y="447"/>
                  </a:lnTo>
                  <a:close/>
                  <a:moveTo>
                    <a:pt x="935" y="447"/>
                  </a:moveTo>
                  <a:lnTo>
                    <a:pt x="933" y="447"/>
                  </a:lnTo>
                  <a:lnTo>
                    <a:pt x="935" y="447"/>
                  </a:lnTo>
                  <a:close/>
                  <a:moveTo>
                    <a:pt x="1125" y="447"/>
                  </a:moveTo>
                  <a:lnTo>
                    <a:pt x="1123" y="447"/>
                  </a:lnTo>
                  <a:lnTo>
                    <a:pt x="1125" y="447"/>
                  </a:lnTo>
                  <a:close/>
                  <a:moveTo>
                    <a:pt x="1346" y="444"/>
                  </a:moveTo>
                  <a:lnTo>
                    <a:pt x="1346" y="447"/>
                  </a:lnTo>
                  <a:lnTo>
                    <a:pt x="1346" y="444"/>
                  </a:lnTo>
                  <a:close/>
                  <a:moveTo>
                    <a:pt x="1135" y="444"/>
                  </a:moveTo>
                  <a:lnTo>
                    <a:pt x="1135" y="447"/>
                  </a:lnTo>
                  <a:lnTo>
                    <a:pt x="1135" y="444"/>
                  </a:lnTo>
                  <a:close/>
                  <a:moveTo>
                    <a:pt x="1123" y="444"/>
                  </a:moveTo>
                  <a:lnTo>
                    <a:pt x="1123" y="447"/>
                  </a:lnTo>
                  <a:lnTo>
                    <a:pt x="1123" y="444"/>
                  </a:lnTo>
                  <a:close/>
                  <a:moveTo>
                    <a:pt x="1135" y="447"/>
                  </a:moveTo>
                  <a:lnTo>
                    <a:pt x="1135" y="444"/>
                  </a:lnTo>
                  <a:lnTo>
                    <a:pt x="1135" y="447"/>
                  </a:lnTo>
                  <a:close/>
                  <a:moveTo>
                    <a:pt x="1135" y="444"/>
                  </a:moveTo>
                  <a:lnTo>
                    <a:pt x="1132" y="444"/>
                  </a:lnTo>
                  <a:lnTo>
                    <a:pt x="1135" y="444"/>
                  </a:lnTo>
                  <a:close/>
                  <a:moveTo>
                    <a:pt x="1313" y="444"/>
                  </a:moveTo>
                  <a:lnTo>
                    <a:pt x="1310" y="444"/>
                  </a:lnTo>
                  <a:lnTo>
                    <a:pt x="1313" y="444"/>
                  </a:lnTo>
                  <a:close/>
                  <a:moveTo>
                    <a:pt x="1132" y="444"/>
                  </a:moveTo>
                  <a:lnTo>
                    <a:pt x="1130" y="444"/>
                  </a:lnTo>
                  <a:lnTo>
                    <a:pt x="1132" y="444"/>
                  </a:lnTo>
                  <a:close/>
                  <a:moveTo>
                    <a:pt x="1313" y="444"/>
                  </a:moveTo>
                  <a:lnTo>
                    <a:pt x="1310" y="444"/>
                  </a:lnTo>
                  <a:lnTo>
                    <a:pt x="1313" y="444"/>
                  </a:lnTo>
                  <a:close/>
                  <a:moveTo>
                    <a:pt x="1305" y="442"/>
                  </a:moveTo>
                  <a:lnTo>
                    <a:pt x="1305" y="444"/>
                  </a:lnTo>
                  <a:lnTo>
                    <a:pt x="1305" y="442"/>
                  </a:lnTo>
                  <a:close/>
                  <a:moveTo>
                    <a:pt x="1313" y="442"/>
                  </a:moveTo>
                  <a:lnTo>
                    <a:pt x="1313" y="444"/>
                  </a:lnTo>
                  <a:lnTo>
                    <a:pt x="1313" y="442"/>
                  </a:lnTo>
                  <a:close/>
                  <a:moveTo>
                    <a:pt x="1116" y="442"/>
                  </a:moveTo>
                  <a:lnTo>
                    <a:pt x="1118" y="442"/>
                  </a:lnTo>
                  <a:lnTo>
                    <a:pt x="1116" y="442"/>
                  </a:lnTo>
                  <a:close/>
                  <a:moveTo>
                    <a:pt x="1313" y="442"/>
                  </a:moveTo>
                  <a:lnTo>
                    <a:pt x="1310" y="442"/>
                  </a:lnTo>
                  <a:lnTo>
                    <a:pt x="1313" y="442"/>
                  </a:lnTo>
                  <a:close/>
                  <a:moveTo>
                    <a:pt x="1301" y="442"/>
                  </a:moveTo>
                  <a:lnTo>
                    <a:pt x="1298" y="442"/>
                  </a:lnTo>
                  <a:lnTo>
                    <a:pt x="1301" y="442"/>
                  </a:lnTo>
                  <a:close/>
                  <a:moveTo>
                    <a:pt x="1358" y="442"/>
                  </a:moveTo>
                  <a:lnTo>
                    <a:pt x="1355" y="442"/>
                  </a:lnTo>
                  <a:lnTo>
                    <a:pt x="1358" y="442"/>
                  </a:lnTo>
                  <a:close/>
                  <a:moveTo>
                    <a:pt x="1301" y="442"/>
                  </a:moveTo>
                  <a:lnTo>
                    <a:pt x="1301" y="440"/>
                  </a:lnTo>
                  <a:lnTo>
                    <a:pt x="1301" y="442"/>
                  </a:lnTo>
                  <a:close/>
                  <a:moveTo>
                    <a:pt x="1305" y="442"/>
                  </a:moveTo>
                  <a:lnTo>
                    <a:pt x="1305" y="440"/>
                  </a:lnTo>
                  <a:lnTo>
                    <a:pt x="1305" y="442"/>
                  </a:lnTo>
                  <a:close/>
                  <a:moveTo>
                    <a:pt x="1298" y="440"/>
                  </a:moveTo>
                  <a:lnTo>
                    <a:pt x="1298" y="442"/>
                  </a:lnTo>
                  <a:lnTo>
                    <a:pt x="1298" y="440"/>
                  </a:lnTo>
                  <a:close/>
                  <a:moveTo>
                    <a:pt x="1308" y="440"/>
                  </a:moveTo>
                  <a:lnTo>
                    <a:pt x="1308" y="442"/>
                  </a:lnTo>
                  <a:lnTo>
                    <a:pt x="1308" y="440"/>
                  </a:lnTo>
                  <a:close/>
                  <a:moveTo>
                    <a:pt x="983" y="442"/>
                  </a:moveTo>
                  <a:lnTo>
                    <a:pt x="983" y="440"/>
                  </a:lnTo>
                  <a:lnTo>
                    <a:pt x="983" y="442"/>
                  </a:lnTo>
                  <a:close/>
                  <a:moveTo>
                    <a:pt x="1298" y="442"/>
                  </a:moveTo>
                  <a:lnTo>
                    <a:pt x="1298" y="440"/>
                  </a:lnTo>
                  <a:lnTo>
                    <a:pt x="1298" y="442"/>
                  </a:lnTo>
                  <a:close/>
                  <a:moveTo>
                    <a:pt x="1305" y="440"/>
                  </a:moveTo>
                  <a:lnTo>
                    <a:pt x="1305" y="442"/>
                  </a:lnTo>
                  <a:lnTo>
                    <a:pt x="1305" y="440"/>
                  </a:lnTo>
                  <a:close/>
                  <a:moveTo>
                    <a:pt x="1298" y="440"/>
                  </a:moveTo>
                  <a:lnTo>
                    <a:pt x="1298" y="442"/>
                  </a:lnTo>
                  <a:lnTo>
                    <a:pt x="1298" y="440"/>
                  </a:lnTo>
                  <a:close/>
                  <a:moveTo>
                    <a:pt x="558" y="440"/>
                  </a:moveTo>
                  <a:lnTo>
                    <a:pt x="556" y="440"/>
                  </a:lnTo>
                  <a:lnTo>
                    <a:pt x="558" y="440"/>
                  </a:lnTo>
                  <a:close/>
                  <a:moveTo>
                    <a:pt x="985" y="440"/>
                  </a:moveTo>
                  <a:lnTo>
                    <a:pt x="983" y="440"/>
                  </a:lnTo>
                  <a:lnTo>
                    <a:pt x="985" y="440"/>
                  </a:lnTo>
                  <a:close/>
                  <a:moveTo>
                    <a:pt x="985" y="437"/>
                  </a:moveTo>
                  <a:lnTo>
                    <a:pt x="985" y="440"/>
                  </a:lnTo>
                  <a:lnTo>
                    <a:pt x="985" y="437"/>
                  </a:lnTo>
                  <a:close/>
                  <a:moveTo>
                    <a:pt x="556" y="437"/>
                  </a:moveTo>
                  <a:lnTo>
                    <a:pt x="556" y="440"/>
                  </a:lnTo>
                  <a:lnTo>
                    <a:pt x="556" y="437"/>
                  </a:lnTo>
                  <a:close/>
                  <a:moveTo>
                    <a:pt x="985" y="437"/>
                  </a:moveTo>
                  <a:lnTo>
                    <a:pt x="985" y="440"/>
                  </a:lnTo>
                  <a:lnTo>
                    <a:pt x="985" y="437"/>
                  </a:lnTo>
                  <a:close/>
                  <a:moveTo>
                    <a:pt x="990" y="440"/>
                  </a:moveTo>
                  <a:lnTo>
                    <a:pt x="990" y="437"/>
                  </a:lnTo>
                  <a:lnTo>
                    <a:pt x="990" y="440"/>
                  </a:lnTo>
                  <a:close/>
                  <a:moveTo>
                    <a:pt x="990" y="437"/>
                  </a:moveTo>
                  <a:lnTo>
                    <a:pt x="990" y="440"/>
                  </a:lnTo>
                  <a:lnTo>
                    <a:pt x="990" y="437"/>
                  </a:lnTo>
                  <a:close/>
                  <a:moveTo>
                    <a:pt x="990" y="437"/>
                  </a:moveTo>
                  <a:lnTo>
                    <a:pt x="990" y="440"/>
                  </a:lnTo>
                  <a:lnTo>
                    <a:pt x="990" y="437"/>
                  </a:lnTo>
                  <a:close/>
                  <a:moveTo>
                    <a:pt x="1002" y="437"/>
                  </a:moveTo>
                  <a:lnTo>
                    <a:pt x="999" y="437"/>
                  </a:lnTo>
                  <a:lnTo>
                    <a:pt x="1002" y="437"/>
                  </a:lnTo>
                  <a:close/>
                  <a:moveTo>
                    <a:pt x="1142" y="437"/>
                  </a:moveTo>
                  <a:lnTo>
                    <a:pt x="1139" y="437"/>
                  </a:lnTo>
                  <a:lnTo>
                    <a:pt x="1142" y="437"/>
                  </a:lnTo>
                  <a:close/>
                  <a:moveTo>
                    <a:pt x="987" y="437"/>
                  </a:moveTo>
                  <a:lnTo>
                    <a:pt x="987" y="435"/>
                  </a:lnTo>
                  <a:lnTo>
                    <a:pt x="987" y="437"/>
                  </a:lnTo>
                  <a:close/>
                  <a:moveTo>
                    <a:pt x="995" y="435"/>
                  </a:moveTo>
                  <a:lnTo>
                    <a:pt x="995" y="437"/>
                  </a:lnTo>
                  <a:lnTo>
                    <a:pt x="995" y="435"/>
                  </a:lnTo>
                  <a:close/>
                  <a:moveTo>
                    <a:pt x="1004" y="437"/>
                  </a:moveTo>
                  <a:lnTo>
                    <a:pt x="1004" y="435"/>
                  </a:lnTo>
                  <a:lnTo>
                    <a:pt x="1004" y="437"/>
                  </a:lnTo>
                  <a:close/>
                  <a:moveTo>
                    <a:pt x="995" y="435"/>
                  </a:moveTo>
                  <a:lnTo>
                    <a:pt x="992" y="435"/>
                  </a:lnTo>
                  <a:lnTo>
                    <a:pt x="995" y="435"/>
                  </a:lnTo>
                  <a:close/>
                  <a:moveTo>
                    <a:pt x="1004" y="435"/>
                  </a:moveTo>
                  <a:lnTo>
                    <a:pt x="1004" y="437"/>
                  </a:lnTo>
                  <a:lnTo>
                    <a:pt x="1004" y="435"/>
                  </a:lnTo>
                  <a:close/>
                  <a:moveTo>
                    <a:pt x="990" y="435"/>
                  </a:moveTo>
                  <a:lnTo>
                    <a:pt x="987" y="435"/>
                  </a:lnTo>
                  <a:lnTo>
                    <a:pt x="990" y="435"/>
                  </a:lnTo>
                  <a:close/>
                  <a:moveTo>
                    <a:pt x="1002" y="435"/>
                  </a:moveTo>
                  <a:lnTo>
                    <a:pt x="999" y="435"/>
                  </a:lnTo>
                  <a:lnTo>
                    <a:pt x="1002" y="435"/>
                  </a:lnTo>
                  <a:close/>
                  <a:moveTo>
                    <a:pt x="1355" y="435"/>
                  </a:moveTo>
                  <a:lnTo>
                    <a:pt x="1353" y="435"/>
                  </a:lnTo>
                  <a:lnTo>
                    <a:pt x="1355" y="435"/>
                  </a:lnTo>
                  <a:close/>
                  <a:moveTo>
                    <a:pt x="995" y="435"/>
                  </a:moveTo>
                  <a:lnTo>
                    <a:pt x="992" y="435"/>
                  </a:lnTo>
                  <a:lnTo>
                    <a:pt x="995" y="435"/>
                  </a:lnTo>
                  <a:lnTo>
                    <a:pt x="992" y="435"/>
                  </a:lnTo>
                  <a:lnTo>
                    <a:pt x="995" y="435"/>
                  </a:lnTo>
                  <a:close/>
                  <a:moveTo>
                    <a:pt x="990" y="432"/>
                  </a:moveTo>
                  <a:lnTo>
                    <a:pt x="990" y="435"/>
                  </a:lnTo>
                  <a:lnTo>
                    <a:pt x="990" y="432"/>
                  </a:lnTo>
                  <a:close/>
                  <a:moveTo>
                    <a:pt x="992" y="432"/>
                  </a:moveTo>
                  <a:lnTo>
                    <a:pt x="995" y="432"/>
                  </a:lnTo>
                  <a:lnTo>
                    <a:pt x="992" y="435"/>
                  </a:lnTo>
                  <a:lnTo>
                    <a:pt x="992" y="432"/>
                  </a:lnTo>
                  <a:close/>
                  <a:moveTo>
                    <a:pt x="992" y="432"/>
                  </a:moveTo>
                  <a:lnTo>
                    <a:pt x="990" y="432"/>
                  </a:lnTo>
                  <a:lnTo>
                    <a:pt x="992" y="432"/>
                  </a:lnTo>
                  <a:close/>
                  <a:moveTo>
                    <a:pt x="992" y="432"/>
                  </a:moveTo>
                  <a:lnTo>
                    <a:pt x="990" y="432"/>
                  </a:lnTo>
                  <a:lnTo>
                    <a:pt x="992" y="432"/>
                  </a:lnTo>
                  <a:close/>
                  <a:moveTo>
                    <a:pt x="541" y="432"/>
                  </a:moveTo>
                  <a:lnTo>
                    <a:pt x="541" y="430"/>
                  </a:lnTo>
                  <a:lnTo>
                    <a:pt x="541" y="432"/>
                  </a:lnTo>
                  <a:close/>
                  <a:moveTo>
                    <a:pt x="1472" y="430"/>
                  </a:moveTo>
                  <a:lnTo>
                    <a:pt x="1469" y="432"/>
                  </a:lnTo>
                  <a:lnTo>
                    <a:pt x="1469" y="430"/>
                  </a:lnTo>
                  <a:lnTo>
                    <a:pt x="1472" y="430"/>
                  </a:lnTo>
                  <a:close/>
                  <a:moveTo>
                    <a:pt x="1353" y="430"/>
                  </a:moveTo>
                  <a:lnTo>
                    <a:pt x="1351" y="430"/>
                  </a:lnTo>
                  <a:lnTo>
                    <a:pt x="1353" y="430"/>
                  </a:lnTo>
                  <a:close/>
                  <a:moveTo>
                    <a:pt x="995" y="430"/>
                  </a:moveTo>
                  <a:lnTo>
                    <a:pt x="992" y="430"/>
                  </a:lnTo>
                  <a:lnTo>
                    <a:pt x="995" y="430"/>
                  </a:lnTo>
                  <a:close/>
                  <a:moveTo>
                    <a:pt x="1310" y="430"/>
                  </a:moveTo>
                  <a:lnTo>
                    <a:pt x="1313" y="430"/>
                  </a:lnTo>
                  <a:lnTo>
                    <a:pt x="1310" y="430"/>
                  </a:lnTo>
                  <a:close/>
                  <a:moveTo>
                    <a:pt x="995" y="430"/>
                  </a:moveTo>
                  <a:lnTo>
                    <a:pt x="992" y="430"/>
                  </a:lnTo>
                  <a:lnTo>
                    <a:pt x="995" y="430"/>
                  </a:lnTo>
                  <a:close/>
                  <a:moveTo>
                    <a:pt x="995" y="428"/>
                  </a:moveTo>
                  <a:lnTo>
                    <a:pt x="995" y="430"/>
                  </a:lnTo>
                  <a:lnTo>
                    <a:pt x="992" y="430"/>
                  </a:lnTo>
                  <a:lnTo>
                    <a:pt x="992" y="428"/>
                  </a:lnTo>
                  <a:lnTo>
                    <a:pt x="995" y="428"/>
                  </a:lnTo>
                  <a:close/>
                  <a:moveTo>
                    <a:pt x="1310" y="428"/>
                  </a:moveTo>
                  <a:lnTo>
                    <a:pt x="1310" y="430"/>
                  </a:lnTo>
                  <a:lnTo>
                    <a:pt x="1310" y="428"/>
                  </a:lnTo>
                  <a:close/>
                  <a:moveTo>
                    <a:pt x="995" y="428"/>
                  </a:moveTo>
                  <a:lnTo>
                    <a:pt x="995" y="430"/>
                  </a:lnTo>
                  <a:lnTo>
                    <a:pt x="995" y="428"/>
                  </a:lnTo>
                  <a:close/>
                  <a:moveTo>
                    <a:pt x="534" y="428"/>
                  </a:moveTo>
                  <a:lnTo>
                    <a:pt x="537" y="428"/>
                  </a:lnTo>
                  <a:lnTo>
                    <a:pt x="534" y="428"/>
                  </a:lnTo>
                  <a:close/>
                  <a:moveTo>
                    <a:pt x="537" y="428"/>
                  </a:moveTo>
                  <a:lnTo>
                    <a:pt x="534" y="428"/>
                  </a:lnTo>
                  <a:lnTo>
                    <a:pt x="537" y="428"/>
                  </a:lnTo>
                  <a:close/>
                  <a:moveTo>
                    <a:pt x="1303" y="428"/>
                  </a:moveTo>
                  <a:lnTo>
                    <a:pt x="1301" y="428"/>
                  </a:lnTo>
                  <a:lnTo>
                    <a:pt x="1303" y="428"/>
                  </a:lnTo>
                  <a:close/>
                  <a:moveTo>
                    <a:pt x="447" y="428"/>
                  </a:moveTo>
                  <a:lnTo>
                    <a:pt x="444" y="428"/>
                  </a:lnTo>
                  <a:lnTo>
                    <a:pt x="447" y="428"/>
                  </a:lnTo>
                  <a:close/>
                  <a:moveTo>
                    <a:pt x="1476" y="428"/>
                  </a:moveTo>
                  <a:lnTo>
                    <a:pt x="1476" y="425"/>
                  </a:lnTo>
                  <a:lnTo>
                    <a:pt x="1476" y="428"/>
                  </a:lnTo>
                  <a:close/>
                  <a:moveTo>
                    <a:pt x="1481" y="425"/>
                  </a:moveTo>
                  <a:lnTo>
                    <a:pt x="1479" y="425"/>
                  </a:lnTo>
                  <a:lnTo>
                    <a:pt x="1481" y="425"/>
                  </a:lnTo>
                  <a:close/>
                  <a:moveTo>
                    <a:pt x="1479" y="425"/>
                  </a:moveTo>
                  <a:lnTo>
                    <a:pt x="1479" y="423"/>
                  </a:lnTo>
                  <a:lnTo>
                    <a:pt x="1479" y="425"/>
                  </a:lnTo>
                  <a:close/>
                  <a:moveTo>
                    <a:pt x="1481" y="423"/>
                  </a:moveTo>
                  <a:lnTo>
                    <a:pt x="1479" y="423"/>
                  </a:lnTo>
                  <a:lnTo>
                    <a:pt x="1481" y="423"/>
                  </a:lnTo>
                  <a:close/>
                  <a:moveTo>
                    <a:pt x="447" y="423"/>
                  </a:moveTo>
                  <a:lnTo>
                    <a:pt x="447" y="421"/>
                  </a:lnTo>
                  <a:lnTo>
                    <a:pt x="447" y="423"/>
                  </a:lnTo>
                  <a:close/>
                  <a:moveTo>
                    <a:pt x="492" y="421"/>
                  </a:moveTo>
                  <a:lnTo>
                    <a:pt x="489" y="421"/>
                  </a:lnTo>
                  <a:lnTo>
                    <a:pt x="492" y="421"/>
                  </a:lnTo>
                  <a:close/>
                  <a:moveTo>
                    <a:pt x="1479" y="421"/>
                  </a:moveTo>
                  <a:lnTo>
                    <a:pt x="1479" y="418"/>
                  </a:lnTo>
                  <a:lnTo>
                    <a:pt x="1479" y="421"/>
                  </a:lnTo>
                  <a:close/>
                  <a:moveTo>
                    <a:pt x="447" y="421"/>
                  </a:moveTo>
                  <a:lnTo>
                    <a:pt x="447" y="418"/>
                  </a:lnTo>
                  <a:lnTo>
                    <a:pt x="447" y="421"/>
                  </a:lnTo>
                  <a:close/>
                  <a:moveTo>
                    <a:pt x="456" y="416"/>
                  </a:moveTo>
                  <a:lnTo>
                    <a:pt x="454" y="416"/>
                  </a:lnTo>
                  <a:lnTo>
                    <a:pt x="456" y="416"/>
                  </a:lnTo>
                  <a:close/>
                  <a:moveTo>
                    <a:pt x="430" y="411"/>
                  </a:moveTo>
                  <a:lnTo>
                    <a:pt x="430" y="413"/>
                  </a:lnTo>
                  <a:lnTo>
                    <a:pt x="430" y="411"/>
                  </a:lnTo>
                  <a:close/>
                  <a:moveTo>
                    <a:pt x="439" y="409"/>
                  </a:moveTo>
                  <a:lnTo>
                    <a:pt x="437" y="409"/>
                  </a:lnTo>
                  <a:lnTo>
                    <a:pt x="439" y="409"/>
                  </a:lnTo>
                  <a:close/>
                  <a:moveTo>
                    <a:pt x="409" y="409"/>
                  </a:moveTo>
                  <a:lnTo>
                    <a:pt x="406" y="409"/>
                  </a:lnTo>
                  <a:lnTo>
                    <a:pt x="409" y="409"/>
                  </a:lnTo>
                  <a:close/>
                  <a:moveTo>
                    <a:pt x="1343" y="397"/>
                  </a:moveTo>
                  <a:lnTo>
                    <a:pt x="1346" y="397"/>
                  </a:lnTo>
                  <a:lnTo>
                    <a:pt x="1343" y="397"/>
                  </a:lnTo>
                  <a:close/>
                  <a:moveTo>
                    <a:pt x="1346" y="397"/>
                  </a:moveTo>
                  <a:lnTo>
                    <a:pt x="1343" y="397"/>
                  </a:lnTo>
                  <a:lnTo>
                    <a:pt x="1346" y="397"/>
                  </a:lnTo>
                  <a:close/>
                  <a:moveTo>
                    <a:pt x="382" y="394"/>
                  </a:moveTo>
                  <a:lnTo>
                    <a:pt x="380" y="394"/>
                  </a:lnTo>
                  <a:lnTo>
                    <a:pt x="382" y="394"/>
                  </a:lnTo>
                  <a:close/>
                  <a:moveTo>
                    <a:pt x="1322" y="394"/>
                  </a:moveTo>
                  <a:lnTo>
                    <a:pt x="1322" y="392"/>
                  </a:lnTo>
                  <a:lnTo>
                    <a:pt x="1322" y="394"/>
                  </a:lnTo>
                  <a:close/>
                  <a:moveTo>
                    <a:pt x="1412" y="392"/>
                  </a:moveTo>
                  <a:lnTo>
                    <a:pt x="1410" y="392"/>
                  </a:lnTo>
                  <a:lnTo>
                    <a:pt x="1412" y="392"/>
                  </a:lnTo>
                  <a:close/>
                  <a:moveTo>
                    <a:pt x="1339" y="392"/>
                  </a:moveTo>
                  <a:lnTo>
                    <a:pt x="1336" y="392"/>
                  </a:lnTo>
                  <a:lnTo>
                    <a:pt x="1339" y="392"/>
                  </a:lnTo>
                  <a:close/>
                  <a:moveTo>
                    <a:pt x="428" y="390"/>
                  </a:moveTo>
                  <a:lnTo>
                    <a:pt x="425" y="390"/>
                  </a:lnTo>
                  <a:lnTo>
                    <a:pt x="428" y="390"/>
                  </a:lnTo>
                  <a:close/>
                  <a:moveTo>
                    <a:pt x="397" y="385"/>
                  </a:moveTo>
                  <a:lnTo>
                    <a:pt x="394" y="385"/>
                  </a:lnTo>
                  <a:lnTo>
                    <a:pt x="397" y="385"/>
                  </a:lnTo>
                  <a:close/>
                  <a:moveTo>
                    <a:pt x="392" y="383"/>
                  </a:moveTo>
                  <a:lnTo>
                    <a:pt x="392" y="380"/>
                  </a:lnTo>
                  <a:lnTo>
                    <a:pt x="392" y="383"/>
                  </a:lnTo>
                  <a:close/>
                  <a:moveTo>
                    <a:pt x="1265" y="364"/>
                  </a:moveTo>
                  <a:lnTo>
                    <a:pt x="1267" y="364"/>
                  </a:lnTo>
                  <a:lnTo>
                    <a:pt x="1265" y="364"/>
                  </a:lnTo>
                  <a:close/>
                  <a:moveTo>
                    <a:pt x="1265" y="361"/>
                  </a:moveTo>
                  <a:lnTo>
                    <a:pt x="1267" y="361"/>
                  </a:lnTo>
                  <a:lnTo>
                    <a:pt x="1265" y="361"/>
                  </a:lnTo>
                  <a:close/>
                  <a:moveTo>
                    <a:pt x="1272" y="356"/>
                  </a:moveTo>
                  <a:lnTo>
                    <a:pt x="1270" y="356"/>
                  </a:lnTo>
                  <a:lnTo>
                    <a:pt x="1272" y="356"/>
                  </a:lnTo>
                  <a:close/>
                  <a:moveTo>
                    <a:pt x="1277" y="356"/>
                  </a:moveTo>
                  <a:lnTo>
                    <a:pt x="1275" y="356"/>
                  </a:lnTo>
                  <a:lnTo>
                    <a:pt x="1277" y="356"/>
                  </a:lnTo>
                  <a:close/>
                  <a:moveTo>
                    <a:pt x="1215" y="345"/>
                  </a:moveTo>
                  <a:lnTo>
                    <a:pt x="1218" y="345"/>
                  </a:lnTo>
                  <a:lnTo>
                    <a:pt x="1215" y="345"/>
                  </a:lnTo>
                  <a:close/>
                  <a:moveTo>
                    <a:pt x="1229" y="345"/>
                  </a:moveTo>
                  <a:lnTo>
                    <a:pt x="1232" y="345"/>
                  </a:lnTo>
                  <a:lnTo>
                    <a:pt x="1229" y="345"/>
                  </a:lnTo>
                  <a:close/>
                  <a:moveTo>
                    <a:pt x="1168" y="342"/>
                  </a:moveTo>
                  <a:lnTo>
                    <a:pt x="1168" y="345"/>
                  </a:lnTo>
                  <a:lnTo>
                    <a:pt x="1168" y="342"/>
                  </a:lnTo>
                  <a:close/>
                  <a:moveTo>
                    <a:pt x="1232" y="342"/>
                  </a:moveTo>
                  <a:lnTo>
                    <a:pt x="1229" y="342"/>
                  </a:lnTo>
                  <a:lnTo>
                    <a:pt x="1232" y="342"/>
                  </a:lnTo>
                  <a:close/>
                  <a:moveTo>
                    <a:pt x="1201" y="342"/>
                  </a:moveTo>
                  <a:lnTo>
                    <a:pt x="1199" y="342"/>
                  </a:lnTo>
                  <a:lnTo>
                    <a:pt x="1201" y="342"/>
                  </a:lnTo>
                  <a:close/>
                  <a:moveTo>
                    <a:pt x="1180" y="342"/>
                  </a:moveTo>
                  <a:lnTo>
                    <a:pt x="1180" y="340"/>
                  </a:lnTo>
                  <a:lnTo>
                    <a:pt x="1180" y="342"/>
                  </a:lnTo>
                  <a:close/>
                  <a:moveTo>
                    <a:pt x="1156" y="340"/>
                  </a:moveTo>
                  <a:lnTo>
                    <a:pt x="1156" y="337"/>
                  </a:lnTo>
                  <a:lnTo>
                    <a:pt x="1156" y="340"/>
                  </a:lnTo>
                  <a:close/>
                  <a:moveTo>
                    <a:pt x="1187" y="337"/>
                  </a:moveTo>
                  <a:lnTo>
                    <a:pt x="1187" y="340"/>
                  </a:lnTo>
                  <a:lnTo>
                    <a:pt x="1187" y="337"/>
                  </a:lnTo>
                  <a:close/>
                  <a:moveTo>
                    <a:pt x="1168" y="337"/>
                  </a:moveTo>
                  <a:lnTo>
                    <a:pt x="1165" y="337"/>
                  </a:lnTo>
                  <a:lnTo>
                    <a:pt x="1168" y="337"/>
                  </a:lnTo>
                  <a:close/>
                  <a:moveTo>
                    <a:pt x="1177" y="337"/>
                  </a:moveTo>
                  <a:lnTo>
                    <a:pt x="1175" y="337"/>
                  </a:lnTo>
                  <a:lnTo>
                    <a:pt x="1177" y="337"/>
                  </a:lnTo>
                  <a:close/>
                  <a:moveTo>
                    <a:pt x="1206" y="335"/>
                  </a:moveTo>
                  <a:lnTo>
                    <a:pt x="1203" y="335"/>
                  </a:lnTo>
                  <a:lnTo>
                    <a:pt x="1206" y="335"/>
                  </a:lnTo>
                  <a:close/>
                  <a:moveTo>
                    <a:pt x="1142" y="335"/>
                  </a:moveTo>
                  <a:lnTo>
                    <a:pt x="1139" y="335"/>
                  </a:lnTo>
                  <a:lnTo>
                    <a:pt x="1142" y="335"/>
                  </a:lnTo>
                  <a:close/>
                  <a:moveTo>
                    <a:pt x="1146" y="333"/>
                  </a:moveTo>
                  <a:lnTo>
                    <a:pt x="1144" y="333"/>
                  </a:lnTo>
                  <a:lnTo>
                    <a:pt x="1146" y="333"/>
                  </a:lnTo>
                  <a:close/>
                  <a:moveTo>
                    <a:pt x="1108" y="328"/>
                  </a:moveTo>
                  <a:lnTo>
                    <a:pt x="1108" y="326"/>
                  </a:lnTo>
                  <a:lnTo>
                    <a:pt x="1108" y="328"/>
                  </a:lnTo>
                  <a:close/>
                  <a:moveTo>
                    <a:pt x="1139" y="326"/>
                  </a:moveTo>
                  <a:lnTo>
                    <a:pt x="1139" y="328"/>
                  </a:lnTo>
                  <a:lnTo>
                    <a:pt x="1139" y="326"/>
                  </a:lnTo>
                  <a:close/>
                  <a:moveTo>
                    <a:pt x="1094" y="316"/>
                  </a:moveTo>
                  <a:lnTo>
                    <a:pt x="1094" y="318"/>
                  </a:lnTo>
                  <a:lnTo>
                    <a:pt x="1094" y="316"/>
                  </a:lnTo>
                  <a:close/>
                  <a:moveTo>
                    <a:pt x="1104" y="307"/>
                  </a:moveTo>
                  <a:lnTo>
                    <a:pt x="1101" y="307"/>
                  </a:lnTo>
                  <a:lnTo>
                    <a:pt x="1104" y="307"/>
                  </a:lnTo>
                  <a:close/>
                  <a:moveTo>
                    <a:pt x="1125" y="304"/>
                  </a:moveTo>
                  <a:lnTo>
                    <a:pt x="1125" y="302"/>
                  </a:lnTo>
                  <a:lnTo>
                    <a:pt x="1125" y="304"/>
                  </a:lnTo>
                  <a:close/>
                  <a:moveTo>
                    <a:pt x="1078" y="292"/>
                  </a:moveTo>
                  <a:lnTo>
                    <a:pt x="1080" y="292"/>
                  </a:lnTo>
                  <a:lnTo>
                    <a:pt x="1078" y="292"/>
                  </a:lnTo>
                  <a:close/>
                  <a:moveTo>
                    <a:pt x="1189" y="292"/>
                  </a:moveTo>
                  <a:lnTo>
                    <a:pt x="1187" y="292"/>
                  </a:lnTo>
                  <a:lnTo>
                    <a:pt x="1189" y="292"/>
                  </a:lnTo>
                  <a:close/>
                  <a:moveTo>
                    <a:pt x="1099" y="290"/>
                  </a:moveTo>
                  <a:lnTo>
                    <a:pt x="1097" y="290"/>
                  </a:lnTo>
                  <a:lnTo>
                    <a:pt x="1099" y="290"/>
                  </a:lnTo>
                  <a:close/>
                  <a:moveTo>
                    <a:pt x="1099" y="290"/>
                  </a:moveTo>
                  <a:lnTo>
                    <a:pt x="1097" y="290"/>
                  </a:lnTo>
                  <a:lnTo>
                    <a:pt x="1099" y="290"/>
                  </a:lnTo>
                  <a:close/>
                  <a:moveTo>
                    <a:pt x="1101" y="290"/>
                  </a:moveTo>
                  <a:lnTo>
                    <a:pt x="1101" y="288"/>
                  </a:lnTo>
                  <a:lnTo>
                    <a:pt x="1101" y="290"/>
                  </a:lnTo>
                  <a:close/>
                  <a:moveTo>
                    <a:pt x="1099" y="288"/>
                  </a:moveTo>
                  <a:lnTo>
                    <a:pt x="1097" y="288"/>
                  </a:lnTo>
                  <a:lnTo>
                    <a:pt x="1099" y="288"/>
                  </a:lnTo>
                  <a:close/>
                  <a:moveTo>
                    <a:pt x="1066" y="280"/>
                  </a:moveTo>
                  <a:lnTo>
                    <a:pt x="1066" y="283"/>
                  </a:lnTo>
                  <a:lnTo>
                    <a:pt x="1066" y="280"/>
                  </a:lnTo>
                  <a:close/>
                  <a:moveTo>
                    <a:pt x="1161" y="261"/>
                  </a:moveTo>
                  <a:lnTo>
                    <a:pt x="1158" y="261"/>
                  </a:lnTo>
                  <a:lnTo>
                    <a:pt x="1161" y="261"/>
                  </a:lnTo>
                  <a:close/>
                  <a:moveTo>
                    <a:pt x="1061" y="250"/>
                  </a:moveTo>
                  <a:lnTo>
                    <a:pt x="1059" y="250"/>
                  </a:lnTo>
                  <a:lnTo>
                    <a:pt x="1061" y="250"/>
                  </a:lnTo>
                  <a:close/>
                  <a:moveTo>
                    <a:pt x="1078" y="233"/>
                  </a:moveTo>
                  <a:lnTo>
                    <a:pt x="1075" y="233"/>
                  </a:lnTo>
                  <a:lnTo>
                    <a:pt x="1078" y="233"/>
                  </a:lnTo>
                  <a:close/>
                  <a:moveTo>
                    <a:pt x="1080" y="233"/>
                  </a:moveTo>
                  <a:lnTo>
                    <a:pt x="1078" y="233"/>
                  </a:lnTo>
                  <a:lnTo>
                    <a:pt x="1080" y="233"/>
                  </a:lnTo>
                  <a:close/>
                  <a:moveTo>
                    <a:pt x="1080" y="228"/>
                  </a:moveTo>
                  <a:lnTo>
                    <a:pt x="1080" y="226"/>
                  </a:lnTo>
                  <a:lnTo>
                    <a:pt x="1080" y="228"/>
                  </a:lnTo>
                  <a:close/>
                  <a:moveTo>
                    <a:pt x="1082" y="223"/>
                  </a:moveTo>
                  <a:lnTo>
                    <a:pt x="1080" y="223"/>
                  </a:lnTo>
                  <a:lnTo>
                    <a:pt x="1082" y="223"/>
                  </a:lnTo>
                  <a:close/>
                  <a:moveTo>
                    <a:pt x="1168" y="221"/>
                  </a:moveTo>
                  <a:lnTo>
                    <a:pt x="1165" y="221"/>
                  </a:lnTo>
                  <a:lnTo>
                    <a:pt x="1168" y="221"/>
                  </a:lnTo>
                  <a:close/>
                  <a:moveTo>
                    <a:pt x="1165" y="219"/>
                  </a:moveTo>
                  <a:lnTo>
                    <a:pt x="1165" y="221"/>
                  </a:lnTo>
                  <a:lnTo>
                    <a:pt x="1165" y="219"/>
                  </a:lnTo>
                  <a:close/>
                  <a:moveTo>
                    <a:pt x="1165" y="219"/>
                  </a:moveTo>
                  <a:lnTo>
                    <a:pt x="1163" y="219"/>
                  </a:lnTo>
                  <a:lnTo>
                    <a:pt x="1165" y="219"/>
                  </a:lnTo>
                  <a:close/>
                  <a:moveTo>
                    <a:pt x="1082" y="214"/>
                  </a:moveTo>
                  <a:lnTo>
                    <a:pt x="1082" y="216"/>
                  </a:lnTo>
                  <a:lnTo>
                    <a:pt x="1082" y="214"/>
                  </a:lnTo>
                  <a:close/>
                  <a:moveTo>
                    <a:pt x="1187" y="197"/>
                  </a:moveTo>
                  <a:lnTo>
                    <a:pt x="1184" y="197"/>
                  </a:lnTo>
                  <a:lnTo>
                    <a:pt x="1187" y="197"/>
                  </a:lnTo>
                  <a:close/>
                  <a:moveTo>
                    <a:pt x="1099" y="193"/>
                  </a:moveTo>
                  <a:lnTo>
                    <a:pt x="1097" y="193"/>
                  </a:lnTo>
                  <a:lnTo>
                    <a:pt x="1099" y="193"/>
                  </a:lnTo>
                  <a:close/>
                  <a:moveTo>
                    <a:pt x="1094" y="190"/>
                  </a:moveTo>
                  <a:lnTo>
                    <a:pt x="1092" y="190"/>
                  </a:lnTo>
                  <a:lnTo>
                    <a:pt x="1094" y="190"/>
                  </a:lnTo>
                  <a:close/>
                  <a:moveTo>
                    <a:pt x="1101" y="183"/>
                  </a:moveTo>
                  <a:lnTo>
                    <a:pt x="1099" y="183"/>
                  </a:lnTo>
                  <a:lnTo>
                    <a:pt x="1101" y="183"/>
                  </a:lnTo>
                  <a:close/>
                  <a:moveTo>
                    <a:pt x="1104" y="178"/>
                  </a:moveTo>
                  <a:lnTo>
                    <a:pt x="1104" y="181"/>
                  </a:lnTo>
                  <a:lnTo>
                    <a:pt x="1104" y="178"/>
                  </a:lnTo>
                  <a:close/>
                  <a:moveTo>
                    <a:pt x="1192" y="176"/>
                  </a:moveTo>
                  <a:lnTo>
                    <a:pt x="1189" y="176"/>
                  </a:lnTo>
                  <a:lnTo>
                    <a:pt x="1192" y="176"/>
                  </a:lnTo>
                  <a:close/>
                  <a:moveTo>
                    <a:pt x="1227" y="169"/>
                  </a:moveTo>
                  <a:lnTo>
                    <a:pt x="1225" y="169"/>
                  </a:lnTo>
                  <a:lnTo>
                    <a:pt x="1227" y="169"/>
                  </a:lnTo>
                  <a:close/>
                  <a:moveTo>
                    <a:pt x="1241" y="152"/>
                  </a:moveTo>
                  <a:lnTo>
                    <a:pt x="1239" y="152"/>
                  </a:lnTo>
                  <a:lnTo>
                    <a:pt x="1241" y="152"/>
                  </a:lnTo>
                  <a:close/>
                  <a:moveTo>
                    <a:pt x="1213" y="152"/>
                  </a:moveTo>
                  <a:lnTo>
                    <a:pt x="1211" y="152"/>
                  </a:lnTo>
                  <a:lnTo>
                    <a:pt x="1213" y="152"/>
                  </a:lnTo>
                  <a:close/>
                  <a:moveTo>
                    <a:pt x="1232" y="143"/>
                  </a:moveTo>
                  <a:lnTo>
                    <a:pt x="1232" y="145"/>
                  </a:lnTo>
                  <a:lnTo>
                    <a:pt x="1232" y="143"/>
                  </a:lnTo>
                  <a:close/>
                  <a:moveTo>
                    <a:pt x="1177" y="126"/>
                  </a:moveTo>
                  <a:lnTo>
                    <a:pt x="1180" y="126"/>
                  </a:lnTo>
                  <a:lnTo>
                    <a:pt x="1177" y="126"/>
                  </a:lnTo>
                  <a:close/>
                  <a:moveTo>
                    <a:pt x="1277" y="107"/>
                  </a:moveTo>
                  <a:lnTo>
                    <a:pt x="1275" y="107"/>
                  </a:lnTo>
                  <a:lnTo>
                    <a:pt x="1277" y="107"/>
                  </a:lnTo>
                  <a:close/>
                  <a:moveTo>
                    <a:pt x="1211" y="105"/>
                  </a:moveTo>
                  <a:lnTo>
                    <a:pt x="1208" y="105"/>
                  </a:lnTo>
                  <a:lnTo>
                    <a:pt x="1211" y="105"/>
                  </a:lnTo>
                  <a:close/>
                  <a:moveTo>
                    <a:pt x="1270" y="100"/>
                  </a:moveTo>
                  <a:lnTo>
                    <a:pt x="1272" y="100"/>
                  </a:lnTo>
                  <a:lnTo>
                    <a:pt x="1270" y="100"/>
                  </a:lnTo>
                  <a:close/>
                  <a:moveTo>
                    <a:pt x="1301" y="97"/>
                  </a:moveTo>
                  <a:lnTo>
                    <a:pt x="1298" y="97"/>
                  </a:lnTo>
                  <a:lnTo>
                    <a:pt x="1301" y="97"/>
                  </a:lnTo>
                  <a:close/>
                  <a:moveTo>
                    <a:pt x="1201" y="83"/>
                  </a:moveTo>
                  <a:lnTo>
                    <a:pt x="1201" y="86"/>
                  </a:lnTo>
                  <a:lnTo>
                    <a:pt x="1201" y="83"/>
                  </a:lnTo>
                  <a:close/>
                  <a:moveTo>
                    <a:pt x="1270" y="24"/>
                  </a:moveTo>
                  <a:lnTo>
                    <a:pt x="1267" y="24"/>
                  </a:lnTo>
                  <a:lnTo>
                    <a:pt x="1270" y="24"/>
                  </a:lnTo>
                  <a:close/>
                  <a:moveTo>
                    <a:pt x="1289" y="12"/>
                  </a:moveTo>
                  <a:lnTo>
                    <a:pt x="1286" y="12"/>
                  </a:lnTo>
                  <a:lnTo>
                    <a:pt x="1289" y="12"/>
                  </a:lnTo>
                  <a:close/>
                  <a:moveTo>
                    <a:pt x="1324" y="7"/>
                  </a:moveTo>
                  <a:lnTo>
                    <a:pt x="1322" y="7"/>
                  </a:lnTo>
                  <a:lnTo>
                    <a:pt x="1324" y="7"/>
                  </a:lnTo>
                  <a:close/>
                  <a:moveTo>
                    <a:pt x="1348" y="5"/>
                  </a:moveTo>
                  <a:lnTo>
                    <a:pt x="1346" y="5"/>
                  </a:lnTo>
                  <a:lnTo>
                    <a:pt x="1348" y="5"/>
                  </a:lnTo>
                  <a:close/>
                  <a:moveTo>
                    <a:pt x="1339" y="5"/>
                  </a:moveTo>
                  <a:lnTo>
                    <a:pt x="1336" y="5"/>
                  </a:lnTo>
                  <a:lnTo>
                    <a:pt x="1339" y="5"/>
                  </a:lnTo>
                  <a:close/>
                  <a:moveTo>
                    <a:pt x="1346" y="5"/>
                  </a:moveTo>
                  <a:lnTo>
                    <a:pt x="1346" y="2"/>
                  </a:lnTo>
                  <a:lnTo>
                    <a:pt x="1346" y="5"/>
                  </a:lnTo>
                  <a:close/>
                  <a:moveTo>
                    <a:pt x="1346" y="2"/>
                  </a:moveTo>
                  <a:lnTo>
                    <a:pt x="1348" y="2"/>
                  </a:lnTo>
                  <a:lnTo>
                    <a:pt x="1346" y="2"/>
                  </a:lnTo>
                  <a:close/>
                  <a:moveTo>
                    <a:pt x="1358" y="0"/>
                  </a:moveTo>
                  <a:lnTo>
                    <a:pt x="1355" y="0"/>
                  </a:lnTo>
                  <a:lnTo>
                    <a:pt x="135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3" name="Freeform 56634"/>
            <p:cNvSpPr>
              <a:spLocks/>
            </p:cNvSpPr>
            <p:nvPr/>
          </p:nvSpPr>
          <p:spPr bwMode="auto">
            <a:xfrm>
              <a:off x="2676523" y="5154630"/>
              <a:ext cx="4763" cy="3175"/>
            </a:xfrm>
            <a:custGeom>
              <a:avLst/>
              <a:gdLst>
                <a:gd name="T0" fmla="*/ 3 w 3"/>
                <a:gd name="T1" fmla="*/ 2 h 2"/>
                <a:gd name="T2" fmla="*/ 3 w 3"/>
                <a:gd name="T3" fmla="*/ 2 h 2"/>
                <a:gd name="T4" fmla="*/ 3 w 3"/>
                <a:gd name="T5" fmla="*/ 2 h 2"/>
                <a:gd name="T6" fmla="*/ 3 w 3"/>
                <a:gd name="T7" fmla="*/ 2 h 2"/>
                <a:gd name="T8" fmla="*/ 3 w 3"/>
                <a:gd name="T9" fmla="*/ 2 h 2"/>
                <a:gd name="T10" fmla="*/ 0 w 3"/>
                <a:gd name="T11" fmla="*/ 2 h 2"/>
                <a:gd name="T12" fmla="*/ 0 w 3"/>
                <a:gd name="T13" fmla="*/ 2 h 2"/>
                <a:gd name="T14" fmla="*/ 0 w 3"/>
                <a:gd name="T15" fmla="*/ 2 h 2"/>
                <a:gd name="T16" fmla="*/ 0 w 3"/>
                <a:gd name="T17" fmla="*/ 2 h 2"/>
                <a:gd name="T18" fmla="*/ 0 w 3"/>
                <a:gd name="T19" fmla="*/ 2 h 2"/>
                <a:gd name="T20" fmla="*/ 0 w 3"/>
                <a:gd name="T21" fmla="*/ 2 h 2"/>
                <a:gd name="T22" fmla="*/ 0 w 3"/>
                <a:gd name="T23" fmla="*/ 2 h 2"/>
                <a:gd name="T24" fmla="*/ 0 w 3"/>
                <a:gd name="T25" fmla="*/ 2 h 2"/>
                <a:gd name="T26" fmla="*/ 0 w 3"/>
                <a:gd name="T27" fmla="*/ 2 h 2"/>
                <a:gd name="T28" fmla="*/ 0 w 3"/>
                <a:gd name="T29" fmla="*/ 0 h 2"/>
                <a:gd name="T30" fmla="*/ 0 w 3"/>
                <a:gd name="T31" fmla="*/ 0 h 2"/>
                <a:gd name="T32" fmla="*/ 0 w 3"/>
                <a:gd name="T33" fmla="*/ 0 h 2"/>
                <a:gd name="T34" fmla="*/ 0 w 3"/>
                <a:gd name="T35" fmla="*/ 0 h 2"/>
                <a:gd name="T36" fmla="*/ 0 w 3"/>
                <a:gd name="T37" fmla="*/ 0 h 2"/>
                <a:gd name="T38" fmla="*/ 0 w 3"/>
                <a:gd name="T39" fmla="*/ 0 h 2"/>
                <a:gd name="T40" fmla="*/ 0 w 3"/>
                <a:gd name="T41" fmla="*/ 0 h 2"/>
                <a:gd name="T42" fmla="*/ 0 w 3"/>
                <a:gd name="T43" fmla="*/ 0 h 2"/>
                <a:gd name="T44" fmla="*/ 3 w 3"/>
                <a:gd name="T45" fmla="*/ 0 h 2"/>
                <a:gd name="T46" fmla="*/ 3 w 3"/>
                <a:gd name="T47" fmla="*/ 0 h 2"/>
                <a:gd name="T48" fmla="*/ 3 w 3"/>
                <a:gd name="T49" fmla="*/ 0 h 2"/>
                <a:gd name="T50" fmla="*/ 3 w 3"/>
                <a:gd name="T51" fmla="*/ 0 h 2"/>
                <a:gd name="T52" fmla="*/ 3 w 3"/>
                <a:gd name="T53" fmla="*/ 0 h 2"/>
                <a:gd name="T54" fmla="*/ 3 w 3"/>
                <a:gd name="T55" fmla="*/ 0 h 2"/>
                <a:gd name="T56" fmla="*/ 3 w 3"/>
                <a:gd name="T57" fmla="*/ 0 h 2"/>
                <a:gd name="T58" fmla="*/ 3 w 3"/>
                <a:gd name="T59" fmla="*/ 0 h 2"/>
                <a:gd name="T60" fmla="*/ 3 w 3"/>
                <a:gd name="T61" fmla="*/ 0 h 2"/>
                <a:gd name="T62" fmla="*/ 3 w 3"/>
                <a:gd name="T63" fmla="*/ 2 h 2"/>
                <a:gd name="T64" fmla="*/ 3 w 3"/>
                <a:gd name="T65" fmla="*/ 2 h 2"/>
                <a:gd name="T66" fmla="*/ 3 w 3"/>
                <a:gd name="T67" fmla="*/ 2 h 2"/>
                <a:gd name="T68" fmla="*/ 3 w 3"/>
                <a:gd name="T6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2">
                  <a:moveTo>
                    <a:pt x="3" y="2"/>
                  </a:moveTo>
                  <a:lnTo>
                    <a:pt x="3" y="2"/>
                  </a:lnTo>
                  <a:lnTo>
                    <a:pt x="3" y="2"/>
                  </a:lnTo>
                  <a:lnTo>
                    <a:pt x="3" y="2"/>
                  </a:lnTo>
                  <a:lnTo>
                    <a:pt x="3"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3" y="0"/>
                  </a:lnTo>
                  <a:lnTo>
                    <a:pt x="3" y="0"/>
                  </a:lnTo>
                  <a:lnTo>
                    <a:pt x="3" y="0"/>
                  </a:lnTo>
                  <a:lnTo>
                    <a:pt x="3" y="0"/>
                  </a:lnTo>
                  <a:lnTo>
                    <a:pt x="3" y="0"/>
                  </a:lnTo>
                  <a:lnTo>
                    <a:pt x="3" y="0"/>
                  </a:lnTo>
                  <a:lnTo>
                    <a:pt x="3" y="0"/>
                  </a:lnTo>
                  <a:lnTo>
                    <a:pt x="3" y="0"/>
                  </a:lnTo>
                  <a:lnTo>
                    <a:pt x="3" y="0"/>
                  </a:lnTo>
                  <a:lnTo>
                    <a:pt x="3" y="2"/>
                  </a:lnTo>
                  <a:lnTo>
                    <a:pt x="3" y="2"/>
                  </a:lnTo>
                  <a:lnTo>
                    <a:pt x="3" y="2"/>
                  </a:lnTo>
                  <a:lnTo>
                    <a:pt x="3" y="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4" name="Freeform 56635"/>
            <p:cNvSpPr>
              <a:spLocks noEditPoints="1"/>
            </p:cNvSpPr>
            <p:nvPr/>
          </p:nvSpPr>
          <p:spPr bwMode="auto">
            <a:xfrm>
              <a:off x="3011485" y="4987943"/>
              <a:ext cx="219075" cy="320676"/>
            </a:xfrm>
            <a:custGeom>
              <a:avLst/>
              <a:gdLst>
                <a:gd name="T0" fmla="*/ 36 w 138"/>
                <a:gd name="T1" fmla="*/ 2 h 202"/>
                <a:gd name="T2" fmla="*/ 50 w 138"/>
                <a:gd name="T3" fmla="*/ 7 h 202"/>
                <a:gd name="T4" fmla="*/ 62 w 138"/>
                <a:gd name="T5" fmla="*/ 19 h 202"/>
                <a:gd name="T6" fmla="*/ 67 w 138"/>
                <a:gd name="T7" fmla="*/ 24 h 202"/>
                <a:gd name="T8" fmla="*/ 67 w 138"/>
                <a:gd name="T9" fmla="*/ 31 h 202"/>
                <a:gd name="T10" fmla="*/ 72 w 138"/>
                <a:gd name="T11" fmla="*/ 38 h 202"/>
                <a:gd name="T12" fmla="*/ 79 w 138"/>
                <a:gd name="T13" fmla="*/ 45 h 202"/>
                <a:gd name="T14" fmla="*/ 91 w 138"/>
                <a:gd name="T15" fmla="*/ 50 h 202"/>
                <a:gd name="T16" fmla="*/ 84 w 138"/>
                <a:gd name="T17" fmla="*/ 55 h 202"/>
                <a:gd name="T18" fmla="*/ 88 w 138"/>
                <a:gd name="T19" fmla="*/ 62 h 202"/>
                <a:gd name="T20" fmla="*/ 86 w 138"/>
                <a:gd name="T21" fmla="*/ 67 h 202"/>
                <a:gd name="T22" fmla="*/ 98 w 138"/>
                <a:gd name="T23" fmla="*/ 74 h 202"/>
                <a:gd name="T24" fmla="*/ 107 w 138"/>
                <a:gd name="T25" fmla="*/ 81 h 202"/>
                <a:gd name="T26" fmla="*/ 117 w 138"/>
                <a:gd name="T27" fmla="*/ 71 h 202"/>
                <a:gd name="T28" fmla="*/ 129 w 138"/>
                <a:gd name="T29" fmla="*/ 76 h 202"/>
                <a:gd name="T30" fmla="*/ 121 w 138"/>
                <a:gd name="T31" fmla="*/ 81 h 202"/>
                <a:gd name="T32" fmla="*/ 129 w 138"/>
                <a:gd name="T33" fmla="*/ 93 h 202"/>
                <a:gd name="T34" fmla="*/ 126 w 138"/>
                <a:gd name="T35" fmla="*/ 97 h 202"/>
                <a:gd name="T36" fmla="*/ 119 w 138"/>
                <a:gd name="T37" fmla="*/ 107 h 202"/>
                <a:gd name="T38" fmla="*/ 121 w 138"/>
                <a:gd name="T39" fmla="*/ 119 h 202"/>
                <a:gd name="T40" fmla="*/ 126 w 138"/>
                <a:gd name="T41" fmla="*/ 131 h 202"/>
                <a:gd name="T42" fmla="*/ 133 w 138"/>
                <a:gd name="T43" fmla="*/ 135 h 202"/>
                <a:gd name="T44" fmla="*/ 136 w 138"/>
                <a:gd name="T45" fmla="*/ 145 h 202"/>
                <a:gd name="T46" fmla="*/ 129 w 138"/>
                <a:gd name="T47" fmla="*/ 154 h 202"/>
                <a:gd name="T48" fmla="*/ 119 w 138"/>
                <a:gd name="T49" fmla="*/ 157 h 202"/>
                <a:gd name="T50" fmla="*/ 121 w 138"/>
                <a:gd name="T51" fmla="*/ 169 h 202"/>
                <a:gd name="T52" fmla="*/ 119 w 138"/>
                <a:gd name="T53" fmla="*/ 181 h 202"/>
                <a:gd name="T54" fmla="*/ 107 w 138"/>
                <a:gd name="T55" fmla="*/ 181 h 202"/>
                <a:gd name="T56" fmla="*/ 98 w 138"/>
                <a:gd name="T57" fmla="*/ 178 h 202"/>
                <a:gd name="T58" fmla="*/ 91 w 138"/>
                <a:gd name="T59" fmla="*/ 183 h 202"/>
                <a:gd name="T60" fmla="*/ 79 w 138"/>
                <a:gd name="T61" fmla="*/ 188 h 202"/>
                <a:gd name="T62" fmla="*/ 67 w 138"/>
                <a:gd name="T63" fmla="*/ 190 h 202"/>
                <a:gd name="T64" fmla="*/ 60 w 138"/>
                <a:gd name="T65" fmla="*/ 200 h 202"/>
                <a:gd name="T66" fmla="*/ 60 w 138"/>
                <a:gd name="T67" fmla="*/ 192 h 202"/>
                <a:gd name="T68" fmla="*/ 53 w 138"/>
                <a:gd name="T69" fmla="*/ 183 h 202"/>
                <a:gd name="T70" fmla="*/ 48 w 138"/>
                <a:gd name="T71" fmla="*/ 176 h 202"/>
                <a:gd name="T72" fmla="*/ 41 w 138"/>
                <a:gd name="T73" fmla="*/ 164 h 202"/>
                <a:gd name="T74" fmla="*/ 48 w 138"/>
                <a:gd name="T75" fmla="*/ 162 h 202"/>
                <a:gd name="T76" fmla="*/ 43 w 138"/>
                <a:gd name="T77" fmla="*/ 152 h 202"/>
                <a:gd name="T78" fmla="*/ 34 w 138"/>
                <a:gd name="T79" fmla="*/ 143 h 202"/>
                <a:gd name="T80" fmla="*/ 24 w 138"/>
                <a:gd name="T81" fmla="*/ 135 h 202"/>
                <a:gd name="T82" fmla="*/ 15 w 138"/>
                <a:gd name="T83" fmla="*/ 126 h 202"/>
                <a:gd name="T84" fmla="*/ 19 w 138"/>
                <a:gd name="T85" fmla="*/ 124 h 202"/>
                <a:gd name="T86" fmla="*/ 24 w 138"/>
                <a:gd name="T87" fmla="*/ 121 h 202"/>
                <a:gd name="T88" fmla="*/ 17 w 138"/>
                <a:gd name="T89" fmla="*/ 109 h 202"/>
                <a:gd name="T90" fmla="*/ 17 w 138"/>
                <a:gd name="T91" fmla="*/ 105 h 202"/>
                <a:gd name="T92" fmla="*/ 27 w 138"/>
                <a:gd name="T93" fmla="*/ 102 h 202"/>
                <a:gd name="T94" fmla="*/ 17 w 138"/>
                <a:gd name="T95" fmla="*/ 93 h 202"/>
                <a:gd name="T96" fmla="*/ 12 w 138"/>
                <a:gd name="T97" fmla="*/ 83 h 202"/>
                <a:gd name="T98" fmla="*/ 15 w 138"/>
                <a:gd name="T99" fmla="*/ 74 h 202"/>
                <a:gd name="T100" fmla="*/ 19 w 138"/>
                <a:gd name="T101" fmla="*/ 62 h 202"/>
                <a:gd name="T102" fmla="*/ 8 w 138"/>
                <a:gd name="T103" fmla="*/ 64 h 202"/>
                <a:gd name="T104" fmla="*/ 12 w 138"/>
                <a:gd name="T105" fmla="*/ 59 h 202"/>
                <a:gd name="T106" fmla="*/ 15 w 138"/>
                <a:gd name="T107" fmla="*/ 50 h 202"/>
                <a:gd name="T108" fmla="*/ 15 w 138"/>
                <a:gd name="T109" fmla="*/ 45 h 202"/>
                <a:gd name="T110" fmla="*/ 5 w 138"/>
                <a:gd name="T111" fmla="*/ 38 h 202"/>
                <a:gd name="T112" fmla="*/ 10 w 138"/>
                <a:gd name="T113" fmla="*/ 31 h 202"/>
                <a:gd name="T114" fmla="*/ 3 w 138"/>
                <a:gd name="T115" fmla="*/ 24 h 202"/>
                <a:gd name="T116" fmla="*/ 3 w 138"/>
                <a:gd name="T117" fmla="*/ 17 h 202"/>
                <a:gd name="T118" fmla="*/ 10 w 138"/>
                <a:gd name="T119" fmla="*/ 12 h 202"/>
                <a:gd name="T120" fmla="*/ 19 w 138"/>
                <a:gd name="T121" fmla="*/ 7 h 202"/>
                <a:gd name="T122" fmla="*/ 29 w 138"/>
                <a:gd name="T1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 h="202">
                  <a:moveTo>
                    <a:pt x="29" y="0"/>
                  </a:moveTo>
                  <a:lnTo>
                    <a:pt x="29" y="2"/>
                  </a:lnTo>
                  <a:lnTo>
                    <a:pt x="31" y="2"/>
                  </a:lnTo>
                  <a:lnTo>
                    <a:pt x="34" y="2"/>
                  </a:lnTo>
                  <a:lnTo>
                    <a:pt x="34" y="5"/>
                  </a:lnTo>
                  <a:lnTo>
                    <a:pt x="34" y="2"/>
                  </a:lnTo>
                  <a:lnTo>
                    <a:pt x="36" y="2"/>
                  </a:lnTo>
                  <a:lnTo>
                    <a:pt x="38" y="2"/>
                  </a:lnTo>
                  <a:lnTo>
                    <a:pt x="41" y="2"/>
                  </a:lnTo>
                  <a:lnTo>
                    <a:pt x="43" y="2"/>
                  </a:lnTo>
                  <a:lnTo>
                    <a:pt x="46" y="2"/>
                  </a:lnTo>
                  <a:lnTo>
                    <a:pt x="48" y="5"/>
                  </a:lnTo>
                  <a:lnTo>
                    <a:pt x="50" y="5"/>
                  </a:lnTo>
                  <a:lnTo>
                    <a:pt x="50" y="7"/>
                  </a:lnTo>
                  <a:lnTo>
                    <a:pt x="50" y="10"/>
                  </a:lnTo>
                  <a:lnTo>
                    <a:pt x="53" y="12"/>
                  </a:lnTo>
                  <a:lnTo>
                    <a:pt x="55" y="12"/>
                  </a:lnTo>
                  <a:lnTo>
                    <a:pt x="57" y="14"/>
                  </a:lnTo>
                  <a:lnTo>
                    <a:pt x="57" y="17"/>
                  </a:lnTo>
                  <a:lnTo>
                    <a:pt x="60" y="17"/>
                  </a:lnTo>
                  <a:lnTo>
                    <a:pt x="62" y="19"/>
                  </a:lnTo>
                  <a:lnTo>
                    <a:pt x="60" y="19"/>
                  </a:lnTo>
                  <a:lnTo>
                    <a:pt x="62" y="19"/>
                  </a:lnTo>
                  <a:lnTo>
                    <a:pt x="62" y="21"/>
                  </a:lnTo>
                  <a:lnTo>
                    <a:pt x="65" y="21"/>
                  </a:lnTo>
                  <a:lnTo>
                    <a:pt x="65" y="19"/>
                  </a:lnTo>
                  <a:lnTo>
                    <a:pt x="67" y="21"/>
                  </a:lnTo>
                  <a:lnTo>
                    <a:pt x="67" y="24"/>
                  </a:lnTo>
                  <a:lnTo>
                    <a:pt x="65" y="24"/>
                  </a:lnTo>
                  <a:lnTo>
                    <a:pt x="67" y="24"/>
                  </a:lnTo>
                  <a:lnTo>
                    <a:pt x="67" y="26"/>
                  </a:lnTo>
                  <a:lnTo>
                    <a:pt x="65" y="26"/>
                  </a:lnTo>
                  <a:lnTo>
                    <a:pt x="65" y="29"/>
                  </a:lnTo>
                  <a:lnTo>
                    <a:pt x="67" y="29"/>
                  </a:lnTo>
                  <a:lnTo>
                    <a:pt x="67" y="31"/>
                  </a:lnTo>
                  <a:lnTo>
                    <a:pt x="67" y="33"/>
                  </a:lnTo>
                  <a:lnTo>
                    <a:pt x="65" y="33"/>
                  </a:lnTo>
                  <a:lnTo>
                    <a:pt x="67" y="33"/>
                  </a:lnTo>
                  <a:lnTo>
                    <a:pt x="67" y="36"/>
                  </a:lnTo>
                  <a:lnTo>
                    <a:pt x="69" y="36"/>
                  </a:lnTo>
                  <a:lnTo>
                    <a:pt x="69" y="38"/>
                  </a:lnTo>
                  <a:lnTo>
                    <a:pt x="72" y="38"/>
                  </a:lnTo>
                  <a:lnTo>
                    <a:pt x="72" y="40"/>
                  </a:lnTo>
                  <a:lnTo>
                    <a:pt x="74" y="40"/>
                  </a:lnTo>
                  <a:lnTo>
                    <a:pt x="74" y="43"/>
                  </a:lnTo>
                  <a:lnTo>
                    <a:pt x="76" y="43"/>
                  </a:lnTo>
                  <a:lnTo>
                    <a:pt x="79" y="40"/>
                  </a:lnTo>
                  <a:lnTo>
                    <a:pt x="79" y="43"/>
                  </a:lnTo>
                  <a:lnTo>
                    <a:pt x="79" y="45"/>
                  </a:lnTo>
                  <a:lnTo>
                    <a:pt x="81" y="45"/>
                  </a:lnTo>
                  <a:lnTo>
                    <a:pt x="84" y="45"/>
                  </a:lnTo>
                  <a:lnTo>
                    <a:pt x="86" y="48"/>
                  </a:lnTo>
                  <a:lnTo>
                    <a:pt x="86" y="45"/>
                  </a:lnTo>
                  <a:lnTo>
                    <a:pt x="86" y="48"/>
                  </a:lnTo>
                  <a:lnTo>
                    <a:pt x="88" y="48"/>
                  </a:lnTo>
                  <a:lnTo>
                    <a:pt x="91" y="50"/>
                  </a:lnTo>
                  <a:lnTo>
                    <a:pt x="88" y="50"/>
                  </a:lnTo>
                  <a:lnTo>
                    <a:pt x="88" y="52"/>
                  </a:lnTo>
                  <a:lnTo>
                    <a:pt x="88" y="55"/>
                  </a:lnTo>
                  <a:lnTo>
                    <a:pt x="86" y="55"/>
                  </a:lnTo>
                  <a:lnTo>
                    <a:pt x="88" y="55"/>
                  </a:lnTo>
                  <a:lnTo>
                    <a:pt x="86" y="55"/>
                  </a:lnTo>
                  <a:lnTo>
                    <a:pt x="84" y="55"/>
                  </a:lnTo>
                  <a:lnTo>
                    <a:pt x="84" y="57"/>
                  </a:lnTo>
                  <a:lnTo>
                    <a:pt x="86" y="57"/>
                  </a:lnTo>
                  <a:lnTo>
                    <a:pt x="86" y="59"/>
                  </a:lnTo>
                  <a:lnTo>
                    <a:pt x="88" y="59"/>
                  </a:lnTo>
                  <a:lnTo>
                    <a:pt x="91" y="59"/>
                  </a:lnTo>
                  <a:lnTo>
                    <a:pt x="91" y="62"/>
                  </a:lnTo>
                  <a:lnTo>
                    <a:pt x="88" y="62"/>
                  </a:lnTo>
                  <a:lnTo>
                    <a:pt x="86" y="62"/>
                  </a:lnTo>
                  <a:lnTo>
                    <a:pt x="88" y="62"/>
                  </a:lnTo>
                  <a:lnTo>
                    <a:pt x="86" y="62"/>
                  </a:lnTo>
                  <a:lnTo>
                    <a:pt x="86" y="64"/>
                  </a:lnTo>
                  <a:lnTo>
                    <a:pt x="84" y="64"/>
                  </a:lnTo>
                  <a:lnTo>
                    <a:pt x="86" y="64"/>
                  </a:lnTo>
                  <a:lnTo>
                    <a:pt x="86" y="67"/>
                  </a:lnTo>
                  <a:lnTo>
                    <a:pt x="88" y="67"/>
                  </a:lnTo>
                  <a:lnTo>
                    <a:pt x="91" y="67"/>
                  </a:lnTo>
                  <a:lnTo>
                    <a:pt x="93" y="69"/>
                  </a:lnTo>
                  <a:lnTo>
                    <a:pt x="93" y="71"/>
                  </a:lnTo>
                  <a:lnTo>
                    <a:pt x="95" y="71"/>
                  </a:lnTo>
                  <a:lnTo>
                    <a:pt x="95" y="74"/>
                  </a:lnTo>
                  <a:lnTo>
                    <a:pt x="98" y="74"/>
                  </a:lnTo>
                  <a:lnTo>
                    <a:pt x="100" y="74"/>
                  </a:lnTo>
                  <a:lnTo>
                    <a:pt x="103" y="74"/>
                  </a:lnTo>
                  <a:lnTo>
                    <a:pt x="105" y="74"/>
                  </a:lnTo>
                  <a:lnTo>
                    <a:pt x="105" y="76"/>
                  </a:lnTo>
                  <a:lnTo>
                    <a:pt x="107" y="76"/>
                  </a:lnTo>
                  <a:lnTo>
                    <a:pt x="107" y="78"/>
                  </a:lnTo>
                  <a:lnTo>
                    <a:pt x="107" y="81"/>
                  </a:lnTo>
                  <a:lnTo>
                    <a:pt x="110" y="81"/>
                  </a:lnTo>
                  <a:lnTo>
                    <a:pt x="112" y="81"/>
                  </a:lnTo>
                  <a:lnTo>
                    <a:pt x="112" y="78"/>
                  </a:lnTo>
                  <a:lnTo>
                    <a:pt x="112" y="76"/>
                  </a:lnTo>
                  <a:lnTo>
                    <a:pt x="114" y="76"/>
                  </a:lnTo>
                  <a:lnTo>
                    <a:pt x="114" y="74"/>
                  </a:lnTo>
                  <a:lnTo>
                    <a:pt x="117" y="71"/>
                  </a:lnTo>
                  <a:lnTo>
                    <a:pt x="119" y="71"/>
                  </a:lnTo>
                  <a:lnTo>
                    <a:pt x="119" y="69"/>
                  </a:lnTo>
                  <a:lnTo>
                    <a:pt x="121" y="69"/>
                  </a:lnTo>
                  <a:lnTo>
                    <a:pt x="124" y="74"/>
                  </a:lnTo>
                  <a:lnTo>
                    <a:pt x="126" y="74"/>
                  </a:lnTo>
                  <a:lnTo>
                    <a:pt x="129" y="74"/>
                  </a:lnTo>
                  <a:lnTo>
                    <a:pt x="129" y="76"/>
                  </a:lnTo>
                  <a:lnTo>
                    <a:pt x="131" y="76"/>
                  </a:lnTo>
                  <a:lnTo>
                    <a:pt x="131" y="78"/>
                  </a:lnTo>
                  <a:lnTo>
                    <a:pt x="129" y="78"/>
                  </a:lnTo>
                  <a:lnTo>
                    <a:pt x="126" y="78"/>
                  </a:lnTo>
                  <a:lnTo>
                    <a:pt x="124" y="78"/>
                  </a:lnTo>
                  <a:lnTo>
                    <a:pt x="124" y="81"/>
                  </a:lnTo>
                  <a:lnTo>
                    <a:pt x="121" y="81"/>
                  </a:lnTo>
                  <a:lnTo>
                    <a:pt x="121" y="83"/>
                  </a:lnTo>
                  <a:lnTo>
                    <a:pt x="121" y="86"/>
                  </a:lnTo>
                  <a:lnTo>
                    <a:pt x="124" y="88"/>
                  </a:lnTo>
                  <a:lnTo>
                    <a:pt x="124" y="90"/>
                  </a:lnTo>
                  <a:lnTo>
                    <a:pt x="126" y="90"/>
                  </a:lnTo>
                  <a:lnTo>
                    <a:pt x="129" y="90"/>
                  </a:lnTo>
                  <a:lnTo>
                    <a:pt x="129" y="93"/>
                  </a:lnTo>
                  <a:lnTo>
                    <a:pt x="126" y="93"/>
                  </a:lnTo>
                  <a:lnTo>
                    <a:pt x="129" y="93"/>
                  </a:lnTo>
                  <a:lnTo>
                    <a:pt x="126" y="93"/>
                  </a:lnTo>
                  <a:lnTo>
                    <a:pt x="129" y="93"/>
                  </a:lnTo>
                  <a:lnTo>
                    <a:pt x="126" y="93"/>
                  </a:lnTo>
                  <a:lnTo>
                    <a:pt x="126" y="95"/>
                  </a:lnTo>
                  <a:lnTo>
                    <a:pt x="126" y="97"/>
                  </a:lnTo>
                  <a:lnTo>
                    <a:pt x="126" y="100"/>
                  </a:lnTo>
                  <a:lnTo>
                    <a:pt x="124" y="100"/>
                  </a:lnTo>
                  <a:lnTo>
                    <a:pt x="124" y="102"/>
                  </a:lnTo>
                  <a:lnTo>
                    <a:pt x="121" y="102"/>
                  </a:lnTo>
                  <a:lnTo>
                    <a:pt x="119" y="102"/>
                  </a:lnTo>
                  <a:lnTo>
                    <a:pt x="119" y="105"/>
                  </a:lnTo>
                  <a:lnTo>
                    <a:pt x="119" y="107"/>
                  </a:lnTo>
                  <a:lnTo>
                    <a:pt x="119" y="109"/>
                  </a:lnTo>
                  <a:lnTo>
                    <a:pt x="117" y="109"/>
                  </a:lnTo>
                  <a:lnTo>
                    <a:pt x="117" y="112"/>
                  </a:lnTo>
                  <a:lnTo>
                    <a:pt x="119" y="114"/>
                  </a:lnTo>
                  <a:lnTo>
                    <a:pt x="119" y="116"/>
                  </a:lnTo>
                  <a:lnTo>
                    <a:pt x="119" y="119"/>
                  </a:lnTo>
                  <a:lnTo>
                    <a:pt x="121" y="119"/>
                  </a:lnTo>
                  <a:lnTo>
                    <a:pt x="121" y="121"/>
                  </a:lnTo>
                  <a:lnTo>
                    <a:pt x="121" y="124"/>
                  </a:lnTo>
                  <a:lnTo>
                    <a:pt x="121" y="126"/>
                  </a:lnTo>
                  <a:lnTo>
                    <a:pt x="124" y="126"/>
                  </a:lnTo>
                  <a:lnTo>
                    <a:pt x="124" y="128"/>
                  </a:lnTo>
                  <a:lnTo>
                    <a:pt x="126" y="128"/>
                  </a:lnTo>
                  <a:lnTo>
                    <a:pt x="126" y="131"/>
                  </a:lnTo>
                  <a:lnTo>
                    <a:pt x="126" y="128"/>
                  </a:lnTo>
                  <a:lnTo>
                    <a:pt x="126" y="131"/>
                  </a:lnTo>
                  <a:lnTo>
                    <a:pt x="129" y="131"/>
                  </a:lnTo>
                  <a:lnTo>
                    <a:pt x="131" y="131"/>
                  </a:lnTo>
                  <a:lnTo>
                    <a:pt x="131" y="133"/>
                  </a:lnTo>
                  <a:lnTo>
                    <a:pt x="133" y="133"/>
                  </a:lnTo>
                  <a:lnTo>
                    <a:pt x="133" y="135"/>
                  </a:lnTo>
                  <a:lnTo>
                    <a:pt x="133" y="138"/>
                  </a:lnTo>
                  <a:lnTo>
                    <a:pt x="136" y="138"/>
                  </a:lnTo>
                  <a:lnTo>
                    <a:pt x="136" y="140"/>
                  </a:lnTo>
                  <a:lnTo>
                    <a:pt x="138" y="140"/>
                  </a:lnTo>
                  <a:lnTo>
                    <a:pt x="138" y="143"/>
                  </a:lnTo>
                  <a:lnTo>
                    <a:pt x="138" y="145"/>
                  </a:lnTo>
                  <a:lnTo>
                    <a:pt x="136" y="145"/>
                  </a:lnTo>
                  <a:lnTo>
                    <a:pt x="136" y="147"/>
                  </a:lnTo>
                  <a:lnTo>
                    <a:pt x="133" y="147"/>
                  </a:lnTo>
                  <a:lnTo>
                    <a:pt x="133" y="150"/>
                  </a:lnTo>
                  <a:lnTo>
                    <a:pt x="131" y="150"/>
                  </a:lnTo>
                  <a:lnTo>
                    <a:pt x="131" y="152"/>
                  </a:lnTo>
                  <a:lnTo>
                    <a:pt x="131" y="154"/>
                  </a:lnTo>
                  <a:lnTo>
                    <a:pt x="129" y="154"/>
                  </a:lnTo>
                  <a:lnTo>
                    <a:pt x="126" y="154"/>
                  </a:lnTo>
                  <a:lnTo>
                    <a:pt x="124" y="154"/>
                  </a:lnTo>
                  <a:lnTo>
                    <a:pt x="124" y="157"/>
                  </a:lnTo>
                  <a:lnTo>
                    <a:pt x="124" y="154"/>
                  </a:lnTo>
                  <a:lnTo>
                    <a:pt x="121" y="154"/>
                  </a:lnTo>
                  <a:lnTo>
                    <a:pt x="121" y="157"/>
                  </a:lnTo>
                  <a:lnTo>
                    <a:pt x="119" y="157"/>
                  </a:lnTo>
                  <a:lnTo>
                    <a:pt x="119" y="159"/>
                  </a:lnTo>
                  <a:lnTo>
                    <a:pt x="121" y="159"/>
                  </a:lnTo>
                  <a:lnTo>
                    <a:pt x="121" y="162"/>
                  </a:lnTo>
                  <a:lnTo>
                    <a:pt x="121" y="164"/>
                  </a:lnTo>
                  <a:lnTo>
                    <a:pt x="121" y="166"/>
                  </a:lnTo>
                  <a:lnTo>
                    <a:pt x="119" y="169"/>
                  </a:lnTo>
                  <a:lnTo>
                    <a:pt x="121" y="169"/>
                  </a:lnTo>
                  <a:lnTo>
                    <a:pt x="121" y="171"/>
                  </a:lnTo>
                  <a:lnTo>
                    <a:pt x="124" y="171"/>
                  </a:lnTo>
                  <a:lnTo>
                    <a:pt x="124" y="173"/>
                  </a:lnTo>
                  <a:lnTo>
                    <a:pt x="124" y="176"/>
                  </a:lnTo>
                  <a:lnTo>
                    <a:pt x="121" y="178"/>
                  </a:lnTo>
                  <a:lnTo>
                    <a:pt x="121" y="181"/>
                  </a:lnTo>
                  <a:lnTo>
                    <a:pt x="119" y="181"/>
                  </a:lnTo>
                  <a:lnTo>
                    <a:pt x="117" y="181"/>
                  </a:lnTo>
                  <a:lnTo>
                    <a:pt x="117" y="178"/>
                  </a:lnTo>
                  <a:lnTo>
                    <a:pt x="114" y="178"/>
                  </a:lnTo>
                  <a:lnTo>
                    <a:pt x="114" y="181"/>
                  </a:lnTo>
                  <a:lnTo>
                    <a:pt x="112" y="181"/>
                  </a:lnTo>
                  <a:lnTo>
                    <a:pt x="110" y="181"/>
                  </a:lnTo>
                  <a:lnTo>
                    <a:pt x="107" y="181"/>
                  </a:lnTo>
                  <a:lnTo>
                    <a:pt x="107" y="183"/>
                  </a:lnTo>
                  <a:lnTo>
                    <a:pt x="105" y="181"/>
                  </a:lnTo>
                  <a:lnTo>
                    <a:pt x="105" y="183"/>
                  </a:lnTo>
                  <a:lnTo>
                    <a:pt x="103" y="183"/>
                  </a:lnTo>
                  <a:lnTo>
                    <a:pt x="103" y="181"/>
                  </a:lnTo>
                  <a:lnTo>
                    <a:pt x="100" y="178"/>
                  </a:lnTo>
                  <a:lnTo>
                    <a:pt x="98" y="178"/>
                  </a:lnTo>
                  <a:lnTo>
                    <a:pt x="98" y="181"/>
                  </a:lnTo>
                  <a:lnTo>
                    <a:pt x="98" y="183"/>
                  </a:lnTo>
                  <a:lnTo>
                    <a:pt x="95" y="183"/>
                  </a:lnTo>
                  <a:lnTo>
                    <a:pt x="95" y="185"/>
                  </a:lnTo>
                  <a:lnTo>
                    <a:pt x="95" y="183"/>
                  </a:lnTo>
                  <a:lnTo>
                    <a:pt x="93" y="183"/>
                  </a:lnTo>
                  <a:lnTo>
                    <a:pt x="91" y="183"/>
                  </a:lnTo>
                  <a:lnTo>
                    <a:pt x="88" y="183"/>
                  </a:lnTo>
                  <a:lnTo>
                    <a:pt x="86" y="183"/>
                  </a:lnTo>
                  <a:lnTo>
                    <a:pt x="84" y="185"/>
                  </a:lnTo>
                  <a:lnTo>
                    <a:pt x="84" y="188"/>
                  </a:lnTo>
                  <a:lnTo>
                    <a:pt x="84" y="190"/>
                  </a:lnTo>
                  <a:lnTo>
                    <a:pt x="81" y="190"/>
                  </a:lnTo>
                  <a:lnTo>
                    <a:pt x="79" y="188"/>
                  </a:lnTo>
                  <a:lnTo>
                    <a:pt x="76" y="185"/>
                  </a:lnTo>
                  <a:lnTo>
                    <a:pt x="76" y="188"/>
                  </a:lnTo>
                  <a:lnTo>
                    <a:pt x="74" y="188"/>
                  </a:lnTo>
                  <a:lnTo>
                    <a:pt x="72" y="188"/>
                  </a:lnTo>
                  <a:lnTo>
                    <a:pt x="72" y="190"/>
                  </a:lnTo>
                  <a:lnTo>
                    <a:pt x="69" y="190"/>
                  </a:lnTo>
                  <a:lnTo>
                    <a:pt x="67" y="190"/>
                  </a:lnTo>
                  <a:lnTo>
                    <a:pt x="67" y="192"/>
                  </a:lnTo>
                  <a:lnTo>
                    <a:pt x="65" y="192"/>
                  </a:lnTo>
                  <a:lnTo>
                    <a:pt x="65" y="195"/>
                  </a:lnTo>
                  <a:lnTo>
                    <a:pt x="65" y="197"/>
                  </a:lnTo>
                  <a:lnTo>
                    <a:pt x="65" y="200"/>
                  </a:lnTo>
                  <a:lnTo>
                    <a:pt x="62" y="200"/>
                  </a:lnTo>
                  <a:lnTo>
                    <a:pt x="60" y="200"/>
                  </a:lnTo>
                  <a:lnTo>
                    <a:pt x="60" y="202"/>
                  </a:lnTo>
                  <a:lnTo>
                    <a:pt x="60" y="200"/>
                  </a:lnTo>
                  <a:lnTo>
                    <a:pt x="57" y="200"/>
                  </a:lnTo>
                  <a:lnTo>
                    <a:pt x="60" y="200"/>
                  </a:lnTo>
                  <a:lnTo>
                    <a:pt x="60" y="197"/>
                  </a:lnTo>
                  <a:lnTo>
                    <a:pt x="60" y="195"/>
                  </a:lnTo>
                  <a:lnTo>
                    <a:pt x="60" y="192"/>
                  </a:lnTo>
                  <a:lnTo>
                    <a:pt x="57" y="192"/>
                  </a:lnTo>
                  <a:lnTo>
                    <a:pt x="57" y="190"/>
                  </a:lnTo>
                  <a:lnTo>
                    <a:pt x="57" y="188"/>
                  </a:lnTo>
                  <a:lnTo>
                    <a:pt x="57" y="185"/>
                  </a:lnTo>
                  <a:lnTo>
                    <a:pt x="55" y="185"/>
                  </a:lnTo>
                  <a:lnTo>
                    <a:pt x="55" y="183"/>
                  </a:lnTo>
                  <a:lnTo>
                    <a:pt x="53" y="183"/>
                  </a:lnTo>
                  <a:lnTo>
                    <a:pt x="53" y="181"/>
                  </a:lnTo>
                  <a:lnTo>
                    <a:pt x="50" y="181"/>
                  </a:lnTo>
                  <a:lnTo>
                    <a:pt x="48" y="181"/>
                  </a:lnTo>
                  <a:lnTo>
                    <a:pt x="48" y="178"/>
                  </a:lnTo>
                  <a:lnTo>
                    <a:pt x="46" y="178"/>
                  </a:lnTo>
                  <a:lnTo>
                    <a:pt x="46" y="176"/>
                  </a:lnTo>
                  <a:lnTo>
                    <a:pt x="48" y="176"/>
                  </a:lnTo>
                  <a:lnTo>
                    <a:pt x="46" y="176"/>
                  </a:lnTo>
                  <a:lnTo>
                    <a:pt x="46" y="173"/>
                  </a:lnTo>
                  <a:lnTo>
                    <a:pt x="46" y="171"/>
                  </a:lnTo>
                  <a:lnTo>
                    <a:pt x="43" y="171"/>
                  </a:lnTo>
                  <a:lnTo>
                    <a:pt x="43" y="169"/>
                  </a:lnTo>
                  <a:lnTo>
                    <a:pt x="41" y="166"/>
                  </a:lnTo>
                  <a:lnTo>
                    <a:pt x="41" y="164"/>
                  </a:lnTo>
                  <a:lnTo>
                    <a:pt x="38" y="164"/>
                  </a:lnTo>
                  <a:lnTo>
                    <a:pt x="38" y="162"/>
                  </a:lnTo>
                  <a:lnTo>
                    <a:pt x="41" y="159"/>
                  </a:lnTo>
                  <a:lnTo>
                    <a:pt x="43" y="159"/>
                  </a:lnTo>
                  <a:lnTo>
                    <a:pt x="43" y="162"/>
                  </a:lnTo>
                  <a:lnTo>
                    <a:pt x="46" y="162"/>
                  </a:lnTo>
                  <a:lnTo>
                    <a:pt x="48" y="162"/>
                  </a:lnTo>
                  <a:lnTo>
                    <a:pt x="48" y="159"/>
                  </a:lnTo>
                  <a:lnTo>
                    <a:pt x="50" y="157"/>
                  </a:lnTo>
                  <a:lnTo>
                    <a:pt x="50" y="154"/>
                  </a:lnTo>
                  <a:lnTo>
                    <a:pt x="48" y="152"/>
                  </a:lnTo>
                  <a:lnTo>
                    <a:pt x="46" y="152"/>
                  </a:lnTo>
                  <a:lnTo>
                    <a:pt x="46" y="150"/>
                  </a:lnTo>
                  <a:lnTo>
                    <a:pt x="43" y="152"/>
                  </a:lnTo>
                  <a:lnTo>
                    <a:pt x="41" y="150"/>
                  </a:lnTo>
                  <a:lnTo>
                    <a:pt x="41" y="147"/>
                  </a:lnTo>
                  <a:lnTo>
                    <a:pt x="38" y="147"/>
                  </a:lnTo>
                  <a:lnTo>
                    <a:pt x="38" y="145"/>
                  </a:lnTo>
                  <a:lnTo>
                    <a:pt x="38" y="143"/>
                  </a:lnTo>
                  <a:lnTo>
                    <a:pt x="36" y="143"/>
                  </a:lnTo>
                  <a:lnTo>
                    <a:pt x="34" y="143"/>
                  </a:lnTo>
                  <a:lnTo>
                    <a:pt x="31" y="143"/>
                  </a:lnTo>
                  <a:lnTo>
                    <a:pt x="29" y="143"/>
                  </a:lnTo>
                  <a:lnTo>
                    <a:pt x="29" y="140"/>
                  </a:lnTo>
                  <a:lnTo>
                    <a:pt x="27" y="140"/>
                  </a:lnTo>
                  <a:lnTo>
                    <a:pt x="27" y="138"/>
                  </a:lnTo>
                  <a:lnTo>
                    <a:pt x="24" y="138"/>
                  </a:lnTo>
                  <a:lnTo>
                    <a:pt x="24" y="135"/>
                  </a:lnTo>
                  <a:lnTo>
                    <a:pt x="22" y="133"/>
                  </a:lnTo>
                  <a:lnTo>
                    <a:pt x="22" y="131"/>
                  </a:lnTo>
                  <a:lnTo>
                    <a:pt x="19" y="131"/>
                  </a:lnTo>
                  <a:lnTo>
                    <a:pt x="17" y="131"/>
                  </a:lnTo>
                  <a:lnTo>
                    <a:pt x="17" y="128"/>
                  </a:lnTo>
                  <a:lnTo>
                    <a:pt x="15" y="128"/>
                  </a:lnTo>
                  <a:lnTo>
                    <a:pt x="15" y="126"/>
                  </a:lnTo>
                  <a:lnTo>
                    <a:pt x="15" y="124"/>
                  </a:lnTo>
                  <a:lnTo>
                    <a:pt x="15" y="121"/>
                  </a:lnTo>
                  <a:lnTo>
                    <a:pt x="17" y="121"/>
                  </a:lnTo>
                  <a:lnTo>
                    <a:pt x="19" y="121"/>
                  </a:lnTo>
                  <a:lnTo>
                    <a:pt x="19" y="124"/>
                  </a:lnTo>
                  <a:lnTo>
                    <a:pt x="19" y="121"/>
                  </a:lnTo>
                  <a:lnTo>
                    <a:pt x="19" y="124"/>
                  </a:lnTo>
                  <a:lnTo>
                    <a:pt x="22" y="121"/>
                  </a:lnTo>
                  <a:lnTo>
                    <a:pt x="22" y="124"/>
                  </a:lnTo>
                  <a:lnTo>
                    <a:pt x="24" y="121"/>
                  </a:lnTo>
                  <a:lnTo>
                    <a:pt x="22" y="121"/>
                  </a:lnTo>
                  <a:lnTo>
                    <a:pt x="22" y="119"/>
                  </a:lnTo>
                  <a:lnTo>
                    <a:pt x="22" y="121"/>
                  </a:lnTo>
                  <a:lnTo>
                    <a:pt x="24" y="121"/>
                  </a:lnTo>
                  <a:lnTo>
                    <a:pt x="24" y="119"/>
                  </a:lnTo>
                  <a:lnTo>
                    <a:pt x="24" y="116"/>
                  </a:lnTo>
                  <a:lnTo>
                    <a:pt x="22" y="116"/>
                  </a:lnTo>
                  <a:lnTo>
                    <a:pt x="22" y="114"/>
                  </a:lnTo>
                  <a:lnTo>
                    <a:pt x="19" y="114"/>
                  </a:lnTo>
                  <a:lnTo>
                    <a:pt x="19" y="112"/>
                  </a:lnTo>
                  <a:lnTo>
                    <a:pt x="17" y="109"/>
                  </a:lnTo>
                  <a:lnTo>
                    <a:pt x="17" y="107"/>
                  </a:lnTo>
                  <a:lnTo>
                    <a:pt x="15" y="107"/>
                  </a:lnTo>
                  <a:lnTo>
                    <a:pt x="15" y="105"/>
                  </a:lnTo>
                  <a:lnTo>
                    <a:pt x="15" y="102"/>
                  </a:lnTo>
                  <a:lnTo>
                    <a:pt x="17" y="105"/>
                  </a:lnTo>
                  <a:lnTo>
                    <a:pt x="17" y="102"/>
                  </a:lnTo>
                  <a:lnTo>
                    <a:pt x="17" y="105"/>
                  </a:lnTo>
                  <a:lnTo>
                    <a:pt x="19" y="105"/>
                  </a:lnTo>
                  <a:lnTo>
                    <a:pt x="22" y="105"/>
                  </a:lnTo>
                  <a:lnTo>
                    <a:pt x="24" y="105"/>
                  </a:lnTo>
                  <a:lnTo>
                    <a:pt x="24" y="102"/>
                  </a:lnTo>
                  <a:lnTo>
                    <a:pt x="27" y="102"/>
                  </a:lnTo>
                  <a:lnTo>
                    <a:pt x="27" y="100"/>
                  </a:lnTo>
                  <a:lnTo>
                    <a:pt x="27" y="102"/>
                  </a:lnTo>
                  <a:lnTo>
                    <a:pt x="24" y="100"/>
                  </a:lnTo>
                  <a:lnTo>
                    <a:pt x="22" y="97"/>
                  </a:lnTo>
                  <a:lnTo>
                    <a:pt x="19" y="97"/>
                  </a:lnTo>
                  <a:lnTo>
                    <a:pt x="19" y="95"/>
                  </a:lnTo>
                  <a:lnTo>
                    <a:pt x="17" y="93"/>
                  </a:lnTo>
                  <a:lnTo>
                    <a:pt x="19" y="93"/>
                  </a:lnTo>
                  <a:lnTo>
                    <a:pt x="17" y="93"/>
                  </a:lnTo>
                  <a:lnTo>
                    <a:pt x="17" y="90"/>
                  </a:lnTo>
                  <a:lnTo>
                    <a:pt x="15" y="90"/>
                  </a:lnTo>
                  <a:lnTo>
                    <a:pt x="12" y="90"/>
                  </a:lnTo>
                  <a:lnTo>
                    <a:pt x="10" y="88"/>
                  </a:lnTo>
                  <a:lnTo>
                    <a:pt x="10" y="86"/>
                  </a:lnTo>
                  <a:lnTo>
                    <a:pt x="10" y="83"/>
                  </a:lnTo>
                  <a:lnTo>
                    <a:pt x="12" y="83"/>
                  </a:lnTo>
                  <a:lnTo>
                    <a:pt x="12" y="81"/>
                  </a:lnTo>
                  <a:lnTo>
                    <a:pt x="10" y="81"/>
                  </a:lnTo>
                  <a:lnTo>
                    <a:pt x="10" y="78"/>
                  </a:lnTo>
                  <a:lnTo>
                    <a:pt x="12" y="78"/>
                  </a:lnTo>
                  <a:lnTo>
                    <a:pt x="12" y="76"/>
                  </a:lnTo>
                  <a:lnTo>
                    <a:pt x="15" y="76"/>
                  </a:lnTo>
                  <a:lnTo>
                    <a:pt x="15" y="74"/>
                  </a:lnTo>
                  <a:lnTo>
                    <a:pt x="15" y="71"/>
                  </a:lnTo>
                  <a:lnTo>
                    <a:pt x="17" y="71"/>
                  </a:lnTo>
                  <a:lnTo>
                    <a:pt x="17" y="69"/>
                  </a:lnTo>
                  <a:lnTo>
                    <a:pt x="17" y="67"/>
                  </a:lnTo>
                  <a:lnTo>
                    <a:pt x="17" y="64"/>
                  </a:lnTo>
                  <a:lnTo>
                    <a:pt x="19" y="64"/>
                  </a:lnTo>
                  <a:lnTo>
                    <a:pt x="19" y="62"/>
                  </a:lnTo>
                  <a:lnTo>
                    <a:pt x="17" y="62"/>
                  </a:lnTo>
                  <a:lnTo>
                    <a:pt x="15" y="62"/>
                  </a:lnTo>
                  <a:lnTo>
                    <a:pt x="12" y="62"/>
                  </a:lnTo>
                  <a:lnTo>
                    <a:pt x="12" y="59"/>
                  </a:lnTo>
                  <a:lnTo>
                    <a:pt x="12" y="62"/>
                  </a:lnTo>
                  <a:lnTo>
                    <a:pt x="10" y="62"/>
                  </a:lnTo>
                  <a:lnTo>
                    <a:pt x="8" y="64"/>
                  </a:lnTo>
                  <a:lnTo>
                    <a:pt x="8" y="62"/>
                  </a:lnTo>
                  <a:lnTo>
                    <a:pt x="5" y="62"/>
                  </a:lnTo>
                  <a:lnTo>
                    <a:pt x="8" y="59"/>
                  </a:lnTo>
                  <a:lnTo>
                    <a:pt x="8" y="62"/>
                  </a:lnTo>
                  <a:lnTo>
                    <a:pt x="10" y="62"/>
                  </a:lnTo>
                  <a:lnTo>
                    <a:pt x="10" y="59"/>
                  </a:lnTo>
                  <a:lnTo>
                    <a:pt x="12" y="59"/>
                  </a:lnTo>
                  <a:lnTo>
                    <a:pt x="12" y="57"/>
                  </a:lnTo>
                  <a:lnTo>
                    <a:pt x="10" y="57"/>
                  </a:lnTo>
                  <a:lnTo>
                    <a:pt x="8" y="57"/>
                  </a:lnTo>
                  <a:lnTo>
                    <a:pt x="10" y="57"/>
                  </a:lnTo>
                  <a:lnTo>
                    <a:pt x="10" y="55"/>
                  </a:lnTo>
                  <a:lnTo>
                    <a:pt x="10" y="52"/>
                  </a:lnTo>
                  <a:lnTo>
                    <a:pt x="15" y="50"/>
                  </a:lnTo>
                  <a:lnTo>
                    <a:pt x="17" y="50"/>
                  </a:lnTo>
                  <a:lnTo>
                    <a:pt x="19" y="50"/>
                  </a:lnTo>
                  <a:lnTo>
                    <a:pt x="19" y="48"/>
                  </a:lnTo>
                  <a:lnTo>
                    <a:pt x="22" y="45"/>
                  </a:lnTo>
                  <a:lnTo>
                    <a:pt x="19" y="45"/>
                  </a:lnTo>
                  <a:lnTo>
                    <a:pt x="17" y="45"/>
                  </a:lnTo>
                  <a:lnTo>
                    <a:pt x="15" y="45"/>
                  </a:lnTo>
                  <a:lnTo>
                    <a:pt x="12" y="45"/>
                  </a:lnTo>
                  <a:lnTo>
                    <a:pt x="12" y="43"/>
                  </a:lnTo>
                  <a:lnTo>
                    <a:pt x="10" y="43"/>
                  </a:lnTo>
                  <a:lnTo>
                    <a:pt x="10" y="40"/>
                  </a:lnTo>
                  <a:lnTo>
                    <a:pt x="8" y="40"/>
                  </a:lnTo>
                  <a:lnTo>
                    <a:pt x="5" y="40"/>
                  </a:lnTo>
                  <a:lnTo>
                    <a:pt x="5" y="38"/>
                  </a:lnTo>
                  <a:lnTo>
                    <a:pt x="8" y="38"/>
                  </a:lnTo>
                  <a:lnTo>
                    <a:pt x="8" y="36"/>
                  </a:lnTo>
                  <a:lnTo>
                    <a:pt x="5" y="36"/>
                  </a:lnTo>
                  <a:lnTo>
                    <a:pt x="5" y="33"/>
                  </a:lnTo>
                  <a:lnTo>
                    <a:pt x="8" y="33"/>
                  </a:lnTo>
                  <a:lnTo>
                    <a:pt x="10" y="33"/>
                  </a:lnTo>
                  <a:lnTo>
                    <a:pt x="10" y="31"/>
                  </a:lnTo>
                  <a:lnTo>
                    <a:pt x="8" y="31"/>
                  </a:lnTo>
                  <a:lnTo>
                    <a:pt x="5" y="31"/>
                  </a:lnTo>
                  <a:lnTo>
                    <a:pt x="3" y="31"/>
                  </a:lnTo>
                  <a:lnTo>
                    <a:pt x="3" y="29"/>
                  </a:lnTo>
                  <a:lnTo>
                    <a:pt x="5" y="26"/>
                  </a:lnTo>
                  <a:lnTo>
                    <a:pt x="5" y="24"/>
                  </a:lnTo>
                  <a:lnTo>
                    <a:pt x="3" y="24"/>
                  </a:lnTo>
                  <a:lnTo>
                    <a:pt x="5" y="24"/>
                  </a:lnTo>
                  <a:lnTo>
                    <a:pt x="5" y="21"/>
                  </a:lnTo>
                  <a:lnTo>
                    <a:pt x="5" y="19"/>
                  </a:lnTo>
                  <a:lnTo>
                    <a:pt x="3" y="21"/>
                  </a:lnTo>
                  <a:lnTo>
                    <a:pt x="3" y="19"/>
                  </a:lnTo>
                  <a:lnTo>
                    <a:pt x="0" y="19"/>
                  </a:lnTo>
                  <a:lnTo>
                    <a:pt x="3" y="17"/>
                  </a:lnTo>
                  <a:lnTo>
                    <a:pt x="3" y="14"/>
                  </a:lnTo>
                  <a:lnTo>
                    <a:pt x="3" y="12"/>
                  </a:lnTo>
                  <a:lnTo>
                    <a:pt x="5" y="14"/>
                  </a:lnTo>
                  <a:lnTo>
                    <a:pt x="5" y="12"/>
                  </a:lnTo>
                  <a:lnTo>
                    <a:pt x="8" y="14"/>
                  </a:lnTo>
                  <a:lnTo>
                    <a:pt x="8" y="12"/>
                  </a:lnTo>
                  <a:lnTo>
                    <a:pt x="10" y="12"/>
                  </a:lnTo>
                  <a:lnTo>
                    <a:pt x="8" y="10"/>
                  </a:lnTo>
                  <a:lnTo>
                    <a:pt x="10" y="7"/>
                  </a:lnTo>
                  <a:lnTo>
                    <a:pt x="12" y="10"/>
                  </a:lnTo>
                  <a:lnTo>
                    <a:pt x="15" y="10"/>
                  </a:lnTo>
                  <a:lnTo>
                    <a:pt x="17" y="10"/>
                  </a:lnTo>
                  <a:lnTo>
                    <a:pt x="15" y="10"/>
                  </a:lnTo>
                  <a:lnTo>
                    <a:pt x="19" y="7"/>
                  </a:lnTo>
                  <a:lnTo>
                    <a:pt x="22" y="7"/>
                  </a:lnTo>
                  <a:lnTo>
                    <a:pt x="22" y="5"/>
                  </a:lnTo>
                  <a:lnTo>
                    <a:pt x="24" y="5"/>
                  </a:lnTo>
                  <a:lnTo>
                    <a:pt x="22" y="2"/>
                  </a:lnTo>
                  <a:lnTo>
                    <a:pt x="24" y="2"/>
                  </a:lnTo>
                  <a:lnTo>
                    <a:pt x="27" y="2"/>
                  </a:lnTo>
                  <a:lnTo>
                    <a:pt x="29" y="0"/>
                  </a:lnTo>
                  <a:close/>
                  <a:moveTo>
                    <a:pt x="19" y="124"/>
                  </a:moveTo>
                  <a:lnTo>
                    <a:pt x="22" y="124"/>
                  </a:lnTo>
                  <a:lnTo>
                    <a:pt x="19" y="124"/>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5" name="Freeform 56636"/>
            <p:cNvSpPr>
              <a:spLocks/>
            </p:cNvSpPr>
            <p:nvPr/>
          </p:nvSpPr>
          <p:spPr bwMode="auto">
            <a:xfrm>
              <a:off x="2906710" y="4730767"/>
              <a:ext cx="301625" cy="144463"/>
            </a:xfrm>
            <a:custGeom>
              <a:avLst/>
              <a:gdLst>
                <a:gd name="T0" fmla="*/ 95 w 190"/>
                <a:gd name="T1" fmla="*/ 8 h 91"/>
                <a:gd name="T2" fmla="*/ 100 w 190"/>
                <a:gd name="T3" fmla="*/ 12 h 91"/>
                <a:gd name="T4" fmla="*/ 100 w 190"/>
                <a:gd name="T5" fmla="*/ 20 h 91"/>
                <a:gd name="T6" fmla="*/ 107 w 190"/>
                <a:gd name="T7" fmla="*/ 20 h 91"/>
                <a:gd name="T8" fmla="*/ 112 w 190"/>
                <a:gd name="T9" fmla="*/ 12 h 91"/>
                <a:gd name="T10" fmla="*/ 121 w 190"/>
                <a:gd name="T11" fmla="*/ 10 h 91"/>
                <a:gd name="T12" fmla="*/ 131 w 190"/>
                <a:gd name="T13" fmla="*/ 12 h 91"/>
                <a:gd name="T14" fmla="*/ 133 w 190"/>
                <a:gd name="T15" fmla="*/ 12 h 91"/>
                <a:gd name="T16" fmla="*/ 138 w 190"/>
                <a:gd name="T17" fmla="*/ 15 h 91"/>
                <a:gd name="T18" fmla="*/ 140 w 190"/>
                <a:gd name="T19" fmla="*/ 10 h 91"/>
                <a:gd name="T20" fmla="*/ 147 w 190"/>
                <a:gd name="T21" fmla="*/ 8 h 91"/>
                <a:gd name="T22" fmla="*/ 154 w 190"/>
                <a:gd name="T23" fmla="*/ 8 h 91"/>
                <a:gd name="T24" fmla="*/ 164 w 190"/>
                <a:gd name="T25" fmla="*/ 10 h 91"/>
                <a:gd name="T26" fmla="*/ 171 w 190"/>
                <a:gd name="T27" fmla="*/ 15 h 91"/>
                <a:gd name="T28" fmla="*/ 178 w 190"/>
                <a:gd name="T29" fmla="*/ 20 h 91"/>
                <a:gd name="T30" fmla="*/ 185 w 190"/>
                <a:gd name="T31" fmla="*/ 24 h 91"/>
                <a:gd name="T32" fmla="*/ 187 w 190"/>
                <a:gd name="T33" fmla="*/ 29 h 91"/>
                <a:gd name="T34" fmla="*/ 183 w 190"/>
                <a:gd name="T35" fmla="*/ 36 h 91"/>
                <a:gd name="T36" fmla="*/ 180 w 190"/>
                <a:gd name="T37" fmla="*/ 46 h 91"/>
                <a:gd name="T38" fmla="*/ 176 w 190"/>
                <a:gd name="T39" fmla="*/ 55 h 91"/>
                <a:gd name="T40" fmla="*/ 171 w 190"/>
                <a:gd name="T41" fmla="*/ 58 h 91"/>
                <a:gd name="T42" fmla="*/ 161 w 190"/>
                <a:gd name="T43" fmla="*/ 60 h 91"/>
                <a:gd name="T44" fmla="*/ 154 w 190"/>
                <a:gd name="T45" fmla="*/ 50 h 91"/>
                <a:gd name="T46" fmla="*/ 150 w 190"/>
                <a:gd name="T47" fmla="*/ 53 h 91"/>
                <a:gd name="T48" fmla="*/ 142 w 190"/>
                <a:gd name="T49" fmla="*/ 53 h 91"/>
                <a:gd name="T50" fmla="*/ 133 w 190"/>
                <a:gd name="T51" fmla="*/ 50 h 91"/>
                <a:gd name="T52" fmla="*/ 126 w 190"/>
                <a:gd name="T53" fmla="*/ 50 h 91"/>
                <a:gd name="T54" fmla="*/ 121 w 190"/>
                <a:gd name="T55" fmla="*/ 53 h 91"/>
                <a:gd name="T56" fmla="*/ 116 w 190"/>
                <a:gd name="T57" fmla="*/ 62 h 91"/>
                <a:gd name="T58" fmla="*/ 109 w 190"/>
                <a:gd name="T59" fmla="*/ 67 h 91"/>
                <a:gd name="T60" fmla="*/ 102 w 190"/>
                <a:gd name="T61" fmla="*/ 69 h 91"/>
                <a:gd name="T62" fmla="*/ 97 w 190"/>
                <a:gd name="T63" fmla="*/ 67 h 91"/>
                <a:gd name="T64" fmla="*/ 90 w 190"/>
                <a:gd name="T65" fmla="*/ 67 h 91"/>
                <a:gd name="T66" fmla="*/ 88 w 190"/>
                <a:gd name="T67" fmla="*/ 72 h 91"/>
                <a:gd name="T68" fmla="*/ 81 w 190"/>
                <a:gd name="T69" fmla="*/ 74 h 91"/>
                <a:gd name="T70" fmla="*/ 69 w 190"/>
                <a:gd name="T71" fmla="*/ 74 h 91"/>
                <a:gd name="T72" fmla="*/ 64 w 190"/>
                <a:gd name="T73" fmla="*/ 79 h 91"/>
                <a:gd name="T74" fmla="*/ 69 w 190"/>
                <a:gd name="T75" fmla="*/ 86 h 91"/>
                <a:gd name="T76" fmla="*/ 59 w 190"/>
                <a:gd name="T77" fmla="*/ 88 h 91"/>
                <a:gd name="T78" fmla="*/ 47 w 190"/>
                <a:gd name="T79" fmla="*/ 88 h 91"/>
                <a:gd name="T80" fmla="*/ 36 w 190"/>
                <a:gd name="T81" fmla="*/ 88 h 91"/>
                <a:gd name="T82" fmla="*/ 26 w 190"/>
                <a:gd name="T83" fmla="*/ 86 h 91"/>
                <a:gd name="T84" fmla="*/ 19 w 190"/>
                <a:gd name="T85" fmla="*/ 81 h 91"/>
                <a:gd name="T86" fmla="*/ 12 w 190"/>
                <a:gd name="T87" fmla="*/ 77 h 91"/>
                <a:gd name="T88" fmla="*/ 7 w 190"/>
                <a:gd name="T89" fmla="*/ 69 h 91"/>
                <a:gd name="T90" fmla="*/ 2 w 190"/>
                <a:gd name="T91" fmla="*/ 60 h 91"/>
                <a:gd name="T92" fmla="*/ 2 w 190"/>
                <a:gd name="T93" fmla="*/ 60 h 91"/>
                <a:gd name="T94" fmla="*/ 5 w 190"/>
                <a:gd name="T95" fmla="*/ 50 h 91"/>
                <a:gd name="T96" fmla="*/ 7 w 190"/>
                <a:gd name="T97" fmla="*/ 41 h 91"/>
                <a:gd name="T98" fmla="*/ 14 w 190"/>
                <a:gd name="T99" fmla="*/ 36 h 91"/>
                <a:gd name="T100" fmla="*/ 24 w 190"/>
                <a:gd name="T101" fmla="*/ 36 h 91"/>
                <a:gd name="T102" fmla="*/ 31 w 190"/>
                <a:gd name="T103" fmla="*/ 36 h 91"/>
                <a:gd name="T104" fmla="*/ 36 w 190"/>
                <a:gd name="T105" fmla="*/ 31 h 91"/>
                <a:gd name="T106" fmla="*/ 40 w 190"/>
                <a:gd name="T107" fmla="*/ 27 h 91"/>
                <a:gd name="T108" fmla="*/ 45 w 190"/>
                <a:gd name="T109" fmla="*/ 20 h 91"/>
                <a:gd name="T110" fmla="*/ 52 w 190"/>
                <a:gd name="T111" fmla="*/ 15 h 91"/>
                <a:gd name="T112" fmla="*/ 57 w 190"/>
                <a:gd name="T113" fmla="*/ 8 h 91"/>
                <a:gd name="T114" fmla="*/ 66 w 190"/>
                <a:gd name="T115" fmla="*/ 5 h 91"/>
                <a:gd name="T116" fmla="*/ 71 w 190"/>
                <a:gd name="T117" fmla="*/ 3 h 91"/>
                <a:gd name="T118" fmla="*/ 76 w 190"/>
                <a:gd name="T119" fmla="*/ 10 h 91"/>
                <a:gd name="T120" fmla="*/ 81 w 190"/>
                <a:gd name="T121" fmla="*/ 3 h 91"/>
                <a:gd name="T122" fmla="*/ 90 w 190"/>
                <a:gd name="T1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 h="91">
                  <a:moveTo>
                    <a:pt x="90" y="0"/>
                  </a:moveTo>
                  <a:lnTo>
                    <a:pt x="90" y="3"/>
                  </a:lnTo>
                  <a:lnTo>
                    <a:pt x="90" y="5"/>
                  </a:lnTo>
                  <a:lnTo>
                    <a:pt x="93" y="8"/>
                  </a:lnTo>
                  <a:lnTo>
                    <a:pt x="95" y="8"/>
                  </a:lnTo>
                  <a:lnTo>
                    <a:pt x="93" y="10"/>
                  </a:lnTo>
                  <a:lnTo>
                    <a:pt x="95" y="10"/>
                  </a:lnTo>
                  <a:lnTo>
                    <a:pt x="97" y="10"/>
                  </a:lnTo>
                  <a:lnTo>
                    <a:pt x="100" y="10"/>
                  </a:lnTo>
                  <a:lnTo>
                    <a:pt x="100" y="12"/>
                  </a:lnTo>
                  <a:lnTo>
                    <a:pt x="100" y="15"/>
                  </a:lnTo>
                  <a:lnTo>
                    <a:pt x="100" y="17"/>
                  </a:lnTo>
                  <a:lnTo>
                    <a:pt x="97" y="17"/>
                  </a:lnTo>
                  <a:lnTo>
                    <a:pt x="97" y="20"/>
                  </a:lnTo>
                  <a:lnTo>
                    <a:pt x="100" y="20"/>
                  </a:lnTo>
                  <a:lnTo>
                    <a:pt x="102" y="20"/>
                  </a:lnTo>
                  <a:lnTo>
                    <a:pt x="102" y="17"/>
                  </a:lnTo>
                  <a:lnTo>
                    <a:pt x="104" y="17"/>
                  </a:lnTo>
                  <a:lnTo>
                    <a:pt x="104" y="20"/>
                  </a:lnTo>
                  <a:lnTo>
                    <a:pt x="107" y="20"/>
                  </a:lnTo>
                  <a:lnTo>
                    <a:pt x="109" y="20"/>
                  </a:lnTo>
                  <a:lnTo>
                    <a:pt x="109" y="17"/>
                  </a:lnTo>
                  <a:lnTo>
                    <a:pt x="109" y="15"/>
                  </a:lnTo>
                  <a:lnTo>
                    <a:pt x="112" y="15"/>
                  </a:lnTo>
                  <a:lnTo>
                    <a:pt x="112" y="12"/>
                  </a:lnTo>
                  <a:lnTo>
                    <a:pt x="114" y="12"/>
                  </a:lnTo>
                  <a:lnTo>
                    <a:pt x="116" y="12"/>
                  </a:lnTo>
                  <a:lnTo>
                    <a:pt x="116" y="10"/>
                  </a:lnTo>
                  <a:lnTo>
                    <a:pt x="119" y="10"/>
                  </a:lnTo>
                  <a:lnTo>
                    <a:pt x="121" y="10"/>
                  </a:lnTo>
                  <a:lnTo>
                    <a:pt x="123" y="10"/>
                  </a:lnTo>
                  <a:lnTo>
                    <a:pt x="126" y="10"/>
                  </a:lnTo>
                  <a:lnTo>
                    <a:pt x="128" y="10"/>
                  </a:lnTo>
                  <a:lnTo>
                    <a:pt x="131" y="10"/>
                  </a:lnTo>
                  <a:lnTo>
                    <a:pt x="131" y="12"/>
                  </a:lnTo>
                  <a:lnTo>
                    <a:pt x="131" y="10"/>
                  </a:lnTo>
                  <a:lnTo>
                    <a:pt x="131" y="12"/>
                  </a:lnTo>
                  <a:lnTo>
                    <a:pt x="133" y="12"/>
                  </a:lnTo>
                  <a:lnTo>
                    <a:pt x="131" y="12"/>
                  </a:lnTo>
                  <a:lnTo>
                    <a:pt x="133" y="12"/>
                  </a:lnTo>
                  <a:lnTo>
                    <a:pt x="135" y="12"/>
                  </a:lnTo>
                  <a:lnTo>
                    <a:pt x="135" y="15"/>
                  </a:lnTo>
                  <a:lnTo>
                    <a:pt x="135" y="12"/>
                  </a:lnTo>
                  <a:lnTo>
                    <a:pt x="135" y="15"/>
                  </a:lnTo>
                  <a:lnTo>
                    <a:pt x="138" y="15"/>
                  </a:lnTo>
                  <a:lnTo>
                    <a:pt x="138" y="12"/>
                  </a:lnTo>
                  <a:lnTo>
                    <a:pt x="140" y="12"/>
                  </a:lnTo>
                  <a:lnTo>
                    <a:pt x="142" y="12"/>
                  </a:lnTo>
                  <a:lnTo>
                    <a:pt x="142" y="10"/>
                  </a:lnTo>
                  <a:lnTo>
                    <a:pt x="140" y="10"/>
                  </a:lnTo>
                  <a:lnTo>
                    <a:pt x="140" y="8"/>
                  </a:lnTo>
                  <a:lnTo>
                    <a:pt x="142" y="8"/>
                  </a:lnTo>
                  <a:lnTo>
                    <a:pt x="145" y="10"/>
                  </a:lnTo>
                  <a:lnTo>
                    <a:pt x="145" y="8"/>
                  </a:lnTo>
                  <a:lnTo>
                    <a:pt x="147" y="8"/>
                  </a:lnTo>
                  <a:lnTo>
                    <a:pt x="150" y="8"/>
                  </a:lnTo>
                  <a:lnTo>
                    <a:pt x="152" y="8"/>
                  </a:lnTo>
                  <a:lnTo>
                    <a:pt x="152" y="10"/>
                  </a:lnTo>
                  <a:lnTo>
                    <a:pt x="154" y="10"/>
                  </a:lnTo>
                  <a:lnTo>
                    <a:pt x="154" y="8"/>
                  </a:lnTo>
                  <a:lnTo>
                    <a:pt x="157" y="10"/>
                  </a:lnTo>
                  <a:lnTo>
                    <a:pt x="157" y="8"/>
                  </a:lnTo>
                  <a:lnTo>
                    <a:pt x="159" y="8"/>
                  </a:lnTo>
                  <a:lnTo>
                    <a:pt x="161" y="10"/>
                  </a:lnTo>
                  <a:lnTo>
                    <a:pt x="164" y="10"/>
                  </a:lnTo>
                  <a:lnTo>
                    <a:pt x="164" y="12"/>
                  </a:lnTo>
                  <a:lnTo>
                    <a:pt x="166" y="10"/>
                  </a:lnTo>
                  <a:lnTo>
                    <a:pt x="169" y="12"/>
                  </a:lnTo>
                  <a:lnTo>
                    <a:pt x="171" y="12"/>
                  </a:lnTo>
                  <a:lnTo>
                    <a:pt x="171" y="15"/>
                  </a:lnTo>
                  <a:lnTo>
                    <a:pt x="173" y="15"/>
                  </a:lnTo>
                  <a:lnTo>
                    <a:pt x="173" y="17"/>
                  </a:lnTo>
                  <a:lnTo>
                    <a:pt x="173" y="20"/>
                  </a:lnTo>
                  <a:lnTo>
                    <a:pt x="176" y="20"/>
                  </a:lnTo>
                  <a:lnTo>
                    <a:pt x="178" y="20"/>
                  </a:lnTo>
                  <a:lnTo>
                    <a:pt x="178" y="22"/>
                  </a:lnTo>
                  <a:lnTo>
                    <a:pt x="180" y="22"/>
                  </a:lnTo>
                  <a:lnTo>
                    <a:pt x="183" y="22"/>
                  </a:lnTo>
                  <a:lnTo>
                    <a:pt x="185" y="22"/>
                  </a:lnTo>
                  <a:lnTo>
                    <a:pt x="185" y="24"/>
                  </a:lnTo>
                  <a:lnTo>
                    <a:pt x="187" y="24"/>
                  </a:lnTo>
                  <a:lnTo>
                    <a:pt x="190" y="24"/>
                  </a:lnTo>
                  <a:lnTo>
                    <a:pt x="190" y="27"/>
                  </a:lnTo>
                  <a:lnTo>
                    <a:pt x="190" y="29"/>
                  </a:lnTo>
                  <a:lnTo>
                    <a:pt x="187" y="29"/>
                  </a:lnTo>
                  <a:lnTo>
                    <a:pt x="187" y="31"/>
                  </a:lnTo>
                  <a:lnTo>
                    <a:pt x="185" y="31"/>
                  </a:lnTo>
                  <a:lnTo>
                    <a:pt x="185" y="34"/>
                  </a:lnTo>
                  <a:lnTo>
                    <a:pt x="185" y="36"/>
                  </a:lnTo>
                  <a:lnTo>
                    <a:pt x="183" y="36"/>
                  </a:lnTo>
                  <a:lnTo>
                    <a:pt x="185" y="39"/>
                  </a:lnTo>
                  <a:lnTo>
                    <a:pt x="183" y="39"/>
                  </a:lnTo>
                  <a:lnTo>
                    <a:pt x="183" y="41"/>
                  </a:lnTo>
                  <a:lnTo>
                    <a:pt x="183" y="43"/>
                  </a:lnTo>
                  <a:lnTo>
                    <a:pt x="180" y="46"/>
                  </a:lnTo>
                  <a:lnTo>
                    <a:pt x="180" y="48"/>
                  </a:lnTo>
                  <a:lnTo>
                    <a:pt x="178" y="48"/>
                  </a:lnTo>
                  <a:lnTo>
                    <a:pt x="176" y="50"/>
                  </a:lnTo>
                  <a:lnTo>
                    <a:pt x="176" y="53"/>
                  </a:lnTo>
                  <a:lnTo>
                    <a:pt x="176" y="55"/>
                  </a:lnTo>
                  <a:lnTo>
                    <a:pt x="176" y="58"/>
                  </a:lnTo>
                  <a:lnTo>
                    <a:pt x="176" y="60"/>
                  </a:lnTo>
                  <a:lnTo>
                    <a:pt x="173" y="60"/>
                  </a:lnTo>
                  <a:lnTo>
                    <a:pt x="173" y="58"/>
                  </a:lnTo>
                  <a:lnTo>
                    <a:pt x="171" y="58"/>
                  </a:lnTo>
                  <a:lnTo>
                    <a:pt x="171" y="60"/>
                  </a:lnTo>
                  <a:lnTo>
                    <a:pt x="169" y="60"/>
                  </a:lnTo>
                  <a:lnTo>
                    <a:pt x="166" y="60"/>
                  </a:lnTo>
                  <a:lnTo>
                    <a:pt x="164" y="60"/>
                  </a:lnTo>
                  <a:lnTo>
                    <a:pt x="161" y="60"/>
                  </a:lnTo>
                  <a:lnTo>
                    <a:pt x="161" y="58"/>
                  </a:lnTo>
                  <a:lnTo>
                    <a:pt x="159" y="55"/>
                  </a:lnTo>
                  <a:lnTo>
                    <a:pt x="159" y="53"/>
                  </a:lnTo>
                  <a:lnTo>
                    <a:pt x="157" y="53"/>
                  </a:lnTo>
                  <a:lnTo>
                    <a:pt x="154" y="50"/>
                  </a:lnTo>
                  <a:lnTo>
                    <a:pt x="154" y="48"/>
                  </a:lnTo>
                  <a:lnTo>
                    <a:pt x="152" y="48"/>
                  </a:lnTo>
                  <a:lnTo>
                    <a:pt x="152" y="50"/>
                  </a:lnTo>
                  <a:lnTo>
                    <a:pt x="150" y="50"/>
                  </a:lnTo>
                  <a:lnTo>
                    <a:pt x="150" y="53"/>
                  </a:lnTo>
                  <a:lnTo>
                    <a:pt x="147" y="53"/>
                  </a:lnTo>
                  <a:lnTo>
                    <a:pt x="147" y="50"/>
                  </a:lnTo>
                  <a:lnTo>
                    <a:pt x="145" y="50"/>
                  </a:lnTo>
                  <a:lnTo>
                    <a:pt x="145" y="53"/>
                  </a:lnTo>
                  <a:lnTo>
                    <a:pt x="142" y="53"/>
                  </a:lnTo>
                  <a:lnTo>
                    <a:pt x="140" y="53"/>
                  </a:lnTo>
                  <a:lnTo>
                    <a:pt x="138" y="53"/>
                  </a:lnTo>
                  <a:lnTo>
                    <a:pt x="138" y="50"/>
                  </a:lnTo>
                  <a:lnTo>
                    <a:pt x="135" y="50"/>
                  </a:lnTo>
                  <a:lnTo>
                    <a:pt x="133" y="50"/>
                  </a:lnTo>
                  <a:lnTo>
                    <a:pt x="133" y="48"/>
                  </a:lnTo>
                  <a:lnTo>
                    <a:pt x="133" y="50"/>
                  </a:lnTo>
                  <a:lnTo>
                    <a:pt x="131" y="50"/>
                  </a:lnTo>
                  <a:lnTo>
                    <a:pt x="128" y="50"/>
                  </a:lnTo>
                  <a:lnTo>
                    <a:pt x="126" y="50"/>
                  </a:lnTo>
                  <a:lnTo>
                    <a:pt x="123" y="50"/>
                  </a:lnTo>
                  <a:lnTo>
                    <a:pt x="123" y="53"/>
                  </a:lnTo>
                  <a:lnTo>
                    <a:pt x="123" y="50"/>
                  </a:lnTo>
                  <a:lnTo>
                    <a:pt x="121" y="50"/>
                  </a:lnTo>
                  <a:lnTo>
                    <a:pt x="121" y="53"/>
                  </a:lnTo>
                  <a:lnTo>
                    <a:pt x="121" y="55"/>
                  </a:lnTo>
                  <a:lnTo>
                    <a:pt x="119" y="58"/>
                  </a:lnTo>
                  <a:lnTo>
                    <a:pt x="119" y="60"/>
                  </a:lnTo>
                  <a:lnTo>
                    <a:pt x="119" y="62"/>
                  </a:lnTo>
                  <a:lnTo>
                    <a:pt x="116" y="62"/>
                  </a:lnTo>
                  <a:lnTo>
                    <a:pt x="116" y="65"/>
                  </a:lnTo>
                  <a:lnTo>
                    <a:pt x="114" y="65"/>
                  </a:lnTo>
                  <a:lnTo>
                    <a:pt x="112" y="65"/>
                  </a:lnTo>
                  <a:lnTo>
                    <a:pt x="109" y="65"/>
                  </a:lnTo>
                  <a:lnTo>
                    <a:pt x="109" y="67"/>
                  </a:lnTo>
                  <a:lnTo>
                    <a:pt x="107" y="67"/>
                  </a:lnTo>
                  <a:lnTo>
                    <a:pt x="107" y="69"/>
                  </a:lnTo>
                  <a:lnTo>
                    <a:pt x="104" y="69"/>
                  </a:lnTo>
                  <a:lnTo>
                    <a:pt x="102" y="72"/>
                  </a:lnTo>
                  <a:lnTo>
                    <a:pt x="102" y="69"/>
                  </a:lnTo>
                  <a:lnTo>
                    <a:pt x="100" y="69"/>
                  </a:lnTo>
                  <a:lnTo>
                    <a:pt x="97" y="69"/>
                  </a:lnTo>
                  <a:lnTo>
                    <a:pt x="100" y="69"/>
                  </a:lnTo>
                  <a:lnTo>
                    <a:pt x="100" y="67"/>
                  </a:lnTo>
                  <a:lnTo>
                    <a:pt x="97" y="67"/>
                  </a:lnTo>
                  <a:lnTo>
                    <a:pt x="95" y="67"/>
                  </a:lnTo>
                  <a:lnTo>
                    <a:pt x="95" y="65"/>
                  </a:lnTo>
                  <a:lnTo>
                    <a:pt x="93" y="65"/>
                  </a:lnTo>
                  <a:lnTo>
                    <a:pt x="93" y="67"/>
                  </a:lnTo>
                  <a:lnTo>
                    <a:pt x="90" y="67"/>
                  </a:lnTo>
                  <a:lnTo>
                    <a:pt x="90" y="69"/>
                  </a:lnTo>
                  <a:lnTo>
                    <a:pt x="88" y="69"/>
                  </a:lnTo>
                  <a:lnTo>
                    <a:pt x="88" y="72"/>
                  </a:lnTo>
                  <a:lnTo>
                    <a:pt x="88" y="74"/>
                  </a:lnTo>
                  <a:lnTo>
                    <a:pt x="88" y="72"/>
                  </a:lnTo>
                  <a:lnTo>
                    <a:pt x="85" y="72"/>
                  </a:lnTo>
                  <a:lnTo>
                    <a:pt x="85" y="74"/>
                  </a:lnTo>
                  <a:lnTo>
                    <a:pt x="85" y="72"/>
                  </a:lnTo>
                  <a:lnTo>
                    <a:pt x="83" y="72"/>
                  </a:lnTo>
                  <a:lnTo>
                    <a:pt x="81" y="74"/>
                  </a:lnTo>
                  <a:lnTo>
                    <a:pt x="78" y="74"/>
                  </a:lnTo>
                  <a:lnTo>
                    <a:pt x="76" y="74"/>
                  </a:lnTo>
                  <a:lnTo>
                    <a:pt x="74" y="74"/>
                  </a:lnTo>
                  <a:lnTo>
                    <a:pt x="71" y="74"/>
                  </a:lnTo>
                  <a:lnTo>
                    <a:pt x="69" y="74"/>
                  </a:lnTo>
                  <a:lnTo>
                    <a:pt x="66" y="74"/>
                  </a:lnTo>
                  <a:lnTo>
                    <a:pt x="66" y="77"/>
                  </a:lnTo>
                  <a:lnTo>
                    <a:pt x="66" y="79"/>
                  </a:lnTo>
                  <a:lnTo>
                    <a:pt x="66" y="77"/>
                  </a:lnTo>
                  <a:lnTo>
                    <a:pt x="64" y="79"/>
                  </a:lnTo>
                  <a:lnTo>
                    <a:pt x="64" y="81"/>
                  </a:lnTo>
                  <a:lnTo>
                    <a:pt x="64" y="84"/>
                  </a:lnTo>
                  <a:lnTo>
                    <a:pt x="66" y="84"/>
                  </a:lnTo>
                  <a:lnTo>
                    <a:pt x="66" y="86"/>
                  </a:lnTo>
                  <a:lnTo>
                    <a:pt x="69" y="86"/>
                  </a:lnTo>
                  <a:lnTo>
                    <a:pt x="66" y="86"/>
                  </a:lnTo>
                  <a:lnTo>
                    <a:pt x="64" y="86"/>
                  </a:lnTo>
                  <a:lnTo>
                    <a:pt x="64" y="88"/>
                  </a:lnTo>
                  <a:lnTo>
                    <a:pt x="62" y="88"/>
                  </a:lnTo>
                  <a:lnTo>
                    <a:pt x="59" y="88"/>
                  </a:lnTo>
                  <a:lnTo>
                    <a:pt x="57" y="88"/>
                  </a:lnTo>
                  <a:lnTo>
                    <a:pt x="55" y="88"/>
                  </a:lnTo>
                  <a:lnTo>
                    <a:pt x="52" y="88"/>
                  </a:lnTo>
                  <a:lnTo>
                    <a:pt x="50" y="91"/>
                  </a:lnTo>
                  <a:lnTo>
                    <a:pt x="47" y="88"/>
                  </a:lnTo>
                  <a:lnTo>
                    <a:pt x="45" y="88"/>
                  </a:lnTo>
                  <a:lnTo>
                    <a:pt x="43" y="88"/>
                  </a:lnTo>
                  <a:lnTo>
                    <a:pt x="40" y="88"/>
                  </a:lnTo>
                  <a:lnTo>
                    <a:pt x="38" y="88"/>
                  </a:lnTo>
                  <a:lnTo>
                    <a:pt x="36" y="88"/>
                  </a:lnTo>
                  <a:lnTo>
                    <a:pt x="33" y="88"/>
                  </a:lnTo>
                  <a:lnTo>
                    <a:pt x="31" y="88"/>
                  </a:lnTo>
                  <a:lnTo>
                    <a:pt x="29" y="88"/>
                  </a:lnTo>
                  <a:lnTo>
                    <a:pt x="29" y="86"/>
                  </a:lnTo>
                  <a:lnTo>
                    <a:pt x="26" y="86"/>
                  </a:lnTo>
                  <a:lnTo>
                    <a:pt x="24" y="86"/>
                  </a:lnTo>
                  <a:lnTo>
                    <a:pt x="24" y="84"/>
                  </a:lnTo>
                  <a:lnTo>
                    <a:pt x="21" y="84"/>
                  </a:lnTo>
                  <a:lnTo>
                    <a:pt x="21" y="81"/>
                  </a:lnTo>
                  <a:lnTo>
                    <a:pt x="19" y="81"/>
                  </a:lnTo>
                  <a:lnTo>
                    <a:pt x="19" y="79"/>
                  </a:lnTo>
                  <a:lnTo>
                    <a:pt x="17" y="79"/>
                  </a:lnTo>
                  <a:lnTo>
                    <a:pt x="17" y="77"/>
                  </a:lnTo>
                  <a:lnTo>
                    <a:pt x="14" y="77"/>
                  </a:lnTo>
                  <a:lnTo>
                    <a:pt x="12" y="77"/>
                  </a:lnTo>
                  <a:lnTo>
                    <a:pt x="10" y="77"/>
                  </a:lnTo>
                  <a:lnTo>
                    <a:pt x="10" y="74"/>
                  </a:lnTo>
                  <a:lnTo>
                    <a:pt x="10" y="72"/>
                  </a:lnTo>
                  <a:lnTo>
                    <a:pt x="10" y="69"/>
                  </a:lnTo>
                  <a:lnTo>
                    <a:pt x="7" y="69"/>
                  </a:lnTo>
                  <a:lnTo>
                    <a:pt x="5" y="69"/>
                  </a:lnTo>
                  <a:lnTo>
                    <a:pt x="5" y="67"/>
                  </a:lnTo>
                  <a:lnTo>
                    <a:pt x="5" y="65"/>
                  </a:lnTo>
                  <a:lnTo>
                    <a:pt x="2" y="62"/>
                  </a:lnTo>
                  <a:lnTo>
                    <a:pt x="2" y="60"/>
                  </a:lnTo>
                  <a:lnTo>
                    <a:pt x="0" y="60"/>
                  </a:lnTo>
                  <a:lnTo>
                    <a:pt x="2" y="60"/>
                  </a:lnTo>
                  <a:lnTo>
                    <a:pt x="0" y="60"/>
                  </a:lnTo>
                  <a:lnTo>
                    <a:pt x="0" y="58"/>
                  </a:lnTo>
                  <a:lnTo>
                    <a:pt x="2" y="60"/>
                  </a:lnTo>
                  <a:lnTo>
                    <a:pt x="2" y="58"/>
                  </a:lnTo>
                  <a:lnTo>
                    <a:pt x="2" y="55"/>
                  </a:lnTo>
                  <a:lnTo>
                    <a:pt x="2" y="53"/>
                  </a:lnTo>
                  <a:lnTo>
                    <a:pt x="5" y="53"/>
                  </a:lnTo>
                  <a:lnTo>
                    <a:pt x="5" y="50"/>
                  </a:lnTo>
                  <a:lnTo>
                    <a:pt x="5" y="48"/>
                  </a:lnTo>
                  <a:lnTo>
                    <a:pt x="5" y="46"/>
                  </a:lnTo>
                  <a:lnTo>
                    <a:pt x="5" y="43"/>
                  </a:lnTo>
                  <a:lnTo>
                    <a:pt x="7" y="43"/>
                  </a:lnTo>
                  <a:lnTo>
                    <a:pt x="7" y="41"/>
                  </a:lnTo>
                  <a:lnTo>
                    <a:pt x="10" y="41"/>
                  </a:lnTo>
                  <a:lnTo>
                    <a:pt x="10" y="39"/>
                  </a:lnTo>
                  <a:lnTo>
                    <a:pt x="10" y="36"/>
                  </a:lnTo>
                  <a:lnTo>
                    <a:pt x="12" y="36"/>
                  </a:lnTo>
                  <a:lnTo>
                    <a:pt x="14" y="36"/>
                  </a:lnTo>
                  <a:lnTo>
                    <a:pt x="17" y="36"/>
                  </a:lnTo>
                  <a:lnTo>
                    <a:pt x="19" y="39"/>
                  </a:lnTo>
                  <a:lnTo>
                    <a:pt x="21" y="39"/>
                  </a:lnTo>
                  <a:lnTo>
                    <a:pt x="21" y="36"/>
                  </a:lnTo>
                  <a:lnTo>
                    <a:pt x="24" y="36"/>
                  </a:lnTo>
                  <a:lnTo>
                    <a:pt x="24" y="39"/>
                  </a:lnTo>
                  <a:lnTo>
                    <a:pt x="26" y="39"/>
                  </a:lnTo>
                  <a:lnTo>
                    <a:pt x="26" y="36"/>
                  </a:lnTo>
                  <a:lnTo>
                    <a:pt x="29" y="36"/>
                  </a:lnTo>
                  <a:lnTo>
                    <a:pt x="31" y="36"/>
                  </a:lnTo>
                  <a:lnTo>
                    <a:pt x="31" y="34"/>
                  </a:lnTo>
                  <a:lnTo>
                    <a:pt x="33" y="34"/>
                  </a:lnTo>
                  <a:lnTo>
                    <a:pt x="33" y="31"/>
                  </a:lnTo>
                  <a:lnTo>
                    <a:pt x="36" y="34"/>
                  </a:lnTo>
                  <a:lnTo>
                    <a:pt x="36" y="31"/>
                  </a:lnTo>
                  <a:lnTo>
                    <a:pt x="36" y="29"/>
                  </a:lnTo>
                  <a:lnTo>
                    <a:pt x="38" y="29"/>
                  </a:lnTo>
                  <a:lnTo>
                    <a:pt x="40" y="27"/>
                  </a:lnTo>
                  <a:lnTo>
                    <a:pt x="40" y="29"/>
                  </a:lnTo>
                  <a:lnTo>
                    <a:pt x="40" y="27"/>
                  </a:lnTo>
                  <a:lnTo>
                    <a:pt x="43" y="27"/>
                  </a:lnTo>
                  <a:lnTo>
                    <a:pt x="43" y="24"/>
                  </a:lnTo>
                  <a:lnTo>
                    <a:pt x="43" y="22"/>
                  </a:lnTo>
                  <a:lnTo>
                    <a:pt x="43" y="20"/>
                  </a:lnTo>
                  <a:lnTo>
                    <a:pt x="45" y="20"/>
                  </a:lnTo>
                  <a:lnTo>
                    <a:pt x="45" y="17"/>
                  </a:lnTo>
                  <a:lnTo>
                    <a:pt x="45" y="15"/>
                  </a:lnTo>
                  <a:lnTo>
                    <a:pt x="47" y="15"/>
                  </a:lnTo>
                  <a:lnTo>
                    <a:pt x="50" y="15"/>
                  </a:lnTo>
                  <a:lnTo>
                    <a:pt x="52" y="15"/>
                  </a:lnTo>
                  <a:lnTo>
                    <a:pt x="52" y="12"/>
                  </a:lnTo>
                  <a:lnTo>
                    <a:pt x="52" y="10"/>
                  </a:lnTo>
                  <a:lnTo>
                    <a:pt x="55" y="10"/>
                  </a:lnTo>
                  <a:lnTo>
                    <a:pt x="55" y="8"/>
                  </a:lnTo>
                  <a:lnTo>
                    <a:pt x="57" y="8"/>
                  </a:lnTo>
                  <a:lnTo>
                    <a:pt x="57" y="5"/>
                  </a:lnTo>
                  <a:lnTo>
                    <a:pt x="59" y="5"/>
                  </a:lnTo>
                  <a:lnTo>
                    <a:pt x="62" y="5"/>
                  </a:lnTo>
                  <a:lnTo>
                    <a:pt x="64" y="5"/>
                  </a:lnTo>
                  <a:lnTo>
                    <a:pt x="66" y="5"/>
                  </a:lnTo>
                  <a:lnTo>
                    <a:pt x="66" y="3"/>
                  </a:lnTo>
                  <a:lnTo>
                    <a:pt x="69" y="3"/>
                  </a:lnTo>
                  <a:lnTo>
                    <a:pt x="69" y="5"/>
                  </a:lnTo>
                  <a:lnTo>
                    <a:pt x="69" y="3"/>
                  </a:lnTo>
                  <a:lnTo>
                    <a:pt x="71" y="3"/>
                  </a:lnTo>
                  <a:lnTo>
                    <a:pt x="71" y="5"/>
                  </a:lnTo>
                  <a:lnTo>
                    <a:pt x="71" y="8"/>
                  </a:lnTo>
                  <a:lnTo>
                    <a:pt x="71" y="10"/>
                  </a:lnTo>
                  <a:lnTo>
                    <a:pt x="74" y="10"/>
                  </a:lnTo>
                  <a:lnTo>
                    <a:pt x="76" y="10"/>
                  </a:lnTo>
                  <a:lnTo>
                    <a:pt x="78" y="10"/>
                  </a:lnTo>
                  <a:lnTo>
                    <a:pt x="78" y="8"/>
                  </a:lnTo>
                  <a:lnTo>
                    <a:pt x="81" y="8"/>
                  </a:lnTo>
                  <a:lnTo>
                    <a:pt x="81" y="5"/>
                  </a:lnTo>
                  <a:lnTo>
                    <a:pt x="81" y="3"/>
                  </a:lnTo>
                  <a:lnTo>
                    <a:pt x="83" y="3"/>
                  </a:lnTo>
                  <a:lnTo>
                    <a:pt x="85" y="3"/>
                  </a:lnTo>
                  <a:lnTo>
                    <a:pt x="85" y="0"/>
                  </a:lnTo>
                  <a:lnTo>
                    <a:pt x="88" y="0"/>
                  </a:lnTo>
                  <a:lnTo>
                    <a:pt x="9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6" name="Freeform 56637"/>
            <p:cNvSpPr>
              <a:spLocks/>
            </p:cNvSpPr>
            <p:nvPr/>
          </p:nvSpPr>
          <p:spPr bwMode="auto">
            <a:xfrm>
              <a:off x="2725735" y="4938730"/>
              <a:ext cx="173038" cy="109538"/>
            </a:xfrm>
            <a:custGeom>
              <a:avLst/>
              <a:gdLst>
                <a:gd name="T0" fmla="*/ 97 w 109"/>
                <a:gd name="T1" fmla="*/ 3 h 69"/>
                <a:gd name="T2" fmla="*/ 102 w 109"/>
                <a:gd name="T3" fmla="*/ 10 h 69"/>
                <a:gd name="T4" fmla="*/ 102 w 109"/>
                <a:gd name="T5" fmla="*/ 14 h 69"/>
                <a:gd name="T6" fmla="*/ 107 w 109"/>
                <a:gd name="T7" fmla="*/ 19 h 69"/>
                <a:gd name="T8" fmla="*/ 105 w 109"/>
                <a:gd name="T9" fmla="*/ 17 h 69"/>
                <a:gd name="T10" fmla="*/ 100 w 109"/>
                <a:gd name="T11" fmla="*/ 17 h 69"/>
                <a:gd name="T12" fmla="*/ 97 w 109"/>
                <a:gd name="T13" fmla="*/ 22 h 69"/>
                <a:gd name="T14" fmla="*/ 90 w 109"/>
                <a:gd name="T15" fmla="*/ 24 h 69"/>
                <a:gd name="T16" fmla="*/ 83 w 109"/>
                <a:gd name="T17" fmla="*/ 29 h 69"/>
                <a:gd name="T18" fmla="*/ 76 w 109"/>
                <a:gd name="T19" fmla="*/ 31 h 69"/>
                <a:gd name="T20" fmla="*/ 76 w 109"/>
                <a:gd name="T21" fmla="*/ 36 h 69"/>
                <a:gd name="T22" fmla="*/ 78 w 109"/>
                <a:gd name="T23" fmla="*/ 43 h 69"/>
                <a:gd name="T24" fmla="*/ 76 w 109"/>
                <a:gd name="T25" fmla="*/ 50 h 69"/>
                <a:gd name="T26" fmla="*/ 71 w 109"/>
                <a:gd name="T27" fmla="*/ 50 h 69"/>
                <a:gd name="T28" fmla="*/ 64 w 109"/>
                <a:gd name="T29" fmla="*/ 52 h 69"/>
                <a:gd name="T30" fmla="*/ 64 w 109"/>
                <a:gd name="T31" fmla="*/ 57 h 69"/>
                <a:gd name="T32" fmla="*/ 67 w 109"/>
                <a:gd name="T33" fmla="*/ 64 h 69"/>
                <a:gd name="T34" fmla="*/ 59 w 109"/>
                <a:gd name="T35" fmla="*/ 69 h 69"/>
                <a:gd name="T36" fmla="*/ 55 w 109"/>
                <a:gd name="T37" fmla="*/ 64 h 69"/>
                <a:gd name="T38" fmla="*/ 50 w 109"/>
                <a:gd name="T39" fmla="*/ 64 h 69"/>
                <a:gd name="T40" fmla="*/ 45 w 109"/>
                <a:gd name="T41" fmla="*/ 64 h 69"/>
                <a:gd name="T42" fmla="*/ 45 w 109"/>
                <a:gd name="T43" fmla="*/ 60 h 69"/>
                <a:gd name="T44" fmla="*/ 38 w 109"/>
                <a:gd name="T45" fmla="*/ 60 h 69"/>
                <a:gd name="T46" fmla="*/ 33 w 109"/>
                <a:gd name="T47" fmla="*/ 64 h 69"/>
                <a:gd name="T48" fmla="*/ 26 w 109"/>
                <a:gd name="T49" fmla="*/ 64 h 69"/>
                <a:gd name="T50" fmla="*/ 19 w 109"/>
                <a:gd name="T51" fmla="*/ 67 h 69"/>
                <a:gd name="T52" fmla="*/ 12 w 109"/>
                <a:gd name="T53" fmla="*/ 67 h 69"/>
                <a:gd name="T54" fmla="*/ 7 w 109"/>
                <a:gd name="T55" fmla="*/ 62 h 69"/>
                <a:gd name="T56" fmla="*/ 7 w 109"/>
                <a:gd name="T57" fmla="*/ 62 h 69"/>
                <a:gd name="T58" fmla="*/ 12 w 109"/>
                <a:gd name="T59" fmla="*/ 62 h 69"/>
                <a:gd name="T60" fmla="*/ 19 w 109"/>
                <a:gd name="T61" fmla="*/ 60 h 69"/>
                <a:gd name="T62" fmla="*/ 14 w 109"/>
                <a:gd name="T63" fmla="*/ 55 h 69"/>
                <a:gd name="T64" fmla="*/ 10 w 109"/>
                <a:gd name="T65" fmla="*/ 50 h 69"/>
                <a:gd name="T66" fmla="*/ 10 w 109"/>
                <a:gd name="T67" fmla="*/ 45 h 69"/>
                <a:gd name="T68" fmla="*/ 7 w 109"/>
                <a:gd name="T69" fmla="*/ 43 h 69"/>
                <a:gd name="T70" fmla="*/ 7 w 109"/>
                <a:gd name="T71" fmla="*/ 38 h 69"/>
                <a:gd name="T72" fmla="*/ 10 w 109"/>
                <a:gd name="T73" fmla="*/ 31 h 69"/>
                <a:gd name="T74" fmla="*/ 5 w 109"/>
                <a:gd name="T75" fmla="*/ 31 h 69"/>
                <a:gd name="T76" fmla="*/ 0 w 109"/>
                <a:gd name="T77" fmla="*/ 26 h 69"/>
                <a:gd name="T78" fmla="*/ 7 w 109"/>
                <a:gd name="T79" fmla="*/ 22 h 69"/>
                <a:gd name="T80" fmla="*/ 12 w 109"/>
                <a:gd name="T81" fmla="*/ 17 h 69"/>
                <a:gd name="T82" fmla="*/ 22 w 109"/>
                <a:gd name="T83" fmla="*/ 17 h 69"/>
                <a:gd name="T84" fmla="*/ 24 w 109"/>
                <a:gd name="T85" fmla="*/ 19 h 69"/>
                <a:gd name="T86" fmla="*/ 29 w 109"/>
                <a:gd name="T87" fmla="*/ 22 h 69"/>
                <a:gd name="T88" fmla="*/ 33 w 109"/>
                <a:gd name="T89" fmla="*/ 19 h 69"/>
                <a:gd name="T90" fmla="*/ 40 w 109"/>
                <a:gd name="T91" fmla="*/ 22 h 69"/>
                <a:gd name="T92" fmla="*/ 43 w 109"/>
                <a:gd name="T93" fmla="*/ 19 h 69"/>
                <a:gd name="T94" fmla="*/ 50 w 109"/>
                <a:gd name="T95" fmla="*/ 17 h 69"/>
                <a:gd name="T96" fmla="*/ 55 w 109"/>
                <a:gd name="T97" fmla="*/ 12 h 69"/>
                <a:gd name="T98" fmla="*/ 62 w 109"/>
                <a:gd name="T99" fmla="*/ 10 h 69"/>
                <a:gd name="T100" fmla="*/ 69 w 109"/>
                <a:gd name="T101" fmla="*/ 12 h 69"/>
                <a:gd name="T102" fmla="*/ 76 w 109"/>
                <a:gd name="T103" fmla="*/ 7 h 69"/>
                <a:gd name="T104" fmla="*/ 86 w 109"/>
                <a:gd name="T105" fmla="*/ 7 h 69"/>
                <a:gd name="T106" fmla="*/ 88 w 109"/>
                <a:gd name="T107" fmla="*/ 3 h 69"/>
                <a:gd name="T108" fmla="*/ 90 w 109"/>
                <a:gd name="T10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 h="69">
                  <a:moveTo>
                    <a:pt x="97" y="0"/>
                  </a:moveTo>
                  <a:lnTo>
                    <a:pt x="100" y="0"/>
                  </a:lnTo>
                  <a:lnTo>
                    <a:pt x="100" y="3"/>
                  </a:lnTo>
                  <a:lnTo>
                    <a:pt x="97" y="3"/>
                  </a:lnTo>
                  <a:lnTo>
                    <a:pt x="97" y="5"/>
                  </a:lnTo>
                  <a:lnTo>
                    <a:pt x="100" y="7"/>
                  </a:lnTo>
                  <a:lnTo>
                    <a:pt x="102" y="7"/>
                  </a:lnTo>
                  <a:lnTo>
                    <a:pt x="102" y="10"/>
                  </a:lnTo>
                  <a:lnTo>
                    <a:pt x="100" y="10"/>
                  </a:lnTo>
                  <a:lnTo>
                    <a:pt x="100" y="12"/>
                  </a:lnTo>
                  <a:lnTo>
                    <a:pt x="102" y="12"/>
                  </a:lnTo>
                  <a:lnTo>
                    <a:pt x="102" y="14"/>
                  </a:lnTo>
                  <a:lnTo>
                    <a:pt x="105" y="14"/>
                  </a:lnTo>
                  <a:lnTo>
                    <a:pt x="105" y="17"/>
                  </a:lnTo>
                  <a:lnTo>
                    <a:pt x="107" y="17"/>
                  </a:lnTo>
                  <a:lnTo>
                    <a:pt x="107" y="19"/>
                  </a:lnTo>
                  <a:lnTo>
                    <a:pt x="109" y="19"/>
                  </a:lnTo>
                  <a:lnTo>
                    <a:pt x="107" y="19"/>
                  </a:lnTo>
                  <a:lnTo>
                    <a:pt x="105" y="19"/>
                  </a:lnTo>
                  <a:lnTo>
                    <a:pt x="105" y="17"/>
                  </a:lnTo>
                  <a:lnTo>
                    <a:pt x="102" y="17"/>
                  </a:lnTo>
                  <a:lnTo>
                    <a:pt x="100" y="17"/>
                  </a:lnTo>
                  <a:lnTo>
                    <a:pt x="100" y="14"/>
                  </a:lnTo>
                  <a:lnTo>
                    <a:pt x="100" y="17"/>
                  </a:lnTo>
                  <a:lnTo>
                    <a:pt x="97" y="17"/>
                  </a:lnTo>
                  <a:lnTo>
                    <a:pt x="95" y="19"/>
                  </a:lnTo>
                  <a:lnTo>
                    <a:pt x="97" y="19"/>
                  </a:lnTo>
                  <a:lnTo>
                    <a:pt x="97" y="22"/>
                  </a:lnTo>
                  <a:lnTo>
                    <a:pt x="95" y="22"/>
                  </a:lnTo>
                  <a:lnTo>
                    <a:pt x="93" y="22"/>
                  </a:lnTo>
                  <a:lnTo>
                    <a:pt x="90" y="22"/>
                  </a:lnTo>
                  <a:lnTo>
                    <a:pt x="90" y="24"/>
                  </a:lnTo>
                  <a:lnTo>
                    <a:pt x="88" y="24"/>
                  </a:lnTo>
                  <a:lnTo>
                    <a:pt x="88" y="26"/>
                  </a:lnTo>
                  <a:lnTo>
                    <a:pt x="86" y="26"/>
                  </a:lnTo>
                  <a:lnTo>
                    <a:pt x="83" y="29"/>
                  </a:lnTo>
                  <a:lnTo>
                    <a:pt x="81" y="29"/>
                  </a:lnTo>
                  <a:lnTo>
                    <a:pt x="81" y="31"/>
                  </a:lnTo>
                  <a:lnTo>
                    <a:pt x="78" y="31"/>
                  </a:lnTo>
                  <a:lnTo>
                    <a:pt x="76" y="31"/>
                  </a:lnTo>
                  <a:lnTo>
                    <a:pt x="76" y="33"/>
                  </a:lnTo>
                  <a:lnTo>
                    <a:pt x="74" y="33"/>
                  </a:lnTo>
                  <a:lnTo>
                    <a:pt x="74" y="36"/>
                  </a:lnTo>
                  <a:lnTo>
                    <a:pt x="76" y="36"/>
                  </a:lnTo>
                  <a:lnTo>
                    <a:pt x="76" y="38"/>
                  </a:lnTo>
                  <a:lnTo>
                    <a:pt x="78" y="38"/>
                  </a:lnTo>
                  <a:lnTo>
                    <a:pt x="78" y="41"/>
                  </a:lnTo>
                  <a:lnTo>
                    <a:pt x="78" y="43"/>
                  </a:lnTo>
                  <a:lnTo>
                    <a:pt x="78" y="45"/>
                  </a:lnTo>
                  <a:lnTo>
                    <a:pt x="76" y="45"/>
                  </a:lnTo>
                  <a:lnTo>
                    <a:pt x="76" y="48"/>
                  </a:lnTo>
                  <a:lnTo>
                    <a:pt x="76" y="50"/>
                  </a:lnTo>
                  <a:lnTo>
                    <a:pt x="76" y="48"/>
                  </a:lnTo>
                  <a:lnTo>
                    <a:pt x="74" y="48"/>
                  </a:lnTo>
                  <a:lnTo>
                    <a:pt x="71" y="48"/>
                  </a:lnTo>
                  <a:lnTo>
                    <a:pt x="71" y="50"/>
                  </a:lnTo>
                  <a:lnTo>
                    <a:pt x="69" y="50"/>
                  </a:lnTo>
                  <a:lnTo>
                    <a:pt x="67" y="50"/>
                  </a:lnTo>
                  <a:lnTo>
                    <a:pt x="67" y="52"/>
                  </a:lnTo>
                  <a:lnTo>
                    <a:pt x="64" y="52"/>
                  </a:lnTo>
                  <a:lnTo>
                    <a:pt x="64" y="55"/>
                  </a:lnTo>
                  <a:lnTo>
                    <a:pt x="67" y="55"/>
                  </a:lnTo>
                  <a:lnTo>
                    <a:pt x="67" y="57"/>
                  </a:lnTo>
                  <a:lnTo>
                    <a:pt x="64" y="57"/>
                  </a:lnTo>
                  <a:lnTo>
                    <a:pt x="64" y="60"/>
                  </a:lnTo>
                  <a:lnTo>
                    <a:pt x="64" y="62"/>
                  </a:lnTo>
                  <a:lnTo>
                    <a:pt x="64" y="64"/>
                  </a:lnTo>
                  <a:lnTo>
                    <a:pt x="67" y="64"/>
                  </a:lnTo>
                  <a:lnTo>
                    <a:pt x="67" y="67"/>
                  </a:lnTo>
                  <a:lnTo>
                    <a:pt x="64" y="67"/>
                  </a:lnTo>
                  <a:lnTo>
                    <a:pt x="62" y="67"/>
                  </a:lnTo>
                  <a:lnTo>
                    <a:pt x="59" y="69"/>
                  </a:lnTo>
                  <a:lnTo>
                    <a:pt x="59" y="67"/>
                  </a:lnTo>
                  <a:lnTo>
                    <a:pt x="57" y="67"/>
                  </a:lnTo>
                  <a:lnTo>
                    <a:pt x="57" y="64"/>
                  </a:lnTo>
                  <a:lnTo>
                    <a:pt x="55" y="64"/>
                  </a:lnTo>
                  <a:lnTo>
                    <a:pt x="52" y="64"/>
                  </a:lnTo>
                  <a:lnTo>
                    <a:pt x="52" y="62"/>
                  </a:lnTo>
                  <a:lnTo>
                    <a:pt x="52" y="64"/>
                  </a:lnTo>
                  <a:lnTo>
                    <a:pt x="50" y="64"/>
                  </a:lnTo>
                  <a:lnTo>
                    <a:pt x="50" y="67"/>
                  </a:lnTo>
                  <a:lnTo>
                    <a:pt x="48" y="67"/>
                  </a:lnTo>
                  <a:lnTo>
                    <a:pt x="48" y="64"/>
                  </a:lnTo>
                  <a:lnTo>
                    <a:pt x="45" y="64"/>
                  </a:lnTo>
                  <a:lnTo>
                    <a:pt x="45" y="62"/>
                  </a:lnTo>
                  <a:lnTo>
                    <a:pt x="45" y="64"/>
                  </a:lnTo>
                  <a:lnTo>
                    <a:pt x="45" y="62"/>
                  </a:lnTo>
                  <a:lnTo>
                    <a:pt x="45" y="60"/>
                  </a:lnTo>
                  <a:lnTo>
                    <a:pt x="43" y="60"/>
                  </a:lnTo>
                  <a:lnTo>
                    <a:pt x="43" y="57"/>
                  </a:lnTo>
                  <a:lnTo>
                    <a:pt x="40" y="57"/>
                  </a:lnTo>
                  <a:lnTo>
                    <a:pt x="38" y="60"/>
                  </a:lnTo>
                  <a:lnTo>
                    <a:pt x="38" y="62"/>
                  </a:lnTo>
                  <a:lnTo>
                    <a:pt x="38" y="64"/>
                  </a:lnTo>
                  <a:lnTo>
                    <a:pt x="36" y="64"/>
                  </a:lnTo>
                  <a:lnTo>
                    <a:pt x="33" y="64"/>
                  </a:lnTo>
                  <a:lnTo>
                    <a:pt x="31" y="64"/>
                  </a:lnTo>
                  <a:lnTo>
                    <a:pt x="29" y="64"/>
                  </a:lnTo>
                  <a:lnTo>
                    <a:pt x="29" y="67"/>
                  </a:lnTo>
                  <a:lnTo>
                    <a:pt x="26" y="64"/>
                  </a:lnTo>
                  <a:lnTo>
                    <a:pt x="24" y="64"/>
                  </a:lnTo>
                  <a:lnTo>
                    <a:pt x="22" y="64"/>
                  </a:lnTo>
                  <a:lnTo>
                    <a:pt x="22" y="67"/>
                  </a:lnTo>
                  <a:lnTo>
                    <a:pt x="19" y="67"/>
                  </a:lnTo>
                  <a:lnTo>
                    <a:pt x="17" y="67"/>
                  </a:lnTo>
                  <a:lnTo>
                    <a:pt x="17" y="64"/>
                  </a:lnTo>
                  <a:lnTo>
                    <a:pt x="14" y="67"/>
                  </a:lnTo>
                  <a:lnTo>
                    <a:pt x="12" y="67"/>
                  </a:lnTo>
                  <a:lnTo>
                    <a:pt x="10" y="67"/>
                  </a:lnTo>
                  <a:lnTo>
                    <a:pt x="10" y="64"/>
                  </a:lnTo>
                  <a:lnTo>
                    <a:pt x="7" y="64"/>
                  </a:lnTo>
                  <a:lnTo>
                    <a:pt x="7" y="62"/>
                  </a:lnTo>
                  <a:lnTo>
                    <a:pt x="7" y="64"/>
                  </a:lnTo>
                  <a:lnTo>
                    <a:pt x="7" y="62"/>
                  </a:lnTo>
                  <a:lnTo>
                    <a:pt x="7" y="64"/>
                  </a:lnTo>
                  <a:lnTo>
                    <a:pt x="7" y="62"/>
                  </a:lnTo>
                  <a:lnTo>
                    <a:pt x="10" y="62"/>
                  </a:lnTo>
                  <a:lnTo>
                    <a:pt x="7" y="62"/>
                  </a:lnTo>
                  <a:lnTo>
                    <a:pt x="10" y="62"/>
                  </a:lnTo>
                  <a:lnTo>
                    <a:pt x="12" y="62"/>
                  </a:lnTo>
                  <a:lnTo>
                    <a:pt x="12" y="60"/>
                  </a:lnTo>
                  <a:lnTo>
                    <a:pt x="14" y="60"/>
                  </a:lnTo>
                  <a:lnTo>
                    <a:pt x="17" y="60"/>
                  </a:lnTo>
                  <a:lnTo>
                    <a:pt x="19" y="60"/>
                  </a:lnTo>
                  <a:lnTo>
                    <a:pt x="19" y="57"/>
                  </a:lnTo>
                  <a:lnTo>
                    <a:pt x="17" y="57"/>
                  </a:lnTo>
                  <a:lnTo>
                    <a:pt x="17" y="55"/>
                  </a:lnTo>
                  <a:lnTo>
                    <a:pt x="14" y="55"/>
                  </a:lnTo>
                  <a:lnTo>
                    <a:pt x="14" y="52"/>
                  </a:lnTo>
                  <a:lnTo>
                    <a:pt x="12" y="52"/>
                  </a:lnTo>
                  <a:lnTo>
                    <a:pt x="12" y="50"/>
                  </a:lnTo>
                  <a:lnTo>
                    <a:pt x="10" y="50"/>
                  </a:lnTo>
                  <a:lnTo>
                    <a:pt x="7" y="50"/>
                  </a:lnTo>
                  <a:lnTo>
                    <a:pt x="7" y="48"/>
                  </a:lnTo>
                  <a:lnTo>
                    <a:pt x="7" y="45"/>
                  </a:lnTo>
                  <a:lnTo>
                    <a:pt x="10" y="45"/>
                  </a:lnTo>
                  <a:lnTo>
                    <a:pt x="10" y="43"/>
                  </a:lnTo>
                  <a:lnTo>
                    <a:pt x="10" y="41"/>
                  </a:lnTo>
                  <a:lnTo>
                    <a:pt x="7" y="41"/>
                  </a:lnTo>
                  <a:lnTo>
                    <a:pt x="7" y="43"/>
                  </a:lnTo>
                  <a:lnTo>
                    <a:pt x="5" y="43"/>
                  </a:lnTo>
                  <a:lnTo>
                    <a:pt x="5" y="41"/>
                  </a:lnTo>
                  <a:lnTo>
                    <a:pt x="5" y="38"/>
                  </a:lnTo>
                  <a:lnTo>
                    <a:pt x="7" y="38"/>
                  </a:lnTo>
                  <a:lnTo>
                    <a:pt x="7" y="36"/>
                  </a:lnTo>
                  <a:lnTo>
                    <a:pt x="10" y="36"/>
                  </a:lnTo>
                  <a:lnTo>
                    <a:pt x="10" y="33"/>
                  </a:lnTo>
                  <a:lnTo>
                    <a:pt x="10" y="31"/>
                  </a:lnTo>
                  <a:lnTo>
                    <a:pt x="7" y="31"/>
                  </a:lnTo>
                  <a:lnTo>
                    <a:pt x="5" y="31"/>
                  </a:lnTo>
                  <a:lnTo>
                    <a:pt x="3" y="31"/>
                  </a:lnTo>
                  <a:lnTo>
                    <a:pt x="5" y="31"/>
                  </a:lnTo>
                  <a:lnTo>
                    <a:pt x="3" y="31"/>
                  </a:lnTo>
                  <a:lnTo>
                    <a:pt x="3" y="29"/>
                  </a:lnTo>
                  <a:lnTo>
                    <a:pt x="3" y="26"/>
                  </a:lnTo>
                  <a:lnTo>
                    <a:pt x="0" y="26"/>
                  </a:lnTo>
                  <a:lnTo>
                    <a:pt x="3" y="26"/>
                  </a:lnTo>
                  <a:lnTo>
                    <a:pt x="3" y="24"/>
                  </a:lnTo>
                  <a:lnTo>
                    <a:pt x="5" y="24"/>
                  </a:lnTo>
                  <a:lnTo>
                    <a:pt x="7" y="22"/>
                  </a:lnTo>
                  <a:lnTo>
                    <a:pt x="7" y="19"/>
                  </a:lnTo>
                  <a:lnTo>
                    <a:pt x="10" y="19"/>
                  </a:lnTo>
                  <a:lnTo>
                    <a:pt x="12" y="19"/>
                  </a:lnTo>
                  <a:lnTo>
                    <a:pt x="12" y="17"/>
                  </a:lnTo>
                  <a:lnTo>
                    <a:pt x="14" y="17"/>
                  </a:lnTo>
                  <a:lnTo>
                    <a:pt x="17" y="17"/>
                  </a:lnTo>
                  <a:lnTo>
                    <a:pt x="19" y="17"/>
                  </a:lnTo>
                  <a:lnTo>
                    <a:pt x="22" y="17"/>
                  </a:lnTo>
                  <a:lnTo>
                    <a:pt x="22" y="19"/>
                  </a:lnTo>
                  <a:lnTo>
                    <a:pt x="22" y="17"/>
                  </a:lnTo>
                  <a:lnTo>
                    <a:pt x="24" y="17"/>
                  </a:lnTo>
                  <a:lnTo>
                    <a:pt x="24" y="19"/>
                  </a:lnTo>
                  <a:lnTo>
                    <a:pt x="26" y="19"/>
                  </a:lnTo>
                  <a:lnTo>
                    <a:pt x="26" y="22"/>
                  </a:lnTo>
                  <a:lnTo>
                    <a:pt x="29" y="19"/>
                  </a:lnTo>
                  <a:lnTo>
                    <a:pt x="29" y="22"/>
                  </a:lnTo>
                  <a:lnTo>
                    <a:pt x="31" y="19"/>
                  </a:lnTo>
                  <a:lnTo>
                    <a:pt x="31" y="22"/>
                  </a:lnTo>
                  <a:lnTo>
                    <a:pt x="33" y="22"/>
                  </a:lnTo>
                  <a:lnTo>
                    <a:pt x="33" y="19"/>
                  </a:lnTo>
                  <a:lnTo>
                    <a:pt x="36" y="19"/>
                  </a:lnTo>
                  <a:lnTo>
                    <a:pt x="36" y="22"/>
                  </a:lnTo>
                  <a:lnTo>
                    <a:pt x="38" y="22"/>
                  </a:lnTo>
                  <a:lnTo>
                    <a:pt x="40" y="22"/>
                  </a:lnTo>
                  <a:lnTo>
                    <a:pt x="40" y="24"/>
                  </a:lnTo>
                  <a:lnTo>
                    <a:pt x="40" y="22"/>
                  </a:lnTo>
                  <a:lnTo>
                    <a:pt x="40" y="19"/>
                  </a:lnTo>
                  <a:lnTo>
                    <a:pt x="43" y="19"/>
                  </a:lnTo>
                  <a:lnTo>
                    <a:pt x="45" y="19"/>
                  </a:lnTo>
                  <a:lnTo>
                    <a:pt x="45" y="17"/>
                  </a:lnTo>
                  <a:lnTo>
                    <a:pt x="48" y="17"/>
                  </a:lnTo>
                  <a:lnTo>
                    <a:pt x="50" y="17"/>
                  </a:lnTo>
                  <a:lnTo>
                    <a:pt x="50" y="14"/>
                  </a:lnTo>
                  <a:lnTo>
                    <a:pt x="50" y="12"/>
                  </a:lnTo>
                  <a:lnTo>
                    <a:pt x="52" y="12"/>
                  </a:lnTo>
                  <a:lnTo>
                    <a:pt x="55" y="12"/>
                  </a:lnTo>
                  <a:lnTo>
                    <a:pt x="55" y="10"/>
                  </a:lnTo>
                  <a:lnTo>
                    <a:pt x="57" y="10"/>
                  </a:lnTo>
                  <a:lnTo>
                    <a:pt x="59" y="10"/>
                  </a:lnTo>
                  <a:lnTo>
                    <a:pt x="62" y="10"/>
                  </a:lnTo>
                  <a:lnTo>
                    <a:pt x="64" y="10"/>
                  </a:lnTo>
                  <a:lnTo>
                    <a:pt x="67" y="10"/>
                  </a:lnTo>
                  <a:lnTo>
                    <a:pt x="69" y="10"/>
                  </a:lnTo>
                  <a:lnTo>
                    <a:pt x="69" y="12"/>
                  </a:lnTo>
                  <a:lnTo>
                    <a:pt x="71" y="12"/>
                  </a:lnTo>
                  <a:lnTo>
                    <a:pt x="74" y="10"/>
                  </a:lnTo>
                  <a:lnTo>
                    <a:pt x="74" y="7"/>
                  </a:lnTo>
                  <a:lnTo>
                    <a:pt x="76" y="7"/>
                  </a:lnTo>
                  <a:lnTo>
                    <a:pt x="78" y="7"/>
                  </a:lnTo>
                  <a:lnTo>
                    <a:pt x="81" y="7"/>
                  </a:lnTo>
                  <a:lnTo>
                    <a:pt x="83" y="7"/>
                  </a:lnTo>
                  <a:lnTo>
                    <a:pt x="86" y="7"/>
                  </a:lnTo>
                  <a:lnTo>
                    <a:pt x="88" y="10"/>
                  </a:lnTo>
                  <a:lnTo>
                    <a:pt x="88" y="7"/>
                  </a:lnTo>
                  <a:lnTo>
                    <a:pt x="88" y="5"/>
                  </a:lnTo>
                  <a:lnTo>
                    <a:pt x="88" y="3"/>
                  </a:lnTo>
                  <a:lnTo>
                    <a:pt x="88" y="0"/>
                  </a:lnTo>
                  <a:lnTo>
                    <a:pt x="88" y="3"/>
                  </a:lnTo>
                  <a:lnTo>
                    <a:pt x="88" y="0"/>
                  </a:lnTo>
                  <a:lnTo>
                    <a:pt x="90" y="0"/>
                  </a:lnTo>
                  <a:lnTo>
                    <a:pt x="93" y="0"/>
                  </a:lnTo>
                  <a:lnTo>
                    <a:pt x="95" y="0"/>
                  </a:lnTo>
                  <a:lnTo>
                    <a:pt x="97"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7" name="Freeform 56638"/>
            <p:cNvSpPr>
              <a:spLocks/>
            </p:cNvSpPr>
            <p:nvPr/>
          </p:nvSpPr>
          <p:spPr bwMode="auto">
            <a:xfrm>
              <a:off x="2736848" y="5040330"/>
              <a:ext cx="4763"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8" name="Freeform 56639"/>
            <p:cNvSpPr>
              <a:spLocks noEditPoints="1"/>
            </p:cNvSpPr>
            <p:nvPr/>
          </p:nvSpPr>
          <p:spPr bwMode="auto">
            <a:xfrm>
              <a:off x="2624135" y="4037027"/>
              <a:ext cx="403225" cy="174625"/>
            </a:xfrm>
            <a:custGeom>
              <a:avLst/>
              <a:gdLst>
                <a:gd name="T0" fmla="*/ 190 w 254"/>
                <a:gd name="T1" fmla="*/ 50 h 110"/>
                <a:gd name="T2" fmla="*/ 185 w 254"/>
                <a:gd name="T3" fmla="*/ 55 h 110"/>
                <a:gd name="T4" fmla="*/ 185 w 254"/>
                <a:gd name="T5" fmla="*/ 60 h 110"/>
                <a:gd name="T6" fmla="*/ 183 w 254"/>
                <a:gd name="T7" fmla="*/ 65 h 110"/>
                <a:gd name="T8" fmla="*/ 180 w 254"/>
                <a:gd name="T9" fmla="*/ 65 h 110"/>
                <a:gd name="T10" fmla="*/ 183 w 254"/>
                <a:gd name="T11" fmla="*/ 67 h 110"/>
                <a:gd name="T12" fmla="*/ 180 w 254"/>
                <a:gd name="T13" fmla="*/ 72 h 110"/>
                <a:gd name="T14" fmla="*/ 178 w 254"/>
                <a:gd name="T15" fmla="*/ 76 h 110"/>
                <a:gd name="T16" fmla="*/ 176 w 254"/>
                <a:gd name="T17" fmla="*/ 84 h 110"/>
                <a:gd name="T18" fmla="*/ 173 w 254"/>
                <a:gd name="T19" fmla="*/ 93 h 110"/>
                <a:gd name="T20" fmla="*/ 169 w 254"/>
                <a:gd name="T21" fmla="*/ 103 h 110"/>
                <a:gd name="T22" fmla="*/ 164 w 254"/>
                <a:gd name="T23" fmla="*/ 110 h 110"/>
                <a:gd name="T24" fmla="*/ 164 w 254"/>
                <a:gd name="T25" fmla="*/ 105 h 110"/>
                <a:gd name="T26" fmla="*/ 164 w 254"/>
                <a:gd name="T27" fmla="*/ 95 h 110"/>
                <a:gd name="T28" fmla="*/ 166 w 254"/>
                <a:gd name="T29" fmla="*/ 88 h 110"/>
                <a:gd name="T30" fmla="*/ 169 w 254"/>
                <a:gd name="T31" fmla="*/ 84 h 110"/>
                <a:gd name="T32" fmla="*/ 171 w 254"/>
                <a:gd name="T33" fmla="*/ 74 h 110"/>
                <a:gd name="T34" fmla="*/ 178 w 254"/>
                <a:gd name="T35" fmla="*/ 69 h 110"/>
                <a:gd name="T36" fmla="*/ 180 w 254"/>
                <a:gd name="T37" fmla="*/ 60 h 110"/>
                <a:gd name="T38" fmla="*/ 183 w 254"/>
                <a:gd name="T39" fmla="*/ 53 h 110"/>
                <a:gd name="T40" fmla="*/ 244 w 254"/>
                <a:gd name="T41" fmla="*/ 24 h 110"/>
                <a:gd name="T42" fmla="*/ 247 w 254"/>
                <a:gd name="T43" fmla="*/ 19 h 110"/>
                <a:gd name="T44" fmla="*/ 254 w 254"/>
                <a:gd name="T45" fmla="*/ 24 h 110"/>
                <a:gd name="T46" fmla="*/ 249 w 254"/>
                <a:gd name="T47" fmla="*/ 27 h 110"/>
                <a:gd name="T48" fmla="*/ 249 w 254"/>
                <a:gd name="T49" fmla="*/ 29 h 110"/>
                <a:gd name="T50" fmla="*/ 244 w 254"/>
                <a:gd name="T51" fmla="*/ 31 h 110"/>
                <a:gd name="T52" fmla="*/ 244 w 254"/>
                <a:gd name="T53" fmla="*/ 34 h 110"/>
                <a:gd name="T54" fmla="*/ 244 w 254"/>
                <a:gd name="T55" fmla="*/ 41 h 110"/>
                <a:gd name="T56" fmla="*/ 244 w 254"/>
                <a:gd name="T57" fmla="*/ 43 h 110"/>
                <a:gd name="T58" fmla="*/ 244 w 254"/>
                <a:gd name="T59" fmla="*/ 46 h 110"/>
                <a:gd name="T60" fmla="*/ 244 w 254"/>
                <a:gd name="T61" fmla="*/ 48 h 110"/>
                <a:gd name="T62" fmla="*/ 242 w 254"/>
                <a:gd name="T63" fmla="*/ 53 h 110"/>
                <a:gd name="T64" fmla="*/ 242 w 254"/>
                <a:gd name="T65" fmla="*/ 55 h 110"/>
                <a:gd name="T66" fmla="*/ 240 w 254"/>
                <a:gd name="T67" fmla="*/ 55 h 110"/>
                <a:gd name="T68" fmla="*/ 235 w 254"/>
                <a:gd name="T69" fmla="*/ 57 h 110"/>
                <a:gd name="T70" fmla="*/ 230 w 254"/>
                <a:gd name="T71" fmla="*/ 60 h 110"/>
                <a:gd name="T72" fmla="*/ 228 w 254"/>
                <a:gd name="T73" fmla="*/ 65 h 110"/>
                <a:gd name="T74" fmla="*/ 230 w 254"/>
                <a:gd name="T75" fmla="*/ 69 h 110"/>
                <a:gd name="T76" fmla="*/ 225 w 254"/>
                <a:gd name="T77" fmla="*/ 72 h 110"/>
                <a:gd name="T78" fmla="*/ 223 w 254"/>
                <a:gd name="T79" fmla="*/ 67 h 110"/>
                <a:gd name="T80" fmla="*/ 225 w 254"/>
                <a:gd name="T81" fmla="*/ 62 h 110"/>
                <a:gd name="T82" fmla="*/ 223 w 254"/>
                <a:gd name="T83" fmla="*/ 60 h 110"/>
                <a:gd name="T84" fmla="*/ 223 w 254"/>
                <a:gd name="T85" fmla="*/ 53 h 110"/>
                <a:gd name="T86" fmla="*/ 221 w 254"/>
                <a:gd name="T87" fmla="*/ 43 h 110"/>
                <a:gd name="T88" fmla="*/ 225 w 254"/>
                <a:gd name="T89" fmla="*/ 36 h 110"/>
                <a:gd name="T90" fmla="*/ 228 w 254"/>
                <a:gd name="T91" fmla="*/ 31 h 110"/>
                <a:gd name="T92" fmla="*/ 233 w 254"/>
                <a:gd name="T93" fmla="*/ 27 h 110"/>
                <a:gd name="T94" fmla="*/ 240 w 254"/>
                <a:gd name="T95" fmla="*/ 22 h 110"/>
                <a:gd name="T96" fmla="*/ 12 w 254"/>
                <a:gd name="T97" fmla="*/ 3 h 110"/>
                <a:gd name="T98" fmla="*/ 12 w 254"/>
                <a:gd name="T99" fmla="*/ 10 h 110"/>
                <a:gd name="T100" fmla="*/ 12 w 254"/>
                <a:gd name="T101" fmla="*/ 12 h 110"/>
                <a:gd name="T102" fmla="*/ 10 w 254"/>
                <a:gd name="T103" fmla="*/ 17 h 110"/>
                <a:gd name="T104" fmla="*/ 5 w 254"/>
                <a:gd name="T105" fmla="*/ 19 h 110"/>
                <a:gd name="T106" fmla="*/ 5 w 254"/>
                <a:gd name="T107" fmla="*/ 17 h 110"/>
                <a:gd name="T108" fmla="*/ 2 w 254"/>
                <a:gd name="T109" fmla="*/ 17 h 110"/>
                <a:gd name="T110" fmla="*/ 5 w 254"/>
                <a:gd name="T111" fmla="*/ 12 h 110"/>
                <a:gd name="T112" fmla="*/ 7 w 254"/>
                <a:gd name="T113" fmla="*/ 12 h 110"/>
                <a:gd name="T114" fmla="*/ 5 w 254"/>
                <a:gd name="T115" fmla="*/ 10 h 110"/>
                <a:gd name="T116" fmla="*/ 2 w 254"/>
                <a:gd name="T117" fmla="*/ 10 h 110"/>
                <a:gd name="T118" fmla="*/ 0 w 254"/>
                <a:gd name="T119" fmla="*/ 10 h 110"/>
                <a:gd name="T120" fmla="*/ 5 w 254"/>
                <a:gd name="T121" fmla="*/ 3 h 110"/>
                <a:gd name="T122" fmla="*/ 10 w 254"/>
                <a:gd name="T12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 h="110">
                  <a:moveTo>
                    <a:pt x="188" y="48"/>
                  </a:moveTo>
                  <a:lnTo>
                    <a:pt x="188" y="50"/>
                  </a:lnTo>
                  <a:lnTo>
                    <a:pt x="188" y="48"/>
                  </a:lnTo>
                  <a:lnTo>
                    <a:pt x="188" y="50"/>
                  </a:lnTo>
                  <a:lnTo>
                    <a:pt x="190" y="50"/>
                  </a:lnTo>
                  <a:lnTo>
                    <a:pt x="188" y="50"/>
                  </a:lnTo>
                  <a:lnTo>
                    <a:pt x="190" y="50"/>
                  </a:lnTo>
                  <a:lnTo>
                    <a:pt x="190" y="53"/>
                  </a:lnTo>
                  <a:lnTo>
                    <a:pt x="188" y="53"/>
                  </a:lnTo>
                  <a:lnTo>
                    <a:pt x="185" y="55"/>
                  </a:lnTo>
                  <a:lnTo>
                    <a:pt x="188" y="55"/>
                  </a:lnTo>
                  <a:lnTo>
                    <a:pt x="188" y="57"/>
                  </a:lnTo>
                  <a:lnTo>
                    <a:pt x="188" y="60"/>
                  </a:lnTo>
                  <a:lnTo>
                    <a:pt x="188" y="57"/>
                  </a:lnTo>
                  <a:lnTo>
                    <a:pt x="185" y="60"/>
                  </a:lnTo>
                  <a:lnTo>
                    <a:pt x="185" y="62"/>
                  </a:lnTo>
                  <a:lnTo>
                    <a:pt x="183" y="62"/>
                  </a:lnTo>
                  <a:lnTo>
                    <a:pt x="183" y="65"/>
                  </a:lnTo>
                  <a:lnTo>
                    <a:pt x="183" y="67"/>
                  </a:lnTo>
                  <a:lnTo>
                    <a:pt x="183" y="65"/>
                  </a:lnTo>
                  <a:lnTo>
                    <a:pt x="183" y="67"/>
                  </a:lnTo>
                  <a:lnTo>
                    <a:pt x="183" y="65"/>
                  </a:lnTo>
                  <a:lnTo>
                    <a:pt x="180" y="65"/>
                  </a:lnTo>
                  <a:lnTo>
                    <a:pt x="180" y="67"/>
                  </a:lnTo>
                  <a:lnTo>
                    <a:pt x="180" y="65"/>
                  </a:lnTo>
                  <a:lnTo>
                    <a:pt x="183" y="65"/>
                  </a:lnTo>
                  <a:lnTo>
                    <a:pt x="180" y="67"/>
                  </a:lnTo>
                  <a:lnTo>
                    <a:pt x="183" y="67"/>
                  </a:lnTo>
                  <a:lnTo>
                    <a:pt x="180" y="67"/>
                  </a:lnTo>
                  <a:lnTo>
                    <a:pt x="183" y="67"/>
                  </a:lnTo>
                  <a:lnTo>
                    <a:pt x="180" y="67"/>
                  </a:lnTo>
                  <a:lnTo>
                    <a:pt x="183" y="67"/>
                  </a:lnTo>
                  <a:lnTo>
                    <a:pt x="183" y="69"/>
                  </a:lnTo>
                  <a:lnTo>
                    <a:pt x="180" y="69"/>
                  </a:lnTo>
                  <a:lnTo>
                    <a:pt x="180" y="72"/>
                  </a:lnTo>
                  <a:lnTo>
                    <a:pt x="180" y="74"/>
                  </a:lnTo>
                  <a:lnTo>
                    <a:pt x="180" y="76"/>
                  </a:lnTo>
                  <a:lnTo>
                    <a:pt x="178" y="76"/>
                  </a:lnTo>
                  <a:lnTo>
                    <a:pt x="178" y="79"/>
                  </a:lnTo>
                  <a:lnTo>
                    <a:pt x="178" y="76"/>
                  </a:lnTo>
                  <a:lnTo>
                    <a:pt x="178" y="79"/>
                  </a:lnTo>
                  <a:lnTo>
                    <a:pt x="178" y="76"/>
                  </a:lnTo>
                  <a:lnTo>
                    <a:pt x="178" y="79"/>
                  </a:lnTo>
                  <a:lnTo>
                    <a:pt x="176" y="81"/>
                  </a:lnTo>
                  <a:lnTo>
                    <a:pt x="176" y="84"/>
                  </a:lnTo>
                  <a:lnTo>
                    <a:pt x="176" y="86"/>
                  </a:lnTo>
                  <a:lnTo>
                    <a:pt x="176" y="88"/>
                  </a:lnTo>
                  <a:lnTo>
                    <a:pt x="173" y="88"/>
                  </a:lnTo>
                  <a:lnTo>
                    <a:pt x="173" y="91"/>
                  </a:lnTo>
                  <a:lnTo>
                    <a:pt x="173" y="93"/>
                  </a:lnTo>
                  <a:lnTo>
                    <a:pt x="171" y="93"/>
                  </a:lnTo>
                  <a:lnTo>
                    <a:pt x="171" y="95"/>
                  </a:lnTo>
                  <a:lnTo>
                    <a:pt x="171" y="98"/>
                  </a:lnTo>
                  <a:lnTo>
                    <a:pt x="171" y="100"/>
                  </a:lnTo>
                  <a:lnTo>
                    <a:pt x="169" y="103"/>
                  </a:lnTo>
                  <a:lnTo>
                    <a:pt x="169" y="105"/>
                  </a:lnTo>
                  <a:lnTo>
                    <a:pt x="169" y="107"/>
                  </a:lnTo>
                  <a:lnTo>
                    <a:pt x="166" y="107"/>
                  </a:lnTo>
                  <a:lnTo>
                    <a:pt x="166" y="110"/>
                  </a:lnTo>
                  <a:lnTo>
                    <a:pt x="164" y="110"/>
                  </a:lnTo>
                  <a:lnTo>
                    <a:pt x="164" y="107"/>
                  </a:lnTo>
                  <a:lnTo>
                    <a:pt x="164" y="110"/>
                  </a:lnTo>
                  <a:lnTo>
                    <a:pt x="164" y="107"/>
                  </a:lnTo>
                  <a:lnTo>
                    <a:pt x="166" y="105"/>
                  </a:lnTo>
                  <a:lnTo>
                    <a:pt x="164" y="105"/>
                  </a:lnTo>
                  <a:lnTo>
                    <a:pt x="164" y="103"/>
                  </a:lnTo>
                  <a:lnTo>
                    <a:pt x="166" y="100"/>
                  </a:lnTo>
                  <a:lnTo>
                    <a:pt x="164" y="100"/>
                  </a:lnTo>
                  <a:lnTo>
                    <a:pt x="164" y="98"/>
                  </a:lnTo>
                  <a:lnTo>
                    <a:pt x="164" y="95"/>
                  </a:lnTo>
                  <a:lnTo>
                    <a:pt x="164" y="93"/>
                  </a:lnTo>
                  <a:lnTo>
                    <a:pt x="164" y="91"/>
                  </a:lnTo>
                  <a:lnTo>
                    <a:pt x="166" y="88"/>
                  </a:lnTo>
                  <a:lnTo>
                    <a:pt x="164" y="88"/>
                  </a:lnTo>
                  <a:lnTo>
                    <a:pt x="166" y="88"/>
                  </a:lnTo>
                  <a:lnTo>
                    <a:pt x="166" y="86"/>
                  </a:lnTo>
                  <a:lnTo>
                    <a:pt x="166" y="84"/>
                  </a:lnTo>
                  <a:lnTo>
                    <a:pt x="169" y="84"/>
                  </a:lnTo>
                  <a:lnTo>
                    <a:pt x="166" y="84"/>
                  </a:lnTo>
                  <a:lnTo>
                    <a:pt x="169" y="84"/>
                  </a:lnTo>
                  <a:lnTo>
                    <a:pt x="169" y="81"/>
                  </a:lnTo>
                  <a:lnTo>
                    <a:pt x="169" y="79"/>
                  </a:lnTo>
                  <a:lnTo>
                    <a:pt x="171" y="79"/>
                  </a:lnTo>
                  <a:lnTo>
                    <a:pt x="171" y="76"/>
                  </a:lnTo>
                  <a:lnTo>
                    <a:pt x="171" y="74"/>
                  </a:lnTo>
                  <a:lnTo>
                    <a:pt x="173" y="74"/>
                  </a:lnTo>
                  <a:lnTo>
                    <a:pt x="176" y="74"/>
                  </a:lnTo>
                  <a:lnTo>
                    <a:pt x="176" y="72"/>
                  </a:lnTo>
                  <a:lnTo>
                    <a:pt x="176" y="69"/>
                  </a:lnTo>
                  <a:lnTo>
                    <a:pt x="178" y="69"/>
                  </a:lnTo>
                  <a:lnTo>
                    <a:pt x="178" y="67"/>
                  </a:lnTo>
                  <a:lnTo>
                    <a:pt x="178" y="65"/>
                  </a:lnTo>
                  <a:lnTo>
                    <a:pt x="180" y="65"/>
                  </a:lnTo>
                  <a:lnTo>
                    <a:pt x="180" y="62"/>
                  </a:lnTo>
                  <a:lnTo>
                    <a:pt x="180" y="60"/>
                  </a:lnTo>
                  <a:lnTo>
                    <a:pt x="183" y="60"/>
                  </a:lnTo>
                  <a:lnTo>
                    <a:pt x="180" y="57"/>
                  </a:lnTo>
                  <a:lnTo>
                    <a:pt x="183" y="57"/>
                  </a:lnTo>
                  <a:lnTo>
                    <a:pt x="183" y="55"/>
                  </a:lnTo>
                  <a:lnTo>
                    <a:pt x="183" y="53"/>
                  </a:lnTo>
                  <a:lnTo>
                    <a:pt x="185" y="50"/>
                  </a:lnTo>
                  <a:lnTo>
                    <a:pt x="188" y="48"/>
                  </a:lnTo>
                  <a:close/>
                  <a:moveTo>
                    <a:pt x="242" y="19"/>
                  </a:moveTo>
                  <a:lnTo>
                    <a:pt x="242" y="22"/>
                  </a:lnTo>
                  <a:lnTo>
                    <a:pt x="244" y="24"/>
                  </a:lnTo>
                  <a:lnTo>
                    <a:pt x="242" y="24"/>
                  </a:lnTo>
                  <a:lnTo>
                    <a:pt x="244" y="24"/>
                  </a:lnTo>
                  <a:lnTo>
                    <a:pt x="244" y="22"/>
                  </a:lnTo>
                  <a:lnTo>
                    <a:pt x="244" y="19"/>
                  </a:lnTo>
                  <a:lnTo>
                    <a:pt x="247" y="19"/>
                  </a:lnTo>
                  <a:lnTo>
                    <a:pt x="249" y="19"/>
                  </a:lnTo>
                  <a:lnTo>
                    <a:pt x="252" y="19"/>
                  </a:lnTo>
                  <a:lnTo>
                    <a:pt x="252" y="22"/>
                  </a:lnTo>
                  <a:lnTo>
                    <a:pt x="252" y="24"/>
                  </a:lnTo>
                  <a:lnTo>
                    <a:pt x="254" y="24"/>
                  </a:lnTo>
                  <a:lnTo>
                    <a:pt x="254" y="27"/>
                  </a:lnTo>
                  <a:lnTo>
                    <a:pt x="254" y="24"/>
                  </a:lnTo>
                  <a:lnTo>
                    <a:pt x="252" y="24"/>
                  </a:lnTo>
                  <a:lnTo>
                    <a:pt x="252" y="27"/>
                  </a:lnTo>
                  <a:lnTo>
                    <a:pt x="249" y="27"/>
                  </a:lnTo>
                  <a:lnTo>
                    <a:pt x="249" y="29"/>
                  </a:lnTo>
                  <a:lnTo>
                    <a:pt x="249" y="27"/>
                  </a:lnTo>
                  <a:lnTo>
                    <a:pt x="249" y="29"/>
                  </a:lnTo>
                  <a:lnTo>
                    <a:pt x="249" y="31"/>
                  </a:lnTo>
                  <a:lnTo>
                    <a:pt x="249" y="29"/>
                  </a:lnTo>
                  <a:lnTo>
                    <a:pt x="247" y="29"/>
                  </a:lnTo>
                  <a:lnTo>
                    <a:pt x="247" y="31"/>
                  </a:lnTo>
                  <a:lnTo>
                    <a:pt x="247" y="29"/>
                  </a:lnTo>
                  <a:lnTo>
                    <a:pt x="247" y="31"/>
                  </a:lnTo>
                  <a:lnTo>
                    <a:pt x="244" y="31"/>
                  </a:lnTo>
                  <a:lnTo>
                    <a:pt x="244" y="29"/>
                  </a:lnTo>
                  <a:lnTo>
                    <a:pt x="244" y="31"/>
                  </a:lnTo>
                  <a:lnTo>
                    <a:pt x="242" y="31"/>
                  </a:lnTo>
                  <a:lnTo>
                    <a:pt x="244" y="31"/>
                  </a:lnTo>
                  <a:lnTo>
                    <a:pt x="244" y="34"/>
                  </a:lnTo>
                  <a:lnTo>
                    <a:pt x="242" y="34"/>
                  </a:lnTo>
                  <a:lnTo>
                    <a:pt x="242" y="36"/>
                  </a:lnTo>
                  <a:lnTo>
                    <a:pt x="244" y="36"/>
                  </a:lnTo>
                  <a:lnTo>
                    <a:pt x="244" y="38"/>
                  </a:lnTo>
                  <a:lnTo>
                    <a:pt x="244" y="41"/>
                  </a:lnTo>
                  <a:lnTo>
                    <a:pt x="242" y="41"/>
                  </a:lnTo>
                  <a:lnTo>
                    <a:pt x="244" y="41"/>
                  </a:lnTo>
                  <a:lnTo>
                    <a:pt x="242" y="41"/>
                  </a:lnTo>
                  <a:lnTo>
                    <a:pt x="242" y="43"/>
                  </a:lnTo>
                  <a:lnTo>
                    <a:pt x="244" y="43"/>
                  </a:lnTo>
                  <a:lnTo>
                    <a:pt x="242" y="43"/>
                  </a:lnTo>
                  <a:lnTo>
                    <a:pt x="244" y="43"/>
                  </a:lnTo>
                  <a:lnTo>
                    <a:pt x="244" y="46"/>
                  </a:lnTo>
                  <a:lnTo>
                    <a:pt x="244" y="43"/>
                  </a:lnTo>
                  <a:lnTo>
                    <a:pt x="244" y="46"/>
                  </a:lnTo>
                  <a:lnTo>
                    <a:pt x="247" y="46"/>
                  </a:lnTo>
                  <a:lnTo>
                    <a:pt x="249" y="46"/>
                  </a:lnTo>
                  <a:lnTo>
                    <a:pt x="247" y="46"/>
                  </a:lnTo>
                  <a:lnTo>
                    <a:pt x="247" y="48"/>
                  </a:lnTo>
                  <a:lnTo>
                    <a:pt x="244" y="48"/>
                  </a:lnTo>
                  <a:lnTo>
                    <a:pt x="242" y="48"/>
                  </a:lnTo>
                  <a:lnTo>
                    <a:pt x="242" y="50"/>
                  </a:lnTo>
                  <a:lnTo>
                    <a:pt x="240" y="50"/>
                  </a:lnTo>
                  <a:lnTo>
                    <a:pt x="240" y="53"/>
                  </a:lnTo>
                  <a:lnTo>
                    <a:pt x="242" y="53"/>
                  </a:lnTo>
                  <a:lnTo>
                    <a:pt x="242" y="55"/>
                  </a:lnTo>
                  <a:lnTo>
                    <a:pt x="240" y="55"/>
                  </a:lnTo>
                  <a:lnTo>
                    <a:pt x="242" y="55"/>
                  </a:lnTo>
                  <a:lnTo>
                    <a:pt x="240" y="55"/>
                  </a:lnTo>
                  <a:lnTo>
                    <a:pt x="242" y="55"/>
                  </a:lnTo>
                  <a:lnTo>
                    <a:pt x="240" y="55"/>
                  </a:lnTo>
                  <a:lnTo>
                    <a:pt x="240" y="57"/>
                  </a:lnTo>
                  <a:lnTo>
                    <a:pt x="240" y="55"/>
                  </a:lnTo>
                  <a:lnTo>
                    <a:pt x="240" y="57"/>
                  </a:lnTo>
                  <a:lnTo>
                    <a:pt x="240" y="55"/>
                  </a:lnTo>
                  <a:lnTo>
                    <a:pt x="237" y="55"/>
                  </a:lnTo>
                  <a:lnTo>
                    <a:pt x="237" y="57"/>
                  </a:lnTo>
                  <a:lnTo>
                    <a:pt x="237" y="55"/>
                  </a:lnTo>
                  <a:lnTo>
                    <a:pt x="237" y="57"/>
                  </a:lnTo>
                  <a:lnTo>
                    <a:pt x="235" y="57"/>
                  </a:lnTo>
                  <a:lnTo>
                    <a:pt x="237" y="57"/>
                  </a:lnTo>
                  <a:lnTo>
                    <a:pt x="235" y="57"/>
                  </a:lnTo>
                  <a:lnTo>
                    <a:pt x="235" y="60"/>
                  </a:lnTo>
                  <a:lnTo>
                    <a:pt x="233" y="60"/>
                  </a:lnTo>
                  <a:lnTo>
                    <a:pt x="230" y="60"/>
                  </a:lnTo>
                  <a:lnTo>
                    <a:pt x="230" y="62"/>
                  </a:lnTo>
                  <a:lnTo>
                    <a:pt x="233" y="62"/>
                  </a:lnTo>
                  <a:lnTo>
                    <a:pt x="230" y="62"/>
                  </a:lnTo>
                  <a:lnTo>
                    <a:pt x="230" y="65"/>
                  </a:lnTo>
                  <a:lnTo>
                    <a:pt x="228" y="65"/>
                  </a:lnTo>
                  <a:lnTo>
                    <a:pt x="230" y="65"/>
                  </a:lnTo>
                  <a:lnTo>
                    <a:pt x="228" y="65"/>
                  </a:lnTo>
                  <a:lnTo>
                    <a:pt x="228" y="67"/>
                  </a:lnTo>
                  <a:lnTo>
                    <a:pt x="230" y="67"/>
                  </a:lnTo>
                  <a:lnTo>
                    <a:pt x="230" y="69"/>
                  </a:lnTo>
                  <a:lnTo>
                    <a:pt x="230" y="67"/>
                  </a:lnTo>
                  <a:lnTo>
                    <a:pt x="230" y="69"/>
                  </a:lnTo>
                  <a:lnTo>
                    <a:pt x="228" y="69"/>
                  </a:lnTo>
                  <a:lnTo>
                    <a:pt x="228" y="72"/>
                  </a:lnTo>
                  <a:lnTo>
                    <a:pt x="225" y="72"/>
                  </a:lnTo>
                  <a:lnTo>
                    <a:pt x="223" y="72"/>
                  </a:lnTo>
                  <a:lnTo>
                    <a:pt x="221" y="72"/>
                  </a:lnTo>
                  <a:lnTo>
                    <a:pt x="223" y="72"/>
                  </a:lnTo>
                  <a:lnTo>
                    <a:pt x="223" y="69"/>
                  </a:lnTo>
                  <a:lnTo>
                    <a:pt x="223" y="67"/>
                  </a:lnTo>
                  <a:lnTo>
                    <a:pt x="225" y="67"/>
                  </a:lnTo>
                  <a:lnTo>
                    <a:pt x="225" y="65"/>
                  </a:lnTo>
                  <a:lnTo>
                    <a:pt x="228" y="65"/>
                  </a:lnTo>
                  <a:lnTo>
                    <a:pt x="228" y="62"/>
                  </a:lnTo>
                  <a:lnTo>
                    <a:pt x="225" y="62"/>
                  </a:lnTo>
                  <a:lnTo>
                    <a:pt x="225" y="65"/>
                  </a:lnTo>
                  <a:lnTo>
                    <a:pt x="223" y="65"/>
                  </a:lnTo>
                  <a:lnTo>
                    <a:pt x="225" y="62"/>
                  </a:lnTo>
                  <a:lnTo>
                    <a:pt x="225" y="60"/>
                  </a:lnTo>
                  <a:lnTo>
                    <a:pt x="223" y="60"/>
                  </a:lnTo>
                  <a:lnTo>
                    <a:pt x="223" y="57"/>
                  </a:lnTo>
                  <a:lnTo>
                    <a:pt x="223" y="55"/>
                  </a:lnTo>
                  <a:lnTo>
                    <a:pt x="221" y="55"/>
                  </a:lnTo>
                  <a:lnTo>
                    <a:pt x="221" y="53"/>
                  </a:lnTo>
                  <a:lnTo>
                    <a:pt x="223" y="53"/>
                  </a:lnTo>
                  <a:lnTo>
                    <a:pt x="223" y="50"/>
                  </a:lnTo>
                  <a:lnTo>
                    <a:pt x="223" y="48"/>
                  </a:lnTo>
                  <a:lnTo>
                    <a:pt x="223" y="46"/>
                  </a:lnTo>
                  <a:lnTo>
                    <a:pt x="221" y="46"/>
                  </a:lnTo>
                  <a:lnTo>
                    <a:pt x="221" y="43"/>
                  </a:lnTo>
                  <a:lnTo>
                    <a:pt x="221" y="41"/>
                  </a:lnTo>
                  <a:lnTo>
                    <a:pt x="221" y="38"/>
                  </a:lnTo>
                  <a:lnTo>
                    <a:pt x="223" y="38"/>
                  </a:lnTo>
                  <a:lnTo>
                    <a:pt x="223" y="36"/>
                  </a:lnTo>
                  <a:lnTo>
                    <a:pt x="225" y="36"/>
                  </a:lnTo>
                  <a:lnTo>
                    <a:pt x="225" y="34"/>
                  </a:lnTo>
                  <a:lnTo>
                    <a:pt x="228" y="34"/>
                  </a:lnTo>
                  <a:lnTo>
                    <a:pt x="225" y="34"/>
                  </a:lnTo>
                  <a:lnTo>
                    <a:pt x="228" y="34"/>
                  </a:lnTo>
                  <a:lnTo>
                    <a:pt x="228" y="31"/>
                  </a:lnTo>
                  <a:lnTo>
                    <a:pt x="230" y="31"/>
                  </a:lnTo>
                  <a:lnTo>
                    <a:pt x="228" y="31"/>
                  </a:lnTo>
                  <a:lnTo>
                    <a:pt x="230" y="31"/>
                  </a:lnTo>
                  <a:lnTo>
                    <a:pt x="230" y="29"/>
                  </a:lnTo>
                  <a:lnTo>
                    <a:pt x="233" y="27"/>
                  </a:lnTo>
                  <a:lnTo>
                    <a:pt x="233" y="24"/>
                  </a:lnTo>
                  <a:lnTo>
                    <a:pt x="235" y="24"/>
                  </a:lnTo>
                  <a:lnTo>
                    <a:pt x="237" y="24"/>
                  </a:lnTo>
                  <a:lnTo>
                    <a:pt x="237" y="22"/>
                  </a:lnTo>
                  <a:lnTo>
                    <a:pt x="240" y="22"/>
                  </a:lnTo>
                  <a:lnTo>
                    <a:pt x="240" y="19"/>
                  </a:lnTo>
                  <a:lnTo>
                    <a:pt x="242" y="19"/>
                  </a:lnTo>
                  <a:close/>
                  <a:moveTo>
                    <a:pt x="10" y="0"/>
                  </a:moveTo>
                  <a:lnTo>
                    <a:pt x="12" y="0"/>
                  </a:lnTo>
                  <a:lnTo>
                    <a:pt x="12" y="3"/>
                  </a:lnTo>
                  <a:lnTo>
                    <a:pt x="14" y="3"/>
                  </a:lnTo>
                  <a:lnTo>
                    <a:pt x="14" y="5"/>
                  </a:lnTo>
                  <a:lnTo>
                    <a:pt x="14" y="7"/>
                  </a:lnTo>
                  <a:lnTo>
                    <a:pt x="14" y="10"/>
                  </a:lnTo>
                  <a:lnTo>
                    <a:pt x="12" y="10"/>
                  </a:lnTo>
                  <a:lnTo>
                    <a:pt x="10" y="10"/>
                  </a:lnTo>
                  <a:lnTo>
                    <a:pt x="10" y="12"/>
                  </a:lnTo>
                  <a:lnTo>
                    <a:pt x="10" y="10"/>
                  </a:lnTo>
                  <a:lnTo>
                    <a:pt x="10" y="12"/>
                  </a:lnTo>
                  <a:lnTo>
                    <a:pt x="12" y="12"/>
                  </a:lnTo>
                  <a:lnTo>
                    <a:pt x="10" y="12"/>
                  </a:lnTo>
                  <a:lnTo>
                    <a:pt x="12" y="12"/>
                  </a:lnTo>
                  <a:lnTo>
                    <a:pt x="12" y="15"/>
                  </a:lnTo>
                  <a:lnTo>
                    <a:pt x="12" y="17"/>
                  </a:lnTo>
                  <a:lnTo>
                    <a:pt x="10" y="17"/>
                  </a:lnTo>
                  <a:lnTo>
                    <a:pt x="10" y="15"/>
                  </a:lnTo>
                  <a:lnTo>
                    <a:pt x="10" y="17"/>
                  </a:lnTo>
                  <a:lnTo>
                    <a:pt x="7" y="17"/>
                  </a:lnTo>
                  <a:lnTo>
                    <a:pt x="7" y="19"/>
                  </a:lnTo>
                  <a:lnTo>
                    <a:pt x="5" y="19"/>
                  </a:lnTo>
                  <a:lnTo>
                    <a:pt x="5" y="17"/>
                  </a:lnTo>
                  <a:lnTo>
                    <a:pt x="5" y="19"/>
                  </a:lnTo>
                  <a:lnTo>
                    <a:pt x="5" y="17"/>
                  </a:lnTo>
                  <a:lnTo>
                    <a:pt x="2" y="17"/>
                  </a:lnTo>
                  <a:lnTo>
                    <a:pt x="5" y="17"/>
                  </a:lnTo>
                  <a:lnTo>
                    <a:pt x="5" y="15"/>
                  </a:lnTo>
                  <a:lnTo>
                    <a:pt x="5" y="17"/>
                  </a:lnTo>
                  <a:lnTo>
                    <a:pt x="5" y="15"/>
                  </a:lnTo>
                  <a:lnTo>
                    <a:pt x="2" y="15"/>
                  </a:lnTo>
                  <a:lnTo>
                    <a:pt x="2" y="17"/>
                  </a:lnTo>
                  <a:lnTo>
                    <a:pt x="2" y="15"/>
                  </a:lnTo>
                  <a:lnTo>
                    <a:pt x="5" y="15"/>
                  </a:lnTo>
                  <a:lnTo>
                    <a:pt x="2" y="15"/>
                  </a:lnTo>
                  <a:lnTo>
                    <a:pt x="2" y="12"/>
                  </a:lnTo>
                  <a:lnTo>
                    <a:pt x="5" y="12"/>
                  </a:lnTo>
                  <a:lnTo>
                    <a:pt x="7" y="12"/>
                  </a:lnTo>
                  <a:lnTo>
                    <a:pt x="5" y="12"/>
                  </a:lnTo>
                  <a:lnTo>
                    <a:pt x="7" y="12"/>
                  </a:lnTo>
                  <a:lnTo>
                    <a:pt x="10" y="12"/>
                  </a:lnTo>
                  <a:lnTo>
                    <a:pt x="7" y="12"/>
                  </a:lnTo>
                  <a:lnTo>
                    <a:pt x="10" y="12"/>
                  </a:lnTo>
                  <a:lnTo>
                    <a:pt x="7" y="12"/>
                  </a:lnTo>
                  <a:lnTo>
                    <a:pt x="10" y="10"/>
                  </a:lnTo>
                  <a:lnTo>
                    <a:pt x="7" y="10"/>
                  </a:lnTo>
                  <a:lnTo>
                    <a:pt x="5" y="10"/>
                  </a:lnTo>
                  <a:lnTo>
                    <a:pt x="7" y="10"/>
                  </a:lnTo>
                  <a:lnTo>
                    <a:pt x="5" y="10"/>
                  </a:lnTo>
                  <a:lnTo>
                    <a:pt x="5" y="12"/>
                  </a:lnTo>
                  <a:lnTo>
                    <a:pt x="5" y="10"/>
                  </a:lnTo>
                  <a:lnTo>
                    <a:pt x="2" y="10"/>
                  </a:lnTo>
                  <a:lnTo>
                    <a:pt x="2" y="12"/>
                  </a:lnTo>
                  <a:lnTo>
                    <a:pt x="2" y="10"/>
                  </a:lnTo>
                  <a:lnTo>
                    <a:pt x="0" y="10"/>
                  </a:lnTo>
                  <a:lnTo>
                    <a:pt x="0" y="7"/>
                  </a:lnTo>
                  <a:lnTo>
                    <a:pt x="0" y="10"/>
                  </a:lnTo>
                  <a:lnTo>
                    <a:pt x="0" y="7"/>
                  </a:lnTo>
                  <a:lnTo>
                    <a:pt x="2" y="7"/>
                  </a:lnTo>
                  <a:lnTo>
                    <a:pt x="2" y="5"/>
                  </a:lnTo>
                  <a:lnTo>
                    <a:pt x="5" y="5"/>
                  </a:lnTo>
                  <a:lnTo>
                    <a:pt x="5" y="3"/>
                  </a:lnTo>
                  <a:lnTo>
                    <a:pt x="5" y="5"/>
                  </a:lnTo>
                  <a:lnTo>
                    <a:pt x="5" y="3"/>
                  </a:lnTo>
                  <a:lnTo>
                    <a:pt x="7" y="3"/>
                  </a:lnTo>
                  <a:lnTo>
                    <a:pt x="10" y="3"/>
                  </a:lnTo>
                  <a:lnTo>
                    <a:pt x="1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09" name="Freeform 56640"/>
            <p:cNvSpPr>
              <a:spLocks noEditPoints="1"/>
            </p:cNvSpPr>
            <p:nvPr/>
          </p:nvSpPr>
          <p:spPr bwMode="auto">
            <a:xfrm>
              <a:off x="2609847" y="3090875"/>
              <a:ext cx="681037" cy="1187455"/>
            </a:xfrm>
            <a:custGeom>
              <a:avLst/>
              <a:gdLst>
                <a:gd name="T0" fmla="*/ 415 w 429"/>
                <a:gd name="T1" fmla="*/ 188 h 748"/>
                <a:gd name="T2" fmla="*/ 389 w 429"/>
                <a:gd name="T3" fmla="*/ 183 h 748"/>
                <a:gd name="T4" fmla="*/ 382 w 429"/>
                <a:gd name="T5" fmla="*/ 121 h 748"/>
                <a:gd name="T6" fmla="*/ 386 w 429"/>
                <a:gd name="T7" fmla="*/ 162 h 748"/>
                <a:gd name="T8" fmla="*/ 391 w 429"/>
                <a:gd name="T9" fmla="*/ 193 h 748"/>
                <a:gd name="T10" fmla="*/ 370 w 429"/>
                <a:gd name="T11" fmla="*/ 195 h 748"/>
                <a:gd name="T12" fmla="*/ 356 w 429"/>
                <a:gd name="T13" fmla="*/ 200 h 748"/>
                <a:gd name="T14" fmla="*/ 346 w 429"/>
                <a:gd name="T15" fmla="*/ 214 h 748"/>
                <a:gd name="T16" fmla="*/ 337 w 429"/>
                <a:gd name="T17" fmla="*/ 212 h 748"/>
                <a:gd name="T18" fmla="*/ 341 w 429"/>
                <a:gd name="T19" fmla="*/ 231 h 748"/>
                <a:gd name="T20" fmla="*/ 334 w 429"/>
                <a:gd name="T21" fmla="*/ 252 h 748"/>
                <a:gd name="T22" fmla="*/ 341 w 429"/>
                <a:gd name="T23" fmla="*/ 264 h 748"/>
                <a:gd name="T24" fmla="*/ 318 w 429"/>
                <a:gd name="T25" fmla="*/ 297 h 748"/>
                <a:gd name="T26" fmla="*/ 301 w 429"/>
                <a:gd name="T27" fmla="*/ 304 h 748"/>
                <a:gd name="T28" fmla="*/ 277 w 429"/>
                <a:gd name="T29" fmla="*/ 321 h 748"/>
                <a:gd name="T30" fmla="*/ 258 w 429"/>
                <a:gd name="T31" fmla="*/ 330 h 748"/>
                <a:gd name="T32" fmla="*/ 239 w 429"/>
                <a:gd name="T33" fmla="*/ 345 h 748"/>
                <a:gd name="T34" fmla="*/ 230 w 429"/>
                <a:gd name="T35" fmla="*/ 356 h 748"/>
                <a:gd name="T36" fmla="*/ 216 w 429"/>
                <a:gd name="T37" fmla="*/ 335 h 748"/>
                <a:gd name="T38" fmla="*/ 218 w 429"/>
                <a:gd name="T39" fmla="*/ 371 h 748"/>
                <a:gd name="T40" fmla="*/ 216 w 429"/>
                <a:gd name="T41" fmla="*/ 385 h 748"/>
                <a:gd name="T42" fmla="*/ 204 w 429"/>
                <a:gd name="T43" fmla="*/ 409 h 748"/>
                <a:gd name="T44" fmla="*/ 199 w 429"/>
                <a:gd name="T45" fmla="*/ 421 h 748"/>
                <a:gd name="T46" fmla="*/ 201 w 429"/>
                <a:gd name="T47" fmla="*/ 437 h 748"/>
                <a:gd name="T48" fmla="*/ 201 w 429"/>
                <a:gd name="T49" fmla="*/ 463 h 748"/>
                <a:gd name="T50" fmla="*/ 216 w 429"/>
                <a:gd name="T51" fmla="*/ 480 h 748"/>
                <a:gd name="T52" fmla="*/ 234 w 429"/>
                <a:gd name="T53" fmla="*/ 485 h 748"/>
                <a:gd name="T54" fmla="*/ 246 w 429"/>
                <a:gd name="T55" fmla="*/ 499 h 748"/>
                <a:gd name="T56" fmla="*/ 256 w 429"/>
                <a:gd name="T57" fmla="*/ 511 h 748"/>
                <a:gd name="T58" fmla="*/ 242 w 429"/>
                <a:gd name="T59" fmla="*/ 535 h 748"/>
                <a:gd name="T60" fmla="*/ 244 w 429"/>
                <a:gd name="T61" fmla="*/ 539 h 748"/>
                <a:gd name="T62" fmla="*/ 244 w 429"/>
                <a:gd name="T63" fmla="*/ 546 h 748"/>
                <a:gd name="T64" fmla="*/ 227 w 429"/>
                <a:gd name="T65" fmla="*/ 558 h 748"/>
                <a:gd name="T66" fmla="*/ 218 w 429"/>
                <a:gd name="T67" fmla="*/ 558 h 748"/>
                <a:gd name="T68" fmla="*/ 213 w 429"/>
                <a:gd name="T69" fmla="*/ 563 h 748"/>
                <a:gd name="T70" fmla="*/ 199 w 429"/>
                <a:gd name="T71" fmla="*/ 575 h 748"/>
                <a:gd name="T72" fmla="*/ 189 w 429"/>
                <a:gd name="T73" fmla="*/ 582 h 748"/>
                <a:gd name="T74" fmla="*/ 185 w 429"/>
                <a:gd name="T75" fmla="*/ 596 h 748"/>
                <a:gd name="T76" fmla="*/ 185 w 429"/>
                <a:gd name="T77" fmla="*/ 611 h 748"/>
                <a:gd name="T78" fmla="*/ 180 w 429"/>
                <a:gd name="T79" fmla="*/ 615 h 748"/>
                <a:gd name="T80" fmla="*/ 185 w 429"/>
                <a:gd name="T81" fmla="*/ 630 h 748"/>
                <a:gd name="T82" fmla="*/ 180 w 429"/>
                <a:gd name="T83" fmla="*/ 644 h 748"/>
                <a:gd name="T84" fmla="*/ 175 w 429"/>
                <a:gd name="T85" fmla="*/ 675 h 748"/>
                <a:gd name="T86" fmla="*/ 156 w 429"/>
                <a:gd name="T87" fmla="*/ 708 h 748"/>
                <a:gd name="T88" fmla="*/ 132 w 429"/>
                <a:gd name="T89" fmla="*/ 706 h 748"/>
                <a:gd name="T90" fmla="*/ 113 w 429"/>
                <a:gd name="T91" fmla="*/ 713 h 748"/>
                <a:gd name="T92" fmla="*/ 73 w 429"/>
                <a:gd name="T93" fmla="*/ 748 h 748"/>
                <a:gd name="T94" fmla="*/ 49 w 429"/>
                <a:gd name="T95" fmla="*/ 708 h 748"/>
                <a:gd name="T96" fmla="*/ 38 w 429"/>
                <a:gd name="T97" fmla="*/ 663 h 748"/>
                <a:gd name="T98" fmla="*/ 28 w 429"/>
                <a:gd name="T99" fmla="*/ 644 h 748"/>
                <a:gd name="T100" fmla="*/ 28 w 429"/>
                <a:gd name="T101" fmla="*/ 620 h 748"/>
                <a:gd name="T102" fmla="*/ 19 w 429"/>
                <a:gd name="T103" fmla="*/ 594 h 748"/>
                <a:gd name="T104" fmla="*/ 11 w 429"/>
                <a:gd name="T105" fmla="*/ 592 h 748"/>
                <a:gd name="T106" fmla="*/ 4 w 429"/>
                <a:gd name="T107" fmla="*/ 584 h 748"/>
                <a:gd name="T108" fmla="*/ 4 w 429"/>
                <a:gd name="T109" fmla="*/ 558 h 748"/>
                <a:gd name="T110" fmla="*/ 23 w 429"/>
                <a:gd name="T111" fmla="*/ 516 h 748"/>
                <a:gd name="T112" fmla="*/ 33 w 429"/>
                <a:gd name="T113" fmla="*/ 411 h 748"/>
                <a:gd name="T114" fmla="*/ 92 w 429"/>
                <a:gd name="T115" fmla="*/ 242 h 748"/>
                <a:gd name="T116" fmla="*/ 218 w 429"/>
                <a:gd name="T117" fmla="*/ 62 h 748"/>
                <a:gd name="T118" fmla="*/ 341 w 429"/>
                <a:gd name="T119" fmla="*/ 24 h 748"/>
                <a:gd name="T120" fmla="*/ 412 w 429"/>
                <a:gd name="T121" fmla="*/ 67 h 748"/>
                <a:gd name="T122" fmla="*/ 422 w 429"/>
                <a:gd name="T123" fmla="*/ 128 h 748"/>
                <a:gd name="T124" fmla="*/ 204 w 429"/>
                <a:gd name="T125" fmla="*/ 385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748">
                  <a:moveTo>
                    <a:pt x="223" y="568"/>
                  </a:moveTo>
                  <a:lnTo>
                    <a:pt x="225" y="568"/>
                  </a:lnTo>
                  <a:lnTo>
                    <a:pt x="223" y="568"/>
                  </a:lnTo>
                  <a:close/>
                  <a:moveTo>
                    <a:pt x="237" y="537"/>
                  </a:moveTo>
                  <a:lnTo>
                    <a:pt x="239" y="537"/>
                  </a:lnTo>
                  <a:lnTo>
                    <a:pt x="239" y="539"/>
                  </a:lnTo>
                  <a:lnTo>
                    <a:pt x="237" y="539"/>
                  </a:lnTo>
                  <a:lnTo>
                    <a:pt x="237" y="537"/>
                  </a:lnTo>
                  <a:close/>
                  <a:moveTo>
                    <a:pt x="230" y="361"/>
                  </a:moveTo>
                  <a:lnTo>
                    <a:pt x="232" y="361"/>
                  </a:lnTo>
                  <a:lnTo>
                    <a:pt x="230" y="361"/>
                  </a:lnTo>
                  <a:lnTo>
                    <a:pt x="227" y="364"/>
                  </a:lnTo>
                  <a:lnTo>
                    <a:pt x="227" y="361"/>
                  </a:lnTo>
                  <a:lnTo>
                    <a:pt x="227" y="359"/>
                  </a:lnTo>
                  <a:lnTo>
                    <a:pt x="230" y="359"/>
                  </a:lnTo>
                  <a:lnTo>
                    <a:pt x="232" y="359"/>
                  </a:lnTo>
                  <a:lnTo>
                    <a:pt x="232" y="361"/>
                  </a:lnTo>
                  <a:lnTo>
                    <a:pt x="230" y="361"/>
                  </a:lnTo>
                  <a:close/>
                  <a:moveTo>
                    <a:pt x="429" y="193"/>
                  </a:moveTo>
                  <a:lnTo>
                    <a:pt x="429" y="195"/>
                  </a:lnTo>
                  <a:lnTo>
                    <a:pt x="429" y="193"/>
                  </a:lnTo>
                  <a:close/>
                  <a:moveTo>
                    <a:pt x="427" y="188"/>
                  </a:moveTo>
                  <a:lnTo>
                    <a:pt x="424" y="188"/>
                  </a:lnTo>
                  <a:lnTo>
                    <a:pt x="427" y="188"/>
                  </a:lnTo>
                  <a:lnTo>
                    <a:pt x="427" y="190"/>
                  </a:lnTo>
                  <a:lnTo>
                    <a:pt x="424" y="190"/>
                  </a:lnTo>
                  <a:lnTo>
                    <a:pt x="427" y="190"/>
                  </a:lnTo>
                  <a:lnTo>
                    <a:pt x="427" y="188"/>
                  </a:lnTo>
                  <a:lnTo>
                    <a:pt x="424" y="188"/>
                  </a:lnTo>
                  <a:lnTo>
                    <a:pt x="424" y="190"/>
                  </a:lnTo>
                  <a:lnTo>
                    <a:pt x="424" y="188"/>
                  </a:lnTo>
                  <a:lnTo>
                    <a:pt x="424" y="190"/>
                  </a:lnTo>
                  <a:lnTo>
                    <a:pt x="422" y="190"/>
                  </a:lnTo>
                  <a:lnTo>
                    <a:pt x="422" y="188"/>
                  </a:lnTo>
                  <a:lnTo>
                    <a:pt x="422" y="190"/>
                  </a:lnTo>
                  <a:lnTo>
                    <a:pt x="422" y="188"/>
                  </a:lnTo>
                  <a:lnTo>
                    <a:pt x="422" y="190"/>
                  </a:lnTo>
                  <a:lnTo>
                    <a:pt x="420" y="190"/>
                  </a:lnTo>
                  <a:lnTo>
                    <a:pt x="420" y="188"/>
                  </a:lnTo>
                  <a:lnTo>
                    <a:pt x="420" y="190"/>
                  </a:lnTo>
                  <a:lnTo>
                    <a:pt x="417" y="190"/>
                  </a:lnTo>
                  <a:lnTo>
                    <a:pt x="420" y="190"/>
                  </a:lnTo>
                  <a:lnTo>
                    <a:pt x="417" y="190"/>
                  </a:lnTo>
                  <a:lnTo>
                    <a:pt x="420" y="190"/>
                  </a:lnTo>
                  <a:lnTo>
                    <a:pt x="417" y="190"/>
                  </a:lnTo>
                  <a:lnTo>
                    <a:pt x="417" y="188"/>
                  </a:lnTo>
                  <a:lnTo>
                    <a:pt x="415" y="188"/>
                  </a:lnTo>
                  <a:lnTo>
                    <a:pt x="415" y="185"/>
                  </a:lnTo>
                  <a:lnTo>
                    <a:pt x="415" y="188"/>
                  </a:lnTo>
                  <a:lnTo>
                    <a:pt x="412" y="188"/>
                  </a:lnTo>
                  <a:lnTo>
                    <a:pt x="415" y="188"/>
                  </a:lnTo>
                  <a:lnTo>
                    <a:pt x="412" y="188"/>
                  </a:lnTo>
                  <a:lnTo>
                    <a:pt x="412" y="190"/>
                  </a:lnTo>
                  <a:lnTo>
                    <a:pt x="412" y="188"/>
                  </a:lnTo>
                  <a:lnTo>
                    <a:pt x="412" y="190"/>
                  </a:lnTo>
                  <a:lnTo>
                    <a:pt x="412" y="188"/>
                  </a:lnTo>
                  <a:lnTo>
                    <a:pt x="410" y="188"/>
                  </a:lnTo>
                  <a:lnTo>
                    <a:pt x="412" y="188"/>
                  </a:lnTo>
                  <a:lnTo>
                    <a:pt x="412" y="190"/>
                  </a:lnTo>
                  <a:lnTo>
                    <a:pt x="410" y="190"/>
                  </a:lnTo>
                  <a:lnTo>
                    <a:pt x="410" y="188"/>
                  </a:lnTo>
                  <a:lnTo>
                    <a:pt x="408" y="188"/>
                  </a:lnTo>
                  <a:lnTo>
                    <a:pt x="408" y="185"/>
                  </a:lnTo>
                  <a:lnTo>
                    <a:pt x="408" y="188"/>
                  </a:lnTo>
                  <a:lnTo>
                    <a:pt x="408" y="185"/>
                  </a:lnTo>
                  <a:lnTo>
                    <a:pt x="405" y="188"/>
                  </a:lnTo>
                  <a:lnTo>
                    <a:pt x="408" y="188"/>
                  </a:lnTo>
                  <a:lnTo>
                    <a:pt x="405" y="188"/>
                  </a:lnTo>
                  <a:lnTo>
                    <a:pt x="408" y="188"/>
                  </a:lnTo>
                  <a:lnTo>
                    <a:pt x="405" y="188"/>
                  </a:lnTo>
                  <a:lnTo>
                    <a:pt x="405" y="190"/>
                  </a:lnTo>
                  <a:lnTo>
                    <a:pt x="405" y="193"/>
                  </a:lnTo>
                  <a:lnTo>
                    <a:pt x="403" y="193"/>
                  </a:lnTo>
                  <a:lnTo>
                    <a:pt x="403" y="190"/>
                  </a:lnTo>
                  <a:lnTo>
                    <a:pt x="403" y="193"/>
                  </a:lnTo>
                  <a:lnTo>
                    <a:pt x="403" y="190"/>
                  </a:lnTo>
                  <a:lnTo>
                    <a:pt x="405" y="190"/>
                  </a:lnTo>
                  <a:lnTo>
                    <a:pt x="403" y="190"/>
                  </a:lnTo>
                  <a:lnTo>
                    <a:pt x="405" y="190"/>
                  </a:lnTo>
                  <a:lnTo>
                    <a:pt x="403" y="190"/>
                  </a:lnTo>
                  <a:lnTo>
                    <a:pt x="403" y="188"/>
                  </a:lnTo>
                  <a:lnTo>
                    <a:pt x="403" y="190"/>
                  </a:lnTo>
                  <a:lnTo>
                    <a:pt x="403" y="188"/>
                  </a:lnTo>
                  <a:lnTo>
                    <a:pt x="401" y="190"/>
                  </a:lnTo>
                  <a:lnTo>
                    <a:pt x="401" y="188"/>
                  </a:lnTo>
                  <a:lnTo>
                    <a:pt x="401" y="190"/>
                  </a:lnTo>
                  <a:lnTo>
                    <a:pt x="401" y="188"/>
                  </a:lnTo>
                  <a:lnTo>
                    <a:pt x="398" y="188"/>
                  </a:lnTo>
                  <a:lnTo>
                    <a:pt x="398" y="185"/>
                  </a:lnTo>
                  <a:lnTo>
                    <a:pt x="396" y="185"/>
                  </a:lnTo>
                  <a:lnTo>
                    <a:pt x="393" y="185"/>
                  </a:lnTo>
                  <a:lnTo>
                    <a:pt x="393" y="183"/>
                  </a:lnTo>
                  <a:lnTo>
                    <a:pt x="393" y="185"/>
                  </a:lnTo>
                  <a:lnTo>
                    <a:pt x="391" y="185"/>
                  </a:lnTo>
                  <a:lnTo>
                    <a:pt x="391" y="183"/>
                  </a:lnTo>
                  <a:lnTo>
                    <a:pt x="389" y="183"/>
                  </a:lnTo>
                  <a:lnTo>
                    <a:pt x="389" y="181"/>
                  </a:lnTo>
                  <a:lnTo>
                    <a:pt x="389" y="183"/>
                  </a:lnTo>
                  <a:lnTo>
                    <a:pt x="389" y="181"/>
                  </a:lnTo>
                  <a:lnTo>
                    <a:pt x="386" y="181"/>
                  </a:lnTo>
                  <a:lnTo>
                    <a:pt x="386" y="178"/>
                  </a:lnTo>
                  <a:lnTo>
                    <a:pt x="386" y="176"/>
                  </a:lnTo>
                  <a:lnTo>
                    <a:pt x="384" y="173"/>
                  </a:lnTo>
                  <a:lnTo>
                    <a:pt x="382" y="173"/>
                  </a:lnTo>
                  <a:lnTo>
                    <a:pt x="384" y="173"/>
                  </a:lnTo>
                  <a:lnTo>
                    <a:pt x="384" y="171"/>
                  </a:lnTo>
                  <a:lnTo>
                    <a:pt x="386" y="171"/>
                  </a:lnTo>
                  <a:lnTo>
                    <a:pt x="384" y="171"/>
                  </a:lnTo>
                  <a:lnTo>
                    <a:pt x="384" y="169"/>
                  </a:lnTo>
                  <a:lnTo>
                    <a:pt x="386" y="169"/>
                  </a:lnTo>
                  <a:lnTo>
                    <a:pt x="386" y="171"/>
                  </a:lnTo>
                  <a:lnTo>
                    <a:pt x="386" y="169"/>
                  </a:lnTo>
                  <a:lnTo>
                    <a:pt x="386" y="166"/>
                  </a:lnTo>
                  <a:lnTo>
                    <a:pt x="386" y="164"/>
                  </a:lnTo>
                  <a:lnTo>
                    <a:pt x="386" y="166"/>
                  </a:lnTo>
                  <a:lnTo>
                    <a:pt x="386" y="164"/>
                  </a:lnTo>
                  <a:lnTo>
                    <a:pt x="386" y="162"/>
                  </a:lnTo>
                  <a:lnTo>
                    <a:pt x="386" y="159"/>
                  </a:lnTo>
                  <a:lnTo>
                    <a:pt x="389" y="159"/>
                  </a:lnTo>
                  <a:lnTo>
                    <a:pt x="389" y="162"/>
                  </a:lnTo>
                  <a:lnTo>
                    <a:pt x="389" y="164"/>
                  </a:lnTo>
                  <a:lnTo>
                    <a:pt x="389" y="162"/>
                  </a:lnTo>
                  <a:lnTo>
                    <a:pt x="389" y="164"/>
                  </a:lnTo>
                  <a:lnTo>
                    <a:pt x="389" y="162"/>
                  </a:lnTo>
                  <a:lnTo>
                    <a:pt x="389" y="159"/>
                  </a:lnTo>
                  <a:lnTo>
                    <a:pt x="389" y="157"/>
                  </a:lnTo>
                  <a:lnTo>
                    <a:pt x="389" y="159"/>
                  </a:lnTo>
                  <a:lnTo>
                    <a:pt x="386" y="159"/>
                  </a:lnTo>
                  <a:lnTo>
                    <a:pt x="386" y="157"/>
                  </a:lnTo>
                  <a:lnTo>
                    <a:pt x="386" y="154"/>
                  </a:lnTo>
                  <a:lnTo>
                    <a:pt x="384" y="154"/>
                  </a:lnTo>
                  <a:lnTo>
                    <a:pt x="384" y="152"/>
                  </a:lnTo>
                  <a:lnTo>
                    <a:pt x="384" y="150"/>
                  </a:lnTo>
                  <a:lnTo>
                    <a:pt x="384" y="147"/>
                  </a:lnTo>
                  <a:lnTo>
                    <a:pt x="384" y="145"/>
                  </a:lnTo>
                  <a:lnTo>
                    <a:pt x="384" y="143"/>
                  </a:lnTo>
                  <a:lnTo>
                    <a:pt x="382" y="143"/>
                  </a:lnTo>
                  <a:lnTo>
                    <a:pt x="382" y="140"/>
                  </a:lnTo>
                  <a:lnTo>
                    <a:pt x="382" y="138"/>
                  </a:lnTo>
                  <a:lnTo>
                    <a:pt x="382" y="135"/>
                  </a:lnTo>
                  <a:lnTo>
                    <a:pt x="382" y="133"/>
                  </a:lnTo>
                  <a:lnTo>
                    <a:pt x="384" y="131"/>
                  </a:lnTo>
                  <a:lnTo>
                    <a:pt x="384" y="128"/>
                  </a:lnTo>
                  <a:lnTo>
                    <a:pt x="384" y="126"/>
                  </a:lnTo>
                  <a:lnTo>
                    <a:pt x="384" y="124"/>
                  </a:lnTo>
                  <a:lnTo>
                    <a:pt x="382" y="124"/>
                  </a:lnTo>
                  <a:lnTo>
                    <a:pt x="382" y="121"/>
                  </a:lnTo>
                  <a:lnTo>
                    <a:pt x="379" y="121"/>
                  </a:lnTo>
                  <a:lnTo>
                    <a:pt x="379" y="119"/>
                  </a:lnTo>
                  <a:lnTo>
                    <a:pt x="377" y="119"/>
                  </a:lnTo>
                  <a:lnTo>
                    <a:pt x="377" y="116"/>
                  </a:lnTo>
                  <a:lnTo>
                    <a:pt x="374" y="116"/>
                  </a:lnTo>
                  <a:lnTo>
                    <a:pt x="377" y="116"/>
                  </a:lnTo>
                  <a:lnTo>
                    <a:pt x="377" y="119"/>
                  </a:lnTo>
                  <a:lnTo>
                    <a:pt x="379" y="119"/>
                  </a:lnTo>
                  <a:lnTo>
                    <a:pt x="379" y="121"/>
                  </a:lnTo>
                  <a:lnTo>
                    <a:pt x="382" y="121"/>
                  </a:lnTo>
                  <a:lnTo>
                    <a:pt x="382" y="124"/>
                  </a:lnTo>
                  <a:lnTo>
                    <a:pt x="384" y="124"/>
                  </a:lnTo>
                  <a:lnTo>
                    <a:pt x="384" y="126"/>
                  </a:lnTo>
                  <a:lnTo>
                    <a:pt x="384" y="128"/>
                  </a:lnTo>
                  <a:lnTo>
                    <a:pt x="384" y="131"/>
                  </a:lnTo>
                  <a:lnTo>
                    <a:pt x="382" y="133"/>
                  </a:lnTo>
                  <a:lnTo>
                    <a:pt x="382" y="135"/>
                  </a:lnTo>
                  <a:lnTo>
                    <a:pt x="382" y="138"/>
                  </a:lnTo>
                  <a:lnTo>
                    <a:pt x="382" y="140"/>
                  </a:lnTo>
                  <a:lnTo>
                    <a:pt x="382" y="143"/>
                  </a:lnTo>
                  <a:lnTo>
                    <a:pt x="384" y="143"/>
                  </a:lnTo>
                  <a:lnTo>
                    <a:pt x="384" y="145"/>
                  </a:lnTo>
                  <a:lnTo>
                    <a:pt x="384" y="147"/>
                  </a:lnTo>
                  <a:lnTo>
                    <a:pt x="384" y="150"/>
                  </a:lnTo>
                  <a:lnTo>
                    <a:pt x="384" y="152"/>
                  </a:lnTo>
                  <a:lnTo>
                    <a:pt x="384" y="154"/>
                  </a:lnTo>
                  <a:lnTo>
                    <a:pt x="386" y="154"/>
                  </a:lnTo>
                  <a:lnTo>
                    <a:pt x="384" y="154"/>
                  </a:lnTo>
                  <a:lnTo>
                    <a:pt x="386" y="154"/>
                  </a:lnTo>
                  <a:lnTo>
                    <a:pt x="386" y="157"/>
                  </a:lnTo>
                  <a:lnTo>
                    <a:pt x="386" y="159"/>
                  </a:lnTo>
                  <a:lnTo>
                    <a:pt x="384" y="157"/>
                  </a:lnTo>
                  <a:lnTo>
                    <a:pt x="382" y="157"/>
                  </a:lnTo>
                  <a:lnTo>
                    <a:pt x="382" y="154"/>
                  </a:lnTo>
                  <a:lnTo>
                    <a:pt x="382" y="152"/>
                  </a:lnTo>
                  <a:lnTo>
                    <a:pt x="379" y="152"/>
                  </a:lnTo>
                  <a:lnTo>
                    <a:pt x="382" y="152"/>
                  </a:lnTo>
                  <a:lnTo>
                    <a:pt x="379" y="152"/>
                  </a:lnTo>
                  <a:lnTo>
                    <a:pt x="379" y="150"/>
                  </a:lnTo>
                  <a:lnTo>
                    <a:pt x="377" y="147"/>
                  </a:lnTo>
                  <a:lnTo>
                    <a:pt x="379" y="150"/>
                  </a:lnTo>
                  <a:lnTo>
                    <a:pt x="379" y="152"/>
                  </a:lnTo>
                  <a:lnTo>
                    <a:pt x="382" y="152"/>
                  </a:lnTo>
                  <a:lnTo>
                    <a:pt x="382" y="154"/>
                  </a:lnTo>
                  <a:lnTo>
                    <a:pt x="382" y="157"/>
                  </a:lnTo>
                  <a:lnTo>
                    <a:pt x="384" y="157"/>
                  </a:lnTo>
                  <a:lnTo>
                    <a:pt x="384" y="159"/>
                  </a:lnTo>
                  <a:lnTo>
                    <a:pt x="386" y="159"/>
                  </a:lnTo>
                  <a:lnTo>
                    <a:pt x="386" y="162"/>
                  </a:lnTo>
                  <a:lnTo>
                    <a:pt x="386" y="164"/>
                  </a:lnTo>
                  <a:lnTo>
                    <a:pt x="386" y="166"/>
                  </a:lnTo>
                  <a:lnTo>
                    <a:pt x="384" y="166"/>
                  </a:lnTo>
                  <a:lnTo>
                    <a:pt x="386" y="166"/>
                  </a:lnTo>
                  <a:lnTo>
                    <a:pt x="384" y="166"/>
                  </a:lnTo>
                  <a:lnTo>
                    <a:pt x="386" y="166"/>
                  </a:lnTo>
                  <a:lnTo>
                    <a:pt x="386" y="169"/>
                  </a:lnTo>
                  <a:lnTo>
                    <a:pt x="386" y="166"/>
                  </a:lnTo>
                  <a:lnTo>
                    <a:pt x="386" y="169"/>
                  </a:lnTo>
                  <a:lnTo>
                    <a:pt x="384" y="169"/>
                  </a:lnTo>
                  <a:lnTo>
                    <a:pt x="384" y="171"/>
                  </a:lnTo>
                  <a:lnTo>
                    <a:pt x="382" y="171"/>
                  </a:lnTo>
                  <a:lnTo>
                    <a:pt x="384" y="171"/>
                  </a:lnTo>
                  <a:lnTo>
                    <a:pt x="382" y="171"/>
                  </a:lnTo>
                  <a:lnTo>
                    <a:pt x="384" y="171"/>
                  </a:lnTo>
                  <a:lnTo>
                    <a:pt x="382" y="171"/>
                  </a:lnTo>
                  <a:lnTo>
                    <a:pt x="384" y="171"/>
                  </a:lnTo>
                  <a:lnTo>
                    <a:pt x="384" y="173"/>
                  </a:lnTo>
                  <a:lnTo>
                    <a:pt x="382" y="173"/>
                  </a:lnTo>
                  <a:lnTo>
                    <a:pt x="384" y="173"/>
                  </a:lnTo>
                  <a:lnTo>
                    <a:pt x="384" y="176"/>
                  </a:lnTo>
                  <a:lnTo>
                    <a:pt x="386" y="176"/>
                  </a:lnTo>
                  <a:lnTo>
                    <a:pt x="386" y="178"/>
                  </a:lnTo>
                  <a:lnTo>
                    <a:pt x="386" y="181"/>
                  </a:lnTo>
                  <a:lnTo>
                    <a:pt x="389" y="181"/>
                  </a:lnTo>
                  <a:lnTo>
                    <a:pt x="389" y="183"/>
                  </a:lnTo>
                  <a:lnTo>
                    <a:pt x="391" y="183"/>
                  </a:lnTo>
                  <a:lnTo>
                    <a:pt x="391" y="185"/>
                  </a:lnTo>
                  <a:lnTo>
                    <a:pt x="393" y="185"/>
                  </a:lnTo>
                  <a:lnTo>
                    <a:pt x="396" y="185"/>
                  </a:lnTo>
                  <a:lnTo>
                    <a:pt x="396" y="188"/>
                  </a:lnTo>
                  <a:lnTo>
                    <a:pt x="398" y="188"/>
                  </a:lnTo>
                  <a:lnTo>
                    <a:pt x="398" y="190"/>
                  </a:lnTo>
                  <a:lnTo>
                    <a:pt x="396" y="190"/>
                  </a:lnTo>
                  <a:lnTo>
                    <a:pt x="398" y="190"/>
                  </a:lnTo>
                  <a:lnTo>
                    <a:pt x="396" y="190"/>
                  </a:lnTo>
                  <a:lnTo>
                    <a:pt x="396" y="193"/>
                  </a:lnTo>
                  <a:lnTo>
                    <a:pt x="396" y="190"/>
                  </a:lnTo>
                  <a:lnTo>
                    <a:pt x="396" y="193"/>
                  </a:lnTo>
                  <a:lnTo>
                    <a:pt x="396" y="195"/>
                  </a:lnTo>
                  <a:lnTo>
                    <a:pt x="393" y="195"/>
                  </a:lnTo>
                  <a:lnTo>
                    <a:pt x="396" y="195"/>
                  </a:lnTo>
                  <a:lnTo>
                    <a:pt x="393" y="195"/>
                  </a:lnTo>
                  <a:lnTo>
                    <a:pt x="396" y="195"/>
                  </a:lnTo>
                  <a:lnTo>
                    <a:pt x="393" y="195"/>
                  </a:lnTo>
                  <a:lnTo>
                    <a:pt x="393" y="193"/>
                  </a:lnTo>
                  <a:lnTo>
                    <a:pt x="393" y="190"/>
                  </a:lnTo>
                  <a:lnTo>
                    <a:pt x="393" y="193"/>
                  </a:lnTo>
                  <a:lnTo>
                    <a:pt x="391" y="193"/>
                  </a:lnTo>
                  <a:lnTo>
                    <a:pt x="391" y="190"/>
                  </a:lnTo>
                  <a:lnTo>
                    <a:pt x="389" y="190"/>
                  </a:lnTo>
                  <a:lnTo>
                    <a:pt x="389" y="188"/>
                  </a:lnTo>
                  <a:lnTo>
                    <a:pt x="389" y="190"/>
                  </a:lnTo>
                  <a:lnTo>
                    <a:pt x="386" y="190"/>
                  </a:lnTo>
                  <a:lnTo>
                    <a:pt x="386" y="188"/>
                  </a:lnTo>
                  <a:lnTo>
                    <a:pt x="386" y="190"/>
                  </a:lnTo>
                  <a:lnTo>
                    <a:pt x="386" y="188"/>
                  </a:lnTo>
                  <a:lnTo>
                    <a:pt x="386" y="190"/>
                  </a:lnTo>
                  <a:lnTo>
                    <a:pt x="386" y="188"/>
                  </a:lnTo>
                  <a:lnTo>
                    <a:pt x="386" y="185"/>
                  </a:lnTo>
                  <a:lnTo>
                    <a:pt x="384" y="185"/>
                  </a:lnTo>
                  <a:lnTo>
                    <a:pt x="382" y="185"/>
                  </a:lnTo>
                  <a:lnTo>
                    <a:pt x="382" y="183"/>
                  </a:lnTo>
                  <a:lnTo>
                    <a:pt x="379" y="183"/>
                  </a:lnTo>
                  <a:lnTo>
                    <a:pt x="382" y="183"/>
                  </a:lnTo>
                  <a:lnTo>
                    <a:pt x="382" y="185"/>
                  </a:lnTo>
                  <a:lnTo>
                    <a:pt x="382" y="188"/>
                  </a:lnTo>
                  <a:lnTo>
                    <a:pt x="382" y="190"/>
                  </a:lnTo>
                  <a:lnTo>
                    <a:pt x="382" y="193"/>
                  </a:lnTo>
                  <a:lnTo>
                    <a:pt x="379" y="190"/>
                  </a:lnTo>
                  <a:lnTo>
                    <a:pt x="382" y="190"/>
                  </a:lnTo>
                  <a:lnTo>
                    <a:pt x="379" y="190"/>
                  </a:lnTo>
                  <a:lnTo>
                    <a:pt x="379" y="188"/>
                  </a:lnTo>
                  <a:lnTo>
                    <a:pt x="377" y="188"/>
                  </a:lnTo>
                  <a:lnTo>
                    <a:pt x="379" y="188"/>
                  </a:lnTo>
                  <a:lnTo>
                    <a:pt x="377" y="188"/>
                  </a:lnTo>
                  <a:lnTo>
                    <a:pt x="377" y="190"/>
                  </a:lnTo>
                  <a:lnTo>
                    <a:pt x="377" y="188"/>
                  </a:lnTo>
                  <a:lnTo>
                    <a:pt x="377" y="190"/>
                  </a:lnTo>
                  <a:lnTo>
                    <a:pt x="374" y="190"/>
                  </a:lnTo>
                  <a:lnTo>
                    <a:pt x="374" y="188"/>
                  </a:lnTo>
                  <a:lnTo>
                    <a:pt x="377" y="188"/>
                  </a:lnTo>
                  <a:lnTo>
                    <a:pt x="374" y="188"/>
                  </a:lnTo>
                  <a:lnTo>
                    <a:pt x="374" y="185"/>
                  </a:lnTo>
                  <a:lnTo>
                    <a:pt x="372" y="185"/>
                  </a:lnTo>
                  <a:lnTo>
                    <a:pt x="374" y="185"/>
                  </a:lnTo>
                  <a:lnTo>
                    <a:pt x="372" y="185"/>
                  </a:lnTo>
                  <a:lnTo>
                    <a:pt x="370" y="185"/>
                  </a:lnTo>
                  <a:lnTo>
                    <a:pt x="370" y="188"/>
                  </a:lnTo>
                  <a:lnTo>
                    <a:pt x="370" y="185"/>
                  </a:lnTo>
                  <a:lnTo>
                    <a:pt x="370" y="188"/>
                  </a:lnTo>
                  <a:lnTo>
                    <a:pt x="370" y="190"/>
                  </a:lnTo>
                  <a:lnTo>
                    <a:pt x="370" y="188"/>
                  </a:lnTo>
                  <a:lnTo>
                    <a:pt x="370" y="190"/>
                  </a:lnTo>
                  <a:lnTo>
                    <a:pt x="367" y="190"/>
                  </a:lnTo>
                  <a:lnTo>
                    <a:pt x="370" y="190"/>
                  </a:lnTo>
                  <a:lnTo>
                    <a:pt x="370" y="193"/>
                  </a:lnTo>
                  <a:lnTo>
                    <a:pt x="370" y="195"/>
                  </a:lnTo>
                  <a:lnTo>
                    <a:pt x="370" y="197"/>
                  </a:lnTo>
                  <a:lnTo>
                    <a:pt x="370" y="195"/>
                  </a:lnTo>
                  <a:lnTo>
                    <a:pt x="367" y="195"/>
                  </a:lnTo>
                  <a:lnTo>
                    <a:pt x="365" y="195"/>
                  </a:lnTo>
                  <a:lnTo>
                    <a:pt x="365" y="197"/>
                  </a:lnTo>
                  <a:lnTo>
                    <a:pt x="367" y="197"/>
                  </a:lnTo>
                  <a:lnTo>
                    <a:pt x="367" y="200"/>
                  </a:lnTo>
                  <a:lnTo>
                    <a:pt x="367" y="197"/>
                  </a:lnTo>
                  <a:lnTo>
                    <a:pt x="367" y="200"/>
                  </a:lnTo>
                  <a:lnTo>
                    <a:pt x="367" y="197"/>
                  </a:lnTo>
                  <a:lnTo>
                    <a:pt x="367" y="195"/>
                  </a:lnTo>
                  <a:lnTo>
                    <a:pt x="367" y="197"/>
                  </a:lnTo>
                  <a:lnTo>
                    <a:pt x="370" y="197"/>
                  </a:lnTo>
                  <a:lnTo>
                    <a:pt x="372" y="200"/>
                  </a:lnTo>
                  <a:lnTo>
                    <a:pt x="370" y="200"/>
                  </a:lnTo>
                  <a:lnTo>
                    <a:pt x="367" y="200"/>
                  </a:lnTo>
                  <a:lnTo>
                    <a:pt x="370" y="200"/>
                  </a:lnTo>
                  <a:lnTo>
                    <a:pt x="370" y="202"/>
                  </a:lnTo>
                  <a:lnTo>
                    <a:pt x="372" y="202"/>
                  </a:lnTo>
                  <a:lnTo>
                    <a:pt x="372" y="204"/>
                  </a:lnTo>
                  <a:lnTo>
                    <a:pt x="370" y="204"/>
                  </a:lnTo>
                  <a:lnTo>
                    <a:pt x="370" y="202"/>
                  </a:lnTo>
                  <a:lnTo>
                    <a:pt x="367" y="202"/>
                  </a:lnTo>
                  <a:lnTo>
                    <a:pt x="365" y="202"/>
                  </a:lnTo>
                  <a:lnTo>
                    <a:pt x="363" y="202"/>
                  </a:lnTo>
                  <a:lnTo>
                    <a:pt x="363" y="200"/>
                  </a:lnTo>
                  <a:lnTo>
                    <a:pt x="363" y="202"/>
                  </a:lnTo>
                  <a:lnTo>
                    <a:pt x="363" y="200"/>
                  </a:lnTo>
                  <a:lnTo>
                    <a:pt x="360" y="200"/>
                  </a:lnTo>
                  <a:lnTo>
                    <a:pt x="363" y="200"/>
                  </a:lnTo>
                  <a:lnTo>
                    <a:pt x="360" y="200"/>
                  </a:lnTo>
                  <a:lnTo>
                    <a:pt x="358" y="200"/>
                  </a:lnTo>
                  <a:lnTo>
                    <a:pt x="360" y="200"/>
                  </a:lnTo>
                  <a:lnTo>
                    <a:pt x="358" y="197"/>
                  </a:lnTo>
                  <a:lnTo>
                    <a:pt x="356" y="197"/>
                  </a:lnTo>
                  <a:lnTo>
                    <a:pt x="356" y="195"/>
                  </a:lnTo>
                  <a:lnTo>
                    <a:pt x="353" y="195"/>
                  </a:lnTo>
                  <a:lnTo>
                    <a:pt x="351" y="193"/>
                  </a:lnTo>
                  <a:lnTo>
                    <a:pt x="351" y="190"/>
                  </a:lnTo>
                  <a:lnTo>
                    <a:pt x="348" y="190"/>
                  </a:lnTo>
                  <a:lnTo>
                    <a:pt x="348" y="188"/>
                  </a:lnTo>
                  <a:lnTo>
                    <a:pt x="348" y="190"/>
                  </a:lnTo>
                  <a:lnTo>
                    <a:pt x="351" y="190"/>
                  </a:lnTo>
                  <a:lnTo>
                    <a:pt x="351" y="193"/>
                  </a:lnTo>
                  <a:lnTo>
                    <a:pt x="351" y="195"/>
                  </a:lnTo>
                  <a:lnTo>
                    <a:pt x="353" y="195"/>
                  </a:lnTo>
                  <a:lnTo>
                    <a:pt x="353" y="197"/>
                  </a:lnTo>
                  <a:lnTo>
                    <a:pt x="356" y="197"/>
                  </a:lnTo>
                  <a:lnTo>
                    <a:pt x="356" y="200"/>
                  </a:lnTo>
                  <a:lnTo>
                    <a:pt x="358" y="200"/>
                  </a:lnTo>
                  <a:lnTo>
                    <a:pt x="360" y="200"/>
                  </a:lnTo>
                  <a:lnTo>
                    <a:pt x="360" y="202"/>
                  </a:lnTo>
                  <a:lnTo>
                    <a:pt x="360" y="200"/>
                  </a:lnTo>
                  <a:lnTo>
                    <a:pt x="363" y="202"/>
                  </a:lnTo>
                  <a:lnTo>
                    <a:pt x="365" y="202"/>
                  </a:lnTo>
                  <a:lnTo>
                    <a:pt x="365" y="204"/>
                  </a:lnTo>
                  <a:lnTo>
                    <a:pt x="363" y="204"/>
                  </a:lnTo>
                  <a:lnTo>
                    <a:pt x="360" y="204"/>
                  </a:lnTo>
                  <a:lnTo>
                    <a:pt x="358" y="204"/>
                  </a:lnTo>
                  <a:lnTo>
                    <a:pt x="356" y="204"/>
                  </a:lnTo>
                  <a:lnTo>
                    <a:pt x="353" y="204"/>
                  </a:lnTo>
                  <a:lnTo>
                    <a:pt x="356" y="204"/>
                  </a:lnTo>
                  <a:lnTo>
                    <a:pt x="353" y="204"/>
                  </a:lnTo>
                  <a:lnTo>
                    <a:pt x="356" y="204"/>
                  </a:lnTo>
                  <a:lnTo>
                    <a:pt x="356" y="207"/>
                  </a:lnTo>
                  <a:lnTo>
                    <a:pt x="356" y="204"/>
                  </a:lnTo>
                  <a:lnTo>
                    <a:pt x="353" y="204"/>
                  </a:lnTo>
                  <a:lnTo>
                    <a:pt x="356" y="204"/>
                  </a:lnTo>
                  <a:lnTo>
                    <a:pt x="356" y="207"/>
                  </a:lnTo>
                  <a:lnTo>
                    <a:pt x="358" y="207"/>
                  </a:lnTo>
                  <a:lnTo>
                    <a:pt x="360" y="207"/>
                  </a:lnTo>
                  <a:lnTo>
                    <a:pt x="360" y="209"/>
                  </a:lnTo>
                  <a:lnTo>
                    <a:pt x="358" y="209"/>
                  </a:lnTo>
                  <a:lnTo>
                    <a:pt x="358" y="212"/>
                  </a:lnTo>
                  <a:lnTo>
                    <a:pt x="358" y="209"/>
                  </a:lnTo>
                  <a:lnTo>
                    <a:pt x="358" y="212"/>
                  </a:lnTo>
                  <a:lnTo>
                    <a:pt x="358" y="209"/>
                  </a:lnTo>
                  <a:lnTo>
                    <a:pt x="356" y="209"/>
                  </a:lnTo>
                  <a:lnTo>
                    <a:pt x="356" y="212"/>
                  </a:lnTo>
                  <a:lnTo>
                    <a:pt x="353" y="212"/>
                  </a:lnTo>
                  <a:lnTo>
                    <a:pt x="353" y="209"/>
                  </a:lnTo>
                  <a:lnTo>
                    <a:pt x="353" y="212"/>
                  </a:lnTo>
                  <a:lnTo>
                    <a:pt x="351" y="212"/>
                  </a:lnTo>
                  <a:lnTo>
                    <a:pt x="348" y="212"/>
                  </a:lnTo>
                  <a:lnTo>
                    <a:pt x="348" y="209"/>
                  </a:lnTo>
                  <a:lnTo>
                    <a:pt x="346" y="209"/>
                  </a:lnTo>
                  <a:lnTo>
                    <a:pt x="348" y="209"/>
                  </a:lnTo>
                  <a:lnTo>
                    <a:pt x="348" y="212"/>
                  </a:lnTo>
                  <a:lnTo>
                    <a:pt x="346" y="212"/>
                  </a:lnTo>
                  <a:lnTo>
                    <a:pt x="346" y="209"/>
                  </a:lnTo>
                  <a:lnTo>
                    <a:pt x="344" y="209"/>
                  </a:lnTo>
                  <a:lnTo>
                    <a:pt x="344" y="212"/>
                  </a:lnTo>
                  <a:lnTo>
                    <a:pt x="346" y="212"/>
                  </a:lnTo>
                  <a:lnTo>
                    <a:pt x="346" y="214"/>
                  </a:lnTo>
                  <a:lnTo>
                    <a:pt x="348" y="214"/>
                  </a:lnTo>
                  <a:lnTo>
                    <a:pt x="346" y="214"/>
                  </a:lnTo>
                  <a:lnTo>
                    <a:pt x="344" y="214"/>
                  </a:lnTo>
                  <a:lnTo>
                    <a:pt x="346" y="214"/>
                  </a:lnTo>
                  <a:lnTo>
                    <a:pt x="344" y="214"/>
                  </a:lnTo>
                  <a:lnTo>
                    <a:pt x="344" y="212"/>
                  </a:lnTo>
                  <a:lnTo>
                    <a:pt x="341" y="212"/>
                  </a:lnTo>
                  <a:lnTo>
                    <a:pt x="344" y="212"/>
                  </a:lnTo>
                  <a:lnTo>
                    <a:pt x="341" y="212"/>
                  </a:lnTo>
                  <a:lnTo>
                    <a:pt x="344" y="212"/>
                  </a:lnTo>
                  <a:lnTo>
                    <a:pt x="344" y="214"/>
                  </a:lnTo>
                  <a:lnTo>
                    <a:pt x="344" y="212"/>
                  </a:lnTo>
                  <a:lnTo>
                    <a:pt x="341" y="212"/>
                  </a:lnTo>
                  <a:lnTo>
                    <a:pt x="341" y="214"/>
                  </a:lnTo>
                  <a:lnTo>
                    <a:pt x="341" y="212"/>
                  </a:lnTo>
                  <a:lnTo>
                    <a:pt x="341" y="214"/>
                  </a:lnTo>
                  <a:lnTo>
                    <a:pt x="341" y="212"/>
                  </a:lnTo>
                  <a:lnTo>
                    <a:pt x="341" y="214"/>
                  </a:lnTo>
                  <a:lnTo>
                    <a:pt x="339" y="214"/>
                  </a:lnTo>
                  <a:lnTo>
                    <a:pt x="341" y="214"/>
                  </a:lnTo>
                  <a:lnTo>
                    <a:pt x="341" y="216"/>
                  </a:lnTo>
                  <a:lnTo>
                    <a:pt x="344" y="216"/>
                  </a:lnTo>
                  <a:lnTo>
                    <a:pt x="344" y="214"/>
                  </a:lnTo>
                  <a:lnTo>
                    <a:pt x="344" y="216"/>
                  </a:lnTo>
                  <a:lnTo>
                    <a:pt x="346" y="216"/>
                  </a:lnTo>
                  <a:lnTo>
                    <a:pt x="346" y="214"/>
                  </a:lnTo>
                  <a:lnTo>
                    <a:pt x="346" y="216"/>
                  </a:lnTo>
                  <a:lnTo>
                    <a:pt x="344" y="216"/>
                  </a:lnTo>
                  <a:lnTo>
                    <a:pt x="346" y="216"/>
                  </a:lnTo>
                  <a:lnTo>
                    <a:pt x="348" y="216"/>
                  </a:lnTo>
                  <a:lnTo>
                    <a:pt x="346" y="216"/>
                  </a:lnTo>
                  <a:lnTo>
                    <a:pt x="348" y="216"/>
                  </a:lnTo>
                  <a:lnTo>
                    <a:pt x="348" y="219"/>
                  </a:lnTo>
                  <a:lnTo>
                    <a:pt x="346" y="219"/>
                  </a:lnTo>
                  <a:lnTo>
                    <a:pt x="346" y="221"/>
                  </a:lnTo>
                  <a:lnTo>
                    <a:pt x="348" y="221"/>
                  </a:lnTo>
                  <a:lnTo>
                    <a:pt x="351" y="221"/>
                  </a:lnTo>
                  <a:lnTo>
                    <a:pt x="351" y="223"/>
                  </a:lnTo>
                  <a:lnTo>
                    <a:pt x="348" y="223"/>
                  </a:lnTo>
                  <a:lnTo>
                    <a:pt x="348" y="221"/>
                  </a:lnTo>
                  <a:lnTo>
                    <a:pt x="348" y="223"/>
                  </a:lnTo>
                  <a:lnTo>
                    <a:pt x="348" y="221"/>
                  </a:lnTo>
                  <a:lnTo>
                    <a:pt x="346" y="221"/>
                  </a:lnTo>
                  <a:lnTo>
                    <a:pt x="344" y="221"/>
                  </a:lnTo>
                  <a:lnTo>
                    <a:pt x="341" y="221"/>
                  </a:lnTo>
                  <a:lnTo>
                    <a:pt x="344" y="221"/>
                  </a:lnTo>
                  <a:lnTo>
                    <a:pt x="344" y="219"/>
                  </a:lnTo>
                  <a:lnTo>
                    <a:pt x="341" y="219"/>
                  </a:lnTo>
                  <a:lnTo>
                    <a:pt x="341" y="216"/>
                  </a:lnTo>
                  <a:lnTo>
                    <a:pt x="339" y="216"/>
                  </a:lnTo>
                  <a:lnTo>
                    <a:pt x="339" y="214"/>
                  </a:lnTo>
                  <a:lnTo>
                    <a:pt x="337" y="214"/>
                  </a:lnTo>
                  <a:lnTo>
                    <a:pt x="337" y="212"/>
                  </a:lnTo>
                  <a:lnTo>
                    <a:pt x="337" y="214"/>
                  </a:lnTo>
                  <a:lnTo>
                    <a:pt x="337" y="212"/>
                  </a:lnTo>
                  <a:lnTo>
                    <a:pt x="334" y="212"/>
                  </a:lnTo>
                  <a:lnTo>
                    <a:pt x="334" y="209"/>
                  </a:lnTo>
                  <a:lnTo>
                    <a:pt x="332" y="209"/>
                  </a:lnTo>
                  <a:lnTo>
                    <a:pt x="332" y="207"/>
                  </a:lnTo>
                  <a:lnTo>
                    <a:pt x="332" y="209"/>
                  </a:lnTo>
                  <a:lnTo>
                    <a:pt x="334" y="209"/>
                  </a:lnTo>
                  <a:lnTo>
                    <a:pt x="334" y="212"/>
                  </a:lnTo>
                  <a:lnTo>
                    <a:pt x="337" y="212"/>
                  </a:lnTo>
                  <a:lnTo>
                    <a:pt x="337" y="214"/>
                  </a:lnTo>
                  <a:lnTo>
                    <a:pt x="334" y="214"/>
                  </a:lnTo>
                  <a:lnTo>
                    <a:pt x="334" y="216"/>
                  </a:lnTo>
                  <a:lnTo>
                    <a:pt x="334" y="214"/>
                  </a:lnTo>
                  <a:lnTo>
                    <a:pt x="334" y="216"/>
                  </a:lnTo>
                  <a:lnTo>
                    <a:pt x="334" y="214"/>
                  </a:lnTo>
                  <a:lnTo>
                    <a:pt x="334" y="216"/>
                  </a:lnTo>
                  <a:lnTo>
                    <a:pt x="337" y="216"/>
                  </a:lnTo>
                  <a:lnTo>
                    <a:pt x="339" y="216"/>
                  </a:lnTo>
                  <a:lnTo>
                    <a:pt x="337" y="216"/>
                  </a:lnTo>
                  <a:lnTo>
                    <a:pt x="339" y="216"/>
                  </a:lnTo>
                  <a:lnTo>
                    <a:pt x="337" y="216"/>
                  </a:lnTo>
                  <a:lnTo>
                    <a:pt x="337" y="214"/>
                  </a:lnTo>
                  <a:lnTo>
                    <a:pt x="337" y="216"/>
                  </a:lnTo>
                  <a:lnTo>
                    <a:pt x="339" y="216"/>
                  </a:lnTo>
                  <a:lnTo>
                    <a:pt x="341" y="216"/>
                  </a:lnTo>
                  <a:lnTo>
                    <a:pt x="339" y="216"/>
                  </a:lnTo>
                  <a:lnTo>
                    <a:pt x="339" y="219"/>
                  </a:lnTo>
                  <a:lnTo>
                    <a:pt x="341" y="219"/>
                  </a:lnTo>
                  <a:lnTo>
                    <a:pt x="341" y="221"/>
                  </a:lnTo>
                  <a:lnTo>
                    <a:pt x="344" y="221"/>
                  </a:lnTo>
                  <a:lnTo>
                    <a:pt x="344" y="223"/>
                  </a:lnTo>
                  <a:lnTo>
                    <a:pt x="346" y="226"/>
                  </a:lnTo>
                  <a:lnTo>
                    <a:pt x="344" y="226"/>
                  </a:lnTo>
                  <a:lnTo>
                    <a:pt x="346" y="226"/>
                  </a:lnTo>
                  <a:lnTo>
                    <a:pt x="344" y="226"/>
                  </a:lnTo>
                  <a:lnTo>
                    <a:pt x="346" y="226"/>
                  </a:lnTo>
                  <a:lnTo>
                    <a:pt x="344" y="226"/>
                  </a:lnTo>
                  <a:lnTo>
                    <a:pt x="341" y="226"/>
                  </a:lnTo>
                  <a:lnTo>
                    <a:pt x="344" y="226"/>
                  </a:lnTo>
                  <a:lnTo>
                    <a:pt x="344" y="228"/>
                  </a:lnTo>
                  <a:lnTo>
                    <a:pt x="341" y="228"/>
                  </a:lnTo>
                  <a:lnTo>
                    <a:pt x="344" y="228"/>
                  </a:lnTo>
                  <a:lnTo>
                    <a:pt x="344" y="231"/>
                  </a:lnTo>
                  <a:lnTo>
                    <a:pt x="341" y="231"/>
                  </a:lnTo>
                  <a:lnTo>
                    <a:pt x="339" y="231"/>
                  </a:lnTo>
                  <a:lnTo>
                    <a:pt x="341" y="231"/>
                  </a:lnTo>
                  <a:lnTo>
                    <a:pt x="341" y="233"/>
                  </a:lnTo>
                  <a:lnTo>
                    <a:pt x="341" y="231"/>
                  </a:lnTo>
                  <a:lnTo>
                    <a:pt x="341" y="233"/>
                  </a:lnTo>
                  <a:lnTo>
                    <a:pt x="339" y="233"/>
                  </a:lnTo>
                  <a:lnTo>
                    <a:pt x="337" y="233"/>
                  </a:lnTo>
                  <a:lnTo>
                    <a:pt x="339" y="233"/>
                  </a:lnTo>
                  <a:lnTo>
                    <a:pt x="339" y="235"/>
                  </a:lnTo>
                  <a:lnTo>
                    <a:pt x="337" y="233"/>
                  </a:lnTo>
                  <a:lnTo>
                    <a:pt x="337" y="235"/>
                  </a:lnTo>
                  <a:lnTo>
                    <a:pt x="337" y="233"/>
                  </a:lnTo>
                  <a:lnTo>
                    <a:pt x="337" y="235"/>
                  </a:lnTo>
                  <a:lnTo>
                    <a:pt x="339" y="235"/>
                  </a:lnTo>
                  <a:lnTo>
                    <a:pt x="337" y="235"/>
                  </a:lnTo>
                  <a:lnTo>
                    <a:pt x="334" y="235"/>
                  </a:lnTo>
                  <a:lnTo>
                    <a:pt x="334" y="238"/>
                  </a:lnTo>
                  <a:lnTo>
                    <a:pt x="332" y="238"/>
                  </a:lnTo>
                  <a:lnTo>
                    <a:pt x="334" y="238"/>
                  </a:lnTo>
                  <a:lnTo>
                    <a:pt x="332" y="238"/>
                  </a:lnTo>
                  <a:lnTo>
                    <a:pt x="334" y="238"/>
                  </a:lnTo>
                  <a:lnTo>
                    <a:pt x="332" y="238"/>
                  </a:lnTo>
                  <a:lnTo>
                    <a:pt x="334" y="240"/>
                  </a:lnTo>
                  <a:lnTo>
                    <a:pt x="332" y="240"/>
                  </a:lnTo>
                  <a:lnTo>
                    <a:pt x="334" y="240"/>
                  </a:lnTo>
                  <a:lnTo>
                    <a:pt x="332" y="240"/>
                  </a:lnTo>
                  <a:lnTo>
                    <a:pt x="332" y="242"/>
                  </a:lnTo>
                  <a:lnTo>
                    <a:pt x="329" y="242"/>
                  </a:lnTo>
                  <a:lnTo>
                    <a:pt x="332" y="242"/>
                  </a:lnTo>
                  <a:lnTo>
                    <a:pt x="329" y="242"/>
                  </a:lnTo>
                  <a:lnTo>
                    <a:pt x="332" y="245"/>
                  </a:lnTo>
                  <a:lnTo>
                    <a:pt x="329" y="245"/>
                  </a:lnTo>
                  <a:lnTo>
                    <a:pt x="329" y="242"/>
                  </a:lnTo>
                  <a:lnTo>
                    <a:pt x="327" y="242"/>
                  </a:lnTo>
                  <a:lnTo>
                    <a:pt x="327" y="240"/>
                  </a:lnTo>
                  <a:lnTo>
                    <a:pt x="327" y="242"/>
                  </a:lnTo>
                  <a:lnTo>
                    <a:pt x="325" y="242"/>
                  </a:lnTo>
                  <a:lnTo>
                    <a:pt x="327" y="242"/>
                  </a:lnTo>
                  <a:lnTo>
                    <a:pt x="325" y="242"/>
                  </a:lnTo>
                  <a:lnTo>
                    <a:pt x="327" y="242"/>
                  </a:lnTo>
                  <a:lnTo>
                    <a:pt x="327" y="245"/>
                  </a:lnTo>
                  <a:lnTo>
                    <a:pt x="327" y="242"/>
                  </a:lnTo>
                  <a:lnTo>
                    <a:pt x="327" y="245"/>
                  </a:lnTo>
                  <a:lnTo>
                    <a:pt x="329" y="245"/>
                  </a:lnTo>
                  <a:lnTo>
                    <a:pt x="327" y="245"/>
                  </a:lnTo>
                  <a:lnTo>
                    <a:pt x="329" y="245"/>
                  </a:lnTo>
                  <a:lnTo>
                    <a:pt x="329" y="247"/>
                  </a:lnTo>
                  <a:lnTo>
                    <a:pt x="332" y="247"/>
                  </a:lnTo>
                  <a:lnTo>
                    <a:pt x="334" y="247"/>
                  </a:lnTo>
                  <a:lnTo>
                    <a:pt x="332" y="247"/>
                  </a:lnTo>
                  <a:lnTo>
                    <a:pt x="332" y="250"/>
                  </a:lnTo>
                  <a:lnTo>
                    <a:pt x="334" y="250"/>
                  </a:lnTo>
                  <a:lnTo>
                    <a:pt x="334" y="252"/>
                  </a:lnTo>
                  <a:lnTo>
                    <a:pt x="332" y="252"/>
                  </a:lnTo>
                  <a:lnTo>
                    <a:pt x="334" y="252"/>
                  </a:lnTo>
                  <a:lnTo>
                    <a:pt x="332" y="252"/>
                  </a:lnTo>
                  <a:lnTo>
                    <a:pt x="332" y="250"/>
                  </a:lnTo>
                  <a:lnTo>
                    <a:pt x="329" y="250"/>
                  </a:lnTo>
                  <a:lnTo>
                    <a:pt x="332" y="250"/>
                  </a:lnTo>
                  <a:lnTo>
                    <a:pt x="332" y="252"/>
                  </a:lnTo>
                  <a:lnTo>
                    <a:pt x="329" y="252"/>
                  </a:lnTo>
                  <a:lnTo>
                    <a:pt x="329" y="250"/>
                  </a:lnTo>
                  <a:lnTo>
                    <a:pt x="332" y="252"/>
                  </a:lnTo>
                  <a:lnTo>
                    <a:pt x="329" y="250"/>
                  </a:lnTo>
                  <a:lnTo>
                    <a:pt x="329" y="252"/>
                  </a:lnTo>
                  <a:lnTo>
                    <a:pt x="332" y="252"/>
                  </a:lnTo>
                  <a:lnTo>
                    <a:pt x="329" y="252"/>
                  </a:lnTo>
                  <a:lnTo>
                    <a:pt x="332" y="252"/>
                  </a:lnTo>
                  <a:lnTo>
                    <a:pt x="332" y="254"/>
                  </a:lnTo>
                  <a:lnTo>
                    <a:pt x="332" y="252"/>
                  </a:lnTo>
                  <a:lnTo>
                    <a:pt x="334" y="254"/>
                  </a:lnTo>
                  <a:lnTo>
                    <a:pt x="332" y="254"/>
                  </a:lnTo>
                  <a:lnTo>
                    <a:pt x="334" y="254"/>
                  </a:lnTo>
                  <a:lnTo>
                    <a:pt x="334" y="257"/>
                  </a:lnTo>
                  <a:lnTo>
                    <a:pt x="337" y="257"/>
                  </a:lnTo>
                  <a:lnTo>
                    <a:pt x="339" y="257"/>
                  </a:lnTo>
                  <a:lnTo>
                    <a:pt x="339" y="259"/>
                  </a:lnTo>
                  <a:lnTo>
                    <a:pt x="339" y="257"/>
                  </a:lnTo>
                  <a:lnTo>
                    <a:pt x="341" y="257"/>
                  </a:lnTo>
                  <a:lnTo>
                    <a:pt x="341" y="259"/>
                  </a:lnTo>
                  <a:lnTo>
                    <a:pt x="344" y="259"/>
                  </a:lnTo>
                  <a:lnTo>
                    <a:pt x="344" y="261"/>
                  </a:lnTo>
                  <a:lnTo>
                    <a:pt x="344" y="259"/>
                  </a:lnTo>
                  <a:lnTo>
                    <a:pt x="344" y="261"/>
                  </a:lnTo>
                  <a:lnTo>
                    <a:pt x="341" y="261"/>
                  </a:lnTo>
                  <a:lnTo>
                    <a:pt x="341" y="259"/>
                  </a:lnTo>
                  <a:lnTo>
                    <a:pt x="339" y="259"/>
                  </a:lnTo>
                  <a:lnTo>
                    <a:pt x="341" y="259"/>
                  </a:lnTo>
                  <a:lnTo>
                    <a:pt x="339" y="259"/>
                  </a:lnTo>
                  <a:lnTo>
                    <a:pt x="339" y="261"/>
                  </a:lnTo>
                  <a:lnTo>
                    <a:pt x="339" y="259"/>
                  </a:lnTo>
                  <a:lnTo>
                    <a:pt x="339" y="261"/>
                  </a:lnTo>
                  <a:lnTo>
                    <a:pt x="341" y="261"/>
                  </a:lnTo>
                  <a:lnTo>
                    <a:pt x="339" y="261"/>
                  </a:lnTo>
                  <a:lnTo>
                    <a:pt x="341" y="261"/>
                  </a:lnTo>
                  <a:lnTo>
                    <a:pt x="339" y="261"/>
                  </a:lnTo>
                  <a:lnTo>
                    <a:pt x="341" y="261"/>
                  </a:lnTo>
                  <a:lnTo>
                    <a:pt x="341" y="264"/>
                  </a:lnTo>
                  <a:lnTo>
                    <a:pt x="344" y="264"/>
                  </a:lnTo>
                  <a:lnTo>
                    <a:pt x="341" y="264"/>
                  </a:lnTo>
                  <a:lnTo>
                    <a:pt x="344" y="264"/>
                  </a:lnTo>
                  <a:lnTo>
                    <a:pt x="341" y="264"/>
                  </a:lnTo>
                  <a:lnTo>
                    <a:pt x="344" y="264"/>
                  </a:lnTo>
                  <a:lnTo>
                    <a:pt x="346" y="264"/>
                  </a:lnTo>
                  <a:lnTo>
                    <a:pt x="346" y="266"/>
                  </a:lnTo>
                  <a:lnTo>
                    <a:pt x="344" y="266"/>
                  </a:lnTo>
                  <a:lnTo>
                    <a:pt x="341" y="266"/>
                  </a:lnTo>
                  <a:lnTo>
                    <a:pt x="341" y="269"/>
                  </a:lnTo>
                  <a:lnTo>
                    <a:pt x="341" y="266"/>
                  </a:lnTo>
                  <a:lnTo>
                    <a:pt x="341" y="269"/>
                  </a:lnTo>
                  <a:lnTo>
                    <a:pt x="341" y="271"/>
                  </a:lnTo>
                  <a:lnTo>
                    <a:pt x="339" y="271"/>
                  </a:lnTo>
                  <a:lnTo>
                    <a:pt x="339" y="269"/>
                  </a:lnTo>
                  <a:lnTo>
                    <a:pt x="339" y="271"/>
                  </a:lnTo>
                  <a:lnTo>
                    <a:pt x="339" y="269"/>
                  </a:lnTo>
                  <a:lnTo>
                    <a:pt x="339" y="271"/>
                  </a:lnTo>
                  <a:lnTo>
                    <a:pt x="337" y="271"/>
                  </a:lnTo>
                  <a:lnTo>
                    <a:pt x="337" y="273"/>
                  </a:lnTo>
                  <a:lnTo>
                    <a:pt x="334" y="273"/>
                  </a:lnTo>
                  <a:lnTo>
                    <a:pt x="334" y="271"/>
                  </a:lnTo>
                  <a:lnTo>
                    <a:pt x="334" y="273"/>
                  </a:lnTo>
                  <a:lnTo>
                    <a:pt x="332" y="273"/>
                  </a:lnTo>
                  <a:lnTo>
                    <a:pt x="332" y="276"/>
                  </a:lnTo>
                  <a:lnTo>
                    <a:pt x="332" y="278"/>
                  </a:lnTo>
                  <a:lnTo>
                    <a:pt x="332" y="276"/>
                  </a:lnTo>
                  <a:lnTo>
                    <a:pt x="332" y="278"/>
                  </a:lnTo>
                  <a:lnTo>
                    <a:pt x="329" y="278"/>
                  </a:lnTo>
                  <a:lnTo>
                    <a:pt x="327" y="278"/>
                  </a:lnTo>
                  <a:lnTo>
                    <a:pt x="327" y="280"/>
                  </a:lnTo>
                  <a:lnTo>
                    <a:pt x="325" y="280"/>
                  </a:lnTo>
                  <a:lnTo>
                    <a:pt x="325" y="283"/>
                  </a:lnTo>
                  <a:lnTo>
                    <a:pt x="325" y="285"/>
                  </a:lnTo>
                  <a:lnTo>
                    <a:pt x="322" y="285"/>
                  </a:lnTo>
                  <a:lnTo>
                    <a:pt x="325" y="285"/>
                  </a:lnTo>
                  <a:lnTo>
                    <a:pt x="322" y="285"/>
                  </a:lnTo>
                  <a:lnTo>
                    <a:pt x="325" y="285"/>
                  </a:lnTo>
                  <a:lnTo>
                    <a:pt x="325" y="288"/>
                  </a:lnTo>
                  <a:lnTo>
                    <a:pt x="322" y="288"/>
                  </a:lnTo>
                  <a:lnTo>
                    <a:pt x="322" y="290"/>
                  </a:lnTo>
                  <a:lnTo>
                    <a:pt x="320" y="290"/>
                  </a:lnTo>
                  <a:lnTo>
                    <a:pt x="320" y="292"/>
                  </a:lnTo>
                  <a:lnTo>
                    <a:pt x="318" y="292"/>
                  </a:lnTo>
                  <a:lnTo>
                    <a:pt x="320" y="292"/>
                  </a:lnTo>
                  <a:lnTo>
                    <a:pt x="318" y="292"/>
                  </a:lnTo>
                  <a:lnTo>
                    <a:pt x="320" y="295"/>
                  </a:lnTo>
                  <a:lnTo>
                    <a:pt x="318" y="295"/>
                  </a:lnTo>
                  <a:lnTo>
                    <a:pt x="320" y="295"/>
                  </a:lnTo>
                  <a:lnTo>
                    <a:pt x="318" y="295"/>
                  </a:lnTo>
                  <a:lnTo>
                    <a:pt x="318" y="297"/>
                  </a:lnTo>
                  <a:lnTo>
                    <a:pt x="315" y="297"/>
                  </a:lnTo>
                  <a:lnTo>
                    <a:pt x="318" y="297"/>
                  </a:lnTo>
                  <a:lnTo>
                    <a:pt x="318" y="299"/>
                  </a:lnTo>
                  <a:lnTo>
                    <a:pt x="315" y="299"/>
                  </a:lnTo>
                  <a:lnTo>
                    <a:pt x="315" y="297"/>
                  </a:lnTo>
                  <a:lnTo>
                    <a:pt x="315" y="299"/>
                  </a:lnTo>
                  <a:lnTo>
                    <a:pt x="315" y="302"/>
                  </a:lnTo>
                  <a:lnTo>
                    <a:pt x="313" y="302"/>
                  </a:lnTo>
                  <a:lnTo>
                    <a:pt x="313" y="299"/>
                  </a:lnTo>
                  <a:lnTo>
                    <a:pt x="313" y="302"/>
                  </a:lnTo>
                  <a:lnTo>
                    <a:pt x="310" y="302"/>
                  </a:lnTo>
                  <a:lnTo>
                    <a:pt x="313" y="302"/>
                  </a:lnTo>
                  <a:lnTo>
                    <a:pt x="310" y="302"/>
                  </a:lnTo>
                  <a:lnTo>
                    <a:pt x="310" y="299"/>
                  </a:lnTo>
                  <a:lnTo>
                    <a:pt x="310" y="302"/>
                  </a:lnTo>
                  <a:lnTo>
                    <a:pt x="310" y="304"/>
                  </a:lnTo>
                  <a:lnTo>
                    <a:pt x="310" y="302"/>
                  </a:lnTo>
                  <a:lnTo>
                    <a:pt x="310" y="299"/>
                  </a:lnTo>
                  <a:lnTo>
                    <a:pt x="308" y="299"/>
                  </a:lnTo>
                  <a:lnTo>
                    <a:pt x="308" y="302"/>
                  </a:lnTo>
                  <a:lnTo>
                    <a:pt x="308" y="304"/>
                  </a:lnTo>
                  <a:lnTo>
                    <a:pt x="308" y="302"/>
                  </a:lnTo>
                  <a:lnTo>
                    <a:pt x="306" y="304"/>
                  </a:lnTo>
                  <a:lnTo>
                    <a:pt x="308" y="304"/>
                  </a:lnTo>
                  <a:lnTo>
                    <a:pt x="306" y="304"/>
                  </a:lnTo>
                  <a:lnTo>
                    <a:pt x="308" y="304"/>
                  </a:lnTo>
                  <a:lnTo>
                    <a:pt x="306" y="304"/>
                  </a:lnTo>
                  <a:lnTo>
                    <a:pt x="306" y="307"/>
                  </a:lnTo>
                  <a:lnTo>
                    <a:pt x="306" y="304"/>
                  </a:lnTo>
                  <a:lnTo>
                    <a:pt x="306" y="307"/>
                  </a:lnTo>
                  <a:lnTo>
                    <a:pt x="303" y="307"/>
                  </a:lnTo>
                  <a:lnTo>
                    <a:pt x="303" y="304"/>
                  </a:lnTo>
                  <a:lnTo>
                    <a:pt x="306" y="304"/>
                  </a:lnTo>
                  <a:lnTo>
                    <a:pt x="303" y="304"/>
                  </a:lnTo>
                  <a:lnTo>
                    <a:pt x="303" y="302"/>
                  </a:lnTo>
                  <a:lnTo>
                    <a:pt x="303" y="299"/>
                  </a:lnTo>
                  <a:lnTo>
                    <a:pt x="301" y="299"/>
                  </a:lnTo>
                  <a:lnTo>
                    <a:pt x="303" y="299"/>
                  </a:lnTo>
                  <a:lnTo>
                    <a:pt x="303" y="302"/>
                  </a:lnTo>
                  <a:lnTo>
                    <a:pt x="301" y="299"/>
                  </a:lnTo>
                  <a:lnTo>
                    <a:pt x="303" y="302"/>
                  </a:lnTo>
                  <a:lnTo>
                    <a:pt x="303" y="304"/>
                  </a:lnTo>
                  <a:lnTo>
                    <a:pt x="303" y="307"/>
                  </a:lnTo>
                  <a:lnTo>
                    <a:pt x="303" y="309"/>
                  </a:lnTo>
                  <a:lnTo>
                    <a:pt x="301" y="309"/>
                  </a:lnTo>
                  <a:lnTo>
                    <a:pt x="301" y="307"/>
                  </a:lnTo>
                  <a:lnTo>
                    <a:pt x="301" y="309"/>
                  </a:lnTo>
                  <a:lnTo>
                    <a:pt x="301" y="307"/>
                  </a:lnTo>
                  <a:lnTo>
                    <a:pt x="301" y="309"/>
                  </a:lnTo>
                  <a:lnTo>
                    <a:pt x="301" y="307"/>
                  </a:lnTo>
                  <a:lnTo>
                    <a:pt x="301" y="304"/>
                  </a:lnTo>
                  <a:lnTo>
                    <a:pt x="301" y="307"/>
                  </a:lnTo>
                  <a:lnTo>
                    <a:pt x="301" y="304"/>
                  </a:lnTo>
                  <a:lnTo>
                    <a:pt x="301" y="307"/>
                  </a:lnTo>
                  <a:lnTo>
                    <a:pt x="301" y="309"/>
                  </a:lnTo>
                  <a:lnTo>
                    <a:pt x="299" y="309"/>
                  </a:lnTo>
                  <a:lnTo>
                    <a:pt x="296" y="309"/>
                  </a:lnTo>
                  <a:lnTo>
                    <a:pt x="294" y="307"/>
                  </a:lnTo>
                  <a:lnTo>
                    <a:pt x="294" y="309"/>
                  </a:lnTo>
                  <a:lnTo>
                    <a:pt x="291" y="309"/>
                  </a:lnTo>
                  <a:lnTo>
                    <a:pt x="291" y="311"/>
                  </a:lnTo>
                  <a:lnTo>
                    <a:pt x="294" y="311"/>
                  </a:lnTo>
                  <a:lnTo>
                    <a:pt x="291" y="311"/>
                  </a:lnTo>
                  <a:lnTo>
                    <a:pt x="289" y="311"/>
                  </a:lnTo>
                  <a:lnTo>
                    <a:pt x="287" y="311"/>
                  </a:lnTo>
                  <a:lnTo>
                    <a:pt x="287" y="314"/>
                  </a:lnTo>
                  <a:lnTo>
                    <a:pt x="284" y="314"/>
                  </a:lnTo>
                  <a:lnTo>
                    <a:pt x="284" y="316"/>
                  </a:lnTo>
                  <a:lnTo>
                    <a:pt x="284" y="314"/>
                  </a:lnTo>
                  <a:lnTo>
                    <a:pt x="284" y="316"/>
                  </a:lnTo>
                  <a:lnTo>
                    <a:pt x="284" y="318"/>
                  </a:lnTo>
                  <a:lnTo>
                    <a:pt x="284" y="321"/>
                  </a:lnTo>
                  <a:lnTo>
                    <a:pt x="284" y="318"/>
                  </a:lnTo>
                  <a:lnTo>
                    <a:pt x="282" y="321"/>
                  </a:lnTo>
                  <a:lnTo>
                    <a:pt x="282" y="318"/>
                  </a:lnTo>
                  <a:lnTo>
                    <a:pt x="282" y="321"/>
                  </a:lnTo>
                  <a:lnTo>
                    <a:pt x="282" y="318"/>
                  </a:lnTo>
                  <a:lnTo>
                    <a:pt x="282" y="321"/>
                  </a:lnTo>
                  <a:lnTo>
                    <a:pt x="280" y="321"/>
                  </a:lnTo>
                  <a:lnTo>
                    <a:pt x="280" y="318"/>
                  </a:lnTo>
                  <a:lnTo>
                    <a:pt x="280" y="316"/>
                  </a:lnTo>
                  <a:lnTo>
                    <a:pt x="277" y="316"/>
                  </a:lnTo>
                  <a:lnTo>
                    <a:pt x="277" y="314"/>
                  </a:lnTo>
                  <a:lnTo>
                    <a:pt x="275" y="314"/>
                  </a:lnTo>
                  <a:lnTo>
                    <a:pt x="272" y="314"/>
                  </a:lnTo>
                  <a:lnTo>
                    <a:pt x="275" y="314"/>
                  </a:lnTo>
                  <a:lnTo>
                    <a:pt x="275" y="316"/>
                  </a:lnTo>
                  <a:lnTo>
                    <a:pt x="272" y="316"/>
                  </a:lnTo>
                  <a:lnTo>
                    <a:pt x="275" y="316"/>
                  </a:lnTo>
                  <a:lnTo>
                    <a:pt x="275" y="318"/>
                  </a:lnTo>
                  <a:lnTo>
                    <a:pt x="275" y="316"/>
                  </a:lnTo>
                  <a:lnTo>
                    <a:pt x="275" y="318"/>
                  </a:lnTo>
                  <a:lnTo>
                    <a:pt x="277" y="318"/>
                  </a:lnTo>
                  <a:lnTo>
                    <a:pt x="275" y="318"/>
                  </a:lnTo>
                  <a:lnTo>
                    <a:pt x="277" y="318"/>
                  </a:lnTo>
                  <a:lnTo>
                    <a:pt x="275" y="318"/>
                  </a:lnTo>
                  <a:lnTo>
                    <a:pt x="275" y="321"/>
                  </a:lnTo>
                  <a:lnTo>
                    <a:pt x="277" y="321"/>
                  </a:lnTo>
                  <a:lnTo>
                    <a:pt x="275" y="321"/>
                  </a:lnTo>
                  <a:lnTo>
                    <a:pt x="277" y="321"/>
                  </a:lnTo>
                  <a:lnTo>
                    <a:pt x="277" y="323"/>
                  </a:lnTo>
                  <a:lnTo>
                    <a:pt x="275" y="323"/>
                  </a:lnTo>
                  <a:lnTo>
                    <a:pt x="275" y="321"/>
                  </a:lnTo>
                  <a:lnTo>
                    <a:pt x="275" y="323"/>
                  </a:lnTo>
                  <a:lnTo>
                    <a:pt x="275" y="321"/>
                  </a:lnTo>
                  <a:lnTo>
                    <a:pt x="275" y="318"/>
                  </a:lnTo>
                  <a:lnTo>
                    <a:pt x="272" y="318"/>
                  </a:lnTo>
                  <a:lnTo>
                    <a:pt x="272" y="321"/>
                  </a:lnTo>
                  <a:lnTo>
                    <a:pt x="272" y="318"/>
                  </a:lnTo>
                  <a:lnTo>
                    <a:pt x="270" y="318"/>
                  </a:lnTo>
                  <a:lnTo>
                    <a:pt x="270" y="316"/>
                  </a:lnTo>
                  <a:lnTo>
                    <a:pt x="270" y="318"/>
                  </a:lnTo>
                  <a:lnTo>
                    <a:pt x="272" y="318"/>
                  </a:lnTo>
                  <a:lnTo>
                    <a:pt x="270" y="318"/>
                  </a:lnTo>
                  <a:lnTo>
                    <a:pt x="272" y="321"/>
                  </a:lnTo>
                  <a:lnTo>
                    <a:pt x="270" y="321"/>
                  </a:lnTo>
                  <a:lnTo>
                    <a:pt x="270" y="318"/>
                  </a:lnTo>
                  <a:lnTo>
                    <a:pt x="270" y="321"/>
                  </a:lnTo>
                  <a:lnTo>
                    <a:pt x="270" y="318"/>
                  </a:lnTo>
                  <a:lnTo>
                    <a:pt x="268" y="318"/>
                  </a:lnTo>
                  <a:lnTo>
                    <a:pt x="268" y="321"/>
                  </a:lnTo>
                  <a:lnTo>
                    <a:pt x="268" y="323"/>
                  </a:lnTo>
                  <a:lnTo>
                    <a:pt x="268" y="326"/>
                  </a:lnTo>
                  <a:lnTo>
                    <a:pt x="265" y="326"/>
                  </a:lnTo>
                  <a:lnTo>
                    <a:pt x="268" y="326"/>
                  </a:lnTo>
                  <a:lnTo>
                    <a:pt x="265" y="326"/>
                  </a:lnTo>
                  <a:lnTo>
                    <a:pt x="268" y="326"/>
                  </a:lnTo>
                  <a:lnTo>
                    <a:pt x="265" y="326"/>
                  </a:lnTo>
                  <a:lnTo>
                    <a:pt x="265" y="328"/>
                  </a:lnTo>
                  <a:lnTo>
                    <a:pt x="265" y="326"/>
                  </a:lnTo>
                  <a:lnTo>
                    <a:pt x="263" y="326"/>
                  </a:lnTo>
                  <a:lnTo>
                    <a:pt x="263" y="328"/>
                  </a:lnTo>
                  <a:lnTo>
                    <a:pt x="263" y="330"/>
                  </a:lnTo>
                  <a:lnTo>
                    <a:pt x="263" y="333"/>
                  </a:lnTo>
                  <a:lnTo>
                    <a:pt x="263" y="330"/>
                  </a:lnTo>
                  <a:lnTo>
                    <a:pt x="261" y="330"/>
                  </a:lnTo>
                  <a:lnTo>
                    <a:pt x="258" y="330"/>
                  </a:lnTo>
                  <a:lnTo>
                    <a:pt x="261" y="330"/>
                  </a:lnTo>
                  <a:lnTo>
                    <a:pt x="261" y="333"/>
                  </a:lnTo>
                  <a:lnTo>
                    <a:pt x="261" y="330"/>
                  </a:lnTo>
                  <a:lnTo>
                    <a:pt x="261" y="333"/>
                  </a:lnTo>
                  <a:lnTo>
                    <a:pt x="263" y="333"/>
                  </a:lnTo>
                  <a:lnTo>
                    <a:pt x="261" y="333"/>
                  </a:lnTo>
                  <a:lnTo>
                    <a:pt x="261" y="335"/>
                  </a:lnTo>
                  <a:lnTo>
                    <a:pt x="261" y="333"/>
                  </a:lnTo>
                  <a:lnTo>
                    <a:pt x="261" y="335"/>
                  </a:lnTo>
                  <a:lnTo>
                    <a:pt x="261" y="333"/>
                  </a:lnTo>
                  <a:lnTo>
                    <a:pt x="258" y="333"/>
                  </a:lnTo>
                  <a:lnTo>
                    <a:pt x="258" y="330"/>
                  </a:lnTo>
                  <a:lnTo>
                    <a:pt x="258" y="333"/>
                  </a:lnTo>
                  <a:lnTo>
                    <a:pt x="256" y="330"/>
                  </a:lnTo>
                  <a:lnTo>
                    <a:pt x="256" y="328"/>
                  </a:lnTo>
                  <a:lnTo>
                    <a:pt x="253" y="328"/>
                  </a:lnTo>
                  <a:lnTo>
                    <a:pt x="256" y="328"/>
                  </a:lnTo>
                  <a:lnTo>
                    <a:pt x="253" y="330"/>
                  </a:lnTo>
                  <a:lnTo>
                    <a:pt x="256" y="330"/>
                  </a:lnTo>
                  <a:lnTo>
                    <a:pt x="253" y="330"/>
                  </a:lnTo>
                  <a:lnTo>
                    <a:pt x="256" y="330"/>
                  </a:lnTo>
                  <a:lnTo>
                    <a:pt x="253" y="330"/>
                  </a:lnTo>
                  <a:lnTo>
                    <a:pt x="251" y="330"/>
                  </a:lnTo>
                  <a:lnTo>
                    <a:pt x="251" y="328"/>
                  </a:lnTo>
                  <a:lnTo>
                    <a:pt x="249" y="328"/>
                  </a:lnTo>
                  <a:lnTo>
                    <a:pt x="251" y="330"/>
                  </a:lnTo>
                  <a:lnTo>
                    <a:pt x="253" y="330"/>
                  </a:lnTo>
                  <a:lnTo>
                    <a:pt x="253" y="333"/>
                  </a:lnTo>
                  <a:lnTo>
                    <a:pt x="256" y="333"/>
                  </a:lnTo>
                  <a:lnTo>
                    <a:pt x="253" y="333"/>
                  </a:lnTo>
                  <a:lnTo>
                    <a:pt x="253" y="335"/>
                  </a:lnTo>
                  <a:lnTo>
                    <a:pt x="253" y="333"/>
                  </a:lnTo>
                  <a:lnTo>
                    <a:pt x="251" y="333"/>
                  </a:lnTo>
                  <a:lnTo>
                    <a:pt x="251" y="335"/>
                  </a:lnTo>
                  <a:lnTo>
                    <a:pt x="251" y="333"/>
                  </a:lnTo>
                  <a:lnTo>
                    <a:pt x="253" y="333"/>
                  </a:lnTo>
                  <a:lnTo>
                    <a:pt x="251" y="333"/>
                  </a:lnTo>
                  <a:lnTo>
                    <a:pt x="249" y="330"/>
                  </a:lnTo>
                  <a:lnTo>
                    <a:pt x="249" y="333"/>
                  </a:lnTo>
                  <a:lnTo>
                    <a:pt x="249" y="335"/>
                  </a:lnTo>
                  <a:lnTo>
                    <a:pt x="251" y="335"/>
                  </a:lnTo>
                  <a:lnTo>
                    <a:pt x="249" y="335"/>
                  </a:lnTo>
                  <a:lnTo>
                    <a:pt x="246" y="335"/>
                  </a:lnTo>
                  <a:lnTo>
                    <a:pt x="246" y="337"/>
                  </a:lnTo>
                  <a:lnTo>
                    <a:pt x="244" y="337"/>
                  </a:lnTo>
                  <a:lnTo>
                    <a:pt x="244" y="335"/>
                  </a:lnTo>
                  <a:lnTo>
                    <a:pt x="244" y="337"/>
                  </a:lnTo>
                  <a:lnTo>
                    <a:pt x="244" y="335"/>
                  </a:lnTo>
                  <a:lnTo>
                    <a:pt x="244" y="337"/>
                  </a:lnTo>
                  <a:lnTo>
                    <a:pt x="244" y="340"/>
                  </a:lnTo>
                  <a:lnTo>
                    <a:pt x="244" y="337"/>
                  </a:lnTo>
                  <a:lnTo>
                    <a:pt x="244" y="340"/>
                  </a:lnTo>
                  <a:lnTo>
                    <a:pt x="244" y="342"/>
                  </a:lnTo>
                  <a:lnTo>
                    <a:pt x="242" y="342"/>
                  </a:lnTo>
                  <a:lnTo>
                    <a:pt x="242" y="340"/>
                  </a:lnTo>
                  <a:lnTo>
                    <a:pt x="239" y="342"/>
                  </a:lnTo>
                  <a:lnTo>
                    <a:pt x="239" y="340"/>
                  </a:lnTo>
                  <a:lnTo>
                    <a:pt x="239" y="342"/>
                  </a:lnTo>
                  <a:lnTo>
                    <a:pt x="242" y="342"/>
                  </a:lnTo>
                  <a:lnTo>
                    <a:pt x="242" y="345"/>
                  </a:lnTo>
                  <a:lnTo>
                    <a:pt x="239" y="345"/>
                  </a:lnTo>
                  <a:lnTo>
                    <a:pt x="237" y="342"/>
                  </a:lnTo>
                  <a:lnTo>
                    <a:pt x="237" y="345"/>
                  </a:lnTo>
                  <a:lnTo>
                    <a:pt x="234" y="345"/>
                  </a:lnTo>
                  <a:lnTo>
                    <a:pt x="232" y="345"/>
                  </a:lnTo>
                  <a:lnTo>
                    <a:pt x="234" y="345"/>
                  </a:lnTo>
                  <a:lnTo>
                    <a:pt x="237" y="345"/>
                  </a:lnTo>
                  <a:lnTo>
                    <a:pt x="239" y="345"/>
                  </a:lnTo>
                  <a:lnTo>
                    <a:pt x="242" y="345"/>
                  </a:lnTo>
                  <a:lnTo>
                    <a:pt x="244" y="345"/>
                  </a:lnTo>
                  <a:lnTo>
                    <a:pt x="244" y="347"/>
                  </a:lnTo>
                  <a:lnTo>
                    <a:pt x="242" y="347"/>
                  </a:lnTo>
                  <a:lnTo>
                    <a:pt x="239" y="347"/>
                  </a:lnTo>
                  <a:lnTo>
                    <a:pt x="239" y="345"/>
                  </a:lnTo>
                  <a:lnTo>
                    <a:pt x="239" y="347"/>
                  </a:lnTo>
                  <a:lnTo>
                    <a:pt x="242" y="347"/>
                  </a:lnTo>
                  <a:lnTo>
                    <a:pt x="242" y="349"/>
                  </a:lnTo>
                  <a:lnTo>
                    <a:pt x="242" y="347"/>
                  </a:lnTo>
                  <a:lnTo>
                    <a:pt x="244" y="347"/>
                  </a:lnTo>
                  <a:lnTo>
                    <a:pt x="244" y="349"/>
                  </a:lnTo>
                  <a:lnTo>
                    <a:pt x="242" y="349"/>
                  </a:lnTo>
                  <a:lnTo>
                    <a:pt x="239" y="349"/>
                  </a:lnTo>
                  <a:lnTo>
                    <a:pt x="242" y="349"/>
                  </a:lnTo>
                  <a:lnTo>
                    <a:pt x="242" y="352"/>
                  </a:lnTo>
                  <a:lnTo>
                    <a:pt x="239" y="352"/>
                  </a:lnTo>
                  <a:lnTo>
                    <a:pt x="239" y="354"/>
                  </a:lnTo>
                  <a:lnTo>
                    <a:pt x="237" y="354"/>
                  </a:lnTo>
                  <a:lnTo>
                    <a:pt x="237" y="352"/>
                  </a:lnTo>
                  <a:lnTo>
                    <a:pt x="237" y="349"/>
                  </a:lnTo>
                  <a:lnTo>
                    <a:pt x="234" y="349"/>
                  </a:lnTo>
                  <a:lnTo>
                    <a:pt x="234" y="352"/>
                  </a:lnTo>
                  <a:lnTo>
                    <a:pt x="232" y="352"/>
                  </a:lnTo>
                  <a:lnTo>
                    <a:pt x="234" y="352"/>
                  </a:lnTo>
                  <a:lnTo>
                    <a:pt x="232" y="352"/>
                  </a:lnTo>
                  <a:lnTo>
                    <a:pt x="234" y="352"/>
                  </a:lnTo>
                  <a:lnTo>
                    <a:pt x="232" y="352"/>
                  </a:lnTo>
                  <a:lnTo>
                    <a:pt x="234" y="352"/>
                  </a:lnTo>
                  <a:lnTo>
                    <a:pt x="234" y="354"/>
                  </a:lnTo>
                  <a:lnTo>
                    <a:pt x="232" y="354"/>
                  </a:lnTo>
                  <a:lnTo>
                    <a:pt x="234" y="354"/>
                  </a:lnTo>
                  <a:lnTo>
                    <a:pt x="234" y="352"/>
                  </a:lnTo>
                  <a:lnTo>
                    <a:pt x="237" y="352"/>
                  </a:lnTo>
                  <a:lnTo>
                    <a:pt x="234" y="354"/>
                  </a:lnTo>
                  <a:lnTo>
                    <a:pt x="237" y="354"/>
                  </a:lnTo>
                  <a:lnTo>
                    <a:pt x="234" y="354"/>
                  </a:lnTo>
                  <a:lnTo>
                    <a:pt x="234" y="356"/>
                  </a:lnTo>
                  <a:lnTo>
                    <a:pt x="232" y="356"/>
                  </a:lnTo>
                  <a:lnTo>
                    <a:pt x="232" y="354"/>
                  </a:lnTo>
                  <a:lnTo>
                    <a:pt x="232" y="356"/>
                  </a:lnTo>
                  <a:lnTo>
                    <a:pt x="230" y="356"/>
                  </a:lnTo>
                  <a:lnTo>
                    <a:pt x="227" y="356"/>
                  </a:lnTo>
                  <a:lnTo>
                    <a:pt x="230" y="356"/>
                  </a:lnTo>
                  <a:lnTo>
                    <a:pt x="227" y="356"/>
                  </a:lnTo>
                  <a:lnTo>
                    <a:pt x="225" y="354"/>
                  </a:lnTo>
                  <a:lnTo>
                    <a:pt x="227" y="354"/>
                  </a:lnTo>
                  <a:lnTo>
                    <a:pt x="230" y="354"/>
                  </a:lnTo>
                  <a:lnTo>
                    <a:pt x="232" y="354"/>
                  </a:lnTo>
                  <a:lnTo>
                    <a:pt x="230" y="354"/>
                  </a:lnTo>
                  <a:lnTo>
                    <a:pt x="232" y="354"/>
                  </a:lnTo>
                  <a:lnTo>
                    <a:pt x="230" y="354"/>
                  </a:lnTo>
                  <a:lnTo>
                    <a:pt x="227" y="354"/>
                  </a:lnTo>
                  <a:lnTo>
                    <a:pt x="227" y="352"/>
                  </a:lnTo>
                  <a:lnTo>
                    <a:pt x="227" y="354"/>
                  </a:lnTo>
                  <a:lnTo>
                    <a:pt x="227" y="352"/>
                  </a:lnTo>
                  <a:lnTo>
                    <a:pt x="227" y="354"/>
                  </a:lnTo>
                  <a:lnTo>
                    <a:pt x="225" y="354"/>
                  </a:lnTo>
                  <a:lnTo>
                    <a:pt x="225" y="356"/>
                  </a:lnTo>
                  <a:lnTo>
                    <a:pt x="225" y="354"/>
                  </a:lnTo>
                  <a:lnTo>
                    <a:pt x="223" y="354"/>
                  </a:lnTo>
                  <a:lnTo>
                    <a:pt x="223" y="352"/>
                  </a:lnTo>
                  <a:lnTo>
                    <a:pt x="223" y="349"/>
                  </a:lnTo>
                  <a:lnTo>
                    <a:pt x="225" y="349"/>
                  </a:lnTo>
                  <a:lnTo>
                    <a:pt x="223" y="349"/>
                  </a:lnTo>
                  <a:lnTo>
                    <a:pt x="225" y="349"/>
                  </a:lnTo>
                  <a:lnTo>
                    <a:pt x="223" y="349"/>
                  </a:lnTo>
                  <a:lnTo>
                    <a:pt x="225" y="349"/>
                  </a:lnTo>
                  <a:lnTo>
                    <a:pt x="223" y="349"/>
                  </a:lnTo>
                  <a:lnTo>
                    <a:pt x="223" y="347"/>
                  </a:lnTo>
                  <a:lnTo>
                    <a:pt x="220" y="347"/>
                  </a:lnTo>
                  <a:lnTo>
                    <a:pt x="223" y="347"/>
                  </a:lnTo>
                  <a:lnTo>
                    <a:pt x="220" y="347"/>
                  </a:lnTo>
                  <a:lnTo>
                    <a:pt x="220" y="345"/>
                  </a:lnTo>
                  <a:lnTo>
                    <a:pt x="220" y="342"/>
                  </a:lnTo>
                  <a:lnTo>
                    <a:pt x="218" y="340"/>
                  </a:lnTo>
                  <a:lnTo>
                    <a:pt x="218" y="337"/>
                  </a:lnTo>
                  <a:lnTo>
                    <a:pt x="216" y="337"/>
                  </a:lnTo>
                  <a:lnTo>
                    <a:pt x="216" y="335"/>
                  </a:lnTo>
                  <a:lnTo>
                    <a:pt x="213" y="335"/>
                  </a:lnTo>
                  <a:lnTo>
                    <a:pt x="211" y="335"/>
                  </a:lnTo>
                  <a:lnTo>
                    <a:pt x="208" y="335"/>
                  </a:lnTo>
                  <a:lnTo>
                    <a:pt x="206" y="335"/>
                  </a:lnTo>
                  <a:lnTo>
                    <a:pt x="204" y="335"/>
                  </a:lnTo>
                  <a:lnTo>
                    <a:pt x="201" y="335"/>
                  </a:lnTo>
                  <a:lnTo>
                    <a:pt x="204" y="335"/>
                  </a:lnTo>
                  <a:lnTo>
                    <a:pt x="206" y="335"/>
                  </a:lnTo>
                  <a:lnTo>
                    <a:pt x="208" y="335"/>
                  </a:lnTo>
                  <a:lnTo>
                    <a:pt x="211" y="335"/>
                  </a:lnTo>
                  <a:lnTo>
                    <a:pt x="213" y="335"/>
                  </a:lnTo>
                  <a:lnTo>
                    <a:pt x="216" y="335"/>
                  </a:lnTo>
                  <a:lnTo>
                    <a:pt x="216" y="337"/>
                  </a:lnTo>
                  <a:lnTo>
                    <a:pt x="218" y="337"/>
                  </a:lnTo>
                  <a:lnTo>
                    <a:pt x="218" y="340"/>
                  </a:lnTo>
                  <a:lnTo>
                    <a:pt x="218" y="342"/>
                  </a:lnTo>
                  <a:lnTo>
                    <a:pt x="220" y="342"/>
                  </a:lnTo>
                  <a:lnTo>
                    <a:pt x="218" y="342"/>
                  </a:lnTo>
                  <a:lnTo>
                    <a:pt x="220" y="342"/>
                  </a:lnTo>
                  <a:lnTo>
                    <a:pt x="220" y="345"/>
                  </a:lnTo>
                  <a:lnTo>
                    <a:pt x="218" y="345"/>
                  </a:lnTo>
                  <a:lnTo>
                    <a:pt x="216" y="345"/>
                  </a:lnTo>
                  <a:lnTo>
                    <a:pt x="218" y="347"/>
                  </a:lnTo>
                  <a:lnTo>
                    <a:pt x="220" y="347"/>
                  </a:lnTo>
                  <a:lnTo>
                    <a:pt x="220" y="349"/>
                  </a:lnTo>
                  <a:lnTo>
                    <a:pt x="223" y="349"/>
                  </a:lnTo>
                  <a:lnTo>
                    <a:pt x="223" y="352"/>
                  </a:lnTo>
                  <a:lnTo>
                    <a:pt x="223" y="354"/>
                  </a:lnTo>
                  <a:lnTo>
                    <a:pt x="223" y="356"/>
                  </a:lnTo>
                  <a:lnTo>
                    <a:pt x="225" y="356"/>
                  </a:lnTo>
                  <a:lnTo>
                    <a:pt x="225" y="359"/>
                  </a:lnTo>
                  <a:lnTo>
                    <a:pt x="225" y="361"/>
                  </a:lnTo>
                  <a:lnTo>
                    <a:pt x="225" y="364"/>
                  </a:lnTo>
                  <a:lnTo>
                    <a:pt x="225" y="361"/>
                  </a:lnTo>
                  <a:lnTo>
                    <a:pt x="223" y="364"/>
                  </a:lnTo>
                  <a:lnTo>
                    <a:pt x="223" y="361"/>
                  </a:lnTo>
                  <a:lnTo>
                    <a:pt x="223" y="364"/>
                  </a:lnTo>
                  <a:lnTo>
                    <a:pt x="223" y="361"/>
                  </a:lnTo>
                  <a:lnTo>
                    <a:pt x="220" y="364"/>
                  </a:lnTo>
                  <a:lnTo>
                    <a:pt x="223" y="364"/>
                  </a:lnTo>
                  <a:lnTo>
                    <a:pt x="225" y="364"/>
                  </a:lnTo>
                  <a:lnTo>
                    <a:pt x="227" y="364"/>
                  </a:lnTo>
                  <a:lnTo>
                    <a:pt x="227" y="366"/>
                  </a:lnTo>
                  <a:lnTo>
                    <a:pt x="230" y="366"/>
                  </a:lnTo>
                  <a:lnTo>
                    <a:pt x="227" y="366"/>
                  </a:lnTo>
                  <a:lnTo>
                    <a:pt x="227" y="368"/>
                  </a:lnTo>
                  <a:lnTo>
                    <a:pt x="225" y="368"/>
                  </a:lnTo>
                  <a:lnTo>
                    <a:pt x="225" y="366"/>
                  </a:lnTo>
                  <a:lnTo>
                    <a:pt x="223" y="366"/>
                  </a:lnTo>
                  <a:lnTo>
                    <a:pt x="225" y="366"/>
                  </a:lnTo>
                  <a:lnTo>
                    <a:pt x="225" y="368"/>
                  </a:lnTo>
                  <a:lnTo>
                    <a:pt x="223" y="366"/>
                  </a:lnTo>
                  <a:lnTo>
                    <a:pt x="223" y="368"/>
                  </a:lnTo>
                  <a:lnTo>
                    <a:pt x="223" y="371"/>
                  </a:lnTo>
                  <a:lnTo>
                    <a:pt x="223" y="368"/>
                  </a:lnTo>
                  <a:lnTo>
                    <a:pt x="223" y="371"/>
                  </a:lnTo>
                  <a:lnTo>
                    <a:pt x="220" y="373"/>
                  </a:lnTo>
                  <a:lnTo>
                    <a:pt x="223" y="373"/>
                  </a:lnTo>
                  <a:lnTo>
                    <a:pt x="220" y="373"/>
                  </a:lnTo>
                  <a:lnTo>
                    <a:pt x="220" y="371"/>
                  </a:lnTo>
                  <a:lnTo>
                    <a:pt x="218" y="371"/>
                  </a:lnTo>
                  <a:lnTo>
                    <a:pt x="218" y="373"/>
                  </a:lnTo>
                  <a:lnTo>
                    <a:pt x="216" y="373"/>
                  </a:lnTo>
                  <a:lnTo>
                    <a:pt x="216" y="371"/>
                  </a:lnTo>
                  <a:lnTo>
                    <a:pt x="216" y="373"/>
                  </a:lnTo>
                  <a:lnTo>
                    <a:pt x="216" y="375"/>
                  </a:lnTo>
                  <a:lnTo>
                    <a:pt x="218" y="375"/>
                  </a:lnTo>
                  <a:lnTo>
                    <a:pt x="216" y="375"/>
                  </a:lnTo>
                  <a:lnTo>
                    <a:pt x="218" y="375"/>
                  </a:lnTo>
                  <a:lnTo>
                    <a:pt x="216" y="375"/>
                  </a:lnTo>
                  <a:lnTo>
                    <a:pt x="218" y="375"/>
                  </a:lnTo>
                  <a:lnTo>
                    <a:pt x="218" y="378"/>
                  </a:lnTo>
                  <a:lnTo>
                    <a:pt x="216" y="378"/>
                  </a:lnTo>
                  <a:lnTo>
                    <a:pt x="216" y="375"/>
                  </a:lnTo>
                  <a:lnTo>
                    <a:pt x="213" y="375"/>
                  </a:lnTo>
                  <a:lnTo>
                    <a:pt x="211" y="375"/>
                  </a:lnTo>
                  <a:lnTo>
                    <a:pt x="211" y="373"/>
                  </a:lnTo>
                  <a:lnTo>
                    <a:pt x="211" y="371"/>
                  </a:lnTo>
                  <a:lnTo>
                    <a:pt x="208" y="371"/>
                  </a:lnTo>
                  <a:lnTo>
                    <a:pt x="208" y="368"/>
                  </a:lnTo>
                  <a:lnTo>
                    <a:pt x="208" y="371"/>
                  </a:lnTo>
                  <a:lnTo>
                    <a:pt x="208" y="368"/>
                  </a:lnTo>
                  <a:lnTo>
                    <a:pt x="206" y="368"/>
                  </a:lnTo>
                  <a:lnTo>
                    <a:pt x="208" y="368"/>
                  </a:lnTo>
                  <a:lnTo>
                    <a:pt x="206" y="368"/>
                  </a:lnTo>
                  <a:lnTo>
                    <a:pt x="206" y="371"/>
                  </a:lnTo>
                  <a:lnTo>
                    <a:pt x="208" y="368"/>
                  </a:lnTo>
                  <a:lnTo>
                    <a:pt x="208" y="371"/>
                  </a:lnTo>
                  <a:lnTo>
                    <a:pt x="206" y="373"/>
                  </a:lnTo>
                  <a:lnTo>
                    <a:pt x="204" y="373"/>
                  </a:lnTo>
                  <a:lnTo>
                    <a:pt x="206" y="373"/>
                  </a:lnTo>
                  <a:lnTo>
                    <a:pt x="206" y="375"/>
                  </a:lnTo>
                  <a:lnTo>
                    <a:pt x="206" y="378"/>
                  </a:lnTo>
                  <a:lnTo>
                    <a:pt x="204" y="378"/>
                  </a:lnTo>
                  <a:lnTo>
                    <a:pt x="206" y="378"/>
                  </a:lnTo>
                  <a:lnTo>
                    <a:pt x="206" y="380"/>
                  </a:lnTo>
                  <a:lnTo>
                    <a:pt x="206" y="383"/>
                  </a:lnTo>
                  <a:lnTo>
                    <a:pt x="206" y="385"/>
                  </a:lnTo>
                  <a:lnTo>
                    <a:pt x="206" y="383"/>
                  </a:lnTo>
                  <a:lnTo>
                    <a:pt x="206" y="380"/>
                  </a:lnTo>
                  <a:lnTo>
                    <a:pt x="208" y="380"/>
                  </a:lnTo>
                  <a:lnTo>
                    <a:pt x="208" y="383"/>
                  </a:lnTo>
                  <a:lnTo>
                    <a:pt x="208" y="385"/>
                  </a:lnTo>
                  <a:lnTo>
                    <a:pt x="208" y="383"/>
                  </a:lnTo>
                  <a:lnTo>
                    <a:pt x="208" y="385"/>
                  </a:lnTo>
                  <a:lnTo>
                    <a:pt x="211" y="385"/>
                  </a:lnTo>
                  <a:lnTo>
                    <a:pt x="208" y="385"/>
                  </a:lnTo>
                  <a:lnTo>
                    <a:pt x="211" y="385"/>
                  </a:lnTo>
                  <a:lnTo>
                    <a:pt x="213" y="385"/>
                  </a:lnTo>
                  <a:lnTo>
                    <a:pt x="216" y="385"/>
                  </a:lnTo>
                  <a:lnTo>
                    <a:pt x="216" y="387"/>
                  </a:lnTo>
                  <a:lnTo>
                    <a:pt x="216" y="385"/>
                  </a:lnTo>
                  <a:lnTo>
                    <a:pt x="216" y="387"/>
                  </a:lnTo>
                  <a:lnTo>
                    <a:pt x="213" y="387"/>
                  </a:lnTo>
                  <a:lnTo>
                    <a:pt x="216" y="387"/>
                  </a:lnTo>
                  <a:lnTo>
                    <a:pt x="213" y="387"/>
                  </a:lnTo>
                  <a:lnTo>
                    <a:pt x="213" y="390"/>
                  </a:lnTo>
                  <a:lnTo>
                    <a:pt x="211" y="390"/>
                  </a:lnTo>
                  <a:lnTo>
                    <a:pt x="211" y="387"/>
                  </a:lnTo>
                  <a:lnTo>
                    <a:pt x="211" y="390"/>
                  </a:lnTo>
                  <a:lnTo>
                    <a:pt x="211" y="387"/>
                  </a:lnTo>
                  <a:lnTo>
                    <a:pt x="213" y="387"/>
                  </a:lnTo>
                  <a:lnTo>
                    <a:pt x="211" y="387"/>
                  </a:lnTo>
                  <a:lnTo>
                    <a:pt x="211" y="390"/>
                  </a:lnTo>
                  <a:lnTo>
                    <a:pt x="211" y="387"/>
                  </a:lnTo>
                  <a:lnTo>
                    <a:pt x="211" y="390"/>
                  </a:lnTo>
                  <a:lnTo>
                    <a:pt x="211" y="392"/>
                  </a:lnTo>
                  <a:lnTo>
                    <a:pt x="208" y="392"/>
                  </a:lnTo>
                  <a:lnTo>
                    <a:pt x="208" y="394"/>
                  </a:lnTo>
                  <a:lnTo>
                    <a:pt x="208" y="397"/>
                  </a:lnTo>
                  <a:lnTo>
                    <a:pt x="206" y="397"/>
                  </a:lnTo>
                  <a:lnTo>
                    <a:pt x="206" y="399"/>
                  </a:lnTo>
                  <a:lnTo>
                    <a:pt x="208" y="399"/>
                  </a:lnTo>
                  <a:lnTo>
                    <a:pt x="206" y="399"/>
                  </a:lnTo>
                  <a:lnTo>
                    <a:pt x="206" y="402"/>
                  </a:lnTo>
                  <a:lnTo>
                    <a:pt x="204" y="402"/>
                  </a:lnTo>
                  <a:lnTo>
                    <a:pt x="206" y="402"/>
                  </a:lnTo>
                  <a:lnTo>
                    <a:pt x="204" y="402"/>
                  </a:lnTo>
                  <a:lnTo>
                    <a:pt x="206" y="402"/>
                  </a:lnTo>
                  <a:lnTo>
                    <a:pt x="204" y="402"/>
                  </a:lnTo>
                  <a:lnTo>
                    <a:pt x="206" y="404"/>
                  </a:lnTo>
                  <a:lnTo>
                    <a:pt x="204" y="404"/>
                  </a:lnTo>
                  <a:lnTo>
                    <a:pt x="206" y="404"/>
                  </a:lnTo>
                  <a:lnTo>
                    <a:pt x="204" y="404"/>
                  </a:lnTo>
                  <a:lnTo>
                    <a:pt x="206" y="404"/>
                  </a:lnTo>
                  <a:lnTo>
                    <a:pt x="204" y="404"/>
                  </a:lnTo>
                  <a:lnTo>
                    <a:pt x="206" y="404"/>
                  </a:lnTo>
                  <a:lnTo>
                    <a:pt x="204" y="404"/>
                  </a:lnTo>
                  <a:lnTo>
                    <a:pt x="206" y="404"/>
                  </a:lnTo>
                  <a:lnTo>
                    <a:pt x="206" y="406"/>
                  </a:lnTo>
                  <a:lnTo>
                    <a:pt x="204" y="406"/>
                  </a:lnTo>
                  <a:lnTo>
                    <a:pt x="206" y="406"/>
                  </a:lnTo>
                  <a:lnTo>
                    <a:pt x="204" y="406"/>
                  </a:lnTo>
                  <a:lnTo>
                    <a:pt x="204" y="409"/>
                  </a:lnTo>
                  <a:lnTo>
                    <a:pt x="204" y="406"/>
                  </a:lnTo>
                  <a:lnTo>
                    <a:pt x="206" y="409"/>
                  </a:lnTo>
                  <a:lnTo>
                    <a:pt x="204" y="409"/>
                  </a:lnTo>
                  <a:lnTo>
                    <a:pt x="206" y="409"/>
                  </a:lnTo>
                  <a:lnTo>
                    <a:pt x="204" y="409"/>
                  </a:lnTo>
                  <a:lnTo>
                    <a:pt x="206" y="409"/>
                  </a:lnTo>
                  <a:lnTo>
                    <a:pt x="208" y="409"/>
                  </a:lnTo>
                  <a:lnTo>
                    <a:pt x="206" y="409"/>
                  </a:lnTo>
                  <a:lnTo>
                    <a:pt x="206" y="411"/>
                  </a:lnTo>
                  <a:lnTo>
                    <a:pt x="206" y="413"/>
                  </a:lnTo>
                  <a:lnTo>
                    <a:pt x="206" y="416"/>
                  </a:lnTo>
                  <a:lnTo>
                    <a:pt x="206" y="413"/>
                  </a:lnTo>
                  <a:lnTo>
                    <a:pt x="208" y="413"/>
                  </a:lnTo>
                  <a:lnTo>
                    <a:pt x="211" y="416"/>
                  </a:lnTo>
                  <a:lnTo>
                    <a:pt x="211" y="413"/>
                  </a:lnTo>
                  <a:lnTo>
                    <a:pt x="211" y="416"/>
                  </a:lnTo>
                  <a:lnTo>
                    <a:pt x="211" y="418"/>
                  </a:lnTo>
                  <a:lnTo>
                    <a:pt x="211" y="421"/>
                  </a:lnTo>
                  <a:lnTo>
                    <a:pt x="208" y="421"/>
                  </a:lnTo>
                  <a:lnTo>
                    <a:pt x="208" y="418"/>
                  </a:lnTo>
                  <a:lnTo>
                    <a:pt x="206" y="418"/>
                  </a:lnTo>
                  <a:lnTo>
                    <a:pt x="208" y="418"/>
                  </a:lnTo>
                  <a:lnTo>
                    <a:pt x="206" y="418"/>
                  </a:lnTo>
                  <a:lnTo>
                    <a:pt x="206" y="416"/>
                  </a:lnTo>
                  <a:lnTo>
                    <a:pt x="204" y="416"/>
                  </a:lnTo>
                  <a:lnTo>
                    <a:pt x="204" y="413"/>
                  </a:lnTo>
                  <a:lnTo>
                    <a:pt x="204" y="416"/>
                  </a:lnTo>
                  <a:lnTo>
                    <a:pt x="206" y="416"/>
                  </a:lnTo>
                  <a:lnTo>
                    <a:pt x="206" y="418"/>
                  </a:lnTo>
                  <a:lnTo>
                    <a:pt x="206" y="416"/>
                  </a:lnTo>
                  <a:lnTo>
                    <a:pt x="204" y="416"/>
                  </a:lnTo>
                  <a:lnTo>
                    <a:pt x="206" y="418"/>
                  </a:lnTo>
                  <a:lnTo>
                    <a:pt x="204" y="418"/>
                  </a:lnTo>
                  <a:lnTo>
                    <a:pt x="204" y="416"/>
                  </a:lnTo>
                  <a:lnTo>
                    <a:pt x="204" y="418"/>
                  </a:lnTo>
                  <a:lnTo>
                    <a:pt x="204" y="416"/>
                  </a:lnTo>
                  <a:lnTo>
                    <a:pt x="201" y="416"/>
                  </a:lnTo>
                  <a:lnTo>
                    <a:pt x="201" y="413"/>
                  </a:lnTo>
                  <a:lnTo>
                    <a:pt x="201" y="416"/>
                  </a:lnTo>
                  <a:lnTo>
                    <a:pt x="201" y="413"/>
                  </a:lnTo>
                  <a:lnTo>
                    <a:pt x="199" y="413"/>
                  </a:lnTo>
                  <a:lnTo>
                    <a:pt x="197" y="413"/>
                  </a:lnTo>
                  <a:lnTo>
                    <a:pt x="197" y="416"/>
                  </a:lnTo>
                  <a:lnTo>
                    <a:pt x="199" y="416"/>
                  </a:lnTo>
                  <a:lnTo>
                    <a:pt x="201" y="416"/>
                  </a:lnTo>
                  <a:lnTo>
                    <a:pt x="201" y="418"/>
                  </a:lnTo>
                  <a:lnTo>
                    <a:pt x="199" y="418"/>
                  </a:lnTo>
                  <a:lnTo>
                    <a:pt x="201" y="418"/>
                  </a:lnTo>
                  <a:lnTo>
                    <a:pt x="199" y="418"/>
                  </a:lnTo>
                  <a:lnTo>
                    <a:pt x="201" y="418"/>
                  </a:lnTo>
                  <a:lnTo>
                    <a:pt x="199" y="418"/>
                  </a:lnTo>
                  <a:lnTo>
                    <a:pt x="199" y="421"/>
                  </a:lnTo>
                  <a:lnTo>
                    <a:pt x="199" y="418"/>
                  </a:lnTo>
                  <a:lnTo>
                    <a:pt x="199" y="421"/>
                  </a:lnTo>
                  <a:lnTo>
                    <a:pt x="199" y="418"/>
                  </a:lnTo>
                  <a:lnTo>
                    <a:pt x="197" y="418"/>
                  </a:lnTo>
                  <a:lnTo>
                    <a:pt x="199" y="421"/>
                  </a:lnTo>
                  <a:lnTo>
                    <a:pt x="197" y="421"/>
                  </a:lnTo>
                  <a:lnTo>
                    <a:pt x="199" y="421"/>
                  </a:lnTo>
                  <a:lnTo>
                    <a:pt x="201" y="421"/>
                  </a:lnTo>
                  <a:lnTo>
                    <a:pt x="199" y="421"/>
                  </a:lnTo>
                  <a:lnTo>
                    <a:pt x="197" y="421"/>
                  </a:lnTo>
                  <a:lnTo>
                    <a:pt x="199" y="421"/>
                  </a:lnTo>
                  <a:lnTo>
                    <a:pt x="197" y="421"/>
                  </a:lnTo>
                  <a:lnTo>
                    <a:pt x="199" y="421"/>
                  </a:lnTo>
                  <a:lnTo>
                    <a:pt x="197" y="421"/>
                  </a:lnTo>
                  <a:lnTo>
                    <a:pt x="197" y="423"/>
                  </a:lnTo>
                  <a:lnTo>
                    <a:pt x="194" y="423"/>
                  </a:lnTo>
                  <a:lnTo>
                    <a:pt x="197" y="423"/>
                  </a:lnTo>
                  <a:lnTo>
                    <a:pt x="199" y="423"/>
                  </a:lnTo>
                  <a:lnTo>
                    <a:pt x="197" y="423"/>
                  </a:lnTo>
                  <a:lnTo>
                    <a:pt x="199" y="423"/>
                  </a:lnTo>
                  <a:lnTo>
                    <a:pt x="201" y="423"/>
                  </a:lnTo>
                  <a:lnTo>
                    <a:pt x="199" y="423"/>
                  </a:lnTo>
                  <a:lnTo>
                    <a:pt x="197" y="423"/>
                  </a:lnTo>
                  <a:lnTo>
                    <a:pt x="194" y="423"/>
                  </a:lnTo>
                  <a:lnTo>
                    <a:pt x="197" y="423"/>
                  </a:lnTo>
                  <a:lnTo>
                    <a:pt x="197" y="425"/>
                  </a:lnTo>
                  <a:lnTo>
                    <a:pt x="197" y="423"/>
                  </a:lnTo>
                  <a:lnTo>
                    <a:pt x="197" y="425"/>
                  </a:lnTo>
                  <a:lnTo>
                    <a:pt x="199" y="425"/>
                  </a:lnTo>
                  <a:lnTo>
                    <a:pt x="197" y="425"/>
                  </a:lnTo>
                  <a:lnTo>
                    <a:pt x="199" y="425"/>
                  </a:lnTo>
                  <a:lnTo>
                    <a:pt x="199" y="428"/>
                  </a:lnTo>
                  <a:lnTo>
                    <a:pt x="199" y="430"/>
                  </a:lnTo>
                  <a:lnTo>
                    <a:pt x="199" y="428"/>
                  </a:lnTo>
                  <a:lnTo>
                    <a:pt x="199" y="430"/>
                  </a:lnTo>
                  <a:lnTo>
                    <a:pt x="201" y="430"/>
                  </a:lnTo>
                  <a:lnTo>
                    <a:pt x="199" y="430"/>
                  </a:lnTo>
                  <a:lnTo>
                    <a:pt x="201" y="430"/>
                  </a:lnTo>
                  <a:lnTo>
                    <a:pt x="199" y="430"/>
                  </a:lnTo>
                  <a:lnTo>
                    <a:pt x="197" y="430"/>
                  </a:lnTo>
                  <a:lnTo>
                    <a:pt x="199" y="430"/>
                  </a:lnTo>
                  <a:lnTo>
                    <a:pt x="197" y="430"/>
                  </a:lnTo>
                  <a:lnTo>
                    <a:pt x="197" y="432"/>
                  </a:lnTo>
                  <a:lnTo>
                    <a:pt x="199" y="432"/>
                  </a:lnTo>
                  <a:lnTo>
                    <a:pt x="197" y="432"/>
                  </a:lnTo>
                  <a:lnTo>
                    <a:pt x="199" y="432"/>
                  </a:lnTo>
                  <a:lnTo>
                    <a:pt x="199" y="435"/>
                  </a:lnTo>
                  <a:lnTo>
                    <a:pt x="201" y="435"/>
                  </a:lnTo>
                  <a:lnTo>
                    <a:pt x="199" y="435"/>
                  </a:lnTo>
                  <a:lnTo>
                    <a:pt x="201" y="435"/>
                  </a:lnTo>
                  <a:lnTo>
                    <a:pt x="201" y="437"/>
                  </a:lnTo>
                  <a:lnTo>
                    <a:pt x="199" y="437"/>
                  </a:lnTo>
                  <a:lnTo>
                    <a:pt x="199" y="435"/>
                  </a:lnTo>
                  <a:lnTo>
                    <a:pt x="199" y="437"/>
                  </a:lnTo>
                  <a:lnTo>
                    <a:pt x="199" y="435"/>
                  </a:lnTo>
                  <a:lnTo>
                    <a:pt x="199" y="437"/>
                  </a:lnTo>
                  <a:lnTo>
                    <a:pt x="201" y="437"/>
                  </a:lnTo>
                  <a:lnTo>
                    <a:pt x="204" y="437"/>
                  </a:lnTo>
                  <a:lnTo>
                    <a:pt x="201" y="437"/>
                  </a:lnTo>
                  <a:lnTo>
                    <a:pt x="199" y="437"/>
                  </a:lnTo>
                  <a:lnTo>
                    <a:pt x="197" y="437"/>
                  </a:lnTo>
                  <a:lnTo>
                    <a:pt x="199" y="437"/>
                  </a:lnTo>
                  <a:lnTo>
                    <a:pt x="199" y="440"/>
                  </a:lnTo>
                  <a:lnTo>
                    <a:pt x="201" y="440"/>
                  </a:lnTo>
                  <a:lnTo>
                    <a:pt x="199" y="440"/>
                  </a:lnTo>
                  <a:lnTo>
                    <a:pt x="201" y="440"/>
                  </a:lnTo>
                  <a:lnTo>
                    <a:pt x="199" y="440"/>
                  </a:lnTo>
                  <a:lnTo>
                    <a:pt x="201" y="442"/>
                  </a:lnTo>
                  <a:lnTo>
                    <a:pt x="201" y="440"/>
                  </a:lnTo>
                  <a:lnTo>
                    <a:pt x="201" y="442"/>
                  </a:lnTo>
                  <a:lnTo>
                    <a:pt x="199" y="442"/>
                  </a:lnTo>
                  <a:lnTo>
                    <a:pt x="197" y="442"/>
                  </a:lnTo>
                  <a:lnTo>
                    <a:pt x="199" y="442"/>
                  </a:lnTo>
                  <a:lnTo>
                    <a:pt x="199" y="444"/>
                  </a:lnTo>
                  <a:lnTo>
                    <a:pt x="199" y="447"/>
                  </a:lnTo>
                  <a:lnTo>
                    <a:pt x="199" y="449"/>
                  </a:lnTo>
                  <a:lnTo>
                    <a:pt x="201" y="449"/>
                  </a:lnTo>
                  <a:lnTo>
                    <a:pt x="199" y="449"/>
                  </a:lnTo>
                  <a:lnTo>
                    <a:pt x="199" y="451"/>
                  </a:lnTo>
                  <a:lnTo>
                    <a:pt x="199" y="454"/>
                  </a:lnTo>
                  <a:lnTo>
                    <a:pt x="199" y="451"/>
                  </a:lnTo>
                  <a:lnTo>
                    <a:pt x="201" y="454"/>
                  </a:lnTo>
                  <a:lnTo>
                    <a:pt x="201" y="451"/>
                  </a:lnTo>
                  <a:lnTo>
                    <a:pt x="201" y="454"/>
                  </a:lnTo>
                  <a:lnTo>
                    <a:pt x="199" y="454"/>
                  </a:lnTo>
                  <a:lnTo>
                    <a:pt x="201" y="454"/>
                  </a:lnTo>
                  <a:lnTo>
                    <a:pt x="199" y="454"/>
                  </a:lnTo>
                  <a:lnTo>
                    <a:pt x="199" y="456"/>
                  </a:lnTo>
                  <a:lnTo>
                    <a:pt x="201" y="456"/>
                  </a:lnTo>
                  <a:lnTo>
                    <a:pt x="199" y="459"/>
                  </a:lnTo>
                  <a:lnTo>
                    <a:pt x="201" y="459"/>
                  </a:lnTo>
                  <a:lnTo>
                    <a:pt x="199" y="459"/>
                  </a:lnTo>
                  <a:lnTo>
                    <a:pt x="201" y="459"/>
                  </a:lnTo>
                  <a:lnTo>
                    <a:pt x="204" y="459"/>
                  </a:lnTo>
                  <a:lnTo>
                    <a:pt x="204" y="461"/>
                  </a:lnTo>
                  <a:lnTo>
                    <a:pt x="201" y="461"/>
                  </a:lnTo>
                  <a:lnTo>
                    <a:pt x="204" y="461"/>
                  </a:lnTo>
                  <a:lnTo>
                    <a:pt x="201" y="461"/>
                  </a:lnTo>
                  <a:lnTo>
                    <a:pt x="204" y="461"/>
                  </a:lnTo>
                  <a:lnTo>
                    <a:pt x="201" y="463"/>
                  </a:lnTo>
                  <a:lnTo>
                    <a:pt x="204" y="463"/>
                  </a:lnTo>
                  <a:lnTo>
                    <a:pt x="206" y="463"/>
                  </a:lnTo>
                  <a:lnTo>
                    <a:pt x="204" y="463"/>
                  </a:lnTo>
                  <a:lnTo>
                    <a:pt x="204" y="466"/>
                  </a:lnTo>
                  <a:lnTo>
                    <a:pt x="204" y="463"/>
                  </a:lnTo>
                  <a:lnTo>
                    <a:pt x="204" y="466"/>
                  </a:lnTo>
                  <a:lnTo>
                    <a:pt x="204" y="463"/>
                  </a:lnTo>
                  <a:lnTo>
                    <a:pt x="204" y="466"/>
                  </a:lnTo>
                  <a:lnTo>
                    <a:pt x="204" y="463"/>
                  </a:lnTo>
                  <a:lnTo>
                    <a:pt x="204" y="466"/>
                  </a:lnTo>
                  <a:lnTo>
                    <a:pt x="204" y="463"/>
                  </a:lnTo>
                  <a:lnTo>
                    <a:pt x="204" y="466"/>
                  </a:lnTo>
                  <a:lnTo>
                    <a:pt x="206" y="466"/>
                  </a:lnTo>
                  <a:lnTo>
                    <a:pt x="204" y="466"/>
                  </a:lnTo>
                  <a:lnTo>
                    <a:pt x="204" y="468"/>
                  </a:lnTo>
                  <a:lnTo>
                    <a:pt x="201" y="468"/>
                  </a:lnTo>
                  <a:lnTo>
                    <a:pt x="201" y="470"/>
                  </a:lnTo>
                  <a:lnTo>
                    <a:pt x="199" y="470"/>
                  </a:lnTo>
                  <a:lnTo>
                    <a:pt x="201" y="470"/>
                  </a:lnTo>
                  <a:lnTo>
                    <a:pt x="204" y="470"/>
                  </a:lnTo>
                  <a:lnTo>
                    <a:pt x="206" y="473"/>
                  </a:lnTo>
                  <a:lnTo>
                    <a:pt x="206" y="470"/>
                  </a:lnTo>
                  <a:lnTo>
                    <a:pt x="206" y="473"/>
                  </a:lnTo>
                  <a:lnTo>
                    <a:pt x="206" y="470"/>
                  </a:lnTo>
                  <a:lnTo>
                    <a:pt x="206" y="473"/>
                  </a:lnTo>
                  <a:lnTo>
                    <a:pt x="208" y="473"/>
                  </a:lnTo>
                  <a:lnTo>
                    <a:pt x="208" y="475"/>
                  </a:lnTo>
                  <a:lnTo>
                    <a:pt x="208" y="478"/>
                  </a:lnTo>
                  <a:lnTo>
                    <a:pt x="208" y="475"/>
                  </a:lnTo>
                  <a:lnTo>
                    <a:pt x="208" y="473"/>
                  </a:lnTo>
                  <a:lnTo>
                    <a:pt x="211" y="473"/>
                  </a:lnTo>
                  <a:lnTo>
                    <a:pt x="211" y="470"/>
                  </a:lnTo>
                  <a:lnTo>
                    <a:pt x="211" y="473"/>
                  </a:lnTo>
                  <a:lnTo>
                    <a:pt x="208" y="473"/>
                  </a:lnTo>
                  <a:lnTo>
                    <a:pt x="211" y="473"/>
                  </a:lnTo>
                  <a:lnTo>
                    <a:pt x="211" y="470"/>
                  </a:lnTo>
                  <a:lnTo>
                    <a:pt x="213" y="470"/>
                  </a:lnTo>
                  <a:lnTo>
                    <a:pt x="211" y="470"/>
                  </a:lnTo>
                  <a:lnTo>
                    <a:pt x="211" y="473"/>
                  </a:lnTo>
                  <a:lnTo>
                    <a:pt x="211" y="470"/>
                  </a:lnTo>
                  <a:lnTo>
                    <a:pt x="211" y="473"/>
                  </a:lnTo>
                  <a:lnTo>
                    <a:pt x="213" y="473"/>
                  </a:lnTo>
                  <a:lnTo>
                    <a:pt x="216" y="473"/>
                  </a:lnTo>
                  <a:lnTo>
                    <a:pt x="213" y="475"/>
                  </a:lnTo>
                  <a:lnTo>
                    <a:pt x="213" y="478"/>
                  </a:lnTo>
                  <a:lnTo>
                    <a:pt x="216" y="478"/>
                  </a:lnTo>
                  <a:lnTo>
                    <a:pt x="213" y="478"/>
                  </a:lnTo>
                  <a:lnTo>
                    <a:pt x="216" y="478"/>
                  </a:lnTo>
                  <a:lnTo>
                    <a:pt x="216" y="480"/>
                  </a:lnTo>
                  <a:lnTo>
                    <a:pt x="216" y="478"/>
                  </a:lnTo>
                  <a:lnTo>
                    <a:pt x="216" y="480"/>
                  </a:lnTo>
                  <a:lnTo>
                    <a:pt x="216" y="478"/>
                  </a:lnTo>
                  <a:lnTo>
                    <a:pt x="216" y="480"/>
                  </a:lnTo>
                  <a:lnTo>
                    <a:pt x="216" y="478"/>
                  </a:lnTo>
                  <a:lnTo>
                    <a:pt x="218" y="478"/>
                  </a:lnTo>
                  <a:lnTo>
                    <a:pt x="216" y="478"/>
                  </a:lnTo>
                  <a:lnTo>
                    <a:pt x="218" y="478"/>
                  </a:lnTo>
                  <a:lnTo>
                    <a:pt x="216" y="478"/>
                  </a:lnTo>
                  <a:lnTo>
                    <a:pt x="218" y="480"/>
                  </a:lnTo>
                  <a:lnTo>
                    <a:pt x="218" y="478"/>
                  </a:lnTo>
                  <a:lnTo>
                    <a:pt x="218" y="480"/>
                  </a:lnTo>
                  <a:lnTo>
                    <a:pt x="218" y="478"/>
                  </a:lnTo>
                  <a:lnTo>
                    <a:pt x="218" y="480"/>
                  </a:lnTo>
                  <a:lnTo>
                    <a:pt x="218" y="478"/>
                  </a:lnTo>
                  <a:lnTo>
                    <a:pt x="218" y="475"/>
                  </a:lnTo>
                  <a:lnTo>
                    <a:pt x="220" y="475"/>
                  </a:lnTo>
                  <a:lnTo>
                    <a:pt x="223" y="475"/>
                  </a:lnTo>
                  <a:lnTo>
                    <a:pt x="225" y="475"/>
                  </a:lnTo>
                  <a:lnTo>
                    <a:pt x="227" y="475"/>
                  </a:lnTo>
                  <a:lnTo>
                    <a:pt x="225" y="475"/>
                  </a:lnTo>
                  <a:lnTo>
                    <a:pt x="227" y="475"/>
                  </a:lnTo>
                  <a:lnTo>
                    <a:pt x="227" y="478"/>
                  </a:lnTo>
                  <a:lnTo>
                    <a:pt x="227" y="475"/>
                  </a:lnTo>
                  <a:lnTo>
                    <a:pt x="227" y="478"/>
                  </a:lnTo>
                  <a:lnTo>
                    <a:pt x="227" y="475"/>
                  </a:lnTo>
                  <a:lnTo>
                    <a:pt x="227" y="478"/>
                  </a:lnTo>
                  <a:lnTo>
                    <a:pt x="227" y="480"/>
                  </a:lnTo>
                  <a:lnTo>
                    <a:pt x="227" y="478"/>
                  </a:lnTo>
                  <a:lnTo>
                    <a:pt x="227" y="480"/>
                  </a:lnTo>
                  <a:lnTo>
                    <a:pt x="225" y="480"/>
                  </a:lnTo>
                  <a:lnTo>
                    <a:pt x="227" y="480"/>
                  </a:lnTo>
                  <a:lnTo>
                    <a:pt x="230" y="480"/>
                  </a:lnTo>
                  <a:lnTo>
                    <a:pt x="227" y="480"/>
                  </a:lnTo>
                  <a:lnTo>
                    <a:pt x="230" y="480"/>
                  </a:lnTo>
                  <a:lnTo>
                    <a:pt x="230" y="482"/>
                  </a:lnTo>
                  <a:lnTo>
                    <a:pt x="230" y="480"/>
                  </a:lnTo>
                  <a:lnTo>
                    <a:pt x="230" y="482"/>
                  </a:lnTo>
                  <a:lnTo>
                    <a:pt x="230" y="485"/>
                  </a:lnTo>
                  <a:lnTo>
                    <a:pt x="230" y="482"/>
                  </a:lnTo>
                  <a:lnTo>
                    <a:pt x="230" y="485"/>
                  </a:lnTo>
                  <a:lnTo>
                    <a:pt x="232" y="485"/>
                  </a:lnTo>
                  <a:lnTo>
                    <a:pt x="232" y="482"/>
                  </a:lnTo>
                  <a:lnTo>
                    <a:pt x="232" y="485"/>
                  </a:lnTo>
                  <a:lnTo>
                    <a:pt x="232" y="482"/>
                  </a:lnTo>
                  <a:lnTo>
                    <a:pt x="232" y="485"/>
                  </a:lnTo>
                  <a:lnTo>
                    <a:pt x="234" y="485"/>
                  </a:lnTo>
                  <a:lnTo>
                    <a:pt x="232" y="485"/>
                  </a:lnTo>
                  <a:lnTo>
                    <a:pt x="234" y="485"/>
                  </a:lnTo>
                  <a:lnTo>
                    <a:pt x="234" y="487"/>
                  </a:lnTo>
                  <a:lnTo>
                    <a:pt x="234" y="485"/>
                  </a:lnTo>
                  <a:lnTo>
                    <a:pt x="234" y="487"/>
                  </a:lnTo>
                  <a:lnTo>
                    <a:pt x="234" y="485"/>
                  </a:lnTo>
                  <a:lnTo>
                    <a:pt x="234" y="487"/>
                  </a:lnTo>
                  <a:lnTo>
                    <a:pt x="237" y="487"/>
                  </a:lnTo>
                  <a:lnTo>
                    <a:pt x="234" y="487"/>
                  </a:lnTo>
                  <a:lnTo>
                    <a:pt x="234" y="489"/>
                  </a:lnTo>
                  <a:lnTo>
                    <a:pt x="234" y="487"/>
                  </a:lnTo>
                  <a:lnTo>
                    <a:pt x="234" y="489"/>
                  </a:lnTo>
                  <a:lnTo>
                    <a:pt x="234" y="487"/>
                  </a:lnTo>
                  <a:lnTo>
                    <a:pt x="237" y="487"/>
                  </a:lnTo>
                  <a:lnTo>
                    <a:pt x="239" y="487"/>
                  </a:lnTo>
                  <a:lnTo>
                    <a:pt x="239" y="489"/>
                  </a:lnTo>
                  <a:lnTo>
                    <a:pt x="239" y="487"/>
                  </a:lnTo>
                  <a:lnTo>
                    <a:pt x="239" y="489"/>
                  </a:lnTo>
                  <a:lnTo>
                    <a:pt x="242" y="489"/>
                  </a:lnTo>
                  <a:lnTo>
                    <a:pt x="244" y="489"/>
                  </a:lnTo>
                  <a:lnTo>
                    <a:pt x="244" y="492"/>
                  </a:lnTo>
                  <a:lnTo>
                    <a:pt x="246" y="492"/>
                  </a:lnTo>
                  <a:lnTo>
                    <a:pt x="244" y="492"/>
                  </a:lnTo>
                  <a:lnTo>
                    <a:pt x="246" y="492"/>
                  </a:lnTo>
                  <a:lnTo>
                    <a:pt x="246" y="494"/>
                  </a:lnTo>
                  <a:lnTo>
                    <a:pt x="246" y="492"/>
                  </a:lnTo>
                  <a:lnTo>
                    <a:pt x="246" y="494"/>
                  </a:lnTo>
                  <a:lnTo>
                    <a:pt x="246" y="492"/>
                  </a:lnTo>
                  <a:lnTo>
                    <a:pt x="246" y="494"/>
                  </a:lnTo>
                  <a:lnTo>
                    <a:pt x="244" y="494"/>
                  </a:lnTo>
                  <a:lnTo>
                    <a:pt x="244" y="497"/>
                  </a:lnTo>
                  <a:lnTo>
                    <a:pt x="246" y="497"/>
                  </a:lnTo>
                  <a:lnTo>
                    <a:pt x="244" y="497"/>
                  </a:lnTo>
                  <a:lnTo>
                    <a:pt x="242" y="497"/>
                  </a:lnTo>
                  <a:lnTo>
                    <a:pt x="242" y="494"/>
                  </a:lnTo>
                  <a:lnTo>
                    <a:pt x="239" y="492"/>
                  </a:lnTo>
                  <a:lnTo>
                    <a:pt x="239" y="494"/>
                  </a:lnTo>
                  <a:lnTo>
                    <a:pt x="239" y="492"/>
                  </a:lnTo>
                  <a:lnTo>
                    <a:pt x="239" y="494"/>
                  </a:lnTo>
                  <a:lnTo>
                    <a:pt x="242" y="494"/>
                  </a:lnTo>
                  <a:lnTo>
                    <a:pt x="242" y="497"/>
                  </a:lnTo>
                  <a:lnTo>
                    <a:pt x="244" y="497"/>
                  </a:lnTo>
                  <a:lnTo>
                    <a:pt x="244" y="499"/>
                  </a:lnTo>
                  <a:lnTo>
                    <a:pt x="246" y="499"/>
                  </a:lnTo>
                  <a:lnTo>
                    <a:pt x="244" y="499"/>
                  </a:lnTo>
                  <a:lnTo>
                    <a:pt x="246" y="501"/>
                  </a:lnTo>
                  <a:lnTo>
                    <a:pt x="244" y="501"/>
                  </a:lnTo>
                  <a:lnTo>
                    <a:pt x="246" y="501"/>
                  </a:lnTo>
                  <a:lnTo>
                    <a:pt x="246" y="504"/>
                  </a:lnTo>
                  <a:lnTo>
                    <a:pt x="246" y="501"/>
                  </a:lnTo>
                  <a:lnTo>
                    <a:pt x="246" y="499"/>
                  </a:lnTo>
                  <a:lnTo>
                    <a:pt x="249" y="499"/>
                  </a:lnTo>
                  <a:lnTo>
                    <a:pt x="249" y="501"/>
                  </a:lnTo>
                  <a:lnTo>
                    <a:pt x="249" y="499"/>
                  </a:lnTo>
                  <a:lnTo>
                    <a:pt x="251" y="499"/>
                  </a:lnTo>
                  <a:lnTo>
                    <a:pt x="251" y="501"/>
                  </a:lnTo>
                  <a:lnTo>
                    <a:pt x="251" y="504"/>
                  </a:lnTo>
                  <a:lnTo>
                    <a:pt x="251" y="506"/>
                  </a:lnTo>
                  <a:lnTo>
                    <a:pt x="253" y="506"/>
                  </a:lnTo>
                  <a:lnTo>
                    <a:pt x="251" y="504"/>
                  </a:lnTo>
                  <a:lnTo>
                    <a:pt x="251" y="501"/>
                  </a:lnTo>
                  <a:lnTo>
                    <a:pt x="253" y="501"/>
                  </a:lnTo>
                  <a:lnTo>
                    <a:pt x="251" y="501"/>
                  </a:lnTo>
                  <a:lnTo>
                    <a:pt x="253" y="501"/>
                  </a:lnTo>
                  <a:lnTo>
                    <a:pt x="251" y="501"/>
                  </a:lnTo>
                  <a:lnTo>
                    <a:pt x="253" y="501"/>
                  </a:lnTo>
                  <a:lnTo>
                    <a:pt x="251" y="501"/>
                  </a:lnTo>
                  <a:lnTo>
                    <a:pt x="251" y="499"/>
                  </a:lnTo>
                  <a:lnTo>
                    <a:pt x="253" y="499"/>
                  </a:lnTo>
                  <a:lnTo>
                    <a:pt x="253" y="501"/>
                  </a:lnTo>
                  <a:lnTo>
                    <a:pt x="253" y="499"/>
                  </a:lnTo>
                  <a:lnTo>
                    <a:pt x="253" y="501"/>
                  </a:lnTo>
                  <a:lnTo>
                    <a:pt x="253" y="504"/>
                  </a:lnTo>
                  <a:lnTo>
                    <a:pt x="253" y="506"/>
                  </a:lnTo>
                  <a:lnTo>
                    <a:pt x="256" y="506"/>
                  </a:lnTo>
                  <a:lnTo>
                    <a:pt x="256" y="508"/>
                  </a:lnTo>
                  <a:lnTo>
                    <a:pt x="256" y="511"/>
                  </a:lnTo>
                  <a:lnTo>
                    <a:pt x="258" y="511"/>
                  </a:lnTo>
                  <a:lnTo>
                    <a:pt x="256" y="511"/>
                  </a:lnTo>
                  <a:lnTo>
                    <a:pt x="258" y="511"/>
                  </a:lnTo>
                  <a:lnTo>
                    <a:pt x="261" y="511"/>
                  </a:lnTo>
                  <a:lnTo>
                    <a:pt x="261" y="513"/>
                  </a:lnTo>
                  <a:lnTo>
                    <a:pt x="261" y="511"/>
                  </a:lnTo>
                  <a:lnTo>
                    <a:pt x="261" y="513"/>
                  </a:lnTo>
                  <a:lnTo>
                    <a:pt x="263" y="513"/>
                  </a:lnTo>
                  <a:lnTo>
                    <a:pt x="263" y="516"/>
                  </a:lnTo>
                  <a:lnTo>
                    <a:pt x="261" y="516"/>
                  </a:lnTo>
                  <a:lnTo>
                    <a:pt x="258" y="516"/>
                  </a:lnTo>
                  <a:lnTo>
                    <a:pt x="261" y="516"/>
                  </a:lnTo>
                  <a:lnTo>
                    <a:pt x="258" y="516"/>
                  </a:lnTo>
                  <a:lnTo>
                    <a:pt x="261" y="516"/>
                  </a:lnTo>
                  <a:lnTo>
                    <a:pt x="258" y="513"/>
                  </a:lnTo>
                  <a:lnTo>
                    <a:pt x="258" y="511"/>
                  </a:lnTo>
                  <a:lnTo>
                    <a:pt x="256" y="511"/>
                  </a:lnTo>
                  <a:lnTo>
                    <a:pt x="258" y="511"/>
                  </a:lnTo>
                  <a:lnTo>
                    <a:pt x="256" y="511"/>
                  </a:lnTo>
                  <a:lnTo>
                    <a:pt x="253" y="511"/>
                  </a:lnTo>
                  <a:lnTo>
                    <a:pt x="256" y="511"/>
                  </a:lnTo>
                  <a:lnTo>
                    <a:pt x="256" y="513"/>
                  </a:lnTo>
                  <a:lnTo>
                    <a:pt x="256" y="511"/>
                  </a:lnTo>
                  <a:lnTo>
                    <a:pt x="256" y="513"/>
                  </a:lnTo>
                  <a:lnTo>
                    <a:pt x="258" y="513"/>
                  </a:lnTo>
                  <a:lnTo>
                    <a:pt x="258" y="516"/>
                  </a:lnTo>
                  <a:lnTo>
                    <a:pt x="256" y="516"/>
                  </a:lnTo>
                  <a:lnTo>
                    <a:pt x="256" y="518"/>
                  </a:lnTo>
                  <a:lnTo>
                    <a:pt x="253" y="518"/>
                  </a:lnTo>
                  <a:lnTo>
                    <a:pt x="251" y="518"/>
                  </a:lnTo>
                  <a:lnTo>
                    <a:pt x="251" y="520"/>
                  </a:lnTo>
                  <a:lnTo>
                    <a:pt x="253" y="518"/>
                  </a:lnTo>
                  <a:lnTo>
                    <a:pt x="256" y="518"/>
                  </a:lnTo>
                  <a:lnTo>
                    <a:pt x="258" y="518"/>
                  </a:lnTo>
                  <a:lnTo>
                    <a:pt x="261" y="518"/>
                  </a:lnTo>
                  <a:lnTo>
                    <a:pt x="263" y="518"/>
                  </a:lnTo>
                  <a:lnTo>
                    <a:pt x="263" y="520"/>
                  </a:lnTo>
                  <a:lnTo>
                    <a:pt x="261" y="520"/>
                  </a:lnTo>
                  <a:lnTo>
                    <a:pt x="263" y="520"/>
                  </a:lnTo>
                  <a:lnTo>
                    <a:pt x="261" y="523"/>
                  </a:lnTo>
                  <a:lnTo>
                    <a:pt x="258" y="523"/>
                  </a:lnTo>
                  <a:lnTo>
                    <a:pt x="258" y="520"/>
                  </a:lnTo>
                  <a:lnTo>
                    <a:pt x="256" y="523"/>
                  </a:lnTo>
                  <a:lnTo>
                    <a:pt x="258" y="523"/>
                  </a:lnTo>
                  <a:lnTo>
                    <a:pt x="256" y="523"/>
                  </a:lnTo>
                  <a:lnTo>
                    <a:pt x="253" y="523"/>
                  </a:lnTo>
                  <a:lnTo>
                    <a:pt x="251" y="523"/>
                  </a:lnTo>
                  <a:lnTo>
                    <a:pt x="253" y="523"/>
                  </a:lnTo>
                  <a:lnTo>
                    <a:pt x="251" y="523"/>
                  </a:lnTo>
                  <a:lnTo>
                    <a:pt x="253" y="523"/>
                  </a:lnTo>
                  <a:lnTo>
                    <a:pt x="253" y="525"/>
                  </a:lnTo>
                  <a:lnTo>
                    <a:pt x="253" y="523"/>
                  </a:lnTo>
                  <a:lnTo>
                    <a:pt x="251" y="523"/>
                  </a:lnTo>
                  <a:lnTo>
                    <a:pt x="253" y="525"/>
                  </a:lnTo>
                  <a:lnTo>
                    <a:pt x="251" y="525"/>
                  </a:lnTo>
                  <a:lnTo>
                    <a:pt x="251" y="523"/>
                  </a:lnTo>
                  <a:lnTo>
                    <a:pt x="251" y="525"/>
                  </a:lnTo>
                  <a:lnTo>
                    <a:pt x="249" y="525"/>
                  </a:lnTo>
                  <a:lnTo>
                    <a:pt x="251" y="525"/>
                  </a:lnTo>
                  <a:lnTo>
                    <a:pt x="249" y="525"/>
                  </a:lnTo>
                  <a:lnTo>
                    <a:pt x="251" y="525"/>
                  </a:lnTo>
                  <a:lnTo>
                    <a:pt x="251" y="527"/>
                  </a:lnTo>
                  <a:lnTo>
                    <a:pt x="251" y="525"/>
                  </a:lnTo>
                  <a:lnTo>
                    <a:pt x="249" y="525"/>
                  </a:lnTo>
                  <a:lnTo>
                    <a:pt x="249" y="527"/>
                  </a:lnTo>
                  <a:lnTo>
                    <a:pt x="251" y="527"/>
                  </a:lnTo>
                  <a:lnTo>
                    <a:pt x="249" y="527"/>
                  </a:lnTo>
                  <a:lnTo>
                    <a:pt x="249" y="530"/>
                  </a:lnTo>
                  <a:lnTo>
                    <a:pt x="246" y="530"/>
                  </a:lnTo>
                  <a:lnTo>
                    <a:pt x="244" y="532"/>
                  </a:lnTo>
                  <a:lnTo>
                    <a:pt x="242" y="532"/>
                  </a:lnTo>
                  <a:lnTo>
                    <a:pt x="242" y="535"/>
                  </a:lnTo>
                  <a:lnTo>
                    <a:pt x="239" y="535"/>
                  </a:lnTo>
                  <a:lnTo>
                    <a:pt x="237" y="535"/>
                  </a:lnTo>
                  <a:lnTo>
                    <a:pt x="237" y="537"/>
                  </a:lnTo>
                  <a:lnTo>
                    <a:pt x="234" y="537"/>
                  </a:lnTo>
                  <a:lnTo>
                    <a:pt x="237" y="537"/>
                  </a:lnTo>
                  <a:lnTo>
                    <a:pt x="234" y="537"/>
                  </a:lnTo>
                  <a:lnTo>
                    <a:pt x="237" y="537"/>
                  </a:lnTo>
                  <a:lnTo>
                    <a:pt x="234" y="537"/>
                  </a:lnTo>
                  <a:lnTo>
                    <a:pt x="234" y="539"/>
                  </a:lnTo>
                  <a:lnTo>
                    <a:pt x="237" y="539"/>
                  </a:lnTo>
                  <a:lnTo>
                    <a:pt x="234" y="539"/>
                  </a:lnTo>
                  <a:lnTo>
                    <a:pt x="232" y="539"/>
                  </a:lnTo>
                  <a:lnTo>
                    <a:pt x="232" y="537"/>
                  </a:lnTo>
                  <a:lnTo>
                    <a:pt x="232" y="535"/>
                  </a:lnTo>
                  <a:lnTo>
                    <a:pt x="232" y="537"/>
                  </a:lnTo>
                  <a:lnTo>
                    <a:pt x="232" y="535"/>
                  </a:lnTo>
                  <a:lnTo>
                    <a:pt x="232" y="537"/>
                  </a:lnTo>
                  <a:lnTo>
                    <a:pt x="230" y="537"/>
                  </a:lnTo>
                  <a:lnTo>
                    <a:pt x="230" y="539"/>
                  </a:lnTo>
                  <a:lnTo>
                    <a:pt x="227" y="539"/>
                  </a:lnTo>
                  <a:lnTo>
                    <a:pt x="230" y="539"/>
                  </a:lnTo>
                  <a:lnTo>
                    <a:pt x="230" y="542"/>
                  </a:lnTo>
                  <a:lnTo>
                    <a:pt x="232" y="542"/>
                  </a:lnTo>
                  <a:lnTo>
                    <a:pt x="230" y="542"/>
                  </a:lnTo>
                  <a:lnTo>
                    <a:pt x="232" y="542"/>
                  </a:lnTo>
                  <a:lnTo>
                    <a:pt x="234" y="542"/>
                  </a:lnTo>
                  <a:lnTo>
                    <a:pt x="234" y="539"/>
                  </a:lnTo>
                  <a:lnTo>
                    <a:pt x="237" y="539"/>
                  </a:lnTo>
                  <a:lnTo>
                    <a:pt x="237" y="542"/>
                  </a:lnTo>
                  <a:lnTo>
                    <a:pt x="237" y="539"/>
                  </a:lnTo>
                  <a:lnTo>
                    <a:pt x="237" y="542"/>
                  </a:lnTo>
                  <a:lnTo>
                    <a:pt x="237" y="539"/>
                  </a:lnTo>
                  <a:lnTo>
                    <a:pt x="239" y="539"/>
                  </a:lnTo>
                  <a:lnTo>
                    <a:pt x="239" y="542"/>
                  </a:lnTo>
                  <a:lnTo>
                    <a:pt x="239" y="539"/>
                  </a:lnTo>
                  <a:lnTo>
                    <a:pt x="239" y="542"/>
                  </a:lnTo>
                  <a:lnTo>
                    <a:pt x="239" y="539"/>
                  </a:lnTo>
                  <a:lnTo>
                    <a:pt x="239" y="542"/>
                  </a:lnTo>
                  <a:lnTo>
                    <a:pt x="242" y="542"/>
                  </a:lnTo>
                  <a:lnTo>
                    <a:pt x="239" y="542"/>
                  </a:lnTo>
                  <a:lnTo>
                    <a:pt x="242" y="542"/>
                  </a:lnTo>
                  <a:lnTo>
                    <a:pt x="242" y="539"/>
                  </a:lnTo>
                  <a:lnTo>
                    <a:pt x="242" y="537"/>
                  </a:lnTo>
                  <a:lnTo>
                    <a:pt x="239" y="537"/>
                  </a:lnTo>
                  <a:lnTo>
                    <a:pt x="242" y="537"/>
                  </a:lnTo>
                  <a:lnTo>
                    <a:pt x="244" y="537"/>
                  </a:lnTo>
                  <a:lnTo>
                    <a:pt x="244" y="539"/>
                  </a:lnTo>
                  <a:lnTo>
                    <a:pt x="246" y="539"/>
                  </a:lnTo>
                  <a:lnTo>
                    <a:pt x="244" y="539"/>
                  </a:lnTo>
                  <a:lnTo>
                    <a:pt x="246" y="539"/>
                  </a:lnTo>
                  <a:lnTo>
                    <a:pt x="246" y="542"/>
                  </a:lnTo>
                  <a:lnTo>
                    <a:pt x="249" y="542"/>
                  </a:lnTo>
                  <a:lnTo>
                    <a:pt x="246" y="542"/>
                  </a:lnTo>
                  <a:lnTo>
                    <a:pt x="244" y="539"/>
                  </a:lnTo>
                  <a:lnTo>
                    <a:pt x="244" y="542"/>
                  </a:lnTo>
                  <a:lnTo>
                    <a:pt x="246" y="542"/>
                  </a:lnTo>
                  <a:lnTo>
                    <a:pt x="244" y="542"/>
                  </a:lnTo>
                  <a:lnTo>
                    <a:pt x="246" y="542"/>
                  </a:lnTo>
                  <a:lnTo>
                    <a:pt x="244" y="542"/>
                  </a:lnTo>
                  <a:lnTo>
                    <a:pt x="246" y="542"/>
                  </a:lnTo>
                  <a:lnTo>
                    <a:pt x="249" y="542"/>
                  </a:lnTo>
                  <a:lnTo>
                    <a:pt x="249" y="544"/>
                  </a:lnTo>
                  <a:lnTo>
                    <a:pt x="249" y="542"/>
                  </a:lnTo>
                  <a:lnTo>
                    <a:pt x="249" y="544"/>
                  </a:lnTo>
                  <a:lnTo>
                    <a:pt x="246" y="544"/>
                  </a:lnTo>
                  <a:lnTo>
                    <a:pt x="244" y="544"/>
                  </a:lnTo>
                  <a:lnTo>
                    <a:pt x="246" y="544"/>
                  </a:lnTo>
                  <a:lnTo>
                    <a:pt x="249" y="544"/>
                  </a:lnTo>
                  <a:lnTo>
                    <a:pt x="251" y="544"/>
                  </a:lnTo>
                  <a:lnTo>
                    <a:pt x="249" y="544"/>
                  </a:lnTo>
                  <a:lnTo>
                    <a:pt x="251" y="544"/>
                  </a:lnTo>
                  <a:lnTo>
                    <a:pt x="249" y="544"/>
                  </a:lnTo>
                  <a:lnTo>
                    <a:pt x="249" y="546"/>
                  </a:lnTo>
                  <a:lnTo>
                    <a:pt x="249" y="544"/>
                  </a:lnTo>
                  <a:lnTo>
                    <a:pt x="249" y="546"/>
                  </a:lnTo>
                  <a:lnTo>
                    <a:pt x="246" y="546"/>
                  </a:lnTo>
                  <a:lnTo>
                    <a:pt x="249" y="546"/>
                  </a:lnTo>
                  <a:lnTo>
                    <a:pt x="246" y="546"/>
                  </a:lnTo>
                  <a:lnTo>
                    <a:pt x="244" y="546"/>
                  </a:lnTo>
                  <a:lnTo>
                    <a:pt x="246" y="546"/>
                  </a:lnTo>
                  <a:lnTo>
                    <a:pt x="246" y="544"/>
                  </a:lnTo>
                  <a:lnTo>
                    <a:pt x="246" y="546"/>
                  </a:lnTo>
                  <a:lnTo>
                    <a:pt x="244" y="544"/>
                  </a:lnTo>
                  <a:lnTo>
                    <a:pt x="242" y="544"/>
                  </a:lnTo>
                  <a:lnTo>
                    <a:pt x="239" y="544"/>
                  </a:lnTo>
                  <a:lnTo>
                    <a:pt x="242" y="544"/>
                  </a:lnTo>
                  <a:lnTo>
                    <a:pt x="244" y="544"/>
                  </a:lnTo>
                  <a:lnTo>
                    <a:pt x="244" y="546"/>
                  </a:lnTo>
                  <a:lnTo>
                    <a:pt x="246" y="546"/>
                  </a:lnTo>
                  <a:lnTo>
                    <a:pt x="244" y="546"/>
                  </a:lnTo>
                  <a:lnTo>
                    <a:pt x="246" y="546"/>
                  </a:lnTo>
                  <a:lnTo>
                    <a:pt x="246" y="549"/>
                  </a:lnTo>
                  <a:lnTo>
                    <a:pt x="244" y="549"/>
                  </a:lnTo>
                  <a:lnTo>
                    <a:pt x="244" y="546"/>
                  </a:lnTo>
                  <a:lnTo>
                    <a:pt x="244" y="549"/>
                  </a:lnTo>
                  <a:lnTo>
                    <a:pt x="244" y="546"/>
                  </a:lnTo>
                  <a:lnTo>
                    <a:pt x="244" y="549"/>
                  </a:lnTo>
                  <a:lnTo>
                    <a:pt x="244" y="546"/>
                  </a:lnTo>
                  <a:lnTo>
                    <a:pt x="244" y="549"/>
                  </a:lnTo>
                  <a:lnTo>
                    <a:pt x="242" y="549"/>
                  </a:lnTo>
                  <a:lnTo>
                    <a:pt x="242" y="546"/>
                  </a:lnTo>
                  <a:lnTo>
                    <a:pt x="239" y="546"/>
                  </a:lnTo>
                  <a:lnTo>
                    <a:pt x="239" y="544"/>
                  </a:lnTo>
                  <a:lnTo>
                    <a:pt x="237" y="544"/>
                  </a:lnTo>
                  <a:lnTo>
                    <a:pt x="239" y="544"/>
                  </a:lnTo>
                  <a:lnTo>
                    <a:pt x="237" y="544"/>
                  </a:lnTo>
                  <a:lnTo>
                    <a:pt x="239" y="544"/>
                  </a:lnTo>
                  <a:lnTo>
                    <a:pt x="239" y="542"/>
                  </a:lnTo>
                  <a:lnTo>
                    <a:pt x="237" y="542"/>
                  </a:lnTo>
                  <a:lnTo>
                    <a:pt x="239" y="542"/>
                  </a:lnTo>
                  <a:lnTo>
                    <a:pt x="237" y="542"/>
                  </a:lnTo>
                  <a:lnTo>
                    <a:pt x="237" y="544"/>
                  </a:lnTo>
                  <a:lnTo>
                    <a:pt x="237" y="546"/>
                  </a:lnTo>
                  <a:lnTo>
                    <a:pt x="237" y="544"/>
                  </a:lnTo>
                  <a:lnTo>
                    <a:pt x="239" y="544"/>
                  </a:lnTo>
                  <a:lnTo>
                    <a:pt x="239" y="546"/>
                  </a:lnTo>
                  <a:lnTo>
                    <a:pt x="237" y="546"/>
                  </a:lnTo>
                  <a:lnTo>
                    <a:pt x="239" y="546"/>
                  </a:lnTo>
                  <a:lnTo>
                    <a:pt x="239" y="549"/>
                  </a:lnTo>
                  <a:lnTo>
                    <a:pt x="237" y="549"/>
                  </a:lnTo>
                  <a:lnTo>
                    <a:pt x="237" y="546"/>
                  </a:lnTo>
                  <a:lnTo>
                    <a:pt x="237" y="549"/>
                  </a:lnTo>
                  <a:lnTo>
                    <a:pt x="239" y="549"/>
                  </a:lnTo>
                  <a:lnTo>
                    <a:pt x="239" y="551"/>
                  </a:lnTo>
                  <a:lnTo>
                    <a:pt x="242" y="551"/>
                  </a:lnTo>
                  <a:lnTo>
                    <a:pt x="239" y="551"/>
                  </a:lnTo>
                  <a:lnTo>
                    <a:pt x="242" y="551"/>
                  </a:lnTo>
                  <a:lnTo>
                    <a:pt x="239" y="551"/>
                  </a:lnTo>
                  <a:lnTo>
                    <a:pt x="239" y="554"/>
                  </a:lnTo>
                  <a:lnTo>
                    <a:pt x="239" y="551"/>
                  </a:lnTo>
                  <a:lnTo>
                    <a:pt x="239" y="554"/>
                  </a:lnTo>
                  <a:lnTo>
                    <a:pt x="237" y="554"/>
                  </a:lnTo>
                  <a:lnTo>
                    <a:pt x="234" y="554"/>
                  </a:lnTo>
                  <a:lnTo>
                    <a:pt x="237" y="554"/>
                  </a:lnTo>
                  <a:lnTo>
                    <a:pt x="237" y="556"/>
                  </a:lnTo>
                  <a:lnTo>
                    <a:pt x="234" y="556"/>
                  </a:lnTo>
                  <a:lnTo>
                    <a:pt x="237" y="556"/>
                  </a:lnTo>
                  <a:lnTo>
                    <a:pt x="234" y="556"/>
                  </a:lnTo>
                  <a:lnTo>
                    <a:pt x="232" y="556"/>
                  </a:lnTo>
                  <a:lnTo>
                    <a:pt x="234" y="556"/>
                  </a:lnTo>
                  <a:lnTo>
                    <a:pt x="234" y="554"/>
                  </a:lnTo>
                  <a:lnTo>
                    <a:pt x="232" y="554"/>
                  </a:lnTo>
                  <a:lnTo>
                    <a:pt x="234" y="554"/>
                  </a:lnTo>
                  <a:lnTo>
                    <a:pt x="232" y="556"/>
                  </a:lnTo>
                  <a:lnTo>
                    <a:pt x="230" y="556"/>
                  </a:lnTo>
                  <a:lnTo>
                    <a:pt x="227" y="556"/>
                  </a:lnTo>
                  <a:lnTo>
                    <a:pt x="227" y="558"/>
                  </a:lnTo>
                  <a:lnTo>
                    <a:pt x="227" y="556"/>
                  </a:lnTo>
                  <a:lnTo>
                    <a:pt x="227" y="558"/>
                  </a:lnTo>
                  <a:lnTo>
                    <a:pt x="227" y="561"/>
                  </a:lnTo>
                  <a:lnTo>
                    <a:pt x="227" y="558"/>
                  </a:lnTo>
                  <a:lnTo>
                    <a:pt x="225" y="558"/>
                  </a:lnTo>
                  <a:lnTo>
                    <a:pt x="225" y="561"/>
                  </a:lnTo>
                  <a:lnTo>
                    <a:pt x="225" y="563"/>
                  </a:lnTo>
                  <a:lnTo>
                    <a:pt x="225" y="565"/>
                  </a:lnTo>
                  <a:lnTo>
                    <a:pt x="223" y="568"/>
                  </a:lnTo>
                  <a:lnTo>
                    <a:pt x="225" y="568"/>
                  </a:lnTo>
                  <a:lnTo>
                    <a:pt x="225" y="570"/>
                  </a:lnTo>
                  <a:lnTo>
                    <a:pt x="223" y="570"/>
                  </a:lnTo>
                  <a:lnTo>
                    <a:pt x="225" y="570"/>
                  </a:lnTo>
                  <a:lnTo>
                    <a:pt x="225" y="568"/>
                  </a:lnTo>
                  <a:lnTo>
                    <a:pt x="223" y="568"/>
                  </a:lnTo>
                  <a:lnTo>
                    <a:pt x="223" y="565"/>
                  </a:lnTo>
                  <a:lnTo>
                    <a:pt x="223" y="563"/>
                  </a:lnTo>
                  <a:lnTo>
                    <a:pt x="223" y="565"/>
                  </a:lnTo>
                  <a:lnTo>
                    <a:pt x="220" y="565"/>
                  </a:lnTo>
                  <a:lnTo>
                    <a:pt x="223" y="565"/>
                  </a:lnTo>
                  <a:lnTo>
                    <a:pt x="220" y="565"/>
                  </a:lnTo>
                  <a:lnTo>
                    <a:pt x="223" y="565"/>
                  </a:lnTo>
                  <a:lnTo>
                    <a:pt x="220" y="568"/>
                  </a:lnTo>
                  <a:lnTo>
                    <a:pt x="220" y="565"/>
                  </a:lnTo>
                  <a:lnTo>
                    <a:pt x="220" y="568"/>
                  </a:lnTo>
                  <a:lnTo>
                    <a:pt x="223" y="568"/>
                  </a:lnTo>
                  <a:lnTo>
                    <a:pt x="223" y="570"/>
                  </a:lnTo>
                  <a:lnTo>
                    <a:pt x="220" y="570"/>
                  </a:lnTo>
                  <a:lnTo>
                    <a:pt x="220" y="568"/>
                  </a:lnTo>
                  <a:lnTo>
                    <a:pt x="220" y="565"/>
                  </a:lnTo>
                  <a:lnTo>
                    <a:pt x="223" y="565"/>
                  </a:lnTo>
                  <a:lnTo>
                    <a:pt x="220" y="565"/>
                  </a:lnTo>
                  <a:lnTo>
                    <a:pt x="220" y="563"/>
                  </a:lnTo>
                  <a:lnTo>
                    <a:pt x="220" y="565"/>
                  </a:lnTo>
                  <a:lnTo>
                    <a:pt x="220" y="563"/>
                  </a:lnTo>
                  <a:lnTo>
                    <a:pt x="220" y="561"/>
                  </a:lnTo>
                  <a:lnTo>
                    <a:pt x="218" y="561"/>
                  </a:lnTo>
                  <a:lnTo>
                    <a:pt x="220" y="563"/>
                  </a:lnTo>
                  <a:lnTo>
                    <a:pt x="218" y="563"/>
                  </a:lnTo>
                  <a:lnTo>
                    <a:pt x="220" y="563"/>
                  </a:lnTo>
                  <a:lnTo>
                    <a:pt x="220" y="565"/>
                  </a:lnTo>
                  <a:lnTo>
                    <a:pt x="218" y="565"/>
                  </a:lnTo>
                  <a:lnTo>
                    <a:pt x="220" y="565"/>
                  </a:lnTo>
                  <a:lnTo>
                    <a:pt x="218" y="565"/>
                  </a:lnTo>
                  <a:lnTo>
                    <a:pt x="218" y="563"/>
                  </a:lnTo>
                  <a:lnTo>
                    <a:pt x="218" y="565"/>
                  </a:lnTo>
                  <a:lnTo>
                    <a:pt x="218" y="563"/>
                  </a:lnTo>
                  <a:lnTo>
                    <a:pt x="218" y="561"/>
                  </a:lnTo>
                  <a:lnTo>
                    <a:pt x="218" y="558"/>
                  </a:lnTo>
                  <a:lnTo>
                    <a:pt x="218" y="556"/>
                  </a:lnTo>
                  <a:lnTo>
                    <a:pt x="218" y="554"/>
                  </a:lnTo>
                  <a:lnTo>
                    <a:pt x="220" y="554"/>
                  </a:lnTo>
                  <a:lnTo>
                    <a:pt x="218" y="554"/>
                  </a:lnTo>
                  <a:lnTo>
                    <a:pt x="218" y="556"/>
                  </a:lnTo>
                  <a:lnTo>
                    <a:pt x="216" y="556"/>
                  </a:lnTo>
                  <a:lnTo>
                    <a:pt x="216" y="554"/>
                  </a:lnTo>
                  <a:lnTo>
                    <a:pt x="218" y="554"/>
                  </a:lnTo>
                  <a:lnTo>
                    <a:pt x="216" y="554"/>
                  </a:lnTo>
                  <a:lnTo>
                    <a:pt x="216" y="551"/>
                  </a:lnTo>
                  <a:lnTo>
                    <a:pt x="216" y="549"/>
                  </a:lnTo>
                  <a:lnTo>
                    <a:pt x="216" y="551"/>
                  </a:lnTo>
                  <a:lnTo>
                    <a:pt x="216" y="554"/>
                  </a:lnTo>
                  <a:lnTo>
                    <a:pt x="216" y="556"/>
                  </a:lnTo>
                  <a:lnTo>
                    <a:pt x="213" y="556"/>
                  </a:lnTo>
                  <a:lnTo>
                    <a:pt x="216" y="556"/>
                  </a:lnTo>
                  <a:lnTo>
                    <a:pt x="213" y="556"/>
                  </a:lnTo>
                  <a:lnTo>
                    <a:pt x="213" y="558"/>
                  </a:lnTo>
                  <a:lnTo>
                    <a:pt x="213" y="556"/>
                  </a:lnTo>
                  <a:lnTo>
                    <a:pt x="213" y="558"/>
                  </a:lnTo>
                  <a:lnTo>
                    <a:pt x="213" y="561"/>
                  </a:lnTo>
                  <a:lnTo>
                    <a:pt x="216" y="561"/>
                  </a:lnTo>
                  <a:lnTo>
                    <a:pt x="216" y="558"/>
                  </a:lnTo>
                  <a:lnTo>
                    <a:pt x="213" y="558"/>
                  </a:lnTo>
                  <a:lnTo>
                    <a:pt x="216" y="558"/>
                  </a:lnTo>
                  <a:lnTo>
                    <a:pt x="216" y="556"/>
                  </a:lnTo>
                  <a:lnTo>
                    <a:pt x="216" y="558"/>
                  </a:lnTo>
                  <a:lnTo>
                    <a:pt x="218" y="558"/>
                  </a:lnTo>
                  <a:lnTo>
                    <a:pt x="218" y="561"/>
                  </a:lnTo>
                  <a:lnTo>
                    <a:pt x="216" y="561"/>
                  </a:lnTo>
                  <a:lnTo>
                    <a:pt x="218" y="561"/>
                  </a:lnTo>
                  <a:lnTo>
                    <a:pt x="216" y="561"/>
                  </a:lnTo>
                  <a:lnTo>
                    <a:pt x="218" y="561"/>
                  </a:lnTo>
                  <a:lnTo>
                    <a:pt x="216" y="561"/>
                  </a:lnTo>
                  <a:lnTo>
                    <a:pt x="216" y="563"/>
                  </a:lnTo>
                  <a:lnTo>
                    <a:pt x="218" y="563"/>
                  </a:lnTo>
                  <a:lnTo>
                    <a:pt x="216" y="563"/>
                  </a:lnTo>
                  <a:lnTo>
                    <a:pt x="216" y="565"/>
                  </a:lnTo>
                  <a:lnTo>
                    <a:pt x="216" y="563"/>
                  </a:lnTo>
                  <a:lnTo>
                    <a:pt x="216" y="561"/>
                  </a:lnTo>
                  <a:lnTo>
                    <a:pt x="213" y="561"/>
                  </a:lnTo>
                  <a:lnTo>
                    <a:pt x="216" y="561"/>
                  </a:lnTo>
                  <a:lnTo>
                    <a:pt x="213" y="563"/>
                  </a:lnTo>
                  <a:lnTo>
                    <a:pt x="213" y="561"/>
                  </a:lnTo>
                  <a:lnTo>
                    <a:pt x="213" y="563"/>
                  </a:lnTo>
                  <a:lnTo>
                    <a:pt x="213" y="561"/>
                  </a:lnTo>
                  <a:lnTo>
                    <a:pt x="213" y="563"/>
                  </a:lnTo>
                  <a:lnTo>
                    <a:pt x="213" y="561"/>
                  </a:lnTo>
                  <a:lnTo>
                    <a:pt x="213" y="563"/>
                  </a:lnTo>
                  <a:lnTo>
                    <a:pt x="213" y="565"/>
                  </a:lnTo>
                  <a:lnTo>
                    <a:pt x="211" y="565"/>
                  </a:lnTo>
                  <a:lnTo>
                    <a:pt x="213" y="565"/>
                  </a:lnTo>
                  <a:lnTo>
                    <a:pt x="211" y="565"/>
                  </a:lnTo>
                  <a:lnTo>
                    <a:pt x="213" y="568"/>
                  </a:lnTo>
                  <a:lnTo>
                    <a:pt x="213" y="565"/>
                  </a:lnTo>
                  <a:lnTo>
                    <a:pt x="213" y="568"/>
                  </a:lnTo>
                  <a:lnTo>
                    <a:pt x="211" y="568"/>
                  </a:lnTo>
                  <a:lnTo>
                    <a:pt x="213" y="568"/>
                  </a:lnTo>
                  <a:lnTo>
                    <a:pt x="211" y="568"/>
                  </a:lnTo>
                  <a:lnTo>
                    <a:pt x="211" y="565"/>
                  </a:lnTo>
                  <a:lnTo>
                    <a:pt x="208" y="565"/>
                  </a:lnTo>
                  <a:lnTo>
                    <a:pt x="208" y="568"/>
                  </a:lnTo>
                  <a:lnTo>
                    <a:pt x="208" y="565"/>
                  </a:lnTo>
                  <a:lnTo>
                    <a:pt x="211" y="568"/>
                  </a:lnTo>
                  <a:lnTo>
                    <a:pt x="208" y="568"/>
                  </a:lnTo>
                  <a:lnTo>
                    <a:pt x="211" y="568"/>
                  </a:lnTo>
                  <a:lnTo>
                    <a:pt x="208" y="568"/>
                  </a:lnTo>
                  <a:lnTo>
                    <a:pt x="208" y="570"/>
                  </a:lnTo>
                  <a:lnTo>
                    <a:pt x="208" y="568"/>
                  </a:lnTo>
                  <a:lnTo>
                    <a:pt x="208" y="570"/>
                  </a:lnTo>
                  <a:lnTo>
                    <a:pt x="211" y="570"/>
                  </a:lnTo>
                  <a:lnTo>
                    <a:pt x="208" y="570"/>
                  </a:lnTo>
                  <a:lnTo>
                    <a:pt x="206" y="570"/>
                  </a:lnTo>
                  <a:lnTo>
                    <a:pt x="206" y="573"/>
                  </a:lnTo>
                  <a:lnTo>
                    <a:pt x="204" y="573"/>
                  </a:lnTo>
                  <a:lnTo>
                    <a:pt x="204" y="575"/>
                  </a:lnTo>
                  <a:lnTo>
                    <a:pt x="201" y="575"/>
                  </a:lnTo>
                  <a:lnTo>
                    <a:pt x="201" y="573"/>
                  </a:lnTo>
                  <a:lnTo>
                    <a:pt x="199" y="573"/>
                  </a:lnTo>
                  <a:lnTo>
                    <a:pt x="201" y="573"/>
                  </a:lnTo>
                  <a:lnTo>
                    <a:pt x="199" y="573"/>
                  </a:lnTo>
                  <a:lnTo>
                    <a:pt x="201" y="573"/>
                  </a:lnTo>
                  <a:lnTo>
                    <a:pt x="199" y="573"/>
                  </a:lnTo>
                  <a:lnTo>
                    <a:pt x="199" y="575"/>
                  </a:lnTo>
                  <a:lnTo>
                    <a:pt x="199" y="573"/>
                  </a:lnTo>
                  <a:lnTo>
                    <a:pt x="199" y="575"/>
                  </a:lnTo>
                  <a:lnTo>
                    <a:pt x="199" y="573"/>
                  </a:lnTo>
                  <a:lnTo>
                    <a:pt x="199" y="575"/>
                  </a:lnTo>
                  <a:lnTo>
                    <a:pt x="199" y="573"/>
                  </a:lnTo>
                  <a:lnTo>
                    <a:pt x="197" y="573"/>
                  </a:lnTo>
                  <a:lnTo>
                    <a:pt x="194" y="573"/>
                  </a:lnTo>
                  <a:lnTo>
                    <a:pt x="197" y="573"/>
                  </a:lnTo>
                  <a:lnTo>
                    <a:pt x="197" y="575"/>
                  </a:lnTo>
                  <a:lnTo>
                    <a:pt x="194" y="575"/>
                  </a:lnTo>
                  <a:lnTo>
                    <a:pt x="197" y="575"/>
                  </a:lnTo>
                  <a:lnTo>
                    <a:pt x="194" y="575"/>
                  </a:lnTo>
                  <a:lnTo>
                    <a:pt x="197" y="575"/>
                  </a:lnTo>
                  <a:lnTo>
                    <a:pt x="199" y="575"/>
                  </a:lnTo>
                  <a:lnTo>
                    <a:pt x="199" y="577"/>
                  </a:lnTo>
                  <a:lnTo>
                    <a:pt x="197" y="577"/>
                  </a:lnTo>
                  <a:lnTo>
                    <a:pt x="194" y="577"/>
                  </a:lnTo>
                  <a:lnTo>
                    <a:pt x="197" y="577"/>
                  </a:lnTo>
                  <a:lnTo>
                    <a:pt x="194" y="577"/>
                  </a:lnTo>
                  <a:lnTo>
                    <a:pt x="194" y="575"/>
                  </a:lnTo>
                  <a:lnTo>
                    <a:pt x="194" y="577"/>
                  </a:lnTo>
                  <a:lnTo>
                    <a:pt x="192" y="577"/>
                  </a:lnTo>
                  <a:lnTo>
                    <a:pt x="194" y="577"/>
                  </a:lnTo>
                  <a:lnTo>
                    <a:pt x="194" y="580"/>
                  </a:lnTo>
                  <a:lnTo>
                    <a:pt x="192" y="580"/>
                  </a:lnTo>
                  <a:lnTo>
                    <a:pt x="189" y="580"/>
                  </a:lnTo>
                  <a:lnTo>
                    <a:pt x="187" y="580"/>
                  </a:lnTo>
                  <a:lnTo>
                    <a:pt x="185" y="580"/>
                  </a:lnTo>
                  <a:lnTo>
                    <a:pt x="182" y="580"/>
                  </a:lnTo>
                  <a:lnTo>
                    <a:pt x="182" y="577"/>
                  </a:lnTo>
                  <a:lnTo>
                    <a:pt x="180" y="577"/>
                  </a:lnTo>
                  <a:lnTo>
                    <a:pt x="178" y="577"/>
                  </a:lnTo>
                  <a:lnTo>
                    <a:pt x="175" y="577"/>
                  </a:lnTo>
                  <a:lnTo>
                    <a:pt x="173" y="577"/>
                  </a:lnTo>
                  <a:lnTo>
                    <a:pt x="170" y="577"/>
                  </a:lnTo>
                  <a:lnTo>
                    <a:pt x="168" y="577"/>
                  </a:lnTo>
                  <a:lnTo>
                    <a:pt x="170" y="577"/>
                  </a:lnTo>
                  <a:lnTo>
                    <a:pt x="168" y="580"/>
                  </a:lnTo>
                  <a:lnTo>
                    <a:pt x="168" y="577"/>
                  </a:lnTo>
                  <a:lnTo>
                    <a:pt x="166" y="577"/>
                  </a:lnTo>
                  <a:lnTo>
                    <a:pt x="166" y="580"/>
                  </a:lnTo>
                  <a:lnTo>
                    <a:pt x="168" y="580"/>
                  </a:lnTo>
                  <a:lnTo>
                    <a:pt x="170" y="580"/>
                  </a:lnTo>
                  <a:lnTo>
                    <a:pt x="173" y="580"/>
                  </a:lnTo>
                  <a:lnTo>
                    <a:pt x="170" y="580"/>
                  </a:lnTo>
                  <a:lnTo>
                    <a:pt x="173" y="580"/>
                  </a:lnTo>
                  <a:lnTo>
                    <a:pt x="173" y="582"/>
                  </a:lnTo>
                  <a:lnTo>
                    <a:pt x="175" y="582"/>
                  </a:lnTo>
                  <a:lnTo>
                    <a:pt x="175" y="580"/>
                  </a:lnTo>
                  <a:lnTo>
                    <a:pt x="175" y="577"/>
                  </a:lnTo>
                  <a:lnTo>
                    <a:pt x="178" y="580"/>
                  </a:lnTo>
                  <a:lnTo>
                    <a:pt x="180" y="580"/>
                  </a:lnTo>
                  <a:lnTo>
                    <a:pt x="178" y="580"/>
                  </a:lnTo>
                  <a:lnTo>
                    <a:pt x="180" y="580"/>
                  </a:lnTo>
                  <a:lnTo>
                    <a:pt x="178" y="580"/>
                  </a:lnTo>
                  <a:lnTo>
                    <a:pt x="180" y="580"/>
                  </a:lnTo>
                  <a:lnTo>
                    <a:pt x="182" y="580"/>
                  </a:lnTo>
                  <a:lnTo>
                    <a:pt x="185" y="580"/>
                  </a:lnTo>
                  <a:lnTo>
                    <a:pt x="185" y="582"/>
                  </a:lnTo>
                  <a:lnTo>
                    <a:pt x="185" y="580"/>
                  </a:lnTo>
                  <a:lnTo>
                    <a:pt x="187" y="580"/>
                  </a:lnTo>
                  <a:lnTo>
                    <a:pt x="187" y="582"/>
                  </a:lnTo>
                  <a:lnTo>
                    <a:pt x="189" y="582"/>
                  </a:lnTo>
                  <a:lnTo>
                    <a:pt x="189" y="584"/>
                  </a:lnTo>
                  <a:lnTo>
                    <a:pt x="187" y="584"/>
                  </a:lnTo>
                  <a:lnTo>
                    <a:pt x="189" y="584"/>
                  </a:lnTo>
                  <a:lnTo>
                    <a:pt x="192" y="584"/>
                  </a:lnTo>
                  <a:lnTo>
                    <a:pt x="192" y="587"/>
                  </a:lnTo>
                  <a:lnTo>
                    <a:pt x="189" y="587"/>
                  </a:lnTo>
                  <a:lnTo>
                    <a:pt x="189" y="589"/>
                  </a:lnTo>
                  <a:lnTo>
                    <a:pt x="187" y="589"/>
                  </a:lnTo>
                  <a:lnTo>
                    <a:pt x="185" y="589"/>
                  </a:lnTo>
                  <a:lnTo>
                    <a:pt x="182" y="589"/>
                  </a:lnTo>
                  <a:lnTo>
                    <a:pt x="180" y="589"/>
                  </a:lnTo>
                  <a:lnTo>
                    <a:pt x="180" y="587"/>
                  </a:lnTo>
                  <a:lnTo>
                    <a:pt x="178" y="587"/>
                  </a:lnTo>
                  <a:lnTo>
                    <a:pt x="175" y="587"/>
                  </a:lnTo>
                  <a:lnTo>
                    <a:pt x="178" y="587"/>
                  </a:lnTo>
                  <a:lnTo>
                    <a:pt x="175" y="587"/>
                  </a:lnTo>
                  <a:lnTo>
                    <a:pt x="178" y="587"/>
                  </a:lnTo>
                  <a:lnTo>
                    <a:pt x="178" y="589"/>
                  </a:lnTo>
                  <a:lnTo>
                    <a:pt x="180" y="589"/>
                  </a:lnTo>
                  <a:lnTo>
                    <a:pt x="182" y="589"/>
                  </a:lnTo>
                  <a:lnTo>
                    <a:pt x="182" y="592"/>
                  </a:lnTo>
                  <a:lnTo>
                    <a:pt x="185" y="592"/>
                  </a:lnTo>
                  <a:lnTo>
                    <a:pt x="185" y="594"/>
                  </a:lnTo>
                  <a:lnTo>
                    <a:pt x="185" y="592"/>
                  </a:lnTo>
                  <a:lnTo>
                    <a:pt x="185" y="594"/>
                  </a:lnTo>
                  <a:lnTo>
                    <a:pt x="185" y="592"/>
                  </a:lnTo>
                  <a:lnTo>
                    <a:pt x="187" y="592"/>
                  </a:lnTo>
                  <a:lnTo>
                    <a:pt x="187" y="594"/>
                  </a:lnTo>
                  <a:lnTo>
                    <a:pt x="185" y="594"/>
                  </a:lnTo>
                  <a:lnTo>
                    <a:pt x="182" y="594"/>
                  </a:lnTo>
                  <a:lnTo>
                    <a:pt x="185" y="594"/>
                  </a:lnTo>
                  <a:lnTo>
                    <a:pt x="185" y="596"/>
                  </a:lnTo>
                  <a:lnTo>
                    <a:pt x="187" y="594"/>
                  </a:lnTo>
                  <a:lnTo>
                    <a:pt x="187" y="596"/>
                  </a:lnTo>
                  <a:lnTo>
                    <a:pt x="189" y="596"/>
                  </a:lnTo>
                  <a:lnTo>
                    <a:pt x="189" y="599"/>
                  </a:lnTo>
                  <a:lnTo>
                    <a:pt x="189" y="596"/>
                  </a:lnTo>
                  <a:lnTo>
                    <a:pt x="189" y="599"/>
                  </a:lnTo>
                  <a:lnTo>
                    <a:pt x="187" y="599"/>
                  </a:lnTo>
                  <a:lnTo>
                    <a:pt x="189" y="599"/>
                  </a:lnTo>
                  <a:lnTo>
                    <a:pt x="189" y="596"/>
                  </a:lnTo>
                  <a:lnTo>
                    <a:pt x="189" y="599"/>
                  </a:lnTo>
                  <a:lnTo>
                    <a:pt x="187" y="599"/>
                  </a:lnTo>
                  <a:lnTo>
                    <a:pt x="187" y="596"/>
                  </a:lnTo>
                  <a:lnTo>
                    <a:pt x="189" y="596"/>
                  </a:lnTo>
                  <a:lnTo>
                    <a:pt x="187" y="596"/>
                  </a:lnTo>
                  <a:lnTo>
                    <a:pt x="189" y="596"/>
                  </a:lnTo>
                  <a:lnTo>
                    <a:pt x="187" y="596"/>
                  </a:lnTo>
                  <a:lnTo>
                    <a:pt x="185" y="596"/>
                  </a:lnTo>
                  <a:lnTo>
                    <a:pt x="187" y="596"/>
                  </a:lnTo>
                  <a:lnTo>
                    <a:pt x="187" y="599"/>
                  </a:lnTo>
                  <a:lnTo>
                    <a:pt x="185" y="599"/>
                  </a:lnTo>
                  <a:lnTo>
                    <a:pt x="185" y="596"/>
                  </a:lnTo>
                  <a:lnTo>
                    <a:pt x="185" y="599"/>
                  </a:lnTo>
                  <a:lnTo>
                    <a:pt x="185" y="596"/>
                  </a:lnTo>
                  <a:lnTo>
                    <a:pt x="185" y="599"/>
                  </a:lnTo>
                  <a:lnTo>
                    <a:pt x="187" y="599"/>
                  </a:lnTo>
                  <a:lnTo>
                    <a:pt x="187" y="601"/>
                  </a:lnTo>
                  <a:lnTo>
                    <a:pt x="189" y="601"/>
                  </a:lnTo>
                  <a:lnTo>
                    <a:pt x="189" y="603"/>
                  </a:lnTo>
                  <a:lnTo>
                    <a:pt x="187" y="603"/>
                  </a:lnTo>
                  <a:lnTo>
                    <a:pt x="187" y="606"/>
                  </a:lnTo>
                  <a:lnTo>
                    <a:pt x="185" y="606"/>
                  </a:lnTo>
                  <a:lnTo>
                    <a:pt x="187" y="606"/>
                  </a:lnTo>
                  <a:lnTo>
                    <a:pt x="185" y="606"/>
                  </a:lnTo>
                  <a:lnTo>
                    <a:pt x="185" y="603"/>
                  </a:lnTo>
                  <a:lnTo>
                    <a:pt x="182" y="603"/>
                  </a:lnTo>
                  <a:lnTo>
                    <a:pt x="182" y="601"/>
                  </a:lnTo>
                  <a:lnTo>
                    <a:pt x="180" y="601"/>
                  </a:lnTo>
                  <a:lnTo>
                    <a:pt x="182" y="601"/>
                  </a:lnTo>
                  <a:lnTo>
                    <a:pt x="182" y="603"/>
                  </a:lnTo>
                  <a:lnTo>
                    <a:pt x="185" y="606"/>
                  </a:lnTo>
                  <a:lnTo>
                    <a:pt x="185" y="603"/>
                  </a:lnTo>
                  <a:lnTo>
                    <a:pt x="185" y="606"/>
                  </a:lnTo>
                  <a:lnTo>
                    <a:pt x="182" y="606"/>
                  </a:lnTo>
                  <a:lnTo>
                    <a:pt x="185" y="606"/>
                  </a:lnTo>
                  <a:lnTo>
                    <a:pt x="182" y="606"/>
                  </a:lnTo>
                  <a:lnTo>
                    <a:pt x="182" y="603"/>
                  </a:lnTo>
                  <a:lnTo>
                    <a:pt x="182" y="606"/>
                  </a:lnTo>
                  <a:lnTo>
                    <a:pt x="182" y="603"/>
                  </a:lnTo>
                  <a:lnTo>
                    <a:pt x="182" y="606"/>
                  </a:lnTo>
                  <a:lnTo>
                    <a:pt x="185" y="606"/>
                  </a:lnTo>
                  <a:lnTo>
                    <a:pt x="185" y="608"/>
                  </a:lnTo>
                  <a:lnTo>
                    <a:pt x="185" y="606"/>
                  </a:lnTo>
                  <a:lnTo>
                    <a:pt x="185" y="608"/>
                  </a:lnTo>
                  <a:lnTo>
                    <a:pt x="187" y="608"/>
                  </a:lnTo>
                  <a:lnTo>
                    <a:pt x="187" y="611"/>
                  </a:lnTo>
                  <a:lnTo>
                    <a:pt x="187" y="608"/>
                  </a:lnTo>
                  <a:lnTo>
                    <a:pt x="185" y="608"/>
                  </a:lnTo>
                  <a:lnTo>
                    <a:pt x="187" y="608"/>
                  </a:lnTo>
                  <a:lnTo>
                    <a:pt x="185" y="608"/>
                  </a:lnTo>
                  <a:lnTo>
                    <a:pt x="182" y="608"/>
                  </a:lnTo>
                  <a:lnTo>
                    <a:pt x="185" y="608"/>
                  </a:lnTo>
                  <a:lnTo>
                    <a:pt x="185" y="611"/>
                  </a:lnTo>
                  <a:lnTo>
                    <a:pt x="187" y="611"/>
                  </a:lnTo>
                  <a:lnTo>
                    <a:pt x="185" y="611"/>
                  </a:lnTo>
                  <a:lnTo>
                    <a:pt x="187" y="611"/>
                  </a:lnTo>
                  <a:lnTo>
                    <a:pt x="185" y="611"/>
                  </a:lnTo>
                  <a:lnTo>
                    <a:pt x="187" y="611"/>
                  </a:lnTo>
                  <a:lnTo>
                    <a:pt x="185" y="611"/>
                  </a:lnTo>
                  <a:lnTo>
                    <a:pt x="182" y="611"/>
                  </a:lnTo>
                  <a:lnTo>
                    <a:pt x="185" y="611"/>
                  </a:lnTo>
                  <a:lnTo>
                    <a:pt x="182" y="611"/>
                  </a:lnTo>
                  <a:lnTo>
                    <a:pt x="185" y="611"/>
                  </a:lnTo>
                  <a:lnTo>
                    <a:pt x="185" y="613"/>
                  </a:lnTo>
                  <a:lnTo>
                    <a:pt x="182" y="613"/>
                  </a:lnTo>
                  <a:lnTo>
                    <a:pt x="182" y="611"/>
                  </a:lnTo>
                  <a:lnTo>
                    <a:pt x="182" y="608"/>
                  </a:lnTo>
                  <a:lnTo>
                    <a:pt x="182" y="611"/>
                  </a:lnTo>
                  <a:lnTo>
                    <a:pt x="182" y="613"/>
                  </a:lnTo>
                  <a:lnTo>
                    <a:pt x="180" y="613"/>
                  </a:lnTo>
                  <a:lnTo>
                    <a:pt x="182" y="613"/>
                  </a:lnTo>
                  <a:lnTo>
                    <a:pt x="185" y="613"/>
                  </a:lnTo>
                  <a:lnTo>
                    <a:pt x="185" y="615"/>
                  </a:lnTo>
                  <a:lnTo>
                    <a:pt x="185" y="613"/>
                  </a:lnTo>
                  <a:lnTo>
                    <a:pt x="185" y="611"/>
                  </a:lnTo>
                  <a:lnTo>
                    <a:pt x="187" y="611"/>
                  </a:lnTo>
                  <a:lnTo>
                    <a:pt x="187" y="613"/>
                  </a:lnTo>
                  <a:lnTo>
                    <a:pt x="185" y="613"/>
                  </a:lnTo>
                  <a:lnTo>
                    <a:pt x="187" y="615"/>
                  </a:lnTo>
                  <a:lnTo>
                    <a:pt x="185" y="615"/>
                  </a:lnTo>
                  <a:lnTo>
                    <a:pt x="187" y="615"/>
                  </a:lnTo>
                  <a:lnTo>
                    <a:pt x="185" y="615"/>
                  </a:lnTo>
                  <a:lnTo>
                    <a:pt x="187" y="615"/>
                  </a:lnTo>
                  <a:lnTo>
                    <a:pt x="185" y="615"/>
                  </a:lnTo>
                  <a:lnTo>
                    <a:pt x="187" y="615"/>
                  </a:lnTo>
                  <a:lnTo>
                    <a:pt x="185" y="615"/>
                  </a:lnTo>
                  <a:lnTo>
                    <a:pt x="185" y="618"/>
                  </a:lnTo>
                  <a:lnTo>
                    <a:pt x="187" y="618"/>
                  </a:lnTo>
                  <a:lnTo>
                    <a:pt x="187" y="615"/>
                  </a:lnTo>
                  <a:lnTo>
                    <a:pt x="187" y="618"/>
                  </a:lnTo>
                  <a:lnTo>
                    <a:pt x="185" y="618"/>
                  </a:lnTo>
                  <a:lnTo>
                    <a:pt x="187" y="618"/>
                  </a:lnTo>
                  <a:lnTo>
                    <a:pt x="185" y="618"/>
                  </a:lnTo>
                  <a:lnTo>
                    <a:pt x="187" y="618"/>
                  </a:lnTo>
                  <a:lnTo>
                    <a:pt x="187" y="620"/>
                  </a:lnTo>
                  <a:lnTo>
                    <a:pt x="187" y="618"/>
                  </a:lnTo>
                  <a:lnTo>
                    <a:pt x="187" y="620"/>
                  </a:lnTo>
                  <a:lnTo>
                    <a:pt x="185" y="620"/>
                  </a:lnTo>
                  <a:lnTo>
                    <a:pt x="185" y="618"/>
                  </a:lnTo>
                  <a:lnTo>
                    <a:pt x="182" y="618"/>
                  </a:lnTo>
                  <a:lnTo>
                    <a:pt x="185" y="618"/>
                  </a:lnTo>
                  <a:lnTo>
                    <a:pt x="182" y="618"/>
                  </a:lnTo>
                  <a:lnTo>
                    <a:pt x="180" y="618"/>
                  </a:lnTo>
                  <a:lnTo>
                    <a:pt x="180" y="615"/>
                  </a:lnTo>
                  <a:lnTo>
                    <a:pt x="182" y="615"/>
                  </a:lnTo>
                  <a:lnTo>
                    <a:pt x="180" y="615"/>
                  </a:lnTo>
                  <a:lnTo>
                    <a:pt x="180" y="613"/>
                  </a:lnTo>
                  <a:lnTo>
                    <a:pt x="178" y="613"/>
                  </a:lnTo>
                  <a:lnTo>
                    <a:pt x="178" y="615"/>
                  </a:lnTo>
                  <a:lnTo>
                    <a:pt x="180" y="615"/>
                  </a:lnTo>
                  <a:lnTo>
                    <a:pt x="180" y="618"/>
                  </a:lnTo>
                  <a:lnTo>
                    <a:pt x="178" y="618"/>
                  </a:lnTo>
                  <a:lnTo>
                    <a:pt x="180" y="618"/>
                  </a:lnTo>
                  <a:lnTo>
                    <a:pt x="178" y="618"/>
                  </a:lnTo>
                  <a:lnTo>
                    <a:pt x="178" y="615"/>
                  </a:lnTo>
                  <a:lnTo>
                    <a:pt x="175" y="615"/>
                  </a:lnTo>
                  <a:lnTo>
                    <a:pt x="175" y="618"/>
                  </a:lnTo>
                  <a:lnTo>
                    <a:pt x="178" y="618"/>
                  </a:lnTo>
                  <a:lnTo>
                    <a:pt x="175" y="618"/>
                  </a:lnTo>
                  <a:lnTo>
                    <a:pt x="178" y="618"/>
                  </a:lnTo>
                  <a:lnTo>
                    <a:pt x="178" y="620"/>
                  </a:lnTo>
                  <a:lnTo>
                    <a:pt x="180" y="620"/>
                  </a:lnTo>
                  <a:lnTo>
                    <a:pt x="182" y="623"/>
                  </a:lnTo>
                  <a:lnTo>
                    <a:pt x="182" y="625"/>
                  </a:lnTo>
                  <a:lnTo>
                    <a:pt x="185" y="625"/>
                  </a:lnTo>
                  <a:lnTo>
                    <a:pt x="182" y="625"/>
                  </a:lnTo>
                  <a:lnTo>
                    <a:pt x="182" y="623"/>
                  </a:lnTo>
                  <a:lnTo>
                    <a:pt x="180" y="623"/>
                  </a:lnTo>
                  <a:lnTo>
                    <a:pt x="180" y="620"/>
                  </a:lnTo>
                  <a:lnTo>
                    <a:pt x="178" y="620"/>
                  </a:lnTo>
                  <a:lnTo>
                    <a:pt x="175" y="620"/>
                  </a:lnTo>
                  <a:lnTo>
                    <a:pt x="175" y="618"/>
                  </a:lnTo>
                  <a:lnTo>
                    <a:pt x="173" y="618"/>
                  </a:lnTo>
                  <a:lnTo>
                    <a:pt x="175" y="618"/>
                  </a:lnTo>
                  <a:lnTo>
                    <a:pt x="175" y="620"/>
                  </a:lnTo>
                  <a:lnTo>
                    <a:pt x="178" y="620"/>
                  </a:lnTo>
                  <a:lnTo>
                    <a:pt x="175" y="620"/>
                  </a:lnTo>
                  <a:lnTo>
                    <a:pt x="178" y="620"/>
                  </a:lnTo>
                  <a:lnTo>
                    <a:pt x="180" y="623"/>
                  </a:lnTo>
                  <a:lnTo>
                    <a:pt x="180" y="625"/>
                  </a:lnTo>
                  <a:lnTo>
                    <a:pt x="182" y="625"/>
                  </a:lnTo>
                  <a:lnTo>
                    <a:pt x="182" y="627"/>
                  </a:lnTo>
                  <a:lnTo>
                    <a:pt x="182" y="625"/>
                  </a:lnTo>
                  <a:lnTo>
                    <a:pt x="182" y="627"/>
                  </a:lnTo>
                  <a:lnTo>
                    <a:pt x="185" y="627"/>
                  </a:lnTo>
                  <a:lnTo>
                    <a:pt x="182" y="625"/>
                  </a:lnTo>
                  <a:lnTo>
                    <a:pt x="185" y="625"/>
                  </a:lnTo>
                  <a:lnTo>
                    <a:pt x="185" y="627"/>
                  </a:lnTo>
                  <a:lnTo>
                    <a:pt x="185" y="625"/>
                  </a:lnTo>
                  <a:lnTo>
                    <a:pt x="185" y="627"/>
                  </a:lnTo>
                  <a:lnTo>
                    <a:pt x="182" y="627"/>
                  </a:lnTo>
                  <a:lnTo>
                    <a:pt x="185" y="627"/>
                  </a:lnTo>
                  <a:lnTo>
                    <a:pt x="185" y="630"/>
                  </a:lnTo>
                  <a:lnTo>
                    <a:pt x="185" y="627"/>
                  </a:lnTo>
                  <a:lnTo>
                    <a:pt x="185" y="630"/>
                  </a:lnTo>
                  <a:lnTo>
                    <a:pt x="185" y="627"/>
                  </a:lnTo>
                  <a:lnTo>
                    <a:pt x="182" y="627"/>
                  </a:lnTo>
                  <a:lnTo>
                    <a:pt x="182" y="630"/>
                  </a:lnTo>
                  <a:lnTo>
                    <a:pt x="182" y="627"/>
                  </a:lnTo>
                  <a:lnTo>
                    <a:pt x="180" y="627"/>
                  </a:lnTo>
                  <a:lnTo>
                    <a:pt x="180" y="625"/>
                  </a:lnTo>
                  <a:lnTo>
                    <a:pt x="180" y="627"/>
                  </a:lnTo>
                  <a:lnTo>
                    <a:pt x="178" y="625"/>
                  </a:lnTo>
                  <a:lnTo>
                    <a:pt x="178" y="627"/>
                  </a:lnTo>
                  <a:lnTo>
                    <a:pt x="180" y="627"/>
                  </a:lnTo>
                  <a:lnTo>
                    <a:pt x="182" y="630"/>
                  </a:lnTo>
                  <a:lnTo>
                    <a:pt x="180" y="630"/>
                  </a:lnTo>
                  <a:lnTo>
                    <a:pt x="182" y="630"/>
                  </a:lnTo>
                  <a:lnTo>
                    <a:pt x="182" y="632"/>
                  </a:lnTo>
                  <a:lnTo>
                    <a:pt x="180" y="632"/>
                  </a:lnTo>
                  <a:lnTo>
                    <a:pt x="182" y="632"/>
                  </a:lnTo>
                  <a:lnTo>
                    <a:pt x="182" y="634"/>
                  </a:lnTo>
                  <a:lnTo>
                    <a:pt x="180" y="634"/>
                  </a:lnTo>
                  <a:lnTo>
                    <a:pt x="180" y="632"/>
                  </a:lnTo>
                  <a:lnTo>
                    <a:pt x="180" y="634"/>
                  </a:lnTo>
                  <a:lnTo>
                    <a:pt x="180" y="632"/>
                  </a:lnTo>
                  <a:lnTo>
                    <a:pt x="178" y="632"/>
                  </a:lnTo>
                  <a:lnTo>
                    <a:pt x="180" y="632"/>
                  </a:lnTo>
                  <a:lnTo>
                    <a:pt x="178" y="632"/>
                  </a:lnTo>
                  <a:lnTo>
                    <a:pt x="178" y="634"/>
                  </a:lnTo>
                  <a:lnTo>
                    <a:pt x="178" y="632"/>
                  </a:lnTo>
                  <a:lnTo>
                    <a:pt x="178" y="634"/>
                  </a:lnTo>
                  <a:lnTo>
                    <a:pt x="180" y="634"/>
                  </a:lnTo>
                  <a:lnTo>
                    <a:pt x="178" y="634"/>
                  </a:lnTo>
                  <a:lnTo>
                    <a:pt x="180" y="634"/>
                  </a:lnTo>
                  <a:lnTo>
                    <a:pt x="180" y="637"/>
                  </a:lnTo>
                  <a:lnTo>
                    <a:pt x="180" y="634"/>
                  </a:lnTo>
                  <a:lnTo>
                    <a:pt x="182" y="634"/>
                  </a:lnTo>
                  <a:lnTo>
                    <a:pt x="182" y="637"/>
                  </a:lnTo>
                  <a:lnTo>
                    <a:pt x="182" y="639"/>
                  </a:lnTo>
                  <a:lnTo>
                    <a:pt x="185" y="639"/>
                  </a:lnTo>
                  <a:lnTo>
                    <a:pt x="182" y="639"/>
                  </a:lnTo>
                  <a:lnTo>
                    <a:pt x="185" y="639"/>
                  </a:lnTo>
                  <a:lnTo>
                    <a:pt x="182" y="642"/>
                  </a:lnTo>
                  <a:lnTo>
                    <a:pt x="185" y="642"/>
                  </a:lnTo>
                  <a:lnTo>
                    <a:pt x="185" y="639"/>
                  </a:lnTo>
                  <a:lnTo>
                    <a:pt x="185" y="642"/>
                  </a:lnTo>
                  <a:lnTo>
                    <a:pt x="182" y="642"/>
                  </a:lnTo>
                  <a:lnTo>
                    <a:pt x="185" y="642"/>
                  </a:lnTo>
                  <a:lnTo>
                    <a:pt x="182" y="642"/>
                  </a:lnTo>
                  <a:lnTo>
                    <a:pt x="182" y="644"/>
                  </a:lnTo>
                  <a:lnTo>
                    <a:pt x="182" y="642"/>
                  </a:lnTo>
                  <a:lnTo>
                    <a:pt x="182" y="644"/>
                  </a:lnTo>
                  <a:lnTo>
                    <a:pt x="180" y="644"/>
                  </a:lnTo>
                  <a:lnTo>
                    <a:pt x="180" y="646"/>
                  </a:lnTo>
                  <a:lnTo>
                    <a:pt x="178" y="646"/>
                  </a:lnTo>
                  <a:lnTo>
                    <a:pt x="180" y="646"/>
                  </a:lnTo>
                  <a:lnTo>
                    <a:pt x="180" y="649"/>
                  </a:lnTo>
                  <a:lnTo>
                    <a:pt x="178" y="649"/>
                  </a:lnTo>
                  <a:lnTo>
                    <a:pt x="175" y="649"/>
                  </a:lnTo>
                  <a:lnTo>
                    <a:pt x="178" y="649"/>
                  </a:lnTo>
                  <a:lnTo>
                    <a:pt x="175" y="649"/>
                  </a:lnTo>
                  <a:lnTo>
                    <a:pt x="178" y="649"/>
                  </a:lnTo>
                  <a:lnTo>
                    <a:pt x="175" y="649"/>
                  </a:lnTo>
                  <a:lnTo>
                    <a:pt x="175" y="651"/>
                  </a:lnTo>
                  <a:lnTo>
                    <a:pt x="178" y="651"/>
                  </a:lnTo>
                  <a:lnTo>
                    <a:pt x="178" y="653"/>
                  </a:lnTo>
                  <a:lnTo>
                    <a:pt x="175" y="653"/>
                  </a:lnTo>
                  <a:lnTo>
                    <a:pt x="175" y="656"/>
                  </a:lnTo>
                  <a:lnTo>
                    <a:pt x="178" y="656"/>
                  </a:lnTo>
                  <a:lnTo>
                    <a:pt x="178" y="658"/>
                  </a:lnTo>
                  <a:lnTo>
                    <a:pt x="180" y="658"/>
                  </a:lnTo>
                  <a:lnTo>
                    <a:pt x="180" y="661"/>
                  </a:lnTo>
                  <a:lnTo>
                    <a:pt x="178" y="661"/>
                  </a:lnTo>
                  <a:lnTo>
                    <a:pt x="180" y="661"/>
                  </a:lnTo>
                  <a:lnTo>
                    <a:pt x="178" y="661"/>
                  </a:lnTo>
                  <a:lnTo>
                    <a:pt x="178" y="663"/>
                  </a:lnTo>
                  <a:lnTo>
                    <a:pt x="175" y="663"/>
                  </a:lnTo>
                  <a:lnTo>
                    <a:pt x="175" y="661"/>
                  </a:lnTo>
                  <a:lnTo>
                    <a:pt x="175" y="663"/>
                  </a:lnTo>
                  <a:lnTo>
                    <a:pt x="178" y="663"/>
                  </a:lnTo>
                  <a:lnTo>
                    <a:pt x="175" y="663"/>
                  </a:lnTo>
                  <a:lnTo>
                    <a:pt x="178" y="663"/>
                  </a:lnTo>
                  <a:lnTo>
                    <a:pt x="175" y="663"/>
                  </a:lnTo>
                  <a:lnTo>
                    <a:pt x="175" y="665"/>
                  </a:lnTo>
                  <a:lnTo>
                    <a:pt x="178" y="665"/>
                  </a:lnTo>
                  <a:lnTo>
                    <a:pt x="175" y="665"/>
                  </a:lnTo>
                  <a:lnTo>
                    <a:pt x="178" y="665"/>
                  </a:lnTo>
                  <a:lnTo>
                    <a:pt x="175" y="665"/>
                  </a:lnTo>
                  <a:lnTo>
                    <a:pt x="178" y="665"/>
                  </a:lnTo>
                  <a:lnTo>
                    <a:pt x="175" y="665"/>
                  </a:lnTo>
                  <a:lnTo>
                    <a:pt x="175" y="663"/>
                  </a:lnTo>
                  <a:lnTo>
                    <a:pt x="175" y="665"/>
                  </a:lnTo>
                  <a:lnTo>
                    <a:pt x="175" y="668"/>
                  </a:lnTo>
                  <a:lnTo>
                    <a:pt x="175" y="670"/>
                  </a:lnTo>
                  <a:lnTo>
                    <a:pt x="175" y="672"/>
                  </a:lnTo>
                  <a:lnTo>
                    <a:pt x="173" y="672"/>
                  </a:lnTo>
                  <a:lnTo>
                    <a:pt x="175" y="672"/>
                  </a:lnTo>
                  <a:lnTo>
                    <a:pt x="175" y="675"/>
                  </a:lnTo>
                  <a:lnTo>
                    <a:pt x="173" y="675"/>
                  </a:lnTo>
                  <a:lnTo>
                    <a:pt x="175" y="675"/>
                  </a:lnTo>
                  <a:lnTo>
                    <a:pt x="173" y="675"/>
                  </a:lnTo>
                  <a:lnTo>
                    <a:pt x="175" y="675"/>
                  </a:lnTo>
                  <a:lnTo>
                    <a:pt x="173" y="675"/>
                  </a:lnTo>
                  <a:lnTo>
                    <a:pt x="175" y="675"/>
                  </a:lnTo>
                  <a:lnTo>
                    <a:pt x="173" y="675"/>
                  </a:lnTo>
                  <a:lnTo>
                    <a:pt x="175" y="675"/>
                  </a:lnTo>
                  <a:lnTo>
                    <a:pt x="178" y="675"/>
                  </a:lnTo>
                  <a:lnTo>
                    <a:pt x="175" y="675"/>
                  </a:lnTo>
                  <a:lnTo>
                    <a:pt x="178" y="675"/>
                  </a:lnTo>
                  <a:lnTo>
                    <a:pt x="175" y="675"/>
                  </a:lnTo>
                  <a:lnTo>
                    <a:pt x="175" y="677"/>
                  </a:lnTo>
                  <a:lnTo>
                    <a:pt x="175" y="675"/>
                  </a:lnTo>
                  <a:lnTo>
                    <a:pt x="173" y="675"/>
                  </a:lnTo>
                  <a:lnTo>
                    <a:pt x="173" y="677"/>
                  </a:lnTo>
                  <a:lnTo>
                    <a:pt x="173" y="680"/>
                  </a:lnTo>
                  <a:lnTo>
                    <a:pt x="173" y="677"/>
                  </a:lnTo>
                  <a:lnTo>
                    <a:pt x="173" y="680"/>
                  </a:lnTo>
                  <a:lnTo>
                    <a:pt x="173" y="682"/>
                  </a:lnTo>
                  <a:lnTo>
                    <a:pt x="173" y="680"/>
                  </a:lnTo>
                  <a:lnTo>
                    <a:pt x="173" y="682"/>
                  </a:lnTo>
                  <a:lnTo>
                    <a:pt x="170" y="682"/>
                  </a:lnTo>
                  <a:lnTo>
                    <a:pt x="168" y="682"/>
                  </a:lnTo>
                  <a:lnTo>
                    <a:pt x="168" y="684"/>
                  </a:lnTo>
                  <a:lnTo>
                    <a:pt x="168" y="687"/>
                  </a:lnTo>
                  <a:lnTo>
                    <a:pt x="168" y="689"/>
                  </a:lnTo>
                  <a:lnTo>
                    <a:pt x="168" y="687"/>
                  </a:lnTo>
                  <a:lnTo>
                    <a:pt x="168" y="689"/>
                  </a:lnTo>
                  <a:lnTo>
                    <a:pt x="168" y="687"/>
                  </a:lnTo>
                  <a:lnTo>
                    <a:pt x="166" y="687"/>
                  </a:lnTo>
                  <a:lnTo>
                    <a:pt x="166" y="689"/>
                  </a:lnTo>
                  <a:lnTo>
                    <a:pt x="166" y="691"/>
                  </a:lnTo>
                  <a:lnTo>
                    <a:pt x="163" y="691"/>
                  </a:lnTo>
                  <a:lnTo>
                    <a:pt x="163" y="694"/>
                  </a:lnTo>
                  <a:lnTo>
                    <a:pt x="166" y="691"/>
                  </a:lnTo>
                  <a:lnTo>
                    <a:pt x="166" y="694"/>
                  </a:lnTo>
                  <a:lnTo>
                    <a:pt x="163" y="694"/>
                  </a:lnTo>
                  <a:lnTo>
                    <a:pt x="163" y="696"/>
                  </a:lnTo>
                  <a:lnTo>
                    <a:pt x="163" y="694"/>
                  </a:lnTo>
                  <a:lnTo>
                    <a:pt x="163" y="696"/>
                  </a:lnTo>
                  <a:lnTo>
                    <a:pt x="163" y="699"/>
                  </a:lnTo>
                  <a:lnTo>
                    <a:pt x="161" y="699"/>
                  </a:lnTo>
                  <a:lnTo>
                    <a:pt x="163" y="699"/>
                  </a:lnTo>
                  <a:lnTo>
                    <a:pt x="163" y="701"/>
                  </a:lnTo>
                  <a:lnTo>
                    <a:pt x="161" y="701"/>
                  </a:lnTo>
                  <a:lnTo>
                    <a:pt x="161" y="703"/>
                  </a:lnTo>
                  <a:lnTo>
                    <a:pt x="161" y="701"/>
                  </a:lnTo>
                  <a:lnTo>
                    <a:pt x="161" y="703"/>
                  </a:lnTo>
                  <a:lnTo>
                    <a:pt x="161" y="706"/>
                  </a:lnTo>
                  <a:lnTo>
                    <a:pt x="159" y="706"/>
                  </a:lnTo>
                  <a:lnTo>
                    <a:pt x="159" y="708"/>
                  </a:lnTo>
                  <a:lnTo>
                    <a:pt x="156" y="708"/>
                  </a:lnTo>
                  <a:lnTo>
                    <a:pt x="156" y="710"/>
                  </a:lnTo>
                  <a:lnTo>
                    <a:pt x="154" y="710"/>
                  </a:lnTo>
                  <a:lnTo>
                    <a:pt x="154" y="708"/>
                  </a:lnTo>
                  <a:lnTo>
                    <a:pt x="154" y="706"/>
                  </a:lnTo>
                  <a:lnTo>
                    <a:pt x="154" y="708"/>
                  </a:lnTo>
                  <a:lnTo>
                    <a:pt x="151" y="708"/>
                  </a:lnTo>
                  <a:lnTo>
                    <a:pt x="154" y="708"/>
                  </a:lnTo>
                  <a:lnTo>
                    <a:pt x="154" y="710"/>
                  </a:lnTo>
                  <a:lnTo>
                    <a:pt x="151" y="710"/>
                  </a:lnTo>
                  <a:lnTo>
                    <a:pt x="151" y="708"/>
                  </a:lnTo>
                  <a:lnTo>
                    <a:pt x="151" y="710"/>
                  </a:lnTo>
                  <a:lnTo>
                    <a:pt x="151" y="708"/>
                  </a:lnTo>
                  <a:lnTo>
                    <a:pt x="154" y="706"/>
                  </a:lnTo>
                  <a:lnTo>
                    <a:pt x="151" y="706"/>
                  </a:lnTo>
                  <a:lnTo>
                    <a:pt x="151" y="708"/>
                  </a:lnTo>
                  <a:lnTo>
                    <a:pt x="151" y="706"/>
                  </a:lnTo>
                  <a:lnTo>
                    <a:pt x="151" y="708"/>
                  </a:lnTo>
                  <a:lnTo>
                    <a:pt x="151" y="706"/>
                  </a:lnTo>
                  <a:lnTo>
                    <a:pt x="149" y="706"/>
                  </a:lnTo>
                  <a:lnTo>
                    <a:pt x="149" y="708"/>
                  </a:lnTo>
                  <a:lnTo>
                    <a:pt x="149" y="706"/>
                  </a:lnTo>
                  <a:lnTo>
                    <a:pt x="149" y="708"/>
                  </a:lnTo>
                  <a:lnTo>
                    <a:pt x="149" y="706"/>
                  </a:lnTo>
                  <a:lnTo>
                    <a:pt x="147" y="706"/>
                  </a:lnTo>
                  <a:lnTo>
                    <a:pt x="147" y="708"/>
                  </a:lnTo>
                  <a:lnTo>
                    <a:pt x="147" y="706"/>
                  </a:lnTo>
                  <a:lnTo>
                    <a:pt x="147" y="703"/>
                  </a:lnTo>
                  <a:lnTo>
                    <a:pt x="147" y="706"/>
                  </a:lnTo>
                  <a:lnTo>
                    <a:pt x="144" y="706"/>
                  </a:lnTo>
                  <a:lnTo>
                    <a:pt x="144" y="708"/>
                  </a:lnTo>
                  <a:lnTo>
                    <a:pt x="142" y="708"/>
                  </a:lnTo>
                  <a:lnTo>
                    <a:pt x="142" y="706"/>
                  </a:lnTo>
                  <a:lnTo>
                    <a:pt x="140" y="706"/>
                  </a:lnTo>
                  <a:lnTo>
                    <a:pt x="140" y="708"/>
                  </a:lnTo>
                  <a:lnTo>
                    <a:pt x="140" y="706"/>
                  </a:lnTo>
                  <a:lnTo>
                    <a:pt x="142" y="708"/>
                  </a:lnTo>
                  <a:lnTo>
                    <a:pt x="140" y="708"/>
                  </a:lnTo>
                  <a:lnTo>
                    <a:pt x="137" y="708"/>
                  </a:lnTo>
                  <a:lnTo>
                    <a:pt x="137" y="706"/>
                  </a:lnTo>
                  <a:lnTo>
                    <a:pt x="135" y="706"/>
                  </a:lnTo>
                  <a:lnTo>
                    <a:pt x="135" y="708"/>
                  </a:lnTo>
                  <a:lnTo>
                    <a:pt x="135" y="706"/>
                  </a:lnTo>
                  <a:lnTo>
                    <a:pt x="135" y="708"/>
                  </a:lnTo>
                  <a:lnTo>
                    <a:pt x="135" y="706"/>
                  </a:lnTo>
                  <a:lnTo>
                    <a:pt x="135" y="708"/>
                  </a:lnTo>
                  <a:lnTo>
                    <a:pt x="132" y="706"/>
                  </a:lnTo>
                  <a:lnTo>
                    <a:pt x="135" y="708"/>
                  </a:lnTo>
                  <a:lnTo>
                    <a:pt x="132" y="708"/>
                  </a:lnTo>
                  <a:lnTo>
                    <a:pt x="132" y="706"/>
                  </a:lnTo>
                  <a:lnTo>
                    <a:pt x="132" y="708"/>
                  </a:lnTo>
                  <a:lnTo>
                    <a:pt x="132" y="706"/>
                  </a:lnTo>
                  <a:lnTo>
                    <a:pt x="132" y="708"/>
                  </a:lnTo>
                  <a:lnTo>
                    <a:pt x="130" y="708"/>
                  </a:lnTo>
                  <a:lnTo>
                    <a:pt x="130" y="706"/>
                  </a:lnTo>
                  <a:lnTo>
                    <a:pt x="128" y="706"/>
                  </a:lnTo>
                  <a:lnTo>
                    <a:pt x="130" y="706"/>
                  </a:lnTo>
                  <a:lnTo>
                    <a:pt x="128" y="706"/>
                  </a:lnTo>
                  <a:lnTo>
                    <a:pt x="128" y="708"/>
                  </a:lnTo>
                  <a:lnTo>
                    <a:pt x="128" y="706"/>
                  </a:lnTo>
                  <a:lnTo>
                    <a:pt x="128" y="708"/>
                  </a:lnTo>
                  <a:lnTo>
                    <a:pt x="128" y="706"/>
                  </a:lnTo>
                  <a:lnTo>
                    <a:pt x="125" y="706"/>
                  </a:lnTo>
                  <a:lnTo>
                    <a:pt x="128" y="706"/>
                  </a:lnTo>
                  <a:lnTo>
                    <a:pt x="125" y="706"/>
                  </a:lnTo>
                  <a:lnTo>
                    <a:pt x="125" y="708"/>
                  </a:lnTo>
                  <a:lnTo>
                    <a:pt x="125" y="706"/>
                  </a:lnTo>
                  <a:lnTo>
                    <a:pt x="125" y="708"/>
                  </a:lnTo>
                  <a:lnTo>
                    <a:pt x="125" y="706"/>
                  </a:lnTo>
                  <a:lnTo>
                    <a:pt x="123" y="708"/>
                  </a:lnTo>
                  <a:lnTo>
                    <a:pt x="123" y="706"/>
                  </a:lnTo>
                  <a:lnTo>
                    <a:pt x="123" y="708"/>
                  </a:lnTo>
                  <a:lnTo>
                    <a:pt x="123" y="706"/>
                  </a:lnTo>
                  <a:lnTo>
                    <a:pt x="123" y="708"/>
                  </a:lnTo>
                  <a:lnTo>
                    <a:pt x="121" y="708"/>
                  </a:lnTo>
                  <a:lnTo>
                    <a:pt x="121" y="706"/>
                  </a:lnTo>
                  <a:lnTo>
                    <a:pt x="121" y="708"/>
                  </a:lnTo>
                  <a:lnTo>
                    <a:pt x="121" y="706"/>
                  </a:lnTo>
                  <a:lnTo>
                    <a:pt x="121" y="708"/>
                  </a:lnTo>
                  <a:lnTo>
                    <a:pt x="121" y="706"/>
                  </a:lnTo>
                  <a:lnTo>
                    <a:pt x="121" y="708"/>
                  </a:lnTo>
                  <a:lnTo>
                    <a:pt x="118" y="708"/>
                  </a:lnTo>
                  <a:lnTo>
                    <a:pt x="118" y="706"/>
                  </a:lnTo>
                  <a:lnTo>
                    <a:pt x="118" y="708"/>
                  </a:lnTo>
                  <a:lnTo>
                    <a:pt x="118" y="706"/>
                  </a:lnTo>
                  <a:lnTo>
                    <a:pt x="118" y="708"/>
                  </a:lnTo>
                  <a:lnTo>
                    <a:pt x="118" y="706"/>
                  </a:lnTo>
                  <a:lnTo>
                    <a:pt x="116" y="708"/>
                  </a:lnTo>
                  <a:lnTo>
                    <a:pt x="118" y="708"/>
                  </a:lnTo>
                  <a:lnTo>
                    <a:pt x="118" y="710"/>
                  </a:lnTo>
                  <a:lnTo>
                    <a:pt x="118" y="713"/>
                  </a:lnTo>
                  <a:lnTo>
                    <a:pt x="121" y="713"/>
                  </a:lnTo>
                  <a:lnTo>
                    <a:pt x="121" y="715"/>
                  </a:lnTo>
                  <a:lnTo>
                    <a:pt x="118" y="715"/>
                  </a:lnTo>
                  <a:lnTo>
                    <a:pt x="116" y="715"/>
                  </a:lnTo>
                  <a:lnTo>
                    <a:pt x="113" y="715"/>
                  </a:lnTo>
                  <a:lnTo>
                    <a:pt x="113" y="713"/>
                  </a:lnTo>
                  <a:lnTo>
                    <a:pt x="113" y="715"/>
                  </a:lnTo>
                  <a:lnTo>
                    <a:pt x="113" y="713"/>
                  </a:lnTo>
                  <a:lnTo>
                    <a:pt x="116" y="713"/>
                  </a:lnTo>
                  <a:lnTo>
                    <a:pt x="113" y="713"/>
                  </a:lnTo>
                  <a:lnTo>
                    <a:pt x="111" y="713"/>
                  </a:lnTo>
                  <a:lnTo>
                    <a:pt x="109" y="713"/>
                  </a:lnTo>
                  <a:lnTo>
                    <a:pt x="109" y="715"/>
                  </a:lnTo>
                  <a:lnTo>
                    <a:pt x="111" y="715"/>
                  </a:lnTo>
                  <a:lnTo>
                    <a:pt x="109" y="715"/>
                  </a:lnTo>
                  <a:lnTo>
                    <a:pt x="109" y="718"/>
                  </a:lnTo>
                  <a:lnTo>
                    <a:pt x="109" y="715"/>
                  </a:lnTo>
                  <a:lnTo>
                    <a:pt x="109" y="718"/>
                  </a:lnTo>
                  <a:lnTo>
                    <a:pt x="106" y="715"/>
                  </a:lnTo>
                  <a:lnTo>
                    <a:pt x="106" y="718"/>
                  </a:lnTo>
                  <a:lnTo>
                    <a:pt x="104" y="718"/>
                  </a:lnTo>
                  <a:lnTo>
                    <a:pt x="106" y="718"/>
                  </a:lnTo>
                  <a:lnTo>
                    <a:pt x="106" y="720"/>
                  </a:lnTo>
                  <a:lnTo>
                    <a:pt x="104" y="720"/>
                  </a:lnTo>
                  <a:lnTo>
                    <a:pt x="106" y="720"/>
                  </a:lnTo>
                  <a:lnTo>
                    <a:pt x="104" y="720"/>
                  </a:lnTo>
                  <a:lnTo>
                    <a:pt x="106" y="720"/>
                  </a:lnTo>
                  <a:lnTo>
                    <a:pt x="104" y="720"/>
                  </a:lnTo>
                  <a:lnTo>
                    <a:pt x="102" y="722"/>
                  </a:lnTo>
                  <a:lnTo>
                    <a:pt x="102" y="725"/>
                  </a:lnTo>
                  <a:lnTo>
                    <a:pt x="102" y="727"/>
                  </a:lnTo>
                  <a:lnTo>
                    <a:pt x="102" y="729"/>
                  </a:lnTo>
                  <a:lnTo>
                    <a:pt x="102" y="732"/>
                  </a:lnTo>
                  <a:lnTo>
                    <a:pt x="104" y="732"/>
                  </a:lnTo>
                  <a:lnTo>
                    <a:pt x="104" y="734"/>
                  </a:lnTo>
                  <a:lnTo>
                    <a:pt x="104" y="737"/>
                  </a:lnTo>
                  <a:lnTo>
                    <a:pt x="106" y="737"/>
                  </a:lnTo>
                  <a:lnTo>
                    <a:pt x="106" y="739"/>
                  </a:lnTo>
                  <a:lnTo>
                    <a:pt x="106" y="741"/>
                  </a:lnTo>
                  <a:lnTo>
                    <a:pt x="104" y="741"/>
                  </a:lnTo>
                  <a:lnTo>
                    <a:pt x="104" y="744"/>
                  </a:lnTo>
                  <a:lnTo>
                    <a:pt x="102" y="744"/>
                  </a:lnTo>
                  <a:lnTo>
                    <a:pt x="102" y="746"/>
                  </a:lnTo>
                  <a:lnTo>
                    <a:pt x="99" y="746"/>
                  </a:lnTo>
                  <a:lnTo>
                    <a:pt x="97" y="746"/>
                  </a:lnTo>
                  <a:lnTo>
                    <a:pt x="95" y="744"/>
                  </a:lnTo>
                  <a:lnTo>
                    <a:pt x="92" y="744"/>
                  </a:lnTo>
                  <a:lnTo>
                    <a:pt x="90" y="744"/>
                  </a:lnTo>
                  <a:lnTo>
                    <a:pt x="87" y="744"/>
                  </a:lnTo>
                  <a:lnTo>
                    <a:pt x="85" y="744"/>
                  </a:lnTo>
                  <a:lnTo>
                    <a:pt x="83" y="744"/>
                  </a:lnTo>
                  <a:lnTo>
                    <a:pt x="83" y="746"/>
                  </a:lnTo>
                  <a:lnTo>
                    <a:pt x="80" y="746"/>
                  </a:lnTo>
                  <a:lnTo>
                    <a:pt x="78" y="746"/>
                  </a:lnTo>
                  <a:lnTo>
                    <a:pt x="76" y="746"/>
                  </a:lnTo>
                  <a:lnTo>
                    <a:pt x="76" y="748"/>
                  </a:lnTo>
                  <a:lnTo>
                    <a:pt x="73" y="748"/>
                  </a:lnTo>
                  <a:lnTo>
                    <a:pt x="71" y="748"/>
                  </a:lnTo>
                  <a:lnTo>
                    <a:pt x="68" y="748"/>
                  </a:lnTo>
                  <a:lnTo>
                    <a:pt x="66" y="746"/>
                  </a:lnTo>
                  <a:lnTo>
                    <a:pt x="66" y="748"/>
                  </a:lnTo>
                  <a:lnTo>
                    <a:pt x="66" y="746"/>
                  </a:lnTo>
                  <a:lnTo>
                    <a:pt x="66" y="748"/>
                  </a:lnTo>
                  <a:lnTo>
                    <a:pt x="66" y="746"/>
                  </a:lnTo>
                  <a:lnTo>
                    <a:pt x="64" y="746"/>
                  </a:lnTo>
                  <a:lnTo>
                    <a:pt x="61" y="746"/>
                  </a:lnTo>
                  <a:lnTo>
                    <a:pt x="59" y="746"/>
                  </a:lnTo>
                  <a:lnTo>
                    <a:pt x="57" y="746"/>
                  </a:lnTo>
                  <a:lnTo>
                    <a:pt x="54" y="746"/>
                  </a:lnTo>
                  <a:lnTo>
                    <a:pt x="57" y="746"/>
                  </a:lnTo>
                  <a:lnTo>
                    <a:pt x="57" y="744"/>
                  </a:lnTo>
                  <a:lnTo>
                    <a:pt x="59" y="746"/>
                  </a:lnTo>
                  <a:lnTo>
                    <a:pt x="59" y="744"/>
                  </a:lnTo>
                  <a:lnTo>
                    <a:pt x="61" y="744"/>
                  </a:lnTo>
                  <a:lnTo>
                    <a:pt x="61" y="741"/>
                  </a:lnTo>
                  <a:lnTo>
                    <a:pt x="59" y="741"/>
                  </a:lnTo>
                  <a:lnTo>
                    <a:pt x="59" y="739"/>
                  </a:lnTo>
                  <a:lnTo>
                    <a:pt x="59" y="737"/>
                  </a:lnTo>
                  <a:lnTo>
                    <a:pt x="61" y="734"/>
                  </a:lnTo>
                  <a:lnTo>
                    <a:pt x="64" y="734"/>
                  </a:lnTo>
                  <a:lnTo>
                    <a:pt x="61" y="734"/>
                  </a:lnTo>
                  <a:lnTo>
                    <a:pt x="64" y="734"/>
                  </a:lnTo>
                  <a:lnTo>
                    <a:pt x="61" y="734"/>
                  </a:lnTo>
                  <a:lnTo>
                    <a:pt x="64" y="734"/>
                  </a:lnTo>
                  <a:lnTo>
                    <a:pt x="61" y="734"/>
                  </a:lnTo>
                  <a:lnTo>
                    <a:pt x="64" y="734"/>
                  </a:lnTo>
                  <a:lnTo>
                    <a:pt x="64" y="732"/>
                  </a:lnTo>
                  <a:lnTo>
                    <a:pt x="64" y="729"/>
                  </a:lnTo>
                  <a:lnTo>
                    <a:pt x="61" y="729"/>
                  </a:lnTo>
                  <a:lnTo>
                    <a:pt x="59" y="729"/>
                  </a:lnTo>
                  <a:lnTo>
                    <a:pt x="61" y="729"/>
                  </a:lnTo>
                  <a:lnTo>
                    <a:pt x="61" y="727"/>
                  </a:lnTo>
                  <a:lnTo>
                    <a:pt x="59" y="727"/>
                  </a:lnTo>
                  <a:lnTo>
                    <a:pt x="59" y="729"/>
                  </a:lnTo>
                  <a:lnTo>
                    <a:pt x="59" y="727"/>
                  </a:lnTo>
                  <a:lnTo>
                    <a:pt x="59" y="725"/>
                  </a:lnTo>
                  <a:lnTo>
                    <a:pt x="59" y="722"/>
                  </a:lnTo>
                  <a:lnTo>
                    <a:pt x="57" y="722"/>
                  </a:lnTo>
                  <a:lnTo>
                    <a:pt x="57" y="720"/>
                  </a:lnTo>
                  <a:lnTo>
                    <a:pt x="54" y="720"/>
                  </a:lnTo>
                  <a:lnTo>
                    <a:pt x="54" y="718"/>
                  </a:lnTo>
                  <a:lnTo>
                    <a:pt x="54" y="715"/>
                  </a:lnTo>
                  <a:lnTo>
                    <a:pt x="52" y="715"/>
                  </a:lnTo>
                  <a:lnTo>
                    <a:pt x="52" y="713"/>
                  </a:lnTo>
                  <a:lnTo>
                    <a:pt x="49" y="710"/>
                  </a:lnTo>
                  <a:lnTo>
                    <a:pt x="49" y="708"/>
                  </a:lnTo>
                  <a:lnTo>
                    <a:pt x="47" y="708"/>
                  </a:lnTo>
                  <a:lnTo>
                    <a:pt x="47" y="706"/>
                  </a:lnTo>
                  <a:lnTo>
                    <a:pt x="47" y="703"/>
                  </a:lnTo>
                  <a:lnTo>
                    <a:pt x="45" y="701"/>
                  </a:lnTo>
                  <a:lnTo>
                    <a:pt x="42" y="701"/>
                  </a:lnTo>
                  <a:lnTo>
                    <a:pt x="42" y="699"/>
                  </a:lnTo>
                  <a:lnTo>
                    <a:pt x="45" y="699"/>
                  </a:lnTo>
                  <a:lnTo>
                    <a:pt x="45" y="701"/>
                  </a:lnTo>
                  <a:lnTo>
                    <a:pt x="47" y="701"/>
                  </a:lnTo>
                  <a:lnTo>
                    <a:pt x="49" y="701"/>
                  </a:lnTo>
                  <a:lnTo>
                    <a:pt x="49" y="703"/>
                  </a:lnTo>
                  <a:lnTo>
                    <a:pt x="52" y="703"/>
                  </a:lnTo>
                  <a:lnTo>
                    <a:pt x="54" y="703"/>
                  </a:lnTo>
                  <a:lnTo>
                    <a:pt x="57" y="703"/>
                  </a:lnTo>
                  <a:lnTo>
                    <a:pt x="57" y="701"/>
                  </a:lnTo>
                  <a:lnTo>
                    <a:pt x="54" y="701"/>
                  </a:lnTo>
                  <a:lnTo>
                    <a:pt x="54" y="699"/>
                  </a:lnTo>
                  <a:lnTo>
                    <a:pt x="54" y="696"/>
                  </a:lnTo>
                  <a:lnTo>
                    <a:pt x="52" y="696"/>
                  </a:lnTo>
                  <a:lnTo>
                    <a:pt x="49" y="696"/>
                  </a:lnTo>
                  <a:lnTo>
                    <a:pt x="49" y="694"/>
                  </a:lnTo>
                  <a:lnTo>
                    <a:pt x="49" y="691"/>
                  </a:lnTo>
                  <a:lnTo>
                    <a:pt x="52" y="691"/>
                  </a:lnTo>
                  <a:lnTo>
                    <a:pt x="54" y="691"/>
                  </a:lnTo>
                  <a:lnTo>
                    <a:pt x="57" y="691"/>
                  </a:lnTo>
                  <a:lnTo>
                    <a:pt x="57" y="694"/>
                  </a:lnTo>
                  <a:lnTo>
                    <a:pt x="59" y="691"/>
                  </a:lnTo>
                  <a:lnTo>
                    <a:pt x="59" y="689"/>
                  </a:lnTo>
                  <a:lnTo>
                    <a:pt x="59" y="687"/>
                  </a:lnTo>
                  <a:lnTo>
                    <a:pt x="59" y="684"/>
                  </a:lnTo>
                  <a:lnTo>
                    <a:pt x="59" y="682"/>
                  </a:lnTo>
                  <a:lnTo>
                    <a:pt x="57" y="682"/>
                  </a:lnTo>
                  <a:lnTo>
                    <a:pt x="54" y="682"/>
                  </a:lnTo>
                  <a:lnTo>
                    <a:pt x="52" y="682"/>
                  </a:lnTo>
                  <a:lnTo>
                    <a:pt x="52" y="680"/>
                  </a:lnTo>
                  <a:lnTo>
                    <a:pt x="49" y="677"/>
                  </a:lnTo>
                  <a:lnTo>
                    <a:pt x="49" y="675"/>
                  </a:lnTo>
                  <a:lnTo>
                    <a:pt x="49" y="672"/>
                  </a:lnTo>
                  <a:lnTo>
                    <a:pt x="47" y="672"/>
                  </a:lnTo>
                  <a:lnTo>
                    <a:pt x="47" y="670"/>
                  </a:lnTo>
                  <a:lnTo>
                    <a:pt x="45" y="670"/>
                  </a:lnTo>
                  <a:lnTo>
                    <a:pt x="42" y="670"/>
                  </a:lnTo>
                  <a:lnTo>
                    <a:pt x="42" y="668"/>
                  </a:lnTo>
                  <a:lnTo>
                    <a:pt x="40" y="668"/>
                  </a:lnTo>
                  <a:lnTo>
                    <a:pt x="40" y="665"/>
                  </a:lnTo>
                  <a:lnTo>
                    <a:pt x="40" y="663"/>
                  </a:lnTo>
                  <a:lnTo>
                    <a:pt x="38" y="663"/>
                  </a:lnTo>
                  <a:lnTo>
                    <a:pt x="40" y="663"/>
                  </a:lnTo>
                  <a:lnTo>
                    <a:pt x="38" y="663"/>
                  </a:lnTo>
                  <a:lnTo>
                    <a:pt x="38" y="661"/>
                  </a:lnTo>
                  <a:lnTo>
                    <a:pt x="38" y="658"/>
                  </a:lnTo>
                  <a:lnTo>
                    <a:pt x="38" y="661"/>
                  </a:lnTo>
                  <a:lnTo>
                    <a:pt x="35" y="658"/>
                  </a:lnTo>
                  <a:lnTo>
                    <a:pt x="38" y="658"/>
                  </a:lnTo>
                  <a:lnTo>
                    <a:pt x="35" y="658"/>
                  </a:lnTo>
                  <a:lnTo>
                    <a:pt x="35" y="656"/>
                  </a:lnTo>
                  <a:lnTo>
                    <a:pt x="35" y="658"/>
                  </a:lnTo>
                  <a:lnTo>
                    <a:pt x="35" y="656"/>
                  </a:lnTo>
                  <a:lnTo>
                    <a:pt x="35" y="653"/>
                  </a:lnTo>
                  <a:lnTo>
                    <a:pt x="33" y="653"/>
                  </a:lnTo>
                  <a:lnTo>
                    <a:pt x="35" y="653"/>
                  </a:lnTo>
                  <a:lnTo>
                    <a:pt x="35" y="651"/>
                  </a:lnTo>
                  <a:lnTo>
                    <a:pt x="35" y="653"/>
                  </a:lnTo>
                  <a:lnTo>
                    <a:pt x="33" y="653"/>
                  </a:lnTo>
                  <a:lnTo>
                    <a:pt x="33" y="651"/>
                  </a:lnTo>
                  <a:lnTo>
                    <a:pt x="30" y="651"/>
                  </a:lnTo>
                  <a:lnTo>
                    <a:pt x="33" y="651"/>
                  </a:lnTo>
                  <a:lnTo>
                    <a:pt x="33" y="649"/>
                  </a:lnTo>
                  <a:lnTo>
                    <a:pt x="35" y="649"/>
                  </a:lnTo>
                  <a:lnTo>
                    <a:pt x="33" y="649"/>
                  </a:lnTo>
                  <a:lnTo>
                    <a:pt x="35" y="649"/>
                  </a:lnTo>
                  <a:lnTo>
                    <a:pt x="33" y="649"/>
                  </a:lnTo>
                  <a:lnTo>
                    <a:pt x="35" y="649"/>
                  </a:lnTo>
                  <a:lnTo>
                    <a:pt x="33" y="649"/>
                  </a:lnTo>
                  <a:lnTo>
                    <a:pt x="33" y="646"/>
                  </a:lnTo>
                  <a:lnTo>
                    <a:pt x="30" y="646"/>
                  </a:lnTo>
                  <a:lnTo>
                    <a:pt x="30" y="644"/>
                  </a:lnTo>
                  <a:lnTo>
                    <a:pt x="33" y="644"/>
                  </a:lnTo>
                  <a:lnTo>
                    <a:pt x="30" y="644"/>
                  </a:lnTo>
                  <a:lnTo>
                    <a:pt x="30" y="642"/>
                  </a:lnTo>
                  <a:lnTo>
                    <a:pt x="33" y="642"/>
                  </a:lnTo>
                  <a:lnTo>
                    <a:pt x="30" y="642"/>
                  </a:lnTo>
                  <a:lnTo>
                    <a:pt x="30" y="639"/>
                  </a:lnTo>
                  <a:lnTo>
                    <a:pt x="30" y="642"/>
                  </a:lnTo>
                  <a:lnTo>
                    <a:pt x="30" y="644"/>
                  </a:lnTo>
                  <a:lnTo>
                    <a:pt x="28" y="644"/>
                  </a:lnTo>
                  <a:lnTo>
                    <a:pt x="30" y="644"/>
                  </a:lnTo>
                  <a:lnTo>
                    <a:pt x="28" y="644"/>
                  </a:lnTo>
                  <a:lnTo>
                    <a:pt x="30" y="644"/>
                  </a:lnTo>
                  <a:lnTo>
                    <a:pt x="28" y="644"/>
                  </a:lnTo>
                  <a:lnTo>
                    <a:pt x="28" y="646"/>
                  </a:lnTo>
                  <a:lnTo>
                    <a:pt x="28" y="644"/>
                  </a:lnTo>
                  <a:lnTo>
                    <a:pt x="28" y="646"/>
                  </a:lnTo>
                  <a:lnTo>
                    <a:pt x="28" y="644"/>
                  </a:lnTo>
                  <a:lnTo>
                    <a:pt x="28" y="646"/>
                  </a:lnTo>
                  <a:lnTo>
                    <a:pt x="26" y="646"/>
                  </a:lnTo>
                  <a:lnTo>
                    <a:pt x="26" y="644"/>
                  </a:lnTo>
                  <a:lnTo>
                    <a:pt x="28" y="644"/>
                  </a:lnTo>
                  <a:lnTo>
                    <a:pt x="26" y="644"/>
                  </a:lnTo>
                  <a:lnTo>
                    <a:pt x="28" y="644"/>
                  </a:lnTo>
                  <a:lnTo>
                    <a:pt x="26" y="644"/>
                  </a:lnTo>
                  <a:lnTo>
                    <a:pt x="28" y="644"/>
                  </a:lnTo>
                  <a:lnTo>
                    <a:pt x="26" y="644"/>
                  </a:lnTo>
                  <a:lnTo>
                    <a:pt x="26" y="642"/>
                  </a:lnTo>
                  <a:lnTo>
                    <a:pt x="26" y="639"/>
                  </a:lnTo>
                  <a:lnTo>
                    <a:pt x="28" y="639"/>
                  </a:lnTo>
                  <a:lnTo>
                    <a:pt x="26" y="639"/>
                  </a:lnTo>
                  <a:lnTo>
                    <a:pt x="28" y="639"/>
                  </a:lnTo>
                  <a:lnTo>
                    <a:pt x="28" y="637"/>
                  </a:lnTo>
                  <a:lnTo>
                    <a:pt x="26" y="637"/>
                  </a:lnTo>
                  <a:lnTo>
                    <a:pt x="26" y="634"/>
                  </a:lnTo>
                  <a:lnTo>
                    <a:pt x="26" y="632"/>
                  </a:lnTo>
                  <a:lnTo>
                    <a:pt x="26" y="634"/>
                  </a:lnTo>
                  <a:lnTo>
                    <a:pt x="26" y="632"/>
                  </a:lnTo>
                  <a:lnTo>
                    <a:pt x="26" y="634"/>
                  </a:lnTo>
                  <a:lnTo>
                    <a:pt x="26" y="632"/>
                  </a:lnTo>
                  <a:lnTo>
                    <a:pt x="23" y="632"/>
                  </a:lnTo>
                  <a:lnTo>
                    <a:pt x="26" y="632"/>
                  </a:lnTo>
                  <a:lnTo>
                    <a:pt x="23" y="632"/>
                  </a:lnTo>
                  <a:lnTo>
                    <a:pt x="26" y="632"/>
                  </a:lnTo>
                  <a:lnTo>
                    <a:pt x="23" y="632"/>
                  </a:lnTo>
                  <a:lnTo>
                    <a:pt x="23" y="630"/>
                  </a:lnTo>
                  <a:lnTo>
                    <a:pt x="23" y="627"/>
                  </a:lnTo>
                  <a:lnTo>
                    <a:pt x="23" y="630"/>
                  </a:lnTo>
                  <a:lnTo>
                    <a:pt x="23" y="627"/>
                  </a:lnTo>
                  <a:lnTo>
                    <a:pt x="26" y="627"/>
                  </a:lnTo>
                  <a:lnTo>
                    <a:pt x="28" y="627"/>
                  </a:lnTo>
                  <a:lnTo>
                    <a:pt x="26" y="627"/>
                  </a:lnTo>
                  <a:lnTo>
                    <a:pt x="23" y="627"/>
                  </a:lnTo>
                  <a:lnTo>
                    <a:pt x="21" y="627"/>
                  </a:lnTo>
                  <a:lnTo>
                    <a:pt x="23" y="627"/>
                  </a:lnTo>
                  <a:lnTo>
                    <a:pt x="21" y="627"/>
                  </a:lnTo>
                  <a:lnTo>
                    <a:pt x="23" y="627"/>
                  </a:lnTo>
                  <a:lnTo>
                    <a:pt x="21" y="627"/>
                  </a:lnTo>
                  <a:lnTo>
                    <a:pt x="19" y="627"/>
                  </a:lnTo>
                  <a:lnTo>
                    <a:pt x="19" y="625"/>
                  </a:lnTo>
                  <a:lnTo>
                    <a:pt x="19" y="627"/>
                  </a:lnTo>
                  <a:lnTo>
                    <a:pt x="19" y="625"/>
                  </a:lnTo>
                  <a:lnTo>
                    <a:pt x="21" y="625"/>
                  </a:lnTo>
                  <a:lnTo>
                    <a:pt x="19" y="625"/>
                  </a:lnTo>
                  <a:lnTo>
                    <a:pt x="21" y="625"/>
                  </a:lnTo>
                  <a:lnTo>
                    <a:pt x="21" y="623"/>
                  </a:lnTo>
                  <a:lnTo>
                    <a:pt x="21" y="625"/>
                  </a:lnTo>
                  <a:lnTo>
                    <a:pt x="21" y="623"/>
                  </a:lnTo>
                  <a:lnTo>
                    <a:pt x="23" y="623"/>
                  </a:lnTo>
                  <a:lnTo>
                    <a:pt x="26" y="620"/>
                  </a:lnTo>
                  <a:lnTo>
                    <a:pt x="28" y="620"/>
                  </a:lnTo>
                  <a:lnTo>
                    <a:pt x="28" y="618"/>
                  </a:lnTo>
                  <a:lnTo>
                    <a:pt x="28" y="620"/>
                  </a:lnTo>
                  <a:lnTo>
                    <a:pt x="30" y="618"/>
                  </a:lnTo>
                  <a:lnTo>
                    <a:pt x="30" y="615"/>
                  </a:lnTo>
                  <a:lnTo>
                    <a:pt x="30" y="618"/>
                  </a:lnTo>
                  <a:lnTo>
                    <a:pt x="28" y="618"/>
                  </a:lnTo>
                  <a:lnTo>
                    <a:pt x="28" y="620"/>
                  </a:lnTo>
                  <a:lnTo>
                    <a:pt x="28" y="618"/>
                  </a:lnTo>
                  <a:lnTo>
                    <a:pt x="28" y="620"/>
                  </a:lnTo>
                  <a:lnTo>
                    <a:pt x="26" y="620"/>
                  </a:lnTo>
                  <a:lnTo>
                    <a:pt x="23" y="623"/>
                  </a:lnTo>
                  <a:lnTo>
                    <a:pt x="21" y="623"/>
                  </a:lnTo>
                  <a:lnTo>
                    <a:pt x="19" y="623"/>
                  </a:lnTo>
                  <a:lnTo>
                    <a:pt x="21" y="623"/>
                  </a:lnTo>
                  <a:lnTo>
                    <a:pt x="19" y="623"/>
                  </a:lnTo>
                  <a:lnTo>
                    <a:pt x="19" y="620"/>
                  </a:lnTo>
                  <a:lnTo>
                    <a:pt x="16" y="620"/>
                  </a:lnTo>
                  <a:lnTo>
                    <a:pt x="19" y="620"/>
                  </a:lnTo>
                  <a:lnTo>
                    <a:pt x="19" y="618"/>
                  </a:lnTo>
                  <a:lnTo>
                    <a:pt x="19" y="620"/>
                  </a:lnTo>
                  <a:lnTo>
                    <a:pt x="19" y="618"/>
                  </a:lnTo>
                  <a:lnTo>
                    <a:pt x="21" y="618"/>
                  </a:lnTo>
                  <a:lnTo>
                    <a:pt x="21" y="615"/>
                  </a:lnTo>
                  <a:lnTo>
                    <a:pt x="21" y="613"/>
                  </a:lnTo>
                  <a:lnTo>
                    <a:pt x="23" y="613"/>
                  </a:lnTo>
                  <a:lnTo>
                    <a:pt x="23" y="611"/>
                  </a:lnTo>
                  <a:lnTo>
                    <a:pt x="21" y="611"/>
                  </a:lnTo>
                  <a:lnTo>
                    <a:pt x="23" y="611"/>
                  </a:lnTo>
                  <a:lnTo>
                    <a:pt x="23" y="608"/>
                  </a:lnTo>
                  <a:lnTo>
                    <a:pt x="21" y="608"/>
                  </a:lnTo>
                  <a:lnTo>
                    <a:pt x="23" y="608"/>
                  </a:lnTo>
                  <a:lnTo>
                    <a:pt x="23" y="606"/>
                  </a:lnTo>
                  <a:lnTo>
                    <a:pt x="21" y="606"/>
                  </a:lnTo>
                  <a:lnTo>
                    <a:pt x="23" y="606"/>
                  </a:lnTo>
                  <a:lnTo>
                    <a:pt x="23" y="603"/>
                  </a:lnTo>
                  <a:lnTo>
                    <a:pt x="23" y="601"/>
                  </a:lnTo>
                  <a:lnTo>
                    <a:pt x="26" y="601"/>
                  </a:lnTo>
                  <a:lnTo>
                    <a:pt x="26" y="599"/>
                  </a:lnTo>
                  <a:lnTo>
                    <a:pt x="26" y="601"/>
                  </a:lnTo>
                  <a:lnTo>
                    <a:pt x="23" y="601"/>
                  </a:lnTo>
                  <a:lnTo>
                    <a:pt x="23" y="599"/>
                  </a:lnTo>
                  <a:lnTo>
                    <a:pt x="23" y="596"/>
                  </a:lnTo>
                  <a:lnTo>
                    <a:pt x="23" y="594"/>
                  </a:lnTo>
                  <a:lnTo>
                    <a:pt x="26" y="594"/>
                  </a:lnTo>
                  <a:lnTo>
                    <a:pt x="23" y="594"/>
                  </a:lnTo>
                  <a:lnTo>
                    <a:pt x="21" y="594"/>
                  </a:lnTo>
                  <a:lnTo>
                    <a:pt x="23" y="594"/>
                  </a:lnTo>
                  <a:lnTo>
                    <a:pt x="21" y="594"/>
                  </a:lnTo>
                  <a:lnTo>
                    <a:pt x="19" y="594"/>
                  </a:lnTo>
                  <a:lnTo>
                    <a:pt x="19" y="596"/>
                  </a:lnTo>
                  <a:lnTo>
                    <a:pt x="21" y="594"/>
                  </a:lnTo>
                  <a:lnTo>
                    <a:pt x="21" y="596"/>
                  </a:lnTo>
                  <a:lnTo>
                    <a:pt x="19" y="596"/>
                  </a:lnTo>
                  <a:lnTo>
                    <a:pt x="16" y="596"/>
                  </a:lnTo>
                  <a:lnTo>
                    <a:pt x="19" y="596"/>
                  </a:lnTo>
                  <a:lnTo>
                    <a:pt x="19" y="599"/>
                  </a:lnTo>
                  <a:lnTo>
                    <a:pt x="16" y="599"/>
                  </a:lnTo>
                  <a:lnTo>
                    <a:pt x="14" y="599"/>
                  </a:lnTo>
                  <a:lnTo>
                    <a:pt x="11" y="599"/>
                  </a:lnTo>
                  <a:lnTo>
                    <a:pt x="11" y="601"/>
                  </a:lnTo>
                  <a:lnTo>
                    <a:pt x="9" y="601"/>
                  </a:lnTo>
                  <a:lnTo>
                    <a:pt x="11" y="601"/>
                  </a:lnTo>
                  <a:lnTo>
                    <a:pt x="9" y="601"/>
                  </a:lnTo>
                  <a:lnTo>
                    <a:pt x="9" y="599"/>
                  </a:lnTo>
                  <a:lnTo>
                    <a:pt x="11" y="599"/>
                  </a:lnTo>
                  <a:lnTo>
                    <a:pt x="11" y="596"/>
                  </a:lnTo>
                  <a:lnTo>
                    <a:pt x="11" y="599"/>
                  </a:lnTo>
                  <a:lnTo>
                    <a:pt x="11" y="596"/>
                  </a:lnTo>
                  <a:lnTo>
                    <a:pt x="14" y="596"/>
                  </a:lnTo>
                  <a:lnTo>
                    <a:pt x="14" y="594"/>
                  </a:lnTo>
                  <a:lnTo>
                    <a:pt x="16" y="594"/>
                  </a:lnTo>
                  <a:lnTo>
                    <a:pt x="14" y="594"/>
                  </a:lnTo>
                  <a:lnTo>
                    <a:pt x="16" y="594"/>
                  </a:lnTo>
                  <a:lnTo>
                    <a:pt x="16" y="592"/>
                  </a:lnTo>
                  <a:lnTo>
                    <a:pt x="16" y="589"/>
                  </a:lnTo>
                  <a:lnTo>
                    <a:pt x="19" y="589"/>
                  </a:lnTo>
                  <a:lnTo>
                    <a:pt x="16" y="589"/>
                  </a:lnTo>
                  <a:lnTo>
                    <a:pt x="16" y="592"/>
                  </a:lnTo>
                  <a:lnTo>
                    <a:pt x="16" y="589"/>
                  </a:lnTo>
                  <a:lnTo>
                    <a:pt x="14" y="589"/>
                  </a:lnTo>
                  <a:lnTo>
                    <a:pt x="16" y="589"/>
                  </a:lnTo>
                  <a:lnTo>
                    <a:pt x="14" y="587"/>
                  </a:lnTo>
                  <a:lnTo>
                    <a:pt x="14" y="589"/>
                  </a:lnTo>
                  <a:lnTo>
                    <a:pt x="14" y="592"/>
                  </a:lnTo>
                  <a:lnTo>
                    <a:pt x="14" y="594"/>
                  </a:lnTo>
                  <a:lnTo>
                    <a:pt x="14" y="596"/>
                  </a:lnTo>
                  <a:lnTo>
                    <a:pt x="11" y="596"/>
                  </a:lnTo>
                  <a:lnTo>
                    <a:pt x="11" y="599"/>
                  </a:lnTo>
                  <a:lnTo>
                    <a:pt x="9" y="596"/>
                  </a:lnTo>
                  <a:lnTo>
                    <a:pt x="11" y="596"/>
                  </a:lnTo>
                  <a:lnTo>
                    <a:pt x="9" y="596"/>
                  </a:lnTo>
                  <a:lnTo>
                    <a:pt x="9" y="599"/>
                  </a:lnTo>
                  <a:lnTo>
                    <a:pt x="9" y="596"/>
                  </a:lnTo>
                  <a:lnTo>
                    <a:pt x="11" y="596"/>
                  </a:lnTo>
                  <a:lnTo>
                    <a:pt x="9" y="596"/>
                  </a:lnTo>
                  <a:lnTo>
                    <a:pt x="9" y="594"/>
                  </a:lnTo>
                  <a:lnTo>
                    <a:pt x="11" y="594"/>
                  </a:lnTo>
                  <a:lnTo>
                    <a:pt x="11" y="592"/>
                  </a:lnTo>
                  <a:lnTo>
                    <a:pt x="9" y="592"/>
                  </a:lnTo>
                  <a:lnTo>
                    <a:pt x="11" y="592"/>
                  </a:lnTo>
                  <a:lnTo>
                    <a:pt x="9" y="592"/>
                  </a:lnTo>
                  <a:lnTo>
                    <a:pt x="9" y="594"/>
                  </a:lnTo>
                  <a:lnTo>
                    <a:pt x="7" y="594"/>
                  </a:lnTo>
                  <a:lnTo>
                    <a:pt x="9" y="594"/>
                  </a:lnTo>
                  <a:lnTo>
                    <a:pt x="7" y="594"/>
                  </a:lnTo>
                  <a:lnTo>
                    <a:pt x="7" y="592"/>
                  </a:lnTo>
                  <a:lnTo>
                    <a:pt x="9" y="592"/>
                  </a:lnTo>
                  <a:lnTo>
                    <a:pt x="9" y="594"/>
                  </a:lnTo>
                  <a:lnTo>
                    <a:pt x="9" y="592"/>
                  </a:lnTo>
                  <a:lnTo>
                    <a:pt x="9" y="589"/>
                  </a:lnTo>
                  <a:lnTo>
                    <a:pt x="11" y="589"/>
                  </a:lnTo>
                  <a:lnTo>
                    <a:pt x="11" y="587"/>
                  </a:lnTo>
                  <a:lnTo>
                    <a:pt x="9" y="589"/>
                  </a:lnTo>
                  <a:lnTo>
                    <a:pt x="9" y="592"/>
                  </a:lnTo>
                  <a:lnTo>
                    <a:pt x="7" y="592"/>
                  </a:lnTo>
                  <a:lnTo>
                    <a:pt x="7" y="594"/>
                  </a:lnTo>
                  <a:lnTo>
                    <a:pt x="7" y="592"/>
                  </a:lnTo>
                  <a:lnTo>
                    <a:pt x="7" y="594"/>
                  </a:lnTo>
                  <a:lnTo>
                    <a:pt x="7" y="592"/>
                  </a:lnTo>
                  <a:lnTo>
                    <a:pt x="7" y="594"/>
                  </a:lnTo>
                  <a:lnTo>
                    <a:pt x="7" y="592"/>
                  </a:lnTo>
                  <a:lnTo>
                    <a:pt x="4" y="592"/>
                  </a:lnTo>
                  <a:lnTo>
                    <a:pt x="7" y="592"/>
                  </a:lnTo>
                  <a:lnTo>
                    <a:pt x="4" y="592"/>
                  </a:lnTo>
                  <a:lnTo>
                    <a:pt x="4" y="594"/>
                  </a:lnTo>
                  <a:lnTo>
                    <a:pt x="4" y="592"/>
                  </a:lnTo>
                  <a:lnTo>
                    <a:pt x="4" y="594"/>
                  </a:lnTo>
                  <a:lnTo>
                    <a:pt x="2" y="594"/>
                  </a:lnTo>
                  <a:lnTo>
                    <a:pt x="2" y="592"/>
                  </a:lnTo>
                  <a:lnTo>
                    <a:pt x="4" y="592"/>
                  </a:lnTo>
                  <a:lnTo>
                    <a:pt x="2" y="592"/>
                  </a:lnTo>
                  <a:lnTo>
                    <a:pt x="4" y="592"/>
                  </a:lnTo>
                  <a:lnTo>
                    <a:pt x="2" y="589"/>
                  </a:lnTo>
                  <a:lnTo>
                    <a:pt x="2" y="592"/>
                  </a:lnTo>
                  <a:lnTo>
                    <a:pt x="2" y="589"/>
                  </a:lnTo>
                  <a:lnTo>
                    <a:pt x="4" y="589"/>
                  </a:lnTo>
                  <a:lnTo>
                    <a:pt x="7" y="587"/>
                  </a:lnTo>
                  <a:lnTo>
                    <a:pt x="4" y="587"/>
                  </a:lnTo>
                  <a:lnTo>
                    <a:pt x="4" y="589"/>
                  </a:lnTo>
                  <a:lnTo>
                    <a:pt x="4" y="587"/>
                  </a:lnTo>
                  <a:lnTo>
                    <a:pt x="7" y="587"/>
                  </a:lnTo>
                  <a:lnTo>
                    <a:pt x="4" y="587"/>
                  </a:lnTo>
                  <a:lnTo>
                    <a:pt x="7" y="587"/>
                  </a:lnTo>
                  <a:lnTo>
                    <a:pt x="4" y="587"/>
                  </a:lnTo>
                  <a:lnTo>
                    <a:pt x="4" y="584"/>
                  </a:lnTo>
                  <a:lnTo>
                    <a:pt x="4" y="582"/>
                  </a:lnTo>
                  <a:lnTo>
                    <a:pt x="4" y="584"/>
                  </a:lnTo>
                  <a:lnTo>
                    <a:pt x="4" y="582"/>
                  </a:lnTo>
                  <a:lnTo>
                    <a:pt x="7" y="582"/>
                  </a:lnTo>
                  <a:lnTo>
                    <a:pt x="4" y="582"/>
                  </a:lnTo>
                  <a:lnTo>
                    <a:pt x="4" y="580"/>
                  </a:lnTo>
                  <a:lnTo>
                    <a:pt x="4" y="577"/>
                  </a:lnTo>
                  <a:lnTo>
                    <a:pt x="4" y="575"/>
                  </a:lnTo>
                  <a:lnTo>
                    <a:pt x="4" y="577"/>
                  </a:lnTo>
                  <a:lnTo>
                    <a:pt x="4" y="575"/>
                  </a:lnTo>
                  <a:lnTo>
                    <a:pt x="2" y="575"/>
                  </a:lnTo>
                  <a:lnTo>
                    <a:pt x="4" y="575"/>
                  </a:lnTo>
                  <a:lnTo>
                    <a:pt x="2" y="575"/>
                  </a:lnTo>
                  <a:lnTo>
                    <a:pt x="2" y="573"/>
                  </a:lnTo>
                  <a:lnTo>
                    <a:pt x="4" y="573"/>
                  </a:lnTo>
                  <a:lnTo>
                    <a:pt x="4" y="575"/>
                  </a:lnTo>
                  <a:lnTo>
                    <a:pt x="4" y="573"/>
                  </a:lnTo>
                  <a:lnTo>
                    <a:pt x="2" y="573"/>
                  </a:lnTo>
                  <a:lnTo>
                    <a:pt x="2" y="570"/>
                  </a:lnTo>
                  <a:lnTo>
                    <a:pt x="4" y="570"/>
                  </a:lnTo>
                  <a:lnTo>
                    <a:pt x="4" y="568"/>
                  </a:lnTo>
                  <a:lnTo>
                    <a:pt x="4" y="570"/>
                  </a:lnTo>
                  <a:lnTo>
                    <a:pt x="4" y="568"/>
                  </a:lnTo>
                  <a:lnTo>
                    <a:pt x="2" y="568"/>
                  </a:lnTo>
                  <a:lnTo>
                    <a:pt x="4" y="568"/>
                  </a:lnTo>
                  <a:lnTo>
                    <a:pt x="2" y="568"/>
                  </a:lnTo>
                  <a:lnTo>
                    <a:pt x="4" y="568"/>
                  </a:lnTo>
                  <a:lnTo>
                    <a:pt x="2" y="568"/>
                  </a:lnTo>
                  <a:lnTo>
                    <a:pt x="0" y="568"/>
                  </a:lnTo>
                  <a:lnTo>
                    <a:pt x="2" y="568"/>
                  </a:lnTo>
                  <a:lnTo>
                    <a:pt x="0" y="568"/>
                  </a:lnTo>
                  <a:lnTo>
                    <a:pt x="2" y="568"/>
                  </a:lnTo>
                  <a:lnTo>
                    <a:pt x="2" y="565"/>
                  </a:lnTo>
                  <a:lnTo>
                    <a:pt x="0" y="565"/>
                  </a:lnTo>
                  <a:lnTo>
                    <a:pt x="2" y="565"/>
                  </a:lnTo>
                  <a:lnTo>
                    <a:pt x="2" y="568"/>
                  </a:lnTo>
                  <a:lnTo>
                    <a:pt x="2" y="565"/>
                  </a:lnTo>
                  <a:lnTo>
                    <a:pt x="0" y="565"/>
                  </a:lnTo>
                  <a:lnTo>
                    <a:pt x="2" y="565"/>
                  </a:lnTo>
                  <a:lnTo>
                    <a:pt x="0" y="565"/>
                  </a:lnTo>
                  <a:lnTo>
                    <a:pt x="0" y="563"/>
                  </a:lnTo>
                  <a:lnTo>
                    <a:pt x="2" y="563"/>
                  </a:lnTo>
                  <a:lnTo>
                    <a:pt x="0" y="563"/>
                  </a:lnTo>
                  <a:lnTo>
                    <a:pt x="2" y="563"/>
                  </a:lnTo>
                  <a:lnTo>
                    <a:pt x="0" y="563"/>
                  </a:lnTo>
                  <a:lnTo>
                    <a:pt x="0" y="561"/>
                  </a:lnTo>
                  <a:lnTo>
                    <a:pt x="2" y="561"/>
                  </a:lnTo>
                  <a:lnTo>
                    <a:pt x="2" y="558"/>
                  </a:lnTo>
                  <a:lnTo>
                    <a:pt x="4" y="558"/>
                  </a:lnTo>
                  <a:lnTo>
                    <a:pt x="2" y="558"/>
                  </a:lnTo>
                  <a:lnTo>
                    <a:pt x="4" y="558"/>
                  </a:lnTo>
                  <a:lnTo>
                    <a:pt x="2" y="558"/>
                  </a:lnTo>
                  <a:lnTo>
                    <a:pt x="2" y="561"/>
                  </a:lnTo>
                  <a:lnTo>
                    <a:pt x="0" y="561"/>
                  </a:lnTo>
                  <a:lnTo>
                    <a:pt x="0" y="558"/>
                  </a:lnTo>
                  <a:lnTo>
                    <a:pt x="0" y="561"/>
                  </a:lnTo>
                  <a:lnTo>
                    <a:pt x="0" y="558"/>
                  </a:lnTo>
                  <a:lnTo>
                    <a:pt x="0" y="556"/>
                  </a:lnTo>
                  <a:lnTo>
                    <a:pt x="2" y="556"/>
                  </a:lnTo>
                  <a:lnTo>
                    <a:pt x="4" y="556"/>
                  </a:lnTo>
                  <a:lnTo>
                    <a:pt x="4" y="554"/>
                  </a:lnTo>
                  <a:lnTo>
                    <a:pt x="7" y="554"/>
                  </a:lnTo>
                  <a:lnTo>
                    <a:pt x="9" y="556"/>
                  </a:lnTo>
                  <a:lnTo>
                    <a:pt x="7" y="556"/>
                  </a:lnTo>
                  <a:lnTo>
                    <a:pt x="9" y="556"/>
                  </a:lnTo>
                  <a:lnTo>
                    <a:pt x="9" y="558"/>
                  </a:lnTo>
                  <a:lnTo>
                    <a:pt x="11" y="558"/>
                  </a:lnTo>
                  <a:lnTo>
                    <a:pt x="11" y="561"/>
                  </a:lnTo>
                  <a:lnTo>
                    <a:pt x="11" y="563"/>
                  </a:lnTo>
                  <a:lnTo>
                    <a:pt x="11" y="565"/>
                  </a:lnTo>
                  <a:lnTo>
                    <a:pt x="14" y="565"/>
                  </a:lnTo>
                  <a:lnTo>
                    <a:pt x="16" y="565"/>
                  </a:lnTo>
                  <a:lnTo>
                    <a:pt x="16" y="563"/>
                  </a:lnTo>
                  <a:lnTo>
                    <a:pt x="16" y="565"/>
                  </a:lnTo>
                  <a:lnTo>
                    <a:pt x="16" y="563"/>
                  </a:lnTo>
                  <a:lnTo>
                    <a:pt x="19" y="563"/>
                  </a:lnTo>
                  <a:lnTo>
                    <a:pt x="16" y="563"/>
                  </a:lnTo>
                  <a:lnTo>
                    <a:pt x="19" y="563"/>
                  </a:lnTo>
                  <a:lnTo>
                    <a:pt x="19" y="561"/>
                  </a:lnTo>
                  <a:lnTo>
                    <a:pt x="19" y="558"/>
                  </a:lnTo>
                  <a:lnTo>
                    <a:pt x="21" y="556"/>
                  </a:lnTo>
                  <a:lnTo>
                    <a:pt x="21" y="554"/>
                  </a:lnTo>
                  <a:lnTo>
                    <a:pt x="21" y="551"/>
                  </a:lnTo>
                  <a:lnTo>
                    <a:pt x="21" y="549"/>
                  </a:lnTo>
                  <a:lnTo>
                    <a:pt x="23" y="546"/>
                  </a:lnTo>
                  <a:lnTo>
                    <a:pt x="23" y="542"/>
                  </a:lnTo>
                  <a:lnTo>
                    <a:pt x="21" y="539"/>
                  </a:lnTo>
                  <a:lnTo>
                    <a:pt x="21" y="537"/>
                  </a:lnTo>
                  <a:lnTo>
                    <a:pt x="21" y="535"/>
                  </a:lnTo>
                  <a:lnTo>
                    <a:pt x="21" y="532"/>
                  </a:lnTo>
                  <a:lnTo>
                    <a:pt x="19" y="532"/>
                  </a:lnTo>
                  <a:lnTo>
                    <a:pt x="19" y="527"/>
                  </a:lnTo>
                  <a:lnTo>
                    <a:pt x="19" y="525"/>
                  </a:lnTo>
                  <a:lnTo>
                    <a:pt x="21" y="525"/>
                  </a:lnTo>
                  <a:lnTo>
                    <a:pt x="23" y="525"/>
                  </a:lnTo>
                  <a:lnTo>
                    <a:pt x="26" y="523"/>
                  </a:lnTo>
                  <a:lnTo>
                    <a:pt x="26" y="520"/>
                  </a:lnTo>
                  <a:lnTo>
                    <a:pt x="26" y="518"/>
                  </a:lnTo>
                  <a:lnTo>
                    <a:pt x="26" y="516"/>
                  </a:lnTo>
                  <a:lnTo>
                    <a:pt x="23" y="516"/>
                  </a:lnTo>
                  <a:lnTo>
                    <a:pt x="26" y="513"/>
                  </a:lnTo>
                  <a:lnTo>
                    <a:pt x="28" y="513"/>
                  </a:lnTo>
                  <a:lnTo>
                    <a:pt x="28" y="511"/>
                  </a:lnTo>
                  <a:lnTo>
                    <a:pt x="28" y="513"/>
                  </a:lnTo>
                  <a:lnTo>
                    <a:pt x="30" y="513"/>
                  </a:lnTo>
                  <a:lnTo>
                    <a:pt x="33" y="513"/>
                  </a:lnTo>
                  <a:lnTo>
                    <a:pt x="35" y="513"/>
                  </a:lnTo>
                  <a:lnTo>
                    <a:pt x="35" y="511"/>
                  </a:lnTo>
                  <a:lnTo>
                    <a:pt x="38" y="508"/>
                  </a:lnTo>
                  <a:lnTo>
                    <a:pt x="40" y="508"/>
                  </a:lnTo>
                  <a:lnTo>
                    <a:pt x="40" y="506"/>
                  </a:lnTo>
                  <a:lnTo>
                    <a:pt x="42" y="506"/>
                  </a:lnTo>
                  <a:lnTo>
                    <a:pt x="42" y="504"/>
                  </a:lnTo>
                  <a:lnTo>
                    <a:pt x="45" y="504"/>
                  </a:lnTo>
                  <a:lnTo>
                    <a:pt x="45" y="501"/>
                  </a:lnTo>
                  <a:lnTo>
                    <a:pt x="45" y="499"/>
                  </a:lnTo>
                  <a:lnTo>
                    <a:pt x="47" y="497"/>
                  </a:lnTo>
                  <a:lnTo>
                    <a:pt x="47" y="494"/>
                  </a:lnTo>
                  <a:lnTo>
                    <a:pt x="45" y="494"/>
                  </a:lnTo>
                  <a:lnTo>
                    <a:pt x="45" y="492"/>
                  </a:lnTo>
                  <a:lnTo>
                    <a:pt x="45" y="489"/>
                  </a:lnTo>
                  <a:lnTo>
                    <a:pt x="47" y="487"/>
                  </a:lnTo>
                  <a:lnTo>
                    <a:pt x="49" y="485"/>
                  </a:lnTo>
                  <a:lnTo>
                    <a:pt x="49" y="480"/>
                  </a:lnTo>
                  <a:lnTo>
                    <a:pt x="47" y="478"/>
                  </a:lnTo>
                  <a:lnTo>
                    <a:pt x="45" y="475"/>
                  </a:lnTo>
                  <a:lnTo>
                    <a:pt x="45" y="473"/>
                  </a:lnTo>
                  <a:lnTo>
                    <a:pt x="42" y="468"/>
                  </a:lnTo>
                  <a:lnTo>
                    <a:pt x="40" y="461"/>
                  </a:lnTo>
                  <a:lnTo>
                    <a:pt x="40" y="459"/>
                  </a:lnTo>
                  <a:lnTo>
                    <a:pt x="38" y="456"/>
                  </a:lnTo>
                  <a:lnTo>
                    <a:pt x="35" y="451"/>
                  </a:lnTo>
                  <a:lnTo>
                    <a:pt x="42" y="451"/>
                  </a:lnTo>
                  <a:lnTo>
                    <a:pt x="45" y="451"/>
                  </a:lnTo>
                  <a:lnTo>
                    <a:pt x="49" y="451"/>
                  </a:lnTo>
                  <a:lnTo>
                    <a:pt x="52" y="449"/>
                  </a:lnTo>
                  <a:lnTo>
                    <a:pt x="52" y="444"/>
                  </a:lnTo>
                  <a:lnTo>
                    <a:pt x="54" y="442"/>
                  </a:lnTo>
                  <a:lnTo>
                    <a:pt x="57" y="437"/>
                  </a:lnTo>
                  <a:lnTo>
                    <a:pt x="57" y="435"/>
                  </a:lnTo>
                  <a:lnTo>
                    <a:pt x="54" y="430"/>
                  </a:lnTo>
                  <a:lnTo>
                    <a:pt x="52" y="428"/>
                  </a:lnTo>
                  <a:lnTo>
                    <a:pt x="49" y="425"/>
                  </a:lnTo>
                  <a:lnTo>
                    <a:pt x="47" y="423"/>
                  </a:lnTo>
                  <a:lnTo>
                    <a:pt x="42" y="423"/>
                  </a:lnTo>
                  <a:lnTo>
                    <a:pt x="40" y="421"/>
                  </a:lnTo>
                  <a:lnTo>
                    <a:pt x="38" y="418"/>
                  </a:lnTo>
                  <a:lnTo>
                    <a:pt x="33" y="413"/>
                  </a:lnTo>
                  <a:lnTo>
                    <a:pt x="33" y="411"/>
                  </a:lnTo>
                  <a:lnTo>
                    <a:pt x="35" y="399"/>
                  </a:lnTo>
                  <a:lnTo>
                    <a:pt x="38" y="394"/>
                  </a:lnTo>
                  <a:lnTo>
                    <a:pt x="38" y="387"/>
                  </a:lnTo>
                  <a:lnTo>
                    <a:pt x="38" y="385"/>
                  </a:lnTo>
                  <a:lnTo>
                    <a:pt x="38" y="383"/>
                  </a:lnTo>
                  <a:lnTo>
                    <a:pt x="38" y="380"/>
                  </a:lnTo>
                  <a:lnTo>
                    <a:pt x="30" y="366"/>
                  </a:lnTo>
                  <a:lnTo>
                    <a:pt x="33" y="359"/>
                  </a:lnTo>
                  <a:lnTo>
                    <a:pt x="33" y="356"/>
                  </a:lnTo>
                  <a:lnTo>
                    <a:pt x="30" y="349"/>
                  </a:lnTo>
                  <a:lnTo>
                    <a:pt x="35" y="345"/>
                  </a:lnTo>
                  <a:lnTo>
                    <a:pt x="35" y="342"/>
                  </a:lnTo>
                  <a:lnTo>
                    <a:pt x="30" y="335"/>
                  </a:lnTo>
                  <a:lnTo>
                    <a:pt x="28" y="333"/>
                  </a:lnTo>
                  <a:lnTo>
                    <a:pt x="28" y="330"/>
                  </a:lnTo>
                  <a:lnTo>
                    <a:pt x="28" y="328"/>
                  </a:lnTo>
                  <a:lnTo>
                    <a:pt x="30" y="326"/>
                  </a:lnTo>
                  <a:lnTo>
                    <a:pt x="35" y="318"/>
                  </a:lnTo>
                  <a:lnTo>
                    <a:pt x="33" y="311"/>
                  </a:lnTo>
                  <a:lnTo>
                    <a:pt x="38" y="309"/>
                  </a:lnTo>
                  <a:lnTo>
                    <a:pt x="38" y="307"/>
                  </a:lnTo>
                  <a:lnTo>
                    <a:pt x="40" y="307"/>
                  </a:lnTo>
                  <a:lnTo>
                    <a:pt x="45" y="297"/>
                  </a:lnTo>
                  <a:lnTo>
                    <a:pt x="49" y="295"/>
                  </a:lnTo>
                  <a:lnTo>
                    <a:pt x="52" y="290"/>
                  </a:lnTo>
                  <a:lnTo>
                    <a:pt x="54" y="290"/>
                  </a:lnTo>
                  <a:lnTo>
                    <a:pt x="59" y="288"/>
                  </a:lnTo>
                  <a:lnTo>
                    <a:pt x="66" y="285"/>
                  </a:lnTo>
                  <a:lnTo>
                    <a:pt x="68" y="285"/>
                  </a:lnTo>
                  <a:lnTo>
                    <a:pt x="78" y="285"/>
                  </a:lnTo>
                  <a:lnTo>
                    <a:pt x="83" y="288"/>
                  </a:lnTo>
                  <a:lnTo>
                    <a:pt x="85" y="288"/>
                  </a:lnTo>
                  <a:lnTo>
                    <a:pt x="95" y="290"/>
                  </a:lnTo>
                  <a:lnTo>
                    <a:pt x="95" y="288"/>
                  </a:lnTo>
                  <a:lnTo>
                    <a:pt x="99" y="280"/>
                  </a:lnTo>
                  <a:lnTo>
                    <a:pt x="99" y="278"/>
                  </a:lnTo>
                  <a:lnTo>
                    <a:pt x="99" y="266"/>
                  </a:lnTo>
                  <a:lnTo>
                    <a:pt x="99" y="264"/>
                  </a:lnTo>
                  <a:lnTo>
                    <a:pt x="97" y="264"/>
                  </a:lnTo>
                  <a:lnTo>
                    <a:pt x="97" y="261"/>
                  </a:lnTo>
                  <a:lnTo>
                    <a:pt x="95" y="261"/>
                  </a:lnTo>
                  <a:lnTo>
                    <a:pt x="92" y="261"/>
                  </a:lnTo>
                  <a:lnTo>
                    <a:pt x="90" y="259"/>
                  </a:lnTo>
                  <a:lnTo>
                    <a:pt x="83" y="257"/>
                  </a:lnTo>
                  <a:lnTo>
                    <a:pt x="85" y="257"/>
                  </a:lnTo>
                  <a:lnTo>
                    <a:pt x="85" y="254"/>
                  </a:lnTo>
                  <a:lnTo>
                    <a:pt x="87" y="250"/>
                  </a:lnTo>
                  <a:lnTo>
                    <a:pt x="90" y="250"/>
                  </a:lnTo>
                  <a:lnTo>
                    <a:pt x="92" y="242"/>
                  </a:lnTo>
                  <a:lnTo>
                    <a:pt x="97" y="238"/>
                  </a:lnTo>
                  <a:lnTo>
                    <a:pt x="99" y="235"/>
                  </a:lnTo>
                  <a:lnTo>
                    <a:pt x="104" y="228"/>
                  </a:lnTo>
                  <a:lnTo>
                    <a:pt x="106" y="228"/>
                  </a:lnTo>
                  <a:lnTo>
                    <a:pt x="106" y="221"/>
                  </a:lnTo>
                  <a:lnTo>
                    <a:pt x="111" y="216"/>
                  </a:lnTo>
                  <a:lnTo>
                    <a:pt x="111" y="214"/>
                  </a:lnTo>
                  <a:lnTo>
                    <a:pt x="111" y="204"/>
                  </a:lnTo>
                  <a:lnTo>
                    <a:pt x="113" y="195"/>
                  </a:lnTo>
                  <a:lnTo>
                    <a:pt x="116" y="188"/>
                  </a:lnTo>
                  <a:lnTo>
                    <a:pt x="113" y="183"/>
                  </a:lnTo>
                  <a:lnTo>
                    <a:pt x="113" y="178"/>
                  </a:lnTo>
                  <a:lnTo>
                    <a:pt x="113" y="173"/>
                  </a:lnTo>
                  <a:lnTo>
                    <a:pt x="111" y="169"/>
                  </a:lnTo>
                  <a:lnTo>
                    <a:pt x="113" y="169"/>
                  </a:lnTo>
                  <a:lnTo>
                    <a:pt x="123" y="169"/>
                  </a:lnTo>
                  <a:lnTo>
                    <a:pt x="128" y="169"/>
                  </a:lnTo>
                  <a:lnTo>
                    <a:pt x="130" y="169"/>
                  </a:lnTo>
                  <a:lnTo>
                    <a:pt x="140" y="164"/>
                  </a:lnTo>
                  <a:lnTo>
                    <a:pt x="144" y="162"/>
                  </a:lnTo>
                  <a:lnTo>
                    <a:pt x="142" y="159"/>
                  </a:lnTo>
                  <a:lnTo>
                    <a:pt x="142" y="157"/>
                  </a:lnTo>
                  <a:lnTo>
                    <a:pt x="140" y="150"/>
                  </a:lnTo>
                  <a:lnTo>
                    <a:pt x="142" y="147"/>
                  </a:lnTo>
                  <a:lnTo>
                    <a:pt x="149" y="143"/>
                  </a:lnTo>
                  <a:lnTo>
                    <a:pt x="161" y="126"/>
                  </a:lnTo>
                  <a:lnTo>
                    <a:pt x="163" y="124"/>
                  </a:lnTo>
                  <a:lnTo>
                    <a:pt x="168" y="121"/>
                  </a:lnTo>
                  <a:lnTo>
                    <a:pt x="170" y="121"/>
                  </a:lnTo>
                  <a:lnTo>
                    <a:pt x="173" y="119"/>
                  </a:lnTo>
                  <a:lnTo>
                    <a:pt x="173" y="109"/>
                  </a:lnTo>
                  <a:lnTo>
                    <a:pt x="173" y="107"/>
                  </a:lnTo>
                  <a:lnTo>
                    <a:pt x="168" y="102"/>
                  </a:lnTo>
                  <a:lnTo>
                    <a:pt x="163" y="95"/>
                  </a:lnTo>
                  <a:lnTo>
                    <a:pt x="166" y="93"/>
                  </a:lnTo>
                  <a:lnTo>
                    <a:pt x="166" y="90"/>
                  </a:lnTo>
                  <a:lnTo>
                    <a:pt x="175" y="90"/>
                  </a:lnTo>
                  <a:lnTo>
                    <a:pt x="175" y="88"/>
                  </a:lnTo>
                  <a:lnTo>
                    <a:pt x="178" y="86"/>
                  </a:lnTo>
                  <a:lnTo>
                    <a:pt x="180" y="83"/>
                  </a:lnTo>
                  <a:lnTo>
                    <a:pt x="182" y="76"/>
                  </a:lnTo>
                  <a:lnTo>
                    <a:pt x="185" y="67"/>
                  </a:lnTo>
                  <a:lnTo>
                    <a:pt x="187" y="67"/>
                  </a:lnTo>
                  <a:lnTo>
                    <a:pt x="194" y="62"/>
                  </a:lnTo>
                  <a:lnTo>
                    <a:pt x="199" y="59"/>
                  </a:lnTo>
                  <a:lnTo>
                    <a:pt x="204" y="55"/>
                  </a:lnTo>
                  <a:lnTo>
                    <a:pt x="211" y="59"/>
                  </a:lnTo>
                  <a:lnTo>
                    <a:pt x="216" y="59"/>
                  </a:lnTo>
                  <a:lnTo>
                    <a:pt x="218" y="62"/>
                  </a:lnTo>
                  <a:lnTo>
                    <a:pt x="223" y="64"/>
                  </a:lnTo>
                  <a:lnTo>
                    <a:pt x="225" y="64"/>
                  </a:lnTo>
                  <a:lnTo>
                    <a:pt x="225" y="59"/>
                  </a:lnTo>
                  <a:lnTo>
                    <a:pt x="230" y="55"/>
                  </a:lnTo>
                  <a:lnTo>
                    <a:pt x="232" y="50"/>
                  </a:lnTo>
                  <a:lnTo>
                    <a:pt x="230" y="38"/>
                  </a:lnTo>
                  <a:lnTo>
                    <a:pt x="230" y="31"/>
                  </a:lnTo>
                  <a:lnTo>
                    <a:pt x="239" y="29"/>
                  </a:lnTo>
                  <a:lnTo>
                    <a:pt x="246" y="33"/>
                  </a:lnTo>
                  <a:lnTo>
                    <a:pt x="258" y="33"/>
                  </a:lnTo>
                  <a:lnTo>
                    <a:pt x="289" y="43"/>
                  </a:lnTo>
                  <a:lnTo>
                    <a:pt x="291" y="40"/>
                  </a:lnTo>
                  <a:lnTo>
                    <a:pt x="301" y="33"/>
                  </a:lnTo>
                  <a:lnTo>
                    <a:pt x="294" y="33"/>
                  </a:lnTo>
                  <a:lnTo>
                    <a:pt x="294" y="31"/>
                  </a:lnTo>
                  <a:lnTo>
                    <a:pt x="291" y="31"/>
                  </a:lnTo>
                  <a:lnTo>
                    <a:pt x="294" y="29"/>
                  </a:lnTo>
                  <a:lnTo>
                    <a:pt x="299" y="24"/>
                  </a:lnTo>
                  <a:lnTo>
                    <a:pt x="303" y="17"/>
                  </a:lnTo>
                  <a:lnTo>
                    <a:pt x="303" y="10"/>
                  </a:lnTo>
                  <a:lnTo>
                    <a:pt x="294" y="2"/>
                  </a:lnTo>
                  <a:lnTo>
                    <a:pt x="296" y="2"/>
                  </a:lnTo>
                  <a:lnTo>
                    <a:pt x="308" y="0"/>
                  </a:lnTo>
                  <a:lnTo>
                    <a:pt x="310" y="0"/>
                  </a:lnTo>
                  <a:lnTo>
                    <a:pt x="310" y="2"/>
                  </a:lnTo>
                  <a:lnTo>
                    <a:pt x="313" y="0"/>
                  </a:lnTo>
                  <a:lnTo>
                    <a:pt x="313" y="2"/>
                  </a:lnTo>
                  <a:lnTo>
                    <a:pt x="315" y="2"/>
                  </a:lnTo>
                  <a:lnTo>
                    <a:pt x="318" y="2"/>
                  </a:lnTo>
                  <a:lnTo>
                    <a:pt x="320" y="2"/>
                  </a:lnTo>
                  <a:lnTo>
                    <a:pt x="320" y="5"/>
                  </a:lnTo>
                  <a:lnTo>
                    <a:pt x="322" y="5"/>
                  </a:lnTo>
                  <a:lnTo>
                    <a:pt x="322" y="7"/>
                  </a:lnTo>
                  <a:lnTo>
                    <a:pt x="320" y="7"/>
                  </a:lnTo>
                  <a:lnTo>
                    <a:pt x="320" y="10"/>
                  </a:lnTo>
                  <a:lnTo>
                    <a:pt x="322" y="10"/>
                  </a:lnTo>
                  <a:lnTo>
                    <a:pt x="325" y="10"/>
                  </a:lnTo>
                  <a:lnTo>
                    <a:pt x="325" y="12"/>
                  </a:lnTo>
                  <a:lnTo>
                    <a:pt x="327" y="12"/>
                  </a:lnTo>
                  <a:lnTo>
                    <a:pt x="329" y="12"/>
                  </a:lnTo>
                  <a:lnTo>
                    <a:pt x="329" y="14"/>
                  </a:lnTo>
                  <a:lnTo>
                    <a:pt x="332" y="14"/>
                  </a:lnTo>
                  <a:lnTo>
                    <a:pt x="334" y="14"/>
                  </a:lnTo>
                  <a:lnTo>
                    <a:pt x="334" y="17"/>
                  </a:lnTo>
                  <a:lnTo>
                    <a:pt x="334" y="19"/>
                  </a:lnTo>
                  <a:lnTo>
                    <a:pt x="337" y="19"/>
                  </a:lnTo>
                  <a:lnTo>
                    <a:pt x="339" y="19"/>
                  </a:lnTo>
                  <a:lnTo>
                    <a:pt x="339" y="21"/>
                  </a:lnTo>
                  <a:lnTo>
                    <a:pt x="341" y="24"/>
                  </a:lnTo>
                  <a:lnTo>
                    <a:pt x="344" y="24"/>
                  </a:lnTo>
                  <a:lnTo>
                    <a:pt x="346" y="24"/>
                  </a:lnTo>
                  <a:lnTo>
                    <a:pt x="346" y="26"/>
                  </a:lnTo>
                  <a:lnTo>
                    <a:pt x="348" y="26"/>
                  </a:lnTo>
                  <a:lnTo>
                    <a:pt x="348" y="29"/>
                  </a:lnTo>
                  <a:lnTo>
                    <a:pt x="351" y="29"/>
                  </a:lnTo>
                  <a:lnTo>
                    <a:pt x="353" y="29"/>
                  </a:lnTo>
                  <a:lnTo>
                    <a:pt x="356" y="29"/>
                  </a:lnTo>
                  <a:lnTo>
                    <a:pt x="356" y="31"/>
                  </a:lnTo>
                  <a:lnTo>
                    <a:pt x="358" y="31"/>
                  </a:lnTo>
                  <a:lnTo>
                    <a:pt x="358" y="33"/>
                  </a:lnTo>
                  <a:lnTo>
                    <a:pt x="360" y="33"/>
                  </a:lnTo>
                  <a:lnTo>
                    <a:pt x="360" y="36"/>
                  </a:lnTo>
                  <a:lnTo>
                    <a:pt x="363" y="36"/>
                  </a:lnTo>
                  <a:lnTo>
                    <a:pt x="365" y="36"/>
                  </a:lnTo>
                  <a:lnTo>
                    <a:pt x="367" y="36"/>
                  </a:lnTo>
                  <a:lnTo>
                    <a:pt x="370" y="36"/>
                  </a:lnTo>
                  <a:lnTo>
                    <a:pt x="372" y="36"/>
                  </a:lnTo>
                  <a:lnTo>
                    <a:pt x="374" y="36"/>
                  </a:lnTo>
                  <a:lnTo>
                    <a:pt x="374" y="38"/>
                  </a:lnTo>
                  <a:lnTo>
                    <a:pt x="377" y="38"/>
                  </a:lnTo>
                  <a:lnTo>
                    <a:pt x="379" y="38"/>
                  </a:lnTo>
                  <a:lnTo>
                    <a:pt x="382" y="38"/>
                  </a:lnTo>
                  <a:lnTo>
                    <a:pt x="382" y="40"/>
                  </a:lnTo>
                  <a:lnTo>
                    <a:pt x="384" y="40"/>
                  </a:lnTo>
                  <a:lnTo>
                    <a:pt x="386" y="40"/>
                  </a:lnTo>
                  <a:lnTo>
                    <a:pt x="386" y="43"/>
                  </a:lnTo>
                  <a:lnTo>
                    <a:pt x="389" y="43"/>
                  </a:lnTo>
                  <a:lnTo>
                    <a:pt x="391" y="43"/>
                  </a:lnTo>
                  <a:lnTo>
                    <a:pt x="391" y="45"/>
                  </a:lnTo>
                  <a:lnTo>
                    <a:pt x="393" y="45"/>
                  </a:lnTo>
                  <a:lnTo>
                    <a:pt x="393" y="48"/>
                  </a:lnTo>
                  <a:lnTo>
                    <a:pt x="396" y="48"/>
                  </a:lnTo>
                  <a:lnTo>
                    <a:pt x="396" y="50"/>
                  </a:lnTo>
                  <a:lnTo>
                    <a:pt x="396" y="52"/>
                  </a:lnTo>
                  <a:lnTo>
                    <a:pt x="396" y="55"/>
                  </a:lnTo>
                  <a:lnTo>
                    <a:pt x="398" y="55"/>
                  </a:lnTo>
                  <a:lnTo>
                    <a:pt x="401" y="55"/>
                  </a:lnTo>
                  <a:lnTo>
                    <a:pt x="403" y="55"/>
                  </a:lnTo>
                  <a:lnTo>
                    <a:pt x="403" y="57"/>
                  </a:lnTo>
                  <a:lnTo>
                    <a:pt x="403" y="59"/>
                  </a:lnTo>
                  <a:lnTo>
                    <a:pt x="405" y="59"/>
                  </a:lnTo>
                  <a:lnTo>
                    <a:pt x="403" y="59"/>
                  </a:lnTo>
                  <a:lnTo>
                    <a:pt x="405" y="59"/>
                  </a:lnTo>
                  <a:lnTo>
                    <a:pt x="408" y="62"/>
                  </a:lnTo>
                  <a:lnTo>
                    <a:pt x="410" y="62"/>
                  </a:lnTo>
                  <a:lnTo>
                    <a:pt x="410" y="64"/>
                  </a:lnTo>
                  <a:lnTo>
                    <a:pt x="412" y="64"/>
                  </a:lnTo>
                  <a:lnTo>
                    <a:pt x="412" y="67"/>
                  </a:lnTo>
                  <a:lnTo>
                    <a:pt x="412" y="69"/>
                  </a:lnTo>
                  <a:lnTo>
                    <a:pt x="410" y="69"/>
                  </a:lnTo>
                  <a:lnTo>
                    <a:pt x="408" y="69"/>
                  </a:lnTo>
                  <a:lnTo>
                    <a:pt x="408" y="71"/>
                  </a:lnTo>
                  <a:lnTo>
                    <a:pt x="408" y="74"/>
                  </a:lnTo>
                  <a:lnTo>
                    <a:pt x="408" y="76"/>
                  </a:lnTo>
                  <a:lnTo>
                    <a:pt x="408" y="78"/>
                  </a:lnTo>
                  <a:lnTo>
                    <a:pt x="408" y="81"/>
                  </a:lnTo>
                  <a:lnTo>
                    <a:pt x="408" y="83"/>
                  </a:lnTo>
                  <a:lnTo>
                    <a:pt x="410" y="83"/>
                  </a:lnTo>
                  <a:lnTo>
                    <a:pt x="410" y="86"/>
                  </a:lnTo>
                  <a:lnTo>
                    <a:pt x="410" y="88"/>
                  </a:lnTo>
                  <a:lnTo>
                    <a:pt x="408" y="88"/>
                  </a:lnTo>
                  <a:lnTo>
                    <a:pt x="405" y="88"/>
                  </a:lnTo>
                  <a:lnTo>
                    <a:pt x="408" y="88"/>
                  </a:lnTo>
                  <a:lnTo>
                    <a:pt x="408" y="90"/>
                  </a:lnTo>
                  <a:lnTo>
                    <a:pt x="405" y="90"/>
                  </a:lnTo>
                  <a:lnTo>
                    <a:pt x="405" y="93"/>
                  </a:lnTo>
                  <a:lnTo>
                    <a:pt x="405" y="95"/>
                  </a:lnTo>
                  <a:lnTo>
                    <a:pt x="408" y="95"/>
                  </a:lnTo>
                  <a:lnTo>
                    <a:pt x="410" y="95"/>
                  </a:lnTo>
                  <a:lnTo>
                    <a:pt x="410" y="93"/>
                  </a:lnTo>
                  <a:lnTo>
                    <a:pt x="410" y="95"/>
                  </a:lnTo>
                  <a:lnTo>
                    <a:pt x="412" y="95"/>
                  </a:lnTo>
                  <a:lnTo>
                    <a:pt x="415" y="95"/>
                  </a:lnTo>
                  <a:lnTo>
                    <a:pt x="417" y="95"/>
                  </a:lnTo>
                  <a:lnTo>
                    <a:pt x="417" y="97"/>
                  </a:lnTo>
                  <a:lnTo>
                    <a:pt x="415" y="97"/>
                  </a:lnTo>
                  <a:lnTo>
                    <a:pt x="415" y="100"/>
                  </a:lnTo>
                  <a:lnTo>
                    <a:pt x="417" y="100"/>
                  </a:lnTo>
                  <a:lnTo>
                    <a:pt x="417" y="102"/>
                  </a:lnTo>
                  <a:lnTo>
                    <a:pt x="415" y="102"/>
                  </a:lnTo>
                  <a:lnTo>
                    <a:pt x="415" y="105"/>
                  </a:lnTo>
                  <a:lnTo>
                    <a:pt x="412" y="105"/>
                  </a:lnTo>
                  <a:lnTo>
                    <a:pt x="410" y="105"/>
                  </a:lnTo>
                  <a:lnTo>
                    <a:pt x="410" y="107"/>
                  </a:lnTo>
                  <a:lnTo>
                    <a:pt x="410" y="109"/>
                  </a:lnTo>
                  <a:lnTo>
                    <a:pt x="410" y="112"/>
                  </a:lnTo>
                  <a:lnTo>
                    <a:pt x="412" y="114"/>
                  </a:lnTo>
                  <a:lnTo>
                    <a:pt x="412" y="116"/>
                  </a:lnTo>
                  <a:lnTo>
                    <a:pt x="415" y="116"/>
                  </a:lnTo>
                  <a:lnTo>
                    <a:pt x="415" y="119"/>
                  </a:lnTo>
                  <a:lnTo>
                    <a:pt x="417" y="119"/>
                  </a:lnTo>
                  <a:lnTo>
                    <a:pt x="417" y="121"/>
                  </a:lnTo>
                  <a:lnTo>
                    <a:pt x="420" y="121"/>
                  </a:lnTo>
                  <a:lnTo>
                    <a:pt x="420" y="124"/>
                  </a:lnTo>
                  <a:lnTo>
                    <a:pt x="420" y="126"/>
                  </a:lnTo>
                  <a:lnTo>
                    <a:pt x="422" y="126"/>
                  </a:lnTo>
                  <a:lnTo>
                    <a:pt x="422" y="128"/>
                  </a:lnTo>
                  <a:lnTo>
                    <a:pt x="424" y="128"/>
                  </a:lnTo>
                  <a:lnTo>
                    <a:pt x="424" y="131"/>
                  </a:lnTo>
                  <a:lnTo>
                    <a:pt x="424" y="133"/>
                  </a:lnTo>
                  <a:lnTo>
                    <a:pt x="422" y="133"/>
                  </a:lnTo>
                  <a:lnTo>
                    <a:pt x="420" y="133"/>
                  </a:lnTo>
                  <a:lnTo>
                    <a:pt x="420" y="135"/>
                  </a:lnTo>
                  <a:lnTo>
                    <a:pt x="422" y="135"/>
                  </a:lnTo>
                  <a:lnTo>
                    <a:pt x="422" y="138"/>
                  </a:lnTo>
                  <a:lnTo>
                    <a:pt x="420" y="138"/>
                  </a:lnTo>
                  <a:lnTo>
                    <a:pt x="420" y="140"/>
                  </a:lnTo>
                  <a:lnTo>
                    <a:pt x="420" y="143"/>
                  </a:lnTo>
                  <a:lnTo>
                    <a:pt x="420" y="145"/>
                  </a:lnTo>
                  <a:lnTo>
                    <a:pt x="417" y="147"/>
                  </a:lnTo>
                  <a:lnTo>
                    <a:pt x="415" y="147"/>
                  </a:lnTo>
                  <a:lnTo>
                    <a:pt x="415" y="150"/>
                  </a:lnTo>
                  <a:lnTo>
                    <a:pt x="415" y="147"/>
                  </a:lnTo>
                  <a:lnTo>
                    <a:pt x="415" y="150"/>
                  </a:lnTo>
                  <a:lnTo>
                    <a:pt x="412" y="150"/>
                  </a:lnTo>
                  <a:lnTo>
                    <a:pt x="412" y="152"/>
                  </a:lnTo>
                  <a:lnTo>
                    <a:pt x="412" y="154"/>
                  </a:lnTo>
                  <a:lnTo>
                    <a:pt x="412" y="157"/>
                  </a:lnTo>
                  <a:lnTo>
                    <a:pt x="412" y="159"/>
                  </a:lnTo>
                  <a:lnTo>
                    <a:pt x="412" y="162"/>
                  </a:lnTo>
                  <a:lnTo>
                    <a:pt x="412" y="164"/>
                  </a:lnTo>
                  <a:lnTo>
                    <a:pt x="415" y="164"/>
                  </a:lnTo>
                  <a:lnTo>
                    <a:pt x="415" y="166"/>
                  </a:lnTo>
                  <a:lnTo>
                    <a:pt x="417" y="166"/>
                  </a:lnTo>
                  <a:lnTo>
                    <a:pt x="420" y="169"/>
                  </a:lnTo>
                  <a:lnTo>
                    <a:pt x="422" y="169"/>
                  </a:lnTo>
                  <a:lnTo>
                    <a:pt x="422" y="171"/>
                  </a:lnTo>
                  <a:lnTo>
                    <a:pt x="422" y="173"/>
                  </a:lnTo>
                  <a:lnTo>
                    <a:pt x="424" y="176"/>
                  </a:lnTo>
                  <a:lnTo>
                    <a:pt x="427" y="178"/>
                  </a:lnTo>
                  <a:lnTo>
                    <a:pt x="424" y="178"/>
                  </a:lnTo>
                  <a:lnTo>
                    <a:pt x="427" y="178"/>
                  </a:lnTo>
                  <a:lnTo>
                    <a:pt x="424" y="178"/>
                  </a:lnTo>
                  <a:lnTo>
                    <a:pt x="427" y="178"/>
                  </a:lnTo>
                  <a:lnTo>
                    <a:pt x="427" y="181"/>
                  </a:lnTo>
                  <a:lnTo>
                    <a:pt x="429" y="181"/>
                  </a:lnTo>
                  <a:lnTo>
                    <a:pt x="429" y="183"/>
                  </a:lnTo>
                  <a:lnTo>
                    <a:pt x="427" y="183"/>
                  </a:lnTo>
                  <a:lnTo>
                    <a:pt x="429" y="183"/>
                  </a:lnTo>
                  <a:lnTo>
                    <a:pt x="427" y="183"/>
                  </a:lnTo>
                  <a:lnTo>
                    <a:pt x="429" y="183"/>
                  </a:lnTo>
                  <a:lnTo>
                    <a:pt x="429" y="185"/>
                  </a:lnTo>
                  <a:lnTo>
                    <a:pt x="429" y="188"/>
                  </a:lnTo>
                  <a:lnTo>
                    <a:pt x="427" y="188"/>
                  </a:lnTo>
                  <a:close/>
                  <a:moveTo>
                    <a:pt x="204" y="383"/>
                  </a:moveTo>
                  <a:lnTo>
                    <a:pt x="204" y="385"/>
                  </a:lnTo>
                  <a:lnTo>
                    <a:pt x="206" y="385"/>
                  </a:lnTo>
                  <a:lnTo>
                    <a:pt x="204" y="385"/>
                  </a:lnTo>
                  <a:lnTo>
                    <a:pt x="204" y="383"/>
                  </a:lnTo>
                  <a:lnTo>
                    <a:pt x="206" y="383"/>
                  </a:lnTo>
                  <a:lnTo>
                    <a:pt x="204" y="38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0" name="Freeform 56649"/>
            <p:cNvSpPr>
              <a:spLocks noEditPoints="1"/>
            </p:cNvSpPr>
            <p:nvPr/>
          </p:nvSpPr>
          <p:spPr bwMode="auto">
            <a:xfrm>
              <a:off x="2601910" y="3373450"/>
              <a:ext cx="688974" cy="860427"/>
            </a:xfrm>
            <a:custGeom>
              <a:avLst/>
              <a:gdLst>
                <a:gd name="T0" fmla="*/ 156 w 434"/>
                <a:gd name="T1" fmla="*/ 532 h 542"/>
                <a:gd name="T2" fmla="*/ 183 w 434"/>
                <a:gd name="T3" fmla="*/ 490 h 542"/>
                <a:gd name="T4" fmla="*/ 33 w 434"/>
                <a:gd name="T5" fmla="*/ 468 h 542"/>
                <a:gd name="T6" fmla="*/ 26 w 434"/>
                <a:gd name="T7" fmla="*/ 456 h 542"/>
                <a:gd name="T8" fmla="*/ 24 w 434"/>
                <a:gd name="T9" fmla="*/ 452 h 542"/>
                <a:gd name="T10" fmla="*/ 261 w 434"/>
                <a:gd name="T11" fmla="*/ 449 h 542"/>
                <a:gd name="T12" fmla="*/ 187 w 434"/>
                <a:gd name="T13" fmla="*/ 442 h 542"/>
                <a:gd name="T14" fmla="*/ 185 w 434"/>
                <a:gd name="T15" fmla="*/ 440 h 542"/>
                <a:gd name="T16" fmla="*/ 24 w 434"/>
                <a:gd name="T17" fmla="*/ 437 h 542"/>
                <a:gd name="T18" fmla="*/ 268 w 434"/>
                <a:gd name="T19" fmla="*/ 435 h 542"/>
                <a:gd name="T20" fmla="*/ 190 w 434"/>
                <a:gd name="T21" fmla="*/ 428 h 542"/>
                <a:gd name="T22" fmla="*/ 194 w 434"/>
                <a:gd name="T23" fmla="*/ 425 h 542"/>
                <a:gd name="T24" fmla="*/ 197 w 434"/>
                <a:gd name="T25" fmla="*/ 421 h 542"/>
                <a:gd name="T26" fmla="*/ 194 w 434"/>
                <a:gd name="T27" fmla="*/ 421 h 542"/>
                <a:gd name="T28" fmla="*/ 190 w 434"/>
                <a:gd name="T29" fmla="*/ 411 h 542"/>
                <a:gd name="T30" fmla="*/ 199 w 434"/>
                <a:gd name="T31" fmla="*/ 409 h 542"/>
                <a:gd name="T32" fmla="*/ 171 w 434"/>
                <a:gd name="T33" fmla="*/ 402 h 542"/>
                <a:gd name="T34" fmla="*/ 211 w 434"/>
                <a:gd name="T35" fmla="*/ 395 h 542"/>
                <a:gd name="T36" fmla="*/ 7 w 434"/>
                <a:gd name="T37" fmla="*/ 390 h 542"/>
                <a:gd name="T38" fmla="*/ 230 w 434"/>
                <a:gd name="T39" fmla="*/ 385 h 542"/>
                <a:gd name="T40" fmla="*/ 242 w 434"/>
                <a:gd name="T41" fmla="*/ 385 h 542"/>
                <a:gd name="T42" fmla="*/ 230 w 434"/>
                <a:gd name="T43" fmla="*/ 385 h 542"/>
                <a:gd name="T44" fmla="*/ 249 w 434"/>
                <a:gd name="T45" fmla="*/ 378 h 542"/>
                <a:gd name="T46" fmla="*/ 249 w 434"/>
                <a:gd name="T47" fmla="*/ 376 h 542"/>
                <a:gd name="T48" fmla="*/ 256 w 434"/>
                <a:gd name="T49" fmla="*/ 371 h 542"/>
                <a:gd name="T50" fmla="*/ 256 w 434"/>
                <a:gd name="T51" fmla="*/ 368 h 542"/>
                <a:gd name="T52" fmla="*/ 254 w 434"/>
                <a:gd name="T53" fmla="*/ 364 h 542"/>
                <a:gd name="T54" fmla="*/ 237 w 434"/>
                <a:gd name="T55" fmla="*/ 361 h 542"/>
                <a:gd name="T56" fmla="*/ 249 w 434"/>
                <a:gd name="T57" fmla="*/ 359 h 542"/>
                <a:gd name="T58" fmla="*/ 251 w 434"/>
                <a:gd name="T59" fmla="*/ 359 h 542"/>
                <a:gd name="T60" fmla="*/ 256 w 434"/>
                <a:gd name="T61" fmla="*/ 357 h 542"/>
                <a:gd name="T62" fmla="*/ 251 w 434"/>
                <a:gd name="T63" fmla="*/ 357 h 542"/>
                <a:gd name="T64" fmla="*/ 273 w 434"/>
                <a:gd name="T65" fmla="*/ 352 h 542"/>
                <a:gd name="T66" fmla="*/ 254 w 434"/>
                <a:gd name="T67" fmla="*/ 352 h 542"/>
                <a:gd name="T68" fmla="*/ 261 w 434"/>
                <a:gd name="T69" fmla="*/ 349 h 542"/>
                <a:gd name="T70" fmla="*/ 258 w 434"/>
                <a:gd name="T71" fmla="*/ 347 h 542"/>
                <a:gd name="T72" fmla="*/ 270 w 434"/>
                <a:gd name="T73" fmla="*/ 342 h 542"/>
                <a:gd name="T74" fmla="*/ 263 w 434"/>
                <a:gd name="T75" fmla="*/ 340 h 542"/>
                <a:gd name="T76" fmla="*/ 251 w 434"/>
                <a:gd name="T77" fmla="*/ 316 h 542"/>
                <a:gd name="T78" fmla="*/ 254 w 434"/>
                <a:gd name="T79" fmla="*/ 316 h 542"/>
                <a:gd name="T80" fmla="*/ 249 w 434"/>
                <a:gd name="T81" fmla="*/ 311 h 542"/>
                <a:gd name="T82" fmla="*/ 249 w 434"/>
                <a:gd name="T83" fmla="*/ 309 h 542"/>
                <a:gd name="T84" fmla="*/ 216 w 434"/>
                <a:gd name="T85" fmla="*/ 290 h 542"/>
                <a:gd name="T86" fmla="*/ 211 w 434"/>
                <a:gd name="T87" fmla="*/ 245 h 542"/>
                <a:gd name="T88" fmla="*/ 218 w 434"/>
                <a:gd name="T89" fmla="*/ 200 h 542"/>
                <a:gd name="T90" fmla="*/ 230 w 434"/>
                <a:gd name="T91" fmla="*/ 178 h 542"/>
                <a:gd name="T92" fmla="*/ 254 w 434"/>
                <a:gd name="T93" fmla="*/ 164 h 542"/>
                <a:gd name="T94" fmla="*/ 258 w 434"/>
                <a:gd name="T95" fmla="*/ 157 h 542"/>
                <a:gd name="T96" fmla="*/ 294 w 434"/>
                <a:gd name="T97" fmla="*/ 136 h 542"/>
                <a:gd name="T98" fmla="*/ 330 w 434"/>
                <a:gd name="T99" fmla="*/ 126 h 542"/>
                <a:gd name="T100" fmla="*/ 349 w 434"/>
                <a:gd name="T101" fmla="*/ 55 h 542"/>
                <a:gd name="T102" fmla="*/ 346 w 434"/>
                <a:gd name="T103" fmla="*/ 38 h 542"/>
                <a:gd name="T104" fmla="*/ 377 w 434"/>
                <a:gd name="T105" fmla="*/ 36 h 542"/>
                <a:gd name="T106" fmla="*/ 375 w 434"/>
                <a:gd name="T107" fmla="*/ 29 h 542"/>
                <a:gd name="T108" fmla="*/ 365 w 434"/>
                <a:gd name="T109" fmla="*/ 26 h 542"/>
                <a:gd name="T110" fmla="*/ 389 w 434"/>
                <a:gd name="T111" fmla="*/ 24 h 542"/>
                <a:gd name="T112" fmla="*/ 377 w 434"/>
                <a:gd name="T113" fmla="*/ 22 h 542"/>
                <a:gd name="T114" fmla="*/ 398 w 434"/>
                <a:gd name="T115" fmla="*/ 17 h 542"/>
                <a:gd name="T116" fmla="*/ 432 w 434"/>
                <a:gd name="T117" fmla="*/ 17 h 542"/>
                <a:gd name="T118" fmla="*/ 356 w 434"/>
                <a:gd name="T119" fmla="*/ 15 h 542"/>
                <a:gd name="T120" fmla="*/ 427 w 434"/>
                <a:gd name="T121" fmla="*/ 12 h 542"/>
                <a:gd name="T122" fmla="*/ 403 w 434"/>
                <a:gd name="T123" fmla="*/ 10 h 542"/>
                <a:gd name="T124" fmla="*/ 432 w 434"/>
                <a:gd name="T125"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4" h="542">
                  <a:moveTo>
                    <a:pt x="57" y="542"/>
                  </a:moveTo>
                  <a:lnTo>
                    <a:pt x="54" y="542"/>
                  </a:lnTo>
                  <a:lnTo>
                    <a:pt x="57" y="542"/>
                  </a:lnTo>
                  <a:close/>
                  <a:moveTo>
                    <a:pt x="159" y="535"/>
                  </a:moveTo>
                  <a:lnTo>
                    <a:pt x="159" y="537"/>
                  </a:lnTo>
                  <a:lnTo>
                    <a:pt x="159" y="535"/>
                  </a:lnTo>
                  <a:close/>
                  <a:moveTo>
                    <a:pt x="159" y="535"/>
                  </a:moveTo>
                  <a:lnTo>
                    <a:pt x="156" y="535"/>
                  </a:lnTo>
                  <a:lnTo>
                    <a:pt x="159" y="535"/>
                  </a:lnTo>
                  <a:lnTo>
                    <a:pt x="156" y="535"/>
                  </a:lnTo>
                  <a:lnTo>
                    <a:pt x="159" y="535"/>
                  </a:lnTo>
                  <a:lnTo>
                    <a:pt x="156" y="535"/>
                  </a:lnTo>
                  <a:lnTo>
                    <a:pt x="159" y="535"/>
                  </a:lnTo>
                  <a:close/>
                  <a:moveTo>
                    <a:pt x="156" y="535"/>
                  </a:moveTo>
                  <a:lnTo>
                    <a:pt x="156" y="532"/>
                  </a:lnTo>
                  <a:lnTo>
                    <a:pt x="156" y="535"/>
                  </a:lnTo>
                  <a:close/>
                  <a:moveTo>
                    <a:pt x="156" y="532"/>
                  </a:moveTo>
                  <a:lnTo>
                    <a:pt x="156" y="535"/>
                  </a:lnTo>
                  <a:lnTo>
                    <a:pt x="156" y="532"/>
                  </a:lnTo>
                  <a:close/>
                  <a:moveTo>
                    <a:pt x="159" y="532"/>
                  </a:moveTo>
                  <a:lnTo>
                    <a:pt x="156" y="532"/>
                  </a:lnTo>
                  <a:lnTo>
                    <a:pt x="159" y="532"/>
                  </a:lnTo>
                  <a:close/>
                  <a:moveTo>
                    <a:pt x="133" y="530"/>
                  </a:moveTo>
                  <a:lnTo>
                    <a:pt x="133" y="532"/>
                  </a:lnTo>
                  <a:lnTo>
                    <a:pt x="130" y="530"/>
                  </a:lnTo>
                  <a:lnTo>
                    <a:pt x="133" y="530"/>
                  </a:lnTo>
                  <a:close/>
                  <a:moveTo>
                    <a:pt x="149" y="530"/>
                  </a:moveTo>
                  <a:lnTo>
                    <a:pt x="149" y="532"/>
                  </a:lnTo>
                  <a:lnTo>
                    <a:pt x="147" y="532"/>
                  </a:lnTo>
                  <a:lnTo>
                    <a:pt x="149" y="532"/>
                  </a:lnTo>
                  <a:lnTo>
                    <a:pt x="147" y="532"/>
                  </a:lnTo>
                  <a:lnTo>
                    <a:pt x="147" y="530"/>
                  </a:lnTo>
                  <a:lnTo>
                    <a:pt x="149" y="530"/>
                  </a:lnTo>
                  <a:close/>
                  <a:moveTo>
                    <a:pt x="154" y="530"/>
                  </a:moveTo>
                  <a:lnTo>
                    <a:pt x="156" y="530"/>
                  </a:lnTo>
                  <a:lnTo>
                    <a:pt x="156" y="532"/>
                  </a:lnTo>
                  <a:lnTo>
                    <a:pt x="156" y="530"/>
                  </a:lnTo>
                  <a:lnTo>
                    <a:pt x="156" y="532"/>
                  </a:lnTo>
                  <a:lnTo>
                    <a:pt x="154" y="532"/>
                  </a:lnTo>
                  <a:lnTo>
                    <a:pt x="154" y="530"/>
                  </a:lnTo>
                  <a:close/>
                  <a:moveTo>
                    <a:pt x="149" y="530"/>
                  </a:moveTo>
                  <a:lnTo>
                    <a:pt x="152" y="530"/>
                  </a:lnTo>
                  <a:lnTo>
                    <a:pt x="152" y="532"/>
                  </a:lnTo>
                  <a:lnTo>
                    <a:pt x="149" y="532"/>
                  </a:lnTo>
                  <a:lnTo>
                    <a:pt x="149" y="530"/>
                  </a:lnTo>
                  <a:close/>
                  <a:moveTo>
                    <a:pt x="154" y="530"/>
                  </a:moveTo>
                  <a:lnTo>
                    <a:pt x="154" y="532"/>
                  </a:lnTo>
                  <a:lnTo>
                    <a:pt x="152" y="532"/>
                  </a:lnTo>
                  <a:lnTo>
                    <a:pt x="152" y="530"/>
                  </a:lnTo>
                  <a:lnTo>
                    <a:pt x="154" y="530"/>
                  </a:lnTo>
                  <a:close/>
                  <a:moveTo>
                    <a:pt x="147" y="528"/>
                  </a:moveTo>
                  <a:lnTo>
                    <a:pt x="147" y="530"/>
                  </a:lnTo>
                  <a:lnTo>
                    <a:pt x="147" y="528"/>
                  </a:lnTo>
                  <a:lnTo>
                    <a:pt x="147" y="530"/>
                  </a:lnTo>
                  <a:lnTo>
                    <a:pt x="147" y="528"/>
                  </a:lnTo>
                  <a:close/>
                  <a:moveTo>
                    <a:pt x="135" y="528"/>
                  </a:moveTo>
                  <a:lnTo>
                    <a:pt x="133" y="528"/>
                  </a:lnTo>
                  <a:lnTo>
                    <a:pt x="135" y="528"/>
                  </a:lnTo>
                  <a:close/>
                  <a:moveTo>
                    <a:pt x="154" y="528"/>
                  </a:moveTo>
                  <a:lnTo>
                    <a:pt x="154" y="530"/>
                  </a:lnTo>
                  <a:lnTo>
                    <a:pt x="154" y="528"/>
                  </a:lnTo>
                  <a:close/>
                  <a:moveTo>
                    <a:pt x="52" y="513"/>
                  </a:moveTo>
                  <a:lnTo>
                    <a:pt x="52" y="516"/>
                  </a:lnTo>
                  <a:lnTo>
                    <a:pt x="52" y="513"/>
                  </a:lnTo>
                  <a:close/>
                  <a:moveTo>
                    <a:pt x="180" y="492"/>
                  </a:moveTo>
                  <a:lnTo>
                    <a:pt x="180" y="490"/>
                  </a:lnTo>
                  <a:lnTo>
                    <a:pt x="180" y="492"/>
                  </a:lnTo>
                  <a:close/>
                  <a:moveTo>
                    <a:pt x="183" y="490"/>
                  </a:moveTo>
                  <a:lnTo>
                    <a:pt x="180" y="490"/>
                  </a:lnTo>
                  <a:lnTo>
                    <a:pt x="183" y="490"/>
                  </a:lnTo>
                  <a:lnTo>
                    <a:pt x="183" y="487"/>
                  </a:lnTo>
                  <a:lnTo>
                    <a:pt x="183" y="490"/>
                  </a:lnTo>
                  <a:close/>
                  <a:moveTo>
                    <a:pt x="185" y="480"/>
                  </a:moveTo>
                  <a:lnTo>
                    <a:pt x="187" y="480"/>
                  </a:lnTo>
                  <a:lnTo>
                    <a:pt x="185" y="480"/>
                  </a:lnTo>
                  <a:close/>
                  <a:moveTo>
                    <a:pt x="247" y="480"/>
                  </a:moveTo>
                  <a:lnTo>
                    <a:pt x="247" y="478"/>
                  </a:lnTo>
                  <a:lnTo>
                    <a:pt x="247" y="480"/>
                  </a:lnTo>
                  <a:close/>
                  <a:moveTo>
                    <a:pt x="249" y="480"/>
                  </a:moveTo>
                  <a:lnTo>
                    <a:pt x="249" y="478"/>
                  </a:lnTo>
                  <a:lnTo>
                    <a:pt x="249" y="480"/>
                  </a:lnTo>
                  <a:close/>
                  <a:moveTo>
                    <a:pt x="40" y="478"/>
                  </a:moveTo>
                  <a:lnTo>
                    <a:pt x="38" y="478"/>
                  </a:lnTo>
                  <a:lnTo>
                    <a:pt x="40" y="478"/>
                  </a:lnTo>
                  <a:close/>
                  <a:moveTo>
                    <a:pt x="185" y="478"/>
                  </a:moveTo>
                  <a:lnTo>
                    <a:pt x="183" y="478"/>
                  </a:lnTo>
                  <a:lnTo>
                    <a:pt x="183" y="475"/>
                  </a:lnTo>
                  <a:lnTo>
                    <a:pt x="185" y="478"/>
                  </a:lnTo>
                  <a:lnTo>
                    <a:pt x="185" y="475"/>
                  </a:lnTo>
                  <a:lnTo>
                    <a:pt x="185" y="478"/>
                  </a:lnTo>
                  <a:close/>
                  <a:moveTo>
                    <a:pt x="183" y="475"/>
                  </a:moveTo>
                  <a:lnTo>
                    <a:pt x="180" y="475"/>
                  </a:lnTo>
                  <a:lnTo>
                    <a:pt x="183" y="475"/>
                  </a:lnTo>
                  <a:lnTo>
                    <a:pt x="180" y="475"/>
                  </a:lnTo>
                  <a:lnTo>
                    <a:pt x="183" y="475"/>
                  </a:lnTo>
                  <a:close/>
                  <a:moveTo>
                    <a:pt x="235" y="471"/>
                  </a:moveTo>
                  <a:lnTo>
                    <a:pt x="232" y="471"/>
                  </a:lnTo>
                  <a:lnTo>
                    <a:pt x="232" y="468"/>
                  </a:lnTo>
                  <a:lnTo>
                    <a:pt x="235" y="468"/>
                  </a:lnTo>
                  <a:lnTo>
                    <a:pt x="235" y="471"/>
                  </a:lnTo>
                  <a:close/>
                  <a:moveTo>
                    <a:pt x="185" y="468"/>
                  </a:moveTo>
                  <a:lnTo>
                    <a:pt x="185" y="471"/>
                  </a:lnTo>
                  <a:lnTo>
                    <a:pt x="185" y="468"/>
                  </a:lnTo>
                  <a:lnTo>
                    <a:pt x="185" y="471"/>
                  </a:lnTo>
                  <a:lnTo>
                    <a:pt x="185" y="468"/>
                  </a:lnTo>
                  <a:close/>
                  <a:moveTo>
                    <a:pt x="33" y="468"/>
                  </a:moveTo>
                  <a:lnTo>
                    <a:pt x="31" y="468"/>
                  </a:lnTo>
                  <a:lnTo>
                    <a:pt x="33" y="468"/>
                  </a:lnTo>
                  <a:close/>
                  <a:moveTo>
                    <a:pt x="185" y="466"/>
                  </a:moveTo>
                  <a:lnTo>
                    <a:pt x="185" y="468"/>
                  </a:lnTo>
                  <a:lnTo>
                    <a:pt x="185" y="466"/>
                  </a:lnTo>
                  <a:close/>
                  <a:moveTo>
                    <a:pt x="31" y="466"/>
                  </a:moveTo>
                  <a:lnTo>
                    <a:pt x="33" y="466"/>
                  </a:lnTo>
                  <a:lnTo>
                    <a:pt x="31" y="466"/>
                  </a:lnTo>
                  <a:close/>
                  <a:moveTo>
                    <a:pt x="190" y="461"/>
                  </a:moveTo>
                  <a:lnTo>
                    <a:pt x="187" y="461"/>
                  </a:lnTo>
                  <a:lnTo>
                    <a:pt x="190" y="461"/>
                  </a:lnTo>
                  <a:close/>
                  <a:moveTo>
                    <a:pt x="26" y="459"/>
                  </a:moveTo>
                  <a:lnTo>
                    <a:pt x="24" y="459"/>
                  </a:lnTo>
                  <a:lnTo>
                    <a:pt x="26" y="459"/>
                  </a:lnTo>
                  <a:close/>
                  <a:moveTo>
                    <a:pt x="31" y="459"/>
                  </a:moveTo>
                  <a:lnTo>
                    <a:pt x="28" y="459"/>
                  </a:lnTo>
                  <a:lnTo>
                    <a:pt x="31" y="459"/>
                  </a:lnTo>
                  <a:close/>
                  <a:moveTo>
                    <a:pt x="190" y="459"/>
                  </a:moveTo>
                  <a:lnTo>
                    <a:pt x="187" y="459"/>
                  </a:lnTo>
                  <a:lnTo>
                    <a:pt x="190" y="459"/>
                  </a:lnTo>
                  <a:close/>
                  <a:moveTo>
                    <a:pt x="187" y="456"/>
                  </a:moveTo>
                  <a:lnTo>
                    <a:pt x="187" y="459"/>
                  </a:lnTo>
                  <a:lnTo>
                    <a:pt x="187" y="456"/>
                  </a:lnTo>
                  <a:lnTo>
                    <a:pt x="190" y="459"/>
                  </a:lnTo>
                  <a:lnTo>
                    <a:pt x="187" y="459"/>
                  </a:lnTo>
                  <a:lnTo>
                    <a:pt x="190" y="459"/>
                  </a:lnTo>
                  <a:lnTo>
                    <a:pt x="187" y="459"/>
                  </a:lnTo>
                  <a:lnTo>
                    <a:pt x="187" y="456"/>
                  </a:lnTo>
                  <a:close/>
                  <a:moveTo>
                    <a:pt x="190" y="456"/>
                  </a:moveTo>
                  <a:lnTo>
                    <a:pt x="187" y="456"/>
                  </a:lnTo>
                  <a:lnTo>
                    <a:pt x="190" y="456"/>
                  </a:lnTo>
                  <a:close/>
                  <a:moveTo>
                    <a:pt x="185" y="456"/>
                  </a:moveTo>
                  <a:lnTo>
                    <a:pt x="187" y="456"/>
                  </a:lnTo>
                  <a:lnTo>
                    <a:pt x="185" y="456"/>
                  </a:lnTo>
                  <a:close/>
                  <a:moveTo>
                    <a:pt x="190" y="456"/>
                  </a:moveTo>
                  <a:lnTo>
                    <a:pt x="192" y="456"/>
                  </a:lnTo>
                  <a:lnTo>
                    <a:pt x="190" y="456"/>
                  </a:lnTo>
                  <a:close/>
                  <a:moveTo>
                    <a:pt x="26" y="456"/>
                  </a:moveTo>
                  <a:lnTo>
                    <a:pt x="26" y="454"/>
                  </a:lnTo>
                  <a:lnTo>
                    <a:pt x="26" y="456"/>
                  </a:lnTo>
                  <a:close/>
                  <a:moveTo>
                    <a:pt x="183" y="454"/>
                  </a:moveTo>
                  <a:lnTo>
                    <a:pt x="185" y="454"/>
                  </a:lnTo>
                  <a:lnTo>
                    <a:pt x="185" y="456"/>
                  </a:lnTo>
                  <a:lnTo>
                    <a:pt x="183" y="456"/>
                  </a:lnTo>
                  <a:lnTo>
                    <a:pt x="183" y="454"/>
                  </a:lnTo>
                  <a:close/>
                  <a:moveTo>
                    <a:pt x="190" y="454"/>
                  </a:moveTo>
                  <a:lnTo>
                    <a:pt x="190" y="456"/>
                  </a:lnTo>
                  <a:lnTo>
                    <a:pt x="187" y="456"/>
                  </a:lnTo>
                  <a:lnTo>
                    <a:pt x="190" y="456"/>
                  </a:lnTo>
                  <a:lnTo>
                    <a:pt x="187" y="456"/>
                  </a:lnTo>
                  <a:lnTo>
                    <a:pt x="187" y="454"/>
                  </a:lnTo>
                  <a:lnTo>
                    <a:pt x="187" y="456"/>
                  </a:lnTo>
                  <a:lnTo>
                    <a:pt x="187" y="454"/>
                  </a:lnTo>
                  <a:lnTo>
                    <a:pt x="187" y="456"/>
                  </a:lnTo>
                  <a:lnTo>
                    <a:pt x="187" y="454"/>
                  </a:lnTo>
                  <a:lnTo>
                    <a:pt x="187" y="456"/>
                  </a:lnTo>
                  <a:lnTo>
                    <a:pt x="187" y="454"/>
                  </a:lnTo>
                  <a:lnTo>
                    <a:pt x="190" y="454"/>
                  </a:lnTo>
                  <a:close/>
                  <a:moveTo>
                    <a:pt x="28" y="454"/>
                  </a:moveTo>
                  <a:lnTo>
                    <a:pt x="26" y="454"/>
                  </a:lnTo>
                  <a:lnTo>
                    <a:pt x="28" y="454"/>
                  </a:lnTo>
                  <a:lnTo>
                    <a:pt x="26" y="454"/>
                  </a:lnTo>
                  <a:lnTo>
                    <a:pt x="28" y="454"/>
                  </a:lnTo>
                  <a:close/>
                  <a:moveTo>
                    <a:pt x="21" y="454"/>
                  </a:moveTo>
                  <a:lnTo>
                    <a:pt x="21" y="452"/>
                  </a:lnTo>
                  <a:lnTo>
                    <a:pt x="21" y="454"/>
                  </a:lnTo>
                  <a:close/>
                  <a:moveTo>
                    <a:pt x="28" y="454"/>
                  </a:moveTo>
                  <a:lnTo>
                    <a:pt x="26" y="454"/>
                  </a:lnTo>
                  <a:lnTo>
                    <a:pt x="28" y="452"/>
                  </a:lnTo>
                  <a:lnTo>
                    <a:pt x="26" y="452"/>
                  </a:lnTo>
                  <a:lnTo>
                    <a:pt x="28" y="452"/>
                  </a:lnTo>
                  <a:lnTo>
                    <a:pt x="28" y="454"/>
                  </a:lnTo>
                  <a:close/>
                  <a:moveTo>
                    <a:pt x="26" y="452"/>
                  </a:moveTo>
                  <a:lnTo>
                    <a:pt x="24" y="452"/>
                  </a:lnTo>
                  <a:lnTo>
                    <a:pt x="26" y="452"/>
                  </a:lnTo>
                  <a:close/>
                  <a:moveTo>
                    <a:pt x="190" y="452"/>
                  </a:moveTo>
                  <a:lnTo>
                    <a:pt x="187" y="452"/>
                  </a:lnTo>
                  <a:lnTo>
                    <a:pt x="190" y="452"/>
                  </a:lnTo>
                  <a:close/>
                  <a:moveTo>
                    <a:pt x="26" y="452"/>
                  </a:moveTo>
                  <a:lnTo>
                    <a:pt x="28" y="452"/>
                  </a:lnTo>
                  <a:lnTo>
                    <a:pt x="26" y="452"/>
                  </a:lnTo>
                  <a:lnTo>
                    <a:pt x="28" y="452"/>
                  </a:lnTo>
                  <a:lnTo>
                    <a:pt x="26" y="452"/>
                  </a:lnTo>
                  <a:lnTo>
                    <a:pt x="26" y="454"/>
                  </a:lnTo>
                  <a:lnTo>
                    <a:pt x="26" y="452"/>
                  </a:lnTo>
                  <a:lnTo>
                    <a:pt x="26" y="454"/>
                  </a:lnTo>
                  <a:lnTo>
                    <a:pt x="26" y="452"/>
                  </a:lnTo>
                  <a:lnTo>
                    <a:pt x="24" y="452"/>
                  </a:lnTo>
                  <a:lnTo>
                    <a:pt x="26" y="452"/>
                  </a:lnTo>
                  <a:close/>
                  <a:moveTo>
                    <a:pt x="24" y="452"/>
                  </a:moveTo>
                  <a:lnTo>
                    <a:pt x="21" y="452"/>
                  </a:lnTo>
                  <a:lnTo>
                    <a:pt x="24" y="452"/>
                  </a:lnTo>
                  <a:close/>
                  <a:moveTo>
                    <a:pt x="187" y="452"/>
                  </a:moveTo>
                  <a:lnTo>
                    <a:pt x="190" y="452"/>
                  </a:lnTo>
                  <a:lnTo>
                    <a:pt x="187" y="452"/>
                  </a:lnTo>
                  <a:close/>
                  <a:moveTo>
                    <a:pt x="26" y="449"/>
                  </a:moveTo>
                  <a:lnTo>
                    <a:pt x="24" y="449"/>
                  </a:lnTo>
                  <a:lnTo>
                    <a:pt x="26" y="449"/>
                  </a:lnTo>
                  <a:close/>
                  <a:moveTo>
                    <a:pt x="21" y="449"/>
                  </a:moveTo>
                  <a:lnTo>
                    <a:pt x="24" y="449"/>
                  </a:lnTo>
                  <a:lnTo>
                    <a:pt x="24" y="452"/>
                  </a:lnTo>
                  <a:lnTo>
                    <a:pt x="24" y="449"/>
                  </a:lnTo>
                  <a:lnTo>
                    <a:pt x="21" y="449"/>
                  </a:lnTo>
                  <a:lnTo>
                    <a:pt x="21" y="452"/>
                  </a:lnTo>
                  <a:lnTo>
                    <a:pt x="21" y="449"/>
                  </a:lnTo>
                  <a:close/>
                  <a:moveTo>
                    <a:pt x="192" y="449"/>
                  </a:moveTo>
                  <a:lnTo>
                    <a:pt x="190" y="449"/>
                  </a:lnTo>
                  <a:lnTo>
                    <a:pt x="192" y="449"/>
                  </a:lnTo>
                  <a:close/>
                  <a:moveTo>
                    <a:pt x="258" y="449"/>
                  </a:moveTo>
                  <a:lnTo>
                    <a:pt x="261" y="449"/>
                  </a:lnTo>
                  <a:lnTo>
                    <a:pt x="258" y="449"/>
                  </a:lnTo>
                  <a:close/>
                  <a:moveTo>
                    <a:pt x="21" y="447"/>
                  </a:moveTo>
                  <a:lnTo>
                    <a:pt x="24" y="447"/>
                  </a:lnTo>
                  <a:lnTo>
                    <a:pt x="21" y="447"/>
                  </a:lnTo>
                  <a:lnTo>
                    <a:pt x="21" y="449"/>
                  </a:lnTo>
                  <a:lnTo>
                    <a:pt x="24" y="449"/>
                  </a:lnTo>
                  <a:lnTo>
                    <a:pt x="21" y="449"/>
                  </a:lnTo>
                  <a:lnTo>
                    <a:pt x="21" y="447"/>
                  </a:lnTo>
                  <a:close/>
                  <a:moveTo>
                    <a:pt x="24" y="447"/>
                  </a:moveTo>
                  <a:lnTo>
                    <a:pt x="24" y="449"/>
                  </a:lnTo>
                  <a:lnTo>
                    <a:pt x="24" y="447"/>
                  </a:lnTo>
                  <a:close/>
                  <a:moveTo>
                    <a:pt x="187" y="445"/>
                  </a:moveTo>
                  <a:lnTo>
                    <a:pt x="190" y="445"/>
                  </a:lnTo>
                  <a:lnTo>
                    <a:pt x="190" y="447"/>
                  </a:lnTo>
                  <a:lnTo>
                    <a:pt x="190" y="445"/>
                  </a:lnTo>
                  <a:lnTo>
                    <a:pt x="187" y="445"/>
                  </a:lnTo>
                  <a:close/>
                  <a:moveTo>
                    <a:pt x="21" y="445"/>
                  </a:moveTo>
                  <a:lnTo>
                    <a:pt x="21" y="447"/>
                  </a:lnTo>
                  <a:lnTo>
                    <a:pt x="21" y="445"/>
                  </a:lnTo>
                  <a:lnTo>
                    <a:pt x="21" y="447"/>
                  </a:lnTo>
                  <a:lnTo>
                    <a:pt x="21" y="445"/>
                  </a:lnTo>
                  <a:lnTo>
                    <a:pt x="21" y="447"/>
                  </a:lnTo>
                  <a:lnTo>
                    <a:pt x="21" y="445"/>
                  </a:lnTo>
                  <a:close/>
                  <a:moveTo>
                    <a:pt x="24" y="445"/>
                  </a:moveTo>
                  <a:lnTo>
                    <a:pt x="24" y="442"/>
                  </a:lnTo>
                  <a:lnTo>
                    <a:pt x="24" y="445"/>
                  </a:lnTo>
                  <a:close/>
                  <a:moveTo>
                    <a:pt x="190" y="442"/>
                  </a:moveTo>
                  <a:lnTo>
                    <a:pt x="190" y="445"/>
                  </a:lnTo>
                  <a:lnTo>
                    <a:pt x="190" y="442"/>
                  </a:lnTo>
                  <a:close/>
                  <a:moveTo>
                    <a:pt x="187" y="442"/>
                  </a:moveTo>
                  <a:lnTo>
                    <a:pt x="187" y="445"/>
                  </a:lnTo>
                  <a:lnTo>
                    <a:pt x="187" y="442"/>
                  </a:lnTo>
                  <a:close/>
                  <a:moveTo>
                    <a:pt x="24" y="442"/>
                  </a:moveTo>
                  <a:lnTo>
                    <a:pt x="24" y="445"/>
                  </a:lnTo>
                  <a:lnTo>
                    <a:pt x="24" y="442"/>
                  </a:lnTo>
                  <a:close/>
                  <a:moveTo>
                    <a:pt x="187" y="442"/>
                  </a:moveTo>
                  <a:lnTo>
                    <a:pt x="190" y="442"/>
                  </a:lnTo>
                  <a:lnTo>
                    <a:pt x="187" y="442"/>
                  </a:lnTo>
                  <a:lnTo>
                    <a:pt x="190" y="442"/>
                  </a:lnTo>
                  <a:lnTo>
                    <a:pt x="190" y="445"/>
                  </a:lnTo>
                  <a:lnTo>
                    <a:pt x="187" y="445"/>
                  </a:lnTo>
                  <a:lnTo>
                    <a:pt x="190" y="445"/>
                  </a:lnTo>
                  <a:lnTo>
                    <a:pt x="187" y="445"/>
                  </a:lnTo>
                  <a:lnTo>
                    <a:pt x="187" y="442"/>
                  </a:lnTo>
                  <a:close/>
                  <a:moveTo>
                    <a:pt x="21" y="442"/>
                  </a:moveTo>
                  <a:lnTo>
                    <a:pt x="19" y="442"/>
                  </a:lnTo>
                  <a:lnTo>
                    <a:pt x="21" y="442"/>
                  </a:lnTo>
                  <a:close/>
                  <a:moveTo>
                    <a:pt x="190" y="442"/>
                  </a:moveTo>
                  <a:lnTo>
                    <a:pt x="192" y="442"/>
                  </a:lnTo>
                  <a:lnTo>
                    <a:pt x="190" y="442"/>
                  </a:lnTo>
                  <a:lnTo>
                    <a:pt x="192" y="445"/>
                  </a:lnTo>
                  <a:lnTo>
                    <a:pt x="190" y="442"/>
                  </a:lnTo>
                  <a:lnTo>
                    <a:pt x="190" y="445"/>
                  </a:lnTo>
                  <a:lnTo>
                    <a:pt x="190" y="442"/>
                  </a:lnTo>
                  <a:lnTo>
                    <a:pt x="190" y="445"/>
                  </a:lnTo>
                  <a:lnTo>
                    <a:pt x="190" y="442"/>
                  </a:lnTo>
                  <a:lnTo>
                    <a:pt x="187" y="442"/>
                  </a:lnTo>
                  <a:lnTo>
                    <a:pt x="190" y="442"/>
                  </a:lnTo>
                  <a:close/>
                  <a:moveTo>
                    <a:pt x="190" y="440"/>
                  </a:moveTo>
                  <a:lnTo>
                    <a:pt x="190" y="442"/>
                  </a:lnTo>
                  <a:lnTo>
                    <a:pt x="187" y="442"/>
                  </a:lnTo>
                  <a:lnTo>
                    <a:pt x="190" y="442"/>
                  </a:lnTo>
                  <a:lnTo>
                    <a:pt x="187" y="442"/>
                  </a:lnTo>
                  <a:lnTo>
                    <a:pt x="187" y="440"/>
                  </a:lnTo>
                  <a:lnTo>
                    <a:pt x="190" y="440"/>
                  </a:lnTo>
                  <a:close/>
                  <a:moveTo>
                    <a:pt x="190" y="442"/>
                  </a:moveTo>
                  <a:lnTo>
                    <a:pt x="190" y="440"/>
                  </a:lnTo>
                  <a:lnTo>
                    <a:pt x="190" y="442"/>
                  </a:lnTo>
                  <a:close/>
                  <a:moveTo>
                    <a:pt x="185" y="440"/>
                  </a:moveTo>
                  <a:lnTo>
                    <a:pt x="185" y="442"/>
                  </a:lnTo>
                  <a:lnTo>
                    <a:pt x="185" y="440"/>
                  </a:lnTo>
                  <a:close/>
                  <a:moveTo>
                    <a:pt x="185" y="440"/>
                  </a:moveTo>
                  <a:lnTo>
                    <a:pt x="185" y="442"/>
                  </a:lnTo>
                  <a:lnTo>
                    <a:pt x="185" y="440"/>
                  </a:lnTo>
                  <a:close/>
                  <a:moveTo>
                    <a:pt x="187" y="440"/>
                  </a:moveTo>
                  <a:lnTo>
                    <a:pt x="187" y="442"/>
                  </a:lnTo>
                  <a:lnTo>
                    <a:pt x="187" y="440"/>
                  </a:lnTo>
                  <a:close/>
                  <a:moveTo>
                    <a:pt x="190" y="440"/>
                  </a:moveTo>
                  <a:lnTo>
                    <a:pt x="187" y="440"/>
                  </a:lnTo>
                  <a:lnTo>
                    <a:pt x="190" y="440"/>
                  </a:lnTo>
                  <a:close/>
                  <a:moveTo>
                    <a:pt x="21" y="440"/>
                  </a:moveTo>
                  <a:lnTo>
                    <a:pt x="21" y="442"/>
                  </a:lnTo>
                  <a:lnTo>
                    <a:pt x="19" y="442"/>
                  </a:lnTo>
                  <a:lnTo>
                    <a:pt x="21" y="440"/>
                  </a:lnTo>
                  <a:lnTo>
                    <a:pt x="19" y="440"/>
                  </a:lnTo>
                  <a:lnTo>
                    <a:pt x="19" y="442"/>
                  </a:lnTo>
                  <a:lnTo>
                    <a:pt x="19" y="440"/>
                  </a:lnTo>
                  <a:lnTo>
                    <a:pt x="19" y="442"/>
                  </a:lnTo>
                  <a:lnTo>
                    <a:pt x="19" y="440"/>
                  </a:lnTo>
                  <a:lnTo>
                    <a:pt x="21" y="440"/>
                  </a:lnTo>
                  <a:lnTo>
                    <a:pt x="19" y="440"/>
                  </a:lnTo>
                  <a:lnTo>
                    <a:pt x="21" y="440"/>
                  </a:lnTo>
                  <a:close/>
                  <a:moveTo>
                    <a:pt x="21" y="440"/>
                  </a:moveTo>
                  <a:lnTo>
                    <a:pt x="24" y="440"/>
                  </a:lnTo>
                  <a:lnTo>
                    <a:pt x="21" y="440"/>
                  </a:lnTo>
                  <a:lnTo>
                    <a:pt x="24" y="440"/>
                  </a:lnTo>
                  <a:lnTo>
                    <a:pt x="21" y="440"/>
                  </a:lnTo>
                  <a:lnTo>
                    <a:pt x="24" y="440"/>
                  </a:lnTo>
                  <a:lnTo>
                    <a:pt x="21" y="440"/>
                  </a:lnTo>
                  <a:close/>
                  <a:moveTo>
                    <a:pt x="26" y="437"/>
                  </a:moveTo>
                  <a:lnTo>
                    <a:pt x="24" y="437"/>
                  </a:lnTo>
                  <a:lnTo>
                    <a:pt x="26" y="437"/>
                  </a:lnTo>
                  <a:close/>
                  <a:moveTo>
                    <a:pt x="21" y="437"/>
                  </a:moveTo>
                  <a:lnTo>
                    <a:pt x="24" y="437"/>
                  </a:lnTo>
                  <a:lnTo>
                    <a:pt x="21" y="437"/>
                  </a:lnTo>
                  <a:close/>
                  <a:moveTo>
                    <a:pt x="24" y="437"/>
                  </a:moveTo>
                  <a:lnTo>
                    <a:pt x="21" y="437"/>
                  </a:lnTo>
                  <a:lnTo>
                    <a:pt x="24" y="437"/>
                  </a:lnTo>
                  <a:lnTo>
                    <a:pt x="21" y="437"/>
                  </a:lnTo>
                  <a:lnTo>
                    <a:pt x="24" y="437"/>
                  </a:lnTo>
                  <a:lnTo>
                    <a:pt x="21" y="437"/>
                  </a:lnTo>
                  <a:lnTo>
                    <a:pt x="24" y="437"/>
                  </a:lnTo>
                  <a:close/>
                  <a:moveTo>
                    <a:pt x="24" y="437"/>
                  </a:moveTo>
                  <a:lnTo>
                    <a:pt x="26" y="437"/>
                  </a:lnTo>
                  <a:lnTo>
                    <a:pt x="24" y="437"/>
                  </a:lnTo>
                  <a:close/>
                  <a:moveTo>
                    <a:pt x="192" y="437"/>
                  </a:moveTo>
                  <a:lnTo>
                    <a:pt x="192" y="435"/>
                  </a:lnTo>
                  <a:lnTo>
                    <a:pt x="192" y="437"/>
                  </a:lnTo>
                  <a:close/>
                  <a:moveTo>
                    <a:pt x="19" y="435"/>
                  </a:moveTo>
                  <a:lnTo>
                    <a:pt x="16" y="435"/>
                  </a:lnTo>
                  <a:lnTo>
                    <a:pt x="19" y="435"/>
                  </a:lnTo>
                  <a:close/>
                  <a:moveTo>
                    <a:pt x="187" y="435"/>
                  </a:moveTo>
                  <a:lnTo>
                    <a:pt x="190" y="435"/>
                  </a:lnTo>
                  <a:lnTo>
                    <a:pt x="187" y="435"/>
                  </a:lnTo>
                  <a:close/>
                  <a:moveTo>
                    <a:pt x="270" y="435"/>
                  </a:moveTo>
                  <a:lnTo>
                    <a:pt x="273" y="435"/>
                  </a:lnTo>
                  <a:lnTo>
                    <a:pt x="270" y="435"/>
                  </a:lnTo>
                  <a:lnTo>
                    <a:pt x="273" y="435"/>
                  </a:lnTo>
                  <a:lnTo>
                    <a:pt x="275" y="435"/>
                  </a:lnTo>
                  <a:lnTo>
                    <a:pt x="275" y="437"/>
                  </a:lnTo>
                  <a:lnTo>
                    <a:pt x="273" y="437"/>
                  </a:lnTo>
                  <a:lnTo>
                    <a:pt x="270" y="437"/>
                  </a:lnTo>
                  <a:lnTo>
                    <a:pt x="268" y="437"/>
                  </a:lnTo>
                  <a:lnTo>
                    <a:pt x="270" y="440"/>
                  </a:lnTo>
                  <a:lnTo>
                    <a:pt x="268" y="440"/>
                  </a:lnTo>
                  <a:lnTo>
                    <a:pt x="270" y="442"/>
                  </a:lnTo>
                  <a:lnTo>
                    <a:pt x="268" y="442"/>
                  </a:lnTo>
                  <a:lnTo>
                    <a:pt x="268" y="440"/>
                  </a:lnTo>
                  <a:lnTo>
                    <a:pt x="266" y="440"/>
                  </a:lnTo>
                  <a:lnTo>
                    <a:pt x="266" y="437"/>
                  </a:lnTo>
                  <a:lnTo>
                    <a:pt x="268" y="437"/>
                  </a:lnTo>
                  <a:lnTo>
                    <a:pt x="268" y="435"/>
                  </a:lnTo>
                  <a:lnTo>
                    <a:pt x="268" y="437"/>
                  </a:lnTo>
                  <a:lnTo>
                    <a:pt x="268" y="435"/>
                  </a:lnTo>
                  <a:lnTo>
                    <a:pt x="270" y="435"/>
                  </a:lnTo>
                  <a:lnTo>
                    <a:pt x="270" y="433"/>
                  </a:lnTo>
                  <a:lnTo>
                    <a:pt x="270" y="435"/>
                  </a:lnTo>
                  <a:close/>
                  <a:moveTo>
                    <a:pt x="19" y="435"/>
                  </a:moveTo>
                  <a:lnTo>
                    <a:pt x="19" y="433"/>
                  </a:lnTo>
                  <a:lnTo>
                    <a:pt x="19" y="435"/>
                  </a:lnTo>
                  <a:close/>
                  <a:moveTo>
                    <a:pt x="26" y="430"/>
                  </a:moveTo>
                  <a:lnTo>
                    <a:pt x="26" y="433"/>
                  </a:lnTo>
                  <a:lnTo>
                    <a:pt x="26" y="430"/>
                  </a:lnTo>
                  <a:close/>
                  <a:moveTo>
                    <a:pt x="16" y="430"/>
                  </a:moveTo>
                  <a:lnTo>
                    <a:pt x="14" y="430"/>
                  </a:lnTo>
                  <a:lnTo>
                    <a:pt x="16" y="430"/>
                  </a:lnTo>
                  <a:lnTo>
                    <a:pt x="14" y="430"/>
                  </a:lnTo>
                  <a:lnTo>
                    <a:pt x="16" y="430"/>
                  </a:lnTo>
                  <a:lnTo>
                    <a:pt x="14" y="430"/>
                  </a:lnTo>
                  <a:lnTo>
                    <a:pt x="16" y="430"/>
                  </a:lnTo>
                  <a:close/>
                  <a:moveTo>
                    <a:pt x="26" y="430"/>
                  </a:moveTo>
                  <a:lnTo>
                    <a:pt x="28" y="430"/>
                  </a:lnTo>
                  <a:lnTo>
                    <a:pt x="26" y="430"/>
                  </a:lnTo>
                  <a:close/>
                  <a:moveTo>
                    <a:pt x="14" y="430"/>
                  </a:moveTo>
                  <a:lnTo>
                    <a:pt x="14" y="428"/>
                  </a:lnTo>
                  <a:lnTo>
                    <a:pt x="14" y="430"/>
                  </a:lnTo>
                  <a:close/>
                  <a:moveTo>
                    <a:pt x="21" y="430"/>
                  </a:moveTo>
                  <a:lnTo>
                    <a:pt x="21" y="428"/>
                  </a:lnTo>
                  <a:lnTo>
                    <a:pt x="21" y="430"/>
                  </a:lnTo>
                  <a:close/>
                  <a:moveTo>
                    <a:pt x="12" y="428"/>
                  </a:moveTo>
                  <a:lnTo>
                    <a:pt x="12" y="430"/>
                  </a:lnTo>
                  <a:lnTo>
                    <a:pt x="12" y="428"/>
                  </a:lnTo>
                  <a:close/>
                  <a:moveTo>
                    <a:pt x="19" y="430"/>
                  </a:moveTo>
                  <a:lnTo>
                    <a:pt x="16" y="430"/>
                  </a:lnTo>
                  <a:lnTo>
                    <a:pt x="16" y="428"/>
                  </a:lnTo>
                  <a:lnTo>
                    <a:pt x="19" y="428"/>
                  </a:lnTo>
                  <a:lnTo>
                    <a:pt x="19" y="430"/>
                  </a:lnTo>
                  <a:close/>
                  <a:moveTo>
                    <a:pt x="192" y="430"/>
                  </a:moveTo>
                  <a:lnTo>
                    <a:pt x="192" y="428"/>
                  </a:lnTo>
                  <a:lnTo>
                    <a:pt x="190" y="428"/>
                  </a:lnTo>
                  <a:lnTo>
                    <a:pt x="192" y="428"/>
                  </a:lnTo>
                  <a:lnTo>
                    <a:pt x="192" y="430"/>
                  </a:lnTo>
                  <a:close/>
                  <a:moveTo>
                    <a:pt x="21" y="430"/>
                  </a:moveTo>
                  <a:lnTo>
                    <a:pt x="21" y="428"/>
                  </a:lnTo>
                  <a:lnTo>
                    <a:pt x="21" y="430"/>
                  </a:lnTo>
                  <a:close/>
                  <a:moveTo>
                    <a:pt x="26" y="428"/>
                  </a:moveTo>
                  <a:lnTo>
                    <a:pt x="26" y="430"/>
                  </a:lnTo>
                  <a:lnTo>
                    <a:pt x="24" y="430"/>
                  </a:lnTo>
                  <a:lnTo>
                    <a:pt x="24" y="428"/>
                  </a:lnTo>
                  <a:lnTo>
                    <a:pt x="26" y="428"/>
                  </a:lnTo>
                  <a:close/>
                  <a:moveTo>
                    <a:pt x="16" y="428"/>
                  </a:moveTo>
                  <a:lnTo>
                    <a:pt x="14" y="428"/>
                  </a:lnTo>
                  <a:lnTo>
                    <a:pt x="16" y="428"/>
                  </a:lnTo>
                  <a:close/>
                  <a:moveTo>
                    <a:pt x="19" y="428"/>
                  </a:moveTo>
                  <a:lnTo>
                    <a:pt x="19" y="430"/>
                  </a:lnTo>
                  <a:lnTo>
                    <a:pt x="19" y="428"/>
                  </a:lnTo>
                  <a:close/>
                  <a:moveTo>
                    <a:pt x="26" y="428"/>
                  </a:moveTo>
                  <a:lnTo>
                    <a:pt x="26" y="430"/>
                  </a:lnTo>
                  <a:lnTo>
                    <a:pt x="26" y="428"/>
                  </a:lnTo>
                  <a:close/>
                  <a:moveTo>
                    <a:pt x="12" y="428"/>
                  </a:moveTo>
                  <a:lnTo>
                    <a:pt x="14" y="428"/>
                  </a:lnTo>
                  <a:lnTo>
                    <a:pt x="12" y="428"/>
                  </a:lnTo>
                  <a:close/>
                  <a:moveTo>
                    <a:pt x="194" y="428"/>
                  </a:moveTo>
                  <a:lnTo>
                    <a:pt x="192" y="428"/>
                  </a:lnTo>
                  <a:lnTo>
                    <a:pt x="194" y="428"/>
                  </a:lnTo>
                  <a:close/>
                  <a:moveTo>
                    <a:pt x="192" y="428"/>
                  </a:moveTo>
                  <a:lnTo>
                    <a:pt x="194" y="428"/>
                  </a:lnTo>
                  <a:lnTo>
                    <a:pt x="192" y="428"/>
                  </a:lnTo>
                  <a:lnTo>
                    <a:pt x="194" y="430"/>
                  </a:lnTo>
                  <a:lnTo>
                    <a:pt x="192" y="430"/>
                  </a:lnTo>
                  <a:lnTo>
                    <a:pt x="192" y="428"/>
                  </a:lnTo>
                  <a:close/>
                  <a:moveTo>
                    <a:pt x="194" y="425"/>
                  </a:moveTo>
                  <a:lnTo>
                    <a:pt x="194" y="428"/>
                  </a:lnTo>
                  <a:lnTo>
                    <a:pt x="192" y="428"/>
                  </a:lnTo>
                  <a:lnTo>
                    <a:pt x="192" y="425"/>
                  </a:lnTo>
                  <a:lnTo>
                    <a:pt x="194" y="425"/>
                  </a:lnTo>
                  <a:close/>
                  <a:moveTo>
                    <a:pt x="199" y="425"/>
                  </a:moveTo>
                  <a:lnTo>
                    <a:pt x="197" y="425"/>
                  </a:lnTo>
                  <a:lnTo>
                    <a:pt x="199" y="425"/>
                  </a:lnTo>
                  <a:close/>
                  <a:moveTo>
                    <a:pt x="14" y="425"/>
                  </a:moveTo>
                  <a:lnTo>
                    <a:pt x="12" y="425"/>
                  </a:lnTo>
                  <a:lnTo>
                    <a:pt x="14" y="425"/>
                  </a:lnTo>
                  <a:lnTo>
                    <a:pt x="14" y="423"/>
                  </a:lnTo>
                  <a:lnTo>
                    <a:pt x="14" y="425"/>
                  </a:lnTo>
                  <a:lnTo>
                    <a:pt x="14" y="423"/>
                  </a:lnTo>
                  <a:lnTo>
                    <a:pt x="14" y="425"/>
                  </a:lnTo>
                  <a:close/>
                  <a:moveTo>
                    <a:pt x="194" y="423"/>
                  </a:moveTo>
                  <a:lnTo>
                    <a:pt x="197" y="423"/>
                  </a:lnTo>
                  <a:lnTo>
                    <a:pt x="194" y="423"/>
                  </a:lnTo>
                  <a:lnTo>
                    <a:pt x="197" y="423"/>
                  </a:lnTo>
                  <a:lnTo>
                    <a:pt x="197" y="425"/>
                  </a:lnTo>
                  <a:lnTo>
                    <a:pt x="197" y="423"/>
                  </a:lnTo>
                  <a:lnTo>
                    <a:pt x="197" y="425"/>
                  </a:lnTo>
                  <a:lnTo>
                    <a:pt x="197" y="423"/>
                  </a:lnTo>
                  <a:lnTo>
                    <a:pt x="194" y="423"/>
                  </a:lnTo>
                  <a:lnTo>
                    <a:pt x="197" y="423"/>
                  </a:lnTo>
                  <a:lnTo>
                    <a:pt x="194" y="423"/>
                  </a:lnTo>
                  <a:lnTo>
                    <a:pt x="197" y="423"/>
                  </a:lnTo>
                  <a:lnTo>
                    <a:pt x="194" y="423"/>
                  </a:lnTo>
                  <a:close/>
                  <a:moveTo>
                    <a:pt x="199" y="421"/>
                  </a:moveTo>
                  <a:lnTo>
                    <a:pt x="199" y="423"/>
                  </a:lnTo>
                  <a:lnTo>
                    <a:pt x="199" y="421"/>
                  </a:lnTo>
                  <a:lnTo>
                    <a:pt x="199" y="423"/>
                  </a:lnTo>
                  <a:lnTo>
                    <a:pt x="199" y="421"/>
                  </a:lnTo>
                  <a:close/>
                  <a:moveTo>
                    <a:pt x="197" y="423"/>
                  </a:moveTo>
                  <a:lnTo>
                    <a:pt x="197" y="421"/>
                  </a:lnTo>
                  <a:lnTo>
                    <a:pt x="197" y="423"/>
                  </a:lnTo>
                  <a:lnTo>
                    <a:pt x="197" y="421"/>
                  </a:lnTo>
                  <a:lnTo>
                    <a:pt x="197" y="423"/>
                  </a:lnTo>
                  <a:close/>
                  <a:moveTo>
                    <a:pt x="197" y="421"/>
                  </a:moveTo>
                  <a:lnTo>
                    <a:pt x="197" y="423"/>
                  </a:lnTo>
                  <a:lnTo>
                    <a:pt x="197" y="421"/>
                  </a:lnTo>
                  <a:lnTo>
                    <a:pt x="197" y="423"/>
                  </a:lnTo>
                  <a:lnTo>
                    <a:pt x="194" y="423"/>
                  </a:lnTo>
                  <a:lnTo>
                    <a:pt x="197" y="423"/>
                  </a:lnTo>
                  <a:lnTo>
                    <a:pt x="194" y="423"/>
                  </a:lnTo>
                  <a:lnTo>
                    <a:pt x="197" y="423"/>
                  </a:lnTo>
                  <a:lnTo>
                    <a:pt x="194" y="421"/>
                  </a:lnTo>
                  <a:lnTo>
                    <a:pt x="197" y="421"/>
                  </a:lnTo>
                  <a:close/>
                  <a:moveTo>
                    <a:pt x="19" y="421"/>
                  </a:moveTo>
                  <a:lnTo>
                    <a:pt x="19" y="423"/>
                  </a:lnTo>
                  <a:lnTo>
                    <a:pt x="16" y="423"/>
                  </a:lnTo>
                  <a:lnTo>
                    <a:pt x="19" y="423"/>
                  </a:lnTo>
                  <a:lnTo>
                    <a:pt x="16" y="423"/>
                  </a:lnTo>
                  <a:lnTo>
                    <a:pt x="16" y="421"/>
                  </a:lnTo>
                  <a:lnTo>
                    <a:pt x="19" y="421"/>
                  </a:lnTo>
                  <a:close/>
                  <a:moveTo>
                    <a:pt x="14" y="421"/>
                  </a:moveTo>
                  <a:lnTo>
                    <a:pt x="14" y="423"/>
                  </a:lnTo>
                  <a:lnTo>
                    <a:pt x="14" y="421"/>
                  </a:lnTo>
                  <a:close/>
                  <a:moveTo>
                    <a:pt x="197" y="421"/>
                  </a:moveTo>
                  <a:lnTo>
                    <a:pt x="194" y="421"/>
                  </a:lnTo>
                  <a:lnTo>
                    <a:pt x="197" y="421"/>
                  </a:lnTo>
                  <a:close/>
                  <a:moveTo>
                    <a:pt x="199" y="421"/>
                  </a:moveTo>
                  <a:lnTo>
                    <a:pt x="197" y="421"/>
                  </a:lnTo>
                  <a:lnTo>
                    <a:pt x="199" y="421"/>
                  </a:lnTo>
                  <a:close/>
                  <a:moveTo>
                    <a:pt x="192" y="421"/>
                  </a:moveTo>
                  <a:lnTo>
                    <a:pt x="192" y="418"/>
                  </a:lnTo>
                  <a:lnTo>
                    <a:pt x="192" y="421"/>
                  </a:lnTo>
                  <a:close/>
                  <a:moveTo>
                    <a:pt x="26" y="421"/>
                  </a:moveTo>
                  <a:lnTo>
                    <a:pt x="26" y="418"/>
                  </a:lnTo>
                  <a:lnTo>
                    <a:pt x="26" y="421"/>
                  </a:lnTo>
                  <a:close/>
                  <a:moveTo>
                    <a:pt x="197" y="418"/>
                  </a:moveTo>
                  <a:lnTo>
                    <a:pt x="197" y="421"/>
                  </a:lnTo>
                  <a:lnTo>
                    <a:pt x="197" y="418"/>
                  </a:lnTo>
                  <a:close/>
                  <a:moveTo>
                    <a:pt x="197" y="421"/>
                  </a:moveTo>
                  <a:lnTo>
                    <a:pt x="194" y="421"/>
                  </a:lnTo>
                  <a:lnTo>
                    <a:pt x="194" y="418"/>
                  </a:lnTo>
                  <a:lnTo>
                    <a:pt x="194" y="421"/>
                  </a:lnTo>
                  <a:lnTo>
                    <a:pt x="194" y="418"/>
                  </a:lnTo>
                  <a:lnTo>
                    <a:pt x="197" y="418"/>
                  </a:lnTo>
                  <a:lnTo>
                    <a:pt x="197" y="421"/>
                  </a:lnTo>
                  <a:close/>
                  <a:moveTo>
                    <a:pt x="14" y="418"/>
                  </a:moveTo>
                  <a:lnTo>
                    <a:pt x="12" y="418"/>
                  </a:lnTo>
                  <a:lnTo>
                    <a:pt x="14" y="418"/>
                  </a:lnTo>
                  <a:close/>
                  <a:moveTo>
                    <a:pt x="197" y="418"/>
                  </a:moveTo>
                  <a:lnTo>
                    <a:pt x="197" y="416"/>
                  </a:lnTo>
                  <a:lnTo>
                    <a:pt x="197" y="418"/>
                  </a:lnTo>
                  <a:close/>
                  <a:moveTo>
                    <a:pt x="197" y="418"/>
                  </a:moveTo>
                  <a:lnTo>
                    <a:pt x="197" y="416"/>
                  </a:lnTo>
                  <a:lnTo>
                    <a:pt x="197" y="418"/>
                  </a:lnTo>
                  <a:close/>
                  <a:moveTo>
                    <a:pt x="14" y="414"/>
                  </a:moveTo>
                  <a:lnTo>
                    <a:pt x="14" y="416"/>
                  </a:lnTo>
                  <a:lnTo>
                    <a:pt x="14" y="414"/>
                  </a:lnTo>
                  <a:close/>
                  <a:moveTo>
                    <a:pt x="194" y="414"/>
                  </a:moveTo>
                  <a:lnTo>
                    <a:pt x="194" y="416"/>
                  </a:lnTo>
                  <a:lnTo>
                    <a:pt x="194" y="414"/>
                  </a:lnTo>
                  <a:close/>
                  <a:moveTo>
                    <a:pt x="19" y="414"/>
                  </a:moveTo>
                  <a:lnTo>
                    <a:pt x="19" y="416"/>
                  </a:lnTo>
                  <a:lnTo>
                    <a:pt x="19" y="414"/>
                  </a:lnTo>
                  <a:lnTo>
                    <a:pt x="21" y="414"/>
                  </a:lnTo>
                  <a:lnTo>
                    <a:pt x="19" y="414"/>
                  </a:lnTo>
                  <a:lnTo>
                    <a:pt x="21" y="414"/>
                  </a:lnTo>
                  <a:lnTo>
                    <a:pt x="19" y="414"/>
                  </a:lnTo>
                  <a:lnTo>
                    <a:pt x="21" y="414"/>
                  </a:lnTo>
                  <a:lnTo>
                    <a:pt x="19" y="414"/>
                  </a:lnTo>
                  <a:close/>
                  <a:moveTo>
                    <a:pt x="273" y="414"/>
                  </a:moveTo>
                  <a:lnTo>
                    <a:pt x="275" y="414"/>
                  </a:lnTo>
                  <a:lnTo>
                    <a:pt x="275" y="416"/>
                  </a:lnTo>
                  <a:lnTo>
                    <a:pt x="273" y="416"/>
                  </a:lnTo>
                  <a:lnTo>
                    <a:pt x="270" y="416"/>
                  </a:lnTo>
                  <a:lnTo>
                    <a:pt x="270" y="414"/>
                  </a:lnTo>
                  <a:lnTo>
                    <a:pt x="273" y="414"/>
                  </a:lnTo>
                  <a:close/>
                  <a:moveTo>
                    <a:pt x="190" y="414"/>
                  </a:moveTo>
                  <a:lnTo>
                    <a:pt x="190" y="411"/>
                  </a:lnTo>
                  <a:lnTo>
                    <a:pt x="190" y="414"/>
                  </a:lnTo>
                  <a:close/>
                  <a:moveTo>
                    <a:pt x="194" y="411"/>
                  </a:moveTo>
                  <a:lnTo>
                    <a:pt x="194" y="414"/>
                  </a:lnTo>
                  <a:lnTo>
                    <a:pt x="194" y="411"/>
                  </a:lnTo>
                  <a:lnTo>
                    <a:pt x="194" y="414"/>
                  </a:lnTo>
                  <a:lnTo>
                    <a:pt x="194" y="411"/>
                  </a:lnTo>
                  <a:close/>
                  <a:moveTo>
                    <a:pt x="192" y="411"/>
                  </a:moveTo>
                  <a:lnTo>
                    <a:pt x="192" y="414"/>
                  </a:lnTo>
                  <a:lnTo>
                    <a:pt x="194" y="414"/>
                  </a:lnTo>
                  <a:lnTo>
                    <a:pt x="192" y="414"/>
                  </a:lnTo>
                  <a:lnTo>
                    <a:pt x="194" y="414"/>
                  </a:lnTo>
                  <a:lnTo>
                    <a:pt x="192" y="414"/>
                  </a:lnTo>
                  <a:lnTo>
                    <a:pt x="194" y="414"/>
                  </a:lnTo>
                  <a:lnTo>
                    <a:pt x="192" y="414"/>
                  </a:lnTo>
                  <a:lnTo>
                    <a:pt x="192" y="416"/>
                  </a:lnTo>
                  <a:lnTo>
                    <a:pt x="194" y="416"/>
                  </a:lnTo>
                  <a:lnTo>
                    <a:pt x="197" y="416"/>
                  </a:lnTo>
                  <a:lnTo>
                    <a:pt x="194" y="416"/>
                  </a:lnTo>
                  <a:lnTo>
                    <a:pt x="197" y="416"/>
                  </a:lnTo>
                  <a:lnTo>
                    <a:pt x="194" y="416"/>
                  </a:lnTo>
                  <a:lnTo>
                    <a:pt x="194" y="418"/>
                  </a:lnTo>
                  <a:lnTo>
                    <a:pt x="194" y="416"/>
                  </a:lnTo>
                  <a:lnTo>
                    <a:pt x="192" y="416"/>
                  </a:lnTo>
                  <a:lnTo>
                    <a:pt x="192" y="414"/>
                  </a:lnTo>
                  <a:lnTo>
                    <a:pt x="192" y="411"/>
                  </a:lnTo>
                  <a:close/>
                  <a:moveTo>
                    <a:pt x="192" y="411"/>
                  </a:moveTo>
                  <a:lnTo>
                    <a:pt x="194" y="411"/>
                  </a:lnTo>
                  <a:lnTo>
                    <a:pt x="192" y="411"/>
                  </a:lnTo>
                  <a:lnTo>
                    <a:pt x="192" y="414"/>
                  </a:lnTo>
                  <a:lnTo>
                    <a:pt x="192" y="411"/>
                  </a:lnTo>
                  <a:close/>
                  <a:moveTo>
                    <a:pt x="197" y="411"/>
                  </a:moveTo>
                  <a:lnTo>
                    <a:pt x="199" y="411"/>
                  </a:lnTo>
                  <a:lnTo>
                    <a:pt x="197" y="411"/>
                  </a:lnTo>
                  <a:close/>
                  <a:moveTo>
                    <a:pt x="199" y="409"/>
                  </a:moveTo>
                  <a:lnTo>
                    <a:pt x="199" y="406"/>
                  </a:lnTo>
                  <a:lnTo>
                    <a:pt x="199" y="409"/>
                  </a:lnTo>
                  <a:close/>
                  <a:moveTo>
                    <a:pt x="197" y="406"/>
                  </a:moveTo>
                  <a:lnTo>
                    <a:pt x="197" y="409"/>
                  </a:lnTo>
                  <a:lnTo>
                    <a:pt x="199" y="409"/>
                  </a:lnTo>
                  <a:lnTo>
                    <a:pt x="197" y="409"/>
                  </a:lnTo>
                  <a:lnTo>
                    <a:pt x="197" y="406"/>
                  </a:lnTo>
                  <a:lnTo>
                    <a:pt x="194" y="406"/>
                  </a:lnTo>
                  <a:lnTo>
                    <a:pt x="197" y="406"/>
                  </a:lnTo>
                  <a:close/>
                  <a:moveTo>
                    <a:pt x="9" y="406"/>
                  </a:moveTo>
                  <a:lnTo>
                    <a:pt x="7" y="406"/>
                  </a:lnTo>
                  <a:lnTo>
                    <a:pt x="9" y="406"/>
                  </a:lnTo>
                  <a:close/>
                  <a:moveTo>
                    <a:pt x="9" y="404"/>
                  </a:moveTo>
                  <a:lnTo>
                    <a:pt x="7" y="404"/>
                  </a:lnTo>
                  <a:lnTo>
                    <a:pt x="9" y="404"/>
                  </a:lnTo>
                  <a:close/>
                  <a:moveTo>
                    <a:pt x="9" y="404"/>
                  </a:moveTo>
                  <a:lnTo>
                    <a:pt x="9" y="402"/>
                  </a:lnTo>
                  <a:lnTo>
                    <a:pt x="9" y="404"/>
                  </a:lnTo>
                  <a:close/>
                  <a:moveTo>
                    <a:pt x="7" y="402"/>
                  </a:moveTo>
                  <a:lnTo>
                    <a:pt x="7" y="404"/>
                  </a:lnTo>
                  <a:lnTo>
                    <a:pt x="9" y="404"/>
                  </a:lnTo>
                  <a:lnTo>
                    <a:pt x="7" y="404"/>
                  </a:lnTo>
                  <a:lnTo>
                    <a:pt x="7" y="402"/>
                  </a:lnTo>
                  <a:close/>
                  <a:moveTo>
                    <a:pt x="9" y="402"/>
                  </a:moveTo>
                  <a:lnTo>
                    <a:pt x="9" y="404"/>
                  </a:lnTo>
                  <a:lnTo>
                    <a:pt x="9" y="402"/>
                  </a:lnTo>
                  <a:close/>
                  <a:moveTo>
                    <a:pt x="7" y="402"/>
                  </a:moveTo>
                  <a:lnTo>
                    <a:pt x="9" y="402"/>
                  </a:lnTo>
                  <a:lnTo>
                    <a:pt x="7" y="402"/>
                  </a:lnTo>
                  <a:lnTo>
                    <a:pt x="9" y="402"/>
                  </a:lnTo>
                  <a:lnTo>
                    <a:pt x="7" y="402"/>
                  </a:lnTo>
                  <a:close/>
                  <a:moveTo>
                    <a:pt x="180" y="402"/>
                  </a:moveTo>
                  <a:lnTo>
                    <a:pt x="178" y="402"/>
                  </a:lnTo>
                  <a:lnTo>
                    <a:pt x="180" y="402"/>
                  </a:lnTo>
                  <a:close/>
                  <a:moveTo>
                    <a:pt x="173" y="402"/>
                  </a:moveTo>
                  <a:lnTo>
                    <a:pt x="171" y="402"/>
                  </a:lnTo>
                  <a:lnTo>
                    <a:pt x="173" y="402"/>
                  </a:lnTo>
                  <a:lnTo>
                    <a:pt x="171" y="402"/>
                  </a:lnTo>
                  <a:lnTo>
                    <a:pt x="173" y="402"/>
                  </a:lnTo>
                  <a:close/>
                  <a:moveTo>
                    <a:pt x="9" y="399"/>
                  </a:moveTo>
                  <a:lnTo>
                    <a:pt x="9" y="402"/>
                  </a:lnTo>
                  <a:lnTo>
                    <a:pt x="7" y="402"/>
                  </a:lnTo>
                  <a:lnTo>
                    <a:pt x="9" y="399"/>
                  </a:lnTo>
                  <a:lnTo>
                    <a:pt x="9" y="402"/>
                  </a:lnTo>
                  <a:lnTo>
                    <a:pt x="9" y="399"/>
                  </a:lnTo>
                  <a:close/>
                  <a:moveTo>
                    <a:pt x="175" y="399"/>
                  </a:moveTo>
                  <a:lnTo>
                    <a:pt x="178" y="399"/>
                  </a:lnTo>
                  <a:lnTo>
                    <a:pt x="175" y="399"/>
                  </a:lnTo>
                  <a:close/>
                  <a:moveTo>
                    <a:pt x="204" y="399"/>
                  </a:moveTo>
                  <a:lnTo>
                    <a:pt x="202" y="399"/>
                  </a:lnTo>
                  <a:lnTo>
                    <a:pt x="204" y="399"/>
                  </a:lnTo>
                  <a:close/>
                  <a:moveTo>
                    <a:pt x="9" y="399"/>
                  </a:moveTo>
                  <a:lnTo>
                    <a:pt x="7" y="399"/>
                  </a:lnTo>
                  <a:lnTo>
                    <a:pt x="9" y="399"/>
                  </a:lnTo>
                  <a:close/>
                  <a:moveTo>
                    <a:pt x="7" y="399"/>
                  </a:moveTo>
                  <a:lnTo>
                    <a:pt x="7" y="397"/>
                  </a:lnTo>
                  <a:lnTo>
                    <a:pt x="7" y="399"/>
                  </a:lnTo>
                  <a:close/>
                  <a:moveTo>
                    <a:pt x="213" y="397"/>
                  </a:moveTo>
                  <a:lnTo>
                    <a:pt x="213" y="399"/>
                  </a:lnTo>
                  <a:lnTo>
                    <a:pt x="213" y="397"/>
                  </a:lnTo>
                  <a:close/>
                  <a:moveTo>
                    <a:pt x="209" y="397"/>
                  </a:moveTo>
                  <a:lnTo>
                    <a:pt x="206" y="397"/>
                  </a:lnTo>
                  <a:lnTo>
                    <a:pt x="209" y="397"/>
                  </a:lnTo>
                  <a:close/>
                  <a:moveTo>
                    <a:pt x="206" y="397"/>
                  </a:moveTo>
                  <a:lnTo>
                    <a:pt x="204" y="397"/>
                  </a:lnTo>
                  <a:lnTo>
                    <a:pt x="206" y="397"/>
                  </a:lnTo>
                  <a:close/>
                  <a:moveTo>
                    <a:pt x="5" y="397"/>
                  </a:moveTo>
                  <a:lnTo>
                    <a:pt x="5" y="395"/>
                  </a:lnTo>
                  <a:lnTo>
                    <a:pt x="5" y="397"/>
                  </a:lnTo>
                  <a:close/>
                  <a:moveTo>
                    <a:pt x="211" y="395"/>
                  </a:moveTo>
                  <a:lnTo>
                    <a:pt x="213" y="395"/>
                  </a:lnTo>
                  <a:lnTo>
                    <a:pt x="211" y="395"/>
                  </a:lnTo>
                  <a:lnTo>
                    <a:pt x="211" y="397"/>
                  </a:lnTo>
                  <a:lnTo>
                    <a:pt x="211" y="395"/>
                  </a:lnTo>
                  <a:close/>
                  <a:moveTo>
                    <a:pt x="209" y="395"/>
                  </a:moveTo>
                  <a:lnTo>
                    <a:pt x="209" y="397"/>
                  </a:lnTo>
                  <a:lnTo>
                    <a:pt x="209" y="395"/>
                  </a:lnTo>
                  <a:close/>
                  <a:moveTo>
                    <a:pt x="218" y="395"/>
                  </a:moveTo>
                  <a:lnTo>
                    <a:pt x="216" y="395"/>
                  </a:lnTo>
                  <a:lnTo>
                    <a:pt x="218" y="395"/>
                  </a:lnTo>
                  <a:close/>
                  <a:moveTo>
                    <a:pt x="216" y="395"/>
                  </a:moveTo>
                  <a:lnTo>
                    <a:pt x="218" y="395"/>
                  </a:lnTo>
                  <a:lnTo>
                    <a:pt x="216" y="395"/>
                  </a:lnTo>
                  <a:close/>
                  <a:moveTo>
                    <a:pt x="228" y="395"/>
                  </a:moveTo>
                  <a:lnTo>
                    <a:pt x="228" y="392"/>
                  </a:lnTo>
                  <a:lnTo>
                    <a:pt x="228" y="395"/>
                  </a:lnTo>
                  <a:close/>
                  <a:moveTo>
                    <a:pt x="213" y="395"/>
                  </a:moveTo>
                  <a:lnTo>
                    <a:pt x="216" y="395"/>
                  </a:lnTo>
                  <a:lnTo>
                    <a:pt x="213" y="395"/>
                  </a:lnTo>
                  <a:lnTo>
                    <a:pt x="213" y="397"/>
                  </a:lnTo>
                  <a:lnTo>
                    <a:pt x="216" y="397"/>
                  </a:lnTo>
                  <a:lnTo>
                    <a:pt x="213" y="397"/>
                  </a:lnTo>
                  <a:lnTo>
                    <a:pt x="213" y="395"/>
                  </a:lnTo>
                  <a:lnTo>
                    <a:pt x="213" y="392"/>
                  </a:lnTo>
                  <a:lnTo>
                    <a:pt x="213" y="395"/>
                  </a:lnTo>
                  <a:close/>
                  <a:moveTo>
                    <a:pt x="5" y="392"/>
                  </a:moveTo>
                  <a:lnTo>
                    <a:pt x="7" y="392"/>
                  </a:lnTo>
                  <a:lnTo>
                    <a:pt x="5" y="392"/>
                  </a:lnTo>
                  <a:lnTo>
                    <a:pt x="5" y="395"/>
                  </a:lnTo>
                  <a:lnTo>
                    <a:pt x="7" y="392"/>
                  </a:lnTo>
                  <a:lnTo>
                    <a:pt x="7" y="395"/>
                  </a:lnTo>
                  <a:lnTo>
                    <a:pt x="5" y="395"/>
                  </a:lnTo>
                  <a:lnTo>
                    <a:pt x="5" y="392"/>
                  </a:lnTo>
                  <a:close/>
                  <a:moveTo>
                    <a:pt x="7" y="390"/>
                  </a:moveTo>
                  <a:lnTo>
                    <a:pt x="7" y="392"/>
                  </a:lnTo>
                  <a:lnTo>
                    <a:pt x="7" y="390"/>
                  </a:lnTo>
                  <a:close/>
                  <a:moveTo>
                    <a:pt x="223" y="392"/>
                  </a:moveTo>
                  <a:lnTo>
                    <a:pt x="223" y="390"/>
                  </a:lnTo>
                  <a:lnTo>
                    <a:pt x="223" y="392"/>
                  </a:lnTo>
                  <a:close/>
                  <a:moveTo>
                    <a:pt x="7" y="390"/>
                  </a:moveTo>
                  <a:lnTo>
                    <a:pt x="9" y="390"/>
                  </a:lnTo>
                  <a:lnTo>
                    <a:pt x="7" y="392"/>
                  </a:lnTo>
                  <a:lnTo>
                    <a:pt x="9" y="392"/>
                  </a:lnTo>
                  <a:lnTo>
                    <a:pt x="7" y="392"/>
                  </a:lnTo>
                  <a:lnTo>
                    <a:pt x="7" y="390"/>
                  </a:lnTo>
                  <a:close/>
                  <a:moveTo>
                    <a:pt x="218" y="390"/>
                  </a:moveTo>
                  <a:lnTo>
                    <a:pt x="221" y="390"/>
                  </a:lnTo>
                  <a:lnTo>
                    <a:pt x="221" y="392"/>
                  </a:lnTo>
                  <a:lnTo>
                    <a:pt x="223" y="392"/>
                  </a:lnTo>
                  <a:lnTo>
                    <a:pt x="221" y="392"/>
                  </a:lnTo>
                  <a:lnTo>
                    <a:pt x="221" y="390"/>
                  </a:lnTo>
                  <a:lnTo>
                    <a:pt x="218" y="390"/>
                  </a:lnTo>
                  <a:close/>
                  <a:moveTo>
                    <a:pt x="221" y="387"/>
                  </a:moveTo>
                  <a:lnTo>
                    <a:pt x="221" y="390"/>
                  </a:lnTo>
                  <a:lnTo>
                    <a:pt x="223" y="390"/>
                  </a:lnTo>
                  <a:lnTo>
                    <a:pt x="221" y="390"/>
                  </a:lnTo>
                  <a:lnTo>
                    <a:pt x="221" y="387"/>
                  </a:lnTo>
                  <a:close/>
                  <a:moveTo>
                    <a:pt x="0" y="390"/>
                  </a:moveTo>
                  <a:lnTo>
                    <a:pt x="0" y="387"/>
                  </a:lnTo>
                  <a:lnTo>
                    <a:pt x="0" y="390"/>
                  </a:lnTo>
                  <a:close/>
                  <a:moveTo>
                    <a:pt x="223" y="390"/>
                  </a:moveTo>
                  <a:lnTo>
                    <a:pt x="223" y="387"/>
                  </a:lnTo>
                  <a:lnTo>
                    <a:pt x="223" y="390"/>
                  </a:lnTo>
                  <a:close/>
                  <a:moveTo>
                    <a:pt x="218" y="387"/>
                  </a:moveTo>
                  <a:lnTo>
                    <a:pt x="216" y="387"/>
                  </a:lnTo>
                  <a:lnTo>
                    <a:pt x="218" y="387"/>
                  </a:lnTo>
                  <a:close/>
                  <a:moveTo>
                    <a:pt x="237" y="387"/>
                  </a:moveTo>
                  <a:lnTo>
                    <a:pt x="235" y="387"/>
                  </a:lnTo>
                  <a:lnTo>
                    <a:pt x="237" y="387"/>
                  </a:lnTo>
                  <a:lnTo>
                    <a:pt x="235" y="387"/>
                  </a:lnTo>
                  <a:lnTo>
                    <a:pt x="235" y="390"/>
                  </a:lnTo>
                  <a:lnTo>
                    <a:pt x="235" y="387"/>
                  </a:lnTo>
                  <a:lnTo>
                    <a:pt x="237" y="387"/>
                  </a:lnTo>
                  <a:close/>
                  <a:moveTo>
                    <a:pt x="230" y="385"/>
                  </a:moveTo>
                  <a:lnTo>
                    <a:pt x="230" y="387"/>
                  </a:lnTo>
                  <a:lnTo>
                    <a:pt x="230" y="385"/>
                  </a:lnTo>
                  <a:lnTo>
                    <a:pt x="230" y="387"/>
                  </a:lnTo>
                  <a:lnTo>
                    <a:pt x="230" y="390"/>
                  </a:lnTo>
                  <a:lnTo>
                    <a:pt x="230" y="387"/>
                  </a:lnTo>
                  <a:lnTo>
                    <a:pt x="230" y="385"/>
                  </a:lnTo>
                  <a:close/>
                  <a:moveTo>
                    <a:pt x="221" y="387"/>
                  </a:moveTo>
                  <a:lnTo>
                    <a:pt x="221" y="385"/>
                  </a:lnTo>
                  <a:lnTo>
                    <a:pt x="221" y="387"/>
                  </a:lnTo>
                  <a:close/>
                  <a:moveTo>
                    <a:pt x="0" y="385"/>
                  </a:moveTo>
                  <a:lnTo>
                    <a:pt x="2" y="385"/>
                  </a:lnTo>
                  <a:lnTo>
                    <a:pt x="2" y="387"/>
                  </a:lnTo>
                  <a:lnTo>
                    <a:pt x="0" y="387"/>
                  </a:lnTo>
                  <a:lnTo>
                    <a:pt x="2" y="387"/>
                  </a:lnTo>
                  <a:lnTo>
                    <a:pt x="2" y="390"/>
                  </a:lnTo>
                  <a:lnTo>
                    <a:pt x="2" y="387"/>
                  </a:lnTo>
                  <a:lnTo>
                    <a:pt x="0" y="387"/>
                  </a:lnTo>
                  <a:lnTo>
                    <a:pt x="0" y="385"/>
                  </a:lnTo>
                  <a:close/>
                  <a:moveTo>
                    <a:pt x="5" y="385"/>
                  </a:moveTo>
                  <a:lnTo>
                    <a:pt x="2" y="383"/>
                  </a:lnTo>
                  <a:lnTo>
                    <a:pt x="5" y="383"/>
                  </a:lnTo>
                  <a:lnTo>
                    <a:pt x="5" y="385"/>
                  </a:lnTo>
                  <a:close/>
                  <a:moveTo>
                    <a:pt x="5" y="385"/>
                  </a:moveTo>
                  <a:lnTo>
                    <a:pt x="5" y="383"/>
                  </a:lnTo>
                  <a:lnTo>
                    <a:pt x="5" y="385"/>
                  </a:lnTo>
                  <a:close/>
                  <a:moveTo>
                    <a:pt x="249" y="383"/>
                  </a:moveTo>
                  <a:lnTo>
                    <a:pt x="251" y="383"/>
                  </a:lnTo>
                  <a:lnTo>
                    <a:pt x="249" y="383"/>
                  </a:lnTo>
                  <a:close/>
                  <a:moveTo>
                    <a:pt x="244" y="383"/>
                  </a:moveTo>
                  <a:lnTo>
                    <a:pt x="247" y="383"/>
                  </a:lnTo>
                  <a:lnTo>
                    <a:pt x="244" y="383"/>
                  </a:lnTo>
                  <a:lnTo>
                    <a:pt x="247" y="383"/>
                  </a:lnTo>
                  <a:lnTo>
                    <a:pt x="244" y="383"/>
                  </a:lnTo>
                  <a:close/>
                  <a:moveTo>
                    <a:pt x="244" y="383"/>
                  </a:moveTo>
                  <a:lnTo>
                    <a:pt x="242" y="383"/>
                  </a:lnTo>
                  <a:lnTo>
                    <a:pt x="242" y="385"/>
                  </a:lnTo>
                  <a:lnTo>
                    <a:pt x="242" y="383"/>
                  </a:lnTo>
                  <a:lnTo>
                    <a:pt x="242" y="385"/>
                  </a:lnTo>
                  <a:lnTo>
                    <a:pt x="239" y="385"/>
                  </a:lnTo>
                  <a:lnTo>
                    <a:pt x="239" y="387"/>
                  </a:lnTo>
                  <a:lnTo>
                    <a:pt x="237" y="387"/>
                  </a:lnTo>
                  <a:lnTo>
                    <a:pt x="237" y="385"/>
                  </a:lnTo>
                  <a:lnTo>
                    <a:pt x="237" y="387"/>
                  </a:lnTo>
                  <a:lnTo>
                    <a:pt x="235" y="387"/>
                  </a:lnTo>
                  <a:lnTo>
                    <a:pt x="237" y="387"/>
                  </a:lnTo>
                  <a:lnTo>
                    <a:pt x="237" y="385"/>
                  </a:lnTo>
                  <a:lnTo>
                    <a:pt x="237" y="387"/>
                  </a:lnTo>
                  <a:lnTo>
                    <a:pt x="237" y="385"/>
                  </a:lnTo>
                  <a:lnTo>
                    <a:pt x="239" y="385"/>
                  </a:lnTo>
                  <a:lnTo>
                    <a:pt x="239" y="383"/>
                  </a:lnTo>
                  <a:lnTo>
                    <a:pt x="242" y="383"/>
                  </a:lnTo>
                  <a:lnTo>
                    <a:pt x="244" y="383"/>
                  </a:lnTo>
                  <a:close/>
                  <a:moveTo>
                    <a:pt x="244" y="383"/>
                  </a:moveTo>
                  <a:lnTo>
                    <a:pt x="244" y="380"/>
                  </a:lnTo>
                  <a:lnTo>
                    <a:pt x="244" y="383"/>
                  </a:lnTo>
                  <a:close/>
                  <a:moveTo>
                    <a:pt x="237" y="383"/>
                  </a:moveTo>
                  <a:lnTo>
                    <a:pt x="237" y="380"/>
                  </a:lnTo>
                  <a:lnTo>
                    <a:pt x="237" y="383"/>
                  </a:lnTo>
                  <a:close/>
                  <a:moveTo>
                    <a:pt x="237" y="380"/>
                  </a:moveTo>
                  <a:lnTo>
                    <a:pt x="239" y="380"/>
                  </a:lnTo>
                  <a:lnTo>
                    <a:pt x="237" y="380"/>
                  </a:lnTo>
                  <a:lnTo>
                    <a:pt x="237" y="383"/>
                  </a:lnTo>
                  <a:lnTo>
                    <a:pt x="237" y="380"/>
                  </a:lnTo>
                  <a:lnTo>
                    <a:pt x="237" y="383"/>
                  </a:lnTo>
                  <a:lnTo>
                    <a:pt x="237" y="380"/>
                  </a:lnTo>
                  <a:lnTo>
                    <a:pt x="237" y="383"/>
                  </a:lnTo>
                  <a:lnTo>
                    <a:pt x="237" y="380"/>
                  </a:lnTo>
                  <a:lnTo>
                    <a:pt x="237" y="383"/>
                  </a:lnTo>
                  <a:lnTo>
                    <a:pt x="235" y="383"/>
                  </a:lnTo>
                  <a:lnTo>
                    <a:pt x="232" y="383"/>
                  </a:lnTo>
                  <a:lnTo>
                    <a:pt x="232" y="385"/>
                  </a:lnTo>
                  <a:lnTo>
                    <a:pt x="230" y="385"/>
                  </a:lnTo>
                  <a:lnTo>
                    <a:pt x="230" y="383"/>
                  </a:lnTo>
                  <a:lnTo>
                    <a:pt x="230" y="385"/>
                  </a:lnTo>
                  <a:lnTo>
                    <a:pt x="230" y="383"/>
                  </a:lnTo>
                  <a:lnTo>
                    <a:pt x="230" y="385"/>
                  </a:lnTo>
                  <a:lnTo>
                    <a:pt x="230" y="383"/>
                  </a:lnTo>
                  <a:lnTo>
                    <a:pt x="232" y="383"/>
                  </a:lnTo>
                  <a:lnTo>
                    <a:pt x="232" y="380"/>
                  </a:lnTo>
                  <a:lnTo>
                    <a:pt x="232" y="383"/>
                  </a:lnTo>
                  <a:lnTo>
                    <a:pt x="235" y="383"/>
                  </a:lnTo>
                  <a:lnTo>
                    <a:pt x="232" y="383"/>
                  </a:lnTo>
                  <a:lnTo>
                    <a:pt x="235" y="383"/>
                  </a:lnTo>
                  <a:lnTo>
                    <a:pt x="235" y="380"/>
                  </a:lnTo>
                  <a:lnTo>
                    <a:pt x="237" y="380"/>
                  </a:lnTo>
                  <a:lnTo>
                    <a:pt x="235" y="380"/>
                  </a:lnTo>
                  <a:lnTo>
                    <a:pt x="237" y="380"/>
                  </a:lnTo>
                  <a:close/>
                  <a:moveTo>
                    <a:pt x="249" y="380"/>
                  </a:moveTo>
                  <a:lnTo>
                    <a:pt x="251" y="380"/>
                  </a:lnTo>
                  <a:lnTo>
                    <a:pt x="249" y="380"/>
                  </a:lnTo>
                  <a:close/>
                  <a:moveTo>
                    <a:pt x="235" y="380"/>
                  </a:moveTo>
                  <a:lnTo>
                    <a:pt x="232" y="380"/>
                  </a:lnTo>
                  <a:lnTo>
                    <a:pt x="235" y="380"/>
                  </a:lnTo>
                  <a:lnTo>
                    <a:pt x="232" y="380"/>
                  </a:lnTo>
                  <a:lnTo>
                    <a:pt x="235" y="380"/>
                  </a:lnTo>
                  <a:close/>
                  <a:moveTo>
                    <a:pt x="232" y="380"/>
                  </a:moveTo>
                  <a:lnTo>
                    <a:pt x="232" y="378"/>
                  </a:lnTo>
                  <a:lnTo>
                    <a:pt x="235" y="380"/>
                  </a:lnTo>
                  <a:lnTo>
                    <a:pt x="232" y="380"/>
                  </a:lnTo>
                  <a:close/>
                  <a:moveTo>
                    <a:pt x="242" y="378"/>
                  </a:moveTo>
                  <a:lnTo>
                    <a:pt x="242" y="380"/>
                  </a:lnTo>
                  <a:lnTo>
                    <a:pt x="242" y="378"/>
                  </a:lnTo>
                  <a:close/>
                  <a:moveTo>
                    <a:pt x="237" y="378"/>
                  </a:moveTo>
                  <a:lnTo>
                    <a:pt x="237" y="380"/>
                  </a:lnTo>
                  <a:lnTo>
                    <a:pt x="237" y="378"/>
                  </a:lnTo>
                  <a:lnTo>
                    <a:pt x="235" y="378"/>
                  </a:lnTo>
                  <a:lnTo>
                    <a:pt x="237" y="378"/>
                  </a:lnTo>
                  <a:close/>
                  <a:moveTo>
                    <a:pt x="249" y="378"/>
                  </a:moveTo>
                  <a:lnTo>
                    <a:pt x="249" y="380"/>
                  </a:lnTo>
                  <a:lnTo>
                    <a:pt x="249" y="378"/>
                  </a:lnTo>
                  <a:close/>
                  <a:moveTo>
                    <a:pt x="254" y="376"/>
                  </a:moveTo>
                  <a:lnTo>
                    <a:pt x="256" y="376"/>
                  </a:lnTo>
                  <a:lnTo>
                    <a:pt x="256" y="378"/>
                  </a:lnTo>
                  <a:lnTo>
                    <a:pt x="254" y="378"/>
                  </a:lnTo>
                  <a:lnTo>
                    <a:pt x="256" y="378"/>
                  </a:lnTo>
                  <a:lnTo>
                    <a:pt x="254" y="378"/>
                  </a:lnTo>
                  <a:lnTo>
                    <a:pt x="254" y="376"/>
                  </a:lnTo>
                  <a:close/>
                  <a:moveTo>
                    <a:pt x="251" y="378"/>
                  </a:moveTo>
                  <a:lnTo>
                    <a:pt x="251" y="376"/>
                  </a:lnTo>
                  <a:lnTo>
                    <a:pt x="251" y="378"/>
                  </a:lnTo>
                  <a:close/>
                  <a:moveTo>
                    <a:pt x="254" y="376"/>
                  </a:moveTo>
                  <a:lnTo>
                    <a:pt x="251" y="376"/>
                  </a:lnTo>
                  <a:lnTo>
                    <a:pt x="251" y="378"/>
                  </a:lnTo>
                  <a:lnTo>
                    <a:pt x="251" y="376"/>
                  </a:lnTo>
                  <a:lnTo>
                    <a:pt x="254" y="376"/>
                  </a:lnTo>
                  <a:close/>
                  <a:moveTo>
                    <a:pt x="249" y="376"/>
                  </a:moveTo>
                  <a:lnTo>
                    <a:pt x="247" y="376"/>
                  </a:lnTo>
                  <a:lnTo>
                    <a:pt x="249" y="376"/>
                  </a:lnTo>
                  <a:close/>
                  <a:moveTo>
                    <a:pt x="247" y="376"/>
                  </a:moveTo>
                  <a:lnTo>
                    <a:pt x="247" y="378"/>
                  </a:lnTo>
                  <a:lnTo>
                    <a:pt x="247" y="380"/>
                  </a:lnTo>
                  <a:lnTo>
                    <a:pt x="244" y="380"/>
                  </a:lnTo>
                  <a:lnTo>
                    <a:pt x="247" y="380"/>
                  </a:lnTo>
                  <a:lnTo>
                    <a:pt x="244" y="380"/>
                  </a:lnTo>
                  <a:lnTo>
                    <a:pt x="242" y="380"/>
                  </a:lnTo>
                  <a:lnTo>
                    <a:pt x="244" y="380"/>
                  </a:lnTo>
                  <a:lnTo>
                    <a:pt x="242" y="380"/>
                  </a:lnTo>
                  <a:lnTo>
                    <a:pt x="244" y="380"/>
                  </a:lnTo>
                  <a:lnTo>
                    <a:pt x="244" y="378"/>
                  </a:lnTo>
                  <a:lnTo>
                    <a:pt x="242" y="378"/>
                  </a:lnTo>
                  <a:lnTo>
                    <a:pt x="244" y="378"/>
                  </a:lnTo>
                  <a:lnTo>
                    <a:pt x="244" y="376"/>
                  </a:lnTo>
                  <a:lnTo>
                    <a:pt x="247" y="376"/>
                  </a:lnTo>
                  <a:close/>
                  <a:moveTo>
                    <a:pt x="249" y="376"/>
                  </a:moveTo>
                  <a:lnTo>
                    <a:pt x="251" y="376"/>
                  </a:lnTo>
                  <a:lnTo>
                    <a:pt x="249" y="376"/>
                  </a:lnTo>
                  <a:close/>
                  <a:moveTo>
                    <a:pt x="251" y="373"/>
                  </a:moveTo>
                  <a:lnTo>
                    <a:pt x="251" y="376"/>
                  </a:lnTo>
                  <a:lnTo>
                    <a:pt x="251" y="373"/>
                  </a:lnTo>
                  <a:lnTo>
                    <a:pt x="251" y="376"/>
                  </a:lnTo>
                  <a:lnTo>
                    <a:pt x="251" y="373"/>
                  </a:lnTo>
                  <a:close/>
                  <a:moveTo>
                    <a:pt x="258" y="373"/>
                  </a:moveTo>
                  <a:lnTo>
                    <a:pt x="256" y="373"/>
                  </a:lnTo>
                  <a:lnTo>
                    <a:pt x="258" y="373"/>
                  </a:lnTo>
                  <a:close/>
                  <a:moveTo>
                    <a:pt x="256" y="373"/>
                  </a:moveTo>
                  <a:lnTo>
                    <a:pt x="254" y="373"/>
                  </a:lnTo>
                  <a:lnTo>
                    <a:pt x="254" y="376"/>
                  </a:lnTo>
                  <a:lnTo>
                    <a:pt x="254" y="373"/>
                  </a:lnTo>
                  <a:lnTo>
                    <a:pt x="254" y="376"/>
                  </a:lnTo>
                  <a:lnTo>
                    <a:pt x="254" y="373"/>
                  </a:lnTo>
                  <a:lnTo>
                    <a:pt x="256" y="373"/>
                  </a:lnTo>
                  <a:close/>
                  <a:moveTo>
                    <a:pt x="254" y="373"/>
                  </a:moveTo>
                  <a:lnTo>
                    <a:pt x="251" y="373"/>
                  </a:lnTo>
                  <a:lnTo>
                    <a:pt x="254" y="373"/>
                  </a:lnTo>
                  <a:close/>
                  <a:moveTo>
                    <a:pt x="254" y="371"/>
                  </a:moveTo>
                  <a:lnTo>
                    <a:pt x="256" y="373"/>
                  </a:lnTo>
                  <a:lnTo>
                    <a:pt x="254" y="373"/>
                  </a:lnTo>
                  <a:lnTo>
                    <a:pt x="254" y="371"/>
                  </a:lnTo>
                  <a:close/>
                  <a:moveTo>
                    <a:pt x="247" y="373"/>
                  </a:moveTo>
                  <a:lnTo>
                    <a:pt x="247" y="371"/>
                  </a:lnTo>
                  <a:lnTo>
                    <a:pt x="247" y="373"/>
                  </a:lnTo>
                  <a:close/>
                  <a:moveTo>
                    <a:pt x="254" y="371"/>
                  </a:moveTo>
                  <a:lnTo>
                    <a:pt x="251" y="373"/>
                  </a:lnTo>
                  <a:lnTo>
                    <a:pt x="254" y="373"/>
                  </a:lnTo>
                  <a:lnTo>
                    <a:pt x="251" y="373"/>
                  </a:lnTo>
                  <a:lnTo>
                    <a:pt x="254" y="371"/>
                  </a:lnTo>
                  <a:close/>
                  <a:moveTo>
                    <a:pt x="249" y="371"/>
                  </a:moveTo>
                  <a:lnTo>
                    <a:pt x="247" y="371"/>
                  </a:lnTo>
                  <a:lnTo>
                    <a:pt x="249" y="371"/>
                  </a:lnTo>
                  <a:close/>
                  <a:moveTo>
                    <a:pt x="256" y="371"/>
                  </a:moveTo>
                  <a:lnTo>
                    <a:pt x="254" y="371"/>
                  </a:lnTo>
                  <a:lnTo>
                    <a:pt x="256" y="371"/>
                  </a:lnTo>
                  <a:lnTo>
                    <a:pt x="254" y="371"/>
                  </a:lnTo>
                  <a:lnTo>
                    <a:pt x="254" y="373"/>
                  </a:lnTo>
                  <a:lnTo>
                    <a:pt x="254" y="371"/>
                  </a:lnTo>
                  <a:lnTo>
                    <a:pt x="256" y="371"/>
                  </a:lnTo>
                  <a:close/>
                  <a:moveTo>
                    <a:pt x="244" y="371"/>
                  </a:moveTo>
                  <a:lnTo>
                    <a:pt x="247" y="371"/>
                  </a:lnTo>
                  <a:lnTo>
                    <a:pt x="244" y="371"/>
                  </a:lnTo>
                  <a:close/>
                  <a:moveTo>
                    <a:pt x="256" y="368"/>
                  </a:moveTo>
                  <a:lnTo>
                    <a:pt x="256" y="371"/>
                  </a:lnTo>
                  <a:lnTo>
                    <a:pt x="256" y="368"/>
                  </a:lnTo>
                  <a:lnTo>
                    <a:pt x="256" y="371"/>
                  </a:lnTo>
                  <a:lnTo>
                    <a:pt x="256" y="368"/>
                  </a:lnTo>
                  <a:close/>
                  <a:moveTo>
                    <a:pt x="258" y="368"/>
                  </a:moveTo>
                  <a:lnTo>
                    <a:pt x="256" y="368"/>
                  </a:lnTo>
                  <a:lnTo>
                    <a:pt x="258" y="368"/>
                  </a:lnTo>
                  <a:close/>
                  <a:moveTo>
                    <a:pt x="244" y="368"/>
                  </a:moveTo>
                  <a:lnTo>
                    <a:pt x="242" y="368"/>
                  </a:lnTo>
                  <a:lnTo>
                    <a:pt x="244" y="368"/>
                  </a:lnTo>
                  <a:close/>
                  <a:moveTo>
                    <a:pt x="261" y="366"/>
                  </a:moveTo>
                  <a:lnTo>
                    <a:pt x="263" y="366"/>
                  </a:lnTo>
                  <a:lnTo>
                    <a:pt x="261" y="366"/>
                  </a:lnTo>
                  <a:close/>
                  <a:moveTo>
                    <a:pt x="263" y="366"/>
                  </a:moveTo>
                  <a:lnTo>
                    <a:pt x="261" y="366"/>
                  </a:lnTo>
                  <a:lnTo>
                    <a:pt x="263" y="366"/>
                  </a:lnTo>
                  <a:close/>
                  <a:moveTo>
                    <a:pt x="261" y="366"/>
                  </a:moveTo>
                  <a:lnTo>
                    <a:pt x="258" y="366"/>
                  </a:lnTo>
                  <a:lnTo>
                    <a:pt x="261" y="366"/>
                  </a:lnTo>
                  <a:close/>
                  <a:moveTo>
                    <a:pt x="258" y="366"/>
                  </a:moveTo>
                  <a:lnTo>
                    <a:pt x="256" y="366"/>
                  </a:lnTo>
                  <a:lnTo>
                    <a:pt x="258" y="366"/>
                  </a:lnTo>
                  <a:lnTo>
                    <a:pt x="258" y="368"/>
                  </a:lnTo>
                  <a:lnTo>
                    <a:pt x="256" y="368"/>
                  </a:lnTo>
                  <a:lnTo>
                    <a:pt x="258" y="368"/>
                  </a:lnTo>
                  <a:lnTo>
                    <a:pt x="256" y="368"/>
                  </a:lnTo>
                  <a:lnTo>
                    <a:pt x="254" y="368"/>
                  </a:lnTo>
                  <a:lnTo>
                    <a:pt x="256" y="368"/>
                  </a:lnTo>
                  <a:lnTo>
                    <a:pt x="256" y="366"/>
                  </a:lnTo>
                  <a:lnTo>
                    <a:pt x="256" y="368"/>
                  </a:lnTo>
                  <a:lnTo>
                    <a:pt x="256" y="366"/>
                  </a:lnTo>
                  <a:lnTo>
                    <a:pt x="258" y="366"/>
                  </a:lnTo>
                  <a:close/>
                  <a:moveTo>
                    <a:pt x="258" y="366"/>
                  </a:moveTo>
                  <a:lnTo>
                    <a:pt x="261" y="366"/>
                  </a:lnTo>
                  <a:lnTo>
                    <a:pt x="258" y="366"/>
                  </a:lnTo>
                  <a:close/>
                  <a:moveTo>
                    <a:pt x="268" y="366"/>
                  </a:moveTo>
                  <a:lnTo>
                    <a:pt x="270" y="366"/>
                  </a:lnTo>
                  <a:lnTo>
                    <a:pt x="268" y="366"/>
                  </a:lnTo>
                  <a:close/>
                  <a:moveTo>
                    <a:pt x="261" y="366"/>
                  </a:moveTo>
                  <a:lnTo>
                    <a:pt x="258" y="366"/>
                  </a:lnTo>
                  <a:lnTo>
                    <a:pt x="261" y="366"/>
                  </a:lnTo>
                  <a:lnTo>
                    <a:pt x="261" y="364"/>
                  </a:lnTo>
                  <a:lnTo>
                    <a:pt x="261" y="366"/>
                  </a:lnTo>
                  <a:close/>
                  <a:moveTo>
                    <a:pt x="261" y="364"/>
                  </a:moveTo>
                  <a:lnTo>
                    <a:pt x="263" y="364"/>
                  </a:lnTo>
                  <a:lnTo>
                    <a:pt x="261" y="364"/>
                  </a:lnTo>
                  <a:lnTo>
                    <a:pt x="258" y="364"/>
                  </a:lnTo>
                  <a:lnTo>
                    <a:pt x="261" y="364"/>
                  </a:lnTo>
                  <a:lnTo>
                    <a:pt x="258" y="364"/>
                  </a:lnTo>
                  <a:lnTo>
                    <a:pt x="261" y="364"/>
                  </a:lnTo>
                  <a:close/>
                  <a:moveTo>
                    <a:pt x="242" y="361"/>
                  </a:moveTo>
                  <a:lnTo>
                    <a:pt x="242" y="364"/>
                  </a:lnTo>
                  <a:lnTo>
                    <a:pt x="242" y="361"/>
                  </a:lnTo>
                  <a:close/>
                  <a:moveTo>
                    <a:pt x="268" y="361"/>
                  </a:moveTo>
                  <a:lnTo>
                    <a:pt x="268" y="364"/>
                  </a:lnTo>
                  <a:lnTo>
                    <a:pt x="268" y="361"/>
                  </a:lnTo>
                  <a:close/>
                  <a:moveTo>
                    <a:pt x="254" y="361"/>
                  </a:moveTo>
                  <a:lnTo>
                    <a:pt x="256" y="361"/>
                  </a:lnTo>
                  <a:lnTo>
                    <a:pt x="256" y="364"/>
                  </a:lnTo>
                  <a:lnTo>
                    <a:pt x="256" y="366"/>
                  </a:lnTo>
                  <a:lnTo>
                    <a:pt x="254" y="366"/>
                  </a:lnTo>
                  <a:lnTo>
                    <a:pt x="254" y="364"/>
                  </a:lnTo>
                  <a:lnTo>
                    <a:pt x="254" y="366"/>
                  </a:lnTo>
                  <a:lnTo>
                    <a:pt x="254" y="364"/>
                  </a:lnTo>
                  <a:lnTo>
                    <a:pt x="254" y="366"/>
                  </a:lnTo>
                  <a:lnTo>
                    <a:pt x="254" y="364"/>
                  </a:lnTo>
                  <a:lnTo>
                    <a:pt x="254" y="361"/>
                  </a:lnTo>
                  <a:lnTo>
                    <a:pt x="251" y="361"/>
                  </a:lnTo>
                  <a:lnTo>
                    <a:pt x="254" y="361"/>
                  </a:lnTo>
                  <a:close/>
                  <a:moveTo>
                    <a:pt x="247" y="361"/>
                  </a:moveTo>
                  <a:lnTo>
                    <a:pt x="244" y="361"/>
                  </a:lnTo>
                  <a:lnTo>
                    <a:pt x="247" y="361"/>
                  </a:lnTo>
                  <a:lnTo>
                    <a:pt x="244" y="361"/>
                  </a:lnTo>
                  <a:lnTo>
                    <a:pt x="247" y="361"/>
                  </a:lnTo>
                  <a:close/>
                  <a:moveTo>
                    <a:pt x="258" y="361"/>
                  </a:moveTo>
                  <a:lnTo>
                    <a:pt x="256" y="361"/>
                  </a:lnTo>
                  <a:lnTo>
                    <a:pt x="258" y="361"/>
                  </a:lnTo>
                  <a:close/>
                  <a:moveTo>
                    <a:pt x="254" y="361"/>
                  </a:moveTo>
                  <a:lnTo>
                    <a:pt x="256" y="361"/>
                  </a:lnTo>
                  <a:lnTo>
                    <a:pt x="254" y="361"/>
                  </a:lnTo>
                  <a:close/>
                  <a:moveTo>
                    <a:pt x="258" y="361"/>
                  </a:moveTo>
                  <a:lnTo>
                    <a:pt x="256" y="361"/>
                  </a:lnTo>
                  <a:lnTo>
                    <a:pt x="258" y="361"/>
                  </a:lnTo>
                  <a:close/>
                  <a:moveTo>
                    <a:pt x="235" y="361"/>
                  </a:moveTo>
                  <a:lnTo>
                    <a:pt x="237" y="361"/>
                  </a:lnTo>
                  <a:lnTo>
                    <a:pt x="239" y="361"/>
                  </a:lnTo>
                  <a:lnTo>
                    <a:pt x="237" y="361"/>
                  </a:lnTo>
                  <a:lnTo>
                    <a:pt x="239" y="361"/>
                  </a:lnTo>
                  <a:lnTo>
                    <a:pt x="239" y="364"/>
                  </a:lnTo>
                  <a:lnTo>
                    <a:pt x="237" y="364"/>
                  </a:lnTo>
                  <a:lnTo>
                    <a:pt x="235" y="361"/>
                  </a:lnTo>
                  <a:close/>
                  <a:moveTo>
                    <a:pt x="244" y="361"/>
                  </a:moveTo>
                  <a:lnTo>
                    <a:pt x="247" y="361"/>
                  </a:lnTo>
                  <a:lnTo>
                    <a:pt x="244" y="361"/>
                  </a:lnTo>
                  <a:lnTo>
                    <a:pt x="242" y="361"/>
                  </a:lnTo>
                  <a:lnTo>
                    <a:pt x="244" y="361"/>
                  </a:lnTo>
                  <a:close/>
                  <a:moveTo>
                    <a:pt x="258" y="361"/>
                  </a:moveTo>
                  <a:lnTo>
                    <a:pt x="256" y="361"/>
                  </a:lnTo>
                  <a:lnTo>
                    <a:pt x="258" y="361"/>
                  </a:lnTo>
                  <a:close/>
                  <a:moveTo>
                    <a:pt x="237" y="361"/>
                  </a:moveTo>
                  <a:lnTo>
                    <a:pt x="235" y="361"/>
                  </a:lnTo>
                  <a:lnTo>
                    <a:pt x="237" y="361"/>
                  </a:lnTo>
                  <a:close/>
                  <a:moveTo>
                    <a:pt x="256" y="361"/>
                  </a:moveTo>
                  <a:lnTo>
                    <a:pt x="256" y="359"/>
                  </a:lnTo>
                  <a:lnTo>
                    <a:pt x="256" y="361"/>
                  </a:lnTo>
                  <a:close/>
                  <a:moveTo>
                    <a:pt x="256" y="361"/>
                  </a:moveTo>
                  <a:lnTo>
                    <a:pt x="256" y="359"/>
                  </a:lnTo>
                  <a:lnTo>
                    <a:pt x="256" y="361"/>
                  </a:lnTo>
                  <a:close/>
                  <a:moveTo>
                    <a:pt x="249" y="359"/>
                  </a:moveTo>
                  <a:lnTo>
                    <a:pt x="249" y="361"/>
                  </a:lnTo>
                  <a:lnTo>
                    <a:pt x="249" y="359"/>
                  </a:lnTo>
                  <a:lnTo>
                    <a:pt x="249" y="361"/>
                  </a:lnTo>
                  <a:lnTo>
                    <a:pt x="249" y="359"/>
                  </a:lnTo>
                  <a:close/>
                  <a:moveTo>
                    <a:pt x="263" y="359"/>
                  </a:moveTo>
                  <a:lnTo>
                    <a:pt x="263" y="361"/>
                  </a:lnTo>
                  <a:lnTo>
                    <a:pt x="263" y="364"/>
                  </a:lnTo>
                  <a:lnTo>
                    <a:pt x="263" y="361"/>
                  </a:lnTo>
                  <a:lnTo>
                    <a:pt x="261" y="361"/>
                  </a:lnTo>
                  <a:lnTo>
                    <a:pt x="263" y="361"/>
                  </a:lnTo>
                  <a:lnTo>
                    <a:pt x="261" y="361"/>
                  </a:lnTo>
                  <a:lnTo>
                    <a:pt x="263" y="361"/>
                  </a:lnTo>
                  <a:lnTo>
                    <a:pt x="261" y="361"/>
                  </a:lnTo>
                  <a:lnTo>
                    <a:pt x="261" y="359"/>
                  </a:lnTo>
                  <a:lnTo>
                    <a:pt x="263" y="359"/>
                  </a:lnTo>
                  <a:close/>
                  <a:moveTo>
                    <a:pt x="256" y="359"/>
                  </a:moveTo>
                  <a:lnTo>
                    <a:pt x="258" y="359"/>
                  </a:lnTo>
                  <a:lnTo>
                    <a:pt x="256" y="359"/>
                  </a:lnTo>
                  <a:lnTo>
                    <a:pt x="258" y="359"/>
                  </a:lnTo>
                  <a:lnTo>
                    <a:pt x="258" y="361"/>
                  </a:lnTo>
                  <a:lnTo>
                    <a:pt x="256" y="359"/>
                  </a:lnTo>
                  <a:close/>
                  <a:moveTo>
                    <a:pt x="242" y="359"/>
                  </a:moveTo>
                  <a:lnTo>
                    <a:pt x="244" y="359"/>
                  </a:lnTo>
                  <a:lnTo>
                    <a:pt x="242" y="359"/>
                  </a:lnTo>
                  <a:close/>
                  <a:moveTo>
                    <a:pt x="249" y="359"/>
                  </a:moveTo>
                  <a:lnTo>
                    <a:pt x="251" y="359"/>
                  </a:lnTo>
                  <a:lnTo>
                    <a:pt x="249" y="359"/>
                  </a:lnTo>
                  <a:close/>
                  <a:moveTo>
                    <a:pt x="258" y="359"/>
                  </a:moveTo>
                  <a:lnTo>
                    <a:pt x="256" y="359"/>
                  </a:lnTo>
                  <a:lnTo>
                    <a:pt x="258" y="359"/>
                  </a:lnTo>
                  <a:close/>
                  <a:moveTo>
                    <a:pt x="244" y="359"/>
                  </a:moveTo>
                  <a:lnTo>
                    <a:pt x="244" y="361"/>
                  </a:lnTo>
                  <a:lnTo>
                    <a:pt x="247" y="361"/>
                  </a:lnTo>
                  <a:lnTo>
                    <a:pt x="244" y="361"/>
                  </a:lnTo>
                  <a:lnTo>
                    <a:pt x="244" y="359"/>
                  </a:lnTo>
                  <a:close/>
                  <a:moveTo>
                    <a:pt x="263" y="359"/>
                  </a:moveTo>
                  <a:lnTo>
                    <a:pt x="263" y="361"/>
                  </a:lnTo>
                  <a:lnTo>
                    <a:pt x="263" y="359"/>
                  </a:lnTo>
                  <a:close/>
                  <a:moveTo>
                    <a:pt x="256" y="359"/>
                  </a:moveTo>
                  <a:lnTo>
                    <a:pt x="254" y="359"/>
                  </a:lnTo>
                  <a:lnTo>
                    <a:pt x="256" y="359"/>
                  </a:lnTo>
                  <a:lnTo>
                    <a:pt x="254" y="359"/>
                  </a:lnTo>
                  <a:lnTo>
                    <a:pt x="256" y="359"/>
                  </a:lnTo>
                  <a:lnTo>
                    <a:pt x="254" y="359"/>
                  </a:lnTo>
                  <a:lnTo>
                    <a:pt x="256" y="359"/>
                  </a:lnTo>
                  <a:close/>
                  <a:moveTo>
                    <a:pt x="273" y="359"/>
                  </a:moveTo>
                  <a:lnTo>
                    <a:pt x="270" y="359"/>
                  </a:lnTo>
                  <a:lnTo>
                    <a:pt x="273" y="359"/>
                  </a:lnTo>
                  <a:close/>
                  <a:moveTo>
                    <a:pt x="251" y="359"/>
                  </a:moveTo>
                  <a:lnTo>
                    <a:pt x="254" y="359"/>
                  </a:lnTo>
                  <a:lnTo>
                    <a:pt x="254" y="361"/>
                  </a:lnTo>
                  <a:lnTo>
                    <a:pt x="254" y="359"/>
                  </a:lnTo>
                  <a:lnTo>
                    <a:pt x="254" y="361"/>
                  </a:lnTo>
                  <a:lnTo>
                    <a:pt x="254" y="359"/>
                  </a:lnTo>
                  <a:lnTo>
                    <a:pt x="254" y="361"/>
                  </a:lnTo>
                  <a:lnTo>
                    <a:pt x="251" y="361"/>
                  </a:lnTo>
                  <a:lnTo>
                    <a:pt x="254" y="361"/>
                  </a:lnTo>
                  <a:lnTo>
                    <a:pt x="251" y="361"/>
                  </a:lnTo>
                  <a:lnTo>
                    <a:pt x="254" y="361"/>
                  </a:lnTo>
                  <a:lnTo>
                    <a:pt x="251" y="361"/>
                  </a:lnTo>
                  <a:lnTo>
                    <a:pt x="251" y="359"/>
                  </a:lnTo>
                  <a:lnTo>
                    <a:pt x="254" y="359"/>
                  </a:lnTo>
                  <a:lnTo>
                    <a:pt x="251" y="359"/>
                  </a:lnTo>
                  <a:lnTo>
                    <a:pt x="254" y="359"/>
                  </a:lnTo>
                  <a:lnTo>
                    <a:pt x="251" y="359"/>
                  </a:lnTo>
                  <a:close/>
                  <a:moveTo>
                    <a:pt x="247" y="359"/>
                  </a:moveTo>
                  <a:lnTo>
                    <a:pt x="249" y="359"/>
                  </a:lnTo>
                  <a:lnTo>
                    <a:pt x="247" y="359"/>
                  </a:lnTo>
                  <a:close/>
                  <a:moveTo>
                    <a:pt x="254" y="359"/>
                  </a:moveTo>
                  <a:lnTo>
                    <a:pt x="251" y="359"/>
                  </a:lnTo>
                  <a:lnTo>
                    <a:pt x="254" y="359"/>
                  </a:lnTo>
                  <a:close/>
                  <a:moveTo>
                    <a:pt x="256" y="359"/>
                  </a:moveTo>
                  <a:lnTo>
                    <a:pt x="254" y="359"/>
                  </a:lnTo>
                  <a:lnTo>
                    <a:pt x="256" y="359"/>
                  </a:lnTo>
                  <a:close/>
                  <a:moveTo>
                    <a:pt x="247" y="359"/>
                  </a:moveTo>
                  <a:lnTo>
                    <a:pt x="244" y="359"/>
                  </a:lnTo>
                  <a:lnTo>
                    <a:pt x="247" y="359"/>
                  </a:lnTo>
                  <a:close/>
                  <a:moveTo>
                    <a:pt x="242" y="359"/>
                  </a:moveTo>
                  <a:lnTo>
                    <a:pt x="244" y="359"/>
                  </a:lnTo>
                  <a:lnTo>
                    <a:pt x="242" y="359"/>
                  </a:lnTo>
                  <a:close/>
                  <a:moveTo>
                    <a:pt x="261" y="359"/>
                  </a:moveTo>
                  <a:lnTo>
                    <a:pt x="263" y="359"/>
                  </a:lnTo>
                  <a:lnTo>
                    <a:pt x="261" y="359"/>
                  </a:lnTo>
                  <a:lnTo>
                    <a:pt x="261" y="361"/>
                  </a:lnTo>
                  <a:lnTo>
                    <a:pt x="261" y="359"/>
                  </a:lnTo>
                  <a:lnTo>
                    <a:pt x="261" y="361"/>
                  </a:lnTo>
                  <a:lnTo>
                    <a:pt x="258" y="361"/>
                  </a:lnTo>
                  <a:lnTo>
                    <a:pt x="258" y="359"/>
                  </a:lnTo>
                  <a:lnTo>
                    <a:pt x="261" y="359"/>
                  </a:lnTo>
                  <a:lnTo>
                    <a:pt x="258" y="359"/>
                  </a:lnTo>
                  <a:lnTo>
                    <a:pt x="261" y="359"/>
                  </a:lnTo>
                  <a:lnTo>
                    <a:pt x="258" y="359"/>
                  </a:lnTo>
                  <a:lnTo>
                    <a:pt x="261" y="359"/>
                  </a:lnTo>
                  <a:close/>
                  <a:moveTo>
                    <a:pt x="282" y="359"/>
                  </a:moveTo>
                  <a:lnTo>
                    <a:pt x="280" y="359"/>
                  </a:lnTo>
                  <a:lnTo>
                    <a:pt x="280" y="357"/>
                  </a:lnTo>
                  <a:lnTo>
                    <a:pt x="282" y="357"/>
                  </a:lnTo>
                  <a:lnTo>
                    <a:pt x="282" y="359"/>
                  </a:lnTo>
                  <a:close/>
                  <a:moveTo>
                    <a:pt x="256" y="357"/>
                  </a:moveTo>
                  <a:lnTo>
                    <a:pt x="256" y="359"/>
                  </a:lnTo>
                  <a:lnTo>
                    <a:pt x="256" y="357"/>
                  </a:lnTo>
                  <a:close/>
                  <a:moveTo>
                    <a:pt x="270" y="359"/>
                  </a:moveTo>
                  <a:lnTo>
                    <a:pt x="273" y="359"/>
                  </a:lnTo>
                  <a:lnTo>
                    <a:pt x="273" y="357"/>
                  </a:lnTo>
                  <a:lnTo>
                    <a:pt x="273" y="359"/>
                  </a:lnTo>
                  <a:lnTo>
                    <a:pt x="270" y="359"/>
                  </a:lnTo>
                  <a:lnTo>
                    <a:pt x="273" y="359"/>
                  </a:lnTo>
                  <a:lnTo>
                    <a:pt x="270" y="359"/>
                  </a:lnTo>
                  <a:lnTo>
                    <a:pt x="270" y="357"/>
                  </a:lnTo>
                  <a:lnTo>
                    <a:pt x="273" y="357"/>
                  </a:lnTo>
                  <a:lnTo>
                    <a:pt x="270" y="357"/>
                  </a:lnTo>
                  <a:lnTo>
                    <a:pt x="270" y="359"/>
                  </a:lnTo>
                  <a:close/>
                  <a:moveTo>
                    <a:pt x="258" y="357"/>
                  </a:moveTo>
                  <a:lnTo>
                    <a:pt x="258" y="359"/>
                  </a:lnTo>
                  <a:lnTo>
                    <a:pt x="256" y="359"/>
                  </a:lnTo>
                  <a:lnTo>
                    <a:pt x="258" y="359"/>
                  </a:lnTo>
                  <a:lnTo>
                    <a:pt x="258" y="357"/>
                  </a:lnTo>
                  <a:close/>
                  <a:moveTo>
                    <a:pt x="244" y="359"/>
                  </a:moveTo>
                  <a:lnTo>
                    <a:pt x="244" y="357"/>
                  </a:lnTo>
                  <a:lnTo>
                    <a:pt x="244" y="359"/>
                  </a:lnTo>
                  <a:close/>
                  <a:moveTo>
                    <a:pt x="247" y="357"/>
                  </a:moveTo>
                  <a:lnTo>
                    <a:pt x="247" y="359"/>
                  </a:lnTo>
                  <a:lnTo>
                    <a:pt x="247" y="357"/>
                  </a:lnTo>
                  <a:close/>
                  <a:moveTo>
                    <a:pt x="256" y="357"/>
                  </a:moveTo>
                  <a:lnTo>
                    <a:pt x="254" y="357"/>
                  </a:lnTo>
                  <a:lnTo>
                    <a:pt x="254" y="359"/>
                  </a:lnTo>
                  <a:lnTo>
                    <a:pt x="256" y="359"/>
                  </a:lnTo>
                  <a:lnTo>
                    <a:pt x="254" y="359"/>
                  </a:lnTo>
                  <a:lnTo>
                    <a:pt x="254" y="357"/>
                  </a:lnTo>
                  <a:lnTo>
                    <a:pt x="256" y="357"/>
                  </a:lnTo>
                  <a:close/>
                  <a:moveTo>
                    <a:pt x="247" y="357"/>
                  </a:moveTo>
                  <a:lnTo>
                    <a:pt x="244" y="357"/>
                  </a:lnTo>
                  <a:lnTo>
                    <a:pt x="247" y="357"/>
                  </a:lnTo>
                  <a:close/>
                  <a:moveTo>
                    <a:pt x="254" y="357"/>
                  </a:moveTo>
                  <a:lnTo>
                    <a:pt x="251" y="357"/>
                  </a:lnTo>
                  <a:lnTo>
                    <a:pt x="254" y="357"/>
                  </a:lnTo>
                  <a:close/>
                  <a:moveTo>
                    <a:pt x="258" y="357"/>
                  </a:moveTo>
                  <a:lnTo>
                    <a:pt x="256" y="357"/>
                  </a:lnTo>
                  <a:lnTo>
                    <a:pt x="254" y="357"/>
                  </a:lnTo>
                  <a:lnTo>
                    <a:pt x="256" y="357"/>
                  </a:lnTo>
                  <a:lnTo>
                    <a:pt x="258" y="357"/>
                  </a:lnTo>
                  <a:close/>
                  <a:moveTo>
                    <a:pt x="256" y="357"/>
                  </a:moveTo>
                  <a:lnTo>
                    <a:pt x="256" y="354"/>
                  </a:lnTo>
                  <a:lnTo>
                    <a:pt x="256" y="357"/>
                  </a:lnTo>
                  <a:close/>
                  <a:moveTo>
                    <a:pt x="261" y="354"/>
                  </a:moveTo>
                  <a:lnTo>
                    <a:pt x="261" y="357"/>
                  </a:lnTo>
                  <a:lnTo>
                    <a:pt x="261" y="354"/>
                  </a:lnTo>
                  <a:lnTo>
                    <a:pt x="261" y="357"/>
                  </a:lnTo>
                  <a:lnTo>
                    <a:pt x="258" y="357"/>
                  </a:lnTo>
                  <a:lnTo>
                    <a:pt x="258" y="354"/>
                  </a:lnTo>
                  <a:lnTo>
                    <a:pt x="261" y="354"/>
                  </a:lnTo>
                  <a:close/>
                  <a:moveTo>
                    <a:pt x="249" y="354"/>
                  </a:moveTo>
                  <a:lnTo>
                    <a:pt x="247" y="354"/>
                  </a:lnTo>
                  <a:lnTo>
                    <a:pt x="249" y="354"/>
                  </a:lnTo>
                  <a:close/>
                  <a:moveTo>
                    <a:pt x="275" y="354"/>
                  </a:moveTo>
                  <a:lnTo>
                    <a:pt x="277" y="354"/>
                  </a:lnTo>
                  <a:lnTo>
                    <a:pt x="275" y="354"/>
                  </a:lnTo>
                  <a:close/>
                  <a:moveTo>
                    <a:pt x="261" y="354"/>
                  </a:moveTo>
                  <a:lnTo>
                    <a:pt x="258" y="354"/>
                  </a:lnTo>
                  <a:lnTo>
                    <a:pt x="261" y="354"/>
                  </a:lnTo>
                  <a:lnTo>
                    <a:pt x="258" y="354"/>
                  </a:lnTo>
                  <a:lnTo>
                    <a:pt x="261" y="354"/>
                  </a:lnTo>
                  <a:close/>
                  <a:moveTo>
                    <a:pt x="277" y="354"/>
                  </a:moveTo>
                  <a:lnTo>
                    <a:pt x="275" y="354"/>
                  </a:lnTo>
                  <a:lnTo>
                    <a:pt x="277" y="354"/>
                  </a:lnTo>
                  <a:lnTo>
                    <a:pt x="275" y="354"/>
                  </a:lnTo>
                  <a:lnTo>
                    <a:pt x="277" y="354"/>
                  </a:lnTo>
                  <a:close/>
                  <a:moveTo>
                    <a:pt x="273" y="354"/>
                  </a:moveTo>
                  <a:lnTo>
                    <a:pt x="273" y="352"/>
                  </a:lnTo>
                  <a:lnTo>
                    <a:pt x="275" y="352"/>
                  </a:lnTo>
                  <a:lnTo>
                    <a:pt x="273" y="352"/>
                  </a:lnTo>
                  <a:lnTo>
                    <a:pt x="273" y="354"/>
                  </a:lnTo>
                  <a:close/>
                  <a:moveTo>
                    <a:pt x="254" y="352"/>
                  </a:moveTo>
                  <a:lnTo>
                    <a:pt x="254" y="354"/>
                  </a:lnTo>
                  <a:lnTo>
                    <a:pt x="256" y="354"/>
                  </a:lnTo>
                  <a:lnTo>
                    <a:pt x="256" y="352"/>
                  </a:lnTo>
                  <a:lnTo>
                    <a:pt x="258" y="352"/>
                  </a:lnTo>
                  <a:lnTo>
                    <a:pt x="258" y="354"/>
                  </a:lnTo>
                  <a:lnTo>
                    <a:pt x="258" y="352"/>
                  </a:lnTo>
                  <a:lnTo>
                    <a:pt x="256" y="352"/>
                  </a:lnTo>
                  <a:lnTo>
                    <a:pt x="256" y="354"/>
                  </a:lnTo>
                  <a:lnTo>
                    <a:pt x="256" y="352"/>
                  </a:lnTo>
                  <a:lnTo>
                    <a:pt x="256" y="354"/>
                  </a:lnTo>
                  <a:lnTo>
                    <a:pt x="254" y="354"/>
                  </a:lnTo>
                  <a:lnTo>
                    <a:pt x="251" y="354"/>
                  </a:lnTo>
                  <a:lnTo>
                    <a:pt x="254" y="354"/>
                  </a:lnTo>
                  <a:lnTo>
                    <a:pt x="251" y="354"/>
                  </a:lnTo>
                  <a:lnTo>
                    <a:pt x="251" y="357"/>
                  </a:lnTo>
                  <a:lnTo>
                    <a:pt x="251" y="354"/>
                  </a:lnTo>
                  <a:lnTo>
                    <a:pt x="251" y="357"/>
                  </a:lnTo>
                  <a:lnTo>
                    <a:pt x="251" y="359"/>
                  </a:lnTo>
                  <a:lnTo>
                    <a:pt x="251" y="357"/>
                  </a:lnTo>
                  <a:lnTo>
                    <a:pt x="251" y="359"/>
                  </a:lnTo>
                  <a:lnTo>
                    <a:pt x="251" y="357"/>
                  </a:lnTo>
                  <a:lnTo>
                    <a:pt x="251" y="359"/>
                  </a:lnTo>
                  <a:lnTo>
                    <a:pt x="249" y="359"/>
                  </a:lnTo>
                  <a:lnTo>
                    <a:pt x="249" y="357"/>
                  </a:lnTo>
                  <a:lnTo>
                    <a:pt x="249" y="354"/>
                  </a:lnTo>
                  <a:lnTo>
                    <a:pt x="251" y="354"/>
                  </a:lnTo>
                  <a:lnTo>
                    <a:pt x="251" y="352"/>
                  </a:lnTo>
                  <a:lnTo>
                    <a:pt x="254" y="352"/>
                  </a:lnTo>
                  <a:lnTo>
                    <a:pt x="251" y="352"/>
                  </a:lnTo>
                  <a:lnTo>
                    <a:pt x="254" y="352"/>
                  </a:lnTo>
                  <a:close/>
                  <a:moveTo>
                    <a:pt x="258" y="352"/>
                  </a:moveTo>
                  <a:lnTo>
                    <a:pt x="256" y="352"/>
                  </a:lnTo>
                  <a:lnTo>
                    <a:pt x="258" y="352"/>
                  </a:lnTo>
                  <a:close/>
                  <a:moveTo>
                    <a:pt x="254" y="352"/>
                  </a:moveTo>
                  <a:lnTo>
                    <a:pt x="256" y="352"/>
                  </a:lnTo>
                  <a:lnTo>
                    <a:pt x="254" y="352"/>
                  </a:lnTo>
                  <a:close/>
                  <a:moveTo>
                    <a:pt x="266" y="352"/>
                  </a:moveTo>
                  <a:lnTo>
                    <a:pt x="268" y="352"/>
                  </a:lnTo>
                  <a:lnTo>
                    <a:pt x="266" y="352"/>
                  </a:lnTo>
                  <a:lnTo>
                    <a:pt x="268" y="352"/>
                  </a:lnTo>
                  <a:lnTo>
                    <a:pt x="266" y="352"/>
                  </a:lnTo>
                  <a:close/>
                  <a:moveTo>
                    <a:pt x="280" y="349"/>
                  </a:moveTo>
                  <a:lnTo>
                    <a:pt x="277" y="349"/>
                  </a:lnTo>
                  <a:lnTo>
                    <a:pt x="280" y="349"/>
                  </a:lnTo>
                  <a:close/>
                  <a:moveTo>
                    <a:pt x="270" y="349"/>
                  </a:moveTo>
                  <a:lnTo>
                    <a:pt x="268" y="349"/>
                  </a:lnTo>
                  <a:lnTo>
                    <a:pt x="270" y="349"/>
                  </a:lnTo>
                  <a:lnTo>
                    <a:pt x="268" y="349"/>
                  </a:lnTo>
                  <a:lnTo>
                    <a:pt x="270" y="349"/>
                  </a:lnTo>
                  <a:close/>
                  <a:moveTo>
                    <a:pt x="256" y="349"/>
                  </a:moveTo>
                  <a:lnTo>
                    <a:pt x="254" y="349"/>
                  </a:lnTo>
                  <a:lnTo>
                    <a:pt x="256" y="349"/>
                  </a:lnTo>
                  <a:close/>
                  <a:moveTo>
                    <a:pt x="256" y="347"/>
                  </a:moveTo>
                  <a:lnTo>
                    <a:pt x="256" y="349"/>
                  </a:lnTo>
                  <a:lnTo>
                    <a:pt x="256" y="347"/>
                  </a:lnTo>
                  <a:close/>
                  <a:moveTo>
                    <a:pt x="273" y="347"/>
                  </a:moveTo>
                  <a:lnTo>
                    <a:pt x="273" y="349"/>
                  </a:lnTo>
                  <a:lnTo>
                    <a:pt x="273" y="347"/>
                  </a:lnTo>
                  <a:lnTo>
                    <a:pt x="273" y="349"/>
                  </a:lnTo>
                  <a:lnTo>
                    <a:pt x="273" y="347"/>
                  </a:lnTo>
                  <a:lnTo>
                    <a:pt x="273" y="349"/>
                  </a:lnTo>
                  <a:lnTo>
                    <a:pt x="273" y="347"/>
                  </a:lnTo>
                  <a:close/>
                  <a:moveTo>
                    <a:pt x="266" y="347"/>
                  </a:moveTo>
                  <a:lnTo>
                    <a:pt x="266" y="349"/>
                  </a:lnTo>
                  <a:lnTo>
                    <a:pt x="266" y="347"/>
                  </a:lnTo>
                  <a:lnTo>
                    <a:pt x="266" y="349"/>
                  </a:lnTo>
                  <a:lnTo>
                    <a:pt x="266" y="347"/>
                  </a:lnTo>
                  <a:close/>
                  <a:moveTo>
                    <a:pt x="263" y="347"/>
                  </a:moveTo>
                  <a:lnTo>
                    <a:pt x="263" y="349"/>
                  </a:lnTo>
                  <a:lnTo>
                    <a:pt x="261" y="349"/>
                  </a:lnTo>
                  <a:lnTo>
                    <a:pt x="263" y="349"/>
                  </a:lnTo>
                  <a:lnTo>
                    <a:pt x="263" y="347"/>
                  </a:lnTo>
                  <a:lnTo>
                    <a:pt x="261" y="349"/>
                  </a:lnTo>
                  <a:lnTo>
                    <a:pt x="261" y="352"/>
                  </a:lnTo>
                  <a:lnTo>
                    <a:pt x="261" y="349"/>
                  </a:lnTo>
                  <a:lnTo>
                    <a:pt x="261" y="352"/>
                  </a:lnTo>
                  <a:lnTo>
                    <a:pt x="258" y="349"/>
                  </a:lnTo>
                  <a:lnTo>
                    <a:pt x="261" y="349"/>
                  </a:lnTo>
                  <a:lnTo>
                    <a:pt x="261" y="347"/>
                  </a:lnTo>
                  <a:lnTo>
                    <a:pt x="263" y="347"/>
                  </a:lnTo>
                  <a:close/>
                  <a:moveTo>
                    <a:pt x="258" y="347"/>
                  </a:moveTo>
                  <a:lnTo>
                    <a:pt x="256" y="347"/>
                  </a:lnTo>
                  <a:lnTo>
                    <a:pt x="258" y="347"/>
                  </a:lnTo>
                  <a:close/>
                  <a:moveTo>
                    <a:pt x="258" y="347"/>
                  </a:moveTo>
                  <a:lnTo>
                    <a:pt x="261" y="347"/>
                  </a:lnTo>
                  <a:lnTo>
                    <a:pt x="258" y="347"/>
                  </a:lnTo>
                  <a:lnTo>
                    <a:pt x="261" y="347"/>
                  </a:lnTo>
                  <a:lnTo>
                    <a:pt x="258" y="347"/>
                  </a:lnTo>
                  <a:close/>
                  <a:moveTo>
                    <a:pt x="268" y="347"/>
                  </a:moveTo>
                  <a:lnTo>
                    <a:pt x="270" y="347"/>
                  </a:lnTo>
                  <a:lnTo>
                    <a:pt x="268" y="347"/>
                  </a:lnTo>
                  <a:lnTo>
                    <a:pt x="270" y="347"/>
                  </a:lnTo>
                  <a:lnTo>
                    <a:pt x="268" y="347"/>
                  </a:lnTo>
                  <a:close/>
                  <a:moveTo>
                    <a:pt x="263" y="347"/>
                  </a:moveTo>
                  <a:lnTo>
                    <a:pt x="261" y="347"/>
                  </a:lnTo>
                  <a:lnTo>
                    <a:pt x="261" y="349"/>
                  </a:lnTo>
                  <a:lnTo>
                    <a:pt x="258" y="349"/>
                  </a:lnTo>
                  <a:lnTo>
                    <a:pt x="258" y="352"/>
                  </a:lnTo>
                  <a:lnTo>
                    <a:pt x="256" y="352"/>
                  </a:lnTo>
                  <a:lnTo>
                    <a:pt x="256" y="349"/>
                  </a:lnTo>
                  <a:lnTo>
                    <a:pt x="258" y="349"/>
                  </a:lnTo>
                  <a:lnTo>
                    <a:pt x="261" y="347"/>
                  </a:lnTo>
                  <a:lnTo>
                    <a:pt x="263" y="347"/>
                  </a:lnTo>
                  <a:close/>
                  <a:moveTo>
                    <a:pt x="258" y="347"/>
                  </a:moveTo>
                  <a:lnTo>
                    <a:pt x="256" y="347"/>
                  </a:lnTo>
                  <a:lnTo>
                    <a:pt x="258" y="347"/>
                  </a:lnTo>
                  <a:close/>
                  <a:moveTo>
                    <a:pt x="263" y="347"/>
                  </a:moveTo>
                  <a:lnTo>
                    <a:pt x="261" y="347"/>
                  </a:lnTo>
                  <a:lnTo>
                    <a:pt x="263" y="347"/>
                  </a:lnTo>
                  <a:close/>
                  <a:moveTo>
                    <a:pt x="270" y="347"/>
                  </a:moveTo>
                  <a:lnTo>
                    <a:pt x="270" y="345"/>
                  </a:lnTo>
                  <a:lnTo>
                    <a:pt x="270" y="347"/>
                  </a:lnTo>
                  <a:close/>
                  <a:moveTo>
                    <a:pt x="270" y="345"/>
                  </a:moveTo>
                  <a:lnTo>
                    <a:pt x="270" y="347"/>
                  </a:lnTo>
                  <a:lnTo>
                    <a:pt x="270" y="345"/>
                  </a:lnTo>
                  <a:close/>
                  <a:moveTo>
                    <a:pt x="270" y="345"/>
                  </a:moveTo>
                  <a:lnTo>
                    <a:pt x="268" y="345"/>
                  </a:lnTo>
                  <a:lnTo>
                    <a:pt x="270" y="345"/>
                  </a:lnTo>
                  <a:close/>
                  <a:moveTo>
                    <a:pt x="268" y="345"/>
                  </a:moveTo>
                  <a:lnTo>
                    <a:pt x="270" y="345"/>
                  </a:lnTo>
                  <a:lnTo>
                    <a:pt x="268" y="345"/>
                  </a:lnTo>
                  <a:close/>
                  <a:moveTo>
                    <a:pt x="263" y="345"/>
                  </a:moveTo>
                  <a:lnTo>
                    <a:pt x="261" y="345"/>
                  </a:lnTo>
                  <a:lnTo>
                    <a:pt x="263" y="345"/>
                  </a:lnTo>
                  <a:close/>
                  <a:moveTo>
                    <a:pt x="273" y="345"/>
                  </a:moveTo>
                  <a:lnTo>
                    <a:pt x="275" y="345"/>
                  </a:lnTo>
                  <a:lnTo>
                    <a:pt x="273" y="345"/>
                  </a:lnTo>
                  <a:lnTo>
                    <a:pt x="275" y="345"/>
                  </a:lnTo>
                  <a:lnTo>
                    <a:pt x="273" y="345"/>
                  </a:lnTo>
                  <a:close/>
                  <a:moveTo>
                    <a:pt x="275" y="342"/>
                  </a:moveTo>
                  <a:lnTo>
                    <a:pt x="277" y="342"/>
                  </a:lnTo>
                  <a:lnTo>
                    <a:pt x="275" y="342"/>
                  </a:lnTo>
                  <a:close/>
                  <a:moveTo>
                    <a:pt x="268" y="342"/>
                  </a:moveTo>
                  <a:lnTo>
                    <a:pt x="270" y="342"/>
                  </a:lnTo>
                  <a:lnTo>
                    <a:pt x="268" y="342"/>
                  </a:lnTo>
                  <a:lnTo>
                    <a:pt x="270" y="342"/>
                  </a:lnTo>
                  <a:lnTo>
                    <a:pt x="268" y="342"/>
                  </a:lnTo>
                  <a:close/>
                  <a:moveTo>
                    <a:pt x="270" y="340"/>
                  </a:moveTo>
                  <a:lnTo>
                    <a:pt x="270" y="342"/>
                  </a:lnTo>
                  <a:lnTo>
                    <a:pt x="270" y="340"/>
                  </a:lnTo>
                  <a:close/>
                  <a:moveTo>
                    <a:pt x="270" y="340"/>
                  </a:moveTo>
                  <a:lnTo>
                    <a:pt x="270" y="342"/>
                  </a:lnTo>
                  <a:lnTo>
                    <a:pt x="270" y="340"/>
                  </a:lnTo>
                  <a:close/>
                  <a:moveTo>
                    <a:pt x="268" y="340"/>
                  </a:moveTo>
                  <a:lnTo>
                    <a:pt x="270" y="340"/>
                  </a:lnTo>
                  <a:lnTo>
                    <a:pt x="268" y="340"/>
                  </a:lnTo>
                  <a:close/>
                  <a:moveTo>
                    <a:pt x="270" y="340"/>
                  </a:moveTo>
                  <a:lnTo>
                    <a:pt x="270" y="342"/>
                  </a:lnTo>
                  <a:lnTo>
                    <a:pt x="270" y="340"/>
                  </a:lnTo>
                  <a:lnTo>
                    <a:pt x="268" y="340"/>
                  </a:lnTo>
                  <a:lnTo>
                    <a:pt x="270" y="340"/>
                  </a:lnTo>
                  <a:close/>
                  <a:moveTo>
                    <a:pt x="273" y="340"/>
                  </a:moveTo>
                  <a:lnTo>
                    <a:pt x="270" y="340"/>
                  </a:lnTo>
                  <a:lnTo>
                    <a:pt x="273" y="340"/>
                  </a:lnTo>
                  <a:close/>
                  <a:moveTo>
                    <a:pt x="268" y="340"/>
                  </a:moveTo>
                  <a:lnTo>
                    <a:pt x="266" y="340"/>
                  </a:lnTo>
                  <a:lnTo>
                    <a:pt x="268" y="340"/>
                  </a:lnTo>
                  <a:close/>
                  <a:moveTo>
                    <a:pt x="270" y="338"/>
                  </a:moveTo>
                  <a:lnTo>
                    <a:pt x="270" y="340"/>
                  </a:lnTo>
                  <a:lnTo>
                    <a:pt x="268" y="340"/>
                  </a:lnTo>
                  <a:lnTo>
                    <a:pt x="270" y="340"/>
                  </a:lnTo>
                  <a:lnTo>
                    <a:pt x="268" y="340"/>
                  </a:lnTo>
                  <a:lnTo>
                    <a:pt x="268" y="338"/>
                  </a:lnTo>
                  <a:lnTo>
                    <a:pt x="270" y="338"/>
                  </a:lnTo>
                  <a:close/>
                  <a:moveTo>
                    <a:pt x="270" y="338"/>
                  </a:moveTo>
                  <a:lnTo>
                    <a:pt x="268" y="338"/>
                  </a:lnTo>
                  <a:lnTo>
                    <a:pt x="270" y="338"/>
                  </a:lnTo>
                  <a:close/>
                  <a:moveTo>
                    <a:pt x="263" y="335"/>
                  </a:moveTo>
                  <a:lnTo>
                    <a:pt x="263" y="338"/>
                  </a:lnTo>
                  <a:lnTo>
                    <a:pt x="266" y="338"/>
                  </a:lnTo>
                  <a:lnTo>
                    <a:pt x="263" y="338"/>
                  </a:lnTo>
                  <a:lnTo>
                    <a:pt x="263" y="340"/>
                  </a:lnTo>
                  <a:lnTo>
                    <a:pt x="266" y="340"/>
                  </a:lnTo>
                  <a:lnTo>
                    <a:pt x="263" y="340"/>
                  </a:lnTo>
                  <a:lnTo>
                    <a:pt x="266" y="340"/>
                  </a:lnTo>
                  <a:lnTo>
                    <a:pt x="263" y="340"/>
                  </a:lnTo>
                  <a:lnTo>
                    <a:pt x="261" y="340"/>
                  </a:lnTo>
                  <a:lnTo>
                    <a:pt x="263" y="340"/>
                  </a:lnTo>
                  <a:lnTo>
                    <a:pt x="261" y="340"/>
                  </a:lnTo>
                  <a:lnTo>
                    <a:pt x="263" y="340"/>
                  </a:lnTo>
                  <a:lnTo>
                    <a:pt x="261" y="340"/>
                  </a:lnTo>
                  <a:lnTo>
                    <a:pt x="261" y="338"/>
                  </a:lnTo>
                  <a:lnTo>
                    <a:pt x="263" y="338"/>
                  </a:lnTo>
                  <a:lnTo>
                    <a:pt x="263" y="335"/>
                  </a:lnTo>
                  <a:close/>
                  <a:moveTo>
                    <a:pt x="270" y="335"/>
                  </a:moveTo>
                  <a:lnTo>
                    <a:pt x="268" y="338"/>
                  </a:lnTo>
                  <a:lnTo>
                    <a:pt x="268" y="335"/>
                  </a:lnTo>
                  <a:lnTo>
                    <a:pt x="270" y="335"/>
                  </a:lnTo>
                  <a:close/>
                  <a:moveTo>
                    <a:pt x="258" y="321"/>
                  </a:moveTo>
                  <a:lnTo>
                    <a:pt x="256" y="321"/>
                  </a:lnTo>
                  <a:lnTo>
                    <a:pt x="258" y="321"/>
                  </a:lnTo>
                  <a:close/>
                  <a:moveTo>
                    <a:pt x="254" y="321"/>
                  </a:moveTo>
                  <a:lnTo>
                    <a:pt x="251" y="321"/>
                  </a:lnTo>
                  <a:lnTo>
                    <a:pt x="254" y="321"/>
                  </a:lnTo>
                  <a:close/>
                  <a:moveTo>
                    <a:pt x="251" y="321"/>
                  </a:moveTo>
                  <a:lnTo>
                    <a:pt x="249" y="321"/>
                  </a:lnTo>
                  <a:lnTo>
                    <a:pt x="251" y="321"/>
                  </a:lnTo>
                  <a:lnTo>
                    <a:pt x="249" y="321"/>
                  </a:lnTo>
                  <a:lnTo>
                    <a:pt x="251" y="321"/>
                  </a:lnTo>
                  <a:close/>
                  <a:moveTo>
                    <a:pt x="249" y="319"/>
                  </a:moveTo>
                  <a:lnTo>
                    <a:pt x="249" y="321"/>
                  </a:lnTo>
                  <a:lnTo>
                    <a:pt x="249" y="319"/>
                  </a:lnTo>
                  <a:close/>
                  <a:moveTo>
                    <a:pt x="254" y="319"/>
                  </a:moveTo>
                  <a:lnTo>
                    <a:pt x="251" y="319"/>
                  </a:lnTo>
                  <a:lnTo>
                    <a:pt x="254" y="319"/>
                  </a:lnTo>
                  <a:lnTo>
                    <a:pt x="251" y="319"/>
                  </a:lnTo>
                  <a:lnTo>
                    <a:pt x="254" y="319"/>
                  </a:lnTo>
                  <a:close/>
                  <a:moveTo>
                    <a:pt x="249" y="319"/>
                  </a:moveTo>
                  <a:lnTo>
                    <a:pt x="247" y="319"/>
                  </a:lnTo>
                  <a:lnTo>
                    <a:pt x="249" y="319"/>
                  </a:lnTo>
                  <a:close/>
                  <a:moveTo>
                    <a:pt x="258" y="319"/>
                  </a:moveTo>
                  <a:lnTo>
                    <a:pt x="256" y="319"/>
                  </a:lnTo>
                  <a:lnTo>
                    <a:pt x="258" y="319"/>
                  </a:lnTo>
                  <a:close/>
                  <a:moveTo>
                    <a:pt x="251" y="316"/>
                  </a:moveTo>
                  <a:lnTo>
                    <a:pt x="251" y="319"/>
                  </a:lnTo>
                  <a:lnTo>
                    <a:pt x="249" y="319"/>
                  </a:lnTo>
                  <a:lnTo>
                    <a:pt x="249" y="316"/>
                  </a:lnTo>
                  <a:lnTo>
                    <a:pt x="251" y="316"/>
                  </a:lnTo>
                  <a:close/>
                  <a:moveTo>
                    <a:pt x="256" y="316"/>
                  </a:moveTo>
                  <a:lnTo>
                    <a:pt x="256" y="319"/>
                  </a:lnTo>
                  <a:lnTo>
                    <a:pt x="258" y="319"/>
                  </a:lnTo>
                  <a:lnTo>
                    <a:pt x="256" y="319"/>
                  </a:lnTo>
                  <a:lnTo>
                    <a:pt x="258" y="319"/>
                  </a:lnTo>
                  <a:lnTo>
                    <a:pt x="258" y="321"/>
                  </a:lnTo>
                  <a:lnTo>
                    <a:pt x="258" y="319"/>
                  </a:lnTo>
                  <a:lnTo>
                    <a:pt x="258" y="321"/>
                  </a:lnTo>
                  <a:lnTo>
                    <a:pt x="256" y="321"/>
                  </a:lnTo>
                  <a:lnTo>
                    <a:pt x="258" y="321"/>
                  </a:lnTo>
                  <a:lnTo>
                    <a:pt x="256" y="321"/>
                  </a:lnTo>
                  <a:lnTo>
                    <a:pt x="256" y="319"/>
                  </a:lnTo>
                  <a:lnTo>
                    <a:pt x="254" y="319"/>
                  </a:lnTo>
                  <a:lnTo>
                    <a:pt x="254" y="316"/>
                  </a:lnTo>
                  <a:lnTo>
                    <a:pt x="256" y="316"/>
                  </a:lnTo>
                  <a:lnTo>
                    <a:pt x="254" y="316"/>
                  </a:lnTo>
                  <a:lnTo>
                    <a:pt x="256" y="316"/>
                  </a:lnTo>
                  <a:close/>
                  <a:moveTo>
                    <a:pt x="254" y="316"/>
                  </a:moveTo>
                  <a:lnTo>
                    <a:pt x="256" y="316"/>
                  </a:lnTo>
                  <a:lnTo>
                    <a:pt x="254" y="316"/>
                  </a:lnTo>
                  <a:lnTo>
                    <a:pt x="256" y="316"/>
                  </a:lnTo>
                  <a:lnTo>
                    <a:pt x="254" y="316"/>
                  </a:lnTo>
                  <a:close/>
                  <a:moveTo>
                    <a:pt x="251" y="316"/>
                  </a:moveTo>
                  <a:lnTo>
                    <a:pt x="254" y="316"/>
                  </a:lnTo>
                  <a:lnTo>
                    <a:pt x="254" y="319"/>
                  </a:lnTo>
                  <a:lnTo>
                    <a:pt x="254" y="316"/>
                  </a:lnTo>
                  <a:lnTo>
                    <a:pt x="251" y="316"/>
                  </a:lnTo>
                  <a:close/>
                  <a:moveTo>
                    <a:pt x="258" y="314"/>
                  </a:moveTo>
                  <a:lnTo>
                    <a:pt x="258" y="316"/>
                  </a:lnTo>
                  <a:lnTo>
                    <a:pt x="258" y="314"/>
                  </a:lnTo>
                  <a:close/>
                  <a:moveTo>
                    <a:pt x="254" y="314"/>
                  </a:moveTo>
                  <a:lnTo>
                    <a:pt x="254" y="316"/>
                  </a:lnTo>
                  <a:lnTo>
                    <a:pt x="254" y="314"/>
                  </a:lnTo>
                  <a:close/>
                  <a:moveTo>
                    <a:pt x="254" y="314"/>
                  </a:moveTo>
                  <a:lnTo>
                    <a:pt x="254" y="316"/>
                  </a:lnTo>
                  <a:lnTo>
                    <a:pt x="254" y="314"/>
                  </a:lnTo>
                  <a:close/>
                  <a:moveTo>
                    <a:pt x="249" y="314"/>
                  </a:moveTo>
                  <a:lnTo>
                    <a:pt x="251" y="314"/>
                  </a:lnTo>
                  <a:lnTo>
                    <a:pt x="249" y="314"/>
                  </a:lnTo>
                  <a:close/>
                  <a:moveTo>
                    <a:pt x="251" y="314"/>
                  </a:moveTo>
                  <a:lnTo>
                    <a:pt x="254" y="314"/>
                  </a:lnTo>
                  <a:lnTo>
                    <a:pt x="251" y="314"/>
                  </a:lnTo>
                  <a:lnTo>
                    <a:pt x="254" y="314"/>
                  </a:lnTo>
                  <a:lnTo>
                    <a:pt x="251" y="314"/>
                  </a:lnTo>
                  <a:close/>
                  <a:moveTo>
                    <a:pt x="251" y="314"/>
                  </a:moveTo>
                  <a:lnTo>
                    <a:pt x="249" y="314"/>
                  </a:lnTo>
                  <a:lnTo>
                    <a:pt x="251" y="314"/>
                  </a:lnTo>
                  <a:close/>
                  <a:moveTo>
                    <a:pt x="251" y="314"/>
                  </a:moveTo>
                  <a:lnTo>
                    <a:pt x="251" y="311"/>
                  </a:lnTo>
                  <a:lnTo>
                    <a:pt x="251" y="314"/>
                  </a:lnTo>
                  <a:lnTo>
                    <a:pt x="251" y="311"/>
                  </a:lnTo>
                  <a:lnTo>
                    <a:pt x="251" y="314"/>
                  </a:lnTo>
                  <a:close/>
                  <a:moveTo>
                    <a:pt x="254" y="311"/>
                  </a:moveTo>
                  <a:lnTo>
                    <a:pt x="254" y="314"/>
                  </a:lnTo>
                  <a:lnTo>
                    <a:pt x="254" y="311"/>
                  </a:lnTo>
                  <a:lnTo>
                    <a:pt x="254" y="314"/>
                  </a:lnTo>
                  <a:lnTo>
                    <a:pt x="254" y="311"/>
                  </a:lnTo>
                  <a:lnTo>
                    <a:pt x="254" y="314"/>
                  </a:lnTo>
                  <a:lnTo>
                    <a:pt x="254" y="311"/>
                  </a:lnTo>
                  <a:close/>
                  <a:moveTo>
                    <a:pt x="251" y="311"/>
                  </a:moveTo>
                  <a:lnTo>
                    <a:pt x="251" y="314"/>
                  </a:lnTo>
                  <a:lnTo>
                    <a:pt x="251" y="311"/>
                  </a:lnTo>
                  <a:lnTo>
                    <a:pt x="251" y="314"/>
                  </a:lnTo>
                  <a:lnTo>
                    <a:pt x="254" y="314"/>
                  </a:lnTo>
                  <a:lnTo>
                    <a:pt x="251" y="314"/>
                  </a:lnTo>
                  <a:lnTo>
                    <a:pt x="251" y="311"/>
                  </a:lnTo>
                  <a:close/>
                  <a:moveTo>
                    <a:pt x="249" y="314"/>
                  </a:moveTo>
                  <a:lnTo>
                    <a:pt x="249" y="311"/>
                  </a:lnTo>
                  <a:lnTo>
                    <a:pt x="249" y="314"/>
                  </a:lnTo>
                  <a:close/>
                  <a:moveTo>
                    <a:pt x="254" y="311"/>
                  </a:moveTo>
                  <a:lnTo>
                    <a:pt x="251" y="311"/>
                  </a:lnTo>
                  <a:lnTo>
                    <a:pt x="254" y="311"/>
                  </a:lnTo>
                  <a:close/>
                  <a:moveTo>
                    <a:pt x="254" y="309"/>
                  </a:moveTo>
                  <a:lnTo>
                    <a:pt x="251" y="309"/>
                  </a:lnTo>
                  <a:lnTo>
                    <a:pt x="254" y="309"/>
                  </a:lnTo>
                  <a:close/>
                  <a:moveTo>
                    <a:pt x="247" y="304"/>
                  </a:moveTo>
                  <a:lnTo>
                    <a:pt x="249" y="304"/>
                  </a:lnTo>
                  <a:lnTo>
                    <a:pt x="247" y="304"/>
                  </a:lnTo>
                  <a:lnTo>
                    <a:pt x="249" y="304"/>
                  </a:lnTo>
                  <a:lnTo>
                    <a:pt x="247" y="304"/>
                  </a:lnTo>
                  <a:lnTo>
                    <a:pt x="249" y="304"/>
                  </a:lnTo>
                  <a:lnTo>
                    <a:pt x="247" y="304"/>
                  </a:lnTo>
                  <a:close/>
                  <a:moveTo>
                    <a:pt x="249" y="304"/>
                  </a:moveTo>
                  <a:lnTo>
                    <a:pt x="249" y="302"/>
                  </a:lnTo>
                  <a:lnTo>
                    <a:pt x="249" y="304"/>
                  </a:lnTo>
                  <a:lnTo>
                    <a:pt x="249" y="302"/>
                  </a:lnTo>
                  <a:lnTo>
                    <a:pt x="249" y="304"/>
                  </a:lnTo>
                  <a:close/>
                  <a:moveTo>
                    <a:pt x="247" y="302"/>
                  </a:moveTo>
                  <a:lnTo>
                    <a:pt x="247" y="304"/>
                  </a:lnTo>
                  <a:lnTo>
                    <a:pt x="247" y="302"/>
                  </a:lnTo>
                  <a:lnTo>
                    <a:pt x="247" y="304"/>
                  </a:lnTo>
                  <a:lnTo>
                    <a:pt x="247" y="302"/>
                  </a:lnTo>
                  <a:close/>
                  <a:moveTo>
                    <a:pt x="244" y="302"/>
                  </a:moveTo>
                  <a:lnTo>
                    <a:pt x="247" y="302"/>
                  </a:lnTo>
                  <a:lnTo>
                    <a:pt x="244" y="302"/>
                  </a:lnTo>
                  <a:lnTo>
                    <a:pt x="247" y="302"/>
                  </a:lnTo>
                  <a:lnTo>
                    <a:pt x="247" y="304"/>
                  </a:lnTo>
                  <a:lnTo>
                    <a:pt x="247" y="307"/>
                  </a:lnTo>
                  <a:lnTo>
                    <a:pt x="247" y="309"/>
                  </a:lnTo>
                  <a:lnTo>
                    <a:pt x="249" y="309"/>
                  </a:lnTo>
                  <a:lnTo>
                    <a:pt x="247" y="309"/>
                  </a:lnTo>
                  <a:lnTo>
                    <a:pt x="249" y="309"/>
                  </a:lnTo>
                  <a:lnTo>
                    <a:pt x="251" y="309"/>
                  </a:lnTo>
                  <a:lnTo>
                    <a:pt x="249" y="309"/>
                  </a:lnTo>
                  <a:lnTo>
                    <a:pt x="251" y="309"/>
                  </a:lnTo>
                  <a:lnTo>
                    <a:pt x="249" y="309"/>
                  </a:lnTo>
                  <a:lnTo>
                    <a:pt x="251" y="309"/>
                  </a:lnTo>
                  <a:lnTo>
                    <a:pt x="249" y="309"/>
                  </a:lnTo>
                  <a:lnTo>
                    <a:pt x="251" y="309"/>
                  </a:lnTo>
                  <a:lnTo>
                    <a:pt x="251" y="311"/>
                  </a:lnTo>
                  <a:lnTo>
                    <a:pt x="251" y="309"/>
                  </a:lnTo>
                  <a:lnTo>
                    <a:pt x="251" y="311"/>
                  </a:lnTo>
                  <a:lnTo>
                    <a:pt x="249" y="311"/>
                  </a:lnTo>
                  <a:lnTo>
                    <a:pt x="251" y="311"/>
                  </a:lnTo>
                  <a:lnTo>
                    <a:pt x="249" y="314"/>
                  </a:lnTo>
                  <a:lnTo>
                    <a:pt x="249" y="311"/>
                  </a:lnTo>
                  <a:lnTo>
                    <a:pt x="247" y="311"/>
                  </a:lnTo>
                  <a:lnTo>
                    <a:pt x="249" y="311"/>
                  </a:lnTo>
                  <a:lnTo>
                    <a:pt x="247" y="311"/>
                  </a:lnTo>
                  <a:lnTo>
                    <a:pt x="247" y="309"/>
                  </a:lnTo>
                  <a:lnTo>
                    <a:pt x="244" y="309"/>
                  </a:lnTo>
                  <a:lnTo>
                    <a:pt x="247" y="309"/>
                  </a:lnTo>
                  <a:lnTo>
                    <a:pt x="244" y="309"/>
                  </a:lnTo>
                  <a:lnTo>
                    <a:pt x="244" y="307"/>
                  </a:lnTo>
                  <a:lnTo>
                    <a:pt x="244" y="304"/>
                  </a:lnTo>
                  <a:lnTo>
                    <a:pt x="244" y="302"/>
                  </a:lnTo>
                  <a:close/>
                  <a:moveTo>
                    <a:pt x="244" y="300"/>
                  </a:moveTo>
                  <a:lnTo>
                    <a:pt x="244" y="302"/>
                  </a:lnTo>
                  <a:lnTo>
                    <a:pt x="244" y="300"/>
                  </a:lnTo>
                  <a:close/>
                  <a:moveTo>
                    <a:pt x="230" y="297"/>
                  </a:moveTo>
                  <a:lnTo>
                    <a:pt x="230" y="295"/>
                  </a:lnTo>
                  <a:lnTo>
                    <a:pt x="230" y="297"/>
                  </a:lnTo>
                  <a:lnTo>
                    <a:pt x="230" y="295"/>
                  </a:lnTo>
                  <a:lnTo>
                    <a:pt x="230" y="297"/>
                  </a:lnTo>
                  <a:close/>
                  <a:moveTo>
                    <a:pt x="209" y="290"/>
                  </a:moveTo>
                  <a:lnTo>
                    <a:pt x="211" y="290"/>
                  </a:lnTo>
                  <a:lnTo>
                    <a:pt x="209" y="290"/>
                  </a:lnTo>
                  <a:close/>
                  <a:moveTo>
                    <a:pt x="216" y="290"/>
                  </a:moveTo>
                  <a:lnTo>
                    <a:pt x="218" y="290"/>
                  </a:lnTo>
                  <a:lnTo>
                    <a:pt x="216" y="290"/>
                  </a:lnTo>
                  <a:close/>
                  <a:moveTo>
                    <a:pt x="213" y="288"/>
                  </a:moveTo>
                  <a:lnTo>
                    <a:pt x="213" y="290"/>
                  </a:lnTo>
                  <a:lnTo>
                    <a:pt x="213" y="288"/>
                  </a:lnTo>
                  <a:close/>
                  <a:moveTo>
                    <a:pt x="206" y="285"/>
                  </a:moveTo>
                  <a:lnTo>
                    <a:pt x="209" y="285"/>
                  </a:lnTo>
                  <a:lnTo>
                    <a:pt x="206" y="285"/>
                  </a:lnTo>
                  <a:close/>
                  <a:moveTo>
                    <a:pt x="206" y="273"/>
                  </a:moveTo>
                  <a:lnTo>
                    <a:pt x="206" y="276"/>
                  </a:lnTo>
                  <a:lnTo>
                    <a:pt x="206" y="273"/>
                  </a:lnTo>
                  <a:close/>
                  <a:moveTo>
                    <a:pt x="209" y="271"/>
                  </a:moveTo>
                  <a:lnTo>
                    <a:pt x="206" y="271"/>
                  </a:lnTo>
                  <a:lnTo>
                    <a:pt x="209" y="271"/>
                  </a:lnTo>
                  <a:lnTo>
                    <a:pt x="206" y="271"/>
                  </a:lnTo>
                  <a:lnTo>
                    <a:pt x="209" y="271"/>
                  </a:lnTo>
                  <a:close/>
                  <a:moveTo>
                    <a:pt x="206" y="262"/>
                  </a:moveTo>
                  <a:lnTo>
                    <a:pt x="206" y="264"/>
                  </a:lnTo>
                  <a:lnTo>
                    <a:pt x="206" y="262"/>
                  </a:lnTo>
                  <a:close/>
                  <a:moveTo>
                    <a:pt x="209" y="262"/>
                  </a:moveTo>
                  <a:lnTo>
                    <a:pt x="206" y="262"/>
                  </a:lnTo>
                  <a:lnTo>
                    <a:pt x="209" y="262"/>
                  </a:lnTo>
                  <a:lnTo>
                    <a:pt x="206" y="262"/>
                  </a:lnTo>
                  <a:lnTo>
                    <a:pt x="209" y="262"/>
                  </a:lnTo>
                  <a:close/>
                  <a:moveTo>
                    <a:pt x="209" y="257"/>
                  </a:moveTo>
                  <a:lnTo>
                    <a:pt x="211" y="257"/>
                  </a:lnTo>
                  <a:lnTo>
                    <a:pt x="209" y="257"/>
                  </a:lnTo>
                  <a:close/>
                  <a:moveTo>
                    <a:pt x="206" y="254"/>
                  </a:moveTo>
                  <a:lnTo>
                    <a:pt x="206" y="257"/>
                  </a:lnTo>
                  <a:lnTo>
                    <a:pt x="206" y="254"/>
                  </a:lnTo>
                  <a:close/>
                  <a:moveTo>
                    <a:pt x="211" y="245"/>
                  </a:moveTo>
                  <a:lnTo>
                    <a:pt x="213" y="245"/>
                  </a:lnTo>
                  <a:lnTo>
                    <a:pt x="213" y="247"/>
                  </a:lnTo>
                  <a:lnTo>
                    <a:pt x="213" y="245"/>
                  </a:lnTo>
                  <a:lnTo>
                    <a:pt x="213" y="247"/>
                  </a:lnTo>
                  <a:lnTo>
                    <a:pt x="211" y="245"/>
                  </a:lnTo>
                  <a:lnTo>
                    <a:pt x="211" y="247"/>
                  </a:lnTo>
                  <a:lnTo>
                    <a:pt x="211" y="245"/>
                  </a:lnTo>
                  <a:lnTo>
                    <a:pt x="211" y="247"/>
                  </a:lnTo>
                  <a:lnTo>
                    <a:pt x="211" y="245"/>
                  </a:lnTo>
                  <a:close/>
                  <a:moveTo>
                    <a:pt x="211" y="245"/>
                  </a:moveTo>
                  <a:lnTo>
                    <a:pt x="209" y="245"/>
                  </a:lnTo>
                  <a:lnTo>
                    <a:pt x="211" y="245"/>
                  </a:lnTo>
                  <a:close/>
                  <a:moveTo>
                    <a:pt x="209" y="245"/>
                  </a:moveTo>
                  <a:lnTo>
                    <a:pt x="206" y="245"/>
                  </a:lnTo>
                  <a:lnTo>
                    <a:pt x="209" y="245"/>
                  </a:lnTo>
                  <a:lnTo>
                    <a:pt x="206" y="245"/>
                  </a:lnTo>
                  <a:lnTo>
                    <a:pt x="209" y="245"/>
                  </a:lnTo>
                  <a:close/>
                  <a:moveTo>
                    <a:pt x="204" y="245"/>
                  </a:moveTo>
                  <a:lnTo>
                    <a:pt x="206" y="245"/>
                  </a:lnTo>
                  <a:lnTo>
                    <a:pt x="204" y="245"/>
                  </a:lnTo>
                  <a:close/>
                  <a:moveTo>
                    <a:pt x="204" y="243"/>
                  </a:moveTo>
                  <a:lnTo>
                    <a:pt x="206" y="243"/>
                  </a:lnTo>
                  <a:lnTo>
                    <a:pt x="204" y="243"/>
                  </a:lnTo>
                  <a:lnTo>
                    <a:pt x="206" y="243"/>
                  </a:lnTo>
                  <a:lnTo>
                    <a:pt x="204" y="243"/>
                  </a:lnTo>
                  <a:close/>
                  <a:moveTo>
                    <a:pt x="211" y="240"/>
                  </a:moveTo>
                  <a:lnTo>
                    <a:pt x="211" y="243"/>
                  </a:lnTo>
                  <a:lnTo>
                    <a:pt x="211" y="240"/>
                  </a:lnTo>
                  <a:close/>
                  <a:moveTo>
                    <a:pt x="216" y="235"/>
                  </a:moveTo>
                  <a:lnTo>
                    <a:pt x="216" y="238"/>
                  </a:lnTo>
                  <a:lnTo>
                    <a:pt x="216" y="235"/>
                  </a:lnTo>
                  <a:close/>
                  <a:moveTo>
                    <a:pt x="216" y="224"/>
                  </a:moveTo>
                  <a:lnTo>
                    <a:pt x="213" y="224"/>
                  </a:lnTo>
                  <a:lnTo>
                    <a:pt x="216" y="224"/>
                  </a:lnTo>
                  <a:close/>
                  <a:moveTo>
                    <a:pt x="221" y="221"/>
                  </a:moveTo>
                  <a:lnTo>
                    <a:pt x="218" y="221"/>
                  </a:lnTo>
                  <a:lnTo>
                    <a:pt x="221" y="221"/>
                  </a:lnTo>
                  <a:close/>
                  <a:moveTo>
                    <a:pt x="223" y="209"/>
                  </a:moveTo>
                  <a:lnTo>
                    <a:pt x="223" y="212"/>
                  </a:lnTo>
                  <a:lnTo>
                    <a:pt x="221" y="212"/>
                  </a:lnTo>
                  <a:lnTo>
                    <a:pt x="221" y="209"/>
                  </a:lnTo>
                  <a:lnTo>
                    <a:pt x="223" y="209"/>
                  </a:lnTo>
                  <a:close/>
                  <a:moveTo>
                    <a:pt x="218" y="200"/>
                  </a:moveTo>
                  <a:lnTo>
                    <a:pt x="216" y="200"/>
                  </a:lnTo>
                  <a:lnTo>
                    <a:pt x="218" y="200"/>
                  </a:lnTo>
                  <a:close/>
                  <a:moveTo>
                    <a:pt x="216" y="197"/>
                  </a:moveTo>
                  <a:lnTo>
                    <a:pt x="218" y="197"/>
                  </a:lnTo>
                  <a:lnTo>
                    <a:pt x="216" y="197"/>
                  </a:lnTo>
                  <a:close/>
                  <a:moveTo>
                    <a:pt x="211" y="195"/>
                  </a:moveTo>
                  <a:lnTo>
                    <a:pt x="213" y="195"/>
                  </a:lnTo>
                  <a:lnTo>
                    <a:pt x="216" y="195"/>
                  </a:lnTo>
                  <a:lnTo>
                    <a:pt x="216" y="197"/>
                  </a:lnTo>
                  <a:lnTo>
                    <a:pt x="213" y="197"/>
                  </a:lnTo>
                  <a:lnTo>
                    <a:pt x="216" y="197"/>
                  </a:lnTo>
                  <a:lnTo>
                    <a:pt x="216" y="200"/>
                  </a:lnTo>
                  <a:lnTo>
                    <a:pt x="216" y="202"/>
                  </a:lnTo>
                  <a:lnTo>
                    <a:pt x="213" y="202"/>
                  </a:lnTo>
                  <a:lnTo>
                    <a:pt x="211" y="202"/>
                  </a:lnTo>
                  <a:lnTo>
                    <a:pt x="211" y="200"/>
                  </a:lnTo>
                  <a:lnTo>
                    <a:pt x="211" y="197"/>
                  </a:lnTo>
                  <a:lnTo>
                    <a:pt x="211" y="195"/>
                  </a:lnTo>
                  <a:close/>
                  <a:moveTo>
                    <a:pt x="235" y="186"/>
                  </a:moveTo>
                  <a:lnTo>
                    <a:pt x="232" y="186"/>
                  </a:lnTo>
                  <a:lnTo>
                    <a:pt x="235" y="186"/>
                  </a:lnTo>
                  <a:close/>
                  <a:moveTo>
                    <a:pt x="237" y="178"/>
                  </a:moveTo>
                  <a:lnTo>
                    <a:pt x="237" y="181"/>
                  </a:lnTo>
                  <a:lnTo>
                    <a:pt x="235" y="181"/>
                  </a:lnTo>
                  <a:lnTo>
                    <a:pt x="235" y="178"/>
                  </a:lnTo>
                  <a:lnTo>
                    <a:pt x="237" y="178"/>
                  </a:lnTo>
                  <a:close/>
                  <a:moveTo>
                    <a:pt x="237" y="181"/>
                  </a:moveTo>
                  <a:lnTo>
                    <a:pt x="239" y="178"/>
                  </a:lnTo>
                  <a:lnTo>
                    <a:pt x="239" y="181"/>
                  </a:lnTo>
                  <a:lnTo>
                    <a:pt x="237" y="181"/>
                  </a:lnTo>
                  <a:close/>
                  <a:moveTo>
                    <a:pt x="230" y="178"/>
                  </a:moveTo>
                  <a:lnTo>
                    <a:pt x="232" y="178"/>
                  </a:lnTo>
                  <a:lnTo>
                    <a:pt x="232" y="181"/>
                  </a:lnTo>
                  <a:lnTo>
                    <a:pt x="230" y="181"/>
                  </a:lnTo>
                  <a:lnTo>
                    <a:pt x="232" y="178"/>
                  </a:lnTo>
                  <a:lnTo>
                    <a:pt x="230" y="178"/>
                  </a:lnTo>
                  <a:close/>
                  <a:moveTo>
                    <a:pt x="247" y="174"/>
                  </a:moveTo>
                  <a:lnTo>
                    <a:pt x="244" y="174"/>
                  </a:lnTo>
                  <a:lnTo>
                    <a:pt x="247" y="174"/>
                  </a:lnTo>
                  <a:close/>
                  <a:moveTo>
                    <a:pt x="239" y="174"/>
                  </a:moveTo>
                  <a:lnTo>
                    <a:pt x="239" y="171"/>
                  </a:lnTo>
                  <a:lnTo>
                    <a:pt x="239" y="174"/>
                  </a:lnTo>
                  <a:close/>
                  <a:moveTo>
                    <a:pt x="228" y="171"/>
                  </a:moveTo>
                  <a:lnTo>
                    <a:pt x="228" y="174"/>
                  </a:lnTo>
                  <a:lnTo>
                    <a:pt x="228" y="171"/>
                  </a:lnTo>
                  <a:close/>
                  <a:moveTo>
                    <a:pt x="254" y="167"/>
                  </a:moveTo>
                  <a:lnTo>
                    <a:pt x="251" y="169"/>
                  </a:lnTo>
                  <a:lnTo>
                    <a:pt x="251" y="167"/>
                  </a:lnTo>
                  <a:lnTo>
                    <a:pt x="254" y="167"/>
                  </a:lnTo>
                  <a:close/>
                  <a:moveTo>
                    <a:pt x="249" y="164"/>
                  </a:moveTo>
                  <a:lnTo>
                    <a:pt x="251" y="164"/>
                  </a:lnTo>
                  <a:lnTo>
                    <a:pt x="249" y="164"/>
                  </a:lnTo>
                  <a:lnTo>
                    <a:pt x="249" y="167"/>
                  </a:lnTo>
                  <a:lnTo>
                    <a:pt x="247" y="164"/>
                  </a:lnTo>
                  <a:lnTo>
                    <a:pt x="249" y="164"/>
                  </a:lnTo>
                  <a:lnTo>
                    <a:pt x="247" y="164"/>
                  </a:lnTo>
                  <a:lnTo>
                    <a:pt x="249" y="164"/>
                  </a:lnTo>
                  <a:lnTo>
                    <a:pt x="247" y="164"/>
                  </a:lnTo>
                  <a:lnTo>
                    <a:pt x="249" y="164"/>
                  </a:lnTo>
                  <a:lnTo>
                    <a:pt x="249" y="162"/>
                  </a:lnTo>
                  <a:lnTo>
                    <a:pt x="249" y="164"/>
                  </a:lnTo>
                  <a:close/>
                  <a:moveTo>
                    <a:pt x="256" y="164"/>
                  </a:moveTo>
                  <a:lnTo>
                    <a:pt x="256" y="162"/>
                  </a:lnTo>
                  <a:lnTo>
                    <a:pt x="256" y="164"/>
                  </a:lnTo>
                  <a:close/>
                  <a:moveTo>
                    <a:pt x="254" y="162"/>
                  </a:moveTo>
                  <a:lnTo>
                    <a:pt x="254" y="164"/>
                  </a:lnTo>
                  <a:lnTo>
                    <a:pt x="254" y="167"/>
                  </a:lnTo>
                  <a:lnTo>
                    <a:pt x="251" y="167"/>
                  </a:lnTo>
                  <a:lnTo>
                    <a:pt x="251" y="164"/>
                  </a:lnTo>
                  <a:lnTo>
                    <a:pt x="254" y="164"/>
                  </a:lnTo>
                  <a:lnTo>
                    <a:pt x="251" y="164"/>
                  </a:lnTo>
                  <a:lnTo>
                    <a:pt x="254" y="164"/>
                  </a:lnTo>
                  <a:lnTo>
                    <a:pt x="254" y="162"/>
                  </a:lnTo>
                  <a:close/>
                  <a:moveTo>
                    <a:pt x="251" y="162"/>
                  </a:moveTo>
                  <a:lnTo>
                    <a:pt x="251" y="164"/>
                  </a:lnTo>
                  <a:lnTo>
                    <a:pt x="251" y="162"/>
                  </a:lnTo>
                  <a:close/>
                  <a:moveTo>
                    <a:pt x="256" y="162"/>
                  </a:moveTo>
                  <a:lnTo>
                    <a:pt x="256" y="164"/>
                  </a:lnTo>
                  <a:lnTo>
                    <a:pt x="256" y="162"/>
                  </a:lnTo>
                  <a:close/>
                  <a:moveTo>
                    <a:pt x="251" y="159"/>
                  </a:moveTo>
                  <a:lnTo>
                    <a:pt x="249" y="159"/>
                  </a:lnTo>
                  <a:lnTo>
                    <a:pt x="251" y="159"/>
                  </a:lnTo>
                  <a:lnTo>
                    <a:pt x="249" y="159"/>
                  </a:lnTo>
                  <a:lnTo>
                    <a:pt x="251" y="159"/>
                  </a:lnTo>
                  <a:close/>
                  <a:moveTo>
                    <a:pt x="254" y="159"/>
                  </a:moveTo>
                  <a:lnTo>
                    <a:pt x="251" y="159"/>
                  </a:lnTo>
                  <a:lnTo>
                    <a:pt x="254" y="159"/>
                  </a:lnTo>
                  <a:close/>
                  <a:moveTo>
                    <a:pt x="223" y="159"/>
                  </a:moveTo>
                  <a:lnTo>
                    <a:pt x="221" y="159"/>
                  </a:lnTo>
                  <a:lnTo>
                    <a:pt x="223" y="159"/>
                  </a:lnTo>
                  <a:close/>
                  <a:moveTo>
                    <a:pt x="258" y="159"/>
                  </a:moveTo>
                  <a:lnTo>
                    <a:pt x="256" y="159"/>
                  </a:lnTo>
                  <a:lnTo>
                    <a:pt x="258" y="159"/>
                  </a:lnTo>
                  <a:lnTo>
                    <a:pt x="256" y="159"/>
                  </a:lnTo>
                  <a:lnTo>
                    <a:pt x="258" y="159"/>
                  </a:lnTo>
                  <a:close/>
                  <a:moveTo>
                    <a:pt x="261" y="159"/>
                  </a:moveTo>
                  <a:lnTo>
                    <a:pt x="258" y="159"/>
                  </a:lnTo>
                  <a:lnTo>
                    <a:pt x="261" y="159"/>
                  </a:lnTo>
                  <a:close/>
                  <a:moveTo>
                    <a:pt x="254" y="159"/>
                  </a:moveTo>
                  <a:lnTo>
                    <a:pt x="254" y="157"/>
                  </a:lnTo>
                  <a:lnTo>
                    <a:pt x="254" y="159"/>
                  </a:lnTo>
                  <a:close/>
                  <a:moveTo>
                    <a:pt x="261" y="159"/>
                  </a:moveTo>
                  <a:lnTo>
                    <a:pt x="258" y="159"/>
                  </a:lnTo>
                  <a:lnTo>
                    <a:pt x="258" y="157"/>
                  </a:lnTo>
                  <a:lnTo>
                    <a:pt x="261" y="157"/>
                  </a:lnTo>
                  <a:lnTo>
                    <a:pt x="261" y="159"/>
                  </a:lnTo>
                  <a:close/>
                  <a:moveTo>
                    <a:pt x="261" y="157"/>
                  </a:moveTo>
                  <a:lnTo>
                    <a:pt x="258" y="157"/>
                  </a:lnTo>
                  <a:lnTo>
                    <a:pt x="261" y="157"/>
                  </a:lnTo>
                  <a:close/>
                  <a:moveTo>
                    <a:pt x="261" y="155"/>
                  </a:moveTo>
                  <a:lnTo>
                    <a:pt x="261" y="157"/>
                  </a:lnTo>
                  <a:lnTo>
                    <a:pt x="261" y="155"/>
                  </a:lnTo>
                  <a:close/>
                  <a:moveTo>
                    <a:pt x="263" y="155"/>
                  </a:moveTo>
                  <a:lnTo>
                    <a:pt x="261" y="155"/>
                  </a:lnTo>
                  <a:lnTo>
                    <a:pt x="263" y="155"/>
                  </a:lnTo>
                  <a:close/>
                  <a:moveTo>
                    <a:pt x="266" y="155"/>
                  </a:moveTo>
                  <a:lnTo>
                    <a:pt x="266" y="152"/>
                  </a:lnTo>
                  <a:lnTo>
                    <a:pt x="266" y="155"/>
                  </a:lnTo>
                  <a:close/>
                  <a:moveTo>
                    <a:pt x="261" y="152"/>
                  </a:moveTo>
                  <a:lnTo>
                    <a:pt x="258" y="152"/>
                  </a:lnTo>
                  <a:lnTo>
                    <a:pt x="261" y="152"/>
                  </a:lnTo>
                  <a:close/>
                  <a:moveTo>
                    <a:pt x="270" y="152"/>
                  </a:moveTo>
                  <a:lnTo>
                    <a:pt x="270" y="150"/>
                  </a:lnTo>
                  <a:lnTo>
                    <a:pt x="270" y="152"/>
                  </a:lnTo>
                  <a:close/>
                  <a:moveTo>
                    <a:pt x="277" y="143"/>
                  </a:moveTo>
                  <a:lnTo>
                    <a:pt x="277" y="140"/>
                  </a:lnTo>
                  <a:lnTo>
                    <a:pt x="277" y="143"/>
                  </a:lnTo>
                  <a:close/>
                  <a:moveTo>
                    <a:pt x="280" y="140"/>
                  </a:moveTo>
                  <a:lnTo>
                    <a:pt x="282" y="140"/>
                  </a:lnTo>
                  <a:lnTo>
                    <a:pt x="282" y="143"/>
                  </a:lnTo>
                  <a:lnTo>
                    <a:pt x="280" y="143"/>
                  </a:lnTo>
                  <a:lnTo>
                    <a:pt x="280" y="140"/>
                  </a:lnTo>
                  <a:close/>
                  <a:moveTo>
                    <a:pt x="292" y="140"/>
                  </a:moveTo>
                  <a:lnTo>
                    <a:pt x="289" y="140"/>
                  </a:lnTo>
                  <a:lnTo>
                    <a:pt x="292" y="140"/>
                  </a:lnTo>
                  <a:lnTo>
                    <a:pt x="289" y="140"/>
                  </a:lnTo>
                  <a:lnTo>
                    <a:pt x="292" y="140"/>
                  </a:lnTo>
                  <a:close/>
                  <a:moveTo>
                    <a:pt x="282" y="140"/>
                  </a:moveTo>
                  <a:lnTo>
                    <a:pt x="282" y="138"/>
                  </a:lnTo>
                  <a:lnTo>
                    <a:pt x="282" y="140"/>
                  </a:lnTo>
                  <a:close/>
                  <a:moveTo>
                    <a:pt x="294" y="140"/>
                  </a:moveTo>
                  <a:lnTo>
                    <a:pt x="294" y="138"/>
                  </a:lnTo>
                  <a:lnTo>
                    <a:pt x="294" y="140"/>
                  </a:lnTo>
                  <a:close/>
                  <a:moveTo>
                    <a:pt x="294" y="136"/>
                  </a:moveTo>
                  <a:lnTo>
                    <a:pt x="294" y="138"/>
                  </a:lnTo>
                  <a:lnTo>
                    <a:pt x="294" y="136"/>
                  </a:lnTo>
                  <a:lnTo>
                    <a:pt x="294" y="138"/>
                  </a:lnTo>
                  <a:lnTo>
                    <a:pt x="294" y="136"/>
                  </a:lnTo>
                  <a:close/>
                  <a:moveTo>
                    <a:pt x="294" y="136"/>
                  </a:moveTo>
                  <a:lnTo>
                    <a:pt x="294" y="133"/>
                  </a:lnTo>
                  <a:lnTo>
                    <a:pt x="294" y="136"/>
                  </a:lnTo>
                  <a:close/>
                  <a:moveTo>
                    <a:pt x="325" y="129"/>
                  </a:moveTo>
                  <a:lnTo>
                    <a:pt x="327" y="129"/>
                  </a:lnTo>
                  <a:lnTo>
                    <a:pt x="327" y="131"/>
                  </a:lnTo>
                  <a:lnTo>
                    <a:pt x="325" y="131"/>
                  </a:lnTo>
                  <a:lnTo>
                    <a:pt x="325" y="129"/>
                  </a:lnTo>
                  <a:close/>
                  <a:moveTo>
                    <a:pt x="308" y="129"/>
                  </a:moveTo>
                  <a:lnTo>
                    <a:pt x="308" y="126"/>
                  </a:lnTo>
                  <a:lnTo>
                    <a:pt x="308" y="129"/>
                  </a:lnTo>
                  <a:close/>
                  <a:moveTo>
                    <a:pt x="330" y="121"/>
                  </a:moveTo>
                  <a:lnTo>
                    <a:pt x="332" y="121"/>
                  </a:lnTo>
                  <a:lnTo>
                    <a:pt x="330" y="121"/>
                  </a:lnTo>
                  <a:close/>
                  <a:moveTo>
                    <a:pt x="320" y="121"/>
                  </a:moveTo>
                  <a:lnTo>
                    <a:pt x="320" y="124"/>
                  </a:lnTo>
                  <a:lnTo>
                    <a:pt x="320" y="121"/>
                  </a:lnTo>
                  <a:close/>
                  <a:moveTo>
                    <a:pt x="327" y="121"/>
                  </a:moveTo>
                  <a:lnTo>
                    <a:pt x="327" y="124"/>
                  </a:lnTo>
                  <a:lnTo>
                    <a:pt x="327" y="121"/>
                  </a:lnTo>
                  <a:lnTo>
                    <a:pt x="327" y="124"/>
                  </a:lnTo>
                  <a:lnTo>
                    <a:pt x="330" y="124"/>
                  </a:lnTo>
                  <a:lnTo>
                    <a:pt x="327" y="124"/>
                  </a:lnTo>
                  <a:lnTo>
                    <a:pt x="330" y="124"/>
                  </a:lnTo>
                  <a:lnTo>
                    <a:pt x="327" y="124"/>
                  </a:lnTo>
                  <a:lnTo>
                    <a:pt x="330" y="124"/>
                  </a:lnTo>
                  <a:lnTo>
                    <a:pt x="327" y="124"/>
                  </a:lnTo>
                  <a:lnTo>
                    <a:pt x="330" y="124"/>
                  </a:lnTo>
                  <a:lnTo>
                    <a:pt x="327" y="126"/>
                  </a:lnTo>
                  <a:lnTo>
                    <a:pt x="330" y="126"/>
                  </a:lnTo>
                  <a:lnTo>
                    <a:pt x="327" y="126"/>
                  </a:lnTo>
                  <a:lnTo>
                    <a:pt x="330" y="126"/>
                  </a:lnTo>
                  <a:lnTo>
                    <a:pt x="327" y="126"/>
                  </a:lnTo>
                  <a:lnTo>
                    <a:pt x="330" y="126"/>
                  </a:lnTo>
                  <a:lnTo>
                    <a:pt x="327" y="126"/>
                  </a:lnTo>
                  <a:lnTo>
                    <a:pt x="327" y="129"/>
                  </a:lnTo>
                  <a:lnTo>
                    <a:pt x="325" y="129"/>
                  </a:lnTo>
                  <a:lnTo>
                    <a:pt x="327" y="129"/>
                  </a:lnTo>
                  <a:lnTo>
                    <a:pt x="325" y="126"/>
                  </a:lnTo>
                  <a:lnTo>
                    <a:pt x="327" y="126"/>
                  </a:lnTo>
                  <a:lnTo>
                    <a:pt x="327" y="124"/>
                  </a:lnTo>
                  <a:lnTo>
                    <a:pt x="327" y="126"/>
                  </a:lnTo>
                  <a:lnTo>
                    <a:pt x="327" y="124"/>
                  </a:lnTo>
                  <a:lnTo>
                    <a:pt x="327" y="126"/>
                  </a:lnTo>
                  <a:lnTo>
                    <a:pt x="325" y="126"/>
                  </a:lnTo>
                  <a:lnTo>
                    <a:pt x="325" y="124"/>
                  </a:lnTo>
                  <a:lnTo>
                    <a:pt x="325" y="121"/>
                  </a:lnTo>
                  <a:lnTo>
                    <a:pt x="327" y="121"/>
                  </a:lnTo>
                  <a:close/>
                  <a:moveTo>
                    <a:pt x="339" y="74"/>
                  </a:moveTo>
                  <a:lnTo>
                    <a:pt x="339" y="72"/>
                  </a:lnTo>
                  <a:lnTo>
                    <a:pt x="339" y="74"/>
                  </a:lnTo>
                  <a:close/>
                  <a:moveTo>
                    <a:pt x="339" y="62"/>
                  </a:moveTo>
                  <a:lnTo>
                    <a:pt x="337" y="62"/>
                  </a:lnTo>
                  <a:lnTo>
                    <a:pt x="339" y="62"/>
                  </a:lnTo>
                  <a:lnTo>
                    <a:pt x="339" y="60"/>
                  </a:lnTo>
                  <a:lnTo>
                    <a:pt x="339" y="62"/>
                  </a:lnTo>
                  <a:close/>
                  <a:moveTo>
                    <a:pt x="342" y="60"/>
                  </a:moveTo>
                  <a:lnTo>
                    <a:pt x="342" y="57"/>
                  </a:lnTo>
                  <a:lnTo>
                    <a:pt x="342" y="60"/>
                  </a:lnTo>
                  <a:close/>
                  <a:moveTo>
                    <a:pt x="346" y="53"/>
                  </a:moveTo>
                  <a:lnTo>
                    <a:pt x="349" y="53"/>
                  </a:lnTo>
                  <a:lnTo>
                    <a:pt x="349" y="55"/>
                  </a:lnTo>
                  <a:lnTo>
                    <a:pt x="349" y="53"/>
                  </a:lnTo>
                  <a:lnTo>
                    <a:pt x="349" y="55"/>
                  </a:lnTo>
                  <a:lnTo>
                    <a:pt x="346" y="55"/>
                  </a:lnTo>
                  <a:lnTo>
                    <a:pt x="346" y="53"/>
                  </a:lnTo>
                  <a:close/>
                  <a:moveTo>
                    <a:pt x="349" y="53"/>
                  </a:moveTo>
                  <a:lnTo>
                    <a:pt x="349" y="55"/>
                  </a:lnTo>
                  <a:lnTo>
                    <a:pt x="349" y="53"/>
                  </a:lnTo>
                  <a:lnTo>
                    <a:pt x="349" y="55"/>
                  </a:lnTo>
                  <a:lnTo>
                    <a:pt x="349" y="53"/>
                  </a:lnTo>
                  <a:close/>
                  <a:moveTo>
                    <a:pt x="351" y="50"/>
                  </a:moveTo>
                  <a:lnTo>
                    <a:pt x="349" y="50"/>
                  </a:lnTo>
                  <a:lnTo>
                    <a:pt x="351" y="50"/>
                  </a:lnTo>
                  <a:close/>
                  <a:moveTo>
                    <a:pt x="356" y="48"/>
                  </a:moveTo>
                  <a:lnTo>
                    <a:pt x="353" y="48"/>
                  </a:lnTo>
                  <a:lnTo>
                    <a:pt x="356" y="48"/>
                  </a:lnTo>
                  <a:close/>
                  <a:moveTo>
                    <a:pt x="353" y="48"/>
                  </a:moveTo>
                  <a:lnTo>
                    <a:pt x="351" y="48"/>
                  </a:lnTo>
                  <a:lnTo>
                    <a:pt x="353" y="48"/>
                  </a:lnTo>
                  <a:lnTo>
                    <a:pt x="351" y="48"/>
                  </a:lnTo>
                  <a:lnTo>
                    <a:pt x="353" y="48"/>
                  </a:lnTo>
                  <a:close/>
                  <a:moveTo>
                    <a:pt x="361" y="45"/>
                  </a:moveTo>
                  <a:lnTo>
                    <a:pt x="363" y="45"/>
                  </a:lnTo>
                  <a:lnTo>
                    <a:pt x="361" y="45"/>
                  </a:lnTo>
                  <a:lnTo>
                    <a:pt x="358" y="45"/>
                  </a:lnTo>
                  <a:lnTo>
                    <a:pt x="358" y="43"/>
                  </a:lnTo>
                  <a:lnTo>
                    <a:pt x="358" y="45"/>
                  </a:lnTo>
                  <a:lnTo>
                    <a:pt x="361" y="45"/>
                  </a:lnTo>
                  <a:close/>
                  <a:moveTo>
                    <a:pt x="356" y="43"/>
                  </a:moveTo>
                  <a:lnTo>
                    <a:pt x="358" y="43"/>
                  </a:lnTo>
                  <a:lnTo>
                    <a:pt x="358" y="45"/>
                  </a:lnTo>
                  <a:lnTo>
                    <a:pt x="358" y="43"/>
                  </a:lnTo>
                  <a:lnTo>
                    <a:pt x="356" y="43"/>
                  </a:lnTo>
                  <a:close/>
                  <a:moveTo>
                    <a:pt x="356" y="41"/>
                  </a:moveTo>
                  <a:lnTo>
                    <a:pt x="358" y="41"/>
                  </a:lnTo>
                  <a:lnTo>
                    <a:pt x="358" y="43"/>
                  </a:lnTo>
                  <a:lnTo>
                    <a:pt x="358" y="41"/>
                  </a:lnTo>
                  <a:lnTo>
                    <a:pt x="358" y="43"/>
                  </a:lnTo>
                  <a:lnTo>
                    <a:pt x="358" y="41"/>
                  </a:lnTo>
                  <a:lnTo>
                    <a:pt x="356" y="41"/>
                  </a:lnTo>
                  <a:lnTo>
                    <a:pt x="356" y="38"/>
                  </a:lnTo>
                  <a:lnTo>
                    <a:pt x="356" y="41"/>
                  </a:lnTo>
                  <a:close/>
                  <a:moveTo>
                    <a:pt x="346" y="38"/>
                  </a:moveTo>
                  <a:lnTo>
                    <a:pt x="346" y="41"/>
                  </a:lnTo>
                  <a:lnTo>
                    <a:pt x="346" y="38"/>
                  </a:lnTo>
                  <a:close/>
                  <a:moveTo>
                    <a:pt x="375" y="38"/>
                  </a:moveTo>
                  <a:lnTo>
                    <a:pt x="377" y="38"/>
                  </a:lnTo>
                  <a:lnTo>
                    <a:pt x="375" y="38"/>
                  </a:lnTo>
                  <a:close/>
                  <a:moveTo>
                    <a:pt x="358" y="38"/>
                  </a:moveTo>
                  <a:lnTo>
                    <a:pt x="356" y="38"/>
                  </a:lnTo>
                  <a:lnTo>
                    <a:pt x="356" y="36"/>
                  </a:lnTo>
                  <a:lnTo>
                    <a:pt x="356" y="38"/>
                  </a:lnTo>
                  <a:lnTo>
                    <a:pt x="358" y="38"/>
                  </a:lnTo>
                  <a:close/>
                  <a:moveTo>
                    <a:pt x="361" y="36"/>
                  </a:moveTo>
                  <a:lnTo>
                    <a:pt x="358" y="36"/>
                  </a:lnTo>
                  <a:lnTo>
                    <a:pt x="361" y="36"/>
                  </a:lnTo>
                  <a:close/>
                  <a:moveTo>
                    <a:pt x="349" y="36"/>
                  </a:moveTo>
                  <a:lnTo>
                    <a:pt x="346" y="36"/>
                  </a:lnTo>
                  <a:lnTo>
                    <a:pt x="349" y="36"/>
                  </a:lnTo>
                  <a:lnTo>
                    <a:pt x="346" y="38"/>
                  </a:lnTo>
                  <a:lnTo>
                    <a:pt x="346" y="36"/>
                  </a:lnTo>
                  <a:lnTo>
                    <a:pt x="349" y="36"/>
                  </a:lnTo>
                  <a:close/>
                  <a:moveTo>
                    <a:pt x="349" y="36"/>
                  </a:moveTo>
                  <a:lnTo>
                    <a:pt x="346" y="36"/>
                  </a:lnTo>
                  <a:lnTo>
                    <a:pt x="346" y="34"/>
                  </a:lnTo>
                  <a:lnTo>
                    <a:pt x="349" y="36"/>
                  </a:lnTo>
                  <a:close/>
                  <a:moveTo>
                    <a:pt x="358" y="34"/>
                  </a:moveTo>
                  <a:lnTo>
                    <a:pt x="361" y="34"/>
                  </a:lnTo>
                  <a:lnTo>
                    <a:pt x="358" y="34"/>
                  </a:lnTo>
                  <a:close/>
                  <a:moveTo>
                    <a:pt x="379" y="36"/>
                  </a:moveTo>
                  <a:lnTo>
                    <a:pt x="379" y="34"/>
                  </a:lnTo>
                  <a:lnTo>
                    <a:pt x="377" y="34"/>
                  </a:lnTo>
                  <a:lnTo>
                    <a:pt x="379" y="34"/>
                  </a:lnTo>
                  <a:lnTo>
                    <a:pt x="379" y="36"/>
                  </a:lnTo>
                  <a:close/>
                  <a:moveTo>
                    <a:pt x="358" y="34"/>
                  </a:moveTo>
                  <a:lnTo>
                    <a:pt x="356" y="34"/>
                  </a:lnTo>
                  <a:lnTo>
                    <a:pt x="358" y="34"/>
                  </a:lnTo>
                  <a:close/>
                  <a:moveTo>
                    <a:pt x="377" y="34"/>
                  </a:moveTo>
                  <a:lnTo>
                    <a:pt x="377" y="36"/>
                  </a:lnTo>
                  <a:lnTo>
                    <a:pt x="379" y="36"/>
                  </a:lnTo>
                  <a:lnTo>
                    <a:pt x="377" y="36"/>
                  </a:lnTo>
                  <a:lnTo>
                    <a:pt x="377" y="34"/>
                  </a:lnTo>
                  <a:lnTo>
                    <a:pt x="375" y="34"/>
                  </a:lnTo>
                  <a:lnTo>
                    <a:pt x="377" y="34"/>
                  </a:lnTo>
                  <a:close/>
                  <a:moveTo>
                    <a:pt x="363" y="34"/>
                  </a:moveTo>
                  <a:lnTo>
                    <a:pt x="365" y="34"/>
                  </a:lnTo>
                  <a:lnTo>
                    <a:pt x="365" y="36"/>
                  </a:lnTo>
                  <a:lnTo>
                    <a:pt x="363" y="36"/>
                  </a:lnTo>
                  <a:lnTo>
                    <a:pt x="363" y="34"/>
                  </a:lnTo>
                  <a:close/>
                  <a:moveTo>
                    <a:pt x="353" y="34"/>
                  </a:moveTo>
                  <a:lnTo>
                    <a:pt x="356" y="34"/>
                  </a:lnTo>
                  <a:lnTo>
                    <a:pt x="356" y="36"/>
                  </a:lnTo>
                  <a:lnTo>
                    <a:pt x="358" y="36"/>
                  </a:lnTo>
                  <a:lnTo>
                    <a:pt x="356" y="36"/>
                  </a:lnTo>
                  <a:lnTo>
                    <a:pt x="356" y="34"/>
                  </a:lnTo>
                  <a:lnTo>
                    <a:pt x="353" y="34"/>
                  </a:lnTo>
                  <a:lnTo>
                    <a:pt x="351" y="34"/>
                  </a:lnTo>
                  <a:lnTo>
                    <a:pt x="353" y="34"/>
                  </a:lnTo>
                  <a:close/>
                  <a:moveTo>
                    <a:pt x="379" y="34"/>
                  </a:moveTo>
                  <a:lnTo>
                    <a:pt x="382" y="34"/>
                  </a:lnTo>
                  <a:lnTo>
                    <a:pt x="379" y="34"/>
                  </a:lnTo>
                  <a:lnTo>
                    <a:pt x="382" y="34"/>
                  </a:lnTo>
                  <a:lnTo>
                    <a:pt x="379" y="34"/>
                  </a:lnTo>
                  <a:close/>
                  <a:moveTo>
                    <a:pt x="368" y="31"/>
                  </a:moveTo>
                  <a:lnTo>
                    <a:pt x="368" y="34"/>
                  </a:lnTo>
                  <a:lnTo>
                    <a:pt x="368" y="31"/>
                  </a:lnTo>
                  <a:close/>
                  <a:moveTo>
                    <a:pt x="384" y="29"/>
                  </a:moveTo>
                  <a:lnTo>
                    <a:pt x="384" y="31"/>
                  </a:lnTo>
                  <a:lnTo>
                    <a:pt x="384" y="29"/>
                  </a:lnTo>
                  <a:close/>
                  <a:moveTo>
                    <a:pt x="377" y="31"/>
                  </a:moveTo>
                  <a:lnTo>
                    <a:pt x="375" y="31"/>
                  </a:lnTo>
                  <a:lnTo>
                    <a:pt x="372" y="31"/>
                  </a:lnTo>
                  <a:lnTo>
                    <a:pt x="372" y="29"/>
                  </a:lnTo>
                  <a:lnTo>
                    <a:pt x="375" y="31"/>
                  </a:lnTo>
                  <a:lnTo>
                    <a:pt x="375" y="29"/>
                  </a:lnTo>
                  <a:lnTo>
                    <a:pt x="377" y="29"/>
                  </a:lnTo>
                  <a:lnTo>
                    <a:pt x="377" y="31"/>
                  </a:lnTo>
                  <a:close/>
                  <a:moveTo>
                    <a:pt x="370" y="29"/>
                  </a:moveTo>
                  <a:lnTo>
                    <a:pt x="370" y="31"/>
                  </a:lnTo>
                  <a:lnTo>
                    <a:pt x="372" y="31"/>
                  </a:lnTo>
                  <a:lnTo>
                    <a:pt x="370" y="31"/>
                  </a:lnTo>
                  <a:lnTo>
                    <a:pt x="372" y="31"/>
                  </a:lnTo>
                  <a:lnTo>
                    <a:pt x="370" y="31"/>
                  </a:lnTo>
                  <a:lnTo>
                    <a:pt x="368" y="31"/>
                  </a:lnTo>
                  <a:lnTo>
                    <a:pt x="368" y="29"/>
                  </a:lnTo>
                  <a:lnTo>
                    <a:pt x="370" y="29"/>
                  </a:lnTo>
                  <a:close/>
                  <a:moveTo>
                    <a:pt x="389" y="29"/>
                  </a:moveTo>
                  <a:lnTo>
                    <a:pt x="387" y="29"/>
                  </a:lnTo>
                  <a:lnTo>
                    <a:pt x="389" y="29"/>
                  </a:lnTo>
                  <a:lnTo>
                    <a:pt x="387" y="29"/>
                  </a:lnTo>
                  <a:lnTo>
                    <a:pt x="389" y="29"/>
                  </a:lnTo>
                  <a:lnTo>
                    <a:pt x="387" y="29"/>
                  </a:lnTo>
                  <a:lnTo>
                    <a:pt x="389" y="29"/>
                  </a:lnTo>
                  <a:lnTo>
                    <a:pt x="387" y="29"/>
                  </a:lnTo>
                  <a:lnTo>
                    <a:pt x="389" y="29"/>
                  </a:lnTo>
                  <a:close/>
                  <a:moveTo>
                    <a:pt x="363" y="26"/>
                  </a:moveTo>
                  <a:lnTo>
                    <a:pt x="365" y="26"/>
                  </a:lnTo>
                  <a:lnTo>
                    <a:pt x="365" y="29"/>
                  </a:lnTo>
                  <a:lnTo>
                    <a:pt x="363" y="29"/>
                  </a:lnTo>
                  <a:lnTo>
                    <a:pt x="363" y="26"/>
                  </a:lnTo>
                  <a:close/>
                  <a:moveTo>
                    <a:pt x="382" y="26"/>
                  </a:moveTo>
                  <a:lnTo>
                    <a:pt x="382" y="29"/>
                  </a:lnTo>
                  <a:lnTo>
                    <a:pt x="379" y="29"/>
                  </a:lnTo>
                  <a:lnTo>
                    <a:pt x="379" y="26"/>
                  </a:lnTo>
                  <a:lnTo>
                    <a:pt x="382" y="26"/>
                  </a:lnTo>
                  <a:close/>
                  <a:moveTo>
                    <a:pt x="387" y="29"/>
                  </a:moveTo>
                  <a:lnTo>
                    <a:pt x="387" y="26"/>
                  </a:lnTo>
                  <a:lnTo>
                    <a:pt x="384" y="26"/>
                  </a:lnTo>
                  <a:lnTo>
                    <a:pt x="387" y="26"/>
                  </a:lnTo>
                  <a:lnTo>
                    <a:pt x="387" y="29"/>
                  </a:lnTo>
                  <a:close/>
                  <a:moveTo>
                    <a:pt x="365" y="26"/>
                  </a:moveTo>
                  <a:lnTo>
                    <a:pt x="368" y="26"/>
                  </a:lnTo>
                  <a:lnTo>
                    <a:pt x="368" y="29"/>
                  </a:lnTo>
                  <a:lnTo>
                    <a:pt x="365" y="29"/>
                  </a:lnTo>
                  <a:lnTo>
                    <a:pt x="368" y="29"/>
                  </a:lnTo>
                  <a:lnTo>
                    <a:pt x="365" y="29"/>
                  </a:lnTo>
                  <a:lnTo>
                    <a:pt x="365" y="26"/>
                  </a:lnTo>
                  <a:close/>
                  <a:moveTo>
                    <a:pt x="361" y="26"/>
                  </a:moveTo>
                  <a:lnTo>
                    <a:pt x="363" y="26"/>
                  </a:lnTo>
                  <a:lnTo>
                    <a:pt x="361" y="26"/>
                  </a:lnTo>
                  <a:close/>
                  <a:moveTo>
                    <a:pt x="384" y="26"/>
                  </a:moveTo>
                  <a:lnTo>
                    <a:pt x="382" y="26"/>
                  </a:lnTo>
                  <a:lnTo>
                    <a:pt x="384" y="26"/>
                  </a:lnTo>
                  <a:close/>
                  <a:moveTo>
                    <a:pt x="375" y="26"/>
                  </a:moveTo>
                  <a:lnTo>
                    <a:pt x="377" y="26"/>
                  </a:lnTo>
                  <a:lnTo>
                    <a:pt x="375" y="26"/>
                  </a:lnTo>
                  <a:lnTo>
                    <a:pt x="375" y="24"/>
                  </a:lnTo>
                  <a:lnTo>
                    <a:pt x="375" y="26"/>
                  </a:lnTo>
                  <a:close/>
                  <a:moveTo>
                    <a:pt x="384" y="26"/>
                  </a:moveTo>
                  <a:lnTo>
                    <a:pt x="382" y="26"/>
                  </a:lnTo>
                  <a:lnTo>
                    <a:pt x="384" y="26"/>
                  </a:lnTo>
                  <a:lnTo>
                    <a:pt x="384" y="24"/>
                  </a:lnTo>
                  <a:lnTo>
                    <a:pt x="384" y="26"/>
                  </a:lnTo>
                  <a:close/>
                  <a:moveTo>
                    <a:pt x="370" y="24"/>
                  </a:moveTo>
                  <a:lnTo>
                    <a:pt x="372" y="26"/>
                  </a:lnTo>
                  <a:lnTo>
                    <a:pt x="375" y="26"/>
                  </a:lnTo>
                  <a:lnTo>
                    <a:pt x="375" y="29"/>
                  </a:lnTo>
                  <a:lnTo>
                    <a:pt x="375" y="26"/>
                  </a:lnTo>
                  <a:lnTo>
                    <a:pt x="372" y="26"/>
                  </a:lnTo>
                  <a:lnTo>
                    <a:pt x="372" y="29"/>
                  </a:lnTo>
                  <a:lnTo>
                    <a:pt x="372" y="26"/>
                  </a:lnTo>
                  <a:lnTo>
                    <a:pt x="372" y="29"/>
                  </a:lnTo>
                  <a:lnTo>
                    <a:pt x="370" y="29"/>
                  </a:lnTo>
                  <a:lnTo>
                    <a:pt x="370" y="26"/>
                  </a:lnTo>
                  <a:lnTo>
                    <a:pt x="370" y="24"/>
                  </a:lnTo>
                  <a:close/>
                  <a:moveTo>
                    <a:pt x="387" y="24"/>
                  </a:moveTo>
                  <a:lnTo>
                    <a:pt x="389" y="24"/>
                  </a:lnTo>
                  <a:lnTo>
                    <a:pt x="389" y="26"/>
                  </a:lnTo>
                  <a:lnTo>
                    <a:pt x="389" y="24"/>
                  </a:lnTo>
                  <a:lnTo>
                    <a:pt x="391" y="26"/>
                  </a:lnTo>
                  <a:lnTo>
                    <a:pt x="389" y="26"/>
                  </a:lnTo>
                  <a:lnTo>
                    <a:pt x="389" y="24"/>
                  </a:lnTo>
                  <a:lnTo>
                    <a:pt x="387" y="24"/>
                  </a:lnTo>
                  <a:close/>
                  <a:moveTo>
                    <a:pt x="387" y="24"/>
                  </a:moveTo>
                  <a:lnTo>
                    <a:pt x="384" y="24"/>
                  </a:lnTo>
                  <a:lnTo>
                    <a:pt x="384" y="26"/>
                  </a:lnTo>
                  <a:lnTo>
                    <a:pt x="384" y="24"/>
                  </a:lnTo>
                  <a:lnTo>
                    <a:pt x="387" y="24"/>
                  </a:lnTo>
                  <a:close/>
                  <a:moveTo>
                    <a:pt x="389" y="24"/>
                  </a:moveTo>
                  <a:lnTo>
                    <a:pt x="391" y="24"/>
                  </a:lnTo>
                  <a:lnTo>
                    <a:pt x="389" y="24"/>
                  </a:lnTo>
                  <a:close/>
                  <a:moveTo>
                    <a:pt x="382" y="22"/>
                  </a:moveTo>
                  <a:lnTo>
                    <a:pt x="379" y="22"/>
                  </a:lnTo>
                  <a:lnTo>
                    <a:pt x="382" y="22"/>
                  </a:lnTo>
                  <a:close/>
                  <a:moveTo>
                    <a:pt x="384" y="24"/>
                  </a:moveTo>
                  <a:lnTo>
                    <a:pt x="382" y="24"/>
                  </a:lnTo>
                  <a:lnTo>
                    <a:pt x="382" y="22"/>
                  </a:lnTo>
                  <a:lnTo>
                    <a:pt x="384" y="22"/>
                  </a:lnTo>
                  <a:lnTo>
                    <a:pt x="384" y="24"/>
                  </a:lnTo>
                  <a:lnTo>
                    <a:pt x="384" y="22"/>
                  </a:lnTo>
                  <a:lnTo>
                    <a:pt x="384" y="24"/>
                  </a:lnTo>
                  <a:close/>
                  <a:moveTo>
                    <a:pt x="422" y="24"/>
                  </a:moveTo>
                  <a:lnTo>
                    <a:pt x="420" y="24"/>
                  </a:lnTo>
                  <a:lnTo>
                    <a:pt x="420" y="22"/>
                  </a:lnTo>
                  <a:lnTo>
                    <a:pt x="422" y="22"/>
                  </a:lnTo>
                  <a:lnTo>
                    <a:pt x="422" y="24"/>
                  </a:lnTo>
                  <a:close/>
                  <a:moveTo>
                    <a:pt x="422" y="22"/>
                  </a:moveTo>
                  <a:lnTo>
                    <a:pt x="425" y="22"/>
                  </a:lnTo>
                  <a:lnTo>
                    <a:pt x="422" y="22"/>
                  </a:lnTo>
                  <a:close/>
                  <a:moveTo>
                    <a:pt x="429" y="22"/>
                  </a:moveTo>
                  <a:lnTo>
                    <a:pt x="432" y="22"/>
                  </a:lnTo>
                  <a:lnTo>
                    <a:pt x="429" y="22"/>
                  </a:lnTo>
                  <a:close/>
                  <a:moveTo>
                    <a:pt x="377" y="22"/>
                  </a:moveTo>
                  <a:lnTo>
                    <a:pt x="375" y="22"/>
                  </a:lnTo>
                  <a:lnTo>
                    <a:pt x="377" y="22"/>
                  </a:lnTo>
                  <a:lnTo>
                    <a:pt x="375" y="22"/>
                  </a:lnTo>
                  <a:lnTo>
                    <a:pt x="377" y="22"/>
                  </a:lnTo>
                  <a:close/>
                  <a:moveTo>
                    <a:pt x="384" y="22"/>
                  </a:moveTo>
                  <a:lnTo>
                    <a:pt x="382" y="22"/>
                  </a:lnTo>
                  <a:lnTo>
                    <a:pt x="384" y="22"/>
                  </a:lnTo>
                  <a:close/>
                  <a:moveTo>
                    <a:pt x="377" y="22"/>
                  </a:moveTo>
                  <a:lnTo>
                    <a:pt x="379" y="22"/>
                  </a:lnTo>
                  <a:lnTo>
                    <a:pt x="377" y="22"/>
                  </a:lnTo>
                  <a:close/>
                  <a:moveTo>
                    <a:pt x="391" y="19"/>
                  </a:moveTo>
                  <a:lnTo>
                    <a:pt x="389" y="22"/>
                  </a:lnTo>
                  <a:lnTo>
                    <a:pt x="389" y="19"/>
                  </a:lnTo>
                  <a:lnTo>
                    <a:pt x="391" y="19"/>
                  </a:lnTo>
                  <a:close/>
                  <a:moveTo>
                    <a:pt x="379" y="19"/>
                  </a:moveTo>
                  <a:lnTo>
                    <a:pt x="379" y="22"/>
                  </a:lnTo>
                  <a:lnTo>
                    <a:pt x="379" y="19"/>
                  </a:lnTo>
                  <a:close/>
                  <a:moveTo>
                    <a:pt x="432" y="19"/>
                  </a:moveTo>
                  <a:lnTo>
                    <a:pt x="429" y="19"/>
                  </a:lnTo>
                  <a:lnTo>
                    <a:pt x="432" y="19"/>
                  </a:lnTo>
                  <a:close/>
                  <a:moveTo>
                    <a:pt x="425" y="19"/>
                  </a:moveTo>
                  <a:lnTo>
                    <a:pt x="425" y="17"/>
                  </a:lnTo>
                  <a:lnTo>
                    <a:pt x="425" y="19"/>
                  </a:lnTo>
                  <a:close/>
                  <a:moveTo>
                    <a:pt x="375" y="19"/>
                  </a:moveTo>
                  <a:lnTo>
                    <a:pt x="372" y="19"/>
                  </a:lnTo>
                  <a:lnTo>
                    <a:pt x="372" y="17"/>
                  </a:lnTo>
                  <a:lnTo>
                    <a:pt x="372" y="19"/>
                  </a:lnTo>
                  <a:lnTo>
                    <a:pt x="375" y="19"/>
                  </a:lnTo>
                  <a:close/>
                  <a:moveTo>
                    <a:pt x="398" y="17"/>
                  </a:moveTo>
                  <a:lnTo>
                    <a:pt x="398" y="19"/>
                  </a:lnTo>
                  <a:lnTo>
                    <a:pt x="398" y="17"/>
                  </a:lnTo>
                  <a:lnTo>
                    <a:pt x="398" y="19"/>
                  </a:lnTo>
                  <a:lnTo>
                    <a:pt x="396" y="19"/>
                  </a:lnTo>
                  <a:lnTo>
                    <a:pt x="398" y="19"/>
                  </a:lnTo>
                  <a:lnTo>
                    <a:pt x="396" y="17"/>
                  </a:lnTo>
                  <a:lnTo>
                    <a:pt x="398" y="17"/>
                  </a:lnTo>
                  <a:lnTo>
                    <a:pt x="396" y="17"/>
                  </a:lnTo>
                  <a:lnTo>
                    <a:pt x="398" y="17"/>
                  </a:lnTo>
                  <a:close/>
                  <a:moveTo>
                    <a:pt x="396" y="17"/>
                  </a:moveTo>
                  <a:lnTo>
                    <a:pt x="396" y="19"/>
                  </a:lnTo>
                  <a:lnTo>
                    <a:pt x="396" y="17"/>
                  </a:lnTo>
                  <a:close/>
                  <a:moveTo>
                    <a:pt x="434" y="17"/>
                  </a:moveTo>
                  <a:lnTo>
                    <a:pt x="434" y="19"/>
                  </a:lnTo>
                  <a:lnTo>
                    <a:pt x="434" y="17"/>
                  </a:lnTo>
                  <a:close/>
                  <a:moveTo>
                    <a:pt x="434" y="19"/>
                  </a:moveTo>
                  <a:lnTo>
                    <a:pt x="434" y="17"/>
                  </a:lnTo>
                  <a:lnTo>
                    <a:pt x="434" y="19"/>
                  </a:lnTo>
                  <a:close/>
                  <a:moveTo>
                    <a:pt x="398" y="17"/>
                  </a:moveTo>
                  <a:lnTo>
                    <a:pt x="398" y="19"/>
                  </a:lnTo>
                  <a:lnTo>
                    <a:pt x="398" y="17"/>
                  </a:lnTo>
                  <a:close/>
                  <a:moveTo>
                    <a:pt x="379" y="17"/>
                  </a:moveTo>
                  <a:lnTo>
                    <a:pt x="379" y="19"/>
                  </a:lnTo>
                  <a:lnTo>
                    <a:pt x="379" y="17"/>
                  </a:lnTo>
                  <a:lnTo>
                    <a:pt x="377" y="17"/>
                  </a:lnTo>
                  <a:lnTo>
                    <a:pt x="379" y="17"/>
                  </a:lnTo>
                  <a:close/>
                  <a:moveTo>
                    <a:pt x="394" y="17"/>
                  </a:moveTo>
                  <a:lnTo>
                    <a:pt x="391" y="17"/>
                  </a:lnTo>
                  <a:lnTo>
                    <a:pt x="394" y="17"/>
                  </a:lnTo>
                  <a:close/>
                  <a:moveTo>
                    <a:pt x="387" y="17"/>
                  </a:moveTo>
                  <a:lnTo>
                    <a:pt x="384" y="17"/>
                  </a:lnTo>
                  <a:lnTo>
                    <a:pt x="387" y="17"/>
                  </a:lnTo>
                  <a:close/>
                  <a:moveTo>
                    <a:pt x="387" y="17"/>
                  </a:moveTo>
                  <a:lnTo>
                    <a:pt x="387" y="19"/>
                  </a:lnTo>
                  <a:lnTo>
                    <a:pt x="387" y="17"/>
                  </a:lnTo>
                  <a:close/>
                  <a:moveTo>
                    <a:pt x="384" y="19"/>
                  </a:moveTo>
                  <a:lnTo>
                    <a:pt x="384" y="17"/>
                  </a:lnTo>
                  <a:lnTo>
                    <a:pt x="384" y="19"/>
                  </a:lnTo>
                  <a:close/>
                  <a:moveTo>
                    <a:pt x="429" y="17"/>
                  </a:moveTo>
                  <a:lnTo>
                    <a:pt x="427" y="17"/>
                  </a:lnTo>
                  <a:lnTo>
                    <a:pt x="429" y="17"/>
                  </a:lnTo>
                  <a:close/>
                  <a:moveTo>
                    <a:pt x="434" y="17"/>
                  </a:moveTo>
                  <a:lnTo>
                    <a:pt x="432" y="17"/>
                  </a:lnTo>
                  <a:lnTo>
                    <a:pt x="434" y="17"/>
                  </a:lnTo>
                  <a:close/>
                  <a:moveTo>
                    <a:pt x="377" y="15"/>
                  </a:moveTo>
                  <a:lnTo>
                    <a:pt x="377" y="17"/>
                  </a:lnTo>
                  <a:lnTo>
                    <a:pt x="377" y="15"/>
                  </a:lnTo>
                  <a:lnTo>
                    <a:pt x="377" y="17"/>
                  </a:lnTo>
                  <a:lnTo>
                    <a:pt x="377" y="15"/>
                  </a:lnTo>
                  <a:close/>
                  <a:moveTo>
                    <a:pt x="391" y="17"/>
                  </a:moveTo>
                  <a:lnTo>
                    <a:pt x="391" y="15"/>
                  </a:lnTo>
                  <a:lnTo>
                    <a:pt x="391" y="17"/>
                  </a:lnTo>
                  <a:close/>
                  <a:moveTo>
                    <a:pt x="403" y="15"/>
                  </a:moveTo>
                  <a:lnTo>
                    <a:pt x="401" y="15"/>
                  </a:lnTo>
                  <a:lnTo>
                    <a:pt x="403" y="15"/>
                  </a:lnTo>
                  <a:lnTo>
                    <a:pt x="401" y="15"/>
                  </a:lnTo>
                  <a:lnTo>
                    <a:pt x="403" y="15"/>
                  </a:lnTo>
                  <a:close/>
                  <a:moveTo>
                    <a:pt x="394" y="15"/>
                  </a:moveTo>
                  <a:lnTo>
                    <a:pt x="396" y="15"/>
                  </a:lnTo>
                  <a:lnTo>
                    <a:pt x="394" y="15"/>
                  </a:lnTo>
                  <a:lnTo>
                    <a:pt x="396" y="17"/>
                  </a:lnTo>
                  <a:lnTo>
                    <a:pt x="396" y="19"/>
                  </a:lnTo>
                  <a:lnTo>
                    <a:pt x="394" y="17"/>
                  </a:lnTo>
                  <a:lnTo>
                    <a:pt x="394" y="19"/>
                  </a:lnTo>
                  <a:lnTo>
                    <a:pt x="394" y="17"/>
                  </a:lnTo>
                  <a:lnTo>
                    <a:pt x="391" y="17"/>
                  </a:lnTo>
                  <a:lnTo>
                    <a:pt x="394" y="17"/>
                  </a:lnTo>
                  <a:lnTo>
                    <a:pt x="391" y="17"/>
                  </a:lnTo>
                  <a:lnTo>
                    <a:pt x="391" y="15"/>
                  </a:lnTo>
                  <a:lnTo>
                    <a:pt x="394" y="15"/>
                  </a:lnTo>
                  <a:close/>
                  <a:moveTo>
                    <a:pt x="391" y="15"/>
                  </a:moveTo>
                  <a:lnTo>
                    <a:pt x="391" y="17"/>
                  </a:lnTo>
                  <a:lnTo>
                    <a:pt x="391" y="15"/>
                  </a:lnTo>
                  <a:close/>
                  <a:moveTo>
                    <a:pt x="413" y="15"/>
                  </a:moveTo>
                  <a:lnTo>
                    <a:pt x="413" y="17"/>
                  </a:lnTo>
                  <a:lnTo>
                    <a:pt x="413" y="15"/>
                  </a:lnTo>
                  <a:close/>
                  <a:moveTo>
                    <a:pt x="358" y="17"/>
                  </a:moveTo>
                  <a:lnTo>
                    <a:pt x="356" y="17"/>
                  </a:lnTo>
                  <a:lnTo>
                    <a:pt x="356" y="15"/>
                  </a:lnTo>
                  <a:lnTo>
                    <a:pt x="358" y="17"/>
                  </a:lnTo>
                  <a:close/>
                  <a:moveTo>
                    <a:pt x="401" y="15"/>
                  </a:moveTo>
                  <a:lnTo>
                    <a:pt x="403" y="15"/>
                  </a:lnTo>
                  <a:lnTo>
                    <a:pt x="401" y="15"/>
                  </a:lnTo>
                  <a:close/>
                  <a:moveTo>
                    <a:pt x="415" y="15"/>
                  </a:moveTo>
                  <a:lnTo>
                    <a:pt x="415" y="12"/>
                  </a:lnTo>
                  <a:lnTo>
                    <a:pt x="415" y="15"/>
                  </a:lnTo>
                  <a:close/>
                  <a:moveTo>
                    <a:pt x="422" y="12"/>
                  </a:moveTo>
                  <a:lnTo>
                    <a:pt x="422" y="15"/>
                  </a:lnTo>
                  <a:lnTo>
                    <a:pt x="422" y="17"/>
                  </a:lnTo>
                  <a:lnTo>
                    <a:pt x="420" y="17"/>
                  </a:lnTo>
                  <a:lnTo>
                    <a:pt x="420" y="15"/>
                  </a:lnTo>
                  <a:lnTo>
                    <a:pt x="417" y="15"/>
                  </a:lnTo>
                  <a:lnTo>
                    <a:pt x="420" y="15"/>
                  </a:lnTo>
                  <a:lnTo>
                    <a:pt x="417" y="15"/>
                  </a:lnTo>
                  <a:lnTo>
                    <a:pt x="420" y="15"/>
                  </a:lnTo>
                  <a:lnTo>
                    <a:pt x="420" y="12"/>
                  </a:lnTo>
                  <a:lnTo>
                    <a:pt x="420" y="15"/>
                  </a:lnTo>
                  <a:lnTo>
                    <a:pt x="420" y="12"/>
                  </a:lnTo>
                  <a:lnTo>
                    <a:pt x="420" y="15"/>
                  </a:lnTo>
                  <a:lnTo>
                    <a:pt x="422" y="15"/>
                  </a:lnTo>
                  <a:lnTo>
                    <a:pt x="422" y="12"/>
                  </a:lnTo>
                  <a:lnTo>
                    <a:pt x="422" y="15"/>
                  </a:lnTo>
                  <a:lnTo>
                    <a:pt x="422" y="12"/>
                  </a:lnTo>
                  <a:close/>
                  <a:moveTo>
                    <a:pt x="410" y="12"/>
                  </a:moveTo>
                  <a:lnTo>
                    <a:pt x="410" y="15"/>
                  </a:lnTo>
                  <a:lnTo>
                    <a:pt x="410" y="12"/>
                  </a:lnTo>
                  <a:close/>
                  <a:moveTo>
                    <a:pt x="425" y="12"/>
                  </a:moveTo>
                  <a:lnTo>
                    <a:pt x="425" y="15"/>
                  </a:lnTo>
                  <a:lnTo>
                    <a:pt x="422" y="15"/>
                  </a:lnTo>
                  <a:lnTo>
                    <a:pt x="425" y="12"/>
                  </a:lnTo>
                  <a:lnTo>
                    <a:pt x="422" y="12"/>
                  </a:lnTo>
                  <a:lnTo>
                    <a:pt x="425" y="12"/>
                  </a:lnTo>
                  <a:close/>
                  <a:moveTo>
                    <a:pt x="427" y="12"/>
                  </a:moveTo>
                  <a:lnTo>
                    <a:pt x="425" y="12"/>
                  </a:lnTo>
                  <a:lnTo>
                    <a:pt x="427" y="12"/>
                  </a:lnTo>
                  <a:close/>
                  <a:moveTo>
                    <a:pt x="406" y="12"/>
                  </a:moveTo>
                  <a:lnTo>
                    <a:pt x="406" y="15"/>
                  </a:lnTo>
                  <a:lnTo>
                    <a:pt x="403" y="15"/>
                  </a:lnTo>
                  <a:lnTo>
                    <a:pt x="406" y="15"/>
                  </a:lnTo>
                  <a:lnTo>
                    <a:pt x="408" y="15"/>
                  </a:lnTo>
                  <a:lnTo>
                    <a:pt x="406" y="15"/>
                  </a:lnTo>
                  <a:lnTo>
                    <a:pt x="406" y="17"/>
                  </a:lnTo>
                  <a:lnTo>
                    <a:pt x="406" y="15"/>
                  </a:lnTo>
                  <a:lnTo>
                    <a:pt x="403" y="15"/>
                  </a:lnTo>
                  <a:lnTo>
                    <a:pt x="403" y="12"/>
                  </a:lnTo>
                  <a:lnTo>
                    <a:pt x="406" y="15"/>
                  </a:lnTo>
                  <a:lnTo>
                    <a:pt x="406" y="12"/>
                  </a:lnTo>
                  <a:lnTo>
                    <a:pt x="403" y="12"/>
                  </a:lnTo>
                  <a:lnTo>
                    <a:pt x="406" y="12"/>
                  </a:lnTo>
                  <a:close/>
                  <a:moveTo>
                    <a:pt x="389" y="12"/>
                  </a:moveTo>
                  <a:lnTo>
                    <a:pt x="389" y="15"/>
                  </a:lnTo>
                  <a:lnTo>
                    <a:pt x="391" y="17"/>
                  </a:lnTo>
                  <a:lnTo>
                    <a:pt x="389" y="17"/>
                  </a:lnTo>
                  <a:lnTo>
                    <a:pt x="387" y="15"/>
                  </a:lnTo>
                  <a:lnTo>
                    <a:pt x="389" y="15"/>
                  </a:lnTo>
                  <a:lnTo>
                    <a:pt x="387" y="15"/>
                  </a:lnTo>
                  <a:lnTo>
                    <a:pt x="389" y="15"/>
                  </a:lnTo>
                  <a:lnTo>
                    <a:pt x="387" y="15"/>
                  </a:lnTo>
                  <a:lnTo>
                    <a:pt x="387" y="12"/>
                  </a:lnTo>
                  <a:lnTo>
                    <a:pt x="389" y="12"/>
                  </a:lnTo>
                  <a:close/>
                  <a:moveTo>
                    <a:pt x="391" y="12"/>
                  </a:moveTo>
                  <a:lnTo>
                    <a:pt x="389" y="12"/>
                  </a:lnTo>
                  <a:lnTo>
                    <a:pt x="391" y="12"/>
                  </a:lnTo>
                  <a:close/>
                  <a:moveTo>
                    <a:pt x="413" y="12"/>
                  </a:moveTo>
                  <a:lnTo>
                    <a:pt x="410" y="12"/>
                  </a:lnTo>
                  <a:lnTo>
                    <a:pt x="413" y="12"/>
                  </a:lnTo>
                  <a:close/>
                  <a:moveTo>
                    <a:pt x="429" y="12"/>
                  </a:moveTo>
                  <a:lnTo>
                    <a:pt x="427" y="12"/>
                  </a:lnTo>
                  <a:lnTo>
                    <a:pt x="429" y="12"/>
                  </a:lnTo>
                  <a:close/>
                  <a:moveTo>
                    <a:pt x="403" y="12"/>
                  </a:moveTo>
                  <a:lnTo>
                    <a:pt x="403" y="10"/>
                  </a:lnTo>
                  <a:lnTo>
                    <a:pt x="406" y="12"/>
                  </a:lnTo>
                  <a:lnTo>
                    <a:pt x="403" y="12"/>
                  </a:lnTo>
                  <a:close/>
                  <a:moveTo>
                    <a:pt x="413" y="12"/>
                  </a:moveTo>
                  <a:lnTo>
                    <a:pt x="413" y="10"/>
                  </a:lnTo>
                  <a:lnTo>
                    <a:pt x="413" y="12"/>
                  </a:lnTo>
                  <a:close/>
                  <a:moveTo>
                    <a:pt x="377" y="12"/>
                  </a:moveTo>
                  <a:lnTo>
                    <a:pt x="377" y="10"/>
                  </a:lnTo>
                  <a:lnTo>
                    <a:pt x="377" y="12"/>
                  </a:lnTo>
                  <a:close/>
                  <a:moveTo>
                    <a:pt x="410" y="10"/>
                  </a:moveTo>
                  <a:lnTo>
                    <a:pt x="410" y="12"/>
                  </a:lnTo>
                  <a:lnTo>
                    <a:pt x="410" y="10"/>
                  </a:lnTo>
                  <a:lnTo>
                    <a:pt x="410" y="12"/>
                  </a:lnTo>
                  <a:lnTo>
                    <a:pt x="410" y="10"/>
                  </a:lnTo>
                  <a:close/>
                  <a:moveTo>
                    <a:pt x="434" y="10"/>
                  </a:moveTo>
                  <a:lnTo>
                    <a:pt x="434" y="12"/>
                  </a:lnTo>
                  <a:lnTo>
                    <a:pt x="432" y="12"/>
                  </a:lnTo>
                  <a:lnTo>
                    <a:pt x="432" y="10"/>
                  </a:lnTo>
                  <a:lnTo>
                    <a:pt x="434" y="10"/>
                  </a:lnTo>
                  <a:close/>
                  <a:moveTo>
                    <a:pt x="432" y="10"/>
                  </a:moveTo>
                  <a:lnTo>
                    <a:pt x="434" y="10"/>
                  </a:lnTo>
                  <a:lnTo>
                    <a:pt x="432" y="10"/>
                  </a:lnTo>
                  <a:close/>
                  <a:moveTo>
                    <a:pt x="389" y="12"/>
                  </a:moveTo>
                  <a:lnTo>
                    <a:pt x="389" y="10"/>
                  </a:lnTo>
                  <a:lnTo>
                    <a:pt x="387" y="10"/>
                  </a:lnTo>
                  <a:lnTo>
                    <a:pt x="389" y="10"/>
                  </a:lnTo>
                  <a:lnTo>
                    <a:pt x="389" y="12"/>
                  </a:lnTo>
                  <a:close/>
                  <a:moveTo>
                    <a:pt x="413" y="10"/>
                  </a:moveTo>
                  <a:lnTo>
                    <a:pt x="410" y="10"/>
                  </a:lnTo>
                  <a:lnTo>
                    <a:pt x="413" y="10"/>
                  </a:lnTo>
                  <a:close/>
                  <a:moveTo>
                    <a:pt x="379" y="10"/>
                  </a:moveTo>
                  <a:lnTo>
                    <a:pt x="379" y="12"/>
                  </a:lnTo>
                  <a:lnTo>
                    <a:pt x="379" y="10"/>
                  </a:lnTo>
                  <a:close/>
                  <a:moveTo>
                    <a:pt x="389" y="7"/>
                  </a:moveTo>
                  <a:lnTo>
                    <a:pt x="387" y="7"/>
                  </a:lnTo>
                  <a:lnTo>
                    <a:pt x="389" y="7"/>
                  </a:lnTo>
                  <a:close/>
                  <a:moveTo>
                    <a:pt x="432" y="0"/>
                  </a:moveTo>
                  <a:lnTo>
                    <a:pt x="429" y="0"/>
                  </a:lnTo>
                  <a:lnTo>
                    <a:pt x="43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1" name="Freeform 57121"/>
            <p:cNvSpPr>
              <a:spLocks noEditPoints="1"/>
            </p:cNvSpPr>
            <p:nvPr/>
          </p:nvSpPr>
          <p:spPr bwMode="auto">
            <a:xfrm>
              <a:off x="2601910" y="3335350"/>
              <a:ext cx="685800" cy="936628"/>
            </a:xfrm>
            <a:custGeom>
              <a:avLst/>
              <a:gdLst>
                <a:gd name="T0" fmla="*/ 123 w 432"/>
                <a:gd name="T1" fmla="*/ 554 h 590"/>
                <a:gd name="T2" fmla="*/ 178 w 432"/>
                <a:gd name="T3" fmla="*/ 523 h 590"/>
                <a:gd name="T4" fmla="*/ 185 w 432"/>
                <a:gd name="T5" fmla="*/ 509 h 590"/>
                <a:gd name="T6" fmla="*/ 187 w 432"/>
                <a:gd name="T7" fmla="*/ 495 h 590"/>
                <a:gd name="T8" fmla="*/ 187 w 432"/>
                <a:gd name="T9" fmla="*/ 483 h 590"/>
                <a:gd name="T10" fmla="*/ 31 w 432"/>
                <a:gd name="T11" fmla="*/ 478 h 590"/>
                <a:gd name="T12" fmla="*/ 258 w 432"/>
                <a:gd name="T13" fmla="*/ 473 h 590"/>
                <a:gd name="T14" fmla="*/ 185 w 432"/>
                <a:gd name="T15" fmla="*/ 466 h 590"/>
                <a:gd name="T16" fmla="*/ 192 w 432"/>
                <a:gd name="T17" fmla="*/ 464 h 590"/>
                <a:gd name="T18" fmla="*/ 16 w 432"/>
                <a:gd name="T19" fmla="*/ 461 h 590"/>
                <a:gd name="T20" fmla="*/ 26 w 432"/>
                <a:gd name="T21" fmla="*/ 457 h 590"/>
                <a:gd name="T22" fmla="*/ 197 w 432"/>
                <a:gd name="T23" fmla="*/ 449 h 590"/>
                <a:gd name="T24" fmla="*/ 199 w 432"/>
                <a:gd name="T25" fmla="*/ 445 h 590"/>
                <a:gd name="T26" fmla="*/ 202 w 432"/>
                <a:gd name="T27" fmla="*/ 445 h 590"/>
                <a:gd name="T28" fmla="*/ 14 w 432"/>
                <a:gd name="T29" fmla="*/ 442 h 590"/>
                <a:gd name="T30" fmla="*/ 197 w 432"/>
                <a:gd name="T31" fmla="*/ 438 h 590"/>
                <a:gd name="T32" fmla="*/ 9 w 432"/>
                <a:gd name="T33" fmla="*/ 433 h 590"/>
                <a:gd name="T34" fmla="*/ 197 w 432"/>
                <a:gd name="T35" fmla="*/ 430 h 590"/>
                <a:gd name="T36" fmla="*/ 7 w 432"/>
                <a:gd name="T37" fmla="*/ 428 h 590"/>
                <a:gd name="T38" fmla="*/ 206 w 432"/>
                <a:gd name="T39" fmla="*/ 421 h 590"/>
                <a:gd name="T40" fmla="*/ 218 w 432"/>
                <a:gd name="T41" fmla="*/ 419 h 590"/>
                <a:gd name="T42" fmla="*/ 7 w 432"/>
                <a:gd name="T43" fmla="*/ 416 h 590"/>
                <a:gd name="T44" fmla="*/ 237 w 432"/>
                <a:gd name="T45" fmla="*/ 411 h 590"/>
                <a:gd name="T46" fmla="*/ 223 w 432"/>
                <a:gd name="T47" fmla="*/ 409 h 590"/>
                <a:gd name="T48" fmla="*/ 235 w 432"/>
                <a:gd name="T49" fmla="*/ 404 h 590"/>
                <a:gd name="T50" fmla="*/ 258 w 432"/>
                <a:gd name="T51" fmla="*/ 397 h 590"/>
                <a:gd name="T52" fmla="*/ 258 w 432"/>
                <a:gd name="T53" fmla="*/ 395 h 590"/>
                <a:gd name="T54" fmla="*/ 261 w 432"/>
                <a:gd name="T55" fmla="*/ 388 h 590"/>
                <a:gd name="T56" fmla="*/ 244 w 432"/>
                <a:gd name="T57" fmla="*/ 385 h 590"/>
                <a:gd name="T58" fmla="*/ 251 w 432"/>
                <a:gd name="T59" fmla="*/ 383 h 590"/>
                <a:gd name="T60" fmla="*/ 273 w 432"/>
                <a:gd name="T61" fmla="*/ 381 h 590"/>
                <a:gd name="T62" fmla="*/ 275 w 432"/>
                <a:gd name="T63" fmla="*/ 378 h 590"/>
                <a:gd name="T64" fmla="*/ 282 w 432"/>
                <a:gd name="T65" fmla="*/ 378 h 590"/>
                <a:gd name="T66" fmla="*/ 256 w 432"/>
                <a:gd name="T67" fmla="*/ 371 h 590"/>
                <a:gd name="T68" fmla="*/ 277 w 432"/>
                <a:gd name="T69" fmla="*/ 369 h 590"/>
                <a:gd name="T70" fmla="*/ 268 w 432"/>
                <a:gd name="T71" fmla="*/ 362 h 590"/>
                <a:gd name="T72" fmla="*/ 249 w 432"/>
                <a:gd name="T73" fmla="*/ 343 h 590"/>
                <a:gd name="T74" fmla="*/ 251 w 432"/>
                <a:gd name="T75" fmla="*/ 340 h 590"/>
                <a:gd name="T76" fmla="*/ 251 w 432"/>
                <a:gd name="T77" fmla="*/ 331 h 590"/>
                <a:gd name="T78" fmla="*/ 235 w 432"/>
                <a:gd name="T79" fmla="*/ 328 h 590"/>
                <a:gd name="T80" fmla="*/ 232 w 432"/>
                <a:gd name="T81" fmla="*/ 326 h 590"/>
                <a:gd name="T82" fmla="*/ 218 w 432"/>
                <a:gd name="T83" fmla="*/ 319 h 590"/>
                <a:gd name="T84" fmla="*/ 206 w 432"/>
                <a:gd name="T85" fmla="*/ 300 h 590"/>
                <a:gd name="T86" fmla="*/ 204 w 432"/>
                <a:gd name="T87" fmla="*/ 283 h 590"/>
                <a:gd name="T88" fmla="*/ 204 w 432"/>
                <a:gd name="T89" fmla="*/ 267 h 590"/>
                <a:gd name="T90" fmla="*/ 225 w 432"/>
                <a:gd name="T91" fmla="*/ 219 h 590"/>
                <a:gd name="T92" fmla="*/ 223 w 432"/>
                <a:gd name="T93" fmla="*/ 186 h 590"/>
                <a:gd name="T94" fmla="*/ 263 w 432"/>
                <a:gd name="T95" fmla="*/ 179 h 590"/>
                <a:gd name="T96" fmla="*/ 280 w 432"/>
                <a:gd name="T97" fmla="*/ 167 h 590"/>
                <a:gd name="T98" fmla="*/ 292 w 432"/>
                <a:gd name="T99" fmla="*/ 162 h 590"/>
                <a:gd name="T100" fmla="*/ 325 w 432"/>
                <a:gd name="T101" fmla="*/ 153 h 590"/>
                <a:gd name="T102" fmla="*/ 315 w 432"/>
                <a:gd name="T103" fmla="*/ 148 h 590"/>
                <a:gd name="T104" fmla="*/ 327 w 432"/>
                <a:gd name="T105" fmla="*/ 131 h 590"/>
                <a:gd name="T106" fmla="*/ 342 w 432"/>
                <a:gd name="T107" fmla="*/ 93 h 590"/>
                <a:gd name="T108" fmla="*/ 351 w 432"/>
                <a:gd name="T109" fmla="*/ 67 h 590"/>
                <a:gd name="T110" fmla="*/ 363 w 432"/>
                <a:gd name="T111" fmla="*/ 60 h 590"/>
                <a:gd name="T112" fmla="*/ 375 w 432"/>
                <a:gd name="T113" fmla="*/ 53 h 590"/>
                <a:gd name="T114" fmla="*/ 398 w 432"/>
                <a:gd name="T115" fmla="*/ 43 h 590"/>
                <a:gd name="T116" fmla="*/ 394 w 432"/>
                <a:gd name="T117" fmla="*/ 41 h 590"/>
                <a:gd name="T118" fmla="*/ 415 w 432"/>
                <a:gd name="T119" fmla="*/ 39 h 590"/>
                <a:gd name="T120" fmla="*/ 387 w 432"/>
                <a:gd name="T121" fmla="*/ 39 h 590"/>
                <a:gd name="T122" fmla="*/ 429 w 432"/>
                <a:gd name="T123" fmla="*/ 34 h 590"/>
                <a:gd name="T124" fmla="*/ 377 w 432"/>
                <a:gd name="T125" fmla="*/ 31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2" h="590">
                  <a:moveTo>
                    <a:pt x="64" y="587"/>
                  </a:moveTo>
                  <a:lnTo>
                    <a:pt x="64" y="590"/>
                  </a:lnTo>
                  <a:lnTo>
                    <a:pt x="64" y="587"/>
                  </a:lnTo>
                  <a:close/>
                  <a:moveTo>
                    <a:pt x="64" y="587"/>
                  </a:moveTo>
                  <a:lnTo>
                    <a:pt x="64" y="590"/>
                  </a:lnTo>
                  <a:lnTo>
                    <a:pt x="64" y="587"/>
                  </a:lnTo>
                  <a:close/>
                  <a:moveTo>
                    <a:pt x="118" y="561"/>
                  </a:moveTo>
                  <a:lnTo>
                    <a:pt x="118" y="559"/>
                  </a:lnTo>
                  <a:lnTo>
                    <a:pt x="118" y="561"/>
                  </a:lnTo>
                  <a:close/>
                  <a:moveTo>
                    <a:pt x="116" y="559"/>
                  </a:moveTo>
                  <a:lnTo>
                    <a:pt x="118" y="559"/>
                  </a:lnTo>
                  <a:lnTo>
                    <a:pt x="116" y="559"/>
                  </a:lnTo>
                  <a:close/>
                  <a:moveTo>
                    <a:pt x="159" y="556"/>
                  </a:moveTo>
                  <a:lnTo>
                    <a:pt x="156" y="559"/>
                  </a:lnTo>
                  <a:lnTo>
                    <a:pt x="156" y="556"/>
                  </a:lnTo>
                  <a:lnTo>
                    <a:pt x="159" y="556"/>
                  </a:lnTo>
                  <a:close/>
                  <a:moveTo>
                    <a:pt x="147" y="554"/>
                  </a:moveTo>
                  <a:lnTo>
                    <a:pt x="147" y="556"/>
                  </a:lnTo>
                  <a:lnTo>
                    <a:pt x="147" y="554"/>
                  </a:lnTo>
                  <a:close/>
                  <a:moveTo>
                    <a:pt x="147" y="554"/>
                  </a:moveTo>
                  <a:lnTo>
                    <a:pt x="145" y="554"/>
                  </a:lnTo>
                  <a:lnTo>
                    <a:pt x="147" y="554"/>
                  </a:lnTo>
                  <a:close/>
                  <a:moveTo>
                    <a:pt x="137" y="554"/>
                  </a:moveTo>
                  <a:lnTo>
                    <a:pt x="135" y="554"/>
                  </a:lnTo>
                  <a:lnTo>
                    <a:pt x="137" y="554"/>
                  </a:lnTo>
                  <a:close/>
                  <a:moveTo>
                    <a:pt x="149" y="554"/>
                  </a:moveTo>
                  <a:lnTo>
                    <a:pt x="149" y="552"/>
                  </a:lnTo>
                  <a:lnTo>
                    <a:pt x="149" y="554"/>
                  </a:lnTo>
                  <a:close/>
                  <a:moveTo>
                    <a:pt x="123" y="554"/>
                  </a:moveTo>
                  <a:lnTo>
                    <a:pt x="123" y="552"/>
                  </a:lnTo>
                  <a:lnTo>
                    <a:pt x="123" y="554"/>
                  </a:lnTo>
                  <a:close/>
                  <a:moveTo>
                    <a:pt x="133" y="552"/>
                  </a:moveTo>
                  <a:lnTo>
                    <a:pt x="133" y="554"/>
                  </a:lnTo>
                  <a:lnTo>
                    <a:pt x="133" y="552"/>
                  </a:lnTo>
                  <a:close/>
                  <a:moveTo>
                    <a:pt x="140" y="554"/>
                  </a:moveTo>
                  <a:lnTo>
                    <a:pt x="140" y="552"/>
                  </a:lnTo>
                  <a:lnTo>
                    <a:pt x="140" y="554"/>
                  </a:lnTo>
                  <a:close/>
                  <a:moveTo>
                    <a:pt x="142" y="552"/>
                  </a:moveTo>
                  <a:lnTo>
                    <a:pt x="142" y="554"/>
                  </a:lnTo>
                  <a:lnTo>
                    <a:pt x="142" y="552"/>
                  </a:lnTo>
                  <a:lnTo>
                    <a:pt x="142" y="554"/>
                  </a:lnTo>
                  <a:lnTo>
                    <a:pt x="142" y="552"/>
                  </a:lnTo>
                  <a:close/>
                  <a:moveTo>
                    <a:pt x="154" y="552"/>
                  </a:moveTo>
                  <a:lnTo>
                    <a:pt x="152" y="552"/>
                  </a:lnTo>
                  <a:lnTo>
                    <a:pt x="154" y="552"/>
                  </a:lnTo>
                  <a:close/>
                  <a:moveTo>
                    <a:pt x="147" y="552"/>
                  </a:moveTo>
                  <a:lnTo>
                    <a:pt x="145" y="552"/>
                  </a:lnTo>
                  <a:lnTo>
                    <a:pt x="147" y="552"/>
                  </a:lnTo>
                  <a:close/>
                  <a:moveTo>
                    <a:pt x="168" y="547"/>
                  </a:moveTo>
                  <a:lnTo>
                    <a:pt x="166" y="547"/>
                  </a:lnTo>
                  <a:lnTo>
                    <a:pt x="168" y="547"/>
                  </a:lnTo>
                  <a:close/>
                  <a:moveTo>
                    <a:pt x="168" y="547"/>
                  </a:moveTo>
                  <a:lnTo>
                    <a:pt x="166" y="547"/>
                  </a:lnTo>
                  <a:lnTo>
                    <a:pt x="168" y="547"/>
                  </a:lnTo>
                  <a:close/>
                  <a:moveTo>
                    <a:pt x="171" y="537"/>
                  </a:moveTo>
                  <a:lnTo>
                    <a:pt x="171" y="535"/>
                  </a:lnTo>
                  <a:lnTo>
                    <a:pt x="171" y="537"/>
                  </a:lnTo>
                  <a:close/>
                  <a:moveTo>
                    <a:pt x="171" y="535"/>
                  </a:moveTo>
                  <a:lnTo>
                    <a:pt x="171" y="537"/>
                  </a:lnTo>
                  <a:lnTo>
                    <a:pt x="171" y="535"/>
                  </a:lnTo>
                  <a:close/>
                  <a:moveTo>
                    <a:pt x="178" y="521"/>
                  </a:moveTo>
                  <a:lnTo>
                    <a:pt x="178" y="523"/>
                  </a:lnTo>
                  <a:lnTo>
                    <a:pt x="178" y="521"/>
                  </a:lnTo>
                  <a:close/>
                  <a:moveTo>
                    <a:pt x="178" y="521"/>
                  </a:moveTo>
                  <a:lnTo>
                    <a:pt x="178" y="523"/>
                  </a:lnTo>
                  <a:lnTo>
                    <a:pt x="178" y="521"/>
                  </a:lnTo>
                  <a:close/>
                  <a:moveTo>
                    <a:pt x="180" y="518"/>
                  </a:moveTo>
                  <a:lnTo>
                    <a:pt x="180" y="521"/>
                  </a:lnTo>
                  <a:lnTo>
                    <a:pt x="180" y="518"/>
                  </a:lnTo>
                  <a:close/>
                  <a:moveTo>
                    <a:pt x="180" y="518"/>
                  </a:moveTo>
                  <a:lnTo>
                    <a:pt x="180" y="521"/>
                  </a:lnTo>
                  <a:lnTo>
                    <a:pt x="180" y="518"/>
                  </a:lnTo>
                  <a:close/>
                  <a:moveTo>
                    <a:pt x="183" y="518"/>
                  </a:moveTo>
                  <a:lnTo>
                    <a:pt x="180" y="518"/>
                  </a:lnTo>
                  <a:lnTo>
                    <a:pt x="183" y="518"/>
                  </a:lnTo>
                  <a:close/>
                  <a:moveTo>
                    <a:pt x="183" y="514"/>
                  </a:moveTo>
                  <a:lnTo>
                    <a:pt x="180" y="514"/>
                  </a:lnTo>
                  <a:lnTo>
                    <a:pt x="183" y="514"/>
                  </a:lnTo>
                  <a:close/>
                  <a:moveTo>
                    <a:pt x="197" y="511"/>
                  </a:moveTo>
                  <a:lnTo>
                    <a:pt x="194" y="511"/>
                  </a:lnTo>
                  <a:lnTo>
                    <a:pt x="197" y="511"/>
                  </a:lnTo>
                  <a:close/>
                  <a:moveTo>
                    <a:pt x="183" y="511"/>
                  </a:moveTo>
                  <a:lnTo>
                    <a:pt x="180" y="511"/>
                  </a:lnTo>
                  <a:lnTo>
                    <a:pt x="183" y="511"/>
                  </a:lnTo>
                  <a:close/>
                  <a:moveTo>
                    <a:pt x="183" y="509"/>
                  </a:moveTo>
                  <a:lnTo>
                    <a:pt x="180" y="509"/>
                  </a:lnTo>
                  <a:lnTo>
                    <a:pt x="183" y="509"/>
                  </a:lnTo>
                  <a:close/>
                  <a:moveTo>
                    <a:pt x="185" y="509"/>
                  </a:moveTo>
                  <a:lnTo>
                    <a:pt x="183" y="509"/>
                  </a:lnTo>
                  <a:lnTo>
                    <a:pt x="185" y="509"/>
                  </a:lnTo>
                  <a:close/>
                  <a:moveTo>
                    <a:pt x="185" y="509"/>
                  </a:moveTo>
                  <a:lnTo>
                    <a:pt x="183" y="509"/>
                  </a:lnTo>
                  <a:lnTo>
                    <a:pt x="185" y="509"/>
                  </a:lnTo>
                  <a:close/>
                  <a:moveTo>
                    <a:pt x="185" y="509"/>
                  </a:moveTo>
                  <a:lnTo>
                    <a:pt x="183" y="507"/>
                  </a:lnTo>
                  <a:lnTo>
                    <a:pt x="185" y="507"/>
                  </a:lnTo>
                  <a:lnTo>
                    <a:pt x="185" y="509"/>
                  </a:lnTo>
                  <a:close/>
                  <a:moveTo>
                    <a:pt x="185" y="509"/>
                  </a:moveTo>
                  <a:lnTo>
                    <a:pt x="185" y="507"/>
                  </a:lnTo>
                  <a:lnTo>
                    <a:pt x="185" y="509"/>
                  </a:lnTo>
                  <a:close/>
                  <a:moveTo>
                    <a:pt x="185" y="507"/>
                  </a:moveTo>
                  <a:lnTo>
                    <a:pt x="183" y="507"/>
                  </a:lnTo>
                  <a:lnTo>
                    <a:pt x="185" y="507"/>
                  </a:lnTo>
                  <a:close/>
                  <a:moveTo>
                    <a:pt x="183" y="507"/>
                  </a:moveTo>
                  <a:lnTo>
                    <a:pt x="185" y="507"/>
                  </a:lnTo>
                  <a:lnTo>
                    <a:pt x="183" y="507"/>
                  </a:lnTo>
                  <a:close/>
                  <a:moveTo>
                    <a:pt x="185" y="507"/>
                  </a:moveTo>
                  <a:lnTo>
                    <a:pt x="185" y="504"/>
                  </a:lnTo>
                  <a:lnTo>
                    <a:pt x="185" y="507"/>
                  </a:lnTo>
                  <a:close/>
                  <a:moveTo>
                    <a:pt x="187" y="504"/>
                  </a:moveTo>
                  <a:lnTo>
                    <a:pt x="185" y="504"/>
                  </a:lnTo>
                  <a:lnTo>
                    <a:pt x="187" y="504"/>
                  </a:lnTo>
                  <a:close/>
                  <a:moveTo>
                    <a:pt x="183" y="499"/>
                  </a:moveTo>
                  <a:lnTo>
                    <a:pt x="180" y="499"/>
                  </a:lnTo>
                  <a:lnTo>
                    <a:pt x="183" y="499"/>
                  </a:lnTo>
                  <a:close/>
                  <a:moveTo>
                    <a:pt x="38" y="499"/>
                  </a:moveTo>
                  <a:lnTo>
                    <a:pt x="35" y="499"/>
                  </a:lnTo>
                  <a:lnTo>
                    <a:pt x="35" y="497"/>
                  </a:lnTo>
                  <a:lnTo>
                    <a:pt x="38" y="497"/>
                  </a:lnTo>
                  <a:lnTo>
                    <a:pt x="38" y="499"/>
                  </a:lnTo>
                  <a:close/>
                  <a:moveTo>
                    <a:pt x="183" y="497"/>
                  </a:moveTo>
                  <a:lnTo>
                    <a:pt x="183" y="499"/>
                  </a:lnTo>
                  <a:lnTo>
                    <a:pt x="183" y="497"/>
                  </a:lnTo>
                  <a:close/>
                  <a:moveTo>
                    <a:pt x="187" y="495"/>
                  </a:moveTo>
                  <a:lnTo>
                    <a:pt x="185" y="495"/>
                  </a:lnTo>
                  <a:lnTo>
                    <a:pt x="187" y="495"/>
                  </a:lnTo>
                  <a:close/>
                  <a:moveTo>
                    <a:pt x="38" y="495"/>
                  </a:moveTo>
                  <a:lnTo>
                    <a:pt x="35" y="495"/>
                  </a:lnTo>
                  <a:lnTo>
                    <a:pt x="38" y="495"/>
                  </a:lnTo>
                  <a:close/>
                  <a:moveTo>
                    <a:pt x="38" y="495"/>
                  </a:moveTo>
                  <a:lnTo>
                    <a:pt x="38" y="492"/>
                  </a:lnTo>
                  <a:lnTo>
                    <a:pt x="38" y="495"/>
                  </a:lnTo>
                  <a:close/>
                  <a:moveTo>
                    <a:pt x="38" y="492"/>
                  </a:moveTo>
                  <a:lnTo>
                    <a:pt x="38" y="495"/>
                  </a:lnTo>
                  <a:lnTo>
                    <a:pt x="38" y="492"/>
                  </a:lnTo>
                  <a:lnTo>
                    <a:pt x="35" y="492"/>
                  </a:lnTo>
                  <a:lnTo>
                    <a:pt x="38" y="492"/>
                  </a:lnTo>
                  <a:close/>
                  <a:moveTo>
                    <a:pt x="35" y="492"/>
                  </a:moveTo>
                  <a:lnTo>
                    <a:pt x="35" y="490"/>
                  </a:lnTo>
                  <a:lnTo>
                    <a:pt x="35" y="492"/>
                  </a:lnTo>
                  <a:close/>
                  <a:moveTo>
                    <a:pt x="237" y="488"/>
                  </a:moveTo>
                  <a:lnTo>
                    <a:pt x="237" y="490"/>
                  </a:lnTo>
                  <a:lnTo>
                    <a:pt x="237" y="488"/>
                  </a:lnTo>
                  <a:close/>
                  <a:moveTo>
                    <a:pt x="31" y="485"/>
                  </a:moveTo>
                  <a:lnTo>
                    <a:pt x="31" y="483"/>
                  </a:lnTo>
                  <a:lnTo>
                    <a:pt x="31" y="485"/>
                  </a:lnTo>
                  <a:close/>
                  <a:moveTo>
                    <a:pt x="190" y="483"/>
                  </a:moveTo>
                  <a:lnTo>
                    <a:pt x="190" y="485"/>
                  </a:lnTo>
                  <a:lnTo>
                    <a:pt x="190" y="483"/>
                  </a:lnTo>
                  <a:close/>
                  <a:moveTo>
                    <a:pt x="190" y="483"/>
                  </a:moveTo>
                  <a:lnTo>
                    <a:pt x="187" y="485"/>
                  </a:lnTo>
                  <a:lnTo>
                    <a:pt x="187" y="483"/>
                  </a:lnTo>
                  <a:lnTo>
                    <a:pt x="190" y="483"/>
                  </a:lnTo>
                  <a:close/>
                  <a:moveTo>
                    <a:pt x="190" y="483"/>
                  </a:moveTo>
                  <a:lnTo>
                    <a:pt x="187" y="483"/>
                  </a:lnTo>
                  <a:lnTo>
                    <a:pt x="190" y="483"/>
                  </a:lnTo>
                  <a:close/>
                  <a:moveTo>
                    <a:pt x="190" y="483"/>
                  </a:moveTo>
                  <a:lnTo>
                    <a:pt x="190" y="485"/>
                  </a:lnTo>
                  <a:lnTo>
                    <a:pt x="190" y="483"/>
                  </a:lnTo>
                  <a:close/>
                  <a:moveTo>
                    <a:pt x="190" y="483"/>
                  </a:moveTo>
                  <a:lnTo>
                    <a:pt x="187" y="483"/>
                  </a:lnTo>
                  <a:lnTo>
                    <a:pt x="190" y="483"/>
                  </a:lnTo>
                  <a:close/>
                  <a:moveTo>
                    <a:pt x="31" y="483"/>
                  </a:moveTo>
                  <a:lnTo>
                    <a:pt x="31" y="480"/>
                  </a:lnTo>
                  <a:lnTo>
                    <a:pt x="31" y="483"/>
                  </a:lnTo>
                  <a:close/>
                  <a:moveTo>
                    <a:pt x="26" y="483"/>
                  </a:moveTo>
                  <a:lnTo>
                    <a:pt x="26" y="480"/>
                  </a:lnTo>
                  <a:lnTo>
                    <a:pt x="26" y="483"/>
                  </a:lnTo>
                  <a:close/>
                  <a:moveTo>
                    <a:pt x="185" y="480"/>
                  </a:moveTo>
                  <a:lnTo>
                    <a:pt x="183" y="480"/>
                  </a:lnTo>
                  <a:lnTo>
                    <a:pt x="185" y="480"/>
                  </a:lnTo>
                  <a:close/>
                  <a:moveTo>
                    <a:pt x="190" y="480"/>
                  </a:moveTo>
                  <a:lnTo>
                    <a:pt x="190" y="478"/>
                  </a:lnTo>
                  <a:lnTo>
                    <a:pt x="190" y="480"/>
                  </a:lnTo>
                  <a:close/>
                  <a:moveTo>
                    <a:pt x="187" y="478"/>
                  </a:moveTo>
                  <a:lnTo>
                    <a:pt x="187" y="480"/>
                  </a:lnTo>
                  <a:lnTo>
                    <a:pt x="187" y="478"/>
                  </a:lnTo>
                  <a:close/>
                  <a:moveTo>
                    <a:pt x="190" y="480"/>
                  </a:moveTo>
                  <a:lnTo>
                    <a:pt x="190" y="478"/>
                  </a:lnTo>
                  <a:lnTo>
                    <a:pt x="190" y="480"/>
                  </a:lnTo>
                  <a:close/>
                  <a:moveTo>
                    <a:pt x="192" y="478"/>
                  </a:moveTo>
                  <a:lnTo>
                    <a:pt x="190" y="478"/>
                  </a:lnTo>
                  <a:lnTo>
                    <a:pt x="192" y="478"/>
                  </a:lnTo>
                  <a:close/>
                  <a:moveTo>
                    <a:pt x="31" y="478"/>
                  </a:moveTo>
                  <a:lnTo>
                    <a:pt x="28" y="478"/>
                  </a:lnTo>
                  <a:lnTo>
                    <a:pt x="31" y="478"/>
                  </a:lnTo>
                  <a:close/>
                  <a:moveTo>
                    <a:pt x="192" y="478"/>
                  </a:moveTo>
                  <a:lnTo>
                    <a:pt x="190" y="478"/>
                  </a:lnTo>
                  <a:lnTo>
                    <a:pt x="192" y="478"/>
                  </a:lnTo>
                  <a:close/>
                  <a:moveTo>
                    <a:pt x="190" y="478"/>
                  </a:moveTo>
                  <a:lnTo>
                    <a:pt x="187" y="478"/>
                  </a:lnTo>
                  <a:lnTo>
                    <a:pt x="190" y="478"/>
                  </a:lnTo>
                  <a:close/>
                  <a:moveTo>
                    <a:pt x="187" y="478"/>
                  </a:moveTo>
                  <a:lnTo>
                    <a:pt x="187" y="476"/>
                  </a:lnTo>
                  <a:lnTo>
                    <a:pt x="187" y="478"/>
                  </a:lnTo>
                  <a:close/>
                  <a:moveTo>
                    <a:pt x="26" y="476"/>
                  </a:moveTo>
                  <a:lnTo>
                    <a:pt x="26" y="478"/>
                  </a:lnTo>
                  <a:lnTo>
                    <a:pt x="26" y="476"/>
                  </a:lnTo>
                  <a:close/>
                  <a:moveTo>
                    <a:pt x="190" y="478"/>
                  </a:moveTo>
                  <a:lnTo>
                    <a:pt x="190" y="476"/>
                  </a:lnTo>
                  <a:lnTo>
                    <a:pt x="190" y="478"/>
                  </a:lnTo>
                  <a:close/>
                  <a:moveTo>
                    <a:pt x="26" y="476"/>
                  </a:moveTo>
                  <a:lnTo>
                    <a:pt x="26" y="478"/>
                  </a:lnTo>
                  <a:lnTo>
                    <a:pt x="26" y="476"/>
                  </a:lnTo>
                  <a:lnTo>
                    <a:pt x="26" y="478"/>
                  </a:lnTo>
                  <a:lnTo>
                    <a:pt x="24" y="478"/>
                  </a:lnTo>
                  <a:lnTo>
                    <a:pt x="24" y="476"/>
                  </a:lnTo>
                  <a:lnTo>
                    <a:pt x="26" y="476"/>
                  </a:lnTo>
                  <a:close/>
                  <a:moveTo>
                    <a:pt x="192" y="476"/>
                  </a:moveTo>
                  <a:lnTo>
                    <a:pt x="190" y="476"/>
                  </a:lnTo>
                  <a:lnTo>
                    <a:pt x="192" y="476"/>
                  </a:lnTo>
                  <a:close/>
                  <a:moveTo>
                    <a:pt x="190" y="473"/>
                  </a:moveTo>
                  <a:lnTo>
                    <a:pt x="187" y="473"/>
                  </a:lnTo>
                  <a:lnTo>
                    <a:pt x="190" y="473"/>
                  </a:lnTo>
                  <a:close/>
                  <a:moveTo>
                    <a:pt x="261" y="476"/>
                  </a:moveTo>
                  <a:lnTo>
                    <a:pt x="258" y="476"/>
                  </a:lnTo>
                  <a:lnTo>
                    <a:pt x="258" y="473"/>
                  </a:lnTo>
                  <a:lnTo>
                    <a:pt x="261" y="473"/>
                  </a:lnTo>
                  <a:lnTo>
                    <a:pt x="261" y="476"/>
                  </a:lnTo>
                  <a:close/>
                  <a:moveTo>
                    <a:pt x="24" y="473"/>
                  </a:moveTo>
                  <a:lnTo>
                    <a:pt x="26" y="473"/>
                  </a:lnTo>
                  <a:lnTo>
                    <a:pt x="24" y="473"/>
                  </a:lnTo>
                  <a:close/>
                  <a:moveTo>
                    <a:pt x="192" y="473"/>
                  </a:moveTo>
                  <a:lnTo>
                    <a:pt x="190" y="473"/>
                  </a:lnTo>
                  <a:lnTo>
                    <a:pt x="192" y="473"/>
                  </a:lnTo>
                  <a:close/>
                  <a:moveTo>
                    <a:pt x="263" y="473"/>
                  </a:moveTo>
                  <a:lnTo>
                    <a:pt x="261" y="473"/>
                  </a:lnTo>
                  <a:lnTo>
                    <a:pt x="263" y="473"/>
                  </a:lnTo>
                  <a:close/>
                  <a:moveTo>
                    <a:pt x="24" y="471"/>
                  </a:moveTo>
                  <a:lnTo>
                    <a:pt x="24" y="469"/>
                  </a:lnTo>
                  <a:lnTo>
                    <a:pt x="24" y="471"/>
                  </a:lnTo>
                  <a:close/>
                  <a:moveTo>
                    <a:pt x="190" y="471"/>
                  </a:moveTo>
                  <a:lnTo>
                    <a:pt x="190" y="469"/>
                  </a:lnTo>
                  <a:lnTo>
                    <a:pt x="190" y="471"/>
                  </a:lnTo>
                  <a:close/>
                  <a:moveTo>
                    <a:pt x="24" y="469"/>
                  </a:moveTo>
                  <a:lnTo>
                    <a:pt x="21" y="469"/>
                  </a:lnTo>
                  <a:lnTo>
                    <a:pt x="24" y="469"/>
                  </a:lnTo>
                  <a:close/>
                  <a:moveTo>
                    <a:pt x="26" y="469"/>
                  </a:moveTo>
                  <a:lnTo>
                    <a:pt x="24" y="469"/>
                  </a:lnTo>
                  <a:lnTo>
                    <a:pt x="26" y="469"/>
                  </a:lnTo>
                  <a:close/>
                  <a:moveTo>
                    <a:pt x="21" y="469"/>
                  </a:moveTo>
                  <a:lnTo>
                    <a:pt x="19" y="469"/>
                  </a:lnTo>
                  <a:lnTo>
                    <a:pt x="21" y="469"/>
                  </a:lnTo>
                  <a:close/>
                  <a:moveTo>
                    <a:pt x="24" y="469"/>
                  </a:moveTo>
                  <a:lnTo>
                    <a:pt x="24" y="466"/>
                  </a:lnTo>
                  <a:lnTo>
                    <a:pt x="24" y="469"/>
                  </a:lnTo>
                  <a:close/>
                  <a:moveTo>
                    <a:pt x="185" y="469"/>
                  </a:moveTo>
                  <a:lnTo>
                    <a:pt x="185" y="466"/>
                  </a:lnTo>
                  <a:lnTo>
                    <a:pt x="185" y="469"/>
                  </a:lnTo>
                  <a:close/>
                  <a:moveTo>
                    <a:pt x="21" y="469"/>
                  </a:moveTo>
                  <a:lnTo>
                    <a:pt x="21" y="466"/>
                  </a:lnTo>
                  <a:lnTo>
                    <a:pt x="21" y="469"/>
                  </a:lnTo>
                  <a:close/>
                  <a:moveTo>
                    <a:pt x="21" y="469"/>
                  </a:moveTo>
                  <a:lnTo>
                    <a:pt x="21" y="466"/>
                  </a:lnTo>
                  <a:lnTo>
                    <a:pt x="21" y="469"/>
                  </a:lnTo>
                  <a:close/>
                  <a:moveTo>
                    <a:pt x="190" y="466"/>
                  </a:moveTo>
                  <a:lnTo>
                    <a:pt x="190" y="469"/>
                  </a:lnTo>
                  <a:lnTo>
                    <a:pt x="190" y="466"/>
                  </a:lnTo>
                  <a:close/>
                  <a:moveTo>
                    <a:pt x="185" y="466"/>
                  </a:moveTo>
                  <a:lnTo>
                    <a:pt x="183" y="466"/>
                  </a:lnTo>
                  <a:lnTo>
                    <a:pt x="185" y="466"/>
                  </a:lnTo>
                  <a:close/>
                  <a:moveTo>
                    <a:pt x="24" y="466"/>
                  </a:moveTo>
                  <a:lnTo>
                    <a:pt x="21" y="466"/>
                  </a:lnTo>
                  <a:lnTo>
                    <a:pt x="24" y="466"/>
                  </a:lnTo>
                  <a:close/>
                  <a:moveTo>
                    <a:pt x="19" y="466"/>
                  </a:moveTo>
                  <a:lnTo>
                    <a:pt x="21" y="466"/>
                  </a:lnTo>
                  <a:lnTo>
                    <a:pt x="19" y="466"/>
                  </a:lnTo>
                  <a:close/>
                  <a:moveTo>
                    <a:pt x="24" y="466"/>
                  </a:moveTo>
                  <a:lnTo>
                    <a:pt x="21" y="466"/>
                  </a:lnTo>
                  <a:lnTo>
                    <a:pt x="24" y="466"/>
                  </a:lnTo>
                  <a:close/>
                  <a:moveTo>
                    <a:pt x="21" y="466"/>
                  </a:moveTo>
                  <a:lnTo>
                    <a:pt x="21" y="464"/>
                  </a:lnTo>
                  <a:lnTo>
                    <a:pt x="21" y="466"/>
                  </a:lnTo>
                  <a:close/>
                  <a:moveTo>
                    <a:pt x="192" y="466"/>
                  </a:moveTo>
                  <a:lnTo>
                    <a:pt x="192" y="464"/>
                  </a:lnTo>
                  <a:lnTo>
                    <a:pt x="192" y="466"/>
                  </a:lnTo>
                  <a:close/>
                  <a:moveTo>
                    <a:pt x="192" y="464"/>
                  </a:moveTo>
                  <a:lnTo>
                    <a:pt x="192" y="466"/>
                  </a:lnTo>
                  <a:lnTo>
                    <a:pt x="192" y="464"/>
                  </a:lnTo>
                  <a:close/>
                  <a:moveTo>
                    <a:pt x="24" y="466"/>
                  </a:moveTo>
                  <a:lnTo>
                    <a:pt x="24" y="464"/>
                  </a:lnTo>
                  <a:lnTo>
                    <a:pt x="24" y="466"/>
                  </a:lnTo>
                  <a:close/>
                  <a:moveTo>
                    <a:pt x="192" y="464"/>
                  </a:moveTo>
                  <a:lnTo>
                    <a:pt x="192" y="466"/>
                  </a:lnTo>
                  <a:lnTo>
                    <a:pt x="192" y="464"/>
                  </a:lnTo>
                  <a:close/>
                  <a:moveTo>
                    <a:pt x="187" y="464"/>
                  </a:moveTo>
                  <a:lnTo>
                    <a:pt x="185" y="464"/>
                  </a:lnTo>
                  <a:lnTo>
                    <a:pt x="187" y="464"/>
                  </a:lnTo>
                  <a:close/>
                  <a:moveTo>
                    <a:pt x="185" y="464"/>
                  </a:moveTo>
                  <a:lnTo>
                    <a:pt x="183" y="464"/>
                  </a:lnTo>
                  <a:lnTo>
                    <a:pt x="185" y="464"/>
                  </a:lnTo>
                  <a:close/>
                  <a:moveTo>
                    <a:pt x="21" y="464"/>
                  </a:moveTo>
                  <a:lnTo>
                    <a:pt x="19" y="464"/>
                  </a:lnTo>
                  <a:lnTo>
                    <a:pt x="21" y="464"/>
                  </a:lnTo>
                  <a:close/>
                  <a:moveTo>
                    <a:pt x="21" y="464"/>
                  </a:moveTo>
                  <a:lnTo>
                    <a:pt x="21" y="461"/>
                  </a:lnTo>
                  <a:lnTo>
                    <a:pt x="21" y="464"/>
                  </a:lnTo>
                  <a:close/>
                  <a:moveTo>
                    <a:pt x="24" y="464"/>
                  </a:moveTo>
                  <a:lnTo>
                    <a:pt x="24" y="461"/>
                  </a:lnTo>
                  <a:lnTo>
                    <a:pt x="24" y="464"/>
                  </a:lnTo>
                  <a:close/>
                  <a:moveTo>
                    <a:pt x="192" y="464"/>
                  </a:moveTo>
                  <a:lnTo>
                    <a:pt x="192" y="461"/>
                  </a:lnTo>
                  <a:lnTo>
                    <a:pt x="192" y="464"/>
                  </a:lnTo>
                  <a:close/>
                  <a:moveTo>
                    <a:pt x="21" y="461"/>
                  </a:moveTo>
                  <a:lnTo>
                    <a:pt x="19" y="461"/>
                  </a:lnTo>
                  <a:lnTo>
                    <a:pt x="21" y="461"/>
                  </a:lnTo>
                  <a:close/>
                  <a:moveTo>
                    <a:pt x="21" y="461"/>
                  </a:moveTo>
                  <a:lnTo>
                    <a:pt x="19" y="461"/>
                  </a:lnTo>
                  <a:lnTo>
                    <a:pt x="21" y="461"/>
                  </a:lnTo>
                  <a:close/>
                  <a:moveTo>
                    <a:pt x="16" y="461"/>
                  </a:moveTo>
                  <a:lnTo>
                    <a:pt x="19" y="461"/>
                  </a:lnTo>
                  <a:lnTo>
                    <a:pt x="16" y="461"/>
                  </a:lnTo>
                  <a:close/>
                  <a:moveTo>
                    <a:pt x="16" y="461"/>
                  </a:moveTo>
                  <a:lnTo>
                    <a:pt x="19" y="461"/>
                  </a:lnTo>
                  <a:lnTo>
                    <a:pt x="16" y="461"/>
                  </a:lnTo>
                  <a:close/>
                  <a:moveTo>
                    <a:pt x="185" y="461"/>
                  </a:moveTo>
                  <a:lnTo>
                    <a:pt x="185" y="459"/>
                  </a:lnTo>
                  <a:lnTo>
                    <a:pt x="185" y="461"/>
                  </a:lnTo>
                  <a:close/>
                  <a:moveTo>
                    <a:pt x="19" y="461"/>
                  </a:moveTo>
                  <a:lnTo>
                    <a:pt x="19" y="459"/>
                  </a:lnTo>
                  <a:lnTo>
                    <a:pt x="19" y="461"/>
                  </a:lnTo>
                  <a:close/>
                  <a:moveTo>
                    <a:pt x="192" y="461"/>
                  </a:moveTo>
                  <a:lnTo>
                    <a:pt x="192" y="459"/>
                  </a:lnTo>
                  <a:lnTo>
                    <a:pt x="192" y="461"/>
                  </a:lnTo>
                  <a:close/>
                  <a:moveTo>
                    <a:pt x="192" y="461"/>
                  </a:moveTo>
                  <a:lnTo>
                    <a:pt x="192" y="459"/>
                  </a:lnTo>
                  <a:lnTo>
                    <a:pt x="192" y="461"/>
                  </a:lnTo>
                  <a:close/>
                  <a:moveTo>
                    <a:pt x="24" y="459"/>
                  </a:moveTo>
                  <a:lnTo>
                    <a:pt x="21" y="459"/>
                  </a:lnTo>
                  <a:lnTo>
                    <a:pt x="24" y="459"/>
                  </a:lnTo>
                  <a:close/>
                  <a:moveTo>
                    <a:pt x="19" y="459"/>
                  </a:moveTo>
                  <a:lnTo>
                    <a:pt x="16" y="459"/>
                  </a:lnTo>
                  <a:lnTo>
                    <a:pt x="19" y="459"/>
                  </a:lnTo>
                  <a:close/>
                  <a:moveTo>
                    <a:pt x="19" y="459"/>
                  </a:moveTo>
                  <a:lnTo>
                    <a:pt x="16" y="459"/>
                  </a:lnTo>
                  <a:lnTo>
                    <a:pt x="19" y="459"/>
                  </a:lnTo>
                  <a:close/>
                  <a:moveTo>
                    <a:pt x="14" y="459"/>
                  </a:moveTo>
                  <a:lnTo>
                    <a:pt x="16" y="459"/>
                  </a:lnTo>
                  <a:lnTo>
                    <a:pt x="14" y="459"/>
                  </a:lnTo>
                  <a:close/>
                  <a:moveTo>
                    <a:pt x="26" y="459"/>
                  </a:moveTo>
                  <a:lnTo>
                    <a:pt x="26" y="457"/>
                  </a:lnTo>
                  <a:lnTo>
                    <a:pt x="26" y="459"/>
                  </a:lnTo>
                  <a:close/>
                  <a:moveTo>
                    <a:pt x="16" y="459"/>
                  </a:moveTo>
                  <a:lnTo>
                    <a:pt x="16" y="457"/>
                  </a:lnTo>
                  <a:lnTo>
                    <a:pt x="16" y="459"/>
                  </a:lnTo>
                  <a:close/>
                  <a:moveTo>
                    <a:pt x="192" y="459"/>
                  </a:moveTo>
                  <a:lnTo>
                    <a:pt x="192" y="457"/>
                  </a:lnTo>
                  <a:lnTo>
                    <a:pt x="192" y="459"/>
                  </a:lnTo>
                  <a:close/>
                  <a:moveTo>
                    <a:pt x="194" y="457"/>
                  </a:moveTo>
                  <a:lnTo>
                    <a:pt x="192" y="457"/>
                  </a:lnTo>
                  <a:lnTo>
                    <a:pt x="194" y="457"/>
                  </a:lnTo>
                  <a:close/>
                  <a:moveTo>
                    <a:pt x="16" y="457"/>
                  </a:moveTo>
                  <a:lnTo>
                    <a:pt x="14" y="457"/>
                  </a:lnTo>
                  <a:lnTo>
                    <a:pt x="16" y="457"/>
                  </a:lnTo>
                  <a:close/>
                  <a:moveTo>
                    <a:pt x="26" y="457"/>
                  </a:moveTo>
                  <a:lnTo>
                    <a:pt x="28" y="457"/>
                  </a:lnTo>
                  <a:lnTo>
                    <a:pt x="26" y="457"/>
                  </a:lnTo>
                  <a:close/>
                  <a:moveTo>
                    <a:pt x="192" y="454"/>
                  </a:moveTo>
                  <a:lnTo>
                    <a:pt x="190" y="454"/>
                  </a:lnTo>
                  <a:lnTo>
                    <a:pt x="192" y="454"/>
                  </a:lnTo>
                  <a:close/>
                  <a:moveTo>
                    <a:pt x="21" y="454"/>
                  </a:moveTo>
                  <a:lnTo>
                    <a:pt x="21" y="452"/>
                  </a:lnTo>
                  <a:lnTo>
                    <a:pt x="21" y="454"/>
                  </a:lnTo>
                  <a:close/>
                  <a:moveTo>
                    <a:pt x="16" y="452"/>
                  </a:moveTo>
                  <a:lnTo>
                    <a:pt x="14" y="452"/>
                  </a:lnTo>
                  <a:lnTo>
                    <a:pt x="16" y="452"/>
                  </a:lnTo>
                  <a:close/>
                  <a:moveTo>
                    <a:pt x="14" y="452"/>
                  </a:moveTo>
                  <a:lnTo>
                    <a:pt x="12" y="452"/>
                  </a:lnTo>
                  <a:lnTo>
                    <a:pt x="14" y="452"/>
                  </a:lnTo>
                  <a:close/>
                  <a:moveTo>
                    <a:pt x="197" y="449"/>
                  </a:moveTo>
                  <a:lnTo>
                    <a:pt x="194" y="449"/>
                  </a:lnTo>
                  <a:lnTo>
                    <a:pt x="197" y="449"/>
                  </a:lnTo>
                  <a:close/>
                  <a:moveTo>
                    <a:pt x="194" y="447"/>
                  </a:moveTo>
                  <a:lnTo>
                    <a:pt x="194" y="449"/>
                  </a:lnTo>
                  <a:lnTo>
                    <a:pt x="194" y="447"/>
                  </a:lnTo>
                  <a:close/>
                  <a:moveTo>
                    <a:pt x="14" y="447"/>
                  </a:moveTo>
                  <a:lnTo>
                    <a:pt x="14" y="449"/>
                  </a:lnTo>
                  <a:lnTo>
                    <a:pt x="14" y="447"/>
                  </a:lnTo>
                  <a:close/>
                  <a:moveTo>
                    <a:pt x="199" y="447"/>
                  </a:moveTo>
                  <a:lnTo>
                    <a:pt x="197" y="447"/>
                  </a:lnTo>
                  <a:lnTo>
                    <a:pt x="199" y="447"/>
                  </a:lnTo>
                  <a:close/>
                  <a:moveTo>
                    <a:pt x="197" y="447"/>
                  </a:moveTo>
                  <a:lnTo>
                    <a:pt x="197" y="449"/>
                  </a:lnTo>
                  <a:lnTo>
                    <a:pt x="197" y="447"/>
                  </a:lnTo>
                  <a:lnTo>
                    <a:pt x="199" y="447"/>
                  </a:lnTo>
                  <a:lnTo>
                    <a:pt x="197" y="447"/>
                  </a:lnTo>
                  <a:close/>
                  <a:moveTo>
                    <a:pt x="194" y="447"/>
                  </a:moveTo>
                  <a:lnTo>
                    <a:pt x="192" y="447"/>
                  </a:lnTo>
                  <a:lnTo>
                    <a:pt x="194" y="447"/>
                  </a:lnTo>
                  <a:close/>
                  <a:moveTo>
                    <a:pt x="14" y="447"/>
                  </a:moveTo>
                  <a:lnTo>
                    <a:pt x="12" y="447"/>
                  </a:lnTo>
                  <a:lnTo>
                    <a:pt x="14" y="447"/>
                  </a:lnTo>
                  <a:close/>
                  <a:moveTo>
                    <a:pt x="199" y="447"/>
                  </a:moveTo>
                  <a:lnTo>
                    <a:pt x="199" y="445"/>
                  </a:lnTo>
                  <a:lnTo>
                    <a:pt x="199" y="447"/>
                  </a:lnTo>
                  <a:close/>
                  <a:moveTo>
                    <a:pt x="194" y="447"/>
                  </a:moveTo>
                  <a:lnTo>
                    <a:pt x="194" y="445"/>
                  </a:lnTo>
                  <a:lnTo>
                    <a:pt x="194" y="447"/>
                  </a:lnTo>
                  <a:close/>
                  <a:moveTo>
                    <a:pt x="199" y="445"/>
                  </a:moveTo>
                  <a:lnTo>
                    <a:pt x="199" y="447"/>
                  </a:lnTo>
                  <a:lnTo>
                    <a:pt x="199" y="445"/>
                  </a:lnTo>
                  <a:close/>
                  <a:moveTo>
                    <a:pt x="199" y="447"/>
                  </a:moveTo>
                  <a:lnTo>
                    <a:pt x="199" y="445"/>
                  </a:lnTo>
                  <a:lnTo>
                    <a:pt x="199" y="447"/>
                  </a:lnTo>
                  <a:close/>
                  <a:moveTo>
                    <a:pt x="194" y="447"/>
                  </a:moveTo>
                  <a:lnTo>
                    <a:pt x="192" y="447"/>
                  </a:lnTo>
                  <a:lnTo>
                    <a:pt x="192" y="445"/>
                  </a:lnTo>
                  <a:lnTo>
                    <a:pt x="194" y="445"/>
                  </a:lnTo>
                  <a:lnTo>
                    <a:pt x="194" y="447"/>
                  </a:lnTo>
                  <a:close/>
                  <a:moveTo>
                    <a:pt x="14" y="445"/>
                  </a:moveTo>
                  <a:lnTo>
                    <a:pt x="14" y="447"/>
                  </a:lnTo>
                  <a:lnTo>
                    <a:pt x="14" y="445"/>
                  </a:lnTo>
                  <a:close/>
                  <a:moveTo>
                    <a:pt x="202" y="445"/>
                  </a:moveTo>
                  <a:lnTo>
                    <a:pt x="199" y="445"/>
                  </a:lnTo>
                  <a:lnTo>
                    <a:pt x="202" y="445"/>
                  </a:lnTo>
                  <a:close/>
                  <a:moveTo>
                    <a:pt x="14" y="445"/>
                  </a:moveTo>
                  <a:lnTo>
                    <a:pt x="12" y="445"/>
                  </a:lnTo>
                  <a:lnTo>
                    <a:pt x="14" y="445"/>
                  </a:lnTo>
                  <a:close/>
                  <a:moveTo>
                    <a:pt x="194" y="445"/>
                  </a:moveTo>
                  <a:lnTo>
                    <a:pt x="192" y="445"/>
                  </a:lnTo>
                  <a:lnTo>
                    <a:pt x="194" y="445"/>
                  </a:lnTo>
                  <a:close/>
                  <a:moveTo>
                    <a:pt x="21" y="445"/>
                  </a:moveTo>
                  <a:lnTo>
                    <a:pt x="19" y="445"/>
                  </a:lnTo>
                  <a:lnTo>
                    <a:pt x="21" y="445"/>
                  </a:lnTo>
                  <a:close/>
                  <a:moveTo>
                    <a:pt x="14" y="445"/>
                  </a:moveTo>
                  <a:lnTo>
                    <a:pt x="16" y="445"/>
                  </a:lnTo>
                  <a:lnTo>
                    <a:pt x="14" y="445"/>
                  </a:lnTo>
                  <a:close/>
                  <a:moveTo>
                    <a:pt x="199" y="445"/>
                  </a:moveTo>
                  <a:lnTo>
                    <a:pt x="197" y="445"/>
                  </a:lnTo>
                  <a:lnTo>
                    <a:pt x="199" y="445"/>
                  </a:lnTo>
                  <a:close/>
                  <a:moveTo>
                    <a:pt x="199" y="445"/>
                  </a:moveTo>
                  <a:lnTo>
                    <a:pt x="197" y="445"/>
                  </a:lnTo>
                  <a:lnTo>
                    <a:pt x="199" y="445"/>
                  </a:lnTo>
                  <a:close/>
                  <a:moveTo>
                    <a:pt x="202" y="445"/>
                  </a:moveTo>
                  <a:lnTo>
                    <a:pt x="199" y="445"/>
                  </a:lnTo>
                  <a:lnTo>
                    <a:pt x="202" y="445"/>
                  </a:lnTo>
                  <a:lnTo>
                    <a:pt x="199" y="445"/>
                  </a:lnTo>
                  <a:lnTo>
                    <a:pt x="202" y="445"/>
                  </a:lnTo>
                  <a:close/>
                  <a:moveTo>
                    <a:pt x="202" y="445"/>
                  </a:moveTo>
                  <a:lnTo>
                    <a:pt x="199" y="445"/>
                  </a:lnTo>
                  <a:lnTo>
                    <a:pt x="202" y="445"/>
                  </a:lnTo>
                  <a:close/>
                  <a:moveTo>
                    <a:pt x="199" y="445"/>
                  </a:moveTo>
                  <a:lnTo>
                    <a:pt x="199" y="442"/>
                  </a:lnTo>
                  <a:lnTo>
                    <a:pt x="199" y="445"/>
                  </a:lnTo>
                  <a:close/>
                  <a:moveTo>
                    <a:pt x="14" y="445"/>
                  </a:moveTo>
                  <a:lnTo>
                    <a:pt x="12" y="445"/>
                  </a:lnTo>
                  <a:lnTo>
                    <a:pt x="14" y="442"/>
                  </a:lnTo>
                  <a:lnTo>
                    <a:pt x="14" y="445"/>
                  </a:lnTo>
                  <a:close/>
                  <a:moveTo>
                    <a:pt x="12" y="445"/>
                  </a:moveTo>
                  <a:lnTo>
                    <a:pt x="12" y="442"/>
                  </a:lnTo>
                  <a:lnTo>
                    <a:pt x="12" y="445"/>
                  </a:lnTo>
                  <a:close/>
                  <a:moveTo>
                    <a:pt x="199" y="442"/>
                  </a:moveTo>
                  <a:lnTo>
                    <a:pt x="202" y="442"/>
                  </a:lnTo>
                  <a:lnTo>
                    <a:pt x="199" y="442"/>
                  </a:lnTo>
                  <a:close/>
                  <a:moveTo>
                    <a:pt x="199" y="442"/>
                  </a:moveTo>
                  <a:lnTo>
                    <a:pt x="199" y="440"/>
                  </a:lnTo>
                  <a:lnTo>
                    <a:pt x="199" y="442"/>
                  </a:lnTo>
                  <a:close/>
                  <a:moveTo>
                    <a:pt x="192" y="442"/>
                  </a:moveTo>
                  <a:lnTo>
                    <a:pt x="192" y="440"/>
                  </a:lnTo>
                  <a:lnTo>
                    <a:pt x="192" y="442"/>
                  </a:lnTo>
                  <a:close/>
                  <a:moveTo>
                    <a:pt x="199" y="442"/>
                  </a:moveTo>
                  <a:lnTo>
                    <a:pt x="199" y="440"/>
                  </a:lnTo>
                  <a:lnTo>
                    <a:pt x="199" y="442"/>
                  </a:lnTo>
                  <a:close/>
                  <a:moveTo>
                    <a:pt x="14" y="440"/>
                  </a:moveTo>
                  <a:lnTo>
                    <a:pt x="14" y="442"/>
                  </a:lnTo>
                  <a:lnTo>
                    <a:pt x="12" y="440"/>
                  </a:lnTo>
                  <a:lnTo>
                    <a:pt x="14" y="440"/>
                  </a:lnTo>
                  <a:close/>
                  <a:moveTo>
                    <a:pt x="197" y="442"/>
                  </a:moveTo>
                  <a:lnTo>
                    <a:pt x="194" y="442"/>
                  </a:lnTo>
                  <a:lnTo>
                    <a:pt x="197" y="440"/>
                  </a:lnTo>
                  <a:lnTo>
                    <a:pt x="197" y="442"/>
                  </a:lnTo>
                  <a:close/>
                  <a:moveTo>
                    <a:pt x="199" y="438"/>
                  </a:moveTo>
                  <a:lnTo>
                    <a:pt x="199" y="440"/>
                  </a:lnTo>
                  <a:lnTo>
                    <a:pt x="199" y="438"/>
                  </a:lnTo>
                  <a:lnTo>
                    <a:pt x="199" y="440"/>
                  </a:lnTo>
                  <a:lnTo>
                    <a:pt x="199" y="438"/>
                  </a:lnTo>
                  <a:close/>
                  <a:moveTo>
                    <a:pt x="12" y="440"/>
                  </a:moveTo>
                  <a:lnTo>
                    <a:pt x="9" y="438"/>
                  </a:lnTo>
                  <a:lnTo>
                    <a:pt x="12" y="438"/>
                  </a:lnTo>
                  <a:lnTo>
                    <a:pt x="12" y="440"/>
                  </a:lnTo>
                  <a:close/>
                  <a:moveTo>
                    <a:pt x="199" y="440"/>
                  </a:moveTo>
                  <a:lnTo>
                    <a:pt x="199" y="438"/>
                  </a:lnTo>
                  <a:lnTo>
                    <a:pt x="199" y="440"/>
                  </a:lnTo>
                  <a:close/>
                  <a:moveTo>
                    <a:pt x="190" y="438"/>
                  </a:moveTo>
                  <a:lnTo>
                    <a:pt x="192" y="438"/>
                  </a:lnTo>
                  <a:lnTo>
                    <a:pt x="190" y="438"/>
                  </a:lnTo>
                  <a:close/>
                  <a:moveTo>
                    <a:pt x="192" y="438"/>
                  </a:moveTo>
                  <a:lnTo>
                    <a:pt x="190" y="438"/>
                  </a:lnTo>
                  <a:lnTo>
                    <a:pt x="192" y="438"/>
                  </a:lnTo>
                  <a:close/>
                  <a:moveTo>
                    <a:pt x="192" y="438"/>
                  </a:moveTo>
                  <a:lnTo>
                    <a:pt x="190" y="438"/>
                  </a:lnTo>
                  <a:lnTo>
                    <a:pt x="192" y="438"/>
                  </a:lnTo>
                  <a:close/>
                  <a:moveTo>
                    <a:pt x="190" y="438"/>
                  </a:moveTo>
                  <a:lnTo>
                    <a:pt x="192" y="438"/>
                  </a:lnTo>
                  <a:lnTo>
                    <a:pt x="190" y="438"/>
                  </a:lnTo>
                  <a:close/>
                  <a:moveTo>
                    <a:pt x="197" y="438"/>
                  </a:moveTo>
                  <a:lnTo>
                    <a:pt x="197" y="435"/>
                  </a:lnTo>
                  <a:lnTo>
                    <a:pt x="197" y="438"/>
                  </a:lnTo>
                  <a:close/>
                  <a:moveTo>
                    <a:pt x="199" y="435"/>
                  </a:moveTo>
                  <a:lnTo>
                    <a:pt x="199" y="438"/>
                  </a:lnTo>
                  <a:lnTo>
                    <a:pt x="199" y="435"/>
                  </a:lnTo>
                  <a:close/>
                  <a:moveTo>
                    <a:pt x="192" y="435"/>
                  </a:moveTo>
                  <a:lnTo>
                    <a:pt x="190" y="435"/>
                  </a:lnTo>
                  <a:lnTo>
                    <a:pt x="192" y="435"/>
                  </a:lnTo>
                  <a:close/>
                  <a:moveTo>
                    <a:pt x="185" y="435"/>
                  </a:moveTo>
                  <a:lnTo>
                    <a:pt x="183" y="435"/>
                  </a:lnTo>
                  <a:lnTo>
                    <a:pt x="185" y="435"/>
                  </a:lnTo>
                  <a:close/>
                  <a:moveTo>
                    <a:pt x="194" y="435"/>
                  </a:moveTo>
                  <a:lnTo>
                    <a:pt x="194" y="433"/>
                  </a:lnTo>
                  <a:lnTo>
                    <a:pt x="194" y="435"/>
                  </a:lnTo>
                  <a:close/>
                  <a:moveTo>
                    <a:pt x="9" y="435"/>
                  </a:moveTo>
                  <a:lnTo>
                    <a:pt x="9" y="433"/>
                  </a:lnTo>
                  <a:lnTo>
                    <a:pt x="9" y="435"/>
                  </a:lnTo>
                  <a:close/>
                  <a:moveTo>
                    <a:pt x="197" y="433"/>
                  </a:moveTo>
                  <a:lnTo>
                    <a:pt x="197" y="435"/>
                  </a:lnTo>
                  <a:lnTo>
                    <a:pt x="197" y="433"/>
                  </a:lnTo>
                  <a:close/>
                  <a:moveTo>
                    <a:pt x="194" y="433"/>
                  </a:moveTo>
                  <a:lnTo>
                    <a:pt x="197" y="433"/>
                  </a:lnTo>
                  <a:lnTo>
                    <a:pt x="194" y="433"/>
                  </a:lnTo>
                  <a:close/>
                  <a:moveTo>
                    <a:pt x="197" y="433"/>
                  </a:moveTo>
                  <a:lnTo>
                    <a:pt x="197" y="435"/>
                  </a:lnTo>
                  <a:lnTo>
                    <a:pt x="197" y="433"/>
                  </a:lnTo>
                  <a:close/>
                  <a:moveTo>
                    <a:pt x="12" y="433"/>
                  </a:moveTo>
                  <a:lnTo>
                    <a:pt x="9" y="433"/>
                  </a:lnTo>
                  <a:lnTo>
                    <a:pt x="12" y="433"/>
                  </a:lnTo>
                  <a:close/>
                  <a:moveTo>
                    <a:pt x="12" y="433"/>
                  </a:moveTo>
                  <a:lnTo>
                    <a:pt x="9" y="433"/>
                  </a:lnTo>
                  <a:lnTo>
                    <a:pt x="12" y="433"/>
                  </a:lnTo>
                  <a:close/>
                  <a:moveTo>
                    <a:pt x="9" y="430"/>
                  </a:moveTo>
                  <a:lnTo>
                    <a:pt x="9" y="433"/>
                  </a:lnTo>
                  <a:lnTo>
                    <a:pt x="9" y="430"/>
                  </a:lnTo>
                  <a:close/>
                  <a:moveTo>
                    <a:pt x="199" y="430"/>
                  </a:moveTo>
                  <a:lnTo>
                    <a:pt x="197" y="433"/>
                  </a:lnTo>
                  <a:lnTo>
                    <a:pt x="197" y="430"/>
                  </a:lnTo>
                  <a:lnTo>
                    <a:pt x="199" y="430"/>
                  </a:lnTo>
                  <a:close/>
                  <a:moveTo>
                    <a:pt x="9" y="430"/>
                  </a:moveTo>
                  <a:lnTo>
                    <a:pt x="7" y="430"/>
                  </a:lnTo>
                  <a:lnTo>
                    <a:pt x="9" y="430"/>
                  </a:lnTo>
                  <a:close/>
                  <a:moveTo>
                    <a:pt x="199" y="430"/>
                  </a:moveTo>
                  <a:lnTo>
                    <a:pt x="197" y="430"/>
                  </a:lnTo>
                  <a:lnTo>
                    <a:pt x="199" y="430"/>
                  </a:lnTo>
                  <a:lnTo>
                    <a:pt x="197" y="430"/>
                  </a:lnTo>
                  <a:lnTo>
                    <a:pt x="199" y="430"/>
                  </a:lnTo>
                  <a:close/>
                  <a:moveTo>
                    <a:pt x="197" y="430"/>
                  </a:moveTo>
                  <a:lnTo>
                    <a:pt x="194" y="430"/>
                  </a:lnTo>
                  <a:lnTo>
                    <a:pt x="197" y="430"/>
                  </a:lnTo>
                  <a:close/>
                  <a:moveTo>
                    <a:pt x="9" y="430"/>
                  </a:moveTo>
                  <a:lnTo>
                    <a:pt x="7" y="430"/>
                  </a:lnTo>
                  <a:lnTo>
                    <a:pt x="9" y="430"/>
                  </a:lnTo>
                  <a:close/>
                  <a:moveTo>
                    <a:pt x="7" y="430"/>
                  </a:moveTo>
                  <a:lnTo>
                    <a:pt x="7" y="428"/>
                  </a:lnTo>
                  <a:lnTo>
                    <a:pt x="7" y="430"/>
                  </a:lnTo>
                  <a:close/>
                  <a:moveTo>
                    <a:pt x="194" y="430"/>
                  </a:moveTo>
                  <a:lnTo>
                    <a:pt x="194" y="428"/>
                  </a:lnTo>
                  <a:lnTo>
                    <a:pt x="194" y="430"/>
                  </a:lnTo>
                  <a:close/>
                  <a:moveTo>
                    <a:pt x="197" y="430"/>
                  </a:moveTo>
                  <a:lnTo>
                    <a:pt x="197" y="428"/>
                  </a:lnTo>
                  <a:lnTo>
                    <a:pt x="197" y="430"/>
                  </a:lnTo>
                  <a:close/>
                  <a:moveTo>
                    <a:pt x="197" y="430"/>
                  </a:moveTo>
                  <a:lnTo>
                    <a:pt x="197" y="428"/>
                  </a:lnTo>
                  <a:lnTo>
                    <a:pt x="197" y="430"/>
                  </a:lnTo>
                  <a:close/>
                  <a:moveTo>
                    <a:pt x="5" y="428"/>
                  </a:moveTo>
                  <a:lnTo>
                    <a:pt x="5" y="430"/>
                  </a:lnTo>
                  <a:lnTo>
                    <a:pt x="5" y="428"/>
                  </a:lnTo>
                  <a:lnTo>
                    <a:pt x="2" y="428"/>
                  </a:lnTo>
                  <a:lnTo>
                    <a:pt x="5" y="428"/>
                  </a:lnTo>
                  <a:close/>
                  <a:moveTo>
                    <a:pt x="5" y="428"/>
                  </a:moveTo>
                  <a:lnTo>
                    <a:pt x="2" y="428"/>
                  </a:lnTo>
                  <a:lnTo>
                    <a:pt x="5" y="428"/>
                  </a:lnTo>
                  <a:close/>
                  <a:moveTo>
                    <a:pt x="197" y="428"/>
                  </a:moveTo>
                  <a:lnTo>
                    <a:pt x="194" y="428"/>
                  </a:lnTo>
                  <a:lnTo>
                    <a:pt x="197" y="428"/>
                  </a:lnTo>
                  <a:close/>
                  <a:moveTo>
                    <a:pt x="194" y="428"/>
                  </a:moveTo>
                  <a:lnTo>
                    <a:pt x="192" y="428"/>
                  </a:lnTo>
                  <a:lnTo>
                    <a:pt x="194" y="428"/>
                  </a:lnTo>
                  <a:close/>
                  <a:moveTo>
                    <a:pt x="9" y="428"/>
                  </a:moveTo>
                  <a:lnTo>
                    <a:pt x="7" y="428"/>
                  </a:lnTo>
                  <a:lnTo>
                    <a:pt x="9" y="428"/>
                  </a:lnTo>
                  <a:close/>
                  <a:moveTo>
                    <a:pt x="2" y="428"/>
                  </a:moveTo>
                  <a:lnTo>
                    <a:pt x="2" y="426"/>
                  </a:lnTo>
                  <a:lnTo>
                    <a:pt x="2" y="428"/>
                  </a:lnTo>
                  <a:close/>
                  <a:moveTo>
                    <a:pt x="7" y="428"/>
                  </a:moveTo>
                  <a:lnTo>
                    <a:pt x="7" y="426"/>
                  </a:lnTo>
                  <a:lnTo>
                    <a:pt x="7" y="428"/>
                  </a:lnTo>
                  <a:close/>
                  <a:moveTo>
                    <a:pt x="194" y="428"/>
                  </a:moveTo>
                  <a:lnTo>
                    <a:pt x="194" y="426"/>
                  </a:lnTo>
                  <a:lnTo>
                    <a:pt x="194" y="428"/>
                  </a:lnTo>
                  <a:close/>
                  <a:moveTo>
                    <a:pt x="7" y="426"/>
                  </a:moveTo>
                  <a:lnTo>
                    <a:pt x="7" y="428"/>
                  </a:lnTo>
                  <a:lnTo>
                    <a:pt x="7" y="426"/>
                  </a:lnTo>
                  <a:close/>
                  <a:moveTo>
                    <a:pt x="178" y="426"/>
                  </a:moveTo>
                  <a:lnTo>
                    <a:pt x="175" y="426"/>
                  </a:lnTo>
                  <a:lnTo>
                    <a:pt x="178" y="426"/>
                  </a:lnTo>
                  <a:close/>
                  <a:moveTo>
                    <a:pt x="7" y="426"/>
                  </a:moveTo>
                  <a:lnTo>
                    <a:pt x="9" y="426"/>
                  </a:lnTo>
                  <a:lnTo>
                    <a:pt x="7" y="426"/>
                  </a:lnTo>
                  <a:close/>
                  <a:moveTo>
                    <a:pt x="7" y="426"/>
                  </a:moveTo>
                  <a:lnTo>
                    <a:pt x="7" y="423"/>
                  </a:lnTo>
                  <a:lnTo>
                    <a:pt x="7" y="426"/>
                  </a:lnTo>
                  <a:close/>
                  <a:moveTo>
                    <a:pt x="175" y="423"/>
                  </a:moveTo>
                  <a:lnTo>
                    <a:pt x="175" y="426"/>
                  </a:lnTo>
                  <a:lnTo>
                    <a:pt x="175" y="423"/>
                  </a:lnTo>
                  <a:close/>
                  <a:moveTo>
                    <a:pt x="204" y="423"/>
                  </a:moveTo>
                  <a:lnTo>
                    <a:pt x="204" y="426"/>
                  </a:lnTo>
                  <a:lnTo>
                    <a:pt x="204" y="423"/>
                  </a:lnTo>
                  <a:close/>
                  <a:moveTo>
                    <a:pt x="199" y="423"/>
                  </a:moveTo>
                  <a:lnTo>
                    <a:pt x="197" y="423"/>
                  </a:lnTo>
                  <a:lnTo>
                    <a:pt x="199" y="423"/>
                  </a:lnTo>
                  <a:close/>
                  <a:moveTo>
                    <a:pt x="9" y="423"/>
                  </a:moveTo>
                  <a:lnTo>
                    <a:pt x="7" y="423"/>
                  </a:lnTo>
                  <a:lnTo>
                    <a:pt x="9" y="423"/>
                  </a:lnTo>
                  <a:close/>
                  <a:moveTo>
                    <a:pt x="7" y="423"/>
                  </a:moveTo>
                  <a:lnTo>
                    <a:pt x="7" y="421"/>
                  </a:lnTo>
                  <a:lnTo>
                    <a:pt x="7" y="423"/>
                  </a:lnTo>
                  <a:close/>
                  <a:moveTo>
                    <a:pt x="211" y="421"/>
                  </a:moveTo>
                  <a:lnTo>
                    <a:pt x="209" y="421"/>
                  </a:lnTo>
                  <a:lnTo>
                    <a:pt x="211" y="421"/>
                  </a:lnTo>
                  <a:close/>
                  <a:moveTo>
                    <a:pt x="206" y="421"/>
                  </a:moveTo>
                  <a:lnTo>
                    <a:pt x="204" y="421"/>
                  </a:lnTo>
                  <a:lnTo>
                    <a:pt x="206" y="421"/>
                  </a:lnTo>
                  <a:close/>
                  <a:moveTo>
                    <a:pt x="216" y="421"/>
                  </a:moveTo>
                  <a:lnTo>
                    <a:pt x="213" y="421"/>
                  </a:lnTo>
                  <a:lnTo>
                    <a:pt x="216" y="421"/>
                  </a:lnTo>
                  <a:close/>
                  <a:moveTo>
                    <a:pt x="211" y="421"/>
                  </a:moveTo>
                  <a:lnTo>
                    <a:pt x="209" y="421"/>
                  </a:lnTo>
                  <a:lnTo>
                    <a:pt x="211" y="421"/>
                  </a:lnTo>
                  <a:close/>
                  <a:moveTo>
                    <a:pt x="213" y="421"/>
                  </a:moveTo>
                  <a:lnTo>
                    <a:pt x="211" y="421"/>
                  </a:lnTo>
                  <a:lnTo>
                    <a:pt x="213" y="421"/>
                  </a:lnTo>
                  <a:close/>
                  <a:moveTo>
                    <a:pt x="204" y="421"/>
                  </a:moveTo>
                  <a:lnTo>
                    <a:pt x="204" y="419"/>
                  </a:lnTo>
                  <a:lnTo>
                    <a:pt x="204" y="421"/>
                  </a:lnTo>
                  <a:close/>
                  <a:moveTo>
                    <a:pt x="216" y="421"/>
                  </a:moveTo>
                  <a:lnTo>
                    <a:pt x="213" y="421"/>
                  </a:lnTo>
                  <a:lnTo>
                    <a:pt x="216" y="419"/>
                  </a:lnTo>
                  <a:lnTo>
                    <a:pt x="216" y="421"/>
                  </a:lnTo>
                  <a:close/>
                  <a:moveTo>
                    <a:pt x="211" y="421"/>
                  </a:moveTo>
                  <a:lnTo>
                    <a:pt x="211" y="419"/>
                  </a:lnTo>
                  <a:lnTo>
                    <a:pt x="211" y="421"/>
                  </a:lnTo>
                  <a:close/>
                  <a:moveTo>
                    <a:pt x="206" y="419"/>
                  </a:moveTo>
                  <a:lnTo>
                    <a:pt x="206" y="421"/>
                  </a:lnTo>
                  <a:lnTo>
                    <a:pt x="206" y="419"/>
                  </a:lnTo>
                  <a:close/>
                  <a:moveTo>
                    <a:pt x="211" y="419"/>
                  </a:moveTo>
                  <a:lnTo>
                    <a:pt x="209" y="419"/>
                  </a:lnTo>
                  <a:lnTo>
                    <a:pt x="211" y="419"/>
                  </a:lnTo>
                  <a:close/>
                  <a:moveTo>
                    <a:pt x="9" y="419"/>
                  </a:moveTo>
                  <a:lnTo>
                    <a:pt x="7" y="419"/>
                  </a:lnTo>
                  <a:lnTo>
                    <a:pt x="9" y="419"/>
                  </a:lnTo>
                  <a:close/>
                  <a:moveTo>
                    <a:pt x="218" y="419"/>
                  </a:moveTo>
                  <a:lnTo>
                    <a:pt x="216" y="419"/>
                  </a:lnTo>
                  <a:lnTo>
                    <a:pt x="218" y="419"/>
                  </a:lnTo>
                  <a:close/>
                  <a:moveTo>
                    <a:pt x="232" y="419"/>
                  </a:moveTo>
                  <a:lnTo>
                    <a:pt x="232" y="416"/>
                  </a:lnTo>
                  <a:lnTo>
                    <a:pt x="232" y="419"/>
                  </a:lnTo>
                  <a:close/>
                  <a:moveTo>
                    <a:pt x="228" y="419"/>
                  </a:moveTo>
                  <a:lnTo>
                    <a:pt x="228" y="416"/>
                  </a:lnTo>
                  <a:lnTo>
                    <a:pt x="228" y="419"/>
                  </a:lnTo>
                  <a:close/>
                  <a:moveTo>
                    <a:pt x="232" y="419"/>
                  </a:moveTo>
                  <a:lnTo>
                    <a:pt x="232" y="416"/>
                  </a:lnTo>
                  <a:lnTo>
                    <a:pt x="232" y="419"/>
                  </a:lnTo>
                  <a:close/>
                  <a:moveTo>
                    <a:pt x="218" y="416"/>
                  </a:moveTo>
                  <a:lnTo>
                    <a:pt x="218" y="419"/>
                  </a:lnTo>
                  <a:lnTo>
                    <a:pt x="218" y="416"/>
                  </a:lnTo>
                  <a:close/>
                  <a:moveTo>
                    <a:pt x="7" y="416"/>
                  </a:moveTo>
                  <a:lnTo>
                    <a:pt x="7" y="419"/>
                  </a:lnTo>
                  <a:lnTo>
                    <a:pt x="7" y="416"/>
                  </a:lnTo>
                  <a:close/>
                  <a:moveTo>
                    <a:pt x="7" y="416"/>
                  </a:moveTo>
                  <a:lnTo>
                    <a:pt x="5" y="416"/>
                  </a:lnTo>
                  <a:lnTo>
                    <a:pt x="7" y="416"/>
                  </a:lnTo>
                  <a:close/>
                  <a:moveTo>
                    <a:pt x="230" y="416"/>
                  </a:moveTo>
                  <a:lnTo>
                    <a:pt x="228" y="416"/>
                  </a:lnTo>
                  <a:lnTo>
                    <a:pt x="230" y="416"/>
                  </a:lnTo>
                  <a:close/>
                  <a:moveTo>
                    <a:pt x="228" y="416"/>
                  </a:moveTo>
                  <a:lnTo>
                    <a:pt x="225" y="416"/>
                  </a:lnTo>
                  <a:lnTo>
                    <a:pt x="228" y="416"/>
                  </a:lnTo>
                  <a:close/>
                  <a:moveTo>
                    <a:pt x="7" y="416"/>
                  </a:moveTo>
                  <a:lnTo>
                    <a:pt x="5" y="416"/>
                  </a:lnTo>
                  <a:lnTo>
                    <a:pt x="7" y="416"/>
                  </a:lnTo>
                  <a:close/>
                  <a:moveTo>
                    <a:pt x="225" y="416"/>
                  </a:moveTo>
                  <a:lnTo>
                    <a:pt x="223" y="416"/>
                  </a:lnTo>
                  <a:lnTo>
                    <a:pt x="225" y="416"/>
                  </a:lnTo>
                  <a:close/>
                  <a:moveTo>
                    <a:pt x="7" y="416"/>
                  </a:moveTo>
                  <a:lnTo>
                    <a:pt x="5" y="416"/>
                  </a:lnTo>
                  <a:lnTo>
                    <a:pt x="7" y="416"/>
                  </a:lnTo>
                  <a:close/>
                  <a:moveTo>
                    <a:pt x="216" y="416"/>
                  </a:moveTo>
                  <a:lnTo>
                    <a:pt x="213" y="416"/>
                  </a:lnTo>
                  <a:lnTo>
                    <a:pt x="216" y="416"/>
                  </a:lnTo>
                  <a:close/>
                  <a:moveTo>
                    <a:pt x="216" y="416"/>
                  </a:moveTo>
                  <a:lnTo>
                    <a:pt x="216" y="414"/>
                  </a:lnTo>
                  <a:lnTo>
                    <a:pt x="216" y="416"/>
                  </a:lnTo>
                  <a:close/>
                  <a:moveTo>
                    <a:pt x="228" y="414"/>
                  </a:moveTo>
                  <a:lnTo>
                    <a:pt x="228" y="416"/>
                  </a:lnTo>
                  <a:lnTo>
                    <a:pt x="228" y="414"/>
                  </a:lnTo>
                  <a:close/>
                  <a:moveTo>
                    <a:pt x="9" y="414"/>
                  </a:moveTo>
                  <a:lnTo>
                    <a:pt x="7" y="414"/>
                  </a:lnTo>
                  <a:lnTo>
                    <a:pt x="9" y="414"/>
                  </a:lnTo>
                  <a:close/>
                  <a:moveTo>
                    <a:pt x="0" y="414"/>
                  </a:moveTo>
                  <a:lnTo>
                    <a:pt x="2" y="414"/>
                  </a:lnTo>
                  <a:lnTo>
                    <a:pt x="0" y="414"/>
                  </a:lnTo>
                  <a:close/>
                  <a:moveTo>
                    <a:pt x="221" y="414"/>
                  </a:moveTo>
                  <a:lnTo>
                    <a:pt x="218" y="414"/>
                  </a:lnTo>
                  <a:lnTo>
                    <a:pt x="221" y="414"/>
                  </a:lnTo>
                  <a:close/>
                  <a:moveTo>
                    <a:pt x="2" y="414"/>
                  </a:moveTo>
                  <a:lnTo>
                    <a:pt x="0" y="414"/>
                  </a:lnTo>
                  <a:lnTo>
                    <a:pt x="2" y="414"/>
                  </a:lnTo>
                  <a:close/>
                  <a:moveTo>
                    <a:pt x="2" y="414"/>
                  </a:moveTo>
                  <a:lnTo>
                    <a:pt x="0" y="414"/>
                  </a:lnTo>
                  <a:lnTo>
                    <a:pt x="2" y="411"/>
                  </a:lnTo>
                  <a:lnTo>
                    <a:pt x="2" y="414"/>
                  </a:lnTo>
                  <a:close/>
                  <a:moveTo>
                    <a:pt x="7" y="414"/>
                  </a:moveTo>
                  <a:lnTo>
                    <a:pt x="7" y="411"/>
                  </a:lnTo>
                  <a:lnTo>
                    <a:pt x="7" y="414"/>
                  </a:lnTo>
                  <a:close/>
                  <a:moveTo>
                    <a:pt x="237" y="411"/>
                  </a:moveTo>
                  <a:lnTo>
                    <a:pt x="237" y="414"/>
                  </a:lnTo>
                  <a:lnTo>
                    <a:pt x="237" y="411"/>
                  </a:lnTo>
                  <a:close/>
                  <a:moveTo>
                    <a:pt x="221" y="411"/>
                  </a:moveTo>
                  <a:lnTo>
                    <a:pt x="221" y="414"/>
                  </a:lnTo>
                  <a:lnTo>
                    <a:pt x="221" y="411"/>
                  </a:lnTo>
                  <a:close/>
                  <a:moveTo>
                    <a:pt x="2" y="414"/>
                  </a:moveTo>
                  <a:lnTo>
                    <a:pt x="2" y="411"/>
                  </a:lnTo>
                  <a:lnTo>
                    <a:pt x="2" y="414"/>
                  </a:lnTo>
                  <a:close/>
                  <a:moveTo>
                    <a:pt x="239" y="411"/>
                  </a:moveTo>
                  <a:lnTo>
                    <a:pt x="237" y="411"/>
                  </a:lnTo>
                  <a:lnTo>
                    <a:pt x="239" y="411"/>
                  </a:lnTo>
                  <a:close/>
                  <a:moveTo>
                    <a:pt x="0" y="414"/>
                  </a:moveTo>
                  <a:lnTo>
                    <a:pt x="0" y="411"/>
                  </a:lnTo>
                  <a:lnTo>
                    <a:pt x="0" y="414"/>
                  </a:lnTo>
                  <a:close/>
                  <a:moveTo>
                    <a:pt x="225" y="411"/>
                  </a:moveTo>
                  <a:lnTo>
                    <a:pt x="225" y="414"/>
                  </a:lnTo>
                  <a:lnTo>
                    <a:pt x="225" y="411"/>
                  </a:lnTo>
                  <a:close/>
                  <a:moveTo>
                    <a:pt x="223" y="411"/>
                  </a:moveTo>
                  <a:lnTo>
                    <a:pt x="223" y="414"/>
                  </a:lnTo>
                  <a:lnTo>
                    <a:pt x="223" y="411"/>
                  </a:lnTo>
                  <a:close/>
                  <a:moveTo>
                    <a:pt x="221" y="411"/>
                  </a:moveTo>
                  <a:lnTo>
                    <a:pt x="218" y="411"/>
                  </a:lnTo>
                  <a:lnTo>
                    <a:pt x="221" y="411"/>
                  </a:lnTo>
                  <a:close/>
                  <a:moveTo>
                    <a:pt x="223" y="409"/>
                  </a:moveTo>
                  <a:lnTo>
                    <a:pt x="223" y="411"/>
                  </a:lnTo>
                  <a:lnTo>
                    <a:pt x="223" y="409"/>
                  </a:lnTo>
                  <a:lnTo>
                    <a:pt x="223" y="411"/>
                  </a:lnTo>
                  <a:lnTo>
                    <a:pt x="223" y="409"/>
                  </a:lnTo>
                  <a:close/>
                  <a:moveTo>
                    <a:pt x="223" y="409"/>
                  </a:moveTo>
                  <a:lnTo>
                    <a:pt x="221" y="409"/>
                  </a:lnTo>
                  <a:lnTo>
                    <a:pt x="223" y="409"/>
                  </a:lnTo>
                  <a:close/>
                  <a:moveTo>
                    <a:pt x="232" y="409"/>
                  </a:moveTo>
                  <a:lnTo>
                    <a:pt x="232" y="407"/>
                  </a:lnTo>
                  <a:lnTo>
                    <a:pt x="232" y="409"/>
                  </a:lnTo>
                  <a:close/>
                  <a:moveTo>
                    <a:pt x="249" y="407"/>
                  </a:moveTo>
                  <a:lnTo>
                    <a:pt x="249" y="409"/>
                  </a:lnTo>
                  <a:lnTo>
                    <a:pt x="249" y="407"/>
                  </a:lnTo>
                  <a:close/>
                  <a:moveTo>
                    <a:pt x="242" y="407"/>
                  </a:moveTo>
                  <a:lnTo>
                    <a:pt x="242" y="409"/>
                  </a:lnTo>
                  <a:lnTo>
                    <a:pt x="242" y="407"/>
                  </a:lnTo>
                  <a:close/>
                  <a:moveTo>
                    <a:pt x="235" y="407"/>
                  </a:moveTo>
                  <a:lnTo>
                    <a:pt x="235" y="409"/>
                  </a:lnTo>
                  <a:lnTo>
                    <a:pt x="235" y="407"/>
                  </a:lnTo>
                  <a:close/>
                  <a:moveTo>
                    <a:pt x="237" y="407"/>
                  </a:moveTo>
                  <a:lnTo>
                    <a:pt x="235" y="407"/>
                  </a:lnTo>
                  <a:lnTo>
                    <a:pt x="237" y="407"/>
                  </a:lnTo>
                  <a:close/>
                  <a:moveTo>
                    <a:pt x="223" y="407"/>
                  </a:moveTo>
                  <a:lnTo>
                    <a:pt x="221" y="407"/>
                  </a:lnTo>
                  <a:lnTo>
                    <a:pt x="223" y="407"/>
                  </a:lnTo>
                  <a:close/>
                  <a:moveTo>
                    <a:pt x="249" y="407"/>
                  </a:moveTo>
                  <a:lnTo>
                    <a:pt x="247" y="407"/>
                  </a:lnTo>
                  <a:lnTo>
                    <a:pt x="249" y="407"/>
                  </a:lnTo>
                  <a:close/>
                  <a:moveTo>
                    <a:pt x="237" y="407"/>
                  </a:moveTo>
                  <a:lnTo>
                    <a:pt x="237" y="404"/>
                  </a:lnTo>
                  <a:lnTo>
                    <a:pt x="237" y="407"/>
                  </a:lnTo>
                  <a:close/>
                  <a:moveTo>
                    <a:pt x="247" y="404"/>
                  </a:moveTo>
                  <a:lnTo>
                    <a:pt x="247" y="407"/>
                  </a:lnTo>
                  <a:lnTo>
                    <a:pt x="247" y="404"/>
                  </a:lnTo>
                  <a:close/>
                  <a:moveTo>
                    <a:pt x="232" y="404"/>
                  </a:moveTo>
                  <a:lnTo>
                    <a:pt x="232" y="407"/>
                  </a:lnTo>
                  <a:lnTo>
                    <a:pt x="232" y="404"/>
                  </a:lnTo>
                  <a:close/>
                  <a:moveTo>
                    <a:pt x="235" y="404"/>
                  </a:moveTo>
                  <a:lnTo>
                    <a:pt x="232" y="404"/>
                  </a:lnTo>
                  <a:lnTo>
                    <a:pt x="235" y="404"/>
                  </a:lnTo>
                  <a:close/>
                  <a:moveTo>
                    <a:pt x="249" y="404"/>
                  </a:moveTo>
                  <a:lnTo>
                    <a:pt x="249" y="402"/>
                  </a:lnTo>
                  <a:lnTo>
                    <a:pt x="249" y="404"/>
                  </a:lnTo>
                  <a:close/>
                  <a:moveTo>
                    <a:pt x="247" y="402"/>
                  </a:moveTo>
                  <a:lnTo>
                    <a:pt x="247" y="404"/>
                  </a:lnTo>
                  <a:lnTo>
                    <a:pt x="247" y="402"/>
                  </a:lnTo>
                  <a:close/>
                  <a:moveTo>
                    <a:pt x="235" y="402"/>
                  </a:moveTo>
                  <a:lnTo>
                    <a:pt x="232" y="402"/>
                  </a:lnTo>
                  <a:lnTo>
                    <a:pt x="235" y="402"/>
                  </a:lnTo>
                  <a:close/>
                  <a:moveTo>
                    <a:pt x="244" y="402"/>
                  </a:moveTo>
                  <a:lnTo>
                    <a:pt x="244" y="400"/>
                  </a:lnTo>
                  <a:lnTo>
                    <a:pt x="244" y="402"/>
                  </a:lnTo>
                  <a:close/>
                  <a:moveTo>
                    <a:pt x="221" y="400"/>
                  </a:moveTo>
                  <a:lnTo>
                    <a:pt x="221" y="402"/>
                  </a:lnTo>
                  <a:lnTo>
                    <a:pt x="221" y="400"/>
                  </a:lnTo>
                  <a:close/>
                  <a:moveTo>
                    <a:pt x="256" y="400"/>
                  </a:moveTo>
                  <a:lnTo>
                    <a:pt x="254" y="400"/>
                  </a:lnTo>
                  <a:lnTo>
                    <a:pt x="256" y="400"/>
                  </a:lnTo>
                  <a:close/>
                  <a:moveTo>
                    <a:pt x="244" y="400"/>
                  </a:moveTo>
                  <a:lnTo>
                    <a:pt x="247" y="400"/>
                  </a:lnTo>
                  <a:lnTo>
                    <a:pt x="244" y="400"/>
                  </a:lnTo>
                  <a:close/>
                  <a:moveTo>
                    <a:pt x="247" y="400"/>
                  </a:moveTo>
                  <a:lnTo>
                    <a:pt x="244" y="400"/>
                  </a:lnTo>
                  <a:lnTo>
                    <a:pt x="247" y="400"/>
                  </a:lnTo>
                  <a:close/>
                  <a:moveTo>
                    <a:pt x="256" y="400"/>
                  </a:moveTo>
                  <a:lnTo>
                    <a:pt x="254" y="400"/>
                  </a:lnTo>
                  <a:lnTo>
                    <a:pt x="256" y="400"/>
                  </a:lnTo>
                  <a:close/>
                  <a:moveTo>
                    <a:pt x="258" y="400"/>
                  </a:moveTo>
                  <a:lnTo>
                    <a:pt x="258" y="397"/>
                  </a:lnTo>
                  <a:lnTo>
                    <a:pt x="258" y="400"/>
                  </a:lnTo>
                  <a:close/>
                  <a:moveTo>
                    <a:pt x="247" y="400"/>
                  </a:moveTo>
                  <a:lnTo>
                    <a:pt x="247" y="397"/>
                  </a:lnTo>
                  <a:lnTo>
                    <a:pt x="247" y="400"/>
                  </a:lnTo>
                  <a:close/>
                  <a:moveTo>
                    <a:pt x="258" y="400"/>
                  </a:moveTo>
                  <a:lnTo>
                    <a:pt x="258" y="397"/>
                  </a:lnTo>
                  <a:lnTo>
                    <a:pt x="258" y="400"/>
                  </a:lnTo>
                  <a:close/>
                  <a:moveTo>
                    <a:pt x="251" y="400"/>
                  </a:moveTo>
                  <a:lnTo>
                    <a:pt x="251" y="397"/>
                  </a:lnTo>
                  <a:lnTo>
                    <a:pt x="251" y="400"/>
                  </a:lnTo>
                  <a:close/>
                  <a:moveTo>
                    <a:pt x="254" y="400"/>
                  </a:moveTo>
                  <a:lnTo>
                    <a:pt x="254" y="397"/>
                  </a:lnTo>
                  <a:lnTo>
                    <a:pt x="254" y="400"/>
                  </a:lnTo>
                  <a:close/>
                  <a:moveTo>
                    <a:pt x="256" y="397"/>
                  </a:moveTo>
                  <a:lnTo>
                    <a:pt x="256" y="395"/>
                  </a:lnTo>
                  <a:lnTo>
                    <a:pt x="256" y="397"/>
                  </a:lnTo>
                  <a:close/>
                  <a:moveTo>
                    <a:pt x="247" y="397"/>
                  </a:moveTo>
                  <a:lnTo>
                    <a:pt x="247" y="395"/>
                  </a:lnTo>
                  <a:lnTo>
                    <a:pt x="247" y="397"/>
                  </a:lnTo>
                  <a:close/>
                  <a:moveTo>
                    <a:pt x="249" y="397"/>
                  </a:moveTo>
                  <a:lnTo>
                    <a:pt x="249" y="395"/>
                  </a:lnTo>
                  <a:lnTo>
                    <a:pt x="249" y="397"/>
                  </a:lnTo>
                  <a:close/>
                  <a:moveTo>
                    <a:pt x="261" y="395"/>
                  </a:moveTo>
                  <a:lnTo>
                    <a:pt x="258" y="395"/>
                  </a:lnTo>
                  <a:lnTo>
                    <a:pt x="261" y="395"/>
                  </a:lnTo>
                  <a:close/>
                  <a:moveTo>
                    <a:pt x="258" y="395"/>
                  </a:moveTo>
                  <a:lnTo>
                    <a:pt x="256" y="395"/>
                  </a:lnTo>
                  <a:lnTo>
                    <a:pt x="258" y="395"/>
                  </a:lnTo>
                  <a:close/>
                  <a:moveTo>
                    <a:pt x="258" y="395"/>
                  </a:moveTo>
                  <a:lnTo>
                    <a:pt x="256" y="395"/>
                  </a:lnTo>
                  <a:lnTo>
                    <a:pt x="258" y="395"/>
                  </a:lnTo>
                  <a:close/>
                  <a:moveTo>
                    <a:pt x="247" y="395"/>
                  </a:moveTo>
                  <a:lnTo>
                    <a:pt x="244" y="395"/>
                  </a:lnTo>
                  <a:lnTo>
                    <a:pt x="244" y="392"/>
                  </a:lnTo>
                  <a:lnTo>
                    <a:pt x="247" y="392"/>
                  </a:lnTo>
                  <a:lnTo>
                    <a:pt x="247" y="395"/>
                  </a:lnTo>
                  <a:close/>
                  <a:moveTo>
                    <a:pt x="256" y="395"/>
                  </a:moveTo>
                  <a:lnTo>
                    <a:pt x="256" y="392"/>
                  </a:lnTo>
                  <a:lnTo>
                    <a:pt x="256" y="395"/>
                  </a:lnTo>
                  <a:close/>
                  <a:moveTo>
                    <a:pt x="254" y="392"/>
                  </a:moveTo>
                  <a:lnTo>
                    <a:pt x="251" y="392"/>
                  </a:lnTo>
                  <a:lnTo>
                    <a:pt x="254" y="392"/>
                  </a:lnTo>
                  <a:close/>
                  <a:moveTo>
                    <a:pt x="258" y="392"/>
                  </a:moveTo>
                  <a:lnTo>
                    <a:pt x="256" y="392"/>
                  </a:lnTo>
                  <a:lnTo>
                    <a:pt x="258" y="392"/>
                  </a:lnTo>
                  <a:close/>
                  <a:moveTo>
                    <a:pt x="263" y="392"/>
                  </a:moveTo>
                  <a:lnTo>
                    <a:pt x="261" y="392"/>
                  </a:lnTo>
                  <a:lnTo>
                    <a:pt x="263" y="392"/>
                  </a:lnTo>
                  <a:close/>
                  <a:moveTo>
                    <a:pt x="268" y="390"/>
                  </a:moveTo>
                  <a:lnTo>
                    <a:pt x="266" y="390"/>
                  </a:lnTo>
                  <a:lnTo>
                    <a:pt x="268" y="390"/>
                  </a:lnTo>
                  <a:close/>
                  <a:moveTo>
                    <a:pt x="266" y="390"/>
                  </a:moveTo>
                  <a:lnTo>
                    <a:pt x="263" y="390"/>
                  </a:lnTo>
                  <a:lnTo>
                    <a:pt x="266" y="390"/>
                  </a:lnTo>
                  <a:close/>
                  <a:moveTo>
                    <a:pt x="256" y="390"/>
                  </a:moveTo>
                  <a:lnTo>
                    <a:pt x="254" y="390"/>
                  </a:lnTo>
                  <a:lnTo>
                    <a:pt x="256" y="390"/>
                  </a:lnTo>
                  <a:close/>
                  <a:moveTo>
                    <a:pt x="258" y="390"/>
                  </a:moveTo>
                  <a:lnTo>
                    <a:pt x="258" y="388"/>
                  </a:lnTo>
                  <a:lnTo>
                    <a:pt x="258" y="390"/>
                  </a:lnTo>
                  <a:close/>
                  <a:moveTo>
                    <a:pt x="263" y="388"/>
                  </a:moveTo>
                  <a:lnTo>
                    <a:pt x="261" y="388"/>
                  </a:lnTo>
                  <a:lnTo>
                    <a:pt x="263" y="388"/>
                  </a:lnTo>
                  <a:close/>
                  <a:moveTo>
                    <a:pt x="254" y="388"/>
                  </a:moveTo>
                  <a:lnTo>
                    <a:pt x="251" y="388"/>
                  </a:lnTo>
                  <a:lnTo>
                    <a:pt x="254" y="388"/>
                  </a:lnTo>
                  <a:close/>
                  <a:moveTo>
                    <a:pt x="242" y="388"/>
                  </a:moveTo>
                  <a:lnTo>
                    <a:pt x="242" y="385"/>
                  </a:lnTo>
                  <a:lnTo>
                    <a:pt x="242" y="388"/>
                  </a:lnTo>
                  <a:close/>
                  <a:moveTo>
                    <a:pt x="263" y="388"/>
                  </a:moveTo>
                  <a:lnTo>
                    <a:pt x="261" y="388"/>
                  </a:lnTo>
                  <a:lnTo>
                    <a:pt x="261" y="385"/>
                  </a:lnTo>
                  <a:lnTo>
                    <a:pt x="263" y="385"/>
                  </a:lnTo>
                  <a:lnTo>
                    <a:pt x="263" y="388"/>
                  </a:lnTo>
                  <a:close/>
                  <a:moveTo>
                    <a:pt x="266" y="388"/>
                  </a:moveTo>
                  <a:lnTo>
                    <a:pt x="266" y="385"/>
                  </a:lnTo>
                  <a:lnTo>
                    <a:pt x="266" y="388"/>
                  </a:lnTo>
                  <a:close/>
                  <a:moveTo>
                    <a:pt x="258" y="388"/>
                  </a:moveTo>
                  <a:lnTo>
                    <a:pt x="258" y="385"/>
                  </a:lnTo>
                  <a:lnTo>
                    <a:pt x="258" y="388"/>
                  </a:lnTo>
                  <a:close/>
                  <a:moveTo>
                    <a:pt x="263" y="388"/>
                  </a:moveTo>
                  <a:lnTo>
                    <a:pt x="263" y="385"/>
                  </a:lnTo>
                  <a:lnTo>
                    <a:pt x="263" y="388"/>
                  </a:lnTo>
                  <a:close/>
                  <a:moveTo>
                    <a:pt x="263" y="388"/>
                  </a:moveTo>
                  <a:lnTo>
                    <a:pt x="263" y="385"/>
                  </a:lnTo>
                  <a:lnTo>
                    <a:pt x="263" y="388"/>
                  </a:lnTo>
                  <a:close/>
                  <a:moveTo>
                    <a:pt x="268" y="388"/>
                  </a:moveTo>
                  <a:lnTo>
                    <a:pt x="268" y="385"/>
                  </a:lnTo>
                  <a:lnTo>
                    <a:pt x="268" y="388"/>
                  </a:lnTo>
                  <a:close/>
                  <a:moveTo>
                    <a:pt x="270" y="385"/>
                  </a:moveTo>
                  <a:lnTo>
                    <a:pt x="268" y="385"/>
                  </a:lnTo>
                  <a:lnTo>
                    <a:pt x="270" y="385"/>
                  </a:lnTo>
                  <a:close/>
                  <a:moveTo>
                    <a:pt x="244" y="385"/>
                  </a:moveTo>
                  <a:lnTo>
                    <a:pt x="242" y="385"/>
                  </a:lnTo>
                  <a:lnTo>
                    <a:pt x="244" y="385"/>
                  </a:lnTo>
                  <a:close/>
                  <a:moveTo>
                    <a:pt x="251" y="385"/>
                  </a:moveTo>
                  <a:lnTo>
                    <a:pt x="254" y="385"/>
                  </a:lnTo>
                  <a:lnTo>
                    <a:pt x="251" y="385"/>
                  </a:lnTo>
                  <a:close/>
                  <a:moveTo>
                    <a:pt x="244" y="385"/>
                  </a:moveTo>
                  <a:lnTo>
                    <a:pt x="242" y="385"/>
                  </a:lnTo>
                  <a:lnTo>
                    <a:pt x="244" y="385"/>
                  </a:lnTo>
                  <a:close/>
                  <a:moveTo>
                    <a:pt x="247" y="385"/>
                  </a:moveTo>
                  <a:lnTo>
                    <a:pt x="244" y="385"/>
                  </a:lnTo>
                  <a:lnTo>
                    <a:pt x="247" y="385"/>
                  </a:lnTo>
                  <a:close/>
                  <a:moveTo>
                    <a:pt x="266" y="385"/>
                  </a:moveTo>
                  <a:lnTo>
                    <a:pt x="263" y="385"/>
                  </a:lnTo>
                  <a:lnTo>
                    <a:pt x="266" y="385"/>
                  </a:lnTo>
                  <a:close/>
                  <a:moveTo>
                    <a:pt x="256" y="385"/>
                  </a:moveTo>
                  <a:lnTo>
                    <a:pt x="254" y="385"/>
                  </a:lnTo>
                  <a:lnTo>
                    <a:pt x="256" y="385"/>
                  </a:lnTo>
                  <a:close/>
                  <a:moveTo>
                    <a:pt x="251" y="385"/>
                  </a:moveTo>
                  <a:lnTo>
                    <a:pt x="249" y="385"/>
                  </a:lnTo>
                  <a:lnTo>
                    <a:pt x="251" y="385"/>
                  </a:lnTo>
                  <a:close/>
                  <a:moveTo>
                    <a:pt x="258" y="385"/>
                  </a:moveTo>
                  <a:lnTo>
                    <a:pt x="256" y="385"/>
                  </a:lnTo>
                  <a:lnTo>
                    <a:pt x="258" y="385"/>
                  </a:lnTo>
                  <a:close/>
                  <a:moveTo>
                    <a:pt x="270" y="385"/>
                  </a:moveTo>
                  <a:lnTo>
                    <a:pt x="273" y="385"/>
                  </a:lnTo>
                  <a:lnTo>
                    <a:pt x="270" y="385"/>
                  </a:lnTo>
                  <a:close/>
                  <a:moveTo>
                    <a:pt x="244" y="385"/>
                  </a:moveTo>
                  <a:lnTo>
                    <a:pt x="244" y="383"/>
                  </a:lnTo>
                  <a:lnTo>
                    <a:pt x="244" y="385"/>
                  </a:lnTo>
                  <a:close/>
                  <a:moveTo>
                    <a:pt x="251" y="385"/>
                  </a:moveTo>
                  <a:lnTo>
                    <a:pt x="251" y="383"/>
                  </a:lnTo>
                  <a:lnTo>
                    <a:pt x="251" y="385"/>
                  </a:lnTo>
                  <a:close/>
                  <a:moveTo>
                    <a:pt x="244" y="383"/>
                  </a:moveTo>
                  <a:lnTo>
                    <a:pt x="242" y="383"/>
                  </a:lnTo>
                  <a:lnTo>
                    <a:pt x="244" y="383"/>
                  </a:lnTo>
                  <a:close/>
                  <a:moveTo>
                    <a:pt x="251" y="383"/>
                  </a:moveTo>
                  <a:lnTo>
                    <a:pt x="249" y="383"/>
                  </a:lnTo>
                  <a:lnTo>
                    <a:pt x="251" y="383"/>
                  </a:lnTo>
                  <a:close/>
                  <a:moveTo>
                    <a:pt x="258" y="383"/>
                  </a:moveTo>
                  <a:lnTo>
                    <a:pt x="256" y="383"/>
                  </a:lnTo>
                  <a:lnTo>
                    <a:pt x="258" y="383"/>
                  </a:lnTo>
                  <a:close/>
                  <a:moveTo>
                    <a:pt x="244" y="383"/>
                  </a:moveTo>
                  <a:lnTo>
                    <a:pt x="242" y="383"/>
                  </a:lnTo>
                  <a:lnTo>
                    <a:pt x="244" y="383"/>
                  </a:lnTo>
                  <a:close/>
                  <a:moveTo>
                    <a:pt x="237" y="383"/>
                  </a:moveTo>
                  <a:lnTo>
                    <a:pt x="235" y="383"/>
                  </a:lnTo>
                  <a:lnTo>
                    <a:pt x="237" y="383"/>
                  </a:lnTo>
                  <a:close/>
                  <a:moveTo>
                    <a:pt x="247" y="383"/>
                  </a:moveTo>
                  <a:lnTo>
                    <a:pt x="244" y="383"/>
                  </a:lnTo>
                  <a:lnTo>
                    <a:pt x="247" y="383"/>
                  </a:lnTo>
                  <a:close/>
                  <a:moveTo>
                    <a:pt x="249" y="383"/>
                  </a:moveTo>
                  <a:lnTo>
                    <a:pt x="247" y="383"/>
                  </a:lnTo>
                  <a:lnTo>
                    <a:pt x="249" y="383"/>
                  </a:lnTo>
                  <a:close/>
                  <a:moveTo>
                    <a:pt x="244" y="383"/>
                  </a:moveTo>
                  <a:lnTo>
                    <a:pt x="244" y="381"/>
                  </a:lnTo>
                  <a:lnTo>
                    <a:pt x="244" y="383"/>
                  </a:lnTo>
                  <a:close/>
                  <a:moveTo>
                    <a:pt x="256" y="383"/>
                  </a:moveTo>
                  <a:lnTo>
                    <a:pt x="256" y="381"/>
                  </a:lnTo>
                  <a:lnTo>
                    <a:pt x="256" y="383"/>
                  </a:lnTo>
                  <a:close/>
                  <a:moveTo>
                    <a:pt x="273" y="381"/>
                  </a:moveTo>
                  <a:lnTo>
                    <a:pt x="273" y="383"/>
                  </a:lnTo>
                  <a:lnTo>
                    <a:pt x="273" y="381"/>
                  </a:lnTo>
                  <a:close/>
                  <a:moveTo>
                    <a:pt x="258" y="381"/>
                  </a:moveTo>
                  <a:lnTo>
                    <a:pt x="256" y="381"/>
                  </a:lnTo>
                  <a:lnTo>
                    <a:pt x="258" y="381"/>
                  </a:lnTo>
                  <a:close/>
                  <a:moveTo>
                    <a:pt x="247" y="381"/>
                  </a:moveTo>
                  <a:lnTo>
                    <a:pt x="244" y="381"/>
                  </a:lnTo>
                  <a:lnTo>
                    <a:pt x="247" y="381"/>
                  </a:lnTo>
                  <a:close/>
                  <a:moveTo>
                    <a:pt x="266" y="381"/>
                  </a:moveTo>
                  <a:lnTo>
                    <a:pt x="263" y="381"/>
                  </a:lnTo>
                  <a:lnTo>
                    <a:pt x="266" y="381"/>
                  </a:lnTo>
                  <a:close/>
                  <a:moveTo>
                    <a:pt x="275" y="381"/>
                  </a:moveTo>
                  <a:lnTo>
                    <a:pt x="273" y="381"/>
                  </a:lnTo>
                  <a:lnTo>
                    <a:pt x="275" y="381"/>
                  </a:lnTo>
                  <a:close/>
                  <a:moveTo>
                    <a:pt x="256" y="381"/>
                  </a:moveTo>
                  <a:lnTo>
                    <a:pt x="256" y="378"/>
                  </a:lnTo>
                  <a:lnTo>
                    <a:pt x="256" y="381"/>
                  </a:lnTo>
                  <a:close/>
                  <a:moveTo>
                    <a:pt x="266" y="381"/>
                  </a:moveTo>
                  <a:lnTo>
                    <a:pt x="266" y="378"/>
                  </a:lnTo>
                  <a:lnTo>
                    <a:pt x="266" y="381"/>
                  </a:lnTo>
                  <a:close/>
                  <a:moveTo>
                    <a:pt x="258" y="381"/>
                  </a:moveTo>
                  <a:lnTo>
                    <a:pt x="258" y="378"/>
                  </a:lnTo>
                  <a:lnTo>
                    <a:pt x="258" y="381"/>
                  </a:lnTo>
                  <a:close/>
                  <a:moveTo>
                    <a:pt x="254" y="381"/>
                  </a:moveTo>
                  <a:lnTo>
                    <a:pt x="254" y="378"/>
                  </a:lnTo>
                  <a:lnTo>
                    <a:pt x="254" y="381"/>
                  </a:lnTo>
                  <a:close/>
                  <a:moveTo>
                    <a:pt x="251" y="381"/>
                  </a:moveTo>
                  <a:lnTo>
                    <a:pt x="251" y="378"/>
                  </a:lnTo>
                  <a:lnTo>
                    <a:pt x="254" y="378"/>
                  </a:lnTo>
                  <a:lnTo>
                    <a:pt x="251" y="381"/>
                  </a:lnTo>
                  <a:close/>
                  <a:moveTo>
                    <a:pt x="275" y="378"/>
                  </a:moveTo>
                  <a:lnTo>
                    <a:pt x="275" y="381"/>
                  </a:lnTo>
                  <a:lnTo>
                    <a:pt x="275" y="378"/>
                  </a:lnTo>
                  <a:close/>
                  <a:moveTo>
                    <a:pt x="266" y="378"/>
                  </a:moveTo>
                  <a:lnTo>
                    <a:pt x="263" y="378"/>
                  </a:lnTo>
                  <a:lnTo>
                    <a:pt x="266" y="378"/>
                  </a:lnTo>
                  <a:close/>
                  <a:moveTo>
                    <a:pt x="247" y="378"/>
                  </a:moveTo>
                  <a:lnTo>
                    <a:pt x="249" y="378"/>
                  </a:lnTo>
                  <a:lnTo>
                    <a:pt x="247" y="378"/>
                  </a:lnTo>
                  <a:close/>
                  <a:moveTo>
                    <a:pt x="247" y="378"/>
                  </a:moveTo>
                  <a:lnTo>
                    <a:pt x="249" y="378"/>
                  </a:lnTo>
                  <a:lnTo>
                    <a:pt x="247" y="378"/>
                  </a:lnTo>
                  <a:close/>
                  <a:moveTo>
                    <a:pt x="261" y="378"/>
                  </a:moveTo>
                  <a:lnTo>
                    <a:pt x="258" y="378"/>
                  </a:lnTo>
                  <a:lnTo>
                    <a:pt x="261" y="378"/>
                  </a:lnTo>
                  <a:close/>
                  <a:moveTo>
                    <a:pt x="266" y="378"/>
                  </a:moveTo>
                  <a:lnTo>
                    <a:pt x="268" y="378"/>
                  </a:lnTo>
                  <a:lnTo>
                    <a:pt x="266" y="378"/>
                  </a:lnTo>
                  <a:close/>
                  <a:moveTo>
                    <a:pt x="256" y="378"/>
                  </a:moveTo>
                  <a:lnTo>
                    <a:pt x="254" y="378"/>
                  </a:lnTo>
                  <a:lnTo>
                    <a:pt x="256" y="378"/>
                  </a:lnTo>
                  <a:close/>
                  <a:moveTo>
                    <a:pt x="275" y="376"/>
                  </a:moveTo>
                  <a:lnTo>
                    <a:pt x="275" y="378"/>
                  </a:lnTo>
                  <a:lnTo>
                    <a:pt x="273" y="378"/>
                  </a:lnTo>
                  <a:lnTo>
                    <a:pt x="273" y="376"/>
                  </a:lnTo>
                  <a:lnTo>
                    <a:pt x="275" y="376"/>
                  </a:lnTo>
                  <a:close/>
                  <a:moveTo>
                    <a:pt x="258" y="378"/>
                  </a:moveTo>
                  <a:lnTo>
                    <a:pt x="258" y="376"/>
                  </a:lnTo>
                  <a:lnTo>
                    <a:pt x="258" y="378"/>
                  </a:lnTo>
                  <a:close/>
                  <a:moveTo>
                    <a:pt x="280" y="378"/>
                  </a:moveTo>
                  <a:lnTo>
                    <a:pt x="280" y="376"/>
                  </a:lnTo>
                  <a:lnTo>
                    <a:pt x="280" y="378"/>
                  </a:lnTo>
                  <a:close/>
                  <a:moveTo>
                    <a:pt x="282" y="376"/>
                  </a:moveTo>
                  <a:lnTo>
                    <a:pt x="282" y="378"/>
                  </a:lnTo>
                  <a:lnTo>
                    <a:pt x="282" y="376"/>
                  </a:lnTo>
                  <a:close/>
                  <a:moveTo>
                    <a:pt x="280" y="376"/>
                  </a:moveTo>
                  <a:lnTo>
                    <a:pt x="280" y="378"/>
                  </a:lnTo>
                  <a:lnTo>
                    <a:pt x="280" y="376"/>
                  </a:lnTo>
                  <a:close/>
                  <a:moveTo>
                    <a:pt x="256" y="376"/>
                  </a:moveTo>
                  <a:lnTo>
                    <a:pt x="254" y="376"/>
                  </a:lnTo>
                  <a:lnTo>
                    <a:pt x="256" y="376"/>
                  </a:lnTo>
                  <a:close/>
                  <a:moveTo>
                    <a:pt x="263" y="376"/>
                  </a:moveTo>
                  <a:lnTo>
                    <a:pt x="261" y="376"/>
                  </a:lnTo>
                  <a:lnTo>
                    <a:pt x="263" y="376"/>
                  </a:lnTo>
                  <a:close/>
                  <a:moveTo>
                    <a:pt x="280" y="376"/>
                  </a:moveTo>
                  <a:lnTo>
                    <a:pt x="280" y="373"/>
                  </a:lnTo>
                  <a:lnTo>
                    <a:pt x="280" y="376"/>
                  </a:lnTo>
                  <a:close/>
                  <a:moveTo>
                    <a:pt x="275" y="373"/>
                  </a:moveTo>
                  <a:lnTo>
                    <a:pt x="273" y="373"/>
                  </a:lnTo>
                  <a:lnTo>
                    <a:pt x="275" y="373"/>
                  </a:lnTo>
                  <a:close/>
                  <a:moveTo>
                    <a:pt x="268" y="373"/>
                  </a:moveTo>
                  <a:lnTo>
                    <a:pt x="266" y="373"/>
                  </a:lnTo>
                  <a:lnTo>
                    <a:pt x="268" y="373"/>
                  </a:lnTo>
                  <a:close/>
                  <a:moveTo>
                    <a:pt x="256" y="373"/>
                  </a:moveTo>
                  <a:lnTo>
                    <a:pt x="254" y="373"/>
                  </a:lnTo>
                  <a:lnTo>
                    <a:pt x="256" y="373"/>
                  </a:lnTo>
                  <a:close/>
                  <a:moveTo>
                    <a:pt x="275" y="373"/>
                  </a:moveTo>
                  <a:lnTo>
                    <a:pt x="273" y="373"/>
                  </a:lnTo>
                  <a:lnTo>
                    <a:pt x="275" y="373"/>
                  </a:lnTo>
                  <a:close/>
                  <a:moveTo>
                    <a:pt x="256" y="371"/>
                  </a:moveTo>
                  <a:lnTo>
                    <a:pt x="254" y="371"/>
                  </a:lnTo>
                  <a:lnTo>
                    <a:pt x="256" y="371"/>
                  </a:lnTo>
                  <a:close/>
                  <a:moveTo>
                    <a:pt x="256" y="371"/>
                  </a:moveTo>
                  <a:lnTo>
                    <a:pt x="254" y="371"/>
                  </a:lnTo>
                  <a:lnTo>
                    <a:pt x="256" y="371"/>
                  </a:lnTo>
                  <a:close/>
                  <a:moveTo>
                    <a:pt x="275" y="371"/>
                  </a:moveTo>
                  <a:lnTo>
                    <a:pt x="273" y="371"/>
                  </a:lnTo>
                  <a:lnTo>
                    <a:pt x="275" y="371"/>
                  </a:lnTo>
                  <a:close/>
                  <a:moveTo>
                    <a:pt x="256" y="371"/>
                  </a:moveTo>
                  <a:lnTo>
                    <a:pt x="258" y="371"/>
                  </a:lnTo>
                  <a:lnTo>
                    <a:pt x="256" y="371"/>
                  </a:lnTo>
                  <a:close/>
                  <a:moveTo>
                    <a:pt x="256" y="371"/>
                  </a:moveTo>
                  <a:lnTo>
                    <a:pt x="256" y="369"/>
                  </a:lnTo>
                  <a:lnTo>
                    <a:pt x="256" y="371"/>
                  </a:lnTo>
                  <a:close/>
                  <a:moveTo>
                    <a:pt x="263" y="371"/>
                  </a:moveTo>
                  <a:lnTo>
                    <a:pt x="263" y="369"/>
                  </a:lnTo>
                  <a:lnTo>
                    <a:pt x="263" y="371"/>
                  </a:lnTo>
                  <a:close/>
                  <a:moveTo>
                    <a:pt x="261" y="369"/>
                  </a:moveTo>
                  <a:lnTo>
                    <a:pt x="263" y="369"/>
                  </a:lnTo>
                  <a:lnTo>
                    <a:pt x="261" y="369"/>
                  </a:lnTo>
                  <a:close/>
                  <a:moveTo>
                    <a:pt x="258" y="369"/>
                  </a:moveTo>
                  <a:lnTo>
                    <a:pt x="256" y="369"/>
                  </a:lnTo>
                  <a:lnTo>
                    <a:pt x="258" y="369"/>
                  </a:lnTo>
                  <a:close/>
                  <a:moveTo>
                    <a:pt x="270" y="369"/>
                  </a:moveTo>
                  <a:lnTo>
                    <a:pt x="268" y="369"/>
                  </a:lnTo>
                  <a:lnTo>
                    <a:pt x="270" y="369"/>
                  </a:lnTo>
                  <a:close/>
                  <a:moveTo>
                    <a:pt x="275" y="369"/>
                  </a:moveTo>
                  <a:lnTo>
                    <a:pt x="273" y="369"/>
                  </a:lnTo>
                  <a:lnTo>
                    <a:pt x="275" y="369"/>
                  </a:lnTo>
                  <a:close/>
                  <a:moveTo>
                    <a:pt x="268" y="369"/>
                  </a:moveTo>
                  <a:lnTo>
                    <a:pt x="266" y="369"/>
                  </a:lnTo>
                  <a:lnTo>
                    <a:pt x="268" y="369"/>
                  </a:lnTo>
                  <a:close/>
                  <a:moveTo>
                    <a:pt x="273" y="369"/>
                  </a:moveTo>
                  <a:lnTo>
                    <a:pt x="273" y="366"/>
                  </a:lnTo>
                  <a:lnTo>
                    <a:pt x="273" y="369"/>
                  </a:lnTo>
                  <a:close/>
                  <a:moveTo>
                    <a:pt x="277" y="369"/>
                  </a:moveTo>
                  <a:lnTo>
                    <a:pt x="277" y="366"/>
                  </a:lnTo>
                  <a:lnTo>
                    <a:pt x="277" y="369"/>
                  </a:lnTo>
                  <a:close/>
                  <a:moveTo>
                    <a:pt x="280" y="366"/>
                  </a:moveTo>
                  <a:lnTo>
                    <a:pt x="277" y="366"/>
                  </a:lnTo>
                  <a:lnTo>
                    <a:pt x="280" y="366"/>
                  </a:lnTo>
                  <a:close/>
                  <a:moveTo>
                    <a:pt x="270" y="366"/>
                  </a:moveTo>
                  <a:lnTo>
                    <a:pt x="273" y="366"/>
                  </a:lnTo>
                  <a:lnTo>
                    <a:pt x="270" y="366"/>
                  </a:lnTo>
                  <a:close/>
                  <a:moveTo>
                    <a:pt x="273" y="366"/>
                  </a:moveTo>
                  <a:lnTo>
                    <a:pt x="270" y="366"/>
                  </a:lnTo>
                  <a:lnTo>
                    <a:pt x="270" y="364"/>
                  </a:lnTo>
                  <a:lnTo>
                    <a:pt x="273" y="364"/>
                  </a:lnTo>
                  <a:lnTo>
                    <a:pt x="273" y="366"/>
                  </a:lnTo>
                  <a:close/>
                  <a:moveTo>
                    <a:pt x="273" y="366"/>
                  </a:moveTo>
                  <a:lnTo>
                    <a:pt x="273" y="364"/>
                  </a:lnTo>
                  <a:lnTo>
                    <a:pt x="275" y="366"/>
                  </a:lnTo>
                  <a:lnTo>
                    <a:pt x="273" y="366"/>
                  </a:lnTo>
                  <a:close/>
                  <a:moveTo>
                    <a:pt x="275" y="366"/>
                  </a:moveTo>
                  <a:lnTo>
                    <a:pt x="275" y="364"/>
                  </a:lnTo>
                  <a:lnTo>
                    <a:pt x="275" y="366"/>
                  </a:lnTo>
                  <a:close/>
                  <a:moveTo>
                    <a:pt x="268" y="364"/>
                  </a:moveTo>
                  <a:lnTo>
                    <a:pt x="268" y="366"/>
                  </a:lnTo>
                  <a:lnTo>
                    <a:pt x="268" y="364"/>
                  </a:lnTo>
                  <a:close/>
                  <a:moveTo>
                    <a:pt x="268" y="364"/>
                  </a:moveTo>
                  <a:lnTo>
                    <a:pt x="266" y="364"/>
                  </a:lnTo>
                  <a:lnTo>
                    <a:pt x="268" y="364"/>
                  </a:lnTo>
                  <a:close/>
                  <a:moveTo>
                    <a:pt x="273" y="364"/>
                  </a:moveTo>
                  <a:lnTo>
                    <a:pt x="270" y="364"/>
                  </a:lnTo>
                  <a:lnTo>
                    <a:pt x="273" y="364"/>
                  </a:lnTo>
                  <a:close/>
                  <a:moveTo>
                    <a:pt x="270" y="362"/>
                  </a:moveTo>
                  <a:lnTo>
                    <a:pt x="268" y="362"/>
                  </a:lnTo>
                  <a:lnTo>
                    <a:pt x="270" y="362"/>
                  </a:lnTo>
                  <a:close/>
                  <a:moveTo>
                    <a:pt x="270" y="362"/>
                  </a:moveTo>
                  <a:lnTo>
                    <a:pt x="268" y="362"/>
                  </a:lnTo>
                  <a:lnTo>
                    <a:pt x="270" y="362"/>
                  </a:lnTo>
                  <a:close/>
                  <a:moveTo>
                    <a:pt x="270" y="359"/>
                  </a:moveTo>
                  <a:lnTo>
                    <a:pt x="270" y="362"/>
                  </a:lnTo>
                  <a:lnTo>
                    <a:pt x="270" y="359"/>
                  </a:lnTo>
                  <a:close/>
                  <a:moveTo>
                    <a:pt x="266" y="359"/>
                  </a:moveTo>
                  <a:lnTo>
                    <a:pt x="266" y="357"/>
                  </a:lnTo>
                  <a:lnTo>
                    <a:pt x="266" y="359"/>
                  </a:lnTo>
                  <a:close/>
                  <a:moveTo>
                    <a:pt x="258" y="347"/>
                  </a:moveTo>
                  <a:lnTo>
                    <a:pt x="258" y="345"/>
                  </a:lnTo>
                  <a:lnTo>
                    <a:pt x="258" y="347"/>
                  </a:lnTo>
                  <a:close/>
                  <a:moveTo>
                    <a:pt x="249" y="345"/>
                  </a:moveTo>
                  <a:lnTo>
                    <a:pt x="251" y="345"/>
                  </a:lnTo>
                  <a:lnTo>
                    <a:pt x="249" y="345"/>
                  </a:lnTo>
                  <a:close/>
                  <a:moveTo>
                    <a:pt x="256" y="345"/>
                  </a:moveTo>
                  <a:lnTo>
                    <a:pt x="254" y="345"/>
                  </a:lnTo>
                  <a:lnTo>
                    <a:pt x="256" y="345"/>
                  </a:lnTo>
                  <a:close/>
                  <a:moveTo>
                    <a:pt x="251" y="345"/>
                  </a:moveTo>
                  <a:lnTo>
                    <a:pt x="251" y="343"/>
                  </a:lnTo>
                  <a:lnTo>
                    <a:pt x="251" y="345"/>
                  </a:lnTo>
                  <a:close/>
                  <a:moveTo>
                    <a:pt x="249" y="345"/>
                  </a:moveTo>
                  <a:lnTo>
                    <a:pt x="249" y="343"/>
                  </a:lnTo>
                  <a:lnTo>
                    <a:pt x="249" y="345"/>
                  </a:lnTo>
                  <a:close/>
                  <a:moveTo>
                    <a:pt x="254" y="343"/>
                  </a:moveTo>
                  <a:lnTo>
                    <a:pt x="251" y="343"/>
                  </a:lnTo>
                  <a:lnTo>
                    <a:pt x="254" y="343"/>
                  </a:lnTo>
                  <a:close/>
                  <a:moveTo>
                    <a:pt x="249" y="343"/>
                  </a:moveTo>
                  <a:lnTo>
                    <a:pt x="249" y="345"/>
                  </a:lnTo>
                  <a:lnTo>
                    <a:pt x="249" y="343"/>
                  </a:lnTo>
                  <a:close/>
                  <a:moveTo>
                    <a:pt x="254" y="343"/>
                  </a:moveTo>
                  <a:lnTo>
                    <a:pt x="251" y="343"/>
                  </a:lnTo>
                  <a:lnTo>
                    <a:pt x="254" y="343"/>
                  </a:lnTo>
                  <a:close/>
                  <a:moveTo>
                    <a:pt x="256" y="343"/>
                  </a:moveTo>
                  <a:lnTo>
                    <a:pt x="254" y="343"/>
                  </a:lnTo>
                  <a:lnTo>
                    <a:pt x="256" y="343"/>
                  </a:lnTo>
                  <a:close/>
                  <a:moveTo>
                    <a:pt x="256" y="343"/>
                  </a:moveTo>
                  <a:lnTo>
                    <a:pt x="254" y="343"/>
                  </a:lnTo>
                  <a:lnTo>
                    <a:pt x="256" y="343"/>
                  </a:lnTo>
                  <a:close/>
                  <a:moveTo>
                    <a:pt x="258" y="343"/>
                  </a:moveTo>
                  <a:lnTo>
                    <a:pt x="256" y="343"/>
                  </a:lnTo>
                  <a:lnTo>
                    <a:pt x="258" y="343"/>
                  </a:lnTo>
                  <a:close/>
                  <a:moveTo>
                    <a:pt x="251" y="343"/>
                  </a:moveTo>
                  <a:lnTo>
                    <a:pt x="249" y="343"/>
                  </a:lnTo>
                  <a:lnTo>
                    <a:pt x="251" y="343"/>
                  </a:lnTo>
                  <a:close/>
                  <a:moveTo>
                    <a:pt x="249" y="343"/>
                  </a:moveTo>
                  <a:lnTo>
                    <a:pt x="247" y="343"/>
                  </a:lnTo>
                  <a:lnTo>
                    <a:pt x="249" y="343"/>
                  </a:lnTo>
                  <a:close/>
                  <a:moveTo>
                    <a:pt x="249" y="343"/>
                  </a:moveTo>
                  <a:lnTo>
                    <a:pt x="247" y="343"/>
                  </a:lnTo>
                  <a:lnTo>
                    <a:pt x="249" y="343"/>
                  </a:lnTo>
                  <a:close/>
                  <a:moveTo>
                    <a:pt x="254" y="340"/>
                  </a:moveTo>
                  <a:lnTo>
                    <a:pt x="254" y="343"/>
                  </a:lnTo>
                  <a:lnTo>
                    <a:pt x="254" y="340"/>
                  </a:lnTo>
                  <a:close/>
                  <a:moveTo>
                    <a:pt x="249" y="340"/>
                  </a:moveTo>
                  <a:lnTo>
                    <a:pt x="251" y="340"/>
                  </a:lnTo>
                  <a:lnTo>
                    <a:pt x="249" y="340"/>
                  </a:lnTo>
                  <a:close/>
                  <a:moveTo>
                    <a:pt x="251" y="340"/>
                  </a:moveTo>
                  <a:lnTo>
                    <a:pt x="251" y="338"/>
                  </a:lnTo>
                  <a:lnTo>
                    <a:pt x="251" y="340"/>
                  </a:lnTo>
                  <a:close/>
                  <a:moveTo>
                    <a:pt x="251" y="340"/>
                  </a:moveTo>
                  <a:lnTo>
                    <a:pt x="251" y="338"/>
                  </a:lnTo>
                  <a:lnTo>
                    <a:pt x="251" y="340"/>
                  </a:lnTo>
                  <a:close/>
                  <a:moveTo>
                    <a:pt x="256" y="338"/>
                  </a:moveTo>
                  <a:lnTo>
                    <a:pt x="254" y="338"/>
                  </a:lnTo>
                  <a:lnTo>
                    <a:pt x="256" y="338"/>
                  </a:lnTo>
                  <a:close/>
                  <a:moveTo>
                    <a:pt x="261" y="338"/>
                  </a:moveTo>
                  <a:lnTo>
                    <a:pt x="258" y="338"/>
                  </a:lnTo>
                  <a:lnTo>
                    <a:pt x="261" y="338"/>
                  </a:lnTo>
                  <a:close/>
                  <a:moveTo>
                    <a:pt x="249" y="338"/>
                  </a:moveTo>
                  <a:lnTo>
                    <a:pt x="249" y="335"/>
                  </a:lnTo>
                  <a:lnTo>
                    <a:pt x="249" y="338"/>
                  </a:lnTo>
                  <a:close/>
                  <a:moveTo>
                    <a:pt x="261" y="335"/>
                  </a:moveTo>
                  <a:lnTo>
                    <a:pt x="261" y="338"/>
                  </a:lnTo>
                  <a:lnTo>
                    <a:pt x="258" y="335"/>
                  </a:lnTo>
                  <a:lnTo>
                    <a:pt x="261" y="335"/>
                  </a:lnTo>
                  <a:close/>
                  <a:moveTo>
                    <a:pt x="249" y="335"/>
                  </a:moveTo>
                  <a:lnTo>
                    <a:pt x="247" y="335"/>
                  </a:lnTo>
                  <a:lnTo>
                    <a:pt x="249" y="335"/>
                  </a:lnTo>
                  <a:close/>
                  <a:moveTo>
                    <a:pt x="247" y="335"/>
                  </a:moveTo>
                  <a:lnTo>
                    <a:pt x="249" y="335"/>
                  </a:lnTo>
                  <a:lnTo>
                    <a:pt x="247" y="335"/>
                  </a:lnTo>
                  <a:close/>
                  <a:moveTo>
                    <a:pt x="239" y="333"/>
                  </a:moveTo>
                  <a:lnTo>
                    <a:pt x="239" y="335"/>
                  </a:lnTo>
                  <a:lnTo>
                    <a:pt x="239" y="333"/>
                  </a:lnTo>
                  <a:close/>
                  <a:moveTo>
                    <a:pt x="256" y="335"/>
                  </a:moveTo>
                  <a:lnTo>
                    <a:pt x="256" y="333"/>
                  </a:lnTo>
                  <a:lnTo>
                    <a:pt x="256" y="335"/>
                  </a:lnTo>
                  <a:close/>
                  <a:moveTo>
                    <a:pt x="244" y="333"/>
                  </a:moveTo>
                  <a:lnTo>
                    <a:pt x="244" y="335"/>
                  </a:lnTo>
                  <a:lnTo>
                    <a:pt x="244" y="333"/>
                  </a:lnTo>
                  <a:close/>
                  <a:moveTo>
                    <a:pt x="251" y="331"/>
                  </a:moveTo>
                  <a:lnTo>
                    <a:pt x="251" y="333"/>
                  </a:lnTo>
                  <a:lnTo>
                    <a:pt x="251" y="331"/>
                  </a:lnTo>
                  <a:close/>
                  <a:moveTo>
                    <a:pt x="242" y="331"/>
                  </a:moveTo>
                  <a:lnTo>
                    <a:pt x="239" y="331"/>
                  </a:lnTo>
                  <a:lnTo>
                    <a:pt x="242" y="331"/>
                  </a:lnTo>
                  <a:close/>
                  <a:moveTo>
                    <a:pt x="242" y="331"/>
                  </a:moveTo>
                  <a:lnTo>
                    <a:pt x="239" y="331"/>
                  </a:lnTo>
                  <a:lnTo>
                    <a:pt x="242" y="331"/>
                  </a:lnTo>
                  <a:close/>
                  <a:moveTo>
                    <a:pt x="249" y="331"/>
                  </a:moveTo>
                  <a:lnTo>
                    <a:pt x="247" y="331"/>
                  </a:lnTo>
                  <a:lnTo>
                    <a:pt x="249" y="331"/>
                  </a:lnTo>
                  <a:close/>
                  <a:moveTo>
                    <a:pt x="251" y="328"/>
                  </a:moveTo>
                  <a:lnTo>
                    <a:pt x="251" y="331"/>
                  </a:lnTo>
                  <a:lnTo>
                    <a:pt x="251" y="328"/>
                  </a:lnTo>
                  <a:close/>
                  <a:moveTo>
                    <a:pt x="251" y="328"/>
                  </a:moveTo>
                  <a:lnTo>
                    <a:pt x="251" y="331"/>
                  </a:lnTo>
                  <a:lnTo>
                    <a:pt x="251" y="328"/>
                  </a:lnTo>
                  <a:close/>
                  <a:moveTo>
                    <a:pt x="251" y="331"/>
                  </a:moveTo>
                  <a:lnTo>
                    <a:pt x="251" y="328"/>
                  </a:lnTo>
                  <a:lnTo>
                    <a:pt x="251" y="331"/>
                  </a:lnTo>
                  <a:close/>
                  <a:moveTo>
                    <a:pt x="254" y="328"/>
                  </a:moveTo>
                  <a:lnTo>
                    <a:pt x="251" y="331"/>
                  </a:lnTo>
                  <a:lnTo>
                    <a:pt x="251" y="328"/>
                  </a:lnTo>
                  <a:lnTo>
                    <a:pt x="254" y="328"/>
                  </a:lnTo>
                  <a:close/>
                  <a:moveTo>
                    <a:pt x="237" y="328"/>
                  </a:moveTo>
                  <a:lnTo>
                    <a:pt x="235" y="331"/>
                  </a:lnTo>
                  <a:lnTo>
                    <a:pt x="235" y="328"/>
                  </a:lnTo>
                  <a:lnTo>
                    <a:pt x="237" y="328"/>
                  </a:lnTo>
                  <a:close/>
                  <a:moveTo>
                    <a:pt x="235" y="328"/>
                  </a:moveTo>
                  <a:lnTo>
                    <a:pt x="235" y="331"/>
                  </a:lnTo>
                  <a:lnTo>
                    <a:pt x="235" y="328"/>
                  </a:lnTo>
                  <a:close/>
                  <a:moveTo>
                    <a:pt x="251" y="328"/>
                  </a:moveTo>
                  <a:lnTo>
                    <a:pt x="251" y="331"/>
                  </a:lnTo>
                  <a:lnTo>
                    <a:pt x="251" y="328"/>
                  </a:lnTo>
                  <a:close/>
                  <a:moveTo>
                    <a:pt x="251" y="331"/>
                  </a:moveTo>
                  <a:lnTo>
                    <a:pt x="251" y="328"/>
                  </a:lnTo>
                  <a:lnTo>
                    <a:pt x="251" y="331"/>
                  </a:lnTo>
                  <a:close/>
                  <a:moveTo>
                    <a:pt x="237" y="328"/>
                  </a:moveTo>
                  <a:lnTo>
                    <a:pt x="237" y="331"/>
                  </a:lnTo>
                  <a:lnTo>
                    <a:pt x="237" y="328"/>
                  </a:lnTo>
                  <a:close/>
                  <a:moveTo>
                    <a:pt x="237" y="328"/>
                  </a:moveTo>
                  <a:lnTo>
                    <a:pt x="237" y="326"/>
                  </a:lnTo>
                  <a:lnTo>
                    <a:pt x="237" y="328"/>
                  </a:lnTo>
                  <a:close/>
                  <a:moveTo>
                    <a:pt x="247" y="328"/>
                  </a:moveTo>
                  <a:lnTo>
                    <a:pt x="247" y="326"/>
                  </a:lnTo>
                  <a:lnTo>
                    <a:pt x="247" y="328"/>
                  </a:lnTo>
                  <a:close/>
                  <a:moveTo>
                    <a:pt x="247" y="328"/>
                  </a:moveTo>
                  <a:lnTo>
                    <a:pt x="247" y="326"/>
                  </a:lnTo>
                  <a:lnTo>
                    <a:pt x="247" y="328"/>
                  </a:lnTo>
                  <a:close/>
                  <a:moveTo>
                    <a:pt x="235" y="326"/>
                  </a:moveTo>
                  <a:lnTo>
                    <a:pt x="235" y="328"/>
                  </a:lnTo>
                  <a:lnTo>
                    <a:pt x="235" y="326"/>
                  </a:lnTo>
                  <a:close/>
                  <a:moveTo>
                    <a:pt x="244" y="326"/>
                  </a:moveTo>
                  <a:lnTo>
                    <a:pt x="242" y="326"/>
                  </a:lnTo>
                  <a:lnTo>
                    <a:pt x="244" y="326"/>
                  </a:lnTo>
                  <a:close/>
                  <a:moveTo>
                    <a:pt x="244" y="326"/>
                  </a:moveTo>
                  <a:lnTo>
                    <a:pt x="242" y="326"/>
                  </a:lnTo>
                  <a:lnTo>
                    <a:pt x="244" y="326"/>
                  </a:lnTo>
                  <a:close/>
                  <a:moveTo>
                    <a:pt x="247" y="326"/>
                  </a:moveTo>
                  <a:lnTo>
                    <a:pt x="244" y="326"/>
                  </a:lnTo>
                  <a:lnTo>
                    <a:pt x="247" y="326"/>
                  </a:lnTo>
                  <a:close/>
                  <a:moveTo>
                    <a:pt x="232" y="326"/>
                  </a:moveTo>
                  <a:lnTo>
                    <a:pt x="232" y="324"/>
                  </a:lnTo>
                  <a:lnTo>
                    <a:pt x="232" y="326"/>
                  </a:lnTo>
                  <a:close/>
                  <a:moveTo>
                    <a:pt x="232" y="326"/>
                  </a:moveTo>
                  <a:lnTo>
                    <a:pt x="232" y="324"/>
                  </a:lnTo>
                  <a:lnTo>
                    <a:pt x="232" y="326"/>
                  </a:lnTo>
                  <a:close/>
                  <a:moveTo>
                    <a:pt x="221" y="326"/>
                  </a:moveTo>
                  <a:lnTo>
                    <a:pt x="221" y="324"/>
                  </a:lnTo>
                  <a:lnTo>
                    <a:pt x="221" y="326"/>
                  </a:lnTo>
                  <a:close/>
                  <a:moveTo>
                    <a:pt x="223" y="324"/>
                  </a:moveTo>
                  <a:lnTo>
                    <a:pt x="223" y="321"/>
                  </a:lnTo>
                  <a:lnTo>
                    <a:pt x="223" y="324"/>
                  </a:lnTo>
                  <a:close/>
                  <a:moveTo>
                    <a:pt x="235" y="324"/>
                  </a:moveTo>
                  <a:lnTo>
                    <a:pt x="235" y="321"/>
                  </a:lnTo>
                  <a:lnTo>
                    <a:pt x="235" y="324"/>
                  </a:lnTo>
                  <a:close/>
                  <a:moveTo>
                    <a:pt x="218" y="321"/>
                  </a:moveTo>
                  <a:lnTo>
                    <a:pt x="218" y="324"/>
                  </a:lnTo>
                  <a:lnTo>
                    <a:pt x="218" y="321"/>
                  </a:lnTo>
                  <a:close/>
                  <a:moveTo>
                    <a:pt x="223" y="321"/>
                  </a:moveTo>
                  <a:lnTo>
                    <a:pt x="223" y="324"/>
                  </a:lnTo>
                  <a:lnTo>
                    <a:pt x="223" y="321"/>
                  </a:lnTo>
                  <a:close/>
                  <a:moveTo>
                    <a:pt x="221" y="319"/>
                  </a:moveTo>
                  <a:lnTo>
                    <a:pt x="221" y="321"/>
                  </a:lnTo>
                  <a:lnTo>
                    <a:pt x="221" y="319"/>
                  </a:lnTo>
                  <a:close/>
                  <a:moveTo>
                    <a:pt x="221" y="321"/>
                  </a:moveTo>
                  <a:lnTo>
                    <a:pt x="221" y="319"/>
                  </a:lnTo>
                  <a:lnTo>
                    <a:pt x="221" y="321"/>
                  </a:lnTo>
                  <a:close/>
                  <a:moveTo>
                    <a:pt x="230" y="321"/>
                  </a:moveTo>
                  <a:lnTo>
                    <a:pt x="230" y="319"/>
                  </a:lnTo>
                  <a:lnTo>
                    <a:pt x="230" y="321"/>
                  </a:lnTo>
                  <a:close/>
                  <a:moveTo>
                    <a:pt x="221" y="319"/>
                  </a:moveTo>
                  <a:lnTo>
                    <a:pt x="218" y="319"/>
                  </a:lnTo>
                  <a:lnTo>
                    <a:pt x="221" y="319"/>
                  </a:lnTo>
                  <a:close/>
                  <a:moveTo>
                    <a:pt x="218" y="319"/>
                  </a:moveTo>
                  <a:lnTo>
                    <a:pt x="221" y="319"/>
                  </a:lnTo>
                  <a:lnTo>
                    <a:pt x="218" y="319"/>
                  </a:lnTo>
                  <a:close/>
                  <a:moveTo>
                    <a:pt x="216" y="319"/>
                  </a:moveTo>
                  <a:lnTo>
                    <a:pt x="216" y="316"/>
                  </a:lnTo>
                  <a:lnTo>
                    <a:pt x="216" y="319"/>
                  </a:lnTo>
                  <a:close/>
                  <a:moveTo>
                    <a:pt x="211" y="316"/>
                  </a:moveTo>
                  <a:lnTo>
                    <a:pt x="209" y="316"/>
                  </a:lnTo>
                  <a:lnTo>
                    <a:pt x="211" y="316"/>
                  </a:lnTo>
                  <a:close/>
                  <a:moveTo>
                    <a:pt x="211" y="314"/>
                  </a:moveTo>
                  <a:lnTo>
                    <a:pt x="209" y="314"/>
                  </a:lnTo>
                  <a:lnTo>
                    <a:pt x="211" y="314"/>
                  </a:lnTo>
                  <a:close/>
                  <a:moveTo>
                    <a:pt x="211" y="312"/>
                  </a:moveTo>
                  <a:lnTo>
                    <a:pt x="209" y="312"/>
                  </a:lnTo>
                  <a:lnTo>
                    <a:pt x="211" y="312"/>
                  </a:lnTo>
                  <a:close/>
                  <a:moveTo>
                    <a:pt x="209" y="309"/>
                  </a:moveTo>
                  <a:lnTo>
                    <a:pt x="209" y="307"/>
                  </a:lnTo>
                  <a:lnTo>
                    <a:pt x="209" y="309"/>
                  </a:lnTo>
                  <a:close/>
                  <a:moveTo>
                    <a:pt x="206" y="302"/>
                  </a:moveTo>
                  <a:lnTo>
                    <a:pt x="206" y="305"/>
                  </a:lnTo>
                  <a:lnTo>
                    <a:pt x="206" y="302"/>
                  </a:lnTo>
                  <a:close/>
                  <a:moveTo>
                    <a:pt x="204" y="302"/>
                  </a:moveTo>
                  <a:lnTo>
                    <a:pt x="206" y="302"/>
                  </a:lnTo>
                  <a:lnTo>
                    <a:pt x="204" y="302"/>
                  </a:lnTo>
                  <a:close/>
                  <a:moveTo>
                    <a:pt x="204" y="302"/>
                  </a:moveTo>
                  <a:lnTo>
                    <a:pt x="204" y="300"/>
                  </a:lnTo>
                  <a:lnTo>
                    <a:pt x="204" y="302"/>
                  </a:lnTo>
                  <a:close/>
                  <a:moveTo>
                    <a:pt x="206" y="300"/>
                  </a:moveTo>
                  <a:lnTo>
                    <a:pt x="209" y="300"/>
                  </a:lnTo>
                  <a:lnTo>
                    <a:pt x="206" y="300"/>
                  </a:lnTo>
                  <a:close/>
                  <a:moveTo>
                    <a:pt x="209" y="297"/>
                  </a:moveTo>
                  <a:lnTo>
                    <a:pt x="209" y="300"/>
                  </a:lnTo>
                  <a:lnTo>
                    <a:pt x="209" y="297"/>
                  </a:lnTo>
                  <a:close/>
                  <a:moveTo>
                    <a:pt x="206" y="295"/>
                  </a:moveTo>
                  <a:lnTo>
                    <a:pt x="209" y="295"/>
                  </a:lnTo>
                  <a:lnTo>
                    <a:pt x="206" y="295"/>
                  </a:lnTo>
                  <a:close/>
                  <a:moveTo>
                    <a:pt x="206" y="295"/>
                  </a:moveTo>
                  <a:lnTo>
                    <a:pt x="206" y="293"/>
                  </a:lnTo>
                  <a:lnTo>
                    <a:pt x="206" y="295"/>
                  </a:lnTo>
                  <a:close/>
                  <a:moveTo>
                    <a:pt x="209" y="293"/>
                  </a:moveTo>
                  <a:lnTo>
                    <a:pt x="209" y="295"/>
                  </a:lnTo>
                  <a:lnTo>
                    <a:pt x="209" y="293"/>
                  </a:lnTo>
                  <a:close/>
                  <a:moveTo>
                    <a:pt x="209" y="293"/>
                  </a:moveTo>
                  <a:lnTo>
                    <a:pt x="209" y="295"/>
                  </a:lnTo>
                  <a:lnTo>
                    <a:pt x="206" y="293"/>
                  </a:lnTo>
                  <a:lnTo>
                    <a:pt x="209" y="293"/>
                  </a:lnTo>
                  <a:close/>
                  <a:moveTo>
                    <a:pt x="206" y="290"/>
                  </a:moveTo>
                  <a:lnTo>
                    <a:pt x="204" y="290"/>
                  </a:lnTo>
                  <a:lnTo>
                    <a:pt x="206" y="290"/>
                  </a:lnTo>
                  <a:close/>
                  <a:moveTo>
                    <a:pt x="206" y="286"/>
                  </a:moveTo>
                  <a:lnTo>
                    <a:pt x="206" y="288"/>
                  </a:lnTo>
                  <a:lnTo>
                    <a:pt x="206" y="286"/>
                  </a:lnTo>
                  <a:lnTo>
                    <a:pt x="206" y="288"/>
                  </a:lnTo>
                  <a:lnTo>
                    <a:pt x="206" y="286"/>
                  </a:lnTo>
                  <a:close/>
                  <a:moveTo>
                    <a:pt x="206" y="286"/>
                  </a:moveTo>
                  <a:lnTo>
                    <a:pt x="204" y="286"/>
                  </a:lnTo>
                  <a:lnTo>
                    <a:pt x="206" y="286"/>
                  </a:lnTo>
                  <a:close/>
                  <a:moveTo>
                    <a:pt x="206" y="286"/>
                  </a:moveTo>
                  <a:lnTo>
                    <a:pt x="204" y="286"/>
                  </a:lnTo>
                  <a:lnTo>
                    <a:pt x="206" y="286"/>
                  </a:lnTo>
                  <a:close/>
                  <a:moveTo>
                    <a:pt x="204" y="283"/>
                  </a:moveTo>
                  <a:lnTo>
                    <a:pt x="204" y="286"/>
                  </a:lnTo>
                  <a:lnTo>
                    <a:pt x="204" y="283"/>
                  </a:lnTo>
                  <a:close/>
                  <a:moveTo>
                    <a:pt x="204" y="283"/>
                  </a:moveTo>
                  <a:lnTo>
                    <a:pt x="204" y="286"/>
                  </a:lnTo>
                  <a:lnTo>
                    <a:pt x="204" y="283"/>
                  </a:lnTo>
                  <a:close/>
                  <a:moveTo>
                    <a:pt x="206" y="283"/>
                  </a:moveTo>
                  <a:lnTo>
                    <a:pt x="206" y="286"/>
                  </a:lnTo>
                  <a:lnTo>
                    <a:pt x="206" y="283"/>
                  </a:lnTo>
                  <a:close/>
                  <a:moveTo>
                    <a:pt x="206" y="283"/>
                  </a:moveTo>
                  <a:lnTo>
                    <a:pt x="204" y="283"/>
                  </a:lnTo>
                  <a:lnTo>
                    <a:pt x="206" y="283"/>
                  </a:lnTo>
                  <a:close/>
                  <a:moveTo>
                    <a:pt x="206" y="281"/>
                  </a:moveTo>
                  <a:lnTo>
                    <a:pt x="204" y="281"/>
                  </a:lnTo>
                  <a:lnTo>
                    <a:pt x="206" y="281"/>
                  </a:lnTo>
                  <a:close/>
                  <a:moveTo>
                    <a:pt x="204" y="278"/>
                  </a:moveTo>
                  <a:lnTo>
                    <a:pt x="206" y="278"/>
                  </a:lnTo>
                  <a:lnTo>
                    <a:pt x="204" y="278"/>
                  </a:lnTo>
                  <a:close/>
                  <a:moveTo>
                    <a:pt x="206" y="271"/>
                  </a:moveTo>
                  <a:lnTo>
                    <a:pt x="204" y="271"/>
                  </a:lnTo>
                  <a:lnTo>
                    <a:pt x="206" y="271"/>
                  </a:lnTo>
                  <a:close/>
                  <a:moveTo>
                    <a:pt x="209" y="269"/>
                  </a:moveTo>
                  <a:lnTo>
                    <a:pt x="209" y="271"/>
                  </a:lnTo>
                  <a:lnTo>
                    <a:pt x="209" y="269"/>
                  </a:lnTo>
                  <a:close/>
                  <a:moveTo>
                    <a:pt x="204" y="269"/>
                  </a:moveTo>
                  <a:lnTo>
                    <a:pt x="206" y="269"/>
                  </a:lnTo>
                  <a:lnTo>
                    <a:pt x="204" y="269"/>
                  </a:lnTo>
                  <a:close/>
                  <a:moveTo>
                    <a:pt x="202" y="269"/>
                  </a:moveTo>
                  <a:lnTo>
                    <a:pt x="204" y="269"/>
                  </a:lnTo>
                  <a:lnTo>
                    <a:pt x="202" y="269"/>
                  </a:lnTo>
                  <a:close/>
                  <a:moveTo>
                    <a:pt x="204" y="264"/>
                  </a:moveTo>
                  <a:lnTo>
                    <a:pt x="204" y="267"/>
                  </a:lnTo>
                  <a:lnTo>
                    <a:pt x="204" y="264"/>
                  </a:lnTo>
                  <a:close/>
                  <a:moveTo>
                    <a:pt x="206" y="264"/>
                  </a:moveTo>
                  <a:lnTo>
                    <a:pt x="204" y="264"/>
                  </a:lnTo>
                  <a:lnTo>
                    <a:pt x="206" y="264"/>
                  </a:lnTo>
                  <a:close/>
                  <a:moveTo>
                    <a:pt x="211" y="262"/>
                  </a:moveTo>
                  <a:lnTo>
                    <a:pt x="209" y="262"/>
                  </a:lnTo>
                  <a:lnTo>
                    <a:pt x="211" y="262"/>
                  </a:lnTo>
                  <a:close/>
                  <a:moveTo>
                    <a:pt x="211" y="257"/>
                  </a:moveTo>
                  <a:lnTo>
                    <a:pt x="211" y="255"/>
                  </a:lnTo>
                  <a:lnTo>
                    <a:pt x="211" y="257"/>
                  </a:lnTo>
                  <a:close/>
                  <a:moveTo>
                    <a:pt x="213" y="252"/>
                  </a:moveTo>
                  <a:lnTo>
                    <a:pt x="213" y="255"/>
                  </a:lnTo>
                  <a:lnTo>
                    <a:pt x="213" y="252"/>
                  </a:lnTo>
                  <a:close/>
                  <a:moveTo>
                    <a:pt x="211" y="250"/>
                  </a:moveTo>
                  <a:lnTo>
                    <a:pt x="209" y="250"/>
                  </a:lnTo>
                  <a:lnTo>
                    <a:pt x="211" y="250"/>
                  </a:lnTo>
                  <a:close/>
                  <a:moveTo>
                    <a:pt x="213" y="245"/>
                  </a:moveTo>
                  <a:lnTo>
                    <a:pt x="211" y="245"/>
                  </a:lnTo>
                  <a:lnTo>
                    <a:pt x="213" y="245"/>
                  </a:lnTo>
                  <a:close/>
                  <a:moveTo>
                    <a:pt x="216" y="229"/>
                  </a:moveTo>
                  <a:lnTo>
                    <a:pt x="213" y="229"/>
                  </a:lnTo>
                  <a:lnTo>
                    <a:pt x="216" y="229"/>
                  </a:lnTo>
                  <a:close/>
                  <a:moveTo>
                    <a:pt x="216" y="229"/>
                  </a:moveTo>
                  <a:lnTo>
                    <a:pt x="213" y="229"/>
                  </a:lnTo>
                  <a:lnTo>
                    <a:pt x="216" y="229"/>
                  </a:lnTo>
                  <a:close/>
                  <a:moveTo>
                    <a:pt x="216" y="224"/>
                  </a:moveTo>
                  <a:lnTo>
                    <a:pt x="216" y="226"/>
                  </a:lnTo>
                  <a:lnTo>
                    <a:pt x="216" y="224"/>
                  </a:lnTo>
                  <a:close/>
                  <a:moveTo>
                    <a:pt x="225" y="219"/>
                  </a:moveTo>
                  <a:lnTo>
                    <a:pt x="223" y="219"/>
                  </a:lnTo>
                  <a:lnTo>
                    <a:pt x="225" y="219"/>
                  </a:lnTo>
                  <a:close/>
                  <a:moveTo>
                    <a:pt x="213" y="219"/>
                  </a:moveTo>
                  <a:lnTo>
                    <a:pt x="213" y="217"/>
                  </a:lnTo>
                  <a:lnTo>
                    <a:pt x="213" y="219"/>
                  </a:lnTo>
                  <a:close/>
                  <a:moveTo>
                    <a:pt x="232" y="202"/>
                  </a:moveTo>
                  <a:lnTo>
                    <a:pt x="235" y="202"/>
                  </a:lnTo>
                  <a:lnTo>
                    <a:pt x="232" y="202"/>
                  </a:lnTo>
                  <a:close/>
                  <a:moveTo>
                    <a:pt x="230" y="200"/>
                  </a:moveTo>
                  <a:lnTo>
                    <a:pt x="228" y="200"/>
                  </a:lnTo>
                  <a:lnTo>
                    <a:pt x="230" y="200"/>
                  </a:lnTo>
                  <a:close/>
                  <a:moveTo>
                    <a:pt x="244" y="200"/>
                  </a:moveTo>
                  <a:lnTo>
                    <a:pt x="244" y="198"/>
                  </a:lnTo>
                  <a:lnTo>
                    <a:pt x="244" y="200"/>
                  </a:lnTo>
                  <a:close/>
                  <a:moveTo>
                    <a:pt x="242" y="198"/>
                  </a:moveTo>
                  <a:lnTo>
                    <a:pt x="239" y="195"/>
                  </a:lnTo>
                  <a:lnTo>
                    <a:pt x="242" y="198"/>
                  </a:lnTo>
                  <a:close/>
                  <a:moveTo>
                    <a:pt x="251" y="191"/>
                  </a:moveTo>
                  <a:lnTo>
                    <a:pt x="251" y="193"/>
                  </a:lnTo>
                  <a:lnTo>
                    <a:pt x="251" y="191"/>
                  </a:lnTo>
                  <a:close/>
                  <a:moveTo>
                    <a:pt x="249" y="188"/>
                  </a:moveTo>
                  <a:lnTo>
                    <a:pt x="249" y="191"/>
                  </a:lnTo>
                  <a:lnTo>
                    <a:pt x="249" y="188"/>
                  </a:lnTo>
                  <a:close/>
                  <a:moveTo>
                    <a:pt x="254" y="191"/>
                  </a:moveTo>
                  <a:lnTo>
                    <a:pt x="254" y="188"/>
                  </a:lnTo>
                  <a:lnTo>
                    <a:pt x="254" y="191"/>
                  </a:lnTo>
                  <a:close/>
                  <a:moveTo>
                    <a:pt x="256" y="188"/>
                  </a:moveTo>
                  <a:lnTo>
                    <a:pt x="254" y="188"/>
                  </a:lnTo>
                  <a:lnTo>
                    <a:pt x="256" y="188"/>
                  </a:lnTo>
                  <a:close/>
                  <a:moveTo>
                    <a:pt x="251" y="186"/>
                  </a:moveTo>
                  <a:lnTo>
                    <a:pt x="249" y="186"/>
                  </a:lnTo>
                  <a:lnTo>
                    <a:pt x="251" y="186"/>
                  </a:lnTo>
                  <a:close/>
                  <a:moveTo>
                    <a:pt x="223" y="186"/>
                  </a:moveTo>
                  <a:lnTo>
                    <a:pt x="223" y="188"/>
                  </a:lnTo>
                  <a:lnTo>
                    <a:pt x="223" y="186"/>
                  </a:lnTo>
                  <a:close/>
                  <a:moveTo>
                    <a:pt x="254" y="186"/>
                  </a:moveTo>
                  <a:lnTo>
                    <a:pt x="251" y="186"/>
                  </a:lnTo>
                  <a:lnTo>
                    <a:pt x="254" y="186"/>
                  </a:lnTo>
                  <a:close/>
                  <a:moveTo>
                    <a:pt x="251" y="186"/>
                  </a:moveTo>
                  <a:lnTo>
                    <a:pt x="251" y="183"/>
                  </a:lnTo>
                  <a:lnTo>
                    <a:pt x="251" y="186"/>
                  </a:lnTo>
                  <a:close/>
                  <a:moveTo>
                    <a:pt x="254" y="183"/>
                  </a:moveTo>
                  <a:lnTo>
                    <a:pt x="251" y="186"/>
                  </a:lnTo>
                  <a:lnTo>
                    <a:pt x="251" y="183"/>
                  </a:lnTo>
                  <a:lnTo>
                    <a:pt x="254" y="183"/>
                  </a:lnTo>
                  <a:close/>
                  <a:moveTo>
                    <a:pt x="256" y="183"/>
                  </a:moveTo>
                  <a:lnTo>
                    <a:pt x="254" y="183"/>
                  </a:lnTo>
                  <a:lnTo>
                    <a:pt x="256" y="183"/>
                  </a:lnTo>
                  <a:close/>
                  <a:moveTo>
                    <a:pt x="263" y="181"/>
                  </a:moveTo>
                  <a:lnTo>
                    <a:pt x="263" y="179"/>
                  </a:lnTo>
                  <a:lnTo>
                    <a:pt x="263" y="181"/>
                  </a:lnTo>
                  <a:close/>
                  <a:moveTo>
                    <a:pt x="266" y="179"/>
                  </a:moveTo>
                  <a:lnTo>
                    <a:pt x="266" y="181"/>
                  </a:lnTo>
                  <a:lnTo>
                    <a:pt x="266" y="179"/>
                  </a:lnTo>
                  <a:close/>
                  <a:moveTo>
                    <a:pt x="266" y="179"/>
                  </a:moveTo>
                  <a:lnTo>
                    <a:pt x="266" y="181"/>
                  </a:lnTo>
                  <a:lnTo>
                    <a:pt x="263" y="181"/>
                  </a:lnTo>
                  <a:lnTo>
                    <a:pt x="263" y="179"/>
                  </a:lnTo>
                  <a:lnTo>
                    <a:pt x="266" y="179"/>
                  </a:lnTo>
                  <a:close/>
                  <a:moveTo>
                    <a:pt x="263" y="179"/>
                  </a:moveTo>
                  <a:lnTo>
                    <a:pt x="263" y="181"/>
                  </a:lnTo>
                  <a:lnTo>
                    <a:pt x="263" y="179"/>
                  </a:lnTo>
                  <a:lnTo>
                    <a:pt x="263" y="181"/>
                  </a:lnTo>
                  <a:lnTo>
                    <a:pt x="263" y="179"/>
                  </a:lnTo>
                  <a:close/>
                  <a:moveTo>
                    <a:pt x="268" y="179"/>
                  </a:moveTo>
                  <a:lnTo>
                    <a:pt x="266" y="179"/>
                  </a:lnTo>
                  <a:lnTo>
                    <a:pt x="268" y="179"/>
                  </a:lnTo>
                  <a:close/>
                  <a:moveTo>
                    <a:pt x="261" y="176"/>
                  </a:moveTo>
                  <a:lnTo>
                    <a:pt x="261" y="174"/>
                  </a:lnTo>
                  <a:lnTo>
                    <a:pt x="261" y="176"/>
                  </a:lnTo>
                  <a:close/>
                  <a:moveTo>
                    <a:pt x="268" y="176"/>
                  </a:moveTo>
                  <a:lnTo>
                    <a:pt x="268" y="174"/>
                  </a:lnTo>
                  <a:lnTo>
                    <a:pt x="268" y="176"/>
                  </a:lnTo>
                  <a:close/>
                  <a:moveTo>
                    <a:pt x="273" y="174"/>
                  </a:moveTo>
                  <a:lnTo>
                    <a:pt x="270" y="174"/>
                  </a:lnTo>
                  <a:lnTo>
                    <a:pt x="273" y="174"/>
                  </a:lnTo>
                  <a:close/>
                  <a:moveTo>
                    <a:pt x="273" y="174"/>
                  </a:moveTo>
                  <a:lnTo>
                    <a:pt x="273" y="172"/>
                  </a:lnTo>
                  <a:lnTo>
                    <a:pt x="273" y="174"/>
                  </a:lnTo>
                  <a:close/>
                  <a:moveTo>
                    <a:pt x="270" y="174"/>
                  </a:moveTo>
                  <a:lnTo>
                    <a:pt x="268" y="174"/>
                  </a:lnTo>
                  <a:lnTo>
                    <a:pt x="270" y="172"/>
                  </a:lnTo>
                  <a:lnTo>
                    <a:pt x="270" y="174"/>
                  </a:lnTo>
                  <a:close/>
                  <a:moveTo>
                    <a:pt x="285" y="169"/>
                  </a:moveTo>
                  <a:lnTo>
                    <a:pt x="285" y="167"/>
                  </a:lnTo>
                  <a:lnTo>
                    <a:pt x="285" y="169"/>
                  </a:lnTo>
                  <a:close/>
                  <a:moveTo>
                    <a:pt x="280" y="167"/>
                  </a:moveTo>
                  <a:lnTo>
                    <a:pt x="280" y="169"/>
                  </a:lnTo>
                  <a:lnTo>
                    <a:pt x="280" y="167"/>
                  </a:lnTo>
                  <a:close/>
                  <a:moveTo>
                    <a:pt x="289" y="167"/>
                  </a:moveTo>
                  <a:lnTo>
                    <a:pt x="287" y="167"/>
                  </a:lnTo>
                  <a:lnTo>
                    <a:pt x="289" y="167"/>
                  </a:lnTo>
                  <a:close/>
                  <a:moveTo>
                    <a:pt x="280" y="167"/>
                  </a:moveTo>
                  <a:lnTo>
                    <a:pt x="277" y="167"/>
                  </a:lnTo>
                  <a:lnTo>
                    <a:pt x="280" y="167"/>
                  </a:lnTo>
                  <a:close/>
                  <a:moveTo>
                    <a:pt x="289" y="164"/>
                  </a:moveTo>
                  <a:lnTo>
                    <a:pt x="289" y="167"/>
                  </a:lnTo>
                  <a:lnTo>
                    <a:pt x="289" y="164"/>
                  </a:lnTo>
                  <a:close/>
                  <a:moveTo>
                    <a:pt x="280" y="164"/>
                  </a:moveTo>
                  <a:lnTo>
                    <a:pt x="280" y="167"/>
                  </a:lnTo>
                  <a:lnTo>
                    <a:pt x="280" y="164"/>
                  </a:lnTo>
                  <a:lnTo>
                    <a:pt x="277" y="167"/>
                  </a:lnTo>
                  <a:lnTo>
                    <a:pt x="277" y="164"/>
                  </a:lnTo>
                  <a:lnTo>
                    <a:pt x="280" y="164"/>
                  </a:lnTo>
                  <a:close/>
                  <a:moveTo>
                    <a:pt x="277" y="167"/>
                  </a:moveTo>
                  <a:lnTo>
                    <a:pt x="277" y="164"/>
                  </a:lnTo>
                  <a:lnTo>
                    <a:pt x="277" y="167"/>
                  </a:lnTo>
                  <a:close/>
                  <a:moveTo>
                    <a:pt x="277" y="164"/>
                  </a:moveTo>
                  <a:lnTo>
                    <a:pt x="275" y="164"/>
                  </a:lnTo>
                  <a:lnTo>
                    <a:pt x="277" y="164"/>
                  </a:lnTo>
                  <a:close/>
                  <a:moveTo>
                    <a:pt x="282" y="164"/>
                  </a:moveTo>
                  <a:lnTo>
                    <a:pt x="282" y="162"/>
                  </a:lnTo>
                  <a:lnTo>
                    <a:pt x="282" y="164"/>
                  </a:lnTo>
                  <a:close/>
                  <a:moveTo>
                    <a:pt x="294" y="162"/>
                  </a:moveTo>
                  <a:lnTo>
                    <a:pt x="294" y="164"/>
                  </a:lnTo>
                  <a:lnTo>
                    <a:pt x="294" y="162"/>
                  </a:lnTo>
                  <a:close/>
                  <a:moveTo>
                    <a:pt x="294" y="162"/>
                  </a:moveTo>
                  <a:lnTo>
                    <a:pt x="292" y="162"/>
                  </a:lnTo>
                  <a:lnTo>
                    <a:pt x="294" y="162"/>
                  </a:lnTo>
                  <a:close/>
                  <a:moveTo>
                    <a:pt x="294" y="162"/>
                  </a:moveTo>
                  <a:lnTo>
                    <a:pt x="292" y="162"/>
                  </a:lnTo>
                  <a:lnTo>
                    <a:pt x="294" y="162"/>
                  </a:lnTo>
                  <a:close/>
                  <a:moveTo>
                    <a:pt x="294" y="160"/>
                  </a:moveTo>
                  <a:lnTo>
                    <a:pt x="294" y="162"/>
                  </a:lnTo>
                  <a:lnTo>
                    <a:pt x="294" y="160"/>
                  </a:lnTo>
                  <a:close/>
                  <a:moveTo>
                    <a:pt x="292" y="162"/>
                  </a:moveTo>
                  <a:lnTo>
                    <a:pt x="292" y="160"/>
                  </a:lnTo>
                  <a:lnTo>
                    <a:pt x="292" y="162"/>
                  </a:lnTo>
                  <a:close/>
                  <a:moveTo>
                    <a:pt x="294" y="160"/>
                  </a:moveTo>
                  <a:lnTo>
                    <a:pt x="292" y="160"/>
                  </a:lnTo>
                  <a:lnTo>
                    <a:pt x="294" y="160"/>
                  </a:lnTo>
                  <a:close/>
                  <a:moveTo>
                    <a:pt x="294" y="160"/>
                  </a:moveTo>
                  <a:lnTo>
                    <a:pt x="292" y="160"/>
                  </a:lnTo>
                  <a:lnTo>
                    <a:pt x="294" y="160"/>
                  </a:lnTo>
                  <a:close/>
                  <a:moveTo>
                    <a:pt x="299" y="160"/>
                  </a:moveTo>
                  <a:lnTo>
                    <a:pt x="299" y="157"/>
                  </a:lnTo>
                  <a:lnTo>
                    <a:pt x="299" y="160"/>
                  </a:lnTo>
                  <a:close/>
                  <a:moveTo>
                    <a:pt x="294" y="160"/>
                  </a:moveTo>
                  <a:lnTo>
                    <a:pt x="294" y="157"/>
                  </a:lnTo>
                  <a:lnTo>
                    <a:pt x="294" y="160"/>
                  </a:lnTo>
                  <a:close/>
                  <a:moveTo>
                    <a:pt x="325" y="157"/>
                  </a:moveTo>
                  <a:lnTo>
                    <a:pt x="323" y="157"/>
                  </a:lnTo>
                  <a:lnTo>
                    <a:pt x="325" y="157"/>
                  </a:lnTo>
                  <a:close/>
                  <a:moveTo>
                    <a:pt x="323" y="157"/>
                  </a:moveTo>
                  <a:lnTo>
                    <a:pt x="323" y="155"/>
                  </a:lnTo>
                  <a:lnTo>
                    <a:pt x="323" y="157"/>
                  </a:lnTo>
                  <a:close/>
                  <a:moveTo>
                    <a:pt x="325" y="155"/>
                  </a:moveTo>
                  <a:lnTo>
                    <a:pt x="325" y="157"/>
                  </a:lnTo>
                  <a:lnTo>
                    <a:pt x="325" y="155"/>
                  </a:lnTo>
                  <a:close/>
                  <a:moveTo>
                    <a:pt x="327" y="155"/>
                  </a:moveTo>
                  <a:lnTo>
                    <a:pt x="325" y="155"/>
                  </a:lnTo>
                  <a:lnTo>
                    <a:pt x="327" y="155"/>
                  </a:lnTo>
                  <a:close/>
                  <a:moveTo>
                    <a:pt x="308" y="155"/>
                  </a:moveTo>
                  <a:lnTo>
                    <a:pt x="308" y="153"/>
                  </a:lnTo>
                  <a:lnTo>
                    <a:pt x="308" y="155"/>
                  </a:lnTo>
                  <a:close/>
                  <a:moveTo>
                    <a:pt x="325" y="155"/>
                  </a:moveTo>
                  <a:lnTo>
                    <a:pt x="325" y="153"/>
                  </a:lnTo>
                  <a:lnTo>
                    <a:pt x="325" y="155"/>
                  </a:lnTo>
                  <a:close/>
                  <a:moveTo>
                    <a:pt x="311" y="155"/>
                  </a:moveTo>
                  <a:lnTo>
                    <a:pt x="311" y="153"/>
                  </a:lnTo>
                  <a:lnTo>
                    <a:pt x="311" y="155"/>
                  </a:lnTo>
                  <a:close/>
                  <a:moveTo>
                    <a:pt x="311" y="153"/>
                  </a:moveTo>
                  <a:lnTo>
                    <a:pt x="313" y="153"/>
                  </a:lnTo>
                  <a:lnTo>
                    <a:pt x="311" y="153"/>
                  </a:lnTo>
                  <a:close/>
                  <a:moveTo>
                    <a:pt x="311" y="153"/>
                  </a:moveTo>
                  <a:lnTo>
                    <a:pt x="313" y="153"/>
                  </a:lnTo>
                  <a:lnTo>
                    <a:pt x="311" y="153"/>
                  </a:lnTo>
                  <a:close/>
                  <a:moveTo>
                    <a:pt x="313" y="150"/>
                  </a:moveTo>
                  <a:lnTo>
                    <a:pt x="313" y="153"/>
                  </a:lnTo>
                  <a:lnTo>
                    <a:pt x="313" y="150"/>
                  </a:lnTo>
                  <a:close/>
                  <a:moveTo>
                    <a:pt x="318" y="148"/>
                  </a:moveTo>
                  <a:lnTo>
                    <a:pt x="318" y="150"/>
                  </a:lnTo>
                  <a:lnTo>
                    <a:pt x="318" y="148"/>
                  </a:lnTo>
                  <a:close/>
                  <a:moveTo>
                    <a:pt x="325" y="148"/>
                  </a:moveTo>
                  <a:lnTo>
                    <a:pt x="325" y="150"/>
                  </a:lnTo>
                  <a:lnTo>
                    <a:pt x="325" y="148"/>
                  </a:lnTo>
                  <a:close/>
                  <a:moveTo>
                    <a:pt x="313" y="150"/>
                  </a:moveTo>
                  <a:lnTo>
                    <a:pt x="313" y="148"/>
                  </a:lnTo>
                  <a:lnTo>
                    <a:pt x="313" y="150"/>
                  </a:lnTo>
                  <a:close/>
                  <a:moveTo>
                    <a:pt x="308" y="150"/>
                  </a:moveTo>
                  <a:lnTo>
                    <a:pt x="308" y="148"/>
                  </a:lnTo>
                  <a:lnTo>
                    <a:pt x="308" y="150"/>
                  </a:lnTo>
                  <a:close/>
                  <a:moveTo>
                    <a:pt x="315" y="148"/>
                  </a:moveTo>
                  <a:lnTo>
                    <a:pt x="313" y="148"/>
                  </a:lnTo>
                  <a:lnTo>
                    <a:pt x="315" y="148"/>
                  </a:lnTo>
                  <a:close/>
                  <a:moveTo>
                    <a:pt x="315" y="148"/>
                  </a:moveTo>
                  <a:lnTo>
                    <a:pt x="313" y="148"/>
                  </a:lnTo>
                  <a:lnTo>
                    <a:pt x="315" y="148"/>
                  </a:lnTo>
                  <a:close/>
                  <a:moveTo>
                    <a:pt x="330" y="148"/>
                  </a:moveTo>
                  <a:lnTo>
                    <a:pt x="327" y="148"/>
                  </a:lnTo>
                  <a:lnTo>
                    <a:pt x="330" y="148"/>
                  </a:lnTo>
                  <a:lnTo>
                    <a:pt x="327" y="148"/>
                  </a:lnTo>
                  <a:lnTo>
                    <a:pt x="330" y="148"/>
                  </a:lnTo>
                  <a:close/>
                  <a:moveTo>
                    <a:pt x="318" y="145"/>
                  </a:moveTo>
                  <a:lnTo>
                    <a:pt x="318" y="148"/>
                  </a:lnTo>
                  <a:lnTo>
                    <a:pt x="318" y="145"/>
                  </a:lnTo>
                  <a:close/>
                  <a:moveTo>
                    <a:pt x="318" y="148"/>
                  </a:moveTo>
                  <a:lnTo>
                    <a:pt x="318" y="145"/>
                  </a:lnTo>
                  <a:lnTo>
                    <a:pt x="318" y="148"/>
                  </a:lnTo>
                  <a:close/>
                  <a:moveTo>
                    <a:pt x="318" y="148"/>
                  </a:moveTo>
                  <a:lnTo>
                    <a:pt x="318" y="145"/>
                  </a:lnTo>
                  <a:lnTo>
                    <a:pt x="318" y="148"/>
                  </a:lnTo>
                  <a:close/>
                  <a:moveTo>
                    <a:pt x="330" y="145"/>
                  </a:moveTo>
                  <a:lnTo>
                    <a:pt x="327" y="145"/>
                  </a:lnTo>
                  <a:lnTo>
                    <a:pt x="330" y="145"/>
                  </a:lnTo>
                  <a:close/>
                  <a:moveTo>
                    <a:pt x="325" y="138"/>
                  </a:moveTo>
                  <a:lnTo>
                    <a:pt x="325" y="141"/>
                  </a:lnTo>
                  <a:lnTo>
                    <a:pt x="325" y="138"/>
                  </a:lnTo>
                  <a:close/>
                  <a:moveTo>
                    <a:pt x="325" y="138"/>
                  </a:moveTo>
                  <a:lnTo>
                    <a:pt x="325" y="141"/>
                  </a:lnTo>
                  <a:lnTo>
                    <a:pt x="325" y="138"/>
                  </a:lnTo>
                  <a:close/>
                  <a:moveTo>
                    <a:pt x="327" y="136"/>
                  </a:moveTo>
                  <a:lnTo>
                    <a:pt x="325" y="136"/>
                  </a:lnTo>
                  <a:lnTo>
                    <a:pt x="327" y="136"/>
                  </a:lnTo>
                  <a:close/>
                  <a:moveTo>
                    <a:pt x="327" y="134"/>
                  </a:moveTo>
                  <a:lnTo>
                    <a:pt x="327" y="136"/>
                  </a:lnTo>
                  <a:lnTo>
                    <a:pt x="327" y="134"/>
                  </a:lnTo>
                  <a:close/>
                  <a:moveTo>
                    <a:pt x="330" y="131"/>
                  </a:moveTo>
                  <a:lnTo>
                    <a:pt x="327" y="131"/>
                  </a:lnTo>
                  <a:lnTo>
                    <a:pt x="330" y="131"/>
                  </a:lnTo>
                  <a:close/>
                  <a:moveTo>
                    <a:pt x="330" y="126"/>
                  </a:moveTo>
                  <a:lnTo>
                    <a:pt x="330" y="129"/>
                  </a:lnTo>
                  <a:lnTo>
                    <a:pt x="330" y="126"/>
                  </a:lnTo>
                  <a:close/>
                  <a:moveTo>
                    <a:pt x="332" y="124"/>
                  </a:moveTo>
                  <a:lnTo>
                    <a:pt x="332" y="126"/>
                  </a:lnTo>
                  <a:lnTo>
                    <a:pt x="332" y="124"/>
                  </a:lnTo>
                  <a:close/>
                  <a:moveTo>
                    <a:pt x="339" y="122"/>
                  </a:moveTo>
                  <a:lnTo>
                    <a:pt x="337" y="122"/>
                  </a:lnTo>
                  <a:lnTo>
                    <a:pt x="339" y="122"/>
                  </a:lnTo>
                  <a:close/>
                  <a:moveTo>
                    <a:pt x="349" y="117"/>
                  </a:moveTo>
                  <a:lnTo>
                    <a:pt x="346" y="117"/>
                  </a:lnTo>
                  <a:lnTo>
                    <a:pt x="349" y="117"/>
                  </a:lnTo>
                  <a:close/>
                  <a:moveTo>
                    <a:pt x="349" y="110"/>
                  </a:moveTo>
                  <a:lnTo>
                    <a:pt x="346" y="110"/>
                  </a:lnTo>
                  <a:lnTo>
                    <a:pt x="349" y="110"/>
                  </a:lnTo>
                  <a:close/>
                  <a:moveTo>
                    <a:pt x="346" y="107"/>
                  </a:moveTo>
                  <a:lnTo>
                    <a:pt x="346" y="105"/>
                  </a:lnTo>
                  <a:lnTo>
                    <a:pt x="346" y="107"/>
                  </a:lnTo>
                  <a:close/>
                  <a:moveTo>
                    <a:pt x="339" y="100"/>
                  </a:moveTo>
                  <a:lnTo>
                    <a:pt x="339" y="103"/>
                  </a:lnTo>
                  <a:lnTo>
                    <a:pt x="339" y="100"/>
                  </a:lnTo>
                  <a:close/>
                  <a:moveTo>
                    <a:pt x="337" y="98"/>
                  </a:moveTo>
                  <a:lnTo>
                    <a:pt x="334" y="98"/>
                  </a:lnTo>
                  <a:lnTo>
                    <a:pt x="337" y="98"/>
                  </a:lnTo>
                  <a:close/>
                  <a:moveTo>
                    <a:pt x="339" y="96"/>
                  </a:moveTo>
                  <a:lnTo>
                    <a:pt x="342" y="96"/>
                  </a:lnTo>
                  <a:lnTo>
                    <a:pt x="339" y="96"/>
                  </a:lnTo>
                  <a:close/>
                  <a:moveTo>
                    <a:pt x="342" y="93"/>
                  </a:moveTo>
                  <a:lnTo>
                    <a:pt x="342" y="96"/>
                  </a:lnTo>
                  <a:lnTo>
                    <a:pt x="342" y="93"/>
                  </a:lnTo>
                  <a:close/>
                  <a:moveTo>
                    <a:pt x="334" y="93"/>
                  </a:moveTo>
                  <a:lnTo>
                    <a:pt x="334" y="91"/>
                  </a:lnTo>
                  <a:lnTo>
                    <a:pt x="334" y="93"/>
                  </a:lnTo>
                  <a:close/>
                  <a:moveTo>
                    <a:pt x="332" y="88"/>
                  </a:moveTo>
                  <a:lnTo>
                    <a:pt x="332" y="91"/>
                  </a:lnTo>
                  <a:lnTo>
                    <a:pt x="332" y="88"/>
                  </a:lnTo>
                  <a:close/>
                  <a:moveTo>
                    <a:pt x="342" y="86"/>
                  </a:moveTo>
                  <a:lnTo>
                    <a:pt x="339" y="86"/>
                  </a:lnTo>
                  <a:lnTo>
                    <a:pt x="342" y="86"/>
                  </a:lnTo>
                  <a:close/>
                  <a:moveTo>
                    <a:pt x="342" y="84"/>
                  </a:moveTo>
                  <a:lnTo>
                    <a:pt x="339" y="84"/>
                  </a:lnTo>
                  <a:lnTo>
                    <a:pt x="342" y="84"/>
                  </a:lnTo>
                  <a:close/>
                  <a:moveTo>
                    <a:pt x="342" y="84"/>
                  </a:moveTo>
                  <a:lnTo>
                    <a:pt x="342" y="81"/>
                  </a:lnTo>
                  <a:lnTo>
                    <a:pt x="342" y="84"/>
                  </a:lnTo>
                  <a:close/>
                  <a:moveTo>
                    <a:pt x="344" y="81"/>
                  </a:moveTo>
                  <a:lnTo>
                    <a:pt x="342" y="81"/>
                  </a:lnTo>
                  <a:lnTo>
                    <a:pt x="344" y="81"/>
                  </a:lnTo>
                  <a:close/>
                  <a:moveTo>
                    <a:pt x="349" y="74"/>
                  </a:moveTo>
                  <a:lnTo>
                    <a:pt x="351" y="77"/>
                  </a:lnTo>
                  <a:lnTo>
                    <a:pt x="351" y="74"/>
                  </a:lnTo>
                  <a:lnTo>
                    <a:pt x="351" y="77"/>
                  </a:lnTo>
                  <a:lnTo>
                    <a:pt x="349" y="77"/>
                  </a:lnTo>
                  <a:lnTo>
                    <a:pt x="349" y="74"/>
                  </a:lnTo>
                  <a:close/>
                  <a:moveTo>
                    <a:pt x="358" y="72"/>
                  </a:moveTo>
                  <a:lnTo>
                    <a:pt x="361" y="72"/>
                  </a:lnTo>
                  <a:lnTo>
                    <a:pt x="358" y="72"/>
                  </a:lnTo>
                  <a:close/>
                  <a:moveTo>
                    <a:pt x="353" y="69"/>
                  </a:moveTo>
                  <a:lnTo>
                    <a:pt x="351" y="69"/>
                  </a:lnTo>
                  <a:lnTo>
                    <a:pt x="353" y="69"/>
                  </a:lnTo>
                  <a:close/>
                  <a:moveTo>
                    <a:pt x="351" y="67"/>
                  </a:moveTo>
                  <a:lnTo>
                    <a:pt x="351" y="69"/>
                  </a:lnTo>
                  <a:lnTo>
                    <a:pt x="351" y="67"/>
                  </a:lnTo>
                  <a:close/>
                  <a:moveTo>
                    <a:pt x="351" y="67"/>
                  </a:moveTo>
                  <a:lnTo>
                    <a:pt x="349" y="67"/>
                  </a:lnTo>
                  <a:lnTo>
                    <a:pt x="351" y="67"/>
                  </a:lnTo>
                  <a:close/>
                  <a:moveTo>
                    <a:pt x="363" y="65"/>
                  </a:moveTo>
                  <a:lnTo>
                    <a:pt x="361" y="65"/>
                  </a:lnTo>
                  <a:lnTo>
                    <a:pt x="363" y="65"/>
                  </a:lnTo>
                  <a:close/>
                  <a:moveTo>
                    <a:pt x="356" y="62"/>
                  </a:moveTo>
                  <a:lnTo>
                    <a:pt x="353" y="62"/>
                  </a:lnTo>
                  <a:lnTo>
                    <a:pt x="356" y="62"/>
                  </a:lnTo>
                  <a:close/>
                  <a:moveTo>
                    <a:pt x="377" y="62"/>
                  </a:moveTo>
                  <a:lnTo>
                    <a:pt x="375" y="62"/>
                  </a:lnTo>
                  <a:lnTo>
                    <a:pt x="377" y="62"/>
                  </a:lnTo>
                  <a:close/>
                  <a:moveTo>
                    <a:pt x="361" y="62"/>
                  </a:moveTo>
                  <a:lnTo>
                    <a:pt x="358" y="62"/>
                  </a:lnTo>
                  <a:lnTo>
                    <a:pt x="361" y="62"/>
                  </a:lnTo>
                  <a:close/>
                  <a:moveTo>
                    <a:pt x="349" y="62"/>
                  </a:moveTo>
                  <a:lnTo>
                    <a:pt x="346" y="62"/>
                  </a:lnTo>
                  <a:lnTo>
                    <a:pt x="349" y="62"/>
                  </a:lnTo>
                  <a:close/>
                  <a:moveTo>
                    <a:pt x="353" y="62"/>
                  </a:moveTo>
                  <a:lnTo>
                    <a:pt x="351" y="62"/>
                  </a:lnTo>
                  <a:lnTo>
                    <a:pt x="353" y="62"/>
                  </a:lnTo>
                  <a:close/>
                  <a:moveTo>
                    <a:pt x="351" y="60"/>
                  </a:moveTo>
                  <a:lnTo>
                    <a:pt x="351" y="62"/>
                  </a:lnTo>
                  <a:lnTo>
                    <a:pt x="351" y="60"/>
                  </a:lnTo>
                  <a:lnTo>
                    <a:pt x="349" y="60"/>
                  </a:lnTo>
                  <a:lnTo>
                    <a:pt x="351" y="60"/>
                  </a:lnTo>
                  <a:close/>
                  <a:moveTo>
                    <a:pt x="363" y="60"/>
                  </a:moveTo>
                  <a:lnTo>
                    <a:pt x="361" y="60"/>
                  </a:lnTo>
                  <a:lnTo>
                    <a:pt x="363" y="60"/>
                  </a:lnTo>
                  <a:close/>
                  <a:moveTo>
                    <a:pt x="353" y="60"/>
                  </a:moveTo>
                  <a:lnTo>
                    <a:pt x="351" y="60"/>
                  </a:lnTo>
                  <a:lnTo>
                    <a:pt x="353" y="60"/>
                  </a:lnTo>
                  <a:close/>
                  <a:moveTo>
                    <a:pt x="361" y="58"/>
                  </a:moveTo>
                  <a:lnTo>
                    <a:pt x="358" y="58"/>
                  </a:lnTo>
                  <a:lnTo>
                    <a:pt x="361" y="58"/>
                  </a:lnTo>
                  <a:close/>
                  <a:moveTo>
                    <a:pt x="368" y="58"/>
                  </a:moveTo>
                  <a:lnTo>
                    <a:pt x="365" y="58"/>
                  </a:lnTo>
                  <a:lnTo>
                    <a:pt x="368" y="58"/>
                  </a:lnTo>
                  <a:close/>
                  <a:moveTo>
                    <a:pt x="349" y="55"/>
                  </a:moveTo>
                  <a:lnTo>
                    <a:pt x="349" y="58"/>
                  </a:lnTo>
                  <a:lnTo>
                    <a:pt x="349" y="55"/>
                  </a:lnTo>
                  <a:close/>
                  <a:moveTo>
                    <a:pt x="365" y="58"/>
                  </a:moveTo>
                  <a:lnTo>
                    <a:pt x="363" y="58"/>
                  </a:lnTo>
                  <a:lnTo>
                    <a:pt x="363" y="55"/>
                  </a:lnTo>
                  <a:lnTo>
                    <a:pt x="365" y="58"/>
                  </a:lnTo>
                  <a:close/>
                  <a:moveTo>
                    <a:pt x="379" y="55"/>
                  </a:moveTo>
                  <a:lnTo>
                    <a:pt x="379" y="58"/>
                  </a:lnTo>
                  <a:lnTo>
                    <a:pt x="377" y="55"/>
                  </a:lnTo>
                  <a:lnTo>
                    <a:pt x="379" y="55"/>
                  </a:lnTo>
                  <a:close/>
                  <a:moveTo>
                    <a:pt x="365" y="55"/>
                  </a:moveTo>
                  <a:lnTo>
                    <a:pt x="365" y="53"/>
                  </a:lnTo>
                  <a:lnTo>
                    <a:pt x="365" y="55"/>
                  </a:lnTo>
                  <a:close/>
                  <a:moveTo>
                    <a:pt x="372" y="53"/>
                  </a:moveTo>
                  <a:lnTo>
                    <a:pt x="375" y="53"/>
                  </a:lnTo>
                  <a:lnTo>
                    <a:pt x="372" y="53"/>
                  </a:lnTo>
                  <a:close/>
                  <a:moveTo>
                    <a:pt x="370" y="53"/>
                  </a:moveTo>
                  <a:lnTo>
                    <a:pt x="368" y="53"/>
                  </a:lnTo>
                  <a:lnTo>
                    <a:pt x="370" y="53"/>
                  </a:lnTo>
                  <a:close/>
                  <a:moveTo>
                    <a:pt x="377" y="53"/>
                  </a:moveTo>
                  <a:lnTo>
                    <a:pt x="375" y="53"/>
                  </a:lnTo>
                  <a:lnTo>
                    <a:pt x="377" y="53"/>
                  </a:lnTo>
                  <a:close/>
                  <a:moveTo>
                    <a:pt x="365" y="53"/>
                  </a:moveTo>
                  <a:lnTo>
                    <a:pt x="363" y="53"/>
                  </a:lnTo>
                  <a:lnTo>
                    <a:pt x="365" y="53"/>
                  </a:lnTo>
                  <a:close/>
                  <a:moveTo>
                    <a:pt x="379" y="53"/>
                  </a:moveTo>
                  <a:lnTo>
                    <a:pt x="379" y="50"/>
                  </a:lnTo>
                  <a:lnTo>
                    <a:pt x="379" y="53"/>
                  </a:lnTo>
                  <a:close/>
                  <a:moveTo>
                    <a:pt x="384" y="50"/>
                  </a:moveTo>
                  <a:lnTo>
                    <a:pt x="384" y="53"/>
                  </a:lnTo>
                  <a:lnTo>
                    <a:pt x="384" y="50"/>
                  </a:lnTo>
                  <a:close/>
                  <a:moveTo>
                    <a:pt x="379" y="50"/>
                  </a:moveTo>
                  <a:lnTo>
                    <a:pt x="379" y="53"/>
                  </a:lnTo>
                  <a:lnTo>
                    <a:pt x="379" y="50"/>
                  </a:lnTo>
                  <a:close/>
                  <a:moveTo>
                    <a:pt x="391" y="50"/>
                  </a:moveTo>
                  <a:lnTo>
                    <a:pt x="389" y="50"/>
                  </a:lnTo>
                  <a:lnTo>
                    <a:pt x="391" y="50"/>
                  </a:lnTo>
                  <a:close/>
                  <a:moveTo>
                    <a:pt x="372" y="50"/>
                  </a:moveTo>
                  <a:lnTo>
                    <a:pt x="375" y="50"/>
                  </a:lnTo>
                  <a:lnTo>
                    <a:pt x="372" y="50"/>
                  </a:lnTo>
                  <a:close/>
                  <a:moveTo>
                    <a:pt x="382" y="48"/>
                  </a:moveTo>
                  <a:lnTo>
                    <a:pt x="379" y="48"/>
                  </a:lnTo>
                  <a:lnTo>
                    <a:pt x="382" y="48"/>
                  </a:lnTo>
                  <a:close/>
                  <a:moveTo>
                    <a:pt x="379" y="43"/>
                  </a:moveTo>
                  <a:lnTo>
                    <a:pt x="379" y="46"/>
                  </a:lnTo>
                  <a:lnTo>
                    <a:pt x="382" y="46"/>
                  </a:lnTo>
                  <a:lnTo>
                    <a:pt x="379" y="46"/>
                  </a:lnTo>
                  <a:lnTo>
                    <a:pt x="379" y="43"/>
                  </a:lnTo>
                  <a:close/>
                  <a:moveTo>
                    <a:pt x="391" y="46"/>
                  </a:moveTo>
                  <a:lnTo>
                    <a:pt x="391" y="43"/>
                  </a:lnTo>
                  <a:lnTo>
                    <a:pt x="391" y="46"/>
                  </a:lnTo>
                  <a:close/>
                  <a:moveTo>
                    <a:pt x="398" y="43"/>
                  </a:moveTo>
                  <a:lnTo>
                    <a:pt x="398" y="46"/>
                  </a:lnTo>
                  <a:lnTo>
                    <a:pt x="398" y="43"/>
                  </a:lnTo>
                  <a:close/>
                  <a:moveTo>
                    <a:pt x="398" y="43"/>
                  </a:moveTo>
                  <a:lnTo>
                    <a:pt x="396" y="43"/>
                  </a:lnTo>
                  <a:lnTo>
                    <a:pt x="398" y="43"/>
                  </a:lnTo>
                  <a:close/>
                  <a:moveTo>
                    <a:pt x="429" y="43"/>
                  </a:moveTo>
                  <a:lnTo>
                    <a:pt x="429" y="41"/>
                  </a:lnTo>
                  <a:lnTo>
                    <a:pt x="429" y="43"/>
                  </a:lnTo>
                  <a:close/>
                  <a:moveTo>
                    <a:pt x="358" y="43"/>
                  </a:moveTo>
                  <a:lnTo>
                    <a:pt x="358" y="41"/>
                  </a:lnTo>
                  <a:lnTo>
                    <a:pt x="358" y="43"/>
                  </a:lnTo>
                  <a:close/>
                  <a:moveTo>
                    <a:pt x="379" y="41"/>
                  </a:moveTo>
                  <a:lnTo>
                    <a:pt x="379" y="43"/>
                  </a:lnTo>
                  <a:lnTo>
                    <a:pt x="379" y="41"/>
                  </a:lnTo>
                  <a:close/>
                  <a:moveTo>
                    <a:pt x="389" y="41"/>
                  </a:moveTo>
                  <a:lnTo>
                    <a:pt x="389" y="43"/>
                  </a:lnTo>
                  <a:lnTo>
                    <a:pt x="391" y="43"/>
                  </a:lnTo>
                  <a:lnTo>
                    <a:pt x="389" y="43"/>
                  </a:lnTo>
                  <a:lnTo>
                    <a:pt x="389" y="41"/>
                  </a:lnTo>
                  <a:close/>
                  <a:moveTo>
                    <a:pt x="394" y="41"/>
                  </a:moveTo>
                  <a:lnTo>
                    <a:pt x="394" y="43"/>
                  </a:lnTo>
                  <a:lnTo>
                    <a:pt x="394" y="41"/>
                  </a:lnTo>
                  <a:close/>
                  <a:moveTo>
                    <a:pt x="379" y="41"/>
                  </a:moveTo>
                  <a:lnTo>
                    <a:pt x="377" y="41"/>
                  </a:lnTo>
                  <a:lnTo>
                    <a:pt x="379" y="41"/>
                  </a:lnTo>
                  <a:close/>
                  <a:moveTo>
                    <a:pt x="358" y="41"/>
                  </a:moveTo>
                  <a:lnTo>
                    <a:pt x="356" y="41"/>
                  </a:lnTo>
                  <a:lnTo>
                    <a:pt x="358" y="41"/>
                  </a:lnTo>
                  <a:close/>
                  <a:moveTo>
                    <a:pt x="394" y="41"/>
                  </a:moveTo>
                  <a:lnTo>
                    <a:pt x="391" y="41"/>
                  </a:lnTo>
                  <a:lnTo>
                    <a:pt x="394" y="41"/>
                  </a:lnTo>
                  <a:close/>
                  <a:moveTo>
                    <a:pt x="387" y="41"/>
                  </a:moveTo>
                  <a:lnTo>
                    <a:pt x="389" y="41"/>
                  </a:lnTo>
                  <a:lnTo>
                    <a:pt x="387" y="41"/>
                  </a:lnTo>
                  <a:close/>
                  <a:moveTo>
                    <a:pt x="406" y="41"/>
                  </a:moveTo>
                  <a:lnTo>
                    <a:pt x="403" y="41"/>
                  </a:lnTo>
                  <a:lnTo>
                    <a:pt x="406" y="41"/>
                  </a:lnTo>
                  <a:close/>
                  <a:moveTo>
                    <a:pt x="377" y="41"/>
                  </a:moveTo>
                  <a:lnTo>
                    <a:pt x="377" y="39"/>
                  </a:lnTo>
                  <a:lnTo>
                    <a:pt x="377" y="41"/>
                  </a:lnTo>
                  <a:close/>
                  <a:moveTo>
                    <a:pt x="425" y="41"/>
                  </a:moveTo>
                  <a:lnTo>
                    <a:pt x="425" y="39"/>
                  </a:lnTo>
                  <a:lnTo>
                    <a:pt x="425" y="41"/>
                  </a:lnTo>
                  <a:close/>
                  <a:moveTo>
                    <a:pt x="401" y="41"/>
                  </a:moveTo>
                  <a:lnTo>
                    <a:pt x="401" y="39"/>
                  </a:lnTo>
                  <a:lnTo>
                    <a:pt x="401" y="41"/>
                  </a:lnTo>
                  <a:close/>
                  <a:moveTo>
                    <a:pt x="408" y="39"/>
                  </a:moveTo>
                  <a:lnTo>
                    <a:pt x="408" y="41"/>
                  </a:lnTo>
                  <a:lnTo>
                    <a:pt x="408" y="39"/>
                  </a:lnTo>
                  <a:close/>
                  <a:moveTo>
                    <a:pt x="406" y="41"/>
                  </a:moveTo>
                  <a:lnTo>
                    <a:pt x="406" y="39"/>
                  </a:lnTo>
                  <a:lnTo>
                    <a:pt x="406" y="41"/>
                  </a:lnTo>
                  <a:close/>
                  <a:moveTo>
                    <a:pt x="427" y="41"/>
                  </a:moveTo>
                  <a:lnTo>
                    <a:pt x="427" y="39"/>
                  </a:lnTo>
                  <a:lnTo>
                    <a:pt x="427" y="41"/>
                  </a:lnTo>
                  <a:close/>
                  <a:moveTo>
                    <a:pt x="401" y="39"/>
                  </a:moveTo>
                  <a:lnTo>
                    <a:pt x="401" y="41"/>
                  </a:lnTo>
                  <a:lnTo>
                    <a:pt x="401" y="39"/>
                  </a:lnTo>
                  <a:close/>
                  <a:moveTo>
                    <a:pt x="384" y="39"/>
                  </a:moveTo>
                  <a:lnTo>
                    <a:pt x="382" y="39"/>
                  </a:lnTo>
                  <a:lnTo>
                    <a:pt x="384" y="39"/>
                  </a:lnTo>
                  <a:close/>
                  <a:moveTo>
                    <a:pt x="415" y="39"/>
                  </a:moveTo>
                  <a:lnTo>
                    <a:pt x="413" y="39"/>
                  </a:lnTo>
                  <a:lnTo>
                    <a:pt x="415" y="39"/>
                  </a:lnTo>
                  <a:close/>
                  <a:moveTo>
                    <a:pt x="377" y="39"/>
                  </a:moveTo>
                  <a:lnTo>
                    <a:pt x="375" y="39"/>
                  </a:lnTo>
                  <a:lnTo>
                    <a:pt x="377" y="39"/>
                  </a:lnTo>
                  <a:close/>
                  <a:moveTo>
                    <a:pt x="410" y="39"/>
                  </a:moveTo>
                  <a:lnTo>
                    <a:pt x="408" y="39"/>
                  </a:lnTo>
                  <a:lnTo>
                    <a:pt x="410" y="39"/>
                  </a:lnTo>
                  <a:close/>
                  <a:moveTo>
                    <a:pt x="377" y="39"/>
                  </a:moveTo>
                  <a:lnTo>
                    <a:pt x="375" y="39"/>
                  </a:lnTo>
                  <a:lnTo>
                    <a:pt x="377" y="39"/>
                  </a:lnTo>
                  <a:close/>
                  <a:moveTo>
                    <a:pt x="413" y="39"/>
                  </a:moveTo>
                  <a:lnTo>
                    <a:pt x="410" y="39"/>
                  </a:lnTo>
                  <a:lnTo>
                    <a:pt x="413" y="39"/>
                  </a:lnTo>
                  <a:close/>
                  <a:moveTo>
                    <a:pt x="391" y="39"/>
                  </a:moveTo>
                  <a:lnTo>
                    <a:pt x="389" y="39"/>
                  </a:lnTo>
                  <a:lnTo>
                    <a:pt x="389" y="36"/>
                  </a:lnTo>
                  <a:lnTo>
                    <a:pt x="391" y="39"/>
                  </a:lnTo>
                  <a:close/>
                  <a:moveTo>
                    <a:pt x="432" y="36"/>
                  </a:moveTo>
                  <a:lnTo>
                    <a:pt x="432" y="39"/>
                  </a:lnTo>
                  <a:lnTo>
                    <a:pt x="432" y="36"/>
                  </a:lnTo>
                  <a:close/>
                  <a:moveTo>
                    <a:pt x="415" y="39"/>
                  </a:moveTo>
                  <a:lnTo>
                    <a:pt x="415" y="36"/>
                  </a:lnTo>
                  <a:lnTo>
                    <a:pt x="415" y="39"/>
                  </a:lnTo>
                  <a:close/>
                  <a:moveTo>
                    <a:pt x="420" y="36"/>
                  </a:moveTo>
                  <a:lnTo>
                    <a:pt x="420" y="39"/>
                  </a:lnTo>
                  <a:lnTo>
                    <a:pt x="420" y="36"/>
                  </a:lnTo>
                  <a:close/>
                  <a:moveTo>
                    <a:pt x="387" y="39"/>
                  </a:moveTo>
                  <a:lnTo>
                    <a:pt x="387" y="36"/>
                  </a:lnTo>
                  <a:lnTo>
                    <a:pt x="387" y="39"/>
                  </a:lnTo>
                  <a:close/>
                  <a:moveTo>
                    <a:pt x="387" y="39"/>
                  </a:moveTo>
                  <a:lnTo>
                    <a:pt x="387" y="36"/>
                  </a:lnTo>
                  <a:lnTo>
                    <a:pt x="387" y="39"/>
                  </a:lnTo>
                  <a:close/>
                  <a:moveTo>
                    <a:pt x="387" y="36"/>
                  </a:moveTo>
                  <a:lnTo>
                    <a:pt x="387" y="39"/>
                  </a:lnTo>
                  <a:lnTo>
                    <a:pt x="387" y="36"/>
                  </a:lnTo>
                  <a:close/>
                  <a:moveTo>
                    <a:pt x="403" y="36"/>
                  </a:moveTo>
                  <a:lnTo>
                    <a:pt x="401" y="36"/>
                  </a:lnTo>
                  <a:lnTo>
                    <a:pt x="403" y="36"/>
                  </a:lnTo>
                  <a:close/>
                  <a:moveTo>
                    <a:pt x="406" y="36"/>
                  </a:moveTo>
                  <a:lnTo>
                    <a:pt x="403" y="36"/>
                  </a:lnTo>
                  <a:lnTo>
                    <a:pt x="406" y="36"/>
                  </a:lnTo>
                  <a:close/>
                  <a:moveTo>
                    <a:pt x="408" y="36"/>
                  </a:moveTo>
                  <a:lnTo>
                    <a:pt x="410" y="36"/>
                  </a:lnTo>
                  <a:lnTo>
                    <a:pt x="408" y="36"/>
                  </a:lnTo>
                  <a:close/>
                  <a:moveTo>
                    <a:pt x="413" y="36"/>
                  </a:moveTo>
                  <a:lnTo>
                    <a:pt x="410" y="36"/>
                  </a:lnTo>
                  <a:lnTo>
                    <a:pt x="413" y="36"/>
                  </a:lnTo>
                  <a:close/>
                  <a:moveTo>
                    <a:pt x="408" y="36"/>
                  </a:moveTo>
                  <a:lnTo>
                    <a:pt x="406" y="36"/>
                  </a:lnTo>
                  <a:lnTo>
                    <a:pt x="408" y="36"/>
                  </a:lnTo>
                  <a:close/>
                  <a:moveTo>
                    <a:pt x="425" y="36"/>
                  </a:moveTo>
                  <a:lnTo>
                    <a:pt x="425" y="34"/>
                  </a:lnTo>
                  <a:lnTo>
                    <a:pt x="425" y="36"/>
                  </a:lnTo>
                  <a:close/>
                  <a:moveTo>
                    <a:pt x="408" y="34"/>
                  </a:moveTo>
                  <a:lnTo>
                    <a:pt x="408" y="36"/>
                  </a:lnTo>
                  <a:lnTo>
                    <a:pt x="406" y="36"/>
                  </a:lnTo>
                  <a:lnTo>
                    <a:pt x="408" y="34"/>
                  </a:lnTo>
                  <a:close/>
                  <a:moveTo>
                    <a:pt x="384" y="36"/>
                  </a:moveTo>
                  <a:lnTo>
                    <a:pt x="384" y="34"/>
                  </a:lnTo>
                  <a:lnTo>
                    <a:pt x="384" y="36"/>
                  </a:lnTo>
                  <a:close/>
                  <a:moveTo>
                    <a:pt x="429" y="34"/>
                  </a:moveTo>
                  <a:lnTo>
                    <a:pt x="429" y="36"/>
                  </a:lnTo>
                  <a:lnTo>
                    <a:pt x="429" y="34"/>
                  </a:lnTo>
                  <a:close/>
                  <a:moveTo>
                    <a:pt x="425" y="36"/>
                  </a:moveTo>
                  <a:lnTo>
                    <a:pt x="425" y="34"/>
                  </a:lnTo>
                  <a:lnTo>
                    <a:pt x="425" y="36"/>
                  </a:lnTo>
                  <a:close/>
                  <a:moveTo>
                    <a:pt x="408" y="36"/>
                  </a:moveTo>
                  <a:lnTo>
                    <a:pt x="408" y="34"/>
                  </a:lnTo>
                  <a:lnTo>
                    <a:pt x="408" y="36"/>
                  </a:lnTo>
                  <a:close/>
                  <a:moveTo>
                    <a:pt x="389" y="36"/>
                  </a:moveTo>
                  <a:lnTo>
                    <a:pt x="389" y="34"/>
                  </a:lnTo>
                  <a:lnTo>
                    <a:pt x="389" y="36"/>
                  </a:lnTo>
                  <a:close/>
                  <a:moveTo>
                    <a:pt x="389" y="34"/>
                  </a:moveTo>
                  <a:lnTo>
                    <a:pt x="389" y="36"/>
                  </a:lnTo>
                  <a:lnTo>
                    <a:pt x="389" y="34"/>
                  </a:lnTo>
                  <a:close/>
                  <a:moveTo>
                    <a:pt x="413" y="34"/>
                  </a:moveTo>
                  <a:lnTo>
                    <a:pt x="410" y="34"/>
                  </a:lnTo>
                  <a:lnTo>
                    <a:pt x="413" y="34"/>
                  </a:lnTo>
                  <a:close/>
                  <a:moveTo>
                    <a:pt x="422" y="34"/>
                  </a:moveTo>
                  <a:lnTo>
                    <a:pt x="420" y="34"/>
                  </a:lnTo>
                  <a:lnTo>
                    <a:pt x="422" y="34"/>
                  </a:lnTo>
                  <a:close/>
                  <a:moveTo>
                    <a:pt x="403" y="34"/>
                  </a:moveTo>
                  <a:lnTo>
                    <a:pt x="401" y="34"/>
                  </a:lnTo>
                  <a:lnTo>
                    <a:pt x="401" y="31"/>
                  </a:lnTo>
                  <a:lnTo>
                    <a:pt x="403" y="31"/>
                  </a:lnTo>
                  <a:lnTo>
                    <a:pt x="403" y="34"/>
                  </a:lnTo>
                  <a:close/>
                  <a:moveTo>
                    <a:pt x="375" y="31"/>
                  </a:moveTo>
                  <a:lnTo>
                    <a:pt x="375" y="34"/>
                  </a:lnTo>
                  <a:lnTo>
                    <a:pt x="375" y="31"/>
                  </a:lnTo>
                  <a:close/>
                  <a:moveTo>
                    <a:pt x="377" y="31"/>
                  </a:moveTo>
                  <a:lnTo>
                    <a:pt x="375" y="31"/>
                  </a:lnTo>
                  <a:lnTo>
                    <a:pt x="377" y="31"/>
                  </a:lnTo>
                  <a:close/>
                  <a:moveTo>
                    <a:pt x="398" y="31"/>
                  </a:moveTo>
                  <a:lnTo>
                    <a:pt x="401" y="31"/>
                  </a:lnTo>
                  <a:lnTo>
                    <a:pt x="398" y="31"/>
                  </a:lnTo>
                  <a:close/>
                  <a:moveTo>
                    <a:pt x="398" y="29"/>
                  </a:moveTo>
                  <a:lnTo>
                    <a:pt x="398" y="31"/>
                  </a:lnTo>
                  <a:lnTo>
                    <a:pt x="398" y="29"/>
                  </a:lnTo>
                  <a:close/>
                  <a:moveTo>
                    <a:pt x="384" y="29"/>
                  </a:moveTo>
                  <a:lnTo>
                    <a:pt x="387" y="29"/>
                  </a:lnTo>
                  <a:lnTo>
                    <a:pt x="384" y="29"/>
                  </a:lnTo>
                  <a:close/>
                  <a:moveTo>
                    <a:pt x="387" y="19"/>
                  </a:moveTo>
                  <a:lnTo>
                    <a:pt x="389" y="19"/>
                  </a:lnTo>
                  <a:lnTo>
                    <a:pt x="387" y="19"/>
                  </a:lnTo>
                  <a:close/>
                  <a:moveTo>
                    <a:pt x="391" y="12"/>
                  </a:moveTo>
                  <a:lnTo>
                    <a:pt x="391" y="10"/>
                  </a:lnTo>
                  <a:lnTo>
                    <a:pt x="391" y="12"/>
                  </a:lnTo>
                  <a:close/>
                  <a:moveTo>
                    <a:pt x="391" y="0"/>
                  </a:moveTo>
                  <a:lnTo>
                    <a:pt x="389" y="0"/>
                  </a:lnTo>
                  <a:lnTo>
                    <a:pt x="391"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2" name="Freeform 57756"/>
            <p:cNvSpPr>
              <a:spLocks noEditPoints="1"/>
            </p:cNvSpPr>
            <p:nvPr/>
          </p:nvSpPr>
          <p:spPr bwMode="auto">
            <a:xfrm>
              <a:off x="2338385" y="4867293"/>
              <a:ext cx="236538" cy="150814"/>
            </a:xfrm>
            <a:custGeom>
              <a:avLst/>
              <a:gdLst>
                <a:gd name="T0" fmla="*/ 92 w 149"/>
                <a:gd name="T1" fmla="*/ 2 h 95"/>
                <a:gd name="T2" fmla="*/ 95 w 149"/>
                <a:gd name="T3" fmla="*/ 5 h 95"/>
                <a:gd name="T4" fmla="*/ 99 w 149"/>
                <a:gd name="T5" fmla="*/ 7 h 95"/>
                <a:gd name="T6" fmla="*/ 118 w 149"/>
                <a:gd name="T7" fmla="*/ 14 h 95"/>
                <a:gd name="T8" fmla="*/ 123 w 149"/>
                <a:gd name="T9" fmla="*/ 21 h 95"/>
                <a:gd name="T10" fmla="*/ 116 w 149"/>
                <a:gd name="T11" fmla="*/ 29 h 95"/>
                <a:gd name="T12" fmla="*/ 118 w 149"/>
                <a:gd name="T13" fmla="*/ 36 h 95"/>
                <a:gd name="T14" fmla="*/ 130 w 149"/>
                <a:gd name="T15" fmla="*/ 40 h 95"/>
                <a:gd name="T16" fmla="*/ 140 w 149"/>
                <a:gd name="T17" fmla="*/ 45 h 95"/>
                <a:gd name="T18" fmla="*/ 147 w 149"/>
                <a:gd name="T19" fmla="*/ 38 h 95"/>
                <a:gd name="T20" fmla="*/ 147 w 149"/>
                <a:gd name="T21" fmla="*/ 48 h 95"/>
                <a:gd name="T22" fmla="*/ 149 w 149"/>
                <a:gd name="T23" fmla="*/ 55 h 95"/>
                <a:gd name="T24" fmla="*/ 142 w 149"/>
                <a:gd name="T25" fmla="*/ 57 h 95"/>
                <a:gd name="T26" fmla="*/ 135 w 149"/>
                <a:gd name="T27" fmla="*/ 59 h 95"/>
                <a:gd name="T28" fmla="*/ 137 w 149"/>
                <a:gd name="T29" fmla="*/ 69 h 95"/>
                <a:gd name="T30" fmla="*/ 135 w 149"/>
                <a:gd name="T31" fmla="*/ 74 h 95"/>
                <a:gd name="T32" fmla="*/ 126 w 149"/>
                <a:gd name="T33" fmla="*/ 69 h 95"/>
                <a:gd name="T34" fmla="*/ 118 w 149"/>
                <a:gd name="T35" fmla="*/ 71 h 95"/>
                <a:gd name="T36" fmla="*/ 114 w 149"/>
                <a:gd name="T37" fmla="*/ 62 h 95"/>
                <a:gd name="T38" fmla="*/ 109 w 149"/>
                <a:gd name="T39" fmla="*/ 67 h 95"/>
                <a:gd name="T40" fmla="*/ 109 w 149"/>
                <a:gd name="T41" fmla="*/ 76 h 95"/>
                <a:gd name="T42" fmla="*/ 102 w 149"/>
                <a:gd name="T43" fmla="*/ 83 h 95"/>
                <a:gd name="T44" fmla="*/ 102 w 149"/>
                <a:gd name="T45" fmla="*/ 93 h 95"/>
                <a:gd name="T46" fmla="*/ 99 w 149"/>
                <a:gd name="T47" fmla="*/ 90 h 95"/>
                <a:gd name="T48" fmla="*/ 97 w 149"/>
                <a:gd name="T49" fmla="*/ 83 h 95"/>
                <a:gd name="T50" fmla="*/ 88 w 149"/>
                <a:gd name="T51" fmla="*/ 78 h 95"/>
                <a:gd name="T52" fmla="*/ 83 w 149"/>
                <a:gd name="T53" fmla="*/ 67 h 95"/>
                <a:gd name="T54" fmla="*/ 76 w 149"/>
                <a:gd name="T55" fmla="*/ 71 h 95"/>
                <a:gd name="T56" fmla="*/ 73 w 149"/>
                <a:gd name="T57" fmla="*/ 78 h 95"/>
                <a:gd name="T58" fmla="*/ 66 w 149"/>
                <a:gd name="T59" fmla="*/ 86 h 95"/>
                <a:gd name="T60" fmla="*/ 59 w 149"/>
                <a:gd name="T61" fmla="*/ 90 h 95"/>
                <a:gd name="T62" fmla="*/ 52 w 149"/>
                <a:gd name="T63" fmla="*/ 88 h 95"/>
                <a:gd name="T64" fmla="*/ 42 w 149"/>
                <a:gd name="T65" fmla="*/ 93 h 95"/>
                <a:gd name="T66" fmla="*/ 35 w 149"/>
                <a:gd name="T67" fmla="*/ 90 h 95"/>
                <a:gd name="T68" fmla="*/ 31 w 149"/>
                <a:gd name="T69" fmla="*/ 81 h 95"/>
                <a:gd name="T70" fmla="*/ 28 w 149"/>
                <a:gd name="T71" fmla="*/ 71 h 95"/>
                <a:gd name="T72" fmla="*/ 14 w 149"/>
                <a:gd name="T73" fmla="*/ 67 h 95"/>
                <a:gd name="T74" fmla="*/ 12 w 149"/>
                <a:gd name="T75" fmla="*/ 76 h 95"/>
                <a:gd name="T76" fmla="*/ 0 w 149"/>
                <a:gd name="T77" fmla="*/ 78 h 95"/>
                <a:gd name="T78" fmla="*/ 2 w 149"/>
                <a:gd name="T79" fmla="*/ 76 h 95"/>
                <a:gd name="T80" fmla="*/ 7 w 149"/>
                <a:gd name="T81" fmla="*/ 71 h 95"/>
                <a:gd name="T82" fmla="*/ 7 w 149"/>
                <a:gd name="T83" fmla="*/ 62 h 95"/>
                <a:gd name="T84" fmla="*/ 12 w 149"/>
                <a:gd name="T85" fmla="*/ 55 h 95"/>
                <a:gd name="T86" fmla="*/ 16 w 149"/>
                <a:gd name="T87" fmla="*/ 45 h 95"/>
                <a:gd name="T88" fmla="*/ 23 w 149"/>
                <a:gd name="T89" fmla="*/ 38 h 95"/>
                <a:gd name="T90" fmla="*/ 28 w 149"/>
                <a:gd name="T91" fmla="*/ 31 h 95"/>
                <a:gd name="T92" fmla="*/ 35 w 149"/>
                <a:gd name="T93" fmla="*/ 24 h 95"/>
                <a:gd name="T94" fmla="*/ 31 w 149"/>
                <a:gd name="T95" fmla="*/ 19 h 95"/>
                <a:gd name="T96" fmla="*/ 40 w 149"/>
                <a:gd name="T97" fmla="*/ 14 h 95"/>
                <a:gd name="T98" fmla="*/ 45 w 149"/>
                <a:gd name="T99" fmla="*/ 19 h 95"/>
                <a:gd name="T100" fmla="*/ 50 w 149"/>
                <a:gd name="T101" fmla="*/ 17 h 95"/>
                <a:gd name="T102" fmla="*/ 57 w 149"/>
                <a:gd name="T103" fmla="*/ 12 h 95"/>
                <a:gd name="T104" fmla="*/ 61 w 149"/>
                <a:gd name="T105" fmla="*/ 10 h 95"/>
                <a:gd name="T106" fmla="*/ 71 w 149"/>
                <a:gd name="T107" fmla="*/ 12 h 95"/>
                <a:gd name="T108" fmla="*/ 80 w 149"/>
                <a:gd name="T109" fmla="*/ 12 h 95"/>
                <a:gd name="T110" fmla="*/ 88 w 149"/>
                <a:gd name="T111" fmla="*/ 10 h 95"/>
                <a:gd name="T112" fmla="*/ 80 w 149"/>
                <a:gd name="T113" fmla="*/ 7 h 95"/>
                <a:gd name="T114" fmla="*/ 88 w 149"/>
                <a:gd name="T115" fmla="*/ 2 h 95"/>
                <a:gd name="T116" fmla="*/ 92 w 149"/>
                <a:gd name="T117"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95">
                  <a:moveTo>
                    <a:pt x="88" y="0"/>
                  </a:moveTo>
                  <a:lnTo>
                    <a:pt x="88" y="2"/>
                  </a:lnTo>
                  <a:lnTo>
                    <a:pt x="90" y="2"/>
                  </a:lnTo>
                  <a:lnTo>
                    <a:pt x="90" y="0"/>
                  </a:lnTo>
                  <a:lnTo>
                    <a:pt x="90" y="2"/>
                  </a:lnTo>
                  <a:lnTo>
                    <a:pt x="92" y="2"/>
                  </a:lnTo>
                  <a:lnTo>
                    <a:pt x="92" y="5"/>
                  </a:lnTo>
                  <a:lnTo>
                    <a:pt x="92" y="7"/>
                  </a:lnTo>
                  <a:lnTo>
                    <a:pt x="95" y="7"/>
                  </a:lnTo>
                  <a:lnTo>
                    <a:pt x="95" y="5"/>
                  </a:lnTo>
                  <a:lnTo>
                    <a:pt x="92" y="5"/>
                  </a:lnTo>
                  <a:lnTo>
                    <a:pt x="95" y="5"/>
                  </a:lnTo>
                  <a:lnTo>
                    <a:pt x="97" y="5"/>
                  </a:lnTo>
                  <a:lnTo>
                    <a:pt x="95" y="5"/>
                  </a:lnTo>
                  <a:lnTo>
                    <a:pt x="97" y="5"/>
                  </a:lnTo>
                  <a:lnTo>
                    <a:pt x="95" y="7"/>
                  </a:lnTo>
                  <a:lnTo>
                    <a:pt x="97" y="7"/>
                  </a:lnTo>
                  <a:lnTo>
                    <a:pt x="99" y="7"/>
                  </a:lnTo>
                  <a:lnTo>
                    <a:pt x="104" y="7"/>
                  </a:lnTo>
                  <a:lnTo>
                    <a:pt x="107" y="7"/>
                  </a:lnTo>
                  <a:lnTo>
                    <a:pt x="114" y="10"/>
                  </a:lnTo>
                  <a:lnTo>
                    <a:pt x="116" y="12"/>
                  </a:lnTo>
                  <a:lnTo>
                    <a:pt x="118" y="12"/>
                  </a:lnTo>
                  <a:lnTo>
                    <a:pt x="118" y="14"/>
                  </a:lnTo>
                  <a:lnTo>
                    <a:pt x="121" y="17"/>
                  </a:lnTo>
                  <a:lnTo>
                    <a:pt x="123" y="17"/>
                  </a:lnTo>
                  <a:lnTo>
                    <a:pt x="121" y="17"/>
                  </a:lnTo>
                  <a:lnTo>
                    <a:pt x="121" y="19"/>
                  </a:lnTo>
                  <a:lnTo>
                    <a:pt x="123" y="19"/>
                  </a:lnTo>
                  <a:lnTo>
                    <a:pt x="123" y="21"/>
                  </a:lnTo>
                  <a:lnTo>
                    <a:pt x="121" y="21"/>
                  </a:lnTo>
                  <a:lnTo>
                    <a:pt x="121" y="24"/>
                  </a:lnTo>
                  <a:lnTo>
                    <a:pt x="118" y="24"/>
                  </a:lnTo>
                  <a:lnTo>
                    <a:pt x="118" y="26"/>
                  </a:lnTo>
                  <a:lnTo>
                    <a:pt x="118" y="29"/>
                  </a:lnTo>
                  <a:lnTo>
                    <a:pt x="116" y="29"/>
                  </a:lnTo>
                  <a:lnTo>
                    <a:pt x="116" y="31"/>
                  </a:lnTo>
                  <a:lnTo>
                    <a:pt x="118" y="31"/>
                  </a:lnTo>
                  <a:lnTo>
                    <a:pt x="118" y="33"/>
                  </a:lnTo>
                  <a:lnTo>
                    <a:pt x="118" y="36"/>
                  </a:lnTo>
                  <a:lnTo>
                    <a:pt x="116" y="36"/>
                  </a:lnTo>
                  <a:lnTo>
                    <a:pt x="118" y="36"/>
                  </a:lnTo>
                  <a:lnTo>
                    <a:pt x="121" y="36"/>
                  </a:lnTo>
                  <a:lnTo>
                    <a:pt x="123" y="36"/>
                  </a:lnTo>
                  <a:lnTo>
                    <a:pt x="126" y="36"/>
                  </a:lnTo>
                  <a:lnTo>
                    <a:pt x="128" y="38"/>
                  </a:lnTo>
                  <a:lnTo>
                    <a:pt x="130" y="38"/>
                  </a:lnTo>
                  <a:lnTo>
                    <a:pt x="130" y="40"/>
                  </a:lnTo>
                  <a:lnTo>
                    <a:pt x="130" y="43"/>
                  </a:lnTo>
                  <a:lnTo>
                    <a:pt x="133" y="43"/>
                  </a:lnTo>
                  <a:lnTo>
                    <a:pt x="135" y="43"/>
                  </a:lnTo>
                  <a:lnTo>
                    <a:pt x="135" y="45"/>
                  </a:lnTo>
                  <a:lnTo>
                    <a:pt x="137" y="45"/>
                  </a:lnTo>
                  <a:lnTo>
                    <a:pt x="140" y="45"/>
                  </a:lnTo>
                  <a:lnTo>
                    <a:pt x="142" y="45"/>
                  </a:lnTo>
                  <a:lnTo>
                    <a:pt x="142" y="43"/>
                  </a:lnTo>
                  <a:lnTo>
                    <a:pt x="144" y="43"/>
                  </a:lnTo>
                  <a:lnTo>
                    <a:pt x="144" y="40"/>
                  </a:lnTo>
                  <a:lnTo>
                    <a:pt x="144" y="38"/>
                  </a:lnTo>
                  <a:lnTo>
                    <a:pt x="147" y="38"/>
                  </a:lnTo>
                  <a:lnTo>
                    <a:pt x="147" y="40"/>
                  </a:lnTo>
                  <a:lnTo>
                    <a:pt x="149" y="40"/>
                  </a:lnTo>
                  <a:lnTo>
                    <a:pt x="149" y="43"/>
                  </a:lnTo>
                  <a:lnTo>
                    <a:pt x="149" y="45"/>
                  </a:lnTo>
                  <a:lnTo>
                    <a:pt x="149" y="48"/>
                  </a:lnTo>
                  <a:lnTo>
                    <a:pt x="147" y="48"/>
                  </a:lnTo>
                  <a:lnTo>
                    <a:pt x="147" y="50"/>
                  </a:lnTo>
                  <a:lnTo>
                    <a:pt x="149" y="50"/>
                  </a:lnTo>
                  <a:lnTo>
                    <a:pt x="147" y="50"/>
                  </a:lnTo>
                  <a:lnTo>
                    <a:pt x="147" y="52"/>
                  </a:lnTo>
                  <a:lnTo>
                    <a:pt x="147" y="55"/>
                  </a:lnTo>
                  <a:lnTo>
                    <a:pt x="149" y="55"/>
                  </a:lnTo>
                  <a:lnTo>
                    <a:pt x="149" y="57"/>
                  </a:lnTo>
                  <a:lnTo>
                    <a:pt x="149" y="59"/>
                  </a:lnTo>
                  <a:lnTo>
                    <a:pt x="147" y="59"/>
                  </a:lnTo>
                  <a:lnTo>
                    <a:pt x="144" y="59"/>
                  </a:lnTo>
                  <a:lnTo>
                    <a:pt x="142" y="59"/>
                  </a:lnTo>
                  <a:lnTo>
                    <a:pt x="142" y="57"/>
                  </a:lnTo>
                  <a:lnTo>
                    <a:pt x="142" y="55"/>
                  </a:lnTo>
                  <a:lnTo>
                    <a:pt x="142" y="57"/>
                  </a:lnTo>
                  <a:lnTo>
                    <a:pt x="140" y="57"/>
                  </a:lnTo>
                  <a:lnTo>
                    <a:pt x="137" y="57"/>
                  </a:lnTo>
                  <a:lnTo>
                    <a:pt x="137" y="59"/>
                  </a:lnTo>
                  <a:lnTo>
                    <a:pt x="135" y="59"/>
                  </a:lnTo>
                  <a:lnTo>
                    <a:pt x="135" y="62"/>
                  </a:lnTo>
                  <a:lnTo>
                    <a:pt x="135" y="64"/>
                  </a:lnTo>
                  <a:lnTo>
                    <a:pt x="137" y="67"/>
                  </a:lnTo>
                  <a:lnTo>
                    <a:pt x="140" y="67"/>
                  </a:lnTo>
                  <a:lnTo>
                    <a:pt x="137" y="67"/>
                  </a:lnTo>
                  <a:lnTo>
                    <a:pt x="137" y="69"/>
                  </a:lnTo>
                  <a:lnTo>
                    <a:pt x="137" y="71"/>
                  </a:lnTo>
                  <a:lnTo>
                    <a:pt x="140" y="71"/>
                  </a:lnTo>
                  <a:lnTo>
                    <a:pt x="140" y="74"/>
                  </a:lnTo>
                  <a:lnTo>
                    <a:pt x="137" y="76"/>
                  </a:lnTo>
                  <a:lnTo>
                    <a:pt x="135" y="76"/>
                  </a:lnTo>
                  <a:lnTo>
                    <a:pt x="135" y="74"/>
                  </a:lnTo>
                  <a:lnTo>
                    <a:pt x="133" y="74"/>
                  </a:lnTo>
                  <a:lnTo>
                    <a:pt x="133" y="71"/>
                  </a:lnTo>
                  <a:lnTo>
                    <a:pt x="133" y="69"/>
                  </a:lnTo>
                  <a:lnTo>
                    <a:pt x="130" y="69"/>
                  </a:lnTo>
                  <a:lnTo>
                    <a:pt x="128" y="69"/>
                  </a:lnTo>
                  <a:lnTo>
                    <a:pt x="126" y="69"/>
                  </a:lnTo>
                  <a:lnTo>
                    <a:pt x="126" y="71"/>
                  </a:lnTo>
                  <a:lnTo>
                    <a:pt x="123" y="71"/>
                  </a:lnTo>
                  <a:lnTo>
                    <a:pt x="126" y="71"/>
                  </a:lnTo>
                  <a:lnTo>
                    <a:pt x="123" y="71"/>
                  </a:lnTo>
                  <a:lnTo>
                    <a:pt x="121" y="71"/>
                  </a:lnTo>
                  <a:lnTo>
                    <a:pt x="118" y="71"/>
                  </a:lnTo>
                  <a:lnTo>
                    <a:pt x="118" y="69"/>
                  </a:lnTo>
                  <a:lnTo>
                    <a:pt x="116" y="69"/>
                  </a:lnTo>
                  <a:lnTo>
                    <a:pt x="116" y="67"/>
                  </a:lnTo>
                  <a:lnTo>
                    <a:pt x="116" y="64"/>
                  </a:lnTo>
                  <a:lnTo>
                    <a:pt x="116" y="62"/>
                  </a:lnTo>
                  <a:lnTo>
                    <a:pt x="114" y="62"/>
                  </a:lnTo>
                  <a:lnTo>
                    <a:pt x="114" y="64"/>
                  </a:lnTo>
                  <a:lnTo>
                    <a:pt x="114" y="62"/>
                  </a:lnTo>
                  <a:lnTo>
                    <a:pt x="111" y="62"/>
                  </a:lnTo>
                  <a:lnTo>
                    <a:pt x="109" y="62"/>
                  </a:lnTo>
                  <a:lnTo>
                    <a:pt x="109" y="64"/>
                  </a:lnTo>
                  <a:lnTo>
                    <a:pt x="109" y="67"/>
                  </a:lnTo>
                  <a:lnTo>
                    <a:pt x="109" y="69"/>
                  </a:lnTo>
                  <a:lnTo>
                    <a:pt x="111" y="69"/>
                  </a:lnTo>
                  <a:lnTo>
                    <a:pt x="111" y="71"/>
                  </a:lnTo>
                  <a:lnTo>
                    <a:pt x="109" y="71"/>
                  </a:lnTo>
                  <a:lnTo>
                    <a:pt x="109" y="74"/>
                  </a:lnTo>
                  <a:lnTo>
                    <a:pt x="109" y="76"/>
                  </a:lnTo>
                  <a:lnTo>
                    <a:pt x="107" y="76"/>
                  </a:lnTo>
                  <a:lnTo>
                    <a:pt x="107" y="78"/>
                  </a:lnTo>
                  <a:lnTo>
                    <a:pt x="104" y="78"/>
                  </a:lnTo>
                  <a:lnTo>
                    <a:pt x="104" y="81"/>
                  </a:lnTo>
                  <a:lnTo>
                    <a:pt x="104" y="83"/>
                  </a:lnTo>
                  <a:lnTo>
                    <a:pt x="102" y="83"/>
                  </a:lnTo>
                  <a:lnTo>
                    <a:pt x="102" y="86"/>
                  </a:lnTo>
                  <a:lnTo>
                    <a:pt x="99" y="88"/>
                  </a:lnTo>
                  <a:lnTo>
                    <a:pt x="102" y="88"/>
                  </a:lnTo>
                  <a:lnTo>
                    <a:pt x="102" y="90"/>
                  </a:lnTo>
                  <a:lnTo>
                    <a:pt x="104" y="90"/>
                  </a:lnTo>
                  <a:lnTo>
                    <a:pt x="102" y="93"/>
                  </a:lnTo>
                  <a:lnTo>
                    <a:pt x="102" y="95"/>
                  </a:lnTo>
                  <a:lnTo>
                    <a:pt x="99" y="95"/>
                  </a:lnTo>
                  <a:lnTo>
                    <a:pt x="99" y="93"/>
                  </a:lnTo>
                  <a:lnTo>
                    <a:pt x="97" y="93"/>
                  </a:lnTo>
                  <a:lnTo>
                    <a:pt x="99" y="93"/>
                  </a:lnTo>
                  <a:lnTo>
                    <a:pt x="99" y="90"/>
                  </a:lnTo>
                  <a:lnTo>
                    <a:pt x="97" y="90"/>
                  </a:lnTo>
                  <a:lnTo>
                    <a:pt x="97" y="88"/>
                  </a:lnTo>
                  <a:lnTo>
                    <a:pt x="95" y="88"/>
                  </a:lnTo>
                  <a:lnTo>
                    <a:pt x="95" y="86"/>
                  </a:lnTo>
                  <a:lnTo>
                    <a:pt x="95" y="83"/>
                  </a:lnTo>
                  <a:lnTo>
                    <a:pt x="97" y="83"/>
                  </a:lnTo>
                  <a:lnTo>
                    <a:pt x="95" y="83"/>
                  </a:lnTo>
                  <a:lnTo>
                    <a:pt x="95" y="81"/>
                  </a:lnTo>
                  <a:lnTo>
                    <a:pt x="92" y="81"/>
                  </a:lnTo>
                  <a:lnTo>
                    <a:pt x="90" y="81"/>
                  </a:lnTo>
                  <a:lnTo>
                    <a:pt x="88" y="81"/>
                  </a:lnTo>
                  <a:lnTo>
                    <a:pt x="88" y="78"/>
                  </a:lnTo>
                  <a:lnTo>
                    <a:pt x="85" y="76"/>
                  </a:lnTo>
                  <a:lnTo>
                    <a:pt x="83" y="76"/>
                  </a:lnTo>
                  <a:lnTo>
                    <a:pt x="83" y="74"/>
                  </a:lnTo>
                  <a:lnTo>
                    <a:pt x="83" y="71"/>
                  </a:lnTo>
                  <a:lnTo>
                    <a:pt x="83" y="69"/>
                  </a:lnTo>
                  <a:lnTo>
                    <a:pt x="83" y="67"/>
                  </a:lnTo>
                  <a:lnTo>
                    <a:pt x="83" y="64"/>
                  </a:lnTo>
                  <a:lnTo>
                    <a:pt x="80" y="64"/>
                  </a:lnTo>
                  <a:lnTo>
                    <a:pt x="78" y="67"/>
                  </a:lnTo>
                  <a:lnTo>
                    <a:pt x="78" y="69"/>
                  </a:lnTo>
                  <a:lnTo>
                    <a:pt x="76" y="69"/>
                  </a:lnTo>
                  <a:lnTo>
                    <a:pt x="76" y="71"/>
                  </a:lnTo>
                  <a:lnTo>
                    <a:pt x="73" y="71"/>
                  </a:lnTo>
                  <a:lnTo>
                    <a:pt x="71" y="71"/>
                  </a:lnTo>
                  <a:lnTo>
                    <a:pt x="71" y="74"/>
                  </a:lnTo>
                  <a:lnTo>
                    <a:pt x="71" y="76"/>
                  </a:lnTo>
                  <a:lnTo>
                    <a:pt x="73" y="76"/>
                  </a:lnTo>
                  <a:lnTo>
                    <a:pt x="73" y="78"/>
                  </a:lnTo>
                  <a:lnTo>
                    <a:pt x="71" y="78"/>
                  </a:lnTo>
                  <a:lnTo>
                    <a:pt x="71" y="81"/>
                  </a:lnTo>
                  <a:lnTo>
                    <a:pt x="69" y="81"/>
                  </a:lnTo>
                  <a:lnTo>
                    <a:pt x="69" y="83"/>
                  </a:lnTo>
                  <a:lnTo>
                    <a:pt x="69" y="86"/>
                  </a:lnTo>
                  <a:lnTo>
                    <a:pt x="66" y="86"/>
                  </a:lnTo>
                  <a:lnTo>
                    <a:pt x="64" y="86"/>
                  </a:lnTo>
                  <a:lnTo>
                    <a:pt x="64" y="88"/>
                  </a:lnTo>
                  <a:lnTo>
                    <a:pt x="64" y="90"/>
                  </a:lnTo>
                  <a:lnTo>
                    <a:pt x="61" y="90"/>
                  </a:lnTo>
                  <a:lnTo>
                    <a:pt x="59" y="88"/>
                  </a:lnTo>
                  <a:lnTo>
                    <a:pt x="59" y="90"/>
                  </a:lnTo>
                  <a:lnTo>
                    <a:pt x="59" y="88"/>
                  </a:lnTo>
                  <a:lnTo>
                    <a:pt x="57" y="88"/>
                  </a:lnTo>
                  <a:lnTo>
                    <a:pt x="54" y="88"/>
                  </a:lnTo>
                  <a:lnTo>
                    <a:pt x="54" y="86"/>
                  </a:lnTo>
                  <a:lnTo>
                    <a:pt x="52" y="86"/>
                  </a:lnTo>
                  <a:lnTo>
                    <a:pt x="52" y="88"/>
                  </a:lnTo>
                  <a:lnTo>
                    <a:pt x="50" y="88"/>
                  </a:lnTo>
                  <a:lnTo>
                    <a:pt x="50" y="90"/>
                  </a:lnTo>
                  <a:lnTo>
                    <a:pt x="47" y="90"/>
                  </a:lnTo>
                  <a:lnTo>
                    <a:pt x="45" y="90"/>
                  </a:lnTo>
                  <a:lnTo>
                    <a:pt x="42" y="90"/>
                  </a:lnTo>
                  <a:lnTo>
                    <a:pt x="42" y="93"/>
                  </a:lnTo>
                  <a:lnTo>
                    <a:pt x="40" y="93"/>
                  </a:lnTo>
                  <a:lnTo>
                    <a:pt x="42" y="93"/>
                  </a:lnTo>
                  <a:lnTo>
                    <a:pt x="40" y="93"/>
                  </a:lnTo>
                  <a:lnTo>
                    <a:pt x="38" y="93"/>
                  </a:lnTo>
                  <a:lnTo>
                    <a:pt x="38" y="90"/>
                  </a:lnTo>
                  <a:lnTo>
                    <a:pt x="35" y="90"/>
                  </a:lnTo>
                  <a:lnTo>
                    <a:pt x="35" y="88"/>
                  </a:lnTo>
                  <a:lnTo>
                    <a:pt x="35" y="86"/>
                  </a:lnTo>
                  <a:lnTo>
                    <a:pt x="33" y="86"/>
                  </a:lnTo>
                  <a:lnTo>
                    <a:pt x="33" y="83"/>
                  </a:lnTo>
                  <a:lnTo>
                    <a:pt x="31" y="83"/>
                  </a:lnTo>
                  <a:lnTo>
                    <a:pt x="31" y="81"/>
                  </a:lnTo>
                  <a:lnTo>
                    <a:pt x="28" y="78"/>
                  </a:lnTo>
                  <a:lnTo>
                    <a:pt x="28" y="76"/>
                  </a:lnTo>
                  <a:lnTo>
                    <a:pt x="28" y="74"/>
                  </a:lnTo>
                  <a:lnTo>
                    <a:pt x="31" y="74"/>
                  </a:lnTo>
                  <a:lnTo>
                    <a:pt x="31" y="71"/>
                  </a:lnTo>
                  <a:lnTo>
                    <a:pt x="28" y="71"/>
                  </a:lnTo>
                  <a:lnTo>
                    <a:pt x="28" y="69"/>
                  </a:lnTo>
                  <a:lnTo>
                    <a:pt x="28" y="67"/>
                  </a:lnTo>
                  <a:lnTo>
                    <a:pt x="23" y="64"/>
                  </a:lnTo>
                  <a:lnTo>
                    <a:pt x="19" y="64"/>
                  </a:lnTo>
                  <a:lnTo>
                    <a:pt x="16" y="67"/>
                  </a:lnTo>
                  <a:lnTo>
                    <a:pt x="14" y="67"/>
                  </a:lnTo>
                  <a:lnTo>
                    <a:pt x="12" y="67"/>
                  </a:lnTo>
                  <a:lnTo>
                    <a:pt x="9" y="69"/>
                  </a:lnTo>
                  <a:lnTo>
                    <a:pt x="9" y="71"/>
                  </a:lnTo>
                  <a:lnTo>
                    <a:pt x="9" y="74"/>
                  </a:lnTo>
                  <a:lnTo>
                    <a:pt x="12" y="74"/>
                  </a:lnTo>
                  <a:lnTo>
                    <a:pt x="12" y="76"/>
                  </a:lnTo>
                  <a:lnTo>
                    <a:pt x="9" y="76"/>
                  </a:lnTo>
                  <a:lnTo>
                    <a:pt x="7" y="76"/>
                  </a:lnTo>
                  <a:lnTo>
                    <a:pt x="7" y="78"/>
                  </a:lnTo>
                  <a:lnTo>
                    <a:pt x="5" y="78"/>
                  </a:lnTo>
                  <a:lnTo>
                    <a:pt x="2" y="78"/>
                  </a:lnTo>
                  <a:lnTo>
                    <a:pt x="0" y="78"/>
                  </a:lnTo>
                  <a:lnTo>
                    <a:pt x="0" y="81"/>
                  </a:lnTo>
                  <a:lnTo>
                    <a:pt x="0" y="78"/>
                  </a:lnTo>
                  <a:lnTo>
                    <a:pt x="2" y="78"/>
                  </a:lnTo>
                  <a:lnTo>
                    <a:pt x="2" y="76"/>
                  </a:lnTo>
                  <a:lnTo>
                    <a:pt x="0" y="76"/>
                  </a:lnTo>
                  <a:lnTo>
                    <a:pt x="2" y="76"/>
                  </a:lnTo>
                  <a:lnTo>
                    <a:pt x="2" y="74"/>
                  </a:lnTo>
                  <a:lnTo>
                    <a:pt x="2" y="76"/>
                  </a:lnTo>
                  <a:lnTo>
                    <a:pt x="5" y="74"/>
                  </a:lnTo>
                  <a:lnTo>
                    <a:pt x="7" y="74"/>
                  </a:lnTo>
                  <a:lnTo>
                    <a:pt x="5" y="74"/>
                  </a:lnTo>
                  <a:lnTo>
                    <a:pt x="7" y="71"/>
                  </a:lnTo>
                  <a:lnTo>
                    <a:pt x="7" y="69"/>
                  </a:lnTo>
                  <a:lnTo>
                    <a:pt x="7" y="67"/>
                  </a:lnTo>
                  <a:lnTo>
                    <a:pt x="5" y="67"/>
                  </a:lnTo>
                  <a:lnTo>
                    <a:pt x="5" y="64"/>
                  </a:lnTo>
                  <a:lnTo>
                    <a:pt x="5" y="62"/>
                  </a:lnTo>
                  <a:lnTo>
                    <a:pt x="7" y="62"/>
                  </a:lnTo>
                  <a:lnTo>
                    <a:pt x="7" y="59"/>
                  </a:lnTo>
                  <a:lnTo>
                    <a:pt x="5" y="59"/>
                  </a:lnTo>
                  <a:lnTo>
                    <a:pt x="7" y="57"/>
                  </a:lnTo>
                  <a:lnTo>
                    <a:pt x="9" y="57"/>
                  </a:lnTo>
                  <a:lnTo>
                    <a:pt x="9" y="55"/>
                  </a:lnTo>
                  <a:lnTo>
                    <a:pt x="12" y="55"/>
                  </a:lnTo>
                  <a:lnTo>
                    <a:pt x="12" y="52"/>
                  </a:lnTo>
                  <a:lnTo>
                    <a:pt x="14" y="52"/>
                  </a:lnTo>
                  <a:lnTo>
                    <a:pt x="14" y="50"/>
                  </a:lnTo>
                  <a:lnTo>
                    <a:pt x="16" y="50"/>
                  </a:lnTo>
                  <a:lnTo>
                    <a:pt x="16" y="48"/>
                  </a:lnTo>
                  <a:lnTo>
                    <a:pt x="16" y="45"/>
                  </a:lnTo>
                  <a:lnTo>
                    <a:pt x="16" y="43"/>
                  </a:lnTo>
                  <a:lnTo>
                    <a:pt x="16" y="40"/>
                  </a:lnTo>
                  <a:lnTo>
                    <a:pt x="19" y="40"/>
                  </a:lnTo>
                  <a:lnTo>
                    <a:pt x="21" y="40"/>
                  </a:lnTo>
                  <a:lnTo>
                    <a:pt x="21" y="38"/>
                  </a:lnTo>
                  <a:lnTo>
                    <a:pt x="23" y="38"/>
                  </a:lnTo>
                  <a:lnTo>
                    <a:pt x="26" y="36"/>
                  </a:lnTo>
                  <a:lnTo>
                    <a:pt x="23" y="36"/>
                  </a:lnTo>
                  <a:lnTo>
                    <a:pt x="26" y="36"/>
                  </a:lnTo>
                  <a:lnTo>
                    <a:pt x="26" y="33"/>
                  </a:lnTo>
                  <a:lnTo>
                    <a:pt x="28" y="33"/>
                  </a:lnTo>
                  <a:lnTo>
                    <a:pt x="28" y="31"/>
                  </a:lnTo>
                  <a:lnTo>
                    <a:pt x="31" y="31"/>
                  </a:lnTo>
                  <a:lnTo>
                    <a:pt x="31" y="29"/>
                  </a:lnTo>
                  <a:lnTo>
                    <a:pt x="33" y="29"/>
                  </a:lnTo>
                  <a:lnTo>
                    <a:pt x="33" y="26"/>
                  </a:lnTo>
                  <a:lnTo>
                    <a:pt x="33" y="24"/>
                  </a:lnTo>
                  <a:lnTo>
                    <a:pt x="35" y="24"/>
                  </a:lnTo>
                  <a:lnTo>
                    <a:pt x="35" y="21"/>
                  </a:lnTo>
                  <a:lnTo>
                    <a:pt x="38" y="21"/>
                  </a:lnTo>
                  <a:lnTo>
                    <a:pt x="35" y="21"/>
                  </a:lnTo>
                  <a:lnTo>
                    <a:pt x="33" y="21"/>
                  </a:lnTo>
                  <a:lnTo>
                    <a:pt x="31" y="21"/>
                  </a:lnTo>
                  <a:lnTo>
                    <a:pt x="31" y="19"/>
                  </a:lnTo>
                  <a:lnTo>
                    <a:pt x="33" y="19"/>
                  </a:lnTo>
                  <a:lnTo>
                    <a:pt x="33" y="17"/>
                  </a:lnTo>
                  <a:lnTo>
                    <a:pt x="35" y="17"/>
                  </a:lnTo>
                  <a:lnTo>
                    <a:pt x="35" y="14"/>
                  </a:lnTo>
                  <a:lnTo>
                    <a:pt x="38" y="14"/>
                  </a:lnTo>
                  <a:lnTo>
                    <a:pt x="40" y="14"/>
                  </a:lnTo>
                  <a:lnTo>
                    <a:pt x="42" y="14"/>
                  </a:lnTo>
                  <a:lnTo>
                    <a:pt x="40" y="17"/>
                  </a:lnTo>
                  <a:lnTo>
                    <a:pt x="42" y="19"/>
                  </a:lnTo>
                  <a:lnTo>
                    <a:pt x="42" y="17"/>
                  </a:lnTo>
                  <a:lnTo>
                    <a:pt x="42" y="19"/>
                  </a:lnTo>
                  <a:lnTo>
                    <a:pt x="45" y="19"/>
                  </a:lnTo>
                  <a:lnTo>
                    <a:pt x="45" y="17"/>
                  </a:lnTo>
                  <a:lnTo>
                    <a:pt x="47" y="19"/>
                  </a:lnTo>
                  <a:lnTo>
                    <a:pt x="47" y="17"/>
                  </a:lnTo>
                  <a:lnTo>
                    <a:pt x="50" y="17"/>
                  </a:lnTo>
                  <a:lnTo>
                    <a:pt x="50" y="14"/>
                  </a:lnTo>
                  <a:lnTo>
                    <a:pt x="50" y="17"/>
                  </a:lnTo>
                  <a:lnTo>
                    <a:pt x="52" y="17"/>
                  </a:lnTo>
                  <a:lnTo>
                    <a:pt x="52" y="14"/>
                  </a:lnTo>
                  <a:lnTo>
                    <a:pt x="52" y="12"/>
                  </a:lnTo>
                  <a:lnTo>
                    <a:pt x="54" y="12"/>
                  </a:lnTo>
                  <a:lnTo>
                    <a:pt x="57" y="10"/>
                  </a:lnTo>
                  <a:lnTo>
                    <a:pt x="57" y="12"/>
                  </a:lnTo>
                  <a:lnTo>
                    <a:pt x="54" y="12"/>
                  </a:lnTo>
                  <a:lnTo>
                    <a:pt x="57" y="12"/>
                  </a:lnTo>
                  <a:lnTo>
                    <a:pt x="57" y="14"/>
                  </a:lnTo>
                  <a:lnTo>
                    <a:pt x="59" y="12"/>
                  </a:lnTo>
                  <a:lnTo>
                    <a:pt x="61" y="12"/>
                  </a:lnTo>
                  <a:lnTo>
                    <a:pt x="61" y="10"/>
                  </a:lnTo>
                  <a:lnTo>
                    <a:pt x="61" y="12"/>
                  </a:lnTo>
                  <a:lnTo>
                    <a:pt x="64" y="10"/>
                  </a:lnTo>
                  <a:lnTo>
                    <a:pt x="64" y="12"/>
                  </a:lnTo>
                  <a:lnTo>
                    <a:pt x="66" y="12"/>
                  </a:lnTo>
                  <a:lnTo>
                    <a:pt x="69" y="12"/>
                  </a:lnTo>
                  <a:lnTo>
                    <a:pt x="71" y="12"/>
                  </a:lnTo>
                  <a:lnTo>
                    <a:pt x="73" y="12"/>
                  </a:lnTo>
                  <a:lnTo>
                    <a:pt x="73" y="10"/>
                  </a:lnTo>
                  <a:lnTo>
                    <a:pt x="76" y="10"/>
                  </a:lnTo>
                  <a:lnTo>
                    <a:pt x="78" y="10"/>
                  </a:lnTo>
                  <a:lnTo>
                    <a:pt x="78" y="12"/>
                  </a:lnTo>
                  <a:lnTo>
                    <a:pt x="80" y="12"/>
                  </a:lnTo>
                  <a:lnTo>
                    <a:pt x="83" y="12"/>
                  </a:lnTo>
                  <a:lnTo>
                    <a:pt x="83" y="10"/>
                  </a:lnTo>
                  <a:lnTo>
                    <a:pt x="85" y="10"/>
                  </a:lnTo>
                  <a:lnTo>
                    <a:pt x="88" y="10"/>
                  </a:lnTo>
                  <a:lnTo>
                    <a:pt x="85" y="10"/>
                  </a:lnTo>
                  <a:lnTo>
                    <a:pt x="88" y="10"/>
                  </a:lnTo>
                  <a:lnTo>
                    <a:pt x="88" y="7"/>
                  </a:lnTo>
                  <a:lnTo>
                    <a:pt x="88" y="10"/>
                  </a:lnTo>
                  <a:lnTo>
                    <a:pt x="88" y="7"/>
                  </a:lnTo>
                  <a:lnTo>
                    <a:pt x="85" y="7"/>
                  </a:lnTo>
                  <a:lnTo>
                    <a:pt x="83" y="7"/>
                  </a:lnTo>
                  <a:lnTo>
                    <a:pt x="80" y="7"/>
                  </a:lnTo>
                  <a:lnTo>
                    <a:pt x="83" y="7"/>
                  </a:lnTo>
                  <a:lnTo>
                    <a:pt x="80" y="5"/>
                  </a:lnTo>
                  <a:lnTo>
                    <a:pt x="83" y="5"/>
                  </a:lnTo>
                  <a:lnTo>
                    <a:pt x="83" y="2"/>
                  </a:lnTo>
                  <a:lnTo>
                    <a:pt x="85" y="2"/>
                  </a:lnTo>
                  <a:lnTo>
                    <a:pt x="88" y="2"/>
                  </a:lnTo>
                  <a:lnTo>
                    <a:pt x="85" y="0"/>
                  </a:lnTo>
                  <a:lnTo>
                    <a:pt x="88" y="0"/>
                  </a:lnTo>
                  <a:close/>
                  <a:moveTo>
                    <a:pt x="90" y="5"/>
                  </a:moveTo>
                  <a:lnTo>
                    <a:pt x="90" y="7"/>
                  </a:lnTo>
                  <a:lnTo>
                    <a:pt x="90" y="5"/>
                  </a:lnTo>
                  <a:lnTo>
                    <a:pt x="92" y="5"/>
                  </a:lnTo>
                  <a:lnTo>
                    <a:pt x="90" y="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3" name="Freeform 57757"/>
            <p:cNvSpPr>
              <a:spLocks/>
            </p:cNvSpPr>
            <p:nvPr/>
          </p:nvSpPr>
          <p:spPr bwMode="auto">
            <a:xfrm>
              <a:off x="3098797" y="5270520"/>
              <a:ext cx="134938" cy="109538"/>
            </a:xfrm>
            <a:custGeom>
              <a:avLst/>
              <a:gdLst>
                <a:gd name="T0" fmla="*/ 50 w 85"/>
                <a:gd name="T1" fmla="*/ 3 h 69"/>
                <a:gd name="T2" fmla="*/ 55 w 85"/>
                <a:gd name="T3" fmla="*/ 3 h 69"/>
                <a:gd name="T4" fmla="*/ 59 w 85"/>
                <a:gd name="T5" fmla="*/ 0 h 69"/>
                <a:gd name="T6" fmla="*/ 64 w 85"/>
                <a:gd name="T7" fmla="*/ 3 h 69"/>
                <a:gd name="T8" fmla="*/ 66 w 85"/>
                <a:gd name="T9" fmla="*/ 7 h 69"/>
                <a:gd name="T10" fmla="*/ 71 w 85"/>
                <a:gd name="T11" fmla="*/ 12 h 69"/>
                <a:gd name="T12" fmla="*/ 76 w 85"/>
                <a:gd name="T13" fmla="*/ 14 h 69"/>
                <a:gd name="T14" fmla="*/ 78 w 85"/>
                <a:gd name="T15" fmla="*/ 22 h 69"/>
                <a:gd name="T16" fmla="*/ 81 w 85"/>
                <a:gd name="T17" fmla="*/ 26 h 69"/>
                <a:gd name="T18" fmla="*/ 85 w 85"/>
                <a:gd name="T19" fmla="*/ 29 h 69"/>
                <a:gd name="T20" fmla="*/ 83 w 85"/>
                <a:gd name="T21" fmla="*/ 33 h 69"/>
                <a:gd name="T22" fmla="*/ 83 w 85"/>
                <a:gd name="T23" fmla="*/ 36 h 69"/>
                <a:gd name="T24" fmla="*/ 83 w 85"/>
                <a:gd name="T25" fmla="*/ 43 h 69"/>
                <a:gd name="T26" fmla="*/ 81 w 85"/>
                <a:gd name="T27" fmla="*/ 48 h 69"/>
                <a:gd name="T28" fmla="*/ 76 w 85"/>
                <a:gd name="T29" fmla="*/ 50 h 69"/>
                <a:gd name="T30" fmla="*/ 74 w 85"/>
                <a:gd name="T31" fmla="*/ 55 h 69"/>
                <a:gd name="T32" fmla="*/ 69 w 85"/>
                <a:gd name="T33" fmla="*/ 57 h 69"/>
                <a:gd name="T34" fmla="*/ 62 w 85"/>
                <a:gd name="T35" fmla="*/ 57 h 69"/>
                <a:gd name="T36" fmla="*/ 57 w 85"/>
                <a:gd name="T37" fmla="*/ 55 h 69"/>
                <a:gd name="T38" fmla="*/ 52 w 85"/>
                <a:gd name="T39" fmla="*/ 57 h 69"/>
                <a:gd name="T40" fmla="*/ 50 w 85"/>
                <a:gd name="T41" fmla="*/ 57 h 69"/>
                <a:gd name="T42" fmla="*/ 48 w 85"/>
                <a:gd name="T43" fmla="*/ 62 h 69"/>
                <a:gd name="T44" fmla="*/ 43 w 85"/>
                <a:gd name="T45" fmla="*/ 64 h 69"/>
                <a:gd name="T46" fmla="*/ 43 w 85"/>
                <a:gd name="T47" fmla="*/ 67 h 69"/>
                <a:gd name="T48" fmla="*/ 40 w 85"/>
                <a:gd name="T49" fmla="*/ 67 h 69"/>
                <a:gd name="T50" fmla="*/ 36 w 85"/>
                <a:gd name="T51" fmla="*/ 69 h 69"/>
                <a:gd name="T52" fmla="*/ 31 w 85"/>
                <a:gd name="T53" fmla="*/ 67 h 69"/>
                <a:gd name="T54" fmla="*/ 24 w 85"/>
                <a:gd name="T55" fmla="*/ 69 h 69"/>
                <a:gd name="T56" fmla="*/ 17 w 85"/>
                <a:gd name="T57" fmla="*/ 67 h 69"/>
                <a:gd name="T58" fmla="*/ 10 w 85"/>
                <a:gd name="T59" fmla="*/ 67 h 69"/>
                <a:gd name="T60" fmla="*/ 5 w 85"/>
                <a:gd name="T61" fmla="*/ 60 h 69"/>
                <a:gd name="T62" fmla="*/ 2 w 85"/>
                <a:gd name="T63" fmla="*/ 55 h 69"/>
                <a:gd name="T64" fmla="*/ 0 w 85"/>
                <a:gd name="T65" fmla="*/ 48 h 69"/>
                <a:gd name="T66" fmla="*/ 2 w 85"/>
                <a:gd name="T67" fmla="*/ 43 h 69"/>
                <a:gd name="T68" fmla="*/ 2 w 85"/>
                <a:gd name="T69" fmla="*/ 41 h 69"/>
                <a:gd name="T70" fmla="*/ 2 w 85"/>
                <a:gd name="T71" fmla="*/ 38 h 69"/>
                <a:gd name="T72" fmla="*/ 2 w 85"/>
                <a:gd name="T73" fmla="*/ 31 h 69"/>
                <a:gd name="T74" fmla="*/ 2 w 85"/>
                <a:gd name="T75" fmla="*/ 24 h 69"/>
                <a:gd name="T76" fmla="*/ 7 w 85"/>
                <a:gd name="T77" fmla="*/ 22 h 69"/>
                <a:gd name="T78" fmla="*/ 10 w 85"/>
                <a:gd name="T79" fmla="*/ 17 h 69"/>
                <a:gd name="T80" fmla="*/ 12 w 85"/>
                <a:gd name="T81" fmla="*/ 12 h 69"/>
                <a:gd name="T82" fmla="*/ 17 w 85"/>
                <a:gd name="T83" fmla="*/ 10 h 69"/>
                <a:gd name="T84" fmla="*/ 21 w 85"/>
                <a:gd name="T85" fmla="*/ 7 h 69"/>
                <a:gd name="T86" fmla="*/ 29 w 85"/>
                <a:gd name="T87" fmla="*/ 12 h 69"/>
                <a:gd name="T88" fmla="*/ 31 w 85"/>
                <a:gd name="T89" fmla="*/ 5 h 69"/>
                <a:gd name="T90" fmla="*/ 38 w 85"/>
                <a:gd name="T91" fmla="*/ 5 h 69"/>
                <a:gd name="T92" fmla="*/ 40 w 85"/>
                <a:gd name="T93" fmla="*/ 5 h 69"/>
                <a:gd name="T94" fmla="*/ 43 w 85"/>
                <a:gd name="T95" fmla="*/ 0 h 69"/>
                <a:gd name="T96" fmla="*/ 48 w 85"/>
                <a:gd name="T97" fmla="*/ 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69">
                  <a:moveTo>
                    <a:pt x="48" y="5"/>
                  </a:moveTo>
                  <a:lnTo>
                    <a:pt x="50" y="5"/>
                  </a:lnTo>
                  <a:lnTo>
                    <a:pt x="50" y="3"/>
                  </a:lnTo>
                  <a:lnTo>
                    <a:pt x="52" y="5"/>
                  </a:lnTo>
                  <a:lnTo>
                    <a:pt x="52" y="3"/>
                  </a:lnTo>
                  <a:lnTo>
                    <a:pt x="55" y="3"/>
                  </a:lnTo>
                  <a:lnTo>
                    <a:pt x="57" y="3"/>
                  </a:lnTo>
                  <a:lnTo>
                    <a:pt x="59" y="3"/>
                  </a:lnTo>
                  <a:lnTo>
                    <a:pt x="59" y="0"/>
                  </a:lnTo>
                  <a:lnTo>
                    <a:pt x="62" y="0"/>
                  </a:lnTo>
                  <a:lnTo>
                    <a:pt x="62" y="3"/>
                  </a:lnTo>
                  <a:lnTo>
                    <a:pt x="64" y="3"/>
                  </a:lnTo>
                  <a:lnTo>
                    <a:pt x="64" y="5"/>
                  </a:lnTo>
                  <a:lnTo>
                    <a:pt x="64" y="7"/>
                  </a:lnTo>
                  <a:lnTo>
                    <a:pt x="66" y="7"/>
                  </a:lnTo>
                  <a:lnTo>
                    <a:pt x="66" y="10"/>
                  </a:lnTo>
                  <a:lnTo>
                    <a:pt x="69" y="12"/>
                  </a:lnTo>
                  <a:lnTo>
                    <a:pt x="71" y="12"/>
                  </a:lnTo>
                  <a:lnTo>
                    <a:pt x="71" y="14"/>
                  </a:lnTo>
                  <a:lnTo>
                    <a:pt x="74" y="14"/>
                  </a:lnTo>
                  <a:lnTo>
                    <a:pt x="76" y="14"/>
                  </a:lnTo>
                  <a:lnTo>
                    <a:pt x="78" y="17"/>
                  </a:lnTo>
                  <a:lnTo>
                    <a:pt x="78" y="19"/>
                  </a:lnTo>
                  <a:lnTo>
                    <a:pt x="78" y="22"/>
                  </a:lnTo>
                  <a:lnTo>
                    <a:pt x="81" y="22"/>
                  </a:lnTo>
                  <a:lnTo>
                    <a:pt x="81" y="24"/>
                  </a:lnTo>
                  <a:lnTo>
                    <a:pt x="81" y="26"/>
                  </a:lnTo>
                  <a:lnTo>
                    <a:pt x="83" y="26"/>
                  </a:lnTo>
                  <a:lnTo>
                    <a:pt x="83" y="29"/>
                  </a:lnTo>
                  <a:lnTo>
                    <a:pt x="85" y="29"/>
                  </a:lnTo>
                  <a:lnTo>
                    <a:pt x="85" y="31"/>
                  </a:lnTo>
                  <a:lnTo>
                    <a:pt x="83" y="31"/>
                  </a:lnTo>
                  <a:lnTo>
                    <a:pt x="83" y="33"/>
                  </a:lnTo>
                  <a:lnTo>
                    <a:pt x="81" y="33"/>
                  </a:lnTo>
                  <a:lnTo>
                    <a:pt x="81" y="36"/>
                  </a:lnTo>
                  <a:lnTo>
                    <a:pt x="83" y="36"/>
                  </a:lnTo>
                  <a:lnTo>
                    <a:pt x="83" y="38"/>
                  </a:lnTo>
                  <a:lnTo>
                    <a:pt x="83" y="41"/>
                  </a:lnTo>
                  <a:lnTo>
                    <a:pt x="83" y="43"/>
                  </a:lnTo>
                  <a:lnTo>
                    <a:pt x="83" y="45"/>
                  </a:lnTo>
                  <a:lnTo>
                    <a:pt x="83" y="48"/>
                  </a:lnTo>
                  <a:lnTo>
                    <a:pt x="81" y="48"/>
                  </a:lnTo>
                  <a:lnTo>
                    <a:pt x="78" y="48"/>
                  </a:lnTo>
                  <a:lnTo>
                    <a:pt x="76" y="48"/>
                  </a:lnTo>
                  <a:lnTo>
                    <a:pt x="76" y="50"/>
                  </a:lnTo>
                  <a:lnTo>
                    <a:pt x="76" y="55"/>
                  </a:lnTo>
                  <a:lnTo>
                    <a:pt x="74" y="57"/>
                  </a:lnTo>
                  <a:lnTo>
                    <a:pt x="74" y="55"/>
                  </a:lnTo>
                  <a:lnTo>
                    <a:pt x="71" y="55"/>
                  </a:lnTo>
                  <a:lnTo>
                    <a:pt x="71" y="57"/>
                  </a:lnTo>
                  <a:lnTo>
                    <a:pt x="69" y="57"/>
                  </a:lnTo>
                  <a:lnTo>
                    <a:pt x="66" y="57"/>
                  </a:lnTo>
                  <a:lnTo>
                    <a:pt x="64" y="57"/>
                  </a:lnTo>
                  <a:lnTo>
                    <a:pt x="62" y="57"/>
                  </a:lnTo>
                  <a:lnTo>
                    <a:pt x="59" y="57"/>
                  </a:lnTo>
                  <a:lnTo>
                    <a:pt x="59" y="55"/>
                  </a:lnTo>
                  <a:lnTo>
                    <a:pt x="57" y="55"/>
                  </a:lnTo>
                  <a:lnTo>
                    <a:pt x="57" y="57"/>
                  </a:lnTo>
                  <a:lnTo>
                    <a:pt x="55" y="57"/>
                  </a:lnTo>
                  <a:lnTo>
                    <a:pt x="52" y="57"/>
                  </a:lnTo>
                  <a:lnTo>
                    <a:pt x="52" y="55"/>
                  </a:lnTo>
                  <a:lnTo>
                    <a:pt x="52" y="57"/>
                  </a:lnTo>
                  <a:lnTo>
                    <a:pt x="50" y="57"/>
                  </a:lnTo>
                  <a:lnTo>
                    <a:pt x="48" y="57"/>
                  </a:lnTo>
                  <a:lnTo>
                    <a:pt x="48" y="60"/>
                  </a:lnTo>
                  <a:lnTo>
                    <a:pt x="48" y="62"/>
                  </a:lnTo>
                  <a:lnTo>
                    <a:pt x="45" y="62"/>
                  </a:lnTo>
                  <a:lnTo>
                    <a:pt x="45" y="64"/>
                  </a:lnTo>
                  <a:lnTo>
                    <a:pt x="43" y="64"/>
                  </a:lnTo>
                  <a:lnTo>
                    <a:pt x="45" y="64"/>
                  </a:lnTo>
                  <a:lnTo>
                    <a:pt x="43" y="64"/>
                  </a:lnTo>
                  <a:lnTo>
                    <a:pt x="43" y="67"/>
                  </a:lnTo>
                  <a:lnTo>
                    <a:pt x="40" y="67"/>
                  </a:lnTo>
                  <a:lnTo>
                    <a:pt x="40" y="64"/>
                  </a:lnTo>
                  <a:lnTo>
                    <a:pt x="40" y="67"/>
                  </a:lnTo>
                  <a:lnTo>
                    <a:pt x="38" y="67"/>
                  </a:lnTo>
                  <a:lnTo>
                    <a:pt x="38" y="69"/>
                  </a:lnTo>
                  <a:lnTo>
                    <a:pt x="36" y="69"/>
                  </a:lnTo>
                  <a:lnTo>
                    <a:pt x="36" y="67"/>
                  </a:lnTo>
                  <a:lnTo>
                    <a:pt x="33" y="67"/>
                  </a:lnTo>
                  <a:lnTo>
                    <a:pt x="31" y="67"/>
                  </a:lnTo>
                  <a:lnTo>
                    <a:pt x="29" y="69"/>
                  </a:lnTo>
                  <a:lnTo>
                    <a:pt x="26" y="69"/>
                  </a:lnTo>
                  <a:lnTo>
                    <a:pt x="24" y="69"/>
                  </a:lnTo>
                  <a:lnTo>
                    <a:pt x="21" y="69"/>
                  </a:lnTo>
                  <a:lnTo>
                    <a:pt x="17" y="69"/>
                  </a:lnTo>
                  <a:lnTo>
                    <a:pt x="17" y="67"/>
                  </a:lnTo>
                  <a:lnTo>
                    <a:pt x="14" y="67"/>
                  </a:lnTo>
                  <a:lnTo>
                    <a:pt x="12" y="67"/>
                  </a:lnTo>
                  <a:lnTo>
                    <a:pt x="10" y="67"/>
                  </a:lnTo>
                  <a:lnTo>
                    <a:pt x="7" y="64"/>
                  </a:lnTo>
                  <a:lnTo>
                    <a:pt x="7" y="60"/>
                  </a:lnTo>
                  <a:lnTo>
                    <a:pt x="5" y="60"/>
                  </a:lnTo>
                  <a:lnTo>
                    <a:pt x="5" y="57"/>
                  </a:lnTo>
                  <a:lnTo>
                    <a:pt x="5" y="55"/>
                  </a:lnTo>
                  <a:lnTo>
                    <a:pt x="2" y="55"/>
                  </a:lnTo>
                  <a:lnTo>
                    <a:pt x="2" y="52"/>
                  </a:lnTo>
                  <a:lnTo>
                    <a:pt x="2" y="50"/>
                  </a:lnTo>
                  <a:lnTo>
                    <a:pt x="0" y="48"/>
                  </a:lnTo>
                  <a:lnTo>
                    <a:pt x="2" y="48"/>
                  </a:lnTo>
                  <a:lnTo>
                    <a:pt x="2" y="45"/>
                  </a:lnTo>
                  <a:lnTo>
                    <a:pt x="2" y="43"/>
                  </a:lnTo>
                  <a:lnTo>
                    <a:pt x="0" y="43"/>
                  </a:lnTo>
                  <a:lnTo>
                    <a:pt x="2" y="43"/>
                  </a:lnTo>
                  <a:lnTo>
                    <a:pt x="2" y="41"/>
                  </a:lnTo>
                  <a:lnTo>
                    <a:pt x="0" y="41"/>
                  </a:lnTo>
                  <a:lnTo>
                    <a:pt x="0" y="38"/>
                  </a:lnTo>
                  <a:lnTo>
                    <a:pt x="2" y="38"/>
                  </a:lnTo>
                  <a:lnTo>
                    <a:pt x="2" y="36"/>
                  </a:lnTo>
                  <a:lnTo>
                    <a:pt x="2" y="33"/>
                  </a:lnTo>
                  <a:lnTo>
                    <a:pt x="2" y="31"/>
                  </a:lnTo>
                  <a:lnTo>
                    <a:pt x="2" y="29"/>
                  </a:lnTo>
                  <a:lnTo>
                    <a:pt x="2" y="26"/>
                  </a:lnTo>
                  <a:lnTo>
                    <a:pt x="2" y="24"/>
                  </a:lnTo>
                  <a:lnTo>
                    <a:pt x="5" y="24"/>
                  </a:lnTo>
                  <a:lnTo>
                    <a:pt x="5" y="22"/>
                  </a:lnTo>
                  <a:lnTo>
                    <a:pt x="7" y="22"/>
                  </a:lnTo>
                  <a:lnTo>
                    <a:pt x="10" y="22"/>
                  </a:lnTo>
                  <a:lnTo>
                    <a:pt x="10" y="19"/>
                  </a:lnTo>
                  <a:lnTo>
                    <a:pt x="10" y="17"/>
                  </a:lnTo>
                  <a:lnTo>
                    <a:pt x="10" y="14"/>
                  </a:lnTo>
                  <a:lnTo>
                    <a:pt x="12" y="14"/>
                  </a:lnTo>
                  <a:lnTo>
                    <a:pt x="12" y="12"/>
                  </a:lnTo>
                  <a:lnTo>
                    <a:pt x="14" y="12"/>
                  </a:lnTo>
                  <a:lnTo>
                    <a:pt x="17" y="12"/>
                  </a:lnTo>
                  <a:lnTo>
                    <a:pt x="17" y="10"/>
                  </a:lnTo>
                  <a:lnTo>
                    <a:pt x="19" y="10"/>
                  </a:lnTo>
                  <a:lnTo>
                    <a:pt x="21" y="10"/>
                  </a:lnTo>
                  <a:lnTo>
                    <a:pt x="21" y="7"/>
                  </a:lnTo>
                  <a:lnTo>
                    <a:pt x="24" y="10"/>
                  </a:lnTo>
                  <a:lnTo>
                    <a:pt x="26" y="12"/>
                  </a:lnTo>
                  <a:lnTo>
                    <a:pt x="29" y="12"/>
                  </a:lnTo>
                  <a:lnTo>
                    <a:pt x="29" y="10"/>
                  </a:lnTo>
                  <a:lnTo>
                    <a:pt x="29" y="7"/>
                  </a:lnTo>
                  <a:lnTo>
                    <a:pt x="31" y="5"/>
                  </a:lnTo>
                  <a:lnTo>
                    <a:pt x="33" y="5"/>
                  </a:lnTo>
                  <a:lnTo>
                    <a:pt x="36" y="5"/>
                  </a:lnTo>
                  <a:lnTo>
                    <a:pt x="38" y="5"/>
                  </a:lnTo>
                  <a:lnTo>
                    <a:pt x="40" y="5"/>
                  </a:lnTo>
                  <a:lnTo>
                    <a:pt x="40" y="7"/>
                  </a:lnTo>
                  <a:lnTo>
                    <a:pt x="40" y="5"/>
                  </a:lnTo>
                  <a:lnTo>
                    <a:pt x="43" y="5"/>
                  </a:lnTo>
                  <a:lnTo>
                    <a:pt x="43" y="3"/>
                  </a:lnTo>
                  <a:lnTo>
                    <a:pt x="43" y="0"/>
                  </a:lnTo>
                  <a:lnTo>
                    <a:pt x="45" y="0"/>
                  </a:lnTo>
                  <a:lnTo>
                    <a:pt x="48" y="3"/>
                  </a:lnTo>
                  <a:lnTo>
                    <a:pt x="48" y="5"/>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4" name="Freeform 57758"/>
            <p:cNvSpPr>
              <a:spLocks noEditPoints="1"/>
            </p:cNvSpPr>
            <p:nvPr/>
          </p:nvSpPr>
          <p:spPr bwMode="auto">
            <a:xfrm>
              <a:off x="3186109" y="4516455"/>
              <a:ext cx="944562" cy="608015"/>
            </a:xfrm>
            <a:custGeom>
              <a:avLst/>
              <a:gdLst>
                <a:gd name="T0" fmla="*/ 486 w 595"/>
                <a:gd name="T1" fmla="*/ 269 h 383"/>
                <a:gd name="T2" fmla="*/ 462 w 595"/>
                <a:gd name="T3" fmla="*/ 276 h 383"/>
                <a:gd name="T4" fmla="*/ 431 w 595"/>
                <a:gd name="T5" fmla="*/ 299 h 383"/>
                <a:gd name="T6" fmla="*/ 424 w 595"/>
                <a:gd name="T7" fmla="*/ 318 h 383"/>
                <a:gd name="T8" fmla="*/ 465 w 595"/>
                <a:gd name="T9" fmla="*/ 330 h 383"/>
                <a:gd name="T10" fmla="*/ 455 w 595"/>
                <a:gd name="T11" fmla="*/ 352 h 383"/>
                <a:gd name="T12" fmla="*/ 410 w 595"/>
                <a:gd name="T13" fmla="*/ 366 h 383"/>
                <a:gd name="T14" fmla="*/ 375 w 595"/>
                <a:gd name="T15" fmla="*/ 371 h 383"/>
                <a:gd name="T16" fmla="*/ 363 w 595"/>
                <a:gd name="T17" fmla="*/ 342 h 383"/>
                <a:gd name="T18" fmla="*/ 346 w 595"/>
                <a:gd name="T19" fmla="*/ 330 h 383"/>
                <a:gd name="T20" fmla="*/ 379 w 595"/>
                <a:gd name="T21" fmla="*/ 307 h 383"/>
                <a:gd name="T22" fmla="*/ 358 w 595"/>
                <a:gd name="T23" fmla="*/ 299 h 383"/>
                <a:gd name="T24" fmla="*/ 327 w 595"/>
                <a:gd name="T25" fmla="*/ 295 h 383"/>
                <a:gd name="T26" fmla="*/ 310 w 595"/>
                <a:gd name="T27" fmla="*/ 283 h 383"/>
                <a:gd name="T28" fmla="*/ 356 w 595"/>
                <a:gd name="T29" fmla="*/ 273 h 383"/>
                <a:gd name="T30" fmla="*/ 341 w 595"/>
                <a:gd name="T31" fmla="*/ 280 h 383"/>
                <a:gd name="T32" fmla="*/ 322 w 595"/>
                <a:gd name="T33" fmla="*/ 254 h 383"/>
                <a:gd name="T34" fmla="*/ 320 w 595"/>
                <a:gd name="T35" fmla="*/ 278 h 383"/>
                <a:gd name="T36" fmla="*/ 301 w 595"/>
                <a:gd name="T37" fmla="*/ 278 h 383"/>
                <a:gd name="T38" fmla="*/ 275 w 595"/>
                <a:gd name="T39" fmla="*/ 302 h 383"/>
                <a:gd name="T40" fmla="*/ 270 w 595"/>
                <a:gd name="T41" fmla="*/ 307 h 383"/>
                <a:gd name="T42" fmla="*/ 253 w 595"/>
                <a:gd name="T43" fmla="*/ 321 h 383"/>
                <a:gd name="T44" fmla="*/ 251 w 595"/>
                <a:gd name="T45" fmla="*/ 333 h 383"/>
                <a:gd name="T46" fmla="*/ 201 w 595"/>
                <a:gd name="T47" fmla="*/ 330 h 383"/>
                <a:gd name="T48" fmla="*/ 235 w 595"/>
                <a:gd name="T49" fmla="*/ 280 h 383"/>
                <a:gd name="T50" fmla="*/ 263 w 595"/>
                <a:gd name="T51" fmla="*/ 285 h 383"/>
                <a:gd name="T52" fmla="*/ 244 w 595"/>
                <a:gd name="T53" fmla="*/ 254 h 383"/>
                <a:gd name="T54" fmla="*/ 235 w 595"/>
                <a:gd name="T55" fmla="*/ 216 h 383"/>
                <a:gd name="T56" fmla="*/ 206 w 595"/>
                <a:gd name="T57" fmla="*/ 200 h 383"/>
                <a:gd name="T58" fmla="*/ 166 w 595"/>
                <a:gd name="T59" fmla="*/ 195 h 383"/>
                <a:gd name="T60" fmla="*/ 135 w 595"/>
                <a:gd name="T61" fmla="*/ 212 h 383"/>
                <a:gd name="T62" fmla="*/ 83 w 595"/>
                <a:gd name="T63" fmla="*/ 219 h 383"/>
                <a:gd name="T64" fmla="*/ 33 w 595"/>
                <a:gd name="T65" fmla="*/ 207 h 383"/>
                <a:gd name="T66" fmla="*/ 0 w 595"/>
                <a:gd name="T67" fmla="*/ 185 h 383"/>
                <a:gd name="T68" fmla="*/ 19 w 595"/>
                <a:gd name="T69" fmla="*/ 157 h 383"/>
                <a:gd name="T70" fmla="*/ 47 w 595"/>
                <a:gd name="T71" fmla="*/ 105 h 383"/>
                <a:gd name="T72" fmla="*/ 61 w 595"/>
                <a:gd name="T73" fmla="*/ 71 h 383"/>
                <a:gd name="T74" fmla="*/ 54 w 595"/>
                <a:gd name="T75" fmla="*/ 36 h 383"/>
                <a:gd name="T76" fmla="*/ 106 w 595"/>
                <a:gd name="T77" fmla="*/ 21 h 383"/>
                <a:gd name="T78" fmla="*/ 168 w 595"/>
                <a:gd name="T79" fmla="*/ 33 h 383"/>
                <a:gd name="T80" fmla="*/ 199 w 595"/>
                <a:gd name="T81" fmla="*/ 36 h 383"/>
                <a:gd name="T82" fmla="*/ 244 w 595"/>
                <a:gd name="T83" fmla="*/ 45 h 383"/>
                <a:gd name="T84" fmla="*/ 280 w 595"/>
                <a:gd name="T85" fmla="*/ 43 h 383"/>
                <a:gd name="T86" fmla="*/ 296 w 595"/>
                <a:gd name="T87" fmla="*/ 12 h 383"/>
                <a:gd name="T88" fmla="*/ 337 w 595"/>
                <a:gd name="T89" fmla="*/ 7 h 383"/>
                <a:gd name="T90" fmla="*/ 386 w 595"/>
                <a:gd name="T91" fmla="*/ 2 h 383"/>
                <a:gd name="T92" fmla="*/ 398 w 595"/>
                <a:gd name="T93" fmla="*/ 45 h 383"/>
                <a:gd name="T94" fmla="*/ 431 w 595"/>
                <a:gd name="T95" fmla="*/ 64 h 383"/>
                <a:gd name="T96" fmla="*/ 450 w 595"/>
                <a:gd name="T97" fmla="*/ 97 h 383"/>
                <a:gd name="T98" fmla="*/ 505 w 595"/>
                <a:gd name="T99" fmla="*/ 93 h 383"/>
                <a:gd name="T100" fmla="*/ 543 w 595"/>
                <a:gd name="T101" fmla="*/ 116 h 383"/>
                <a:gd name="T102" fmla="*/ 590 w 595"/>
                <a:gd name="T103" fmla="*/ 140 h 383"/>
                <a:gd name="T104" fmla="*/ 581 w 595"/>
                <a:gd name="T105" fmla="*/ 174 h 383"/>
                <a:gd name="T106" fmla="*/ 586 w 595"/>
                <a:gd name="T107" fmla="*/ 209 h 383"/>
                <a:gd name="T108" fmla="*/ 536 w 595"/>
                <a:gd name="T109" fmla="*/ 233 h 383"/>
                <a:gd name="T110" fmla="*/ 393 w 595"/>
                <a:gd name="T111" fmla="*/ 302 h 383"/>
                <a:gd name="T112" fmla="*/ 398 w 595"/>
                <a:gd name="T113" fmla="*/ 307 h 383"/>
                <a:gd name="T114" fmla="*/ 410 w 595"/>
                <a:gd name="T115" fmla="*/ 307 h 383"/>
                <a:gd name="T116" fmla="*/ 408 w 595"/>
                <a:gd name="T117" fmla="*/ 314 h 383"/>
                <a:gd name="T118" fmla="*/ 424 w 595"/>
                <a:gd name="T119" fmla="*/ 323 h 383"/>
                <a:gd name="T120" fmla="*/ 424 w 595"/>
                <a:gd name="T121" fmla="*/ 318 h 383"/>
                <a:gd name="T122" fmla="*/ 415 w 595"/>
                <a:gd name="T123" fmla="*/ 299 h 383"/>
                <a:gd name="T124" fmla="*/ 398 w 595"/>
                <a:gd name="T125" fmla="*/ 304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5" h="383">
                  <a:moveTo>
                    <a:pt x="251" y="342"/>
                  </a:moveTo>
                  <a:lnTo>
                    <a:pt x="251" y="345"/>
                  </a:lnTo>
                  <a:lnTo>
                    <a:pt x="249" y="345"/>
                  </a:lnTo>
                  <a:lnTo>
                    <a:pt x="249" y="342"/>
                  </a:lnTo>
                  <a:lnTo>
                    <a:pt x="251" y="342"/>
                  </a:lnTo>
                  <a:close/>
                  <a:moveTo>
                    <a:pt x="465" y="278"/>
                  </a:moveTo>
                  <a:lnTo>
                    <a:pt x="465" y="280"/>
                  </a:lnTo>
                  <a:lnTo>
                    <a:pt x="462" y="283"/>
                  </a:lnTo>
                  <a:lnTo>
                    <a:pt x="465" y="280"/>
                  </a:lnTo>
                  <a:lnTo>
                    <a:pt x="465" y="278"/>
                  </a:lnTo>
                  <a:close/>
                  <a:moveTo>
                    <a:pt x="510" y="254"/>
                  </a:moveTo>
                  <a:lnTo>
                    <a:pt x="510" y="257"/>
                  </a:lnTo>
                  <a:lnTo>
                    <a:pt x="510" y="254"/>
                  </a:lnTo>
                  <a:lnTo>
                    <a:pt x="510" y="257"/>
                  </a:lnTo>
                  <a:lnTo>
                    <a:pt x="510" y="254"/>
                  </a:lnTo>
                  <a:lnTo>
                    <a:pt x="510" y="257"/>
                  </a:lnTo>
                  <a:lnTo>
                    <a:pt x="510" y="254"/>
                  </a:lnTo>
                  <a:lnTo>
                    <a:pt x="510" y="257"/>
                  </a:lnTo>
                  <a:lnTo>
                    <a:pt x="507" y="257"/>
                  </a:lnTo>
                  <a:lnTo>
                    <a:pt x="505" y="259"/>
                  </a:lnTo>
                  <a:lnTo>
                    <a:pt x="505" y="261"/>
                  </a:lnTo>
                  <a:lnTo>
                    <a:pt x="503" y="261"/>
                  </a:lnTo>
                  <a:lnTo>
                    <a:pt x="503" y="264"/>
                  </a:lnTo>
                  <a:lnTo>
                    <a:pt x="500" y="264"/>
                  </a:lnTo>
                  <a:lnTo>
                    <a:pt x="500" y="266"/>
                  </a:lnTo>
                  <a:lnTo>
                    <a:pt x="500" y="264"/>
                  </a:lnTo>
                  <a:lnTo>
                    <a:pt x="498" y="261"/>
                  </a:lnTo>
                  <a:lnTo>
                    <a:pt x="498" y="264"/>
                  </a:lnTo>
                  <a:lnTo>
                    <a:pt x="496" y="264"/>
                  </a:lnTo>
                  <a:lnTo>
                    <a:pt x="493" y="264"/>
                  </a:lnTo>
                  <a:lnTo>
                    <a:pt x="493" y="266"/>
                  </a:lnTo>
                  <a:lnTo>
                    <a:pt x="491" y="266"/>
                  </a:lnTo>
                  <a:lnTo>
                    <a:pt x="488" y="266"/>
                  </a:lnTo>
                  <a:lnTo>
                    <a:pt x="488" y="269"/>
                  </a:lnTo>
                  <a:lnTo>
                    <a:pt x="486" y="269"/>
                  </a:lnTo>
                  <a:lnTo>
                    <a:pt x="486" y="271"/>
                  </a:lnTo>
                  <a:lnTo>
                    <a:pt x="486" y="273"/>
                  </a:lnTo>
                  <a:lnTo>
                    <a:pt x="484" y="273"/>
                  </a:lnTo>
                  <a:lnTo>
                    <a:pt x="484" y="276"/>
                  </a:lnTo>
                  <a:lnTo>
                    <a:pt x="484" y="278"/>
                  </a:lnTo>
                  <a:lnTo>
                    <a:pt x="481" y="278"/>
                  </a:lnTo>
                  <a:lnTo>
                    <a:pt x="481" y="276"/>
                  </a:lnTo>
                  <a:lnTo>
                    <a:pt x="484" y="276"/>
                  </a:lnTo>
                  <a:lnTo>
                    <a:pt x="484" y="273"/>
                  </a:lnTo>
                  <a:lnTo>
                    <a:pt x="484" y="276"/>
                  </a:lnTo>
                  <a:lnTo>
                    <a:pt x="484" y="273"/>
                  </a:lnTo>
                  <a:lnTo>
                    <a:pt x="484" y="271"/>
                  </a:lnTo>
                  <a:lnTo>
                    <a:pt x="481" y="271"/>
                  </a:lnTo>
                  <a:lnTo>
                    <a:pt x="479" y="271"/>
                  </a:lnTo>
                  <a:lnTo>
                    <a:pt x="477" y="271"/>
                  </a:lnTo>
                  <a:lnTo>
                    <a:pt x="474" y="271"/>
                  </a:lnTo>
                  <a:lnTo>
                    <a:pt x="472" y="271"/>
                  </a:lnTo>
                  <a:lnTo>
                    <a:pt x="472" y="273"/>
                  </a:lnTo>
                  <a:lnTo>
                    <a:pt x="469" y="273"/>
                  </a:lnTo>
                  <a:lnTo>
                    <a:pt x="469" y="276"/>
                  </a:lnTo>
                  <a:lnTo>
                    <a:pt x="467" y="276"/>
                  </a:lnTo>
                  <a:lnTo>
                    <a:pt x="467" y="278"/>
                  </a:lnTo>
                  <a:lnTo>
                    <a:pt x="465" y="278"/>
                  </a:lnTo>
                  <a:lnTo>
                    <a:pt x="467" y="278"/>
                  </a:lnTo>
                  <a:lnTo>
                    <a:pt x="467" y="276"/>
                  </a:lnTo>
                  <a:lnTo>
                    <a:pt x="467" y="278"/>
                  </a:lnTo>
                  <a:lnTo>
                    <a:pt x="467" y="276"/>
                  </a:lnTo>
                  <a:lnTo>
                    <a:pt x="467" y="278"/>
                  </a:lnTo>
                  <a:lnTo>
                    <a:pt x="467" y="276"/>
                  </a:lnTo>
                  <a:lnTo>
                    <a:pt x="467" y="278"/>
                  </a:lnTo>
                  <a:lnTo>
                    <a:pt x="465" y="278"/>
                  </a:lnTo>
                  <a:lnTo>
                    <a:pt x="467" y="278"/>
                  </a:lnTo>
                  <a:lnTo>
                    <a:pt x="465" y="278"/>
                  </a:lnTo>
                  <a:lnTo>
                    <a:pt x="465" y="276"/>
                  </a:lnTo>
                  <a:lnTo>
                    <a:pt x="462" y="276"/>
                  </a:lnTo>
                  <a:lnTo>
                    <a:pt x="460" y="276"/>
                  </a:lnTo>
                  <a:lnTo>
                    <a:pt x="458" y="276"/>
                  </a:lnTo>
                  <a:lnTo>
                    <a:pt x="455" y="276"/>
                  </a:lnTo>
                  <a:lnTo>
                    <a:pt x="453" y="276"/>
                  </a:lnTo>
                  <a:lnTo>
                    <a:pt x="453" y="278"/>
                  </a:lnTo>
                  <a:lnTo>
                    <a:pt x="450" y="278"/>
                  </a:lnTo>
                  <a:lnTo>
                    <a:pt x="448" y="278"/>
                  </a:lnTo>
                  <a:lnTo>
                    <a:pt x="448" y="280"/>
                  </a:lnTo>
                  <a:lnTo>
                    <a:pt x="448" y="278"/>
                  </a:lnTo>
                  <a:lnTo>
                    <a:pt x="448" y="280"/>
                  </a:lnTo>
                  <a:lnTo>
                    <a:pt x="446" y="283"/>
                  </a:lnTo>
                  <a:lnTo>
                    <a:pt x="443" y="283"/>
                  </a:lnTo>
                  <a:lnTo>
                    <a:pt x="443" y="285"/>
                  </a:lnTo>
                  <a:lnTo>
                    <a:pt x="441" y="285"/>
                  </a:lnTo>
                  <a:lnTo>
                    <a:pt x="439" y="285"/>
                  </a:lnTo>
                  <a:lnTo>
                    <a:pt x="439" y="288"/>
                  </a:lnTo>
                  <a:lnTo>
                    <a:pt x="436" y="290"/>
                  </a:lnTo>
                  <a:lnTo>
                    <a:pt x="436" y="292"/>
                  </a:lnTo>
                  <a:lnTo>
                    <a:pt x="434" y="292"/>
                  </a:lnTo>
                  <a:lnTo>
                    <a:pt x="434" y="295"/>
                  </a:lnTo>
                  <a:lnTo>
                    <a:pt x="431" y="295"/>
                  </a:lnTo>
                  <a:lnTo>
                    <a:pt x="431" y="297"/>
                  </a:lnTo>
                  <a:lnTo>
                    <a:pt x="431" y="299"/>
                  </a:lnTo>
                  <a:lnTo>
                    <a:pt x="429" y="299"/>
                  </a:lnTo>
                  <a:lnTo>
                    <a:pt x="429" y="302"/>
                  </a:lnTo>
                  <a:lnTo>
                    <a:pt x="427" y="302"/>
                  </a:lnTo>
                  <a:lnTo>
                    <a:pt x="424" y="302"/>
                  </a:lnTo>
                  <a:lnTo>
                    <a:pt x="424" y="304"/>
                  </a:lnTo>
                  <a:lnTo>
                    <a:pt x="424" y="302"/>
                  </a:lnTo>
                  <a:lnTo>
                    <a:pt x="424" y="304"/>
                  </a:lnTo>
                  <a:lnTo>
                    <a:pt x="424" y="302"/>
                  </a:lnTo>
                  <a:lnTo>
                    <a:pt x="424" y="299"/>
                  </a:lnTo>
                  <a:lnTo>
                    <a:pt x="427" y="299"/>
                  </a:lnTo>
                  <a:lnTo>
                    <a:pt x="429" y="299"/>
                  </a:lnTo>
                  <a:lnTo>
                    <a:pt x="431" y="299"/>
                  </a:lnTo>
                  <a:lnTo>
                    <a:pt x="431" y="297"/>
                  </a:lnTo>
                  <a:lnTo>
                    <a:pt x="431" y="295"/>
                  </a:lnTo>
                  <a:lnTo>
                    <a:pt x="434" y="295"/>
                  </a:lnTo>
                  <a:lnTo>
                    <a:pt x="434" y="292"/>
                  </a:lnTo>
                  <a:lnTo>
                    <a:pt x="436" y="292"/>
                  </a:lnTo>
                  <a:lnTo>
                    <a:pt x="436" y="290"/>
                  </a:lnTo>
                  <a:lnTo>
                    <a:pt x="434" y="290"/>
                  </a:lnTo>
                  <a:lnTo>
                    <a:pt x="434" y="292"/>
                  </a:lnTo>
                  <a:lnTo>
                    <a:pt x="434" y="290"/>
                  </a:lnTo>
                  <a:lnTo>
                    <a:pt x="431" y="288"/>
                  </a:lnTo>
                  <a:lnTo>
                    <a:pt x="434" y="288"/>
                  </a:lnTo>
                  <a:lnTo>
                    <a:pt x="434" y="285"/>
                  </a:lnTo>
                  <a:lnTo>
                    <a:pt x="431" y="285"/>
                  </a:lnTo>
                  <a:lnTo>
                    <a:pt x="429" y="285"/>
                  </a:lnTo>
                  <a:lnTo>
                    <a:pt x="431" y="285"/>
                  </a:lnTo>
                  <a:lnTo>
                    <a:pt x="431" y="288"/>
                  </a:lnTo>
                  <a:lnTo>
                    <a:pt x="431" y="290"/>
                  </a:lnTo>
                  <a:lnTo>
                    <a:pt x="429" y="290"/>
                  </a:lnTo>
                  <a:lnTo>
                    <a:pt x="429" y="292"/>
                  </a:lnTo>
                  <a:lnTo>
                    <a:pt x="427" y="292"/>
                  </a:lnTo>
                  <a:lnTo>
                    <a:pt x="427" y="295"/>
                  </a:lnTo>
                  <a:lnTo>
                    <a:pt x="424" y="295"/>
                  </a:lnTo>
                  <a:lnTo>
                    <a:pt x="422" y="295"/>
                  </a:lnTo>
                  <a:lnTo>
                    <a:pt x="420" y="295"/>
                  </a:lnTo>
                  <a:lnTo>
                    <a:pt x="420" y="297"/>
                  </a:lnTo>
                  <a:lnTo>
                    <a:pt x="417" y="297"/>
                  </a:lnTo>
                  <a:lnTo>
                    <a:pt x="417" y="299"/>
                  </a:lnTo>
                  <a:lnTo>
                    <a:pt x="420" y="302"/>
                  </a:lnTo>
                  <a:lnTo>
                    <a:pt x="420" y="304"/>
                  </a:lnTo>
                  <a:lnTo>
                    <a:pt x="420" y="307"/>
                  </a:lnTo>
                  <a:lnTo>
                    <a:pt x="420" y="309"/>
                  </a:lnTo>
                  <a:lnTo>
                    <a:pt x="420" y="311"/>
                  </a:lnTo>
                  <a:lnTo>
                    <a:pt x="422" y="314"/>
                  </a:lnTo>
                  <a:lnTo>
                    <a:pt x="422" y="316"/>
                  </a:lnTo>
                  <a:lnTo>
                    <a:pt x="424" y="318"/>
                  </a:lnTo>
                  <a:lnTo>
                    <a:pt x="424" y="321"/>
                  </a:lnTo>
                  <a:lnTo>
                    <a:pt x="427" y="323"/>
                  </a:lnTo>
                  <a:lnTo>
                    <a:pt x="427" y="326"/>
                  </a:lnTo>
                  <a:lnTo>
                    <a:pt x="429" y="326"/>
                  </a:lnTo>
                  <a:lnTo>
                    <a:pt x="429" y="328"/>
                  </a:lnTo>
                  <a:lnTo>
                    <a:pt x="431" y="328"/>
                  </a:lnTo>
                  <a:lnTo>
                    <a:pt x="431" y="330"/>
                  </a:lnTo>
                  <a:lnTo>
                    <a:pt x="431" y="333"/>
                  </a:lnTo>
                  <a:lnTo>
                    <a:pt x="434" y="333"/>
                  </a:lnTo>
                  <a:lnTo>
                    <a:pt x="434" y="335"/>
                  </a:lnTo>
                  <a:lnTo>
                    <a:pt x="436" y="337"/>
                  </a:lnTo>
                  <a:lnTo>
                    <a:pt x="439" y="337"/>
                  </a:lnTo>
                  <a:lnTo>
                    <a:pt x="439" y="340"/>
                  </a:lnTo>
                  <a:lnTo>
                    <a:pt x="441" y="340"/>
                  </a:lnTo>
                  <a:lnTo>
                    <a:pt x="443" y="340"/>
                  </a:lnTo>
                  <a:lnTo>
                    <a:pt x="446" y="340"/>
                  </a:lnTo>
                  <a:lnTo>
                    <a:pt x="446" y="337"/>
                  </a:lnTo>
                  <a:lnTo>
                    <a:pt x="448" y="337"/>
                  </a:lnTo>
                  <a:lnTo>
                    <a:pt x="450" y="335"/>
                  </a:lnTo>
                  <a:lnTo>
                    <a:pt x="448" y="335"/>
                  </a:lnTo>
                  <a:lnTo>
                    <a:pt x="450" y="335"/>
                  </a:lnTo>
                  <a:lnTo>
                    <a:pt x="450" y="333"/>
                  </a:lnTo>
                  <a:lnTo>
                    <a:pt x="453" y="333"/>
                  </a:lnTo>
                  <a:lnTo>
                    <a:pt x="453" y="335"/>
                  </a:lnTo>
                  <a:lnTo>
                    <a:pt x="455" y="335"/>
                  </a:lnTo>
                  <a:lnTo>
                    <a:pt x="455" y="337"/>
                  </a:lnTo>
                  <a:lnTo>
                    <a:pt x="458" y="337"/>
                  </a:lnTo>
                  <a:lnTo>
                    <a:pt x="458" y="335"/>
                  </a:lnTo>
                  <a:lnTo>
                    <a:pt x="460" y="335"/>
                  </a:lnTo>
                  <a:lnTo>
                    <a:pt x="460" y="333"/>
                  </a:lnTo>
                  <a:lnTo>
                    <a:pt x="462" y="333"/>
                  </a:lnTo>
                  <a:lnTo>
                    <a:pt x="465" y="333"/>
                  </a:lnTo>
                  <a:lnTo>
                    <a:pt x="465" y="330"/>
                  </a:lnTo>
                  <a:lnTo>
                    <a:pt x="465" y="333"/>
                  </a:lnTo>
                  <a:lnTo>
                    <a:pt x="465" y="330"/>
                  </a:lnTo>
                  <a:lnTo>
                    <a:pt x="467" y="330"/>
                  </a:lnTo>
                  <a:lnTo>
                    <a:pt x="467" y="333"/>
                  </a:lnTo>
                  <a:lnTo>
                    <a:pt x="469" y="333"/>
                  </a:lnTo>
                  <a:lnTo>
                    <a:pt x="469" y="330"/>
                  </a:lnTo>
                  <a:lnTo>
                    <a:pt x="469" y="333"/>
                  </a:lnTo>
                  <a:lnTo>
                    <a:pt x="472" y="333"/>
                  </a:lnTo>
                  <a:lnTo>
                    <a:pt x="474" y="333"/>
                  </a:lnTo>
                  <a:lnTo>
                    <a:pt x="477" y="335"/>
                  </a:lnTo>
                  <a:lnTo>
                    <a:pt x="477" y="333"/>
                  </a:lnTo>
                  <a:lnTo>
                    <a:pt x="477" y="335"/>
                  </a:lnTo>
                  <a:lnTo>
                    <a:pt x="479" y="335"/>
                  </a:lnTo>
                  <a:lnTo>
                    <a:pt x="479" y="337"/>
                  </a:lnTo>
                  <a:lnTo>
                    <a:pt x="477" y="337"/>
                  </a:lnTo>
                  <a:lnTo>
                    <a:pt x="474" y="337"/>
                  </a:lnTo>
                  <a:lnTo>
                    <a:pt x="472" y="337"/>
                  </a:lnTo>
                  <a:lnTo>
                    <a:pt x="474" y="337"/>
                  </a:lnTo>
                  <a:lnTo>
                    <a:pt x="472" y="337"/>
                  </a:lnTo>
                  <a:lnTo>
                    <a:pt x="472" y="340"/>
                  </a:lnTo>
                  <a:lnTo>
                    <a:pt x="474" y="340"/>
                  </a:lnTo>
                  <a:lnTo>
                    <a:pt x="472" y="340"/>
                  </a:lnTo>
                  <a:lnTo>
                    <a:pt x="472" y="342"/>
                  </a:lnTo>
                  <a:lnTo>
                    <a:pt x="472" y="340"/>
                  </a:lnTo>
                  <a:lnTo>
                    <a:pt x="472" y="342"/>
                  </a:lnTo>
                  <a:lnTo>
                    <a:pt x="469" y="345"/>
                  </a:lnTo>
                  <a:lnTo>
                    <a:pt x="472" y="347"/>
                  </a:lnTo>
                  <a:lnTo>
                    <a:pt x="472" y="349"/>
                  </a:lnTo>
                  <a:lnTo>
                    <a:pt x="469" y="349"/>
                  </a:lnTo>
                  <a:lnTo>
                    <a:pt x="469" y="352"/>
                  </a:lnTo>
                  <a:lnTo>
                    <a:pt x="467" y="352"/>
                  </a:lnTo>
                  <a:lnTo>
                    <a:pt x="465" y="352"/>
                  </a:lnTo>
                  <a:lnTo>
                    <a:pt x="462" y="352"/>
                  </a:lnTo>
                  <a:lnTo>
                    <a:pt x="460" y="352"/>
                  </a:lnTo>
                  <a:lnTo>
                    <a:pt x="458" y="352"/>
                  </a:lnTo>
                  <a:lnTo>
                    <a:pt x="455" y="354"/>
                  </a:lnTo>
                  <a:lnTo>
                    <a:pt x="455" y="352"/>
                  </a:lnTo>
                  <a:lnTo>
                    <a:pt x="453" y="354"/>
                  </a:lnTo>
                  <a:lnTo>
                    <a:pt x="450" y="354"/>
                  </a:lnTo>
                  <a:lnTo>
                    <a:pt x="453" y="354"/>
                  </a:lnTo>
                  <a:lnTo>
                    <a:pt x="450" y="352"/>
                  </a:lnTo>
                  <a:lnTo>
                    <a:pt x="448" y="349"/>
                  </a:lnTo>
                  <a:lnTo>
                    <a:pt x="446" y="349"/>
                  </a:lnTo>
                  <a:lnTo>
                    <a:pt x="446" y="347"/>
                  </a:lnTo>
                  <a:lnTo>
                    <a:pt x="443" y="347"/>
                  </a:lnTo>
                  <a:lnTo>
                    <a:pt x="441" y="347"/>
                  </a:lnTo>
                  <a:lnTo>
                    <a:pt x="441" y="349"/>
                  </a:lnTo>
                  <a:lnTo>
                    <a:pt x="439" y="349"/>
                  </a:lnTo>
                  <a:lnTo>
                    <a:pt x="439" y="352"/>
                  </a:lnTo>
                  <a:lnTo>
                    <a:pt x="436" y="352"/>
                  </a:lnTo>
                  <a:lnTo>
                    <a:pt x="439" y="352"/>
                  </a:lnTo>
                  <a:lnTo>
                    <a:pt x="439" y="354"/>
                  </a:lnTo>
                  <a:lnTo>
                    <a:pt x="436" y="354"/>
                  </a:lnTo>
                  <a:lnTo>
                    <a:pt x="436" y="356"/>
                  </a:lnTo>
                  <a:lnTo>
                    <a:pt x="434" y="356"/>
                  </a:lnTo>
                  <a:lnTo>
                    <a:pt x="434" y="354"/>
                  </a:lnTo>
                  <a:lnTo>
                    <a:pt x="434" y="356"/>
                  </a:lnTo>
                  <a:lnTo>
                    <a:pt x="434" y="354"/>
                  </a:lnTo>
                  <a:lnTo>
                    <a:pt x="431" y="356"/>
                  </a:lnTo>
                  <a:lnTo>
                    <a:pt x="431" y="359"/>
                  </a:lnTo>
                  <a:lnTo>
                    <a:pt x="429" y="359"/>
                  </a:lnTo>
                  <a:lnTo>
                    <a:pt x="429" y="361"/>
                  </a:lnTo>
                  <a:lnTo>
                    <a:pt x="427" y="364"/>
                  </a:lnTo>
                  <a:lnTo>
                    <a:pt x="427" y="361"/>
                  </a:lnTo>
                  <a:lnTo>
                    <a:pt x="424" y="361"/>
                  </a:lnTo>
                  <a:lnTo>
                    <a:pt x="422" y="361"/>
                  </a:lnTo>
                  <a:lnTo>
                    <a:pt x="420" y="361"/>
                  </a:lnTo>
                  <a:lnTo>
                    <a:pt x="417" y="361"/>
                  </a:lnTo>
                  <a:lnTo>
                    <a:pt x="415" y="364"/>
                  </a:lnTo>
                  <a:lnTo>
                    <a:pt x="412" y="364"/>
                  </a:lnTo>
                  <a:lnTo>
                    <a:pt x="410" y="364"/>
                  </a:lnTo>
                  <a:lnTo>
                    <a:pt x="410" y="366"/>
                  </a:lnTo>
                  <a:lnTo>
                    <a:pt x="408" y="366"/>
                  </a:lnTo>
                  <a:lnTo>
                    <a:pt x="405" y="366"/>
                  </a:lnTo>
                  <a:lnTo>
                    <a:pt x="405" y="368"/>
                  </a:lnTo>
                  <a:lnTo>
                    <a:pt x="405" y="371"/>
                  </a:lnTo>
                  <a:lnTo>
                    <a:pt x="403" y="371"/>
                  </a:lnTo>
                  <a:lnTo>
                    <a:pt x="403" y="373"/>
                  </a:lnTo>
                  <a:lnTo>
                    <a:pt x="403" y="375"/>
                  </a:lnTo>
                  <a:lnTo>
                    <a:pt x="401" y="375"/>
                  </a:lnTo>
                  <a:lnTo>
                    <a:pt x="401" y="378"/>
                  </a:lnTo>
                  <a:lnTo>
                    <a:pt x="398" y="378"/>
                  </a:lnTo>
                  <a:lnTo>
                    <a:pt x="396" y="378"/>
                  </a:lnTo>
                  <a:lnTo>
                    <a:pt x="396" y="380"/>
                  </a:lnTo>
                  <a:lnTo>
                    <a:pt x="393" y="380"/>
                  </a:lnTo>
                  <a:lnTo>
                    <a:pt x="393" y="383"/>
                  </a:lnTo>
                  <a:lnTo>
                    <a:pt x="391" y="383"/>
                  </a:lnTo>
                  <a:lnTo>
                    <a:pt x="391" y="380"/>
                  </a:lnTo>
                  <a:lnTo>
                    <a:pt x="391" y="383"/>
                  </a:lnTo>
                  <a:lnTo>
                    <a:pt x="389" y="383"/>
                  </a:lnTo>
                  <a:lnTo>
                    <a:pt x="386" y="383"/>
                  </a:lnTo>
                  <a:lnTo>
                    <a:pt x="386" y="380"/>
                  </a:lnTo>
                  <a:lnTo>
                    <a:pt x="386" y="383"/>
                  </a:lnTo>
                  <a:lnTo>
                    <a:pt x="384" y="383"/>
                  </a:lnTo>
                  <a:lnTo>
                    <a:pt x="382" y="383"/>
                  </a:lnTo>
                  <a:lnTo>
                    <a:pt x="382" y="380"/>
                  </a:lnTo>
                  <a:lnTo>
                    <a:pt x="379" y="380"/>
                  </a:lnTo>
                  <a:lnTo>
                    <a:pt x="379" y="378"/>
                  </a:lnTo>
                  <a:lnTo>
                    <a:pt x="377" y="378"/>
                  </a:lnTo>
                  <a:lnTo>
                    <a:pt x="375" y="378"/>
                  </a:lnTo>
                  <a:lnTo>
                    <a:pt x="375" y="375"/>
                  </a:lnTo>
                  <a:lnTo>
                    <a:pt x="372" y="375"/>
                  </a:lnTo>
                  <a:lnTo>
                    <a:pt x="372" y="373"/>
                  </a:lnTo>
                  <a:lnTo>
                    <a:pt x="370" y="373"/>
                  </a:lnTo>
                  <a:lnTo>
                    <a:pt x="372" y="373"/>
                  </a:lnTo>
                  <a:lnTo>
                    <a:pt x="375" y="373"/>
                  </a:lnTo>
                  <a:lnTo>
                    <a:pt x="375" y="371"/>
                  </a:lnTo>
                  <a:lnTo>
                    <a:pt x="375" y="373"/>
                  </a:lnTo>
                  <a:lnTo>
                    <a:pt x="375" y="371"/>
                  </a:lnTo>
                  <a:lnTo>
                    <a:pt x="375" y="373"/>
                  </a:lnTo>
                  <a:lnTo>
                    <a:pt x="375" y="371"/>
                  </a:lnTo>
                  <a:lnTo>
                    <a:pt x="375" y="373"/>
                  </a:lnTo>
                  <a:lnTo>
                    <a:pt x="375" y="371"/>
                  </a:lnTo>
                  <a:lnTo>
                    <a:pt x="377" y="371"/>
                  </a:lnTo>
                  <a:lnTo>
                    <a:pt x="375" y="373"/>
                  </a:lnTo>
                  <a:lnTo>
                    <a:pt x="377" y="373"/>
                  </a:lnTo>
                  <a:lnTo>
                    <a:pt x="375" y="373"/>
                  </a:lnTo>
                  <a:lnTo>
                    <a:pt x="377" y="373"/>
                  </a:lnTo>
                  <a:lnTo>
                    <a:pt x="377" y="371"/>
                  </a:lnTo>
                  <a:lnTo>
                    <a:pt x="375" y="371"/>
                  </a:lnTo>
                  <a:lnTo>
                    <a:pt x="377" y="371"/>
                  </a:lnTo>
                  <a:lnTo>
                    <a:pt x="377" y="368"/>
                  </a:lnTo>
                  <a:lnTo>
                    <a:pt x="377" y="366"/>
                  </a:lnTo>
                  <a:lnTo>
                    <a:pt x="377" y="364"/>
                  </a:lnTo>
                  <a:lnTo>
                    <a:pt x="377" y="361"/>
                  </a:lnTo>
                  <a:lnTo>
                    <a:pt x="379" y="361"/>
                  </a:lnTo>
                  <a:lnTo>
                    <a:pt x="379" y="359"/>
                  </a:lnTo>
                  <a:lnTo>
                    <a:pt x="379" y="356"/>
                  </a:lnTo>
                  <a:lnTo>
                    <a:pt x="377" y="354"/>
                  </a:lnTo>
                  <a:lnTo>
                    <a:pt x="379" y="354"/>
                  </a:lnTo>
                  <a:lnTo>
                    <a:pt x="377" y="354"/>
                  </a:lnTo>
                  <a:lnTo>
                    <a:pt x="377" y="352"/>
                  </a:lnTo>
                  <a:lnTo>
                    <a:pt x="377" y="349"/>
                  </a:lnTo>
                  <a:lnTo>
                    <a:pt x="375" y="347"/>
                  </a:lnTo>
                  <a:lnTo>
                    <a:pt x="375" y="345"/>
                  </a:lnTo>
                  <a:lnTo>
                    <a:pt x="372" y="345"/>
                  </a:lnTo>
                  <a:lnTo>
                    <a:pt x="370" y="345"/>
                  </a:lnTo>
                  <a:lnTo>
                    <a:pt x="367" y="345"/>
                  </a:lnTo>
                  <a:lnTo>
                    <a:pt x="367" y="347"/>
                  </a:lnTo>
                  <a:lnTo>
                    <a:pt x="365" y="345"/>
                  </a:lnTo>
                  <a:lnTo>
                    <a:pt x="363" y="345"/>
                  </a:lnTo>
                  <a:lnTo>
                    <a:pt x="363" y="342"/>
                  </a:lnTo>
                  <a:lnTo>
                    <a:pt x="360" y="342"/>
                  </a:lnTo>
                  <a:lnTo>
                    <a:pt x="360" y="340"/>
                  </a:lnTo>
                  <a:lnTo>
                    <a:pt x="358" y="340"/>
                  </a:lnTo>
                  <a:lnTo>
                    <a:pt x="358" y="337"/>
                  </a:lnTo>
                  <a:lnTo>
                    <a:pt x="358" y="340"/>
                  </a:lnTo>
                  <a:lnTo>
                    <a:pt x="360" y="340"/>
                  </a:lnTo>
                  <a:lnTo>
                    <a:pt x="360" y="337"/>
                  </a:lnTo>
                  <a:lnTo>
                    <a:pt x="360" y="335"/>
                  </a:lnTo>
                  <a:lnTo>
                    <a:pt x="360" y="337"/>
                  </a:lnTo>
                  <a:lnTo>
                    <a:pt x="360" y="335"/>
                  </a:lnTo>
                  <a:lnTo>
                    <a:pt x="360" y="337"/>
                  </a:lnTo>
                  <a:lnTo>
                    <a:pt x="363" y="337"/>
                  </a:lnTo>
                  <a:lnTo>
                    <a:pt x="363" y="335"/>
                  </a:lnTo>
                  <a:lnTo>
                    <a:pt x="363" y="333"/>
                  </a:lnTo>
                  <a:lnTo>
                    <a:pt x="365" y="333"/>
                  </a:lnTo>
                  <a:lnTo>
                    <a:pt x="363" y="333"/>
                  </a:lnTo>
                  <a:lnTo>
                    <a:pt x="363" y="335"/>
                  </a:lnTo>
                  <a:lnTo>
                    <a:pt x="360" y="335"/>
                  </a:lnTo>
                  <a:lnTo>
                    <a:pt x="360" y="337"/>
                  </a:lnTo>
                  <a:lnTo>
                    <a:pt x="358" y="337"/>
                  </a:lnTo>
                  <a:lnTo>
                    <a:pt x="356" y="337"/>
                  </a:lnTo>
                  <a:lnTo>
                    <a:pt x="358" y="337"/>
                  </a:lnTo>
                  <a:lnTo>
                    <a:pt x="356" y="337"/>
                  </a:lnTo>
                  <a:lnTo>
                    <a:pt x="353" y="337"/>
                  </a:lnTo>
                  <a:lnTo>
                    <a:pt x="351" y="337"/>
                  </a:lnTo>
                  <a:lnTo>
                    <a:pt x="348" y="337"/>
                  </a:lnTo>
                  <a:lnTo>
                    <a:pt x="348" y="340"/>
                  </a:lnTo>
                  <a:lnTo>
                    <a:pt x="346" y="340"/>
                  </a:lnTo>
                  <a:lnTo>
                    <a:pt x="346" y="337"/>
                  </a:lnTo>
                  <a:lnTo>
                    <a:pt x="344" y="337"/>
                  </a:lnTo>
                  <a:lnTo>
                    <a:pt x="341" y="337"/>
                  </a:lnTo>
                  <a:lnTo>
                    <a:pt x="341" y="335"/>
                  </a:lnTo>
                  <a:lnTo>
                    <a:pt x="344" y="333"/>
                  </a:lnTo>
                  <a:lnTo>
                    <a:pt x="344" y="330"/>
                  </a:lnTo>
                  <a:lnTo>
                    <a:pt x="346" y="330"/>
                  </a:lnTo>
                  <a:lnTo>
                    <a:pt x="348" y="330"/>
                  </a:lnTo>
                  <a:lnTo>
                    <a:pt x="348" y="328"/>
                  </a:lnTo>
                  <a:lnTo>
                    <a:pt x="351" y="328"/>
                  </a:lnTo>
                  <a:lnTo>
                    <a:pt x="353" y="328"/>
                  </a:lnTo>
                  <a:lnTo>
                    <a:pt x="351" y="328"/>
                  </a:lnTo>
                  <a:lnTo>
                    <a:pt x="353" y="328"/>
                  </a:lnTo>
                  <a:lnTo>
                    <a:pt x="353" y="326"/>
                  </a:lnTo>
                  <a:lnTo>
                    <a:pt x="356" y="326"/>
                  </a:lnTo>
                  <a:lnTo>
                    <a:pt x="356" y="323"/>
                  </a:lnTo>
                  <a:lnTo>
                    <a:pt x="358" y="323"/>
                  </a:lnTo>
                  <a:lnTo>
                    <a:pt x="358" y="321"/>
                  </a:lnTo>
                  <a:lnTo>
                    <a:pt x="360" y="321"/>
                  </a:lnTo>
                  <a:lnTo>
                    <a:pt x="363" y="321"/>
                  </a:lnTo>
                  <a:lnTo>
                    <a:pt x="363" y="318"/>
                  </a:lnTo>
                  <a:lnTo>
                    <a:pt x="363" y="316"/>
                  </a:lnTo>
                  <a:lnTo>
                    <a:pt x="365" y="318"/>
                  </a:lnTo>
                  <a:lnTo>
                    <a:pt x="367" y="318"/>
                  </a:lnTo>
                  <a:lnTo>
                    <a:pt x="370" y="318"/>
                  </a:lnTo>
                  <a:lnTo>
                    <a:pt x="370" y="316"/>
                  </a:lnTo>
                  <a:lnTo>
                    <a:pt x="372" y="316"/>
                  </a:lnTo>
                  <a:lnTo>
                    <a:pt x="372" y="314"/>
                  </a:lnTo>
                  <a:lnTo>
                    <a:pt x="375" y="314"/>
                  </a:lnTo>
                  <a:lnTo>
                    <a:pt x="377" y="314"/>
                  </a:lnTo>
                  <a:lnTo>
                    <a:pt x="377" y="311"/>
                  </a:lnTo>
                  <a:lnTo>
                    <a:pt x="379" y="311"/>
                  </a:lnTo>
                  <a:lnTo>
                    <a:pt x="379" y="314"/>
                  </a:lnTo>
                  <a:lnTo>
                    <a:pt x="382" y="314"/>
                  </a:lnTo>
                  <a:lnTo>
                    <a:pt x="382" y="311"/>
                  </a:lnTo>
                  <a:lnTo>
                    <a:pt x="384" y="311"/>
                  </a:lnTo>
                  <a:lnTo>
                    <a:pt x="384" y="309"/>
                  </a:lnTo>
                  <a:lnTo>
                    <a:pt x="384" y="311"/>
                  </a:lnTo>
                  <a:lnTo>
                    <a:pt x="384" y="309"/>
                  </a:lnTo>
                  <a:lnTo>
                    <a:pt x="382" y="309"/>
                  </a:lnTo>
                  <a:lnTo>
                    <a:pt x="379" y="309"/>
                  </a:lnTo>
                  <a:lnTo>
                    <a:pt x="379" y="307"/>
                  </a:lnTo>
                  <a:lnTo>
                    <a:pt x="379" y="304"/>
                  </a:lnTo>
                  <a:lnTo>
                    <a:pt x="379" y="302"/>
                  </a:lnTo>
                  <a:lnTo>
                    <a:pt x="379" y="299"/>
                  </a:lnTo>
                  <a:lnTo>
                    <a:pt x="377" y="299"/>
                  </a:lnTo>
                  <a:lnTo>
                    <a:pt x="377" y="302"/>
                  </a:lnTo>
                  <a:lnTo>
                    <a:pt x="375" y="302"/>
                  </a:lnTo>
                  <a:lnTo>
                    <a:pt x="377" y="302"/>
                  </a:lnTo>
                  <a:lnTo>
                    <a:pt x="377" y="304"/>
                  </a:lnTo>
                  <a:lnTo>
                    <a:pt x="375" y="304"/>
                  </a:lnTo>
                  <a:lnTo>
                    <a:pt x="375" y="307"/>
                  </a:lnTo>
                  <a:lnTo>
                    <a:pt x="375" y="304"/>
                  </a:lnTo>
                  <a:lnTo>
                    <a:pt x="375" y="307"/>
                  </a:lnTo>
                  <a:lnTo>
                    <a:pt x="375" y="304"/>
                  </a:lnTo>
                  <a:lnTo>
                    <a:pt x="372" y="304"/>
                  </a:lnTo>
                  <a:lnTo>
                    <a:pt x="372" y="307"/>
                  </a:lnTo>
                  <a:lnTo>
                    <a:pt x="372" y="304"/>
                  </a:lnTo>
                  <a:lnTo>
                    <a:pt x="370" y="304"/>
                  </a:lnTo>
                  <a:lnTo>
                    <a:pt x="370" y="302"/>
                  </a:lnTo>
                  <a:lnTo>
                    <a:pt x="367" y="302"/>
                  </a:lnTo>
                  <a:lnTo>
                    <a:pt x="367" y="304"/>
                  </a:lnTo>
                  <a:lnTo>
                    <a:pt x="370" y="304"/>
                  </a:lnTo>
                  <a:lnTo>
                    <a:pt x="367" y="304"/>
                  </a:lnTo>
                  <a:lnTo>
                    <a:pt x="367" y="302"/>
                  </a:lnTo>
                  <a:lnTo>
                    <a:pt x="367" y="299"/>
                  </a:lnTo>
                  <a:lnTo>
                    <a:pt x="365" y="299"/>
                  </a:lnTo>
                  <a:lnTo>
                    <a:pt x="365" y="302"/>
                  </a:lnTo>
                  <a:lnTo>
                    <a:pt x="365" y="299"/>
                  </a:lnTo>
                  <a:lnTo>
                    <a:pt x="365" y="297"/>
                  </a:lnTo>
                  <a:lnTo>
                    <a:pt x="365" y="299"/>
                  </a:lnTo>
                  <a:lnTo>
                    <a:pt x="363" y="299"/>
                  </a:lnTo>
                  <a:lnTo>
                    <a:pt x="363" y="302"/>
                  </a:lnTo>
                  <a:lnTo>
                    <a:pt x="363" y="299"/>
                  </a:lnTo>
                  <a:lnTo>
                    <a:pt x="360" y="302"/>
                  </a:lnTo>
                  <a:lnTo>
                    <a:pt x="360" y="299"/>
                  </a:lnTo>
                  <a:lnTo>
                    <a:pt x="358" y="299"/>
                  </a:lnTo>
                  <a:lnTo>
                    <a:pt x="360" y="299"/>
                  </a:lnTo>
                  <a:lnTo>
                    <a:pt x="358" y="302"/>
                  </a:lnTo>
                  <a:lnTo>
                    <a:pt x="360" y="302"/>
                  </a:lnTo>
                  <a:lnTo>
                    <a:pt x="358" y="302"/>
                  </a:lnTo>
                  <a:lnTo>
                    <a:pt x="356" y="302"/>
                  </a:lnTo>
                  <a:lnTo>
                    <a:pt x="353" y="302"/>
                  </a:lnTo>
                  <a:lnTo>
                    <a:pt x="351" y="302"/>
                  </a:lnTo>
                  <a:lnTo>
                    <a:pt x="348" y="302"/>
                  </a:lnTo>
                  <a:lnTo>
                    <a:pt x="346" y="302"/>
                  </a:lnTo>
                  <a:lnTo>
                    <a:pt x="344" y="302"/>
                  </a:lnTo>
                  <a:lnTo>
                    <a:pt x="344" y="304"/>
                  </a:lnTo>
                  <a:lnTo>
                    <a:pt x="341" y="304"/>
                  </a:lnTo>
                  <a:lnTo>
                    <a:pt x="341" y="302"/>
                  </a:lnTo>
                  <a:lnTo>
                    <a:pt x="339" y="302"/>
                  </a:lnTo>
                  <a:lnTo>
                    <a:pt x="337" y="302"/>
                  </a:lnTo>
                  <a:lnTo>
                    <a:pt x="334" y="302"/>
                  </a:lnTo>
                  <a:lnTo>
                    <a:pt x="332" y="299"/>
                  </a:lnTo>
                  <a:lnTo>
                    <a:pt x="329" y="299"/>
                  </a:lnTo>
                  <a:lnTo>
                    <a:pt x="327" y="299"/>
                  </a:lnTo>
                  <a:lnTo>
                    <a:pt x="329" y="299"/>
                  </a:lnTo>
                  <a:lnTo>
                    <a:pt x="332" y="299"/>
                  </a:lnTo>
                  <a:lnTo>
                    <a:pt x="334" y="299"/>
                  </a:lnTo>
                  <a:lnTo>
                    <a:pt x="332" y="299"/>
                  </a:lnTo>
                  <a:lnTo>
                    <a:pt x="334" y="299"/>
                  </a:lnTo>
                  <a:lnTo>
                    <a:pt x="334" y="297"/>
                  </a:lnTo>
                  <a:lnTo>
                    <a:pt x="332" y="297"/>
                  </a:lnTo>
                  <a:lnTo>
                    <a:pt x="332" y="299"/>
                  </a:lnTo>
                  <a:lnTo>
                    <a:pt x="332" y="297"/>
                  </a:lnTo>
                  <a:lnTo>
                    <a:pt x="332" y="299"/>
                  </a:lnTo>
                  <a:lnTo>
                    <a:pt x="332" y="297"/>
                  </a:lnTo>
                  <a:lnTo>
                    <a:pt x="329" y="297"/>
                  </a:lnTo>
                  <a:lnTo>
                    <a:pt x="327" y="297"/>
                  </a:lnTo>
                  <a:lnTo>
                    <a:pt x="327" y="295"/>
                  </a:lnTo>
                  <a:lnTo>
                    <a:pt x="325" y="295"/>
                  </a:lnTo>
                  <a:lnTo>
                    <a:pt x="327" y="295"/>
                  </a:lnTo>
                  <a:lnTo>
                    <a:pt x="325" y="295"/>
                  </a:lnTo>
                  <a:lnTo>
                    <a:pt x="327" y="295"/>
                  </a:lnTo>
                  <a:lnTo>
                    <a:pt x="325" y="295"/>
                  </a:lnTo>
                  <a:lnTo>
                    <a:pt x="322" y="292"/>
                  </a:lnTo>
                  <a:lnTo>
                    <a:pt x="322" y="295"/>
                  </a:lnTo>
                  <a:lnTo>
                    <a:pt x="320" y="295"/>
                  </a:lnTo>
                  <a:lnTo>
                    <a:pt x="318" y="295"/>
                  </a:lnTo>
                  <a:lnTo>
                    <a:pt x="318" y="292"/>
                  </a:lnTo>
                  <a:lnTo>
                    <a:pt x="320" y="292"/>
                  </a:lnTo>
                  <a:lnTo>
                    <a:pt x="320" y="290"/>
                  </a:lnTo>
                  <a:lnTo>
                    <a:pt x="320" y="292"/>
                  </a:lnTo>
                  <a:lnTo>
                    <a:pt x="322" y="292"/>
                  </a:lnTo>
                  <a:lnTo>
                    <a:pt x="322" y="290"/>
                  </a:lnTo>
                  <a:lnTo>
                    <a:pt x="322" y="292"/>
                  </a:lnTo>
                  <a:lnTo>
                    <a:pt x="322" y="290"/>
                  </a:lnTo>
                  <a:lnTo>
                    <a:pt x="322" y="292"/>
                  </a:lnTo>
                  <a:lnTo>
                    <a:pt x="322" y="290"/>
                  </a:lnTo>
                  <a:lnTo>
                    <a:pt x="325" y="290"/>
                  </a:lnTo>
                  <a:lnTo>
                    <a:pt x="327" y="290"/>
                  </a:lnTo>
                  <a:lnTo>
                    <a:pt x="327" y="288"/>
                  </a:lnTo>
                  <a:lnTo>
                    <a:pt x="327" y="285"/>
                  </a:lnTo>
                  <a:lnTo>
                    <a:pt x="325" y="285"/>
                  </a:lnTo>
                  <a:lnTo>
                    <a:pt x="322" y="285"/>
                  </a:lnTo>
                  <a:lnTo>
                    <a:pt x="325" y="285"/>
                  </a:lnTo>
                  <a:lnTo>
                    <a:pt x="322" y="285"/>
                  </a:lnTo>
                  <a:lnTo>
                    <a:pt x="325" y="285"/>
                  </a:lnTo>
                  <a:lnTo>
                    <a:pt x="322" y="285"/>
                  </a:lnTo>
                  <a:lnTo>
                    <a:pt x="318" y="285"/>
                  </a:lnTo>
                  <a:lnTo>
                    <a:pt x="318" y="283"/>
                  </a:lnTo>
                  <a:lnTo>
                    <a:pt x="315" y="285"/>
                  </a:lnTo>
                  <a:lnTo>
                    <a:pt x="315" y="288"/>
                  </a:lnTo>
                  <a:lnTo>
                    <a:pt x="315" y="285"/>
                  </a:lnTo>
                  <a:lnTo>
                    <a:pt x="313" y="285"/>
                  </a:lnTo>
                  <a:lnTo>
                    <a:pt x="313" y="283"/>
                  </a:lnTo>
                  <a:lnTo>
                    <a:pt x="310" y="283"/>
                  </a:lnTo>
                  <a:lnTo>
                    <a:pt x="310" y="280"/>
                  </a:lnTo>
                  <a:lnTo>
                    <a:pt x="308" y="280"/>
                  </a:lnTo>
                  <a:lnTo>
                    <a:pt x="310" y="280"/>
                  </a:lnTo>
                  <a:lnTo>
                    <a:pt x="313" y="280"/>
                  </a:lnTo>
                  <a:lnTo>
                    <a:pt x="315" y="280"/>
                  </a:lnTo>
                  <a:lnTo>
                    <a:pt x="318" y="280"/>
                  </a:lnTo>
                  <a:lnTo>
                    <a:pt x="318" y="283"/>
                  </a:lnTo>
                  <a:lnTo>
                    <a:pt x="320" y="283"/>
                  </a:lnTo>
                  <a:lnTo>
                    <a:pt x="322" y="283"/>
                  </a:lnTo>
                  <a:lnTo>
                    <a:pt x="325" y="283"/>
                  </a:lnTo>
                  <a:lnTo>
                    <a:pt x="327" y="283"/>
                  </a:lnTo>
                  <a:lnTo>
                    <a:pt x="329" y="283"/>
                  </a:lnTo>
                  <a:lnTo>
                    <a:pt x="332" y="283"/>
                  </a:lnTo>
                  <a:lnTo>
                    <a:pt x="332" y="285"/>
                  </a:lnTo>
                  <a:lnTo>
                    <a:pt x="334" y="285"/>
                  </a:lnTo>
                  <a:lnTo>
                    <a:pt x="337" y="285"/>
                  </a:lnTo>
                  <a:lnTo>
                    <a:pt x="339" y="285"/>
                  </a:lnTo>
                  <a:lnTo>
                    <a:pt x="339" y="283"/>
                  </a:lnTo>
                  <a:lnTo>
                    <a:pt x="337" y="283"/>
                  </a:lnTo>
                  <a:lnTo>
                    <a:pt x="337" y="285"/>
                  </a:lnTo>
                  <a:lnTo>
                    <a:pt x="334" y="285"/>
                  </a:lnTo>
                  <a:lnTo>
                    <a:pt x="334" y="283"/>
                  </a:lnTo>
                  <a:lnTo>
                    <a:pt x="337" y="283"/>
                  </a:lnTo>
                  <a:lnTo>
                    <a:pt x="339" y="283"/>
                  </a:lnTo>
                  <a:lnTo>
                    <a:pt x="341" y="283"/>
                  </a:lnTo>
                  <a:lnTo>
                    <a:pt x="341" y="280"/>
                  </a:lnTo>
                  <a:lnTo>
                    <a:pt x="344" y="280"/>
                  </a:lnTo>
                  <a:lnTo>
                    <a:pt x="344" y="278"/>
                  </a:lnTo>
                  <a:lnTo>
                    <a:pt x="346" y="278"/>
                  </a:lnTo>
                  <a:lnTo>
                    <a:pt x="346" y="276"/>
                  </a:lnTo>
                  <a:lnTo>
                    <a:pt x="348" y="276"/>
                  </a:lnTo>
                  <a:lnTo>
                    <a:pt x="351" y="276"/>
                  </a:lnTo>
                  <a:lnTo>
                    <a:pt x="353" y="276"/>
                  </a:lnTo>
                  <a:lnTo>
                    <a:pt x="353" y="273"/>
                  </a:lnTo>
                  <a:lnTo>
                    <a:pt x="356" y="273"/>
                  </a:lnTo>
                  <a:lnTo>
                    <a:pt x="358" y="271"/>
                  </a:lnTo>
                  <a:lnTo>
                    <a:pt x="358" y="273"/>
                  </a:lnTo>
                  <a:lnTo>
                    <a:pt x="360" y="271"/>
                  </a:lnTo>
                  <a:lnTo>
                    <a:pt x="363" y="271"/>
                  </a:lnTo>
                  <a:lnTo>
                    <a:pt x="365" y="271"/>
                  </a:lnTo>
                  <a:lnTo>
                    <a:pt x="367" y="271"/>
                  </a:lnTo>
                  <a:lnTo>
                    <a:pt x="370" y="271"/>
                  </a:lnTo>
                  <a:lnTo>
                    <a:pt x="367" y="271"/>
                  </a:lnTo>
                  <a:lnTo>
                    <a:pt x="370" y="271"/>
                  </a:lnTo>
                  <a:lnTo>
                    <a:pt x="367" y="271"/>
                  </a:lnTo>
                  <a:lnTo>
                    <a:pt x="365" y="271"/>
                  </a:lnTo>
                  <a:lnTo>
                    <a:pt x="363" y="271"/>
                  </a:lnTo>
                  <a:lnTo>
                    <a:pt x="363" y="269"/>
                  </a:lnTo>
                  <a:lnTo>
                    <a:pt x="365" y="269"/>
                  </a:lnTo>
                  <a:lnTo>
                    <a:pt x="365" y="271"/>
                  </a:lnTo>
                  <a:lnTo>
                    <a:pt x="365" y="269"/>
                  </a:lnTo>
                  <a:lnTo>
                    <a:pt x="363" y="269"/>
                  </a:lnTo>
                  <a:lnTo>
                    <a:pt x="363" y="271"/>
                  </a:lnTo>
                  <a:lnTo>
                    <a:pt x="360" y="271"/>
                  </a:lnTo>
                  <a:lnTo>
                    <a:pt x="358" y="271"/>
                  </a:lnTo>
                  <a:lnTo>
                    <a:pt x="356" y="271"/>
                  </a:lnTo>
                  <a:lnTo>
                    <a:pt x="356" y="273"/>
                  </a:lnTo>
                  <a:lnTo>
                    <a:pt x="353" y="273"/>
                  </a:lnTo>
                  <a:lnTo>
                    <a:pt x="353" y="276"/>
                  </a:lnTo>
                  <a:lnTo>
                    <a:pt x="351" y="276"/>
                  </a:lnTo>
                  <a:lnTo>
                    <a:pt x="348" y="276"/>
                  </a:lnTo>
                  <a:lnTo>
                    <a:pt x="346" y="276"/>
                  </a:lnTo>
                  <a:lnTo>
                    <a:pt x="346" y="278"/>
                  </a:lnTo>
                  <a:lnTo>
                    <a:pt x="344" y="278"/>
                  </a:lnTo>
                  <a:lnTo>
                    <a:pt x="341" y="278"/>
                  </a:lnTo>
                  <a:lnTo>
                    <a:pt x="344" y="278"/>
                  </a:lnTo>
                  <a:lnTo>
                    <a:pt x="341" y="278"/>
                  </a:lnTo>
                  <a:lnTo>
                    <a:pt x="341" y="280"/>
                  </a:lnTo>
                  <a:lnTo>
                    <a:pt x="341" y="278"/>
                  </a:lnTo>
                  <a:lnTo>
                    <a:pt x="341" y="280"/>
                  </a:lnTo>
                  <a:lnTo>
                    <a:pt x="339" y="280"/>
                  </a:lnTo>
                  <a:lnTo>
                    <a:pt x="337" y="280"/>
                  </a:lnTo>
                  <a:lnTo>
                    <a:pt x="334" y="280"/>
                  </a:lnTo>
                  <a:lnTo>
                    <a:pt x="334" y="278"/>
                  </a:lnTo>
                  <a:lnTo>
                    <a:pt x="332" y="280"/>
                  </a:lnTo>
                  <a:lnTo>
                    <a:pt x="329" y="280"/>
                  </a:lnTo>
                  <a:lnTo>
                    <a:pt x="329" y="278"/>
                  </a:lnTo>
                  <a:lnTo>
                    <a:pt x="327" y="278"/>
                  </a:lnTo>
                  <a:lnTo>
                    <a:pt x="325" y="278"/>
                  </a:lnTo>
                  <a:lnTo>
                    <a:pt x="325" y="276"/>
                  </a:lnTo>
                  <a:lnTo>
                    <a:pt x="325" y="273"/>
                  </a:lnTo>
                  <a:lnTo>
                    <a:pt x="325" y="271"/>
                  </a:lnTo>
                  <a:lnTo>
                    <a:pt x="322" y="271"/>
                  </a:lnTo>
                  <a:lnTo>
                    <a:pt x="322" y="269"/>
                  </a:lnTo>
                  <a:lnTo>
                    <a:pt x="325" y="269"/>
                  </a:lnTo>
                  <a:lnTo>
                    <a:pt x="322" y="269"/>
                  </a:lnTo>
                  <a:lnTo>
                    <a:pt x="325" y="269"/>
                  </a:lnTo>
                  <a:lnTo>
                    <a:pt x="325" y="266"/>
                  </a:lnTo>
                  <a:lnTo>
                    <a:pt x="325" y="264"/>
                  </a:lnTo>
                  <a:lnTo>
                    <a:pt x="327" y="264"/>
                  </a:lnTo>
                  <a:lnTo>
                    <a:pt x="325" y="261"/>
                  </a:lnTo>
                  <a:lnTo>
                    <a:pt x="325" y="264"/>
                  </a:lnTo>
                  <a:lnTo>
                    <a:pt x="325" y="261"/>
                  </a:lnTo>
                  <a:lnTo>
                    <a:pt x="325" y="264"/>
                  </a:lnTo>
                  <a:lnTo>
                    <a:pt x="322" y="264"/>
                  </a:lnTo>
                  <a:lnTo>
                    <a:pt x="322" y="261"/>
                  </a:lnTo>
                  <a:lnTo>
                    <a:pt x="325" y="261"/>
                  </a:lnTo>
                  <a:lnTo>
                    <a:pt x="325" y="259"/>
                  </a:lnTo>
                  <a:lnTo>
                    <a:pt x="322" y="259"/>
                  </a:lnTo>
                  <a:lnTo>
                    <a:pt x="320" y="259"/>
                  </a:lnTo>
                  <a:lnTo>
                    <a:pt x="320" y="257"/>
                  </a:lnTo>
                  <a:lnTo>
                    <a:pt x="320" y="259"/>
                  </a:lnTo>
                  <a:lnTo>
                    <a:pt x="320" y="257"/>
                  </a:lnTo>
                  <a:lnTo>
                    <a:pt x="322" y="257"/>
                  </a:lnTo>
                  <a:lnTo>
                    <a:pt x="322" y="254"/>
                  </a:lnTo>
                  <a:lnTo>
                    <a:pt x="320" y="254"/>
                  </a:lnTo>
                  <a:lnTo>
                    <a:pt x="320" y="252"/>
                  </a:lnTo>
                  <a:lnTo>
                    <a:pt x="320" y="250"/>
                  </a:lnTo>
                  <a:lnTo>
                    <a:pt x="320" y="252"/>
                  </a:lnTo>
                  <a:lnTo>
                    <a:pt x="320" y="250"/>
                  </a:lnTo>
                  <a:lnTo>
                    <a:pt x="318" y="250"/>
                  </a:lnTo>
                  <a:lnTo>
                    <a:pt x="318" y="247"/>
                  </a:lnTo>
                  <a:lnTo>
                    <a:pt x="318" y="245"/>
                  </a:lnTo>
                  <a:lnTo>
                    <a:pt x="315" y="245"/>
                  </a:lnTo>
                  <a:lnTo>
                    <a:pt x="318" y="245"/>
                  </a:lnTo>
                  <a:lnTo>
                    <a:pt x="318" y="247"/>
                  </a:lnTo>
                  <a:lnTo>
                    <a:pt x="318" y="250"/>
                  </a:lnTo>
                  <a:lnTo>
                    <a:pt x="320" y="250"/>
                  </a:lnTo>
                  <a:lnTo>
                    <a:pt x="320" y="252"/>
                  </a:lnTo>
                  <a:lnTo>
                    <a:pt x="320" y="254"/>
                  </a:lnTo>
                  <a:lnTo>
                    <a:pt x="322" y="254"/>
                  </a:lnTo>
                  <a:lnTo>
                    <a:pt x="322" y="257"/>
                  </a:lnTo>
                  <a:lnTo>
                    <a:pt x="320" y="257"/>
                  </a:lnTo>
                  <a:lnTo>
                    <a:pt x="320" y="259"/>
                  </a:lnTo>
                  <a:lnTo>
                    <a:pt x="322" y="259"/>
                  </a:lnTo>
                  <a:lnTo>
                    <a:pt x="325" y="259"/>
                  </a:lnTo>
                  <a:lnTo>
                    <a:pt x="325" y="261"/>
                  </a:lnTo>
                  <a:lnTo>
                    <a:pt x="322" y="261"/>
                  </a:lnTo>
                  <a:lnTo>
                    <a:pt x="322" y="264"/>
                  </a:lnTo>
                  <a:lnTo>
                    <a:pt x="325" y="264"/>
                  </a:lnTo>
                  <a:lnTo>
                    <a:pt x="325" y="266"/>
                  </a:lnTo>
                  <a:lnTo>
                    <a:pt x="322" y="266"/>
                  </a:lnTo>
                  <a:lnTo>
                    <a:pt x="322" y="269"/>
                  </a:lnTo>
                  <a:lnTo>
                    <a:pt x="320" y="269"/>
                  </a:lnTo>
                  <a:lnTo>
                    <a:pt x="320" y="271"/>
                  </a:lnTo>
                  <a:lnTo>
                    <a:pt x="322" y="271"/>
                  </a:lnTo>
                  <a:lnTo>
                    <a:pt x="322" y="273"/>
                  </a:lnTo>
                  <a:lnTo>
                    <a:pt x="322" y="276"/>
                  </a:lnTo>
                  <a:lnTo>
                    <a:pt x="322" y="278"/>
                  </a:lnTo>
                  <a:lnTo>
                    <a:pt x="320" y="278"/>
                  </a:lnTo>
                  <a:lnTo>
                    <a:pt x="318" y="278"/>
                  </a:lnTo>
                  <a:lnTo>
                    <a:pt x="315" y="278"/>
                  </a:lnTo>
                  <a:lnTo>
                    <a:pt x="315" y="276"/>
                  </a:lnTo>
                  <a:lnTo>
                    <a:pt x="313" y="276"/>
                  </a:lnTo>
                  <a:lnTo>
                    <a:pt x="310" y="278"/>
                  </a:lnTo>
                  <a:lnTo>
                    <a:pt x="308" y="278"/>
                  </a:lnTo>
                  <a:lnTo>
                    <a:pt x="306" y="278"/>
                  </a:lnTo>
                  <a:lnTo>
                    <a:pt x="308" y="278"/>
                  </a:lnTo>
                  <a:lnTo>
                    <a:pt x="308" y="276"/>
                  </a:lnTo>
                  <a:lnTo>
                    <a:pt x="308" y="273"/>
                  </a:lnTo>
                  <a:lnTo>
                    <a:pt x="310" y="273"/>
                  </a:lnTo>
                  <a:lnTo>
                    <a:pt x="310" y="271"/>
                  </a:lnTo>
                  <a:lnTo>
                    <a:pt x="310" y="269"/>
                  </a:lnTo>
                  <a:lnTo>
                    <a:pt x="313" y="269"/>
                  </a:lnTo>
                  <a:lnTo>
                    <a:pt x="310" y="269"/>
                  </a:lnTo>
                  <a:lnTo>
                    <a:pt x="313" y="269"/>
                  </a:lnTo>
                  <a:lnTo>
                    <a:pt x="310" y="269"/>
                  </a:lnTo>
                  <a:lnTo>
                    <a:pt x="313" y="269"/>
                  </a:lnTo>
                  <a:lnTo>
                    <a:pt x="310" y="269"/>
                  </a:lnTo>
                  <a:lnTo>
                    <a:pt x="310" y="271"/>
                  </a:lnTo>
                  <a:lnTo>
                    <a:pt x="308" y="271"/>
                  </a:lnTo>
                  <a:lnTo>
                    <a:pt x="310" y="271"/>
                  </a:lnTo>
                  <a:lnTo>
                    <a:pt x="310" y="273"/>
                  </a:lnTo>
                  <a:lnTo>
                    <a:pt x="308" y="273"/>
                  </a:lnTo>
                  <a:lnTo>
                    <a:pt x="308" y="271"/>
                  </a:lnTo>
                  <a:lnTo>
                    <a:pt x="306" y="271"/>
                  </a:lnTo>
                  <a:lnTo>
                    <a:pt x="306" y="269"/>
                  </a:lnTo>
                  <a:lnTo>
                    <a:pt x="306" y="271"/>
                  </a:lnTo>
                  <a:lnTo>
                    <a:pt x="308" y="271"/>
                  </a:lnTo>
                  <a:lnTo>
                    <a:pt x="308" y="273"/>
                  </a:lnTo>
                  <a:lnTo>
                    <a:pt x="308" y="276"/>
                  </a:lnTo>
                  <a:lnTo>
                    <a:pt x="306" y="276"/>
                  </a:lnTo>
                  <a:lnTo>
                    <a:pt x="306" y="278"/>
                  </a:lnTo>
                  <a:lnTo>
                    <a:pt x="303" y="278"/>
                  </a:lnTo>
                  <a:lnTo>
                    <a:pt x="301" y="278"/>
                  </a:lnTo>
                  <a:lnTo>
                    <a:pt x="299" y="278"/>
                  </a:lnTo>
                  <a:lnTo>
                    <a:pt x="296" y="278"/>
                  </a:lnTo>
                  <a:lnTo>
                    <a:pt x="294" y="278"/>
                  </a:lnTo>
                  <a:lnTo>
                    <a:pt x="294" y="276"/>
                  </a:lnTo>
                  <a:lnTo>
                    <a:pt x="291" y="276"/>
                  </a:lnTo>
                  <a:lnTo>
                    <a:pt x="291" y="278"/>
                  </a:lnTo>
                  <a:lnTo>
                    <a:pt x="294" y="278"/>
                  </a:lnTo>
                  <a:lnTo>
                    <a:pt x="291" y="278"/>
                  </a:lnTo>
                  <a:lnTo>
                    <a:pt x="294" y="278"/>
                  </a:lnTo>
                  <a:lnTo>
                    <a:pt x="291" y="278"/>
                  </a:lnTo>
                  <a:lnTo>
                    <a:pt x="291" y="280"/>
                  </a:lnTo>
                  <a:lnTo>
                    <a:pt x="289" y="280"/>
                  </a:lnTo>
                  <a:lnTo>
                    <a:pt x="287" y="280"/>
                  </a:lnTo>
                  <a:lnTo>
                    <a:pt x="284" y="280"/>
                  </a:lnTo>
                  <a:lnTo>
                    <a:pt x="284" y="283"/>
                  </a:lnTo>
                  <a:lnTo>
                    <a:pt x="284" y="285"/>
                  </a:lnTo>
                  <a:lnTo>
                    <a:pt x="284" y="283"/>
                  </a:lnTo>
                  <a:lnTo>
                    <a:pt x="284" y="285"/>
                  </a:lnTo>
                  <a:lnTo>
                    <a:pt x="284" y="288"/>
                  </a:lnTo>
                  <a:lnTo>
                    <a:pt x="284" y="290"/>
                  </a:lnTo>
                  <a:lnTo>
                    <a:pt x="282" y="290"/>
                  </a:lnTo>
                  <a:lnTo>
                    <a:pt x="282" y="292"/>
                  </a:lnTo>
                  <a:lnTo>
                    <a:pt x="282" y="290"/>
                  </a:lnTo>
                  <a:lnTo>
                    <a:pt x="280" y="290"/>
                  </a:lnTo>
                  <a:lnTo>
                    <a:pt x="280" y="288"/>
                  </a:lnTo>
                  <a:lnTo>
                    <a:pt x="280" y="290"/>
                  </a:lnTo>
                  <a:lnTo>
                    <a:pt x="282" y="292"/>
                  </a:lnTo>
                  <a:lnTo>
                    <a:pt x="280" y="295"/>
                  </a:lnTo>
                  <a:lnTo>
                    <a:pt x="280" y="297"/>
                  </a:lnTo>
                  <a:lnTo>
                    <a:pt x="277" y="297"/>
                  </a:lnTo>
                  <a:lnTo>
                    <a:pt x="277" y="299"/>
                  </a:lnTo>
                  <a:lnTo>
                    <a:pt x="277" y="302"/>
                  </a:lnTo>
                  <a:lnTo>
                    <a:pt x="275" y="302"/>
                  </a:lnTo>
                  <a:lnTo>
                    <a:pt x="275" y="304"/>
                  </a:lnTo>
                  <a:lnTo>
                    <a:pt x="275" y="302"/>
                  </a:lnTo>
                  <a:lnTo>
                    <a:pt x="277" y="299"/>
                  </a:lnTo>
                  <a:lnTo>
                    <a:pt x="275" y="299"/>
                  </a:lnTo>
                  <a:lnTo>
                    <a:pt x="272" y="299"/>
                  </a:lnTo>
                  <a:lnTo>
                    <a:pt x="272" y="297"/>
                  </a:lnTo>
                  <a:lnTo>
                    <a:pt x="275" y="295"/>
                  </a:lnTo>
                  <a:lnTo>
                    <a:pt x="272" y="295"/>
                  </a:lnTo>
                  <a:lnTo>
                    <a:pt x="270" y="295"/>
                  </a:lnTo>
                  <a:lnTo>
                    <a:pt x="270" y="292"/>
                  </a:lnTo>
                  <a:lnTo>
                    <a:pt x="270" y="290"/>
                  </a:lnTo>
                  <a:lnTo>
                    <a:pt x="270" y="292"/>
                  </a:lnTo>
                  <a:lnTo>
                    <a:pt x="268" y="292"/>
                  </a:lnTo>
                  <a:lnTo>
                    <a:pt x="268" y="290"/>
                  </a:lnTo>
                  <a:lnTo>
                    <a:pt x="268" y="288"/>
                  </a:lnTo>
                  <a:lnTo>
                    <a:pt x="265" y="288"/>
                  </a:lnTo>
                  <a:lnTo>
                    <a:pt x="263" y="290"/>
                  </a:lnTo>
                  <a:lnTo>
                    <a:pt x="263" y="292"/>
                  </a:lnTo>
                  <a:lnTo>
                    <a:pt x="263" y="295"/>
                  </a:lnTo>
                  <a:lnTo>
                    <a:pt x="265" y="295"/>
                  </a:lnTo>
                  <a:lnTo>
                    <a:pt x="268" y="295"/>
                  </a:lnTo>
                  <a:lnTo>
                    <a:pt x="268" y="297"/>
                  </a:lnTo>
                  <a:lnTo>
                    <a:pt x="268" y="295"/>
                  </a:lnTo>
                  <a:lnTo>
                    <a:pt x="268" y="297"/>
                  </a:lnTo>
                  <a:lnTo>
                    <a:pt x="270" y="297"/>
                  </a:lnTo>
                  <a:lnTo>
                    <a:pt x="272" y="297"/>
                  </a:lnTo>
                  <a:lnTo>
                    <a:pt x="272" y="299"/>
                  </a:lnTo>
                  <a:lnTo>
                    <a:pt x="272" y="297"/>
                  </a:lnTo>
                  <a:lnTo>
                    <a:pt x="272" y="299"/>
                  </a:lnTo>
                  <a:lnTo>
                    <a:pt x="272" y="302"/>
                  </a:lnTo>
                  <a:lnTo>
                    <a:pt x="272" y="304"/>
                  </a:lnTo>
                  <a:lnTo>
                    <a:pt x="275" y="304"/>
                  </a:lnTo>
                  <a:lnTo>
                    <a:pt x="272" y="304"/>
                  </a:lnTo>
                  <a:lnTo>
                    <a:pt x="272" y="307"/>
                  </a:lnTo>
                  <a:lnTo>
                    <a:pt x="270" y="307"/>
                  </a:lnTo>
                  <a:lnTo>
                    <a:pt x="270" y="309"/>
                  </a:lnTo>
                  <a:lnTo>
                    <a:pt x="270" y="307"/>
                  </a:lnTo>
                  <a:lnTo>
                    <a:pt x="272" y="307"/>
                  </a:lnTo>
                  <a:lnTo>
                    <a:pt x="272" y="304"/>
                  </a:lnTo>
                  <a:lnTo>
                    <a:pt x="272" y="307"/>
                  </a:lnTo>
                  <a:lnTo>
                    <a:pt x="270" y="307"/>
                  </a:lnTo>
                  <a:lnTo>
                    <a:pt x="270" y="309"/>
                  </a:lnTo>
                  <a:lnTo>
                    <a:pt x="268" y="309"/>
                  </a:lnTo>
                  <a:lnTo>
                    <a:pt x="270" y="309"/>
                  </a:lnTo>
                  <a:lnTo>
                    <a:pt x="268" y="311"/>
                  </a:lnTo>
                  <a:lnTo>
                    <a:pt x="268" y="314"/>
                  </a:lnTo>
                  <a:lnTo>
                    <a:pt x="265" y="314"/>
                  </a:lnTo>
                  <a:lnTo>
                    <a:pt x="263" y="316"/>
                  </a:lnTo>
                  <a:lnTo>
                    <a:pt x="263" y="314"/>
                  </a:lnTo>
                  <a:lnTo>
                    <a:pt x="263" y="311"/>
                  </a:lnTo>
                  <a:lnTo>
                    <a:pt x="263" y="314"/>
                  </a:lnTo>
                  <a:lnTo>
                    <a:pt x="263" y="316"/>
                  </a:lnTo>
                  <a:lnTo>
                    <a:pt x="261" y="316"/>
                  </a:lnTo>
                  <a:lnTo>
                    <a:pt x="261" y="314"/>
                  </a:lnTo>
                  <a:lnTo>
                    <a:pt x="258" y="314"/>
                  </a:lnTo>
                  <a:lnTo>
                    <a:pt x="258" y="311"/>
                  </a:lnTo>
                  <a:lnTo>
                    <a:pt x="258" y="314"/>
                  </a:lnTo>
                  <a:lnTo>
                    <a:pt x="258" y="316"/>
                  </a:lnTo>
                  <a:lnTo>
                    <a:pt x="258" y="318"/>
                  </a:lnTo>
                  <a:lnTo>
                    <a:pt x="258" y="316"/>
                  </a:lnTo>
                  <a:lnTo>
                    <a:pt x="256" y="316"/>
                  </a:lnTo>
                  <a:lnTo>
                    <a:pt x="258" y="316"/>
                  </a:lnTo>
                  <a:lnTo>
                    <a:pt x="256" y="314"/>
                  </a:lnTo>
                  <a:lnTo>
                    <a:pt x="256" y="316"/>
                  </a:lnTo>
                  <a:lnTo>
                    <a:pt x="256" y="318"/>
                  </a:lnTo>
                  <a:lnTo>
                    <a:pt x="258" y="318"/>
                  </a:lnTo>
                  <a:lnTo>
                    <a:pt x="256" y="318"/>
                  </a:lnTo>
                  <a:lnTo>
                    <a:pt x="256" y="316"/>
                  </a:lnTo>
                  <a:lnTo>
                    <a:pt x="256" y="318"/>
                  </a:lnTo>
                  <a:lnTo>
                    <a:pt x="253" y="318"/>
                  </a:lnTo>
                  <a:lnTo>
                    <a:pt x="251" y="318"/>
                  </a:lnTo>
                  <a:lnTo>
                    <a:pt x="253" y="321"/>
                  </a:lnTo>
                  <a:lnTo>
                    <a:pt x="256" y="323"/>
                  </a:lnTo>
                  <a:lnTo>
                    <a:pt x="256" y="321"/>
                  </a:lnTo>
                  <a:lnTo>
                    <a:pt x="258" y="321"/>
                  </a:lnTo>
                  <a:lnTo>
                    <a:pt x="258" y="318"/>
                  </a:lnTo>
                  <a:lnTo>
                    <a:pt x="261" y="318"/>
                  </a:lnTo>
                  <a:lnTo>
                    <a:pt x="261" y="316"/>
                  </a:lnTo>
                  <a:lnTo>
                    <a:pt x="263" y="316"/>
                  </a:lnTo>
                  <a:lnTo>
                    <a:pt x="261" y="316"/>
                  </a:lnTo>
                  <a:lnTo>
                    <a:pt x="261" y="318"/>
                  </a:lnTo>
                  <a:lnTo>
                    <a:pt x="258" y="318"/>
                  </a:lnTo>
                  <a:lnTo>
                    <a:pt x="258" y="321"/>
                  </a:lnTo>
                  <a:lnTo>
                    <a:pt x="256" y="321"/>
                  </a:lnTo>
                  <a:lnTo>
                    <a:pt x="256" y="323"/>
                  </a:lnTo>
                  <a:lnTo>
                    <a:pt x="253" y="323"/>
                  </a:lnTo>
                  <a:lnTo>
                    <a:pt x="251" y="326"/>
                  </a:lnTo>
                  <a:lnTo>
                    <a:pt x="253" y="323"/>
                  </a:lnTo>
                  <a:lnTo>
                    <a:pt x="251" y="323"/>
                  </a:lnTo>
                  <a:lnTo>
                    <a:pt x="253" y="323"/>
                  </a:lnTo>
                  <a:lnTo>
                    <a:pt x="251" y="323"/>
                  </a:lnTo>
                  <a:lnTo>
                    <a:pt x="251" y="326"/>
                  </a:lnTo>
                  <a:lnTo>
                    <a:pt x="249" y="326"/>
                  </a:lnTo>
                  <a:lnTo>
                    <a:pt x="249" y="328"/>
                  </a:lnTo>
                  <a:lnTo>
                    <a:pt x="249" y="330"/>
                  </a:lnTo>
                  <a:lnTo>
                    <a:pt x="246" y="330"/>
                  </a:lnTo>
                  <a:lnTo>
                    <a:pt x="246" y="333"/>
                  </a:lnTo>
                  <a:lnTo>
                    <a:pt x="246" y="330"/>
                  </a:lnTo>
                  <a:lnTo>
                    <a:pt x="246" y="333"/>
                  </a:lnTo>
                  <a:lnTo>
                    <a:pt x="246" y="330"/>
                  </a:lnTo>
                  <a:lnTo>
                    <a:pt x="246" y="333"/>
                  </a:lnTo>
                  <a:lnTo>
                    <a:pt x="249" y="333"/>
                  </a:lnTo>
                  <a:lnTo>
                    <a:pt x="249" y="330"/>
                  </a:lnTo>
                  <a:lnTo>
                    <a:pt x="249" y="333"/>
                  </a:lnTo>
                  <a:lnTo>
                    <a:pt x="251" y="333"/>
                  </a:lnTo>
                  <a:lnTo>
                    <a:pt x="249" y="333"/>
                  </a:lnTo>
                  <a:lnTo>
                    <a:pt x="251" y="333"/>
                  </a:lnTo>
                  <a:lnTo>
                    <a:pt x="249" y="333"/>
                  </a:lnTo>
                  <a:lnTo>
                    <a:pt x="246" y="335"/>
                  </a:lnTo>
                  <a:lnTo>
                    <a:pt x="244" y="335"/>
                  </a:lnTo>
                  <a:lnTo>
                    <a:pt x="244" y="333"/>
                  </a:lnTo>
                  <a:lnTo>
                    <a:pt x="242" y="333"/>
                  </a:lnTo>
                  <a:lnTo>
                    <a:pt x="239" y="333"/>
                  </a:lnTo>
                  <a:lnTo>
                    <a:pt x="237" y="333"/>
                  </a:lnTo>
                  <a:lnTo>
                    <a:pt x="235" y="333"/>
                  </a:lnTo>
                  <a:lnTo>
                    <a:pt x="232" y="333"/>
                  </a:lnTo>
                  <a:lnTo>
                    <a:pt x="232" y="335"/>
                  </a:lnTo>
                  <a:lnTo>
                    <a:pt x="230" y="335"/>
                  </a:lnTo>
                  <a:lnTo>
                    <a:pt x="227" y="337"/>
                  </a:lnTo>
                  <a:lnTo>
                    <a:pt x="225" y="337"/>
                  </a:lnTo>
                  <a:lnTo>
                    <a:pt x="225" y="340"/>
                  </a:lnTo>
                  <a:lnTo>
                    <a:pt x="223" y="340"/>
                  </a:lnTo>
                  <a:lnTo>
                    <a:pt x="220" y="340"/>
                  </a:lnTo>
                  <a:lnTo>
                    <a:pt x="220" y="337"/>
                  </a:lnTo>
                  <a:lnTo>
                    <a:pt x="218" y="337"/>
                  </a:lnTo>
                  <a:lnTo>
                    <a:pt x="218" y="340"/>
                  </a:lnTo>
                  <a:lnTo>
                    <a:pt x="220" y="340"/>
                  </a:lnTo>
                  <a:lnTo>
                    <a:pt x="218" y="340"/>
                  </a:lnTo>
                  <a:lnTo>
                    <a:pt x="218" y="342"/>
                  </a:lnTo>
                  <a:lnTo>
                    <a:pt x="220" y="342"/>
                  </a:lnTo>
                  <a:lnTo>
                    <a:pt x="218" y="342"/>
                  </a:lnTo>
                  <a:lnTo>
                    <a:pt x="216" y="342"/>
                  </a:lnTo>
                  <a:lnTo>
                    <a:pt x="213" y="342"/>
                  </a:lnTo>
                  <a:lnTo>
                    <a:pt x="211" y="342"/>
                  </a:lnTo>
                  <a:lnTo>
                    <a:pt x="211" y="340"/>
                  </a:lnTo>
                  <a:lnTo>
                    <a:pt x="208" y="340"/>
                  </a:lnTo>
                  <a:lnTo>
                    <a:pt x="206" y="340"/>
                  </a:lnTo>
                  <a:lnTo>
                    <a:pt x="204" y="337"/>
                  </a:lnTo>
                  <a:lnTo>
                    <a:pt x="204" y="335"/>
                  </a:lnTo>
                  <a:lnTo>
                    <a:pt x="204" y="333"/>
                  </a:lnTo>
                  <a:lnTo>
                    <a:pt x="201" y="333"/>
                  </a:lnTo>
                  <a:lnTo>
                    <a:pt x="201" y="330"/>
                  </a:lnTo>
                  <a:lnTo>
                    <a:pt x="204" y="328"/>
                  </a:lnTo>
                  <a:lnTo>
                    <a:pt x="206" y="330"/>
                  </a:lnTo>
                  <a:lnTo>
                    <a:pt x="208" y="330"/>
                  </a:lnTo>
                  <a:lnTo>
                    <a:pt x="211" y="330"/>
                  </a:lnTo>
                  <a:lnTo>
                    <a:pt x="208" y="328"/>
                  </a:lnTo>
                  <a:lnTo>
                    <a:pt x="211" y="326"/>
                  </a:lnTo>
                  <a:lnTo>
                    <a:pt x="211" y="323"/>
                  </a:lnTo>
                  <a:lnTo>
                    <a:pt x="208" y="323"/>
                  </a:lnTo>
                  <a:lnTo>
                    <a:pt x="208" y="321"/>
                  </a:lnTo>
                  <a:lnTo>
                    <a:pt x="211" y="321"/>
                  </a:lnTo>
                  <a:lnTo>
                    <a:pt x="211" y="318"/>
                  </a:lnTo>
                  <a:lnTo>
                    <a:pt x="211" y="321"/>
                  </a:lnTo>
                  <a:lnTo>
                    <a:pt x="213" y="318"/>
                  </a:lnTo>
                  <a:lnTo>
                    <a:pt x="216" y="316"/>
                  </a:lnTo>
                  <a:lnTo>
                    <a:pt x="220" y="314"/>
                  </a:lnTo>
                  <a:lnTo>
                    <a:pt x="218" y="311"/>
                  </a:lnTo>
                  <a:lnTo>
                    <a:pt x="218" y="309"/>
                  </a:lnTo>
                  <a:lnTo>
                    <a:pt x="220" y="307"/>
                  </a:lnTo>
                  <a:lnTo>
                    <a:pt x="225" y="307"/>
                  </a:lnTo>
                  <a:lnTo>
                    <a:pt x="227" y="304"/>
                  </a:lnTo>
                  <a:lnTo>
                    <a:pt x="225" y="302"/>
                  </a:lnTo>
                  <a:lnTo>
                    <a:pt x="227" y="297"/>
                  </a:lnTo>
                  <a:lnTo>
                    <a:pt x="225" y="295"/>
                  </a:lnTo>
                  <a:lnTo>
                    <a:pt x="225" y="292"/>
                  </a:lnTo>
                  <a:lnTo>
                    <a:pt x="225" y="290"/>
                  </a:lnTo>
                  <a:lnTo>
                    <a:pt x="225" y="288"/>
                  </a:lnTo>
                  <a:lnTo>
                    <a:pt x="225" y="285"/>
                  </a:lnTo>
                  <a:lnTo>
                    <a:pt x="227" y="285"/>
                  </a:lnTo>
                  <a:lnTo>
                    <a:pt x="225" y="285"/>
                  </a:lnTo>
                  <a:lnTo>
                    <a:pt x="225" y="283"/>
                  </a:lnTo>
                  <a:lnTo>
                    <a:pt x="227" y="283"/>
                  </a:lnTo>
                  <a:lnTo>
                    <a:pt x="230" y="283"/>
                  </a:lnTo>
                  <a:lnTo>
                    <a:pt x="232" y="283"/>
                  </a:lnTo>
                  <a:lnTo>
                    <a:pt x="232" y="280"/>
                  </a:lnTo>
                  <a:lnTo>
                    <a:pt x="235" y="280"/>
                  </a:lnTo>
                  <a:lnTo>
                    <a:pt x="235" y="283"/>
                  </a:lnTo>
                  <a:lnTo>
                    <a:pt x="235" y="285"/>
                  </a:lnTo>
                  <a:lnTo>
                    <a:pt x="235" y="288"/>
                  </a:lnTo>
                  <a:lnTo>
                    <a:pt x="232" y="288"/>
                  </a:lnTo>
                  <a:lnTo>
                    <a:pt x="235" y="290"/>
                  </a:lnTo>
                  <a:lnTo>
                    <a:pt x="235" y="288"/>
                  </a:lnTo>
                  <a:lnTo>
                    <a:pt x="237" y="288"/>
                  </a:lnTo>
                  <a:lnTo>
                    <a:pt x="237" y="285"/>
                  </a:lnTo>
                  <a:lnTo>
                    <a:pt x="237" y="283"/>
                  </a:lnTo>
                  <a:lnTo>
                    <a:pt x="239" y="285"/>
                  </a:lnTo>
                  <a:lnTo>
                    <a:pt x="239" y="288"/>
                  </a:lnTo>
                  <a:lnTo>
                    <a:pt x="239" y="285"/>
                  </a:lnTo>
                  <a:lnTo>
                    <a:pt x="242" y="283"/>
                  </a:lnTo>
                  <a:lnTo>
                    <a:pt x="244" y="285"/>
                  </a:lnTo>
                  <a:lnTo>
                    <a:pt x="242" y="285"/>
                  </a:lnTo>
                  <a:lnTo>
                    <a:pt x="244" y="288"/>
                  </a:lnTo>
                  <a:lnTo>
                    <a:pt x="246" y="290"/>
                  </a:lnTo>
                  <a:lnTo>
                    <a:pt x="249" y="290"/>
                  </a:lnTo>
                  <a:lnTo>
                    <a:pt x="249" y="285"/>
                  </a:lnTo>
                  <a:lnTo>
                    <a:pt x="249" y="288"/>
                  </a:lnTo>
                  <a:lnTo>
                    <a:pt x="251" y="285"/>
                  </a:lnTo>
                  <a:lnTo>
                    <a:pt x="253" y="288"/>
                  </a:lnTo>
                  <a:lnTo>
                    <a:pt x="251" y="288"/>
                  </a:lnTo>
                  <a:lnTo>
                    <a:pt x="253" y="288"/>
                  </a:lnTo>
                  <a:lnTo>
                    <a:pt x="256" y="290"/>
                  </a:lnTo>
                  <a:lnTo>
                    <a:pt x="258" y="288"/>
                  </a:lnTo>
                  <a:lnTo>
                    <a:pt x="258" y="290"/>
                  </a:lnTo>
                  <a:lnTo>
                    <a:pt x="258" y="288"/>
                  </a:lnTo>
                  <a:lnTo>
                    <a:pt x="261" y="290"/>
                  </a:lnTo>
                  <a:lnTo>
                    <a:pt x="261" y="288"/>
                  </a:lnTo>
                  <a:lnTo>
                    <a:pt x="263" y="288"/>
                  </a:lnTo>
                  <a:lnTo>
                    <a:pt x="263" y="290"/>
                  </a:lnTo>
                  <a:lnTo>
                    <a:pt x="265" y="288"/>
                  </a:lnTo>
                  <a:lnTo>
                    <a:pt x="263" y="288"/>
                  </a:lnTo>
                  <a:lnTo>
                    <a:pt x="263" y="285"/>
                  </a:lnTo>
                  <a:lnTo>
                    <a:pt x="263" y="288"/>
                  </a:lnTo>
                  <a:lnTo>
                    <a:pt x="263" y="285"/>
                  </a:lnTo>
                  <a:lnTo>
                    <a:pt x="263" y="288"/>
                  </a:lnTo>
                  <a:lnTo>
                    <a:pt x="261" y="288"/>
                  </a:lnTo>
                  <a:lnTo>
                    <a:pt x="261" y="285"/>
                  </a:lnTo>
                  <a:lnTo>
                    <a:pt x="258" y="285"/>
                  </a:lnTo>
                  <a:lnTo>
                    <a:pt x="261" y="285"/>
                  </a:lnTo>
                  <a:lnTo>
                    <a:pt x="258" y="285"/>
                  </a:lnTo>
                  <a:lnTo>
                    <a:pt x="258" y="283"/>
                  </a:lnTo>
                  <a:lnTo>
                    <a:pt x="256" y="283"/>
                  </a:lnTo>
                  <a:lnTo>
                    <a:pt x="256" y="280"/>
                  </a:lnTo>
                  <a:lnTo>
                    <a:pt x="258" y="280"/>
                  </a:lnTo>
                  <a:lnTo>
                    <a:pt x="258" y="278"/>
                  </a:lnTo>
                  <a:lnTo>
                    <a:pt x="258" y="276"/>
                  </a:lnTo>
                  <a:lnTo>
                    <a:pt x="258" y="273"/>
                  </a:lnTo>
                  <a:lnTo>
                    <a:pt x="258" y="271"/>
                  </a:lnTo>
                  <a:lnTo>
                    <a:pt x="258" y="269"/>
                  </a:lnTo>
                  <a:lnTo>
                    <a:pt x="258" y="266"/>
                  </a:lnTo>
                  <a:lnTo>
                    <a:pt x="256" y="269"/>
                  </a:lnTo>
                  <a:lnTo>
                    <a:pt x="256" y="266"/>
                  </a:lnTo>
                  <a:lnTo>
                    <a:pt x="253" y="266"/>
                  </a:lnTo>
                  <a:lnTo>
                    <a:pt x="251" y="266"/>
                  </a:lnTo>
                  <a:lnTo>
                    <a:pt x="251" y="264"/>
                  </a:lnTo>
                  <a:lnTo>
                    <a:pt x="249" y="264"/>
                  </a:lnTo>
                  <a:lnTo>
                    <a:pt x="246" y="261"/>
                  </a:lnTo>
                  <a:lnTo>
                    <a:pt x="244" y="261"/>
                  </a:lnTo>
                  <a:lnTo>
                    <a:pt x="246" y="261"/>
                  </a:lnTo>
                  <a:lnTo>
                    <a:pt x="246" y="259"/>
                  </a:lnTo>
                  <a:lnTo>
                    <a:pt x="246" y="257"/>
                  </a:lnTo>
                  <a:lnTo>
                    <a:pt x="246" y="254"/>
                  </a:lnTo>
                  <a:lnTo>
                    <a:pt x="244" y="254"/>
                  </a:lnTo>
                  <a:lnTo>
                    <a:pt x="244" y="257"/>
                  </a:lnTo>
                  <a:lnTo>
                    <a:pt x="244" y="254"/>
                  </a:lnTo>
                  <a:lnTo>
                    <a:pt x="242" y="254"/>
                  </a:lnTo>
                  <a:lnTo>
                    <a:pt x="244" y="254"/>
                  </a:lnTo>
                  <a:lnTo>
                    <a:pt x="246" y="254"/>
                  </a:lnTo>
                  <a:lnTo>
                    <a:pt x="244" y="247"/>
                  </a:lnTo>
                  <a:lnTo>
                    <a:pt x="246" y="247"/>
                  </a:lnTo>
                  <a:lnTo>
                    <a:pt x="246" y="242"/>
                  </a:lnTo>
                  <a:lnTo>
                    <a:pt x="244" y="242"/>
                  </a:lnTo>
                  <a:lnTo>
                    <a:pt x="242" y="242"/>
                  </a:lnTo>
                  <a:lnTo>
                    <a:pt x="242" y="245"/>
                  </a:lnTo>
                  <a:lnTo>
                    <a:pt x="239" y="245"/>
                  </a:lnTo>
                  <a:lnTo>
                    <a:pt x="239" y="242"/>
                  </a:lnTo>
                  <a:lnTo>
                    <a:pt x="237" y="242"/>
                  </a:lnTo>
                  <a:lnTo>
                    <a:pt x="237" y="238"/>
                  </a:lnTo>
                  <a:lnTo>
                    <a:pt x="237" y="240"/>
                  </a:lnTo>
                  <a:lnTo>
                    <a:pt x="235" y="240"/>
                  </a:lnTo>
                  <a:lnTo>
                    <a:pt x="235" y="238"/>
                  </a:lnTo>
                  <a:lnTo>
                    <a:pt x="232" y="240"/>
                  </a:lnTo>
                  <a:lnTo>
                    <a:pt x="232" y="238"/>
                  </a:lnTo>
                  <a:lnTo>
                    <a:pt x="232" y="235"/>
                  </a:lnTo>
                  <a:lnTo>
                    <a:pt x="230" y="233"/>
                  </a:lnTo>
                  <a:lnTo>
                    <a:pt x="232" y="233"/>
                  </a:lnTo>
                  <a:lnTo>
                    <a:pt x="232" y="231"/>
                  </a:lnTo>
                  <a:lnTo>
                    <a:pt x="235" y="231"/>
                  </a:lnTo>
                  <a:lnTo>
                    <a:pt x="232" y="231"/>
                  </a:lnTo>
                  <a:lnTo>
                    <a:pt x="235" y="231"/>
                  </a:lnTo>
                  <a:lnTo>
                    <a:pt x="235" y="228"/>
                  </a:lnTo>
                  <a:lnTo>
                    <a:pt x="232" y="228"/>
                  </a:lnTo>
                  <a:lnTo>
                    <a:pt x="235" y="228"/>
                  </a:lnTo>
                  <a:lnTo>
                    <a:pt x="235" y="226"/>
                  </a:lnTo>
                  <a:lnTo>
                    <a:pt x="232" y="226"/>
                  </a:lnTo>
                  <a:lnTo>
                    <a:pt x="235" y="226"/>
                  </a:lnTo>
                  <a:lnTo>
                    <a:pt x="235" y="223"/>
                  </a:lnTo>
                  <a:lnTo>
                    <a:pt x="235" y="221"/>
                  </a:lnTo>
                  <a:lnTo>
                    <a:pt x="232" y="221"/>
                  </a:lnTo>
                  <a:lnTo>
                    <a:pt x="232" y="219"/>
                  </a:lnTo>
                  <a:lnTo>
                    <a:pt x="235" y="219"/>
                  </a:lnTo>
                  <a:lnTo>
                    <a:pt x="235" y="216"/>
                  </a:lnTo>
                  <a:lnTo>
                    <a:pt x="232" y="219"/>
                  </a:lnTo>
                  <a:lnTo>
                    <a:pt x="232" y="214"/>
                  </a:lnTo>
                  <a:lnTo>
                    <a:pt x="232" y="212"/>
                  </a:lnTo>
                  <a:lnTo>
                    <a:pt x="230" y="212"/>
                  </a:lnTo>
                  <a:lnTo>
                    <a:pt x="230" y="214"/>
                  </a:lnTo>
                  <a:lnTo>
                    <a:pt x="227" y="214"/>
                  </a:lnTo>
                  <a:lnTo>
                    <a:pt x="225" y="214"/>
                  </a:lnTo>
                  <a:lnTo>
                    <a:pt x="223" y="212"/>
                  </a:lnTo>
                  <a:lnTo>
                    <a:pt x="220" y="212"/>
                  </a:lnTo>
                  <a:lnTo>
                    <a:pt x="220" y="209"/>
                  </a:lnTo>
                  <a:lnTo>
                    <a:pt x="223" y="207"/>
                  </a:lnTo>
                  <a:lnTo>
                    <a:pt x="220" y="207"/>
                  </a:lnTo>
                  <a:lnTo>
                    <a:pt x="218" y="207"/>
                  </a:lnTo>
                  <a:lnTo>
                    <a:pt x="218" y="204"/>
                  </a:lnTo>
                  <a:lnTo>
                    <a:pt x="218" y="207"/>
                  </a:lnTo>
                  <a:lnTo>
                    <a:pt x="216" y="207"/>
                  </a:lnTo>
                  <a:lnTo>
                    <a:pt x="216" y="204"/>
                  </a:lnTo>
                  <a:lnTo>
                    <a:pt x="213" y="204"/>
                  </a:lnTo>
                  <a:lnTo>
                    <a:pt x="211" y="204"/>
                  </a:lnTo>
                  <a:lnTo>
                    <a:pt x="211" y="207"/>
                  </a:lnTo>
                  <a:lnTo>
                    <a:pt x="208" y="207"/>
                  </a:lnTo>
                  <a:lnTo>
                    <a:pt x="211" y="207"/>
                  </a:lnTo>
                  <a:lnTo>
                    <a:pt x="208" y="209"/>
                  </a:lnTo>
                  <a:lnTo>
                    <a:pt x="211" y="209"/>
                  </a:lnTo>
                  <a:lnTo>
                    <a:pt x="208" y="209"/>
                  </a:lnTo>
                  <a:lnTo>
                    <a:pt x="208" y="207"/>
                  </a:lnTo>
                  <a:lnTo>
                    <a:pt x="206" y="207"/>
                  </a:lnTo>
                  <a:lnTo>
                    <a:pt x="208" y="207"/>
                  </a:lnTo>
                  <a:lnTo>
                    <a:pt x="208" y="204"/>
                  </a:lnTo>
                  <a:lnTo>
                    <a:pt x="206" y="204"/>
                  </a:lnTo>
                  <a:lnTo>
                    <a:pt x="204" y="204"/>
                  </a:lnTo>
                  <a:lnTo>
                    <a:pt x="204" y="207"/>
                  </a:lnTo>
                  <a:lnTo>
                    <a:pt x="204" y="204"/>
                  </a:lnTo>
                  <a:lnTo>
                    <a:pt x="206" y="202"/>
                  </a:lnTo>
                  <a:lnTo>
                    <a:pt x="206" y="200"/>
                  </a:lnTo>
                  <a:lnTo>
                    <a:pt x="204" y="200"/>
                  </a:lnTo>
                  <a:lnTo>
                    <a:pt x="204" y="202"/>
                  </a:lnTo>
                  <a:lnTo>
                    <a:pt x="204" y="200"/>
                  </a:lnTo>
                  <a:lnTo>
                    <a:pt x="204" y="202"/>
                  </a:lnTo>
                  <a:lnTo>
                    <a:pt x="201" y="202"/>
                  </a:lnTo>
                  <a:lnTo>
                    <a:pt x="199" y="202"/>
                  </a:lnTo>
                  <a:lnTo>
                    <a:pt x="199" y="200"/>
                  </a:lnTo>
                  <a:lnTo>
                    <a:pt x="197" y="200"/>
                  </a:lnTo>
                  <a:lnTo>
                    <a:pt x="197" y="202"/>
                  </a:lnTo>
                  <a:lnTo>
                    <a:pt x="197" y="200"/>
                  </a:lnTo>
                  <a:lnTo>
                    <a:pt x="197" y="197"/>
                  </a:lnTo>
                  <a:lnTo>
                    <a:pt x="194" y="197"/>
                  </a:lnTo>
                  <a:lnTo>
                    <a:pt x="192" y="197"/>
                  </a:lnTo>
                  <a:lnTo>
                    <a:pt x="192" y="195"/>
                  </a:lnTo>
                  <a:lnTo>
                    <a:pt x="189" y="195"/>
                  </a:lnTo>
                  <a:lnTo>
                    <a:pt x="189" y="193"/>
                  </a:lnTo>
                  <a:lnTo>
                    <a:pt x="187" y="193"/>
                  </a:lnTo>
                  <a:lnTo>
                    <a:pt x="187" y="190"/>
                  </a:lnTo>
                  <a:lnTo>
                    <a:pt x="185" y="190"/>
                  </a:lnTo>
                  <a:lnTo>
                    <a:pt x="182" y="190"/>
                  </a:lnTo>
                  <a:lnTo>
                    <a:pt x="180" y="190"/>
                  </a:lnTo>
                  <a:lnTo>
                    <a:pt x="180" y="188"/>
                  </a:lnTo>
                  <a:lnTo>
                    <a:pt x="180" y="190"/>
                  </a:lnTo>
                  <a:lnTo>
                    <a:pt x="178" y="190"/>
                  </a:lnTo>
                  <a:lnTo>
                    <a:pt x="175" y="190"/>
                  </a:lnTo>
                  <a:lnTo>
                    <a:pt x="175" y="193"/>
                  </a:lnTo>
                  <a:lnTo>
                    <a:pt x="173" y="193"/>
                  </a:lnTo>
                  <a:lnTo>
                    <a:pt x="173" y="190"/>
                  </a:lnTo>
                  <a:lnTo>
                    <a:pt x="170" y="190"/>
                  </a:lnTo>
                  <a:lnTo>
                    <a:pt x="170" y="193"/>
                  </a:lnTo>
                  <a:lnTo>
                    <a:pt x="170" y="195"/>
                  </a:lnTo>
                  <a:lnTo>
                    <a:pt x="168" y="195"/>
                  </a:lnTo>
                  <a:lnTo>
                    <a:pt x="168" y="193"/>
                  </a:lnTo>
                  <a:lnTo>
                    <a:pt x="166" y="193"/>
                  </a:lnTo>
                  <a:lnTo>
                    <a:pt x="166" y="195"/>
                  </a:lnTo>
                  <a:lnTo>
                    <a:pt x="166" y="193"/>
                  </a:lnTo>
                  <a:lnTo>
                    <a:pt x="166" y="195"/>
                  </a:lnTo>
                  <a:lnTo>
                    <a:pt x="163" y="195"/>
                  </a:lnTo>
                  <a:lnTo>
                    <a:pt x="163" y="193"/>
                  </a:lnTo>
                  <a:lnTo>
                    <a:pt x="163" y="190"/>
                  </a:lnTo>
                  <a:lnTo>
                    <a:pt x="163" y="193"/>
                  </a:lnTo>
                  <a:lnTo>
                    <a:pt x="161" y="193"/>
                  </a:lnTo>
                  <a:lnTo>
                    <a:pt x="161" y="195"/>
                  </a:lnTo>
                  <a:lnTo>
                    <a:pt x="159" y="195"/>
                  </a:lnTo>
                  <a:lnTo>
                    <a:pt x="156" y="193"/>
                  </a:lnTo>
                  <a:lnTo>
                    <a:pt x="154" y="193"/>
                  </a:lnTo>
                  <a:lnTo>
                    <a:pt x="151" y="193"/>
                  </a:lnTo>
                  <a:lnTo>
                    <a:pt x="151" y="195"/>
                  </a:lnTo>
                  <a:lnTo>
                    <a:pt x="154" y="195"/>
                  </a:lnTo>
                  <a:lnTo>
                    <a:pt x="154" y="197"/>
                  </a:lnTo>
                  <a:lnTo>
                    <a:pt x="151" y="197"/>
                  </a:lnTo>
                  <a:lnTo>
                    <a:pt x="151" y="195"/>
                  </a:lnTo>
                  <a:lnTo>
                    <a:pt x="149" y="195"/>
                  </a:lnTo>
                  <a:lnTo>
                    <a:pt x="149" y="197"/>
                  </a:lnTo>
                  <a:lnTo>
                    <a:pt x="147" y="200"/>
                  </a:lnTo>
                  <a:lnTo>
                    <a:pt x="149" y="200"/>
                  </a:lnTo>
                  <a:lnTo>
                    <a:pt x="147" y="200"/>
                  </a:lnTo>
                  <a:lnTo>
                    <a:pt x="147" y="202"/>
                  </a:lnTo>
                  <a:lnTo>
                    <a:pt x="144" y="202"/>
                  </a:lnTo>
                  <a:lnTo>
                    <a:pt x="142" y="202"/>
                  </a:lnTo>
                  <a:lnTo>
                    <a:pt x="140" y="202"/>
                  </a:lnTo>
                  <a:lnTo>
                    <a:pt x="140" y="204"/>
                  </a:lnTo>
                  <a:lnTo>
                    <a:pt x="140" y="202"/>
                  </a:lnTo>
                  <a:lnTo>
                    <a:pt x="140" y="204"/>
                  </a:lnTo>
                  <a:lnTo>
                    <a:pt x="137" y="202"/>
                  </a:lnTo>
                  <a:lnTo>
                    <a:pt x="137" y="204"/>
                  </a:lnTo>
                  <a:lnTo>
                    <a:pt x="137" y="207"/>
                  </a:lnTo>
                  <a:lnTo>
                    <a:pt x="137" y="209"/>
                  </a:lnTo>
                  <a:lnTo>
                    <a:pt x="135" y="209"/>
                  </a:lnTo>
                  <a:lnTo>
                    <a:pt x="135" y="212"/>
                  </a:lnTo>
                  <a:lnTo>
                    <a:pt x="132" y="212"/>
                  </a:lnTo>
                  <a:lnTo>
                    <a:pt x="132" y="214"/>
                  </a:lnTo>
                  <a:lnTo>
                    <a:pt x="132" y="212"/>
                  </a:lnTo>
                  <a:lnTo>
                    <a:pt x="130" y="214"/>
                  </a:lnTo>
                  <a:lnTo>
                    <a:pt x="130" y="212"/>
                  </a:lnTo>
                  <a:lnTo>
                    <a:pt x="128" y="212"/>
                  </a:lnTo>
                  <a:lnTo>
                    <a:pt x="128" y="214"/>
                  </a:lnTo>
                  <a:lnTo>
                    <a:pt x="125" y="214"/>
                  </a:lnTo>
                  <a:lnTo>
                    <a:pt x="123" y="214"/>
                  </a:lnTo>
                  <a:lnTo>
                    <a:pt x="121" y="214"/>
                  </a:lnTo>
                  <a:lnTo>
                    <a:pt x="118" y="214"/>
                  </a:lnTo>
                  <a:lnTo>
                    <a:pt x="116" y="214"/>
                  </a:lnTo>
                  <a:lnTo>
                    <a:pt x="114" y="214"/>
                  </a:lnTo>
                  <a:lnTo>
                    <a:pt x="111" y="216"/>
                  </a:lnTo>
                  <a:lnTo>
                    <a:pt x="106" y="216"/>
                  </a:lnTo>
                  <a:lnTo>
                    <a:pt x="104" y="216"/>
                  </a:lnTo>
                  <a:lnTo>
                    <a:pt x="102" y="216"/>
                  </a:lnTo>
                  <a:lnTo>
                    <a:pt x="102" y="219"/>
                  </a:lnTo>
                  <a:lnTo>
                    <a:pt x="102" y="221"/>
                  </a:lnTo>
                  <a:lnTo>
                    <a:pt x="99" y="221"/>
                  </a:lnTo>
                  <a:lnTo>
                    <a:pt x="99" y="223"/>
                  </a:lnTo>
                  <a:lnTo>
                    <a:pt x="97" y="223"/>
                  </a:lnTo>
                  <a:lnTo>
                    <a:pt x="97" y="226"/>
                  </a:lnTo>
                  <a:lnTo>
                    <a:pt x="95" y="226"/>
                  </a:lnTo>
                  <a:lnTo>
                    <a:pt x="92" y="226"/>
                  </a:lnTo>
                  <a:lnTo>
                    <a:pt x="90" y="226"/>
                  </a:lnTo>
                  <a:lnTo>
                    <a:pt x="90" y="223"/>
                  </a:lnTo>
                  <a:lnTo>
                    <a:pt x="90" y="221"/>
                  </a:lnTo>
                  <a:lnTo>
                    <a:pt x="87" y="221"/>
                  </a:lnTo>
                  <a:lnTo>
                    <a:pt x="90" y="221"/>
                  </a:lnTo>
                  <a:lnTo>
                    <a:pt x="87" y="221"/>
                  </a:lnTo>
                  <a:lnTo>
                    <a:pt x="87" y="219"/>
                  </a:lnTo>
                  <a:lnTo>
                    <a:pt x="85" y="221"/>
                  </a:lnTo>
                  <a:lnTo>
                    <a:pt x="85" y="219"/>
                  </a:lnTo>
                  <a:lnTo>
                    <a:pt x="83" y="219"/>
                  </a:lnTo>
                  <a:lnTo>
                    <a:pt x="83" y="216"/>
                  </a:lnTo>
                  <a:lnTo>
                    <a:pt x="83" y="214"/>
                  </a:lnTo>
                  <a:lnTo>
                    <a:pt x="80" y="214"/>
                  </a:lnTo>
                  <a:lnTo>
                    <a:pt x="78" y="214"/>
                  </a:lnTo>
                  <a:lnTo>
                    <a:pt x="76" y="214"/>
                  </a:lnTo>
                  <a:lnTo>
                    <a:pt x="73" y="214"/>
                  </a:lnTo>
                  <a:lnTo>
                    <a:pt x="73" y="216"/>
                  </a:lnTo>
                  <a:lnTo>
                    <a:pt x="71" y="216"/>
                  </a:lnTo>
                  <a:lnTo>
                    <a:pt x="68" y="216"/>
                  </a:lnTo>
                  <a:lnTo>
                    <a:pt x="66" y="216"/>
                  </a:lnTo>
                  <a:lnTo>
                    <a:pt x="64" y="216"/>
                  </a:lnTo>
                  <a:lnTo>
                    <a:pt x="64" y="214"/>
                  </a:lnTo>
                  <a:lnTo>
                    <a:pt x="61" y="214"/>
                  </a:lnTo>
                  <a:lnTo>
                    <a:pt x="59" y="214"/>
                  </a:lnTo>
                  <a:lnTo>
                    <a:pt x="57" y="214"/>
                  </a:lnTo>
                  <a:lnTo>
                    <a:pt x="57" y="216"/>
                  </a:lnTo>
                  <a:lnTo>
                    <a:pt x="57" y="214"/>
                  </a:lnTo>
                  <a:lnTo>
                    <a:pt x="54" y="214"/>
                  </a:lnTo>
                  <a:lnTo>
                    <a:pt x="57" y="214"/>
                  </a:lnTo>
                  <a:lnTo>
                    <a:pt x="54" y="214"/>
                  </a:lnTo>
                  <a:lnTo>
                    <a:pt x="54" y="212"/>
                  </a:lnTo>
                  <a:lnTo>
                    <a:pt x="52" y="212"/>
                  </a:lnTo>
                  <a:lnTo>
                    <a:pt x="49" y="212"/>
                  </a:lnTo>
                  <a:lnTo>
                    <a:pt x="49" y="214"/>
                  </a:lnTo>
                  <a:lnTo>
                    <a:pt x="49" y="212"/>
                  </a:lnTo>
                  <a:lnTo>
                    <a:pt x="47" y="212"/>
                  </a:lnTo>
                  <a:lnTo>
                    <a:pt x="45" y="214"/>
                  </a:lnTo>
                  <a:lnTo>
                    <a:pt x="42" y="214"/>
                  </a:lnTo>
                  <a:lnTo>
                    <a:pt x="42" y="212"/>
                  </a:lnTo>
                  <a:lnTo>
                    <a:pt x="40" y="212"/>
                  </a:lnTo>
                  <a:lnTo>
                    <a:pt x="40" y="209"/>
                  </a:lnTo>
                  <a:lnTo>
                    <a:pt x="38" y="209"/>
                  </a:lnTo>
                  <a:lnTo>
                    <a:pt x="38" y="207"/>
                  </a:lnTo>
                  <a:lnTo>
                    <a:pt x="35" y="207"/>
                  </a:lnTo>
                  <a:lnTo>
                    <a:pt x="33" y="207"/>
                  </a:lnTo>
                  <a:lnTo>
                    <a:pt x="33" y="209"/>
                  </a:lnTo>
                  <a:lnTo>
                    <a:pt x="33" y="212"/>
                  </a:lnTo>
                  <a:lnTo>
                    <a:pt x="30" y="212"/>
                  </a:lnTo>
                  <a:lnTo>
                    <a:pt x="28" y="212"/>
                  </a:lnTo>
                  <a:lnTo>
                    <a:pt x="28" y="214"/>
                  </a:lnTo>
                  <a:lnTo>
                    <a:pt x="28" y="212"/>
                  </a:lnTo>
                  <a:lnTo>
                    <a:pt x="26" y="212"/>
                  </a:lnTo>
                  <a:lnTo>
                    <a:pt x="26" y="214"/>
                  </a:lnTo>
                  <a:lnTo>
                    <a:pt x="23" y="214"/>
                  </a:lnTo>
                  <a:lnTo>
                    <a:pt x="23" y="212"/>
                  </a:lnTo>
                  <a:lnTo>
                    <a:pt x="23" y="209"/>
                  </a:lnTo>
                  <a:lnTo>
                    <a:pt x="23" y="207"/>
                  </a:lnTo>
                  <a:lnTo>
                    <a:pt x="21" y="207"/>
                  </a:lnTo>
                  <a:lnTo>
                    <a:pt x="19" y="207"/>
                  </a:lnTo>
                  <a:lnTo>
                    <a:pt x="16" y="207"/>
                  </a:lnTo>
                  <a:lnTo>
                    <a:pt x="14" y="207"/>
                  </a:lnTo>
                  <a:lnTo>
                    <a:pt x="16" y="207"/>
                  </a:lnTo>
                  <a:lnTo>
                    <a:pt x="14" y="207"/>
                  </a:lnTo>
                  <a:lnTo>
                    <a:pt x="14" y="204"/>
                  </a:lnTo>
                  <a:lnTo>
                    <a:pt x="16" y="204"/>
                  </a:lnTo>
                  <a:lnTo>
                    <a:pt x="14" y="204"/>
                  </a:lnTo>
                  <a:lnTo>
                    <a:pt x="14" y="202"/>
                  </a:lnTo>
                  <a:lnTo>
                    <a:pt x="11" y="202"/>
                  </a:lnTo>
                  <a:lnTo>
                    <a:pt x="11" y="200"/>
                  </a:lnTo>
                  <a:lnTo>
                    <a:pt x="9" y="200"/>
                  </a:lnTo>
                  <a:lnTo>
                    <a:pt x="7" y="200"/>
                  </a:lnTo>
                  <a:lnTo>
                    <a:pt x="7" y="197"/>
                  </a:lnTo>
                  <a:lnTo>
                    <a:pt x="7" y="195"/>
                  </a:lnTo>
                  <a:lnTo>
                    <a:pt x="4" y="195"/>
                  </a:lnTo>
                  <a:lnTo>
                    <a:pt x="4" y="193"/>
                  </a:lnTo>
                  <a:lnTo>
                    <a:pt x="2" y="193"/>
                  </a:lnTo>
                  <a:lnTo>
                    <a:pt x="0" y="193"/>
                  </a:lnTo>
                  <a:lnTo>
                    <a:pt x="0" y="190"/>
                  </a:lnTo>
                  <a:lnTo>
                    <a:pt x="0" y="188"/>
                  </a:lnTo>
                  <a:lnTo>
                    <a:pt x="0" y="185"/>
                  </a:lnTo>
                  <a:lnTo>
                    <a:pt x="2" y="183"/>
                  </a:lnTo>
                  <a:lnTo>
                    <a:pt x="4" y="183"/>
                  </a:lnTo>
                  <a:lnTo>
                    <a:pt x="4" y="181"/>
                  </a:lnTo>
                  <a:lnTo>
                    <a:pt x="7" y="178"/>
                  </a:lnTo>
                  <a:lnTo>
                    <a:pt x="7" y="176"/>
                  </a:lnTo>
                  <a:lnTo>
                    <a:pt x="7" y="174"/>
                  </a:lnTo>
                  <a:lnTo>
                    <a:pt x="9" y="174"/>
                  </a:lnTo>
                  <a:lnTo>
                    <a:pt x="7" y="171"/>
                  </a:lnTo>
                  <a:lnTo>
                    <a:pt x="9" y="171"/>
                  </a:lnTo>
                  <a:lnTo>
                    <a:pt x="9" y="169"/>
                  </a:lnTo>
                  <a:lnTo>
                    <a:pt x="9" y="166"/>
                  </a:lnTo>
                  <a:lnTo>
                    <a:pt x="11" y="166"/>
                  </a:lnTo>
                  <a:lnTo>
                    <a:pt x="11" y="164"/>
                  </a:lnTo>
                  <a:lnTo>
                    <a:pt x="14" y="164"/>
                  </a:lnTo>
                  <a:lnTo>
                    <a:pt x="14" y="162"/>
                  </a:lnTo>
                  <a:lnTo>
                    <a:pt x="14" y="159"/>
                  </a:lnTo>
                  <a:lnTo>
                    <a:pt x="16" y="159"/>
                  </a:lnTo>
                  <a:lnTo>
                    <a:pt x="16" y="162"/>
                  </a:lnTo>
                  <a:lnTo>
                    <a:pt x="19" y="162"/>
                  </a:lnTo>
                  <a:lnTo>
                    <a:pt x="21" y="162"/>
                  </a:lnTo>
                  <a:lnTo>
                    <a:pt x="23" y="162"/>
                  </a:lnTo>
                  <a:lnTo>
                    <a:pt x="23" y="164"/>
                  </a:lnTo>
                  <a:lnTo>
                    <a:pt x="26" y="164"/>
                  </a:lnTo>
                  <a:lnTo>
                    <a:pt x="23" y="164"/>
                  </a:lnTo>
                  <a:lnTo>
                    <a:pt x="23" y="162"/>
                  </a:lnTo>
                  <a:lnTo>
                    <a:pt x="23" y="159"/>
                  </a:lnTo>
                  <a:lnTo>
                    <a:pt x="26" y="159"/>
                  </a:lnTo>
                  <a:lnTo>
                    <a:pt x="23" y="159"/>
                  </a:lnTo>
                  <a:lnTo>
                    <a:pt x="26" y="159"/>
                  </a:lnTo>
                  <a:lnTo>
                    <a:pt x="23" y="159"/>
                  </a:lnTo>
                  <a:lnTo>
                    <a:pt x="23" y="157"/>
                  </a:lnTo>
                  <a:lnTo>
                    <a:pt x="23" y="159"/>
                  </a:lnTo>
                  <a:lnTo>
                    <a:pt x="23" y="157"/>
                  </a:lnTo>
                  <a:lnTo>
                    <a:pt x="21" y="157"/>
                  </a:lnTo>
                  <a:lnTo>
                    <a:pt x="19" y="157"/>
                  </a:lnTo>
                  <a:lnTo>
                    <a:pt x="21" y="157"/>
                  </a:lnTo>
                  <a:lnTo>
                    <a:pt x="21" y="155"/>
                  </a:lnTo>
                  <a:lnTo>
                    <a:pt x="19" y="155"/>
                  </a:lnTo>
                  <a:lnTo>
                    <a:pt x="19" y="157"/>
                  </a:lnTo>
                  <a:lnTo>
                    <a:pt x="19" y="155"/>
                  </a:lnTo>
                  <a:lnTo>
                    <a:pt x="21" y="155"/>
                  </a:lnTo>
                  <a:lnTo>
                    <a:pt x="19" y="155"/>
                  </a:lnTo>
                  <a:lnTo>
                    <a:pt x="19" y="152"/>
                  </a:lnTo>
                  <a:lnTo>
                    <a:pt x="21" y="150"/>
                  </a:lnTo>
                  <a:lnTo>
                    <a:pt x="21" y="147"/>
                  </a:lnTo>
                  <a:lnTo>
                    <a:pt x="21" y="145"/>
                  </a:lnTo>
                  <a:lnTo>
                    <a:pt x="19" y="143"/>
                  </a:lnTo>
                  <a:lnTo>
                    <a:pt x="19" y="140"/>
                  </a:lnTo>
                  <a:lnTo>
                    <a:pt x="16" y="140"/>
                  </a:lnTo>
                  <a:lnTo>
                    <a:pt x="16" y="138"/>
                  </a:lnTo>
                  <a:lnTo>
                    <a:pt x="19" y="138"/>
                  </a:lnTo>
                  <a:lnTo>
                    <a:pt x="19" y="135"/>
                  </a:lnTo>
                  <a:lnTo>
                    <a:pt x="21" y="133"/>
                  </a:lnTo>
                  <a:lnTo>
                    <a:pt x="21" y="131"/>
                  </a:lnTo>
                  <a:lnTo>
                    <a:pt x="23" y="131"/>
                  </a:lnTo>
                  <a:lnTo>
                    <a:pt x="23" y="128"/>
                  </a:lnTo>
                  <a:lnTo>
                    <a:pt x="26" y="128"/>
                  </a:lnTo>
                  <a:lnTo>
                    <a:pt x="26" y="126"/>
                  </a:lnTo>
                  <a:lnTo>
                    <a:pt x="28" y="126"/>
                  </a:lnTo>
                  <a:lnTo>
                    <a:pt x="28" y="124"/>
                  </a:lnTo>
                  <a:lnTo>
                    <a:pt x="30" y="121"/>
                  </a:lnTo>
                  <a:lnTo>
                    <a:pt x="30" y="119"/>
                  </a:lnTo>
                  <a:lnTo>
                    <a:pt x="33" y="119"/>
                  </a:lnTo>
                  <a:lnTo>
                    <a:pt x="33" y="116"/>
                  </a:lnTo>
                  <a:lnTo>
                    <a:pt x="35" y="114"/>
                  </a:lnTo>
                  <a:lnTo>
                    <a:pt x="38" y="112"/>
                  </a:lnTo>
                  <a:lnTo>
                    <a:pt x="40" y="109"/>
                  </a:lnTo>
                  <a:lnTo>
                    <a:pt x="42" y="107"/>
                  </a:lnTo>
                  <a:lnTo>
                    <a:pt x="45" y="105"/>
                  </a:lnTo>
                  <a:lnTo>
                    <a:pt x="47" y="105"/>
                  </a:lnTo>
                  <a:lnTo>
                    <a:pt x="47" y="102"/>
                  </a:lnTo>
                  <a:lnTo>
                    <a:pt x="49" y="102"/>
                  </a:lnTo>
                  <a:lnTo>
                    <a:pt x="49" y="100"/>
                  </a:lnTo>
                  <a:lnTo>
                    <a:pt x="52" y="100"/>
                  </a:lnTo>
                  <a:lnTo>
                    <a:pt x="52" y="97"/>
                  </a:lnTo>
                  <a:lnTo>
                    <a:pt x="54" y="97"/>
                  </a:lnTo>
                  <a:lnTo>
                    <a:pt x="54" y="95"/>
                  </a:lnTo>
                  <a:lnTo>
                    <a:pt x="59" y="95"/>
                  </a:lnTo>
                  <a:lnTo>
                    <a:pt x="61" y="95"/>
                  </a:lnTo>
                  <a:lnTo>
                    <a:pt x="64" y="95"/>
                  </a:lnTo>
                  <a:lnTo>
                    <a:pt x="64" y="93"/>
                  </a:lnTo>
                  <a:lnTo>
                    <a:pt x="64" y="90"/>
                  </a:lnTo>
                  <a:lnTo>
                    <a:pt x="64" y="88"/>
                  </a:lnTo>
                  <a:lnTo>
                    <a:pt x="64" y="86"/>
                  </a:lnTo>
                  <a:lnTo>
                    <a:pt x="64" y="83"/>
                  </a:lnTo>
                  <a:lnTo>
                    <a:pt x="64" y="81"/>
                  </a:lnTo>
                  <a:lnTo>
                    <a:pt x="61" y="81"/>
                  </a:lnTo>
                  <a:lnTo>
                    <a:pt x="61" y="78"/>
                  </a:lnTo>
                  <a:lnTo>
                    <a:pt x="59" y="76"/>
                  </a:lnTo>
                  <a:lnTo>
                    <a:pt x="61" y="76"/>
                  </a:lnTo>
                  <a:lnTo>
                    <a:pt x="61" y="74"/>
                  </a:lnTo>
                  <a:lnTo>
                    <a:pt x="61" y="76"/>
                  </a:lnTo>
                  <a:lnTo>
                    <a:pt x="61" y="74"/>
                  </a:lnTo>
                  <a:lnTo>
                    <a:pt x="61" y="76"/>
                  </a:lnTo>
                  <a:lnTo>
                    <a:pt x="61" y="74"/>
                  </a:lnTo>
                  <a:lnTo>
                    <a:pt x="61" y="76"/>
                  </a:lnTo>
                  <a:lnTo>
                    <a:pt x="61" y="74"/>
                  </a:lnTo>
                  <a:lnTo>
                    <a:pt x="61" y="76"/>
                  </a:lnTo>
                  <a:lnTo>
                    <a:pt x="64" y="74"/>
                  </a:lnTo>
                  <a:lnTo>
                    <a:pt x="64" y="76"/>
                  </a:lnTo>
                  <a:lnTo>
                    <a:pt x="66" y="76"/>
                  </a:lnTo>
                  <a:lnTo>
                    <a:pt x="66" y="74"/>
                  </a:lnTo>
                  <a:lnTo>
                    <a:pt x="64" y="74"/>
                  </a:lnTo>
                  <a:lnTo>
                    <a:pt x="64" y="71"/>
                  </a:lnTo>
                  <a:lnTo>
                    <a:pt x="61" y="71"/>
                  </a:lnTo>
                  <a:lnTo>
                    <a:pt x="61" y="69"/>
                  </a:lnTo>
                  <a:lnTo>
                    <a:pt x="59" y="67"/>
                  </a:lnTo>
                  <a:lnTo>
                    <a:pt x="59" y="64"/>
                  </a:lnTo>
                  <a:lnTo>
                    <a:pt x="57" y="64"/>
                  </a:lnTo>
                  <a:lnTo>
                    <a:pt x="57" y="62"/>
                  </a:lnTo>
                  <a:lnTo>
                    <a:pt x="57" y="64"/>
                  </a:lnTo>
                  <a:lnTo>
                    <a:pt x="57" y="62"/>
                  </a:lnTo>
                  <a:lnTo>
                    <a:pt x="57" y="59"/>
                  </a:lnTo>
                  <a:lnTo>
                    <a:pt x="57" y="62"/>
                  </a:lnTo>
                  <a:lnTo>
                    <a:pt x="57" y="59"/>
                  </a:lnTo>
                  <a:lnTo>
                    <a:pt x="57" y="62"/>
                  </a:lnTo>
                  <a:lnTo>
                    <a:pt x="57" y="59"/>
                  </a:lnTo>
                  <a:lnTo>
                    <a:pt x="54" y="59"/>
                  </a:lnTo>
                  <a:lnTo>
                    <a:pt x="54" y="57"/>
                  </a:lnTo>
                  <a:lnTo>
                    <a:pt x="52" y="57"/>
                  </a:lnTo>
                  <a:lnTo>
                    <a:pt x="52" y="55"/>
                  </a:lnTo>
                  <a:lnTo>
                    <a:pt x="52" y="52"/>
                  </a:lnTo>
                  <a:lnTo>
                    <a:pt x="52" y="55"/>
                  </a:lnTo>
                  <a:lnTo>
                    <a:pt x="52" y="52"/>
                  </a:lnTo>
                  <a:lnTo>
                    <a:pt x="49" y="52"/>
                  </a:lnTo>
                  <a:lnTo>
                    <a:pt x="49" y="50"/>
                  </a:lnTo>
                  <a:lnTo>
                    <a:pt x="52" y="50"/>
                  </a:lnTo>
                  <a:lnTo>
                    <a:pt x="52" y="48"/>
                  </a:lnTo>
                  <a:lnTo>
                    <a:pt x="52" y="45"/>
                  </a:lnTo>
                  <a:lnTo>
                    <a:pt x="52" y="48"/>
                  </a:lnTo>
                  <a:lnTo>
                    <a:pt x="52" y="45"/>
                  </a:lnTo>
                  <a:lnTo>
                    <a:pt x="49" y="45"/>
                  </a:lnTo>
                  <a:lnTo>
                    <a:pt x="49" y="43"/>
                  </a:lnTo>
                  <a:lnTo>
                    <a:pt x="52" y="43"/>
                  </a:lnTo>
                  <a:lnTo>
                    <a:pt x="49" y="43"/>
                  </a:lnTo>
                  <a:lnTo>
                    <a:pt x="49" y="40"/>
                  </a:lnTo>
                  <a:lnTo>
                    <a:pt x="49" y="38"/>
                  </a:lnTo>
                  <a:lnTo>
                    <a:pt x="49" y="36"/>
                  </a:lnTo>
                  <a:lnTo>
                    <a:pt x="52" y="36"/>
                  </a:lnTo>
                  <a:lnTo>
                    <a:pt x="54" y="36"/>
                  </a:lnTo>
                  <a:lnTo>
                    <a:pt x="54" y="33"/>
                  </a:lnTo>
                  <a:lnTo>
                    <a:pt x="54" y="36"/>
                  </a:lnTo>
                  <a:lnTo>
                    <a:pt x="57" y="36"/>
                  </a:lnTo>
                  <a:lnTo>
                    <a:pt x="59" y="36"/>
                  </a:lnTo>
                  <a:lnTo>
                    <a:pt x="57" y="38"/>
                  </a:lnTo>
                  <a:lnTo>
                    <a:pt x="59" y="38"/>
                  </a:lnTo>
                  <a:lnTo>
                    <a:pt x="61" y="38"/>
                  </a:lnTo>
                  <a:lnTo>
                    <a:pt x="64" y="36"/>
                  </a:lnTo>
                  <a:lnTo>
                    <a:pt x="66" y="33"/>
                  </a:lnTo>
                  <a:lnTo>
                    <a:pt x="71" y="31"/>
                  </a:lnTo>
                  <a:lnTo>
                    <a:pt x="71" y="29"/>
                  </a:lnTo>
                  <a:lnTo>
                    <a:pt x="71" y="26"/>
                  </a:lnTo>
                  <a:lnTo>
                    <a:pt x="73" y="26"/>
                  </a:lnTo>
                  <a:lnTo>
                    <a:pt x="73" y="24"/>
                  </a:lnTo>
                  <a:lnTo>
                    <a:pt x="78" y="24"/>
                  </a:lnTo>
                  <a:lnTo>
                    <a:pt x="80" y="24"/>
                  </a:lnTo>
                  <a:lnTo>
                    <a:pt x="83" y="24"/>
                  </a:lnTo>
                  <a:lnTo>
                    <a:pt x="85" y="24"/>
                  </a:lnTo>
                  <a:lnTo>
                    <a:pt x="87" y="24"/>
                  </a:lnTo>
                  <a:lnTo>
                    <a:pt x="87" y="21"/>
                  </a:lnTo>
                  <a:lnTo>
                    <a:pt x="90" y="21"/>
                  </a:lnTo>
                  <a:lnTo>
                    <a:pt x="90" y="24"/>
                  </a:lnTo>
                  <a:lnTo>
                    <a:pt x="92" y="21"/>
                  </a:lnTo>
                  <a:lnTo>
                    <a:pt x="92" y="24"/>
                  </a:lnTo>
                  <a:lnTo>
                    <a:pt x="95" y="21"/>
                  </a:lnTo>
                  <a:lnTo>
                    <a:pt x="92" y="21"/>
                  </a:lnTo>
                  <a:lnTo>
                    <a:pt x="95" y="21"/>
                  </a:lnTo>
                  <a:lnTo>
                    <a:pt x="97" y="21"/>
                  </a:lnTo>
                  <a:lnTo>
                    <a:pt x="97" y="19"/>
                  </a:lnTo>
                  <a:lnTo>
                    <a:pt x="99" y="21"/>
                  </a:lnTo>
                  <a:lnTo>
                    <a:pt x="99" y="19"/>
                  </a:lnTo>
                  <a:lnTo>
                    <a:pt x="102" y="19"/>
                  </a:lnTo>
                  <a:lnTo>
                    <a:pt x="104" y="19"/>
                  </a:lnTo>
                  <a:lnTo>
                    <a:pt x="104" y="21"/>
                  </a:lnTo>
                  <a:lnTo>
                    <a:pt x="106" y="21"/>
                  </a:lnTo>
                  <a:lnTo>
                    <a:pt x="109" y="21"/>
                  </a:lnTo>
                  <a:lnTo>
                    <a:pt x="111" y="21"/>
                  </a:lnTo>
                  <a:lnTo>
                    <a:pt x="114" y="21"/>
                  </a:lnTo>
                  <a:lnTo>
                    <a:pt x="116" y="21"/>
                  </a:lnTo>
                  <a:lnTo>
                    <a:pt x="118" y="21"/>
                  </a:lnTo>
                  <a:lnTo>
                    <a:pt x="121" y="21"/>
                  </a:lnTo>
                  <a:lnTo>
                    <a:pt x="123" y="21"/>
                  </a:lnTo>
                  <a:lnTo>
                    <a:pt x="125" y="21"/>
                  </a:lnTo>
                  <a:lnTo>
                    <a:pt x="128" y="21"/>
                  </a:lnTo>
                  <a:lnTo>
                    <a:pt x="130" y="21"/>
                  </a:lnTo>
                  <a:lnTo>
                    <a:pt x="130" y="24"/>
                  </a:lnTo>
                  <a:lnTo>
                    <a:pt x="132" y="24"/>
                  </a:lnTo>
                  <a:lnTo>
                    <a:pt x="135" y="24"/>
                  </a:lnTo>
                  <a:lnTo>
                    <a:pt x="137" y="24"/>
                  </a:lnTo>
                  <a:lnTo>
                    <a:pt x="140" y="24"/>
                  </a:lnTo>
                  <a:lnTo>
                    <a:pt x="140" y="26"/>
                  </a:lnTo>
                  <a:lnTo>
                    <a:pt x="142" y="26"/>
                  </a:lnTo>
                  <a:lnTo>
                    <a:pt x="142" y="29"/>
                  </a:lnTo>
                  <a:lnTo>
                    <a:pt x="144" y="29"/>
                  </a:lnTo>
                  <a:lnTo>
                    <a:pt x="147" y="29"/>
                  </a:lnTo>
                  <a:lnTo>
                    <a:pt x="147" y="26"/>
                  </a:lnTo>
                  <a:lnTo>
                    <a:pt x="149" y="26"/>
                  </a:lnTo>
                  <a:lnTo>
                    <a:pt x="151" y="26"/>
                  </a:lnTo>
                  <a:lnTo>
                    <a:pt x="151" y="29"/>
                  </a:lnTo>
                  <a:lnTo>
                    <a:pt x="154" y="29"/>
                  </a:lnTo>
                  <a:lnTo>
                    <a:pt x="154" y="31"/>
                  </a:lnTo>
                  <a:lnTo>
                    <a:pt x="154" y="29"/>
                  </a:lnTo>
                  <a:lnTo>
                    <a:pt x="156" y="29"/>
                  </a:lnTo>
                  <a:lnTo>
                    <a:pt x="156" y="31"/>
                  </a:lnTo>
                  <a:lnTo>
                    <a:pt x="159" y="31"/>
                  </a:lnTo>
                  <a:lnTo>
                    <a:pt x="161" y="29"/>
                  </a:lnTo>
                  <a:lnTo>
                    <a:pt x="163" y="29"/>
                  </a:lnTo>
                  <a:lnTo>
                    <a:pt x="168" y="29"/>
                  </a:lnTo>
                  <a:lnTo>
                    <a:pt x="168" y="31"/>
                  </a:lnTo>
                  <a:lnTo>
                    <a:pt x="168" y="33"/>
                  </a:lnTo>
                  <a:lnTo>
                    <a:pt x="168" y="36"/>
                  </a:lnTo>
                  <a:lnTo>
                    <a:pt x="170" y="36"/>
                  </a:lnTo>
                  <a:lnTo>
                    <a:pt x="168" y="36"/>
                  </a:lnTo>
                  <a:lnTo>
                    <a:pt x="168" y="38"/>
                  </a:lnTo>
                  <a:lnTo>
                    <a:pt x="170" y="38"/>
                  </a:lnTo>
                  <a:lnTo>
                    <a:pt x="173" y="36"/>
                  </a:lnTo>
                  <a:lnTo>
                    <a:pt x="173" y="38"/>
                  </a:lnTo>
                  <a:lnTo>
                    <a:pt x="175" y="38"/>
                  </a:lnTo>
                  <a:lnTo>
                    <a:pt x="175" y="36"/>
                  </a:lnTo>
                  <a:lnTo>
                    <a:pt x="175" y="38"/>
                  </a:lnTo>
                  <a:lnTo>
                    <a:pt x="178" y="38"/>
                  </a:lnTo>
                  <a:lnTo>
                    <a:pt x="175" y="38"/>
                  </a:lnTo>
                  <a:lnTo>
                    <a:pt x="178" y="38"/>
                  </a:lnTo>
                  <a:lnTo>
                    <a:pt x="178" y="36"/>
                  </a:lnTo>
                  <a:lnTo>
                    <a:pt x="180" y="36"/>
                  </a:lnTo>
                  <a:lnTo>
                    <a:pt x="180" y="38"/>
                  </a:lnTo>
                  <a:lnTo>
                    <a:pt x="182" y="38"/>
                  </a:lnTo>
                  <a:lnTo>
                    <a:pt x="185" y="38"/>
                  </a:lnTo>
                  <a:lnTo>
                    <a:pt x="185" y="40"/>
                  </a:lnTo>
                  <a:lnTo>
                    <a:pt x="182" y="40"/>
                  </a:lnTo>
                  <a:lnTo>
                    <a:pt x="182" y="43"/>
                  </a:lnTo>
                  <a:lnTo>
                    <a:pt x="185" y="43"/>
                  </a:lnTo>
                  <a:lnTo>
                    <a:pt x="187" y="43"/>
                  </a:lnTo>
                  <a:lnTo>
                    <a:pt x="187" y="40"/>
                  </a:lnTo>
                  <a:lnTo>
                    <a:pt x="189" y="40"/>
                  </a:lnTo>
                  <a:lnTo>
                    <a:pt x="187" y="40"/>
                  </a:lnTo>
                  <a:lnTo>
                    <a:pt x="187" y="38"/>
                  </a:lnTo>
                  <a:lnTo>
                    <a:pt x="187" y="36"/>
                  </a:lnTo>
                  <a:lnTo>
                    <a:pt x="189" y="36"/>
                  </a:lnTo>
                  <a:lnTo>
                    <a:pt x="192" y="38"/>
                  </a:lnTo>
                  <a:lnTo>
                    <a:pt x="192" y="40"/>
                  </a:lnTo>
                  <a:lnTo>
                    <a:pt x="194" y="38"/>
                  </a:lnTo>
                  <a:lnTo>
                    <a:pt x="197" y="38"/>
                  </a:lnTo>
                  <a:lnTo>
                    <a:pt x="199" y="38"/>
                  </a:lnTo>
                  <a:lnTo>
                    <a:pt x="199" y="36"/>
                  </a:lnTo>
                  <a:lnTo>
                    <a:pt x="201" y="36"/>
                  </a:lnTo>
                  <a:lnTo>
                    <a:pt x="201" y="33"/>
                  </a:lnTo>
                  <a:lnTo>
                    <a:pt x="201" y="36"/>
                  </a:lnTo>
                  <a:lnTo>
                    <a:pt x="204" y="36"/>
                  </a:lnTo>
                  <a:lnTo>
                    <a:pt x="204" y="38"/>
                  </a:lnTo>
                  <a:lnTo>
                    <a:pt x="206" y="40"/>
                  </a:lnTo>
                  <a:lnTo>
                    <a:pt x="208" y="38"/>
                  </a:lnTo>
                  <a:lnTo>
                    <a:pt x="211" y="38"/>
                  </a:lnTo>
                  <a:lnTo>
                    <a:pt x="216" y="38"/>
                  </a:lnTo>
                  <a:lnTo>
                    <a:pt x="213" y="40"/>
                  </a:lnTo>
                  <a:lnTo>
                    <a:pt x="216" y="40"/>
                  </a:lnTo>
                  <a:lnTo>
                    <a:pt x="216" y="43"/>
                  </a:lnTo>
                  <a:lnTo>
                    <a:pt x="216" y="45"/>
                  </a:lnTo>
                  <a:lnTo>
                    <a:pt x="218" y="45"/>
                  </a:lnTo>
                  <a:lnTo>
                    <a:pt x="218" y="48"/>
                  </a:lnTo>
                  <a:lnTo>
                    <a:pt x="218" y="45"/>
                  </a:lnTo>
                  <a:lnTo>
                    <a:pt x="218" y="43"/>
                  </a:lnTo>
                  <a:lnTo>
                    <a:pt x="220" y="40"/>
                  </a:lnTo>
                  <a:lnTo>
                    <a:pt x="223" y="38"/>
                  </a:lnTo>
                  <a:lnTo>
                    <a:pt x="225" y="38"/>
                  </a:lnTo>
                  <a:lnTo>
                    <a:pt x="227" y="38"/>
                  </a:lnTo>
                  <a:lnTo>
                    <a:pt x="227" y="36"/>
                  </a:lnTo>
                  <a:lnTo>
                    <a:pt x="230" y="36"/>
                  </a:lnTo>
                  <a:lnTo>
                    <a:pt x="232" y="36"/>
                  </a:lnTo>
                  <a:lnTo>
                    <a:pt x="232" y="38"/>
                  </a:lnTo>
                  <a:lnTo>
                    <a:pt x="235" y="38"/>
                  </a:lnTo>
                  <a:lnTo>
                    <a:pt x="235" y="40"/>
                  </a:lnTo>
                  <a:lnTo>
                    <a:pt x="235" y="43"/>
                  </a:lnTo>
                  <a:lnTo>
                    <a:pt x="235" y="45"/>
                  </a:lnTo>
                  <a:lnTo>
                    <a:pt x="237" y="45"/>
                  </a:lnTo>
                  <a:lnTo>
                    <a:pt x="237" y="48"/>
                  </a:lnTo>
                  <a:lnTo>
                    <a:pt x="239" y="48"/>
                  </a:lnTo>
                  <a:lnTo>
                    <a:pt x="242" y="48"/>
                  </a:lnTo>
                  <a:lnTo>
                    <a:pt x="244" y="48"/>
                  </a:lnTo>
                  <a:lnTo>
                    <a:pt x="244" y="45"/>
                  </a:lnTo>
                  <a:lnTo>
                    <a:pt x="244" y="43"/>
                  </a:lnTo>
                  <a:lnTo>
                    <a:pt x="244" y="45"/>
                  </a:lnTo>
                  <a:lnTo>
                    <a:pt x="246" y="45"/>
                  </a:lnTo>
                  <a:lnTo>
                    <a:pt x="246" y="43"/>
                  </a:lnTo>
                  <a:lnTo>
                    <a:pt x="249" y="43"/>
                  </a:lnTo>
                  <a:lnTo>
                    <a:pt x="249" y="40"/>
                  </a:lnTo>
                  <a:lnTo>
                    <a:pt x="251" y="40"/>
                  </a:lnTo>
                  <a:lnTo>
                    <a:pt x="251" y="43"/>
                  </a:lnTo>
                  <a:lnTo>
                    <a:pt x="251" y="45"/>
                  </a:lnTo>
                  <a:lnTo>
                    <a:pt x="253" y="45"/>
                  </a:lnTo>
                  <a:lnTo>
                    <a:pt x="256" y="45"/>
                  </a:lnTo>
                  <a:lnTo>
                    <a:pt x="256" y="43"/>
                  </a:lnTo>
                  <a:lnTo>
                    <a:pt x="258" y="43"/>
                  </a:lnTo>
                  <a:lnTo>
                    <a:pt x="261" y="43"/>
                  </a:lnTo>
                  <a:lnTo>
                    <a:pt x="263" y="43"/>
                  </a:lnTo>
                  <a:lnTo>
                    <a:pt x="265" y="43"/>
                  </a:lnTo>
                  <a:lnTo>
                    <a:pt x="268" y="43"/>
                  </a:lnTo>
                  <a:lnTo>
                    <a:pt x="268" y="45"/>
                  </a:lnTo>
                  <a:lnTo>
                    <a:pt x="270" y="45"/>
                  </a:lnTo>
                  <a:lnTo>
                    <a:pt x="270" y="48"/>
                  </a:lnTo>
                  <a:lnTo>
                    <a:pt x="270" y="50"/>
                  </a:lnTo>
                  <a:lnTo>
                    <a:pt x="272" y="50"/>
                  </a:lnTo>
                  <a:lnTo>
                    <a:pt x="272" y="52"/>
                  </a:lnTo>
                  <a:lnTo>
                    <a:pt x="275" y="52"/>
                  </a:lnTo>
                  <a:lnTo>
                    <a:pt x="275" y="55"/>
                  </a:lnTo>
                  <a:lnTo>
                    <a:pt x="275" y="52"/>
                  </a:lnTo>
                  <a:lnTo>
                    <a:pt x="277" y="55"/>
                  </a:lnTo>
                  <a:lnTo>
                    <a:pt x="280" y="52"/>
                  </a:lnTo>
                  <a:lnTo>
                    <a:pt x="280" y="50"/>
                  </a:lnTo>
                  <a:lnTo>
                    <a:pt x="282" y="48"/>
                  </a:lnTo>
                  <a:lnTo>
                    <a:pt x="280" y="48"/>
                  </a:lnTo>
                  <a:lnTo>
                    <a:pt x="280" y="45"/>
                  </a:lnTo>
                  <a:lnTo>
                    <a:pt x="277" y="45"/>
                  </a:lnTo>
                  <a:lnTo>
                    <a:pt x="280" y="45"/>
                  </a:lnTo>
                  <a:lnTo>
                    <a:pt x="280" y="43"/>
                  </a:lnTo>
                  <a:lnTo>
                    <a:pt x="277" y="43"/>
                  </a:lnTo>
                  <a:lnTo>
                    <a:pt x="277" y="40"/>
                  </a:lnTo>
                  <a:lnTo>
                    <a:pt x="280" y="40"/>
                  </a:lnTo>
                  <a:lnTo>
                    <a:pt x="277" y="40"/>
                  </a:lnTo>
                  <a:lnTo>
                    <a:pt x="277" y="38"/>
                  </a:lnTo>
                  <a:lnTo>
                    <a:pt x="275" y="38"/>
                  </a:lnTo>
                  <a:lnTo>
                    <a:pt x="277" y="38"/>
                  </a:lnTo>
                  <a:lnTo>
                    <a:pt x="277" y="36"/>
                  </a:lnTo>
                  <a:lnTo>
                    <a:pt x="277" y="33"/>
                  </a:lnTo>
                  <a:lnTo>
                    <a:pt x="277" y="36"/>
                  </a:lnTo>
                  <a:lnTo>
                    <a:pt x="277" y="33"/>
                  </a:lnTo>
                  <a:lnTo>
                    <a:pt x="277" y="31"/>
                  </a:lnTo>
                  <a:lnTo>
                    <a:pt x="280" y="31"/>
                  </a:lnTo>
                  <a:lnTo>
                    <a:pt x="280" y="33"/>
                  </a:lnTo>
                  <a:lnTo>
                    <a:pt x="280" y="31"/>
                  </a:lnTo>
                  <a:lnTo>
                    <a:pt x="280" y="29"/>
                  </a:lnTo>
                  <a:lnTo>
                    <a:pt x="282" y="29"/>
                  </a:lnTo>
                  <a:lnTo>
                    <a:pt x="282" y="26"/>
                  </a:lnTo>
                  <a:lnTo>
                    <a:pt x="282" y="24"/>
                  </a:lnTo>
                  <a:lnTo>
                    <a:pt x="284" y="24"/>
                  </a:lnTo>
                  <a:lnTo>
                    <a:pt x="284" y="21"/>
                  </a:lnTo>
                  <a:lnTo>
                    <a:pt x="284" y="24"/>
                  </a:lnTo>
                  <a:lnTo>
                    <a:pt x="287" y="21"/>
                  </a:lnTo>
                  <a:lnTo>
                    <a:pt x="287" y="19"/>
                  </a:lnTo>
                  <a:lnTo>
                    <a:pt x="289" y="19"/>
                  </a:lnTo>
                  <a:lnTo>
                    <a:pt x="289" y="17"/>
                  </a:lnTo>
                  <a:lnTo>
                    <a:pt x="291" y="17"/>
                  </a:lnTo>
                  <a:lnTo>
                    <a:pt x="289" y="17"/>
                  </a:lnTo>
                  <a:lnTo>
                    <a:pt x="291" y="17"/>
                  </a:lnTo>
                  <a:lnTo>
                    <a:pt x="291" y="14"/>
                  </a:lnTo>
                  <a:lnTo>
                    <a:pt x="289" y="14"/>
                  </a:lnTo>
                  <a:lnTo>
                    <a:pt x="291" y="14"/>
                  </a:lnTo>
                  <a:lnTo>
                    <a:pt x="294" y="14"/>
                  </a:lnTo>
                  <a:lnTo>
                    <a:pt x="296" y="14"/>
                  </a:lnTo>
                  <a:lnTo>
                    <a:pt x="296" y="12"/>
                  </a:lnTo>
                  <a:lnTo>
                    <a:pt x="296" y="14"/>
                  </a:lnTo>
                  <a:lnTo>
                    <a:pt x="299" y="14"/>
                  </a:lnTo>
                  <a:lnTo>
                    <a:pt x="301" y="17"/>
                  </a:lnTo>
                  <a:lnTo>
                    <a:pt x="301" y="14"/>
                  </a:lnTo>
                  <a:lnTo>
                    <a:pt x="303" y="14"/>
                  </a:lnTo>
                  <a:lnTo>
                    <a:pt x="303" y="12"/>
                  </a:lnTo>
                  <a:lnTo>
                    <a:pt x="306" y="12"/>
                  </a:lnTo>
                  <a:lnTo>
                    <a:pt x="308" y="12"/>
                  </a:lnTo>
                  <a:lnTo>
                    <a:pt x="310" y="12"/>
                  </a:lnTo>
                  <a:lnTo>
                    <a:pt x="313" y="12"/>
                  </a:lnTo>
                  <a:lnTo>
                    <a:pt x="315" y="12"/>
                  </a:lnTo>
                  <a:lnTo>
                    <a:pt x="318" y="12"/>
                  </a:lnTo>
                  <a:lnTo>
                    <a:pt x="320" y="12"/>
                  </a:lnTo>
                  <a:lnTo>
                    <a:pt x="322" y="12"/>
                  </a:lnTo>
                  <a:lnTo>
                    <a:pt x="322" y="14"/>
                  </a:lnTo>
                  <a:lnTo>
                    <a:pt x="325" y="14"/>
                  </a:lnTo>
                  <a:lnTo>
                    <a:pt x="322" y="14"/>
                  </a:lnTo>
                  <a:lnTo>
                    <a:pt x="322" y="17"/>
                  </a:lnTo>
                  <a:lnTo>
                    <a:pt x="322" y="14"/>
                  </a:lnTo>
                  <a:lnTo>
                    <a:pt x="322" y="17"/>
                  </a:lnTo>
                  <a:lnTo>
                    <a:pt x="325" y="14"/>
                  </a:lnTo>
                  <a:lnTo>
                    <a:pt x="327" y="14"/>
                  </a:lnTo>
                  <a:lnTo>
                    <a:pt x="327" y="17"/>
                  </a:lnTo>
                  <a:lnTo>
                    <a:pt x="329" y="17"/>
                  </a:lnTo>
                  <a:lnTo>
                    <a:pt x="329" y="14"/>
                  </a:lnTo>
                  <a:lnTo>
                    <a:pt x="332" y="14"/>
                  </a:lnTo>
                  <a:lnTo>
                    <a:pt x="334" y="14"/>
                  </a:lnTo>
                  <a:lnTo>
                    <a:pt x="334" y="12"/>
                  </a:lnTo>
                  <a:lnTo>
                    <a:pt x="337" y="12"/>
                  </a:lnTo>
                  <a:lnTo>
                    <a:pt x="337" y="10"/>
                  </a:lnTo>
                  <a:lnTo>
                    <a:pt x="337" y="7"/>
                  </a:lnTo>
                  <a:lnTo>
                    <a:pt x="337" y="5"/>
                  </a:lnTo>
                  <a:lnTo>
                    <a:pt x="337" y="7"/>
                  </a:lnTo>
                  <a:lnTo>
                    <a:pt x="337" y="5"/>
                  </a:lnTo>
                  <a:lnTo>
                    <a:pt x="337" y="7"/>
                  </a:lnTo>
                  <a:lnTo>
                    <a:pt x="339" y="5"/>
                  </a:lnTo>
                  <a:lnTo>
                    <a:pt x="337" y="5"/>
                  </a:lnTo>
                  <a:lnTo>
                    <a:pt x="337" y="2"/>
                  </a:lnTo>
                  <a:lnTo>
                    <a:pt x="337" y="0"/>
                  </a:lnTo>
                  <a:lnTo>
                    <a:pt x="339" y="0"/>
                  </a:lnTo>
                  <a:lnTo>
                    <a:pt x="339" y="2"/>
                  </a:lnTo>
                  <a:lnTo>
                    <a:pt x="341" y="2"/>
                  </a:lnTo>
                  <a:lnTo>
                    <a:pt x="344" y="2"/>
                  </a:lnTo>
                  <a:lnTo>
                    <a:pt x="346" y="2"/>
                  </a:lnTo>
                  <a:lnTo>
                    <a:pt x="348" y="5"/>
                  </a:lnTo>
                  <a:lnTo>
                    <a:pt x="351" y="5"/>
                  </a:lnTo>
                  <a:lnTo>
                    <a:pt x="353" y="5"/>
                  </a:lnTo>
                  <a:lnTo>
                    <a:pt x="356" y="5"/>
                  </a:lnTo>
                  <a:lnTo>
                    <a:pt x="353" y="5"/>
                  </a:lnTo>
                  <a:lnTo>
                    <a:pt x="356" y="5"/>
                  </a:lnTo>
                  <a:lnTo>
                    <a:pt x="358" y="5"/>
                  </a:lnTo>
                  <a:lnTo>
                    <a:pt x="358" y="2"/>
                  </a:lnTo>
                  <a:lnTo>
                    <a:pt x="360" y="2"/>
                  </a:lnTo>
                  <a:lnTo>
                    <a:pt x="363" y="2"/>
                  </a:lnTo>
                  <a:lnTo>
                    <a:pt x="363" y="0"/>
                  </a:lnTo>
                  <a:lnTo>
                    <a:pt x="365" y="0"/>
                  </a:lnTo>
                  <a:lnTo>
                    <a:pt x="363" y="0"/>
                  </a:lnTo>
                  <a:lnTo>
                    <a:pt x="365" y="0"/>
                  </a:lnTo>
                  <a:lnTo>
                    <a:pt x="367" y="0"/>
                  </a:lnTo>
                  <a:lnTo>
                    <a:pt x="370" y="0"/>
                  </a:lnTo>
                  <a:lnTo>
                    <a:pt x="372" y="0"/>
                  </a:lnTo>
                  <a:lnTo>
                    <a:pt x="375" y="0"/>
                  </a:lnTo>
                  <a:lnTo>
                    <a:pt x="375" y="2"/>
                  </a:lnTo>
                  <a:lnTo>
                    <a:pt x="377" y="2"/>
                  </a:lnTo>
                  <a:lnTo>
                    <a:pt x="379" y="2"/>
                  </a:lnTo>
                  <a:lnTo>
                    <a:pt x="379" y="0"/>
                  </a:lnTo>
                  <a:lnTo>
                    <a:pt x="382" y="0"/>
                  </a:lnTo>
                  <a:lnTo>
                    <a:pt x="384" y="0"/>
                  </a:lnTo>
                  <a:lnTo>
                    <a:pt x="386" y="0"/>
                  </a:lnTo>
                  <a:lnTo>
                    <a:pt x="386" y="2"/>
                  </a:lnTo>
                  <a:lnTo>
                    <a:pt x="389" y="2"/>
                  </a:lnTo>
                  <a:lnTo>
                    <a:pt x="389" y="5"/>
                  </a:lnTo>
                  <a:lnTo>
                    <a:pt x="389" y="7"/>
                  </a:lnTo>
                  <a:lnTo>
                    <a:pt x="391" y="7"/>
                  </a:lnTo>
                  <a:lnTo>
                    <a:pt x="393" y="7"/>
                  </a:lnTo>
                  <a:lnTo>
                    <a:pt x="393" y="10"/>
                  </a:lnTo>
                  <a:lnTo>
                    <a:pt x="396" y="12"/>
                  </a:lnTo>
                  <a:lnTo>
                    <a:pt x="393" y="12"/>
                  </a:lnTo>
                  <a:lnTo>
                    <a:pt x="393" y="14"/>
                  </a:lnTo>
                  <a:lnTo>
                    <a:pt x="393" y="17"/>
                  </a:lnTo>
                  <a:lnTo>
                    <a:pt x="396" y="17"/>
                  </a:lnTo>
                  <a:lnTo>
                    <a:pt x="396" y="19"/>
                  </a:lnTo>
                  <a:lnTo>
                    <a:pt x="398" y="19"/>
                  </a:lnTo>
                  <a:lnTo>
                    <a:pt x="398" y="21"/>
                  </a:lnTo>
                  <a:lnTo>
                    <a:pt x="401" y="21"/>
                  </a:lnTo>
                  <a:lnTo>
                    <a:pt x="401" y="24"/>
                  </a:lnTo>
                  <a:lnTo>
                    <a:pt x="403" y="24"/>
                  </a:lnTo>
                  <a:lnTo>
                    <a:pt x="403" y="26"/>
                  </a:lnTo>
                  <a:lnTo>
                    <a:pt x="405" y="26"/>
                  </a:lnTo>
                  <a:lnTo>
                    <a:pt x="405" y="29"/>
                  </a:lnTo>
                  <a:lnTo>
                    <a:pt x="405" y="31"/>
                  </a:lnTo>
                  <a:lnTo>
                    <a:pt x="403" y="31"/>
                  </a:lnTo>
                  <a:lnTo>
                    <a:pt x="401" y="31"/>
                  </a:lnTo>
                  <a:lnTo>
                    <a:pt x="401" y="33"/>
                  </a:lnTo>
                  <a:lnTo>
                    <a:pt x="398" y="33"/>
                  </a:lnTo>
                  <a:lnTo>
                    <a:pt x="396" y="33"/>
                  </a:lnTo>
                  <a:lnTo>
                    <a:pt x="393" y="33"/>
                  </a:lnTo>
                  <a:lnTo>
                    <a:pt x="393" y="36"/>
                  </a:lnTo>
                  <a:lnTo>
                    <a:pt x="396" y="36"/>
                  </a:lnTo>
                  <a:lnTo>
                    <a:pt x="398" y="36"/>
                  </a:lnTo>
                  <a:lnTo>
                    <a:pt x="398" y="38"/>
                  </a:lnTo>
                  <a:lnTo>
                    <a:pt x="401" y="40"/>
                  </a:lnTo>
                  <a:lnTo>
                    <a:pt x="401" y="43"/>
                  </a:lnTo>
                  <a:lnTo>
                    <a:pt x="401" y="45"/>
                  </a:lnTo>
                  <a:lnTo>
                    <a:pt x="398" y="45"/>
                  </a:lnTo>
                  <a:lnTo>
                    <a:pt x="398" y="48"/>
                  </a:lnTo>
                  <a:lnTo>
                    <a:pt x="401" y="48"/>
                  </a:lnTo>
                  <a:lnTo>
                    <a:pt x="401" y="50"/>
                  </a:lnTo>
                  <a:lnTo>
                    <a:pt x="403" y="50"/>
                  </a:lnTo>
                  <a:lnTo>
                    <a:pt x="401" y="50"/>
                  </a:lnTo>
                  <a:lnTo>
                    <a:pt x="401" y="52"/>
                  </a:lnTo>
                  <a:lnTo>
                    <a:pt x="398" y="52"/>
                  </a:lnTo>
                  <a:lnTo>
                    <a:pt x="398" y="55"/>
                  </a:lnTo>
                  <a:lnTo>
                    <a:pt x="401" y="55"/>
                  </a:lnTo>
                  <a:lnTo>
                    <a:pt x="403" y="55"/>
                  </a:lnTo>
                  <a:lnTo>
                    <a:pt x="405" y="55"/>
                  </a:lnTo>
                  <a:lnTo>
                    <a:pt x="408" y="55"/>
                  </a:lnTo>
                  <a:lnTo>
                    <a:pt x="410" y="55"/>
                  </a:lnTo>
                  <a:lnTo>
                    <a:pt x="412" y="55"/>
                  </a:lnTo>
                  <a:lnTo>
                    <a:pt x="412" y="57"/>
                  </a:lnTo>
                  <a:lnTo>
                    <a:pt x="415" y="57"/>
                  </a:lnTo>
                  <a:lnTo>
                    <a:pt x="415" y="59"/>
                  </a:lnTo>
                  <a:lnTo>
                    <a:pt x="415" y="57"/>
                  </a:lnTo>
                  <a:lnTo>
                    <a:pt x="417" y="57"/>
                  </a:lnTo>
                  <a:lnTo>
                    <a:pt x="417" y="59"/>
                  </a:lnTo>
                  <a:lnTo>
                    <a:pt x="417" y="57"/>
                  </a:lnTo>
                  <a:lnTo>
                    <a:pt x="417" y="59"/>
                  </a:lnTo>
                  <a:lnTo>
                    <a:pt x="420" y="59"/>
                  </a:lnTo>
                  <a:lnTo>
                    <a:pt x="420" y="57"/>
                  </a:lnTo>
                  <a:lnTo>
                    <a:pt x="422" y="57"/>
                  </a:lnTo>
                  <a:lnTo>
                    <a:pt x="424" y="55"/>
                  </a:lnTo>
                  <a:lnTo>
                    <a:pt x="424" y="57"/>
                  </a:lnTo>
                  <a:lnTo>
                    <a:pt x="427" y="57"/>
                  </a:lnTo>
                  <a:lnTo>
                    <a:pt x="427" y="55"/>
                  </a:lnTo>
                  <a:lnTo>
                    <a:pt x="429" y="55"/>
                  </a:lnTo>
                  <a:lnTo>
                    <a:pt x="429" y="57"/>
                  </a:lnTo>
                  <a:lnTo>
                    <a:pt x="429" y="59"/>
                  </a:lnTo>
                  <a:lnTo>
                    <a:pt x="429" y="62"/>
                  </a:lnTo>
                  <a:lnTo>
                    <a:pt x="429" y="64"/>
                  </a:lnTo>
                  <a:lnTo>
                    <a:pt x="431" y="64"/>
                  </a:lnTo>
                  <a:lnTo>
                    <a:pt x="434" y="64"/>
                  </a:lnTo>
                  <a:lnTo>
                    <a:pt x="436" y="64"/>
                  </a:lnTo>
                  <a:lnTo>
                    <a:pt x="439" y="64"/>
                  </a:lnTo>
                  <a:lnTo>
                    <a:pt x="439" y="67"/>
                  </a:lnTo>
                  <a:lnTo>
                    <a:pt x="436" y="67"/>
                  </a:lnTo>
                  <a:lnTo>
                    <a:pt x="436" y="69"/>
                  </a:lnTo>
                  <a:lnTo>
                    <a:pt x="436" y="71"/>
                  </a:lnTo>
                  <a:lnTo>
                    <a:pt x="439" y="71"/>
                  </a:lnTo>
                  <a:lnTo>
                    <a:pt x="436" y="71"/>
                  </a:lnTo>
                  <a:lnTo>
                    <a:pt x="436" y="74"/>
                  </a:lnTo>
                  <a:lnTo>
                    <a:pt x="439" y="74"/>
                  </a:lnTo>
                  <a:lnTo>
                    <a:pt x="439" y="76"/>
                  </a:lnTo>
                  <a:lnTo>
                    <a:pt x="439" y="78"/>
                  </a:lnTo>
                  <a:lnTo>
                    <a:pt x="441" y="78"/>
                  </a:lnTo>
                  <a:lnTo>
                    <a:pt x="439" y="78"/>
                  </a:lnTo>
                  <a:lnTo>
                    <a:pt x="439" y="81"/>
                  </a:lnTo>
                  <a:lnTo>
                    <a:pt x="439" y="83"/>
                  </a:lnTo>
                  <a:lnTo>
                    <a:pt x="441" y="83"/>
                  </a:lnTo>
                  <a:lnTo>
                    <a:pt x="439" y="83"/>
                  </a:lnTo>
                  <a:lnTo>
                    <a:pt x="436" y="83"/>
                  </a:lnTo>
                  <a:lnTo>
                    <a:pt x="436" y="86"/>
                  </a:lnTo>
                  <a:lnTo>
                    <a:pt x="439" y="86"/>
                  </a:lnTo>
                  <a:lnTo>
                    <a:pt x="439" y="88"/>
                  </a:lnTo>
                  <a:lnTo>
                    <a:pt x="436" y="88"/>
                  </a:lnTo>
                  <a:lnTo>
                    <a:pt x="439" y="88"/>
                  </a:lnTo>
                  <a:lnTo>
                    <a:pt x="439" y="90"/>
                  </a:lnTo>
                  <a:lnTo>
                    <a:pt x="441" y="93"/>
                  </a:lnTo>
                  <a:lnTo>
                    <a:pt x="443" y="93"/>
                  </a:lnTo>
                  <a:lnTo>
                    <a:pt x="443" y="95"/>
                  </a:lnTo>
                  <a:lnTo>
                    <a:pt x="443" y="97"/>
                  </a:lnTo>
                  <a:lnTo>
                    <a:pt x="446" y="97"/>
                  </a:lnTo>
                  <a:lnTo>
                    <a:pt x="446" y="100"/>
                  </a:lnTo>
                  <a:lnTo>
                    <a:pt x="446" y="97"/>
                  </a:lnTo>
                  <a:lnTo>
                    <a:pt x="448" y="97"/>
                  </a:lnTo>
                  <a:lnTo>
                    <a:pt x="450" y="97"/>
                  </a:lnTo>
                  <a:lnTo>
                    <a:pt x="450" y="95"/>
                  </a:lnTo>
                  <a:lnTo>
                    <a:pt x="453" y="95"/>
                  </a:lnTo>
                  <a:lnTo>
                    <a:pt x="455" y="95"/>
                  </a:lnTo>
                  <a:lnTo>
                    <a:pt x="458" y="95"/>
                  </a:lnTo>
                  <a:lnTo>
                    <a:pt x="460" y="95"/>
                  </a:lnTo>
                  <a:lnTo>
                    <a:pt x="460" y="93"/>
                  </a:lnTo>
                  <a:lnTo>
                    <a:pt x="460" y="95"/>
                  </a:lnTo>
                  <a:lnTo>
                    <a:pt x="462" y="95"/>
                  </a:lnTo>
                  <a:lnTo>
                    <a:pt x="465" y="97"/>
                  </a:lnTo>
                  <a:lnTo>
                    <a:pt x="467" y="100"/>
                  </a:lnTo>
                  <a:lnTo>
                    <a:pt x="467" y="102"/>
                  </a:lnTo>
                  <a:lnTo>
                    <a:pt x="469" y="102"/>
                  </a:lnTo>
                  <a:lnTo>
                    <a:pt x="469" y="100"/>
                  </a:lnTo>
                  <a:lnTo>
                    <a:pt x="472" y="100"/>
                  </a:lnTo>
                  <a:lnTo>
                    <a:pt x="474" y="100"/>
                  </a:lnTo>
                  <a:lnTo>
                    <a:pt x="474" y="102"/>
                  </a:lnTo>
                  <a:lnTo>
                    <a:pt x="477" y="102"/>
                  </a:lnTo>
                  <a:lnTo>
                    <a:pt x="477" y="105"/>
                  </a:lnTo>
                  <a:lnTo>
                    <a:pt x="479" y="105"/>
                  </a:lnTo>
                  <a:lnTo>
                    <a:pt x="479" y="102"/>
                  </a:lnTo>
                  <a:lnTo>
                    <a:pt x="481" y="102"/>
                  </a:lnTo>
                  <a:lnTo>
                    <a:pt x="484" y="102"/>
                  </a:lnTo>
                  <a:lnTo>
                    <a:pt x="484" y="100"/>
                  </a:lnTo>
                  <a:lnTo>
                    <a:pt x="486" y="100"/>
                  </a:lnTo>
                  <a:lnTo>
                    <a:pt x="488" y="100"/>
                  </a:lnTo>
                  <a:lnTo>
                    <a:pt x="491" y="100"/>
                  </a:lnTo>
                  <a:lnTo>
                    <a:pt x="493" y="100"/>
                  </a:lnTo>
                  <a:lnTo>
                    <a:pt x="493" y="97"/>
                  </a:lnTo>
                  <a:lnTo>
                    <a:pt x="496" y="97"/>
                  </a:lnTo>
                  <a:lnTo>
                    <a:pt x="498" y="97"/>
                  </a:lnTo>
                  <a:lnTo>
                    <a:pt x="500" y="97"/>
                  </a:lnTo>
                  <a:lnTo>
                    <a:pt x="500" y="95"/>
                  </a:lnTo>
                  <a:lnTo>
                    <a:pt x="503" y="95"/>
                  </a:lnTo>
                  <a:lnTo>
                    <a:pt x="505" y="95"/>
                  </a:lnTo>
                  <a:lnTo>
                    <a:pt x="505" y="93"/>
                  </a:lnTo>
                  <a:lnTo>
                    <a:pt x="507" y="93"/>
                  </a:lnTo>
                  <a:lnTo>
                    <a:pt x="505" y="95"/>
                  </a:lnTo>
                  <a:lnTo>
                    <a:pt x="505" y="97"/>
                  </a:lnTo>
                  <a:lnTo>
                    <a:pt x="507" y="97"/>
                  </a:lnTo>
                  <a:lnTo>
                    <a:pt x="507" y="100"/>
                  </a:lnTo>
                  <a:lnTo>
                    <a:pt x="510" y="100"/>
                  </a:lnTo>
                  <a:lnTo>
                    <a:pt x="512" y="100"/>
                  </a:lnTo>
                  <a:lnTo>
                    <a:pt x="510" y="102"/>
                  </a:lnTo>
                  <a:lnTo>
                    <a:pt x="510" y="105"/>
                  </a:lnTo>
                  <a:lnTo>
                    <a:pt x="510" y="107"/>
                  </a:lnTo>
                  <a:lnTo>
                    <a:pt x="512" y="107"/>
                  </a:lnTo>
                  <a:lnTo>
                    <a:pt x="512" y="109"/>
                  </a:lnTo>
                  <a:lnTo>
                    <a:pt x="514" y="112"/>
                  </a:lnTo>
                  <a:lnTo>
                    <a:pt x="517" y="112"/>
                  </a:lnTo>
                  <a:lnTo>
                    <a:pt x="519" y="114"/>
                  </a:lnTo>
                  <a:lnTo>
                    <a:pt x="522" y="114"/>
                  </a:lnTo>
                  <a:lnTo>
                    <a:pt x="522" y="116"/>
                  </a:lnTo>
                  <a:lnTo>
                    <a:pt x="524" y="116"/>
                  </a:lnTo>
                  <a:lnTo>
                    <a:pt x="524" y="119"/>
                  </a:lnTo>
                  <a:lnTo>
                    <a:pt x="524" y="121"/>
                  </a:lnTo>
                  <a:lnTo>
                    <a:pt x="524" y="119"/>
                  </a:lnTo>
                  <a:lnTo>
                    <a:pt x="526" y="119"/>
                  </a:lnTo>
                  <a:lnTo>
                    <a:pt x="529" y="119"/>
                  </a:lnTo>
                  <a:lnTo>
                    <a:pt x="529" y="116"/>
                  </a:lnTo>
                  <a:lnTo>
                    <a:pt x="531" y="116"/>
                  </a:lnTo>
                  <a:lnTo>
                    <a:pt x="529" y="114"/>
                  </a:lnTo>
                  <a:lnTo>
                    <a:pt x="529" y="112"/>
                  </a:lnTo>
                  <a:lnTo>
                    <a:pt x="531" y="112"/>
                  </a:lnTo>
                  <a:lnTo>
                    <a:pt x="533" y="112"/>
                  </a:lnTo>
                  <a:lnTo>
                    <a:pt x="533" y="114"/>
                  </a:lnTo>
                  <a:lnTo>
                    <a:pt x="536" y="116"/>
                  </a:lnTo>
                  <a:lnTo>
                    <a:pt x="538" y="116"/>
                  </a:lnTo>
                  <a:lnTo>
                    <a:pt x="541" y="116"/>
                  </a:lnTo>
                  <a:lnTo>
                    <a:pt x="541" y="119"/>
                  </a:lnTo>
                  <a:lnTo>
                    <a:pt x="543" y="116"/>
                  </a:lnTo>
                  <a:lnTo>
                    <a:pt x="545" y="119"/>
                  </a:lnTo>
                  <a:lnTo>
                    <a:pt x="545" y="116"/>
                  </a:lnTo>
                  <a:lnTo>
                    <a:pt x="548" y="116"/>
                  </a:lnTo>
                  <a:lnTo>
                    <a:pt x="545" y="116"/>
                  </a:lnTo>
                  <a:lnTo>
                    <a:pt x="545" y="119"/>
                  </a:lnTo>
                  <a:lnTo>
                    <a:pt x="548" y="119"/>
                  </a:lnTo>
                  <a:lnTo>
                    <a:pt x="548" y="121"/>
                  </a:lnTo>
                  <a:lnTo>
                    <a:pt x="550" y="121"/>
                  </a:lnTo>
                  <a:lnTo>
                    <a:pt x="552" y="121"/>
                  </a:lnTo>
                  <a:lnTo>
                    <a:pt x="552" y="124"/>
                  </a:lnTo>
                  <a:lnTo>
                    <a:pt x="552" y="126"/>
                  </a:lnTo>
                  <a:lnTo>
                    <a:pt x="555" y="126"/>
                  </a:lnTo>
                  <a:lnTo>
                    <a:pt x="557" y="124"/>
                  </a:lnTo>
                  <a:lnTo>
                    <a:pt x="560" y="124"/>
                  </a:lnTo>
                  <a:lnTo>
                    <a:pt x="562" y="121"/>
                  </a:lnTo>
                  <a:lnTo>
                    <a:pt x="564" y="124"/>
                  </a:lnTo>
                  <a:lnTo>
                    <a:pt x="564" y="126"/>
                  </a:lnTo>
                  <a:lnTo>
                    <a:pt x="567" y="128"/>
                  </a:lnTo>
                  <a:lnTo>
                    <a:pt x="569" y="128"/>
                  </a:lnTo>
                  <a:lnTo>
                    <a:pt x="571" y="128"/>
                  </a:lnTo>
                  <a:lnTo>
                    <a:pt x="574" y="128"/>
                  </a:lnTo>
                  <a:lnTo>
                    <a:pt x="576" y="128"/>
                  </a:lnTo>
                  <a:lnTo>
                    <a:pt x="576" y="131"/>
                  </a:lnTo>
                  <a:lnTo>
                    <a:pt x="576" y="133"/>
                  </a:lnTo>
                  <a:lnTo>
                    <a:pt x="579" y="135"/>
                  </a:lnTo>
                  <a:lnTo>
                    <a:pt x="581" y="135"/>
                  </a:lnTo>
                  <a:lnTo>
                    <a:pt x="583" y="138"/>
                  </a:lnTo>
                  <a:lnTo>
                    <a:pt x="586" y="138"/>
                  </a:lnTo>
                  <a:lnTo>
                    <a:pt x="588" y="135"/>
                  </a:lnTo>
                  <a:lnTo>
                    <a:pt x="590" y="135"/>
                  </a:lnTo>
                  <a:lnTo>
                    <a:pt x="593" y="135"/>
                  </a:lnTo>
                  <a:lnTo>
                    <a:pt x="595" y="135"/>
                  </a:lnTo>
                  <a:lnTo>
                    <a:pt x="593" y="138"/>
                  </a:lnTo>
                  <a:lnTo>
                    <a:pt x="590" y="138"/>
                  </a:lnTo>
                  <a:lnTo>
                    <a:pt x="590" y="140"/>
                  </a:lnTo>
                  <a:lnTo>
                    <a:pt x="590" y="143"/>
                  </a:lnTo>
                  <a:lnTo>
                    <a:pt x="593" y="145"/>
                  </a:lnTo>
                  <a:lnTo>
                    <a:pt x="595" y="145"/>
                  </a:lnTo>
                  <a:lnTo>
                    <a:pt x="595" y="147"/>
                  </a:lnTo>
                  <a:lnTo>
                    <a:pt x="595" y="150"/>
                  </a:lnTo>
                  <a:lnTo>
                    <a:pt x="595" y="152"/>
                  </a:lnTo>
                  <a:lnTo>
                    <a:pt x="593" y="152"/>
                  </a:lnTo>
                  <a:lnTo>
                    <a:pt x="593" y="155"/>
                  </a:lnTo>
                  <a:lnTo>
                    <a:pt x="590" y="155"/>
                  </a:lnTo>
                  <a:lnTo>
                    <a:pt x="588" y="157"/>
                  </a:lnTo>
                  <a:lnTo>
                    <a:pt x="588" y="159"/>
                  </a:lnTo>
                  <a:lnTo>
                    <a:pt x="588" y="162"/>
                  </a:lnTo>
                  <a:lnTo>
                    <a:pt x="586" y="162"/>
                  </a:lnTo>
                  <a:lnTo>
                    <a:pt x="583" y="162"/>
                  </a:lnTo>
                  <a:lnTo>
                    <a:pt x="581" y="162"/>
                  </a:lnTo>
                  <a:lnTo>
                    <a:pt x="579" y="162"/>
                  </a:lnTo>
                  <a:lnTo>
                    <a:pt x="579" y="164"/>
                  </a:lnTo>
                  <a:lnTo>
                    <a:pt x="581" y="164"/>
                  </a:lnTo>
                  <a:lnTo>
                    <a:pt x="581" y="166"/>
                  </a:lnTo>
                  <a:lnTo>
                    <a:pt x="583" y="166"/>
                  </a:lnTo>
                  <a:lnTo>
                    <a:pt x="581" y="166"/>
                  </a:lnTo>
                  <a:lnTo>
                    <a:pt x="581" y="169"/>
                  </a:lnTo>
                  <a:lnTo>
                    <a:pt x="583" y="169"/>
                  </a:lnTo>
                  <a:lnTo>
                    <a:pt x="586" y="169"/>
                  </a:lnTo>
                  <a:lnTo>
                    <a:pt x="588" y="169"/>
                  </a:lnTo>
                  <a:lnTo>
                    <a:pt x="588" y="171"/>
                  </a:lnTo>
                  <a:lnTo>
                    <a:pt x="588" y="169"/>
                  </a:lnTo>
                  <a:lnTo>
                    <a:pt x="590" y="169"/>
                  </a:lnTo>
                  <a:lnTo>
                    <a:pt x="593" y="171"/>
                  </a:lnTo>
                  <a:lnTo>
                    <a:pt x="590" y="171"/>
                  </a:lnTo>
                  <a:lnTo>
                    <a:pt x="588" y="174"/>
                  </a:lnTo>
                  <a:lnTo>
                    <a:pt x="586" y="174"/>
                  </a:lnTo>
                  <a:lnTo>
                    <a:pt x="583" y="171"/>
                  </a:lnTo>
                  <a:lnTo>
                    <a:pt x="583" y="174"/>
                  </a:lnTo>
                  <a:lnTo>
                    <a:pt x="581" y="174"/>
                  </a:lnTo>
                  <a:lnTo>
                    <a:pt x="581" y="176"/>
                  </a:lnTo>
                  <a:lnTo>
                    <a:pt x="581" y="178"/>
                  </a:lnTo>
                  <a:lnTo>
                    <a:pt x="579" y="178"/>
                  </a:lnTo>
                  <a:lnTo>
                    <a:pt x="581" y="178"/>
                  </a:lnTo>
                  <a:lnTo>
                    <a:pt x="579" y="178"/>
                  </a:lnTo>
                  <a:lnTo>
                    <a:pt x="581" y="178"/>
                  </a:lnTo>
                  <a:lnTo>
                    <a:pt x="579" y="178"/>
                  </a:lnTo>
                  <a:lnTo>
                    <a:pt x="581" y="178"/>
                  </a:lnTo>
                  <a:lnTo>
                    <a:pt x="579" y="181"/>
                  </a:lnTo>
                  <a:lnTo>
                    <a:pt x="579" y="183"/>
                  </a:lnTo>
                  <a:lnTo>
                    <a:pt x="581" y="183"/>
                  </a:lnTo>
                  <a:lnTo>
                    <a:pt x="583" y="183"/>
                  </a:lnTo>
                  <a:lnTo>
                    <a:pt x="583" y="185"/>
                  </a:lnTo>
                  <a:lnTo>
                    <a:pt x="586" y="188"/>
                  </a:lnTo>
                  <a:lnTo>
                    <a:pt x="583" y="188"/>
                  </a:lnTo>
                  <a:lnTo>
                    <a:pt x="583" y="190"/>
                  </a:lnTo>
                  <a:lnTo>
                    <a:pt x="586" y="190"/>
                  </a:lnTo>
                  <a:lnTo>
                    <a:pt x="586" y="193"/>
                  </a:lnTo>
                  <a:lnTo>
                    <a:pt x="586" y="195"/>
                  </a:lnTo>
                  <a:lnTo>
                    <a:pt x="588" y="193"/>
                  </a:lnTo>
                  <a:lnTo>
                    <a:pt x="588" y="195"/>
                  </a:lnTo>
                  <a:lnTo>
                    <a:pt x="586" y="195"/>
                  </a:lnTo>
                  <a:lnTo>
                    <a:pt x="583" y="195"/>
                  </a:lnTo>
                  <a:lnTo>
                    <a:pt x="583" y="197"/>
                  </a:lnTo>
                  <a:lnTo>
                    <a:pt x="586" y="197"/>
                  </a:lnTo>
                  <a:lnTo>
                    <a:pt x="588" y="197"/>
                  </a:lnTo>
                  <a:lnTo>
                    <a:pt x="590" y="200"/>
                  </a:lnTo>
                  <a:lnTo>
                    <a:pt x="590" y="202"/>
                  </a:lnTo>
                  <a:lnTo>
                    <a:pt x="588" y="202"/>
                  </a:lnTo>
                  <a:lnTo>
                    <a:pt x="588" y="204"/>
                  </a:lnTo>
                  <a:lnTo>
                    <a:pt x="586" y="204"/>
                  </a:lnTo>
                  <a:lnTo>
                    <a:pt x="586" y="207"/>
                  </a:lnTo>
                  <a:lnTo>
                    <a:pt x="586" y="209"/>
                  </a:lnTo>
                  <a:lnTo>
                    <a:pt x="583" y="209"/>
                  </a:lnTo>
                  <a:lnTo>
                    <a:pt x="586" y="209"/>
                  </a:lnTo>
                  <a:lnTo>
                    <a:pt x="581" y="209"/>
                  </a:lnTo>
                  <a:lnTo>
                    <a:pt x="581" y="212"/>
                  </a:lnTo>
                  <a:lnTo>
                    <a:pt x="583" y="212"/>
                  </a:lnTo>
                  <a:lnTo>
                    <a:pt x="583" y="214"/>
                  </a:lnTo>
                  <a:lnTo>
                    <a:pt x="583" y="216"/>
                  </a:lnTo>
                  <a:lnTo>
                    <a:pt x="583" y="219"/>
                  </a:lnTo>
                  <a:lnTo>
                    <a:pt x="581" y="219"/>
                  </a:lnTo>
                  <a:lnTo>
                    <a:pt x="581" y="221"/>
                  </a:lnTo>
                  <a:lnTo>
                    <a:pt x="579" y="221"/>
                  </a:lnTo>
                  <a:lnTo>
                    <a:pt x="576" y="219"/>
                  </a:lnTo>
                  <a:lnTo>
                    <a:pt x="574" y="221"/>
                  </a:lnTo>
                  <a:lnTo>
                    <a:pt x="571" y="219"/>
                  </a:lnTo>
                  <a:lnTo>
                    <a:pt x="569" y="219"/>
                  </a:lnTo>
                  <a:lnTo>
                    <a:pt x="569" y="221"/>
                  </a:lnTo>
                  <a:lnTo>
                    <a:pt x="569" y="219"/>
                  </a:lnTo>
                  <a:lnTo>
                    <a:pt x="567" y="219"/>
                  </a:lnTo>
                  <a:lnTo>
                    <a:pt x="564" y="219"/>
                  </a:lnTo>
                  <a:lnTo>
                    <a:pt x="562" y="219"/>
                  </a:lnTo>
                  <a:lnTo>
                    <a:pt x="560" y="219"/>
                  </a:lnTo>
                  <a:lnTo>
                    <a:pt x="557" y="219"/>
                  </a:lnTo>
                  <a:lnTo>
                    <a:pt x="555" y="219"/>
                  </a:lnTo>
                  <a:lnTo>
                    <a:pt x="552" y="219"/>
                  </a:lnTo>
                  <a:lnTo>
                    <a:pt x="550" y="219"/>
                  </a:lnTo>
                  <a:lnTo>
                    <a:pt x="550" y="221"/>
                  </a:lnTo>
                  <a:lnTo>
                    <a:pt x="550" y="223"/>
                  </a:lnTo>
                  <a:lnTo>
                    <a:pt x="548" y="226"/>
                  </a:lnTo>
                  <a:lnTo>
                    <a:pt x="548" y="228"/>
                  </a:lnTo>
                  <a:lnTo>
                    <a:pt x="548" y="226"/>
                  </a:lnTo>
                  <a:lnTo>
                    <a:pt x="545" y="226"/>
                  </a:lnTo>
                  <a:lnTo>
                    <a:pt x="545" y="228"/>
                  </a:lnTo>
                  <a:lnTo>
                    <a:pt x="543" y="228"/>
                  </a:lnTo>
                  <a:lnTo>
                    <a:pt x="538" y="228"/>
                  </a:lnTo>
                  <a:lnTo>
                    <a:pt x="538" y="231"/>
                  </a:lnTo>
                  <a:lnTo>
                    <a:pt x="536" y="231"/>
                  </a:lnTo>
                  <a:lnTo>
                    <a:pt x="536" y="233"/>
                  </a:lnTo>
                  <a:lnTo>
                    <a:pt x="533" y="233"/>
                  </a:lnTo>
                  <a:lnTo>
                    <a:pt x="533" y="235"/>
                  </a:lnTo>
                  <a:lnTo>
                    <a:pt x="533" y="238"/>
                  </a:lnTo>
                  <a:lnTo>
                    <a:pt x="533" y="240"/>
                  </a:lnTo>
                  <a:lnTo>
                    <a:pt x="533" y="242"/>
                  </a:lnTo>
                  <a:lnTo>
                    <a:pt x="531" y="242"/>
                  </a:lnTo>
                  <a:lnTo>
                    <a:pt x="531" y="245"/>
                  </a:lnTo>
                  <a:lnTo>
                    <a:pt x="533" y="245"/>
                  </a:lnTo>
                  <a:lnTo>
                    <a:pt x="533" y="247"/>
                  </a:lnTo>
                  <a:lnTo>
                    <a:pt x="531" y="250"/>
                  </a:lnTo>
                  <a:lnTo>
                    <a:pt x="531" y="252"/>
                  </a:lnTo>
                  <a:lnTo>
                    <a:pt x="531" y="254"/>
                  </a:lnTo>
                  <a:lnTo>
                    <a:pt x="529" y="254"/>
                  </a:lnTo>
                  <a:lnTo>
                    <a:pt x="529" y="257"/>
                  </a:lnTo>
                  <a:lnTo>
                    <a:pt x="526" y="257"/>
                  </a:lnTo>
                  <a:lnTo>
                    <a:pt x="526" y="259"/>
                  </a:lnTo>
                  <a:lnTo>
                    <a:pt x="526" y="257"/>
                  </a:lnTo>
                  <a:lnTo>
                    <a:pt x="529" y="257"/>
                  </a:lnTo>
                  <a:lnTo>
                    <a:pt x="526" y="257"/>
                  </a:lnTo>
                  <a:lnTo>
                    <a:pt x="526" y="254"/>
                  </a:lnTo>
                  <a:lnTo>
                    <a:pt x="524" y="254"/>
                  </a:lnTo>
                  <a:lnTo>
                    <a:pt x="522" y="254"/>
                  </a:lnTo>
                  <a:lnTo>
                    <a:pt x="519" y="254"/>
                  </a:lnTo>
                  <a:lnTo>
                    <a:pt x="517" y="254"/>
                  </a:lnTo>
                  <a:lnTo>
                    <a:pt x="517" y="257"/>
                  </a:lnTo>
                  <a:lnTo>
                    <a:pt x="517" y="254"/>
                  </a:lnTo>
                  <a:lnTo>
                    <a:pt x="514" y="254"/>
                  </a:lnTo>
                  <a:lnTo>
                    <a:pt x="514" y="257"/>
                  </a:lnTo>
                  <a:lnTo>
                    <a:pt x="512" y="257"/>
                  </a:lnTo>
                  <a:lnTo>
                    <a:pt x="512" y="254"/>
                  </a:lnTo>
                  <a:lnTo>
                    <a:pt x="510" y="254"/>
                  </a:lnTo>
                  <a:lnTo>
                    <a:pt x="510" y="257"/>
                  </a:lnTo>
                  <a:lnTo>
                    <a:pt x="510" y="254"/>
                  </a:lnTo>
                  <a:close/>
                  <a:moveTo>
                    <a:pt x="391" y="302"/>
                  </a:moveTo>
                  <a:lnTo>
                    <a:pt x="393" y="302"/>
                  </a:lnTo>
                  <a:lnTo>
                    <a:pt x="391" y="299"/>
                  </a:lnTo>
                  <a:lnTo>
                    <a:pt x="391" y="297"/>
                  </a:lnTo>
                  <a:lnTo>
                    <a:pt x="389" y="297"/>
                  </a:lnTo>
                  <a:lnTo>
                    <a:pt x="386" y="297"/>
                  </a:lnTo>
                  <a:lnTo>
                    <a:pt x="386" y="295"/>
                  </a:lnTo>
                  <a:lnTo>
                    <a:pt x="386" y="297"/>
                  </a:lnTo>
                  <a:lnTo>
                    <a:pt x="384" y="295"/>
                  </a:lnTo>
                  <a:lnTo>
                    <a:pt x="382" y="295"/>
                  </a:lnTo>
                  <a:lnTo>
                    <a:pt x="382" y="297"/>
                  </a:lnTo>
                  <a:lnTo>
                    <a:pt x="384" y="297"/>
                  </a:lnTo>
                  <a:lnTo>
                    <a:pt x="384" y="299"/>
                  </a:lnTo>
                  <a:lnTo>
                    <a:pt x="386" y="299"/>
                  </a:lnTo>
                  <a:lnTo>
                    <a:pt x="389" y="299"/>
                  </a:lnTo>
                  <a:lnTo>
                    <a:pt x="389" y="302"/>
                  </a:lnTo>
                  <a:lnTo>
                    <a:pt x="391" y="302"/>
                  </a:lnTo>
                  <a:lnTo>
                    <a:pt x="393" y="302"/>
                  </a:lnTo>
                  <a:lnTo>
                    <a:pt x="393" y="304"/>
                  </a:lnTo>
                  <a:lnTo>
                    <a:pt x="396" y="304"/>
                  </a:lnTo>
                  <a:lnTo>
                    <a:pt x="396" y="307"/>
                  </a:lnTo>
                  <a:lnTo>
                    <a:pt x="398" y="307"/>
                  </a:lnTo>
                  <a:lnTo>
                    <a:pt x="396" y="307"/>
                  </a:lnTo>
                  <a:lnTo>
                    <a:pt x="396" y="309"/>
                  </a:lnTo>
                  <a:lnTo>
                    <a:pt x="396" y="307"/>
                  </a:lnTo>
                  <a:lnTo>
                    <a:pt x="393" y="307"/>
                  </a:lnTo>
                  <a:lnTo>
                    <a:pt x="396" y="309"/>
                  </a:lnTo>
                  <a:lnTo>
                    <a:pt x="398" y="309"/>
                  </a:lnTo>
                  <a:lnTo>
                    <a:pt x="396" y="309"/>
                  </a:lnTo>
                  <a:lnTo>
                    <a:pt x="398" y="309"/>
                  </a:lnTo>
                  <a:lnTo>
                    <a:pt x="398" y="307"/>
                  </a:lnTo>
                  <a:lnTo>
                    <a:pt x="396" y="307"/>
                  </a:lnTo>
                  <a:lnTo>
                    <a:pt x="396" y="304"/>
                  </a:lnTo>
                  <a:lnTo>
                    <a:pt x="393" y="304"/>
                  </a:lnTo>
                  <a:lnTo>
                    <a:pt x="396" y="304"/>
                  </a:lnTo>
                  <a:lnTo>
                    <a:pt x="398" y="304"/>
                  </a:lnTo>
                  <a:lnTo>
                    <a:pt x="398" y="307"/>
                  </a:lnTo>
                  <a:lnTo>
                    <a:pt x="401" y="307"/>
                  </a:lnTo>
                  <a:lnTo>
                    <a:pt x="398" y="307"/>
                  </a:lnTo>
                  <a:lnTo>
                    <a:pt x="401" y="307"/>
                  </a:lnTo>
                  <a:lnTo>
                    <a:pt x="401" y="304"/>
                  </a:lnTo>
                  <a:lnTo>
                    <a:pt x="401" y="307"/>
                  </a:lnTo>
                  <a:lnTo>
                    <a:pt x="403" y="307"/>
                  </a:lnTo>
                  <a:lnTo>
                    <a:pt x="401" y="307"/>
                  </a:lnTo>
                  <a:lnTo>
                    <a:pt x="403" y="307"/>
                  </a:lnTo>
                  <a:lnTo>
                    <a:pt x="401" y="307"/>
                  </a:lnTo>
                  <a:lnTo>
                    <a:pt x="403" y="307"/>
                  </a:lnTo>
                  <a:lnTo>
                    <a:pt x="401" y="307"/>
                  </a:lnTo>
                  <a:lnTo>
                    <a:pt x="401" y="304"/>
                  </a:lnTo>
                  <a:lnTo>
                    <a:pt x="403" y="304"/>
                  </a:lnTo>
                  <a:lnTo>
                    <a:pt x="403" y="307"/>
                  </a:lnTo>
                  <a:lnTo>
                    <a:pt x="403" y="304"/>
                  </a:lnTo>
                  <a:lnTo>
                    <a:pt x="403" y="307"/>
                  </a:lnTo>
                  <a:lnTo>
                    <a:pt x="405" y="307"/>
                  </a:lnTo>
                  <a:lnTo>
                    <a:pt x="403" y="307"/>
                  </a:lnTo>
                  <a:lnTo>
                    <a:pt x="405" y="307"/>
                  </a:lnTo>
                  <a:lnTo>
                    <a:pt x="403" y="307"/>
                  </a:lnTo>
                  <a:lnTo>
                    <a:pt x="405" y="307"/>
                  </a:lnTo>
                  <a:lnTo>
                    <a:pt x="405" y="309"/>
                  </a:lnTo>
                  <a:lnTo>
                    <a:pt x="408" y="309"/>
                  </a:lnTo>
                  <a:lnTo>
                    <a:pt x="408" y="311"/>
                  </a:lnTo>
                  <a:lnTo>
                    <a:pt x="405" y="311"/>
                  </a:lnTo>
                  <a:lnTo>
                    <a:pt x="408" y="311"/>
                  </a:lnTo>
                  <a:lnTo>
                    <a:pt x="408" y="314"/>
                  </a:lnTo>
                  <a:lnTo>
                    <a:pt x="408" y="311"/>
                  </a:lnTo>
                  <a:lnTo>
                    <a:pt x="408" y="314"/>
                  </a:lnTo>
                  <a:lnTo>
                    <a:pt x="408" y="311"/>
                  </a:lnTo>
                  <a:lnTo>
                    <a:pt x="408" y="314"/>
                  </a:lnTo>
                  <a:lnTo>
                    <a:pt x="408" y="311"/>
                  </a:lnTo>
                  <a:lnTo>
                    <a:pt x="410" y="311"/>
                  </a:lnTo>
                  <a:lnTo>
                    <a:pt x="410" y="309"/>
                  </a:lnTo>
                  <a:lnTo>
                    <a:pt x="410" y="307"/>
                  </a:lnTo>
                  <a:lnTo>
                    <a:pt x="408" y="307"/>
                  </a:lnTo>
                  <a:lnTo>
                    <a:pt x="408" y="309"/>
                  </a:lnTo>
                  <a:lnTo>
                    <a:pt x="408" y="307"/>
                  </a:lnTo>
                  <a:lnTo>
                    <a:pt x="408" y="309"/>
                  </a:lnTo>
                  <a:lnTo>
                    <a:pt x="408" y="307"/>
                  </a:lnTo>
                  <a:lnTo>
                    <a:pt x="405" y="307"/>
                  </a:lnTo>
                  <a:lnTo>
                    <a:pt x="405" y="304"/>
                  </a:lnTo>
                  <a:lnTo>
                    <a:pt x="408" y="304"/>
                  </a:lnTo>
                  <a:lnTo>
                    <a:pt x="405" y="304"/>
                  </a:lnTo>
                  <a:lnTo>
                    <a:pt x="408" y="307"/>
                  </a:lnTo>
                  <a:lnTo>
                    <a:pt x="408" y="304"/>
                  </a:lnTo>
                  <a:lnTo>
                    <a:pt x="405" y="304"/>
                  </a:lnTo>
                  <a:lnTo>
                    <a:pt x="405" y="302"/>
                  </a:lnTo>
                  <a:lnTo>
                    <a:pt x="408" y="302"/>
                  </a:lnTo>
                  <a:lnTo>
                    <a:pt x="405" y="302"/>
                  </a:lnTo>
                  <a:lnTo>
                    <a:pt x="405" y="304"/>
                  </a:lnTo>
                  <a:lnTo>
                    <a:pt x="405" y="302"/>
                  </a:lnTo>
                  <a:lnTo>
                    <a:pt x="408" y="302"/>
                  </a:lnTo>
                  <a:lnTo>
                    <a:pt x="410" y="302"/>
                  </a:lnTo>
                  <a:lnTo>
                    <a:pt x="410" y="299"/>
                  </a:lnTo>
                  <a:lnTo>
                    <a:pt x="412" y="299"/>
                  </a:lnTo>
                  <a:lnTo>
                    <a:pt x="412" y="302"/>
                  </a:lnTo>
                  <a:lnTo>
                    <a:pt x="412" y="304"/>
                  </a:lnTo>
                  <a:lnTo>
                    <a:pt x="410" y="304"/>
                  </a:lnTo>
                  <a:lnTo>
                    <a:pt x="412" y="304"/>
                  </a:lnTo>
                  <a:lnTo>
                    <a:pt x="410" y="304"/>
                  </a:lnTo>
                  <a:lnTo>
                    <a:pt x="410" y="307"/>
                  </a:lnTo>
                  <a:lnTo>
                    <a:pt x="410" y="309"/>
                  </a:lnTo>
                  <a:lnTo>
                    <a:pt x="412" y="309"/>
                  </a:lnTo>
                  <a:lnTo>
                    <a:pt x="412" y="311"/>
                  </a:lnTo>
                  <a:lnTo>
                    <a:pt x="410" y="311"/>
                  </a:lnTo>
                  <a:lnTo>
                    <a:pt x="410" y="314"/>
                  </a:lnTo>
                  <a:lnTo>
                    <a:pt x="410" y="311"/>
                  </a:lnTo>
                  <a:lnTo>
                    <a:pt x="410" y="314"/>
                  </a:lnTo>
                  <a:lnTo>
                    <a:pt x="408" y="314"/>
                  </a:lnTo>
                  <a:lnTo>
                    <a:pt x="408" y="316"/>
                  </a:lnTo>
                  <a:lnTo>
                    <a:pt x="410" y="316"/>
                  </a:lnTo>
                  <a:lnTo>
                    <a:pt x="408" y="316"/>
                  </a:lnTo>
                  <a:lnTo>
                    <a:pt x="410" y="316"/>
                  </a:lnTo>
                  <a:lnTo>
                    <a:pt x="410" y="314"/>
                  </a:lnTo>
                  <a:lnTo>
                    <a:pt x="412" y="314"/>
                  </a:lnTo>
                  <a:lnTo>
                    <a:pt x="410" y="314"/>
                  </a:lnTo>
                  <a:lnTo>
                    <a:pt x="412" y="314"/>
                  </a:lnTo>
                  <a:lnTo>
                    <a:pt x="415" y="314"/>
                  </a:lnTo>
                  <a:lnTo>
                    <a:pt x="415" y="311"/>
                  </a:lnTo>
                  <a:lnTo>
                    <a:pt x="417" y="311"/>
                  </a:lnTo>
                  <a:lnTo>
                    <a:pt x="417" y="314"/>
                  </a:lnTo>
                  <a:lnTo>
                    <a:pt x="417" y="311"/>
                  </a:lnTo>
                  <a:lnTo>
                    <a:pt x="417" y="314"/>
                  </a:lnTo>
                  <a:lnTo>
                    <a:pt x="415" y="314"/>
                  </a:lnTo>
                  <a:lnTo>
                    <a:pt x="417" y="314"/>
                  </a:lnTo>
                  <a:lnTo>
                    <a:pt x="415" y="314"/>
                  </a:lnTo>
                  <a:lnTo>
                    <a:pt x="412" y="314"/>
                  </a:lnTo>
                  <a:lnTo>
                    <a:pt x="412" y="316"/>
                  </a:lnTo>
                  <a:lnTo>
                    <a:pt x="415" y="316"/>
                  </a:lnTo>
                  <a:lnTo>
                    <a:pt x="417" y="316"/>
                  </a:lnTo>
                  <a:lnTo>
                    <a:pt x="417" y="318"/>
                  </a:lnTo>
                  <a:lnTo>
                    <a:pt x="415" y="318"/>
                  </a:lnTo>
                  <a:lnTo>
                    <a:pt x="415" y="321"/>
                  </a:lnTo>
                  <a:lnTo>
                    <a:pt x="415" y="318"/>
                  </a:lnTo>
                  <a:lnTo>
                    <a:pt x="417" y="318"/>
                  </a:lnTo>
                  <a:lnTo>
                    <a:pt x="420" y="318"/>
                  </a:lnTo>
                  <a:lnTo>
                    <a:pt x="420" y="321"/>
                  </a:lnTo>
                  <a:lnTo>
                    <a:pt x="420" y="318"/>
                  </a:lnTo>
                  <a:lnTo>
                    <a:pt x="420" y="321"/>
                  </a:lnTo>
                  <a:lnTo>
                    <a:pt x="420" y="318"/>
                  </a:lnTo>
                  <a:lnTo>
                    <a:pt x="420" y="321"/>
                  </a:lnTo>
                  <a:lnTo>
                    <a:pt x="422" y="321"/>
                  </a:lnTo>
                  <a:lnTo>
                    <a:pt x="424" y="321"/>
                  </a:lnTo>
                  <a:lnTo>
                    <a:pt x="424" y="323"/>
                  </a:lnTo>
                  <a:lnTo>
                    <a:pt x="424" y="326"/>
                  </a:lnTo>
                  <a:lnTo>
                    <a:pt x="427" y="326"/>
                  </a:lnTo>
                  <a:lnTo>
                    <a:pt x="427" y="328"/>
                  </a:lnTo>
                  <a:lnTo>
                    <a:pt x="427" y="330"/>
                  </a:lnTo>
                  <a:lnTo>
                    <a:pt x="427" y="333"/>
                  </a:lnTo>
                  <a:lnTo>
                    <a:pt x="424" y="333"/>
                  </a:lnTo>
                  <a:lnTo>
                    <a:pt x="424" y="335"/>
                  </a:lnTo>
                  <a:lnTo>
                    <a:pt x="424" y="333"/>
                  </a:lnTo>
                  <a:lnTo>
                    <a:pt x="427" y="335"/>
                  </a:lnTo>
                  <a:lnTo>
                    <a:pt x="427" y="337"/>
                  </a:lnTo>
                  <a:lnTo>
                    <a:pt x="429" y="337"/>
                  </a:lnTo>
                  <a:lnTo>
                    <a:pt x="431" y="337"/>
                  </a:lnTo>
                  <a:lnTo>
                    <a:pt x="431" y="340"/>
                  </a:lnTo>
                  <a:lnTo>
                    <a:pt x="434" y="340"/>
                  </a:lnTo>
                  <a:lnTo>
                    <a:pt x="436" y="340"/>
                  </a:lnTo>
                  <a:lnTo>
                    <a:pt x="436" y="342"/>
                  </a:lnTo>
                  <a:lnTo>
                    <a:pt x="439" y="342"/>
                  </a:lnTo>
                  <a:lnTo>
                    <a:pt x="439" y="340"/>
                  </a:lnTo>
                  <a:lnTo>
                    <a:pt x="436" y="337"/>
                  </a:lnTo>
                  <a:lnTo>
                    <a:pt x="436" y="335"/>
                  </a:lnTo>
                  <a:lnTo>
                    <a:pt x="436" y="337"/>
                  </a:lnTo>
                  <a:lnTo>
                    <a:pt x="436" y="335"/>
                  </a:lnTo>
                  <a:lnTo>
                    <a:pt x="434" y="335"/>
                  </a:lnTo>
                  <a:lnTo>
                    <a:pt x="434" y="333"/>
                  </a:lnTo>
                  <a:lnTo>
                    <a:pt x="431" y="333"/>
                  </a:lnTo>
                  <a:lnTo>
                    <a:pt x="431" y="330"/>
                  </a:lnTo>
                  <a:lnTo>
                    <a:pt x="429" y="330"/>
                  </a:lnTo>
                  <a:lnTo>
                    <a:pt x="429" y="328"/>
                  </a:lnTo>
                  <a:lnTo>
                    <a:pt x="427" y="326"/>
                  </a:lnTo>
                  <a:lnTo>
                    <a:pt x="427" y="323"/>
                  </a:lnTo>
                  <a:lnTo>
                    <a:pt x="427" y="326"/>
                  </a:lnTo>
                  <a:lnTo>
                    <a:pt x="427" y="323"/>
                  </a:lnTo>
                  <a:lnTo>
                    <a:pt x="424" y="323"/>
                  </a:lnTo>
                  <a:lnTo>
                    <a:pt x="424" y="321"/>
                  </a:lnTo>
                  <a:lnTo>
                    <a:pt x="424" y="318"/>
                  </a:lnTo>
                  <a:lnTo>
                    <a:pt x="422" y="318"/>
                  </a:lnTo>
                  <a:lnTo>
                    <a:pt x="422" y="316"/>
                  </a:lnTo>
                  <a:lnTo>
                    <a:pt x="422" y="314"/>
                  </a:lnTo>
                  <a:lnTo>
                    <a:pt x="420" y="314"/>
                  </a:lnTo>
                  <a:lnTo>
                    <a:pt x="420" y="316"/>
                  </a:lnTo>
                  <a:lnTo>
                    <a:pt x="420" y="314"/>
                  </a:lnTo>
                  <a:lnTo>
                    <a:pt x="417" y="314"/>
                  </a:lnTo>
                  <a:lnTo>
                    <a:pt x="420" y="316"/>
                  </a:lnTo>
                  <a:lnTo>
                    <a:pt x="417" y="316"/>
                  </a:lnTo>
                  <a:lnTo>
                    <a:pt x="417" y="314"/>
                  </a:lnTo>
                  <a:lnTo>
                    <a:pt x="420" y="314"/>
                  </a:lnTo>
                  <a:lnTo>
                    <a:pt x="420" y="311"/>
                  </a:lnTo>
                  <a:lnTo>
                    <a:pt x="417" y="311"/>
                  </a:lnTo>
                  <a:lnTo>
                    <a:pt x="420" y="311"/>
                  </a:lnTo>
                  <a:lnTo>
                    <a:pt x="420" y="309"/>
                  </a:lnTo>
                  <a:lnTo>
                    <a:pt x="420" y="307"/>
                  </a:lnTo>
                  <a:lnTo>
                    <a:pt x="420" y="309"/>
                  </a:lnTo>
                  <a:lnTo>
                    <a:pt x="420" y="307"/>
                  </a:lnTo>
                  <a:lnTo>
                    <a:pt x="417" y="307"/>
                  </a:lnTo>
                  <a:lnTo>
                    <a:pt x="417" y="304"/>
                  </a:lnTo>
                  <a:lnTo>
                    <a:pt x="417" y="307"/>
                  </a:lnTo>
                  <a:lnTo>
                    <a:pt x="415" y="307"/>
                  </a:lnTo>
                  <a:lnTo>
                    <a:pt x="415" y="304"/>
                  </a:lnTo>
                  <a:lnTo>
                    <a:pt x="415" y="302"/>
                  </a:lnTo>
                  <a:lnTo>
                    <a:pt x="412" y="302"/>
                  </a:lnTo>
                  <a:lnTo>
                    <a:pt x="415" y="302"/>
                  </a:lnTo>
                  <a:lnTo>
                    <a:pt x="417" y="302"/>
                  </a:lnTo>
                  <a:lnTo>
                    <a:pt x="417" y="304"/>
                  </a:lnTo>
                  <a:lnTo>
                    <a:pt x="417" y="302"/>
                  </a:lnTo>
                  <a:lnTo>
                    <a:pt x="417" y="299"/>
                  </a:lnTo>
                  <a:lnTo>
                    <a:pt x="417" y="302"/>
                  </a:lnTo>
                  <a:lnTo>
                    <a:pt x="417" y="299"/>
                  </a:lnTo>
                  <a:lnTo>
                    <a:pt x="417" y="302"/>
                  </a:lnTo>
                  <a:lnTo>
                    <a:pt x="417" y="299"/>
                  </a:lnTo>
                  <a:lnTo>
                    <a:pt x="415" y="299"/>
                  </a:lnTo>
                  <a:lnTo>
                    <a:pt x="417" y="299"/>
                  </a:lnTo>
                  <a:lnTo>
                    <a:pt x="415" y="299"/>
                  </a:lnTo>
                  <a:lnTo>
                    <a:pt x="417" y="299"/>
                  </a:lnTo>
                  <a:lnTo>
                    <a:pt x="415" y="299"/>
                  </a:lnTo>
                  <a:lnTo>
                    <a:pt x="415" y="297"/>
                  </a:lnTo>
                  <a:lnTo>
                    <a:pt x="412" y="299"/>
                  </a:lnTo>
                  <a:lnTo>
                    <a:pt x="410" y="299"/>
                  </a:lnTo>
                  <a:lnTo>
                    <a:pt x="410" y="297"/>
                  </a:lnTo>
                  <a:lnTo>
                    <a:pt x="408" y="297"/>
                  </a:lnTo>
                  <a:lnTo>
                    <a:pt x="408" y="299"/>
                  </a:lnTo>
                  <a:lnTo>
                    <a:pt x="405" y="299"/>
                  </a:lnTo>
                  <a:lnTo>
                    <a:pt x="405" y="297"/>
                  </a:lnTo>
                  <a:lnTo>
                    <a:pt x="403" y="297"/>
                  </a:lnTo>
                  <a:lnTo>
                    <a:pt x="403" y="295"/>
                  </a:lnTo>
                  <a:lnTo>
                    <a:pt x="403" y="297"/>
                  </a:lnTo>
                  <a:lnTo>
                    <a:pt x="403" y="295"/>
                  </a:lnTo>
                  <a:lnTo>
                    <a:pt x="401" y="295"/>
                  </a:lnTo>
                  <a:lnTo>
                    <a:pt x="401" y="297"/>
                  </a:lnTo>
                  <a:lnTo>
                    <a:pt x="403" y="297"/>
                  </a:lnTo>
                  <a:lnTo>
                    <a:pt x="401" y="297"/>
                  </a:lnTo>
                  <a:lnTo>
                    <a:pt x="403" y="297"/>
                  </a:lnTo>
                  <a:lnTo>
                    <a:pt x="401" y="297"/>
                  </a:lnTo>
                  <a:lnTo>
                    <a:pt x="401" y="299"/>
                  </a:lnTo>
                  <a:lnTo>
                    <a:pt x="403" y="299"/>
                  </a:lnTo>
                  <a:lnTo>
                    <a:pt x="401" y="299"/>
                  </a:lnTo>
                  <a:lnTo>
                    <a:pt x="401" y="302"/>
                  </a:lnTo>
                  <a:lnTo>
                    <a:pt x="401" y="299"/>
                  </a:lnTo>
                  <a:lnTo>
                    <a:pt x="401" y="297"/>
                  </a:lnTo>
                  <a:lnTo>
                    <a:pt x="398" y="299"/>
                  </a:lnTo>
                  <a:lnTo>
                    <a:pt x="398" y="302"/>
                  </a:lnTo>
                  <a:lnTo>
                    <a:pt x="401" y="302"/>
                  </a:lnTo>
                  <a:lnTo>
                    <a:pt x="401" y="299"/>
                  </a:lnTo>
                  <a:lnTo>
                    <a:pt x="401" y="302"/>
                  </a:lnTo>
                  <a:lnTo>
                    <a:pt x="401" y="304"/>
                  </a:lnTo>
                  <a:lnTo>
                    <a:pt x="398" y="304"/>
                  </a:lnTo>
                  <a:lnTo>
                    <a:pt x="398" y="302"/>
                  </a:lnTo>
                  <a:lnTo>
                    <a:pt x="398" y="299"/>
                  </a:lnTo>
                  <a:lnTo>
                    <a:pt x="396" y="299"/>
                  </a:lnTo>
                  <a:lnTo>
                    <a:pt x="396" y="297"/>
                  </a:lnTo>
                  <a:lnTo>
                    <a:pt x="396" y="299"/>
                  </a:lnTo>
                  <a:lnTo>
                    <a:pt x="396" y="297"/>
                  </a:lnTo>
                  <a:lnTo>
                    <a:pt x="396" y="299"/>
                  </a:lnTo>
                  <a:lnTo>
                    <a:pt x="393" y="299"/>
                  </a:lnTo>
                  <a:lnTo>
                    <a:pt x="396" y="299"/>
                  </a:lnTo>
                  <a:lnTo>
                    <a:pt x="396" y="302"/>
                  </a:lnTo>
                  <a:lnTo>
                    <a:pt x="396" y="299"/>
                  </a:lnTo>
                  <a:lnTo>
                    <a:pt x="396" y="302"/>
                  </a:lnTo>
                  <a:lnTo>
                    <a:pt x="396" y="299"/>
                  </a:lnTo>
                  <a:lnTo>
                    <a:pt x="393" y="302"/>
                  </a:lnTo>
                  <a:lnTo>
                    <a:pt x="393" y="299"/>
                  </a:lnTo>
                  <a:lnTo>
                    <a:pt x="393" y="302"/>
                  </a:lnTo>
                  <a:lnTo>
                    <a:pt x="391" y="302"/>
                  </a:lnTo>
                  <a:close/>
                  <a:moveTo>
                    <a:pt x="386" y="299"/>
                  </a:moveTo>
                  <a:lnTo>
                    <a:pt x="384" y="299"/>
                  </a:lnTo>
                  <a:lnTo>
                    <a:pt x="386" y="299"/>
                  </a:lnTo>
                  <a:lnTo>
                    <a:pt x="384" y="299"/>
                  </a:lnTo>
                  <a:lnTo>
                    <a:pt x="384" y="297"/>
                  </a:lnTo>
                  <a:lnTo>
                    <a:pt x="382" y="297"/>
                  </a:lnTo>
                  <a:lnTo>
                    <a:pt x="382" y="299"/>
                  </a:lnTo>
                  <a:lnTo>
                    <a:pt x="384" y="299"/>
                  </a:lnTo>
                  <a:lnTo>
                    <a:pt x="384" y="302"/>
                  </a:lnTo>
                  <a:lnTo>
                    <a:pt x="384" y="299"/>
                  </a:lnTo>
                  <a:lnTo>
                    <a:pt x="386" y="299"/>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5" name="Freeform 57765"/>
            <p:cNvSpPr>
              <a:spLocks noEditPoints="1"/>
            </p:cNvSpPr>
            <p:nvPr/>
          </p:nvSpPr>
          <p:spPr bwMode="auto">
            <a:xfrm>
              <a:off x="3543296" y="4946671"/>
              <a:ext cx="400050" cy="112713"/>
            </a:xfrm>
            <a:custGeom>
              <a:avLst/>
              <a:gdLst>
                <a:gd name="T0" fmla="*/ 249 w 252"/>
                <a:gd name="T1" fmla="*/ 69 h 71"/>
                <a:gd name="T2" fmla="*/ 26 w 252"/>
                <a:gd name="T3" fmla="*/ 69 h 71"/>
                <a:gd name="T4" fmla="*/ 24 w 252"/>
                <a:gd name="T5" fmla="*/ 69 h 71"/>
                <a:gd name="T6" fmla="*/ 0 w 252"/>
                <a:gd name="T7" fmla="*/ 66 h 71"/>
                <a:gd name="T8" fmla="*/ 2 w 252"/>
                <a:gd name="T9" fmla="*/ 66 h 71"/>
                <a:gd name="T10" fmla="*/ 5 w 252"/>
                <a:gd name="T11" fmla="*/ 66 h 71"/>
                <a:gd name="T12" fmla="*/ 10 w 252"/>
                <a:gd name="T13" fmla="*/ 64 h 71"/>
                <a:gd name="T14" fmla="*/ 10 w 252"/>
                <a:gd name="T15" fmla="*/ 62 h 71"/>
                <a:gd name="T16" fmla="*/ 17 w 252"/>
                <a:gd name="T17" fmla="*/ 62 h 71"/>
                <a:gd name="T18" fmla="*/ 26 w 252"/>
                <a:gd name="T19" fmla="*/ 62 h 71"/>
                <a:gd name="T20" fmla="*/ 24 w 252"/>
                <a:gd name="T21" fmla="*/ 66 h 71"/>
                <a:gd name="T22" fmla="*/ 24 w 252"/>
                <a:gd name="T23" fmla="*/ 64 h 71"/>
                <a:gd name="T24" fmla="*/ 24 w 252"/>
                <a:gd name="T25" fmla="*/ 62 h 71"/>
                <a:gd name="T26" fmla="*/ 26 w 252"/>
                <a:gd name="T27" fmla="*/ 62 h 71"/>
                <a:gd name="T28" fmla="*/ 26 w 252"/>
                <a:gd name="T29" fmla="*/ 62 h 71"/>
                <a:gd name="T30" fmla="*/ 26 w 252"/>
                <a:gd name="T31" fmla="*/ 62 h 71"/>
                <a:gd name="T32" fmla="*/ 192 w 252"/>
                <a:gd name="T33" fmla="*/ 40 h 71"/>
                <a:gd name="T34" fmla="*/ 192 w 252"/>
                <a:gd name="T35" fmla="*/ 38 h 71"/>
                <a:gd name="T36" fmla="*/ 192 w 252"/>
                <a:gd name="T37" fmla="*/ 36 h 71"/>
                <a:gd name="T38" fmla="*/ 190 w 252"/>
                <a:gd name="T39" fmla="*/ 36 h 71"/>
                <a:gd name="T40" fmla="*/ 119 w 252"/>
                <a:gd name="T41" fmla="*/ 33 h 71"/>
                <a:gd name="T42" fmla="*/ 126 w 252"/>
                <a:gd name="T43" fmla="*/ 33 h 71"/>
                <a:gd name="T44" fmla="*/ 126 w 252"/>
                <a:gd name="T45" fmla="*/ 36 h 71"/>
                <a:gd name="T46" fmla="*/ 128 w 252"/>
                <a:gd name="T47" fmla="*/ 36 h 71"/>
                <a:gd name="T48" fmla="*/ 128 w 252"/>
                <a:gd name="T49" fmla="*/ 33 h 71"/>
                <a:gd name="T50" fmla="*/ 131 w 252"/>
                <a:gd name="T51" fmla="*/ 33 h 71"/>
                <a:gd name="T52" fmla="*/ 133 w 252"/>
                <a:gd name="T53" fmla="*/ 36 h 71"/>
                <a:gd name="T54" fmla="*/ 135 w 252"/>
                <a:gd name="T55" fmla="*/ 36 h 71"/>
                <a:gd name="T56" fmla="*/ 128 w 252"/>
                <a:gd name="T57" fmla="*/ 36 h 71"/>
                <a:gd name="T58" fmla="*/ 121 w 252"/>
                <a:gd name="T59" fmla="*/ 33 h 71"/>
                <a:gd name="T60" fmla="*/ 90 w 252"/>
                <a:gd name="T61" fmla="*/ 24 h 71"/>
                <a:gd name="T62" fmla="*/ 90 w 252"/>
                <a:gd name="T63" fmla="*/ 26 h 71"/>
                <a:gd name="T64" fmla="*/ 97 w 252"/>
                <a:gd name="T65" fmla="*/ 26 h 71"/>
                <a:gd name="T66" fmla="*/ 100 w 252"/>
                <a:gd name="T67" fmla="*/ 26 h 71"/>
                <a:gd name="T68" fmla="*/ 100 w 252"/>
                <a:gd name="T69" fmla="*/ 28 h 71"/>
                <a:gd name="T70" fmla="*/ 88 w 252"/>
                <a:gd name="T71" fmla="*/ 26 h 71"/>
                <a:gd name="T72" fmla="*/ 85 w 252"/>
                <a:gd name="T73" fmla="*/ 21 h 71"/>
                <a:gd name="T74" fmla="*/ 85 w 252"/>
                <a:gd name="T75" fmla="*/ 19 h 71"/>
                <a:gd name="T76" fmla="*/ 88 w 252"/>
                <a:gd name="T77" fmla="*/ 24 h 71"/>
                <a:gd name="T78" fmla="*/ 93 w 252"/>
                <a:gd name="T79" fmla="*/ 17 h 71"/>
                <a:gd name="T80" fmla="*/ 93 w 252"/>
                <a:gd name="T81" fmla="*/ 19 h 71"/>
                <a:gd name="T82" fmla="*/ 93 w 252"/>
                <a:gd name="T83" fmla="*/ 17 h 71"/>
                <a:gd name="T84" fmla="*/ 109 w 252"/>
                <a:gd name="T85" fmla="*/ 12 h 71"/>
                <a:gd name="T86" fmla="*/ 235 w 252"/>
                <a:gd name="T87" fmla="*/ 12 h 71"/>
                <a:gd name="T88" fmla="*/ 112 w 252"/>
                <a:gd name="T89" fmla="*/ 12 h 71"/>
                <a:gd name="T90" fmla="*/ 109 w 252"/>
                <a:gd name="T91" fmla="*/ 12 h 71"/>
                <a:gd name="T92" fmla="*/ 102 w 252"/>
                <a:gd name="T93" fmla="*/ 12 h 71"/>
                <a:gd name="T94" fmla="*/ 104 w 252"/>
                <a:gd name="T95" fmla="*/ 12 h 71"/>
                <a:gd name="T96" fmla="*/ 112 w 252"/>
                <a:gd name="T97" fmla="*/ 12 h 71"/>
                <a:gd name="T98" fmla="*/ 109 w 252"/>
                <a:gd name="T99" fmla="*/ 12 h 71"/>
                <a:gd name="T100" fmla="*/ 109 w 252"/>
                <a:gd name="T101" fmla="*/ 9 h 71"/>
                <a:gd name="T102" fmla="*/ 116 w 252"/>
                <a:gd name="T103" fmla="*/ 9 h 71"/>
                <a:gd name="T104" fmla="*/ 116 w 252"/>
                <a:gd name="T105" fmla="*/ 12 h 71"/>
                <a:gd name="T106" fmla="*/ 114 w 252"/>
                <a:gd name="T107" fmla="*/ 12 h 71"/>
                <a:gd name="T108" fmla="*/ 119 w 252"/>
                <a:gd name="T109" fmla="*/ 9 h 71"/>
                <a:gd name="T110" fmla="*/ 119 w 252"/>
                <a:gd name="T111" fmla="*/ 7 h 71"/>
                <a:gd name="T112" fmla="*/ 138 w 252"/>
                <a:gd name="T11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 h="71">
                  <a:moveTo>
                    <a:pt x="252" y="71"/>
                  </a:moveTo>
                  <a:lnTo>
                    <a:pt x="249" y="71"/>
                  </a:lnTo>
                  <a:lnTo>
                    <a:pt x="249" y="69"/>
                  </a:lnTo>
                  <a:lnTo>
                    <a:pt x="252" y="71"/>
                  </a:lnTo>
                  <a:close/>
                  <a:moveTo>
                    <a:pt x="26" y="66"/>
                  </a:moveTo>
                  <a:lnTo>
                    <a:pt x="26" y="69"/>
                  </a:lnTo>
                  <a:lnTo>
                    <a:pt x="26" y="71"/>
                  </a:lnTo>
                  <a:lnTo>
                    <a:pt x="24" y="71"/>
                  </a:lnTo>
                  <a:lnTo>
                    <a:pt x="24" y="69"/>
                  </a:lnTo>
                  <a:lnTo>
                    <a:pt x="24" y="66"/>
                  </a:lnTo>
                  <a:lnTo>
                    <a:pt x="26" y="66"/>
                  </a:lnTo>
                  <a:close/>
                  <a:moveTo>
                    <a:pt x="0" y="66"/>
                  </a:moveTo>
                  <a:lnTo>
                    <a:pt x="2" y="66"/>
                  </a:lnTo>
                  <a:lnTo>
                    <a:pt x="0" y="66"/>
                  </a:lnTo>
                  <a:close/>
                  <a:moveTo>
                    <a:pt x="2" y="66"/>
                  </a:moveTo>
                  <a:lnTo>
                    <a:pt x="2" y="64"/>
                  </a:lnTo>
                  <a:lnTo>
                    <a:pt x="5" y="64"/>
                  </a:lnTo>
                  <a:lnTo>
                    <a:pt x="5" y="66"/>
                  </a:lnTo>
                  <a:lnTo>
                    <a:pt x="2" y="66"/>
                  </a:lnTo>
                  <a:close/>
                  <a:moveTo>
                    <a:pt x="10" y="62"/>
                  </a:moveTo>
                  <a:lnTo>
                    <a:pt x="10" y="64"/>
                  </a:lnTo>
                  <a:lnTo>
                    <a:pt x="7" y="64"/>
                  </a:lnTo>
                  <a:lnTo>
                    <a:pt x="7" y="62"/>
                  </a:lnTo>
                  <a:lnTo>
                    <a:pt x="10" y="62"/>
                  </a:lnTo>
                  <a:close/>
                  <a:moveTo>
                    <a:pt x="19" y="64"/>
                  </a:moveTo>
                  <a:lnTo>
                    <a:pt x="17" y="64"/>
                  </a:lnTo>
                  <a:lnTo>
                    <a:pt x="17" y="62"/>
                  </a:lnTo>
                  <a:lnTo>
                    <a:pt x="19" y="62"/>
                  </a:lnTo>
                  <a:lnTo>
                    <a:pt x="19" y="64"/>
                  </a:lnTo>
                  <a:close/>
                  <a:moveTo>
                    <a:pt x="26" y="62"/>
                  </a:moveTo>
                  <a:lnTo>
                    <a:pt x="26" y="64"/>
                  </a:lnTo>
                  <a:lnTo>
                    <a:pt x="26" y="66"/>
                  </a:lnTo>
                  <a:lnTo>
                    <a:pt x="24" y="66"/>
                  </a:lnTo>
                  <a:lnTo>
                    <a:pt x="21" y="66"/>
                  </a:lnTo>
                  <a:lnTo>
                    <a:pt x="21" y="64"/>
                  </a:lnTo>
                  <a:lnTo>
                    <a:pt x="24" y="64"/>
                  </a:lnTo>
                  <a:lnTo>
                    <a:pt x="24" y="62"/>
                  </a:lnTo>
                  <a:lnTo>
                    <a:pt x="26" y="62"/>
                  </a:lnTo>
                  <a:close/>
                  <a:moveTo>
                    <a:pt x="24" y="62"/>
                  </a:moveTo>
                  <a:lnTo>
                    <a:pt x="21" y="59"/>
                  </a:lnTo>
                  <a:lnTo>
                    <a:pt x="24" y="62"/>
                  </a:lnTo>
                  <a:close/>
                  <a:moveTo>
                    <a:pt x="26" y="62"/>
                  </a:moveTo>
                  <a:lnTo>
                    <a:pt x="26" y="59"/>
                  </a:lnTo>
                  <a:lnTo>
                    <a:pt x="26" y="62"/>
                  </a:lnTo>
                  <a:close/>
                  <a:moveTo>
                    <a:pt x="26" y="62"/>
                  </a:moveTo>
                  <a:lnTo>
                    <a:pt x="24" y="62"/>
                  </a:lnTo>
                  <a:lnTo>
                    <a:pt x="26" y="59"/>
                  </a:lnTo>
                  <a:lnTo>
                    <a:pt x="26" y="62"/>
                  </a:lnTo>
                  <a:close/>
                  <a:moveTo>
                    <a:pt x="190" y="38"/>
                  </a:moveTo>
                  <a:lnTo>
                    <a:pt x="192" y="38"/>
                  </a:lnTo>
                  <a:lnTo>
                    <a:pt x="192" y="40"/>
                  </a:lnTo>
                  <a:lnTo>
                    <a:pt x="192" y="38"/>
                  </a:lnTo>
                  <a:lnTo>
                    <a:pt x="192" y="40"/>
                  </a:lnTo>
                  <a:lnTo>
                    <a:pt x="192" y="38"/>
                  </a:lnTo>
                  <a:lnTo>
                    <a:pt x="190" y="38"/>
                  </a:lnTo>
                  <a:close/>
                  <a:moveTo>
                    <a:pt x="190" y="36"/>
                  </a:moveTo>
                  <a:lnTo>
                    <a:pt x="192" y="36"/>
                  </a:lnTo>
                  <a:lnTo>
                    <a:pt x="192" y="38"/>
                  </a:lnTo>
                  <a:lnTo>
                    <a:pt x="190" y="38"/>
                  </a:lnTo>
                  <a:lnTo>
                    <a:pt x="190" y="36"/>
                  </a:lnTo>
                  <a:lnTo>
                    <a:pt x="190" y="38"/>
                  </a:lnTo>
                  <a:lnTo>
                    <a:pt x="190" y="36"/>
                  </a:lnTo>
                  <a:close/>
                  <a:moveTo>
                    <a:pt x="119" y="33"/>
                  </a:moveTo>
                  <a:lnTo>
                    <a:pt x="121" y="33"/>
                  </a:lnTo>
                  <a:lnTo>
                    <a:pt x="123" y="33"/>
                  </a:lnTo>
                  <a:lnTo>
                    <a:pt x="126" y="33"/>
                  </a:lnTo>
                  <a:lnTo>
                    <a:pt x="126" y="36"/>
                  </a:lnTo>
                  <a:lnTo>
                    <a:pt x="126" y="33"/>
                  </a:lnTo>
                  <a:lnTo>
                    <a:pt x="126" y="36"/>
                  </a:lnTo>
                  <a:lnTo>
                    <a:pt x="128" y="36"/>
                  </a:lnTo>
                  <a:lnTo>
                    <a:pt x="128" y="33"/>
                  </a:lnTo>
                  <a:lnTo>
                    <a:pt x="128" y="36"/>
                  </a:lnTo>
                  <a:lnTo>
                    <a:pt x="128" y="33"/>
                  </a:lnTo>
                  <a:lnTo>
                    <a:pt x="126" y="33"/>
                  </a:lnTo>
                  <a:lnTo>
                    <a:pt x="128" y="33"/>
                  </a:lnTo>
                  <a:lnTo>
                    <a:pt x="131" y="33"/>
                  </a:lnTo>
                  <a:lnTo>
                    <a:pt x="128" y="33"/>
                  </a:lnTo>
                  <a:lnTo>
                    <a:pt x="131" y="33"/>
                  </a:lnTo>
                  <a:lnTo>
                    <a:pt x="128" y="33"/>
                  </a:lnTo>
                  <a:lnTo>
                    <a:pt x="131" y="33"/>
                  </a:lnTo>
                  <a:lnTo>
                    <a:pt x="133" y="36"/>
                  </a:lnTo>
                  <a:lnTo>
                    <a:pt x="135" y="36"/>
                  </a:lnTo>
                  <a:lnTo>
                    <a:pt x="133" y="36"/>
                  </a:lnTo>
                  <a:lnTo>
                    <a:pt x="135" y="36"/>
                  </a:lnTo>
                  <a:lnTo>
                    <a:pt x="133" y="36"/>
                  </a:lnTo>
                  <a:lnTo>
                    <a:pt x="131" y="36"/>
                  </a:lnTo>
                  <a:lnTo>
                    <a:pt x="128" y="36"/>
                  </a:lnTo>
                  <a:lnTo>
                    <a:pt x="126" y="36"/>
                  </a:lnTo>
                  <a:lnTo>
                    <a:pt x="123" y="33"/>
                  </a:lnTo>
                  <a:lnTo>
                    <a:pt x="121" y="33"/>
                  </a:lnTo>
                  <a:lnTo>
                    <a:pt x="119" y="33"/>
                  </a:lnTo>
                  <a:close/>
                  <a:moveTo>
                    <a:pt x="88" y="24"/>
                  </a:moveTo>
                  <a:lnTo>
                    <a:pt x="90" y="24"/>
                  </a:lnTo>
                  <a:lnTo>
                    <a:pt x="88" y="24"/>
                  </a:lnTo>
                  <a:lnTo>
                    <a:pt x="88" y="26"/>
                  </a:lnTo>
                  <a:lnTo>
                    <a:pt x="90" y="26"/>
                  </a:lnTo>
                  <a:lnTo>
                    <a:pt x="93" y="26"/>
                  </a:lnTo>
                  <a:lnTo>
                    <a:pt x="95" y="26"/>
                  </a:lnTo>
                  <a:lnTo>
                    <a:pt x="97" y="26"/>
                  </a:lnTo>
                  <a:lnTo>
                    <a:pt x="100" y="26"/>
                  </a:lnTo>
                  <a:lnTo>
                    <a:pt x="100" y="28"/>
                  </a:lnTo>
                  <a:lnTo>
                    <a:pt x="100" y="26"/>
                  </a:lnTo>
                  <a:lnTo>
                    <a:pt x="100" y="28"/>
                  </a:lnTo>
                  <a:lnTo>
                    <a:pt x="102" y="28"/>
                  </a:lnTo>
                  <a:lnTo>
                    <a:pt x="100" y="28"/>
                  </a:lnTo>
                  <a:lnTo>
                    <a:pt x="95" y="26"/>
                  </a:lnTo>
                  <a:lnTo>
                    <a:pt x="90" y="26"/>
                  </a:lnTo>
                  <a:lnTo>
                    <a:pt x="88" y="26"/>
                  </a:lnTo>
                  <a:lnTo>
                    <a:pt x="88" y="24"/>
                  </a:lnTo>
                  <a:lnTo>
                    <a:pt x="85" y="24"/>
                  </a:lnTo>
                  <a:lnTo>
                    <a:pt x="85" y="21"/>
                  </a:lnTo>
                  <a:lnTo>
                    <a:pt x="83" y="21"/>
                  </a:lnTo>
                  <a:lnTo>
                    <a:pt x="83" y="19"/>
                  </a:lnTo>
                  <a:lnTo>
                    <a:pt x="85" y="19"/>
                  </a:lnTo>
                  <a:lnTo>
                    <a:pt x="85" y="21"/>
                  </a:lnTo>
                  <a:lnTo>
                    <a:pt x="85" y="24"/>
                  </a:lnTo>
                  <a:lnTo>
                    <a:pt x="88" y="24"/>
                  </a:lnTo>
                  <a:close/>
                  <a:moveTo>
                    <a:pt x="93" y="17"/>
                  </a:moveTo>
                  <a:lnTo>
                    <a:pt x="93" y="19"/>
                  </a:lnTo>
                  <a:lnTo>
                    <a:pt x="93" y="17"/>
                  </a:lnTo>
                  <a:lnTo>
                    <a:pt x="93" y="19"/>
                  </a:lnTo>
                  <a:lnTo>
                    <a:pt x="93" y="17"/>
                  </a:lnTo>
                  <a:lnTo>
                    <a:pt x="93" y="19"/>
                  </a:lnTo>
                  <a:lnTo>
                    <a:pt x="93" y="17"/>
                  </a:lnTo>
                  <a:lnTo>
                    <a:pt x="90" y="17"/>
                  </a:lnTo>
                  <a:lnTo>
                    <a:pt x="93" y="17"/>
                  </a:lnTo>
                  <a:close/>
                  <a:moveTo>
                    <a:pt x="109" y="12"/>
                  </a:moveTo>
                  <a:lnTo>
                    <a:pt x="109" y="14"/>
                  </a:lnTo>
                  <a:lnTo>
                    <a:pt x="109" y="12"/>
                  </a:lnTo>
                  <a:lnTo>
                    <a:pt x="109" y="14"/>
                  </a:lnTo>
                  <a:lnTo>
                    <a:pt x="109" y="12"/>
                  </a:lnTo>
                  <a:close/>
                  <a:moveTo>
                    <a:pt x="235" y="12"/>
                  </a:moveTo>
                  <a:lnTo>
                    <a:pt x="237" y="12"/>
                  </a:lnTo>
                  <a:lnTo>
                    <a:pt x="235" y="12"/>
                  </a:lnTo>
                  <a:close/>
                  <a:moveTo>
                    <a:pt x="112" y="12"/>
                  </a:moveTo>
                  <a:lnTo>
                    <a:pt x="109" y="12"/>
                  </a:lnTo>
                  <a:lnTo>
                    <a:pt x="112" y="12"/>
                  </a:lnTo>
                  <a:lnTo>
                    <a:pt x="109" y="12"/>
                  </a:lnTo>
                  <a:lnTo>
                    <a:pt x="112" y="12"/>
                  </a:lnTo>
                  <a:close/>
                  <a:moveTo>
                    <a:pt x="104" y="12"/>
                  </a:moveTo>
                  <a:lnTo>
                    <a:pt x="102" y="12"/>
                  </a:lnTo>
                  <a:lnTo>
                    <a:pt x="104" y="12"/>
                  </a:lnTo>
                  <a:lnTo>
                    <a:pt x="102" y="12"/>
                  </a:lnTo>
                  <a:lnTo>
                    <a:pt x="104" y="12"/>
                  </a:lnTo>
                  <a:close/>
                  <a:moveTo>
                    <a:pt x="114" y="9"/>
                  </a:moveTo>
                  <a:lnTo>
                    <a:pt x="114" y="12"/>
                  </a:lnTo>
                  <a:lnTo>
                    <a:pt x="112" y="12"/>
                  </a:lnTo>
                  <a:lnTo>
                    <a:pt x="109" y="12"/>
                  </a:lnTo>
                  <a:lnTo>
                    <a:pt x="109" y="9"/>
                  </a:lnTo>
                  <a:lnTo>
                    <a:pt x="109" y="12"/>
                  </a:lnTo>
                  <a:lnTo>
                    <a:pt x="112" y="12"/>
                  </a:lnTo>
                  <a:lnTo>
                    <a:pt x="112" y="9"/>
                  </a:lnTo>
                  <a:lnTo>
                    <a:pt x="109" y="9"/>
                  </a:lnTo>
                  <a:lnTo>
                    <a:pt x="112" y="9"/>
                  </a:lnTo>
                  <a:lnTo>
                    <a:pt x="114" y="9"/>
                  </a:lnTo>
                  <a:close/>
                  <a:moveTo>
                    <a:pt x="116" y="9"/>
                  </a:moveTo>
                  <a:lnTo>
                    <a:pt x="119" y="9"/>
                  </a:lnTo>
                  <a:lnTo>
                    <a:pt x="116" y="9"/>
                  </a:lnTo>
                  <a:lnTo>
                    <a:pt x="116" y="12"/>
                  </a:lnTo>
                  <a:lnTo>
                    <a:pt x="114" y="12"/>
                  </a:lnTo>
                  <a:lnTo>
                    <a:pt x="112" y="12"/>
                  </a:lnTo>
                  <a:lnTo>
                    <a:pt x="114" y="12"/>
                  </a:lnTo>
                  <a:lnTo>
                    <a:pt x="114" y="9"/>
                  </a:lnTo>
                  <a:lnTo>
                    <a:pt x="116" y="9"/>
                  </a:lnTo>
                  <a:close/>
                  <a:moveTo>
                    <a:pt x="119" y="9"/>
                  </a:moveTo>
                  <a:lnTo>
                    <a:pt x="116" y="9"/>
                  </a:lnTo>
                  <a:lnTo>
                    <a:pt x="116" y="7"/>
                  </a:lnTo>
                  <a:lnTo>
                    <a:pt x="119" y="7"/>
                  </a:lnTo>
                  <a:lnTo>
                    <a:pt x="119" y="9"/>
                  </a:lnTo>
                  <a:close/>
                  <a:moveTo>
                    <a:pt x="140" y="0"/>
                  </a:moveTo>
                  <a:lnTo>
                    <a:pt x="138" y="0"/>
                  </a:lnTo>
                  <a:lnTo>
                    <a:pt x="14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6" name="Freeform 57766"/>
            <p:cNvSpPr>
              <a:spLocks noEditPoints="1"/>
            </p:cNvSpPr>
            <p:nvPr/>
          </p:nvSpPr>
          <p:spPr bwMode="auto">
            <a:xfrm>
              <a:off x="3686170" y="4930796"/>
              <a:ext cx="233363" cy="84138"/>
            </a:xfrm>
            <a:custGeom>
              <a:avLst/>
              <a:gdLst>
                <a:gd name="T0" fmla="*/ 60 w 147"/>
                <a:gd name="T1" fmla="*/ 53 h 53"/>
                <a:gd name="T2" fmla="*/ 62 w 147"/>
                <a:gd name="T3" fmla="*/ 53 h 53"/>
                <a:gd name="T4" fmla="*/ 60 w 147"/>
                <a:gd name="T5" fmla="*/ 53 h 53"/>
                <a:gd name="T6" fmla="*/ 62 w 147"/>
                <a:gd name="T7" fmla="*/ 53 h 53"/>
                <a:gd name="T8" fmla="*/ 62 w 147"/>
                <a:gd name="T9" fmla="*/ 50 h 53"/>
                <a:gd name="T10" fmla="*/ 62 w 147"/>
                <a:gd name="T11" fmla="*/ 53 h 53"/>
                <a:gd name="T12" fmla="*/ 102 w 147"/>
                <a:gd name="T13" fmla="*/ 48 h 53"/>
                <a:gd name="T14" fmla="*/ 105 w 147"/>
                <a:gd name="T15" fmla="*/ 48 h 53"/>
                <a:gd name="T16" fmla="*/ 102 w 147"/>
                <a:gd name="T17" fmla="*/ 48 h 53"/>
                <a:gd name="T18" fmla="*/ 102 w 147"/>
                <a:gd name="T19" fmla="*/ 48 h 53"/>
                <a:gd name="T20" fmla="*/ 102 w 147"/>
                <a:gd name="T21" fmla="*/ 46 h 53"/>
                <a:gd name="T22" fmla="*/ 102 w 147"/>
                <a:gd name="T23" fmla="*/ 48 h 53"/>
                <a:gd name="T24" fmla="*/ 86 w 147"/>
                <a:gd name="T25" fmla="*/ 43 h 53"/>
                <a:gd name="T26" fmla="*/ 86 w 147"/>
                <a:gd name="T27" fmla="*/ 46 h 53"/>
                <a:gd name="T28" fmla="*/ 86 w 147"/>
                <a:gd name="T29" fmla="*/ 43 h 53"/>
                <a:gd name="T30" fmla="*/ 50 w 147"/>
                <a:gd name="T31" fmla="*/ 43 h 53"/>
                <a:gd name="T32" fmla="*/ 50 w 147"/>
                <a:gd name="T33" fmla="*/ 41 h 53"/>
                <a:gd name="T34" fmla="*/ 50 w 147"/>
                <a:gd name="T35" fmla="*/ 43 h 53"/>
                <a:gd name="T36" fmla="*/ 102 w 147"/>
                <a:gd name="T37" fmla="*/ 41 h 53"/>
                <a:gd name="T38" fmla="*/ 102 w 147"/>
                <a:gd name="T39" fmla="*/ 38 h 53"/>
                <a:gd name="T40" fmla="*/ 102 w 147"/>
                <a:gd name="T41" fmla="*/ 41 h 53"/>
                <a:gd name="T42" fmla="*/ 102 w 147"/>
                <a:gd name="T43" fmla="*/ 41 h 53"/>
                <a:gd name="T44" fmla="*/ 102 w 147"/>
                <a:gd name="T45" fmla="*/ 38 h 53"/>
                <a:gd name="T46" fmla="*/ 102 w 147"/>
                <a:gd name="T47" fmla="*/ 41 h 53"/>
                <a:gd name="T48" fmla="*/ 102 w 147"/>
                <a:gd name="T49" fmla="*/ 38 h 53"/>
                <a:gd name="T50" fmla="*/ 102 w 147"/>
                <a:gd name="T51" fmla="*/ 41 h 53"/>
                <a:gd name="T52" fmla="*/ 102 w 147"/>
                <a:gd name="T53" fmla="*/ 38 h 53"/>
                <a:gd name="T54" fmla="*/ 112 w 147"/>
                <a:gd name="T55" fmla="*/ 38 h 53"/>
                <a:gd name="T56" fmla="*/ 109 w 147"/>
                <a:gd name="T57" fmla="*/ 38 h 53"/>
                <a:gd name="T58" fmla="*/ 112 w 147"/>
                <a:gd name="T59" fmla="*/ 38 h 53"/>
                <a:gd name="T60" fmla="*/ 3 w 147"/>
                <a:gd name="T61" fmla="*/ 34 h 53"/>
                <a:gd name="T62" fmla="*/ 0 w 147"/>
                <a:gd name="T63" fmla="*/ 34 h 53"/>
                <a:gd name="T64" fmla="*/ 3 w 147"/>
                <a:gd name="T65" fmla="*/ 34 h 53"/>
                <a:gd name="T66" fmla="*/ 7 w 147"/>
                <a:gd name="T67" fmla="*/ 31 h 53"/>
                <a:gd name="T68" fmla="*/ 7 w 147"/>
                <a:gd name="T69" fmla="*/ 34 h 53"/>
                <a:gd name="T70" fmla="*/ 7 w 147"/>
                <a:gd name="T71" fmla="*/ 31 h 53"/>
                <a:gd name="T72" fmla="*/ 147 w 147"/>
                <a:gd name="T73" fmla="*/ 19 h 53"/>
                <a:gd name="T74" fmla="*/ 147 w 147"/>
                <a:gd name="T75" fmla="*/ 22 h 53"/>
                <a:gd name="T76" fmla="*/ 147 w 147"/>
                <a:gd name="T77" fmla="*/ 19 h 53"/>
                <a:gd name="T78" fmla="*/ 26 w 147"/>
                <a:gd name="T79" fmla="*/ 19 h 53"/>
                <a:gd name="T80" fmla="*/ 26 w 147"/>
                <a:gd name="T81" fmla="*/ 17 h 53"/>
                <a:gd name="T82" fmla="*/ 26 w 147"/>
                <a:gd name="T83" fmla="*/ 19 h 53"/>
                <a:gd name="T84" fmla="*/ 7 w 147"/>
                <a:gd name="T85" fmla="*/ 0 h 53"/>
                <a:gd name="T86" fmla="*/ 7 w 147"/>
                <a:gd name="T87" fmla="*/ 3 h 53"/>
                <a:gd name="T88" fmla="*/ 7 w 147"/>
                <a:gd name="T8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7" h="53">
                  <a:moveTo>
                    <a:pt x="60" y="53"/>
                  </a:moveTo>
                  <a:lnTo>
                    <a:pt x="62" y="53"/>
                  </a:lnTo>
                  <a:lnTo>
                    <a:pt x="60" y="53"/>
                  </a:lnTo>
                  <a:close/>
                  <a:moveTo>
                    <a:pt x="62" y="53"/>
                  </a:moveTo>
                  <a:lnTo>
                    <a:pt x="62" y="50"/>
                  </a:lnTo>
                  <a:lnTo>
                    <a:pt x="62" y="53"/>
                  </a:lnTo>
                  <a:close/>
                  <a:moveTo>
                    <a:pt x="102" y="48"/>
                  </a:moveTo>
                  <a:lnTo>
                    <a:pt x="105" y="48"/>
                  </a:lnTo>
                  <a:lnTo>
                    <a:pt x="102" y="48"/>
                  </a:lnTo>
                  <a:close/>
                  <a:moveTo>
                    <a:pt x="102" y="48"/>
                  </a:moveTo>
                  <a:lnTo>
                    <a:pt x="102" y="46"/>
                  </a:lnTo>
                  <a:lnTo>
                    <a:pt x="102" y="48"/>
                  </a:lnTo>
                  <a:close/>
                  <a:moveTo>
                    <a:pt x="86" y="43"/>
                  </a:moveTo>
                  <a:lnTo>
                    <a:pt x="86" y="46"/>
                  </a:lnTo>
                  <a:lnTo>
                    <a:pt x="86" y="43"/>
                  </a:lnTo>
                  <a:close/>
                  <a:moveTo>
                    <a:pt x="50" y="43"/>
                  </a:moveTo>
                  <a:lnTo>
                    <a:pt x="50" y="41"/>
                  </a:lnTo>
                  <a:lnTo>
                    <a:pt x="50" y="43"/>
                  </a:lnTo>
                  <a:close/>
                  <a:moveTo>
                    <a:pt x="102" y="41"/>
                  </a:moveTo>
                  <a:lnTo>
                    <a:pt x="102" y="38"/>
                  </a:lnTo>
                  <a:lnTo>
                    <a:pt x="102" y="41"/>
                  </a:lnTo>
                  <a:close/>
                  <a:moveTo>
                    <a:pt x="102" y="41"/>
                  </a:moveTo>
                  <a:lnTo>
                    <a:pt x="102" y="38"/>
                  </a:lnTo>
                  <a:lnTo>
                    <a:pt x="102" y="41"/>
                  </a:lnTo>
                  <a:close/>
                  <a:moveTo>
                    <a:pt x="102" y="38"/>
                  </a:moveTo>
                  <a:lnTo>
                    <a:pt x="102" y="41"/>
                  </a:lnTo>
                  <a:lnTo>
                    <a:pt x="102" y="38"/>
                  </a:lnTo>
                  <a:close/>
                  <a:moveTo>
                    <a:pt x="112" y="38"/>
                  </a:moveTo>
                  <a:lnTo>
                    <a:pt x="109" y="38"/>
                  </a:lnTo>
                  <a:lnTo>
                    <a:pt x="112" y="38"/>
                  </a:lnTo>
                  <a:close/>
                  <a:moveTo>
                    <a:pt x="3" y="34"/>
                  </a:moveTo>
                  <a:lnTo>
                    <a:pt x="0" y="34"/>
                  </a:lnTo>
                  <a:lnTo>
                    <a:pt x="3" y="34"/>
                  </a:lnTo>
                  <a:close/>
                  <a:moveTo>
                    <a:pt x="7" y="31"/>
                  </a:moveTo>
                  <a:lnTo>
                    <a:pt x="7" y="34"/>
                  </a:lnTo>
                  <a:lnTo>
                    <a:pt x="7" y="31"/>
                  </a:lnTo>
                  <a:close/>
                  <a:moveTo>
                    <a:pt x="147" y="19"/>
                  </a:moveTo>
                  <a:lnTo>
                    <a:pt x="147" y="22"/>
                  </a:lnTo>
                  <a:lnTo>
                    <a:pt x="147" y="19"/>
                  </a:lnTo>
                  <a:close/>
                  <a:moveTo>
                    <a:pt x="26" y="19"/>
                  </a:moveTo>
                  <a:lnTo>
                    <a:pt x="26" y="17"/>
                  </a:lnTo>
                  <a:lnTo>
                    <a:pt x="26" y="19"/>
                  </a:lnTo>
                  <a:close/>
                  <a:moveTo>
                    <a:pt x="7" y="0"/>
                  </a:moveTo>
                  <a:lnTo>
                    <a:pt x="7" y="3"/>
                  </a:lnTo>
                  <a:lnTo>
                    <a:pt x="7"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7" name="Freeform 57767"/>
            <p:cNvSpPr>
              <a:spLocks noEditPoints="1"/>
            </p:cNvSpPr>
            <p:nvPr/>
          </p:nvSpPr>
          <p:spPr bwMode="auto">
            <a:xfrm>
              <a:off x="1652585" y="3841765"/>
              <a:ext cx="320675" cy="614366"/>
            </a:xfrm>
            <a:custGeom>
              <a:avLst/>
              <a:gdLst>
                <a:gd name="T0" fmla="*/ 95 w 202"/>
                <a:gd name="T1" fmla="*/ 387 h 387"/>
                <a:gd name="T2" fmla="*/ 88 w 202"/>
                <a:gd name="T3" fmla="*/ 373 h 387"/>
                <a:gd name="T4" fmla="*/ 64 w 202"/>
                <a:gd name="T5" fmla="*/ 271 h 387"/>
                <a:gd name="T6" fmla="*/ 36 w 202"/>
                <a:gd name="T7" fmla="*/ 249 h 387"/>
                <a:gd name="T8" fmla="*/ 36 w 202"/>
                <a:gd name="T9" fmla="*/ 261 h 387"/>
                <a:gd name="T10" fmla="*/ 26 w 202"/>
                <a:gd name="T11" fmla="*/ 254 h 387"/>
                <a:gd name="T12" fmla="*/ 24 w 202"/>
                <a:gd name="T13" fmla="*/ 249 h 387"/>
                <a:gd name="T14" fmla="*/ 33 w 202"/>
                <a:gd name="T15" fmla="*/ 245 h 387"/>
                <a:gd name="T16" fmla="*/ 38 w 202"/>
                <a:gd name="T17" fmla="*/ 252 h 387"/>
                <a:gd name="T18" fmla="*/ 38 w 202"/>
                <a:gd name="T19" fmla="*/ 245 h 387"/>
                <a:gd name="T20" fmla="*/ 38 w 202"/>
                <a:gd name="T21" fmla="*/ 214 h 387"/>
                <a:gd name="T22" fmla="*/ 47 w 202"/>
                <a:gd name="T23" fmla="*/ 221 h 387"/>
                <a:gd name="T24" fmla="*/ 38 w 202"/>
                <a:gd name="T25" fmla="*/ 228 h 387"/>
                <a:gd name="T26" fmla="*/ 31 w 202"/>
                <a:gd name="T27" fmla="*/ 226 h 387"/>
                <a:gd name="T28" fmla="*/ 33 w 202"/>
                <a:gd name="T29" fmla="*/ 223 h 387"/>
                <a:gd name="T30" fmla="*/ 28 w 202"/>
                <a:gd name="T31" fmla="*/ 216 h 387"/>
                <a:gd name="T32" fmla="*/ 31 w 202"/>
                <a:gd name="T33" fmla="*/ 209 h 387"/>
                <a:gd name="T34" fmla="*/ 47 w 202"/>
                <a:gd name="T35" fmla="*/ 176 h 387"/>
                <a:gd name="T36" fmla="*/ 38 w 202"/>
                <a:gd name="T37" fmla="*/ 190 h 387"/>
                <a:gd name="T38" fmla="*/ 38 w 202"/>
                <a:gd name="T39" fmla="*/ 180 h 387"/>
                <a:gd name="T40" fmla="*/ 33 w 202"/>
                <a:gd name="T41" fmla="*/ 183 h 387"/>
                <a:gd name="T42" fmla="*/ 26 w 202"/>
                <a:gd name="T43" fmla="*/ 176 h 387"/>
                <a:gd name="T44" fmla="*/ 14 w 202"/>
                <a:gd name="T45" fmla="*/ 171 h 387"/>
                <a:gd name="T46" fmla="*/ 19 w 202"/>
                <a:gd name="T47" fmla="*/ 164 h 387"/>
                <a:gd name="T48" fmla="*/ 28 w 202"/>
                <a:gd name="T49" fmla="*/ 166 h 387"/>
                <a:gd name="T50" fmla="*/ 24 w 202"/>
                <a:gd name="T51" fmla="*/ 159 h 387"/>
                <a:gd name="T52" fmla="*/ 31 w 202"/>
                <a:gd name="T53" fmla="*/ 169 h 387"/>
                <a:gd name="T54" fmla="*/ 31 w 202"/>
                <a:gd name="T55" fmla="*/ 121 h 387"/>
                <a:gd name="T56" fmla="*/ 31 w 202"/>
                <a:gd name="T57" fmla="*/ 128 h 387"/>
                <a:gd name="T58" fmla="*/ 21 w 202"/>
                <a:gd name="T59" fmla="*/ 130 h 387"/>
                <a:gd name="T60" fmla="*/ 24 w 202"/>
                <a:gd name="T61" fmla="*/ 135 h 387"/>
                <a:gd name="T62" fmla="*/ 21 w 202"/>
                <a:gd name="T63" fmla="*/ 142 h 387"/>
                <a:gd name="T64" fmla="*/ 14 w 202"/>
                <a:gd name="T65" fmla="*/ 138 h 387"/>
                <a:gd name="T66" fmla="*/ 14 w 202"/>
                <a:gd name="T67" fmla="*/ 142 h 387"/>
                <a:gd name="T68" fmla="*/ 9 w 202"/>
                <a:gd name="T69" fmla="*/ 150 h 387"/>
                <a:gd name="T70" fmla="*/ 2 w 202"/>
                <a:gd name="T71" fmla="*/ 150 h 387"/>
                <a:gd name="T72" fmla="*/ 5 w 202"/>
                <a:gd name="T73" fmla="*/ 142 h 387"/>
                <a:gd name="T74" fmla="*/ 2 w 202"/>
                <a:gd name="T75" fmla="*/ 133 h 387"/>
                <a:gd name="T76" fmla="*/ 5 w 202"/>
                <a:gd name="T77" fmla="*/ 128 h 387"/>
                <a:gd name="T78" fmla="*/ 12 w 202"/>
                <a:gd name="T79" fmla="*/ 128 h 387"/>
                <a:gd name="T80" fmla="*/ 28 w 202"/>
                <a:gd name="T81" fmla="*/ 114 h 387"/>
                <a:gd name="T82" fmla="*/ 135 w 202"/>
                <a:gd name="T83" fmla="*/ 88 h 387"/>
                <a:gd name="T84" fmla="*/ 145 w 202"/>
                <a:gd name="T85" fmla="*/ 90 h 387"/>
                <a:gd name="T86" fmla="*/ 140 w 202"/>
                <a:gd name="T87" fmla="*/ 100 h 387"/>
                <a:gd name="T88" fmla="*/ 140 w 202"/>
                <a:gd name="T89" fmla="*/ 92 h 387"/>
                <a:gd name="T90" fmla="*/ 130 w 202"/>
                <a:gd name="T91" fmla="*/ 85 h 387"/>
                <a:gd name="T92" fmla="*/ 126 w 202"/>
                <a:gd name="T93" fmla="*/ 78 h 387"/>
                <a:gd name="T94" fmla="*/ 192 w 202"/>
                <a:gd name="T95" fmla="*/ 9 h 387"/>
                <a:gd name="T96" fmla="*/ 199 w 202"/>
                <a:gd name="T97" fmla="*/ 9 h 387"/>
                <a:gd name="T98" fmla="*/ 199 w 202"/>
                <a:gd name="T99" fmla="*/ 19 h 387"/>
                <a:gd name="T100" fmla="*/ 199 w 202"/>
                <a:gd name="T101" fmla="*/ 24 h 387"/>
                <a:gd name="T102" fmla="*/ 194 w 202"/>
                <a:gd name="T103" fmla="*/ 35 h 387"/>
                <a:gd name="T104" fmla="*/ 190 w 202"/>
                <a:gd name="T105" fmla="*/ 38 h 387"/>
                <a:gd name="T106" fmla="*/ 192 w 202"/>
                <a:gd name="T107" fmla="*/ 21 h 387"/>
                <a:gd name="T108" fmla="*/ 192 w 202"/>
                <a:gd name="T109" fmla="*/ 24 h 387"/>
                <a:gd name="T110" fmla="*/ 185 w 202"/>
                <a:gd name="T111" fmla="*/ 24 h 387"/>
                <a:gd name="T112" fmla="*/ 180 w 202"/>
                <a:gd name="T113" fmla="*/ 21 h 387"/>
                <a:gd name="T114" fmla="*/ 187 w 202"/>
                <a:gd name="T115" fmla="*/ 19 h 387"/>
                <a:gd name="T116" fmla="*/ 192 w 202"/>
                <a:gd name="T117" fmla="*/ 14 h 387"/>
                <a:gd name="T118" fmla="*/ 187 w 202"/>
                <a:gd name="T119" fmla="*/ 7 h 387"/>
                <a:gd name="T120" fmla="*/ 187 w 202"/>
                <a:gd name="T121" fmla="*/ 5 h 387"/>
                <a:gd name="T122" fmla="*/ 187 w 202"/>
                <a:gd name="T123"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387">
                  <a:moveTo>
                    <a:pt x="90" y="373"/>
                  </a:moveTo>
                  <a:lnTo>
                    <a:pt x="92" y="373"/>
                  </a:lnTo>
                  <a:lnTo>
                    <a:pt x="95" y="373"/>
                  </a:lnTo>
                  <a:lnTo>
                    <a:pt x="95" y="375"/>
                  </a:lnTo>
                  <a:lnTo>
                    <a:pt x="97" y="375"/>
                  </a:lnTo>
                  <a:lnTo>
                    <a:pt x="97" y="378"/>
                  </a:lnTo>
                  <a:lnTo>
                    <a:pt x="100" y="378"/>
                  </a:lnTo>
                  <a:lnTo>
                    <a:pt x="102" y="378"/>
                  </a:lnTo>
                  <a:lnTo>
                    <a:pt x="102" y="380"/>
                  </a:lnTo>
                  <a:lnTo>
                    <a:pt x="100" y="380"/>
                  </a:lnTo>
                  <a:lnTo>
                    <a:pt x="100" y="382"/>
                  </a:lnTo>
                  <a:lnTo>
                    <a:pt x="97" y="382"/>
                  </a:lnTo>
                  <a:lnTo>
                    <a:pt x="97" y="385"/>
                  </a:lnTo>
                  <a:lnTo>
                    <a:pt x="95" y="385"/>
                  </a:lnTo>
                  <a:lnTo>
                    <a:pt x="95" y="387"/>
                  </a:lnTo>
                  <a:lnTo>
                    <a:pt x="92" y="387"/>
                  </a:lnTo>
                  <a:lnTo>
                    <a:pt x="90" y="387"/>
                  </a:lnTo>
                  <a:lnTo>
                    <a:pt x="90" y="385"/>
                  </a:lnTo>
                  <a:lnTo>
                    <a:pt x="92" y="385"/>
                  </a:lnTo>
                  <a:lnTo>
                    <a:pt x="90" y="385"/>
                  </a:lnTo>
                  <a:lnTo>
                    <a:pt x="88" y="385"/>
                  </a:lnTo>
                  <a:lnTo>
                    <a:pt x="90" y="385"/>
                  </a:lnTo>
                  <a:lnTo>
                    <a:pt x="88" y="385"/>
                  </a:lnTo>
                  <a:lnTo>
                    <a:pt x="88" y="382"/>
                  </a:lnTo>
                  <a:lnTo>
                    <a:pt x="85" y="382"/>
                  </a:lnTo>
                  <a:lnTo>
                    <a:pt x="85" y="380"/>
                  </a:lnTo>
                  <a:lnTo>
                    <a:pt x="85" y="378"/>
                  </a:lnTo>
                  <a:lnTo>
                    <a:pt x="85" y="375"/>
                  </a:lnTo>
                  <a:lnTo>
                    <a:pt x="85" y="373"/>
                  </a:lnTo>
                  <a:lnTo>
                    <a:pt x="88" y="373"/>
                  </a:lnTo>
                  <a:lnTo>
                    <a:pt x="90" y="373"/>
                  </a:lnTo>
                  <a:close/>
                  <a:moveTo>
                    <a:pt x="62" y="256"/>
                  </a:moveTo>
                  <a:lnTo>
                    <a:pt x="64" y="256"/>
                  </a:lnTo>
                  <a:lnTo>
                    <a:pt x="64" y="259"/>
                  </a:lnTo>
                  <a:lnTo>
                    <a:pt x="66" y="259"/>
                  </a:lnTo>
                  <a:lnTo>
                    <a:pt x="66" y="261"/>
                  </a:lnTo>
                  <a:lnTo>
                    <a:pt x="66" y="264"/>
                  </a:lnTo>
                  <a:lnTo>
                    <a:pt x="69" y="264"/>
                  </a:lnTo>
                  <a:lnTo>
                    <a:pt x="69" y="266"/>
                  </a:lnTo>
                  <a:lnTo>
                    <a:pt x="66" y="266"/>
                  </a:lnTo>
                  <a:lnTo>
                    <a:pt x="69" y="266"/>
                  </a:lnTo>
                  <a:lnTo>
                    <a:pt x="69" y="268"/>
                  </a:lnTo>
                  <a:lnTo>
                    <a:pt x="69" y="271"/>
                  </a:lnTo>
                  <a:lnTo>
                    <a:pt x="66" y="271"/>
                  </a:lnTo>
                  <a:lnTo>
                    <a:pt x="64" y="271"/>
                  </a:lnTo>
                  <a:lnTo>
                    <a:pt x="62" y="271"/>
                  </a:lnTo>
                  <a:lnTo>
                    <a:pt x="62" y="268"/>
                  </a:lnTo>
                  <a:lnTo>
                    <a:pt x="59" y="268"/>
                  </a:lnTo>
                  <a:lnTo>
                    <a:pt x="59" y="266"/>
                  </a:lnTo>
                  <a:lnTo>
                    <a:pt x="59" y="264"/>
                  </a:lnTo>
                  <a:lnTo>
                    <a:pt x="59" y="261"/>
                  </a:lnTo>
                  <a:lnTo>
                    <a:pt x="57" y="261"/>
                  </a:lnTo>
                  <a:lnTo>
                    <a:pt x="59" y="261"/>
                  </a:lnTo>
                  <a:lnTo>
                    <a:pt x="59" y="259"/>
                  </a:lnTo>
                  <a:lnTo>
                    <a:pt x="59" y="256"/>
                  </a:lnTo>
                  <a:lnTo>
                    <a:pt x="62" y="256"/>
                  </a:lnTo>
                  <a:close/>
                  <a:moveTo>
                    <a:pt x="33" y="245"/>
                  </a:moveTo>
                  <a:lnTo>
                    <a:pt x="33" y="247"/>
                  </a:lnTo>
                  <a:lnTo>
                    <a:pt x="33" y="249"/>
                  </a:lnTo>
                  <a:lnTo>
                    <a:pt x="36" y="249"/>
                  </a:lnTo>
                  <a:lnTo>
                    <a:pt x="36" y="252"/>
                  </a:lnTo>
                  <a:lnTo>
                    <a:pt x="36" y="254"/>
                  </a:lnTo>
                  <a:lnTo>
                    <a:pt x="36" y="256"/>
                  </a:lnTo>
                  <a:lnTo>
                    <a:pt x="38" y="256"/>
                  </a:lnTo>
                  <a:lnTo>
                    <a:pt x="36" y="256"/>
                  </a:lnTo>
                  <a:lnTo>
                    <a:pt x="38" y="256"/>
                  </a:lnTo>
                  <a:lnTo>
                    <a:pt x="36" y="256"/>
                  </a:lnTo>
                  <a:lnTo>
                    <a:pt x="38" y="256"/>
                  </a:lnTo>
                  <a:lnTo>
                    <a:pt x="38" y="259"/>
                  </a:lnTo>
                  <a:lnTo>
                    <a:pt x="38" y="256"/>
                  </a:lnTo>
                  <a:lnTo>
                    <a:pt x="38" y="259"/>
                  </a:lnTo>
                  <a:lnTo>
                    <a:pt x="36" y="259"/>
                  </a:lnTo>
                  <a:lnTo>
                    <a:pt x="36" y="261"/>
                  </a:lnTo>
                  <a:lnTo>
                    <a:pt x="36" y="259"/>
                  </a:lnTo>
                  <a:lnTo>
                    <a:pt x="36" y="261"/>
                  </a:lnTo>
                  <a:lnTo>
                    <a:pt x="33" y="261"/>
                  </a:lnTo>
                  <a:lnTo>
                    <a:pt x="31" y="261"/>
                  </a:lnTo>
                  <a:lnTo>
                    <a:pt x="31" y="264"/>
                  </a:lnTo>
                  <a:lnTo>
                    <a:pt x="28" y="264"/>
                  </a:lnTo>
                  <a:lnTo>
                    <a:pt x="26" y="264"/>
                  </a:lnTo>
                  <a:lnTo>
                    <a:pt x="26" y="261"/>
                  </a:lnTo>
                  <a:lnTo>
                    <a:pt x="28" y="261"/>
                  </a:lnTo>
                  <a:lnTo>
                    <a:pt x="28" y="259"/>
                  </a:lnTo>
                  <a:lnTo>
                    <a:pt x="28" y="256"/>
                  </a:lnTo>
                  <a:lnTo>
                    <a:pt x="26" y="256"/>
                  </a:lnTo>
                  <a:lnTo>
                    <a:pt x="26" y="254"/>
                  </a:lnTo>
                  <a:lnTo>
                    <a:pt x="28" y="254"/>
                  </a:lnTo>
                  <a:lnTo>
                    <a:pt x="31" y="254"/>
                  </a:lnTo>
                  <a:lnTo>
                    <a:pt x="28" y="254"/>
                  </a:lnTo>
                  <a:lnTo>
                    <a:pt x="26" y="254"/>
                  </a:lnTo>
                  <a:lnTo>
                    <a:pt x="26" y="256"/>
                  </a:lnTo>
                  <a:lnTo>
                    <a:pt x="24" y="256"/>
                  </a:lnTo>
                  <a:lnTo>
                    <a:pt x="24" y="259"/>
                  </a:lnTo>
                  <a:lnTo>
                    <a:pt x="21" y="259"/>
                  </a:lnTo>
                  <a:lnTo>
                    <a:pt x="21" y="256"/>
                  </a:lnTo>
                  <a:lnTo>
                    <a:pt x="21" y="254"/>
                  </a:lnTo>
                  <a:lnTo>
                    <a:pt x="24" y="254"/>
                  </a:lnTo>
                  <a:lnTo>
                    <a:pt x="21" y="254"/>
                  </a:lnTo>
                  <a:lnTo>
                    <a:pt x="24" y="254"/>
                  </a:lnTo>
                  <a:lnTo>
                    <a:pt x="21" y="254"/>
                  </a:lnTo>
                  <a:lnTo>
                    <a:pt x="21" y="252"/>
                  </a:lnTo>
                  <a:lnTo>
                    <a:pt x="21" y="254"/>
                  </a:lnTo>
                  <a:lnTo>
                    <a:pt x="21" y="252"/>
                  </a:lnTo>
                  <a:lnTo>
                    <a:pt x="24" y="252"/>
                  </a:lnTo>
                  <a:lnTo>
                    <a:pt x="24" y="249"/>
                  </a:lnTo>
                  <a:lnTo>
                    <a:pt x="26" y="249"/>
                  </a:lnTo>
                  <a:lnTo>
                    <a:pt x="26" y="247"/>
                  </a:lnTo>
                  <a:lnTo>
                    <a:pt x="26" y="249"/>
                  </a:lnTo>
                  <a:lnTo>
                    <a:pt x="26" y="247"/>
                  </a:lnTo>
                  <a:lnTo>
                    <a:pt x="28" y="247"/>
                  </a:lnTo>
                  <a:lnTo>
                    <a:pt x="26" y="249"/>
                  </a:lnTo>
                  <a:lnTo>
                    <a:pt x="26" y="252"/>
                  </a:lnTo>
                  <a:lnTo>
                    <a:pt x="28" y="252"/>
                  </a:lnTo>
                  <a:lnTo>
                    <a:pt x="26" y="252"/>
                  </a:lnTo>
                  <a:lnTo>
                    <a:pt x="26" y="249"/>
                  </a:lnTo>
                  <a:lnTo>
                    <a:pt x="28" y="249"/>
                  </a:lnTo>
                  <a:lnTo>
                    <a:pt x="28" y="247"/>
                  </a:lnTo>
                  <a:lnTo>
                    <a:pt x="31" y="247"/>
                  </a:lnTo>
                  <a:lnTo>
                    <a:pt x="33" y="247"/>
                  </a:lnTo>
                  <a:lnTo>
                    <a:pt x="33" y="245"/>
                  </a:lnTo>
                  <a:close/>
                  <a:moveTo>
                    <a:pt x="47" y="235"/>
                  </a:moveTo>
                  <a:lnTo>
                    <a:pt x="47" y="237"/>
                  </a:lnTo>
                  <a:lnTo>
                    <a:pt x="47" y="240"/>
                  </a:lnTo>
                  <a:lnTo>
                    <a:pt x="45" y="240"/>
                  </a:lnTo>
                  <a:lnTo>
                    <a:pt x="45" y="242"/>
                  </a:lnTo>
                  <a:lnTo>
                    <a:pt x="43" y="245"/>
                  </a:lnTo>
                  <a:lnTo>
                    <a:pt x="43" y="247"/>
                  </a:lnTo>
                  <a:lnTo>
                    <a:pt x="43" y="249"/>
                  </a:lnTo>
                  <a:lnTo>
                    <a:pt x="43" y="247"/>
                  </a:lnTo>
                  <a:lnTo>
                    <a:pt x="40" y="247"/>
                  </a:lnTo>
                  <a:lnTo>
                    <a:pt x="40" y="249"/>
                  </a:lnTo>
                  <a:lnTo>
                    <a:pt x="43" y="249"/>
                  </a:lnTo>
                  <a:lnTo>
                    <a:pt x="40" y="249"/>
                  </a:lnTo>
                  <a:lnTo>
                    <a:pt x="40" y="252"/>
                  </a:lnTo>
                  <a:lnTo>
                    <a:pt x="38" y="252"/>
                  </a:lnTo>
                  <a:lnTo>
                    <a:pt x="36" y="252"/>
                  </a:lnTo>
                  <a:lnTo>
                    <a:pt x="36" y="249"/>
                  </a:lnTo>
                  <a:lnTo>
                    <a:pt x="36" y="247"/>
                  </a:lnTo>
                  <a:lnTo>
                    <a:pt x="36" y="245"/>
                  </a:lnTo>
                  <a:lnTo>
                    <a:pt x="38" y="245"/>
                  </a:lnTo>
                  <a:lnTo>
                    <a:pt x="40" y="245"/>
                  </a:lnTo>
                  <a:lnTo>
                    <a:pt x="43" y="245"/>
                  </a:lnTo>
                  <a:lnTo>
                    <a:pt x="43" y="242"/>
                  </a:lnTo>
                  <a:lnTo>
                    <a:pt x="40" y="242"/>
                  </a:lnTo>
                  <a:lnTo>
                    <a:pt x="40" y="245"/>
                  </a:lnTo>
                  <a:lnTo>
                    <a:pt x="40" y="242"/>
                  </a:lnTo>
                  <a:lnTo>
                    <a:pt x="40" y="245"/>
                  </a:lnTo>
                  <a:lnTo>
                    <a:pt x="38" y="245"/>
                  </a:lnTo>
                  <a:lnTo>
                    <a:pt x="38" y="242"/>
                  </a:lnTo>
                  <a:lnTo>
                    <a:pt x="38" y="245"/>
                  </a:lnTo>
                  <a:lnTo>
                    <a:pt x="38" y="242"/>
                  </a:lnTo>
                  <a:lnTo>
                    <a:pt x="38" y="245"/>
                  </a:lnTo>
                  <a:lnTo>
                    <a:pt x="38" y="242"/>
                  </a:lnTo>
                  <a:lnTo>
                    <a:pt x="40" y="242"/>
                  </a:lnTo>
                  <a:lnTo>
                    <a:pt x="38" y="242"/>
                  </a:lnTo>
                  <a:lnTo>
                    <a:pt x="40" y="240"/>
                  </a:lnTo>
                  <a:lnTo>
                    <a:pt x="43" y="237"/>
                  </a:lnTo>
                  <a:lnTo>
                    <a:pt x="45" y="237"/>
                  </a:lnTo>
                  <a:lnTo>
                    <a:pt x="45" y="235"/>
                  </a:lnTo>
                  <a:lnTo>
                    <a:pt x="47" y="235"/>
                  </a:lnTo>
                  <a:close/>
                  <a:moveTo>
                    <a:pt x="33" y="209"/>
                  </a:moveTo>
                  <a:lnTo>
                    <a:pt x="36" y="209"/>
                  </a:lnTo>
                  <a:lnTo>
                    <a:pt x="36" y="211"/>
                  </a:lnTo>
                  <a:lnTo>
                    <a:pt x="38" y="211"/>
                  </a:lnTo>
                  <a:lnTo>
                    <a:pt x="38" y="214"/>
                  </a:lnTo>
                  <a:lnTo>
                    <a:pt x="40" y="214"/>
                  </a:lnTo>
                  <a:lnTo>
                    <a:pt x="38" y="214"/>
                  </a:lnTo>
                  <a:lnTo>
                    <a:pt x="40" y="214"/>
                  </a:lnTo>
                  <a:lnTo>
                    <a:pt x="40" y="216"/>
                  </a:lnTo>
                  <a:lnTo>
                    <a:pt x="43" y="216"/>
                  </a:lnTo>
                  <a:lnTo>
                    <a:pt x="45" y="216"/>
                  </a:lnTo>
                  <a:lnTo>
                    <a:pt x="47" y="218"/>
                  </a:lnTo>
                  <a:lnTo>
                    <a:pt x="47" y="216"/>
                  </a:lnTo>
                  <a:lnTo>
                    <a:pt x="47" y="218"/>
                  </a:lnTo>
                  <a:lnTo>
                    <a:pt x="50" y="218"/>
                  </a:lnTo>
                  <a:lnTo>
                    <a:pt x="50" y="221"/>
                  </a:lnTo>
                  <a:lnTo>
                    <a:pt x="47" y="218"/>
                  </a:lnTo>
                  <a:lnTo>
                    <a:pt x="47" y="221"/>
                  </a:lnTo>
                  <a:lnTo>
                    <a:pt x="47" y="218"/>
                  </a:lnTo>
                  <a:lnTo>
                    <a:pt x="47" y="221"/>
                  </a:lnTo>
                  <a:lnTo>
                    <a:pt x="50" y="221"/>
                  </a:lnTo>
                  <a:lnTo>
                    <a:pt x="50" y="223"/>
                  </a:lnTo>
                  <a:lnTo>
                    <a:pt x="47" y="223"/>
                  </a:lnTo>
                  <a:lnTo>
                    <a:pt x="47" y="221"/>
                  </a:lnTo>
                  <a:lnTo>
                    <a:pt x="45" y="221"/>
                  </a:lnTo>
                  <a:lnTo>
                    <a:pt x="45" y="223"/>
                  </a:lnTo>
                  <a:lnTo>
                    <a:pt x="47" y="223"/>
                  </a:lnTo>
                  <a:lnTo>
                    <a:pt x="47" y="226"/>
                  </a:lnTo>
                  <a:lnTo>
                    <a:pt x="45" y="226"/>
                  </a:lnTo>
                  <a:lnTo>
                    <a:pt x="43" y="226"/>
                  </a:lnTo>
                  <a:lnTo>
                    <a:pt x="43" y="223"/>
                  </a:lnTo>
                  <a:lnTo>
                    <a:pt x="40" y="223"/>
                  </a:lnTo>
                  <a:lnTo>
                    <a:pt x="40" y="226"/>
                  </a:lnTo>
                  <a:lnTo>
                    <a:pt x="38" y="226"/>
                  </a:lnTo>
                  <a:lnTo>
                    <a:pt x="38" y="228"/>
                  </a:lnTo>
                  <a:lnTo>
                    <a:pt x="36" y="228"/>
                  </a:lnTo>
                  <a:lnTo>
                    <a:pt x="36" y="226"/>
                  </a:lnTo>
                  <a:lnTo>
                    <a:pt x="36" y="228"/>
                  </a:lnTo>
                  <a:lnTo>
                    <a:pt x="33" y="228"/>
                  </a:lnTo>
                  <a:lnTo>
                    <a:pt x="31" y="228"/>
                  </a:lnTo>
                  <a:lnTo>
                    <a:pt x="28" y="228"/>
                  </a:lnTo>
                  <a:lnTo>
                    <a:pt x="26" y="228"/>
                  </a:lnTo>
                  <a:lnTo>
                    <a:pt x="26" y="226"/>
                  </a:lnTo>
                  <a:lnTo>
                    <a:pt x="26" y="228"/>
                  </a:lnTo>
                  <a:lnTo>
                    <a:pt x="26" y="226"/>
                  </a:lnTo>
                  <a:lnTo>
                    <a:pt x="26" y="223"/>
                  </a:lnTo>
                  <a:lnTo>
                    <a:pt x="28" y="226"/>
                  </a:lnTo>
                  <a:lnTo>
                    <a:pt x="28" y="223"/>
                  </a:lnTo>
                  <a:lnTo>
                    <a:pt x="28" y="226"/>
                  </a:lnTo>
                  <a:lnTo>
                    <a:pt x="31" y="226"/>
                  </a:lnTo>
                  <a:lnTo>
                    <a:pt x="28" y="226"/>
                  </a:lnTo>
                  <a:lnTo>
                    <a:pt x="31" y="226"/>
                  </a:lnTo>
                  <a:lnTo>
                    <a:pt x="33" y="226"/>
                  </a:lnTo>
                  <a:lnTo>
                    <a:pt x="31" y="226"/>
                  </a:lnTo>
                  <a:lnTo>
                    <a:pt x="33" y="226"/>
                  </a:lnTo>
                  <a:lnTo>
                    <a:pt x="33" y="223"/>
                  </a:lnTo>
                  <a:lnTo>
                    <a:pt x="33" y="226"/>
                  </a:lnTo>
                  <a:lnTo>
                    <a:pt x="36" y="226"/>
                  </a:lnTo>
                  <a:lnTo>
                    <a:pt x="36" y="223"/>
                  </a:lnTo>
                  <a:lnTo>
                    <a:pt x="38" y="223"/>
                  </a:lnTo>
                  <a:lnTo>
                    <a:pt x="38" y="221"/>
                  </a:lnTo>
                  <a:lnTo>
                    <a:pt x="38" y="223"/>
                  </a:lnTo>
                  <a:lnTo>
                    <a:pt x="38" y="221"/>
                  </a:lnTo>
                  <a:lnTo>
                    <a:pt x="36" y="223"/>
                  </a:lnTo>
                  <a:lnTo>
                    <a:pt x="33" y="223"/>
                  </a:lnTo>
                  <a:lnTo>
                    <a:pt x="31" y="223"/>
                  </a:lnTo>
                  <a:lnTo>
                    <a:pt x="31" y="221"/>
                  </a:lnTo>
                  <a:lnTo>
                    <a:pt x="33" y="221"/>
                  </a:lnTo>
                  <a:lnTo>
                    <a:pt x="33" y="218"/>
                  </a:lnTo>
                  <a:lnTo>
                    <a:pt x="36" y="218"/>
                  </a:lnTo>
                  <a:lnTo>
                    <a:pt x="38" y="218"/>
                  </a:lnTo>
                  <a:lnTo>
                    <a:pt x="38" y="216"/>
                  </a:lnTo>
                  <a:lnTo>
                    <a:pt x="36" y="216"/>
                  </a:lnTo>
                  <a:lnTo>
                    <a:pt x="36" y="218"/>
                  </a:lnTo>
                  <a:lnTo>
                    <a:pt x="33" y="218"/>
                  </a:lnTo>
                  <a:lnTo>
                    <a:pt x="31" y="218"/>
                  </a:lnTo>
                  <a:lnTo>
                    <a:pt x="28" y="218"/>
                  </a:lnTo>
                  <a:lnTo>
                    <a:pt x="28" y="216"/>
                  </a:lnTo>
                  <a:lnTo>
                    <a:pt x="28" y="218"/>
                  </a:lnTo>
                  <a:lnTo>
                    <a:pt x="28" y="216"/>
                  </a:lnTo>
                  <a:lnTo>
                    <a:pt x="31" y="216"/>
                  </a:lnTo>
                  <a:lnTo>
                    <a:pt x="33" y="218"/>
                  </a:lnTo>
                  <a:lnTo>
                    <a:pt x="33" y="216"/>
                  </a:lnTo>
                  <a:lnTo>
                    <a:pt x="33" y="218"/>
                  </a:lnTo>
                  <a:lnTo>
                    <a:pt x="33" y="216"/>
                  </a:lnTo>
                  <a:lnTo>
                    <a:pt x="31" y="216"/>
                  </a:lnTo>
                  <a:lnTo>
                    <a:pt x="28" y="216"/>
                  </a:lnTo>
                  <a:lnTo>
                    <a:pt x="28" y="214"/>
                  </a:lnTo>
                  <a:lnTo>
                    <a:pt x="26" y="214"/>
                  </a:lnTo>
                  <a:lnTo>
                    <a:pt x="28" y="214"/>
                  </a:lnTo>
                  <a:lnTo>
                    <a:pt x="28" y="211"/>
                  </a:lnTo>
                  <a:lnTo>
                    <a:pt x="28" y="214"/>
                  </a:lnTo>
                  <a:lnTo>
                    <a:pt x="28" y="211"/>
                  </a:lnTo>
                  <a:lnTo>
                    <a:pt x="31" y="211"/>
                  </a:lnTo>
                  <a:lnTo>
                    <a:pt x="31" y="209"/>
                  </a:lnTo>
                  <a:lnTo>
                    <a:pt x="33" y="209"/>
                  </a:lnTo>
                  <a:close/>
                  <a:moveTo>
                    <a:pt x="33" y="176"/>
                  </a:moveTo>
                  <a:lnTo>
                    <a:pt x="33" y="173"/>
                  </a:lnTo>
                  <a:lnTo>
                    <a:pt x="36" y="173"/>
                  </a:lnTo>
                  <a:lnTo>
                    <a:pt x="36" y="176"/>
                  </a:lnTo>
                  <a:lnTo>
                    <a:pt x="36" y="173"/>
                  </a:lnTo>
                  <a:lnTo>
                    <a:pt x="36" y="176"/>
                  </a:lnTo>
                  <a:lnTo>
                    <a:pt x="36" y="178"/>
                  </a:lnTo>
                  <a:lnTo>
                    <a:pt x="36" y="176"/>
                  </a:lnTo>
                  <a:lnTo>
                    <a:pt x="38" y="176"/>
                  </a:lnTo>
                  <a:lnTo>
                    <a:pt x="40" y="178"/>
                  </a:lnTo>
                  <a:lnTo>
                    <a:pt x="43" y="178"/>
                  </a:lnTo>
                  <a:lnTo>
                    <a:pt x="45" y="178"/>
                  </a:lnTo>
                  <a:lnTo>
                    <a:pt x="45" y="176"/>
                  </a:lnTo>
                  <a:lnTo>
                    <a:pt x="47" y="176"/>
                  </a:lnTo>
                  <a:lnTo>
                    <a:pt x="47" y="178"/>
                  </a:lnTo>
                  <a:lnTo>
                    <a:pt x="50" y="178"/>
                  </a:lnTo>
                  <a:lnTo>
                    <a:pt x="50" y="180"/>
                  </a:lnTo>
                  <a:lnTo>
                    <a:pt x="47" y="180"/>
                  </a:lnTo>
                  <a:lnTo>
                    <a:pt x="45" y="183"/>
                  </a:lnTo>
                  <a:lnTo>
                    <a:pt x="45" y="180"/>
                  </a:lnTo>
                  <a:lnTo>
                    <a:pt x="45" y="183"/>
                  </a:lnTo>
                  <a:lnTo>
                    <a:pt x="45" y="185"/>
                  </a:lnTo>
                  <a:lnTo>
                    <a:pt x="43" y="185"/>
                  </a:lnTo>
                  <a:lnTo>
                    <a:pt x="43" y="188"/>
                  </a:lnTo>
                  <a:lnTo>
                    <a:pt x="40" y="188"/>
                  </a:lnTo>
                  <a:lnTo>
                    <a:pt x="43" y="188"/>
                  </a:lnTo>
                  <a:lnTo>
                    <a:pt x="40" y="188"/>
                  </a:lnTo>
                  <a:lnTo>
                    <a:pt x="40" y="190"/>
                  </a:lnTo>
                  <a:lnTo>
                    <a:pt x="38" y="190"/>
                  </a:lnTo>
                  <a:lnTo>
                    <a:pt x="38" y="188"/>
                  </a:lnTo>
                  <a:lnTo>
                    <a:pt x="36" y="188"/>
                  </a:lnTo>
                  <a:lnTo>
                    <a:pt x="38" y="188"/>
                  </a:lnTo>
                  <a:lnTo>
                    <a:pt x="36" y="188"/>
                  </a:lnTo>
                  <a:lnTo>
                    <a:pt x="38" y="188"/>
                  </a:lnTo>
                  <a:lnTo>
                    <a:pt x="38" y="185"/>
                  </a:lnTo>
                  <a:lnTo>
                    <a:pt x="38" y="183"/>
                  </a:lnTo>
                  <a:lnTo>
                    <a:pt x="40" y="183"/>
                  </a:lnTo>
                  <a:lnTo>
                    <a:pt x="43" y="183"/>
                  </a:lnTo>
                  <a:lnTo>
                    <a:pt x="43" y="180"/>
                  </a:lnTo>
                  <a:lnTo>
                    <a:pt x="40" y="180"/>
                  </a:lnTo>
                  <a:lnTo>
                    <a:pt x="43" y="183"/>
                  </a:lnTo>
                  <a:lnTo>
                    <a:pt x="40" y="183"/>
                  </a:lnTo>
                  <a:lnTo>
                    <a:pt x="38" y="183"/>
                  </a:lnTo>
                  <a:lnTo>
                    <a:pt x="38" y="180"/>
                  </a:lnTo>
                  <a:lnTo>
                    <a:pt x="38" y="178"/>
                  </a:lnTo>
                  <a:lnTo>
                    <a:pt x="36" y="178"/>
                  </a:lnTo>
                  <a:lnTo>
                    <a:pt x="38" y="180"/>
                  </a:lnTo>
                  <a:lnTo>
                    <a:pt x="36" y="180"/>
                  </a:lnTo>
                  <a:lnTo>
                    <a:pt x="38" y="180"/>
                  </a:lnTo>
                  <a:lnTo>
                    <a:pt x="36" y="180"/>
                  </a:lnTo>
                  <a:lnTo>
                    <a:pt x="36" y="183"/>
                  </a:lnTo>
                  <a:lnTo>
                    <a:pt x="36" y="185"/>
                  </a:lnTo>
                  <a:lnTo>
                    <a:pt x="36" y="183"/>
                  </a:lnTo>
                  <a:lnTo>
                    <a:pt x="33" y="183"/>
                  </a:lnTo>
                  <a:lnTo>
                    <a:pt x="36" y="183"/>
                  </a:lnTo>
                  <a:lnTo>
                    <a:pt x="33" y="183"/>
                  </a:lnTo>
                  <a:lnTo>
                    <a:pt x="36" y="183"/>
                  </a:lnTo>
                  <a:lnTo>
                    <a:pt x="33" y="180"/>
                  </a:lnTo>
                  <a:lnTo>
                    <a:pt x="33" y="183"/>
                  </a:lnTo>
                  <a:lnTo>
                    <a:pt x="31" y="183"/>
                  </a:lnTo>
                  <a:lnTo>
                    <a:pt x="31" y="180"/>
                  </a:lnTo>
                  <a:lnTo>
                    <a:pt x="31" y="183"/>
                  </a:lnTo>
                  <a:lnTo>
                    <a:pt x="28" y="183"/>
                  </a:lnTo>
                  <a:lnTo>
                    <a:pt x="28" y="180"/>
                  </a:lnTo>
                  <a:lnTo>
                    <a:pt x="26" y="180"/>
                  </a:lnTo>
                  <a:lnTo>
                    <a:pt x="26" y="178"/>
                  </a:lnTo>
                  <a:lnTo>
                    <a:pt x="24" y="178"/>
                  </a:lnTo>
                  <a:lnTo>
                    <a:pt x="24" y="176"/>
                  </a:lnTo>
                  <a:lnTo>
                    <a:pt x="21" y="176"/>
                  </a:lnTo>
                  <a:lnTo>
                    <a:pt x="24" y="173"/>
                  </a:lnTo>
                  <a:lnTo>
                    <a:pt x="26" y="173"/>
                  </a:lnTo>
                  <a:lnTo>
                    <a:pt x="26" y="176"/>
                  </a:lnTo>
                  <a:lnTo>
                    <a:pt x="28" y="176"/>
                  </a:lnTo>
                  <a:lnTo>
                    <a:pt x="26" y="176"/>
                  </a:lnTo>
                  <a:lnTo>
                    <a:pt x="26" y="173"/>
                  </a:lnTo>
                  <a:lnTo>
                    <a:pt x="24" y="173"/>
                  </a:lnTo>
                  <a:lnTo>
                    <a:pt x="26" y="173"/>
                  </a:lnTo>
                  <a:lnTo>
                    <a:pt x="24" y="173"/>
                  </a:lnTo>
                  <a:lnTo>
                    <a:pt x="26" y="171"/>
                  </a:lnTo>
                  <a:lnTo>
                    <a:pt x="24" y="171"/>
                  </a:lnTo>
                  <a:lnTo>
                    <a:pt x="24" y="173"/>
                  </a:lnTo>
                  <a:lnTo>
                    <a:pt x="24" y="171"/>
                  </a:lnTo>
                  <a:lnTo>
                    <a:pt x="21" y="171"/>
                  </a:lnTo>
                  <a:lnTo>
                    <a:pt x="19" y="171"/>
                  </a:lnTo>
                  <a:lnTo>
                    <a:pt x="21" y="171"/>
                  </a:lnTo>
                  <a:lnTo>
                    <a:pt x="19" y="171"/>
                  </a:lnTo>
                  <a:lnTo>
                    <a:pt x="19" y="173"/>
                  </a:lnTo>
                  <a:lnTo>
                    <a:pt x="17" y="173"/>
                  </a:lnTo>
                  <a:lnTo>
                    <a:pt x="14" y="171"/>
                  </a:lnTo>
                  <a:lnTo>
                    <a:pt x="14" y="169"/>
                  </a:lnTo>
                  <a:lnTo>
                    <a:pt x="12" y="169"/>
                  </a:lnTo>
                  <a:lnTo>
                    <a:pt x="12" y="166"/>
                  </a:lnTo>
                  <a:lnTo>
                    <a:pt x="14" y="166"/>
                  </a:lnTo>
                  <a:lnTo>
                    <a:pt x="14" y="169"/>
                  </a:lnTo>
                  <a:lnTo>
                    <a:pt x="14" y="166"/>
                  </a:lnTo>
                  <a:lnTo>
                    <a:pt x="14" y="164"/>
                  </a:lnTo>
                  <a:lnTo>
                    <a:pt x="14" y="166"/>
                  </a:lnTo>
                  <a:lnTo>
                    <a:pt x="17" y="166"/>
                  </a:lnTo>
                  <a:lnTo>
                    <a:pt x="17" y="169"/>
                  </a:lnTo>
                  <a:lnTo>
                    <a:pt x="19" y="169"/>
                  </a:lnTo>
                  <a:lnTo>
                    <a:pt x="19" y="166"/>
                  </a:lnTo>
                  <a:lnTo>
                    <a:pt x="17" y="166"/>
                  </a:lnTo>
                  <a:lnTo>
                    <a:pt x="17" y="164"/>
                  </a:lnTo>
                  <a:lnTo>
                    <a:pt x="19" y="164"/>
                  </a:lnTo>
                  <a:lnTo>
                    <a:pt x="19" y="166"/>
                  </a:lnTo>
                  <a:lnTo>
                    <a:pt x="19" y="164"/>
                  </a:lnTo>
                  <a:lnTo>
                    <a:pt x="17" y="164"/>
                  </a:lnTo>
                  <a:lnTo>
                    <a:pt x="17" y="161"/>
                  </a:lnTo>
                  <a:lnTo>
                    <a:pt x="17" y="159"/>
                  </a:lnTo>
                  <a:lnTo>
                    <a:pt x="19" y="159"/>
                  </a:lnTo>
                  <a:lnTo>
                    <a:pt x="19" y="161"/>
                  </a:lnTo>
                  <a:lnTo>
                    <a:pt x="21" y="161"/>
                  </a:lnTo>
                  <a:lnTo>
                    <a:pt x="21" y="164"/>
                  </a:lnTo>
                  <a:lnTo>
                    <a:pt x="24" y="164"/>
                  </a:lnTo>
                  <a:lnTo>
                    <a:pt x="24" y="166"/>
                  </a:lnTo>
                  <a:lnTo>
                    <a:pt x="24" y="164"/>
                  </a:lnTo>
                  <a:lnTo>
                    <a:pt x="26" y="164"/>
                  </a:lnTo>
                  <a:lnTo>
                    <a:pt x="26" y="166"/>
                  </a:lnTo>
                  <a:lnTo>
                    <a:pt x="28" y="166"/>
                  </a:lnTo>
                  <a:lnTo>
                    <a:pt x="26" y="166"/>
                  </a:lnTo>
                  <a:lnTo>
                    <a:pt x="28" y="166"/>
                  </a:lnTo>
                  <a:lnTo>
                    <a:pt x="26" y="166"/>
                  </a:lnTo>
                  <a:lnTo>
                    <a:pt x="26" y="164"/>
                  </a:lnTo>
                  <a:lnTo>
                    <a:pt x="26" y="161"/>
                  </a:lnTo>
                  <a:lnTo>
                    <a:pt x="24" y="161"/>
                  </a:lnTo>
                  <a:lnTo>
                    <a:pt x="26" y="161"/>
                  </a:lnTo>
                  <a:lnTo>
                    <a:pt x="24" y="161"/>
                  </a:lnTo>
                  <a:lnTo>
                    <a:pt x="26" y="161"/>
                  </a:lnTo>
                  <a:lnTo>
                    <a:pt x="26" y="159"/>
                  </a:lnTo>
                  <a:lnTo>
                    <a:pt x="26" y="161"/>
                  </a:lnTo>
                  <a:lnTo>
                    <a:pt x="26" y="159"/>
                  </a:lnTo>
                  <a:lnTo>
                    <a:pt x="24" y="159"/>
                  </a:lnTo>
                  <a:lnTo>
                    <a:pt x="26" y="159"/>
                  </a:lnTo>
                  <a:lnTo>
                    <a:pt x="24" y="159"/>
                  </a:lnTo>
                  <a:lnTo>
                    <a:pt x="26" y="159"/>
                  </a:lnTo>
                  <a:lnTo>
                    <a:pt x="24" y="159"/>
                  </a:lnTo>
                  <a:lnTo>
                    <a:pt x="24" y="157"/>
                  </a:lnTo>
                  <a:lnTo>
                    <a:pt x="26" y="157"/>
                  </a:lnTo>
                  <a:lnTo>
                    <a:pt x="26" y="154"/>
                  </a:lnTo>
                  <a:lnTo>
                    <a:pt x="28" y="154"/>
                  </a:lnTo>
                  <a:lnTo>
                    <a:pt x="28" y="157"/>
                  </a:lnTo>
                  <a:lnTo>
                    <a:pt x="31" y="157"/>
                  </a:lnTo>
                  <a:lnTo>
                    <a:pt x="31" y="159"/>
                  </a:lnTo>
                  <a:lnTo>
                    <a:pt x="33" y="159"/>
                  </a:lnTo>
                  <a:lnTo>
                    <a:pt x="33" y="161"/>
                  </a:lnTo>
                  <a:lnTo>
                    <a:pt x="33" y="164"/>
                  </a:lnTo>
                  <a:lnTo>
                    <a:pt x="33" y="166"/>
                  </a:lnTo>
                  <a:lnTo>
                    <a:pt x="33" y="169"/>
                  </a:lnTo>
                  <a:lnTo>
                    <a:pt x="31" y="169"/>
                  </a:lnTo>
                  <a:lnTo>
                    <a:pt x="31" y="171"/>
                  </a:lnTo>
                  <a:lnTo>
                    <a:pt x="31" y="169"/>
                  </a:lnTo>
                  <a:lnTo>
                    <a:pt x="33" y="171"/>
                  </a:lnTo>
                  <a:lnTo>
                    <a:pt x="33" y="169"/>
                  </a:lnTo>
                  <a:lnTo>
                    <a:pt x="33" y="171"/>
                  </a:lnTo>
                  <a:lnTo>
                    <a:pt x="33" y="173"/>
                  </a:lnTo>
                  <a:lnTo>
                    <a:pt x="36" y="173"/>
                  </a:lnTo>
                  <a:lnTo>
                    <a:pt x="33" y="173"/>
                  </a:lnTo>
                  <a:lnTo>
                    <a:pt x="33" y="176"/>
                  </a:lnTo>
                  <a:close/>
                  <a:moveTo>
                    <a:pt x="31" y="114"/>
                  </a:moveTo>
                  <a:lnTo>
                    <a:pt x="31" y="116"/>
                  </a:lnTo>
                  <a:lnTo>
                    <a:pt x="33" y="116"/>
                  </a:lnTo>
                  <a:lnTo>
                    <a:pt x="31" y="116"/>
                  </a:lnTo>
                  <a:lnTo>
                    <a:pt x="31" y="119"/>
                  </a:lnTo>
                  <a:lnTo>
                    <a:pt x="31" y="121"/>
                  </a:lnTo>
                  <a:lnTo>
                    <a:pt x="33" y="121"/>
                  </a:lnTo>
                  <a:lnTo>
                    <a:pt x="31" y="121"/>
                  </a:lnTo>
                  <a:lnTo>
                    <a:pt x="31" y="123"/>
                  </a:lnTo>
                  <a:lnTo>
                    <a:pt x="28" y="123"/>
                  </a:lnTo>
                  <a:lnTo>
                    <a:pt x="28" y="126"/>
                  </a:lnTo>
                  <a:lnTo>
                    <a:pt x="26" y="126"/>
                  </a:lnTo>
                  <a:lnTo>
                    <a:pt x="28" y="126"/>
                  </a:lnTo>
                  <a:lnTo>
                    <a:pt x="26" y="126"/>
                  </a:lnTo>
                  <a:lnTo>
                    <a:pt x="26" y="128"/>
                  </a:lnTo>
                  <a:lnTo>
                    <a:pt x="28" y="128"/>
                  </a:lnTo>
                  <a:lnTo>
                    <a:pt x="31" y="128"/>
                  </a:lnTo>
                  <a:lnTo>
                    <a:pt x="31" y="126"/>
                  </a:lnTo>
                  <a:lnTo>
                    <a:pt x="33" y="126"/>
                  </a:lnTo>
                  <a:lnTo>
                    <a:pt x="33" y="128"/>
                  </a:lnTo>
                  <a:lnTo>
                    <a:pt x="31" y="128"/>
                  </a:lnTo>
                  <a:lnTo>
                    <a:pt x="31" y="130"/>
                  </a:lnTo>
                  <a:lnTo>
                    <a:pt x="28" y="130"/>
                  </a:lnTo>
                  <a:lnTo>
                    <a:pt x="28" y="128"/>
                  </a:lnTo>
                  <a:lnTo>
                    <a:pt x="26" y="128"/>
                  </a:lnTo>
                  <a:lnTo>
                    <a:pt x="28" y="128"/>
                  </a:lnTo>
                  <a:lnTo>
                    <a:pt x="26" y="128"/>
                  </a:lnTo>
                  <a:lnTo>
                    <a:pt x="28" y="128"/>
                  </a:lnTo>
                  <a:lnTo>
                    <a:pt x="26" y="128"/>
                  </a:lnTo>
                  <a:lnTo>
                    <a:pt x="26" y="130"/>
                  </a:lnTo>
                  <a:lnTo>
                    <a:pt x="24" y="130"/>
                  </a:lnTo>
                  <a:lnTo>
                    <a:pt x="26" y="130"/>
                  </a:lnTo>
                  <a:lnTo>
                    <a:pt x="26" y="133"/>
                  </a:lnTo>
                  <a:lnTo>
                    <a:pt x="24" y="133"/>
                  </a:lnTo>
                  <a:lnTo>
                    <a:pt x="24" y="130"/>
                  </a:lnTo>
                  <a:lnTo>
                    <a:pt x="21" y="130"/>
                  </a:lnTo>
                  <a:lnTo>
                    <a:pt x="21" y="133"/>
                  </a:lnTo>
                  <a:lnTo>
                    <a:pt x="24" y="133"/>
                  </a:lnTo>
                  <a:lnTo>
                    <a:pt x="21" y="133"/>
                  </a:lnTo>
                  <a:lnTo>
                    <a:pt x="19" y="133"/>
                  </a:lnTo>
                  <a:lnTo>
                    <a:pt x="19" y="135"/>
                  </a:lnTo>
                  <a:lnTo>
                    <a:pt x="17" y="135"/>
                  </a:lnTo>
                  <a:lnTo>
                    <a:pt x="19" y="135"/>
                  </a:lnTo>
                  <a:lnTo>
                    <a:pt x="21" y="135"/>
                  </a:lnTo>
                  <a:lnTo>
                    <a:pt x="21" y="133"/>
                  </a:lnTo>
                  <a:lnTo>
                    <a:pt x="24" y="133"/>
                  </a:lnTo>
                  <a:lnTo>
                    <a:pt x="26" y="133"/>
                  </a:lnTo>
                  <a:lnTo>
                    <a:pt x="24" y="133"/>
                  </a:lnTo>
                  <a:lnTo>
                    <a:pt x="26" y="133"/>
                  </a:lnTo>
                  <a:lnTo>
                    <a:pt x="24" y="133"/>
                  </a:lnTo>
                  <a:lnTo>
                    <a:pt x="24" y="135"/>
                  </a:lnTo>
                  <a:lnTo>
                    <a:pt x="26" y="135"/>
                  </a:lnTo>
                  <a:lnTo>
                    <a:pt x="26" y="133"/>
                  </a:lnTo>
                  <a:lnTo>
                    <a:pt x="26" y="135"/>
                  </a:lnTo>
                  <a:lnTo>
                    <a:pt x="24" y="135"/>
                  </a:lnTo>
                  <a:lnTo>
                    <a:pt x="24" y="138"/>
                  </a:lnTo>
                  <a:lnTo>
                    <a:pt x="26" y="138"/>
                  </a:lnTo>
                  <a:lnTo>
                    <a:pt x="24" y="138"/>
                  </a:lnTo>
                  <a:lnTo>
                    <a:pt x="21" y="138"/>
                  </a:lnTo>
                  <a:lnTo>
                    <a:pt x="19" y="138"/>
                  </a:lnTo>
                  <a:lnTo>
                    <a:pt x="21" y="138"/>
                  </a:lnTo>
                  <a:lnTo>
                    <a:pt x="21" y="140"/>
                  </a:lnTo>
                  <a:lnTo>
                    <a:pt x="21" y="138"/>
                  </a:lnTo>
                  <a:lnTo>
                    <a:pt x="24" y="140"/>
                  </a:lnTo>
                  <a:lnTo>
                    <a:pt x="24" y="142"/>
                  </a:lnTo>
                  <a:lnTo>
                    <a:pt x="21" y="142"/>
                  </a:lnTo>
                  <a:lnTo>
                    <a:pt x="19" y="142"/>
                  </a:lnTo>
                  <a:lnTo>
                    <a:pt x="19" y="140"/>
                  </a:lnTo>
                  <a:lnTo>
                    <a:pt x="19" y="142"/>
                  </a:lnTo>
                  <a:lnTo>
                    <a:pt x="21" y="142"/>
                  </a:lnTo>
                  <a:lnTo>
                    <a:pt x="19" y="142"/>
                  </a:lnTo>
                  <a:lnTo>
                    <a:pt x="17" y="142"/>
                  </a:lnTo>
                  <a:lnTo>
                    <a:pt x="19" y="142"/>
                  </a:lnTo>
                  <a:lnTo>
                    <a:pt x="17" y="142"/>
                  </a:lnTo>
                  <a:lnTo>
                    <a:pt x="17" y="140"/>
                  </a:lnTo>
                  <a:lnTo>
                    <a:pt x="17" y="142"/>
                  </a:lnTo>
                  <a:lnTo>
                    <a:pt x="19" y="142"/>
                  </a:lnTo>
                  <a:lnTo>
                    <a:pt x="17" y="142"/>
                  </a:lnTo>
                  <a:lnTo>
                    <a:pt x="14" y="142"/>
                  </a:lnTo>
                  <a:lnTo>
                    <a:pt x="14" y="140"/>
                  </a:lnTo>
                  <a:lnTo>
                    <a:pt x="14" y="138"/>
                  </a:lnTo>
                  <a:lnTo>
                    <a:pt x="17" y="138"/>
                  </a:lnTo>
                  <a:lnTo>
                    <a:pt x="17" y="135"/>
                  </a:lnTo>
                  <a:lnTo>
                    <a:pt x="19" y="135"/>
                  </a:lnTo>
                  <a:lnTo>
                    <a:pt x="17" y="135"/>
                  </a:lnTo>
                  <a:lnTo>
                    <a:pt x="14" y="135"/>
                  </a:lnTo>
                  <a:lnTo>
                    <a:pt x="17" y="135"/>
                  </a:lnTo>
                  <a:lnTo>
                    <a:pt x="17" y="138"/>
                  </a:lnTo>
                  <a:lnTo>
                    <a:pt x="14" y="138"/>
                  </a:lnTo>
                  <a:lnTo>
                    <a:pt x="12" y="138"/>
                  </a:lnTo>
                  <a:lnTo>
                    <a:pt x="14" y="140"/>
                  </a:lnTo>
                  <a:lnTo>
                    <a:pt x="12" y="140"/>
                  </a:lnTo>
                  <a:lnTo>
                    <a:pt x="14" y="140"/>
                  </a:lnTo>
                  <a:lnTo>
                    <a:pt x="14" y="142"/>
                  </a:lnTo>
                  <a:lnTo>
                    <a:pt x="14" y="140"/>
                  </a:lnTo>
                  <a:lnTo>
                    <a:pt x="14" y="142"/>
                  </a:lnTo>
                  <a:lnTo>
                    <a:pt x="14" y="140"/>
                  </a:lnTo>
                  <a:lnTo>
                    <a:pt x="14" y="142"/>
                  </a:lnTo>
                  <a:lnTo>
                    <a:pt x="17" y="142"/>
                  </a:lnTo>
                  <a:lnTo>
                    <a:pt x="14" y="142"/>
                  </a:lnTo>
                  <a:lnTo>
                    <a:pt x="14" y="145"/>
                  </a:lnTo>
                  <a:lnTo>
                    <a:pt x="17" y="145"/>
                  </a:lnTo>
                  <a:lnTo>
                    <a:pt x="14" y="145"/>
                  </a:lnTo>
                  <a:lnTo>
                    <a:pt x="12" y="145"/>
                  </a:lnTo>
                  <a:lnTo>
                    <a:pt x="12" y="147"/>
                  </a:lnTo>
                  <a:lnTo>
                    <a:pt x="14" y="147"/>
                  </a:lnTo>
                  <a:lnTo>
                    <a:pt x="12" y="147"/>
                  </a:lnTo>
                  <a:lnTo>
                    <a:pt x="12" y="150"/>
                  </a:lnTo>
                  <a:lnTo>
                    <a:pt x="9" y="150"/>
                  </a:lnTo>
                  <a:lnTo>
                    <a:pt x="12" y="150"/>
                  </a:lnTo>
                  <a:lnTo>
                    <a:pt x="9" y="150"/>
                  </a:lnTo>
                  <a:lnTo>
                    <a:pt x="12" y="150"/>
                  </a:lnTo>
                  <a:lnTo>
                    <a:pt x="9" y="147"/>
                  </a:lnTo>
                  <a:lnTo>
                    <a:pt x="9" y="150"/>
                  </a:lnTo>
                  <a:lnTo>
                    <a:pt x="7" y="150"/>
                  </a:lnTo>
                  <a:lnTo>
                    <a:pt x="7" y="152"/>
                  </a:lnTo>
                  <a:lnTo>
                    <a:pt x="9" y="152"/>
                  </a:lnTo>
                  <a:lnTo>
                    <a:pt x="7" y="152"/>
                  </a:lnTo>
                  <a:lnTo>
                    <a:pt x="5" y="152"/>
                  </a:lnTo>
                  <a:lnTo>
                    <a:pt x="7" y="152"/>
                  </a:lnTo>
                  <a:lnTo>
                    <a:pt x="5" y="152"/>
                  </a:lnTo>
                  <a:lnTo>
                    <a:pt x="2" y="150"/>
                  </a:lnTo>
                  <a:lnTo>
                    <a:pt x="0" y="150"/>
                  </a:lnTo>
                  <a:lnTo>
                    <a:pt x="0" y="147"/>
                  </a:lnTo>
                  <a:lnTo>
                    <a:pt x="2" y="147"/>
                  </a:lnTo>
                  <a:lnTo>
                    <a:pt x="2" y="150"/>
                  </a:lnTo>
                  <a:lnTo>
                    <a:pt x="2" y="147"/>
                  </a:lnTo>
                  <a:lnTo>
                    <a:pt x="5" y="147"/>
                  </a:lnTo>
                  <a:lnTo>
                    <a:pt x="5" y="145"/>
                  </a:lnTo>
                  <a:lnTo>
                    <a:pt x="7" y="145"/>
                  </a:lnTo>
                  <a:lnTo>
                    <a:pt x="7" y="142"/>
                  </a:lnTo>
                  <a:lnTo>
                    <a:pt x="9" y="145"/>
                  </a:lnTo>
                  <a:lnTo>
                    <a:pt x="12" y="145"/>
                  </a:lnTo>
                  <a:lnTo>
                    <a:pt x="9" y="142"/>
                  </a:lnTo>
                  <a:lnTo>
                    <a:pt x="7" y="142"/>
                  </a:lnTo>
                  <a:lnTo>
                    <a:pt x="5" y="140"/>
                  </a:lnTo>
                  <a:lnTo>
                    <a:pt x="5" y="142"/>
                  </a:lnTo>
                  <a:lnTo>
                    <a:pt x="5" y="140"/>
                  </a:lnTo>
                  <a:lnTo>
                    <a:pt x="5" y="142"/>
                  </a:lnTo>
                  <a:lnTo>
                    <a:pt x="5" y="140"/>
                  </a:lnTo>
                  <a:lnTo>
                    <a:pt x="5" y="142"/>
                  </a:lnTo>
                  <a:lnTo>
                    <a:pt x="5" y="140"/>
                  </a:lnTo>
                  <a:lnTo>
                    <a:pt x="2" y="140"/>
                  </a:lnTo>
                  <a:lnTo>
                    <a:pt x="2" y="138"/>
                  </a:lnTo>
                  <a:lnTo>
                    <a:pt x="5" y="138"/>
                  </a:lnTo>
                  <a:lnTo>
                    <a:pt x="7" y="138"/>
                  </a:lnTo>
                  <a:lnTo>
                    <a:pt x="7" y="135"/>
                  </a:lnTo>
                  <a:lnTo>
                    <a:pt x="5" y="135"/>
                  </a:lnTo>
                  <a:lnTo>
                    <a:pt x="5" y="138"/>
                  </a:lnTo>
                  <a:lnTo>
                    <a:pt x="2" y="138"/>
                  </a:lnTo>
                  <a:lnTo>
                    <a:pt x="2" y="135"/>
                  </a:lnTo>
                  <a:lnTo>
                    <a:pt x="5" y="135"/>
                  </a:lnTo>
                  <a:lnTo>
                    <a:pt x="2" y="135"/>
                  </a:lnTo>
                  <a:lnTo>
                    <a:pt x="5" y="135"/>
                  </a:lnTo>
                  <a:lnTo>
                    <a:pt x="2" y="135"/>
                  </a:lnTo>
                  <a:lnTo>
                    <a:pt x="2" y="133"/>
                  </a:lnTo>
                  <a:lnTo>
                    <a:pt x="0" y="133"/>
                  </a:lnTo>
                  <a:lnTo>
                    <a:pt x="0" y="130"/>
                  </a:lnTo>
                  <a:lnTo>
                    <a:pt x="2" y="130"/>
                  </a:lnTo>
                  <a:lnTo>
                    <a:pt x="0" y="130"/>
                  </a:lnTo>
                  <a:lnTo>
                    <a:pt x="2" y="130"/>
                  </a:lnTo>
                  <a:lnTo>
                    <a:pt x="2" y="128"/>
                  </a:lnTo>
                  <a:lnTo>
                    <a:pt x="2" y="130"/>
                  </a:lnTo>
                  <a:lnTo>
                    <a:pt x="2" y="128"/>
                  </a:lnTo>
                  <a:lnTo>
                    <a:pt x="2" y="130"/>
                  </a:lnTo>
                  <a:lnTo>
                    <a:pt x="5" y="130"/>
                  </a:lnTo>
                  <a:lnTo>
                    <a:pt x="5" y="128"/>
                  </a:lnTo>
                  <a:lnTo>
                    <a:pt x="2" y="128"/>
                  </a:lnTo>
                  <a:lnTo>
                    <a:pt x="2" y="126"/>
                  </a:lnTo>
                  <a:lnTo>
                    <a:pt x="5" y="126"/>
                  </a:lnTo>
                  <a:lnTo>
                    <a:pt x="5" y="128"/>
                  </a:lnTo>
                  <a:lnTo>
                    <a:pt x="7" y="128"/>
                  </a:lnTo>
                  <a:lnTo>
                    <a:pt x="7" y="126"/>
                  </a:lnTo>
                  <a:lnTo>
                    <a:pt x="7" y="128"/>
                  </a:lnTo>
                  <a:lnTo>
                    <a:pt x="9" y="128"/>
                  </a:lnTo>
                  <a:lnTo>
                    <a:pt x="9" y="130"/>
                  </a:lnTo>
                  <a:lnTo>
                    <a:pt x="9" y="133"/>
                  </a:lnTo>
                  <a:lnTo>
                    <a:pt x="9" y="130"/>
                  </a:lnTo>
                  <a:lnTo>
                    <a:pt x="9" y="128"/>
                  </a:lnTo>
                  <a:lnTo>
                    <a:pt x="12" y="128"/>
                  </a:lnTo>
                  <a:lnTo>
                    <a:pt x="14" y="128"/>
                  </a:lnTo>
                  <a:lnTo>
                    <a:pt x="14" y="130"/>
                  </a:lnTo>
                  <a:lnTo>
                    <a:pt x="14" y="128"/>
                  </a:lnTo>
                  <a:lnTo>
                    <a:pt x="12" y="128"/>
                  </a:lnTo>
                  <a:lnTo>
                    <a:pt x="14" y="128"/>
                  </a:lnTo>
                  <a:lnTo>
                    <a:pt x="12" y="128"/>
                  </a:lnTo>
                  <a:lnTo>
                    <a:pt x="12" y="126"/>
                  </a:lnTo>
                  <a:lnTo>
                    <a:pt x="12" y="123"/>
                  </a:lnTo>
                  <a:lnTo>
                    <a:pt x="9" y="123"/>
                  </a:lnTo>
                  <a:lnTo>
                    <a:pt x="12" y="123"/>
                  </a:lnTo>
                  <a:lnTo>
                    <a:pt x="14" y="123"/>
                  </a:lnTo>
                  <a:lnTo>
                    <a:pt x="14" y="121"/>
                  </a:lnTo>
                  <a:lnTo>
                    <a:pt x="17" y="121"/>
                  </a:lnTo>
                  <a:lnTo>
                    <a:pt x="19" y="121"/>
                  </a:lnTo>
                  <a:lnTo>
                    <a:pt x="19" y="119"/>
                  </a:lnTo>
                  <a:lnTo>
                    <a:pt x="21" y="119"/>
                  </a:lnTo>
                  <a:lnTo>
                    <a:pt x="21" y="116"/>
                  </a:lnTo>
                  <a:lnTo>
                    <a:pt x="24" y="116"/>
                  </a:lnTo>
                  <a:lnTo>
                    <a:pt x="26" y="116"/>
                  </a:lnTo>
                  <a:lnTo>
                    <a:pt x="26" y="114"/>
                  </a:lnTo>
                  <a:lnTo>
                    <a:pt x="28" y="114"/>
                  </a:lnTo>
                  <a:lnTo>
                    <a:pt x="28" y="111"/>
                  </a:lnTo>
                  <a:lnTo>
                    <a:pt x="31" y="111"/>
                  </a:lnTo>
                  <a:lnTo>
                    <a:pt x="31" y="114"/>
                  </a:lnTo>
                  <a:close/>
                  <a:moveTo>
                    <a:pt x="130" y="78"/>
                  </a:moveTo>
                  <a:lnTo>
                    <a:pt x="133" y="78"/>
                  </a:lnTo>
                  <a:lnTo>
                    <a:pt x="133" y="81"/>
                  </a:lnTo>
                  <a:lnTo>
                    <a:pt x="135" y="81"/>
                  </a:lnTo>
                  <a:lnTo>
                    <a:pt x="135" y="83"/>
                  </a:lnTo>
                  <a:lnTo>
                    <a:pt x="138" y="83"/>
                  </a:lnTo>
                  <a:lnTo>
                    <a:pt x="138" y="85"/>
                  </a:lnTo>
                  <a:lnTo>
                    <a:pt x="135" y="85"/>
                  </a:lnTo>
                  <a:lnTo>
                    <a:pt x="135" y="83"/>
                  </a:lnTo>
                  <a:lnTo>
                    <a:pt x="135" y="85"/>
                  </a:lnTo>
                  <a:lnTo>
                    <a:pt x="133" y="85"/>
                  </a:lnTo>
                  <a:lnTo>
                    <a:pt x="135" y="88"/>
                  </a:lnTo>
                  <a:lnTo>
                    <a:pt x="135" y="85"/>
                  </a:lnTo>
                  <a:lnTo>
                    <a:pt x="135" y="88"/>
                  </a:lnTo>
                  <a:lnTo>
                    <a:pt x="135" y="85"/>
                  </a:lnTo>
                  <a:lnTo>
                    <a:pt x="138" y="85"/>
                  </a:lnTo>
                  <a:lnTo>
                    <a:pt x="138" y="88"/>
                  </a:lnTo>
                  <a:lnTo>
                    <a:pt x="138" y="85"/>
                  </a:lnTo>
                  <a:lnTo>
                    <a:pt x="140" y="85"/>
                  </a:lnTo>
                  <a:lnTo>
                    <a:pt x="140" y="88"/>
                  </a:lnTo>
                  <a:lnTo>
                    <a:pt x="142" y="88"/>
                  </a:lnTo>
                  <a:lnTo>
                    <a:pt x="145" y="88"/>
                  </a:lnTo>
                  <a:lnTo>
                    <a:pt x="142" y="88"/>
                  </a:lnTo>
                  <a:lnTo>
                    <a:pt x="142" y="90"/>
                  </a:lnTo>
                  <a:lnTo>
                    <a:pt x="142" y="88"/>
                  </a:lnTo>
                  <a:lnTo>
                    <a:pt x="142" y="90"/>
                  </a:lnTo>
                  <a:lnTo>
                    <a:pt x="145" y="90"/>
                  </a:lnTo>
                  <a:lnTo>
                    <a:pt x="142" y="90"/>
                  </a:lnTo>
                  <a:lnTo>
                    <a:pt x="145" y="90"/>
                  </a:lnTo>
                  <a:lnTo>
                    <a:pt x="145" y="88"/>
                  </a:lnTo>
                  <a:lnTo>
                    <a:pt x="147" y="88"/>
                  </a:lnTo>
                  <a:lnTo>
                    <a:pt x="147" y="90"/>
                  </a:lnTo>
                  <a:lnTo>
                    <a:pt x="145" y="90"/>
                  </a:lnTo>
                  <a:lnTo>
                    <a:pt x="142" y="92"/>
                  </a:lnTo>
                  <a:lnTo>
                    <a:pt x="140" y="92"/>
                  </a:lnTo>
                  <a:lnTo>
                    <a:pt x="140" y="95"/>
                  </a:lnTo>
                  <a:lnTo>
                    <a:pt x="142" y="95"/>
                  </a:lnTo>
                  <a:lnTo>
                    <a:pt x="140" y="95"/>
                  </a:lnTo>
                  <a:lnTo>
                    <a:pt x="140" y="97"/>
                  </a:lnTo>
                  <a:lnTo>
                    <a:pt x="140" y="95"/>
                  </a:lnTo>
                  <a:lnTo>
                    <a:pt x="140" y="97"/>
                  </a:lnTo>
                  <a:lnTo>
                    <a:pt x="140" y="100"/>
                  </a:lnTo>
                  <a:lnTo>
                    <a:pt x="138" y="100"/>
                  </a:lnTo>
                  <a:lnTo>
                    <a:pt x="138" y="97"/>
                  </a:lnTo>
                  <a:lnTo>
                    <a:pt x="135" y="97"/>
                  </a:lnTo>
                  <a:lnTo>
                    <a:pt x="138" y="97"/>
                  </a:lnTo>
                  <a:lnTo>
                    <a:pt x="138" y="95"/>
                  </a:lnTo>
                  <a:lnTo>
                    <a:pt x="138" y="97"/>
                  </a:lnTo>
                  <a:lnTo>
                    <a:pt x="138" y="95"/>
                  </a:lnTo>
                  <a:lnTo>
                    <a:pt x="135" y="95"/>
                  </a:lnTo>
                  <a:lnTo>
                    <a:pt x="135" y="97"/>
                  </a:lnTo>
                  <a:lnTo>
                    <a:pt x="135" y="95"/>
                  </a:lnTo>
                  <a:lnTo>
                    <a:pt x="138" y="95"/>
                  </a:lnTo>
                  <a:lnTo>
                    <a:pt x="140" y="95"/>
                  </a:lnTo>
                  <a:lnTo>
                    <a:pt x="138" y="95"/>
                  </a:lnTo>
                  <a:lnTo>
                    <a:pt x="140" y="95"/>
                  </a:lnTo>
                  <a:lnTo>
                    <a:pt x="140" y="92"/>
                  </a:lnTo>
                  <a:lnTo>
                    <a:pt x="140" y="90"/>
                  </a:lnTo>
                  <a:lnTo>
                    <a:pt x="138" y="90"/>
                  </a:lnTo>
                  <a:lnTo>
                    <a:pt x="138" y="88"/>
                  </a:lnTo>
                  <a:lnTo>
                    <a:pt x="138" y="90"/>
                  </a:lnTo>
                  <a:lnTo>
                    <a:pt x="135" y="90"/>
                  </a:lnTo>
                  <a:lnTo>
                    <a:pt x="133" y="90"/>
                  </a:lnTo>
                  <a:lnTo>
                    <a:pt x="130" y="90"/>
                  </a:lnTo>
                  <a:lnTo>
                    <a:pt x="128" y="90"/>
                  </a:lnTo>
                  <a:lnTo>
                    <a:pt x="128" y="88"/>
                  </a:lnTo>
                  <a:lnTo>
                    <a:pt x="130" y="88"/>
                  </a:lnTo>
                  <a:lnTo>
                    <a:pt x="128" y="88"/>
                  </a:lnTo>
                  <a:lnTo>
                    <a:pt x="130" y="88"/>
                  </a:lnTo>
                  <a:lnTo>
                    <a:pt x="130" y="85"/>
                  </a:lnTo>
                  <a:lnTo>
                    <a:pt x="128" y="85"/>
                  </a:lnTo>
                  <a:lnTo>
                    <a:pt x="130" y="85"/>
                  </a:lnTo>
                  <a:lnTo>
                    <a:pt x="130" y="83"/>
                  </a:lnTo>
                  <a:lnTo>
                    <a:pt x="128" y="83"/>
                  </a:lnTo>
                  <a:lnTo>
                    <a:pt x="128" y="85"/>
                  </a:lnTo>
                  <a:lnTo>
                    <a:pt x="130" y="85"/>
                  </a:lnTo>
                  <a:lnTo>
                    <a:pt x="130" y="88"/>
                  </a:lnTo>
                  <a:lnTo>
                    <a:pt x="130" y="85"/>
                  </a:lnTo>
                  <a:lnTo>
                    <a:pt x="128" y="85"/>
                  </a:lnTo>
                  <a:lnTo>
                    <a:pt x="128" y="88"/>
                  </a:lnTo>
                  <a:lnTo>
                    <a:pt x="128" y="90"/>
                  </a:lnTo>
                  <a:lnTo>
                    <a:pt x="126" y="90"/>
                  </a:lnTo>
                  <a:lnTo>
                    <a:pt x="126" y="88"/>
                  </a:lnTo>
                  <a:lnTo>
                    <a:pt x="126" y="85"/>
                  </a:lnTo>
                  <a:lnTo>
                    <a:pt x="126" y="83"/>
                  </a:lnTo>
                  <a:lnTo>
                    <a:pt x="126" y="81"/>
                  </a:lnTo>
                  <a:lnTo>
                    <a:pt x="126" y="78"/>
                  </a:lnTo>
                  <a:lnTo>
                    <a:pt x="128" y="78"/>
                  </a:lnTo>
                  <a:lnTo>
                    <a:pt x="130" y="78"/>
                  </a:lnTo>
                  <a:close/>
                  <a:moveTo>
                    <a:pt x="192" y="0"/>
                  </a:moveTo>
                  <a:lnTo>
                    <a:pt x="192" y="2"/>
                  </a:lnTo>
                  <a:lnTo>
                    <a:pt x="192" y="5"/>
                  </a:lnTo>
                  <a:lnTo>
                    <a:pt x="192" y="7"/>
                  </a:lnTo>
                  <a:lnTo>
                    <a:pt x="192" y="9"/>
                  </a:lnTo>
                  <a:lnTo>
                    <a:pt x="192" y="12"/>
                  </a:lnTo>
                  <a:lnTo>
                    <a:pt x="190" y="12"/>
                  </a:lnTo>
                  <a:lnTo>
                    <a:pt x="192" y="12"/>
                  </a:lnTo>
                  <a:lnTo>
                    <a:pt x="190" y="12"/>
                  </a:lnTo>
                  <a:lnTo>
                    <a:pt x="192" y="12"/>
                  </a:lnTo>
                  <a:lnTo>
                    <a:pt x="190" y="12"/>
                  </a:lnTo>
                  <a:lnTo>
                    <a:pt x="192" y="12"/>
                  </a:lnTo>
                  <a:lnTo>
                    <a:pt x="192" y="9"/>
                  </a:lnTo>
                  <a:lnTo>
                    <a:pt x="194" y="9"/>
                  </a:lnTo>
                  <a:lnTo>
                    <a:pt x="192" y="9"/>
                  </a:lnTo>
                  <a:lnTo>
                    <a:pt x="194" y="9"/>
                  </a:lnTo>
                  <a:lnTo>
                    <a:pt x="194" y="7"/>
                  </a:lnTo>
                  <a:lnTo>
                    <a:pt x="197" y="7"/>
                  </a:lnTo>
                  <a:lnTo>
                    <a:pt x="197" y="9"/>
                  </a:lnTo>
                  <a:lnTo>
                    <a:pt x="197" y="12"/>
                  </a:lnTo>
                  <a:lnTo>
                    <a:pt x="194" y="12"/>
                  </a:lnTo>
                  <a:lnTo>
                    <a:pt x="197" y="12"/>
                  </a:lnTo>
                  <a:lnTo>
                    <a:pt x="194" y="12"/>
                  </a:lnTo>
                  <a:lnTo>
                    <a:pt x="197" y="12"/>
                  </a:lnTo>
                  <a:lnTo>
                    <a:pt x="197" y="14"/>
                  </a:lnTo>
                  <a:lnTo>
                    <a:pt x="197" y="12"/>
                  </a:lnTo>
                  <a:lnTo>
                    <a:pt x="199" y="12"/>
                  </a:lnTo>
                  <a:lnTo>
                    <a:pt x="199" y="9"/>
                  </a:lnTo>
                  <a:lnTo>
                    <a:pt x="202" y="9"/>
                  </a:lnTo>
                  <a:lnTo>
                    <a:pt x="202" y="12"/>
                  </a:lnTo>
                  <a:lnTo>
                    <a:pt x="199" y="12"/>
                  </a:lnTo>
                  <a:lnTo>
                    <a:pt x="199" y="14"/>
                  </a:lnTo>
                  <a:lnTo>
                    <a:pt x="199" y="12"/>
                  </a:lnTo>
                  <a:lnTo>
                    <a:pt x="199" y="14"/>
                  </a:lnTo>
                  <a:lnTo>
                    <a:pt x="199" y="12"/>
                  </a:lnTo>
                  <a:lnTo>
                    <a:pt x="202" y="14"/>
                  </a:lnTo>
                  <a:lnTo>
                    <a:pt x="199" y="14"/>
                  </a:lnTo>
                  <a:lnTo>
                    <a:pt x="202" y="14"/>
                  </a:lnTo>
                  <a:lnTo>
                    <a:pt x="199" y="14"/>
                  </a:lnTo>
                  <a:lnTo>
                    <a:pt x="197" y="14"/>
                  </a:lnTo>
                  <a:lnTo>
                    <a:pt x="197" y="16"/>
                  </a:lnTo>
                  <a:lnTo>
                    <a:pt x="199" y="16"/>
                  </a:lnTo>
                  <a:lnTo>
                    <a:pt x="199" y="19"/>
                  </a:lnTo>
                  <a:lnTo>
                    <a:pt x="197" y="19"/>
                  </a:lnTo>
                  <a:lnTo>
                    <a:pt x="199" y="19"/>
                  </a:lnTo>
                  <a:lnTo>
                    <a:pt x="197" y="19"/>
                  </a:lnTo>
                  <a:lnTo>
                    <a:pt x="199" y="19"/>
                  </a:lnTo>
                  <a:lnTo>
                    <a:pt x="197" y="21"/>
                  </a:lnTo>
                  <a:lnTo>
                    <a:pt x="199" y="21"/>
                  </a:lnTo>
                  <a:lnTo>
                    <a:pt x="197" y="21"/>
                  </a:lnTo>
                  <a:lnTo>
                    <a:pt x="197" y="19"/>
                  </a:lnTo>
                  <a:lnTo>
                    <a:pt x="197" y="21"/>
                  </a:lnTo>
                  <a:lnTo>
                    <a:pt x="194" y="21"/>
                  </a:lnTo>
                  <a:lnTo>
                    <a:pt x="197" y="21"/>
                  </a:lnTo>
                  <a:lnTo>
                    <a:pt x="197" y="24"/>
                  </a:lnTo>
                  <a:lnTo>
                    <a:pt x="197" y="21"/>
                  </a:lnTo>
                  <a:lnTo>
                    <a:pt x="197" y="24"/>
                  </a:lnTo>
                  <a:lnTo>
                    <a:pt x="199" y="24"/>
                  </a:lnTo>
                  <a:lnTo>
                    <a:pt x="197" y="24"/>
                  </a:lnTo>
                  <a:lnTo>
                    <a:pt x="197" y="26"/>
                  </a:lnTo>
                  <a:lnTo>
                    <a:pt x="199" y="26"/>
                  </a:lnTo>
                  <a:lnTo>
                    <a:pt x="197" y="26"/>
                  </a:lnTo>
                  <a:lnTo>
                    <a:pt x="197" y="28"/>
                  </a:lnTo>
                  <a:lnTo>
                    <a:pt x="197" y="26"/>
                  </a:lnTo>
                  <a:lnTo>
                    <a:pt x="197" y="28"/>
                  </a:lnTo>
                  <a:lnTo>
                    <a:pt x="194" y="28"/>
                  </a:lnTo>
                  <a:lnTo>
                    <a:pt x="197" y="28"/>
                  </a:lnTo>
                  <a:lnTo>
                    <a:pt x="197" y="31"/>
                  </a:lnTo>
                  <a:lnTo>
                    <a:pt x="194" y="31"/>
                  </a:lnTo>
                  <a:lnTo>
                    <a:pt x="194" y="33"/>
                  </a:lnTo>
                  <a:lnTo>
                    <a:pt x="197" y="33"/>
                  </a:lnTo>
                  <a:lnTo>
                    <a:pt x="197" y="35"/>
                  </a:lnTo>
                  <a:lnTo>
                    <a:pt x="194" y="35"/>
                  </a:lnTo>
                  <a:lnTo>
                    <a:pt x="194" y="33"/>
                  </a:lnTo>
                  <a:lnTo>
                    <a:pt x="194" y="35"/>
                  </a:lnTo>
                  <a:lnTo>
                    <a:pt x="194" y="33"/>
                  </a:lnTo>
                  <a:lnTo>
                    <a:pt x="194" y="35"/>
                  </a:lnTo>
                  <a:lnTo>
                    <a:pt x="194" y="38"/>
                  </a:lnTo>
                  <a:lnTo>
                    <a:pt x="194" y="40"/>
                  </a:lnTo>
                  <a:lnTo>
                    <a:pt x="192" y="40"/>
                  </a:lnTo>
                  <a:lnTo>
                    <a:pt x="194" y="40"/>
                  </a:lnTo>
                  <a:lnTo>
                    <a:pt x="194" y="43"/>
                  </a:lnTo>
                  <a:lnTo>
                    <a:pt x="194" y="40"/>
                  </a:lnTo>
                  <a:lnTo>
                    <a:pt x="192" y="40"/>
                  </a:lnTo>
                  <a:lnTo>
                    <a:pt x="192" y="38"/>
                  </a:lnTo>
                  <a:lnTo>
                    <a:pt x="192" y="40"/>
                  </a:lnTo>
                  <a:lnTo>
                    <a:pt x="190" y="40"/>
                  </a:lnTo>
                  <a:lnTo>
                    <a:pt x="190" y="38"/>
                  </a:lnTo>
                  <a:lnTo>
                    <a:pt x="190" y="35"/>
                  </a:lnTo>
                  <a:lnTo>
                    <a:pt x="192" y="35"/>
                  </a:lnTo>
                  <a:lnTo>
                    <a:pt x="190" y="35"/>
                  </a:lnTo>
                  <a:lnTo>
                    <a:pt x="192" y="35"/>
                  </a:lnTo>
                  <a:lnTo>
                    <a:pt x="192" y="33"/>
                  </a:lnTo>
                  <a:lnTo>
                    <a:pt x="192" y="31"/>
                  </a:lnTo>
                  <a:lnTo>
                    <a:pt x="194" y="28"/>
                  </a:lnTo>
                  <a:lnTo>
                    <a:pt x="194" y="26"/>
                  </a:lnTo>
                  <a:lnTo>
                    <a:pt x="192" y="26"/>
                  </a:lnTo>
                  <a:lnTo>
                    <a:pt x="192" y="24"/>
                  </a:lnTo>
                  <a:lnTo>
                    <a:pt x="194" y="24"/>
                  </a:lnTo>
                  <a:lnTo>
                    <a:pt x="192" y="24"/>
                  </a:lnTo>
                  <a:lnTo>
                    <a:pt x="192" y="26"/>
                  </a:lnTo>
                  <a:lnTo>
                    <a:pt x="192" y="24"/>
                  </a:lnTo>
                  <a:lnTo>
                    <a:pt x="192" y="21"/>
                  </a:lnTo>
                  <a:lnTo>
                    <a:pt x="192" y="24"/>
                  </a:lnTo>
                  <a:lnTo>
                    <a:pt x="192" y="26"/>
                  </a:lnTo>
                  <a:lnTo>
                    <a:pt x="192" y="24"/>
                  </a:lnTo>
                  <a:lnTo>
                    <a:pt x="192" y="21"/>
                  </a:lnTo>
                  <a:lnTo>
                    <a:pt x="192" y="24"/>
                  </a:lnTo>
                  <a:lnTo>
                    <a:pt x="192" y="21"/>
                  </a:lnTo>
                  <a:lnTo>
                    <a:pt x="190" y="21"/>
                  </a:lnTo>
                  <a:lnTo>
                    <a:pt x="192" y="21"/>
                  </a:lnTo>
                  <a:lnTo>
                    <a:pt x="190" y="21"/>
                  </a:lnTo>
                  <a:lnTo>
                    <a:pt x="192" y="21"/>
                  </a:lnTo>
                  <a:lnTo>
                    <a:pt x="190" y="21"/>
                  </a:lnTo>
                  <a:lnTo>
                    <a:pt x="190" y="19"/>
                  </a:lnTo>
                  <a:lnTo>
                    <a:pt x="190" y="21"/>
                  </a:lnTo>
                  <a:lnTo>
                    <a:pt x="192" y="21"/>
                  </a:lnTo>
                  <a:lnTo>
                    <a:pt x="192" y="24"/>
                  </a:lnTo>
                  <a:lnTo>
                    <a:pt x="190" y="24"/>
                  </a:lnTo>
                  <a:lnTo>
                    <a:pt x="192" y="24"/>
                  </a:lnTo>
                  <a:lnTo>
                    <a:pt x="190" y="24"/>
                  </a:lnTo>
                  <a:lnTo>
                    <a:pt x="190" y="21"/>
                  </a:lnTo>
                  <a:lnTo>
                    <a:pt x="190" y="24"/>
                  </a:lnTo>
                  <a:lnTo>
                    <a:pt x="190" y="21"/>
                  </a:lnTo>
                  <a:lnTo>
                    <a:pt x="190" y="24"/>
                  </a:lnTo>
                  <a:lnTo>
                    <a:pt x="187" y="24"/>
                  </a:lnTo>
                  <a:lnTo>
                    <a:pt x="190" y="24"/>
                  </a:lnTo>
                  <a:lnTo>
                    <a:pt x="187" y="24"/>
                  </a:lnTo>
                  <a:lnTo>
                    <a:pt x="187" y="26"/>
                  </a:lnTo>
                  <a:lnTo>
                    <a:pt x="187" y="24"/>
                  </a:lnTo>
                  <a:lnTo>
                    <a:pt x="187" y="26"/>
                  </a:lnTo>
                  <a:lnTo>
                    <a:pt x="185" y="26"/>
                  </a:lnTo>
                  <a:lnTo>
                    <a:pt x="185" y="24"/>
                  </a:lnTo>
                  <a:lnTo>
                    <a:pt x="187" y="24"/>
                  </a:lnTo>
                  <a:lnTo>
                    <a:pt x="187" y="21"/>
                  </a:lnTo>
                  <a:lnTo>
                    <a:pt x="185" y="21"/>
                  </a:lnTo>
                  <a:lnTo>
                    <a:pt x="187" y="21"/>
                  </a:lnTo>
                  <a:lnTo>
                    <a:pt x="185" y="21"/>
                  </a:lnTo>
                  <a:lnTo>
                    <a:pt x="187" y="21"/>
                  </a:lnTo>
                  <a:lnTo>
                    <a:pt x="185" y="21"/>
                  </a:lnTo>
                  <a:lnTo>
                    <a:pt x="185" y="24"/>
                  </a:lnTo>
                  <a:lnTo>
                    <a:pt x="185" y="21"/>
                  </a:lnTo>
                  <a:lnTo>
                    <a:pt x="183" y="21"/>
                  </a:lnTo>
                  <a:lnTo>
                    <a:pt x="183" y="24"/>
                  </a:lnTo>
                  <a:lnTo>
                    <a:pt x="183" y="21"/>
                  </a:lnTo>
                  <a:lnTo>
                    <a:pt x="180" y="21"/>
                  </a:lnTo>
                  <a:lnTo>
                    <a:pt x="183" y="21"/>
                  </a:lnTo>
                  <a:lnTo>
                    <a:pt x="180" y="21"/>
                  </a:lnTo>
                  <a:lnTo>
                    <a:pt x="180" y="19"/>
                  </a:lnTo>
                  <a:lnTo>
                    <a:pt x="180" y="21"/>
                  </a:lnTo>
                  <a:lnTo>
                    <a:pt x="180" y="19"/>
                  </a:lnTo>
                  <a:lnTo>
                    <a:pt x="180" y="16"/>
                  </a:lnTo>
                  <a:lnTo>
                    <a:pt x="183" y="16"/>
                  </a:lnTo>
                  <a:lnTo>
                    <a:pt x="183" y="19"/>
                  </a:lnTo>
                  <a:lnTo>
                    <a:pt x="185" y="19"/>
                  </a:lnTo>
                  <a:lnTo>
                    <a:pt x="183" y="19"/>
                  </a:lnTo>
                  <a:lnTo>
                    <a:pt x="185" y="19"/>
                  </a:lnTo>
                  <a:lnTo>
                    <a:pt x="183" y="16"/>
                  </a:lnTo>
                  <a:lnTo>
                    <a:pt x="185" y="16"/>
                  </a:lnTo>
                  <a:lnTo>
                    <a:pt x="185" y="19"/>
                  </a:lnTo>
                  <a:lnTo>
                    <a:pt x="185" y="16"/>
                  </a:lnTo>
                  <a:lnTo>
                    <a:pt x="187" y="16"/>
                  </a:lnTo>
                  <a:lnTo>
                    <a:pt x="187" y="19"/>
                  </a:lnTo>
                  <a:lnTo>
                    <a:pt x="187" y="16"/>
                  </a:lnTo>
                  <a:lnTo>
                    <a:pt x="187" y="19"/>
                  </a:lnTo>
                  <a:lnTo>
                    <a:pt x="187" y="16"/>
                  </a:lnTo>
                  <a:lnTo>
                    <a:pt x="187" y="19"/>
                  </a:lnTo>
                  <a:lnTo>
                    <a:pt x="187" y="16"/>
                  </a:lnTo>
                  <a:lnTo>
                    <a:pt x="190" y="16"/>
                  </a:lnTo>
                  <a:lnTo>
                    <a:pt x="187" y="16"/>
                  </a:lnTo>
                  <a:lnTo>
                    <a:pt x="190" y="16"/>
                  </a:lnTo>
                  <a:lnTo>
                    <a:pt x="190" y="19"/>
                  </a:lnTo>
                  <a:lnTo>
                    <a:pt x="190" y="16"/>
                  </a:lnTo>
                  <a:lnTo>
                    <a:pt x="192" y="16"/>
                  </a:lnTo>
                  <a:lnTo>
                    <a:pt x="190" y="16"/>
                  </a:lnTo>
                  <a:lnTo>
                    <a:pt x="190" y="14"/>
                  </a:lnTo>
                  <a:lnTo>
                    <a:pt x="192" y="16"/>
                  </a:lnTo>
                  <a:lnTo>
                    <a:pt x="192" y="14"/>
                  </a:lnTo>
                  <a:lnTo>
                    <a:pt x="192" y="16"/>
                  </a:lnTo>
                  <a:lnTo>
                    <a:pt x="192" y="14"/>
                  </a:lnTo>
                  <a:lnTo>
                    <a:pt x="194" y="14"/>
                  </a:lnTo>
                  <a:lnTo>
                    <a:pt x="192" y="14"/>
                  </a:lnTo>
                  <a:lnTo>
                    <a:pt x="190" y="14"/>
                  </a:lnTo>
                  <a:lnTo>
                    <a:pt x="192" y="14"/>
                  </a:lnTo>
                  <a:lnTo>
                    <a:pt x="192" y="12"/>
                  </a:lnTo>
                  <a:lnTo>
                    <a:pt x="190" y="12"/>
                  </a:lnTo>
                  <a:lnTo>
                    <a:pt x="190" y="14"/>
                  </a:lnTo>
                  <a:lnTo>
                    <a:pt x="190" y="12"/>
                  </a:lnTo>
                  <a:lnTo>
                    <a:pt x="187" y="12"/>
                  </a:lnTo>
                  <a:lnTo>
                    <a:pt x="187" y="9"/>
                  </a:lnTo>
                  <a:lnTo>
                    <a:pt x="190" y="9"/>
                  </a:lnTo>
                  <a:lnTo>
                    <a:pt x="187" y="9"/>
                  </a:lnTo>
                  <a:lnTo>
                    <a:pt x="187" y="7"/>
                  </a:lnTo>
                  <a:lnTo>
                    <a:pt x="187" y="9"/>
                  </a:lnTo>
                  <a:lnTo>
                    <a:pt x="185" y="9"/>
                  </a:lnTo>
                  <a:lnTo>
                    <a:pt x="187" y="9"/>
                  </a:lnTo>
                  <a:lnTo>
                    <a:pt x="187" y="7"/>
                  </a:lnTo>
                  <a:lnTo>
                    <a:pt x="185" y="7"/>
                  </a:lnTo>
                  <a:lnTo>
                    <a:pt x="185" y="9"/>
                  </a:lnTo>
                  <a:lnTo>
                    <a:pt x="185" y="7"/>
                  </a:lnTo>
                  <a:lnTo>
                    <a:pt x="183" y="7"/>
                  </a:lnTo>
                  <a:lnTo>
                    <a:pt x="183" y="9"/>
                  </a:lnTo>
                  <a:lnTo>
                    <a:pt x="183" y="7"/>
                  </a:lnTo>
                  <a:lnTo>
                    <a:pt x="185" y="7"/>
                  </a:lnTo>
                  <a:lnTo>
                    <a:pt x="183" y="7"/>
                  </a:lnTo>
                  <a:lnTo>
                    <a:pt x="185" y="7"/>
                  </a:lnTo>
                  <a:lnTo>
                    <a:pt x="185" y="5"/>
                  </a:lnTo>
                  <a:lnTo>
                    <a:pt x="187" y="5"/>
                  </a:lnTo>
                  <a:lnTo>
                    <a:pt x="187" y="7"/>
                  </a:lnTo>
                  <a:lnTo>
                    <a:pt x="190" y="7"/>
                  </a:lnTo>
                  <a:lnTo>
                    <a:pt x="187" y="7"/>
                  </a:lnTo>
                  <a:lnTo>
                    <a:pt x="187" y="5"/>
                  </a:lnTo>
                  <a:lnTo>
                    <a:pt x="187" y="2"/>
                  </a:lnTo>
                  <a:lnTo>
                    <a:pt x="190" y="2"/>
                  </a:lnTo>
                  <a:lnTo>
                    <a:pt x="187" y="2"/>
                  </a:lnTo>
                  <a:lnTo>
                    <a:pt x="190" y="2"/>
                  </a:lnTo>
                  <a:lnTo>
                    <a:pt x="187" y="2"/>
                  </a:lnTo>
                  <a:lnTo>
                    <a:pt x="190" y="2"/>
                  </a:lnTo>
                  <a:lnTo>
                    <a:pt x="187" y="2"/>
                  </a:lnTo>
                  <a:lnTo>
                    <a:pt x="190" y="2"/>
                  </a:lnTo>
                  <a:lnTo>
                    <a:pt x="187" y="2"/>
                  </a:lnTo>
                  <a:lnTo>
                    <a:pt x="190" y="0"/>
                  </a:lnTo>
                  <a:lnTo>
                    <a:pt x="187" y="0"/>
                  </a:lnTo>
                  <a:lnTo>
                    <a:pt x="190" y="0"/>
                  </a:lnTo>
                  <a:lnTo>
                    <a:pt x="190" y="2"/>
                  </a:lnTo>
                  <a:lnTo>
                    <a:pt x="192" y="0"/>
                  </a:lnTo>
                  <a:lnTo>
                    <a:pt x="192" y="2"/>
                  </a:lnTo>
                  <a:lnTo>
                    <a:pt x="19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8" name="Freeform 57768"/>
            <p:cNvSpPr>
              <a:spLocks noEditPoints="1"/>
            </p:cNvSpPr>
            <p:nvPr/>
          </p:nvSpPr>
          <p:spPr bwMode="auto">
            <a:xfrm>
              <a:off x="1600198" y="4006867"/>
              <a:ext cx="519113" cy="698502"/>
            </a:xfrm>
            <a:custGeom>
              <a:avLst/>
              <a:gdLst>
                <a:gd name="T0" fmla="*/ 80 w 327"/>
                <a:gd name="T1" fmla="*/ 200 h 440"/>
                <a:gd name="T2" fmla="*/ 88 w 327"/>
                <a:gd name="T3" fmla="*/ 221 h 440"/>
                <a:gd name="T4" fmla="*/ 83 w 327"/>
                <a:gd name="T5" fmla="*/ 226 h 440"/>
                <a:gd name="T6" fmla="*/ 50 w 327"/>
                <a:gd name="T7" fmla="*/ 231 h 440"/>
                <a:gd name="T8" fmla="*/ 2 w 327"/>
                <a:gd name="T9" fmla="*/ 221 h 440"/>
                <a:gd name="T10" fmla="*/ 28 w 327"/>
                <a:gd name="T11" fmla="*/ 190 h 440"/>
                <a:gd name="T12" fmla="*/ 249 w 327"/>
                <a:gd name="T13" fmla="*/ 214 h 440"/>
                <a:gd name="T14" fmla="*/ 258 w 327"/>
                <a:gd name="T15" fmla="*/ 252 h 440"/>
                <a:gd name="T16" fmla="*/ 268 w 327"/>
                <a:gd name="T17" fmla="*/ 259 h 440"/>
                <a:gd name="T18" fmla="*/ 284 w 327"/>
                <a:gd name="T19" fmla="*/ 295 h 440"/>
                <a:gd name="T20" fmla="*/ 322 w 327"/>
                <a:gd name="T21" fmla="*/ 328 h 440"/>
                <a:gd name="T22" fmla="*/ 306 w 327"/>
                <a:gd name="T23" fmla="*/ 340 h 440"/>
                <a:gd name="T24" fmla="*/ 299 w 327"/>
                <a:gd name="T25" fmla="*/ 354 h 440"/>
                <a:gd name="T26" fmla="*/ 273 w 327"/>
                <a:gd name="T27" fmla="*/ 364 h 440"/>
                <a:gd name="T28" fmla="*/ 303 w 327"/>
                <a:gd name="T29" fmla="*/ 371 h 440"/>
                <a:gd name="T30" fmla="*/ 275 w 327"/>
                <a:gd name="T31" fmla="*/ 402 h 440"/>
                <a:gd name="T32" fmla="*/ 232 w 327"/>
                <a:gd name="T33" fmla="*/ 395 h 440"/>
                <a:gd name="T34" fmla="*/ 201 w 327"/>
                <a:gd name="T35" fmla="*/ 404 h 440"/>
                <a:gd name="T36" fmla="*/ 154 w 327"/>
                <a:gd name="T37" fmla="*/ 407 h 440"/>
                <a:gd name="T38" fmla="*/ 144 w 327"/>
                <a:gd name="T39" fmla="*/ 426 h 440"/>
                <a:gd name="T40" fmla="*/ 118 w 327"/>
                <a:gd name="T41" fmla="*/ 421 h 440"/>
                <a:gd name="T42" fmla="*/ 102 w 327"/>
                <a:gd name="T43" fmla="*/ 437 h 440"/>
                <a:gd name="T44" fmla="*/ 102 w 327"/>
                <a:gd name="T45" fmla="*/ 411 h 440"/>
                <a:gd name="T46" fmla="*/ 133 w 327"/>
                <a:gd name="T47" fmla="*/ 383 h 440"/>
                <a:gd name="T48" fmla="*/ 171 w 327"/>
                <a:gd name="T49" fmla="*/ 369 h 440"/>
                <a:gd name="T50" fmla="*/ 168 w 327"/>
                <a:gd name="T51" fmla="*/ 361 h 440"/>
                <a:gd name="T52" fmla="*/ 128 w 327"/>
                <a:gd name="T53" fmla="*/ 357 h 440"/>
                <a:gd name="T54" fmla="*/ 109 w 327"/>
                <a:gd name="T55" fmla="*/ 352 h 440"/>
                <a:gd name="T56" fmla="*/ 104 w 327"/>
                <a:gd name="T57" fmla="*/ 338 h 440"/>
                <a:gd name="T58" fmla="*/ 135 w 327"/>
                <a:gd name="T59" fmla="*/ 302 h 440"/>
                <a:gd name="T60" fmla="*/ 125 w 327"/>
                <a:gd name="T61" fmla="*/ 283 h 440"/>
                <a:gd name="T62" fmla="*/ 166 w 327"/>
                <a:gd name="T63" fmla="*/ 276 h 440"/>
                <a:gd name="T64" fmla="*/ 171 w 327"/>
                <a:gd name="T65" fmla="*/ 257 h 440"/>
                <a:gd name="T66" fmla="*/ 173 w 327"/>
                <a:gd name="T67" fmla="*/ 231 h 440"/>
                <a:gd name="T68" fmla="*/ 154 w 327"/>
                <a:gd name="T69" fmla="*/ 202 h 440"/>
                <a:gd name="T70" fmla="*/ 142 w 327"/>
                <a:gd name="T71" fmla="*/ 195 h 440"/>
                <a:gd name="T72" fmla="*/ 111 w 327"/>
                <a:gd name="T73" fmla="*/ 195 h 440"/>
                <a:gd name="T74" fmla="*/ 111 w 327"/>
                <a:gd name="T75" fmla="*/ 167 h 440"/>
                <a:gd name="T76" fmla="*/ 111 w 327"/>
                <a:gd name="T77" fmla="*/ 138 h 440"/>
                <a:gd name="T78" fmla="*/ 95 w 327"/>
                <a:gd name="T79" fmla="*/ 145 h 440"/>
                <a:gd name="T80" fmla="*/ 90 w 327"/>
                <a:gd name="T81" fmla="*/ 152 h 440"/>
                <a:gd name="T82" fmla="*/ 83 w 327"/>
                <a:gd name="T83" fmla="*/ 150 h 440"/>
                <a:gd name="T84" fmla="*/ 88 w 327"/>
                <a:gd name="T85" fmla="*/ 131 h 440"/>
                <a:gd name="T86" fmla="*/ 102 w 327"/>
                <a:gd name="T87" fmla="*/ 110 h 440"/>
                <a:gd name="T88" fmla="*/ 97 w 327"/>
                <a:gd name="T89" fmla="*/ 95 h 440"/>
                <a:gd name="T90" fmla="*/ 73 w 327"/>
                <a:gd name="T91" fmla="*/ 105 h 440"/>
                <a:gd name="T92" fmla="*/ 80 w 327"/>
                <a:gd name="T93" fmla="*/ 93 h 440"/>
                <a:gd name="T94" fmla="*/ 88 w 327"/>
                <a:gd name="T95" fmla="*/ 81 h 440"/>
                <a:gd name="T96" fmla="*/ 83 w 327"/>
                <a:gd name="T97" fmla="*/ 69 h 440"/>
                <a:gd name="T98" fmla="*/ 80 w 327"/>
                <a:gd name="T99" fmla="*/ 50 h 440"/>
                <a:gd name="T100" fmla="*/ 99 w 327"/>
                <a:gd name="T101" fmla="*/ 41 h 440"/>
                <a:gd name="T102" fmla="*/ 99 w 327"/>
                <a:gd name="T103" fmla="*/ 17 h 440"/>
                <a:gd name="T104" fmla="*/ 114 w 327"/>
                <a:gd name="T105" fmla="*/ 7 h 440"/>
                <a:gd name="T106" fmla="*/ 152 w 327"/>
                <a:gd name="T107" fmla="*/ 3 h 440"/>
                <a:gd name="T108" fmla="*/ 135 w 327"/>
                <a:gd name="T109" fmla="*/ 38 h 440"/>
                <a:gd name="T110" fmla="*/ 135 w 327"/>
                <a:gd name="T111" fmla="*/ 50 h 440"/>
                <a:gd name="T112" fmla="*/ 125 w 327"/>
                <a:gd name="T113" fmla="*/ 62 h 440"/>
                <a:gd name="T114" fmla="*/ 178 w 327"/>
                <a:gd name="T115" fmla="*/ 50 h 440"/>
                <a:gd name="T116" fmla="*/ 201 w 327"/>
                <a:gd name="T117" fmla="*/ 76 h 440"/>
                <a:gd name="T118" fmla="*/ 161 w 327"/>
                <a:gd name="T119" fmla="*/ 119 h 440"/>
                <a:gd name="T120" fmla="*/ 156 w 327"/>
                <a:gd name="T121" fmla="*/ 138 h 440"/>
                <a:gd name="T122" fmla="*/ 182 w 327"/>
                <a:gd name="T123" fmla="*/ 138 h 440"/>
                <a:gd name="T124" fmla="*/ 220 w 327"/>
                <a:gd name="T125"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 h="440">
                  <a:moveTo>
                    <a:pt x="237" y="397"/>
                  </a:moveTo>
                  <a:lnTo>
                    <a:pt x="237" y="399"/>
                  </a:lnTo>
                  <a:lnTo>
                    <a:pt x="235" y="399"/>
                  </a:lnTo>
                  <a:lnTo>
                    <a:pt x="235" y="397"/>
                  </a:lnTo>
                  <a:lnTo>
                    <a:pt x="237" y="397"/>
                  </a:lnTo>
                  <a:close/>
                  <a:moveTo>
                    <a:pt x="45" y="181"/>
                  </a:moveTo>
                  <a:lnTo>
                    <a:pt x="47" y="181"/>
                  </a:lnTo>
                  <a:lnTo>
                    <a:pt x="47" y="179"/>
                  </a:lnTo>
                  <a:lnTo>
                    <a:pt x="50" y="179"/>
                  </a:lnTo>
                  <a:lnTo>
                    <a:pt x="52" y="179"/>
                  </a:lnTo>
                  <a:lnTo>
                    <a:pt x="54" y="179"/>
                  </a:lnTo>
                  <a:lnTo>
                    <a:pt x="54" y="176"/>
                  </a:lnTo>
                  <a:lnTo>
                    <a:pt x="57" y="176"/>
                  </a:lnTo>
                  <a:lnTo>
                    <a:pt x="59" y="176"/>
                  </a:lnTo>
                  <a:lnTo>
                    <a:pt x="61" y="176"/>
                  </a:lnTo>
                  <a:lnTo>
                    <a:pt x="61" y="179"/>
                  </a:lnTo>
                  <a:lnTo>
                    <a:pt x="64" y="179"/>
                  </a:lnTo>
                  <a:lnTo>
                    <a:pt x="66" y="179"/>
                  </a:lnTo>
                  <a:lnTo>
                    <a:pt x="66" y="176"/>
                  </a:lnTo>
                  <a:lnTo>
                    <a:pt x="66" y="179"/>
                  </a:lnTo>
                  <a:lnTo>
                    <a:pt x="69" y="179"/>
                  </a:lnTo>
                  <a:lnTo>
                    <a:pt x="69" y="181"/>
                  </a:lnTo>
                  <a:lnTo>
                    <a:pt x="71" y="181"/>
                  </a:lnTo>
                  <a:lnTo>
                    <a:pt x="69" y="183"/>
                  </a:lnTo>
                  <a:lnTo>
                    <a:pt x="71" y="183"/>
                  </a:lnTo>
                  <a:lnTo>
                    <a:pt x="69" y="183"/>
                  </a:lnTo>
                  <a:lnTo>
                    <a:pt x="69" y="186"/>
                  </a:lnTo>
                  <a:lnTo>
                    <a:pt x="71" y="186"/>
                  </a:lnTo>
                  <a:lnTo>
                    <a:pt x="73" y="186"/>
                  </a:lnTo>
                  <a:lnTo>
                    <a:pt x="71" y="188"/>
                  </a:lnTo>
                  <a:lnTo>
                    <a:pt x="71" y="190"/>
                  </a:lnTo>
                  <a:lnTo>
                    <a:pt x="73" y="190"/>
                  </a:lnTo>
                  <a:lnTo>
                    <a:pt x="73" y="193"/>
                  </a:lnTo>
                  <a:lnTo>
                    <a:pt x="76" y="193"/>
                  </a:lnTo>
                  <a:lnTo>
                    <a:pt x="76" y="195"/>
                  </a:lnTo>
                  <a:lnTo>
                    <a:pt x="76" y="193"/>
                  </a:lnTo>
                  <a:lnTo>
                    <a:pt x="76" y="195"/>
                  </a:lnTo>
                  <a:lnTo>
                    <a:pt x="78" y="195"/>
                  </a:lnTo>
                  <a:lnTo>
                    <a:pt x="78" y="198"/>
                  </a:lnTo>
                  <a:lnTo>
                    <a:pt x="80" y="198"/>
                  </a:lnTo>
                  <a:lnTo>
                    <a:pt x="78" y="198"/>
                  </a:lnTo>
                  <a:lnTo>
                    <a:pt x="80" y="198"/>
                  </a:lnTo>
                  <a:lnTo>
                    <a:pt x="80" y="200"/>
                  </a:lnTo>
                  <a:lnTo>
                    <a:pt x="80" y="198"/>
                  </a:lnTo>
                  <a:lnTo>
                    <a:pt x="78" y="198"/>
                  </a:lnTo>
                  <a:lnTo>
                    <a:pt x="78" y="195"/>
                  </a:lnTo>
                  <a:lnTo>
                    <a:pt x="78" y="198"/>
                  </a:lnTo>
                  <a:lnTo>
                    <a:pt x="78" y="195"/>
                  </a:lnTo>
                  <a:lnTo>
                    <a:pt x="80" y="195"/>
                  </a:lnTo>
                  <a:lnTo>
                    <a:pt x="80" y="198"/>
                  </a:lnTo>
                  <a:lnTo>
                    <a:pt x="80" y="200"/>
                  </a:lnTo>
                  <a:lnTo>
                    <a:pt x="80" y="202"/>
                  </a:lnTo>
                  <a:lnTo>
                    <a:pt x="78" y="202"/>
                  </a:lnTo>
                  <a:lnTo>
                    <a:pt x="78" y="205"/>
                  </a:lnTo>
                  <a:lnTo>
                    <a:pt x="76" y="205"/>
                  </a:lnTo>
                  <a:lnTo>
                    <a:pt x="73" y="205"/>
                  </a:lnTo>
                  <a:lnTo>
                    <a:pt x="73" y="207"/>
                  </a:lnTo>
                  <a:lnTo>
                    <a:pt x="76" y="207"/>
                  </a:lnTo>
                  <a:lnTo>
                    <a:pt x="73" y="207"/>
                  </a:lnTo>
                  <a:lnTo>
                    <a:pt x="73" y="209"/>
                  </a:lnTo>
                  <a:lnTo>
                    <a:pt x="76" y="207"/>
                  </a:lnTo>
                  <a:lnTo>
                    <a:pt x="76" y="209"/>
                  </a:lnTo>
                  <a:lnTo>
                    <a:pt x="73" y="209"/>
                  </a:lnTo>
                  <a:lnTo>
                    <a:pt x="76" y="209"/>
                  </a:lnTo>
                  <a:lnTo>
                    <a:pt x="76" y="207"/>
                  </a:lnTo>
                  <a:lnTo>
                    <a:pt x="78" y="207"/>
                  </a:lnTo>
                  <a:lnTo>
                    <a:pt x="78" y="205"/>
                  </a:lnTo>
                  <a:lnTo>
                    <a:pt x="80" y="205"/>
                  </a:lnTo>
                  <a:lnTo>
                    <a:pt x="83" y="205"/>
                  </a:lnTo>
                  <a:lnTo>
                    <a:pt x="85" y="205"/>
                  </a:lnTo>
                  <a:lnTo>
                    <a:pt x="85" y="207"/>
                  </a:lnTo>
                  <a:lnTo>
                    <a:pt x="88" y="207"/>
                  </a:lnTo>
                  <a:lnTo>
                    <a:pt x="85" y="207"/>
                  </a:lnTo>
                  <a:lnTo>
                    <a:pt x="88" y="207"/>
                  </a:lnTo>
                  <a:lnTo>
                    <a:pt x="85" y="207"/>
                  </a:lnTo>
                  <a:lnTo>
                    <a:pt x="88" y="207"/>
                  </a:lnTo>
                  <a:lnTo>
                    <a:pt x="88" y="209"/>
                  </a:lnTo>
                  <a:lnTo>
                    <a:pt x="88" y="212"/>
                  </a:lnTo>
                  <a:lnTo>
                    <a:pt x="88" y="214"/>
                  </a:lnTo>
                  <a:lnTo>
                    <a:pt x="90" y="214"/>
                  </a:lnTo>
                  <a:lnTo>
                    <a:pt x="90" y="217"/>
                  </a:lnTo>
                  <a:lnTo>
                    <a:pt x="88" y="217"/>
                  </a:lnTo>
                  <a:lnTo>
                    <a:pt x="88" y="219"/>
                  </a:lnTo>
                  <a:lnTo>
                    <a:pt x="90" y="219"/>
                  </a:lnTo>
                  <a:lnTo>
                    <a:pt x="88" y="219"/>
                  </a:lnTo>
                  <a:lnTo>
                    <a:pt x="88" y="221"/>
                  </a:lnTo>
                  <a:lnTo>
                    <a:pt x="88" y="219"/>
                  </a:lnTo>
                  <a:lnTo>
                    <a:pt x="88" y="221"/>
                  </a:lnTo>
                  <a:lnTo>
                    <a:pt x="88" y="224"/>
                  </a:lnTo>
                  <a:lnTo>
                    <a:pt x="88" y="221"/>
                  </a:lnTo>
                  <a:lnTo>
                    <a:pt x="85" y="221"/>
                  </a:lnTo>
                  <a:lnTo>
                    <a:pt x="85" y="219"/>
                  </a:lnTo>
                  <a:lnTo>
                    <a:pt x="85" y="217"/>
                  </a:lnTo>
                  <a:lnTo>
                    <a:pt x="85" y="219"/>
                  </a:lnTo>
                  <a:lnTo>
                    <a:pt x="85" y="217"/>
                  </a:lnTo>
                  <a:lnTo>
                    <a:pt x="88" y="217"/>
                  </a:lnTo>
                  <a:lnTo>
                    <a:pt x="85" y="217"/>
                  </a:lnTo>
                  <a:lnTo>
                    <a:pt x="88" y="217"/>
                  </a:lnTo>
                  <a:lnTo>
                    <a:pt x="85" y="217"/>
                  </a:lnTo>
                  <a:lnTo>
                    <a:pt x="85" y="214"/>
                  </a:lnTo>
                  <a:lnTo>
                    <a:pt x="88" y="214"/>
                  </a:lnTo>
                  <a:lnTo>
                    <a:pt x="85" y="214"/>
                  </a:lnTo>
                  <a:lnTo>
                    <a:pt x="85" y="212"/>
                  </a:lnTo>
                  <a:lnTo>
                    <a:pt x="83" y="212"/>
                  </a:lnTo>
                  <a:lnTo>
                    <a:pt x="83" y="209"/>
                  </a:lnTo>
                  <a:lnTo>
                    <a:pt x="80" y="209"/>
                  </a:lnTo>
                  <a:lnTo>
                    <a:pt x="80" y="212"/>
                  </a:lnTo>
                  <a:lnTo>
                    <a:pt x="80" y="214"/>
                  </a:lnTo>
                  <a:lnTo>
                    <a:pt x="83" y="212"/>
                  </a:lnTo>
                  <a:lnTo>
                    <a:pt x="83" y="214"/>
                  </a:lnTo>
                  <a:lnTo>
                    <a:pt x="80" y="214"/>
                  </a:lnTo>
                  <a:lnTo>
                    <a:pt x="83" y="214"/>
                  </a:lnTo>
                  <a:lnTo>
                    <a:pt x="83" y="217"/>
                  </a:lnTo>
                  <a:lnTo>
                    <a:pt x="83" y="219"/>
                  </a:lnTo>
                  <a:lnTo>
                    <a:pt x="83" y="217"/>
                  </a:lnTo>
                  <a:lnTo>
                    <a:pt x="83" y="219"/>
                  </a:lnTo>
                  <a:lnTo>
                    <a:pt x="83" y="217"/>
                  </a:lnTo>
                  <a:lnTo>
                    <a:pt x="83" y="219"/>
                  </a:lnTo>
                  <a:lnTo>
                    <a:pt x="83" y="221"/>
                  </a:lnTo>
                  <a:lnTo>
                    <a:pt x="80" y="221"/>
                  </a:lnTo>
                  <a:lnTo>
                    <a:pt x="83" y="221"/>
                  </a:lnTo>
                  <a:lnTo>
                    <a:pt x="85" y="221"/>
                  </a:lnTo>
                  <a:lnTo>
                    <a:pt x="85" y="219"/>
                  </a:lnTo>
                  <a:lnTo>
                    <a:pt x="85" y="221"/>
                  </a:lnTo>
                  <a:lnTo>
                    <a:pt x="85" y="224"/>
                  </a:lnTo>
                  <a:lnTo>
                    <a:pt x="88" y="224"/>
                  </a:lnTo>
                  <a:lnTo>
                    <a:pt x="85" y="224"/>
                  </a:lnTo>
                  <a:lnTo>
                    <a:pt x="85" y="226"/>
                  </a:lnTo>
                  <a:lnTo>
                    <a:pt x="83" y="226"/>
                  </a:lnTo>
                  <a:lnTo>
                    <a:pt x="85" y="226"/>
                  </a:lnTo>
                  <a:lnTo>
                    <a:pt x="83" y="226"/>
                  </a:lnTo>
                  <a:lnTo>
                    <a:pt x="83" y="228"/>
                  </a:lnTo>
                  <a:lnTo>
                    <a:pt x="83" y="226"/>
                  </a:lnTo>
                  <a:lnTo>
                    <a:pt x="80" y="226"/>
                  </a:lnTo>
                  <a:lnTo>
                    <a:pt x="78" y="226"/>
                  </a:lnTo>
                  <a:lnTo>
                    <a:pt x="76" y="226"/>
                  </a:lnTo>
                  <a:lnTo>
                    <a:pt x="78" y="226"/>
                  </a:lnTo>
                  <a:lnTo>
                    <a:pt x="76" y="226"/>
                  </a:lnTo>
                  <a:lnTo>
                    <a:pt x="78" y="226"/>
                  </a:lnTo>
                  <a:lnTo>
                    <a:pt x="76" y="226"/>
                  </a:lnTo>
                  <a:lnTo>
                    <a:pt x="76" y="228"/>
                  </a:lnTo>
                  <a:lnTo>
                    <a:pt x="76" y="226"/>
                  </a:lnTo>
                  <a:lnTo>
                    <a:pt x="76" y="228"/>
                  </a:lnTo>
                  <a:lnTo>
                    <a:pt x="76" y="231"/>
                  </a:lnTo>
                  <a:lnTo>
                    <a:pt x="76" y="233"/>
                  </a:lnTo>
                  <a:lnTo>
                    <a:pt x="73" y="233"/>
                  </a:lnTo>
                  <a:lnTo>
                    <a:pt x="73" y="236"/>
                  </a:lnTo>
                  <a:lnTo>
                    <a:pt x="71" y="236"/>
                  </a:lnTo>
                  <a:lnTo>
                    <a:pt x="71" y="238"/>
                  </a:lnTo>
                  <a:lnTo>
                    <a:pt x="69" y="238"/>
                  </a:lnTo>
                  <a:lnTo>
                    <a:pt x="69" y="236"/>
                  </a:lnTo>
                  <a:lnTo>
                    <a:pt x="66" y="236"/>
                  </a:lnTo>
                  <a:lnTo>
                    <a:pt x="64" y="236"/>
                  </a:lnTo>
                  <a:lnTo>
                    <a:pt x="64" y="233"/>
                  </a:lnTo>
                  <a:lnTo>
                    <a:pt x="64" y="236"/>
                  </a:lnTo>
                  <a:lnTo>
                    <a:pt x="61" y="233"/>
                  </a:lnTo>
                  <a:lnTo>
                    <a:pt x="61" y="231"/>
                  </a:lnTo>
                  <a:lnTo>
                    <a:pt x="61" y="233"/>
                  </a:lnTo>
                  <a:lnTo>
                    <a:pt x="61" y="236"/>
                  </a:lnTo>
                  <a:lnTo>
                    <a:pt x="59" y="236"/>
                  </a:lnTo>
                  <a:lnTo>
                    <a:pt x="59" y="233"/>
                  </a:lnTo>
                  <a:lnTo>
                    <a:pt x="59" y="236"/>
                  </a:lnTo>
                  <a:lnTo>
                    <a:pt x="57" y="236"/>
                  </a:lnTo>
                  <a:lnTo>
                    <a:pt x="54" y="236"/>
                  </a:lnTo>
                  <a:lnTo>
                    <a:pt x="52" y="236"/>
                  </a:lnTo>
                  <a:lnTo>
                    <a:pt x="52" y="238"/>
                  </a:lnTo>
                  <a:lnTo>
                    <a:pt x="52" y="236"/>
                  </a:lnTo>
                  <a:lnTo>
                    <a:pt x="52" y="238"/>
                  </a:lnTo>
                  <a:lnTo>
                    <a:pt x="50" y="238"/>
                  </a:lnTo>
                  <a:lnTo>
                    <a:pt x="50" y="236"/>
                  </a:lnTo>
                  <a:lnTo>
                    <a:pt x="50" y="233"/>
                  </a:lnTo>
                  <a:lnTo>
                    <a:pt x="50" y="231"/>
                  </a:lnTo>
                  <a:lnTo>
                    <a:pt x="50" y="228"/>
                  </a:lnTo>
                  <a:lnTo>
                    <a:pt x="47" y="228"/>
                  </a:lnTo>
                  <a:lnTo>
                    <a:pt x="47" y="231"/>
                  </a:lnTo>
                  <a:lnTo>
                    <a:pt x="47" y="228"/>
                  </a:lnTo>
                  <a:lnTo>
                    <a:pt x="45" y="228"/>
                  </a:lnTo>
                  <a:lnTo>
                    <a:pt x="42" y="226"/>
                  </a:lnTo>
                  <a:lnTo>
                    <a:pt x="42" y="224"/>
                  </a:lnTo>
                  <a:lnTo>
                    <a:pt x="42" y="221"/>
                  </a:lnTo>
                  <a:lnTo>
                    <a:pt x="40" y="221"/>
                  </a:lnTo>
                  <a:lnTo>
                    <a:pt x="40" y="219"/>
                  </a:lnTo>
                  <a:lnTo>
                    <a:pt x="38" y="219"/>
                  </a:lnTo>
                  <a:lnTo>
                    <a:pt x="35" y="219"/>
                  </a:lnTo>
                  <a:lnTo>
                    <a:pt x="35" y="221"/>
                  </a:lnTo>
                  <a:lnTo>
                    <a:pt x="33" y="221"/>
                  </a:lnTo>
                  <a:lnTo>
                    <a:pt x="33" y="224"/>
                  </a:lnTo>
                  <a:lnTo>
                    <a:pt x="31" y="224"/>
                  </a:lnTo>
                  <a:lnTo>
                    <a:pt x="33" y="224"/>
                  </a:lnTo>
                  <a:lnTo>
                    <a:pt x="33" y="226"/>
                  </a:lnTo>
                  <a:lnTo>
                    <a:pt x="33" y="228"/>
                  </a:lnTo>
                  <a:lnTo>
                    <a:pt x="31" y="228"/>
                  </a:lnTo>
                  <a:lnTo>
                    <a:pt x="31" y="231"/>
                  </a:lnTo>
                  <a:lnTo>
                    <a:pt x="28" y="231"/>
                  </a:lnTo>
                  <a:lnTo>
                    <a:pt x="28" y="233"/>
                  </a:lnTo>
                  <a:lnTo>
                    <a:pt x="28" y="231"/>
                  </a:lnTo>
                  <a:lnTo>
                    <a:pt x="26" y="231"/>
                  </a:lnTo>
                  <a:lnTo>
                    <a:pt x="28" y="233"/>
                  </a:lnTo>
                  <a:lnTo>
                    <a:pt x="26" y="233"/>
                  </a:lnTo>
                  <a:lnTo>
                    <a:pt x="23" y="233"/>
                  </a:lnTo>
                  <a:lnTo>
                    <a:pt x="23" y="231"/>
                  </a:lnTo>
                  <a:lnTo>
                    <a:pt x="23" y="233"/>
                  </a:lnTo>
                  <a:lnTo>
                    <a:pt x="21" y="233"/>
                  </a:lnTo>
                  <a:lnTo>
                    <a:pt x="19" y="233"/>
                  </a:lnTo>
                  <a:lnTo>
                    <a:pt x="19" y="231"/>
                  </a:lnTo>
                  <a:lnTo>
                    <a:pt x="16" y="231"/>
                  </a:lnTo>
                  <a:lnTo>
                    <a:pt x="16" y="228"/>
                  </a:lnTo>
                  <a:lnTo>
                    <a:pt x="14" y="228"/>
                  </a:lnTo>
                  <a:lnTo>
                    <a:pt x="12" y="228"/>
                  </a:lnTo>
                  <a:lnTo>
                    <a:pt x="9" y="228"/>
                  </a:lnTo>
                  <a:lnTo>
                    <a:pt x="9" y="226"/>
                  </a:lnTo>
                  <a:lnTo>
                    <a:pt x="9" y="224"/>
                  </a:lnTo>
                  <a:lnTo>
                    <a:pt x="7" y="224"/>
                  </a:lnTo>
                  <a:lnTo>
                    <a:pt x="4" y="221"/>
                  </a:lnTo>
                  <a:lnTo>
                    <a:pt x="2" y="221"/>
                  </a:lnTo>
                  <a:lnTo>
                    <a:pt x="2" y="219"/>
                  </a:lnTo>
                  <a:lnTo>
                    <a:pt x="0" y="217"/>
                  </a:lnTo>
                  <a:lnTo>
                    <a:pt x="2" y="217"/>
                  </a:lnTo>
                  <a:lnTo>
                    <a:pt x="2" y="214"/>
                  </a:lnTo>
                  <a:lnTo>
                    <a:pt x="4" y="214"/>
                  </a:lnTo>
                  <a:lnTo>
                    <a:pt x="4" y="212"/>
                  </a:lnTo>
                  <a:lnTo>
                    <a:pt x="7" y="212"/>
                  </a:lnTo>
                  <a:lnTo>
                    <a:pt x="9" y="212"/>
                  </a:lnTo>
                  <a:lnTo>
                    <a:pt x="12" y="212"/>
                  </a:lnTo>
                  <a:lnTo>
                    <a:pt x="12" y="209"/>
                  </a:lnTo>
                  <a:lnTo>
                    <a:pt x="14" y="209"/>
                  </a:lnTo>
                  <a:lnTo>
                    <a:pt x="14" y="207"/>
                  </a:lnTo>
                  <a:lnTo>
                    <a:pt x="12" y="207"/>
                  </a:lnTo>
                  <a:lnTo>
                    <a:pt x="9" y="207"/>
                  </a:lnTo>
                  <a:lnTo>
                    <a:pt x="7" y="205"/>
                  </a:lnTo>
                  <a:lnTo>
                    <a:pt x="9" y="205"/>
                  </a:lnTo>
                  <a:lnTo>
                    <a:pt x="7" y="205"/>
                  </a:lnTo>
                  <a:lnTo>
                    <a:pt x="9" y="205"/>
                  </a:lnTo>
                  <a:lnTo>
                    <a:pt x="9" y="202"/>
                  </a:lnTo>
                  <a:lnTo>
                    <a:pt x="12" y="202"/>
                  </a:lnTo>
                  <a:lnTo>
                    <a:pt x="12" y="205"/>
                  </a:lnTo>
                  <a:lnTo>
                    <a:pt x="14" y="205"/>
                  </a:lnTo>
                  <a:lnTo>
                    <a:pt x="14" y="202"/>
                  </a:lnTo>
                  <a:lnTo>
                    <a:pt x="16" y="202"/>
                  </a:lnTo>
                  <a:lnTo>
                    <a:pt x="19" y="202"/>
                  </a:lnTo>
                  <a:lnTo>
                    <a:pt x="21" y="202"/>
                  </a:lnTo>
                  <a:lnTo>
                    <a:pt x="19" y="200"/>
                  </a:lnTo>
                  <a:lnTo>
                    <a:pt x="21" y="200"/>
                  </a:lnTo>
                  <a:lnTo>
                    <a:pt x="21" y="198"/>
                  </a:lnTo>
                  <a:lnTo>
                    <a:pt x="23" y="198"/>
                  </a:lnTo>
                  <a:lnTo>
                    <a:pt x="23" y="195"/>
                  </a:lnTo>
                  <a:lnTo>
                    <a:pt x="23" y="193"/>
                  </a:lnTo>
                  <a:lnTo>
                    <a:pt x="26" y="193"/>
                  </a:lnTo>
                  <a:lnTo>
                    <a:pt x="23" y="190"/>
                  </a:lnTo>
                  <a:lnTo>
                    <a:pt x="26" y="190"/>
                  </a:lnTo>
                  <a:lnTo>
                    <a:pt x="23" y="190"/>
                  </a:lnTo>
                  <a:lnTo>
                    <a:pt x="26" y="188"/>
                  </a:lnTo>
                  <a:lnTo>
                    <a:pt x="26" y="186"/>
                  </a:lnTo>
                  <a:lnTo>
                    <a:pt x="28" y="186"/>
                  </a:lnTo>
                  <a:lnTo>
                    <a:pt x="31" y="186"/>
                  </a:lnTo>
                  <a:lnTo>
                    <a:pt x="28" y="186"/>
                  </a:lnTo>
                  <a:lnTo>
                    <a:pt x="28" y="188"/>
                  </a:lnTo>
                  <a:lnTo>
                    <a:pt x="28" y="190"/>
                  </a:lnTo>
                  <a:lnTo>
                    <a:pt x="26" y="190"/>
                  </a:lnTo>
                  <a:lnTo>
                    <a:pt x="28" y="190"/>
                  </a:lnTo>
                  <a:lnTo>
                    <a:pt x="28" y="188"/>
                  </a:lnTo>
                  <a:lnTo>
                    <a:pt x="28" y="186"/>
                  </a:lnTo>
                  <a:lnTo>
                    <a:pt x="31" y="186"/>
                  </a:lnTo>
                  <a:lnTo>
                    <a:pt x="33" y="186"/>
                  </a:lnTo>
                  <a:lnTo>
                    <a:pt x="35" y="186"/>
                  </a:lnTo>
                  <a:lnTo>
                    <a:pt x="38" y="186"/>
                  </a:lnTo>
                  <a:lnTo>
                    <a:pt x="38" y="183"/>
                  </a:lnTo>
                  <a:lnTo>
                    <a:pt x="38" y="181"/>
                  </a:lnTo>
                  <a:lnTo>
                    <a:pt x="40" y="181"/>
                  </a:lnTo>
                  <a:lnTo>
                    <a:pt x="40" y="179"/>
                  </a:lnTo>
                  <a:lnTo>
                    <a:pt x="40" y="181"/>
                  </a:lnTo>
                  <a:lnTo>
                    <a:pt x="42" y="181"/>
                  </a:lnTo>
                  <a:lnTo>
                    <a:pt x="45" y="181"/>
                  </a:lnTo>
                  <a:lnTo>
                    <a:pt x="47" y="181"/>
                  </a:lnTo>
                  <a:lnTo>
                    <a:pt x="45" y="181"/>
                  </a:lnTo>
                  <a:close/>
                  <a:moveTo>
                    <a:pt x="223" y="193"/>
                  </a:moveTo>
                  <a:lnTo>
                    <a:pt x="220" y="193"/>
                  </a:lnTo>
                  <a:lnTo>
                    <a:pt x="223" y="193"/>
                  </a:lnTo>
                  <a:lnTo>
                    <a:pt x="225" y="193"/>
                  </a:lnTo>
                  <a:lnTo>
                    <a:pt x="225" y="195"/>
                  </a:lnTo>
                  <a:lnTo>
                    <a:pt x="225" y="198"/>
                  </a:lnTo>
                  <a:lnTo>
                    <a:pt x="225" y="200"/>
                  </a:lnTo>
                  <a:lnTo>
                    <a:pt x="227" y="202"/>
                  </a:lnTo>
                  <a:lnTo>
                    <a:pt x="230" y="205"/>
                  </a:lnTo>
                  <a:lnTo>
                    <a:pt x="230" y="207"/>
                  </a:lnTo>
                  <a:lnTo>
                    <a:pt x="230" y="209"/>
                  </a:lnTo>
                  <a:lnTo>
                    <a:pt x="230" y="207"/>
                  </a:lnTo>
                  <a:lnTo>
                    <a:pt x="232" y="209"/>
                  </a:lnTo>
                  <a:lnTo>
                    <a:pt x="230" y="207"/>
                  </a:lnTo>
                  <a:lnTo>
                    <a:pt x="232" y="207"/>
                  </a:lnTo>
                  <a:lnTo>
                    <a:pt x="235" y="209"/>
                  </a:lnTo>
                  <a:lnTo>
                    <a:pt x="237" y="209"/>
                  </a:lnTo>
                  <a:lnTo>
                    <a:pt x="239" y="209"/>
                  </a:lnTo>
                  <a:lnTo>
                    <a:pt x="239" y="212"/>
                  </a:lnTo>
                  <a:lnTo>
                    <a:pt x="239" y="209"/>
                  </a:lnTo>
                  <a:lnTo>
                    <a:pt x="242" y="209"/>
                  </a:lnTo>
                  <a:lnTo>
                    <a:pt x="242" y="212"/>
                  </a:lnTo>
                  <a:lnTo>
                    <a:pt x="244" y="212"/>
                  </a:lnTo>
                  <a:lnTo>
                    <a:pt x="246" y="212"/>
                  </a:lnTo>
                  <a:lnTo>
                    <a:pt x="246" y="214"/>
                  </a:lnTo>
                  <a:lnTo>
                    <a:pt x="249" y="214"/>
                  </a:lnTo>
                  <a:lnTo>
                    <a:pt x="251" y="217"/>
                  </a:lnTo>
                  <a:lnTo>
                    <a:pt x="251" y="219"/>
                  </a:lnTo>
                  <a:lnTo>
                    <a:pt x="254" y="219"/>
                  </a:lnTo>
                  <a:lnTo>
                    <a:pt x="254" y="221"/>
                  </a:lnTo>
                  <a:lnTo>
                    <a:pt x="256" y="221"/>
                  </a:lnTo>
                  <a:lnTo>
                    <a:pt x="256" y="224"/>
                  </a:lnTo>
                  <a:lnTo>
                    <a:pt x="256" y="226"/>
                  </a:lnTo>
                  <a:lnTo>
                    <a:pt x="258" y="228"/>
                  </a:lnTo>
                  <a:lnTo>
                    <a:pt x="258" y="226"/>
                  </a:lnTo>
                  <a:lnTo>
                    <a:pt x="258" y="228"/>
                  </a:lnTo>
                  <a:lnTo>
                    <a:pt x="261" y="228"/>
                  </a:lnTo>
                  <a:lnTo>
                    <a:pt x="258" y="228"/>
                  </a:lnTo>
                  <a:lnTo>
                    <a:pt x="258" y="231"/>
                  </a:lnTo>
                  <a:lnTo>
                    <a:pt x="261" y="231"/>
                  </a:lnTo>
                  <a:lnTo>
                    <a:pt x="263" y="231"/>
                  </a:lnTo>
                  <a:lnTo>
                    <a:pt x="263" y="233"/>
                  </a:lnTo>
                  <a:lnTo>
                    <a:pt x="265" y="233"/>
                  </a:lnTo>
                  <a:lnTo>
                    <a:pt x="263" y="233"/>
                  </a:lnTo>
                  <a:lnTo>
                    <a:pt x="263" y="236"/>
                  </a:lnTo>
                  <a:lnTo>
                    <a:pt x="261" y="238"/>
                  </a:lnTo>
                  <a:lnTo>
                    <a:pt x="263" y="240"/>
                  </a:lnTo>
                  <a:lnTo>
                    <a:pt x="263" y="243"/>
                  </a:lnTo>
                  <a:lnTo>
                    <a:pt x="263" y="245"/>
                  </a:lnTo>
                  <a:lnTo>
                    <a:pt x="265" y="245"/>
                  </a:lnTo>
                  <a:lnTo>
                    <a:pt x="265" y="247"/>
                  </a:lnTo>
                  <a:lnTo>
                    <a:pt x="268" y="250"/>
                  </a:lnTo>
                  <a:lnTo>
                    <a:pt x="268" y="252"/>
                  </a:lnTo>
                  <a:lnTo>
                    <a:pt x="270" y="252"/>
                  </a:lnTo>
                  <a:lnTo>
                    <a:pt x="270" y="255"/>
                  </a:lnTo>
                  <a:lnTo>
                    <a:pt x="273" y="255"/>
                  </a:lnTo>
                  <a:lnTo>
                    <a:pt x="273" y="257"/>
                  </a:lnTo>
                  <a:lnTo>
                    <a:pt x="273" y="259"/>
                  </a:lnTo>
                  <a:lnTo>
                    <a:pt x="273" y="262"/>
                  </a:lnTo>
                  <a:lnTo>
                    <a:pt x="273" y="259"/>
                  </a:lnTo>
                  <a:lnTo>
                    <a:pt x="273" y="257"/>
                  </a:lnTo>
                  <a:lnTo>
                    <a:pt x="270" y="257"/>
                  </a:lnTo>
                  <a:lnTo>
                    <a:pt x="268" y="257"/>
                  </a:lnTo>
                  <a:lnTo>
                    <a:pt x="265" y="257"/>
                  </a:lnTo>
                  <a:lnTo>
                    <a:pt x="263" y="257"/>
                  </a:lnTo>
                  <a:lnTo>
                    <a:pt x="263" y="255"/>
                  </a:lnTo>
                  <a:lnTo>
                    <a:pt x="261" y="255"/>
                  </a:lnTo>
                  <a:lnTo>
                    <a:pt x="261" y="252"/>
                  </a:lnTo>
                  <a:lnTo>
                    <a:pt x="258" y="252"/>
                  </a:lnTo>
                  <a:lnTo>
                    <a:pt x="256" y="252"/>
                  </a:lnTo>
                  <a:lnTo>
                    <a:pt x="256" y="255"/>
                  </a:lnTo>
                  <a:lnTo>
                    <a:pt x="254" y="255"/>
                  </a:lnTo>
                  <a:lnTo>
                    <a:pt x="251" y="255"/>
                  </a:lnTo>
                  <a:lnTo>
                    <a:pt x="249" y="252"/>
                  </a:lnTo>
                  <a:lnTo>
                    <a:pt x="246" y="252"/>
                  </a:lnTo>
                  <a:lnTo>
                    <a:pt x="246" y="255"/>
                  </a:lnTo>
                  <a:lnTo>
                    <a:pt x="244" y="255"/>
                  </a:lnTo>
                  <a:lnTo>
                    <a:pt x="242" y="255"/>
                  </a:lnTo>
                  <a:lnTo>
                    <a:pt x="239" y="255"/>
                  </a:lnTo>
                  <a:lnTo>
                    <a:pt x="242" y="255"/>
                  </a:lnTo>
                  <a:lnTo>
                    <a:pt x="242" y="252"/>
                  </a:lnTo>
                  <a:lnTo>
                    <a:pt x="239" y="252"/>
                  </a:lnTo>
                  <a:lnTo>
                    <a:pt x="242" y="252"/>
                  </a:lnTo>
                  <a:lnTo>
                    <a:pt x="242" y="255"/>
                  </a:lnTo>
                  <a:lnTo>
                    <a:pt x="239" y="255"/>
                  </a:lnTo>
                  <a:lnTo>
                    <a:pt x="242" y="255"/>
                  </a:lnTo>
                  <a:lnTo>
                    <a:pt x="244" y="255"/>
                  </a:lnTo>
                  <a:lnTo>
                    <a:pt x="246" y="255"/>
                  </a:lnTo>
                  <a:lnTo>
                    <a:pt x="246" y="257"/>
                  </a:lnTo>
                  <a:lnTo>
                    <a:pt x="244" y="257"/>
                  </a:lnTo>
                  <a:lnTo>
                    <a:pt x="246" y="259"/>
                  </a:lnTo>
                  <a:lnTo>
                    <a:pt x="246" y="257"/>
                  </a:lnTo>
                  <a:lnTo>
                    <a:pt x="246" y="255"/>
                  </a:lnTo>
                  <a:lnTo>
                    <a:pt x="249" y="255"/>
                  </a:lnTo>
                  <a:lnTo>
                    <a:pt x="251" y="255"/>
                  </a:lnTo>
                  <a:lnTo>
                    <a:pt x="254" y="255"/>
                  </a:lnTo>
                  <a:lnTo>
                    <a:pt x="256" y="255"/>
                  </a:lnTo>
                  <a:lnTo>
                    <a:pt x="258" y="255"/>
                  </a:lnTo>
                  <a:lnTo>
                    <a:pt x="261" y="255"/>
                  </a:lnTo>
                  <a:lnTo>
                    <a:pt x="261" y="257"/>
                  </a:lnTo>
                  <a:lnTo>
                    <a:pt x="263" y="257"/>
                  </a:lnTo>
                  <a:lnTo>
                    <a:pt x="261" y="257"/>
                  </a:lnTo>
                  <a:lnTo>
                    <a:pt x="263" y="257"/>
                  </a:lnTo>
                  <a:lnTo>
                    <a:pt x="261" y="257"/>
                  </a:lnTo>
                  <a:lnTo>
                    <a:pt x="263" y="257"/>
                  </a:lnTo>
                  <a:lnTo>
                    <a:pt x="263" y="259"/>
                  </a:lnTo>
                  <a:lnTo>
                    <a:pt x="263" y="257"/>
                  </a:lnTo>
                  <a:lnTo>
                    <a:pt x="263" y="259"/>
                  </a:lnTo>
                  <a:lnTo>
                    <a:pt x="265" y="259"/>
                  </a:lnTo>
                  <a:lnTo>
                    <a:pt x="265" y="262"/>
                  </a:lnTo>
                  <a:lnTo>
                    <a:pt x="265" y="259"/>
                  </a:lnTo>
                  <a:lnTo>
                    <a:pt x="268" y="259"/>
                  </a:lnTo>
                  <a:lnTo>
                    <a:pt x="265" y="259"/>
                  </a:lnTo>
                  <a:lnTo>
                    <a:pt x="268" y="259"/>
                  </a:lnTo>
                  <a:lnTo>
                    <a:pt x="268" y="262"/>
                  </a:lnTo>
                  <a:lnTo>
                    <a:pt x="270" y="264"/>
                  </a:lnTo>
                  <a:lnTo>
                    <a:pt x="273" y="264"/>
                  </a:lnTo>
                  <a:lnTo>
                    <a:pt x="273" y="266"/>
                  </a:lnTo>
                  <a:lnTo>
                    <a:pt x="275" y="266"/>
                  </a:lnTo>
                  <a:lnTo>
                    <a:pt x="275" y="269"/>
                  </a:lnTo>
                  <a:lnTo>
                    <a:pt x="277" y="271"/>
                  </a:lnTo>
                  <a:lnTo>
                    <a:pt x="277" y="274"/>
                  </a:lnTo>
                  <a:lnTo>
                    <a:pt x="280" y="276"/>
                  </a:lnTo>
                  <a:lnTo>
                    <a:pt x="280" y="278"/>
                  </a:lnTo>
                  <a:lnTo>
                    <a:pt x="280" y="281"/>
                  </a:lnTo>
                  <a:lnTo>
                    <a:pt x="280" y="283"/>
                  </a:lnTo>
                  <a:lnTo>
                    <a:pt x="280" y="285"/>
                  </a:lnTo>
                  <a:lnTo>
                    <a:pt x="277" y="285"/>
                  </a:lnTo>
                  <a:lnTo>
                    <a:pt x="277" y="288"/>
                  </a:lnTo>
                  <a:lnTo>
                    <a:pt x="275" y="288"/>
                  </a:lnTo>
                  <a:lnTo>
                    <a:pt x="275" y="290"/>
                  </a:lnTo>
                  <a:lnTo>
                    <a:pt x="273" y="290"/>
                  </a:lnTo>
                  <a:lnTo>
                    <a:pt x="273" y="293"/>
                  </a:lnTo>
                  <a:lnTo>
                    <a:pt x="270" y="293"/>
                  </a:lnTo>
                  <a:lnTo>
                    <a:pt x="270" y="295"/>
                  </a:lnTo>
                  <a:lnTo>
                    <a:pt x="270" y="293"/>
                  </a:lnTo>
                  <a:lnTo>
                    <a:pt x="270" y="295"/>
                  </a:lnTo>
                  <a:lnTo>
                    <a:pt x="273" y="295"/>
                  </a:lnTo>
                  <a:lnTo>
                    <a:pt x="270" y="295"/>
                  </a:lnTo>
                  <a:lnTo>
                    <a:pt x="273" y="295"/>
                  </a:lnTo>
                  <a:lnTo>
                    <a:pt x="275" y="295"/>
                  </a:lnTo>
                  <a:lnTo>
                    <a:pt x="273" y="295"/>
                  </a:lnTo>
                  <a:lnTo>
                    <a:pt x="275" y="295"/>
                  </a:lnTo>
                  <a:lnTo>
                    <a:pt x="275" y="297"/>
                  </a:lnTo>
                  <a:lnTo>
                    <a:pt x="277" y="297"/>
                  </a:lnTo>
                  <a:lnTo>
                    <a:pt x="280" y="297"/>
                  </a:lnTo>
                  <a:lnTo>
                    <a:pt x="280" y="300"/>
                  </a:lnTo>
                  <a:lnTo>
                    <a:pt x="282" y="300"/>
                  </a:lnTo>
                  <a:lnTo>
                    <a:pt x="282" y="302"/>
                  </a:lnTo>
                  <a:lnTo>
                    <a:pt x="282" y="300"/>
                  </a:lnTo>
                  <a:lnTo>
                    <a:pt x="280" y="300"/>
                  </a:lnTo>
                  <a:lnTo>
                    <a:pt x="282" y="300"/>
                  </a:lnTo>
                  <a:lnTo>
                    <a:pt x="282" y="297"/>
                  </a:lnTo>
                  <a:lnTo>
                    <a:pt x="284" y="297"/>
                  </a:lnTo>
                  <a:lnTo>
                    <a:pt x="284" y="295"/>
                  </a:lnTo>
                  <a:lnTo>
                    <a:pt x="284" y="293"/>
                  </a:lnTo>
                  <a:lnTo>
                    <a:pt x="287" y="290"/>
                  </a:lnTo>
                  <a:lnTo>
                    <a:pt x="289" y="290"/>
                  </a:lnTo>
                  <a:lnTo>
                    <a:pt x="292" y="290"/>
                  </a:lnTo>
                  <a:lnTo>
                    <a:pt x="294" y="290"/>
                  </a:lnTo>
                  <a:lnTo>
                    <a:pt x="296" y="290"/>
                  </a:lnTo>
                  <a:lnTo>
                    <a:pt x="296" y="293"/>
                  </a:lnTo>
                  <a:lnTo>
                    <a:pt x="296" y="290"/>
                  </a:lnTo>
                  <a:lnTo>
                    <a:pt x="299" y="290"/>
                  </a:lnTo>
                  <a:lnTo>
                    <a:pt x="301" y="290"/>
                  </a:lnTo>
                  <a:lnTo>
                    <a:pt x="303" y="290"/>
                  </a:lnTo>
                  <a:lnTo>
                    <a:pt x="301" y="290"/>
                  </a:lnTo>
                  <a:lnTo>
                    <a:pt x="306" y="293"/>
                  </a:lnTo>
                  <a:lnTo>
                    <a:pt x="308" y="293"/>
                  </a:lnTo>
                  <a:lnTo>
                    <a:pt x="311" y="293"/>
                  </a:lnTo>
                  <a:lnTo>
                    <a:pt x="313" y="293"/>
                  </a:lnTo>
                  <a:lnTo>
                    <a:pt x="313" y="295"/>
                  </a:lnTo>
                  <a:lnTo>
                    <a:pt x="315" y="295"/>
                  </a:lnTo>
                  <a:lnTo>
                    <a:pt x="318" y="297"/>
                  </a:lnTo>
                  <a:lnTo>
                    <a:pt x="320" y="297"/>
                  </a:lnTo>
                  <a:lnTo>
                    <a:pt x="320" y="300"/>
                  </a:lnTo>
                  <a:lnTo>
                    <a:pt x="322" y="300"/>
                  </a:lnTo>
                  <a:lnTo>
                    <a:pt x="322" y="302"/>
                  </a:lnTo>
                  <a:lnTo>
                    <a:pt x="325" y="302"/>
                  </a:lnTo>
                  <a:lnTo>
                    <a:pt x="325" y="304"/>
                  </a:lnTo>
                  <a:lnTo>
                    <a:pt x="325" y="307"/>
                  </a:lnTo>
                  <a:lnTo>
                    <a:pt x="327" y="307"/>
                  </a:lnTo>
                  <a:lnTo>
                    <a:pt x="327" y="309"/>
                  </a:lnTo>
                  <a:lnTo>
                    <a:pt x="327" y="312"/>
                  </a:lnTo>
                  <a:lnTo>
                    <a:pt x="325" y="312"/>
                  </a:lnTo>
                  <a:lnTo>
                    <a:pt x="327" y="312"/>
                  </a:lnTo>
                  <a:lnTo>
                    <a:pt x="327" y="314"/>
                  </a:lnTo>
                  <a:lnTo>
                    <a:pt x="327" y="316"/>
                  </a:lnTo>
                  <a:lnTo>
                    <a:pt x="325" y="319"/>
                  </a:lnTo>
                  <a:lnTo>
                    <a:pt x="327" y="319"/>
                  </a:lnTo>
                  <a:lnTo>
                    <a:pt x="325" y="319"/>
                  </a:lnTo>
                  <a:lnTo>
                    <a:pt x="327" y="319"/>
                  </a:lnTo>
                  <a:lnTo>
                    <a:pt x="325" y="319"/>
                  </a:lnTo>
                  <a:lnTo>
                    <a:pt x="325" y="321"/>
                  </a:lnTo>
                  <a:lnTo>
                    <a:pt x="325" y="323"/>
                  </a:lnTo>
                  <a:lnTo>
                    <a:pt x="322" y="323"/>
                  </a:lnTo>
                  <a:lnTo>
                    <a:pt x="322" y="326"/>
                  </a:lnTo>
                  <a:lnTo>
                    <a:pt x="322" y="328"/>
                  </a:lnTo>
                  <a:lnTo>
                    <a:pt x="322" y="331"/>
                  </a:lnTo>
                  <a:lnTo>
                    <a:pt x="322" y="333"/>
                  </a:lnTo>
                  <a:lnTo>
                    <a:pt x="320" y="333"/>
                  </a:lnTo>
                  <a:lnTo>
                    <a:pt x="320" y="335"/>
                  </a:lnTo>
                  <a:lnTo>
                    <a:pt x="318" y="335"/>
                  </a:lnTo>
                  <a:lnTo>
                    <a:pt x="318" y="338"/>
                  </a:lnTo>
                  <a:lnTo>
                    <a:pt x="318" y="335"/>
                  </a:lnTo>
                  <a:lnTo>
                    <a:pt x="320" y="335"/>
                  </a:lnTo>
                  <a:lnTo>
                    <a:pt x="320" y="333"/>
                  </a:lnTo>
                  <a:lnTo>
                    <a:pt x="322" y="333"/>
                  </a:lnTo>
                  <a:lnTo>
                    <a:pt x="322" y="331"/>
                  </a:lnTo>
                  <a:lnTo>
                    <a:pt x="320" y="333"/>
                  </a:lnTo>
                  <a:lnTo>
                    <a:pt x="320" y="331"/>
                  </a:lnTo>
                  <a:lnTo>
                    <a:pt x="318" y="331"/>
                  </a:lnTo>
                  <a:lnTo>
                    <a:pt x="320" y="331"/>
                  </a:lnTo>
                  <a:lnTo>
                    <a:pt x="320" y="333"/>
                  </a:lnTo>
                  <a:lnTo>
                    <a:pt x="322" y="333"/>
                  </a:lnTo>
                  <a:lnTo>
                    <a:pt x="320" y="333"/>
                  </a:lnTo>
                  <a:lnTo>
                    <a:pt x="320" y="335"/>
                  </a:lnTo>
                  <a:lnTo>
                    <a:pt x="318" y="335"/>
                  </a:lnTo>
                  <a:lnTo>
                    <a:pt x="318" y="338"/>
                  </a:lnTo>
                  <a:lnTo>
                    <a:pt x="315" y="338"/>
                  </a:lnTo>
                  <a:lnTo>
                    <a:pt x="315" y="340"/>
                  </a:lnTo>
                  <a:lnTo>
                    <a:pt x="315" y="338"/>
                  </a:lnTo>
                  <a:lnTo>
                    <a:pt x="313" y="338"/>
                  </a:lnTo>
                  <a:lnTo>
                    <a:pt x="313" y="335"/>
                  </a:lnTo>
                  <a:lnTo>
                    <a:pt x="313" y="333"/>
                  </a:lnTo>
                  <a:lnTo>
                    <a:pt x="313" y="335"/>
                  </a:lnTo>
                  <a:lnTo>
                    <a:pt x="313" y="338"/>
                  </a:lnTo>
                  <a:lnTo>
                    <a:pt x="315" y="338"/>
                  </a:lnTo>
                  <a:lnTo>
                    <a:pt x="315" y="340"/>
                  </a:lnTo>
                  <a:lnTo>
                    <a:pt x="313" y="340"/>
                  </a:lnTo>
                  <a:lnTo>
                    <a:pt x="313" y="342"/>
                  </a:lnTo>
                  <a:lnTo>
                    <a:pt x="313" y="340"/>
                  </a:lnTo>
                  <a:lnTo>
                    <a:pt x="311" y="340"/>
                  </a:lnTo>
                  <a:lnTo>
                    <a:pt x="311" y="338"/>
                  </a:lnTo>
                  <a:lnTo>
                    <a:pt x="308" y="338"/>
                  </a:lnTo>
                  <a:lnTo>
                    <a:pt x="306" y="338"/>
                  </a:lnTo>
                  <a:lnTo>
                    <a:pt x="308" y="338"/>
                  </a:lnTo>
                  <a:lnTo>
                    <a:pt x="308" y="340"/>
                  </a:lnTo>
                  <a:lnTo>
                    <a:pt x="311" y="340"/>
                  </a:lnTo>
                  <a:lnTo>
                    <a:pt x="308" y="340"/>
                  </a:lnTo>
                  <a:lnTo>
                    <a:pt x="306" y="340"/>
                  </a:lnTo>
                  <a:lnTo>
                    <a:pt x="303" y="340"/>
                  </a:lnTo>
                  <a:lnTo>
                    <a:pt x="303" y="342"/>
                  </a:lnTo>
                  <a:lnTo>
                    <a:pt x="303" y="340"/>
                  </a:lnTo>
                  <a:lnTo>
                    <a:pt x="303" y="342"/>
                  </a:lnTo>
                  <a:lnTo>
                    <a:pt x="306" y="342"/>
                  </a:lnTo>
                  <a:lnTo>
                    <a:pt x="308" y="342"/>
                  </a:lnTo>
                  <a:lnTo>
                    <a:pt x="311" y="342"/>
                  </a:lnTo>
                  <a:lnTo>
                    <a:pt x="311" y="345"/>
                  </a:lnTo>
                  <a:lnTo>
                    <a:pt x="308" y="345"/>
                  </a:lnTo>
                  <a:lnTo>
                    <a:pt x="311" y="345"/>
                  </a:lnTo>
                  <a:lnTo>
                    <a:pt x="308" y="345"/>
                  </a:lnTo>
                  <a:lnTo>
                    <a:pt x="311" y="345"/>
                  </a:lnTo>
                  <a:lnTo>
                    <a:pt x="311" y="347"/>
                  </a:lnTo>
                  <a:lnTo>
                    <a:pt x="308" y="350"/>
                  </a:lnTo>
                  <a:lnTo>
                    <a:pt x="306" y="350"/>
                  </a:lnTo>
                  <a:lnTo>
                    <a:pt x="308" y="350"/>
                  </a:lnTo>
                  <a:lnTo>
                    <a:pt x="306" y="350"/>
                  </a:lnTo>
                  <a:lnTo>
                    <a:pt x="303" y="350"/>
                  </a:lnTo>
                  <a:lnTo>
                    <a:pt x="303" y="347"/>
                  </a:lnTo>
                  <a:lnTo>
                    <a:pt x="303" y="350"/>
                  </a:lnTo>
                  <a:lnTo>
                    <a:pt x="301" y="350"/>
                  </a:lnTo>
                  <a:lnTo>
                    <a:pt x="301" y="347"/>
                  </a:lnTo>
                  <a:lnTo>
                    <a:pt x="301" y="350"/>
                  </a:lnTo>
                  <a:lnTo>
                    <a:pt x="301" y="347"/>
                  </a:lnTo>
                  <a:lnTo>
                    <a:pt x="299" y="347"/>
                  </a:lnTo>
                  <a:lnTo>
                    <a:pt x="299" y="350"/>
                  </a:lnTo>
                  <a:lnTo>
                    <a:pt x="296" y="350"/>
                  </a:lnTo>
                  <a:lnTo>
                    <a:pt x="299" y="350"/>
                  </a:lnTo>
                  <a:lnTo>
                    <a:pt x="296" y="350"/>
                  </a:lnTo>
                  <a:lnTo>
                    <a:pt x="299" y="352"/>
                  </a:lnTo>
                  <a:lnTo>
                    <a:pt x="296" y="352"/>
                  </a:lnTo>
                  <a:lnTo>
                    <a:pt x="294" y="352"/>
                  </a:lnTo>
                  <a:lnTo>
                    <a:pt x="296" y="352"/>
                  </a:lnTo>
                  <a:lnTo>
                    <a:pt x="294" y="352"/>
                  </a:lnTo>
                  <a:lnTo>
                    <a:pt x="292" y="352"/>
                  </a:lnTo>
                  <a:lnTo>
                    <a:pt x="294" y="352"/>
                  </a:lnTo>
                  <a:lnTo>
                    <a:pt x="294" y="354"/>
                  </a:lnTo>
                  <a:lnTo>
                    <a:pt x="294" y="352"/>
                  </a:lnTo>
                  <a:lnTo>
                    <a:pt x="296" y="352"/>
                  </a:lnTo>
                  <a:lnTo>
                    <a:pt x="299" y="352"/>
                  </a:lnTo>
                  <a:lnTo>
                    <a:pt x="301" y="352"/>
                  </a:lnTo>
                  <a:lnTo>
                    <a:pt x="301" y="354"/>
                  </a:lnTo>
                  <a:lnTo>
                    <a:pt x="299" y="354"/>
                  </a:lnTo>
                  <a:lnTo>
                    <a:pt x="301" y="354"/>
                  </a:lnTo>
                  <a:lnTo>
                    <a:pt x="301" y="357"/>
                  </a:lnTo>
                  <a:lnTo>
                    <a:pt x="299" y="357"/>
                  </a:lnTo>
                  <a:lnTo>
                    <a:pt x="296" y="357"/>
                  </a:lnTo>
                  <a:lnTo>
                    <a:pt x="294" y="357"/>
                  </a:lnTo>
                  <a:lnTo>
                    <a:pt x="292" y="357"/>
                  </a:lnTo>
                  <a:lnTo>
                    <a:pt x="289" y="357"/>
                  </a:lnTo>
                  <a:lnTo>
                    <a:pt x="292" y="357"/>
                  </a:lnTo>
                  <a:lnTo>
                    <a:pt x="294" y="357"/>
                  </a:lnTo>
                  <a:lnTo>
                    <a:pt x="296" y="357"/>
                  </a:lnTo>
                  <a:lnTo>
                    <a:pt x="296" y="359"/>
                  </a:lnTo>
                  <a:lnTo>
                    <a:pt x="294" y="359"/>
                  </a:lnTo>
                  <a:lnTo>
                    <a:pt x="296" y="359"/>
                  </a:lnTo>
                  <a:lnTo>
                    <a:pt x="299" y="359"/>
                  </a:lnTo>
                  <a:lnTo>
                    <a:pt x="299" y="357"/>
                  </a:lnTo>
                  <a:lnTo>
                    <a:pt x="299" y="359"/>
                  </a:lnTo>
                  <a:lnTo>
                    <a:pt x="299" y="357"/>
                  </a:lnTo>
                  <a:lnTo>
                    <a:pt x="301" y="357"/>
                  </a:lnTo>
                  <a:lnTo>
                    <a:pt x="301" y="359"/>
                  </a:lnTo>
                  <a:lnTo>
                    <a:pt x="299" y="359"/>
                  </a:lnTo>
                  <a:lnTo>
                    <a:pt x="296" y="361"/>
                  </a:lnTo>
                  <a:lnTo>
                    <a:pt x="294" y="361"/>
                  </a:lnTo>
                  <a:lnTo>
                    <a:pt x="292" y="361"/>
                  </a:lnTo>
                  <a:lnTo>
                    <a:pt x="289" y="361"/>
                  </a:lnTo>
                  <a:lnTo>
                    <a:pt x="287" y="361"/>
                  </a:lnTo>
                  <a:lnTo>
                    <a:pt x="289" y="361"/>
                  </a:lnTo>
                  <a:lnTo>
                    <a:pt x="289" y="364"/>
                  </a:lnTo>
                  <a:lnTo>
                    <a:pt x="287" y="364"/>
                  </a:lnTo>
                  <a:lnTo>
                    <a:pt x="287" y="361"/>
                  </a:lnTo>
                  <a:lnTo>
                    <a:pt x="284" y="361"/>
                  </a:lnTo>
                  <a:lnTo>
                    <a:pt x="287" y="361"/>
                  </a:lnTo>
                  <a:lnTo>
                    <a:pt x="287" y="364"/>
                  </a:lnTo>
                  <a:lnTo>
                    <a:pt x="284" y="364"/>
                  </a:lnTo>
                  <a:lnTo>
                    <a:pt x="282" y="366"/>
                  </a:lnTo>
                  <a:lnTo>
                    <a:pt x="280" y="366"/>
                  </a:lnTo>
                  <a:lnTo>
                    <a:pt x="280" y="364"/>
                  </a:lnTo>
                  <a:lnTo>
                    <a:pt x="277" y="364"/>
                  </a:lnTo>
                  <a:lnTo>
                    <a:pt x="277" y="366"/>
                  </a:lnTo>
                  <a:lnTo>
                    <a:pt x="277" y="364"/>
                  </a:lnTo>
                  <a:lnTo>
                    <a:pt x="275" y="364"/>
                  </a:lnTo>
                  <a:lnTo>
                    <a:pt x="273" y="364"/>
                  </a:lnTo>
                  <a:lnTo>
                    <a:pt x="273" y="361"/>
                  </a:lnTo>
                  <a:lnTo>
                    <a:pt x="273" y="364"/>
                  </a:lnTo>
                  <a:lnTo>
                    <a:pt x="270" y="364"/>
                  </a:lnTo>
                  <a:lnTo>
                    <a:pt x="268" y="364"/>
                  </a:lnTo>
                  <a:lnTo>
                    <a:pt x="265" y="364"/>
                  </a:lnTo>
                  <a:lnTo>
                    <a:pt x="263" y="364"/>
                  </a:lnTo>
                  <a:lnTo>
                    <a:pt x="263" y="366"/>
                  </a:lnTo>
                  <a:lnTo>
                    <a:pt x="261" y="366"/>
                  </a:lnTo>
                  <a:lnTo>
                    <a:pt x="263" y="366"/>
                  </a:lnTo>
                  <a:lnTo>
                    <a:pt x="263" y="364"/>
                  </a:lnTo>
                  <a:lnTo>
                    <a:pt x="265" y="364"/>
                  </a:lnTo>
                  <a:lnTo>
                    <a:pt x="268" y="364"/>
                  </a:lnTo>
                  <a:lnTo>
                    <a:pt x="270" y="364"/>
                  </a:lnTo>
                  <a:lnTo>
                    <a:pt x="273" y="364"/>
                  </a:lnTo>
                  <a:lnTo>
                    <a:pt x="275" y="364"/>
                  </a:lnTo>
                  <a:lnTo>
                    <a:pt x="277" y="364"/>
                  </a:lnTo>
                  <a:lnTo>
                    <a:pt x="277" y="366"/>
                  </a:lnTo>
                  <a:lnTo>
                    <a:pt x="280" y="366"/>
                  </a:lnTo>
                  <a:lnTo>
                    <a:pt x="282" y="366"/>
                  </a:lnTo>
                  <a:lnTo>
                    <a:pt x="284" y="366"/>
                  </a:lnTo>
                  <a:lnTo>
                    <a:pt x="284" y="364"/>
                  </a:lnTo>
                  <a:lnTo>
                    <a:pt x="287" y="364"/>
                  </a:lnTo>
                  <a:lnTo>
                    <a:pt x="289" y="364"/>
                  </a:lnTo>
                  <a:lnTo>
                    <a:pt x="292" y="364"/>
                  </a:lnTo>
                  <a:lnTo>
                    <a:pt x="292" y="366"/>
                  </a:lnTo>
                  <a:lnTo>
                    <a:pt x="289" y="366"/>
                  </a:lnTo>
                  <a:lnTo>
                    <a:pt x="292" y="366"/>
                  </a:lnTo>
                  <a:lnTo>
                    <a:pt x="289" y="366"/>
                  </a:lnTo>
                  <a:lnTo>
                    <a:pt x="289" y="369"/>
                  </a:lnTo>
                  <a:lnTo>
                    <a:pt x="287" y="369"/>
                  </a:lnTo>
                  <a:lnTo>
                    <a:pt x="284" y="369"/>
                  </a:lnTo>
                  <a:lnTo>
                    <a:pt x="287" y="369"/>
                  </a:lnTo>
                  <a:lnTo>
                    <a:pt x="289" y="369"/>
                  </a:lnTo>
                  <a:lnTo>
                    <a:pt x="292" y="369"/>
                  </a:lnTo>
                  <a:lnTo>
                    <a:pt x="292" y="366"/>
                  </a:lnTo>
                  <a:lnTo>
                    <a:pt x="292" y="369"/>
                  </a:lnTo>
                  <a:lnTo>
                    <a:pt x="294" y="366"/>
                  </a:lnTo>
                  <a:lnTo>
                    <a:pt x="294" y="369"/>
                  </a:lnTo>
                  <a:lnTo>
                    <a:pt x="292" y="369"/>
                  </a:lnTo>
                  <a:lnTo>
                    <a:pt x="294" y="369"/>
                  </a:lnTo>
                  <a:lnTo>
                    <a:pt x="294" y="371"/>
                  </a:lnTo>
                  <a:lnTo>
                    <a:pt x="296" y="371"/>
                  </a:lnTo>
                  <a:lnTo>
                    <a:pt x="299" y="371"/>
                  </a:lnTo>
                  <a:lnTo>
                    <a:pt x="301" y="371"/>
                  </a:lnTo>
                  <a:lnTo>
                    <a:pt x="303" y="371"/>
                  </a:lnTo>
                  <a:lnTo>
                    <a:pt x="306" y="371"/>
                  </a:lnTo>
                  <a:lnTo>
                    <a:pt x="306" y="369"/>
                  </a:lnTo>
                  <a:lnTo>
                    <a:pt x="308" y="369"/>
                  </a:lnTo>
                  <a:lnTo>
                    <a:pt x="311" y="369"/>
                  </a:lnTo>
                  <a:lnTo>
                    <a:pt x="313" y="369"/>
                  </a:lnTo>
                  <a:lnTo>
                    <a:pt x="315" y="369"/>
                  </a:lnTo>
                  <a:lnTo>
                    <a:pt x="318" y="369"/>
                  </a:lnTo>
                  <a:lnTo>
                    <a:pt x="318" y="371"/>
                  </a:lnTo>
                  <a:lnTo>
                    <a:pt x="315" y="371"/>
                  </a:lnTo>
                  <a:lnTo>
                    <a:pt x="315" y="373"/>
                  </a:lnTo>
                  <a:lnTo>
                    <a:pt x="315" y="371"/>
                  </a:lnTo>
                  <a:lnTo>
                    <a:pt x="313" y="371"/>
                  </a:lnTo>
                  <a:lnTo>
                    <a:pt x="313" y="373"/>
                  </a:lnTo>
                  <a:lnTo>
                    <a:pt x="315" y="373"/>
                  </a:lnTo>
                  <a:lnTo>
                    <a:pt x="315" y="376"/>
                  </a:lnTo>
                  <a:lnTo>
                    <a:pt x="315" y="378"/>
                  </a:lnTo>
                  <a:lnTo>
                    <a:pt x="315" y="380"/>
                  </a:lnTo>
                  <a:lnTo>
                    <a:pt x="313" y="380"/>
                  </a:lnTo>
                  <a:lnTo>
                    <a:pt x="313" y="383"/>
                  </a:lnTo>
                  <a:lnTo>
                    <a:pt x="311" y="383"/>
                  </a:lnTo>
                  <a:lnTo>
                    <a:pt x="308" y="383"/>
                  </a:lnTo>
                  <a:lnTo>
                    <a:pt x="308" y="385"/>
                  </a:lnTo>
                  <a:lnTo>
                    <a:pt x="306" y="385"/>
                  </a:lnTo>
                  <a:lnTo>
                    <a:pt x="303" y="385"/>
                  </a:lnTo>
                  <a:lnTo>
                    <a:pt x="301" y="388"/>
                  </a:lnTo>
                  <a:lnTo>
                    <a:pt x="301" y="390"/>
                  </a:lnTo>
                  <a:lnTo>
                    <a:pt x="301" y="392"/>
                  </a:lnTo>
                  <a:lnTo>
                    <a:pt x="299" y="392"/>
                  </a:lnTo>
                  <a:lnTo>
                    <a:pt x="296" y="392"/>
                  </a:lnTo>
                  <a:lnTo>
                    <a:pt x="294" y="392"/>
                  </a:lnTo>
                  <a:lnTo>
                    <a:pt x="292" y="392"/>
                  </a:lnTo>
                  <a:lnTo>
                    <a:pt x="292" y="395"/>
                  </a:lnTo>
                  <a:lnTo>
                    <a:pt x="289" y="395"/>
                  </a:lnTo>
                  <a:lnTo>
                    <a:pt x="287" y="395"/>
                  </a:lnTo>
                  <a:lnTo>
                    <a:pt x="284" y="397"/>
                  </a:lnTo>
                  <a:lnTo>
                    <a:pt x="282" y="397"/>
                  </a:lnTo>
                  <a:lnTo>
                    <a:pt x="280" y="397"/>
                  </a:lnTo>
                  <a:lnTo>
                    <a:pt x="280" y="399"/>
                  </a:lnTo>
                  <a:lnTo>
                    <a:pt x="280" y="397"/>
                  </a:lnTo>
                  <a:lnTo>
                    <a:pt x="280" y="399"/>
                  </a:lnTo>
                  <a:lnTo>
                    <a:pt x="277" y="399"/>
                  </a:lnTo>
                  <a:lnTo>
                    <a:pt x="277" y="402"/>
                  </a:lnTo>
                  <a:lnTo>
                    <a:pt x="275" y="402"/>
                  </a:lnTo>
                  <a:lnTo>
                    <a:pt x="275" y="399"/>
                  </a:lnTo>
                  <a:lnTo>
                    <a:pt x="273" y="399"/>
                  </a:lnTo>
                  <a:lnTo>
                    <a:pt x="270" y="399"/>
                  </a:lnTo>
                  <a:lnTo>
                    <a:pt x="268" y="399"/>
                  </a:lnTo>
                  <a:lnTo>
                    <a:pt x="268" y="397"/>
                  </a:lnTo>
                  <a:lnTo>
                    <a:pt x="265" y="397"/>
                  </a:lnTo>
                  <a:lnTo>
                    <a:pt x="263" y="397"/>
                  </a:lnTo>
                  <a:lnTo>
                    <a:pt x="261" y="397"/>
                  </a:lnTo>
                  <a:lnTo>
                    <a:pt x="258" y="397"/>
                  </a:lnTo>
                  <a:lnTo>
                    <a:pt x="256" y="397"/>
                  </a:lnTo>
                  <a:lnTo>
                    <a:pt x="254" y="397"/>
                  </a:lnTo>
                  <a:lnTo>
                    <a:pt x="251" y="397"/>
                  </a:lnTo>
                  <a:lnTo>
                    <a:pt x="249" y="397"/>
                  </a:lnTo>
                  <a:lnTo>
                    <a:pt x="249" y="399"/>
                  </a:lnTo>
                  <a:lnTo>
                    <a:pt x="246" y="399"/>
                  </a:lnTo>
                  <a:lnTo>
                    <a:pt x="244" y="399"/>
                  </a:lnTo>
                  <a:lnTo>
                    <a:pt x="244" y="402"/>
                  </a:lnTo>
                  <a:lnTo>
                    <a:pt x="242" y="402"/>
                  </a:lnTo>
                  <a:lnTo>
                    <a:pt x="242" y="399"/>
                  </a:lnTo>
                  <a:lnTo>
                    <a:pt x="239" y="399"/>
                  </a:lnTo>
                  <a:lnTo>
                    <a:pt x="239" y="397"/>
                  </a:lnTo>
                  <a:lnTo>
                    <a:pt x="242" y="397"/>
                  </a:lnTo>
                  <a:lnTo>
                    <a:pt x="239" y="397"/>
                  </a:lnTo>
                  <a:lnTo>
                    <a:pt x="242" y="397"/>
                  </a:lnTo>
                  <a:lnTo>
                    <a:pt x="239" y="397"/>
                  </a:lnTo>
                  <a:lnTo>
                    <a:pt x="239" y="395"/>
                  </a:lnTo>
                  <a:lnTo>
                    <a:pt x="239" y="397"/>
                  </a:lnTo>
                  <a:lnTo>
                    <a:pt x="239" y="395"/>
                  </a:lnTo>
                  <a:lnTo>
                    <a:pt x="239" y="397"/>
                  </a:lnTo>
                  <a:lnTo>
                    <a:pt x="237" y="397"/>
                  </a:lnTo>
                  <a:lnTo>
                    <a:pt x="237" y="395"/>
                  </a:lnTo>
                  <a:lnTo>
                    <a:pt x="237" y="397"/>
                  </a:lnTo>
                  <a:lnTo>
                    <a:pt x="237" y="395"/>
                  </a:lnTo>
                  <a:lnTo>
                    <a:pt x="237" y="397"/>
                  </a:lnTo>
                  <a:lnTo>
                    <a:pt x="237" y="395"/>
                  </a:lnTo>
                  <a:lnTo>
                    <a:pt x="235" y="395"/>
                  </a:lnTo>
                  <a:lnTo>
                    <a:pt x="235" y="397"/>
                  </a:lnTo>
                  <a:lnTo>
                    <a:pt x="235" y="399"/>
                  </a:lnTo>
                  <a:lnTo>
                    <a:pt x="235" y="397"/>
                  </a:lnTo>
                  <a:lnTo>
                    <a:pt x="235" y="399"/>
                  </a:lnTo>
                  <a:lnTo>
                    <a:pt x="232" y="399"/>
                  </a:lnTo>
                  <a:lnTo>
                    <a:pt x="232" y="397"/>
                  </a:lnTo>
                  <a:lnTo>
                    <a:pt x="232" y="395"/>
                  </a:lnTo>
                  <a:lnTo>
                    <a:pt x="232" y="397"/>
                  </a:lnTo>
                  <a:lnTo>
                    <a:pt x="232" y="395"/>
                  </a:lnTo>
                  <a:lnTo>
                    <a:pt x="230" y="395"/>
                  </a:lnTo>
                  <a:lnTo>
                    <a:pt x="230" y="397"/>
                  </a:lnTo>
                  <a:lnTo>
                    <a:pt x="230" y="395"/>
                  </a:lnTo>
                  <a:lnTo>
                    <a:pt x="230" y="397"/>
                  </a:lnTo>
                  <a:lnTo>
                    <a:pt x="232" y="397"/>
                  </a:lnTo>
                  <a:lnTo>
                    <a:pt x="232" y="399"/>
                  </a:lnTo>
                  <a:lnTo>
                    <a:pt x="230" y="399"/>
                  </a:lnTo>
                  <a:lnTo>
                    <a:pt x="230" y="397"/>
                  </a:lnTo>
                  <a:lnTo>
                    <a:pt x="227" y="397"/>
                  </a:lnTo>
                  <a:lnTo>
                    <a:pt x="225" y="397"/>
                  </a:lnTo>
                  <a:lnTo>
                    <a:pt x="225" y="395"/>
                  </a:lnTo>
                  <a:lnTo>
                    <a:pt x="225" y="392"/>
                  </a:lnTo>
                  <a:lnTo>
                    <a:pt x="227" y="392"/>
                  </a:lnTo>
                  <a:lnTo>
                    <a:pt x="225" y="392"/>
                  </a:lnTo>
                  <a:lnTo>
                    <a:pt x="225" y="395"/>
                  </a:lnTo>
                  <a:lnTo>
                    <a:pt x="223" y="395"/>
                  </a:lnTo>
                  <a:lnTo>
                    <a:pt x="223" y="392"/>
                  </a:lnTo>
                  <a:lnTo>
                    <a:pt x="223" y="395"/>
                  </a:lnTo>
                  <a:lnTo>
                    <a:pt x="223" y="392"/>
                  </a:lnTo>
                  <a:lnTo>
                    <a:pt x="220" y="392"/>
                  </a:lnTo>
                  <a:lnTo>
                    <a:pt x="223" y="392"/>
                  </a:lnTo>
                  <a:lnTo>
                    <a:pt x="223" y="395"/>
                  </a:lnTo>
                  <a:lnTo>
                    <a:pt x="225" y="395"/>
                  </a:lnTo>
                  <a:lnTo>
                    <a:pt x="225" y="397"/>
                  </a:lnTo>
                  <a:lnTo>
                    <a:pt x="225" y="399"/>
                  </a:lnTo>
                  <a:lnTo>
                    <a:pt x="223" y="399"/>
                  </a:lnTo>
                  <a:lnTo>
                    <a:pt x="220" y="399"/>
                  </a:lnTo>
                  <a:lnTo>
                    <a:pt x="218" y="399"/>
                  </a:lnTo>
                  <a:lnTo>
                    <a:pt x="218" y="402"/>
                  </a:lnTo>
                  <a:lnTo>
                    <a:pt x="216" y="402"/>
                  </a:lnTo>
                  <a:lnTo>
                    <a:pt x="213" y="402"/>
                  </a:lnTo>
                  <a:lnTo>
                    <a:pt x="211" y="402"/>
                  </a:lnTo>
                  <a:lnTo>
                    <a:pt x="209" y="402"/>
                  </a:lnTo>
                  <a:lnTo>
                    <a:pt x="206" y="402"/>
                  </a:lnTo>
                  <a:lnTo>
                    <a:pt x="204" y="404"/>
                  </a:lnTo>
                  <a:lnTo>
                    <a:pt x="206" y="402"/>
                  </a:lnTo>
                  <a:lnTo>
                    <a:pt x="204" y="402"/>
                  </a:lnTo>
                  <a:lnTo>
                    <a:pt x="201" y="402"/>
                  </a:lnTo>
                  <a:lnTo>
                    <a:pt x="199" y="402"/>
                  </a:lnTo>
                  <a:lnTo>
                    <a:pt x="201" y="402"/>
                  </a:lnTo>
                  <a:lnTo>
                    <a:pt x="201" y="404"/>
                  </a:lnTo>
                  <a:lnTo>
                    <a:pt x="201" y="402"/>
                  </a:lnTo>
                  <a:lnTo>
                    <a:pt x="201" y="404"/>
                  </a:lnTo>
                  <a:lnTo>
                    <a:pt x="204" y="404"/>
                  </a:lnTo>
                  <a:lnTo>
                    <a:pt x="201" y="404"/>
                  </a:lnTo>
                  <a:lnTo>
                    <a:pt x="204" y="404"/>
                  </a:lnTo>
                  <a:lnTo>
                    <a:pt x="204" y="407"/>
                  </a:lnTo>
                  <a:lnTo>
                    <a:pt x="206" y="407"/>
                  </a:lnTo>
                  <a:lnTo>
                    <a:pt x="204" y="407"/>
                  </a:lnTo>
                  <a:lnTo>
                    <a:pt x="204" y="409"/>
                  </a:lnTo>
                  <a:lnTo>
                    <a:pt x="201" y="409"/>
                  </a:lnTo>
                  <a:lnTo>
                    <a:pt x="201" y="407"/>
                  </a:lnTo>
                  <a:lnTo>
                    <a:pt x="199" y="409"/>
                  </a:lnTo>
                  <a:lnTo>
                    <a:pt x="199" y="407"/>
                  </a:lnTo>
                  <a:lnTo>
                    <a:pt x="197" y="407"/>
                  </a:lnTo>
                  <a:lnTo>
                    <a:pt x="194" y="407"/>
                  </a:lnTo>
                  <a:lnTo>
                    <a:pt x="192" y="407"/>
                  </a:lnTo>
                  <a:lnTo>
                    <a:pt x="190" y="407"/>
                  </a:lnTo>
                  <a:lnTo>
                    <a:pt x="187" y="407"/>
                  </a:lnTo>
                  <a:lnTo>
                    <a:pt x="190" y="407"/>
                  </a:lnTo>
                  <a:lnTo>
                    <a:pt x="187" y="407"/>
                  </a:lnTo>
                  <a:lnTo>
                    <a:pt x="187" y="409"/>
                  </a:lnTo>
                  <a:lnTo>
                    <a:pt x="190" y="409"/>
                  </a:lnTo>
                  <a:lnTo>
                    <a:pt x="190" y="411"/>
                  </a:lnTo>
                  <a:lnTo>
                    <a:pt x="187" y="411"/>
                  </a:lnTo>
                  <a:lnTo>
                    <a:pt x="187" y="409"/>
                  </a:lnTo>
                  <a:lnTo>
                    <a:pt x="185" y="407"/>
                  </a:lnTo>
                  <a:lnTo>
                    <a:pt x="182" y="404"/>
                  </a:lnTo>
                  <a:lnTo>
                    <a:pt x="180" y="404"/>
                  </a:lnTo>
                  <a:lnTo>
                    <a:pt x="178" y="402"/>
                  </a:lnTo>
                  <a:lnTo>
                    <a:pt x="175" y="402"/>
                  </a:lnTo>
                  <a:lnTo>
                    <a:pt x="173" y="402"/>
                  </a:lnTo>
                  <a:lnTo>
                    <a:pt x="171" y="402"/>
                  </a:lnTo>
                  <a:lnTo>
                    <a:pt x="168" y="402"/>
                  </a:lnTo>
                  <a:lnTo>
                    <a:pt x="166" y="402"/>
                  </a:lnTo>
                  <a:lnTo>
                    <a:pt x="166" y="404"/>
                  </a:lnTo>
                  <a:lnTo>
                    <a:pt x="163" y="404"/>
                  </a:lnTo>
                  <a:lnTo>
                    <a:pt x="161" y="404"/>
                  </a:lnTo>
                  <a:lnTo>
                    <a:pt x="161" y="407"/>
                  </a:lnTo>
                  <a:lnTo>
                    <a:pt x="159" y="407"/>
                  </a:lnTo>
                  <a:lnTo>
                    <a:pt x="156" y="407"/>
                  </a:lnTo>
                  <a:lnTo>
                    <a:pt x="156" y="404"/>
                  </a:lnTo>
                  <a:lnTo>
                    <a:pt x="154" y="404"/>
                  </a:lnTo>
                  <a:lnTo>
                    <a:pt x="154" y="407"/>
                  </a:lnTo>
                  <a:lnTo>
                    <a:pt x="156" y="407"/>
                  </a:lnTo>
                  <a:lnTo>
                    <a:pt x="156" y="409"/>
                  </a:lnTo>
                  <a:lnTo>
                    <a:pt x="154" y="409"/>
                  </a:lnTo>
                  <a:lnTo>
                    <a:pt x="154" y="411"/>
                  </a:lnTo>
                  <a:lnTo>
                    <a:pt x="152" y="409"/>
                  </a:lnTo>
                  <a:lnTo>
                    <a:pt x="152" y="411"/>
                  </a:lnTo>
                  <a:lnTo>
                    <a:pt x="154" y="411"/>
                  </a:lnTo>
                  <a:lnTo>
                    <a:pt x="154" y="414"/>
                  </a:lnTo>
                  <a:lnTo>
                    <a:pt x="152" y="414"/>
                  </a:lnTo>
                  <a:lnTo>
                    <a:pt x="152" y="416"/>
                  </a:lnTo>
                  <a:lnTo>
                    <a:pt x="154" y="416"/>
                  </a:lnTo>
                  <a:lnTo>
                    <a:pt x="154" y="418"/>
                  </a:lnTo>
                  <a:lnTo>
                    <a:pt x="154" y="416"/>
                  </a:lnTo>
                  <a:lnTo>
                    <a:pt x="154" y="418"/>
                  </a:lnTo>
                  <a:lnTo>
                    <a:pt x="154" y="416"/>
                  </a:lnTo>
                  <a:lnTo>
                    <a:pt x="154" y="418"/>
                  </a:lnTo>
                  <a:lnTo>
                    <a:pt x="152" y="418"/>
                  </a:lnTo>
                  <a:lnTo>
                    <a:pt x="154" y="418"/>
                  </a:lnTo>
                  <a:lnTo>
                    <a:pt x="154" y="421"/>
                  </a:lnTo>
                  <a:lnTo>
                    <a:pt x="152" y="421"/>
                  </a:lnTo>
                  <a:lnTo>
                    <a:pt x="152" y="418"/>
                  </a:lnTo>
                  <a:lnTo>
                    <a:pt x="149" y="418"/>
                  </a:lnTo>
                  <a:lnTo>
                    <a:pt x="152" y="418"/>
                  </a:lnTo>
                  <a:lnTo>
                    <a:pt x="149" y="418"/>
                  </a:lnTo>
                  <a:lnTo>
                    <a:pt x="149" y="416"/>
                  </a:lnTo>
                  <a:lnTo>
                    <a:pt x="149" y="418"/>
                  </a:lnTo>
                  <a:lnTo>
                    <a:pt x="152" y="418"/>
                  </a:lnTo>
                  <a:lnTo>
                    <a:pt x="149" y="418"/>
                  </a:lnTo>
                  <a:lnTo>
                    <a:pt x="152" y="418"/>
                  </a:lnTo>
                  <a:lnTo>
                    <a:pt x="152" y="421"/>
                  </a:lnTo>
                  <a:lnTo>
                    <a:pt x="149" y="421"/>
                  </a:lnTo>
                  <a:lnTo>
                    <a:pt x="149" y="423"/>
                  </a:lnTo>
                  <a:lnTo>
                    <a:pt x="149" y="426"/>
                  </a:lnTo>
                  <a:lnTo>
                    <a:pt x="147" y="426"/>
                  </a:lnTo>
                  <a:lnTo>
                    <a:pt x="147" y="428"/>
                  </a:lnTo>
                  <a:lnTo>
                    <a:pt x="147" y="426"/>
                  </a:lnTo>
                  <a:lnTo>
                    <a:pt x="144" y="426"/>
                  </a:lnTo>
                  <a:lnTo>
                    <a:pt x="147" y="426"/>
                  </a:lnTo>
                  <a:lnTo>
                    <a:pt x="144" y="426"/>
                  </a:lnTo>
                  <a:lnTo>
                    <a:pt x="144" y="423"/>
                  </a:lnTo>
                  <a:lnTo>
                    <a:pt x="147" y="423"/>
                  </a:lnTo>
                  <a:lnTo>
                    <a:pt x="144" y="423"/>
                  </a:lnTo>
                  <a:lnTo>
                    <a:pt x="144" y="426"/>
                  </a:lnTo>
                  <a:lnTo>
                    <a:pt x="142" y="426"/>
                  </a:lnTo>
                  <a:lnTo>
                    <a:pt x="142" y="423"/>
                  </a:lnTo>
                  <a:lnTo>
                    <a:pt x="140" y="423"/>
                  </a:lnTo>
                  <a:lnTo>
                    <a:pt x="142" y="423"/>
                  </a:lnTo>
                  <a:lnTo>
                    <a:pt x="142" y="421"/>
                  </a:lnTo>
                  <a:lnTo>
                    <a:pt x="142" y="423"/>
                  </a:lnTo>
                  <a:lnTo>
                    <a:pt x="140" y="423"/>
                  </a:lnTo>
                  <a:lnTo>
                    <a:pt x="140" y="421"/>
                  </a:lnTo>
                  <a:lnTo>
                    <a:pt x="137" y="421"/>
                  </a:lnTo>
                  <a:lnTo>
                    <a:pt x="137" y="423"/>
                  </a:lnTo>
                  <a:lnTo>
                    <a:pt x="135" y="423"/>
                  </a:lnTo>
                  <a:lnTo>
                    <a:pt x="135" y="421"/>
                  </a:lnTo>
                  <a:lnTo>
                    <a:pt x="137" y="421"/>
                  </a:lnTo>
                  <a:lnTo>
                    <a:pt x="135" y="421"/>
                  </a:lnTo>
                  <a:lnTo>
                    <a:pt x="133" y="421"/>
                  </a:lnTo>
                  <a:lnTo>
                    <a:pt x="133" y="418"/>
                  </a:lnTo>
                  <a:lnTo>
                    <a:pt x="135" y="418"/>
                  </a:lnTo>
                  <a:lnTo>
                    <a:pt x="133" y="418"/>
                  </a:lnTo>
                  <a:lnTo>
                    <a:pt x="130" y="418"/>
                  </a:lnTo>
                  <a:lnTo>
                    <a:pt x="133" y="418"/>
                  </a:lnTo>
                  <a:lnTo>
                    <a:pt x="130" y="418"/>
                  </a:lnTo>
                  <a:lnTo>
                    <a:pt x="130" y="416"/>
                  </a:lnTo>
                  <a:lnTo>
                    <a:pt x="133" y="416"/>
                  </a:lnTo>
                  <a:lnTo>
                    <a:pt x="133" y="414"/>
                  </a:lnTo>
                  <a:lnTo>
                    <a:pt x="130" y="414"/>
                  </a:lnTo>
                  <a:lnTo>
                    <a:pt x="130" y="416"/>
                  </a:lnTo>
                  <a:lnTo>
                    <a:pt x="130" y="414"/>
                  </a:lnTo>
                  <a:lnTo>
                    <a:pt x="128" y="414"/>
                  </a:lnTo>
                  <a:lnTo>
                    <a:pt x="130" y="414"/>
                  </a:lnTo>
                  <a:lnTo>
                    <a:pt x="130" y="416"/>
                  </a:lnTo>
                  <a:lnTo>
                    <a:pt x="130" y="418"/>
                  </a:lnTo>
                  <a:lnTo>
                    <a:pt x="128" y="418"/>
                  </a:lnTo>
                  <a:lnTo>
                    <a:pt x="130" y="418"/>
                  </a:lnTo>
                  <a:lnTo>
                    <a:pt x="130" y="421"/>
                  </a:lnTo>
                  <a:lnTo>
                    <a:pt x="130" y="418"/>
                  </a:lnTo>
                  <a:lnTo>
                    <a:pt x="130" y="421"/>
                  </a:lnTo>
                  <a:lnTo>
                    <a:pt x="128" y="421"/>
                  </a:lnTo>
                  <a:lnTo>
                    <a:pt x="128" y="418"/>
                  </a:lnTo>
                  <a:lnTo>
                    <a:pt x="125" y="418"/>
                  </a:lnTo>
                  <a:lnTo>
                    <a:pt x="123" y="418"/>
                  </a:lnTo>
                  <a:lnTo>
                    <a:pt x="123" y="421"/>
                  </a:lnTo>
                  <a:lnTo>
                    <a:pt x="121" y="421"/>
                  </a:lnTo>
                  <a:lnTo>
                    <a:pt x="118" y="421"/>
                  </a:lnTo>
                  <a:lnTo>
                    <a:pt x="116" y="421"/>
                  </a:lnTo>
                  <a:lnTo>
                    <a:pt x="116" y="418"/>
                  </a:lnTo>
                  <a:lnTo>
                    <a:pt x="116" y="421"/>
                  </a:lnTo>
                  <a:lnTo>
                    <a:pt x="114" y="421"/>
                  </a:lnTo>
                  <a:lnTo>
                    <a:pt x="111" y="421"/>
                  </a:lnTo>
                  <a:lnTo>
                    <a:pt x="111" y="423"/>
                  </a:lnTo>
                  <a:lnTo>
                    <a:pt x="111" y="426"/>
                  </a:lnTo>
                  <a:lnTo>
                    <a:pt x="109" y="426"/>
                  </a:lnTo>
                  <a:lnTo>
                    <a:pt x="106" y="426"/>
                  </a:lnTo>
                  <a:lnTo>
                    <a:pt x="106" y="428"/>
                  </a:lnTo>
                  <a:lnTo>
                    <a:pt x="106" y="426"/>
                  </a:lnTo>
                  <a:lnTo>
                    <a:pt x="106" y="428"/>
                  </a:lnTo>
                  <a:lnTo>
                    <a:pt x="106" y="426"/>
                  </a:lnTo>
                  <a:lnTo>
                    <a:pt x="106" y="428"/>
                  </a:lnTo>
                  <a:lnTo>
                    <a:pt x="104" y="428"/>
                  </a:lnTo>
                  <a:lnTo>
                    <a:pt x="104" y="430"/>
                  </a:lnTo>
                  <a:lnTo>
                    <a:pt x="104" y="428"/>
                  </a:lnTo>
                  <a:lnTo>
                    <a:pt x="104" y="430"/>
                  </a:lnTo>
                  <a:lnTo>
                    <a:pt x="104" y="428"/>
                  </a:lnTo>
                  <a:lnTo>
                    <a:pt x="102" y="428"/>
                  </a:lnTo>
                  <a:lnTo>
                    <a:pt x="104" y="426"/>
                  </a:lnTo>
                  <a:lnTo>
                    <a:pt x="104" y="423"/>
                  </a:lnTo>
                  <a:lnTo>
                    <a:pt x="104" y="426"/>
                  </a:lnTo>
                  <a:lnTo>
                    <a:pt x="102" y="426"/>
                  </a:lnTo>
                  <a:lnTo>
                    <a:pt x="104" y="426"/>
                  </a:lnTo>
                  <a:lnTo>
                    <a:pt x="102" y="426"/>
                  </a:lnTo>
                  <a:lnTo>
                    <a:pt x="102" y="428"/>
                  </a:lnTo>
                  <a:lnTo>
                    <a:pt x="102" y="426"/>
                  </a:lnTo>
                  <a:lnTo>
                    <a:pt x="102" y="428"/>
                  </a:lnTo>
                  <a:lnTo>
                    <a:pt x="102" y="430"/>
                  </a:lnTo>
                  <a:lnTo>
                    <a:pt x="102" y="428"/>
                  </a:lnTo>
                  <a:lnTo>
                    <a:pt x="102" y="430"/>
                  </a:lnTo>
                  <a:lnTo>
                    <a:pt x="102" y="433"/>
                  </a:lnTo>
                  <a:lnTo>
                    <a:pt x="99" y="433"/>
                  </a:lnTo>
                  <a:lnTo>
                    <a:pt x="99" y="430"/>
                  </a:lnTo>
                  <a:lnTo>
                    <a:pt x="99" y="433"/>
                  </a:lnTo>
                  <a:lnTo>
                    <a:pt x="97" y="433"/>
                  </a:lnTo>
                  <a:lnTo>
                    <a:pt x="99" y="433"/>
                  </a:lnTo>
                  <a:lnTo>
                    <a:pt x="102" y="433"/>
                  </a:lnTo>
                  <a:lnTo>
                    <a:pt x="99" y="433"/>
                  </a:lnTo>
                  <a:lnTo>
                    <a:pt x="102" y="433"/>
                  </a:lnTo>
                  <a:lnTo>
                    <a:pt x="102" y="435"/>
                  </a:lnTo>
                  <a:lnTo>
                    <a:pt x="102" y="437"/>
                  </a:lnTo>
                  <a:lnTo>
                    <a:pt x="99" y="437"/>
                  </a:lnTo>
                  <a:lnTo>
                    <a:pt x="97" y="437"/>
                  </a:lnTo>
                  <a:lnTo>
                    <a:pt x="97" y="440"/>
                  </a:lnTo>
                  <a:lnTo>
                    <a:pt x="97" y="437"/>
                  </a:lnTo>
                  <a:lnTo>
                    <a:pt x="95" y="437"/>
                  </a:lnTo>
                  <a:lnTo>
                    <a:pt x="95" y="435"/>
                  </a:lnTo>
                  <a:lnTo>
                    <a:pt x="95" y="433"/>
                  </a:lnTo>
                  <a:lnTo>
                    <a:pt x="92" y="433"/>
                  </a:lnTo>
                  <a:lnTo>
                    <a:pt x="90" y="433"/>
                  </a:lnTo>
                  <a:lnTo>
                    <a:pt x="90" y="430"/>
                  </a:lnTo>
                  <a:lnTo>
                    <a:pt x="88" y="430"/>
                  </a:lnTo>
                  <a:lnTo>
                    <a:pt x="85" y="430"/>
                  </a:lnTo>
                  <a:lnTo>
                    <a:pt x="85" y="433"/>
                  </a:lnTo>
                  <a:lnTo>
                    <a:pt x="88" y="433"/>
                  </a:lnTo>
                  <a:lnTo>
                    <a:pt x="85" y="433"/>
                  </a:lnTo>
                  <a:lnTo>
                    <a:pt x="85" y="435"/>
                  </a:lnTo>
                  <a:lnTo>
                    <a:pt x="83" y="435"/>
                  </a:lnTo>
                  <a:lnTo>
                    <a:pt x="80" y="435"/>
                  </a:lnTo>
                  <a:lnTo>
                    <a:pt x="80" y="433"/>
                  </a:lnTo>
                  <a:lnTo>
                    <a:pt x="80" y="430"/>
                  </a:lnTo>
                  <a:lnTo>
                    <a:pt x="80" y="428"/>
                  </a:lnTo>
                  <a:lnTo>
                    <a:pt x="83" y="428"/>
                  </a:lnTo>
                  <a:lnTo>
                    <a:pt x="85" y="428"/>
                  </a:lnTo>
                  <a:lnTo>
                    <a:pt x="85" y="426"/>
                  </a:lnTo>
                  <a:lnTo>
                    <a:pt x="88" y="426"/>
                  </a:lnTo>
                  <a:lnTo>
                    <a:pt x="88" y="428"/>
                  </a:lnTo>
                  <a:lnTo>
                    <a:pt x="90" y="428"/>
                  </a:lnTo>
                  <a:lnTo>
                    <a:pt x="90" y="426"/>
                  </a:lnTo>
                  <a:lnTo>
                    <a:pt x="92" y="426"/>
                  </a:lnTo>
                  <a:lnTo>
                    <a:pt x="95" y="426"/>
                  </a:lnTo>
                  <a:lnTo>
                    <a:pt x="95" y="423"/>
                  </a:lnTo>
                  <a:lnTo>
                    <a:pt x="97" y="423"/>
                  </a:lnTo>
                  <a:lnTo>
                    <a:pt x="97" y="421"/>
                  </a:lnTo>
                  <a:lnTo>
                    <a:pt x="99" y="421"/>
                  </a:lnTo>
                  <a:lnTo>
                    <a:pt x="99" y="418"/>
                  </a:lnTo>
                  <a:lnTo>
                    <a:pt x="99" y="416"/>
                  </a:lnTo>
                  <a:lnTo>
                    <a:pt x="102" y="416"/>
                  </a:lnTo>
                  <a:lnTo>
                    <a:pt x="102" y="414"/>
                  </a:lnTo>
                  <a:lnTo>
                    <a:pt x="102" y="411"/>
                  </a:lnTo>
                  <a:lnTo>
                    <a:pt x="104" y="411"/>
                  </a:lnTo>
                  <a:lnTo>
                    <a:pt x="102" y="411"/>
                  </a:lnTo>
                  <a:lnTo>
                    <a:pt x="104" y="411"/>
                  </a:lnTo>
                  <a:lnTo>
                    <a:pt x="102" y="411"/>
                  </a:lnTo>
                  <a:lnTo>
                    <a:pt x="104" y="411"/>
                  </a:lnTo>
                  <a:lnTo>
                    <a:pt x="102" y="411"/>
                  </a:lnTo>
                  <a:lnTo>
                    <a:pt x="102" y="409"/>
                  </a:lnTo>
                  <a:lnTo>
                    <a:pt x="104" y="409"/>
                  </a:lnTo>
                  <a:lnTo>
                    <a:pt x="104" y="411"/>
                  </a:lnTo>
                  <a:lnTo>
                    <a:pt x="104" y="409"/>
                  </a:lnTo>
                  <a:lnTo>
                    <a:pt x="106" y="409"/>
                  </a:lnTo>
                  <a:lnTo>
                    <a:pt x="106" y="411"/>
                  </a:lnTo>
                  <a:lnTo>
                    <a:pt x="109" y="411"/>
                  </a:lnTo>
                  <a:lnTo>
                    <a:pt x="106" y="411"/>
                  </a:lnTo>
                  <a:lnTo>
                    <a:pt x="106" y="409"/>
                  </a:lnTo>
                  <a:lnTo>
                    <a:pt x="109" y="409"/>
                  </a:lnTo>
                  <a:lnTo>
                    <a:pt x="109" y="407"/>
                  </a:lnTo>
                  <a:lnTo>
                    <a:pt x="109" y="409"/>
                  </a:lnTo>
                  <a:lnTo>
                    <a:pt x="109" y="407"/>
                  </a:lnTo>
                  <a:lnTo>
                    <a:pt x="109" y="409"/>
                  </a:lnTo>
                  <a:lnTo>
                    <a:pt x="109" y="407"/>
                  </a:lnTo>
                  <a:lnTo>
                    <a:pt x="109" y="409"/>
                  </a:lnTo>
                  <a:lnTo>
                    <a:pt x="109" y="407"/>
                  </a:lnTo>
                  <a:lnTo>
                    <a:pt x="111" y="407"/>
                  </a:lnTo>
                  <a:lnTo>
                    <a:pt x="111" y="404"/>
                  </a:lnTo>
                  <a:lnTo>
                    <a:pt x="114" y="404"/>
                  </a:lnTo>
                  <a:lnTo>
                    <a:pt x="114" y="402"/>
                  </a:lnTo>
                  <a:lnTo>
                    <a:pt x="116" y="402"/>
                  </a:lnTo>
                  <a:lnTo>
                    <a:pt x="116" y="399"/>
                  </a:lnTo>
                  <a:lnTo>
                    <a:pt x="118" y="399"/>
                  </a:lnTo>
                  <a:lnTo>
                    <a:pt x="118" y="397"/>
                  </a:lnTo>
                  <a:lnTo>
                    <a:pt x="118" y="395"/>
                  </a:lnTo>
                  <a:lnTo>
                    <a:pt x="118" y="392"/>
                  </a:lnTo>
                  <a:lnTo>
                    <a:pt x="118" y="390"/>
                  </a:lnTo>
                  <a:lnTo>
                    <a:pt x="118" y="388"/>
                  </a:lnTo>
                  <a:lnTo>
                    <a:pt x="121" y="388"/>
                  </a:lnTo>
                  <a:lnTo>
                    <a:pt x="118" y="388"/>
                  </a:lnTo>
                  <a:lnTo>
                    <a:pt x="121" y="388"/>
                  </a:lnTo>
                  <a:lnTo>
                    <a:pt x="123" y="388"/>
                  </a:lnTo>
                  <a:lnTo>
                    <a:pt x="125" y="388"/>
                  </a:lnTo>
                  <a:lnTo>
                    <a:pt x="128" y="388"/>
                  </a:lnTo>
                  <a:lnTo>
                    <a:pt x="128" y="385"/>
                  </a:lnTo>
                  <a:lnTo>
                    <a:pt x="130" y="385"/>
                  </a:lnTo>
                  <a:lnTo>
                    <a:pt x="130" y="388"/>
                  </a:lnTo>
                  <a:lnTo>
                    <a:pt x="130" y="385"/>
                  </a:lnTo>
                  <a:lnTo>
                    <a:pt x="133" y="385"/>
                  </a:lnTo>
                  <a:lnTo>
                    <a:pt x="133" y="383"/>
                  </a:lnTo>
                  <a:lnTo>
                    <a:pt x="135" y="385"/>
                  </a:lnTo>
                  <a:lnTo>
                    <a:pt x="135" y="383"/>
                  </a:lnTo>
                  <a:lnTo>
                    <a:pt x="133" y="383"/>
                  </a:lnTo>
                  <a:lnTo>
                    <a:pt x="130" y="385"/>
                  </a:lnTo>
                  <a:lnTo>
                    <a:pt x="130" y="383"/>
                  </a:lnTo>
                  <a:lnTo>
                    <a:pt x="128" y="383"/>
                  </a:lnTo>
                  <a:lnTo>
                    <a:pt x="130" y="380"/>
                  </a:lnTo>
                  <a:lnTo>
                    <a:pt x="128" y="380"/>
                  </a:lnTo>
                  <a:lnTo>
                    <a:pt x="130" y="380"/>
                  </a:lnTo>
                  <a:lnTo>
                    <a:pt x="130" y="378"/>
                  </a:lnTo>
                  <a:lnTo>
                    <a:pt x="133" y="378"/>
                  </a:lnTo>
                  <a:lnTo>
                    <a:pt x="135" y="378"/>
                  </a:lnTo>
                  <a:lnTo>
                    <a:pt x="137" y="378"/>
                  </a:lnTo>
                  <a:lnTo>
                    <a:pt x="140" y="378"/>
                  </a:lnTo>
                  <a:lnTo>
                    <a:pt x="140" y="376"/>
                  </a:lnTo>
                  <a:lnTo>
                    <a:pt x="140" y="378"/>
                  </a:lnTo>
                  <a:lnTo>
                    <a:pt x="140" y="376"/>
                  </a:lnTo>
                  <a:lnTo>
                    <a:pt x="142" y="376"/>
                  </a:lnTo>
                  <a:lnTo>
                    <a:pt x="144" y="376"/>
                  </a:lnTo>
                  <a:lnTo>
                    <a:pt x="147" y="376"/>
                  </a:lnTo>
                  <a:lnTo>
                    <a:pt x="149" y="378"/>
                  </a:lnTo>
                  <a:lnTo>
                    <a:pt x="152" y="378"/>
                  </a:lnTo>
                  <a:lnTo>
                    <a:pt x="152" y="376"/>
                  </a:lnTo>
                  <a:lnTo>
                    <a:pt x="154" y="378"/>
                  </a:lnTo>
                  <a:lnTo>
                    <a:pt x="156" y="378"/>
                  </a:lnTo>
                  <a:lnTo>
                    <a:pt x="159" y="378"/>
                  </a:lnTo>
                  <a:lnTo>
                    <a:pt x="161" y="378"/>
                  </a:lnTo>
                  <a:lnTo>
                    <a:pt x="163" y="378"/>
                  </a:lnTo>
                  <a:lnTo>
                    <a:pt x="166" y="378"/>
                  </a:lnTo>
                  <a:lnTo>
                    <a:pt x="168" y="378"/>
                  </a:lnTo>
                  <a:lnTo>
                    <a:pt x="168" y="380"/>
                  </a:lnTo>
                  <a:lnTo>
                    <a:pt x="168" y="378"/>
                  </a:lnTo>
                  <a:lnTo>
                    <a:pt x="171" y="378"/>
                  </a:lnTo>
                  <a:lnTo>
                    <a:pt x="171" y="376"/>
                  </a:lnTo>
                  <a:lnTo>
                    <a:pt x="168" y="376"/>
                  </a:lnTo>
                  <a:lnTo>
                    <a:pt x="168" y="373"/>
                  </a:lnTo>
                  <a:lnTo>
                    <a:pt x="171" y="373"/>
                  </a:lnTo>
                  <a:lnTo>
                    <a:pt x="168" y="373"/>
                  </a:lnTo>
                  <a:lnTo>
                    <a:pt x="168" y="371"/>
                  </a:lnTo>
                  <a:lnTo>
                    <a:pt x="171" y="371"/>
                  </a:lnTo>
                  <a:lnTo>
                    <a:pt x="171" y="373"/>
                  </a:lnTo>
                  <a:lnTo>
                    <a:pt x="171" y="371"/>
                  </a:lnTo>
                  <a:lnTo>
                    <a:pt x="171" y="369"/>
                  </a:lnTo>
                  <a:lnTo>
                    <a:pt x="173" y="369"/>
                  </a:lnTo>
                  <a:lnTo>
                    <a:pt x="173" y="366"/>
                  </a:lnTo>
                  <a:lnTo>
                    <a:pt x="175" y="366"/>
                  </a:lnTo>
                  <a:lnTo>
                    <a:pt x="175" y="364"/>
                  </a:lnTo>
                  <a:lnTo>
                    <a:pt x="178" y="364"/>
                  </a:lnTo>
                  <a:lnTo>
                    <a:pt x="180" y="364"/>
                  </a:lnTo>
                  <a:lnTo>
                    <a:pt x="180" y="361"/>
                  </a:lnTo>
                  <a:lnTo>
                    <a:pt x="180" y="359"/>
                  </a:lnTo>
                  <a:lnTo>
                    <a:pt x="182" y="359"/>
                  </a:lnTo>
                  <a:lnTo>
                    <a:pt x="182" y="357"/>
                  </a:lnTo>
                  <a:lnTo>
                    <a:pt x="185" y="357"/>
                  </a:lnTo>
                  <a:lnTo>
                    <a:pt x="185" y="354"/>
                  </a:lnTo>
                  <a:lnTo>
                    <a:pt x="187" y="354"/>
                  </a:lnTo>
                  <a:lnTo>
                    <a:pt x="187" y="352"/>
                  </a:lnTo>
                  <a:lnTo>
                    <a:pt x="190" y="352"/>
                  </a:lnTo>
                  <a:lnTo>
                    <a:pt x="190" y="350"/>
                  </a:lnTo>
                  <a:lnTo>
                    <a:pt x="187" y="350"/>
                  </a:lnTo>
                  <a:lnTo>
                    <a:pt x="190" y="350"/>
                  </a:lnTo>
                  <a:lnTo>
                    <a:pt x="190" y="347"/>
                  </a:lnTo>
                  <a:lnTo>
                    <a:pt x="190" y="350"/>
                  </a:lnTo>
                  <a:lnTo>
                    <a:pt x="192" y="350"/>
                  </a:lnTo>
                  <a:lnTo>
                    <a:pt x="192" y="347"/>
                  </a:lnTo>
                  <a:lnTo>
                    <a:pt x="192" y="350"/>
                  </a:lnTo>
                  <a:lnTo>
                    <a:pt x="190" y="350"/>
                  </a:lnTo>
                  <a:lnTo>
                    <a:pt x="190" y="347"/>
                  </a:lnTo>
                  <a:lnTo>
                    <a:pt x="187" y="347"/>
                  </a:lnTo>
                  <a:lnTo>
                    <a:pt x="187" y="350"/>
                  </a:lnTo>
                  <a:lnTo>
                    <a:pt x="190" y="350"/>
                  </a:lnTo>
                  <a:lnTo>
                    <a:pt x="187" y="352"/>
                  </a:lnTo>
                  <a:lnTo>
                    <a:pt x="187" y="354"/>
                  </a:lnTo>
                  <a:lnTo>
                    <a:pt x="185" y="354"/>
                  </a:lnTo>
                  <a:lnTo>
                    <a:pt x="182" y="354"/>
                  </a:lnTo>
                  <a:lnTo>
                    <a:pt x="182" y="357"/>
                  </a:lnTo>
                  <a:lnTo>
                    <a:pt x="182" y="359"/>
                  </a:lnTo>
                  <a:lnTo>
                    <a:pt x="180" y="359"/>
                  </a:lnTo>
                  <a:lnTo>
                    <a:pt x="180" y="357"/>
                  </a:lnTo>
                  <a:lnTo>
                    <a:pt x="180" y="359"/>
                  </a:lnTo>
                  <a:lnTo>
                    <a:pt x="178" y="359"/>
                  </a:lnTo>
                  <a:lnTo>
                    <a:pt x="178" y="361"/>
                  </a:lnTo>
                  <a:lnTo>
                    <a:pt x="175" y="361"/>
                  </a:lnTo>
                  <a:lnTo>
                    <a:pt x="173" y="361"/>
                  </a:lnTo>
                  <a:lnTo>
                    <a:pt x="171" y="361"/>
                  </a:lnTo>
                  <a:lnTo>
                    <a:pt x="168" y="361"/>
                  </a:lnTo>
                  <a:lnTo>
                    <a:pt x="168" y="364"/>
                  </a:lnTo>
                  <a:lnTo>
                    <a:pt x="166" y="364"/>
                  </a:lnTo>
                  <a:lnTo>
                    <a:pt x="166" y="366"/>
                  </a:lnTo>
                  <a:lnTo>
                    <a:pt x="163" y="366"/>
                  </a:lnTo>
                  <a:lnTo>
                    <a:pt x="163" y="369"/>
                  </a:lnTo>
                  <a:lnTo>
                    <a:pt x="161" y="369"/>
                  </a:lnTo>
                  <a:lnTo>
                    <a:pt x="159" y="369"/>
                  </a:lnTo>
                  <a:lnTo>
                    <a:pt x="156" y="369"/>
                  </a:lnTo>
                  <a:lnTo>
                    <a:pt x="154" y="369"/>
                  </a:lnTo>
                  <a:lnTo>
                    <a:pt x="152" y="369"/>
                  </a:lnTo>
                  <a:lnTo>
                    <a:pt x="152" y="366"/>
                  </a:lnTo>
                  <a:lnTo>
                    <a:pt x="149" y="366"/>
                  </a:lnTo>
                  <a:lnTo>
                    <a:pt x="149" y="364"/>
                  </a:lnTo>
                  <a:lnTo>
                    <a:pt x="147" y="364"/>
                  </a:lnTo>
                  <a:lnTo>
                    <a:pt x="144" y="364"/>
                  </a:lnTo>
                  <a:lnTo>
                    <a:pt x="144" y="361"/>
                  </a:lnTo>
                  <a:lnTo>
                    <a:pt x="144" y="359"/>
                  </a:lnTo>
                  <a:lnTo>
                    <a:pt x="142" y="359"/>
                  </a:lnTo>
                  <a:lnTo>
                    <a:pt x="144" y="359"/>
                  </a:lnTo>
                  <a:lnTo>
                    <a:pt x="142" y="359"/>
                  </a:lnTo>
                  <a:lnTo>
                    <a:pt x="144" y="359"/>
                  </a:lnTo>
                  <a:lnTo>
                    <a:pt x="142" y="359"/>
                  </a:lnTo>
                  <a:lnTo>
                    <a:pt x="142" y="357"/>
                  </a:lnTo>
                  <a:lnTo>
                    <a:pt x="140" y="357"/>
                  </a:lnTo>
                  <a:lnTo>
                    <a:pt x="140" y="359"/>
                  </a:lnTo>
                  <a:lnTo>
                    <a:pt x="137" y="359"/>
                  </a:lnTo>
                  <a:lnTo>
                    <a:pt x="137" y="361"/>
                  </a:lnTo>
                  <a:lnTo>
                    <a:pt x="137" y="359"/>
                  </a:lnTo>
                  <a:lnTo>
                    <a:pt x="137" y="361"/>
                  </a:lnTo>
                  <a:lnTo>
                    <a:pt x="135" y="361"/>
                  </a:lnTo>
                  <a:lnTo>
                    <a:pt x="135" y="359"/>
                  </a:lnTo>
                  <a:lnTo>
                    <a:pt x="135" y="361"/>
                  </a:lnTo>
                  <a:lnTo>
                    <a:pt x="135" y="359"/>
                  </a:lnTo>
                  <a:lnTo>
                    <a:pt x="135" y="361"/>
                  </a:lnTo>
                  <a:lnTo>
                    <a:pt x="133" y="361"/>
                  </a:lnTo>
                  <a:lnTo>
                    <a:pt x="133" y="359"/>
                  </a:lnTo>
                  <a:lnTo>
                    <a:pt x="133" y="361"/>
                  </a:lnTo>
                  <a:lnTo>
                    <a:pt x="130" y="361"/>
                  </a:lnTo>
                  <a:lnTo>
                    <a:pt x="128" y="361"/>
                  </a:lnTo>
                  <a:lnTo>
                    <a:pt x="128" y="359"/>
                  </a:lnTo>
                  <a:lnTo>
                    <a:pt x="125" y="359"/>
                  </a:lnTo>
                  <a:lnTo>
                    <a:pt x="128" y="359"/>
                  </a:lnTo>
                  <a:lnTo>
                    <a:pt x="128" y="357"/>
                  </a:lnTo>
                  <a:lnTo>
                    <a:pt x="128" y="359"/>
                  </a:lnTo>
                  <a:lnTo>
                    <a:pt x="128" y="357"/>
                  </a:lnTo>
                  <a:lnTo>
                    <a:pt x="130" y="357"/>
                  </a:lnTo>
                  <a:lnTo>
                    <a:pt x="133" y="357"/>
                  </a:lnTo>
                  <a:lnTo>
                    <a:pt x="135" y="357"/>
                  </a:lnTo>
                  <a:lnTo>
                    <a:pt x="135" y="354"/>
                  </a:lnTo>
                  <a:lnTo>
                    <a:pt x="133" y="357"/>
                  </a:lnTo>
                  <a:lnTo>
                    <a:pt x="130" y="354"/>
                  </a:lnTo>
                  <a:lnTo>
                    <a:pt x="128" y="354"/>
                  </a:lnTo>
                  <a:lnTo>
                    <a:pt x="125" y="354"/>
                  </a:lnTo>
                  <a:lnTo>
                    <a:pt x="125" y="352"/>
                  </a:lnTo>
                  <a:lnTo>
                    <a:pt x="125" y="350"/>
                  </a:lnTo>
                  <a:lnTo>
                    <a:pt x="125" y="347"/>
                  </a:lnTo>
                  <a:lnTo>
                    <a:pt x="125" y="350"/>
                  </a:lnTo>
                  <a:lnTo>
                    <a:pt x="123" y="350"/>
                  </a:lnTo>
                  <a:lnTo>
                    <a:pt x="123" y="352"/>
                  </a:lnTo>
                  <a:lnTo>
                    <a:pt x="123" y="350"/>
                  </a:lnTo>
                  <a:lnTo>
                    <a:pt x="121" y="350"/>
                  </a:lnTo>
                  <a:lnTo>
                    <a:pt x="123" y="350"/>
                  </a:lnTo>
                  <a:lnTo>
                    <a:pt x="121" y="350"/>
                  </a:lnTo>
                  <a:lnTo>
                    <a:pt x="123" y="352"/>
                  </a:lnTo>
                  <a:lnTo>
                    <a:pt x="121" y="352"/>
                  </a:lnTo>
                  <a:lnTo>
                    <a:pt x="118" y="352"/>
                  </a:lnTo>
                  <a:lnTo>
                    <a:pt x="116" y="352"/>
                  </a:lnTo>
                  <a:lnTo>
                    <a:pt x="114" y="352"/>
                  </a:lnTo>
                  <a:lnTo>
                    <a:pt x="114" y="354"/>
                  </a:lnTo>
                  <a:lnTo>
                    <a:pt x="114" y="357"/>
                  </a:lnTo>
                  <a:lnTo>
                    <a:pt x="111" y="357"/>
                  </a:lnTo>
                  <a:lnTo>
                    <a:pt x="109" y="357"/>
                  </a:lnTo>
                  <a:lnTo>
                    <a:pt x="106" y="357"/>
                  </a:lnTo>
                  <a:lnTo>
                    <a:pt x="106" y="359"/>
                  </a:lnTo>
                  <a:lnTo>
                    <a:pt x="104" y="359"/>
                  </a:lnTo>
                  <a:lnTo>
                    <a:pt x="104" y="357"/>
                  </a:lnTo>
                  <a:lnTo>
                    <a:pt x="102" y="357"/>
                  </a:lnTo>
                  <a:lnTo>
                    <a:pt x="102" y="354"/>
                  </a:lnTo>
                  <a:lnTo>
                    <a:pt x="99" y="354"/>
                  </a:lnTo>
                  <a:lnTo>
                    <a:pt x="102" y="354"/>
                  </a:lnTo>
                  <a:lnTo>
                    <a:pt x="104" y="354"/>
                  </a:lnTo>
                  <a:lnTo>
                    <a:pt x="106" y="354"/>
                  </a:lnTo>
                  <a:lnTo>
                    <a:pt x="104" y="354"/>
                  </a:lnTo>
                  <a:lnTo>
                    <a:pt x="106" y="354"/>
                  </a:lnTo>
                  <a:lnTo>
                    <a:pt x="106" y="352"/>
                  </a:lnTo>
                  <a:lnTo>
                    <a:pt x="109" y="352"/>
                  </a:lnTo>
                  <a:lnTo>
                    <a:pt x="109" y="354"/>
                  </a:lnTo>
                  <a:lnTo>
                    <a:pt x="109" y="352"/>
                  </a:lnTo>
                  <a:lnTo>
                    <a:pt x="106" y="352"/>
                  </a:lnTo>
                  <a:lnTo>
                    <a:pt x="106" y="350"/>
                  </a:lnTo>
                  <a:lnTo>
                    <a:pt x="109" y="350"/>
                  </a:lnTo>
                  <a:lnTo>
                    <a:pt x="106" y="350"/>
                  </a:lnTo>
                  <a:lnTo>
                    <a:pt x="106" y="352"/>
                  </a:lnTo>
                  <a:lnTo>
                    <a:pt x="106" y="354"/>
                  </a:lnTo>
                  <a:lnTo>
                    <a:pt x="106" y="352"/>
                  </a:lnTo>
                  <a:lnTo>
                    <a:pt x="106" y="354"/>
                  </a:lnTo>
                  <a:lnTo>
                    <a:pt x="104" y="354"/>
                  </a:lnTo>
                  <a:lnTo>
                    <a:pt x="104" y="352"/>
                  </a:lnTo>
                  <a:lnTo>
                    <a:pt x="104" y="354"/>
                  </a:lnTo>
                  <a:lnTo>
                    <a:pt x="102" y="352"/>
                  </a:lnTo>
                  <a:lnTo>
                    <a:pt x="102" y="354"/>
                  </a:lnTo>
                  <a:lnTo>
                    <a:pt x="102" y="352"/>
                  </a:lnTo>
                  <a:lnTo>
                    <a:pt x="99" y="352"/>
                  </a:lnTo>
                  <a:lnTo>
                    <a:pt x="99" y="354"/>
                  </a:lnTo>
                  <a:lnTo>
                    <a:pt x="99" y="352"/>
                  </a:lnTo>
                  <a:lnTo>
                    <a:pt x="99" y="354"/>
                  </a:lnTo>
                  <a:lnTo>
                    <a:pt x="97" y="354"/>
                  </a:lnTo>
                  <a:lnTo>
                    <a:pt x="97" y="352"/>
                  </a:lnTo>
                  <a:lnTo>
                    <a:pt x="95" y="352"/>
                  </a:lnTo>
                  <a:lnTo>
                    <a:pt x="97" y="352"/>
                  </a:lnTo>
                  <a:lnTo>
                    <a:pt x="97" y="350"/>
                  </a:lnTo>
                  <a:lnTo>
                    <a:pt x="99" y="350"/>
                  </a:lnTo>
                  <a:lnTo>
                    <a:pt x="99" y="347"/>
                  </a:lnTo>
                  <a:lnTo>
                    <a:pt x="99" y="345"/>
                  </a:lnTo>
                  <a:lnTo>
                    <a:pt x="97" y="345"/>
                  </a:lnTo>
                  <a:lnTo>
                    <a:pt x="95" y="345"/>
                  </a:lnTo>
                  <a:lnTo>
                    <a:pt x="92" y="345"/>
                  </a:lnTo>
                  <a:lnTo>
                    <a:pt x="95" y="345"/>
                  </a:lnTo>
                  <a:lnTo>
                    <a:pt x="95" y="342"/>
                  </a:lnTo>
                  <a:lnTo>
                    <a:pt x="97" y="342"/>
                  </a:lnTo>
                  <a:lnTo>
                    <a:pt x="99" y="342"/>
                  </a:lnTo>
                  <a:lnTo>
                    <a:pt x="99" y="340"/>
                  </a:lnTo>
                  <a:lnTo>
                    <a:pt x="102" y="340"/>
                  </a:lnTo>
                  <a:lnTo>
                    <a:pt x="102" y="338"/>
                  </a:lnTo>
                  <a:lnTo>
                    <a:pt x="104" y="338"/>
                  </a:lnTo>
                  <a:lnTo>
                    <a:pt x="104" y="340"/>
                  </a:lnTo>
                  <a:lnTo>
                    <a:pt x="104" y="338"/>
                  </a:lnTo>
                  <a:lnTo>
                    <a:pt x="104" y="340"/>
                  </a:lnTo>
                  <a:lnTo>
                    <a:pt x="104" y="338"/>
                  </a:lnTo>
                  <a:lnTo>
                    <a:pt x="106" y="338"/>
                  </a:lnTo>
                  <a:lnTo>
                    <a:pt x="109" y="338"/>
                  </a:lnTo>
                  <a:lnTo>
                    <a:pt x="109" y="335"/>
                  </a:lnTo>
                  <a:lnTo>
                    <a:pt x="111" y="335"/>
                  </a:lnTo>
                  <a:lnTo>
                    <a:pt x="111" y="333"/>
                  </a:lnTo>
                  <a:lnTo>
                    <a:pt x="114" y="333"/>
                  </a:lnTo>
                  <a:lnTo>
                    <a:pt x="114" y="335"/>
                  </a:lnTo>
                  <a:lnTo>
                    <a:pt x="114" y="333"/>
                  </a:lnTo>
                  <a:lnTo>
                    <a:pt x="116" y="333"/>
                  </a:lnTo>
                  <a:lnTo>
                    <a:pt x="118" y="333"/>
                  </a:lnTo>
                  <a:lnTo>
                    <a:pt x="118" y="331"/>
                  </a:lnTo>
                  <a:lnTo>
                    <a:pt x="118" y="333"/>
                  </a:lnTo>
                  <a:lnTo>
                    <a:pt x="121" y="333"/>
                  </a:lnTo>
                  <a:lnTo>
                    <a:pt x="121" y="331"/>
                  </a:lnTo>
                  <a:lnTo>
                    <a:pt x="123" y="331"/>
                  </a:lnTo>
                  <a:lnTo>
                    <a:pt x="123" y="328"/>
                  </a:lnTo>
                  <a:lnTo>
                    <a:pt x="125" y="328"/>
                  </a:lnTo>
                  <a:lnTo>
                    <a:pt x="128" y="328"/>
                  </a:lnTo>
                  <a:lnTo>
                    <a:pt x="128" y="326"/>
                  </a:lnTo>
                  <a:lnTo>
                    <a:pt x="130" y="326"/>
                  </a:lnTo>
                  <a:lnTo>
                    <a:pt x="130" y="323"/>
                  </a:lnTo>
                  <a:lnTo>
                    <a:pt x="133" y="323"/>
                  </a:lnTo>
                  <a:lnTo>
                    <a:pt x="133" y="321"/>
                  </a:lnTo>
                  <a:lnTo>
                    <a:pt x="133" y="319"/>
                  </a:lnTo>
                  <a:lnTo>
                    <a:pt x="135" y="319"/>
                  </a:lnTo>
                  <a:lnTo>
                    <a:pt x="135" y="316"/>
                  </a:lnTo>
                  <a:lnTo>
                    <a:pt x="135" y="314"/>
                  </a:lnTo>
                  <a:lnTo>
                    <a:pt x="135" y="312"/>
                  </a:lnTo>
                  <a:lnTo>
                    <a:pt x="135" y="314"/>
                  </a:lnTo>
                  <a:lnTo>
                    <a:pt x="137" y="314"/>
                  </a:lnTo>
                  <a:lnTo>
                    <a:pt x="137" y="312"/>
                  </a:lnTo>
                  <a:lnTo>
                    <a:pt x="140" y="312"/>
                  </a:lnTo>
                  <a:lnTo>
                    <a:pt x="137" y="312"/>
                  </a:lnTo>
                  <a:lnTo>
                    <a:pt x="135" y="312"/>
                  </a:lnTo>
                  <a:lnTo>
                    <a:pt x="133" y="309"/>
                  </a:lnTo>
                  <a:lnTo>
                    <a:pt x="133" y="307"/>
                  </a:lnTo>
                  <a:lnTo>
                    <a:pt x="135" y="304"/>
                  </a:lnTo>
                  <a:lnTo>
                    <a:pt x="137" y="302"/>
                  </a:lnTo>
                  <a:lnTo>
                    <a:pt x="137" y="304"/>
                  </a:lnTo>
                  <a:lnTo>
                    <a:pt x="137" y="302"/>
                  </a:lnTo>
                  <a:lnTo>
                    <a:pt x="140" y="302"/>
                  </a:lnTo>
                  <a:lnTo>
                    <a:pt x="137" y="302"/>
                  </a:lnTo>
                  <a:lnTo>
                    <a:pt x="135" y="302"/>
                  </a:lnTo>
                  <a:lnTo>
                    <a:pt x="135" y="304"/>
                  </a:lnTo>
                  <a:lnTo>
                    <a:pt x="135" y="302"/>
                  </a:lnTo>
                  <a:lnTo>
                    <a:pt x="133" y="302"/>
                  </a:lnTo>
                  <a:lnTo>
                    <a:pt x="133" y="300"/>
                  </a:lnTo>
                  <a:lnTo>
                    <a:pt x="133" y="297"/>
                  </a:lnTo>
                  <a:lnTo>
                    <a:pt x="133" y="295"/>
                  </a:lnTo>
                  <a:lnTo>
                    <a:pt x="135" y="295"/>
                  </a:lnTo>
                  <a:lnTo>
                    <a:pt x="135" y="293"/>
                  </a:lnTo>
                  <a:lnTo>
                    <a:pt x="137" y="293"/>
                  </a:lnTo>
                  <a:lnTo>
                    <a:pt x="135" y="293"/>
                  </a:lnTo>
                  <a:lnTo>
                    <a:pt x="133" y="295"/>
                  </a:lnTo>
                  <a:lnTo>
                    <a:pt x="133" y="293"/>
                  </a:lnTo>
                  <a:lnTo>
                    <a:pt x="133" y="295"/>
                  </a:lnTo>
                  <a:lnTo>
                    <a:pt x="130" y="295"/>
                  </a:lnTo>
                  <a:lnTo>
                    <a:pt x="130" y="293"/>
                  </a:lnTo>
                  <a:lnTo>
                    <a:pt x="128" y="293"/>
                  </a:lnTo>
                  <a:lnTo>
                    <a:pt x="128" y="295"/>
                  </a:lnTo>
                  <a:lnTo>
                    <a:pt x="128" y="293"/>
                  </a:lnTo>
                  <a:lnTo>
                    <a:pt x="128" y="295"/>
                  </a:lnTo>
                  <a:lnTo>
                    <a:pt x="125" y="295"/>
                  </a:lnTo>
                  <a:lnTo>
                    <a:pt x="123" y="295"/>
                  </a:lnTo>
                  <a:lnTo>
                    <a:pt x="121" y="295"/>
                  </a:lnTo>
                  <a:lnTo>
                    <a:pt x="121" y="297"/>
                  </a:lnTo>
                  <a:lnTo>
                    <a:pt x="121" y="300"/>
                  </a:lnTo>
                  <a:lnTo>
                    <a:pt x="118" y="300"/>
                  </a:lnTo>
                  <a:lnTo>
                    <a:pt x="118" y="297"/>
                  </a:lnTo>
                  <a:lnTo>
                    <a:pt x="116" y="297"/>
                  </a:lnTo>
                  <a:lnTo>
                    <a:pt x="116" y="300"/>
                  </a:lnTo>
                  <a:lnTo>
                    <a:pt x="114" y="300"/>
                  </a:lnTo>
                  <a:lnTo>
                    <a:pt x="111" y="300"/>
                  </a:lnTo>
                  <a:lnTo>
                    <a:pt x="111" y="297"/>
                  </a:lnTo>
                  <a:lnTo>
                    <a:pt x="114" y="297"/>
                  </a:lnTo>
                  <a:lnTo>
                    <a:pt x="114" y="295"/>
                  </a:lnTo>
                  <a:lnTo>
                    <a:pt x="116" y="295"/>
                  </a:lnTo>
                  <a:lnTo>
                    <a:pt x="116" y="293"/>
                  </a:lnTo>
                  <a:lnTo>
                    <a:pt x="118" y="293"/>
                  </a:lnTo>
                  <a:lnTo>
                    <a:pt x="121" y="293"/>
                  </a:lnTo>
                  <a:lnTo>
                    <a:pt x="121" y="290"/>
                  </a:lnTo>
                  <a:lnTo>
                    <a:pt x="123" y="290"/>
                  </a:lnTo>
                  <a:lnTo>
                    <a:pt x="123" y="288"/>
                  </a:lnTo>
                  <a:lnTo>
                    <a:pt x="125" y="288"/>
                  </a:lnTo>
                  <a:lnTo>
                    <a:pt x="125" y="285"/>
                  </a:lnTo>
                  <a:lnTo>
                    <a:pt x="125" y="283"/>
                  </a:lnTo>
                  <a:lnTo>
                    <a:pt x="125" y="285"/>
                  </a:lnTo>
                  <a:lnTo>
                    <a:pt x="125" y="283"/>
                  </a:lnTo>
                  <a:lnTo>
                    <a:pt x="128" y="283"/>
                  </a:lnTo>
                  <a:lnTo>
                    <a:pt x="125" y="283"/>
                  </a:lnTo>
                  <a:lnTo>
                    <a:pt x="128" y="283"/>
                  </a:lnTo>
                  <a:lnTo>
                    <a:pt x="128" y="281"/>
                  </a:lnTo>
                  <a:lnTo>
                    <a:pt x="130" y="281"/>
                  </a:lnTo>
                  <a:lnTo>
                    <a:pt x="130" y="278"/>
                  </a:lnTo>
                  <a:lnTo>
                    <a:pt x="133" y="278"/>
                  </a:lnTo>
                  <a:lnTo>
                    <a:pt x="135" y="278"/>
                  </a:lnTo>
                  <a:lnTo>
                    <a:pt x="137" y="278"/>
                  </a:lnTo>
                  <a:lnTo>
                    <a:pt x="137" y="276"/>
                  </a:lnTo>
                  <a:lnTo>
                    <a:pt x="140" y="276"/>
                  </a:lnTo>
                  <a:lnTo>
                    <a:pt x="142" y="276"/>
                  </a:lnTo>
                  <a:lnTo>
                    <a:pt x="142" y="274"/>
                  </a:lnTo>
                  <a:lnTo>
                    <a:pt x="142" y="276"/>
                  </a:lnTo>
                  <a:lnTo>
                    <a:pt x="144" y="276"/>
                  </a:lnTo>
                  <a:lnTo>
                    <a:pt x="142" y="276"/>
                  </a:lnTo>
                  <a:lnTo>
                    <a:pt x="142" y="274"/>
                  </a:lnTo>
                  <a:lnTo>
                    <a:pt x="140" y="274"/>
                  </a:lnTo>
                  <a:lnTo>
                    <a:pt x="142" y="271"/>
                  </a:lnTo>
                  <a:lnTo>
                    <a:pt x="142" y="274"/>
                  </a:lnTo>
                  <a:lnTo>
                    <a:pt x="144" y="274"/>
                  </a:lnTo>
                  <a:lnTo>
                    <a:pt x="147" y="274"/>
                  </a:lnTo>
                  <a:lnTo>
                    <a:pt x="149" y="276"/>
                  </a:lnTo>
                  <a:lnTo>
                    <a:pt x="149" y="274"/>
                  </a:lnTo>
                  <a:lnTo>
                    <a:pt x="149" y="276"/>
                  </a:lnTo>
                  <a:lnTo>
                    <a:pt x="149" y="274"/>
                  </a:lnTo>
                  <a:lnTo>
                    <a:pt x="152" y="274"/>
                  </a:lnTo>
                  <a:lnTo>
                    <a:pt x="154" y="274"/>
                  </a:lnTo>
                  <a:lnTo>
                    <a:pt x="156" y="274"/>
                  </a:lnTo>
                  <a:lnTo>
                    <a:pt x="156" y="271"/>
                  </a:lnTo>
                  <a:lnTo>
                    <a:pt x="159" y="271"/>
                  </a:lnTo>
                  <a:lnTo>
                    <a:pt x="159" y="274"/>
                  </a:lnTo>
                  <a:lnTo>
                    <a:pt x="161" y="274"/>
                  </a:lnTo>
                  <a:lnTo>
                    <a:pt x="163" y="274"/>
                  </a:lnTo>
                  <a:lnTo>
                    <a:pt x="163" y="276"/>
                  </a:lnTo>
                  <a:lnTo>
                    <a:pt x="166" y="276"/>
                  </a:lnTo>
                  <a:lnTo>
                    <a:pt x="166" y="278"/>
                  </a:lnTo>
                  <a:lnTo>
                    <a:pt x="168" y="278"/>
                  </a:lnTo>
                  <a:lnTo>
                    <a:pt x="166" y="276"/>
                  </a:lnTo>
                  <a:lnTo>
                    <a:pt x="168" y="276"/>
                  </a:lnTo>
                  <a:lnTo>
                    <a:pt x="166" y="276"/>
                  </a:lnTo>
                  <a:lnTo>
                    <a:pt x="168" y="276"/>
                  </a:lnTo>
                  <a:lnTo>
                    <a:pt x="166" y="276"/>
                  </a:lnTo>
                  <a:lnTo>
                    <a:pt x="166" y="274"/>
                  </a:lnTo>
                  <a:lnTo>
                    <a:pt x="166" y="271"/>
                  </a:lnTo>
                  <a:lnTo>
                    <a:pt x="163" y="271"/>
                  </a:lnTo>
                  <a:lnTo>
                    <a:pt x="163" y="269"/>
                  </a:lnTo>
                  <a:lnTo>
                    <a:pt x="166" y="269"/>
                  </a:lnTo>
                  <a:lnTo>
                    <a:pt x="168" y="269"/>
                  </a:lnTo>
                  <a:lnTo>
                    <a:pt x="168" y="266"/>
                  </a:lnTo>
                  <a:lnTo>
                    <a:pt x="168" y="269"/>
                  </a:lnTo>
                  <a:lnTo>
                    <a:pt x="171" y="269"/>
                  </a:lnTo>
                  <a:lnTo>
                    <a:pt x="168" y="269"/>
                  </a:lnTo>
                  <a:lnTo>
                    <a:pt x="171" y="269"/>
                  </a:lnTo>
                  <a:lnTo>
                    <a:pt x="171" y="271"/>
                  </a:lnTo>
                  <a:lnTo>
                    <a:pt x="171" y="274"/>
                  </a:lnTo>
                  <a:lnTo>
                    <a:pt x="173" y="274"/>
                  </a:lnTo>
                  <a:lnTo>
                    <a:pt x="173" y="276"/>
                  </a:lnTo>
                  <a:lnTo>
                    <a:pt x="175" y="276"/>
                  </a:lnTo>
                  <a:lnTo>
                    <a:pt x="175" y="274"/>
                  </a:lnTo>
                  <a:lnTo>
                    <a:pt x="178" y="274"/>
                  </a:lnTo>
                  <a:lnTo>
                    <a:pt x="178" y="271"/>
                  </a:lnTo>
                  <a:lnTo>
                    <a:pt x="180" y="271"/>
                  </a:lnTo>
                  <a:lnTo>
                    <a:pt x="182" y="271"/>
                  </a:lnTo>
                  <a:lnTo>
                    <a:pt x="180" y="271"/>
                  </a:lnTo>
                  <a:lnTo>
                    <a:pt x="178" y="271"/>
                  </a:lnTo>
                  <a:lnTo>
                    <a:pt x="178" y="274"/>
                  </a:lnTo>
                  <a:lnTo>
                    <a:pt x="175" y="274"/>
                  </a:lnTo>
                  <a:lnTo>
                    <a:pt x="173" y="274"/>
                  </a:lnTo>
                  <a:lnTo>
                    <a:pt x="173" y="271"/>
                  </a:lnTo>
                  <a:lnTo>
                    <a:pt x="171" y="271"/>
                  </a:lnTo>
                  <a:lnTo>
                    <a:pt x="171" y="269"/>
                  </a:lnTo>
                  <a:lnTo>
                    <a:pt x="171" y="266"/>
                  </a:lnTo>
                  <a:lnTo>
                    <a:pt x="168" y="266"/>
                  </a:lnTo>
                  <a:lnTo>
                    <a:pt x="171" y="266"/>
                  </a:lnTo>
                  <a:lnTo>
                    <a:pt x="168" y="266"/>
                  </a:lnTo>
                  <a:lnTo>
                    <a:pt x="171" y="266"/>
                  </a:lnTo>
                  <a:lnTo>
                    <a:pt x="168" y="266"/>
                  </a:lnTo>
                  <a:lnTo>
                    <a:pt x="168" y="264"/>
                  </a:lnTo>
                  <a:lnTo>
                    <a:pt x="168" y="262"/>
                  </a:lnTo>
                  <a:lnTo>
                    <a:pt x="166" y="262"/>
                  </a:lnTo>
                  <a:lnTo>
                    <a:pt x="168" y="259"/>
                  </a:lnTo>
                  <a:lnTo>
                    <a:pt x="168" y="257"/>
                  </a:lnTo>
                  <a:lnTo>
                    <a:pt x="171" y="257"/>
                  </a:lnTo>
                  <a:lnTo>
                    <a:pt x="171" y="255"/>
                  </a:lnTo>
                  <a:lnTo>
                    <a:pt x="173" y="255"/>
                  </a:lnTo>
                  <a:lnTo>
                    <a:pt x="173" y="252"/>
                  </a:lnTo>
                  <a:lnTo>
                    <a:pt x="175" y="252"/>
                  </a:lnTo>
                  <a:lnTo>
                    <a:pt x="178" y="252"/>
                  </a:lnTo>
                  <a:lnTo>
                    <a:pt x="175" y="252"/>
                  </a:lnTo>
                  <a:lnTo>
                    <a:pt x="173" y="252"/>
                  </a:lnTo>
                  <a:lnTo>
                    <a:pt x="171" y="252"/>
                  </a:lnTo>
                  <a:lnTo>
                    <a:pt x="168" y="252"/>
                  </a:lnTo>
                  <a:lnTo>
                    <a:pt x="168" y="250"/>
                  </a:lnTo>
                  <a:lnTo>
                    <a:pt x="168" y="247"/>
                  </a:lnTo>
                  <a:lnTo>
                    <a:pt x="168" y="245"/>
                  </a:lnTo>
                  <a:lnTo>
                    <a:pt x="168" y="243"/>
                  </a:lnTo>
                  <a:lnTo>
                    <a:pt x="171" y="243"/>
                  </a:lnTo>
                  <a:lnTo>
                    <a:pt x="171" y="245"/>
                  </a:lnTo>
                  <a:lnTo>
                    <a:pt x="171" y="247"/>
                  </a:lnTo>
                  <a:lnTo>
                    <a:pt x="173" y="247"/>
                  </a:lnTo>
                  <a:lnTo>
                    <a:pt x="171" y="247"/>
                  </a:lnTo>
                  <a:lnTo>
                    <a:pt x="171" y="245"/>
                  </a:lnTo>
                  <a:lnTo>
                    <a:pt x="171" y="243"/>
                  </a:lnTo>
                  <a:lnTo>
                    <a:pt x="173" y="243"/>
                  </a:lnTo>
                  <a:lnTo>
                    <a:pt x="175" y="243"/>
                  </a:lnTo>
                  <a:lnTo>
                    <a:pt x="175" y="240"/>
                  </a:lnTo>
                  <a:lnTo>
                    <a:pt x="173" y="240"/>
                  </a:lnTo>
                  <a:lnTo>
                    <a:pt x="175" y="240"/>
                  </a:lnTo>
                  <a:lnTo>
                    <a:pt x="175" y="238"/>
                  </a:lnTo>
                  <a:lnTo>
                    <a:pt x="175" y="240"/>
                  </a:lnTo>
                  <a:lnTo>
                    <a:pt x="175" y="238"/>
                  </a:lnTo>
                  <a:lnTo>
                    <a:pt x="175" y="240"/>
                  </a:lnTo>
                  <a:lnTo>
                    <a:pt x="173" y="240"/>
                  </a:lnTo>
                  <a:lnTo>
                    <a:pt x="173" y="238"/>
                  </a:lnTo>
                  <a:lnTo>
                    <a:pt x="173" y="236"/>
                  </a:lnTo>
                  <a:lnTo>
                    <a:pt x="175" y="236"/>
                  </a:lnTo>
                  <a:lnTo>
                    <a:pt x="175" y="233"/>
                  </a:lnTo>
                  <a:lnTo>
                    <a:pt x="178" y="233"/>
                  </a:lnTo>
                  <a:lnTo>
                    <a:pt x="175" y="233"/>
                  </a:lnTo>
                  <a:lnTo>
                    <a:pt x="175" y="231"/>
                  </a:lnTo>
                  <a:lnTo>
                    <a:pt x="175" y="228"/>
                  </a:lnTo>
                  <a:lnTo>
                    <a:pt x="178" y="228"/>
                  </a:lnTo>
                  <a:lnTo>
                    <a:pt x="175" y="226"/>
                  </a:lnTo>
                  <a:lnTo>
                    <a:pt x="175" y="228"/>
                  </a:lnTo>
                  <a:lnTo>
                    <a:pt x="173" y="228"/>
                  </a:lnTo>
                  <a:lnTo>
                    <a:pt x="173" y="231"/>
                  </a:lnTo>
                  <a:lnTo>
                    <a:pt x="171" y="231"/>
                  </a:lnTo>
                  <a:lnTo>
                    <a:pt x="168" y="228"/>
                  </a:lnTo>
                  <a:lnTo>
                    <a:pt x="171" y="228"/>
                  </a:lnTo>
                  <a:lnTo>
                    <a:pt x="168" y="228"/>
                  </a:lnTo>
                  <a:lnTo>
                    <a:pt x="168" y="226"/>
                  </a:lnTo>
                  <a:lnTo>
                    <a:pt x="168" y="228"/>
                  </a:lnTo>
                  <a:lnTo>
                    <a:pt x="168" y="231"/>
                  </a:lnTo>
                  <a:lnTo>
                    <a:pt x="168" y="233"/>
                  </a:lnTo>
                  <a:lnTo>
                    <a:pt x="166" y="233"/>
                  </a:lnTo>
                  <a:lnTo>
                    <a:pt x="166" y="236"/>
                  </a:lnTo>
                  <a:lnTo>
                    <a:pt x="163" y="236"/>
                  </a:lnTo>
                  <a:lnTo>
                    <a:pt x="166" y="236"/>
                  </a:lnTo>
                  <a:lnTo>
                    <a:pt x="163" y="236"/>
                  </a:lnTo>
                  <a:lnTo>
                    <a:pt x="163" y="233"/>
                  </a:lnTo>
                  <a:lnTo>
                    <a:pt x="163" y="236"/>
                  </a:lnTo>
                  <a:lnTo>
                    <a:pt x="161" y="233"/>
                  </a:lnTo>
                  <a:lnTo>
                    <a:pt x="161" y="231"/>
                  </a:lnTo>
                  <a:lnTo>
                    <a:pt x="163" y="231"/>
                  </a:lnTo>
                  <a:lnTo>
                    <a:pt x="163" y="228"/>
                  </a:lnTo>
                  <a:lnTo>
                    <a:pt x="163" y="226"/>
                  </a:lnTo>
                  <a:lnTo>
                    <a:pt x="161" y="226"/>
                  </a:lnTo>
                  <a:lnTo>
                    <a:pt x="163" y="226"/>
                  </a:lnTo>
                  <a:lnTo>
                    <a:pt x="161" y="228"/>
                  </a:lnTo>
                  <a:lnTo>
                    <a:pt x="161" y="231"/>
                  </a:lnTo>
                  <a:lnTo>
                    <a:pt x="161" y="228"/>
                  </a:lnTo>
                  <a:lnTo>
                    <a:pt x="161" y="231"/>
                  </a:lnTo>
                  <a:lnTo>
                    <a:pt x="159" y="231"/>
                  </a:lnTo>
                  <a:lnTo>
                    <a:pt x="159" y="228"/>
                  </a:lnTo>
                  <a:lnTo>
                    <a:pt x="156" y="226"/>
                  </a:lnTo>
                  <a:lnTo>
                    <a:pt x="156" y="224"/>
                  </a:lnTo>
                  <a:lnTo>
                    <a:pt x="156" y="221"/>
                  </a:lnTo>
                  <a:lnTo>
                    <a:pt x="154" y="221"/>
                  </a:lnTo>
                  <a:lnTo>
                    <a:pt x="154" y="219"/>
                  </a:lnTo>
                  <a:lnTo>
                    <a:pt x="152" y="219"/>
                  </a:lnTo>
                  <a:lnTo>
                    <a:pt x="152" y="217"/>
                  </a:lnTo>
                  <a:lnTo>
                    <a:pt x="149" y="214"/>
                  </a:lnTo>
                  <a:lnTo>
                    <a:pt x="149" y="212"/>
                  </a:lnTo>
                  <a:lnTo>
                    <a:pt x="152" y="212"/>
                  </a:lnTo>
                  <a:lnTo>
                    <a:pt x="152" y="209"/>
                  </a:lnTo>
                  <a:lnTo>
                    <a:pt x="152" y="207"/>
                  </a:lnTo>
                  <a:lnTo>
                    <a:pt x="152" y="205"/>
                  </a:lnTo>
                  <a:lnTo>
                    <a:pt x="154" y="205"/>
                  </a:lnTo>
                  <a:lnTo>
                    <a:pt x="154" y="202"/>
                  </a:lnTo>
                  <a:lnTo>
                    <a:pt x="156" y="202"/>
                  </a:lnTo>
                  <a:lnTo>
                    <a:pt x="156" y="200"/>
                  </a:lnTo>
                  <a:lnTo>
                    <a:pt x="156" y="198"/>
                  </a:lnTo>
                  <a:lnTo>
                    <a:pt x="156" y="195"/>
                  </a:lnTo>
                  <a:lnTo>
                    <a:pt x="159" y="195"/>
                  </a:lnTo>
                  <a:lnTo>
                    <a:pt x="159" y="193"/>
                  </a:lnTo>
                  <a:lnTo>
                    <a:pt x="159" y="195"/>
                  </a:lnTo>
                  <a:lnTo>
                    <a:pt x="161" y="195"/>
                  </a:lnTo>
                  <a:lnTo>
                    <a:pt x="161" y="193"/>
                  </a:lnTo>
                  <a:lnTo>
                    <a:pt x="163" y="193"/>
                  </a:lnTo>
                  <a:lnTo>
                    <a:pt x="161" y="193"/>
                  </a:lnTo>
                  <a:lnTo>
                    <a:pt x="161" y="190"/>
                  </a:lnTo>
                  <a:lnTo>
                    <a:pt x="163" y="190"/>
                  </a:lnTo>
                  <a:lnTo>
                    <a:pt x="163" y="193"/>
                  </a:lnTo>
                  <a:lnTo>
                    <a:pt x="166" y="193"/>
                  </a:lnTo>
                  <a:lnTo>
                    <a:pt x="168" y="193"/>
                  </a:lnTo>
                  <a:lnTo>
                    <a:pt x="168" y="190"/>
                  </a:lnTo>
                  <a:lnTo>
                    <a:pt x="168" y="193"/>
                  </a:lnTo>
                  <a:lnTo>
                    <a:pt x="168" y="190"/>
                  </a:lnTo>
                  <a:lnTo>
                    <a:pt x="168" y="193"/>
                  </a:lnTo>
                  <a:lnTo>
                    <a:pt x="168" y="190"/>
                  </a:lnTo>
                  <a:lnTo>
                    <a:pt x="166" y="190"/>
                  </a:lnTo>
                  <a:lnTo>
                    <a:pt x="168" y="190"/>
                  </a:lnTo>
                  <a:lnTo>
                    <a:pt x="166" y="190"/>
                  </a:lnTo>
                  <a:lnTo>
                    <a:pt x="163" y="190"/>
                  </a:lnTo>
                  <a:lnTo>
                    <a:pt x="161" y="190"/>
                  </a:lnTo>
                  <a:lnTo>
                    <a:pt x="159" y="190"/>
                  </a:lnTo>
                  <a:lnTo>
                    <a:pt x="156" y="190"/>
                  </a:lnTo>
                  <a:lnTo>
                    <a:pt x="154" y="190"/>
                  </a:lnTo>
                  <a:lnTo>
                    <a:pt x="156" y="190"/>
                  </a:lnTo>
                  <a:lnTo>
                    <a:pt x="154" y="190"/>
                  </a:lnTo>
                  <a:lnTo>
                    <a:pt x="152" y="190"/>
                  </a:lnTo>
                  <a:lnTo>
                    <a:pt x="152" y="188"/>
                  </a:lnTo>
                  <a:lnTo>
                    <a:pt x="152" y="190"/>
                  </a:lnTo>
                  <a:lnTo>
                    <a:pt x="152" y="193"/>
                  </a:lnTo>
                  <a:lnTo>
                    <a:pt x="152" y="195"/>
                  </a:lnTo>
                  <a:lnTo>
                    <a:pt x="149" y="195"/>
                  </a:lnTo>
                  <a:lnTo>
                    <a:pt x="147" y="195"/>
                  </a:lnTo>
                  <a:lnTo>
                    <a:pt x="144" y="195"/>
                  </a:lnTo>
                  <a:lnTo>
                    <a:pt x="142" y="195"/>
                  </a:lnTo>
                  <a:lnTo>
                    <a:pt x="144" y="198"/>
                  </a:lnTo>
                  <a:lnTo>
                    <a:pt x="142" y="198"/>
                  </a:lnTo>
                  <a:lnTo>
                    <a:pt x="142" y="195"/>
                  </a:lnTo>
                  <a:lnTo>
                    <a:pt x="142" y="198"/>
                  </a:lnTo>
                  <a:lnTo>
                    <a:pt x="142" y="200"/>
                  </a:lnTo>
                  <a:lnTo>
                    <a:pt x="140" y="200"/>
                  </a:lnTo>
                  <a:lnTo>
                    <a:pt x="137" y="200"/>
                  </a:lnTo>
                  <a:lnTo>
                    <a:pt x="135" y="200"/>
                  </a:lnTo>
                  <a:lnTo>
                    <a:pt x="135" y="198"/>
                  </a:lnTo>
                  <a:lnTo>
                    <a:pt x="135" y="200"/>
                  </a:lnTo>
                  <a:lnTo>
                    <a:pt x="133" y="200"/>
                  </a:lnTo>
                  <a:lnTo>
                    <a:pt x="135" y="200"/>
                  </a:lnTo>
                  <a:lnTo>
                    <a:pt x="133" y="200"/>
                  </a:lnTo>
                  <a:lnTo>
                    <a:pt x="130" y="200"/>
                  </a:lnTo>
                  <a:lnTo>
                    <a:pt x="130" y="198"/>
                  </a:lnTo>
                  <a:lnTo>
                    <a:pt x="130" y="200"/>
                  </a:lnTo>
                  <a:lnTo>
                    <a:pt x="130" y="198"/>
                  </a:lnTo>
                  <a:lnTo>
                    <a:pt x="130" y="200"/>
                  </a:lnTo>
                  <a:lnTo>
                    <a:pt x="130" y="198"/>
                  </a:lnTo>
                  <a:lnTo>
                    <a:pt x="130" y="195"/>
                  </a:lnTo>
                  <a:lnTo>
                    <a:pt x="130" y="198"/>
                  </a:lnTo>
                  <a:lnTo>
                    <a:pt x="128" y="198"/>
                  </a:lnTo>
                  <a:lnTo>
                    <a:pt x="125" y="198"/>
                  </a:lnTo>
                  <a:lnTo>
                    <a:pt x="125" y="195"/>
                  </a:lnTo>
                  <a:lnTo>
                    <a:pt x="123" y="195"/>
                  </a:lnTo>
                  <a:lnTo>
                    <a:pt x="125" y="195"/>
                  </a:lnTo>
                  <a:lnTo>
                    <a:pt x="123" y="195"/>
                  </a:lnTo>
                  <a:lnTo>
                    <a:pt x="123" y="193"/>
                  </a:lnTo>
                  <a:lnTo>
                    <a:pt x="121" y="193"/>
                  </a:lnTo>
                  <a:lnTo>
                    <a:pt x="123" y="193"/>
                  </a:lnTo>
                  <a:lnTo>
                    <a:pt x="123" y="195"/>
                  </a:lnTo>
                  <a:lnTo>
                    <a:pt x="123" y="198"/>
                  </a:lnTo>
                  <a:lnTo>
                    <a:pt x="125" y="198"/>
                  </a:lnTo>
                  <a:lnTo>
                    <a:pt x="125" y="200"/>
                  </a:lnTo>
                  <a:lnTo>
                    <a:pt x="125" y="202"/>
                  </a:lnTo>
                  <a:lnTo>
                    <a:pt x="125" y="205"/>
                  </a:lnTo>
                  <a:lnTo>
                    <a:pt x="123" y="205"/>
                  </a:lnTo>
                  <a:lnTo>
                    <a:pt x="121" y="205"/>
                  </a:lnTo>
                  <a:lnTo>
                    <a:pt x="121" y="202"/>
                  </a:lnTo>
                  <a:lnTo>
                    <a:pt x="118" y="202"/>
                  </a:lnTo>
                  <a:lnTo>
                    <a:pt x="118" y="200"/>
                  </a:lnTo>
                  <a:lnTo>
                    <a:pt x="116" y="200"/>
                  </a:lnTo>
                  <a:lnTo>
                    <a:pt x="114" y="200"/>
                  </a:lnTo>
                  <a:lnTo>
                    <a:pt x="114" y="198"/>
                  </a:lnTo>
                  <a:lnTo>
                    <a:pt x="111" y="198"/>
                  </a:lnTo>
                  <a:lnTo>
                    <a:pt x="111" y="195"/>
                  </a:lnTo>
                  <a:lnTo>
                    <a:pt x="109" y="195"/>
                  </a:lnTo>
                  <a:lnTo>
                    <a:pt x="106" y="198"/>
                  </a:lnTo>
                  <a:lnTo>
                    <a:pt x="104" y="200"/>
                  </a:lnTo>
                  <a:lnTo>
                    <a:pt x="106" y="200"/>
                  </a:lnTo>
                  <a:lnTo>
                    <a:pt x="106" y="202"/>
                  </a:lnTo>
                  <a:lnTo>
                    <a:pt x="106" y="205"/>
                  </a:lnTo>
                  <a:lnTo>
                    <a:pt x="109" y="205"/>
                  </a:lnTo>
                  <a:lnTo>
                    <a:pt x="109" y="207"/>
                  </a:lnTo>
                  <a:lnTo>
                    <a:pt x="106" y="207"/>
                  </a:lnTo>
                  <a:lnTo>
                    <a:pt x="104" y="207"/>
                  </a:lnTo>
                  <a:lnTo>
                    <a:pt x="104" y="205"/>
                  </a:lnTo>
                  <a:lnTo>
                    <a:pt x="106" y="205"/>
                  </a:lnTo>
                  <a:lnTo>
                    <a:pt x="104" y="202"/>
                  </a:lnTo>
                  <a:lnTo>
                    <a:pt x="106" y="202"/>
                  </a:lnTo>
                  <a:lnTo>
                    <a:pt x="104" y="202"/>
                  </a:lnTo>
                  <a:lnTo>
                    <a:pt x="104" y="200"/>
                  </a:lnTo>
                  <a:lnTo>
                    <a:pt x="102" y="200"/>
                  </a:lnTo>
                  <a:lnTo>
                    <a:pt x="102" y="198"/>
                  </a:lnTo>
                  <a:lnTo>
                    <a:pt x="99" y="198"/>
                  </a:lnTo>
                  <a:lnTo>
                    <a:pt x="99" y="195"/>
                  </a:lnTo>
                  <a:lnTo>
                    <a:pt x="97" y="193"/>
                  </a:lnTo>
                  <a:lnTo>
                    <a:pt x="97" y="190"/>
                  </a:lnTo>
                  <a:lnTo>
                    <a:pt x="97" y="188"/>
                  </a:lnTo>
                  <a:lnTo>
                    <a:pt x="99" y="188"/>
                  </a:lnTo>
                  <a:lnTo>
                    <a:pt x="102" y="188"/>
                  </a:lnTo>
                  <a:lnTo>
                    <a:pt x="102" y="190"/>
                  </a:lnTo>
                  <a:lnTo>
                    <a:pt x="102" y="193"/>
                  </a:lnTo>
                  <a:lnTo>
                    <a:pt x="104" y="193"/>
                  </a:lnTo>
                  <a:lnTo>
                    <a:pt x="104" y="190"/>
                  </a:lnTo>
                  <a:lnTo>
                    <a:pt x="102" y="190"/>
                  </a:lnTo>
                  <a:lnTo>
                    <a:pt x="102" y="188"/>
                  </a:lnTo>
                  <a:lnTo>
                    <a:pt x="102" y="186"/>
                  </a:lnTo>
                  <a:lnTo>
                    <a:pt x="104" y="183"/>
                  </a:lnTo>
                  <a:lnTo>
                    <a:pt x="104" y="181"/>
                  </a:lnTo>
                  <a:lnTo>
                    <a:pt x="106" y="181"/>
                  </a:lnTo>
                  <a:lnTo>
                    <a:pt x="106" y="179"/>
                  </a:lnTo>
                  <a:lnTo>
                    <a:pt x="109" y="179"/>
                  </a:lnTo>
                  <a:lnTo>
                    <a:pt x="109" y="176"/>
                  </a:lnTo>
                  <a:lnTo>
                    <a:pt x="109" y="174"/>
                  </a:lnTo>
                  <a:lnTo>
                    <a:pt x="109" y="171"/>
                  </a:lnTo>
                  <a:lnTo>
                    <a:pt x="111" y="171"/>
                  </a:lnTo>
                  <a:lnTo>
                    <a:pt x="111" y="169"/>
                  </a:lnTo>
                  <a:lnTo>
                    <a:pt x="111" y="167"/>
                  </a:lnTo>
                  <a:lnTo>
                    <a:pt x="114" y="167"/>
                  </a:lnTo>
                  <a:lnTo>
                    <a:pt x="116" y="167"/>
                  </a:lnTo>
                  <a:lnTo>
                    <a:pt x="116" y="164"/>
                  </a:lnTo>
                  <a:lnTo>
                    <a:pt x="116" y="162"/>
                  </a:lnTo>
                  <a:lnTo>
                    <a:pt x="114" y="162"/>
                  </a:lnTo>
                  <a:lnTo>
                    <a:pt x="116" y="162"/>
                  </a:lnTo>
                  <a:lnTo>
                    <a:pt x="116" y="160"/>
                  </a:lnTo>
                  <a:lnTo>
                    <a:pt x="114" y="160"/>
                  </a:lnTo>
                  <a:lnTo>
                    <a:pt x="114" y="157"/>
                  </a:lnTo>
                  <a:lnTo>
                    <a:pt x="111" y="157"/>
                  </a:lnTo>
                  <a:lnTo>
                    <a:pt x="109" y="157"/>
                  </a:lnTo>
                  <a:lnTo>
                    <a:pt x="111" y="157"/>
                  </a:lnTo>
                  <a:lnTo>
                    <a:pt x="109" y="157"/>
                  </a:lnTo>
                  <a:lnTo>
                    <a:pt x="109" y="155"/>
                  </a:lnTo>
                  <a:lnTo>
                    <a:pt x="106" y="155"/>
                  </a:lnTo>
                  <a:lnTo>
                    <a:pt x="106" y="152"/>
                  </a:lnTo>
                  <a:lnTo>
                    <a:pt x="109" y="152"/>
                  </a:lnTo>
                  <a:lnTo>
                    <a:pt x="109" y="150"/>
                  </a:lnTo>
                  <a:lnTo>
                    <a:pt x="109" y="148"/>
                  </a:lnTo>
                  <a:lnTo>
                    <a:pt x="106" y="148"/>
                  </a:lnTo>
                  <a:lnTo>
                    <a:pt x="106" y="145"/>
                  </a:lnTo>
                  <a:lnTo>
                    <a:pt x="106" y="143"/>
                  </a:lnTo>
                  <a:lnTo>
                    <a:pt x="109" y="143"/>
                  </a:lnTo>
                  <a:lnTo>
                    <a:pt x="109" y="141"/>
                  </a:lnTo>
                  <a:lnTo>
                    <a:pt x="111" y="141"/>
                  </a:lnTo>
                  <a:lnTo>
                    <a:pt x="114" y="141"/>
                  </a:lnTo>
                  <a:lnTo>
                    <a:pt x="116" y="141"/>
                  </a:lnTo>
                  <a:lnTo>
                    <a:pt x="118" y="143"/>
                  </a:lnTo>
                  <a:lnTo>
                    <a:pt x="121" y="143"/>
                  </a:lnTo>
                  <a:lnTo>
                    <a:pt x="121" y="141"/>
                  </a:lnTo>
                  <a:lnTo>
                    <a:pt x="118" y="141"/>
                  </a:lnTo>
                  <a:lnTo>
                    <a:pt x="116" y="141"/>
                  </a:lnTo>
                  <a:lnTo>
                    <a:pt x="114" y="141"/>
                  </a:lnTo>
                  <a:lnTo>
                    <a:pt x="114" y="138"/>
                  </a:lnTo>
                  <a:lnTo>
                    <a:pt x="114" y="141"/>
                  </a:lnTo>
                  <a:lnTo>
                    <a:pt x="114" y="138"/>
                  </a:lnTo>
                  <a:lnTo>
                    <a:pt x="111" y="138"/>
                  </a:lnTo>
                  <a:lnTo>
                    <a:pt x="111" y="136"/>
                  </a:lnTo>
                  <a:lnTo>
                    <a:pt x="109" y="136"/>
                  </a:lnTo>
                  <a:lnTo>
                    <a:pt x="109" y="133"/>
                  </a:lnTo>
                  <a:lnTo>
                    <a:pt x="109" y="136"/>
                  </a:lnTo>
                  <a:lnTo>
                    <a:pt x="111" y="136"/>
                  </a:lnTo>
                  <a:lnTo>
                    <a:pt x="111" y="138"/>
                  </a:lnTo>
                  <a:lnTo>
                    <a:pt x="109" y="138"/>
                  </a:lnTo>
                  <a:lnTo>
                    <a:pt x="109" y="136"/>
                  </a:lnTo>
                  <a:lnTo>
                    <a:pt x="109" y="133"/>
                  </a:lnTo>
                  <a:lnTo>
                    <a:pt x="109" y="131"/>
                  </a:lnTo>
                  <a:lnTo>
                    <a:pt x="111" y="131"/>
                  </a:lnTo>
                  <a:lnTo>
                    <a:pt x="111" y="129"/>
                  </a:lnTo>
                  <a:lnTo>
                    <a:pt x="109" y="131"/>
                  </a:lnTo>
                  <a:lnTo>
                    <a:pt x="109" y="133"/>
                  </a:lnTo>
                  <a:lnTo>
                    <a:pt x="106" y="131"/>
                  </a:lnTo>
                  <a:lnTo>
                    <a:pt x="109" y="131"/>
                  </a:lnTo>
                  <a:lnTo>
                    <a:pt x="106" y="131"/>
                  </a:lnTo>
                  <a:lnTo>
                    <a:pt x="106" y="129"/>
                  </a:lnTo>
                  <a:lnTo>
                    <a:pt x="106" y="131"/>
                  </a:lnTo>
                  <a:lnTo>
                    <a:pt x="106" y="133"/>
                  </a:lnTo>
                  <a:lnTo>
                    <a:pt x="109" y="133"/>
                  </a:lnTo>
                  <a:lnTo>
                    <a:pt x="106" y="136"/>
                  </a:lnTo>
                  <a:lnTo>
                    <a:pt x="106" y="138"/>
                  </a:lnTo>
                  <a:lnTo>
                    <a:pt x="104" y="138"/>
                  </a:lnTo>
                  <a:lnTo>
                    <a:pt x="106" y="138"/>
                  </a:lnTo>
                  <a:lnTo>
                    <a:pt x="106" y="141"/>
                  </a:lnTo>
                  <a:lnTo>
                    <a:pt x="106" y="143"/>
                  </a:lnTo>
                  <a:lnTo>
                    <a:pt x="104" y="143"/>
                  </a:lnTo>
                  <a:lnTo>
                    <a:pt x="104" y="145"/>
                  </a:lnTo>
                  <a:lnTo>
                    <a:pt x="102" y="145"/>
                  </a:lnTo>
                  <a:lnTo>
                    <a:pt x="102" y="143"/>
                  </a:lnTo>
                  <a:lnTo>
                    <a:pt x="102" y="141"/>
                  </a:lnTo>
                  <a:lnTo>
                    <a:pt x="99" y="141"/>
                  </a:lnTo>
                  <a:lnTo>
                    <a:pt x="99" y="138"/>
                  </a:lnTo>
                  <a:lnTo>
                    <a:pt x="99" y="141"/>
                  </a:lnTo>
                  <a:lnTo>
                    <a:pt x="102" y="141"/>
                  </a:lnTo>
                  <a:lnTo>
                    <a:pt x="102" y="143"/>
                  </a:lnTo>
                  <a:lnTo>
                    <a:pt x="99" y="143"/>
                  </a:lnTo>
                  <a:lnTo>
                    <a:pt x="99" y="141"/>
                  </a:lnTo>
                  <a:lnTo>
                    <a:pt x="97" y="141"/>
                  </a:lnTo>
                  <a:lnTo>
                    <a:pt x="97" y="138"/>
                  </a:lnTo>
                  <a:lnTo>
                    <a:pt x="97" y="141"/>
                  </a:lnTo>
                  <a:lnTo>
                    <a:pt x="97" y="143"/>
                  </a:lnTo>
                  <a:lnTo>
                    <a:pt x="97" y="145"/>
                  </a:lnTo>
                  <a:lnTo>
                    <a:pt x="97" y="148"/>
                  </a:lnTo>
                  <a:lnTo>
                    <a:pt x="97" y="145"/>
                  </a:lnTo>
                  <a:lnTo>
                    <a:pt x="95" y="145"/>
                  </a:lnTo>
                  <a:lnTo>
                    <a:pt x="92" y="145"/>
                  </a:lnTo>
                  <a:lnTo>
                    <a:pt x="95" y="145"/>
                  </a:lnTo>
                  <a:lnTo>
                    <a:pt x="92" y="145"/>
                  </a:lnTo>
                  <a:lnTo>
                    <a:pt x="95" y="145"/>
                  </a:lnTo>
                  <a:lnTo>
                    <a:pt x="92" y="145"/>
                  </a:lnTo>
                  <a:lnTo>
                    <a:pt x="92" y="143"/>
                  </a:lnTo>
                  <a:lnTo>
                    <a:pt x="92" y="141"/>
                  </a:lnTo>
                  <a:lnTo>
                    <a:pt x="92" y="138"/>
                  </a:lnTo>
                  <a:lnTo>
                    <a:pt x="95" y="138"/>
                  </a:lnTo>
                  <a:lnTo>
                    <a:pt x="95" y="136"/>
                  </a:lnTo>
                  <a:lnTo>
                    <a:pt x="95" y="133"/>
                  </a:lnTo>
                  <a:lnTo>
                    <a:pt x="97" y="133"/>
                  </a:lnTo>
                  <a:lnTo>
                    <a:pt x="97" y="131"/>
                  </a:lnTo>
                  <a:lnTo>
                    <a:pt x="99" y="131"/>
                  </a:lnTo>
                  <a:lnTo>
                    <a:pt x="102" y="131"/>
                  </a:lnTo>
                  <a:lnTo>
                    <a:pt x="102" y="129"/>
                  </a:lnTo>
                  <a:lnTo>
                    <a:pt x="102" y="126"/>
                  </a:lnTo>
                  <a:lnTo>
                    <a:pt x="104" y="126"/>
                  </a:lnTo>
                  <a:lnTo>
                    <a:pt x="106" y="126"/>
                  </a:lnTo>
                  <a:lnTo>
                    <a:pt x="106" y="124"/>
                  </a:lnTo>
                  <a:lnTo>
                    <a:pt x="104" y="124"/>
                  </a:lnTo>
                  <a:lnTo>
                    <a:pt x="104" y="126"/>
                  </a:lnTo>
                  <a:lnTo>
                    <a:pt x="102" y="126"/>
                  </a:lnTo>
                  <a:lnTo>
                    <a:pt x="102" y="129"/>
                  </a:lnTo>
                  <a:lnTo>
                    <a:pt x="99" y="129"/>
                  </a:lnTo>
                  <a:lnTo>
                    <a:pt x="99" y="131"/>
                  </a:lnTo>
                  <a:lnTo>
                    <a:pt x="97" y="131"/>
                  </a:lnTo>
                  <a:lnTo>
                    <a:pt x="95" y="133"/>
                  </a:lnTo>
                  <a:lnTo>
                    <a:pt x="95" y="136"/>
                  </a:lnTo>
                  <a:lnTo>
                    <a:pt x="92" y="136"/>
                  </a:lnTo>
                  <a:lnTo>
                    <a:pt x="92" y="133"/>
                  </a:lnTo>
                  <a:lnTo>
                    <a:pt x="92" y="136"/>
                  </a:lnTo>
                  <a:lnTo>
                    <a:pt x="92" y="138"/>
                  </a:lnTo>
                  <a:lnTo>
                    <a:pt x="90" y="138"/>
                  </a:lnTo>
                  <a:lnTo>
                    <a:pt x="90" y="136"/>
                  </a:lnTo>
                  <a:lnTo>
                    <a:pt x="90" y="138"/>
                  </a:lnTo>
                  <a:lnTo>
                    <a:pt x="90" y="141"/>
                  </a:lnTo>
                  <a:lnTo>
                    <a:pt x="90" y="143"/>
                  </a:lnTo>
                  <a:lnTo>
                    <a:pt x="90" y="145"/>
                  </a:lnTo>
                  <a:lnTo>
                    <a:pt x="92" y="145"/>
                  </a:lnTo>
                  <a:lnTo>
                    <a:pt x="92" y="148"/>
                  </a:lnTo>
                  <a:lnTo>
                    <a:pt x="95" y="150"/>
                  </a:lnTo>
                  <a:lnTo>
                    <a:pt x="92" y="150"/>
                  </a:lnTo>
                  <a:lnTo>
                    <a:pt x="90" y="150"/>
                  </a:lnTo>
                  <a:lnTo>
                    <a:pt x="90" y="152"/>
                  </a:lnTo>
                  <a:lnTo>
                    <a:pt x="90" y="155"/>
                  </a:lnTo>
                  <a:lnTo>
                    <a:pt x="88" y="155"/>
                  </a:lnTo>
                  <a:lnTo>
                    <a:pt x="88" y="157"/>
                  </a:lnTo>
                  <a:lnTo>
                    <a:pt x="88" y="160"/>
                  </a:lnTo>
                  <a:lnTo>
                    <a:pt x="90" y="160"/>
                  </a:lnTo>
                  <a:lnTo>
                    <a:pt x="88" y="160"/>
                  </a:lnTo>
                  <a:lnTo>
                    <a:pt x="90" y="160"/>
                  </a:lnTo>
                  <a:lnTo>
                    <a:pt x="88" y="160"/>
                  </a:lnTo>
                  <a:lnTo>
                    <a:pt x="88" y="162"/>
                  </a:lnTo>
                  <a:lnTo>
                    <a:pt x="88" y="164"/>
                  </a:lnTo>
                  <a:lnTo>
                    <a:pt x="85" y="164"/>
                  </a:lnTo>
                  <a:lnTo>
                    <a:pt x="85" y="167"/>
                  </a:lnTo>
                  <a:lnTo>
                    <a:pt x="85" y="169"/>
                  </a:lnTo>
                  <a:lnTo>
                    <a:pt x="85" y="167"/>
                  </a:lnTo>
                  <a:lnTo>
                    <a:pt x="85" y="169"/>
                  </a:lnTo>
                  <a:lnTo>
                    <a:pt x="88" y="169"/>
                  </a:lnTo>
                  <a:lnTo>
                    <a:pt x="88" y="171"/>
                  </a:lnTo>
                  <a:lnTo>
                    <a:pt x="85" y="171"/>
                  </a:lnTo>
                  <a:lnTo>
                    <a:pt x="85" y="174"/>
                  </a:lnTo>
                  <a:lnTo>
                    <a:pt x="83" y="174"/>
                  </a:lnTo>
                  <a:lnTo>
                    <a:pt x="80" y="174"/>
                  </a:lnTo>
                  <a:lnTo>
                    <a:pt x="78" y="174"/>
                  </a:lnTo>
                  <a:lnTo>
                    <a:pt x="78" y="171"/>
                  </a:lnTo>
                  <a:lnTo>
                    <a:pt x="78" y="169"/>
                  </a:lnTo>
                  <a:lnTo>
                    <a:pt x="78" y="167"/>
                  </a:lnTo>
                  <a:lnTo>
                    <a:pt x="80" y="167"/>
                  </a:lnTo>
                  <a:lnTo>
                    <a:pt x="80" y="164"/>
                  </a:lnTo>
                  <a:lnTo>
                    <a:pt x="80" y="162"/>
                  </a:lnTo>
                  <a:lnTo>
                    <a:pt x="80" y="160"/>
                  </a:lnTo>
                  <a:lnTo>
                    <a:pt x="80" y="157"/>
                  </a:lnTo>
                  <a:lnTo>
                    <a:pt x="83" y="157"/>
                  </a:lnTo>
                  <a:lnTo>
                    <a:pt x="83" y="155"/>
                  </a:lnTo>
                  <a:lnTo>
                    <a:pt x="83" y="152"/>
                  </a:lnTo>
                  <a:lnTo>
                    <a:pt x="85" y="152"/>
                  </a:lnTo>
                  <a:lnTo>
                    <a:pt x="85" y="150"/>
                  </a:lnTo>
                  <a:lnTo>
                    <a:pt x="88" y="150"/>
                  </a:lnTo>
                  <a:lnTo>
                    <a:pt x="88" y="148"/>
                  </a:lnTo>
                  <a:lnTo>
                    <a:pt x="90" y="148"/>
                  </a:lnTo>
                  <a:lnTo>
                    <a:pt x="90" y="145"/>
                  </a:lnTo>
                  <a:lnTo>
                    <a:pt x="88" y="145"/>
                  </a:lnTo>
                  <a:lnTo>
                    <a:pt x="88" y="148"/>
                  </a:lnTo>
                  <a:lnTo>
                    <a:pt x="85" y="150"/>
                  </a:lnTo>
                  <a:lnTo>
                    <a:pt x="83" y="150"/>
                  </a:lnTo>
                  <a:lnTo>
                    <a:pt x="85" y="150"/>
                  </a:lnTo>
                  <a:lnTo>
                    <a:pt x="83" y="150"/>
                  </a:lnTo>
                  <a:lnTo>
                    <a:pt x="83" y="148"/>
                  </a:lnTo>
                  <a:lnTo>
                    <a:pt x="83" y="150"/>
                  </a:lnTo>
                  <a:lnTo>
                    <a:pt x="83" y="148"/>
                  </a:lnTo>
                  <a:lnTo>
                    <a:pt x="83" y="145"/>
                  </a:lnTo>
                  <a:lnTo>
                    <a:pt x="83" y="143"/>
                  </a:lnTo>
                  <a:lnTo>
                    <a:pt x="85" y="143"/>
                  </a:lnTo>
                  <a:lnTo>
                    <a:pt x="85" y="141"/>
                  </a:lnTo>
                  <a:lnTo>
                    <a:pt x="83" y="141"/>
                  </a:lnTo>
                  <a:lnTo>
                    <a:pt x="83" y="143"/>
                  </a:lnTo>
                  <a:lnTo>
                    <a:pt x="80" y="143"/>
                  </a:lnTo>
                  <a:lnTo>
                    <a:pt x="83" y="141"/>
                  </a:lnTo>
                  <a:lnTo>
                    <a:pt x="83" y="138"/>
                  </a:lnTo>
                  <a:lnTo>
                    <a:pt x="85" y="138"/>
                  </a:lnTo>
                  <a:lnTo>
                    <a:pt x="85" y="136"/>
                  </a:lnTo>
                  <a:lnTo>
                    <a:pt x="85" y="138"/>
                  </a:lnTo>
                  <a:lnTo>
                    <a:pt x="85" y="136"/>
                  </a:lnTo>
                  <a:lnTo>
                    <a:pt x="83" y="136"/>
                  </a:lnTo>
                  <a:lnTo>
                    <a:pt x="85" y="136"/>
                  </a:lnTo>
                  <a:lnTo>
                    <a:pt x="83" y="136"/>
                  </a:lnTo>
                  <a:lnTo>
                    <a:pt x="83" y="138"/>
                  </a:lnTo>
                  <a:lnTo>
                    <a:pt x="83" y="141"/>
                  </a:lnTo>
                  <a:lnTo>
                    <a:pt x="83" y="138"/>
                  </a:lnTo>
                  <a:lnTo>
                    <a:pt x="83" y="141"/>
                  </a:lnTo>
                  <a:lnTo>
                    <a:pt x="80" y="141"/>
                  </a:lnTo>
                  <a:lnTo>
                    <a:pt x="83" y="141"/>
                  </a:lnTo>
                  <a:lnTo>
                    <a:pt x="80" y="141"/>
                  </a:lnTo>
                  <a:lnTo>
                    <a:pt x="80" y="138"/>
                  </a:lnTo>
                  <a:lnTo>
                    <a:pt x="83" y="138"/>
                  </a:lnTo>
                  <a:lnTo>
                    <a:pt x="83" y="136"/>
                  </a:lnTo>
                  <a:lnTo>
                    <a:pt x="83" y="138"/>
                  </a:lnTo>
                  <a:lnTo>
                    <a:pt x="83" y="136"/>
                  </a:lnTo>
                  <a:lnTo>
                    <a:pt x="83" y="133"/>
                  </a:lnTo>
                  <a:lnTo>
                    <a:pt x="85" y="133"/>
                  </a:lnTo>
                  <a:lnTo>
                    <a:pt x="88" y="133"/>
                  </a:lnTo>
                  <a:lnTo>
                    <a:pt x="85" y="133"/>
                  </a:lnTo>
                  <a:lnTo>
                    <a:pt x="88" y="133"/>
                  </a:lnTo>
                  <a:lnTo>
                    <a:pt x="85" y="133"/>
                  </a:lnTo>
                  <a:lnTo>
                    <a:pt x="88" y="133"/>
                  </a:lnTo>
                  <a:lnTo>
                    <a:pt x="85" y="133"/>
                  </a:lnTo>
                  <a:lnTo>
                    <a:pt x="85" y="131"/>
                  </a:lnTo>
                  <a:lnTo>
                    <a:pt x="88" y="131"/>
                  </a:lnTo>
                  <a:lnTo>
                    <a:pt x="88" y="129"/>
                  </a:lnTo>
                  <a:lnTo>
                    <a:pt x="85" y="129"/>
                  </a:lnTo>
                  <a:lnTo>
                    <a:pt x="85" y="131"/>
                  </a:lnTo>
                  <a:lnTo>
                    <a:pt x="83" y="131"/>
                  </a:lnTo>
                  <a:lnTo>
                    <a:pt x="85" y="131"/>
                  </a:lnTo>
                  <a:lnTo>
                    <a:pt x="85" y="129"/>
                  </a:lnTo>
                  <a:lnTo>
                    <a:pt x="85" y="126"/>
                  </a:lnTo>
                  <a:lnTo>
                    <a:pt x="88" y="126"/>
                  </a:lnTo>
                  <a:lnTo>
                    <a:pt x="88" y="124"/>
                  </a:lnTo>
                  <a:lnTo>
                    <a:pt x="85" y="124"/>
                  </a:lnTo>
                  <a:lnTo>
                    <a:pt x="85" y="126"/>
                  </a:lnTo>
                  <a:lnTo>
                    <a:pt x="85" y="124"/>
                  </a:lnTo>
                  <a:lnTo>
                    <a:pt x="85" y="122"/>
                  </a:lnTo>
                  <a:lnTo>
                    <a:pt x="83" y="124"/>
                  </a:lnTo>
                  <a:lnTo>
                    <a:pt x="85" y="124"/>
                  </a:lnTo>
                  <a:lnTo>
                    <a:pt x="83" y="124"/>
                  </a:lnTo>
                  <a:lnTo>
                    <a:pt x="83" y="122"/>
                  </a:lnTo>
                  <a:lnTo>
                    <a:pt x="85" y="122"/>
                  </a:lnTo>
                  <a:lnTo>
                    <a:pt x="83" y="122"/>
                  </a:lnTo>
                  <a:lnTo>
                    <a:pt x="85" y="122"/>
                  </a:lnTo>
                  <a:lnTo>
                    <a:pt x="85" y="119"/>
                  </a:lnTo>
                  <a:lnTo>
                    <a:pt x="85" y="122"/>
                  </a:lnTo>
                  <a:lnTo>
                    <a:pt x="85" y="119"/>
                  </a:lnTo>
                  <a:lnTo>
                    <a:pt x="88" y="119"/>
                  </a:lnTo>
                  <a:lnTo>
                    <a:pt x="88" y="122"/>
                  </a:lnTo>
                  <a:lnTo>
                    <a:pt x="88" y="119"/>
                  </a:lnTo>
                  <a:lnTo>
                    <a:pt x="90" y="119"/>
                  </a:lnTo>
                  <a:lnTo>
                    <a:pt x="88" y="119"/>
                  </a:lnTo>
                  <a:lnTo>
                    <a:pt x="85" y="119"/>
                  </a:lnTo>
                  <a:lnTo>
                    <a:pt x="88" y="119"/>
                  </a:lnTo>
                  <a:lnTo>
                    <a:pt x="85" y="119"/>
                  </a:lnTo>
                  <a:lnTo>
                    <a:pt x="88" y="119"/>
                  </a:lnTo>
                  <a:lnTo>
                    <a:pt x="88" y="117"/>
                  </a:lnTo>
                  <a:lnTo>
                    <a:pt x="88" y="114"/>
                  </a:lnTo>
                  <a:lnTo>
                    <a:pt x="90" y="114"/>
                  </a:lnTo>
                  <a:lnTo>
                    <a:pt x="92" y="114"/>
                  </a:lnTo>
                  <a:lnTo>
                    <a:pt x="95" y="114"/>
                  </a:lnTo>
                  <a:lnTo>
                    <a:pt x="97" y="117"/>
                  </a:lnTo>
                  <a:lnTo>
                    <a:pt x="97" y="114"/>
                  </a:lnTo>
                  <a:lnTo>
                    <a:pt x="99" y="114"/>
                  </a:lnTo>
                  <a:lnTo>
                    <a:pt x="99" y="112"/>
                  </a:lnTo>
                  <a:lnTo>
                    <a:pt x="102" y="112"/>
                  </a:lnTo>
                  <a:lnTo>
                    <a:pt x="102" y="110"/>
                  </a:lnTo>
                  <a:lnTo>
                    <a:pt x="99" y="112"/>
                  </a:lnTo>
                  <a:lnTo>
                    <a:pt x="99" y="114"/>
                  </a:lnTo>
                  <a:lnTo>
                    <a:pt x="97" y="114"/>
                  </a:lnTo>
                  <a:lnTo>
                    <a:pt x="95" y="114"/>
                  </a:lnTo>
                  <a:lnTo>
                    <a:pt x="92" y="114"/>
                  </a:lnTo>
                  <a:lnTo>
                    <a:pt x="90" y="114"/>
                  </a:lnTo>
                  <a:lnTo>
                    <a:pt x="90" y="112"/>
                  </a:lnTo>
                  <a:lnTo>
                    <a:pt x="90" y="114"/>
                  </a:lnTo>
                  <a:lnTo>
                    <a:pt x="90" y="112"/>
                  </a:lnTo>
                  <a:lnTo>
                    <a:pt x="88" y="114"/>
                  </a:lnTo>
                  <a:lnTo>
                    <a:pt x="88" y="112"/>
                  </a:lnTo>
                  <a:lnTo>
                    <a:pt x="90" y="112"/>
                  </a:lnTo>
                  <a:lnTo>
                    <a:pt x="92" y="112"/>
                  </a:lnTo>
                  <a:lnTo>
                    <a:pt x="95" y="112"/>
                  </a:lnTo>
                  <a:lnTo>
                    <a:pt x="95" y="110"/>
                  </a:lnTo>
                  <a:lnTo>
                    <a:pt x="92" y="110"/>
                  </a:lnTo>
                  <a:lnTo>
                    <a:pt x="92" y="112"/>
                  </a:lnTo>
                  <a:lnTo>
                    <a:pt x="92" y="110"/>
                  </a:lnTo>
                  <a:lnTo>
                    <a:pt x="90" y="110"/>
                  </a:lnTo>
                  <a:lnTo>
                    <a:pt x="92" y="110"/>
                  </a:lnTo>
                  <a:lnTo>
                    <a:pt x="90" y="110"/>
                  </a:lnTo>
                  <a:lnTo>
                    <a:pt x="92" y="110"/>
                  </a:lnTo>
                  <a:lnTo>
                    <a:pt x="92" y="107"/>
                  </a:lnTo>
                  <a:lnTo>
                    <a:pt x="92" y="105"/>
                  </a:lnTo>
                  <a:lnTo>
                    <a:pt x="95" y="105"/>
                  </a:lnTo>
                  <a:lnTo>
                    <a:pt x="92" y="105"/>
                  </a:lnTo>
                  <a:lnTo>
                    <a:pt x="95" y="105"/>
                  </a:lnTo>
                  <a:lnTo>
                    <a:pt x="95" y="103"/>
                  </a:lnTo>
                  <a:lnTo>
                    <a:pt x="95" y="105"/>
                  </a:lnTo>
                  <a:lnTo>
                    <a:pt x="95" y="103"/>
                  </a:lnTo>
                  <a:lnTo>
                    <a:pt x="97" y="103"/>
                  </a:lnTo>
                  <a:lnTo>
                    <a:pt x="99" y="103"/>
                  </a:lnTo>
                  <a:lnTo>
                    <a:pt x="102" y="103"/>
                  </a:lnTo>
                  <a:lnTo>
                    <a:pt x="99" y="103"/>
                  </a:lnTo>
                  <a:lnTo>
                    <a:pt x="97" y="103"/>
                  </a:lnTo>
                  <a:lnTo>
                    <a:pt x="95" y="103"/>
                  </a:lnTo>
                  <a:lnTo>
                    <a:pt x="97" y="103"/>
                  </a:lnTo>
                  <a:lnTo>
                    <a:pt x="97" y="100"/>
                  </a:lnTo>
                  <a:lnTo>
                    <a:pt x="99" y="98"/>
                  </a:lnTo>
                  <a:lnTo>
                    <a:pt x="99" y="95"/>
                  </a:lnTo>
                  <a:lnTo>
                    <a:pt x="102" y="95"/>
                  </a:lnTo>
                  <a:lnTo>
                    <a:pt x="99" y="95"/>
                  </a:lnTo>
                  <a:lnTo>
                    <a:pt x="97" y="95"/>
                  </a:lnTo>
                  <a:lnTo>
                    <a:pt x="97" y="93"/>
                  </a:lnTo>
                  <a:lnTo>
                    <a:pt x="95" y="95"/>
                  </a:lnTo>
                  <a:lnTo>
                    <a:pt x="95" y="93"/>
                  </a:lnTo>
                  <a:lnTo>
                    <a:pt x="95" y="95"/>
                  </a:lnTo>
                  <a:lnTo>
                    <a:pt x="95" y="93"/>
                  </a:lnTo>
                  <a:lnTo>
                    <a:pt x="92" y="93"/>
                  </a:lnTo>
                  <a:lnTo>
                    <a:pt x="92" y="95"/>
                  </a:lnTo>
                  <a:lnTo>
                    <a:pt x="95" y="95"/>
                  </a:lnTo>
                  <a:lnTo>
                    <a:pt x="97" y="95"/>
                  </a:lnTo>
                  <a:lnTo>
                    <a:pt x="99" y="95"/>
                  </a:lnTo>
                  <a:lnTo>
                    <a:pt x="99" y="98"/>
                  </a:lnTo>
                  <a:lnTo>
                    <a:pt x="97" y="98"/>
                  </a:lnTo>
                  <a:lnTo>
                    <a:pt x="97" y="100"/>
                  </a:lnTo>
                  <a:lnTo>
                    <a:pt x="95" y="100"/>
                  </a:lnTo>
                  <a:lnTo>
                    <a:pt x="97" y="100"/>
                  </a:lnTo>
                  <a:lnTo>
                    <a:pt x="95" y="100"/>
                  </a:lnTo>
                  <a:lnTo>
                    <a:pt x="95" y="103"/>
                  </a:lnTo>
                  <a:lnTo>
                    <a:pt x="92" y="103"/>
                  </a:lnTo>
                  <a:lnTo>
                    <a:pt x="92" y="105"/>
                  </a:lnTo>
                  <a:lnTo>
                    <a:pt x="90" y="105"/>
                  </a:lnTo>
                  <a:lnTo>
                    <a:pt x="88" y="107"/>
                  </a:lnTo>
                  <a:lnTo>
                    <a:pt x="88" y="110"/>
                  </a:lnTo>
                  <a:lnTo>
                    <a:pt x="85" y="110"/>
                  </a:lnTo>
                  <a:lnTo>
                    <a:pt x="85" y="112"/>
                  </a:lnTo>
                  <a:lnTo>
                    <a:pt x="83" y="112"/>
                  </a:lnTo>
                  <a:lnTo>
                    <a:pt x="80" y="112"/>
                  </a:lnTo>
                  <a:lnTo>
                    <a:pt x="78" y="112"/>
                  </a:lnTo>
                  <a:lnTo>
                    <a:pt x="78" y="110"/>
                  </a:lnTo>
                  <a:lnTo>
                    <a:pt x="80" y="110"/>
                  </a:lnTo>
                  <a:lnTo>
                    <a:pt x="78" y="110"/>
                  </a:lnTo>
                  <a:lnTo>
                    <a:pt x="76" y="110"/>
                  </a:lnTo>
                  <a:lnTo>
                    <a:pt x="73" y="110"/>
                  </a:lnTo>
                  <a:lnTo>
                    <a:pt x="73" y="107"/>
                  </a:lnTo>
                  <a:lnTo>
                    <a:pt x="71" y="107"/>
                  </a:lnTo>
                  <a:lnTo>
                    <a:pt x="71" y="105"/>
                  </a:lnTo>
                  <a:lnTo>
                    <a:pt x="73" y="105"/>
                  </a:lnTo>
                  <a:lnTo>
                    <a:pt x="73" y="103"/>
                  </a:lnTo>
                  <a:lnTo>
                    <a:pt x="73" y="105"/>
                  </a:lnTo>
                  <a:lnTo>
                    <a:pt x="73" y="103"/>
                  </a:lnTo>
                  <a:lnTo>
                    <a:pt x="73" y="105"/>
                  </a:lnTo>
                  <a:lnTo>
                    <a:pt x="76" y="103"/>
                  </a:lnTo>
                  <a:lnTo>
                    <a:pt x="76" y="105"/>
                  </a:lnTo>
                  <a:lnTo>
                    <a:pt x="73" y="105"/>
                  </a:lnTo>
                  <a:lnTo>
                    <a:pt x="76" y="105"/>
                  </a:lnTo>
                  <a:lnTo>
                    <a:pt x="78" y="103"/>
                  </a:lnTo>
                  <a:lnTo>
                    <a:pt x="80" y="103"/>
                  </a:lnTo>
                  <a:lnTo>
                    <a:pt x="83" y="103"/>
                  </a:lnTo>
                  <a:lnTo>
                    <a:pt x="85" y="103"/>
                  </a:lnTo>
                  <a:lnTo>
                    <a:pt x="83" y="103"/>
                  </a:lnTo>
                  <a:lnTo>
                    <a:pt x="80" y="103"/>
                  </a:lnTo>
                  <a:lnTo>
                    <a:pt x="78" y="103"/>
                  </a:lnTo>
                  <a:lnTo>
                    <a:pt x="78" y="100"/>
                  </a:lnTo>
                  <a:lnTo>
                    <a:pt x="78" y="103"/>
                  </a:lnTo>
                  <a:lnTo>
                    <a:pt x="76" y="103"/>
                  </a:lnTo>
                  <a:lnTo>
                    <a:pt x="73" y="103"/>
                  </a:lnTo>
                  <a:lnTo>
                    <a:pt x="71" y="103"/>
                  </a:lnTo>
                  <a:lnTo>
                    <a:pt x="69" y="103"/>
                  </a:lnTo>
                  <a:lnTo>
                    <a:pt x="66" y="103"/>
                  </a:lnTo>
                  <a:lnTo>
                    <a:pt x="64" y="103"/>
                  </a:lnTo>
                  <a:lnTo>
                    <a:pt x="64" y="100"/>
                  </a:lnTo>
                  <a:lnTo>
                    <a:pt x="66" y="100"/>
                  </a:lnTo>
                  <a:lnTo>
                    <a:pt x="66" y="98"/>
                  </a:lnTo>
                  <a:lnTo>
                    <a:pt x="69" y="98"/>
                  </a:lnTo>
                  <a:lnTo>
                    <a:pt x="69" y="100"/>
                  </a:lnTo>
                  <a:lnTo>
                    <a:pt x="69" y="98"/>
                  </a:lnTo>
                  <a:lnTo>
                    <a:pt x="69" y="100"/>
                  </a:lnTo>
                  <a:lnTo>
                    <a:pt x="69" y="98"/>
                  </a:lnTo>
                  <a:lnTo>
                    <a:pt x="71" y="98"/>
                  </a:lnTo>
                  <a:lnTo>
                    <a:pt x="73" y="98"/>
                  </a:lnTo>
                  <a:lnTo>
                    <a:pt x="73" y="100"/>
                  </a:lnTo>
                  <a:lnTo>
                    <a:pt x="76" y="100"/>
                  </a:lnTo>
                  <a:lnTo>
                    <a:pt x="76" y="98"/>
                  </a:lnTo>
                  <a:lnTo>
                    <a:pt x="76" y="100"/>
                  </a:lnTo>
                  <a:lnTo>
                    <a:pt x="76" y="98"/>
                  </a:lnTo>
                  <a:lnTo>
                    <a:pt x="76" y="100"/>
                  </a:lnTo>
                  <a:lnTo>
                    <a:pt x="76" y="98"/>
                  </a:lnTo>
                  <a:lnTo>
                    <a:pt x="73" y="98"/>
                  </a:lnTo>
                  <a:lnTo>
                    <a:pt x="76" y="98"/>
                  </a:lnTo>
                  <a:lnTo>
                    <a:pt x="78" y="98"/>
                  </a:lnTo>
                  <a:lnTo>
                    <a:pt x="76" y="98"/>
                  </a:lnTo>
                  <a:lnTo>
                    <a:pt x="76" y="95"/>
                  </a:lnTo>
                  <a:lnTo>
                    <a:pt x="76" y="98"/>
                  </a:lnTo>
                  <a:lnTo>
                    <a:pt x="76" y="95"/>
                  </a:lnTo>
                  <a:lnTo>
                    <a:pt x="78" y="95"/>
                  </a:lnTo>
                  <a:lnTo>
                    <a:pt x="80" y="95"/>
                  </a:lnTo>
                  <a:lnTo>
                    <a:pt x="80" y="93"/>
                  </a:lnTo>
                  <a:lnTo>
                    <a:pt x="83" y="93"/>
                  </a:lnTo>
                  <a:lnTo>
                    <a:pt x="80" y="93"/>
                  </a:lnTo>
                  <a:lnTo>
                    <a:pt x="80" y="95"/>
                  </a:lnTo>
                  <a:lnTo>
                    <a:pt x="80" y="93"/>
                  </a:lnTo>
                  <a:lnTo>
                    <a:pt x="80" y="95"/>
                  </a:lnTo>
                  <a:lnTo>
                    <a:pt x="80" y="93"/>
                  </a:lnTo>
                  <a:lnTo>
                    <a:pt x="78" y="93"/>
                  </a:lnTo>
                  <a:lnTo>
                    <a:pt x="80" y="93"/>
                  </a:lnTo>
                  <a:lnTo>
                    <a:pt x="78" y="93"/>
                  </a:lnTo>
                  <a:lnTo>
                    <a:pt x="76" y="93"/>
                  </a:lnTo>
                  <a:lnTo>
                    <a:pt x="73" y="93"/>
                  </a:lnTo>
                  <a:lnTo>
                    <a:pt x="73" y="91"/>
                  </a:lnTo>
                  <a:lnTo>
                    <a:pt x="76" y="91"/>
                  </a:lnTo>
                  <a:lnTo>
                    <a:pt x="76" y="93"/>
                  </a:lnTo>
                  <a:lnTo>
                    <a:pt x="76" y="91"/>
                  </a:lnTo>
                  <a:lnTo>
                    <a:pt x="76" y="93"/>
                  </a:lnTo>
                  <a:lnTo>
                    <a:pt x="76" y="91"/>
                  </a:lnTo>
                  <a:lnTo>
                    <a:pt x="76" y="88"/>
                  </a:lnTo>
                  <a:lnTo>
                    <a:pt x="78" y="88"/>
                  </a:lnTo>
                  <a:lnTo>
                    <a:pt x="76" y="88"/>
                  </a:lnTo>
                  <a:lnTo>
                    <a:pt x="76" y="86"/>
                  </a:lnTo>
                  <a:lnTo>
                    <a:pt x="78" y="86"/>
                  </a:lnTo>
                  <a:lnTo>
                    <a:pt x="80" y="86"/>
                  </a:lnTo>
                  <a:lnTo>
                    <a:pt x="80" y="88"/>
                  </a:lnTo>
                  <a:lnTo>
                    <a:pt x="83" y="88"/>
                  </a:lnTo>
                  <a:lnTo>
                    <a:pt x="85" y="88"/>
                  </a:lnTo>
                  <a:lnTo>
                    <a:pt x="88" y="86"/>
                  </a:lnTo>
                  <a:lnTo>
                    <a:pt x="85" y="86"/>
                  </a:lnTo>
                  <a:lnTo>
                    <a:pt x="85" y="88"/>
                  </a:lnTo>
                  <a:lnTo>
                    <a:pt x="83" y="88"/>
                  </a:lnTo>
                  <a:lnTo>
                    <a:pt x="83" y="86"/>
                  </a:lnTo>
                  <a:lnTo>
                    <a:pt x="80" y="86"/>
                  </a:lnTo>
                  <a:lnTo>
                    <a:pt x="83" y="86"/>
                  </a:lnTo>
                  <a:lnTo>
                    <a:pt x="80" y="86"/>
                  </a:lnTo>
                  <a:lnTo>
                    <a:pt x="80" y="84"/>
                  </a:lnTo>
                  <a:lnTo>
                    <a:pt x="80" y="86"/>
                  </a:lnTo>
                  <a:lnTo>
                    <a:pt x="78" y="86"/>
                  </a:lnTo>
                  <a:lnTo>
                    <a:pt x="78" y="84"/>
                  </a:lnTo>
                  <a:lnTo>
                    <a:pt x="78" y="81"/>
                  </a:lnTo>
                  <a:lnTo>
                    <a:pt x="80" y="81"/>
                  </a:lnTo>
                  <a:lnTo>
                    <a:pt x="83" y="81"/>
                  </a:lnTo>
                  <a:lnTo>
                    <a:pt x="85" y="81"/>
                  </a:lnTo>
                  <a:lnTo>
                    <a:pt x="88" y="81"/>
                  </a:lnTo>
                  <a:lnTo>
                    <a:pt x="90" y="81"/>
                  </a:lnTo>
                  <a:lnTo>
                    <a:pt x="92" y="81"/>
                  </a:lnTo>
                  <a:lnTo>
                    <a:pt x="90" y="81"/>
                  </a:lnTo>
                  <a:lnTo>
                    <a:pt x="88" y="81"/>
                  </a:lnTo>
                  <a:lnTo>
                    <a:pt x="85" y="81"/>
                  </a:lnTo>
                  <a:lnTo>
                    <a:pt x="85" y="79"/>
                  </a:lnTo>
                  <a:lnTo>
                    <a:pt x="83" y="79"/>
                  </a:lnTo>
                  <a:lnTo>
                    <a:pt x="80" y="79"/>
                  </a:lnTo>
                  <a:lnTo>
                    <a:pt x="80" y="76"/>
                  </a:lnTo>
                  <a:lnTo>
                    <a:pt x="83" y="76"/>
                  </a:lnTo>
                  <a:lnTo>
                    <a:pt x="83" y="74"/>
                  </a:lnTo>
                  <a:lnTo>
                    <a:pt x="85" y="74"/>
                  </a:lnTo>
                  <a:lnTo>
                    <a:pt x="85" y="72"/>
                  </a:lnTo>
                  <a:lnTo>
                    <a:pt x="88" y="72"/>
                  </a:lnTo>
                  <a:lnTo>
                    <a:pt x="88" y="74"/>
                  </a:lnTo>
                  <a:lnTo>
                    <a:pt x="90" y="74"/>
                  </a:lnTo>
                  <a:lnTo>
                    <a:pt x="90" y="76"/>
                  </a:lnTo>
                  <a:lnTo>
                    <a:pt x="90" y="74"/>
                  </a:lnTo>
                  <a:lnTo>
                    <a:pt x="88" y="74"/>
                  </a:lnTo>
                  <a:lnTo>
                    <a:pt x="88" y="72"/>
                  </a:lnTo>
                  <a:lnTo>
                    <a:pt x="90" y="72"/>
                  </a:lnTo>
                  <a:lnTo>
                    <a:pt x="90" y="69"/>
                  </a:lnTo>
                  <a:lnTo>
                    <a:pt x="88" y="69"/>
                  </a:lnTo>
                  <a:lnTo>
                    <a:pt x="88" y="72"/>
                  </a:lnTo>
                  <a:lnTo>
                    <a:pt x="85" y="72"/>
                  </a:lnTo>
                  <a:lnTo>
                    <a:pt x="83" y="72"/>
                  </a:lnTo>
                  <a:lnTo>
                    <a:pt x="80" y="72"/>
                  </a:lnTo>
                  <a:lnTo>
                    <a:pt x="80" y="69"/>
                  </a:lnTo>
                  <a:lnTo>
                    <a:pt x="83" y="69"/>
                  </a:lnTo>
                  <a:lnTo>
                    <a:pt x="85" y="69"/>
                  </a:lnTo>
                  <a:lnTo>
                    <a:pt x="88" y="69"/>
                  </a:lnTo>
                  <a:lnTo>
                    <a:pt x="88" y="67"/>
                  </a:lnTo>
                  <a:lnTo>
                    <a:pt x="90" y="67"/>
                  </a:lnTo>
                  <a:lnTo>
                    <a:pt x="90" y="65"/>
                  </a:lnTo>
                  <a:lnTo>
                    <a:pt x="88" y="65"/>
                  </a:lnTo>
                  <a:lnTo>
                    <a:pt x="88" y="67"/>
                  </a:lnTo>
                  <a:lnTo>
                    <a:pt x="85" y="67"/>
                  </a:lnTo>
                  <a:lnTo>
                    <a:pt x="85" y="69"/>
                  </a:lnTo>
                  <a:lnTo>
                    <a:pt x="85" y="67"/>
                  </a:lnTo>
                  <a:lnTo>
                    <a:pt x="85" y="69"/>
                  </a:lnTo>
                  <a:lnTo>
                    <a:pt x="85" y="67"/>
                  </a:lnTo>
                  <a:lnTo>
                    <a:pt x="85" y="69"/>
                  </a:lnTo>
                  <a:lnTo>
                    <a:pt x="83" y="69"/>
                  </a:lnTo>
                  <a:lnTo>
                    <a:pt x="83" y="67"/>
                  </a:lnTo>
                  <a:lnTo>
                    <a:pt x="85" y="67"/>
                  </a:lnTo>
                  <a:lnTo>
                    <a:pt x="83" y="67"/>
                  </a:lnTo>
                  <a:lnTo>
                    <a:pt x="85" y="67"/>
                  </a:lnTo>
                  <a:lnTo>
                    <a:pt x="83" y="67"/>
                  </a:lnTo>
                  <a:lnTo>
                    <a:pt x="83" y="65"/>
                  </a:lnTo>
                  <a:lnTo>
                    <a:pt x="83" y="67"/>
                  </a:lnTo>
                  <a:lnTo>
                    <a:pt x="80" y="67"/>
                  </a:lnTo>
                  <a:lnTo>
                    <a:pt x="80" y="69"/>
                  </a:lnTo>
                  <a:lnTo>
                    <a:pt x="78" y="69"/>
                  </a:lnTo>
                  <a:lnTo>
                    <a:pt x="78" y="67"/>
                  </a:lnTo>
                  <a:lnTo>
                    <a:pt x="76" y="67"/>
                  </a:lnTo>
                  <a:lnTo>
                    <a:pt x="78" y="67"/>
                  </a:lnTo>
                  <a:lnTo>
                    <a:pt x="76" y="67"/>
                  </a:lnTo>
                  <a:lnTo>
                    <a:pt x="78" y="67"/>
                  </a:lnTo>
                  <a:lnTo>
                    <a:pt x="78" y="65"/>
                  </a:lnTo>
                  <a:lnTo>
                    <a:pt x="76" y="65"/>
                  </a:lnTo>
                  <a:lnTo>
                    <a:pt x="78" y="65"/>
                  </a:lnTo>
                  <a:lnTo>
                    <a:pt x="76" y="65"/>
                  </a:lnTo>
                  <a:lnTo>
                    <a:pt x="76" y="62"/>
                  </a:lnTo>
                  <a:lnTo>
                    <a:pt x="76" y="60"/>
                  </a:lnTo>
                  <a:lnTo>
                    <a:pt x="76" y="57"/>
                  </a:lnTo>
                  <a:lnTo>
                    <a:pt x="78" y="57"/>
                  </a:lnTo>
                  <a:lnTo>
                    <a:pt x="76" y="57"/>
                  </a:lnTo>
                  <a:lnTo>
                    <a:pt x="78" y="57"/>
                  </a:lnTo>
                  <a:lnTo>
                    <a:pt x="80" y="57"/>
                  </a:lnTo>
                  <a:lnTo>
                    <a:pt x="80" y="60"/>
                  </a:lnTo>
                  <a:lnTo>
                    <a:pt x="83" y="60"/>
                  </a:lnTo>
                  <a:lnTo>
                    <a:pt x="83" y="57"/>
                  </a:lnTo>
                  <a:lnTo>
                    <a:pt x="83" y="60"/>
                  </a:lnTo>
                  <a:lnTo>
                    <a:pt x="83" y="57"/>
                  </a:lnTo>
                  <a:lnTo>
                    <a:pt x="83" y="60"/>
                  </a:lnTo>
                  <a:lnTo>
                    <a:pt x="85" y="60"/>
                  </a:lnTo>
                  <a:lnTo>
                    <a:pt x="88" y="60"/>
                  </a:lnTo>
                  <a:lnTo>
                    <a:pt x="88" y="57"/>
                  </a:lnTo>
                  <a:lnTo>
                    <a:pt x="85" y="57"/>
                  </a:lnTo>
                  <a:lnTo>
                    <a:pt x="83" y="57"/>
                  </a:lnTo>
                  <a:lnTo>
                    <a:pt x="80" y="57"/>
                  </a:lnTo>
                  <a:lnTo>
                    <a:pt x="80" y="55"/>
                  </a:lnTo>
                  <a:lnTo>
                    <a:pt x="78" y="55"/>
                  </a:lnTo>
                  <a:lnTo>
                    <a:pt x="78" y="53"/>
                  </a:lnTo>
                  <a:lnTo>
                    <a:pt x="78" y="50"/>
                  </a:lnTo>
                  <a:lnTo>
                    <a:pt x="80" y="50"/>
                  </a:lnTo>
                  <a:lnTo>
                    <a:pt x="83" y="50"/>
                  </a:lnTo>
                  <a:lnTo>
                    <a:pt x="80" y="50"/>
                  </a:lnTo>
                  <a:lnTo>
                    <a:pt x="80" y="48"/>
                  </a:lnTo>
                  <a:lnTo>
                    <a:pt x="78" y="48"/>
                  </a:lnTo>
                  <a:lnTo>
                    <a:pt x="78" y="46"/>
                  </a:lnTo>
                  <a:lnTo>
                    <a:pt x="78" y="43"/>
                  </a:lnTo>
                  <a:lnTo>
                    <a:pt x="78" y="41"/>
                  </a:lnTo>
                  <a:lnTo>
                    <a:pt x="80" y="41"/>
                  </a:lnTo>
                  <a:lnTo>
                    <a:pt x="80" y="43"/>
                  </a:lnTo>
                  <a:lnTo>
                    <a:pt x="83" y="43"/>
                  </a:lnTo>
                  <a:lnTo>
                    <a:pt x="83" y="46"/>
                  </a:lnTo>
                  <a:lnTo>
                    <a:pt x="83" y="48"/>
                  </a:lnTo>
                  <a:lnTo>
                    <a:pt x="85" y="48"/>
                  </a:lnTo>
                  <a:lnTo>
                    <a:pt x="85" y="46"/>
                  </a:lnTo>
                  <a:lnTo>
                    <a:pt x="83" y="46"/>
                  </a:lnTo>
                  <a:lnTo>
                    <a:pt x="85" y="46"/>
                  </a:lnTo>
                  <a:lnTo>
                    <a:pt x="85" y="43"/>
                  </a:lnTo>
                  <a:lnTo>
                    <a:pt x="83" y="43"/>
                  </a:lnTo>
                  <a:lnTo>
                    <a:pt x="83" y="41"/>
                  </a:lnTo>
                  <a:lnTo>
                    <a:pt x="83" y="38"/>
                  </a:lnTo>
                  <a:lnTo>
                    <a:pt x="85" y="38"/>
                  </a:lnTo>
                  <a:lnTo>
                    <a:pt x="85" y="41"/>
                  </a:lnTo>
                  <a:lnTo>
                    <a:pt x="88" y="41"/>
                  </a:lnTo>
                  <a:lnTo>
                    <a:pt x="88" y="43"/>
                  </a:lnTo>
                  <a:lnTo>
                    <a:pt x="90" y="43"/>
                  </a:lnTo>
                  <a:lnTo>
                    <a:pt x="88" y="41"/>
                  </a:lnTo>
                  <a:lnTo>
                    <a:pt x="90" y="41"/>
                  </a:lnTo>
                  <a:lnTo>
                    <a:pt x="90" y="38"/>
                  </a:lnTo>
                  <a:lnTo>
                    <a:pt x="90" y="41"/>
                  </a:lnTo>
                  <a:lnTo>
                    <a:pt x="92" y="41"/>
                  </a:lnTo>
                  <a:lnTo>
                    <a:pt x="95" y="41"/>
                  </a:lnTo>
                  <a:lnTo>
                    <a:pt x="95" y="43"/>
                  </a:lnTo>
                  <a:lnTo>
                    <a:pt x="97" y="43"/>
                  </a:lnTo>
                  <a:lnTo>
                    <a:pt x="97" y="41"/>
                  </a:lnTo>
                  <a:lnTo>
                    <a:pt x="95" y="41"/>
                  </a:lnTo>
                  <a:lnTo>
                    <a:pt x="92" y="41"/>
                  </a:lnTo>
                  <a:lnTo>
                    <a:pt x="92" y="38"/>
                  </a:lnTo>
                  <a:lnTo>
                    <a:pt x="90" y="38"/>
                  </a:lnTo>
                  <a:lnTo>
                    <a:pt x="92" y="38"/>
                  </a:lnTo>
                  <a:lnTo>
                    <a:pt x="95" y="38"/>
                  </a:lnTo>
                  <a:lnTo>
                    <a:pt x="97" y="38"/>
                  </a:lnTo>
                  <a:lnTo>
                    <a:pt x="97" y="41"/>
                  </a:lnTo>
                  <a:lnTo>
                    <a:pt x="99" y="41"/>
                  </a:lnTo>
                  <a:lnTo>
                    <a:pt x="102" y="43"/>
                  </a:lnTo>
                  <a:lnTo>
                    <a:pt x="102" y="41"/>
                  </a:lnTo>
                  <a:lnTo>
                    <a:pt x="99" y="41"/>
                  </a:lnTo>
                  <a:lnTo>
                    <a:pt x="97" y="41"/>
                  </a:lnTo>
                  <a:lnTo>
                    <a:pt x="97" y="38"/>
                  </a:lnTo>
                  <a:lnTo>
                    <a:pt x="97" y="36"/>
                  </a:lnTo>
                  <a:lnTo>
                    <a:pt x="95" y="36"/>
                  </a:lnTo>
                  <a:lnTo>
                    <a:pt x="97" y="36"/>
                  </a:lnTo>
                  <a:lnTo>
                    <a:pt x="95" y="36"/>
                  </a:lnTo>
                  <a:lnTo>
                    <a:pt x="92" y="36"/>
                  </a:lnTo>
                  <a:lnTo>
                    <a:pt x="92" y="34"/>
                  </a:lnTo>
                  <a:lnTo>
                    <a:pt x="90" y="34"/>
                  </a:lnTo>
                  <a:lnTo>
                    <a:pt x="90" y="31"/>
                  </a:lnTo>
                  <a:lnTo>
                    <a:pt x="90" y="29"/>
                  </a:lnTo>
                  <a:lnTo>
                    <a:pt x="92" y="31"/>
                  </a:lnTo>
                  <a:lnTo>
                    <a:pt x="95" y="31"/>
                  </a:lnTo>
                  <a:lnTo>
                    <a:pt x="95" y="29"/>
                  </a:lnTo>
                  <a:lnTo>
                    <a:pt x="95" y="26"/>
                  </a:lnTo>
                  <a:lnTo>
                    <a:pt x="97" y="26"/>
                  </a:lnTo>
                  <a:lnTo>
                    <a:pt x="95" y="26"/>
                  </a:lnTo>
                  <a:lnTo>
                    <a:pt x="92" y="26"/>
                  </a:lnTo>
                  <a:lnTo>
                    <a:pt x="95" y="26"/>
                  </a:lnTo>
                  <a:lnTo>
                    <a:pt x="92" y="26"/>
                  </a:lnTo>
                  <a:lnTo>
                    <a:pt x="92" y="24"/>
                  </a:lnTo>
                  <a:lnTo>
                    <a:pt x="92" y="22"/>
                  </a:lnTo>
                  <a:lnTo>
                    <a:pt x="90" y="22"/>
                  </a:lnTo>
                  <a:lnTo>
                    <a:pt x="92" y="22"/>
                  </a:lnTo>
                  <a:lnTo>
                    <a:pt x="95" y="22"/>
                  </a:lnTo>
                  <a:lnTo>
                    <a:pt x="95" y="24"/>
                  </a:lnTo>
                  <a:lnTo>
                    <a:pt x="95" y="22"/>
                  </a:lnTo>
                  <a:lnTo>
                    <a:pt x="97" y="22"/>
                  </a:lnTo>
                  <a:lnTo>
                    <a:pt x="99" y="22"/>
                  </a:lnTo>
                  <a:lnTo>
                    <a:pt x="102" y="22"/>
                  </a:lnTo>
                  <a:lnTo>
                    <a:pt x="99" y="22"/>
                  </a:lnTo>
                  <a:lnTo>
                    <a:pt x="102" y="22"/>
                  </a:lnTo>
                  <a:lnTo>
                    <a:pt x="104" y="22"/>
                  </a:lnTo>
                  <a:lnTo>
                    <a:pt x="102" y="22"/>
                  </a:lnTo>
                  <a:lnTo>
                    <a:pt x="102" y="19"/>
                  </a:lnTo>
                  <a:lnTo>
                    <a:pt x="99" y="19"/>
                  </a:lnTo>
                  <a:lnTo>
                    <a:pt x="99" y="17"/>
                  </a:lnTo>
                  <a:lnTo>
                    <a:pt x="99" y="19"/>
                  </a:lnTo>
                  <a:lnTo>
                    <a:pt x="97" y="19"/>
                  </a:lnTo>
                  <a:lnTo>
                    <a:pt x="99" y="17"/>
                  </a:lnTo>
                  <a:lnTo>
                    <a:pt x="97" y="17"/>
                  </a:lnTo>
                  <a:lnTo>
                    <a:pt x="99" y="17"/>
                  </a:lnTo>
                  <a:lnTo>
                    <a:pt x="97" y="17"/>
                  </a:lnTo>
                  <a:lnTo>
                    <a:pt x="99" y="17"/>
                  </a:lnTo>
                  <a:lnTo>
                    <a:pt x="97" y="17"/>
                  </a:lnTo>
                  <a:lnTo>
                    <a:pt x="99" y="15"/>
                  </a:lnTo>
                  <a:lnTo>
                    <a:pt x="99" y="12"/>
                  </a:lnTo>
                  <a:lnTo>
                    <a:pt x="99" y="15"/>
                  </a:lnTo>
                  <a:lnTo>
                    <a:pt x="102" y="15"/>
                  </a:lnTo>
                  <a:lnTo>
                    <a:pt x="102" y="12"/>
                  </a:lnTo>
                  <a:lnTo>
                    <a:pt x="102" y="15"/>
                  </a:lnTo>
                  <a:lnTo>
                    <a:pt x="102" y="12"/>
                  </a:lnTo>
                  <a:lnTo>
                    <a:pt x="99" y="12"/>
                  </a:lnTo>
                  <a:lnTo>
                    <a:pt x="102" y="12"/>
                  </a:lnTo>
                  <a:lnTo>
                    <a:pt x="99" y="12"/>
                  </a:lnTo>
                  <a:lnTo>
                    <a:pt x="102" y="12"/>
                  </a:lnTo>
                  <a:lnTo>
                    <a:pt x="99" y="12"/>
                  </a:lnTo>
                  <a:lnTo>
                    <a:pt x="102" y="12"/>
                  </a:lnTo>
                  <a:lnTo>
                    <a:pt x="104" y="12"/>
                  </a:lnTo>
                  <a:lnTo>
                    <a:pt x="102" y="12"/>
                  </a:lnTo>
                  <a:lnTo>
                    <a:pt x="102" y="10"/>
                  </a:lnTo>
                  <a:lnTo>
                    <a:pt x="99" y="10"/>
                  </a:lnTo>
                  <a:lnTo>
                    <a:pt x="102" y="10"/>
                  </a:lnTo>
                  <a:lnTo>
                    <a:pt x="99" y="10"/>
                  </a:lnTo>
                  <a:lnTo>
                    <a:pt x="99" y="7"/>
                  </a:lnTo>
                  <a:lnTo>
                    <a:pt x="102" y="7"/>
                  </a:lnTo>
                  <a:lnTo>
                    <a:pt x="102" y="5"/>
                  </a:lnTo>
                  <a:lnTo>
                    <a:pt x="104" y="5"/>
                  </a:lnTo>
                  <a:lnTo>
                    <a:pt x="104" y="3"/>
                  </a:lnTo>
                  <a:lnTo>
                    <a:pt x="106" y="3"/>
                  </a:lnTo>
                  <a:lnTo>
                    <a:pt x="109" y="3"/>
                  </a:lnTo>
                  <a:lnTo>
                    <a:pt x="109" y="5"/>
                  </a:lnTo>
                  <a:lnTo>
                    <a:pt x="111" y="5"/>
                  </a:lnTo>
                  <a:lnTo>
                    <a:pt x="111" y="7"/>
                  </a:lnTo>
                  <a:lnTo>
                    <a:pt x="109" y="7"/>
                  </a:lnTo>
                  <a:lnTo>
                    <a:pt x="111" y="7"/>
                  </a:lnTo>
                  <a:lnTo>
                    <a:pt x="111" y="5"/>
                  </a:lnTo>
                  <a:lnTo>
                    <a:pt x="111" y="3"/>
                  </a:lnTo>
                  <a:lnTo>
                    <a:pt x="111" y="5"/>
                  </a:lnTo>
                  <a:lnTo>
                    <a:pt x="114" y="5"/>
                  </a:lnTo>
                  <a:lnTo>
                    <a:pt x="116" y="5"/>
                  </a:lnTo>
                  <a:lnTo>
                    <a:pt x="116" y="7"/>
                  </a:lnTo>
                  <a:lnTo>
                    <a:pt x="114" y="7"/>
                  </a:lnTo>
                  <a:lnTo>
                    <a:pt x="114" y="10"/>
                  </a:lnTo>
                  <a:lnTo>
                    <a:pt x="111" y="10"/>
                  </a:lnTo>
                  <a:lnTo>
                    <a:pt x="111" y="12"/>
                  </a:lnTo>
                  <a:lnTo>
                    <a:pt x="114" y="12"/>
                  </a:lnTo>
                  <a:lnTo>
                    <a:pt x="114" y="10"/>
                  </a:lnTo>
                  <a:lnTo>
                    <a:pt x="116" y="10"/>
                  </a:lnTo>
                  <a:lnTo>
                    <a:pt x="116" y="7"/>
                  </a:lnTo>
                  <a:lnTo>
                    <a:pt x="116" y="10"/>
                  </a:lnTo>
                  <a:lnTo>
                    <a:pt x="116" y="7"/>
                  </a:lnTo>
                  <a:lnTo>
                    <a:pt x="118" y="7"/>
                  </a:lnTo>
                  <a:lnTo>
                    <a:pt x="118" y="5"/>
                  </a:lnTo>
                  <a:lnTo>
                    <a:pt x="116" y="5"/>
                  </a:lnTo>
                  <a:lnTo>
                    <a:pt x="118" y="5"/>
                  </a:lnTo>
                  <a:lnTo>
                    <a:pt x="121" y="5"/>
                  </a:lnTo>
                  <a:lnTo>
                    <a:pt x="123" y="5"/>
                  </a:lnTo>
                  <a:lnTo>
                    <a:pt x="123" y="7"/>
                  </a:lnTo>
                  <a:lnTo>
                    <a:pt x="123" y="10"/>
                  </a:lnTo>
                  <a:lnTo>
                    <a:pt x="121" y="10"/>
                  </a:lnTo>
                  <a:lnTo>
                    <a:pt x="123" y="10"/>
                  </a:lnTo>
                  <a:lnTo>
                    <a:pt x="121" y="10"/>
                  </a:lnTo>
                  <a:lnTo>
                    <a:pt x="121" y="12"/>
                  </a:lnTo>
                  <a:lnTo>
                    <a:pt x="121" y="10"/>
                  </a:lnTo>
                  <a:lnTo>
                    <a:pt x="123" y="10"/>
                  </a:lnTo>
                  <a:lnTo>
                    <a:pt x="123" y="7"/>
                  </a:lnTo>
                  <a:lnTo>
                    <a:pt x="125" y="7"/>
                  </a:lnTo>
                  <a:lnTo>
                    <a:pt x="128" y="7"/>
                  </a:lnTo>
                  <a:lnTo>
                    <a:pt x="130" y="7"/>
                  </a:lnTo>
                  <a:lnTo>
                    <a:pt x="128" y="7"/>
                  </a:lnTo>
                  <a:lnTo>
                    <a:pt x="130" y="7"/>
                  </a:lnTo>
                  <a:lnTo>
                    <a:pt x="130" y="5"/>
                  </a:lnTo>
                  <a:lnTo>
                    <a:pt x="130" y="7"/>
                  </a:lnTo>
                  <a:lnTo>
                    <a:pt x="130" y="5"/>
                  </a:lnTo>
                  <a:lnTo>
                    <a:pt x="133" y="5"/>
                  </a:lnTo>
                  <a:lnTo>
                    <a:pt x="135" y="5"/>
                  </a:lnTo>
                  <a:lnTo>
                    <a:pt x="135" y="3"/>
                  </a:lnTo>
                  <a:lnTo>
                    <a:pt x="137" y="3"/>
                  </a:lnTo>
                  <a:lnTo>
                    <a:pt x="137" y="5"/>
                  </a:lnTo>
                  <a:lnTo>
                    <a:pt x="140" y="5"/>
                  </a:lnTo>
                  <a:lnTo>
                    <a:pt x="142" y="5"/>
                  </a:lnTo>
                  <a:lnTo>
                    <a:pt x="144" y="5"/>
                  </a:lnTo>
                  <a:lnTo>
                    <a:pt x="147" y="3"/>
                  </a:lnTo>
                  <a:lnTo>
                    <a:pt x="149" y="3"/>
                  </a:lnTo>
                  <a:lnTo>
                    <a:pt x="152" y="3"/>
                  </a:lnTo>
                  <a:lnTo>
                    <a:pt x="154" y="3"/>
                  </a:lnTo>
                  <a:lnTo>
                    <a:pt x="156" y="3"/>
                  </a:lnTo>
                  <a:lnTo>
                    <a:pt x="159" y="3"/>
                  </a:lnTo>
                  <a:lnTo>
                    <a:pt x="156" y="3"/>
                  </a:lnTo>
                  <a:lnTo>
                    <a:pt x="156" y="0"/>
                  </a:lnTo>
                  <a:lnTo>
                    <a:pt x="159" y="0"/>
                  </a:lnTo>
                  <a:lnTo>
                    <a:pt x="161" y="0"/>
                  </a:lnTo>
                  <a:lnTo>
                    <a:pt x="163" y="0"/>
                  </a:lnTo>
                  <a:lnTo>
                    <a:pt x="166" y="0"/>
                  </a:lnTo>
                  <a:lnTo>
                    <a:pt x="168" y="0"/>
                  </a:lnTo>
                  <a:lnTo>
                    <a:pt x="168" y="3"/>
                  </a:lnTo>
                  <a:lnTo>
                    <a:pt x="168" y="5"/>
                  </a:lnTo>
                  <a:lnTo>
                    <a:pt x="166" y="7"/>
                  </a:lnTo>
                  <a:lnTo>
                    <a:pt x="166" y="10"/>
                  </a:lnTo>
                  <a:lnTo>
                    <a:pt x="168" y="10"/>
                  </a:lnTo>
                  <a:lnTo>
                    <a:pt x="168" y="12"/>
                  </a:lnTo>
                  <a:lnTo>
                    <a:pt x="166" y="15"/>
                  </a:lnTo>
                  <a:lnTo>
                    <a:pt x="166" y="17"/>
                  </a:lnTo>
                  <a:lnTo>
                    <a:pt x="163" y="17"/>
                  </a:lnTo>
                  <a:lnTo>
                    <a:pt x="163" y="19"/>
                  </a:lnTo>
                  <a:lnTo>
                    <a:pt x="161" y="19"/>
                  </a:lnTo>
                  <a:lnTo>
                    <a:pt x="159" y="19"/>
                  </a:lnTo>
                  <a:lnTo>
                    <a:pt x="156" y="22"/>
                  </a:lnTo>
                  <a:lnTo>
                    <a:pt x="156" y="24"/>
                  </a:lnTo>
                  <a:lnTo>
                    <a:pt x="154" y="24"/>
                  </a:lnTo>
                  <a:lnTo>
                    <a:pt x="154" y="26"/>
                  </a:lnTo>
                  <a:lnTo>
                    <a:pt x="152" y="26"/>
                  </a:lnTo>
                  <a:lnTo>
                    <a:pt x="149" y="29"/>
                  </a:lnTo>
                  <a:lnTo>
                    <a:pt x="147" y="29"/>
                  </a:lnTo>
                  <a:lnTo>
                    <a:pt x="147" y="31"/>
                  </a:lnTo>
                  <a:lnTo>
                    <a:pt x="144" y="31"/>
                  </a:lnTo>
                  <a:lnTo>
                    <a:pt x="142" y="34"/>
                  </a:lnTo>
                  <a:lnTo>
                    <a:pt x="142" y="36"/>
                  </a:lnTo>
                  <a:lnTo>
                    <a:pt x="140" y="36"/>
                  </a:lnTo>
                  <a:lnTo>
                    <a:pt x="137" y="36"/>
                  </a:lnTo>
                  <a:lnTo>
                    <a:pt x="137" y="38"/>
                  </a:lnTo>
                  <a:lnTo>
                    <a:pt x="135" y="38"/>
                  </a:lnTo>
                  <a:lnTo>
                    <a:pt x="137" y="38"/>
                  </a:lnTo>
                  <a:lnTo>
                    <a:pt x="135" y="38"/>
                  </a:lnTo>
                  <a:lnTo>
                    <a:pt x="135" y="36"/>
                  </a:lnTo>
                  <a:lnTo>
                    <a:pt x="135" y="38"/>
                  </a:lnTo>
                  <a:lnTo>
                    <a:pt x="135" y="36"/>
                  </a:lnTo>
                  <a:lnTo>
                    <a:pt x="135" y="38"/>
                  </a:lnTo>
                  <a:lnTo>
                    <a:pt x="137" y="38"/>
                  </a:lnTo>
                  <a:lnTo>
                    <a:pt x="137" y="41"/>
                  </a:lnTo>
                  <a:lnTo>
                    <a:pt x="137" y="43"/>
                  </a:lnTo>
                  <a:lnTo>
                    <a:pt x="137" y="41"/>
                  </a:lnTo>
                  <a:lnTo>
                    <a:pt x="135" y="41"/>
                  </a:lnTo>
                  <a:lnTo>
                    <a:pt x="135" y="43"/>
                  </a:lnTo>
                  <a:lnTo>
                    <a:pt x="133" y="43"/>
                  </a:lnTo>
                  <a:lnTo>
                    <a:pt x="130" y="43"/>
                  </a:lnTo>
                  <a:lnTo>
                    <a:pt x="130" y="41"/>
                  </a:lnTo>
                  <a:lnTo>
                    <a:pt x="128" y="41"/>
                  </a:lnTo>
                  <a:lnTo>
                    <a:pt x="128" y="43"/>
                  </a:lnTo>
                  <a:lnTo>
                    <a:pt x="128" y="41"/>
                  </a:lnTo>
                  <a:lnTo>
                    <a:pt x="125" y="41"/>
                  </a:lnTo>
                  <a:lnTo>
                    <a:pt x="125" y="38"/>
                  </a:lnTo>
                  <a:lnTo>
                    <a:pt x="123" y="38"/>
                  </a:lnTo>
                  <a:lnTo>
                    <a:pt x="125" y="41"/>
                  </a:lnTo>
                  <a:lnTo>
                    <a:pt x="125" y="43"/>
                  </a:lnTo>
                  <a:lnTo>
                    <a:pt x="125" y="41"/>
                  </a:lnTo>
                  <a:lnTo>
                    <a:pt x="128" y="41"/>
                  </a:lnTo>
                  <a:lnTo>
                    <a:pt x="128" y="43"/>
                  </a:lnTo>
                  <a:lnTo>
                    <a:pt x="130" y="43"/>
                  </a:lnTo>
                  <a:lnTo>
                    <a:pt x="130" y="41"/>
                  </a:lnTo>
                  <a:lnTo>
                    <a:pt x="130" y="43"/>
                  </a:lnTo>
                  <a:lnTo>
                    <a:pt x="133" y="43"/>
                  </a:lnTo>
                  <a:lnTo>
                    <a:pt x="135" y="43"/>
                  </a:lnTo>
                  <a:lnTo>
                    <a:pt x="135" y="46"/>
                  </a:lnTo>
                  <a:lnTo>
                    <a:pt x="135" y="43"/>
                  </a:lnTo>
                  <a:lnTo>
                    <a:pt x="137" y="43"/>
                  </a:lnTo>
                  <a:lnTo>
                    <a:pt x="140" y="43"/>
                  </a:lnTo>
                  <a:lnTo>
                    <a:pt x="140" y="46"/>
                  </a:lnTo>
                  <a:lnTo>
                    <a:pt x="137" y="46"/>
                  </a:lnTo>
                  <a:lnTo>
                    <a:pt x="140" y="46"/>
                  </a:lnTo>
                  <a:lnTo>
                    <a:pt x="140" y="43"/>
                  </a:lnTo>
                  <a:lnTo>
                    <a:pt x="140" y="46"/>
                  </a:lnTo>
                  <a:lnTo>
                    <a:pt x="140" y="43"/>
                  </a:lnTo>
                  <a:lnTo>
                    <a:pt x="142" y="43"/>
                  </a:lnTo>
                  <a:lnTo>
                    <a:pt x="144" y="41"/>
                  </a:lnTo>
                  <a:lnTo>
                    <a:pt x="144" y="43"/>
                  </a:lnTo>
                  <a:lnTo>
                    <a:pt x="142" y="43"/>
                  </a:lnTo>
                  <a:lnTo>
                    <a:pt x="142" y="46"/>
                  </a:lnTo>
                  <a:lnTo>
                    <a:pt x="140" y="48"/>
                  </a:lnTo>
                  <a:lnTo>
                    <a:pt x="137" y="50"/>
                  </a:lnTo>
                  <a:lnTo>
                    <a:pt x="135" y="50"/>
                  </a:lnTo>
                  <a:lnTo>
                    <a:pt x="137" y="48"/>
                  </a:lnTo>
                  <a:lnTo>
                    <a:pt x="135" y="48"/>
                  </a:lnTo>
                  <a:lnTo>
                    <a:pt x="133" y="50"/>
                  </a:lnTo>
                  <a:lnTo>
                    <a:pt x="130" y="50"/>
                  </a:lnTo>
                  <a:lnTo>
                    <a:pt x="128" y="50"/>
                  </a:lnTo>
                  <a:lnTo>
                    <a:pt x="128" y="53"/>
                  </a:lnTo>
                  <a:lnTo>
                    <a:pt x="128" y="50"/>
                  </a:lnTo>
                  <a:lnTo>
                    <a:pt x="128" y="53"/>
                  </a:lnTo>
                  <a:lnTo>
                    <a:pt x="125" y="53"/>
                  </a:lnTo>
                  <a:lnTo>
                    <a:pt x="125" y="55"/>
                  </a:lnTo>
                  <a:lnTo>
                    <a:pt x="123" y="55"/>
                  </a:lnTo>
                  <a:lnTo>
                    <a:pt x="123" y="57"/>
                  </a:lnTo>
                  <a:lnTo>
                    <a:pt x="123" y="55"/>
                  </a:lnTo>
                  <a:lnTo>
                    <a:pt x="125" y="55"/>
                  </a:lnTo>
                  <a:lnTo>
                    <a:pt x="128" y="53"/>
                  </a:lnTo>
                  <a:lnTo>
                    <a:pt x="130" y="53"/>
                  </a:lnTo>
                  <a:lnTo>
                    <a:pt x="133" y="53"/>
                  </a:lnTo>
                  <a:lnTo>
                    <a:pt x="130" y="53"/>
                  </a:lnTo>
                  <a:lnTo>
                    <a:pt x="133" y="53"/>
                  </a:lnTo>
                  <a:lnTo>
                    <a:pt x="135" y="53"/>
                  </a:lnTo>
                  <a:lnTo>
                    <a:pt x="135" y="50"/>
                  </a:lnTo>
                  <a:lnTo>
                    <a:pt x="137" y="53"/>
                  </a:lnTo>
                  <a:lnTo>
                    <a:pt x="137" y="50"/>
                  </a:lnTo>
                  <a:lnTo>
                    <a:pt x="137" y="53"/>
                  </a:lnTo>
                  <a:lnTo>
                    <a:pt x="135" y="53"/>
                  </a:lnTo>
                  <a:lnTo>
                    <a:pt x="135" y="55"/>
                  </a:lnTo>
                  <a:lnTo>
                    <a:pt x="133" y="55"/>
                  </a:lnTo>
                  <a:lnTo>
                    <a:pt x="133" y="57"/>
                  </a:lnTo>
                  <a:lnTo>
                    <a:pt x="135" y="57"/>
                  </a:lnTo>
                  <a:lnTo>
                    <a:pt x="133" y="57"/>
                  </a:lnTo>
                  <a:lnTo>
                    <a:pt x="130" y="57"/>
                  </a:lnTo>
                  <a:lnTo>
                    <a:pt x="128" y="57"/>
                  </a:lnTo>
                  <a:lnTo>
                    <a:pt x="130" y="57"/>
                  </a:lnTo>
                  <a:lnTo>
                    <a:pt x="130" y="60"/>
                  </a:lnTo>
                  <a:lnTo>
                    <a:pt x="130" y="57"/>
                  </a:lnTo>
                  <a:lnTo>
                    <a:pt x="130" y="60"/>
                  </a:lnTo>
                  <a:lnTo>
                    <a:pt x="128" y="60"/>
                  </a:lnTo>
                  <a:lnTo>
                    <a:pt x="125" y="60"/>
                  </a:lnTo>
                  <a:lnTo>
                    <a:pt x="123" y="60"/>
                  </a:lnTo>
                  <a:lnTo>
                    <a:pt x="123" y="62"/>
                  </a:lnTo>
                  <a:lnTo>
                    <a:pt x="123" y="60"/>
                  </a:lnTo>
                  <a:lnTo>
                    <a:pt x="123" y="62"/>
                  </a:lnTo>
                  <a:lnTo>
                    <a:pt x="125" y="62"/>
                  </a:lnTo>
                  <a:lnTo>
                    <a:pt x="128" y="62"/>
                  </a:lnTo>
                  <a:lnTo>
                    <a:pt x="130" y="62"/>
                  </a:lnTo>
                  <a:lnTo>
                    <a:pt x="130" y="60"/>
                  </a:lnTo>
                  <a:lnTo>
                    <a:pt x="130" y="62"/>
                  </a:lnTo>
                  <a:lnTo>
                    <a:pt x="133" y="62"/>
                  </a:lnTo>
                  <a:lnTo>
                    <a:pt x="133" y="60"/>
                  </a:lnTo>
                  <a:lnTo>
                    <a:pt x="135" y="57"/>
                  </a:lnTo>
                  <a:lnTo>
                    <a:pt x="135" y="55"/>
                  </a:lnTo>
                  <a:lnTo>
                    <a:pt x="137" y="55"/>
                  </a:lnTo>
                  <a:lnTo>
                    <a:pt x="140" y="57"/>
                  </a:lnTo>
                  <a:lnTo>
                    <a:pt x="140" y="55"/>
                  </a:lnTo>
                  <a:lnTo>
                    <a:pt x="142" y="55"/>
                  </a:lnTo>
                  <a:lnTo>
                    <a:pt x="144" y="55"/>
                  </a:lnTo>
                  <a:lnTo>
                    <a:pt x="142" y="55"/>
                  </a:lnTo>
                  <a:lnTo>
                    <a:pt x="144" y="55"/>
                  </a:lnTo>
                  <a:lnTo>
                    <a:pt x="144" y="53"/>
                  </a:lnTo>
                  <a:lnTo>
                    <a:pt x="147" y="53"/>
                  </a:lnTo>
                  <a:lnTo>
                    <a:pt x="144" y="53"/>
                  </a:lnTo>
                  <a:lnTo>
                    <a:pt x="144" y="55"/>
                  </a:lnTo>
                  <a:lnTo>
                    <a:pt x="147" y="53"/>
                  </a:lnTo>
                  <a:lnTo>
                    <a:pt x="149" y="53"/>
                  </a:lnTo>
                  <a:lnTo>
                    <a:pt x="149" y="55"/>
                  </a:lnTo>
                  <a:lnTo>
                    <a:pt x="152" y="55"/>
                  </a:lnTo>
                  <a:lnTo>
                    <a:pt x="152" y="53"/>
                  </a:lnTo>
                  <a:lnTo>
                    <a:pt x="149" y="53"/>
                  </a:lnTo>
                  <a:lnTo>
                    <a:pt x="152" y="53"/>
                  </a:lnTo>
                  <a:lnTo>
                    <a:pt x="154" y="53"/>
                  </a:lnTo>
                  <a:lnTo>
                    <a:pt x="154" y="50"/>
                  </a:lnTo>
                  <a:lnTo>
                    <a:pt x="156" y="50"/>
                  </a:lnTo>
                  <a:lnTo>
                    <a:pt x="159" y="50"/>
                  </a:lnTo>
                  <a:lnTo>
                    <a:pt x="161" y="50"/>
                  </a:lnTo>
                  <a:lnTo>
                    <a:pt x="161" y="48"/>
                  </a:lnTo>
                  <a:lnTo>
                    <a:pt x="161" y="50"/>
                  </a:lnTo>
                  <a:lnTo>
                    <a:pt x="163" y="50"/>
                  </a:lnTo>
                  <a:lnTo>
                    <a:pt x="166" y="53"/>
                  </a:lnTo>
                  <a:lnTo>
                    <a:pt x="168" y="53"/>
                  </a:lnTo>
                  <a:lnTo>
                    <a:pt x="171" y="53"/>
                  </a:lnTo>
                  <a:lnTo>
                    <a:pt x="171" y="50"/>
                  </a:lnTo>
                  <a:lnTo>
                    <a:pt x="171" y="53"/>
                  </a:lnTo>
                  <a:lnTo>
                    <a:pt x="171" y="50"/>
                  </a:lnTo>
                  <a:lnTo>
                    <a:pt x="173" y="50"/>
                  </a:lnTo>
                  <a:lnTo>
                    <a:pt x="175" y="50"/>
                  </a:lnTo>
                  <a:lnTo>
                    <a:pt x="178" y="50"/>
                  </a:lnTo>
                  <a:lnTo>
                    <a:pt x="180" y="50"/>
                  </a:lnTo>
                  <a:lnTo>
                    <a:pt x="182" y="50"/>
                  </a:lnTo>
                  <a:lnTo>
                    <a:pt x="182" y="53"/>
                  </a:lnTo>
                  <a:lnTo>
                    <a:pt x="185" y="50"/>
                  </a:lnTo>
                  <a:lnTo>
                    <a:pt x="185" y="53"/>
                  </a:lnTo>
                  <a:lnTo>
                    <a:pt x="187" y="53"/>
                  </a:lnTo>
                  <a:lnTo>
                    <a:pt x="190" y="53"/>
                  </a:lnTo>
                  <a:lnTo>
                    <a:pt x="192" y="53"/>
                  </a:lnTo>
                  <a:lnTo>
                    <a:pt x="192" y="50"/>
                  </a:lnTo>
                  <a:lnTo>
                    <a:pt x="194" y="50"/>
                  </a:lnTo>
                  <a:lnTo>
                    <a:pt x="194" y="53"/>
                  </a:lnTo>
                  <a:lnTo>
                    <a:pt x="194" y="50"/>
                  </a:lnTo>
                  <a:lnTo>
                    <a:pt x="197" y="53"/>
                  </a:lnTo>
                  <a:lnTo>
                    <a:pt x="197" y="50"/>
                  </a:lnTo>
                  <a:lnTo>
                    <a:pt x="199" y="50"/>
                  </a:lnTo>
                  <a:lnTo>
                    <a:pt x="201" y="50"/>
                  </a:lnTo>
                  <a:lnTo>
                    <a:pt x="204" y="50"/>
                  </a:lnTo>
                  <a:lnTo>
                    <a:pt x="204" y="53"/>
                  </a:lnTo>
                  <a:lnTo>
                    <a:pt x="204" y="50"/>
                  </a:lnTo>
                  <a:lnTo>
                    <a:pt x="206" y="53"/>
                  </a:lnTo>
                  <a:lnTo>
                    <a:pt x="206" y="55"/>
                  </a:lnTo>
                  <a:lnTo>
                    <a:pt x="209" y="55"/>
                  </a:lnTo>
                  <a:lnTo>
                    <a:pt x="209" y="57"/>
                  </a:lnTo>
                  <a:lnTo>
                    <a:pt x="209" y="60"/>
                  </a:lnTo>
                  <a:lnTo>
                    <a:pt x="211" y="60"/>
                  </a:lnTo>
                  <a:lnTo>
                    <a:pt x="211" y="62"/>
                  </a:lnTo>
                  <a:lnTo>
                    <a:pt x="209" y="62"/>
                  </a:lnTo>
                  <a:lnTo>
                    <a:pt x="211" y="62"/>
                  </a:lnTo>
                  <a:lnTo>
                    <a:pt x="209" y="62"/>
                  </a:lnTo>
                  <a:lnTo>
                    <a:pt x="209" y="65"/>
                  </a:lnTo>
                  <a:lnTo>
                    <a:pt x="209" y="67"/>
                  </a:lnTo>
                  <a:lnTo>
                    <a:pt x="206" y="67"/>
                  </a:lnTo>
                  <a:lnTo>
                    <a:pt x="206" y="69"/>
                  </a:lnTo>
                  <a:lnTo>
                    <a:pt x="204" y="69"/>
                  </a:lnTo>
                  <a:lnTo>
                    <a:pt x="204" y="72"/>
                  </a:lnTo>
                  <a:lnTo>
                    <a:pt x="204" y="69"/>
                  </a:lnTo>
                  <a:lnTo>
                    <a:pt x="201" y="69"/>
                  </a:lnTo>
                  <a:lnTo>
                    <a:pt x="204" y="69"/>
                  </a:lnTo>
                  <a:lnTo>
                    <a:pt x="201" y="69"/>
                  </a:lnTo>
                  <a:lnTo>
                    <a:pt x="204" y="69"/>
                  </a:lnTo>
                  <a:lnTo>
                    <a:pt x="204" y="72"/>
                  </a:lnTo>
                  <a:lnTo>
                    <a:pt x="201" y="74"/>
                  </a:lnTo>
                  <a:lnTo>
                    <a:pt x="201" y="76"/>
                  </a:lnTo>
                  <a:lnTo>
                    <a:pt x="201" y="79"/>
                  </a:lnTo>
                  <a:lnTo>
                    <a:pt x="201" y="81"/>
                  </a:lnTo>
                  <a:lnTo>
                    <a:pt x="199" y="81"/>
                  </a:lnTo>
                  <a:lnTo>
                    <a:pt x="199" y="84"/>
                  </a:lnTo>
                  <a:lnTo>
                    <a:pt x="199" y="86"/>
                  </a:lnTo>
                  <a:lnTo>
                    <a:pt x="197" y="86"/>
                  </a:lnTo>
                  <a:lnTo>
                    <a:pt x="197" y="88"/>
                  </a:lnTo>
                  <a:lnTo>
                    <a:pt x="197" y="91"/>
                  </a:lnTo>
                  <a:lnTo>
                    <a:pt x="197" y="93"/>
                  </a:lnTo>
                  <a:lnTo>
                    <a:pt x="194" y="93"/>
                  </a:lnTo>
                  <a:lnTo>
                    <a:pt x="194" y="95"/>
                  </a:lnTo>
                  <a:lnTo>
                    <a:pt x="192" y="95"/>
                  </a:lnTo>
                  <a:lnTo>
                    <a:pt x="192" y="98"/>
                  </a:lnTo>
                  <a:lnTo>
                    <a:pt x="190" y="98"/>
                  </a:lnTo>
                  <a:lnTo>
                    <a:pt x="190" y="100"/>
                  </a:lnTo>
                  <a:lnTo>
                    <a:pt x="187" y="100"/>
                  </a:lnTo>
                  <a:lnTo>
                    <a:pt x="187" y="103"/>
                  </a:lnTo>
                  <a:lnTo>
                    <a:pt x="187" y="100"/>
                  </a:lnTo>
                  <a:lnTo>
                    <a:pt x="185" y="100"/>
                  </a:lnTo>
                  <a:lnTo>
                    <a:pt x="185" y="103"/>
                  </a:lnTo>
                  <a:lnTo>
                    <a:pt x="187" y="103"/>
                  </a:lnTo>
                  <a:lnTo>
                    <a:pt x="190" y="103"/>
                  </a:lnTo>
                  <a:lnTo>
                    <a:pt x="187" y="103"/>
                  </a:lnTo>
                  <a:lnTo>
                    <a:pt x="190" y="103"/>
                  </a:lnTo>
                  <a:lnTo>
                    <a:pt x="187" y="103"/>
                  </a:lnTo>
                  <a:lnTo>
                    <a:pt x="187" y="105"/>
                  </a:lnTo>
                  <a:lnTo>
                    <a:pt x="187" y="107"/>
                  </a:lnTo>
                  <a:lnTo>
                    <a:pt x="185" y="107"/>
                  </a:lnTo>
                  <a:lnTo>
                    <a:pt x="185" y="110"/>
                  </a:lnTo>
                  <a:lnTo>
                    <a:pt x="182" y="110"/>
                  </a:lnTo>
                  <a:lnTo>
                    <a:pt x="182" y="112"/>
                  </a:lnTo>
                  <a:lnTo>
                    <a:pt x="180" y="112"/>
                  </a:lnTo>
                  <a:lnTo>
                    <a:pt x="180" y="114"/>
                  </a:lnTo>
                  <a:lnTo>
                    <a:pt x="178" y="114"/>
                  </a:lnTo>
                  <a:lnTo>
                    <a:pt x="175" y="114"/>
                  </a:lnTo>
                  <a:lnTo>
                    <a:pt x="173" y="114"/>
                  </a:lnTo>
                  <a:lnTo>
                    <a:pt x="171" y="114"/>
                  </a:lnTo>
                  <a:lnTo>
                    <a:pt x="168" y="114"/>
                  </a:lnTo>
                  <a:lnTo>
                    <a:pt x="166" y="114"/>
                  </a:lnTo>
                  <a:lnTo>
                    <a:pt x="166" y="117"/>
                  </a:lnTo>
                  <a:lnTo>
                    <a:pt x="163" y="117"/>
                  </a:lnTo>
                  <a:lnTo>
                    <a:pt x="163" y="119"/>
                  </a:lnTo>
                  <a:lnTo>
                    <a:pt x="161" y="119"/>
                  </a:lnTo>
                  <a:lnTo>
                    <a:pt x="159" y="119"/>
                  </a:lnTo>
                  <a:lnTo>
                    <a:pt x="161" y="119"/>
                  </a:lnTo>
                  <a:lnTo>
                    <a:pt x="163" y="119"/>
                  </a:lnTo>
                  <a:lnTo>
                    <a:pt x="166" y="119"/>
                  </a:lnTo>
                  <a:lnTo>
                    <a:pt x="166" y="117"/>
                  </a:lnTo>
                  <a:lnTo>
                    <a:pt x="168" y="117"/>
                  </a:lnTo>
                  <a:lnTo>
                    <a:pt x="171" y="117"/>
                  </a:lnTo>
                  <a:lnTo>
                    <a:pt x="173" y="114"/>
                  </a:lnTo>
                  <a:lnTo>
                    <a:pt x="175" y="114"/>
                  </a:lnTo>
                  <a:lnTo>
                    <a:pt x="175" y="117"/>
                  </a:lnTo>
                  <a:lnTo>
                    <a:pt x="175" y="119"/>
                  </a:lnTo>
                  <a:lnTo>
                    <a:pt x="173" y="119"/>
                  </a:lnTo>
                  <a:lnTo>
                    <a:pt x="175" y="119"/>
                  </a:lnTo>
                  <a:lnTo>
                    <a:pt x="175" y="122"/>
                  </a:lnTo>
                  <a:lnTo>
                    <a:pt x="178" y="122"/>
                  </a:lnTo>
                  <a:lnTo>
                    <a:pt x="180" y="122"/>
                  </a:lnTo>
                  <a:lnTo>
                    <a:pt x="182" y="122"/>
                  </a:lnTo>
                  <a:lnTo>
                    <a:pt x="180" y="122"/>
                  </a:lnTo>
                  <a:lnTo>
                    <a:pt x="182" y="122"/>
                  </a:lnTo>
                  <a:lnTo>
                    <a:pt x="182" y="124"/>
                  </a:lnTo>
                  <a:lnTo>
                    <a:pt x="185" y="124"/>
                  </a:lnTo>
                  <a:lnTo>
                    <a:pt x="182" y="124"/>
                  </a:lnTo>
                  <a:lnTo>
                    <a:pt x="182" y="126"/>
                  </a:lnTo>
                  <a:lnTo>
                    <a:pt x="180" y="126"/>
                  </a:lnTo>
                  <a:lnTo>
                    <a:pt x="178" y="126"/>
                  </a:lnTo>
                  <a:lnTo>
                    <a:pt x="178" y="129"/>
                  </a:lnTo>
                  <a:lnTo>
                    <a:pt x="175" y="129"/>
                  </a:lnTo>
                  <a:lnTo>
                    <a:pt x="173" y="129"/>
                  </a:lnTo>
                  <a:lnTo>
                    <a:pt x="173" y="126"/>
                  </a:lnTo>
                  <a:lnTo>
                    <a:pt x="171" y="126"/>
                  </a:lnTo>
                  <a:lnTo>
                    <a:pt x="171" y="129"/>
                  </a:lnTo>
                  <a:lnTo>
                    <a:pt x="168" y="129"/>
                  </a:lnTo>
                  <a:lnTo>
                    <a:pt x="168" y="131"/>
                  </a:lnTo>
                  <a:lnTo>
                    <a:pt x="166" y="131"/>
                  </a:lnTo>
                  <a:lnTo>
                    <a:pt x="166" y="133"/>
                  </a:lnTo>
                  <a:lnTo>
                    <a:pt x="163" y="133"/>
                  </a:lnTo>
                  <a:lnTo>
                    <a:pt x="166" y="133"/>
                  </a:lnTo>
                  <a:lnTo>
                    <a:pt x="163" y="133"/>
                  </a:lnTo>
                  <a:lnTo>
                    <a:pt x="163" y="136"/>
                  </a:lnTo>
                  <a:lnTo>
                    <a:pt x="161" y="136"/>
                  </a:lnTo>
                  <a:lnTo>
                    <a:pt x="159" y="136"/>
                  </a:lnTo>
                  <a:lnTo>
                    <a:pt x="156" y="136"/>
                  </a:lnTo>
                  <a:lnTo>
                    <a:pt x="156" y="138"/>
                  </a:lnTo>
                  <a:lnTo>
                    <a:pt x="156" y="136"/>
                  </a:lnTo>
                  <a:lnTo>
                    <a:pt x="156" y="138"/>
                  </a:lnTo>
                  <a:lnTo>
                    <a:pt x="154" y="138"/>
                  </a:lnTo>
                  <a:lnTo>
                    <a:pt x="154" y="136"/>
                  </a:lnTo>
                  <a:lnTo>
                    <a:pt x="152" y="136"/>
                  </a:lnTo>
                  <a:lnTo>
                    <a:pt x="149" y="136"/>
                  </a:lnTo>
                  <a:lnTo>
                    <a:pt x="147" y="136"/>
                  </a:lnTo>
                  <a:lnTo>
                    <a:pt x="147" y="133"/>
                  </a:lnTo>
                  <a:lnTo>
                    <a:pt x="144" y="133"/>
                  </a:lnTo>
                  <a:lnTo>
                    <a:pt x="142" y="133"/>
                  </a:lnTo>
                  <a:lnTo>
                    <a:pt x="142" y="131"/>
                  </a:lnTo>
                  <a:lnTo>
                    <a:pt x="142" y="133"/>
                  </a:lnTo>
                  <a:lnTo>
                    <a:pt x="144" y="133"/>
                  </a:lnTo>
                  <a:lnTo>
                    <a:pt x="144" y="136"/>
                  </a:lnTo>
                  <a:lnTo>
                    <a:pt x="147" y="136"/>
                  </a:lnTo>
                  <a:lnTo>
                    <a:pt x="147" y="138"/>
                  </a:lnTo>
                  <a:lnTo>
                    <a:pt x="149" y="138"/>
                  </a:lnTo>
                  <a:lnTo>
                    <a:pt x="149" y="136"/>
                  </a:lnTo>
                  <a:lnTo>
                    <a:pt x="152" y="138"/>
                  </a:lnTo>
                  <a:lnTo>
                    <a:pt x="154" y="138"/>
                  </a:lnTo>
                  <a:lnTo>
                    <a:pt x="156" y="138"/>
                  </a:lnTo>
                  <a:lnTo>
                    <a:pt x="159" y="138"/>
                  </a:lnTo>
                  <a:lnTo>
                    <a:pt x="161" y="138"/>
                  </a:lnTo>
                  <a:lnTo>
                    <a:pt x="163" y="138"/>
                  </a:lnTo>
                  <a:lnTo>
                    <a:pt x="166" y="138"/>
                  </a:lnTo>
                  <a:lnTo>
                    <a:pt x="166" y="141"/>
                  </a:lnTo>
                  <a:lnTo>
                    <a:pt x="168" y="141"/>
                  </a:lnTo>
                  <a:lnTo>
                    <a:pt x="171" y="141"/>
                  </a:lnTo>
                  <a:lnTo>
                    <a:pt x="173" y="141"/>
                  </a:lnTo>
                  <a:lnTo>
                    <a:pt x="173" y="138"/>
                  </a:lnTo>
                  <a:lnTo>
                    <a:pt x="175" y="138"/>
                  </a:lnTo>
                  <a:lnTo>
                    <a:pt x="173" y="136"/>
                  </a:lnTo>
                  <a:lnTo>
                    <a:pt x="175" y="136"/>
                  </a:lnTo>
                  <a:lnTo>
                    <a:pt x="178" y="136"/>
                  </a:lnTo>
                  <a:lnTo>
                    <a:pt x="178" y="133"/>
                  </a:lnTo>
                  <a:lnTo>
                    <a:pt x="178" y="136"/>
                  </a:lnTo>
                  <a:lnTo>
                    <a:pt x="178" y="133"/>
                  </a:lnTo>
                  <a:lnTo>
                    <a:pt x="178" y="136"/>
                  </a:lnTo>
                  <a:lnTo>
                    <a:pt x="180" y="136"/>
                  </a:lnTo>
                  <a:lnTo>
                    <a:pt x="182" y="136"/>
                  </a:lnTo>
                  <a:lnTo>
                    <a:pt x="185" y="136"/>
                  </a:lnTo>
                  <a:lnTo>
                    <a:pt x="182" y="136"/>
                  </a:lnTo>
                  <a:lnTo>
                    <a:pt x="182" y="138"/>
                  </a:lnTo>
                  <a:lnTo>
                    <a:pt x="185" y="138"/>
                  </a:lnTo>
                  <a:lnTo>
                    <a:pt x="187" y="138"/>
                  </a:lnTo>
                  <a:lnTo>
                    <a:pt x="190" y="138"/>
                  </a:lnTo>
                  <a:lnTo>
                    <a:pt x="190" y="141"/>
                  </a:lnTo>
                  <a:lnTo>
                    <a:pt x="192" y="141"/>
                  </a:lnTo>
                  <a:lnTo>
                    <a:pt x="194" y="141"/>
                  </a:lnTo>
                  <a:lnTo>
                    <a:pt x="194" y="143"/>
                  </a:lnTo>
                  <a:lnTo>
                    <a:pt x="194" y="141"/>
                  </a:lnTo>
                  <a:lnTo>
                    <a:pt x="197" y="141"/>
                  </a:lnTo>
                  <a:lnTo>
                    <a:pt x="197" y="143"/>
                  </a:lnTo>
                  <a:lnTo>
                    <a:pt x="199" y="143"/>
                  </a:lnTo>
                  <a:lnTo>
                    <a:pt x="199" y="145"/>
                  </a:lnTo>
                  <a:lnTo>
                    <a:pt x="201" y="145"/>
                  </a:lnTo>
                  <a:lnTo>
                    <a:pt x="201" y="148"/>
                  </a:lnTo>
                  <a:lnTo>
                    <a:pt x="204" y="148"/>
                  </a:lnTo>
                  <a:lnTo>
                    <a:pt x="204" y="150"/>
                  </a:lnTo>
                  <a:lnTo>
                    <a:pt x="204" y="152"/>
                  </a:lnTo>
                  <a:lnTo>
                    <a:pt x="206" y="152"/>
                  </a:lnTo>
                  <a:lnTo>
                    <a:pt x="206" y="155"/>
                  </a:lnTo>
                  <a:lnTo>
                    <a:pt x="209" y="155"/>
                  </a:lnTo>
                  <a:lnTo>
                    <a:pt x="209" y="157"/>
                  </a:lnTo>
                  <a:lnTo>
                    <a:pt x="211" y="155"/>
                  </a:lnTo>
                  <a:lnTo>
                    <a:pt x="209" y="155"/>
                  </a:lnTo>
                  <a:lnTo>
                    <a:pt x="211" y="155"/>
                  </a:lnTo>
                  <a:lnTo>
                    <a:pt x="211" y="157"/>
                  </a:lnTo>
                  <a:lnTo>
                    <a:pt x="213" y="157"/>
                  </a:lnTo>
                  <a:lnTo>
                    <a:pt x="213" y="160"/>
                  </a:lnTo>
                  <a:lnTo>
                    <a:pt x="216" y="160"/>
                  </a:lnTo>
                  <a:lnTo>
                    <a:pt x="216" y="162"/>
                  </a:lnTo>
                  <a:lnTo>
                    <a:pt x="216" y="164"/>
                  </a:lnTo>
                  <a:lnTo>
                    <a:pt x="216" y="167"/>
                  </a:lnTo>
                  <a:lnTo>
                    <a:pt x="216" y="169"/>
                  </a:lnTo>
                  <a:lnTo>
                    <a:pt x="216" y="171"/>
                  </a:lnTo>
                  <a:lnTo>
                    <a:pt x="218" y="171"/>
                  </a:lnTo>
                  <a:lnTo>
                    <a:pt x="218" y="174"/>
                  </a:lnTo>
                  <a:lnTo>
                    <a:pt x="218" y="176"/>
                  </a:lnTo>
                  <a:lnTo>
                    <a:pt x="218" y="179"/>
                  </a:lnTo>
                  <a:lnTo>
                    <a:pt x="220" y="179"/>
                  </a:lnTo>
                  <a:lnTo>
                    <a:pt x="218" y="179"/>
                  </a:lnTo>
                  <a:lnTo>
                    <a:pt x="218" y="181"/>
                  </a:lnTo>
                  <a:lnTo>
                    <a:pt x="218" y="183"/>
                  </a:lnTo>
                  <a:lnTo>
                    <a:pt x="220" y="183"/>
                  </a:lnTo>
                  <a:lnTo>
                    <a:pt x="220" y="186"/>
                  </a:lnTo>
                  <a:lnTo>
                    <a:pt x="223" y="186"/>
                  </a:lnTo>
                  <a:lnTo>
                    <a:pt x="223" y="188"/>
                  </a:lnTo>
                  <a:lnTo>
                    <a:pt x="220" y="188"/>
                  </a:lnTo>
                  <a:lnTo>
                    <a:pt x="220" y="190"/>
                  </a:lnTo>
                  <a:lnTo>
                    <a:pt x="218" y="190"/>
                  </a:lnTo>
                  <a:lnTo>
                    <a:pt x="216" y="190"/>
                  </a:lnTo>
                  <a:lnTo>
                    <a:pt x="213" y="190"/>
                  </a:lnTo>
                  <a:lnTo>
                    <a:pt x="216" y="190"/>
                  </a:lnTo>
                  <a:lnTo>
                    <a:pt x="218" y="190"/>
                  </a:lnTo>
                  <a:lnTo>
                    <a:pt x="220" y="190"/>
                  </a:lnTo>
                  <a:lnTo>
                    <a:pt x="220" y="188"/>
                  </a:lnTo>
                  <a:lnTo>
                    <a:pt x="223" y="188"/>
                  </a:lnTo>
                  <a:lnTo>
                    <a:pt x="223" y="190"/>
                  </a:lnTo>
                  <a:lnTo>
                    <a:pt x="225" y="190"/>
                  </a:lnTo>
                  <a:lnTo>
                    <a:pt x="223" y="193"/>
                  </a:lnTo>
                  <a:lnTo>
                    <a:pt x="225" y="193"/>
                  </a:lnTo>
                  <a:lnTo>
                    <a:pt x="223" y="193"/>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19" name="Freeform 57774"/>
            <p:cNvSpPr>
              <a:spLocks noEditPoints="1"/>
            </p:cNvSpPr>
            <p:nvPr/>
          </p:nvSpPr>
          <p:spPr bwMode="auto">
            <a:xfrm>
              <a:off x="1573210" y="3822715"/>
              <a:ext cx="534988" cy="885828"/>
            </a:xfrm>
            <a:custGeom>
              <a:avLst/>
              <a:gdLst>
                <a:gd name="T0" fmla="*/ 221 w 337"/>
                <a:gd name="T1" fmla="*/ 518 h 558"/>
                <a:gd name="T2" fmla="*/ 244 w 337"/>
                <a:gd name="T3" fmla="*/ 525 h 558"/>
                <a:gd name="T4" fmla="*/ 254 w 337"/>
                <a:gd name="T5" fmla="*/ 513 h 558"/>
                <a:gd name="T6" fmla="*/ 313 w 337"/>
                <a:gd name="T7" fmla="*/ 487 h 558"/>
                <a:gd name="T8" fmla="*/ 109 w 337"/>
                <a:gd name="T9" fmla="*/ 463 h 558"/>
                <a:gd name="T10" fmla="*/ 131 w 337"/>
                <a:gd name="T11" fmla="*/ 390 h 558"/>
                <a:gd name="T12" fmla="*/ 102 w 337"/>
                <a:gd name="T13" fmla="*/ 333 h 558"/>
                <a:gd name="T14" fmla="*/ 95 w 337"/>
                <a:gd name="T15" fmla="*/ 273 h 558"/>
                <a:gd name="T16" fmla="*/ 123 w 337"/>
                <a:gd name="T17" fmla="*/ 264 h 558"/>
                <a:gd name="T18" fmla="*/ 114 w 337"/>
                <a:gd name="T19" fmla="*/ 261 h 558"/>
                <a:gd name="T20" fmla="*/ 78 w 337"/>
                <a:gd name="T21" fmla="*/ 252 h 558"/>
                <a:gd name="T22" fmla="*/ 102 w 337"/>
                <a:gd name="T23" fmla="*/ 245 h 558"/>
                <a:gd name="T24" fmla="*/ 97 w 337"/>
                <a:gd name="T25" fmla="*/ 242 h 558"/>
                <a:gd name="T26" fmla="*/ 105 w 337"/>
                <a:gd name="T27" fmla="*/ 235 h 558"/>
                <a:gd name="T28" fmla="*/ 62 w 337"/>
                <a:gd name="T29" fmla="*/ 228 h 558"/>
                <a:gd name="T30" fmla="*/ 62 w 337"/>
                <a:gd name="T31" fmla="*/ 226 h 558"/>
                <a:gd name="T32" fmla="*/ 74 w 337"/>
                <a:gd name="T33" fmla="*/ 221 h 558"/>
                <a:gd name="T34" fmla="*/ 74 w 337"/>
                <a:gd name="T35" fmla="*/ 219 h 558"/>
                <a:gd name="T36" fmla="*/ 78 w 337"/>
                <a:gd name="T37" fmla="*/ 211 h 558"/>
                <a:gd name="T38" fmla="*/ 83 w 337"/>
                <a:gd name="T39" fmla="*/ 209 h 558"/>
                <a:gd name="T40" fmla="*/ 43 w 337"/>
                <a:gd name="T41" fmla="*/ 204 h 558"/>
                <a:gd name="T42" fmla="*/ 38 w 337"/>
                <a:gd name="T43" fmla="*/ 204 h 558"/>
                <a:gd name="T44" fmla="*/ 76 w 337"/>
                <a:gd name="T45" fmla="*/ 200 h 558"/>
                <a:gd name="T46" fmla="*/ 90 w 337"/>
                <a:gd name="T47" fmla="*/ 185 h 558"/>
                <a:gd name="T48" fmla="*/ 48 w 337"/>
                <a:gd name="T49" fmla="*/ 181 h 558"/>
                <a:gd name="T50" fmla="*/ 45 w 337"/>
                <a:gd name="T51" fmla="*/ 190 h 558"/>
                <a:gd name="T52" fmla="*/ 43 w 337"/>
                <a:gd name="T53" fmla="*/ 188 h 558"/>
                <a:gd name="T54" fmla="*/ 48 w 337"/>
                <a:gd name="T55" fmla="*/ 178 h 558"/>
                <a:gd name="T56" fmla="*/ 40 w 337"/>
                <a:gd name="T57" fmla="*/ 181 h 558"/>
                <a:gd name="T58" fmla="*/ 45 w 337"/>
                <a:gd name="T59" fmla="*/ 178 h 558"/>
                <a:gd name="T60" fmla="*/ 36 w 337"/>
                <a:gd name="T61" fmla="*/ 176 h 558"/>
                <a:gd name="T62" fmla="*/ 90 w 337"/>
                <a:gd name="T63" fmla="*/ 173 h 558"/>
                <a:gd name="T64" fmla="*/ 50 w 337"/>
                <a:gd name="T65" fmla="*/ 173 h 558"/>
                <a:gd name="T66" fmla="*/ 43 w 337"/>
                <a:gd name="T67" fmla="*/ 169 h 558"/>
                <a:gd name="T68" fmla="*/ 95 w 337"/>
                <a:gd name="T69" fmla="*/ 164 h 558"/>
                <a:gd name="T70" fmla="*/ 2 w 337"/>
                <a:gd name="T71" fmla="*/ 162 h 558"/>
                <a:gd name="T72" fmla="*/ 64 w 337"/>
                <a:gd name="T73" fmla="*/ 159 h 558"/>
                <a:gd name="T74" fmla="*/ 74 w 337"/>
                <a:gd name="T75" fmla="*/ 150 h 558"/>
                <a:gd name="T76" fmla="*/ 107 w 337"/>
                <a:gd name="T77" fmla="*/ 150 h 558"/>
                <a:gd name="T78" fmla="*/ 116 w 337"/>
                <a:gd name="T79" fmla="*/ 135 h 558"/>
                <a:gd name="T80" fmla="*/ 183 w 337"/>
                <a:gd name="T81" fmla="*/ 109 h 558"/>
                <a:gd name="T82" fmla="*/ 178 w 337"/>
                <a:gd name="T83" fmla="*/ 109 h 558"/>
                <a:gd name="T84" fmla="*/ 192 w 337"/>
                <a:gd name="T85" fmla="*/ 95 h 558"/>
                <a:gd name="T86" fmla="*/ 93 w 337"/>
                <a:gd name="T87" fmla="*/ 93 h 558"/>
                <a:gd name="T88" fmla="*/ 199 w 337"/>
                <a:gd name="T89" fmla="*/ 95 h 558"/>
                <a:gd name="T90" fmla="*/ 183 w 337"/>
                <a:gd name="T91" fmla="*/ 88 h 558"/>
                <a:gd name="T92" fmla="*/ 204 w 337"/>
                <a:gd name="T93" fmla="*/ 85 h 558"/>
                <a:gd name="T94" fmla="*/ 202 w 337"/>
                <a:gd name="T95" fmla="*/ 85 h 558"/>
                <a:gd name="T96" fmla="*/ 188 w 337"/>
                <a:gd name="T97" fmla="*/ 83 h 558"/>
                <a:gd name="T98" fmla="*/ 207 w 337"/>
                <a:gd name="T99" fmla="*/ 78 h 558"/>
                <a:gd name="T100" fmla="*/ 240 w 337"/>
                <a:gd name="T101" fmla="*/ 38 h 558"/>
                <a:gd name="T102" fmla="*/ 242 w 337"/>
                <a:gd name="T103" fmla="*/ 38 h 558"/>
                <a:gd name="T104" fmla="*/ 252 w 337"/>
                <a:gd name="T105" fmla="*/ 40 h 558"/>
                <a:gd name="T106" fmla="*/ 230 w 337"/>
                <a:gd name="T107" fmla="*/ 26 h 558"/>
                <a:gd name="T108" fmla="*/ 240 w 337"/>
                <a:gd name="T109" fmla="*/ 24 h 558"/>
                <a:gd name="T110" fmla="*/ 254 w 337"/>
                <a:gd name="T111" fmla="*/ 14 h 558"/>
                <a:gd name="T112" fmla="*/ 259 w 337"/>
                <a:gd name="T113" fmla="*/ 12 h 558"/>
                <a:gd name="T114" fmla="*/ 252 w 337"/>
                <a:gd name="T115" fmla="*/ 14 h 558"/>
                <a:gd name="T116" fmla="*/ 247 w 337"/>
                <a:gd name="T117" fmla="*/ 12 h 558"/>
                <a:gd name="T118" fmla="*/ 259 w 337"/>
                <a:gd name="T119" fmla="*/ 2 h 558"/>
                <a:gd name="T120" fmla="*/ 254 w 337"/>
                <a:gd name="T121" fmla="*/ 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7" h="558">
                  <a:moveTo>
                    <a:pt x="78" y="556"/>
                  </a:moveTo>
                  <a:lnTo>
                    <a:pt x="78" y="558"/>
                  </a:lnTo>
                  <a:lnTo>
                    <a:pt x="78" y="556"/>
                  </a:lnTo>
                  <a:lnTo>
                    <a:pt x="78" y="558"/>
                  </a:lnTo>
                  <a:lnTo>
                    <a:pt x="76" y="556"/>
                  </a:lnTo>
                  <a:lnTo>
                    <a:pt x="78" y="556"/>
                  </a:lnTo>
                  <a:close/>
                  <a:moveTo>
                    <a:pt x="76" y="556"/>
                  </a:moveTo>
                  <a:lnTo>
                    <a:pt x="76" y="553"/>
                  </a:lnTo>
                  <a:lnTo>
                    <a:pt x="76" y="556"/>
                  </a:lnTo>
                  <a:close/>
                  <a:moveTo>
                    <a:pt x="76" y="553"/>
                  </a:moveTo>
                  <a:lnTo>
                    <a:pt x="76" y="556"/>
                  </a:lnTo>
                  <a:lnTo>
                    <a:pt x="78" y="556"/>
                  </a:lnTo>
                  <a:lnTo>
                    <a:pt x="76" y="556"/>
                  </a:lnTo>
                  <a:lnTo>
                    <a:pt x="76" y="553"/>
                  </a:lnTo>
                  <a:close/>
                  <a:moveTo>
                    <a:pt x="78" y="553"/>
                  </a:moveTo>
                  <a:lnTo>
                    <a:pt x="78" y="556"/>
                  </a:lnTo>
                  <a:lnTo>
                    <a:pt x="78" y="553"/>
                  </a:lnTo>
                  <a:close/>
                  <a:moveTo>
                    <a:pt x="221" y="520"/>
                  </a:moveTo>
                  <a:lnTo>
                    <a:pt x="221" y="518"/>
                  </a:lnTo>
                  <a:lnTo>
                    <a:pt x="221" y="520"/>
                  </a:lnTo>
                  <a:close/>
                  <a:moveTo>
                    <a:pt x="244" y="518"/>
                  </a:moveTo>
                  <a:lnTo>
                    <a:pt x="242" y="518"/>
                  </a:lnTo>
                  <a:lnTo>
                    <a:pt x="244" y="518"/>
                  </a:lnTo>
                  <a:lnTo>
                    <a:pt x="244" y="515"/>
                  </a:lnTo>
                  <a:lnTo>
                    <a:pt x="242" y="515"/>
                  </a:lnTo>
                  <a:lnTo>
                    <a:pt x="244" y="515"/>
                  </a:lnTo>
                  <a:lnTo>
                    <a:pt x="244" y="518"/>
                  </a:lnTo>
                  <a:lnTo>
                    <a:pt x="247" y="518"/>
                  </a:lnTo>
                  <a:lnTo>
                    <a:pt x="249" y="518"/>
                  </a:lnTo>
                  <a:lnTo>
                    <a:pt x="249" y="520"/>
                  </a:lnTo>
                  <a:lnTo>
                    <a:pt x="249" y="518"/>
                  </a:lnTo>
                  <a:lnTo>
                    <a:pt x="249" y="520"/>
                  </a:lnTo>
                  <a:lnTo>
                    <a:pt x="252" y="520"/>
                  </a:lnTo>
                  <a:lnTo>
                    <a:pt x="249" y="520"/>
                  </a:lnTo>
                  <a:lnTo>
                    <a:pt x="247" y="520"/>
                  </a:lnTo>
                  <a:lnTo>
                    <a:pt x="247" y="523"/>
                  </a:lnTo>
                  <a:lnTo>
                    <a:pt x="247" y="525"/>
                  </a:lnTo>
                  <a:lnTo>
                    <a:pt x="244" y="525"/>
                  </a:lnTo>
                  <a:lnTo>
                    <a:pt x="242" y="525"/>
                  </a:lnTo>
                  <a:lnTo>
                    <a:pt x="242" y="523"/>
                  </a:lnTo>
                  <a:lnTo>
                    <a:pt x="240" y="523"/>
                  </a:lnTo>
                  <a:lnTo>
                    <a:pt x="237" y="523"/>
                  </a:lnTo>
                  <a:lnTo>
                    <a:pt x="237" y="520"/>
                  </a:lnTo>
                  <a:lnTo>
                    <a:pt x="235" y="520"/>
                  </a:lnTo>
                  <a:lnTo>
                    <a:pt x="233" y="520"/>
                  </a:lnTo>
                  <a:lnTo>
                    <a:pt x="235" y="520"/>
                  </a:lnTo>
                  <a:lnTo>
                    <a:pt x="235" y="518"/>
                  </a:lnTo>
                  <a:lnTo>
                    <a:pt x="237" y="518"/>
                  </a:lnTo>
                  <a:lnTo>
                    <a:pt x="240" y="518"/>
                  </a:lnTo>
                  <a:lnTo>
                    <a:pt x="242" y="518"/>
                  </a:lnTo>
                  <a:lnTo>
                    <a:pt x="242" y="515"/>
                  </a:lnTo>
                  <a:lnTo>
                    <a:pt x="244" y="515"/>
                  </a:lnTo>
                  <a:lnTo>
                    <a:pt x="242" y="518"/>
                  </a:lnTo>
                  <a:lnTo>
                    <a:pt x="244" y="518"/>
                  </a:lnTo>
                  <a:close/>
                  <a:moveTo>
                    <a:pt x="254" y="513"/>
                  </a:moveTo>
                  <a:lnTo>
                    <a:pt x="254" y="511"/>
                  </a:lnTo>
                  <a:lnTo>
                    <a:pt x="254" y="513"/>
                  </a:lnTo>
                  <a:close/>
                  <a:moveTo>
                    <a:pt x="133" y="496"/>
                  </a:moveTo>
                  <a:lnTo>
                    <a:pt x="131" y="496"/>
                  </a:lnTo>
                  <a:lnTo>
                    <a:pt x="131" y="494"/>
                  </a:lnTo>
                  <a:lnTo>
                    <a:pt x="133" y="494"/>
                  </a:lnTo>
                  <a:lnTo>
                    <a:pt x="133" y="496"/>
                  </a:lnTo>
                  <a:close/>
                  <a:moveTo>
                    <a:pt x="304" y="485"/>
                  </a:moveTo>
                  <a:lnTo>
                    <a:pt x="306" y="485"/>
                  </a:lnTo>
                  <a:lnTo>
                    <a:pt x="304" y="485"/>
                  </a:lnTo>
                  <a:close/>
                  <a:moveTo>
                    <a:pt x="309" y="482"/>
                  </a:moveTo>
                  <a:lnTo>
                    <a:pt x="309" y="485"/>
                  </a:lnTo>
                  <a:lnTo>
                    <a:pt x="309" y="482"/>
                  </a:lnTo>
                  <a:close/>
                  <a:moveTo>
                    <a:pt x="311" y="482"/>
                  </a:moveTo>
                  <a:lnTo>
                    <a:pt x="313" y="482"/>
                  </a:lnTo>
                  <a:lnTo>
                    <a:pt x="316" y="482"/>
                  </a:lnTo>
                  <a:lnTo>
                    <a:pt x="316" y="485"/>
                  </a:lnTo>
                  <a:lnTo>
                    <a:pt x="318" y="485"/>
                  </a:lnTo>
                  <a:lnTo>
                    <a:pt x="318" y="487"/>
                  </a:lnTo>
                  <a:lnTo>
                    <a:pt x="316" y="487"/>
                  </a:lnTo>
                  <a:lnTo>
                    <a:pt x="313" y="487"/>
                  </a:lnTo>
                  <a:lnTo>
                    <a:pt x="311" y="485"/>
                  </a:lnTo>
                  <a:lnTo>
                    <a:pt x="311" y="487"/>
                  </a:lnTo>
                  <a:lnTo>
                    <a:pt x="311" y="485"/>
                  </a:lnTo>
                  <a:lnTo>
                    <a:pt x="309" y="485"/>
                  </a:lnTo>
                  <a:lnTo>
                    <a:pt x="311" y="485"/>
                  </a:lnTo>
                  <a:lnTo>
                    <a:pt x="311" y="482"/>
                  </a:lnTo>
                  <a:close/>
                  <a:moveTo>
                    <a:pt x="311" y="473"/>
                  </a:moveTo>
                  <a:lnTo>
                    <a:pt x="309" y="473"/>
                  </a:lnTo>
                  <a:lnTo>
                    <a:pt x="311" y="473"/>
                  </a:lnTo>
                  <a:close/>
                  <a:moveTo>
                    <a:pt x="311" y="468"/>
                  </a:moveTo>
                  <a:lnTo>
                    <a:pt x="309" y="468"/>
                  </a:lnTo>
                  <a:lnTo>
                    <a:pt x="311" y="468"/>
                  </a:lnTo>
                  <a:close/>
                  <a:moveTo>
                    <a:pt x="318" y="466"/>
                  </a:moveTo>
                  <a:lnTo>
                    <a:pt x="316" y="466"/>
                  </a:lnTo>
                  <a:lnTo>
                    <a:pt x="318" y="466"/>
                  </a:lnTo>
                  <a:lnTo>
                    <a:pt x="318" y="463"/>
                  </a:lnTo>
                  <a:lnTo>
                    <a:pt x="318" y="466"/>
                  </a:lnTo>
                  <a:close/>
                  <a:moveTo>
                    <a:pt x="109" y="461"/>
                  </a:moveTo>
                  <a:lnTo>
                    <a:pt x="109" y="463"/>
                  </a:lnTo>
                  <a:lnTo>
                    <a:pt x="109" y="461"/>
                  </a:lnTo>
                  <a:close/>
                  <a:moveTo>
                    <a:pt x="337" y="451"/>
                  </a:moveTo>
                  <a:lnTo>
                    <a:pt x="335" y="451"/>
                  </a:lnTo>
                  <a:lnTo>
                    <a:pt x="337" y="451"/>
                  </a:lnTo>
                  <a:close/>
                  <a:moveTo>
                    <a:pt x="128" y="418"/>
                  </a:moveTo>
                  <a:lnTo>
                    <a:pt x="128" y="416"/>
                  </a:lnTo>
                  <a:lnTo>
                    <a:pt x="128" y="418"/>
                  </a:lnTo>
                  <a:close/>
                  <a:moveTo>
                    <a:pt x="133" y="390"/>
                  </a:moveTo>
                  <a:lnTo>
                    <a:pt x="135" y="390"/>
                  </a:lnTo>
                  <a:lnTo>
                    <a:pt x="135" y="392"/>
                  </a:lnTo>
                  <a:lnTo>
                    <a:pt x="133" y="392"/>
                  </a:lnTo>
                  <a:lnTo>
                    <a:pt x="135" y="392"/>
                  </a:lnTo>
                  <a:lnTo>
                    <a:pt x="135" y="394"/>
                  </a:lnTo>
                  <a:lnTo>
                    <a:pt x="135" y="392"/>
                  </a:lnTo>
                  <a:lnTo>
                    <a:pt x="135" y="394"/>
                  </a:lnTo>
                  <a:lnTo>
                    <a:pt x="133" y="394"/>
                  </a:lnTo>
                  <a:lnTo>
                    <a:pt x="133" y="392"/>
                  </a:lnTo>
                  <a:lnTo>
                    <a:pt x="131" y="392"/>
                  </a:lnTo>
                  <a:lnTo>
                    <a:pt x="131" y="390"/>
                  </a:lnTo>
                  <a:lnTo>
                    <a:pt x="133" y="390"/>
                  </a:lnTo>
                  <a:close/>
                  <a:moveTo>
                    <a:pt x="263" y="371"/>
                  </a:moveTo>
                  <a:lnTo>
                    <a:pt x="263" y="368"/>
                  </a:lnTo>
                  <a:lnTo>
                    <a:pt x="263" y="371"/>
                  </a:lnTo>
                  <a:close/>
                  <a:moveTo>
                    <a:pt x="178" y="352"/>
                  </a:moveTo>
                  <a:lnTo>
                    <a:pt x="180" y="352"/>
                  </a:lnTo>
                  <a:lnTo>
                    <a:pt x="180" y="354"/>
                  </a:lnTo>
                  <a:lnTo>
                    <a:pt x="180" y="352"/>
                  </a:lnTo>
                  <a:lnTo>
                    <a:pt x="180" y="354"/>
                  </a:lnTo>
                  <a:lnTo>
                    <a:pt x="180" y="352"/>
                  </a:lnTo>
                  <a:lnTo>
                    <a:pt x="180" y="354"/>
                  </a:lnTo>
                  <a:lnTo>
                    <a:pt x="180" y="352"/>
                  </a:lnTo>
                  <a:lnTo>
                    <a:pt x="178" y="352"/>
                  </a:lnTo>
                  <a:lnTo>
                    <a:pt x="178" y="349"/>
                  </a:lnTo>
                  <a:lnTo>
                    <a:pt x="178" y="347"/>
                  </a:lnTo>
                  <a:lnTo>
                    <a:pt x="178" y="349"/>
                  </a:lnTo>
                  <a:lnTo>
                    <a:pt x="178" y="352"/>
                  </a:lnTo>
                  <a:close/>
                  <a:moveTo>
                    <a:pt x="100" y="333"/>
                  </a:moveTo>
                  <a:lnTo>
                    <a:pt x="102" y="333"/>
                  </a:lnTo>
                  <a:lnTo>
                    <a:pt x="100" y="333"/>
                  </a:lnTo>
                  <a:close/>
                  <a:moveTo>
                    <a:pt x="100" y="333"/>
                  </a:moveTo>
                  <a:lnTo>
                    <a:pt x="100" y="330"/>
                  </a:lnTo>
                  <a:lnTo>
                    <a:pt x="100" y="333"/>
                  </a:lnTo>
                  <a:close/>
                  <a:moveTo>
                    <a:pt x="105" y="321"/>
                  </a:moveTo>
                  <a:lnTo>
                    <a:pt x="102" y="321"/>
                  </a:lnTo>
                  <a:lnTo>
                    <a:pt x="105" y="321"/>
                  </a:lnTo>
                  <a:close/>
                  <a:moveTo>
                    <a:pt x="102" y="290"/>
                  </a:moveTo>
                  <a:lnTo>
                    <a:pt x="102" y="292"/>
                  </a:lnTo>
                  <a:lnTo>
                    <a:pt x="102" y="290"/>
                  </a:lnTo>
                  <a:close/>
                  <a:moveTo>
                    <a:pt x="81" y="290"/>
                  </a:moveTo>
                  <a:lnTo>
                    <a:pt x="83" y="290"/>
                  </a:lnTo>
                  <a:lnTo>
                    <a:pt x="81" y="290"/>
                  </a:lnTo>
                  <a:lnTo>
                    <a:pt x="83" y="292"/>
                  </a:lnTo>
                  <a:lnTo>
                    <a:pt x="81" y="292"/>
                  </a:lnTo>
                  <a:lnTo>
                    <a:pt x="81" y="290"/>
                  </a:lnTo>
                  <a:lnTo>
                    <a:pt x="78" y="290"/>
                  </a:lnTo>
                  <a:lnTo>
                    <a:pt x="81" y="290"/>
                  </a:lnTo>
                  <a:close/>
                  <a:moveTo>
                    <a:pt x="95" y="273"/>
                  </a:moveTo>
                  <a:lnTo>
                    <a:pt x="97" y="273"/>
                  </a:lnTo>
                  <a:lnTo>
                    <a:pt x="95" y="273"/>
                  </a:lnTo>
                  <a:close/>
                  <a:moveTo>
                    <a:pt x="226" y="271"/>
                  </a:moveTo>
                  <a:lnTo>
                    <a:pt x="228" y="271"/>
                  </a:lnTo>
                  <a:lnTo>
                    <a:pt x="226" y="271"/>
                  </a:lnTo>
                  <a:close/>
                  <a:moveTo>
                    <a:pt x="97" y="268"/>
                  </a:moveTo>
                  <a:lnTo>
                    <a:pt x="97" y="271"/>
                  </a:lnTo>
                  <a:lnTo>
                    <a:pt x="95" y="271"/>
                  </a:lnTo>
                  <a:lnTo>
                    <a:pt x="95" y="273"/>
                  </a:lnTo>
                  <a:lnTo>
                    <a:pt x="95" y="271"/>
                  </a:lnTo>
                  <a:lnTo>
                    <a:pt x="97" y="268"/>
                  </a:lnTo>
                  <a:lnTo>
                    <a:pt x="95" y="268"/>
                  </a:lnTo>
                  <a:lnTo>
                    <a:pt x="97" y="268"/>
                  </a:lnTo>
                  <a:close/>
                  <a:moveTo>
                    <a:pt x="123" y="268"/>
                  </a:moveTo>
                  <a:lnTo>
                    <a:pt x="121" y="268"/>
                  </a:lnTo>
                  <a:lnTo>
                    <a:pt x="123" y="268"/>
                  </a:lnTo>
                  <a:close/>
                  <a:moveTo>
                    <a:pt x="123" y="264"/>
                  </a:moveTo>
                  <a:lnTo>
                    <a:pt x="123" y="266"/>
                  </a:lnTo>
                  <a:lnTo>
                    <a:pt x="123" y="264"/>
                  </a:lnTo>
                  <a:close/>
                  <a:moveTo>
                    <a:pt x="116" y="266"/>
                  </a:moveTo>
                  <a:lnTo>
                    <a:pt x="116" y="264"/>
                  </a:lnTo>
                  <a:lnTo>
                    <a:pt x="116" y="266"/>
                  </a:lnTo>
                  <a:close/>
                  <a:moveTo>
                    <a:pt x="114" y="259"/>
                  </a:moveTo>
                  <a:lnTo>
                    <a:pt x="116" y="259"/>
                  </a:lnTo>
                  <a:lnTo>
                    <a:pt x="119" y="259"/>
                  </a:lnTo>
                  <a:lnTo>
                    <a:pt x="119" y="261"/>
                  </a:lnTo>
                  <a:lnTo>
                    <a:pt x="121" y="261"/>
                  </a:lnTo>
                  <a:lnTo>
                    <a:pt x="121" y="264"/>
                  </a:lnTo>
                  <a:lnTo>
                    <a:pt x="121" y="266"/>
                  </a:lnTo>
                  <a:lnTo>
                    <a:pt x="119" y="266"/>
                  </a:lnTo>
                  <a:lnTo>
                    <a:pt x="121" y="266"/>
                  </a:lnTo>
                  <a:lnTo>
                    <a:pt x="121" y="268"/>
                  </a:lnTo>
                  <a:lnTo>
                    <a:pt x="119" y="268"/>
                  </a:lnTo>
                  <a:lnTo>
                    <a:pt x="119" y="266"/>
                  </a:lnTo>
                  <a:lnTo>
                    <a:pt x="116" y="266"/>
                  </a:lnTo>
                  <a:lnTo>
                    <a:pt x="116" y="264"/>
                  </a:lnTo>
                  <a:lnTo>
                    <a:pt x="116" y="261"/>
                  </a:lnTo>
                  <a:lnTo>
                    <a:pt x="114" y="261"/>
                  </a:lnTo>
                  <a:lnTo>
                    <a:pt x="114" y="259"/>
                  </a:lnTo>
                  <a:close/>
                  <a:moveTo>
                    <a:pt x="81" y="252"/>
                  </a:moveTo>
                  <a:lnTo>
                    <a:pt x="81" y="254"/>
                  </a:lnTo>
                  <a:lnTo>
                    <a:pt x="81" y="252"/>
                  </a:lnTo>
                  <a:lnTo>
                    <a:pt x="81" y="254"/>
                  </a:lnTo>
                  <a:lnTo>
                    <a:pt x="78" y="254"/>
                  </a:lnTo>
                  <a:lnTo>
                    <a:pt x="81" y="254"/>
                  </a:lnTo>
                  <a:lnTo>
                    <a:pt x="78" y="254"/>
                  </a:lnTo>
                  <a:lnTo>
                    <a:pt x="78" y="252"/>
                  </a:lnTo>
                  <a:lnTo>
                    <a:pt x="81" y="252"/>
                  </a:lnTo>
                  <a:close/>
                  <a:moveTo>
                    <a:pt x="83" y="247"/>
                  </a:moveTo>
                  <a:lnTo>
                    <a:pt x="83" y="249"/>
                  </a:lnTo>
                  <a:lnTo>
                    <a:pt x="81" y="249"/>
                  </a:lnTo>
                  <a:lnTo>
                    <a:pt x="81" y="252"/>
                  </a:lnTo>
                  <a:lnTo>
                    <a:pt x="83" y="252"/>
                  </a:lnTo>
                  <a:lnTo>
                    <a:pt x="81" y="252"/>
                  </a:lnTo>
                  <a:lnTo>
                    <a:pt x="78" y="252"/>
                  </a:lnTo>
                  <a:lnTo>
                    <a:pt x="81" y="252"/>
                  </a:lnTo>
                  <a:lnTo>
                    <a:pt x="78" y="252"/>
                  </a:lnTo>
                  <a:lnTo>
                    <a:pt x="81" y="252"/>
                  </a:lnTo>
                  <a:lnTo>
                    <a:pt x="78" y="252"/>
                  </a:lnTo>
                  <a:lnTo>
                    <a:pt x="81" y="252"/>
                  </a:lnTo>
                  <a:lnTo>
                    <a:pt x="78" y="252"/>
                  </a:lnTo>
                  <a:lnTo>
                    <a:pt x="81" y="249"/>
                  </a:lnTo>
                  <a:lnTo>
                    <a:pt x="78" y="249"/>
                  </a:lnTo>
                  <a:lnTo>
                    <a:pt x="81" y="249"/>
                  </a:lnTo>
                  <a:lnTo>
                    <a:pt x="83" y="249"/>
                  </a:lnTo>
                  <a:lnTo>
                    <a:pt x="81" y="249"/>
                  </a:lnTo>
                  <a:lnTo>
                    <a:pt x="83" y="247"/>
                  </a:lnTo>
                  <a:lnTo>
                    <a:pt x="81" y="247"/>
                  </a:lnTo>
                  <a:lnTo>
                    <a:pt x="83" y="247"/>
                  </a:lnTo>
                  <a:close/>
                  <a:moveTo>
                    <a:pt x="102" y="247"/>
                  </a:moveTo>
                  <a:lnTo>
                    <a:pt x="102" y="245"/>
                  </a:lnTo>
                  <a:lnTo>
                    <a:pt x="105" y="245"/>
                  </a:lnTo>
                  <a:lnTo>
                    <a:pt x="102" y="247"/>
                  </a:lnTo>
                  <a:close/>
                  <a:moveTo>
                    <a:pt x="102" y="245"/>
                  </a:moveTo>
                  <a:lnTo>
                    <a:pt x="105" y="245"/>
                  </a:lnTo>
                  <a:lnTo>
                    <a:pt x="102" y="245"/>
                  </a:lnTo>
                  <a:close/>
                  <a:moveTo>
                    <a:pt x="97" y="245"/>
                  </a:moveTo>
                  <a:lnTo>
                    <a:pt x="100" y="245"/>
                  </a:lnTo>
                  <a:lnTo>
                    <a:pt x="97" y="245"/>
                  </a:lnTo>
                  <a:lnTo>
                    <a:pt x="100" y="245"/>
                  </a:lnTo>
                  <a:lnTo>
                    <a:pt x="97" y="245"/>
                  </a:lnTo>
                  <a:lnTo>
                    <a:pt x="97" y="247"/>
                  </a:lnTo>
                  <a:lnTo>
                    <a:pt x="97" y="245"/>
                  </a:lnTo>
                  <a:lnTo>
                    <a:pt x="97" y="247"/>
                  </a:lnTo>
                  <a:lnTo>
                    <a:pt x="97" y="245"/>
                  </a:lnTo>
                  <a:lnTo>
                    <a:pt x="97" y="247"/>
                  </a:lnTo>
                  <a:lnTo>
                    <a:pt x="97" y="245"/>
                  </a:lnTo>
                  <a:lnTo>
                    <a:pt x="95" y="245"/>
                  </a:lnTo>
                  <a:lnTo>
                    <a:pt x="97" y="245"/>
                  </a:lnTo>
                  <a:close/>
                  <a:moveTo>
                    <a:pt x="100" y="242"/>
                  </a:moveTo>
                  <a:lnTo>
                    <a:pt x="102" y="242"/>
                  </a:lnTo>
                  <a:lnTo>
                    <a:pt x="102" y="245"/>
                  </a:lnTo>
                  <a:lnTo>
                    <a:pt x="100" y="245"/>
                  </a:lnTo>
                  <a:lnTo>
                    <a:pt x="100" y="242"/>
                  </a:lnTo>
                  <a:close/>
                  <a:moveTo>
                    <a:pt x="97" y="242"/>
                  </a:moveTo>
                  <a:lnTo>
                    <a:pt x="97" y="245"/>
                  </a:lnTo>
                  <a:lnTo>
                    <a:pt x="97" y="242"/>
                  </a:lnTo>
                  <a:close/>
                  <a:moveTo>
                    <a:pt x="97" y="242"/>
                  </a:moveTo>
                  <a:lnTo>
                    <a:pt x="95" y="242"/>
                  </a:lnTo>
                  <a:lnTo>
                    <a:pt x="97" y="242"/>
                  </a:lnTo>
                  <a:close/>
                  <a:moveTo>
                    <a:pt x="100" y="240"/>
                  </a:moveTo>
                  <a:lnTo>
                    <a:pt x="100" y="242"/>
                  </a:lnTo>
                  <a:lnTo>
                    <a:pt x="100" y="240"/>
                  </a:lnTo>
                  <a:lnTo>
                    <a:pt x="100" y="242"/>
                  </a:lnTo>
                  <a:lnTo>
                    <a:pt x="100" y="245"/>
                  </a:lnTo>
                  <a:lnTo>
                    <a:pt x="100" y="242"/>
                  </a:lnTo>
                  <a:lnTo>
                    <a:pt x="100" y="240"/>
                  </a:lnTo>
                  <a:close/>
                  <a:moveTo>
                    <a:pt x="76" y="235"/>
                  </a:moveTo>
                  <a:lnTo>
                    <a:pt x="76" y="238"/>
                  </a:lnTo>
                  <a:lnTo>
                    <a:pt x="74" y="238"/>
                  </a:lnTo>
                  <a:lnTo>
                    <a:pt x="74" y="235"/>
                  </a:lnTo>
                  <a:lnTo>
                    <a:pt x="76" y="235"/>
                  </a:lnTo>
                  <a:close/>
                  <a:moveTo>
                    <a:pt x="105" y="233"/>
                  </a:moveTo>
                  <a:lnTo>
                    <a:pt x="105" y="235"/>
                  </a:lnTo>
                  <a:lnTo>
                    <a:pt x="102" y="235"/>
                  </a:lnTo>
                  <a:lnTo>
                    <a:pt x="102" y="233"/>
                  </a:lnTo>
                  <a:lnTo>
                    <a:pt x="105" y="233"/>
                  </a:lnTo>
                  <a:close/>
                  <a:moveTo>
                    <a:pt x="76" y="233"/>
                  </a:moveTo>
                  <a:lnTo>
                    <a:pt x="76" y="230"/>
                  </a:lnTo>
                  <a:lnTo>
                    <a:pt x="76" y="233"/>
                  </a:lnTo>
                  <a:close/>
                  <a:moveTo>
                    <a:pt x="83" y="230"/>
                  </a:moveTo>
                  <a:lnTo>
                    <a:pt x="83" y="233"/>
                  </a:lnTo>
                  <a:lnTo>
                    <a:pt x="83" y="230"/>
                  </a:lnTo>
                  <a:close/>
                  <a:moveTo>
                    <a:pt x="81" y="230"/>
                  </a:moveTo>
                  <a:lnTo>
                    <a:pt x="78" y="230"/>
                  </a:lnTo>
                  <a:lnTo>
                    <a:pt x="81" y="230"/>
                  </a:lnTo>
                  <a:close/>
                  <a:moveTo>
                    <a:pt x="74" y="228"/>
                  </a:moveTo>
                  <a:lnTo>
                    <a:pt x="74" y="230"/>
                  </a:lnTo>
                  <a:lnTo>
                    <a:pt x="74" y="228"/>
                  </a:lnTo>
                  <a:close/>
                  <a:moveTo>
                    <a:pt x="76" y="228"/>
                  </a:moveTo>
                  <a:lnTo>
                    <a:pt x="74" y="228"/>
                  </a:lnTo>
                  <a:lnTo>
                    <a:pt x="76" y="228"/>
                  </a:lnTo>
                  <a:close/>
                  <a:moveTo>
                    <a:pt x="62" y="228"/>
                  </a:moveTo>
                  <a:lnTo>
                    <a:pt x="64" y="228"/>
                  </a:lnTo>
                  <a:lnTo>
                    <a:pt x="62" y="228"/>
                  </a:lnTo>
                  <a:close/>
                  <a:moveTo>
                    <a:pt x="107" y="226"/>
                  </a:moveTo>
                  <a:lnTo>
                    <a:pt x="107" y="228"/>
                  </a:lnTo>
                  <a:lnTo>
                    <a:pt x="107" y="226"/>
                  </a:lnTo>
                  <a:close/>
                  <a:moveTo>
                    <a:pt x="64" y="226"/>
                  </a:moveTo>
                  <a:lnTo>
                    <a:pt x="64" y="228"/>
                  </a:lnTo>
                  <a:lnTo>
                    <a:pt x="62" y="228"/>
                  </a:lnTo>
                  <a:lnTo>
                    <a:pt x="59" y="228"/>
                  </a:lnTo>
                  <a:lnTo>
                    <a:pt x="59" y="230"/>
                  </a:lnTo>
                  <a:lnTo>
                    <a:pt x="57" y="230"/>
                  </a:lnTo>
                  <a:lnTo>
                    <a:pt x="55" y="230"/>
                  </a:lnTo>
                  <a:lnTo>
                    <a:pt x="57" y="230"/>
                  </a:lnTo>
                  <a:lnTo>
                    <a:pt x="55" y="230"/>
                  </a:lnTo>
                  <a:lnTo>
                    <a:pt x="55" y="228"/>
                  </a:lnTo>
                  <a:lnTo>
                    <a:pt x="57" y="228"/>
                  </a:lnTo>
                  <a:lnTo>
                    <a:pt x="59" y="228"/>
                  </a:lnTo>
                  <a:lnTo>
                    <a:pt x="59" y="226"/>
                  </a:lnTo>
                  <a:lnTo>
                    <a:pt x="62" y="226"/>
                  </a:lnTo>
                  <a:lnTo>
                    <a:pt x="64" y="226"/>
                  </a:lnTo>
                  <a:close/>
                  <a:moveTo>
                    <a:pt x="107" y="226"/>
                  </a:moveTo>
                  <a:lnTo>
                    <a:pt x="105" y="226"/>
                  </a:lnTo>
                  <a:lnTo>
                    <a:pt x="105" y="228"/>
                  </a:lnTo>
                  <a:lnTo>
                    <a:pt x="102" y="230"/>
                  </a:lnTo>
                  <a:lnTo>
                    <a:pt x="102" y="228"/>
                  </a:lnTo>
                  <a:lnTo>
                    <a:pt x="105" y="228"/>
                  </a:lnTo>
                  <a:lnTo>
                    <a:pt x="105" y="226"/>
                  </a:lnTo>
                  <a:lnTo>
                    <a:pt x="107" y="226"/>
                  </a:lnTo>
                  <a:close/>
                  <a:moveTo>
                    <a:pt x="107" y="223"/>
                  </a:moveTo>
                  <a:lnTo>
                    <a:pt x="109" y="223"/>
                  </a:lnTo>
                  <a:lnTo>
                    <a:pt x="107" y="223"/>
                  </a:lnTo>
                  <a:close/>
                  <a:moveTo>
                    <a:pt x="86" y="223"/>
                  </a:moveTo>
                  <a:lnTo>
                    <a:pt x="88" y="223"/>
                  </a:lnTo>
                  <a:lnTo>
                    <a:pt x="86" y="223"/>
                  </a:lnTo>
                  <a:lnTo>
                    <a:pt x="86" y="221"/>
                  </a:lnTo>
                  <a:lnTo>
                    <a:pt x="86" y="223"/>
                  </a:lnTo>
                  <a:close/>
                  <a:moveTo>
                    <a:pt x="74" y="219"/>
                  </a:moveTo>
                  <a:lnTo>
                    <a:pt x="74" y="221"/>
                  </a:lnTo>
                  <a:lnTo>
                    <a:pt x="71" y="221"/>
                  </a:lnTo>
                  <a:lnTo>
                    <a:pt x="71" y="223"/>
                  </a:lnTo>
                  <a:lnTo>
                    <a:pt x="71" y="221"/>
                  </a:lnTo>
                  <a:lnTo>
                    <a:pt x="71" y="223"/>
                  </a:lnTo>
                  <a:lnTo>
                    <a:pt x="69" y="223"/>
                  </a:lnTo>
                  <a:lnTo>
                    <a:pt x="69" y="226"/>
                  </a:lnTo>
                  <a:lnTo>
                    <a:pt x="67" y="226"/>
                  </a:lnTo>
                  <a:lnTo>
                    <a:pt x="67" y="223"/>
                  </a:lnTo>
                  <a:lnTo>
                    <a:pt x="67" y="226"/>
                  </a:lnTo>
                  <a:lnTo>
                    <a:pt x="67" y="223"/>
                  </a:lnTo>
                  <a:lnTo>
                    <a:pt x="67" y="226"/>
                  </a:lnTo>
                  <a:lnTo>
                    <a:pt x="64" y="226"/>
                  </a:lnTo>
                  <a:lnTo>
                    <a:pt x="64" y="223"/>
                  </a:lnTo>
                  <a:lnTo>
                    <a:pt x="67" y="223"/>
                  </a:lnTo>
                  <a:lnTo>
                    <a:pt x="67" y="221"/>
                  </a:lnTo>
                  <a:lnTo>
                    <a:pt x="69" y="221"/>
                  </a:lnTo>
                  <a:lnTo>
                    <a:pt x="69" y="219"/>
                  </a:lnTo>
                  <a:lnTo>
                    <a:pt x="71" y="219"/>
                  </a:lnTo>
                  <a:lnTo>
                    <a:pt x="74" y="219"/>
                  </a:lnTo>
                  <a:close/>
                  <a:moveTo>
                    <a:pt x="33" y="214"/>
                  </a:moveTo>
                  <a:lnTo>
                    <a:pt x="36" y="214"/>
                  </a:lnTo>
                  <a:lnTo>
                    <a:pt x="33" y="214"/>
                  </a:lnTo>
                  <a:close/>
                  <a:moveTo>
                    <a:pt x="93" y="214"/>
                  </a:moveTo>
                  <a:lnTo>
                    <a:pt x="93" y="211"/>
                  </a:lnTo>
                  <a:lnTo>
                    <a:pt x="93" y="214"/>
                  </a:lnTo>
                  <a:lnTo>
                    <a:pt x="95" y="214"/>
                  </a:lnTo>
                  <a:lnTo>
                    <a:pt x="93" y="214"/>
                  </a:lnTo>
                  <a:lnTo>
                    <a:pt x="93" y="211"/>
                  </a:lnTo>
                  <a:lnTo>
                    <a:pt x="93" y="214"/>
                  </a:lnTo>
                  <a:close/>
                  <a:moveTo>
                    <a:pt x="36" y="211"/>
                  </a:moveTo>
                  <a:lnTo>
                    <a:pt x="33" y="211"/>
                  </a:lnTo>
                  <a:lnTo>
                    <a:pt x="36" y="211"/>
                  </a:lnTo>
                  <a:lnTo>
                    <a:pt x="33" y="211"/>
                  </a:lnTo>
                  <a:lnTo>
                    <a:pt x="36" y="214"/>
                  </a:lnTo>
                  <a:lnTo>
                    <a:pt x="33" y="214"/>
                  </a:lnTo>
                  <a:lnTo>
                    <a:pt x="33" y="211"/>
                  </a:lnTo>
                  <a:lnTo>
                    <a:pt x="36" y="211"/>
                  </a:lnTo>
                  <a:close/>
                  <a:moveTo>
                    <a:pt x="78" y="211"/>
                  </a:moveTo>
                  <a:lnTo>
                    <a:pt x="81" y="211"/>
                  </a:lnTo>
                  <a:lnTo>
                    <a:pt x="78" y="211"/>
                  </a:lnTo>
                  <a:close/>
                  <a:moveTo>
                    <a:pt x="36" y="209"/>
                  </a:moveTo>
                  <a:lnTo>
                    <a:pt x="38" y="211"/>
                  </a:lnTo>
                  <a:lnTo>
                    <a:pt x="36" y="211"/>
                  </a:lnTo>
                  <a:lnTo>
                    <a:pt x="36" y="209"/>
                  </a:lnTo>
                  <a:close/>
                  <a:moveTo>
                    <a:pt x="36" y="209"/>
                  </a:moveTo>
                  <a:lnTo>
                    <a:pt x="36" y="207"/>
                  </a:lnTo>
                  <a:lnTo>
                    <a:pt x="36" y="209"/>
                  </a:lnTo>
                  <a:close/>
                  <a:moveTo>
                    <a:pt x="38" y="209"/>
                  </a:moveTo>
                  <a:lnTo>
                    <a:pt x="38" y="207"/>
                  </a:lnTo>
                  <a:lnTo>
                    <a:pt x="38" y="209"/>
                  </a:lnTo>
                  <a:lnTo>
                    <a:pt x="38" y="207"/>
                  </a:lnTo>
                  <a:lnTo>
                    <a:pt x="38" y="209"/>
                  </a:lnTo>
                  <a:close/>
                  <a:moveTo>
                    <a:pt x="93" y="207"/>
                  </a:moveTo>
                  <a:lnTo>
                    <a:pt x="90" y="207"/>
                  </a:lnTo>
                  <a:lnTo>
                    <a:pt x="93" y="207"/>
                  </a:lnTo>
                  <a:close/>
                  <a:moveTo>
                    <a:pt x="83" y="207"/>
                  </a:moveTo>
                  <a:lnTo>
                    <a:pt x="83" y="209"/>
                  </a:lnTo>
                  <a:lnTo>
                    <a:pt x="81" y="209"/>
                  </a:lnTo>
                  <a:lnTo>
                    <a:pt x="81" y="207"/>
                  </a:lnTo>
                  <a:lnTo>
                    <a:pt x="83" y="207"/>
                  </a:lnTo>
                  <a:close/>
                  <a:moveTo>
                    <a:pt x="36" y="204"/>
                  </a:moveTo>
                  <a:lnTo>
                    <a:pt x="38" y="207"/>
                  </a:lnTo>
                  <a:lnTo>
                    <a:pt x="38" y="204"/>
                  </a:lnTo>
                  <a:lnTo>
                    <a:pt x="38" y="207"/>
                  </a:lnTo>
                  <a:lnTo>
                    <a:pt x="40" y="207"/>
                  </a:lnTo>
                  <a:lnTo>
                    <a:pt x="38" y="207"/>
                  </a:lnTo>
                  <a:lnTo>
                    <a:pt x="36" y="207"/>
                  </a:lnTo>
                  <a:lnTo>
                    <a:pt x="38" y="207"/>
                  </a:lnTo>
                  <a:lnTo>
                    <a:pt x="36" y="207"/>
                  </a:lnTo>
                  <a:lnTo>
                    <a:pt x="36" y="204"/>
                  </a:lnTo>
                  <a:close/>
                  <a:moveTo>
                    <a:pt x="67" y="204"/>
                  </a:moveTo>
                  <a:lnTo>
                    <a:pt x="64" y="204"/>
                  </a:lnTo>
                  <a:lnTo>
                    <a:pt x="67" y="204"/>
                  </a:lnTo>
                  <a:close/>
                  <a:moveTo>
                    <a:pt x="43" y="204"/>
                  </a:moveTo>
                  <a:lnTo>
                    <a:pt x="43" y="202"/>
                  </a:lnTo>
                  <a:lnTo>
                    <a:pt x="43" y="204"/>
                  </a:lnTo>
                  <a:close/>
                  <a:moveTo>
                    <a:pt x="45" y="202"/>
                  </a:moveTo>
                  <a:lnTo>
                    <a:pt x="43" y="202"/>
                  </a:lnTo>
                  <a:lnTo>
                    <a:pt x="45" y="202"/>
                  </a:lnTo>
                  <a:lnTo>
                    <a:pt x="43" y="202"/>
                  </a:lnTo>
                  <a:lnTo>
                    <a:pt x="45" y="202"/>
                  </a:lnTo>
                  <a:close/>
                  <a:moveTo>
                    <a:pt x="40" y="200"/>
                  </a:moveTo>
                  <a:lnTo>
                    <a:pt x="40" y="202"/>
                  </a:lnTo>
                  <a:lnTo>
                    <a:pt x="43" y="202"/>
                  </a:lnTo>
                  <a:lnTo>
                    <a:pt x="40" y="202"/>
                  </a:lnTo>
                  <a:lnTo>
                    <a:pt x="43" y="202"/>
                  </a:lnTo>
                  <a:lnTo>
                    <a:pt x="43" y="204"/>
                  </a:lnTo>
                  <a:lnTo>
                    <a:pt x="40" y="204"/>
                  </a:lnTo>
                  <a:lnTo>
                    <a:pt x="43" y="204"/>
                  </a:lnTo>
                  <a:lnTo>
                    <a:pt x="40" y="204"/>
                  </a:lnTo>
                  <a:lnTo>
                    <a:pt x="40" y="207"/>
                  </a:lnTo>
                  <a:lnTo>
                    <a:pt x="38" y="207"/>
                  </a:lnTo>
                  <a:lnTo>
                    <a:pt x="38" y="204"/>
                  </a:lnTo>
                  <a:lnTo>
                    <a:pt x="38" y="207"/>
                  </a:lnTo>
                  <a:lnTo>
                    <a:pt x="38" y="204"/>
                  </a:lnTo>
                  <a:lnTo>
                    <a:pt x="36" y="204"/>
                  </a:lnTo>
                  <a:lnTo>
                    <a:pt x="38" y="204"/>
                  </a:lnTo>
                  <a:lnTo>
                    <a:pt x="38" y="202"/>
                  </a:lnTo>
                  <a:lnTo>
                    <a:pt x="40" y="202"/>
                  </a:lnTo>
                  <a:lnTo>
                    <a:pt x="40" y="200"/>
                  </a:lnTo>
                  <a:close/>
                  <a:moveTo>
                    <a:pt x="78" y="200"/>
                  </a:moveTo>
                  <a:lnTo>
                    <a:pt x="78" y="202"/>
                  </a:lnTo>
                  <a:lnTo>
                    <a:pt x="81" y="202"/>
                  </a:lnTo>
                  <a:lnTo>
                    <a:pt x="78" y="202"/>
                  </a:lnTo>
                  <a:lnTo>
                    <a:pt x="81" y="202"/>
                  </a:lnTo>
                  <a:lnTo>
                    <a:pt x="81" y="204"/>
                  </a:lnTo>
                  <a:lnTo>
                    <a:pt x="78" y="204"/>
                  </a:lnTo>
                  <a:lnTo>
                    <a:pt x="78" y="207"/>
                  </a:lnTo>
                  <a:lnTo>
                    <a:pt x="76" y="207"/>
                  </a:lnTo>
                  <a:lnTo>
                    <a:pt x="76" y="204"/>
                  </a:lnTo>
                  <a:lnTo>
                    <a:pt x="74" y="204"/>
                  </a:lnTo>
                  <a:lnTo>
                    <a:pt x="74" y="202"/>
                  </a:lnTo>
                  <a:lnTo>
                    <a:pt x="74" y="200"/>
                  </a:lnTo>
                  <a:lnTo>
                    <a:pt x="76" y="200"/>
                  </a:lnTo>
                  <a:lnTo>
                    <a:pt x="78" y="200"/>
                  </a:lnTo>
                  <a:close/>
                  <a:moveTo>
                    <a:pt x="71" y="200"/>
                  </a:moveTo>
                  <a:lnTo>
                    <a:pt x="74" y="200"/>
                  </a:lnTo>
                  <a:lnTo>
                    <a:pt x="71" y="200"/>
                  </a:lnTo>
                  <a:lnTo>
                    <a:pt x="69" y="200"/>
                  </a:lnTo>
                  <a:lnTo>
                    <a:pt x="71" y="200"/>
                  </a:lnTo>
                  <a:close/>
                  <a:moveTo>
                    <a:pt x="45" y="197"/>
                  </a:moveTo>
                  <a:lnTo>
                    <a:pt x="45" y="200"/>
                  </a:lnTo>
                  <a:lnTo>
                    <a:pt x="45" y="197"/>
                  </a:lnTo>
                  <a:close/>
                  <a:moveTo>
                    <a:pt x="81" y="195"/>
                  </a:moveTo>
                  <a:lnTo>
                    <a:pt x="83" y="195"/>
                  </a:lnTo>
                  <a:lnTo>
                    <a:pt x="81" y="195"/>
                  </a:lnTo>
                  <a:lnTo>
                    <a:pt x="81" y="197"/>
                  </a:lnTo>
                  <a:lnTo>
                    <a:pt x="81" y="195"/>
                  </a:lnTo>
                  <a:lnTo>
                    <a:pt x="78" y="195"/>
                  </a:lnTo>
                  <a:lnTo>
                    <a:pt x="81" y="195"/>
                  </a:lnTo>
                  <a:close/>
                  <a:moveTo>
                    <a:pt x="93" y="188"/>
                  </a:moveTo>
                  <a:lnTo>
                    <a:pt x="90" y="188"/>
                  </a:lnTo>
                  <a:lnTo>
                    <a:pt x="90" y="185"/>
                  </a:lnTo>
                  <a:lnTo>
                    <a:pt x="93" y="185"/>
                  </a:lnTo>
                  <a:lnTo>
                    <a:pt x="93" y="188"/>
                  </a:lnTo>
                  <a:close/>
                  <a:moveTo>
                    <a:pt x="88" y="185"/>
                  </a:moveTo>
                  <a:lnTo>
                    <a:pt x="90" y="185"/>
                  </a:lnTo>
                  <a:lnTo>
                    <a:pt x="90" y="188"/>
                  </a:lnTo>
                  <a:lnTo>
                    <a:pt x="88" y="188"/>
                  </a:lnTo>
                  <a:lnTo>
                    <a:pt x="88" y="185"/>
                  </a:lnTo>
                  <a:close/>
                  <a:moveTo>
                    <a:pt x="74" y="185"/>
                  </a:moveTo>
                  <a:lnTo>
                    <a:pt x="71" y="185"/>
                  </a:lnTo>
                  <a:lnTo>
                    <a:pt x="74" y="185"/>
                  </a:lnTo>
                  <a:close/>
                  <a:moveTo>
                    <a:pt x="93" y="185"/>
                  </a:moveTo>
                  <a:lnTo>
                    <a:pt x="95" y="185"/>
                  </a:lnTo>
                  <a:lnTo>
                    <a:pt x="93" y="185"/>
                  </a:lnTo>
                  <a:close/>
                  <a:moveTo>
                    <a:pt x="71" y="183"/>
                  </a:moveTo>
                  <a:lnTo>
                    <a:pt x="71" y="185"/>
                  </a:lnTo>
                  <a:lnTo>
                    <a:pt x="71" y="183"/>
                  </a:lnTo>
                  <a:close/>
                  <a:moveTo>
                    <a:pt x="48" y="181"/>
                  </a:moveTo>
                  <a:lnTo>
                    <a:pt x="48" y="183"/>
                  </a:lnTo>
                  <a:lnTo>
                    <a:pt x="48" y="181"/>
                  </a:lnTo>
                  <a:lnTo>
                    <a:pt x="50" y="183"/>
                  </a:lnTo>
                  <a:lnTo>
                    <a:pt x="48" y="183"/>
                  </a:lnTo>
                  <a:lnTo>
                    <a:pt x="48" y="181"/>
                  </a:lnTo>
                  <a:close/>
                  <a:moveTo>
                    <a:pt x="43" y="183"/>
                  </a:moveTo>
                  <a:lnTo>
                    <a:pt x="45" y="183"/>
                  </a:lnTo>
                  <a:lnTo>
                    <a:pt x="45" y="185"/>
                  </a:lnTo>
                  <a:lnTo>
                    <a:pt x="48" y="183"/>
                  </a:lnTo>
                  <a:lnTo>
                    <a:pt x="48" y="185"/>
                  </a:lnTo>
                  <a:lnTo>
                    <a:pt x="45" y="185"/>
                  </a:lnTo>
                  <a:lnTo>
                    <a:pt x="48" y="185"/>
                  </a:lnTo>
                  <a:lnTo>
                    <a:pt x="45" y="185"/>
                  </a:lnTo>
                  <a:lnTo>
                    <a:pt x="48" y="185"/>
                  </a:lnTo>
                  <a:lnTo>
                    <a:pt x="48" y="188"/>
                  </a:lnTo>
                  <a:lnTo>
                    <a:pt x="48" y="190"/>
                  </a:lnTo>
                  <a:lnTo>
                    <a:pt x="45" y="190"/>
                  </a:lnTo>
                  <a:lnTo>
                    <a:pt x="48" y="190"/>
                  </a:lnTo>
                  <a:lnTo>
                    <a:pt x="45" y="190"/>
                  </a:lnTo>
                  <a:lnTo>
                    <a:pt x="43" y="190"/>
                  </a:lnTo>
                  <a:lnTo>
                    <a:pt x="45" y="190"/>
                  </a:lnTo>
                  <a:lnTo>
                    <a:pt x="45" y="192"/>
                  </a:lnTo>
                  <a:lnTo>
                    <a:pt x="48" y="192"/>
                  </a:lnTo>
                  <a:lnTo>
                    <a:pt x="48" y="195"/>
                  </a:lnTo>
                  <a:lnTo>
                    <a:pt x="45" y="195"/>
                  </a:lnTo>
                  <a:lnTo>
                    <a:pt x="43" y="195"/>
                  </a:lnTo>
                  <a:lnTo>
                    <a:pt x="45" y="195"/>
                  </a:lnTo>
                  <a:lnTo>
                    <a:pt x="48" y="195"/>
                  </a:lnTo>
                  <a:lnTo>
                    <a:pt x="48" y="197"/>
                  </a:lnTo>
                  <a:lnTo>
                    <a:pt x="45" y="197"/>
                  </a:lnTo>
                  <a:lnTo>
                    <a:pt x="43" y="197"/>
                  </a:lnTo>
                  <a:lnTo>
                    <a:pt x="40" y="195"/>
                  </a:lnTo>
                  <a:lnTo>
                    <a:pt x="40" y="197"/>
                  </a:lnTo>
                  <a:lnTo>
                    <a:pt x="40" y="195"/>
                  </a:lnTo>
                  <a:lnTo>
                    <a:pt x="43" y="195"/>
                  </a:lnTo>
                  <a:lnTo>
                    <a:pt x="40" y="195"/>
                  </a:lnTo>
                  <a:lnTo>
                    <a:pt x="40" y="192"/>
                  </a:lnTo>
                  <a:lnTo>
                    <a:pt x="40" y="190"/>
                  </a:lnTo>
                  <a:lnTo>
                    <a:pt x="40" y="188"/>
                  </a:lnTo>
                  <a:lnTo>
                    <a:pt x="43" y="188"/>
                  </a:lnTo>
                  <a:lnTo>
                    <a:pt x="43" y="185"/>
                  </a:lnTo>
                  <a:lnTo>
                    <a:pt x="40" y="183"/>
                  </a:lnTo>
                  <a:lnTo>
                    <a:pt x="43" y="183"/>
                  </a:lnTo>
                  <a:lnTo>
                    <a:pt x="43" y="181"/>
                  </a:lnTo>
                  <a:lnTo>
                    <a:pt x="43" y="183"/>
                  </a:lnTo>
                  <a:close/>
                  <a:moveTo>
                    <a:pt x="50" y="178"/>
                  </a:moveTo>
                  <a:lnTo>
                    <a:pt x="48" y="178"/>
                  </a:lnTo>
                  <a:lnTo>
                    <a:pt x="50" y="178"/>
                  </a:lnTo>
                  <a:close/>
                  <a:moveTo>
                    <a:pt x="45" y="178"/>
                  </a:moveTo>
                  <a:lnTo>
                    <a:pt x="48" y="178"/>
                  </a:lnTo>
                  <a:lnTo>
                    <a:pt x="45" y="178"/>
                  </a:lnTo>
                  <a:lnTo>
                    <a:pt x="48" y="178"/>
                  </a:lnTo>
                  <a:lnTo>
                    <a:pt x="45" y="178"/>
                  </a:lnTo>
                  <a:close/>
                  <a:moveTo>
                    <a:pt x="45" y="178"/>
                  </a:moveTo>
                  <a:lnTo>
                    <a:pt x="43" y="178"/>
                  </a:lnTo>
                  <a:lnTo>
                    <a:pt x="45" y="178"/>
                  </a:lnTo>
                  <a:lnTo>
                    <a:pt x="48" y="178"/>
                  </a:lnTo>
                  <a:lnTo>
                    <a:pt x="48" y="181"/>
                  </a:lnTo>
                  <a:lnTo>
                    <a:pt x="48" y="178"/>
                  </a:lnTo>
                  <a:lnTo>
                    <a:pt x="48" y="181"/>
                  </a:lnTo>
                  <a:lnTo>
                    <a:pt x="48" y="178"/>
                  </a:lnTo>
                  <a:lnTo>
                    <a:pt x="48" y="181"/>
                  </a:lnTo>
                  <a:lnTo>
                    <a:pt x="45" y="181"/>
                  </a:lnTo>
                  <a:lnTo>
                    <a:pt x="48" y="181"/>
                  </a:lnTo>
                  <a:lnTo>
                    <a:pt x="45" y="181"/>
                  </a:lnTo>
                  <a:lnTo>
                    <a:pt x="48" y="181"/>
                  </a:lnTo>
                  <a:lnTo>
                    <a:pt x="48" y="183"/>
                  </a:lnTo>
                  <a:lnTo>
                    <a:pt x="45" y="181"/>
                  </a:lnTo>
                  <a:lnTo>
                    <a:pt x="45" y="183"/>
                  </a:lnTo>
                  <a:lnTo>
                    <a:pt x="48" y="183"/>
                  </a:lnTo>
                  <a:lnTo>
                    <a:pt x="45" y="183"/>
                  </a:lnTo>
                  <a:lnTo>
                    <a:pt x="48" y="183"/>
                  </a:lnTo>
                  <a:lnTo>
                    <a:pt x="45" y="183"/>
                  </a:lnTo>
                  <a:lnTo>
                    <a:pt x="45" y="181"/>
                  </a:lnTo>
                  <a:lnTo>
                    <a:pt x="45" y="183"/>
                  </a:lnTo>
                  <a:lnTo>
                    <a:pt x="45" y="181"/>
                  </a:lnTo>
                  <a:lnTo>
                    <a:pt x="43" y="181"/>
                  </a:lnTo>
                  <a:lnTo>
                    <a:pt x="40" y="181"/>
                  </a:lnTo>
                  <a:lnTo>
                    <a:pt x="40" y="178"/>
                  </a:lnTo>
                  <a:lnTo>
                    <a:pt x="43" y="178"/>
                  </a:lnTo>
                  <a:lnTo>
                    <a:pt x="40" y="178"/>
                  </a:lnTo>
                  <a:lnTo>
                    <a:pt x="43" y="178"/>
                  </a:lnTo>
                  <a:lnTo>
                    <a:pt x="45" y="178"/>
                  </a:lnTo>
                  <a:close/>
                  <a:moveTo>
                    <a:pt x="48" y="176"/>
                  </a:moveTo>
                  <a:lnTo>
                    <a:pt x="50" y="176"/>
                  </a:lnTo>
                  <a:lnTo>
                    <a:pt x="50" y="178"/>
                  </a:lnTo>
                  <a:lnTo>
                    <a:pt x="48" y="178"/>
                  </a:lnTo>
                  <a:lnTo>
                    <a:pt x="48" y="176"/>
                  </a:lnTo>
                  <a:lnTo>
                    <a:pt x="50" y="178"/>
                  </a:lnTo>
                  <a:lnTo>
                    <a:pt x="48" y="176"/>
                  </a:lnTo>
                  <a:close/>
                  <a:moveTo>
                    <a:pt x="50" y="176"/>
                  </a:moveTo>
                  <a:lnTo>
                    <a:pt x="50" y="178"/>
                  </a:lnTo>
                  <a:lnTo>
                    <a:pt x="50" y="176"/>
                  </a:lnTo>
                  <a:close/>
                  <a:moveTo>
                    <a:pt x="45" y="176"/>
                  </a:moveTo>
                  <a:lnTo>
                    <a:pt x="48" y="176"/>
                  </a:lnTo>
                  <a:lnTo>
                    <a:pt x="48" y="178"/>
                  </a:lnTo>
                  <a:lnTo>
                    <a:pt x="45" y="178"/>
                  </a:lnTo>
                  <a:lnTo>
                    <a:pt x="45" y="176"/>
                  </a:lnTo>
                  <a:lnTo>
                    <a:pt x="45" y="178"/>
                  </a:lnTo>
                  <a:lnTo>
                    <a:pt x="45" y="176"/>
                  </a:lnTo>
                  <a:lnTo>
                    <a:pt x="48" y="176"/>
                  </a:lnTo>
                  <a:lnTo>
                    <a:pt x="45" y="176"/>
                  </a:lnTo>
                  <a:close/>
                  <a:moveTo>
                    <a:pt x="88" y="178"/>
                  </a:moveTo>
                  <a:lnTo>
                    <a:pt x="88" y="181"/>
                  </a:lnTo>
                  <a:lnTo>
                    <a:pt x="88" y="183"/>
                  </a:lnTo>
                  <a:lnTo>
                    <a:pt x="88" y="185"/>
                  </a:lnTo>
                  <a:lnTo>
                    <a:pt x="86" y="185"/>
                  </a:lnTo>
                  <a:lnTo>
                    <a:pt x="86" y="183"/>
                  </a:lnTo>
                  <a:lnTo>
                    <a:pt x="86" y="181"/>
                  </a:lnTo>
                  <a:lnTo>
                    <a:pt x="86" y="178"/>
                  </a:lnTo>
                  <a:lnTo>
                    <a:pt x="88" y="178"/>
                  </a:lnTo>
                  <a:lnTo>
                    <a:pt x="88" y="176"/>
                  </a:lnTo>
                  <a:lnTo>
                    <a:pt x="88" y="178"/>
                  </a:lnTo>
                  <a:close/>
                  <a:moveTo>
                    <a:pt x="36" y="176"/>
                  </a:moveTo>
                  <a:lnTo>
                    <a:pt x="33" y="176"/>
                  </a:lnTo>
                  <a:lnTo>
                    <a:pt x="36" y="176"/>
                  </a:lnTo>
                  <a:close/>
                  <a:moveTo>
                    <a:pt x="43" y="176"/>
                  </a:moveTo>
                  <a:lnTo>
                    <a:pt x="43" y="173"/>
                  </a:lnTo>
                  <a:lnTo>
                    <a:pt x="43" y="176"/>
                  </a:lnTo>
                  <a:lnTo>
                    <a:pt x="43" y="173"/>
                  </a:lnTo>
                  <a:lnTo>
                    <a:pt x="43" y="176"/>
                  </a:lnTo>
                  <a:lnTo>
                    <a:pt x="40" y="173"/>
                  </a:lnTo>
                  <a:lnTo>
                    <a:pt x="43" y="173"/>
                  </a:lnTo>
                  <a:lnTo>
                    <a:pt x="43" y="176"/>
                  </a:lnTo>
                  <a:close/>
                  <a:moveTo>
                    <a:pt x="40" y="173"/>
                  </a:moveTo>
                  <a:lnTo>
                    <a:pt x="43" y="173"/>
                  </a:lnTo>
                  <a:lnTo>
                    <a:pt x="40" y="173"/>
                  </a:lnTo>
                  <a:lnTo>
                    <a:pt x="43" y="173"/>
                  </a:lnTo>
                  <a:lnTo>
                    <a:pt x="40" y="173"/>
                  </a:lnTo>
                  <a:close/>
                  <a:moveTo>
                    <a:pt x="90" y="173"/>
                  </a:moveTo>
                  <a:lnTo>
                    <a:pt x="88" y="173"/>
                  </a:lnTo>
                  <a:lnTo>
                    <a:pt x="90" y="173"/>
                  </a:lnTo>
                  <a:lnTo>
                    <a:pt x="88" y="176"/>
                  </a:lnTo>
                  <a:lnTo>
                    <a:pt x="88" y="173"/>
                  </a:lnTo>
                  <a:lnTo>
                    <a:pt x="90" y="173"/>
                  </a:lnTo>
                  <a:close/>
                  <a:moveTo>
                    <a:pt x="43" y="169"/>
                  </a:moveTo>
                  <a:lnTo>
                    <a:pt x="40" y="169"/>
                  </a:lnTo>
                  <a:lnTo>
                    <a:pt x="43" y="169"/>
                  </a:lnTo>
                  <a:close/>
                  <a:moveTo>
                    <a:pt x="48" y="166"/>
                  </a:moveTo>
                  <a:lnTo>
                    <a:pt x="45" y="166"/>
                  </a:lnTo>
                  <a:lnTo>
                    <a:pt x="48" y="166"/>
                  </a:lnTo>
                  <a:close/>
                  <a:moveTo>
                    <a:pt x="48" y="166"/>
                  </a:moveTo>
                  <a:lnTo>
                    <a:pt x="50" y="166"/>
                  </a:lnTo>
                  <a:lnTo>
                    <a:pt x="50" y="169"/>
                  </a:lnTo>
                  <a:lnTo>
                    <a:pt x="52" y="169"/>
                  </a:lnTo>
                  <a:lnTo>
                    <a:pt x="50" y="169"/>
                  </a:lnTo>
                  <a:lnTo>
                    <a:pt x="52" y="169"/>
                  </a:lnTo>
                  <a:lnTo>
                    <a:pt x="52" y="171"/>
                  </a:lnTo>
                  <a:lnTo>
                    <a:pt x="50" y="171"/>
                  </a:lnTo>
                  <a:lnTo>
                    <a:pt x="52" y="171"/>
                  </a:lnTo>
                  <a:lnTo>
                    <a:pt x="50" y="171"/>
                  </a:lnTo>
                  <a:lnTo>
                    <a:pt x="52" y="171"/>
                  </a:lnTo>
                  <a:lnTo>
                    <a:pt x="52" y="173"/>
                  </a:lnTo>
                  <a:lnTo>
                    <a:pt x="50" y="173"/>
                  </a:lnTo>
                  <a:lnTo>
                    <a:pt x="48" y="173"/>
                  </a:lnTo>
                  <a:lnTo>
                    <a:pt x="50" y="173"/>
                  </a:lnTo>
                  <a:lnTo>
                    <a:pt x="50" y="176"/>
                  </a:lnTo>
                  <a:lnTo>
                    <a:pt x="48" y="176"/>
                  </a:lnTo>
                  <a:lnTo>
                    <a:pt x="45" y="176"/>
                  </a:lnTo>
                  <a:lnTo>
                    <a:pt x="43" y="176"/>
                  </a:lnTo>
                  <a:lnTo>
                    <a:pt x="45" y="176"/>
                  </a:lnTo>
                  <a:lnTo>
                    <a:pt x="43" y="176"/>
                  </a:lnTo>
                  <a:lnTo>
                    <a:pt x="43" y="173"/>
                  </a:lnTo>
                  <a:lnTo>
                    <a:pt x="40" y="173"/>
                  </a:lnTo>
                  <a:lnTo>
                    <a:pt x="38" y="173"/>
                  </a:lnTo>
                  <a:lnTo>
                    <a:pt x="38" y="171"/>
                  </a:lnTo>
                  <a:lnTo>
                    <a:pt x="38" y="173"/>
                  </a:lnTo>
                  <a:lnTo>
                    <a:pt x="38" y="171"/>
                  </a:lnTo>
                  <a:lnTo>
                    <a:pt x="36" y="171"/>
                  </a:lnTo>
                  <a:lnTo>
                    <a:pt x="38" y="171"/>
                  </a:lnTo>
                  <a:lnTo>
                    <a:pt x="38" y="169"/>
                  </a:lnTo>
                  <a:lnTo>
                    <a:pt x="40" y="169"/>
                  </a:lnTo>
                  <a:lnTo>
                    <a:pt x="43" y="169"/>
                  </a:lnTo>
                  <a:lnTo>
                    <a:pt x="40" y="169"/>
                  </a:lnTo>
                  <a:lnTo>
                    <a:pt x="43" y="169"/>
                  </a:lnTo>
                  <a:lnTo>
                    <a:pt x="43" y="166"/>
                  </a:lnTo>
                  <a:lnTo>
                    <a:pt x="45" y="166"/>
                  </a:lnTo>
                  <a:lnTo>
                    <a:pt x="45" y="169"/>
                  </a:lnTo>
                  <a:lnTo>
                    <a:pt x="43" y="169"/>
                  </a:lnTo>
                  <a:lnTo>
                    <a:pt x="45" y="169"/>
                  </a:lnTo>
                  <a:lnTo>
                    <a:pt x="48" y="169"/>
                  </a:lnTo>
                  <a:lnTo>
                    <a:pt x="45" y="169"/>
                  </a:lnTo>
                  <a:lnTo>
                    <a:pt x="48" y="169"/>
                  </a:lnTo>
                  <a:lnTo>
                    <a:pt x="48" y="166"/>
                  </a:lnTo>
                  <a:lnTo>
                    <a:pt x="50" y="166"/>
                  </a:lnTo>
                  <a:lnTo>
                    <a:pt x="48" y="166"/>
                  </a:lnTo>
                  <a:close/>
                  <a:moveTo>
                    <a:pt x="78" y="166"/>
                  </a:moveTo>
                  <a:lnTo>
                    <a:pt x="78" y="164"/>
                  </a:lnTo>
                  <a:lnTo>
                    <a:pt x="78" y="166"/>
                  </a:lnTo>
                  <a:close/>
                  <a:moveTo>
                    <a:pt x="95" y="164"/>
                  </a:moveTo>
                  <a:lnTo>
                    <a:pt x="93" y="164"/>
                  </a:lnTo>
                  <a:lnTo>
                    <a:pt x="95" y="164"/>
                  </a:lnTo>
                  <a:close/>
                  <a:moveTo>
                    <a:pt x="50" y="164"/>
                  </a:moveTo>
                  <a:lnTo>
                    <a:pt x="50" y="166"/>
                  </a:lnTo>
                  <a:lnTo>
                    <a:pt x="48" y="166"/>
                  </a:lnTo>
                  <a:lnTo>
                    <a:pt x="48" y="164"/>
                  </a:lnTo>
                  <a:lnTo>
                    <a:pt x="50" y="164"/>
                  </a:lnTo>
                  <a:close/>
                  <a:moveTo>
                    <a:pt x="52" y="164"/>
                  </a:moveTo>
                  <a:lnTo>
                    <a:pt x="52" y="162"/>
                  </a:lnTo>
                  <a:lnTo>
                    <a:pt x="52" y="164"/>
                  </a:lnTo>
                  <a:close/>
                  <a:moveTo>
                    <a:pt x="48" y="162"/>
                  </a:moveTo>
                  <a:lnTo>
                    <a:pt x="48" y="164"/>
                  </a:lnTo>
                  <a:lnTo>
                    <a:pt x="45" y="164"/>
                  </a:lnTo>
                  <a:lnTo>
                    <a:pt x="45" y="162"/>
                  </a:lnTo>
                  <a:lnTo>
                    <a:pt x="48" y="162"/>
                  </a:lnTo>
                  <a:close/>
                  <a:moveTo>
                    <a:pt x="48" y="162"/>
                  </a:moveTo>
                  <a:lnTo>
                    <a:pt x="45" y="162"/>
                  </a:lnTo>
                  <a:lnTo>
                    <a:pt x="48" y="162"/>
                  </a:lnTo>
                  <a:close/>
                  <a:moveTo>
                    <a:pt x="2" y="159"/>
                  </a:moveTo>
                  <a:lnTo>
                    <a:pt x="5" y="162"/>
                  </a:lnTo>
                  <a:lnTo>
                    <a:pt x="2" y="162"/>
                  </a:lnTo>
                  <a:lnTo>
                    <a:pt x="5" y="162"/>
                  </a:lnTo>
                  <a:lnTo>
                    <a:pt x="2" y="162"/>
                  </a:lnTo>
                  <a:lnTo>
                    <a:pt x="2" y="159"/>
                  </a:lnTo>
                  <a:close/>
                  <a:moveTo>
                    <a:pt x="0" y="159"/>
                  </a:moveTo>
                  <a:lnTo>
                    <a:pt x="2" y="159"/>
                  </a:lnTo>
                  <a:lnTo>
                    <a:pt x="0" y="159"/>
                  </a:lnTo>
                  <a:close/>
                  <a:moveTo>
                    <a:pt x="100" y="159"/>
                  </a:moveTo>
                  <a:lnTo>
                    <a:pt x="102" y="159"/>
                  </a:lnTo>
                  <a:lnTo>
                    <a:pt x="100" y="159"/>
                  </a:lnTo>
                  <a:close/>
                  <a:moveTo>
                    <a:pt x="5" y="159"/>
                  </a:moveTo>
                  <a:lnTo>
                    <a:pt x="5" y="157"/>
                  </a:lnTo>
                  <a:lnTo>
                    <a:pt x="7" y="157"/>
                  </a:lnTo>
                  <a:lnTo>
                    <a:pt x="5" y="159"/>
                  </a:lnTo>
                  <a:close/>
                  <a:moveTo>
                    <a:pt x="64" y="157"/>
                  </a:moveTo>
                  <a:lnTo>
                    <a:pt x="67" y="157"/>
                  </a:lnTo>
                  <a:lnTo>
                    <a:pt x="67" y="159"/>
                  </a:lnTo>
                  <a:lnTo>
                    <a:pt x="64" y="159"/>
                  </a:lnTo>
                  <a:lnTo>
                    <a:pt x="64" y="157"/>
                  </a:lnTo>
                  <a:lnTo>
                    <a:pt x="64" y="159"/>
                  </a:lnTo>
                  <a:lnTo>
                    <a:pt x="64" y="157"/>
                  </a:lnTo>
                  <a:close/>
                  <a:moveTo>
                    <a:pt x="105" y="157"/>
                  </a:moveTo>
                  <a:lnTo>
                    <a:pt x="107" y="157"/>
                  </a:lnTo>
                  <a:lnTo>
                    <a:pt x="105" y="157"/>
                  </a:lnTo>
                  <a:lnTo>
                    <a:pt x="107" y="157"/>
                  </a:lnTo>
                  <a:lnTo>
                    <a:pt x="105" y="157"/>
                  </a:lnTo>
                  <a:lnTo>
                    <a:pt x="107" y="157"/>
                  </a:lnTo>
                  <a:lnTo>
                    <a:pt x="105" y="157"/>
                  </a:lnTo>
                  <a:close/>
                  <a:moveTo>
                    <a:pt x="78" y="157"/>
                  </a:moveTo>
                  <a:lnTo>
                    <a:pt x="76" y="157"/>
                  </a:lnTo>
                  <a:lnTo>
                    <a:pt x="78" y="157"/>
                  </a:lnTo>
                  <a:close/>
                  <a:moveTo>
                    <a:pt x="55" y="154"/>
                  </a:moveTo>
                  <a:lnTo>
                    <a:pt x="55" y="157"/>
                  </a:lnTo>
                  <a:lnTo>
                    <a:pt x="52" y="157"/>
                  </a:lnTo>
                  <a:lnTo>
                    <a:pt x="55" y="154"/>
                  </a:lnTo>
                  <a:close/>
                  <a:moveTo>
                    <a:pt x="57" y="154"/>
                  </a:moveTo>
                  <a:lnTo>
                    <a:pt x="55" y="154"/>
                  </a:lnTo>
                  <a:lnTo>
                    <a:pt x="57" y="154"/>
                  </a:lnTo>
                  <a:close/>
                  <a:moveTo>
                    <a:pt x="74" y="150"/>
                  </a:moveTo>
                  <a:lnTo>
                    <a:pt x="74" y="152"/>
                  </a:lnTo>
                  <a:lnTo>
                    <a:pt x="74" y="150"/>
                  </a:lnTo>
                  <a:close/>
                  <a:moveTo>
                    <a:pt x="64" y="152"/>
                  </a:moveTo>
                  <a:lnTo>
                    <a:pt x="64" y="150"/>
                  </a:lnTo>
                  <a:lnTo>
                    <a:pt x="64" y="152"/>
                  </a:lnTo>
                  <a:close/>
                  <a:moveTo>
                    <a:pt x="107" y="150"/>
                  </a:moveTo>
                  <a:lnTo>
                    <a:pt x="109" y="150"/>
                  </a:lnTo>
                  <a:lnTo>
                    <a:pt x="107" y="150"/>
                  </a:lnTo>
                  <a:close/>
                  <a:moveTo>
                    <a:pt x="50" y="150"/>
                  </a:moveTo>
                  <a:lnTo>
                    <a:pt x="52" y="150"/>
                  </a:lnTo>
                  <a:lnTo>
                    <a:pt x="50" y="150"/>
                  </a:lnTo>
                  <a:close/>
                  <a:moveTo>
                    <a:pt x="107" y="147"/>
                  </a:moveTo>
                  <a:lnTo>
                    <a:pt x="107" y="150"/>
                  </a:lnTo>
                  <a:lnTo>
                    <a:pt x="107" y="147"/>
                  </a:lnTo>
                  <a:close/>
                  <a:moveTo>
                    <a:pt x="107" y="150"/>
                  </a:moveTo>
                  <a:lnTo>
                    <a:pt x="105" y="150"/>
                  </a:lnTo>
                  <a:lnTo>
                    <a:pt x="105" y="147"/>
                  </a:lnTo>
                  <a:lnTo>
                    <a:pt x="107" y="147"/>
                  </a:lnTo>
                  <a:lnTo>
                    <a:pt x="107" y="150"/>
                  </a:lnTo>
                  <a:close/>
                  <a:moveTo>
                    <a:pt x="109" y="142"/>
                  </a:moveTo>
                  <a:lnTo>
                    <a:pt x="112" y="142"/>
                  </a:lnTo>
                  <a:lnTo>
                    <a:pt x="109" y="142"/>
                  </a:lnTo>
                  <a:close/>
                  <a:moveTo>
                    <a:pt x="59" y="140"/>
                  </a:moveTo>
                  <a:lnTo>
                    <a:pt x="57" y="140"/>
                  </a:lnTo>
                  <a:lnTo>
                    <a:pt x="59" y="140"/>
                  </a:lnTo>
                  <a:close/>
                  <a:moveTo>
                    <a:pt x="57" y="138"/>
                  </a:moveTo>
                  <a:lnTo>
                    <a:pt x="57" y="140"/>
                  </a:lnTo>
                  <a:lnTo>
                    <a:pt x="57" y="138"/>
                  </a:lnTo>
                  <a:close/>
                  <a:moveTo>
                    <a:pt x="59" y="138"/>
                  </a:moveTo>
                  <a:lnTo>
                    <a:pt x="62" y="138"/>
                  </a:lnTo>
                  <a:lnTo>
                    <a:pt x="62" y="140"/>
                  </a:lnTo>
                  <a:lnTo>
                    <a:pt x="62" y="138"/>
                  </a:lnTo>
                  <a:lnTo>
                    <a:pt x="62" y="140"/>
                  </a:lnTo>
                  <a:lnTo>
                    <a:pt x="59" y="140"/>
                  </a:lnTo>
                  <a:lnTo>
                    <a:pt x="59" y="138"/>
                  </a:lnTo>
                  <a:close/>
                  <a:moveTo>
                    <a:pt x="116" y="135"/>
                  </a:moveTo>
                  <a:lnTo>
                    <a:pt x="114" y="135"/>
                  </a:lnTo>
                  <a:lnTo>
                    <a:pt x="116" y="135"/>
                  </a:lnTo>
                  <a:close/>
                  <a:moveTo>
                    <a:pt x="116" y="131"/>
                  </a:moveTo>
                  <a:lnTo>
                    <a:pt x="114" y="131"/>
                  </a:lnTo>
                  <a:lnTo>
                    <a:pt x="116" y="131"/>
                  </a:lnTo>
                  <a:close/>
                  <a:moveTo>
                    <a:pt x="145" y="121"/>
                  </a:moveTo>
                  <a:lnTo>
                    <a:pt x="145" y="123"/>
                  </a:lnTo>
                  <a:lnTo>
                    <a:pt x="145" y="121"/>
                  </a:lnTo>
                  <a:close/>
                  <a:moveTo>
                    <a:pt x="131" y="121"/>
                  </a:moveTo>
                  <a:lnTo>
                    <a:pt x="133" y="121"/>
                  </a:lnTo>
                  <a:lnTo>
                    <a:pt x="131" y="121"/>
                  </a:lnTo>
                  <a:close/>
                  <a:moveTo>
                    <a:pt x="183" y="116"/>
                  </a:moveTo>
                  <a:lnTo>
                    <a:pt x="183" y="114"/>
                  </a:lnTo>
                  <a:lnTo>
                    <a:pt x="183" y="116"/>
                  </a:lnTo>
                  <a:close/>
                  <a:moveTo>
                    <a:pt x="185" y="107"/>
                  </a:moveTo>
                  <a:lnTo>
                    <a:pt x="183" y="107"/>
                  </a:lnTo>
                  <a:lnTo>
                    <a:pt x="185" y="107"/>
                  </a:lnTo>
                  <a:lnTo>
                    <a:pt x="185" y="109"/>
                  </a:lnTo>
                  <a:lnTo>
                    <a:pt x="183" y="109"/>
                  </a:lnTo>
                  <a:lnTo>
                    <a:pt x="183" y="107"/>
                  </a:lnTo>
                  <a:lnTo>
                    <a:pt x="183" y="109"/>
                  </a:lnTo>
                  <a:lnTo>
                    <a:pt x="183" y="107"/>
                  </a:lnTo>
                  <a:lnTo>
                    <a:pt x="185" y="107"/>
                  </a:lnTo>
                  <a:close/>
                  <a:moveTo>
                    <a:pt x="180" y="107"/>
                  </a:moveTo>
                  <a:lnTo>
                    <a:pt x="183" y="107"/>
                  </a:lnTo>
                  <a:lnTo>
                    <a:pt x="180" y="107"/>
                  </a:lnTo>
                  <a:lnTo>
                    <a:pt x="183" y="107"/>
                  </a:lnTo>
                  <a:lnTo>
                    <a:pt x="180" y="107"/>
                  </a:lnTo>
                  <a:close/>
                  <a:moveTo>
                    <a:pt x="180" y="107"/>
                  </a:moveTo>
                  <a:lnTo>
                    <a:pt x="180" y="104"/>
                  </a:lnTo>
                  <a:lnTo>
                    <a:pt x="180" y="107"/>
                  </a:lnTo>
                  <a:close/>
                  <a:moveTo>
                    <a:pt x="180" y="104"/>
                  </a:moveTo>
                  <a:lnTo>
                    <a:pt x="183" y="104"/>
                  </a:lnTo>
                  <a:lnTo>
                    <a:pt x="180" y="104"/>
                  </a:lnTo>
                  <a:close/>
                  <a:moveTo>
                    <a:pt x="176" y="102"/>
                  </a:moveTo>
                  <a:lnTo>
                    <a:pt x="178" y="104"/>
                  </a:lnTo>
                  <a:lnTo>
                    <a:pt x="180" y="104"/>
                  </a:lnTo>
                  <a:lnTo>
                    <a:pt x="180" y="107"/>
                  </a:lnTo>
                  <a:lnTo>
                    <a:pt x="180" y="109"/>
                  </a:lnTo>
                  <a:lnTo>
                    <a:pt x="178" y="109"/>
                  </a:lnTo>
                  <a:lnTo>
                    <a:pt x="180" y="109"/>
                  </a:lnTo>
                  <a:lnTo>
                    <a:pt x="183" y="109"/>
                  </a:lnTo>
                  <a:lnTo>
                    <a:pt x="180" y="109"/>
                  </a:lnTo>
                  <a:lnTo>
                    <a:pt x="178" y="109"/>
                  </a:lnTo>
                  <a:lnTo>
                    <a:pt x="180" y="109"/>
                  </a:lnTo>
                  <a:lnTo>
                    <a:pt x="178" y="112"/>
                  </a:lnTo>
                  <a:lnTo>
                    <a:pt x="178" y="109"/>
                  </a:lnTo>
                  <a:lnTo>
                    <a:pt x="176" y="109"/>
                  </a:lnTo>
                  <a:lnTo>
                    <a:pt x="176" y="107"/>
                  </a:lnTo>
                  <a:lnTo>
                    <a:pt x="173" y="107"/>
                  </a:lnTo>
                  <a:lnTo>
                    <a:pt x="176" y="107"/>
                  </a:lnTo>
                  <a:lnTo>
                    <a:pt x="173" y="107"/>
                  </a:lnTo>
                  <a:lnTo>
                    <a:pt x="173" y="104"/>
                  </a:lnTo>
                  <a:lnTo>
                    <a:pt x="173" y="102"/>
                  </a:lnTo>
                  <a:lnTo>
                    <a:pt x="176" y="102"/>
                  </a:lnTo>
                  <a:close/>
                  <a:moveTo>
                    <a:pt x="178" y="102"/>
                  </a:moveTo>
                  <a:lnTo>
                    <a:pt x="176" y="102"/>
                  </a:lnTo>
                  <a:lnTo>
                    <a:pt x="178" y="102"/>
                  </a:lnTo>
                  <a:close/>
                  <a:moveTo>
                    <a:pt x="192" y="95"/>
                  </a:moveTo>
                  <a:lnTo>
                    <a:pt x="195" y="95"/>
                  </a:lnTo>
                  <a:lnTo>
                    <a:pt x="192" y="95"/>
                  </a:lnTo>
                  <a:lnTo>
                    <a:pt x="192" y="97"/>
                  </a:lnTo>
                  <a:lnTo>
                    <a:pt x="190" y="97"/>
                  </a:lnTo>
                  <a:lnTo>
                    <a:pt x="190" y="95"/>
                  </a:lnTo>
                  <a:lnTo>
                    <a:pt x="192" y="95"/>
                  </a:lnTo>
                  <a:lnTo>
                    <a:pt x="195" y="95"/>
                  </a:lnTo>
                  <a:lnTo>
                    <a:pt x="192" y="95"/>
                  </a:lnTo>
                  <a:close/>
                  <a:moveTo>
                    <a:pt x="140" y="95"/>
                  </a:moveTo>
                  <a:lnTo>
                    <a:pt x="140" y="93"/>
                  </a:lnTo>
                  <a:lnTo>
                    <a:pt x="140" y="95"/>
                  </a:lnTo>
                  <a:close/>
                  <a:moveTo>
                    <a:pt x="188" y="95"/>
                  </a:moveTo>
                  <a:lnTo>
                    <a:pt x="188" y="93"/>
                  </a:lnTo>
                  <a:lnTo>
                    <a:pt x="188" y="95"/>
                  </a:lnTo>
                  <a:close/>
                  <a:moveTo>
                    <a:pt x="192" y="93"/>
                  </a:moveTo>
                  <a:lnTo>
                    <a:pt x="192" y="90"/>
                  </a:lnTo>
                  <a:lnTo>
                    <a:pt x="192" y="93"/>
                  </a:lnTo>
                  <a:close/>
                  <a:moveTo>
                    <a:pt x="95" y="93"/>
                  </a:moveTo>
                  <a:lnTo>
                    <a:pt x="93" y="93"/>
                  </a:lnTo>
                  <a:lnTo>
                    <a:pt x="93" y="90"/>
                  </a:lnTo>
                  <a:lnTo>
                    <a:pt x="95" y="93"/>
                  </a:lnTo>
                  <a:close/>
                  <a:moveTo>
                    <a:pt x="197" y="90"/>
                  </a:moveTo>
                  <a:lnTo>
                    <a:pt x="197" y="93"/>
                  </a:lnTo>
                  <a:lnTo>
                    <a:pt x="197" y="90"/>
                  </a:lnTo>
                  <a:close/>
                  <a:moveTo>
                    <a:pt x="202" y="90"/>
                  </a:moveTo>
                  <a:lnTo>
                    <a:pt x="199" y="90"/>
                  </a:lnTo>
                  <a:lnTo>
                    <a:pt x="202" y="90"/>
                  </a:lnTo>
                  <a:close/>
                  <a:moveTo>
                    <a:pt x="199" y="90"/>
                  </a:moveTo>
                  <a:lnTo>
                    <a:pt x="202" y="90"/>
                  </a:lnTo>
                  <a:lnTo>
                    <a:pt x="199" y="90"/>
                  </a:lnTo>
                  <a:lnTo>
                    <a:pt x="199" y="93"/>
                  </a:lnTo>
                  <a:lnTo>
                    <a:pt x="202" y="93"/>
                  </a:lnTo>
                  <a:lnTo>
                    <a:pt x="202" y="95"/>
                  </a:lnTo>
                  <a:lnTo>
                    <a:pt x="199" y="95"/>
                  </a:lnTo>
                  <a:lnTo>
                    <a:pt x="199" y="93"/>
                  </a:lnTo>
                  <a:lnTo>
                    <a:pt x="197" y="93"/>
                  </a:lnTo>
                  <a:lnTo>
                    <a:pt x="199" y="93"/>
                  </a:lnTo>
                  <a:lnTo>
                    <a:pt x="199" y="95"/>
                  </a:lnTo>
                  <a:lnTo>
                    <a:pt x="197" y="95"/>
                  </a:lnTo>
                  <a:lnTo>
                    <a:pt x="197" y="93"/>
                  </a:lnTo>
                  <a:lnTo>
                    <a:pt x="199" y="93"/>
                  </a:lnTo>
                  <a:lnTo>
                    <a:pt x="199" y="90"/>
                  </a:lnTo>
                  <a:lnTo>
                    <a:pt x="197" y="90"/>
                  </a:lnTo>
                  <a:lnTo>
                    <a:pt x="199" y="90"/>
                  </a:lnTo>
                  <a:close/>
                  <a:moveTo>
                    <a:pt x="190" y="93"/>
                  </a:moveTo>
                  <a:lnTo>
                    <a:pt x="190" y="90"/>
                  </a:lnTo>
                  <a:lnTo>
                    <a:pt x="190" y="93"/>
                  </a:lnTo>
                  <a:close/>
                  <a:moveTo>
                    <a:pt x="185" y="88"/>
                  </a:moveTo>
                  <a:lnTo>
                    <a:pt x="185" y="90"/>
                  </a:lnTo>
                  <a:lnTo>
                    <a:pt x="188" y="90"/>
                  </a:lnTo>
                  <a:lnTo>
                    <a:pt x="188" y="88"/>
                  </a:lnTo>
                  <a:lnTo>
                    <a:pt x="188" y="90"/>
                  </a:lnTo>
                  <a:lnTo>
                    <a:pt x="188" y="93"/>
                  </a:lnTo>
                  <a:lnTo>
                    <a:pt x="185" y="93"/>
                  </a:lnTo>
                  <a:lnTo>
                    <a:pt x="185" y="90"/>
                  </a:lnTo>
                  <a:lnTo>
                    <a:pt x="183" y="90"/>
                  </a:lnTo>
                  <a:lnTo>
                    <a:pt x="183" y="88"/>
                  </a:lnTo>
                  <a:lnTo>
                    <a:pt x="185" y="88"/>
                  </a:lnTo>
                  <a:close/>
                  <a:moveTo>
                    <a:pt x="192" y="88"/>
                  </a:moveTo>
                  <a:lnTo>
                    <a:pt x="192" y="85"/>
                  </a:lnTo>
                  <a:lnTo>
                    <a:pt x="192" y="88"/>
                  </a:lnTo>
                  <a:close/>
                  <a:moveTo>
                    <a:pt x="197" y="85"/>
                  </a:moveTo>
                  <a:lnTo>
                    <a:pt x="195" y="85"/>
                  </a:lnTo>
                  <a:lnTo>
                    <a:pt x="197" y="85"/>
                  </a:lnTo>
                  <a:close/>
                  <a:moveTo>
                    <a:pt x="195" y="85"/>
                  </a:moveTo>
                  <a:lnTo>
                    <a:pt x="195" y="88"/>
                  </a:lnTo>
                  <a:lnTo>
                    <a:pt x="195" y="90"/>
                  </a:lnTo>
                  <a:lnTo>
                    <a:pt x="192" y="90"/>
                  </a:lnTo>
                  <a:lnTo>
                    <a:pt x="192" y="88"/>
                  </a:lnTo>
                  <a:lnTo>
                    <a:pt x="195" y="88"/>
                  </a:lnTo>
                  <a:lnTo>
                    <a:pt x="195" y="85"/>
                  </a:lnTo>
                  <a:close/>
                  <a:moveTo>
                    <a:pt x="207" y="83"/>
                  </a:moveTo>
                  <a:lnTo>
                    <a:pt x="204" y="83"/>
                  </a:lnTo>
                  <a:lnTo>
                    <a:pt x="204" y="85"/>
                  </a:lnTo>
                  <a:lnTo>
                    <a:pt x="202" y="85"/>
                  </a:lnTo>
                  <a:lnTo>
                    <a:pt x="204" y="85"/>
                  </a:lnTo>
                  <a:lnTo>
                    <a:pt x="202" y="85"/>
                  </a:lnTo>
                  <a:lnTo>
                    <a:pt x="204" y="85"/>
                  </a:lnTo>
                  <a:lnTo>
                    <a:pt x="204" y="88"/>
                  </a:lnTo>
                  <a:lnTo>
                    <a:pt x="204" y="85"/>
                  </a:lnTo>
                  <a:lnTo>
                    <a:pt x="202" y="85"/>
                  </a:lnTo>
                  <a:lnTo>
                    <a:pt x="202" y="88"/>
                  </a:lnTo>
                  <a:lnTo>
                    <a:pt x="202" y="85"/>
                  </a:lnTo>
                  <a:lnTo>
                    <a:pt x="199" y="85"/>
                  </a:lnTo>
                  <a:lnTo>
                    <a:pt x="199" y="88"/>
                  </a:lnTo>
                  <a:lnTo>
                    <a:pt x="197" y="88"/>
                  </a:lnTo>
                  <a:lnTo>
                    <a:pt x="197" y="85"/>
                  </a:lnTo>
                  <a:lnTo>
                    <a:pt x="199" y="85"/>
                  </a:lnTo>
                  <a:lnTo>
                    <a:pt x="199" y="83"/>
                  </a:lnTo>
                  <a:lnTo>
                    <a:pt x="199" y="85"/>
                  </a:lnTo>
                  <a:lnTo>
                    <a:pt x="199" y="83"/>
                  </a:lnTo>
                  <a:lnTo>
                    <a:pt x="202" y="83"/>
                  </a:lnTo>
                  <a:lnTo>
                    <a:pt x="202" y="85"/>
                  </a:lnTo>
                  <a:lnTo>
                    <a:pt x="202" y="83"/>
                  </a:lnTo>
                  <a:lnTo>
                    <a:pt x="202" y="85"/>
                  </a:lnTo>
                  <a:lnTo>
                    <a:pt x="202" y="83"/>
                  </a:lnTo>
                  <a:lnTo>
                    <a:pt x="204" y="83"/>
                  </a:lnTo>
                  <a:lnTo>
                    <a:pt x="207" y="81"/>
                  </a:lnTo>
                  <a:lnTo>
                    <a:pt x="207" y="83"/>
                  </a:lnTo>
                  <a:close/>
                  <a:moveTo>
                    <a:pt x="192" y="81"/>
                  </a:moveTo>
                  <a:lnTo>
                    <a:pt x="190" y="81"/>
                  </a:lnTo>
                  <a:lnTo>
                    <a:pt x="192" y="81"/>
                  </a:lnTo>
                  <a:close/>
                  <a:moveTo>
                    <a:pt x="188" y="81"/>
                  </a:moveTo>
                  <a:lnTo>
                    <a:pt x="188" y="83"/>
                  </a:lnTo>
                  <a:lnTo>
                    <a:pt x="190" y="83"/>
                  </a:lnTo>
                  <a:lnTo>
                    <a:pt x="190" y="85"/>
                  </a:lnTo>
                  <a:lnTo>
                    <a:pt x="190" y="83"/>
                  </a:lnTo>
                  <a:lnTo>
                    <a:pt x="192" y="83"/>
                  </a:lnTo>
                  <a:lnTo>
                    <a:pt x="192" y="85"/>
                  </a:lnTo>
                  <a:lnTo>
                    <a:pt x="190" y="85"/>
                  </a:lnTo>
                  <a:lnTo>
                    <a:pt x="190" y="83"/>
                  </a:lnTo>
                  <a:lnTo>
                    <a:pt x="188" y="83"/>
                  </a:lnTo>
                  <a:lnTo>
                    <a:pt x="188" y="85"/>
                  </a:lnTo>
                  <a:lnTo>
                    <a:pt x="188" y="83"/>
                  </a:lnTo>
                  <a:lnTo>
                    <a:pt x="185" y="83"/>
                  </a:lnTo>
                  <a:lnTo>
                    <a:pt x="185" y="81"/>
                  </a:lnTo>
                  <a:lnTo>
                    <a:pt x="188" y="81"/>
                  </a:lnTo>
                  <a:lnTo>
                    <a:pt x="188" y="78"/>
                  </a:lnTo>
                  <a:lnTo>
                    <a:pt x="188" y="81"/>
                  </a:lnTo>
                  <a:lnTo>
                    <a:pt x="190" y="81"/>
                  </a:lnTo>
                  <a:lnTo>
                    <a:pt x="188" y="81"/>
                  </a:lnTo>
                  <a:close/>
                  <a:moveTo>
                    <a:pt x="192" y="78"/>
                  </a:moveTo>
                  <a:lnTo>
                    <a:pt x="190" y="78"/>
                  </a:lnTo>
                  <a:lnTo>
                    <a:pt x="190" y="81"/>
                  </a:lnTo>
                  <a:lnTo>
                    <a:pt x="190" y="78"/>
                  </a:lnTo>
                  <a:lnTo>
                    <a:pt x="192" y="78"/>
                  </a:lnTo>
                  <a:lnTo>
                    <a:pt x="190" y="78"/>
                  </a:lnTo>
                  <a:lnTo>
                    <a:pt x="192" y="78"/>
                  </a:lnTo>
                  <a:close/>
                  <a:moveTo>
                    <a:pt x="207" y="78"/>
                  </a:moveTo>
                  <a:lnTo>
                    <a:pt x="207" y="81"/>
                  </a:lnTo>
                  <a:lnTo>
                    <a:pt x="204" y="81"/>
                  </a:lnTo>
                  <a:lnTo>
                    <a:pt x="204" y="78"/>
                  </a:lnTo>
                  <a:lnTo>
                    <a:pt x="207" y="78"/>
                  </a:lnTo>
                  <a:close/>
                  <a:moveTo>
                    <a:pt x="233" y="69"/>
                  </a:moveTo>
                  <a:lnTo>
                    <a:pt x="233" y="71"/>
                  </a:lnTo>
                  <a:lnTo>
                    <a:pt x="230" y="71"/>
                  </a:lnTo>
                  <a:lnTo>
                    <a:pt x="233" y="71"/>
                  </a:lnTo>
                  <a:lnTo>
                    <a:pt x="230" y="71"/>
                  </a:lnTo>
                  <a:lnTo>
                    <a:pt x="233" y="71"/>
                  </a:lnTo>
                  <a:lnTo>
                    <a:pt x="233" y="69"/>
                  </a:lnTo>
                  <a:close/>
                  <a:moveTo>
                    <a:pt x="242" y="47"/>
                  </a:moveTo>
                  <a:lnTo>
                    <a:pt x="240" y="47"/>
                  </a:lnTo>
                  <a:lnTo>
                    <a:pt x="242" y="47"/>
                  </a:lnTo>
                  <a:close/>
                  <a:moveTo>
                    <a:pt x="240" y="43"/>
                  </a:moveTo>
                  <a:lnTo>
                    <a:pt x="242" y="45"/>
                  </a:lnTo>
                  <a:lnTo>
                    <a:pt x="240" y="45"/>
                  </a:lnTo>
                  <a:lnTo>
                    <a:pt x="240" y="43"/>
                  </a:lnTo>
                  <a:close/>
                  <a:moveTo>
                    <a:pt x="240" y="38"/>
                  </a:moveTo>
                  <a:lnTo>
                    <a:pt x="242" y="38"/>
                  </a:lnTo>
                  <a:lnTo>
                    <a:pt x="242" y="40"/>
                  </a:lnTo>
                  <a:lnTo>
                    <a:pt x="240" y="40"/>
                  </a:lnTo>
                  <a:lnTo>
                    <a:pt x="240" y="38"/>
                  </a:lnTo>
                  <a:close/>
                  <a:moveTo>
                    <a:pt x="242" y="38"/>
                  </a:moveTo>
                  <a:lnTo>
                    <a:pt x="242" y="40"/>
                  </a:lnTo>
                  <a:lnTo>
                    <a:pt x="242" y="38"/>
                  </a:lnTo>
                  <a:lnTo>
                    <a:pt x="242" y="40"/>
                  </a:lnTo>
                  <a:lnTo>
                    <a:pt x="242" y="38"/>
                  </a:lnTo>
                  <a:close/>
                  <a:moveTo>
                    <a:pt x="244" y="38"/>
                  </a:moveTo>
                  <a:lnTo>
                    <a:pt x="244" y="40"/>
                  </a:lnTo>
                  <a:lnTo>
                    <a:pt x="242" y="40"/>
                  </a:lnTo>
                  <a:lnTo>
                    <a:pt x="242" y="43"/>
                  </a:lnTo>
                  <a:lnTo>
                    <a:pt x="242" y="40"/>
                  </a:lnTo>
                  <a:lnTo>
                    <a:pt x="242" y="43"/>
                  </a:lnTo>
                  <a:lnTo>
                    <a:pt x="240" y="43"/>
                  </a:lnTo>
                  <a:lnTo>
                    <a:pt x="242" y="43"/>
                  </a:lnTo>
                  <a:lnTo>
                    <a:pt x="242" y="40"/>
                  </a:lnTo>
                  <a:lnTo>
                    <a:pt x="242" y="38"/>
                  </a:lnTo>
                  <a:lnTo>
                    <a:pt x="244" y="38"/>
                  </a:lnTo>
                  <a:close/>
                  <a:moveTo>
                    <a:pt x="242" y="38"/>
                  </a:moveTo>
                  <a:lnTo>
                    <a:pt x="240" y="38"/>
                  </a:lnTo>
                  <a:lnTo>
                    <a:pt x="242" y="38"/>
                  </a:lnTo>
                  <a:close/>
                  <a:moveTo>
                    <a:pt x="252" y="38"/>
                  </a:moveTo>
                  <a:lnTo>
                    <a:pt x="254" y="38"/>
                  </a:lnTo>
                  <a:lnTo>
                    <a:pt x="252" y="38"/>
                  </a:lnTo>
                  <a:close/>
                  <a:moveTo>
                    <a:pt x="218" y="38"/>
                  </a:moveTo>
                  <a:lnTo>
                    <a:pt x="218" y="40"/>
                  </a:lnTo>
                  <a:lnTo>
                    <a:pt x="216" y="40"/>
                  </a:lnTo>
                  <a:lnTo>
                    <a:pt x="216" y="38"/>
                  </a:lnTo>
                  <a:lnTo>
                    <a:pt x="218" y="38"/>
                  </a:lnTo>
                  <a:close/>
                  <a:moveTo>
                    <a:pt x="252" y="36"/>
                  </a:moveTo>
                  <a:lnTo>
                    <a:pt x="249" y="36"/>
                  </a:lnTo>
                  <a:lnTo>
                    <a:pt x="252" y="36"/>
                  </a:lnTo>
                  <a:lnTo>
                    <a:pt x="249" y="36"/>
                  </a:lnTo>
                  <a:lnTo>
                    <a:pt x="252" y="36"/>
                  </a:lnTo>
                  <a:lnTo>
                    <a:pt x="249" y="36"/>
                  </a:lnTo>
                  <a:lnTo>
                    <a:pt x="249" y="38"/>
                  </a:lnTo>
                  <a:lnTo>
                    <a:pt x="252" y="38"/>
                  </a:lnTo>
                  <a:lnTo>
                    <a:pt x="252" y="36"/>
                  </a:lnTo>
                  <a:lnTo>
                    <a:pt x="252" y="38"/>
                  </a:lnTo>
                  <a:lnTo>
                    <a:pt x="252" y="40"/>
                  </a:lnTo>
                  <a:lnTo>
                    <a:pt x="249" y="40"/>
                  </a:lnTo>
                  <a:lnTo>
                    <a:pt x="249" y="38"/>
                  </a:lnTo>
                  <a:lnTo>
                    <a:pt x="249" y="36"/>
                  </a:lnTo>
                  <a:lnTo>
                    <a:pt x="247" y="36"/>
                  </a:lnTo>
                  <a:lnTo>
                    <a:pt x="249" y="36"/>
                  </a:lnTo>
                  <a:lnTo>
                    <a:pt x="252" y="36"/>
                  </a:lnTo>
                  <a:close/>
                  <a:moveTo>
                    <a:pt x="235" y="33"/>
                  </a:moveTo>
                  <a:lnTo>
                    <a:pt x="235" y="36"/>
                  </a:lnTo>
                  <a:lnTo>
                    <a:pt x="233" y="36"/>
                  </a:lnTo>
                  <a:lnTo>
                    <a:pt x="233" y="33"/>
                  </a:lnTo>
                  <a:lnTo>
                    <a:pt x="235" y="33"/>
                  </a:lnTo>
                  <a:close/>
                  <a:moveTo>
                    <a:pt x="240" y="28"/>
                  </a:moveTo>
                  <a:lnTo>
                    <a:pt x="240" y="26"/>
                  </a:lnTo>
                  <a:lnTo>
                    <a:pt x="240" y="28"/>
                  </a:lnTo>
                  <a:close/>
                  <a:moveTo>
                    <a:pt x="230" y="26"/>
                  </a:moveTo>
                  <a:lnTo>
                    <a:pt x="230" y="28"/>
                  </a:lnTo>
                  <a:lnTo>
                    <a:pt x="230" y="26"/>
                  </a:lnTo>
                  <a:lnTo>
                    <a:pt x="230" y="28"/>
                  </a:lnTo>
                  <a:lnTo>
                    <a:pt x="230" y="26"/>
                  </a:lnTo>
                  <a:lnTo>
                    <a:pt x="230" y="28"/>
                  </a:lnTo>
                  <a:lnTo>
                    <a:pt x="228" y="28"/>
                  </a:lnTo>
                  <a:lnTo>
                    <a:pt x="228" y="26"/>
                  </a:lnTo>
                  <a:lnTo>
                    <a:pt x="230" y="26"/>
                  </a:lnTo>
                  <a:close/>
                  <a:moveTo>
                    <a:pt x="242" y="26"/>
                  </a:moveTo>
                  <a:lnTo>
                    <a:pt x="240" y="26"/>
                  </a:lnTo>
                  <a:lnTo>
                    <a:pt x="242" y="26"/>
                  </a:lnTo>
                  <a:close/>
                  <a:moveTo>
                    <a:pt x="256" y="26"/>
                  </a:moveTo>
                  <a:lnTo>
                    <a:pt x="254" y="26"/>
                  </a:lnTo>
                  <a:lnTo>
                    <a:pt x="254" y="28"/>
                  </a:lnTo>
                  <a:lnTo>
                    <a:pt x="252" y="28"/>
                  </a:lnTo>
                  <a:lnTo>
                    <a:pt x="252" y="26"/>
                  </a:lnTo>
                  <a:lnTo>
                    <a:pt x="252" y="28"/>
                  </a:lnTo>
                  <a:lnTo>
                    <a:pt x="252" y="26"/>
                  </a:lnTo>
                  <a:lnTo>
                    <a:pt x="254" y="26"/>
                  </a:lnTo>
                  <a:lnTo>
                    <a:pt x="252" y="26"/>
                  </a:lnTo>
                  <a:lnTo>
                    <a:pt x="254" y="26"/>
                  </a:lnTo>
                  <a:lnTo>
                    <a:pt x="256" y="26"/>
                  </a:lnTo>
                  <a:close/>
                  <a:moveTo>
                    <a:pt x="240" y="24"/>
                  </a:moveTo>
                  <a:lnTo>
                    <a:pt x="240" y="26"/>
                  </a:lnTo>
                  <a:lnTo>
                    <a:pt x="237" y="26"/>
                  </a:lnTo>
                  <a:lnTo>
                    <a:pt x="237" y="24"/>
                  </a:lnTo>
                  <a:lnTo>
                    <a:pt x="240" y="24"/>
                  </a:lnTo>
                  <a:close/>
                  <a:moveTo>
                    <a:pt x="261" y="21"/>
                  </a:moveTo>
                  <a:lnTo>
                    <a:pt x="261" y="24"/>
                  </a:lnTo>
                  <a:lnTo>
                    <a:pt x="259" y="24"/>
                  </a:lnTo>
                  <a:lnTo>
                    <a:pt x="261" y="24"/>
                  </a:lnTo>
                  <a:lnTo>
                    <a:pt x="261" y="21"/>
                  </a:lnTo>
                  <a:close/>
                  <a:moveTo>
                    <a:pt x="249" y="21"/>
                  </a:moveTo>
                  <a:lnTo>
                    <a:pt x="247" y="21"/>
                  </a:lnTo>
                  <a:lnTo>
                    <a:pt x="249" y="21"/>
                  </a:lnTo>
                  <a:close/>
                  <a:moveTo>
                    <a:pt x="244" y="19"/>
                  </a:moveTo>
                  <a:lnTo>
                    <a:pt x="242" y="19"/>
                  </a:lnTo>
                  <a:lnTo>
                    <a:pt x="244" y="19"/>
                  </a:lnTo>
                  <a:lnTo>
                    <a:pt x="244" y="17"/>
                  </a:lnTo>
                  <a:lnTo>
                    <a:pt x="244" y="19"/>
                  </a:lnTo>
                  <a:close/>
                  <a:moveTo>
                    <a:pt x="254" y="12"/>
                  </a:moveTo>
                  <a:lnTo>
                    <a:pt x="254" y="14"/>
                  </a:lnTo>
                  <a:lnTo>
                    <a:pt x="252" y="14"/>
                  </a:lnTo>
                  <a:lnTo>
                    <a:pt x="254" y="14"/>
                  </a:lnTo>
                  <a:lnTo>
                    <a:pt x="252" y="14"/>
                  </a:lnTo>
                  <a:lnTo>
                    <a:pt x="254" y="12"/>
                  </a:lnTo>
                  <a:close/>
                  <a:moveTo>
                    <a:pt x="259" y="12"/>
                  </a:moveTo>
                  <a:lnTo>
                    <a:pt x="259" y="14"/>
                  </a:lnTo>
                  <a:lnTo>
                    <a:pt x="259" y="12"/>
                  </a:lnTo>
                  <a:lnTo>
                    <a:pt x="261" y="12"/>
                  </a:lnTo>
                  <a:lnTo>
                    <a:pt x="261" y="14"/>
                  </a:lnTo>
                  <a:lnTo>
                    <a:pt x="259" y="14"/>
                  </a:lnTo>
                  <a:lnTo>
                    <a:pt x="256" y="14"/>
                  </a:lnTo>
                  <a:lnTo>
                    <a:pt x="256" y="17"/>
                  </a:lnTo>
                  <a:lnTo>
                    <a:pt x="256" y="14"/>
                  </a:lnTo>
                  <a:lnTo>
                    <a:pt x="256" y="17"/>
                  </a:lnTo>
                  <a:lnTo>
                    <a:pt x="256" y="14"/>
                  </a:lnTo>
                  <a:lnTo>
                    <a:pt x="254" y="14"/>
                  </a:lnTo>
                  <a:lnTo>
                    <a:pt x="254" y="12"/>
                  </a:lnTo>
                  <a:lnTo>
                    <a:pt x="256" y="12"/>
                  </a:lnTo>
                  <a:lnTo>
                    <a:pt x="259" y="12"/>
                  </a:lnTo>
                  <a:close/>
                  <a:moveTo>
                    <a:pt x="252" y="7"/>
                  </a:moveTo>
                  <a:lnTo>
                    <a:pt x="254" y="7"/>
                  </a:lnTo>
                  <a:lnTo>
                    <a:pt x="252" y="7"/>
                  </a:lnTo>
                  <a:lnTo>
                    <a:pt x="254" y="7"/>
                  </a:lnTo>
                  <a:lnTo>
                    <a:pt x="252" y="7"/>
                  </a:lnTo>
                  <a:lnTo>
                    <a:pt x="254" y="7"/>
                  </a:lnTo>
                  <a:lnTo>
                    <a:pt x="254" y="9"/>
                  </a:lnTo>
                  <a:lnTo>
                    <a:pt x="254" y="7"/>
                  </a:lnTo>
                  <a:lnTo>
                    <a:pt x="252" y="7"/>
                  </a:lnTo>
                  <a:lnTo>
                    <a:pt x="254" y="7"/>
                  </a:lnTo>
                  <a:lnTo>
                    <a:pt x="254" y="9"/>
                  </a:lnTo>
                  <a:lnTo>
                    <a:pt x="254" y="12"/>
                  </a:lnTo>
                  <a:lnTo>
                    <a:pt x="252" y="12"/>
                  </a:lnTo>
                  <a:lnTo>
                    <a:pt x="252" y="9"/>
                  </a:lnTo>
                  <a:lnTo>
                    <a:pt x="252" y="12"/>
                  </a:lnTo>
                  <a:lnTo>
                    <a:pt x="252" y="14"/>
                  </a:lnTo>
                  <a:lnTo>
                    <a:pt x="252" y="12"/>
                  </a:lnTo>
                  <a:lnTo>
                    <a:pt x="249" y="14"/>
                  </a:lnTo>
                  <a:lnTo>
                    <a:pt x="252" y="14"/>
                  </a:lnTo>
                  <a:lnTo>
                    <a:pt x="254" y="14"/>
                  </a:lnTo>
                  <a:lnTo>
                    <a:pt x="252" y="14"/>
                  </a:lnTo>
                  <a:lnTo>
                    <a:pt x="252" y="17"/>
                  </a:lnTo>
                  <a:lnTo>
                    <a:pt x="252" y="19"/>
                  </a:lnTo>
                  <a:lnTo>
                    <a:pt x="249" y="19"/>
                  </a:lnTo>
                  <a:lnTo>
                    <a:pt x="247" y="19"/>
                  </a:lnTo>
                  <a:lnTo>
                    <a:pt x="247" y="17"/>
                  </a:lnTo>
                  <a:lnTo>
                    <a:pt x="247" y="19"/>
                  </a:lnTo>
                  <a:lnTo>
                    <a:pt x="247" y="17"/>
                  </a:lnTo>
                  <a:lnTo>
                    <a:pt x="247" y="14"/>
                  </a:lnTo>
                  <a:lnTo>
                    <a:pt x="247" y="17"/>
                  </a:lnTo>
                  <a:lnTo>
                    <a:pt x="247" y="14"/>
                  </a:lnTo>
                  <a:lnTo>
                    <a:pt x="247" y="12"/>
                  </a:lnTo>
                  <a:lnTo>
                    <a:pt x="247" y="9"/>
                  </a:lnTo>
                  <a:lnTo>
                    <a:pt x="247" y="12"/>
                  </a:lnTo>
                  <a:lnTo>
                    <a:pt x="249" y="12"/>
                  </a:lnTo>
                  <a:lnTo>
                    <a:pt x="249" y="14"/>
                  </a:lnTo>
                  <a:lnTo>
                    <a:pt x="249" y="12"/>
                  </a:lnTo>
                  <a:lnTo>
                    <a:pt x="247" y="12"/>
                  </a:lnTo>
                  <a:lnTo>
                    <a:pt x="249" y="12"/>
                  </a:lnTo>
                  <a:lnTo>
                    <a:pt x="247" y="12"/>
                  </a:lnTo>
                  <a:lnTo>
                    <a:pt x="249" y="12"/>
                  </a:lnTo>
                  <a:lnTo>
                    <a:pt x="249" y="9"/>
                  </a:lnTo>
                  <a:lnTo>
                    <a:pt x="249" y="7"/>
                  </a:lnTo>
                  <a:lnTo>
                    <a:pt x="252" y="7"/>
                  </a:lnTo>
                  <a:lnTo>
                    <a:pt x="249" y="7"/>
                  </a:lnTo>
                  <a:lnTo>
                    <a:pt x="252" y="7"/>
                  </a:lnTo>
                  <a:close/>
                  <a:moveTo>
                    <a:pt x="259" y="5"/>
                  </a:moveTo>
                  <a:lnTo>
                    <a:pt x="261" y="5"/>
                  </a:lnTo>
                  <a:lnTo>
                    <a:pt x="259" y="5"/>
                  </a:lnTo>
                  <a:lnTo>
                    <a:pt x="261" y="5"/>
                  </a:lnTo>
                  <a:lnTo>
                    <a:pt x="259" y="7"/>
                  </a:lnTo>
                  <a:lnTo>
                    <a:pt x="259" y="5"/>
                  </a:lnTo>
                  <a:close/>
                  <a:moveTo>
                    <a:pt x="256" y="0"/>
                  </a:moveTo>
                  <a:lnTo>
                    <a:pt x="256" y="2"/>
                  </a:lnTo>
                  <a:lnTo>
                    <a:pt x="259" y="2"/>
                  </a:lnTo>
                  <a:lnTo>
                    <a:pt x="259" y="0"/>
                  </a:lnTo>
                  <a:lnTo>
                    <a:pt x="259" y="2"/>
                  </a:lnTo>
                  <a:lnTo>
                    <a:pt x="259" y="0"/>
                  </a:lnTo>
                  <a:lnTo>
                    <a:pt x="259" y="2"/>
                  </a:lnTo>
                  <a:lnTo>
                    <a:pt x="259" y="0"/>
                  </a:lnTo>
                  <a:lnTo>
                    <a:pt x="259" y="2"/>
                  </a:lnTo>
                  <a:lnTo>
                    <a:pt x="261" y="2"/>
                  </a:lnTo>
                  <a:lnTo>
                    <a:pt x="259" y="2"/>
                  </a:lnTo>
                  <a:lnTo>
                    <a:pt x="261" y="2"/>
                  </a:lnTo>
                  <a:lnTo>
                    <a:pt x="259" y="2"/>
                  </a:lnTo>
                  <a:lnTo>
                    <a:pt x="261" y="2"/>
                  </a:lnTo>
                  <a:lnTo>
                    <a:pt x="261" y="5"/>
                  </a:lnTo>
                  <a:lnTo>
                    <a:pt x="259" y="5"/>
                  </a:lnTo>
                  <a:lnTo>
                    <a:pt x="259" y="2"/>
                  </a:lnTo>
                  <a:lnTo>
                    <a:pt x="259" y="5"/>
                  </a:lnTo>
                  <a:lnTo>
                    <a:pt x="259" y="7"/>
                  </a:lnTo>
                  <a:lnTo>
                    <a:pt x="256" y="7"/>
                  </a:lnTo>
                  <a:lnTo>
                    <a:pt x="256" y="9"/>
                  </a:lnTo>
                  <a:lnTo>
                    <a:pt x="259" y="9"/>
                  </a:lnTo>
                  <a:lnTo>
                    <a:pt x="256" y="9"/>
                  </a:lnTo>
                  <a:lnTo>
                    <a:pt x="254" y="9"/>
                  </a:lnTo>
                  <a:lnTo>
                    <a:pt x="254" y="7"/>
                  </a:lnTo>
                  <a:lnTo>
                    <a:pt x="254" y="9"/>
                  </a:lnTo>
                  <a:lnTo>
                    <a:pt x="254" y="7"/>
                  </a:lnTo>
                  <a:lnTo>
                    <a:pt x="254" y="5"/>
                  </a:lnTo>
                  <a:lnTo>
                    <a:pt x="254" y="2"/>
                  </a:lnTo>
                  <a:lnTo>
                    <a:pt x="256" y="2"/>
                  </a:lnTo>
                  <a:lnTo>
                    <a:pt x="254" y="2"/>
                  </a:lnTo>
                  <a:lnTo>
                    <a:pt x="256" y="2"/>
                  </a:lnTo>
                  <a:lnTo>
                    <a:pt x="25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0" name="Freeform 57948"/>
            <p:cNvSpPr>
              <a:spLocks noEditPoints="1"/>
            </p:cNvSpPr>
            <p:nvPr/>
          </p:nvSpPr>
          <p:spPr bwMode="auto">
            <a:xfrm>
              <a:off x="1622423" y="3822713"/>
              <a:ext cx="458787" cy="882653"/>
            </a:xfrm>
            <a:custGeom>
              <a:avLst/>
              <a:gdLst>
                <a:gd name="T0" fmla="*/ 47 w 289"/>
                <a:gd name="T1" fmla="*/ 553 h 556"/>
                <a:gd name="T2" fmla="*/ 187 w 289"/>
                <a:gd name="T3" fmla="*/ 520 h 556"/>
                <a:gd name="T4" fmla="*/ 204 w 289"/>
                <a:gd name="T5" fmla="*/ 518 h 556"/>
                <a:gd name="T6" fmla="*/ 275 w 289"/>
                <a:gd name="T7" fmla="*/ 482 h 556"/>
                <a:gd name="T8" fmla="*/ 273 w 289"/>
                <a:gd name="T9" fmla="*/ 480 h 556"/>
                <a:gd name="T10" fmla="*/ 83 w 289"/>
                <a:gd name="T11" fmla="*/ 466 h 556"/>
                <a:gd name="T12" fmla="*/ 178 w 289"/>
                <a:gd name="T13" fmla="*/ 463 h 556"/>
                <a:gd name="T14" fmla="*/ 76 w 289"/>
                <a:gd name="T15" fmla="*/ 461 h 556"/>
                <a:gd name="T16" fmla="*/ 123 w 289"/>
                <a:gd name="T17" fmla="*/ 390 h 556"/>
                <a:gd name="T18" fmla="*/ 66 w 289"/>
                <a:gd name="T19" fmla="*/ 337 h 556"/>
                <a:gd name="T20" fmla="*/ 69 w 289"/>
                <a:gd name="T21" fmla="*/ 335 h 556"/>
                <a:gd name="T22" fmla="*/ 71 w 289"/>
                <a:gd name="T23" fmla="*/ 328 h 556"/>
                <a:gd name="T24" fmla="*/ 100 w 289"/>
                <a:gd name="T25" fmla="*/ 323 h 556"/>
                <a:gd name="T26" fmla="*/ 116 w 289"/>
                <a:gd name="T27" fmla="*/ 314 h 556"/>
                <a:gd name="T28" fmla="*/ 199 w 289"/>
                <a:gd name="T29" fmla="*/ 273 h 556"/>
                <a:gd name="T30" fmla="*/ 66 w 289"/>
                <a:gd name="T31" fmla="*/ 271 h 556"/>
                <a:gd name="T32" fmla="*/ 57 w 289"/>
                <a:gd name="T33" fmla="*/ 266 h 556"/>
                <a:gd name="T34" fmla="*/ 74 w 289"/>
                <a:gd name="T35" fmla="*/ 261 h 556"/>
                <a:gd name="T36" fmla="*/ 78 w 289"/>
                <a:gd name="T37" fmla="*/ 259 h 556"/>
                <a:gd name="T38" fmla="*/ 85 w 289"/>
                <a:gd name="T39" fmla="*/ 259 h 556"/>
                <a:gd name="T40" fmla="*/ 102 w 289"/>
                <a:gd name="T41" fmla="*/ 257 h 556"/>
                <a:gd name="T42" fmla="*/ 147 w 289"/>
                <a:gd name="T43" fmla="*/ 252 h 556"/>
                <a:gd name="T44" fmla="*/ 71 w 289"/>
                <a:gd name="T45" fmla="*/ 247 h 556"/>
                <a:gd name="T46" fmla="*/ 71 w 289"/>
                <a:gd name="T47" fmla="*/ 247 h 556"/>
                <a:gd name="T48" fmla="*/ 71 w 289"/>
                <a:gd name="T49" fmla="*/ 245 h 556"/>
                <a:gd name="T50" fmla="*/ 45 w 289"/>
                <a:gd name="T51" fmla="*/ 240 h 556"/>
                <a:gd name="T52" fmla="*/ 50 w 289"/>
                <a:gd name="T53" fmla="*/ 238 h 556"/>
                <a:gd name="T54" fmla="*/ 71 w 289"/>
                <a:gd name="T55" fmla="*/ 230 h 556"/>
                <a:gd name="T56" fmla="*/ 74 w 289"/>
                <a:gd name="T57" fmla="*/ 228 h 556"/>
                <a:gd name="T58" fmla="*/ 40 w 289"/>
                <a:gd name="T59" fmla="*/ 219 h 556"/>
                <a:gd name="T60" fmla="*/ 47 w 289"/>
                <a:gd name="T61" fmla="*/ 211 h 556"/>
                <a:gd name="T62" fmla="*/ 59 w 289"/>
                <a:gd name="T63" fmla="*/ 209 h 556"/>
                <a:gd name="T64" fmla="*/ 17 w 289"/>
                <a:gd name="T65" fmla="*/ 195 h 556"/>
                <a:gd name="T66" fmla="*/ 71 w 289"/>
                <a:gd name="T67" fmla="*/ 185 h 556"/>
                <a:gd name="T68" fmla="*/ 17 w 289"/>
                <a:gd name="T69" fmla="*/ 183 h 556"/>
                <a:gd name="T70" fmla="*/ 36 w 289"/>
                <a:gd name="T71" fmla="*/ 178 h 556"/>
                <a:gd name="T72" fmla="*/ 2 w 289"/>
                <a:gd name="T73" fmla="*/ 176 h 556"/>
                <a:gd name="T74" fmla="*/ 40 w 289"/>
                <a:gd name="T75" fmla="*/ 171 h 556"/>
                <a:gd name="T76" fmla="*/ 21 w 289"/>
                <a:gd name="T77" fmla="*/ 169 h 556"/>
                <a:gd name="T78" fmla="*/ 2 w 289"/>
                <a:gd name="T79" fmla="*/ 166 h 556"/>
                <a:gd name="T80" fmla="*/ 21 w 289"/>
                <a:gd name="T81" fmla="*/ 162 h 556"/>
                <a:gd name="T82" fmla="*/ 17 w 289"/>
                <a:gd name="T83" fmla="*/ 162 h 556"/>
                <a:gd name="T84" fmla="*/ 31 w 289"/>
                <a:gd name="T85" fmla="*/ 159 h 556"/>
                <a:gd name="T86" fmla="*/ 33 w 289"/>
                <a:gd name="T87" fmla="*/ 159 h 556"/>
                <a:gd name="T88" fmla="*/ 76 w 289"/>
                <a:gd name="T89" fmla="*/ 152 h 556"/>
                <a:gd name="T90" fmla="*/ 21 w 289"/>
                <a:gd name="T91" fmla="*/ 142 h 556"/>
                <a:gd name="T92" fmla="*/ 5 w 289"/>
                <a:gd name="T93" fmla="*/ 138 h 556"/>
                <a:gd name="T94" fmla="*/ 85 w 289"/>
                <a:gd name="T95" fmla="*/ 135 h 556"/>
                <a:gd name="T96" fmla="*/ 154 w 289"/>
                <a:gd name="T97" fmla="*/ 97 h 556"/>
                <a:gd name="T98" fmla="*/ 159 w 289"/>
                <a:gd name="T99" fmla="*/ 90 h 556"/>
                <a:gd name="T100" fmla="*/ 199 w 289"/>
                <a:gd name="T101" fmla="*/ 71 h 556"/>
                <a:gd name="T102" fmla="*/ 211 w 289"/>
                <a:gd name="T103" fmla="*/ 55 h 556"/>
                <a:gd name="T104" fmla="*/ 211 w 289"/>
                <a:gd name="T105" fmla="*/ 36 h 556"/>
                <a:gd name="T106" fmla="*/ 228 w 289"/>
                <a:gd name="T107" fmla="*/ 28 h 556"/>
                <a:gd name="T108" fmla="*/ 225 w 289"/>
                <a:gd name="T109" fmla="*/ 26 h 556"/>
                <a:gd name="T110" fmla="*/ 218 w 289"/>
                <a:gd name="T111" fmla="*/ 19 h 556"/>
                <a:gd name="T112" fmla="*/ 230 w 289"/>
                <a:gd name="T113"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9" h="556">
                  <a:moveTo>
                    <a:pt x="47" y="556"/>
                  </a:moveTo>
                  <a:lnTo>
                    <a:pt x="45" y="556"/>
                  </a:lnTo>
                  <a:lnTo>
                    <a:pt x="47" y="556"/>
                  </a:lnTo>
                  <a:close/>
                  <a:moveTo>
                    <a:pt x="47" y="553"/>
                  </a:moveTo>
                  <a:lnTo>
                    <a:pt x="45" y="553"/>
                  </a:lnTo>
                  <a:lnTo>
                    <a:pt x="47" y="553"/>
                  </a:lnTo>
                  <a:close/>
                  <a:moveTo>
                    <a:pt x="47" y="553"/>
                  </a:moveTo>
                  <a:lnTo>
                    <a:pt x="45" y="553"/>
                  </a:lnTo>
                  <a:lnTo>
                    <a:pt x="47" y="553"/>
                  </a:lnTo>
                  <a:close/>
                  <a:moveTo>
                    <a:pt x="187" y="520"/>
                  </a:moveTo>
                  <a:lnTo>
                    <a:pt x="187" y="518"/>
                  </a:lnTo>
                  <a:lnTo>
                    <a:pt x="187" y="520"/>
                  </a:lnTo>
                  <a:close/>
                  <a:moveTo>
                    <a:pt x="204" y="518"/>
                  </a:moveTo>
                  <a:lnTo>
                    <a:pt x="204" y="515"/>
                  </a:lnTo>
                  <a:lnTo>
                    <a:pt x="204" y="518"/>
                  </a:lnTo>
                  <a:close/>
                  <a:moveTo>
                    <a:pt x="204" y="518"/>
                  </a:moveTo>
                  <a:lnTo>
                    <a:pt x="204" y="515"/>
                  </a:lnTo>
                  <a:lnTo>
                    <a:pt x="204" y="518"/>
                  </a:lnTo>
                  <a:close/>
                  <a:moveTo>
                    <a:pt x="157" y="494"/>
                  </a:moveTo>
                  <a:lnTo>
                    <a:pt x="154" y="494"/>
                  </a:lnTo>
                  <a:lnTo>
                    <a:pt x="154" y="492"/>
                  </a:lnTo>
                  <a:lnTo>
                    <a:pt x="157" y="494"/>
                  </a:lnTo>
                  <a:close/>
                  <a:moveTo>
                    <a:pt x="275" y="485"/>
                  </a:moveTo>
                  <a:lnTo>
                    <a:pt x="275" y="482"/>
                  </a:lnTo>
                  <a:lnTo>
                    <a:pt x="275" y="485"/>
                  </a:lnTo>
                  <a:close/>
                  <a:moveTo>
                    <a:pt x="273" y="480"/>
                  </a:moveTo>
                  <a:lnTo>
                    <a:pt x="273" y="477"/>
                  </a:lnTo>
                  <a:lnTo>
                    <a:pt x="273" y="480"/>
                  </a:lnTo>
                  <a:close/>
                  <a:moveTo>
                    <a:pt x="273" y="477"/>
                  </a:moveTo>
                  <a:lnTo>
                    <a:pt x="273" y="480"/>
                  </a:lnTo>
                  <a:lnTo>
                    <a:pt x="273" y="477"/>
                  </a:lnTo>
                  <a:close/>
                  <a:moveTo>
                    <a:pt x="111" y="475"/>
                  </a:moveTo>
                  <a:lnTo>
                    <a:pt x="111" y="477"/>
                  </a:lnTo>
                  <a:lnTo>
                    <a:pt x="111" y="475"/>
                  </a:lnTo>
                  <a:close/>
                  <a:moveTo>
                    <a:pt x="85" y="466"/>
                  </a:moveTo>
                  <a:lnTo>
                    <a:pt x="83" y="466"/>
                  </a:lnTo>
                  <a:lnTo>
                    <a:pt x="85" y="466"/>
                  </a:lnTo>
                  <a:close/>
                  <a:moveTo>
                    <a:pt x="289" y="466"/>
                  </a:moveTo>
                  <a:lnTo>
                    <a:pt x="289" y="463"/>
                  </a:lnTo>
                  <a:lnTo>
                    <a:pt x="289" y="466"/>
                  </a:lnTo>
                  <a:close/>
                  <a:moveTo>
                    <a:pt x="178" y="466"/>
                  </a:moveTo>
                  <a:lnTo>
                    <a:pt x="178" y="463"/>
                  </a:lnTo>
                  <a:lnTo>
                    <a:pt x="178" y="466"/>
                  </a:lnTo>
                  <a:close/>
                  <a:moveTo>
                    <a:pt x="78" y="461"/>
                  </a:moveTo>
                  <a:lnTo>
                    <a:pt x="76" y="461"/>
                  </a:lnTo>
                  <a:lnTo>
                    <a:pt x="78" y="461"/>
                  </a:lnTo>
                  <a:close/>
                  <a:moveTo>
                    <a:pt x="78" y="461"/>
                  </a:moveTo>
                  <a:lnTo>
                    <a:pt x="76" y="461"/>
                  </a:lnTo>
                  <a:lnTo>
                    <a:pt x="78" y="461"/>
                  </a:lnTo>
                  <a:close/>
                  <a:moveTo>
                    <a:pt x="121" y="409"/>
                  </a:moveTo>
                  <a:lnTo>
                    <a:pt x="121" y="411"/>
                  </a:lnTo>
                  <a:lnTo>
                    <a:pt x="121" y="409"/>
                  </a:lnTo>
                  <a:close/>
                  <a:moveTo>
                    <a:pt x="121" y="390"/>
                  </a:moveTo>
                  <a:lnTo>
                    <a:pt x="123" y="390"/>
                  </a:lnTo>
                  <a:lnTo>
                    <a:pt x="121" y="390"/>
                  </a:lnTo>
                  <a:close/>
                  <a:moveTo>
                    <a:pt x="55" y="352"/>
                  </a:moveTo>
                  <a:lnTo>
                    <a:pt x="55" y="354"/>
                  </a:lnTo>
                  <a:lnTo>
                    <a:pt x="55" y="352"/>
                  </a:lnTo>
                  <a:close/>
                  <a:moveTo>
                    <a:pt x="69" y="337"/>
                  </a:moveTo>
                  <a:lnTo>
                    <a:pt x="66" y="337"/>
                  </a:lnTo>
                  <a:lnTo>
                    <a:pt x="69" y="337"/>
                  </a:lnTo>
                  <a:close/>
                  <a:moveTo>
                    <a:pt x="71" y="335"/>
                  </a:moveTo>
                  <a:lnTo>
                    <a:pt x="69" y="335"/>
                  </a:lnTo>
                  <a:lnTo>
                    <a:pt x="71" y="335"/>
                  </a:lnTo>
                  <a:close/>
                  <a:moveTo>
                    <a:pt x="69" y="337"/>
                  </a:moveTo>
                  <a:lnTo>
                    <a:pt x="69" y="335"/>
                  </a:lnTo>
                  <a:lnTo>
                    <a:pt x="69" y="337"/>
                  </a:lnTo>
                  <a:close/>
                  <a:moveTo>
                    <a:pt x="69" y="330"/>
                  </a:moveTo>
                  <a:lnTo>
                    <a:pt x="69" y="333"/>
                  </a:lnTo>
                  <a:lnTo>
                    <a:pt x="69" y="330"/>
                  </a:lnTo>
                  <a:close/>
                  <a:moveTo>
                    <a:pt x="71" y="330"/>
                  </a:moveTo>
                  <a:lnTo>
                    <a:pt x="71" y="328"/>
                  </a:lnTo>
                  <a:lnTo>
                    <a:pt x="71" y="330"/>
                  </a:lnTo>
                  <a:close/>
                  <a:moveTo>
                    <a:pt x="71" y="328"/>
                  </a:moveTo>
                  <a:lnTo>
                    <a:pt x="71" y="330"/>
                  </a:lnTo>
                  <a:lnTo>
                    <a:pt x="71" y="328"/>
                  </a:lnTo>
                  <a:close/>
                  <a:moveTo>
                    <a:pt x="100" y="321"/>
                  </a:moveTo>
                  <a:lnTo>
                    <a:pt x="100" y="323"/>
                  </a:lnTo>
                  <a:lnTo>
                    <a:pt x="100" y="321"/>
                  </a:lnTo>
                  <a:close/>
                  <a:moveTo>
                    <a:pt x="116" y="314"/>
                  </a:moveTo>
                  <a:lnTo>
                    <a:pt x="116" y="316"/>
                  </a:lnTo>
                  <a:lnTo>
                    <a:pt x="116" y="314"/>
                  </a:lnTo>
                  <a:close/>
                  <a:moveTo>
                    <a:pt x="114" y="314"/>
                  </a:moveTo>
                  <a:lnTo>
                    <a:pt x="116" y="314"/>
                  </a:lnTo>
                  <a:lnTo>
                    <a:pt x="114" y="314"/>
                  </a:lnTo>
                  <a:close/>
                  <a:moveTo>
                    <a:pt x="202" y="273"/>
                  </a:moveTo>
                  <a:lnTo>
                    <a:pt x="199" y="273"/>
                  </a:lnTo>
                  <a:lnTo>
                    <a:pt x="202" y="273"/>
                  </a:lnTo>
                  <a:close/>
                  <a:moveTo>
                    <a:pt x="202" y="273"/>
                  </a:moveTo>
                  <a:lnTo>
                    <a:pt x="199" y="273"/>
                  </a:lnTo>
                  <a:lnTo>
                    <a:pt x="202" y="273"/>
                  </a:lnTo>
                  <a:close/>
                  <a:moveTo>
                    <a:pt x="95" y="273"/>
                  </a:moveTo>
                  <a:lnTo>
                    <a:pt x="95" y="271"/>
                  </a:lnTo>
                  <a:lnTo>
                    <a:pt x="95" y="273"/>
                  </a:lnTo>
                  <a:close/>
                  <a:moveTo>
                    <a:pt x="66" y="273"/>
                  </a:moveTo>
                  <a:lnTo>
                    <a:pt x="66" y="271"/>
                  </a:lnTo>
                  <a:lnTo>
                    <a:pt x="66" y="273"/>
                  </a:lnTo>
                  <a:close/>
                  <a:moveTo>
                    <a:pt x="40" y="268"/>
                  </a:moveTo>
                  <a:lnTo>
                    <a:pt x="40" y="271"/>
                  </a:lnTo>
                  <a:lnTo>
                    <a:pt x="40" y="268"/>
                  </a:lnTo>
                  <a:close/>
                  <a:moveTo>
                    <a:pt x="57" y="264"/>
                  </a:moveTo>
                  <a:lnTo>
                    <a:pt x="57" y="266"/>
                  </a:lnTo>
                  <a:lnTo>
                    <a:pt x="57" y="264"/>
                  </a:lnTo>
                  <a:close/>
                  <a:moveTo>
                    <a:pt x="57" y="264"/>
                  </a:moveTo>
                  <a:lnTo>
                    <a:pt x="55" y="264"/>
                  </a:lnTo>
                  <a:lnTo>
                    <a:pt x="57" y="264"/>
                  </a:lnTo>
                  <a:close/>
                  <a:moveTo>
                    <a:pt x="76" y="261"/>
                  </a:moveTo>
                  <a:lnTo>
                    <a:pt x="74" y="261"/>
                  </a:lnTo>
                  <a:lnTo>
                    <a:pt x="76" y="261"/>
                  </a:lnTo>
                  <a:close/>
                  <a:moveTo>
                    <a:pt x="59" y="264"/>
                  </a:moveTo>
                  <a:lnTo>
                    <a:pt x="59" y="261"/>
                  </a:lnTo>
                  <a:lnTo>
                    <a:pt x="59" y="264"/>
                  </a:lnTo>
                  <a:close/>
                  <a:moveTo>
                    <a:pt x="78" y="261"/>
                  </a:moveTo>
                  <a:lnTo>
                    <a:pt x="78" y="259"/>
                  </a:lnTo>
                  <a:lnTo>
                    <a:pt x="78" y="261"/>
                  </a:lnTo>
                  <a:close/>
                  <a:moveTo>
                    <a:pt x="85" y="259"/>
                  </a:moveTo>
                  <a:lnTo>
                    <a:pt x="83" y="259"/>
                  </a:lnTo>
                  <a:lnTo>
                    <a:pt x="83" y="257"/>
                  </a:lnTo>
                  <a:lnTo>
                    <a:pt x="85" y="257"/>
                  </a:lnTo>
                  <a:lnTo>
                    <a:pt x="85" y="259"/>
                  </a:lnTo>
                  <a:close/>
                  <a:moveTo>
                    <a:pt x="83" y="257"/>
                  </a:moveTo>
                  <a:lnTo>
                    <a:pt x="83" y="259"/>
                  </a:lnTo>
                  <a:lnTo>
                    <a:pt x="83" y="257"/>
                  </a:lnTo>
                  <a:close/>
                  <a:moveTo>
                    <a:pt x="102" y="257"/>
                  </a:moveTo>
                  <a:lnTo>
                    <a:pt x="100" y="257"/>
                  </a:lnTo>
                  <a:lnTo>
                    <a:pt x="102" y="257"/>
                  </a:lnTo>
                  <a:close/>
                  <a:moveTo>
                    <a:pt x="71" y="254"/>
                  </a:moveTo>
                  <a:lnTo>
                    <a:pt x="69" y="254"/>
                  </a:lnTo>
                  <a:lnTo>
                    <a:pt x="71" y="254"/>
                  </a:lnTo>
                  <a:lnTo>
                    <a:pt x="69" y="254"/>
                  </a:lnTo>
                  <a:lnTo>
                    <a:pt x="71" y="254"/>
                  </a:lnTo>
                  <a:close/>
                  <a:moveTo>
                    <a:pt x="147" y="252"/>
                  </a:moveTo>
                  <a:lnTo>
                    <a:pt x="145" y="252"/>
                  </a:lnTo>
                  <a:lnTo>
                    <a:pt x="147" y="252"/>
                  </a:lnTo>
                  <a:close/>
                  <a:moveTo>
                    <a:pt x="69" y="249"/>
                  </a:moveTo>
                  <a:lnTo>
                    <a:pt x="69" y="247"/>
                  </a:lnTo>
                  <a:lnTo>
                    <a:pt x="69" y="249"/>
                  </a:lnTo>
                  <a:close/>
                  <a:moveTo>
                    <a:pt x="71" y="247"/>
                  </a:moveTo>
                  <a:lnTo>
                    <a:pt x="69" y="247"/>
                  </a:lnTo>
                  <a:lnTo>
                    <a:pt x="71" y="245"/>
                  </a:lnTo>
                  <a:lnTo>
                    <a:pt x="71" y="247"/>
                  </a:lnTo>
                  <a:close/>
                  <a:moveTo>
                    <a:pt x="71" y="247"/>
                  </a:moveTo>
                  <a:lnTo>
                    <a:pt x="71" y="245"/>
                  </a:lnTo>
                  <a:lnTo>
                    <a:pt x="71" y="247"/>
                  </a:lnTo>
                  <a:close/>
                  <a:moveTo>
                    <a:pt x="66" y="242"/>
                  </a:moveTo>
                  <a:lnTo>
                    <a:pt x="66" y="245"/>
                  </a:lnTo>
                  <a:lnTo>
                    <a:pt x="66" y="242"/>
                  </a:lnTo>
                  <a:close/>
                  <a:moveTo>
                    <a:pt x="71" y="245"/>
                  </a:moveTo>
                  <a:lnTo>
                    <a:pt x="71" y="242"/>
                  </a:lnTo>
                  <a:lnTo>
                    <a:pt x="71" y="245"/>
                  </a:lnTo>
                  <a:close/>
                  <a:moveTo>
                    <a:pt x="66" y="242"/>
                  </a:moveTo>
                  <a:lnTo>
                    <a:pt x="66" y="240"/>
                  </a:lnTo>
                  <a:lnTo>
                    <a:pt x="66" y="242"/>
                  </a:lnTo>
                  <a:close/>
                  <a:moveTo>
                    <a:pt x="45" y="240"/>
                  </a:moveTo>
                  <a:lnTo>
                    <a:pt x="45" y="238"/>
                  </a:lnTo>
                  <a:lnTo>
                    <a:pt x="45" y="240"/>
                  </a:lnTo>
                  <a:close/>
                  <a:moveTo>
                    <a:pt x="59" y="238"/>
                  </a:moveTo>
                  <a:lnTo>
                    <a:pt x="57" y="238"/>
                  </a:lnTo>
                  <a:lnTo>
                    <a:pt x="59" y="238"/>
                  </a:lnTo>
                  <a:close/>
                  <a:moveTo>
                    <a:pt x="50" y="238"/>
                  </a:moveTo>
                  <a:lnTo>
                    <a:pt x="47" y="238"/>
                  </a:lnTo>
                  <a:lnTo>
                    <a:pt x="50" y="238"/>
                  </a:lnTo>
                  <a:close/>
                  <a:moveTo>
                    <a:pt x="43" y="235"/>
                  </a:moveTo>
                  <a:lnTo>
                    <a:pt x="40" y="235"/>
                  </a:lnTo>
                  <a:lnTo>
                    <a:pt x="43" y="235"/>
                  </a:lnTo>
                  <a:close/>
                  <a:moveTo>
                    <a:pt x="71" y="230"/>
                  </a:moveTo>
                  <a:lnTo>
                    <a:pt x="69" y="230"/>
                  </a:lnTo>
                  <a:lnTo>
                    <a:pt x="71" y="230"/>
                  </a:lnTo>
                  <a:close/>
                  <a:moveTo>
                    <a:pt x="74" y="228"/>
                  </a:moveTo>
                  <a:lnTo>
                    <a:pt x="74" y="230"/>
                  </a:lnTo>
                  <a:lnTo>
                    <a:pt x="74" y="228"/>
                  </a:lnTo>
                  <a:close/>
                  <a:moveTo>
                    <a:pt x="74" y="228"/>
                  </a:moveTo>
                  <a:lnTo>
                    <a:pt x="74" y="230"/>
                  </a:lnTo>
                  <a:lnTo>
                    <a:pt x="74" y="228"/>
                  </a:lnTo>
                  <a:close/>
                  <a:moveTo>
                    <a:pt x="76" y="228"/>
                  </a:moveTo>
                  <a:lnTo>
                    <a:pt x="74" y="228"/>
                  </a:lnTo>
                  <a:lnTo>
                    <a:pt x="76" y="228"/>
                  </a:lnTo>
                  <a:close/>
                  <a:moveTo>
                    <a:pt x="40" y="219"/>
                  </a:moveTo>
                  <a:lnTo>
                    <a:pt x="38" y="219"/>
                  </a:lnTo>
                  <a:lnTo>
                    <a:pt x="40" y="219"/>
                  </a:lnTo>
                  <a:close/>
                  <a:moveTo>
                    <a:pt x="5" y="211"/>
                  </a:moveTo>
                  <a:lnTo>
                    <a:pt x="2" y="211"/>
                  </a:lnTo>
                  <a:lnTo>
                    <a:pt x="5" y="211"/>
                  </a:lnTo>
                  <a:close/>
                  <a:moveTo>
                    <a:pt x="47" y="211"/>
                  </a:moveTo>
                  <a:lnTo>
                    <a:pt x="47" y="209"/>
                  </a:lnTo>
                  <a:lnTo>
                    <a:pt x="47" y="211"/>
                  </a:lnTo>
                  <a:close/>
                  <a:moveTo>
                    <a:pt x="7" y="209"/>
                  </a:moveTo>
                  <a:lnTo>
                    <a:pt x="5" y="209"/>
                  </a:lnTo>
                  <a:lnTo>
                    <a:pt x="7" y="209"/>
                  </a:lnTo>
                  <a:close/>
                  <a:moveTo>
                    <a:pt x="59" y="209"/>
                  </a:moveTo>
                  <a:lnTo>
                    <a:pt x="59" y="207"/>
                  </a:lnTo>
                  <a:lnTo>
                    <a:pt x="59" y="209"/>
                  </a:lnTo>
                  <a:close/>
                  <a:moveTo>
                    <a:pt x="17" y="200"/>
                  </a:moveTo>
                  <a:lnTo>
                    <a:pt x="17" y="197"/>
                  </a:lnTo>
                  <a:lnTo>
                    <a:pt x="17" y="200"/>
                  </a:lnTo>
                  <a:close/>
                  <a:moveTo>
                    <a:pt x="17" y="195"/>
                  </a:moveTo>
                  <a:lnTo>
                    <a:pt x="14" y="195"/>
                  </a:lnTo>
                  <a:lnTo>
                    <a:pt x="17" y="195"/>
                  </a:lnTo>
                  <a:close/>
                  <a:moveTo>
                    <a:pt x="71" y="190"/>
                  </a:moveTo>
                  <a:lnTo>
                    <a:pt x="71" y="188"/>
                  </a:lnTo>
                  <a:lnTo>
                    <a:pt x="71" y="190"/>
                  </a:lnTo>
                  <a:close/>
                  <a:moveTo>
                    <a:pt x="71" y="185"/>
                  </a:moveTo>
                  <a:lnTo>
                    <a:pt x="69" y="185"/>
                  </a:lnTo>
                  <a:lnTo>
                    <a:pt x="71" y="185"/>
                  </a:lnTo>
                  <a:close/>
                  <a:moveTo>
                    <a:pt x="40" y="185"/>
                  </a:moveTo>
                  <a:lnTo>
                    <a:pt x="40" y="183"/>
                  </a:lnTo>
                  <a:lnTo>
                    <a:pt x="40" y="185"/>
                  </a:lnTo>
                  <a:close/>
                  <a:moveTo>
                    <a:pt x="17" y="183"/>
                  </a:moveTo>
                  <a:lnTo>
                    <a:pt x="14" y="183"/>
                  </a:lnTo>
                  <a:lnTo>
                    <a:pt x="17" y="183"/>
                  </a:lnTo>
                  <a:close/>
                  <a:moveTo>
                    <a:pt x="19" y="178"/>
                  </a:moveTo>
                  <a:lnTo>
                    <a:pt x="19" y="181"/>
                  </a:lnTo>
                  <a:lnTo>
                    <a:pt x="19" y="178"/>
                  </a:lnTo>
                  <a:close/>
                  <a:moveTo>
                    <a:pt x="36" y="178"/>
                  </a:moveTo>
                  <a:lnTo>
                    <a:pt x="36" y="181"/>
                  </a:lnTo>
                  <a:lnTo>
                    <a:pt x="36" y="178"/>
                  </a:lnTo>
                  <a:close/>
                  <a:moveTo>
                    <a:pt x="38" y="181"/>
                  </a:moveTo>
                  <a:lnTo>
                    <a:pt x="38" y="178"/>
                  </a:lnTo>
                  <a:lnTo>
                    <a:pt x="38" y="181"/>
                  </a:lnTo>
                  <a:close/>
                  <a:moveTo>
                    <a:pt x="2" y="176"/>
                  </a:moveTo>
                  <a:lnTo>
                    <a:pt x="0" y="176"/>
                  </a:lnTo>
                  <a:lnTo>
                    <a:pt x="2" y="176"/>
                  </a:lnTo>
                  <a:close/>
                  <a:moveTo>
                    <a:pt x="40" y="173"/>
                  </a:moveTo>
                  <a:lnTo>
                    <a:pt x="40" y="171"/>
                  </a:lnTo>
                  <a:lnTo>
                    <a:pt x="40" y="173"/>
                  </a:lnTo>
                  <a:close/>
                  <a:moveTo>
                    <a:pt x="40" y="171"/>
                  </a:moveTo>
                  <a:lnTo>
                    <a:pt x="38" y="171"/>
                  </a:lnTo>
                  <a:lnTo>
                    <a:pt x="40" y="171"/>
                  </a:lnTo>
                  <a:close/>
                  <a:moveTo>
                    <a:pt x="12" y="169"/>
                  </a:moveTo>
                  <a:lnTo>
                    <a:pt x="9" y="169"/>
                  </a:lnTo>
                  <a:lnTo>
                    <a:pt x="12" y="169"/>
                  </a:lnTo>
                  <a:close/>
                  <a:moveTo>
                    <a:pt x="21" y="169"/>
                  </a:moveTo>
                  <a:lnTo>
                    <a:pt x="19" y="169"/>
                  </a:lnTo>
                  <a:lnTo>
                    <a:pt x="21" y="169"/>
                  </a:lnTo>
                  <a:close/>
                  <a:moveTo>
                    <a:pt x="21" y="166"/>
                  </a:moveTo>
                  <a:lnTo>
                    <a:pt x="21" y="169"/>
                  </a:lnTo>
                  <a:lnTo>
                    <a:pt x="21" y="166"/>
                  </a:lnTo>
                  <a:close/>
                  <a:moveTo>
                    <a:pt x="2" y="166"/>
                  </a:moveTo>
                  <a:lnTo>
                    <a:pt x="0" y="166"/>
                  </a:lnTo>
                  <a:lnTo>
                    <a:pt x="2" y="166"/>
                  </a:lnTo>
                  <a:close/>
                  <a:moveTo>
                    <a:pt x="21" y="164"/>
                  </a:moveTo>
                  <a:lnTo>
                    <a:pt x="21" y="166"/>
                  </a:lnTo>
                  <a:lnTo>
                    <a:pt x="21" y="164"/>
                  </a:lnTo>
                  <a:close/>
                  <a:moveTo>
                    <a:pt x="21" y="162"/>
                  </a:moveTo>
                  <a:lnTo>
                    <a:pt x="21" y="164"/>
                  </a:lnTo>
                  <a:lnTo>
                    <a:pt x="21" y="162"/>
                  </a:lnTo>
                  <a:close/>
                  <a:moveTo>
                    <a:pt x="21" y="164"/>
                  </a:moveTo>
                  <a:lnTo>
                    <a:pt x="21" y="162"/>
                  </a:lnTo>
                  <a:lnTo>
                    <a:pt x="21" y="164"/>
                  </a:lnTo>
                  <a:close/>
                  <a:moveTo>
                    <a:pt x="17" y="162"/>
                  </a:moveTo>
                  <a:lnTo>
                    <a:pt x="14" y="162"/>
                  </a:lnTo>
                  <a:lnTo>
                    <a:pt x="17" y="162"/>
                  </a:lnTo>
                  <a:close/>
                  <a:moveTo>
                    <a:pt x="71" y="162"/>
                  </a:moveTo>
                  <a:lnTo>
                    <a:pt x="71" y="159"/>
                  </a:lnTo>
                  <a:lnTo>
                    <a:pt x="71" y="162"/>
                  </a:lnTo>
                  <a:close/>
                  <a:moveTo>
                    <a:pt x="31" y="159"/>
                  </a:moveTo>
                  <a:lnTo>
                    <a:pt x="31" y="162"/>
                  </a:lnTo>
                  <a:lnTo>
                    <a:pt x="31" y="159"/>
                  </a:lnTo>
                  <a:close/>
                  <a:moveTo>
                    <a:pt x="126" y="159"/>
                  </a:moveTo>
                  <a:lnTo>
                    <a:pt x="123" y="159"/>
                  </a:lnTo>
                  <a:lnTo>
                    <a:pt x="126" y="159"/>
                  </a:lnTo>
                  <a:close/>
                  <a:moveTo>
                    <a:pt x="33" y="159"/>
                  </a:moveTo>
                  <a:lnTo>
                    <a:pt x="33" y="157"/>
                  </a:lnTo>
                  <a:lnTo>
                    <a:pt x="33" y="159"/>
                  </a:lnTo>
                  <a:close/>
                  <a:moveTo>
                    <a:pt x="36" y="157"/>
                  </a:moveTo>
                  <a:lnTo>
                    <a:pt x="36" y="154"/>
                  </a:lnTo>
                  <a:lnTo>
                    <a:pt x="36" y="157"/>
                  </a:lnTo>
                  <a:close/>
                  <a:moveTo>
                    <a:pt x="76" y="152"/>
                  </a:moveTo>
                  <a:lnTo>
                    <a:pt x="74" y="152"/>
                  </a:lnTo>
                  <a:lnTo>
                    <a:pt x="76" y="152"/>
                  </a:lnTo>
                  <a:close/>
                  <a:moveTo>
                    <a:pt x="45" y="145"/>
                  </a:moveTo>
                  <a:lnTo>
                    <a:pt x="45" y="147"/>
                  </a:lnTo>
                  <a:lnTo>
                    <a:pt x="45" y="145"/>
                  </a:lnTo>
                  <a:close/>
                  <a:moveTo>
                    <a:pt x="21" y="142"/>
                  </a:moveTo>
                  <a:lnTo>
                    <a:pt x="19" y="142"/>
                  </a:lnTo>
                  <a:lnTo>
                    <a:pt x="21" y="142"/>
                  </a:lnTo>
                  <a:close/>
                  <a:moveTo>
                    <a:pt x="28" y="138"/>
                  </a:moveTo>
                  <a:lnTo>
                    <a:pt x="28" y="135"/>
                  </a:lnTo>
                  <a:lnTo>
                    <a:pt x="28" y="138"/>
                  </a:lnTo>
                  <a:close/>
                  <a:moveTo>
                    <a:pt x="5" y="138"/>
                  </a:moveTo>
                  <a:lnTo>
                    <a:pt x="5" y="135"/>
                  </a:lnTo>
                  <a:lnTo>
                    <a:pt x="5" y="138"/>
                  </a:lnTo>
                  <a:close/>
                  <a:moveTo>
                    <a:pt x="28" y="138"/>
                  </a:moveTo>
                  <a:lnTo>
                    <a:pt x="28" y="135"/>
                  </a:lnTo>
                  <a:lnTo>
                    <a:pt x="28" y="138"/>
                  </a:lnTo>
                  <a:close/>
                  <a:moveTo>
                    <a:pt x="85" y="135"/>
                  </a:moveTo>
                  <a:lnTo>
                    <a:pt x="83" y="135"/>
                  </a:lnTo>
                  <a:lnTo>
                    <a:pt x="85" y="135"/>
                  </a:lnTo>
                  <a:close/>
                  <a:moveTo>
                    <a:pt x="85" y="131"/>
                  </a:moveTo>
                  <a:lnTo>
                    <a:pt x="85" y="128"/>
                  </a:lnTo>
                  <a:lnTo>
                    <a:pt x="85" y="131"/>
                  </a:lnTo>
                  <a:close/>
                  <a:moveTo>
                    <a:pt x="154" y="97"/>
                  </a:moveTo>
                  <a:lnTo>
                    <a:pt x="152" y="97"/>
                  </a:lnTo>
                  <a:lnTo>
                    <a:pt x="154" y="97"/>
                  </a:lnTo>
                  <a:close/>
                  <a:moveTo>
                    <a:pt x="157" y="95"/>
                  </a:moveTo>
                  <a:lnTo>
                    <a:pt x="157" y="93"/>
                  </a:lnTo>
                  <a:lnTo>
                    <a:pt x="157" y="95"/>
                  </a:lnTo>
                  <a:close/>
                  <a:moveTo>
                    <a:pt x="159" y="90"/>
                  </a:moveTo>
                  <a:lnTo>
                    <a:pt x="159" y="88"/>
                  </a:lnTo>
                  <a:lnTo>
                    <a:pt x="159" y="90"/>
                  </a:lnTo>
                  <a:close/>
                  <a:moveTo>
                    <a:pt x="166" y="90"/>
                  </a:moveTo>
                  <a:lnTo>
                    <a:pt x="166" y="88"/>
                  </a:lnTo>
                  <a:lnTo>
                    <a:pt x="166" y="90"/>
                  </a:lnTo>
                  <a:close/>
                  <a:moveTo>
                    <a:pt x="199" y="71"/>
                  </a:moveTo>
                  <a:lnTo>
                    <a:pt x="202" y="71"/>
                  </a:lnTo>
                  <a:lnTo>
                    <a:pt x="199" y="71"/>
                  </a:lnTo>
                  <a:close/>
                  <a:moveTo>
                    <a:pt x="202" y="71"/>
                  </a:moveTo>
                  <a:lnTo>
                    <a:pt x="199" y="71"/>
                  </a:lnTo>
                  <a:lnTo>
                    <a:pt x="202" y="71"/>
                  </a:lnTo>
                  <a:close/>
                  <a:moveTo>
                    <a:pt x="211" y="55"/>
                  </a:moveTo>
                  <a:lnTo>
                    <a:pt x="211" y="52"/>
                  </a:lnTo>
                  <a:lnTo>
                    <a:pt x="211" y="55"/>
                  </a:lnTo>
                  <a:close/>
                  <a:moveTo>
                    <a:pt x="209" y="47"/>
                  </a:moveTo>
                  <a:lnTo>
                    <a:pt x="211" y="47"/>
                  </a:lnTo>
                  <a:lnTo>
                    <a:pt x="209" y="47"/>
                  </a:lnTo>
                  <a:close/>
                  <a:moveTo>
                    <a:pt x="211" y="36"/>
                  </a:moveTo>
                  <a:lnTo>
                    <a:pt x="211" y="38"/>
                  </a:lnTo>
                  <a:lnTo>
                    <a:pt x="211" y="36"/>
                  </a:lnTo>
                  <a:close/>
                  <a:moveTo>
                    <a:pt x="216" y="33"/>
                  </a:moveTo>
                  <a:lnTo>
                    <a:pt x="218" y="33"/>
                  </a:lnTo>
                  <a:lnTo>
                    <a:pt x="216" y="33"/>
                  </a:lnTo>
                  <a:close/>
                  <a:moveTo>
                    <a:pt x="228" y="28"/>
                  </a:moveTo>
                  <a:lnTo>
                    <a:pt x="225" y="28"/>
                  </a:lnTo>
                  <a:lnTo>
                    <a:pt x="228" y="28"/>
                  </a:lnTo>
                  <a:close/>
                  <a:moveTo>
                    <a:pt x="225" y="28"/>
                  </a:moveTo>
                  <a:lnTo>
                    <a:pt x="225" y="26"/>
                  </a:lnTo>
                  <a:lnTo>
                    <a:pt x="225" y="28"/>
                  </a:lnTo>
                  <a:close/>
                  <a:moveTo>
                    <a:pt x="225" y="26"/>
                  </a:moveTo>
                  <a:lnTo>
                    <a:pt x="225" y="24"/>
                  </a:lnTo>
                  <a:lnTo>
                    <a:pt x="225" y="26"/>
                  </a:lnTo>
                  <a:close/>
                  <a:moveTo>
                    <a:pt x="216" y="24"/>
                  </a:moveTo>
                  <a:lnTo>
                    <a:pt x="218" y="24"/>
                  </a:lnTo>
                  <a:lnTo>
                    <a:pt x="216" y="24"/>
                  </a:lnTo>
                  <a:close/>
                  <a:moveTo>
                    <a:pt x="218" y="19"/>
                  </a:moveTo>
                  <a:lnTo>
                    <a:pt x="216" y="19"/>
                  </a:lnTo>
                  <a:lnTo>
                    <a:pt x="218" y="19"/>
                  </a:lnTo>
                  <a:close/>
                  <a:moveTo>
                    <a:pt x="211" y="12"/>
                  </a:moveTo>
                  <a:lnTo>
                    <a:pt x="211" y="9"/>
                  </a:lnTo>
                  <a:lnTo>
                    <a:pt x="211" y="12"/>
                  </a:lnTo>
                  <a:close/>
                  <a:moveTo>
                    <a:pt x="230" y="0"/>
                  </a:moveTo>
                  <a:lnTo>
                    <a:pt x="230" y="2"/>
                  </a:lnTo>
                  <a:lnTo>
                    <a:pt x="23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1" name="Freeform 57949"/>
            <p:cNvSpPr>
              <a:spLocks noEditPoints="1"/>
            </p:cNvSpPr>
            <p:nvPr/>
          </p:nvSpPr>
          <p:spPr bwMode="auto">
            <a:xfrm>
              <a:off x="1084261" y="6191272"/>
              <a:ext cx="241300" cy="101600"/>
            </a:xfrm>
            <a:custGeom>
              <a:avLst/>
              <a:gdLst>
                <a:gd name="T0" fmla="*/ 85 w 152"/>
                <a:gd name="T1" fmla="*/ 47 h 64"/>
                <a:gd name="T2" fmla="*/ 87 w 152"/>
                <a:gd name="T3" fmla="*/ 55 h 64"/>
                <a:gd name="T4" fmla="*/ 85 w 152"/>
                <a:gd name="T5" fmla="*/ 57 h 64"/>
                <a:gd name="T6" fmla="*/ 80 w 152"/>
                <a:gd name="T7" fmla="*/ 62 h 64"/>
                <a:gd name="T8" fmla="*/ 76 w 152"/>
                <a:gd name="T9" fmla="*/ 62 h 64"/>
                <a:gd name="T10" fmla="*/ 71 w 152"/>
                <a:gd name="T11" fmla="*/ 57 h 64"/>
                <a:gd name="T12" fmla="*/ 71 w 152"/>
                <a:gd name="T13" fmla="*/ 52 h 64"/>
                <a:gd name="T14" fmla="*/ 76 w 152"/>
                <a:gd name="T15" fmla="*/ 47 h 64"/>
                <a:gd name="T16" fmla="*/ 83 w 152"/>
                <a:gd name="T17" fmla="*/ 45 h 64"/>
                <a:gd name="T18" fmla="*/ 61 w 152"/>
                <a:gd name="T19" fmla="*/ 26 h 64"/>
                <a:gd name="T20" fmla="*/ 59 w 152"/>
                <a:gd name="T21" fmla="*/ 33 h 64"/>
                <a:gd name="T22" fmla="*/ 57 w 152"/>
                <a:gd name="T23" fmla="*/ 36 h 64"/>
                <a:gd name="T24" fmla="*/ 52 w 152"/>
                <a:gd name="T25" fmla="*/ 40 h 64"/>
                <a:gd name="T26" fmla="*/ 49 w 152"/>
                <a:gd name="T27" fmla="*/ 47 h 64"/>
                <a:gd name="T28" fmla="*/ 42 w 152"/>
                <a:gd name="T29" fmla="*/ 52 h 64"/>
                <a:gd name="T30" fmla="*/ 40 w 152"/>
                <a:gd name="T31" fmla="*/ 45 h 64"/>
                <a:gd name="T32" fmla="*/ 38 w 152"/>
                <a:gd name="T33" fmla="*/ 38 h 64"/>
                <a:gd name="T34" fmla="*/ 40 w 152"/>
                <a:gd name="T35" fmla="*/ 36 h 64"/>
                <a:gd name="T36" fmla="*/ 47 w 152"/>
                <a:gd name="T37" fmla="*/ 33 h 64"/>
                <a:gd name="T38" fmla="*/ 52 w 152"/>
                <a:gd name="T39" fmla="*/ 28 h 64"/>
                <a:gd name="T40" fmla="*/ 61 w 152"/>
                <a:gd name="T41" fmla="*/ 28 h 64"/>
                <a:gd name="T42" fmla="*/ 137 w 152"/>
                <a:gd name="T43" fmla="*/ 21 h 64"/>
                <a:gd name="T44" fmla="*/ 137 w 152"/>
                <a:gd name="T45" fmla="*/ 31 h 64"/>
                <a:gd name="T46" fmla="*/ 135 w 152"/>
                <a:gd name="T47" fmla="*/ 38 h 64"/>
                <a:gd name="T48" fmla="*/ 135 w 152"/>
                <a:gd name="T49" fmla="*/ 43 h 64"/>
                <a:gd name="T50" fmla="*/ 128 w 152"/>
                <a:gd name="T51" fmla="*/ 45 h 64"/>
                <a:gd name="T52" fmla="*/ 123 w 152"/>
                <a:gd name="T53" fmla="*/ 47 h 64"/>
                <a:gd name="T54" fmla="*/ 116 w 152"/>
                <a:gd name="T55" fmla="*/ 50 h 64"/>
                <a:gd name="T56" fmla="*/ 121 w 152"/>
                <a:gd name="T57" fmla="*/ 45 h 64"/>
                <a:gd name="T58" fmla="*/ 125 w 152"/>
                <a:gd name="T59" fmla="*/ 40 h 64"/>
                <a:gd name="T60" fmla="*/ 128 w 152"/>
                <a:gd name="T61" fmla="*/ 33 h 64"/>
                <a:gd name="T62" fmla="*/ 130 w 152"/>
                <a:gd name="T63" fmla="*/ 26 h 64"/>
                <a:gd name="T64" fmla="*/ 135 w 152"/>
                <a:gd name="T65" fmla="*/ 21 h 64"/>
                <a:gd name="T66" fmla="*/ 4 w 152"/>
                <a:gd name="T67" fmla="*/ 17 h 64"/>
                <a:gd name="T68" fmla="*/ 9 w 152"/>
                <a:gd name="T69" fmla="*/ 21 h 64"/>
                <a:gd name="T70" fmla="*/ 9 w 152"/>
                <a:gd name="T71" fmla="*/ 26 h 64"/>
                <a:gd name="T72" fmla="*/ 7 w 152"/>
                <a:gd name="T73" fmla="*/ 33 h 64"/>
                <a:gd name="T74" fmla="*/ 2 w 152"/>
                <a:gd name="T75" fmla="*/ 28 h 64"/>
                <a:gd name="T76" fmla="*/ 0 w 152"/>
                <a:gd name="T77" fmla="*/ 21 h 64"/>
                <a:gd name="T78" fmla="*/ 2 w 152"/>
                <a:gd name="T79" fmla="*/ 19 h 64"/>
                <a:gd name="T80" fmla="*/ 4 w 152"/>
                <a:gd name="T81" fmla="*/ 17 h 64"/>
                <a:gd name="T82" fmla="*/ 149 w 152"/>
                <a:gd name="T83" fmla="*/ 2 h 64"/>
                <a:gd name="T84" fmla="*/ 147 w 152"/>
                <a:gd name="T85" fmla="*/ 9 h 64"/>
                <a:gd name="T86" fmla="*/ 144 w 152"/>
                <a:gd name="T87" fmla="*/ 12 h 64"/>
                <a:gd name="T88" fmla="*/ 142 w 152"/>
                <a:gd name="T89" fmla="*/ 14 h 64"/>
                <a:gd name="T90" fmla="*/ 137 w 152"/>
                <a:gd name="T91" fmla="*/ 14 h 64"/>
                <a:gd name="T92" fmla="*/ 137 w 152"/>
                <a:gd name="T93" fmla="*/ 9 h 64"/>
                <a:gd name="T94" fmla="*/ 142 w 152"/>
                <a:gd name="T95" fmla="*/ 5 h 64"/>
                <a:gd name="T96" fmla="*/ 142 w 152"/>
                <a:gd name="T97" fmla="*/ 5 h 64"/>
                <a:gd name="T98" fmla="*/ 149 w 152"/>
                <a:gd name="T99"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64">
                  <a:moveTo>
                    <a:pt x="85" y="45"/>
                  </a:moveTo>
                  <a:lnTo>
                    <a:pt x="85" y="47"/>
                  </a:lnTo>
                  <a:lnTo>
                    <a:pt x="85" y="45"/>
                  </a:lnTo>
                  <a:lnTo>
                    <a:pt x="85" y="47"/>
                  </a:lnTo>
                  <a:lnTo>
                    <a:pt x="85" y="50"/>
                  </a:lnTo>
                  <a:lnTo>
                    <a:pt x="87" y="50"/>
                  </a:lnTo>
                  <a:lnTo>
                    <a:pt x="87" y="52"/>
                  </a:lnTo>
                  <a:lnTo>
                    <a:pt x="87" y="55"/>
                  </a:lnTo>
                  <a:lnTo>
                    <a:pt x="87" y="57"/>
                  </a:lnTo>
                  <a:lnTo>
                    <a:pt x="85" y="57"/>
                  </a:lnTo>
                  <a:lnTo>
                    <a:pt x="87" y="57"/>
                  </a:lnTo>
                  <a:lnTo>
                    <a:pt x="85" y="57"/>
                  </a:lnTo>
                  <a:lnTo>
                    <a:pt x="85" y="59"/>
                  </a:lnTo>
                  <a:lnTo>
                    <a:pt x="85" y="62"/>
                  </a:lnTo>
                  <a:lnTo>
                    <a:pt x="83" y="62"/>
                  </a:lnTo>
                  <a:lnTo>
                    <a:pt x="80" y="62"/>
                  </a:lnTo>
                  <a:lnTo>
                    <a:pt x="80" y="64"/>
                  </a:lnTo>
                  <a:lnTo>
                    <a:pt x="78" y="64"/>
                  </a:lnTo>
                  <a:lnTo>
                    <a:pt x="78" y="62"/>
                  </a:lnTo>
                  <a:lnTo>
                    <a:pt x="76" y="62"/>
                  </a:lnTo>
                  <a:lnTo>
                    <a:pt x="76" y="59"/>
                  </a:lnTo>
                  <a:lnTo>
                    <a:pt x="73" y="59"/>
                  </a:lnTo>
                  <a:lnTo>
                    <a:pt x="73" y="57"/>
                  </a:lnTo>
                  <a:lnTo>
                    <a:pt x="71" y="57"/>
                  </a:lnTo>
                  <a:lnTo>
                    <a:pt x="71" y="55"/>
                  </a:lnTo>
                  <a:lnTo>
                    <a:pt x="71" y="52"/>
                  </a:lnTo>
                  <a:lnTo>
                    <a:pt x="73" y="52"/>
                  </a:lnTo>
                  <a:lnTo>
                    <a:pt x="71" y="52"/>
                  </a:lnTo>
                  <a:lnTo>
                    <a:pt x="73" y="52"/>
                  </a:lnTo>
                  <a:lnTo>
                    <a:pt x="73" y="50"/>
                  </a:lnTo>
                  <a:lnTo>
                    <a:pt x="76" y="50"/>
                  </a:lnTo>
                  <a:lnTo>
                    <a:pt x="76" y="47"/>
                  </a:lnTo>
                  <a:lnTo>
                    <a:pt x="76" y="45"/>
                  </a:lnTo>
                  <a:lnTo>
                    <a:pt x="78" y="45"/>
                  </a:lnTo>
                  <a:lnTo>
                    <a:pt x="80" y="45"/>
                  </a:lnTo>
                  <a:lnTo>
                    <a:pt x="83" y="45"/>
                  </a:lnTo>
                  <a:lnTo>
                    <a:pt x="83" y="47"/>
                  </a:lnTo>
                  <a:lnTo>
                    <a:pt x="85" y="47"/>
                  </a:lnTo>
                  <a:lnTo>
                    <a:pt x="85" y="45"/>
                  </a:lnTo>
                  <a:close/>
                  <a:moveTo>
                    <a:pt x="61" y="26"/>
                  </a:moveTo>
                  <a:lnTo>
                    <a:pt x="61" y="28"/>
                  </a:lnTo>
                  <a:lnTo>
                    <a:pt x="61" y="31"/>
                  </a:lnTo>
                  <a:lnTo>
                    <a:pt x="59" y="31"/>
                  </a:lnTo>
                  <a:lnTo>
                    <a:pt x="59" y="33"/>
                  </a:lnTo>
                  <a:lnTo>
                    <a:pt x="59" y="31"/>
                  </a:lnTo>
                  <a:lnTo>
                    <a:pt x="59" y="33"/>
                  </a:lnTo>
                  <a:lnTo>
                    <a:pt x="57" y="33"/>
                  </a:lnTo>
                  <a:lnTo>
                    <a:pt x="57" y="36"/>
                  </a:lnTo>
                  <a:lnTo>
                    <a:pt x="54" y="36"/>
                  </a:lnTo>
                  <a:lnTo>
                    <a:pt x="54" y="38"/>
                  </a:lnTo>
                  <a:lnTo>
                    <a:pt x="54" y="40"/>
                  </a:lnTo>
                  <a:lnTo>
                    <a:pt x="52" y="40"/>
                  </a:lnTo>
                  <a:lnTo>
                    <a:pt x="52" y="43"/>
                  </a:lnTo>
                  <a:lnTo>
                    <a:pt x="52" y="45"/>
                  </a:lnTo>
                  <a:lnTo>
                    <a:pt x="52" y="47"/>
                  </a:lnTo>
                  <a:lnTo>
                    <a:pt x="49" y="47"/>
                  </a:lnTo>
                  <a:lnTo>
                    <a:pt x="49" y="50"/>
                  </a:lnTo>
                  <a:lnTo>
                    <a:pt x="47" y="50"/>
                  </a:lnTo>
                  <a:lnTo>
                    <a:pt x="45" y="52"/>
                  </a:lnTo>
                  <a:lnTo>
                    <a:pt x="42" y="52"/>
                  </a:lnTo>
                  <a:lnTo>
                    <a:pt x="42" y="50"/>
                  </a:lnTo>
                  <a:lnTo>
                    <a:pt x="42" y="47"/>
                  </a:lnTo>
                  <a:lnTo>
                    <a:pt x="40" y="47"/>
                  </a:lnTo>
                  <a:lnTo>
                    <a:pt x="40" y="45"/>
                  </a:lnTo>
                  <a:lnTo>
                    <a:pt x="40" y="43"/>
                  </a:lnTo>
                  <a:lnTo>
                    <a:pt x="38" y="43"/>
                  </a:lnTo>
                  <a:lnTo>
                    <a:pt x="38" y="40"/>
                  </a:lnTo>
                  <a:lnTo>
                    <a:pt x="38" y="38"/>
                  </a:lnTo>
                  <a:lnTo>
                    <a:pt x="35" y="38"/>
                  </a:lnTo>
                  <a:lnTo>
                    <a:pt x="35" y="36"/>
                  </a:lnTo>
                  <a:lnTo>
                    <a:pt x="38" y="36"/>
                  </a:lnTo>
                  <a:lnTo>
                    <a:pt x="40" y="36"/>
                  </a:lnTo>
                  <a:lnTo>
                    <a:pt x="42" y="36"/>
                  </a:lnTo>
                  <a:lnTo>
                    <a:pt x="45" y="36"/>
                  </a:lnTo>
                  <a:lnTo>
                    <a:pt x="47" y="36"/>
                  </a:lnTo>
                  <a:lnTo>
                    <a:pt x="47" y="33"/>
                  </a:lnTo>
                  <a:lnTo>
                    <a:pt x="49" y="33"/>
                  </a:lnTo>
                  <a:lnTo>
                    <a:pt x="52" y="33"/>
                  </a:lnTo>
                  <a:lnTo>
                    <a:pt x="52" y="31"/>
                  </a:lnTo>
                  <a:lnTo>
                    <a:pt x="52" y="28"/>
                  </a:lnTo>
                  <a:lnTo>
                    <a:pt x="54" y="28"/>
                  </a:lnTo>
                  <a:lnTo>
                    <a:pt x="57" y="28"/>
                  </a:lnTo>
                  <a:lnTo>
                    <a:pt x="59" y="28"/>
                  </a:lnTo>
                  <a:lnTo>
                    <a:pt x="61" y="28"/>
                  </a:lnTo>
                  <a:lnTo>
                    <a:pt x="61" y="26"/>
                  </a:lnTo>
                  <a:close/>
                  <a:moveTo>
                    <a:pt x="135" y="19"/>
                  </a:moveTo>
                  <a:lnTo>
                    <a:pt x="137" y="19"/>
                  </a:lnTo>
                  <a:lnTo>
                    <a:pt x="137" y="21"/>
                  </a:lnTo>
                  <a:lnTo>
                    <a:pt x="137" y="24"/>
                  </a:lnTo>
                  <a:lnTo>
                    <a:pt x="137" y="26"/>
                  </a:lnTo>
                  <a:lnTo>
                    <a:pt x="137" y="28"/>
                  </a:lnTo>
                  <a:lnTo>
                    <a:pt x="137" y="31"/>
                  </a:lnTo>
                  <a:lnTo>
                    <a:pt x="137" y="33"/>
                  </a:lnTo>
                  <a:lnTo>
                    <a:pt x="137" y="36"/>
                  </a:lnTo>
                  <a:lnTo>
                    <a:pt x="137" y="38"/>
                  </a:lnTo>
                  <a:lnTo>
                    <a:pt x="135" y="38"/>
                  </a:lnTo>
                  <a:lnTo>
                    <a:pt x="137" y="38"/>
                  </a:lnTo>
                  <a:lnTo>
                    <a:pt x="135" y="38"/>
                  </a:lnTo>
                  <a:lnTo>
                    <a:pt x="135" y="40"/>
                  </a:lnTo>
                  <a:lnTo>
                    <a:pt x="135" y="43"/>
                  </a:lnTo>
                  <a:lnTo>
                    <a:pt x="133" y="43"/>
                  </a:lnTo>
                  <a:lnTo>
                    <a:pt x="130" y="43"/>
                  </a:lnTo>
                  <a:lnTo>
                    <a:pt x="128" y="43"/>
                  </a:lnTo>
                  <a:lnTo>
                    <a:pt x="128" y="45"/>
                  </a:lnTo>
                  <a:lnTo>
                    <a:pt x="128" y="43"/>
                  </a:lnTo>
                  <a:lnTo>
                    <a:pt x="128" y="45"/>
                  </a:lnTo>
                  <a:lnTo>
                    <a:pt x="125" y="45"/>
                  </a:lnTo>
                  <a:lnTo>
                    <a:pt x="123" y="47"/>
                  </a:lnTo>
                  <a:lnTo>
                    <a:pt x="123" y="50"/>
                  </a:lnTo>
                  <a:lnTo>
                    <a:pt x="121" y="50"/>
                  </a:lnTo>
                  <a:lnTo>
                    <a:pt x="118" y="50"/>
                  </a:lnTo>
                  <a:lnTo>
                    <a:pt x="116" y="50"/>
                  </a:lnTo>
                  <a:lnTo>
                    <a:pt x="116" y="47"/>
                  </a:lnTo>
                  <a:lnTo>
                    <a:pt x="118" y="47"/>
                  </a:lnTo>
                  <a:lnTo>
                    <a:pt x="121" y="47"/>
                  </a:lnTo>
                  <a:lnTo>
                    <a:pt x="121" y="45"/>
                  </a:lnTo>
                  <a:lnTo>
                    <a:pt x="123" y="45"/>
                  </a:lnTo>
                  <a:lnTo>
                    <a:pt x="123" y="43"/>
                  </a:lnTo>
                  <a:lnTo>
                    <a:pt x="125" y="43"/>
                  </a:lnTo>
                  <a:lnTo>
                    <a:pt x="125" y="40"/>
                  </a:lnTo>
                  <a:lnTo>
                    <a:pt x="125" y="38"/>
                  </a:lnTo>
                  <a:lnTo>
                    <a:pt x="125" y="36"/>
                  </a:lnTo>
                  <a:lnTo>
                    <a:pt x="128" y="36"/>
                  </a:lnTo>
                  <a:lnTo>
                    <a:pt x="128" y="33"/>
                  </a:lnTo>
                  <a:lnTo>
                    <a:pt x="128" y="31"/>
                  </a:lnTo>
                  <a:lnTo>
                    <a:pt x="130" y="31"/>
                  </a:lnTo>
                  <a:lnTo>
                    <a:pt x="130" y="28"/>
                  </a:lnTo>
                  <a:lnTo>
                    <a:pt x="130" y="26"/>
                  </a:lnTo>
                  <a:lnTo>
                    <a:pt x="130" y="24"/>
                  </a:lnTo>
                  <a:lnTo>
                    <a:pt x="133" y="24"/>
                  </a:lnTo>
                  <a:lnTo>
                    <a:pt x="133" y="21"/>
                  </a:lnTo>
                  <a:lnTo>
                    <a:pt x="135" y="21"/>
                  </a:lnTo>
                  <a:lnTo>
                    <a:pt x="135" y="19"/>
                  </a:lnTo>
                  <a:lnTo>
                    <a:pt x="135" y="21"/>
                  </a:lnTo>
                  <a:lnTo>
                    <a:pt x="135" y="19"/>
                  </a:lnTo>
                  <a:close/>
                  <a:moveTo>
                    <a:pt x="4" y="17"/>
                  </a:moveTo>
                  <a:lnTo>
                    <a:pt x="7" y="17"/>
                  </a:lnTo>
                  <a:lnTo>
                    <a:pt x="9" y="17"/>
                  </a:lnTo>
                  <a:lnTo>
                    <a:pt x="9" y="19"/>
                  </a:lnTo>
                  <a:lnTo>
                    <a:pt x="9" y="21"/>
                  </a:lnTo>
                  <a:lnTo>
                    <a:pt x="9" y="24"/>
                  </a:lnTo>
                  <a:lnTo>
                    <a:pt x="7" y="24"/>
                  </a:lnTo>
                  <a:lnTo>
                    <a:pt x="9" y="24"/>
                  </a:lnTo>
                  <a:lnTo>
                    <a:pt x="9" y="26"/>
                  </a:lnTo>
                  <a:lnTo>
                    <a:pt x="9" y="28"/>
                  </a:lnTo>
                  <a:lnTo>
                    <a:pt x="7" y="28"/>
                  </a:lnTo>
                  <a:lnTo>
                    <a:pt x="7" y="31"/>
                  </a:lnTo>
                  <a:lnTo>
                    <a:pt x="7" y="33"/>
                  </a:lnTo>
                  <a:lnTo>
                    <a:pt x="4" y="33"/>
                  </a:lnTo>
                  <a:lnTo>
                    <a:pt x="4" y="31"/>
                  </a:lnTo>
                  <a:lnTo>
                    <a:pt x="4" y="28"/>
                  </a:lnTo>
                  <a:lnTo>
                    <a:pt x="2" y="28"/>
                  </a:lnTo>
                  <a:lnTo>
                    <a:pt x="2" y="26"/>
                  </a:lnTo>
                  <a:lnTo>
                    <a:pt x="2" y="24"/>
                  </a:lnTo>
                  <a:lnTo>
                    <a:pt x="2" y="21"/>
                  </a:lnTo>
                  <a:lnTo>
                    <a:pt x="0" y="21"/>
                  </a:lnTo>
                  <a:lnTo>
                    <a:pt x="2" y="21"/>
                  </a:lnTo>
                  <a:lnTo>
                    <a:pt x="0" y="21"/>
                  </a:lnTo>
                  <a:lnTo>
                    <a:pt x="0" y="19"/>
                  </a:lnTo>
                  <a:lnTo>
                    <a:pt x="2" y="19"/>
                  </a:lnTo>
                  <a:lnTo>
                    <a:pt x="2" y="17"/>
                  </a:lnTo>
                  <a:lnTo>
                    <a:pt x="0" y="17"/>
                  </a:lnTo>
                  <a:lnTo>
                    <a:pt x="2" y="17"/>
                  </a:lnTo>
                  <a:lnTo>
                    <a:pt x="4" y="17"/>
                  </a:lnTo>
                  <a:close/>
                  <a:moveTo>
                    <a:pt x="149" y="0"/>
                  </a:moveTo>
                  <a:lnTo>
                    <a:pt x="152" y="0"/>
                  </a:lnTo>
                  <a:lnTo>
                    <a:pt x="152" y="2"/>
                  </a:lnTo>
                  <a:lnTo>
                    <a:pt x="149" y="2"/>
                  </a:lnTo>
                  <a:lnTo>
                    <a:pt x="149" y="5"/>
                  </a:lnTo>
                  <a:lnTo>
                    <a:pt x="149" y="7"/>
                  </a:lnTo>
                  <a:lnTo>
                    <a:pt x="149" y="9"/>
                  </a:lnTo>
                  <a:lnTo>
                    <a:pt x="147" y="9"/>
                  </a:lnTo>
                  <a:lnTo>
                    <a:pt x="147" y="12"/>
                  </a:lnTo>
                  <a:lnTo>
                    <a:pt x="144" y="12"/>
                  </a:lnTo>
                  <a:lnTo>
                    <a:pt x="144" y="14"/>
                  </a:lnTo>
                  <a:lnTo>
                    <a:pt x="144" y="12"/>
                  </a:lnTo>
                  <a:lnTo>
                    <a:pt x="142" y="12"/>
                  </a:lnTo>
                  <a:lnTo>
                    <a:pt x="142" y="14"/>
                  </a:lnTo>
                  <a:lnTo>
                    <a:pt x="142" y="12"/>
                  </a:lnTo>
                  <a:lnTo>
                    <a:pt x="142" y="14"/>
                  </a:lnTo>
                  <a:lnTo>
                    <a:pt x="140" y="14"/>
                  </a:lnTo>
                  <a:lnTo>
                    <a:pt x="140" y="17"/>
                  </a:lnTo>
                  <a:lnTo>
                    <a:pt x="137" y="17"/>
                  </a:lnTo>
                  <a:lnTo>
                    <a:pt x="137" y="14"/>
                  </a:lnTo>
                  <a:lnTo>
                    <a:pt x="135" y="14"/>
                  </a:lnTo>
                  <a:lnTo>
                    <a:pt x="137" y="14"/>
                  </a:lnTo>
                  <a:lnTo>
                    <a:pt x="137" y="12"/>
                  </a:lnTo>
                  <a:lnTo>
                    <a:pt x="137" y="9"/>
                  </a:lnTo>
                  <a:lnTo>
                    <a:pt x="137" y="7"/>
                  </a:lnTo>
                  <a:lnTo>
                    <a:pt x="140" y="7"/>
                  </a:lnTo>
                  <a:lnTo>
                    <a:pt x="142" y="7"/>
                  </a:lnTo>
                  <a:lnTo>
                    <a:pt x="142" y="5"/>
                  </a:lnTo>
                  <a:lnTo>
                    <a:pt x="142" y="7"/>
                  </a:lnTo>
                  <a:lnTo>
                    <a:pt x="142" y="5"/>
                  </a:lnTo>
                  <a:lnTo>
                    <a:pt x="144" y="5"/>
                  </a:lnTo>
                  <a:lnTo>
                    <a:pt x="142" y="5"/>
                  </a:lnTo>
                  <a:lnTo>
                    <a:pt x="144" y="5"/>
                  </a:lnTo>
                  <a:lnTo>
                    <a:pt x="147" y="5"/>
                  </a:lnTo>
                  <a:lnTo>
                    <a:pt x="147" y="2"/>
                  </a:lnTo>
                  <a:lnTo>
                    <a:pt x="149" y="2"/>
                  </a:lnTo>
                  <a:lnTo>
                    <a:pt x="14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2" name="Freeform 57950"/>
            <p:cNvSpPr>
              <a:spLocks noEditPoints="1"/>
            </p:cNvSpPr>
            <p:nvPr/>
          </p:nvSpPr>
          <p:spPr bwMode="auto">
            <a:xfrm>
              <a:off x="1076324" y="6180155"/>
              <a:ext cx="244475" cy="115888"/>
            </a:xfrm>
            <a:custGeom>
              <a:avLst/>
              <a:gdLst>
                <a:gd name="T0" fmla="*/ 9 w 154"/>
                <a:gd name="T1" fmla="*/ 66 h 73"/>
                <a:gd name="T2" fmla="*/ 9 w 154"/>
                <a:gd name="T3" fmla="*/ 66 h 73"/>
                <a:gd name="T4" fmla="*/ 9 w 154"/>
                <a:gd name="T5" fmla="*/ 69 h 73"/>
                <a:gd name="T6" fmla="*/ 7 w 154"/>
                <a:gd name="T7" fmla="*/ 69 h 73"/>
                <a:gd name="T8" fmla="*/ 7 w 154"/>
                <a:gd name="T9" fmla="*/ 71 h 73"/>
                <a:gd name="T10" fmla="*/ 7 w 154"/>
                <a:gd name="T11" fmla="*/ 71 h 73"/>
                <a:gd name="T12" fmla="*/ 7 w 154"/>
                <a:gd name="T13" fmla="*/ 73 h 73"/>
                <a:gd name="T14" fmla="*/ 5 w 154"/>
                <a:gd name="T15" fmla="*/ 73 h 73"/>
                <a:gd name="T16" fmla="*/ 5 w 154"/>
                <a:gd name="T17" fmla="*/ 73 h 73"/>
                <a:gd name="T18" fmla="*/ 5 w 154"/>
                <a:gd name="T19" fmla="*/ 71 h 73"/>
                <a:gd name="T20" fmla="*/ 2 w 154"/>
                <a:gd name="T21" fmla="*/ 71 h 73"/>
                <a:gd name="T22" fmla="*/ 0 w 154"/>
                <a:gd name="T23" fmla="*/ 71 h 73"/>
                <a:gd name="T24" fmla="*/ 0 w 154"/>
                <a:gd name="T25" fmla="*/ 71 h 73"/>
                <a:gd name="T26" fmla="*/ 0 w 154"/>
                <a:gd name="T27" fmla="*/ 69 h 73"/>
                <a:gd name="T28" fmla="*/ 2 w 154"/>
                <a:gd name="T29" fmla="*/ 69 h 73"/>
                <a:gd name="T30" fmla="*/ 5 w 154"/>
                <a:gd name="T31" fmla="*/ 69 h 73"/>
                <a:gd name="T32" fmla="*/ 5 w 154"/>
                <a:gd name="T33" fmla="*/ 69 h 73"/>
                <a:gd name="T34" fmla="*/ 5 w 154"/>
                <a:gd name="T35" fmla="*/ 66 h 73"/>
                <a:gd name="T36" fmla="*/ 5 w 154"/>
                <a:gd name="T37" fmla="*/ 66 h 73"/>
                <a:gd name="T38" fmla="*/ 7 w 154"/>
                <a:gd name="T39" fmla="*/ 66 h 73"/>
                <a:gd name="T40" fmla="*/ 7 w 154"/>
                <a:gd name="T41" fmla="*/ 66 h 73"/>
                <a:gd name="T42" fmla="*/ 31 w 154"/>
                <a:gd name="T43" fmla="*/ 50 h 73"/>
                <a:gd name="T44" fmla="*/ 31 w 154"/>
                <a:gd name="T45" fmla="*/ 50 h 73"/>
                <a:gd name="T46" fmla="*/ 31 w 154"/>
                <a:gd name="T47" fmla="*/ 50 h 73"/>
                <a:gd name="T48" fmla="*/ 33 w 154"/>
                <a:gd name="T49" fmla="*/ 52 h 73"/>
                <a:gd name="T50" fmla="*/ 33 w 154"/>
                <a:gd name="T51" fmla="*/ 52 h 73"/>
                <a:gd name="T52" fmla="*/ 33 w 154"/>
                <a:gd name="T53" fmla="*/ 52 h 73"/>
                <a:gd name="T54" fmla="*/ 36 w 154"/>
                <a:gd name="T55" fmla="*/ 54 h 73"/>
                <a:gd name="T56" fmla="*/ 36 w 154"/>
                <a:gd name="T57" fmla="*/ 54 h 73"/>
                <a:gd name="T58" fmla="*/ 36 w 154"/>
                <a:gd name="T59" fmla="*/ 54 h 73"/>
                <a:gd name="T60" fmla="*/ 33 w 154"/>
                <a:gd name="T61" fmla="*/ 57 h 73"/>
                <a:gd name="T62" fmla="*/ 33 w 154"/>
                <a:gd name="T63" fmla="*/ 57 h 73"/>
                <a:gd name="T64" fmla="*/ 33 w 154"/>
                <a:gd name="T65" fmla="*/ 57 h 73"/>
                <a:gd name="T66" fmla="*/ 31 w 154"/>
                <a:gd name="T67" fmla="*/ 57 h 73"/>
                <a:gd name="T68" fmla="*/ 31 w 154"/>
                <a:gd name="T69" fmla="*/ 57 h 73"/>
                <a:gd name="T70" fmla="*/ 31 w 154"/>
                <a:gd name="T71" fmla="*/ 57 h 73"/>
                <a:gd name="T72" fmla="*/ 28 w 154"/>
                <a:gd name="T73" fmla="*/ 57 h 73"/>
                <a:gd name="T74" fmla="*/ 28 w 154"/>
                <a:gd name="T75" fmla="*/ 57 h 73"/>
                <a:gd name="T76" fmla="*/ 28 w 154"/>
                <a:gd name="T77" fmla="*/ 57 h 73"/>
                <a:gd name="T78" fmla="*/ 26 w 154"/>
                <a:gd name="T79" fmla="*/ 54 h 73"/>
                <a:gd name="T80" fmla="*/ 26 w 154"/>
                <a:gd name="T81" fmla="*/ 52 h 73"/>
                <a:gd name="T82" fmla="*/ 28 w 154"/>
                <a:gd name="T83" fmla="*/ 52 h 73"/>
                <a:gd name="T84" fmla="*/ 28 w 154"/>
                <a:gd name="T85" fmla="*/ 50 h 73"/>
                <a:gd name="T86" fmla="*/ 28 w 154"/>
                <a:gd name="T87" fmla="*/ 50 h 73"/>
                <a:gd name="T88" fmla="*/ 142 w 154"/>
                <a:gd name="T89" fmla="*/ 26 h 73"/>
                <a:gd name="T90" fmla="*/ 142 w 154"/>
                <a:gd name="T91" fmla="*/ 28 h 73"/>
                <a:gd name="T92" fmla="*/ 142 w 154"/>
                <a:gd name="T93" fmla="*/ 26 h 73"/>
                <a:gd name="T94" fmla="*/ 154 w 154"/>
                <a:gd name="T95" fmla="*/ 5 h 73"/>
                <a:gd name="T96" fmla="*/ 154 w 154"/>
                <a:gd name="T97" fmla="*/ 5 h 73"/>
                <a:gd name="T98" fmla="*/ 154 w 154"/>
                <a:gd name="T99" fmla="*/ 7 h 73"/>
                <a:gd name="T100" fmla="*/ 152 w 154"/>
                <a:gd name="T101" fmla="*/ 7 h 73"/>
                <a:gd name="T102" fmla="*/ 152 w 154"/>
                <a:gd name="T103" fmla="*/ 7 h 73"/>
                <a:gd name="T104" fmla="*/ 152 w 154"/>
                <a:gd name="T105" fmla="*/ 7 h 73"/>
                <a:gd name="T106" fmla="*/ 154 w 154"/>
                <a:gd name="T107" fmla="*/ 5 h 73"/>
                <a:gd name="T108" fmla="*/ 154 w 154"/>
                <a:gd name="T109" fmla="*/ 5 h 73"/>
                <a:gd name="T110" fmla="*/ 152 w 154"/>
                <a:gd name="T111" fmla="*/ 5 h 73"/>
                <a:gd name="T112" fmla="*/ 152 w 154"/>
                <a:gd name="T113" fmla="*/ 5 h 73"/>
                <a:gd name="T114" fmla="*/ 154 w 154"/>
                <a:gd name="T115" fmla="*/ 0 h 73"/>
                <a:gd name="T116" fmla="*/ 152 w 154"/>
                <a:gd name="T117" fmla="*/ 0 h 73"/>
                <a:gd name="T118" fmla="*/ 152 w 154"/>
                <a:gd name="T119" fmla="*/ 0 h 73"/>
                <a:gd name="T120" fmla="*/ 154 w 154"/>
                <a:gd name="T1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 h="73">
                  <a:moveTo>
                    <a:pt x="7" y="66"/>
                  </a:moveTo>
                  <a:lnTo>
                    <a:pt x="7" y="66"/>
                  </a:lnTo>
                  <a:lnTo>
                    <a:pt x="7"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6"/>
                  </a:lnTo>
                  <a:lnTo>
                    <a:pt x="9" y="69"/>
                  </a:lnTo>
                  <a:lnTo>
                    <a:pt x="9" y="69"/>
                  </a:lnTo>
                  <a:lnTo>
                    <a:pt x="9" y="69"/>
                  </a:lnTo>
                  <a:lnTo>
                    <a:pt x="9" y="69"/>
                  </a:lnTo>
                  <a:lnTo>
                    <a:pt x="9" y="69"/>
                  </a:lnTo>
                  <a:lnTo>
                    <a:pt x="9" y="69"/>
                  </a:lnTo>
                  <a:lnTo>
                    <a:pt x="9" y="69"/>
                  </a:lnTo>
                  <a:lnTo>
                    <a:pt x="9" y="69"/>
                  </a:lnTo>
                  <a:lnTo>
                    <a:pt x="9" y="69"/>
                  </a:lnTo>
                  <a:lnTo>
                    <a:pt x="7" y="69"/>
                  </a:lnTo>
                  <a:lnTo>
                    <a:pt x="7" y="69"/>
                  </a:lnTo>
                  <a:lnTo>
                    <a:pt x="7" y="69"/>
                  </a:lnTo>
                  <a:lnTo>
                    <a:pt x="7" y="69"/>
                  </a:lnTo>
                  <a:lnTo>
                    <a:pt x="7" y="69"/>
                  </a:lnTo>
                  <a:lnTo>
                    <a:pt x="7" y="69"/>
                  </a:lnTo>
                  <a:lnTo>
                    <a:pt x="7" y="69"/>
                  </a:lnTo>
                  <a:lnTo>
                    <a:pt x="7" y="69"/>
                  </a:lnTo>
                  <a:lnTo>
                    <a:pt x="7" y="69"/>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1"/>
                  </a:lnTo>
                  <a:lnTo>
                    <a:pt x="7" y="73"/>
                  </a:lnTo>
                  <a:lnTo>
                    <a:pt x="7" y="73"/>
                  </a:lnTo>
                  <a:lnTo>
                    <a:pt x="7" y="73"/>
                  </a:lnTo>
                  <a:lnTo>
                    <a:pt x="7" y="73"/>
                  </a:lnTo>
                  <a:lnTo>
                    <a:pt x="7" y="73"/>
                  </a:lnTo>
                  <a:lnTo>
                    <a:pt x="7" y="73"/>
                  </a:lnTo>
                  <a:lnTo>
                    <a:pt x="7" y="73"/>
                  </a:lnTo>
                  <a:lnTo>
                    <a:pt x="7" y="73"/>
                  </a:lnTo>
                  <a:lnTo>
                    <a:pt x="7" y="73"/>
                  </a:lnTo>
                  <a:lnTo>
                    <a:pt x="7"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3"/>
                  </a:lnTo>
                  <a:lnTo>
                    <a:pt x="5" y="71"/>
                  </a:lnTo>
                  <a:lnTo>
                    <a:pt x="5" y="71"/>
                  </a:lnTo>
                  <a:lnTo>
                    <a:pt x="2" y="71"/>
                  </a:lnTo>
                  <a:lnTo>
                    <a:pt x="2" y="71"/>
                  </a:lnTo>
                  <a:lnTo>
                    <a:pt x="2" y="71"/>
                  </a:lnTo>
                  <a:lnTo>
                    <a:pt x="2" y="71"/>
                  </a:lnTo>
                  <a:lnTo>
                    <a:pt x="2" y="71"/>
                  </a:lnTo>
                  <a:lnTo>
                    <a:pt x="2" y="71"/>
                  </a:lnTo>
                  <a:lnTo>
                    <a:pt x="2" y="71"/>
                  </a:lnTo>
                  <a:lnTo>
                    <a:pt x="2" y="71"/>
                  </a:lnTo>
                  <a:lnTo>
                    <a:pt x="2" y="71"/>
                  </a:lnTo>
                  <a:lnTo>
                    <a:pt x="2" y="71"/>
                  </a:lnTo>
                  <a:lnTo>
                    <a:pt x="0" y="71"/>
                  </a:lnTo>
                  <a:lnTo>
                    <a:pt x="0" y="71"/>
                  </a:lnTo>
                  <a:lnTo>
                    <a:pt x="0" y="71"/>
                  </a:lnTo>
                  <a:lnTo>
                    <a:pt x="0" y="71"/>
                  </a:lnTo>
                  <a:lnTo>
                    <a:pt x="0" y="71"/>
                  </a:lnTo>
                  <a:lnTo>
                    <a:pt x="0" y="71"/>
                  </a:lnTo>
                  <a:lnTo>
                    <a:pt x="0" y="71"/>
                  </a:lnTo>
                  <a:lnTo>
                    <a:pt x="0" y="71"/>
                  </a:lnTo>
                  <a:lnTo>
                    <a:pt x="0" y="71"/>
                  </a:lnTo>
                  <a:lnTo>
                    <a:pt x="0" y="71"/>
                  </a:lnTo>
                  <a:lnTo>
                    <a:pt x="0" y="71"/>
                  </a:lnTo>
                  <a:lnTo>
                    <a:pt x="0" y="71"/>
                  </a:lnTo>
                  <a:lnTo>
                    <a:pt x="0" y="71"/>
                  </a:lnTo>
                  <a:lnTo>
                    <a:pt x="0" y="71"/>
                  </a:lnTo>
                  <a:lnTo>
                    <a:pt x="0" y="69"/>
                  </a:lnTo>
                  <a:lnTo>
                    <a:pt x="0" y="69"/>
                  </a:lnTo>
                  <a:lnTo>
                    <a:pt x="0" y="69"/>
                  </a:lnTo>
                  <a:lnTo>
                    <a:pt x="0" y="69"/>
                  </a:lnTo>
                  <a:lnTo>
                    <a:pt x="0" y="69"/>
                  </a:lnTo>
                  <a:lnTo>
                    <a:pt x="0" y="69"/>
                  </a:lnTo>
                  <a:lnTo>
                    <a:pt x="0" y="69"/>
                  </a:lnTo>
                  <a:lnTo>
                    <a:pt x="0" y="69"/>
                  </a:lnTo>
                  <a:lnTo>
                    <a:pt x="0" y="69"/>
                  </a:lnTo>
                  <a:lnTo>
                    <a:pt x="0" y="69"/>
                  </a:lnTo>
                  <a:lnTo>
                    <a:pt x="0" y="69"/>
                  </a:lnTo>
                  <a:lnTo>
                    <a:pt x="0" y="69"/>
                  </a:lnTo>
                  <a:lnTo>
                    <a:pt x="0" y="69"/>
                  </a:lnTo>
                  <a:lnTo>
                    <a:pt x="2" y="69"/>
                  </a:lnTo>
                  <a:lnTo>
                    <a:pt x="2" y="69"/>
                  </a:lnTo>
                  <a:lnTo>
                    <a:pt x="2" y="69"/>
                  </a:lnTo>
                  <a:lnTo>
                    <a:pt x="2" y="69"/>
                  </a:lnTo>
                  <a:lnTo>
                    <a:pt x="2" y="69"/>
                  </a:lnTo>
                  <a:lnTo>
                    <a:pt x="2" y="69"/>
                  </a:lnTo>
                  <a:lnTo>
                    <a:pt x="2" y="69"/>
                  </a:lnTo>
                  <a:lnTo>
                    <a:pt x="2" y="69"/>
                  </a:lnTo>
                  <a:lnTo>
                    <a:pt x="2" y="69"/>
                  </a:lnTo>
                  <a:lnTo>
                    <a:pt x="2" y="69"/>
                  </a:lnTo>
                  <a:lnTo>
                    <a:pt x="5" y="69"/>
                  </a:lnTo>
                  <a:lnTo>
                    <a:pt x="5" y="69"/>
                  </a:lnTo>
                  <a:lnTo>
                    <a:pt x="5" y="69"/>
                  </a:lnTo>
                  <a:lnTo>
                    <a:pt x="5" y="69"/>
                  </a:lnTo>
                  <a:lnTo>
                    <a:pt x="5" y="69"/>
                  </a:lnTo>
                  <a:lnTo>
                    <a:pt x="5" y="69"/>
                  </a:lnTo>
                  <a:lnTo>
                    <a:pt x="5" y="69"/>
                  </a:lnTo>
                  <a:lnTo>
                    <a:pt x="5" y="69"/>
                  </a:lnTo>
                  <a:lnTo>
                    <a:pt x="5" y="69"/>
                  </a:lnTo>
                  <a:lnTo>
                    <a:pt x="5" y="69"/>
                  </a:lnTo>
                  <a:lnTo>
                    <a:pt x="5" y="69"/>
                  </a:lnTo>
                  <a:lnTo>
                    <a:pt x="5" y="69"/>
                  </a:lnTo>
                  <a:lnTo>
                    <a:pt x="5" y="66"/>
                  </a:lnTo>
                  <a:lnTo>
                    <a:pt x="5" y="66"/>
                  </a:lnTo>
                  <a:lnTo>
                    <a:pt x="5" y="66"/>
                  </a:lnTo>
                  <a:lnTo>
                    <a:pt x="5" y="66"/>
                  </a:lnTo>
                  <a:lnTo>
                    <a:pt x="5" y="66"/>
                  </a:lnTo>
                  <a:lnTo>
                    <a:pt x="5" y="66"/>
                  </a:lnTo>
                  <a:lnTo>
                    <a:pt x="5" y="66"/>
                  </a:lnTo>
                  <a:lnTo>
                    <a:pt x="5" y="66"/>
                  </a:lnTo>
                  <a:lnTo>
                    <a:pt x="5" y="66"/>
                  </a:lnTo>
                  <a:lnTo>
                    <a:pt x="5" y="66"/>
                  </a:lnTo>
                  <a:lnTo>
                    <a:pt x="5" y="66"/>
                  </a:lnTo>
                  <a:lnTo>
                    <a:pt x="5" y="66"/>
                  </a:lnTo>
                  <a:lnTo>
                    <a:pt x="5"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lnTo>
                    <a:pt x="7" y="66"/>
                  </a:lnTo>
                  <a:close/>
                  <a:moveTo>
                    <a:pt x="28" y="50"/>
                  </a:moveTo>
                  <a:lnTo>
                    <a:pt x="28"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1" y="50"/>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3" y="52"/>
                  </a:lnTo>
                  <a:lnTo>
                    <a:pt x="36" y="52"/>
                  </a:lnTo>
                  <a:lnTo>
                    <a:pt x="36" y="52"/>
                  </a:lnTo>
                  <a:lnTo>
                    <a:pt x="36" y="52"/>
                  </a:lnTo>
                  <a:lnTo>
                    <a:pt x="36" y="52"/>
                  </a:lnTo>
                  <a:lnTo>
                    <a:pt x="36" y="52"/>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6" y="54"/>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3" y="57"/>
                  </a:lnTo>
                  <a:lnTo>
                    <a:pt x="31" y="57"/>
                  </a:lnTo>
                  <a:lnTo>
                    <a:pt x="31" y="57"/>
                  </a:lnTo>
                  <a:lnTo>
                    <a:pt x="31" y="57"/>
                  </a:lnTo>
                  <a:lnTo>
                    <a:pt x="31" y="57"/>
                  </a:lnTo>
                  <a:lnTo>
                    <a:pt x="31" y="57"/>
                  </a:lnTo>
                  <a:lnTo>
                    <a:pt x="31" y="57"/>
                  </a:lnTo>
                  <a:lnTo>
                    <a:pt x="31" y="57"/>
                  </a:lnTo>
                  <a:lnTo>
                    <a:pt x="31" y="57"/>
                  </a:lnTo>
                  <a:lnTo>
                    <a:pt x="31" y="57"/>
                  </a:lnTo>
                  <a:lnTo>
                    <a:pt x="31" y="57"/>
                  </a:lnTo>
                  <a:lnTo>
                    <a:pt x="31" y="57"/>
                  </a:lnTo>
                  <a:lnTo>
                    <a:pt x="31" y="57"/>
                  </a:lnTo>
                  <a:lnTo>
                    <a:pt x="31" y="59"/>
                  </a:lnTo>
                  <a:lnTo>
                    <a:pt x="31" y="59"/>
                  </a:lnTo>
                  <a:lnTo>
                    <a:pt x="31" y="59"/>
                  </a:lnTo>
                  <a:lnTo>
                    <a:pt x="31" y="57"/>
                  </a:lnTo>
                  <a:lnTo>
                    <a:pt x="31" y="57"/>
                  </a:lnTo>
                  <a:lnTo>
                    <a:pt x="31" y="57"/>
                  </a:lnTo>
                  <a:lnTo>
                    <a:pt x="31"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7"/>
                  </a:lnTo>
                  <a:lnTo>
                    <a:pt x="28" y="54"/>
                  </a:lnTo>
                  <a:lnTo>
                    <a:pt x="26" y="54"/>
                  </a:lnTo>
                  <a:lnTo>
                    <a:pt x="26" y="54"/>
                  </a:lnTo>
                  <a:lnTo>
                    <a:pt x="26" y="54"/>
                  </a:lnTo>
                  <a:lnTo>
                    <a:pt x="26" y="54"/>
                  </a:lnTo>
                  <a:lnTo>
                    <a:pt x="26" y="54"/>
                  </a:lnTo>
                  <a:lnTo>
                    <a:pt x="26" y="54"/>
                  </a:lnTo>
                  <a:lnTo>
                    <a:pt x="26" y="54"/>
                  </a:lnTo>
                  <a:lnTo>
                    <a:pt x="26" y="54"/>
                  </a:lnTo>
                  <a:lnTo>
                    <a:pt x="26" y="54"/>
                  </a:lnTo>
                  <a:lnTo>
                    <a:pt x="26" y="54"/>
                  </a:lnTo>
                  <a:lnTo>
                    <a:pt x="26" y="54"/>
                  </a:lnTo>
                  <a:lnTo>
                    <a:pt x="26" y="54"/>
                  </a:lnTo>
                  <a:lnTo>
                    <a:pt x="26" y="52"/>
                  </a:lnTo>
                  <a:lnTo>
                    <a:pt x="26" y="52"/>
                  </a:lnTo>
                  <a:lnTo>
                    <a:pt x="26" y="52"/>
                  </a:lnTo>
                  <a:lnTo>
                    <a:pt x="26" y="52"/>
                  </a:lnTo>
                  <a:lnTo>
                    <a:pt x="26" y="52"/>
                  </a:lnTo>
                  <a:lnTo>
                    <a:pt x="26" y="52"/>
                  </a:lnTo>
                  <a:lnTo>
                    <a:pt x="26" y="52"/>
                  </a:lnTo>
                  <a:lnTo>
                    <a:pt x="26" y="52"/>
                  </a:lnTo>
                  <a:lnTo>
                    <a:pt x="26" y="52"/>
                  </a:lnTo>
                  <a:lnTo>
                    <a:pt x="26" y="52"/>
                  </a:lnTo>
                  <a:lnTo>
                    <a:pt x="28" y="52"/>
                  </a:lnTo>
                  <a:lnTo>
                    <a:pt x="28" y="52"/>
                  </a:lnTo>
                  <a:lnTo>
                    <a:pt x="28" y="52"/>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lnTo>
                    <a:pt x="28" y="50"/>
                  </a:lnTo>
                  <a:close/>
                  <a:moveTo>
                    <a:pt x="142" y="26"/>
                  </a:moveTo>
                  <a:lnTo>
                    <a:pt x="142" y="26"/>
                  </a:lnTo>
                  <a:lnTo>
                    <a:pt x="142" y="26"/>
                  </a:lnTo>
                  <a:lnTo>
                    <a:pt x="142" y="28"/>
                  </a:lnTo>
                  <a:lnTo>
                    <a:pt x="142" y="28"/>
                  </a:lnTo>
                  <a:lnTo>
                    <a:pt x="142" y="28"/>
                  </a:lnTo>
                  <a:lnTo>
                    <a:pt x="142" y="28"/>
                  </a:lnTo>
                  <a:lnTo>
                    <a:pt x="142" y="28"/>
                  </a:lnTo>
                  <a:lnTo>
                    <a:pt x="142" y="28"/>
                  </a:lnTo>
                  <a:lnTo>
                    <a:pt x="142" y="28"/>
                  </a:lnTo>
                  <a:lnTo>
                    <a:pt x="142" y="28"/>
                  </a:lnTo>
                  <a:lnTo>
                    <a:pt x="142" y="28"/>
                  </a:lnTo>
                  <a:lnTo>
                    <a:pt x="142" y="28"/>
                  </a:lnTo>
                  <a:lnTo>
                    <a:pt x="142" y="28"/>
                  </a:lnTo>
                  <a:lnTo>
                    <a:pt x="142" y="28"/>
                  </a:lnTo>
                  <a:lnTo>
                    <a:pt x="142" y="26"/>
                  </a:lnTo>
                  <a:lnTo>
                    <a:pt x="142" y="26"/>
                  </a:lnTo>
                  <a:lnTo>
                    <a:pt x="142" y="26"/>
                  </a:lnTo>
                  <a:lnTo>
                    <a:pt x="142" y="26"/>
                  </a:lnTo>
                  <a:lnTo>
                    <a:pt x="142" y="26"/>
                  </a:lnTo>
                  <a:lnTo>
                    <a:pt x="142" y="26"/>
                  </a:lnTo>
                  <a:lnTo>
                    <a:pt x="142" y="26"/>
                  </a:lnTo>
                  <a:lnTo>
                    <a:pt x="142" y="26"/>
                  </a:lnTo>
                  <a:lnTo>
                    <a:pt x="142" y="26"/>
                  </a:lnTo>
                  <a:close/>
                  <a:moveTo>
                    <a:pt x="154" y="5"/>
                  </a:moveTo>
                  <a:lnTo>
                    <a:pt x="154" y="5"/>
                  </a:lnTo>
                  <a:lnTo>
                    <a:pt x="154" y="5"/>
                  </a:lnTo>
                  <a:lnTo>
                    <a:pt x="154" y="5"/>
                  </a:lnTo>
                  <a:lnTo>
                    <a:pt x="154" y="5"/>
                  </a:lnTo>
                  <a:lnTo>
                    <a:pt x="154" y="5"/>
                  </a:lnTo>
                  <a:lnTo>
                    <a:pt x="154" y="5"/>
                  </a:lnTo>
                  <a:lnTo>
                    <a:pt x="154" y="5"/>
                  </a:lnTo>
                  <a:lnTo>
                    <a:pt x="154" y="5"/>
                  </a:lnTo>
                  <a:lnTo>
                    <a:pt x="154" y="5"/>
                  </a:lnTo>
                  <a:lnTo>
                    <a:pt x="154" y="5"/>
                  </a:lnTo>
                  <a:lnTo>
                    <a:pt x="154" y="5"/>
                  </a:lnTo>
                  <a:lnTo>
                    <a:pt x="154" y="5"/>
                  </a:lnTo>
                  <a:lnTo>
                    <a:pt x="154" y="7"/>
                  </a:lnTo>
                  <a:lnTo>
                    <a:pt x="154" y="7"/>
                  </a:lnTo>
                  <a:lnTo>
                    <a:pt x="154" y="7"/>
                  </a:lnTo>
                  <a:lnTo>
                    <a:pt x="154" y="7"/>
                  </a:lnTo>
                  <a:lnTo>
                    <a:pt x="154" y="7"/>
                  </a:lnTo>
                  <a:lnTo>
                    <a:pt x="154" y="7"/>
                  </a:lnTo>
                  <a:lnTo>
                    <a:pt x="154" y="7"/>
                  </a:lnTo>
                  <a:lnTo>
                    <a:pt x="154" y="7"/>
                  </a:lnTo>
                  <a:lnTo>
                    <a:pt x="154" y="7"/>
                  </a:lnTo>
                  <a:lnTo>
                    <a:pt x="154" y="7"/>
                  </a:lnTo>
                  <a:lnTo>
                    <a:pt x="154"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7"/>
                  </a:lnTo>
                  <a:lnTo>
                    <a:pt x="152" y="5"/>
                  </a:lnTo>
                  <a:lnTo>
                    <a:pt x="152" y="5"/>
                  </a:lnTo>
                  <a:lnTo>
                    <a:pt x="152" y="5"/>
                  </a:lnTo>
                  <a:lnTo>
                    <a:pt x="152" y="5"/>
                  </a:lnTo>
                  <a:lnTo>
                    <a:pt x="154" y="5"/>
                  </a:lnTo>
                  <a:lnTo>
                    <a:pt x="154" y="5"/>
                  </a:lnTo>
                  <a:lnTo>
                    <a:pt x="154" y="5"/>
                  </a:lnTo>
                  <a:lnTo>
                    <a:pt x="154" y="5"/>
                  </a:lnTo>
                  <a:lnTo>
                    <a:pt x="154" y="5"/>
                  </a:lnTo>
                  <a:lnTo>
                    <a:pt x="154" y="5"/>
                  </a:lnTo>
                  <a:lnTo>
                    <a:pt x="154" y="5"/>
                  </a:lnTo>
                  <a:lnTo>
                    <a:pt x="154" y="5"/>
                  </a:lnTo>
                  <a:lnTo>
                    <a:pt x="154" y="5"/>
                  </a:lnTo>
                  <a:lnTo>
                    <a:pt x="154" y="5"/>
                  </a:lnTo>
                  <a:lnTo>
                    <a:pt x="154" y="5"/>
                  </a:lnTo>
                  <a:lnTo>
                    <a:pt x="154" y="5"/>
                  </a:lnTo>
                  <a:close/>
                  <a:moveTo>
                    <a:pt x="152" y="5"/>
                  </a:move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lnTo>
                    <a:pt x="152" y="5"/>
                  </a:lnTo>
                  <a:close/>
                  <a:moveTo>
                    <a:pt x="154" y="0"/>
                  </a:moveTo>
                  <a:lnTo>
                    <a:pt x="154" y="0"/>
                  </a:lnTo>
                  <a:lnTo>
                    <a:pt x="154" y="0"/>
                  </a:lnTo>
                  <a:lnTo>
                    <a:pt x="154" y="0"/>
                  </a:lnTo>
                  <a:lnTo>
                    <a:pt x="154" y="0"/>
                  </a:lnTo>
                  <a:lnTo>
                    <a:pt x="154" y="0"/>
                  </a:lnTo>
                  <a:lnTo>
                    <a:pt x="154" y="0"/>
                  </a:lnTo>
                  <a:lnTo>
                    <a:pt x="154" y="0"/>
                  </a:lnTo>
                  <a:lnTo>
                    <a:pt x="154" y="0"/>
                  </a:lnTo>
                  <a:lnTo>
                    <a:pt x="154" y="0"/>
                  </a:lnTo>
                  <a:lnTo>
                    <a:pt x="154" y="0"/>
                  </a:lnTo>
                  <a:lnTo>
                    <a:pt x="154" y="0"/>
                  </a:lnTo>
                  <a:lnTo>
                    <a:pt x="154" y="0"/>
                  </a:lnTo>
                  <a:lnTo>
                    <a:pt x="154" y="0"/>
                  </a:lnTo>
                  <a:lnTo>
                    <a:pt x="152" y="0"/>
                  </a:lnTo>
                  <a:lnTo>
                    <a:pt x="152" y="0"/>
                  </a:lnTo>
                  <a:lnTo>
                    <a:pt x="152" y="0"/>
                  </a:lnTo>
                  <a:lnTo>
                    <a:pt x="152" y="0"/>
                  </a:lnTo>
                  <a:lnTo>
                    <a:pt x="152" y="0"/>
                  </a:lnTo>
                  <a:lnTo>
                    <a:pt x="152" y="0"/>
                  </a:lnTo>
                  <a:lnTo>
                    <a:pt x="152" y="0"/>
                  </a:lnTo>
                  <a:lnTo>
                    <a:pt x="152" y="0"/>
                  </a:lnTo>
                  <a:lnTo>
                    <a:pt x="152" y="0"/>
                  </a:lnTo>
                  <a:lnTo>
                    <a:pt x="152" y="0"/>
                  </a:lnTo>
                  <a:lnTo>
                    <a:pt x="152" y="0"/>
                  </a:lnTo>
                  <a:lnTo>
                    <a:pt x="154" y="0"/>
                  </a:lnTo>
                  <a:lnTo>
                    <a:pt x="154" y="0"/>
                  </a:lnTo>
                  <a:lnTo>
                    <a:pt x="154" y="0"/>
                  </a:lnTo>
                  <a:lnTo>
                    <a:pt x="154" y="0"/>
                  </a:lnTo>
                  <a:lnTo>
                    <a:pt x="154" y="0"/>
                  </a:lnTo>
                  <a:lnTo>
                    <a:pt x="154" y="0"/>
                  </a:lnTo>
                  <a:lnTo>
                    <a:pt x="154" y="0"/>
                  </a:lnTo>
                  <a:lnTo>
                    <a:pt x="15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3" name="Freeform 57951"/>
            <p:cNvSpPr>
              <a:spLocks noEditPoints="1"/>
            </p:cNvSpPr>
            <p:nvPr/>
          </p:nvSpPr>
          <p:spPr bwMode="auto">
            <a:xfrm>
              <a:off x="1177924" y="6183331"/>
              <a:ext cx="139700" cy="90488"/>
            </a:xfrm>
            <a:custGeom>
              <a:avLst/>
              <a:gdLst>
                <a:gd name="T0" fmla="*/ 28 w 88"/>
                <a:gd name="T1" fmla="*/ 57 h 57"/>
                <a:gd name="T2" fmla="*/ 28 w 88"/>
                <a:gd name="T3" fmla="*/ 57 h 57"/>
                <a:gd name="T4" fmla="*/ 28 w 88"/>
                <a:gd name="T5" fmla="*/ 57 h 57"/>
                <a:gd name="T6" fmla="*/ 28 w 88"/>
                <a:gd name="T7" fmla="*/ 57 h 57"/>
                <a:gd name="T8" fmla="*/ 28 w 88"/>
                <a:gd name="T9" fmla="*/ 57 h 57"/>
                <a:gd name="T10" fmla="*/ 57 w 88"/>
                <a:gd name="T11" fmla="*/ 55 h 57"/>
                <a:gd name="T12" fmla="*/ 57 w 88"/>
                <a:gd name="T13" fmla="*/ 55 h 57"/>
                <a:gd name="T14" fmla="*/ 57 w 88"/>
                <a:gd name="T15" fmla="*/ 55 h 57"/>
                <a:gd name="T16" fmla="*/ 57 w 88"/>
                <a:gd name="T17" fmla="*/ 55 h 57"/>
                <a:gd name="T18" fmla="*/ 57 w 88"/>
                <a:gd name="T19" fmla="*/ 55 h 57"/>
                <a:gd name="T20" fmla="*/ 26 w 88"/>
                <a:gd name="T21" fmla="*/ 52 h 57"/>
                <a:gd name="T22" fmla="*/ 26 w 88"/>
                <a:gd name="T23" fmla="*/ 52 h 57"/>
                <a:gd name="T24" fmla="*/ 26 w 88"/>
                <a:gd name="T25" fmla="*/ 52 h 57"/>
                <a:gd name="T26" fmla="*/ 26 w 88"/>
                <a:gd name="T27" fmla="*/ 52 h 57"/>
                <a:gd name="T28" fmla="*/ 26 w 88"/>
                <a:gd name="T29" fmla="*/ 52 h 57"/>
                <a:gd name="T30" fmla="*/ 26 w 88"/>
                <a:gd name="T31" fmla="*/ 52 h 57"/>
                <a:gd name="T32" fmla="*/ 26 w 88"/>
                <a:gd name="T33" fmla="*/ 50 h 57"/>
                <a:gd name="T34" fmla="*/ 26 w 88"/>
                <a:gd name="T35" fmla="*/ 50 h 57"/>
                <a:gd name="T36" fmla="*/ 26 w 88"/>
                <a:gd name="T37" fmla="*/ 50 h 57"/>
                <a:gd name="T38" fmla="*/ 26 w 88"/>
                <a:gd name="T39" fmla="*/ 50 h 57"/>
                <a:gd name="T40" fmla="*/ 26 w 88"/>
                <a:gd name="T41" fmla="*/ 50 h 57"/>
                <a:gd name="T42" fmla="*/ 0 w 88"/>
                <a:gd name="T43" fmla="*/ 38 h 57"/>
                <a:gd name="T44" fmla="*/ 0 w 88"/>
                <a:gd name="T45" fmla="*/ 38 h 57"/>
                <a:gd name="T46" fmla="*/ 0 w 88"/>
                <a:gd name="T47" fmla="*/ 38 h 57"/>
                <a:gd name="T48" fmla="*/ 0 w 88"/>
                <a:gd name="T49" fmla="*/ 38 h 57"/>
                <a:gd name="T50" fmla="*/ 0 w 88"/>
                <a:gd name="T51" fmla="*/ 38 h 57"/>
                <a:gd name="T52" fmla="*/ 0 w 88"/>
                <a:gd name="T53" fmla="*/ 36 h 57"/>
                <a:gd name="T54" fmla="*/ 0 w 88"/>
                <a:gd name="T55" fmla="*/ 36 h 57"/>
                <a:gd name="T56" fmla="*/ 0 w 88"/>
                <a:gd name="T57" fmla="*/ 36 h 57"/>
                <a:gd name="T58" fmla="*/ 0 w 88"/>
                <a:gd name="T59" fmla="*/ 36 h 57"/>
                <a:gd name="T60" fmla="*/ 0 w 88"/>
                <a:gd name="T61" fmla="*/ 36 h 57"/>
                <a:gd name="T62" fmla="*/ 0 w 88"/>
                <a:gd name="T63" fmla="*/ 36 h 57"/>
                <a:gd name="T64" fmla="*/ 2 w 88"/>
                <a:gd name="T65" fmla="*/ 31 h 57"/>
                <a:gd name="T66" fmla="*/ 2 w 88"/>
                <a:gd name="T67" fmla="*/ 31 h 57"/>
                <a:gd name="T68" fmla="*/ 2 w 88"/>
                <a:gd name="T69" fmla="*/ 31 h 57"/>
                <a:gd name="T70" fmla="*/ 2 w 88"/>
                <a:gd name="T71" fmla="*/ 31 h 57"/>
                <a:gd name="T72" fmla="*/ 2 w 88"/>
                <a:gd name="T73" fmla="*/ 31 h 57"/>
                <a:gd name="T74" fmla="*/ 88 w 88"/>
                <a:gd name="T75" fmla="*/ 0 h 57"/>
                <a:gd name="T76" fmla="*/ 88 w 88"/>
                <a:gd name="T77" fmla="*/ 0 h 57"/>
                <a:gd name="T78" fmla="*/ 88 w 88"/>
                <a:gd name="T79" fmla="*/ 0 h 57"/>
                <a:gd name="T80" fmla="*/ 88 w 88"/>
                <a:gd name="T81" fmla="*/ 0 h 57"/>
                <a:gd name="T82" fmla="*/ 88 w 88"/>
                <a:gd name="T8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57">
                  <a:moveTo>
                    <a:pt x="28" y="57"/>
                  </a:moveTo>
                  <a:lnTo>
                    <a:pt x="28" y="57"/>
                  </a:lnTo>
                  <a:lnTo>
                    <a:pt x="28" y="57"/>
                  </a:lnTo>
                  <a:lnTo>
                    <a:pt x="28" y="57"/>
                  </a:lnTo>
                  <a:lnTo>
                    <a:pt x="28" y="57"/>
                  </a:lnTo>
                  <a:close/>
                  <a:moveTo>
                    <a:pt x="57" y="55"/>
                  </a:moveTo>
                  <a:lnTo>
                    <a:pt x="57" y="55"/>
                  </a:lnTo>
                  <a:lnTo>
                    <a:pt x="57" y="55"/>
                  </a:lnTo>
                  <a:lnTo>
                    <a:pt x="57" y="55"/>
                  </a:lnTo>
                  <a:lnTo>
                    <a:pt x="57" y="55"/>
                  </a:lnTo>
                  <a:close/>
                  <a:moveTo>
                    <a:pt x="26" y="52"/>
                  </a:moveTo>
                  <a:lnTo>
                    <a:pt x="26" y="52"/>
                  </a:lnTo>
                  <a:lnTo>
                    <a:pt x="26" y="52"/>
                  </a:lnTo>
                  <a:lnTo>
                    <a:pt x="26" y="52"/>
                  </a:lnTo>
                  <a:lnTo>
                    <a:pt x="26" y="52"/>
                  </a:lnTo>
                  <a:lnTo>
                    <a:pt x="26" y="52"/>
                  </a:lnTo>
                  <a:close/>
                  <a:moveTo>
                    <a:pt x="26" y="50"/>
                  </a:moveTo>
                  <a:lnTo>
                    <a:pt x="26" y="50"/>
                  </a:lnTo>
                  <a:lnTo>
                    <a:pt x="26" y="50"/>
                  </a:lnTo>
                  <a:lnTo>
                    <a:pt x="26" y="50"/>
                  </a:lnTo>
                  <a:lnTo>
                    <a:pt x="26" y="50"/>
                  </a:lnTo>
                  <a:close/>
                  <a:moveTo>
                    <a:pt x="0" y="38"/>
                  </a:moveTo>
                  <a:lnTo>
                    <a:pt x="0" y="38"/>
                  </a:lnTo>
                  <a:lnTo>
                    <a:pt x="0" y="38"/>
                  </a:lnTo>
                  <a:lnTo>
                    <a:pt x="0" y="38"/>
                  </a:lnTo>
                  <a:lnTo>
                    <a:pt x="0" y="38"/>
                  </a:lnTo>
                  <a:close/>
                  <a:moveTo>
                    <a:pt x="0" y="36"/>
                  </a:moveTo>
                  <a:lnTo>
                    <a:pt x="0" y="36"/>
                  </a:lnTo>
                  <a:lnTo>
                    <a:pt x="0" y="36"/>
                  </a:lnTo>
                  <a:lnTo>
                    <a:pt x="0" y="36"/>
                  </a:lnTo>
                  <a:lnTo>
                    <a:pt x="0" y="36"/>
                  </a:lnTo>
                  <a:lnTo>
                    <a:pt x="0" y="36"/>
                  </a:lnTo>
                  <a:close/>
                  <a:moveTo>
                    <a:pt x="2" y="31"/>
                  </a:moveTo>
                  <a:lnTo>
                    <a:pt x="2" y="31"/>
                  </a:lnTo>
                  <a:lnTo>
                    <a:pt x="2" y="31"/>
                  </a:lnTo>
                  <a:lnTo>
                    <a:pt x="2" y="31"/>
                  </a:lnTo>
                  <a:lnTo>
                    <a:pt x="2" y="31"/>
                  </a:lnTo>
                  <a:close/>
                  <a:moveTo>
                    <a:pt x="88" y="0"/>
                  </a:moveTo>
                  <a:lnTo>
                    <a:pt x="88" y="0"/>
                  </a:lnTo>
                  <a:lnTo>
                    <a:pt x="88" y="0"/>
                  </a:lnTo>
                  <a:lnTo>
                    <a:pt x="88" y="0"/>
                  </a:lnTo>
                  <a:lnTo>
                    <a:pt x="88"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4" name="Freeform 57952"/>
            <p:cNvSpPr>
              <a:spLocks noEditPoints="1"/>
            </p:cNvSpPr>
            <p:nvPr/>
          </p:nvSpPr>
          <p:spPr bwMode="auto">
            <a:xfrm>
              <a:off x="1897060" y="5783280"/>
              <a:ext cx="4763" cy="0"/>
            </a:xfrm>
            <a:custGeom>
              <a:avLst/>
              <a:gdLst>
                <a:gd name="T0" fmla="*/ 3 w 3"/>
                <a:gd name="T1" fmla="*/ 3 w 3"/>
                <a:gd name="T2" fmla="*/ 3 w 3"/>
                <a:gd name="T3" fmla="*/ 0 w 3"/>
                <a:gd name="T4" fmla="*/ 0 w 3"/>
                <a:gd name="T5" fmla="*/ 0 w 3"/>
                <a:gd name="T6" fmla="*/ 0 w 3"/>
                <a:gd name="T7" fmla="*/ 0 w 3"/>
                <a:gd name="T8" fmla="*/ 3 w 3"/>
                <a:gd name="T9" fmla="*/ 3 w 3"/>
                <a:gd name="T10" fmla="*/ 3 w 3"/>
                <a:gd name="T11" fmla="*/ 3 w 3"/>
                <a:gd name="T12" fmla="*/ 3 w 3"/>
                <a:gd name="T13" fmla="*/ 3 w 3"/>
                <a:gd name="T14" fmla="*/ 3 w 3"/>
                <a:gd name="T15" fmla="*/ 3 w 3"/>
                <a:gd name="T16" fmla="*/ 3 w 3"/>
                <a:gd name="T17" fmla="*/ 3 w 3"/>
                <a:gd name="T18" fmla="*/ 3 w 3"/>
                <a:gd name="T19" fmla="*/ 3 w 3"/>
                <a:gd name="T20" fmla="*/ 3 w 3"/>
                <a:gd name="T21" fmla="*/ 3 w 3"/>
                <a:gd name="T22" fmla="*/ 3 w 3"/>
                <a:gd name="T23"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Lst>
              <a:rect l="0" t="0" r="r" b="b"/>
              <a:pathLst>
                <a:path w="3">
                  <a:moveTo>
                    <a:pt x="3" y="0"/>
                  </a:moveTo>
                  <a:lnTo>
                    <a:pt x="3" y="0"/>
                  </a:lnTo>
                  <a:lnTo>
                    <a:pt x="3" y="0"/>
                  </a:lnTo>
                  <a:lnTo>
                    <a:pt x="0" y="0"/>
                  </a:lnTo>
                  <a:lnTo>
                    <a:pt x="0" y="0"/>
                  </a:lnTo>
                  <a:lnTo>
                    <a:pt x="0" y="0"/>
                  </a:lnTo>
                  <a:lnTo>
                    <a:pt x="0" y="0"/>
                  </a:lnTo>
                  <a:lnTo>
                    <a:pt x="0" y="0"/>
                  </a:lnTo>
                  <a:lnTo>
                    <a:pt x="3" y="0"/>
                  </a:lnTo>
                  <a:lnTo>
                    <a:pt x="3" y="0"/>
                  </a:lnTo>
                  <a:close/>
                  <a:moveTo>
                    <a:pt x="3" y="0"/>
                  </a:moveTo>
                  <a:lnTo>
                    <a:pt x="3" y="0"/>
                  </a:lnTo>
                  <a:lnTo>
                    <a:pt x="3" y="0"/>
                  </a:lnTo>
                  <a:lnTo>
                    <a:pt x="3" y="0"/>
                  </a:lnTo>
                  <a:lnTo>
                    <a:pt x="3" y="0"/>
                  </a:lnTo>
                  <a:lnTo>
                    <a:pt x="3" y="0"/>
                  </a:lnTo>
                  <a:lnTo>
                    <a:pt x="3" y="0"/>
                  </a:lnTo>
                  <a:close/>
                  <a:moveTo>
                    <a:pt x="3" y="0"/>
                  </a:moveTo>
                  <a:lnTo>
                    <a:pt x="3" y="0"/>
                  </a:lnTo>
                  <a:lnTo>
                    <a:pt x="3" y="0"/>
                  </a:lnTo>
                  <a:lnTo>
                    <a:pt x="3" y="0"/>
                  </a:lnTo>
                  <a:lnTo>
                    <a:pt x="3" y="0"/>
                  </a:lnTo>
                  <a:lnTo>
                    <a:pt x="3" y="0"/>
                  </a:lnTo>
                  <a:lnTo>
                    <a:pt x="3"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5" name="Freeform 57953"/>
            <p:cNvSpPr>
              <a:spLocks noEditPoints="1"/>
            </p:cNvSpPr>
            <p:nvPr/>
          </p:nvSpPr>
          <p:spPr bwMode="auto">
            <a:xfrm>
              <a:off x="1746248" y="5730892"/>
              <a:ext cx="128588" cy="46038"/>
            </a:xfrm>
            <a:custGeom>
              <a:avLst/>
              <a:gdLst>
                <a:gd name="T0" fmla="*/ 81 w 81"/>
                <a:gd name="T1" fmla="*/ 29 h 29"/>
                <a:gd name="T2" fmla="*/ 81 w 81"/>
                <a:gd name="T3" fmla="*/ 29 h 29"/>
                <a:gd name="T4" fmla="*/ 81 w 81"/>
                <a:gd name="T5" fmla="*/ 29 h 29"/>
                <a:gd name="T6" fmla="*/ 81 w 81"/>
                <a:gd name="T7" fmla="*/ 29 h 29"/>
                <a:gd name="T8" fmla="*/ 81 w 81"/>
                <a:gd name="T9" fmla="*/ 29 h 29"/>
                <a:gd name="T10" fmla="*/ 79 w 81"/>
                <a:gd name="T11" fmla="*/ 29 h 29"/>
                <a:gd name="T12" fmla="*/ 79 w 81"/>
                <a:gd name="T13" fmla="*/ 26 h 29"/>
                <a:gd name="T14" fmla="*/ 79 w 81"/>
                <a:gd name="T15" fmla="*/ 26 h 29"/>
                <a:gd name="T16" fmla="*/ 79 w 81"/>
                <a:gd name="T17" fmla="*/ 26 h 29"/>
                <a:gd name="T18" fmla="*/ 79 w 81"/>
                <a:gd name="T19" fmla="*/ 26 h 29"/>
                <a:gd name="T20" fmla="*/ 79 w 81"/>
                <a:gd name="T21" fmla="*/ 26 h 29"/>
                <a:gd name="T22" fmla="*/ 79 w 81"/>
                <a:gd name="T23" fmla="*/ 26 h 29"/>
                <a:gd name="T24" fmla="*/ 79 w 81"/>
                <a:gd name="T25" fmla="*/ 26 h 29"/>
                <a:gd name="T26" fmla="*/ 79 w 81"/>
                <a:gd name="T27" fmla="*/ 26 h 29"/>
                <a:gd name="T28" fmla="*/ 81 w 81"/>
                <a:gd name="T29" fmla="*/ 26 h 29"/>
                <a:gd name="T30" fmla="*/ 81 w 81"/>
                <a:gd name="T31" fmla="*/ 29 h 29"/>
                <a:gd name="T32" fmla="*/ 0 w 81"/>
                <a:gd name="T33" fmla="*/ 0 h 29"/>
                <a:gd name="T34" fmla="*/ 0 w 81"/>
                <a:gd name="T35" fmla="*/ 0 h 29"/>
                <a:gd name="T36" fmla="*/ 0 w 81"/>
                <a:gd name="T37" fmla="*/ 0 h 29"/>
                <a:gd name="T38" fmla="*/ 0 w 81"/>
                <a:gd name="T39" fmla="*/ 2 h 29"/>
                <a:gd name="T40" fmla="*/ 0 w 81"/>
                <a:gd name="T41" fmla="*/ 0 h 29"/>
                <a:gd name="T42" fmla="*/ 0 w 81"/>
                <a:gd name="T43" fmla="*/ 0 h 29"/>
                <a:gd name="T44" fmla="*/ 3 w 81"/>
                <a:gd name="T45" fmla="*/ 0 h 29"/>
                <a:gd name="T46" fmla="*/ 0 w 81"/>
                <a:gd name="T47" fmla="*/ 0 h 29"/>
                <a:gd name="T48" fmla="*/ 0 w 81"/>
                <a:gd name="T49" fmla="*/ 2 h 29"/>
                <a:gd name="T50" fmla="*/ 3 w 81"/>
                <a:gd name="T51" fmla="*/ 2 h 29"/>
                <a:gd name="T52" fmla="*/ 3 w 81"/>
                <a:gd name="T53" fmla="*/ 2 h 29"/>
                <a:gd name="T54" fmla="*/ 3 w 81"/>
                <a:gd name="T55" fmla="*/ 2 h 29"/>
                <a:gd name="T56" fmla="*/ 3 w 81"/>
                <a:gd name="T57" fmla="*/ 2 h 29"/>
                <a:gd name="T58" fmla="*/ 3 w 81"/>
                <a:gd name="T59" fmla="*/ 0 h 29"/>
                <a:gd name="T60" fmla="*/ 3 w 81"/>
                <a:gd name="T61" fmla="*/ 0 h 29"/>
                <a:gd name="T62" fmla="*/ 3 w 81"/>
                <a:gd name="T63" fmla="*/ 0 h 29"/>
                <a:gd name="T64" fmla="*/ 3 w 81"/>
                <a:gd name="T65" fmla="*/ 0 h 29"/>
                <a:gd name="T66" fmla="*/ 3 w 81"/>
                <a:gd name="T67" fmla="*/ 0 h 29"/>
                <a:gd name="T68" fmla="*/ 3 w 81"/>
                <a:gd name="T69" fmla="*/ 2 h 29"/>
                <a:gd name="T70" fmla="*/ 3 w 81"/>
                <a:gd name="T71" fmla="*/ 2 h 29"/>
                <a:gd name="T72" fmla="*/ 3 w 81"/>
                <a:gd name="T73" fmla="*/ 2 h 29"/>
                <a:gd name="T74" fmla="*/ 3 w 81"/>
                <a:gd name="T75" fmla="*/ 2 h 29"/>
                <a:gd name="T76" fmla="*/ 0 w 81"/>
                <a:gd name="T77" fmla="*/ 2 h 29"/>
                <a:gd name="T78" fmla="*/ 0 w 81"/>
                <a:gd name="T79" fmla="*/ 2 h 29"/>
                <a:gd name="T80" fmla="*/ 0 w 81"/>
                <a:gd name="T81" fmla="*/ 2 h 29"/>
                <a:gd name="T82" fmla="*/ 0 w 81"/>
                <a:gd name="T83" fmla="*/ 2 h 29"/>
                <a:gd name="T84" fmla="*/ 0 w 81"/>
                <a:gd name="T85" fmla="*/ 2 h 29"/>
                <a:gd name="T86" fmla="*/ 0 w 81"/>
                <a:gd name="T87" fmla="*/ 2 h 29"/>
                <a:gd name="T88" fmla="*/ 0 w 81"/>
                <a:gd name="T89" fmla="*/ 2 h 29"/>
                <a:gd name="T90" fmla="*/ 0 w 81"/>
                <a:gd name="T91" fmla="*/ 2 h 29"/>
                <a:gd name="T92" fmla="*/ 0 w 81"/>
                <a:gd name="T93" fmla="*/ 2 h 29"/>
                <a:gd name="T94" fmla="*/ 0 w 81"/>
                <a:gd name="T95" fmla="*/ 2 h 29"/>
                <a:gd name="T96" fmla="*/ 0 w 81"/>
                <a:gd name="T97" fmla="*/ 2 h 29"/>
                <a:gd name="T98" fmla="*/ 0 w 81"/>
                <a:gd name="T99" fmla="*/ 0 h 29"/>
                <a:gd name="T100" fmla="*/ 0 w 81"/>
                <a:gd name="T101" fmla="*/ 0 h 29"/>
                <a:gd name="T102" fmla="*/ 0 w 81"/>
                <a:gd name="T103" fmla="*/ 0 h 29"/>
                <a:gd name="T104" fmla="*/ 0 w 81"/>
                <a:gd name="T10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 h="29">
                  <a:moveTo>
                    <a:pt x="81" y="29"/>
                  </a:moveTo>
                  <a:lnTo>
                    <a:pt x="81" y="29"/>
                  </a:lnTo>
                  <a:lnTo>
                    <a:pt x="81" y="29"/>
                  </a:lnTo>
                  <a:lnTo>
                    <a:pt x="81" y="29"/>
                  </a:lnTo>
                  <a:lnTo>
                    <a:pt x="81" y="29"/>
                  </a:lnTo>
                  <a:lnTo>
                    <a:pt x="81" y="29"/>
                  </a:lnTo>
                  <a:lnTo>
                    <a:pt x="81" y="29"/>
                  </a:lnTo>
                  <a:lnTo>
                    <a:pt x="81" y="29"/>
                  </a:lnTo>
                  <a:lnTo>
                    <a:pt x="81" y="29"/>
                  </a:lnTo>
                  <a:lnTo>
                    <a:pt x="81" y="29"/>
                  </a:lnTo>
                  <a:lnTo>
                    <a:pt x="81" y="29"/>
                  </a:lnTo>
                  <a:lnTo>
                    <a:pt x="79" y="29"/>
                  </a:lnTo>
                  <a:lnTo>
                    <a:pt x="79" y="29"/>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79" y="26"/>
                  </a:lnTo>
                  <a:lnTo>
                    <a:pt x="81" y="26"/>
                  </a:lnTo>
                  <a:lnTo>
                    <a:pt x="81" y="26"/>
                  </a:lnTo>
                  <a:lnTo>
                    <a:pt x="81" y="29"/>
                  </a:lnTo>
                  <a:lnTo>
                    <a:pt x="81" y="29"/>
                  </a:lnTo>
                  <a:lnTo>
                    <a:pt x="81" y="29"/>
                  </a:lnTo>
                  <a:close/>
                  <a:moveTo>
                    <a:pt x="0" y="0"/>
                  </a:moveTo>
                  <a:lnTo>
                    <a:pt x="0" y="0"/>
                  </a:lnTo>
                  <a:lnTo>
                    <a:pt x="0" y="0"/>
                  </a:lnTo>
                  <a:lnTo>
                    <a:pt x="0" y="0"/>
                  </a:lnTo>
                  <a:lnTo>
                    <a:pt x="0" y="0"/>
                  </a:lnTo>
                  <a:lnTo>
                    <a:pt x="0" y="0"/>
                  </a:lnTo>
                  <a:lnTo>
                    <a:pt x="0" y="2"/>
                  </a:lnTo>
                  <a:lnTo>
                    <a:pt x="0" y="2"/>
                  </a:lnTo>
                  <a:lnTo>
                    <a:pt x="0" y="0"/>
                  </a:lnTo>
                  <a:lnTo>
                    <a:pt x="0" y="0"/>
                  </a:lnTo>
                  <a:lnTo>
                    <a:pt x="0" y="0"/>
                  </a:lnTo>
                  <a:lnTo>
                    <a:pt x="3" y="0"/>
                  </a:lnTo>
                  <a:lnTo>
                    <a:pt x="3" y="0"/>
                  </a:lnTo>
                  <a:lnTo>
                    <a:pt x="0" y="0"/>
                  </a:lnTo>
                  <a:lnTo>
                    <a:pt x="0" y="0"/>
                  </a:lnTo>
                  <a:lnTo>
                    <a:pt x="0" y="0"/>
                  </a:lnTo>
                  <a:lnTo>
                    <a:pt x="0" y="2"/>
                  </a:lnTo>
                  <a:lnTo>
                    <a:pt x="3" y="2"/>
                  </a:lnTo>
                  <a:lnTo>
                    <a:pt x="3" y="2"/>
                  </a:lnTo>
                  <a:lnTo>
                    <a:pt x="3" y="2"/>
                  </a:lnTo>
                  <a:lnTo>
                    <a:pt x="3" y="2"/>
                  </a:lnTo>
                  <a:lnTo>
                    <a:pt x="3" y="2"/>
                  </a:lnTo>
                  <a:lnTo>
                    <a:pt x="3" y="2"/>
                  </a:lnTo>
                  <a:lnTo>
                    <a:pt x="3" y="2"/>
                  </a:lnTo>
                  <a:lnTo>
                    <a:pt x="3" y="2"/>
                  </a:lnTo>
                  <a:lnTo>
                    <a:pt x="3" y="2"/>
                  </a:lnTo>
                  <a:lnTo>
                    <a:pt x="3" y="0"/>
                  </a:lnTo>
                  <a:lnTo>
                    <a:pt x="3" y="0"/>
                  </a:lnTo>
                  <a:lnTo>
                    <a:pt x="3" y="0"/>
                  </a:lnTo>
                  <a:lnTo>
                    <a:pt x="3" y="0"/>
                  </a:lnTo>
                  <a:lnTo>
                    <a:pt x="3" y="0"/>
                  </a:lnTo>
                  <a:lnTo>
                    <a:pt x="3" y="0"/>
                  </a:lnTo>
                  <a:lnTo>
                    <a:pt x="3" y="0"/>
                  </a:lnTo>
                  <a:lnTo>
                    <a:pt x="3" y="0"/>
                  </a:lnTo>
                  <a:lnTo>
                    <a:pt x="3" y="0"/>
                  </a:lnTo>
                  <a:lnTo>
                    <a:pt x="3" y="2"/>
                  </a:lnTo>
                  <a:lnTo>
                    <a:pt x="3" y="2"/>
                  </a:lnTo>
                  <a:lnTo>
                    <a:pt x="3" y="2"/>
                  </a:lnTo>
                  <a:lnTo>
                    <a:pt x="3" y="2"/>
                  </a:lnTo>
                  <a:lnTo>
                    <a:pt x="3" y="2"/>
                  </a:lnTo>
                  <a:lnTo>
                    <a:pt x="3" y="2"/>
                  </a:lnTo>
                  <a:lnTo>
                    <a:pt x="3" y="2"/>
                  </a:lnTo>
                  <a:lnTo>
                    <a:pt x="3"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6" name="Freeform 57954"/>
            <p:cNvSpPr>
              <a:spLocks noEditPoints="1"/>
            </p:cNvSpPr>
            <p:nvPr/>
          </p:nvSpPr>
          <p:spPr bwMode="auto">
            <a:xfrm>
              <a:off x="2089147" y="5437205"/>
              <a:ext cx="166688" cy="90488"/>
            </a:xfrm>
            <a:custGeom>
              <a:avLst/>
              <a:gdLst>
                <a:gd name="T0" fmla="*/ 12 w 105"/>
                <a:gd name="T1" fmla="*/ 45 h 57"/>
                <a:gd name="T2" fmla="*/ 12 w 105"/>
                <a:gd name="T3" fmla="*/ 50 h 57"/>
                <a:gd name="T4" fmla="*/ 7 w 105"/>
                <a:gd name="T5" fmla="*/ 54 h 57"/>
                <a:gd name="T6" fmla="*/ 5 w 105"/>
                <a:gd name="T7" fmla="*/ 57 h 57"/>
                <a:gd name="T8" fmla="*/ 3 w 105"/>
                <a:gd name="T9" fmla="*/ 54 h 57"/>
                <a:gd name="T10" fmla="*/ 3 w 105"/>
                <a:gd name="T11" fmla="*/ 50 h 57"/>
                <a:gd name="T12" fmla="*/ 3 w 105"/>
                <a:gd name="T13" fmla="*/ 50 h 57"/>
                <a:gd name="T14" fmla="*/ 7 w 105"/>
                <a:gd name="T15" fmla="*/ 45 h 57"/>
                <a:gd name="T16" fmla="*/ 10 w 105"/>
                <a:gd name="T17" fmla="*/ 43 h 57"/>
                <a:gd name="T18" fmla="*/ 67 w 105"/>
                <a:gd name="T19" fmla="*/ 5 h 57"/>
                <a:gd name="T20" fmla="*/ 62 w 105"/>
                <a:gd name="T21" fmla="*/ 9 h 57"/>
                <a:gd name="T22" fmla="*/ 67 w 105"/>
                <a:gd name="T23" fmla="*/ 9 h 57"/>
                <a:gd name="T24" fmla="*/ 64 w 105"/>
                <a:gd name="T25" fmla="*/ 12 h 57"/>
                <a:gd name="T26" fmla="*/ 69 w 105"/>
                <a:gd name="T27" fmla="*/ 16 h 57"/>
                <a:gd name="T28" fmla="*/ 71 w 105"/>
                <a:gd name="T29" fmla="*/ 14 h 57"/>
                <a:gd name="T30" fmla="*/ 76 w 105"/>
                <a:gd name="T31" fmla="*/ 14 h 57"/>
                <a:gd name="T32" fmla="*/ 74 w 105"/>
                <a:gd name="T33" fmla="*/ 19 h 57"/>
                <a:gd name="T34" fmla="*/ 74 w 105"/>
                <a:gd name="T35" fmla="*/ 24 h 57"/>
                <a:gd name="T36" fmla="*/ 69 w 105"/>
                <a:gd name="T37" fmla="*/ 28 h 57"/>
                <a:gd name="T38" fmla="*/ 67 w 105"/>
                <a:gd name="T39" fmla="*/ 31 h 57"/>
                <a:gd name="T40" fmla="*/ 62 w 105"/>
                <a:gd name="T41" fmla="*/ 35 h 57"/>
                <a:gd name="T42" fmla="*/ 59 w 105"/>
                <a:gd name="T43" fmla="*/ 33 h 57"/>
                <a:gd name="T44" fmla="*/ 52 w 105"/>
                <a:gd name="T45" fmla="*/ 33 h 57"/>
                <a:gd name="T46" fmla="*/ 50 w 105"/>
                <a:gd name="T47" fmla="*/ 31 h 57"/>
                <a:gd name="T48" fmla="*/ 52 w 105"/>
                <a:gd name="T49" fmla="*/ 26 h 57"/>
                <a:gd name="T50" fmla="*/ 45 w 105"/>
                <a:gd name="T51" fmla="*/ 26 h 57"/>
                <a:gd name="T52" fmla="*/ 43 w 105"/>
                <a:gd name="T53" fmla="*/ 28 h 57"/>
                <a:gd name="T54" fmla="*/ 43 w 105"/>
                <a:gd name="T55" fmla="*/ 28 h 57"/>
                <a:gd name="T56" fmla="*/ 41 w 105"/>
                <a:gd name="T57" fmla="*/ 26 h 57"/>
                <a:gd name="T58" fmla="*/ 41 w 105"/>
                <a:gd name="T59" fmla="*/ 26 h 57"/>
                <a:gd name="T60" fmla="*/ 38 w 105"/>
                <a:gd name="T61" fmla="*/ 24 h 57"/>
                <a:gd name="T62" fmla="*/ 43 w 105"/>
                <a:gd name="T63" fmla="*/ 19 h 57"/>
                <a:gd name="T64" fmla="*/ 48 w 105"/>
                <a:gd name="T65" fmla="*/ 14 h 57"/>
                <a:gd name="T66" fmla="*/ 52 w 105"/>
                <a:gd name="T67" fmla="*/ 12 h 57"/>
                <a:gd name="T68" fmla="*/ 57 w 105"/>
                <a:gd name="T69" fmla="*/ 7 h 57"/>
                <a:gd name="T70" fmla="*/ 62 w 105"/>
                <a:gd name="T71" fmla="*/ 7 h 57"/>
                <a:gd name="T72" fmla="*/ 64 w 105"/>
                <a:gd name="T73" fmla="*/ 5 h 57"/>
                <a:gd name="T74" fmla="*/ 97 w 105"/>
                <a:gd name="T75" fmla="*/ 2 h 57"/>
                <a:gd name="T76" fmla="*/ 97 w 105"/>
                <a:gd name="T77" fmla="*/ 2 h 57"/>
                <a:gd name="T78" fmla="*/ 100 w 105"/>
                <a:gd name="T79" fmla="*/ 5 h 57"/>
                <a:gd name="T80" fmla="*/ 102 w 105"/>
                <a:gd name="T81" fmla="*/ 2 h 57"/>
                <a:gd name="T82" fmla="*/ 102 w 105"/>
                <a:gd name="T83" fmla="*/ 7 h 57"/>
                <a:gd name="T84" fmla="*/ 102 w 105"/>
                <a:gd name="T85" fmla="*/ 7 h 57"/>
                <a:gd name="T86" fmla="*/ 102 w 105"/>
                <a:gd name="T87" fmla="*/ 12 h 57"/>
                <a:gd name="T88" fmla="*/ 95 w 105"/>
                <a:gd name="T89" fmla="*/ 7 h 57"/>
                <a:gd name="T90" fmla="*/ 88 w 105"/>
                <a:gd name="T91" fmla="*/ 5 h 57"/>
                <a:gd name="T92" fmla="*/ 86 w 105"/>
                <a:gd name="T93" fmla="*/ 2 h 57"/>
                <a:gd name="T94" fmla="*/ 88 w 105"/>
                <a:gd name="T95" fmla="*/ 0 h 57"/>
                <a:gd name="T96" fmla="*/ 90 w 105"/>
                <a:gd name="T9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57">
                  <a:moveTo>
                    <a:pt x="12" y="43"/>
                  </a:moveTo>
                  <a:lnTo>
                    <a:pt x="12" y="45"/>
                  </a:lnTo>
                  <a:lnTo>
                    <a:pt x="14" y="45"/>
                  </a:lnTo>
                  <a:lnTo>
                    <a:pt x="12" y="45"/>
                  </a:lnTo>
                  <a:lnTo>
                    <a:pt x="14" y="45"/>
                  </a:lnTo>
                  <a:lnTo>
                    <a:pt x="14" y="47"/>
                  </a:lnTo>
                  <a:lnTo>
                    <a:pt x="12" y="47"/>
                  </a:lnTo>
                  <a:lnTo>
                    <a:pt x="12" y="50"/>
                  </a:lnTo>
                  <a:lnTo>
                    <a:pt x="10" y="50"/>
                  </a:lnTo>
                  <a:lnTo>
                    <a:pt x="10" y="52"/>
                  </a:lnTo>
                  <a:lnTo>
                    <a:pt x="7" y="52"/>
                  </a:lnTo>
                  <a:lnTo>
                    <a:pt x="7" y="54"/>
                  </a:lnTo>
                  <a:lnTo>
                    <a:pt x="7" y="57"/>
                  </a:lnTo>
                  <a:lnTo>
                    <a:pt x="7" y="54"/>
                  </a:lnTo>
                  <a:lnTo>
                    <a:pt x="7" y="57"/>
                  </a:lnTo>
                  <a:lnTo>
                    <a:pt x="5" y="57"/>
                  </a:lnTo>
                  <a:lnTo>
                    <a:pt x="5" y="54"/>
                  </a:lnTo>
                  <a:lnTo>
                    <a:pt x="3" y="54"/>
                  </a:lnTo>
                  <a:lnTo>
                    <a:pt x="5" y="54"/>
                  </a:lnTo>
                  <a:lnTo>
                    <a:pt x="3" y="54"/>
                  </a:lnTo>
                  <a:lnTo>
                    <a:pt x="0" y="54"/>
                  </a:lnTo>
                  <a:lnTo>
                    <a:pt x="0" y="52"/>
                  </a:lnTo>
                  <a:lnTo>
                    <a:pt x="3" y="52"/>
                  </a:lnTo>
                  <a:lnTo>
                    <a:pt x="3" y="50"/>
                  </a:lnTo>
                  <a:lnTo>
                    <a:pt x="0" y="50"/>
                  </a:lnTo>
                  <a:lnTo>
                    <a:pt x="3" y="50"/>
                  </a:lnTo>
                  <a:lnTo>
                    <a:pt x="5" y="50"/>
                  </a:lnTo>
                  <a:lnTo>
                    <a:pt x="3" y="50"/>
                  </a:lnTo>
                  <a:lnTo>
                    <a:pt x="3" y="47"/>
                  </a:lnTo>
                  <a:lnTo>
                    <a:pt x="5" y="47"/>
                  </a:lnTo>
                  <a:lnTo>
                    <a:pt x="5" y="45"/>
                  </a:lnTo>
                  <a:lnTo>
                    <a:pt x="7" y="45"/>
                  </a:lnTo>
                  <a:lnTo>
                    <a:pt x="10" y="45"/>
                  </a:lnTo>
                  <a:lnTo>
                    <a:pt x="10" y="43"/>
                  </a:lnTo>
                  <a:lnTo>
                    <a:pt x="10" y="45"/>
                  </a:lnTo>
                  <a:lnTo>
                    <a:pt x="10" y="43"/>
                  </a:lnTo>
                  <a:lnTo>
                    <a:pt x="10" y="45"/>
                  </a:lnTo>
                  <a:lnTo>
                    <a:pt x="10" y="43"/>
                  </a:lnTo>
                  <a:lnTo>
                    <a:pt x="12" y="43"/>
                  </a:lnTo>
                  <a:close/>
                  <a:moveTo>
                    <a:pt x="67" y="5"/>
                  </a:moveTo>
                  <a:lnTo>
                    <a:pt x="67" y="7"/>
                  </a:lnTo>
                  <a:lnTo>
                    <a:pt x="64" y="7"/>
                  </a:lnTo>
                  <a:lnTo>
                    <a:pt x="62" y="7"/>
                  </a:lnTo>
                  <a:lnTo>
                    <a:pt x="62" y="9"/>
                  </a:lnTo>
                  <a:lnTo>
                    <a:pt x="64" y="9"/>
                  </a:lnTo>
                  <a:lnTo>
                    <a:pt x="67" y="9"/>
                  </a:lnTo>
                  <a:lnTo>
                    <a:pt x="67" y="7"/>
                  </a:lnTo>
                  <a:lnTo>
                    <a:pt x="67" y="9"/>
                  </a:lnTo>
                  <a:lnTo>
                    <a:pt x="67" y="12"/>
                  </a:lnTo>
                  <a:lnTo>
                    <a:pt x="64" y="12"/>
                  </a:lnTo>
                  <a:lnTo>
                    <a:pt x="64" y="9"/>
                  </a:lnTo>
                  <a:lnTo>
                    <a:pt x="64" y="12"/>
                  </a:lnTo>
                  <a:lnTo>
                    <a:pt x="64" y="14"/>
                  </a:lnTo>
                  <a:lnTo>
                    <a:pt x="67" y="14"/>
                  </a:lnTo>
                  <a:lnTo>
                    <a:pt x="67" y="16"/>
                  </a:lnTo>
                  <a:lnTo>
                    <a:pt x="69" y="16"/>
                  </a:lnTo>
                  <a:lnTo>
                    <a:pt x="69" y="14"/>
                  </a:lnTo>
                  <a:lnTo>
                    <a:pt x="71" y="14"/>
                  </a:lnTo>
                  <a:lnTo>
                    <a:pt x="71" y="12"/>
                  </a:lnTo>
                  <a:lnTo>
                    <a:pt x="71" y="14"/>
                  </a:lnTo>
                  <a:lnTo>
                    <a:pt x="74" y="14"/>
                  </a:lnTo>
                  <a:lnTo>
                    <a:pt x="76" y="14"/>
                  </a:lnTo>
                  <a:lnTo>
                    <a:pt x="74" y="14"/>
                  </a:lnTo>
                  <a:lnTo>
                    <a:pt x="76" y="14"/>
                  </a:lnTo>
                  <a:lnTo>
                    <a:pt x="74" y="16"/>
                  </a:lnTo>
                  <a:lnTo>
                    <a:pt x="76" y="16"/>
                  </a:lnTo>
                  <a:lnTo>
                    <a:pt x="74" y="16"/>
                  </a:lnTo>
                  <a:lnTo>
                    <a:pt x="74" y="19"/>
                  </a:lnTo>
                  <a:lnTo>
                    <a:pt x="74" y="21"/>
                  </a:lnTo>
                  <a:lnTo>
                    <a:pt x="71" y="21"/>
                  </a:lnTo>
                  <a:lnTo>
                    <a:pt x="74" y="21"/>
                  </a:lnTo>
                  <a:lnTo>
                    <a:pt x="74" y="24"/>
                  </a:lnTo>
                  <a:lnTo>
                    <a:pt x="71" y="24"/>
                  </a:lnTo>
                  <a:lnTo>
                    <a:pt x="71" y="26"/>
                  </a:lnTo>
                  <a:lnTo>
                    <a:pt x="69" y="26"/>
                  </a:lnTo>
                  <a:lnTo>
                    <a:pt x="69" y="28"/>
                  </a:lnTo>
                  <a:lnTo>
                    <a:pt x="69" y="31"/>
                  </a:lnTo>
                  <a:lnTo>
                    <a:pt x="69" y="28"/>
                  </a:lnTo>
                  <a:lnTo>
                    <a:pt x="69" y="31"/>
                  </a:lnTo>
                  <a:lnTo>
                    <a:pt x="67" y="31"/>
                  </a:lnTo>
                  <a:lnTo>
                    <a:pt x="67" y="33"/>
                  </a:lnTo>
                  <a:lnTo>
                    <a:pt x="64" y="33"/>
                  </a:lnTo>
                  <a:lnTo>
                    <a:pt x="64" y="35"/>
                  </a:lnTo>
                  <a:lnTo>
                    <a:pt x="62" y="35"/>
                  </a:lnTo>
                  <a:lnTo>
                    <a:pt x="59" y="35"/>
                  </a:lnTo>
                  <a:lnTo>
                    <a:pt x="59" y="33"/>
                  </a:lnTo>
                  <a:lnTo>
                    <a:pt x="59" y="35"/>
                  </a:lnTo>
                  <a:lnTo>
                    <a:pt x="59" y="33"/>
                  </a:lnTo>
                  <a:lnTo>
                    <a:pt x="57" y="33"/>
                  </a:lnTo>
                  <a:lnTo>
                    <a:pt x="55" y="31"/>
                  </a:lnTo>
                  <a:lnTo>
                    <a:pt x="55" y="33"/>
                  </a:lnTo>
                  <a:lnTo>
                    <a:pt x="52" y="33"/>
                  </a:lnTo>
                  <a:lnTo>
                    <a:pt x="52" y="31"/>
                  </a:lnTo>
                  <a:lnTo>
                    <a:pt x="52" y="33"/>
                  </a:lnTo>
                  <a:lnTo>
                    <a:pt x="52" y="31"/>
                  </a:lnTo>
                  <a:lnTo>
                    <a:pt x="50" y="31"/>
                  </a:lnTo>
                  <a:lnTo>
                    <a:pt x="52" y="28"/>
                  </a:lnTo>
                  <a:lnTo>
                    <a:pt x="50" y="28"/>
                  </a:lnTo>
                  <a:lnTo>
                    <a:pt x="50" y="26"/>
                  </a:lnTo>
                  <a:lnTo>
                    <a:pt x="52" y="26"/>
                  </a:lnTo>
                  <a:lnTo>
                    <a:pt x="50" y="24"/>
                  </a:lnTo>
                  <a:lnTo>
                    <a:pt x="48" y="24"/>
                  </a:lnTo>
                  <a:lnTo>
                    <a:pt x="45" y="24"/>
                  </a:lnTo>
                  <a:lnTo>
                    <a:pt x="45" y="26"/>
                  </a:lnTo>
                  <a:lnTo>
                    <a:pt x="45" y="24"/>
                  </a:lnTo>
                  <a:lnTo>
                    <a:pt x="45" y="26"/>
                  </a:lnTo>
                  <a:lnTo>
                    <a:pt x="43" y="26"/>
                  </a:lnTo>
                  <a:lnTo>
                    <a:pt x="43" y="28"/>
                  </a:lnTo>
                  <a:lnTo>
                    <a:pt x="45" y="28"/>
                  </a:lnTo>
                  <a:lnTo>
                    <a:pt x="43" y="28"/>
                  </a:lnTo>
                  <a:lnTo>
                    <a:pt x="43" y="26"/>
                  </a:lnTo>
                  <a:lnTo>
                    <a:pt x="43" y="28"/>
                  </a:lnTo>
                  <a:lnTo>
                    <a:pt x="43" y="26"/>
                  </a:lnTo>
                  <a:lnTo>
                    <a:pt x="43" y="24"/>
                  </a:lnTo>
                  <a:lnTo>
                    <a:pt x="41" y="24"/>
                  </a:lnTo>
                  <a:lnTo>
                    <a:pt x="41" y="26"/>
                  </a:lnTo>
                  <a:lnTo>
                    <a:pt x="41" y="24"/>
                  </a:lnTo>
                  <a:lnTo>
                    <a:pt x="41" y="26"/>
                  </a:lnTo>
                  <a:lnTo>
                    <a:pt x="41" y="24"/>
                  </a:lnTo>
                  <a:lnTo>
                    <a:pt x="41" y="26"/>
                  </a:lnTo>
                  <a:lnTo>
                    <a:pt x="41" y="24"/>
                  </a:lnTo>
                  <a:lnTo>
                    <a:pt x="38" y="24"/>
                  </a:lnTo>
                  <a:lnTo>
                    <a:pt x="41" y="24"/>
                  </a:lnTo>
                  <a:lnTo>
                    <a:pt x="38" y="24"/>
                  </a:lnTo>
                  <a:lnTo>
                    <a:pt x="38" y="21"/>
                  </a:lnTo>
                  <a:lnTo>
                    <a:pt x="41" y="21"/>
                  </a:lnTo>
                  <a:lnTo>
                    <a:pt x="41" y="19"/>
                  </a:lnTo>
                  <a:lnTo>
                    <a:pt x="43" y="19"/>
                  </a:lnTo>
                  <a:lnTo>
                    <a:pt x="43" y="16"/>
                  </a:lnTo>
                  <a:lnTo>
                    <a:pt x="45" y="16"/>
                  </a:lnTo>
                  <a:lnTo>
                    <a:pt x="48" y="16"/>
                  </a:lnTo>
                  <a:lnTo>
                    <a:pt x="48" y="14"/>
                  </a:lnTo>
                  <a:lnTo>
                    <a:pt x="50" y="12"/>
                  </a:lnTo>
                  <a:lnTo>
                    <a:pt x="52" y="12"/>
                  </a:lnTo>
                  <a:lnTo>
                    <a:pt x="52" y="9"/>
                  </a:lnTo>
                  <a:lnTo>
                    <a:pt x="52" y="12"/>
                  </a:lnTo>
                  <a:lnTo>
                    <a:pt x="52" y="9"/>
                  </a:lnTo>
                  <a:lnTo>
                    <a:pt x="55" y="9"/>
                  </a:lnTo>
                  <a:lnTo>
                    <a:pt x="57" y="9"/>
                  </a:lnTo>
                  <a:lnTo>
                    <a:pt x="57" y="7"/>
                  </a:lnTo>
                  <a:lnTo>
                    <a:pt x="59" y="7"/>
                  </a:lnTo>
                  <a:lnTo>
                    <a:pt x="62" y="7"/>
                  </a:lnTo>
                  <a:lnTo>
                    <a:pt x="64" y="7"/>
                  </a:lnTo>
                  <a:lnTo>
                    <a:pt x="62" y="7"/>
                  </a:lnTo>
                  <a:lnTo>
                    <a:pt x="64" y="7"/>
                  </a:lnTo>
                  <a:lnTo>
                    <a:pt x="64" y="5"/>
                  </a:lnTo>
                  <a:lnTo>
                    <a:pt x="64" y="7"/>
                  </a:lnTo>
                  <a:lnTo>
                    <a:pt x="64" y="5"/>
                  </a:lnTo>
                  <a:lnTo>
                    <a:pt x="67" y="5"/>
                  </a:lnTo>
                  <a:close/>
                  <a:moveTo>
                    <a:pt x="95" y="0"/>
                  </a:moveTo>
                  <a:lnTo>
                    <a:pt x="95" y="2"/>
                  </a:lnTo>
                  <a:lnTo>
                    <a:pt x="97" y="2"/>
                  </a:lnTo>
                  <a:lnTo>
                    <a:pt x="97" y="0"/>
                  </a:lnTo>
                  <a:lnTo>
                    <a:pt x="97" y="2"/>
                  </a:lnTo>
                  <a:lnTo>
                    <a:pt x="97" y="0"/>
                  </a:lnTo>
                  <a:lnTo>
                    <a:pt x="97" y="2"/>
                  </a:lnTo>
                  <a:lnTo>
                    <a:pt x="100" y="2"/>
                  </a:lnTo>
                  <a:lnTo>
                    <a:pt x="100" y="5"/>
                  </a:lnTo>
                  <a:lnTo>
                    <a:pt x="100" y="2"/>
                  </a:lnTo>
                  <a:lnTo>
                    <a:pt x="100" y="5"/>
                  </a:lnTo>
                  <a:lnTo>
                    <a:pt x="100" y="2"/>
                  </a:lnTo>
                  <a:lnTo>
                    <a:pt x="100" y="5"/>
                  </a:lnTo>
                  <a:lnTo>
                    <a:pt x="100" y="2"/>
                  </a:lnTo>
                  <a:lnTo>
                    <a:pt x="102" y="2"/>
                  </a:lnTo>
                  <a:lnTo>
                    <a:pt x="102" y="5"/>
                  </a:lnTo>
                  <a:lnTo>
                    <a:pt x="102" y="2"/>
                  </a:lnTo>
                  <a:lnTo>
                    <a:pt x="102" y="5"/>
                  </a:lnTo>
                  <a:lnTo>
                    <a:pt x="102" y="7"/>
                  </a:lnTo>
                  <a:lnTo>
                    <a:pt x="102" y="9"/>
                  </a:lnTo>
                  <a:lnTo>
                    <a:pt x="105" y="9"/>
                  </a:lnTo>
                  <a:lnTo>
                    <a:pt x="102" y="9"/>
                  </a:lnTo>
                  <a:lnTo>
                    <a:pt x="102" y="7"/>
                  </a:lnTo>
                  <a:lnTo>
                    <a:pt x="102" y="9"/>
                  </a:lnTo>
                  <a:lnTo>
                    <a:pt x="102" y="7"/>
                  </a:lnTo>
                  <a:lnTo>
                    <a:pt x="102" y="9"/>
                  </a:lnTo>
                  <a:lnTo>
                    <a:pt x="102" y="12"/>
                  </a:lnTo>
                  <a:lnTo>
                    <a:pt x="100" y="12"/>
                  </a:lnTo>
                  <a:lnTo>
                    <a:pt x="97" y="9"/>
                  </a:lnTo>
                  <a:lnTo>
                    <a:pt x="95" y="9"/>
                  </a:lnTo>
                  <a:lnTo>
                    <a:pt x="95" y="7"/>
                  </a:lnTo>
                  <a:lnTo>
                    <a:pt x="93" y="7"/>
                  </a:lnTo>
                  <a:lnTo>
                    <a:pt x="90" y="7"/>
                  </a:lnTo>
                  <a:lnTo>
                    <a:pt x="88" y="7"/>
                  </a:lnTo>
                  <a:lnTo>
                    <a:pt x="88" y="5"/>
                  </a:lnTo>
                  <a:lnTo>
                    <a:pt x="86" y="5"/>
                  </a:lnTo>
                  <a:lnTo>
                    <a:pt x="86" y="2"/>
                  </a:lnTo>
                  <a:lnTo>
                    <a:pt x="86" y="5"/>
                  </a:lnTo>
                  <a:lnTo>
                    <a:pt x="86" y="2"/>
                  </a:lnTo>
                  <a:lnTo>
                    <a:pt x="88" y="2"/>
                  </a:lnTo>
                  <a:lnTo>
                    <a:pt x="88" y="0"/>
                  </a:lnTo>
                  <a:lnTo>
                    <a:pt x="88" y="2"/>
                  </a:lnTo>
                  <a:lnTo>
                    <a:pt x="88" y="0"/>
                  </a:lnTo>
                  <a:lnTo>
                    <a:pt x="90" y="0"/>
                  </a:lnTo>
                  <a:lnTo>
                    <a:pt x="90" y="2"/>
                  </a:lnTo>
                  <a:lnTo>
                    <a:pt x="90" y="0"/>
                  </a:lnTo>
                  <a:lnTo>
                    <a:pt x="90" y="2"/>
                  </a:lnTo>
                  <a:lnTo>
                    <a:pt x="90" y="0"/>
                  </a:lnTo>
                  <a:lnTo>
                    <a:pt x="93" y="0"/>
                  </a:lnTo>
                  <a:lnTo>
                    <a:pt x="95"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7" name="Freeform 57955"/>
            <p:cNvSpPr>
              <a:spLocks noEditPoints="1"/>
            </p:cNvSpPr>
            <p:nvPr/>
          </p:nvSpPr>
          <p:spPr bwMode="auto">
            <a:xfrm>
              <a:off x="1539873" y="5168916"/>
              <a:ext cx="661988" cy="558801"/>
            </a:xfrm>
            <a:custGeom>
              <a:avLst/>
              <a:gdLst>
                <a:gd name="T0" fmla="*/ 192 w 417"/>
                <a:gd name="T1" fmla="*/ 17 h 352"/>
                <a:gd name="T2" fmla="*/ 206 w 417"/>
                <a:gd name="T3" fmla="*/ 19 h 352"/>
                <a:gd name="T4" fmla="*/ 216 w 417"/>
                <a:gd name="T5" fmla="*/ 17 h 352"/>
                <a:gd name="T6" fmla="*/ 247 w 417"/>
                <a:gd name="T7" fmla="*/ 19 h 352"/>
                <a:gd name="T8" fmla="*/ 261 w 417"/>
                <a:gd name="T9" fmla="*/ 29 h 352"/>
                <a:gd name="T10" fmla="*/ 282 w 417"/>
                <a:gd name="T11" fmla="*/ 38 h 352"/>
                <a:gd name="T12" fmla="*/ 315 w 417"/>
                <a:gd name="T13" fmla="*/ 48 h 352"/>
                <a:gd name="T14" fmla="*/ 344 w 417"/>
                <a:gd name="T15" fmla="*/ 45 h 352"/>
                <a:gd name="T16" fmla="*/ 363 w 417"/>
                <a:gd name="T17" fmla="*/ 57 h 352"/>
                <a:gd name="T18" fmla="*/ 396 w 417"/>
                <a:gd name="T19" fmla="*/ 67 h 352"/>
                <a:gd name="T20" fmla="*/ 415 w 417"/>
                <a:gd name="T21" fmla="*/ 67 h 352"/>
                <a:gd name="T22" fmla="*/ 408 w 417"/>
                <a:gd name="T23" fmla="*/ 90 h 352"/>
                <a:gd name="T24" fmla="*/ 379 w 417"/>
                <a:gd name="T25" fmla="*/ 109 h 352"/>
                <a:gd name="T26" fmla="*/ 349 w 417"/>
                <a:gd name="T27" fmla="*/ 121 h 352"/>
                <a:gd name="T28" fmla="*/ 332 w 417"/>
                <a:gd name="T29" fmla="*/ 138 h 352"/>
                <a:gd name="T30" fmla="*/ 322 w 417"/>
                <a:gd name="T31" fmla="*/ 135 h 352"/>
                <a:gd name="T32" fmla="*/ 330 w 417"/>
                <a:gd name="T33" fmla="*/ 147 h 352"/>
                <a:gd name="T34" fmla="*/ 313 w 417"/>
                <a:gd name="T35" fmla="*/ 166 h 352"/>
                <a:gd name="T36" fmla="*/ 294 w 417"/>
                <a:gd name="T37" fmla="*/ 197 h 352"/>
                <a:gd name="T38" fmla="*/ 313 w 417"/>
                <a:gd name="T39" fmla="*/ 226 h 352"/>
                <a:gd name="T40" fmla="*/ 294 w 417"/>
                <a:gd name="T41" fmla="*/ 245 h 352"/>
                <a:gd name="T42" fmla="*/ 282 w 417"/>
                <a:gd name="T43" fmla="*/ 271 h 352"/>
                <a:gd name="T44" fmla="*/ 275 w 417"/>
                <a:gd name="T45" fmla="*/ 283 h 352"/>
                <a:gd name="T46" fmla="*/ 256 w 417"/>
                <a:gd name="T47" fmla="*/ 288 h 352"/>
                <a:gd name="T48" fmla="*/ 237 w 417"/>
                <a:gd name="T49" fmla="*/ 316 h 352"/>
                <a:gd name="T50" fmla="*/ 197 w 417"/>
                <a:gd name="T51" fmla="*/ 318 h 352"/>
                <a:gd name="T52" fmla="*/ 161 w 417"/>
                <a:gd name="T53" fmla="*/ 321 h 352"/>
                <a:gd name="T54" fmla="*/ 135 w 417"/>
                <a:gd name="T55" fmla="*/ 335 h 352"/>
                <a:gd name="T56" fmla="*/ 111 w 417"/>
                <a:gd name="T57" fmla="*/ 342 h 352"/>
                <a:gd name="T58" fmla="*/ 99 w 417"/>
                <a:gd name="T59" fmla="*/ 328 h 352"/>
                <a:gd name="T60" fmla="*/ 95 w 417"/>
                <a:gd name="T61" fmla="*/ 309 h 352"/>
                <a:gd name="T62" fmla="*/ 78 w 417"/>
                <a:gd name="T63" fmla="*/ 295 h 352"/>
                <a:gd name="T64" fmla="*/ 73 w 417"/>
                <a:gd name="T65" fmla="*/ 297 h 352"/>
                <a:gd name="T66" fmla="*/ 59 w 417"/>
                <a:gd name="T67" fmla="*/ 283 h 352"/>
                <a:gd name="T68" fmla="*/ 76 w 417"/>
                <a:gd name="T69" fmla="*/ 257 h 352"/>
                <a:gd name="T70" fmla="*/ 71 w 417"/>
                <a:gd name="T71" fmla="*/ 226 h 352"/>
                <a:gd name="T72" fmla="*/ 66 w 417"/>
                <a:gd name="T73" fmla="*/ 195 h 352"/>
                <a:gd name="T74" fmla="*/ 80 w 417"/>
                <a:gd name="T75" fmla="*/ 176 h 352"/>
                <a:gd name="T76" fmla="*/ 80 w 417"/>
                <a:gd name="T77" fmla="*/ 145 h 352"/>
                <a:gd name="T78" fmla="*/ 85 w 417"/>
                <a:gd name="T79" fmla="*/ 121 h 352"/>
                <a:gd name="T80" fmla="*/ 97 w 417"/>
                <a:gd name="T81" fmla="*/ 95 h 352"/>
                <a:gd name="T82" fmla="*/ 73 w 417"/>
                <a:gd name="T83" fmla="*/ 83 h 352"/>
                <a:gd name="T84" fmla="*/ 42 w 417"/>
                <a:gd name="T85" fmla="*/ 90 h 352"/>
                <a:gd name="T86" fmla="*/ 23 w 417"/>
                <a:gd name="T87" fmla="*/ 78 h 352"/>
                <a:gd name="T88" fmla="*/ 23 w 417"/>
                <a:gd name="T89" fmla="*/ 69 h 352"/>
                <a:gd name="T90" fmla="*/ 19 w 417"/>
                <a:gd name="T91" fmla="*/ 64 h 352"/>
                <a:gd name="T92" fmla="*/ 16 w 417"/>
                <a:gd name="T93" fmla="*/ 57 h 352"/>
                <a:gd name="T94" fmla="*/ 14 w 417"/>
                <a:gd name="T95" fmla="*/ 52 h 352"/>
                <a:gd name="T96" fmla="*/ 14 w 417"/>
                <a:gd name="T97" fmla="*/ 43 h 352"/>
                <a:gd name="T98" fmla="*/ 2 w 417"/>
                <a:gd name="T99" fmla="*/ 38 h 352"/>
                <a:gd name="T100" fmla="*/ 9 w 417"/>
                <a:gd name="T101" fmla="*/ 26 h 352"/>
                <a:gd name="T102" fmla="*/ 28 w 417"/>
                <a:gd name="T103" fmla="*/ 17 h 352"/>
                <a:gd name="T104" fmla="*/ 33 w 417"/>
                <a:gd name="T105" fmla="*/ 14 h 352"/>
                <a:gd name="T106" fmla="*/ 40 w 417"/>
                <a:gd name="T107" fmla="*/ 5 h 352"/>
                <a:gd name="T108" fmla="*/ 47 w 417"/>
                <a:gd name="T109" fmla="*/ 2 h 352"/>
                <a:gd name="T110" fmla="*/ 64 w 417"/>
                <a:gd name="T111" fmla="*/ 7 h 352"/>
                <a:gd name="T112" fmla="*/ 85 w 417"/>
                <a:gd name="T113" fmla="*/ 10 h 352"/>
                <a:gd name="T114" fmla="*/ 111 w 417"/>
                <a:gd name="T115" fmla="*/ 7 h 352"/>
                <a:gd name="T116" fmla="*/ 137 w 417"/>
                <a:gd name="T117" fmla="*/ 14 h 352"/>
                <a:gd name="T118" fmla="*/ 173 w 417"/>
                <a:gd name="T119" fmla="*/ 14 h 352"/>
                <a:gd name="T120" fmla="*/ 185 w 417"/>
                <a:gd name="T121" fmla="*/ 1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7" h="352">
                  <a:moveTo>
                    <a:pt x="372" y="62"/>
                  </a:moveTo>
                  <a:lnTo>
                    <a:pt x="372" y="59"/>
                  </a:lnTo>
                  <a:lnTo>
                    <a:pt x="372" y="62"/>
                  </a:lnTo>
                  <a:close/>
                  <a:moveTo>
                    <a:pt x="190" y="12"/>
                  </a:moveTo>
                  <a:lnTo>
                    <a:pt x="187" y="12"/>
                  </a:lnTo>
                  <a:lnTo>
                    <a:pt x="187" y="14"/>
                  </a:lnTo>
                  <a:lnTo>
                    <a:pt x="190" y="14"/>
                  </a:lnTo>
                  <a:lnTo>
                    <a:pt x="187" y="12"/>
                  </a:lnTo>
                  <a:lnTo>
                    <a:pt x="190" y="12"/>
                  </a:lnTo>
                  <a:lnTo>
                    <a:pt x="190" y="14"/>
                  </a:lnTo>
                  <a:lnTo>
                    <a:pt x="190" y="12"/>
                  </a:lnTo>
                  <a:lnTo>
                    <a:pt x="192" y="12"/>
                  </a:lnTo>
                  <a:lnTo>
                    <a:pt x="192" y="14"/>
                  </a:lnTo>
                  <a:lnTo>
                    <a:pt x="194" y="14"/>
                  </a:lnTo>
                  <a:lnTo>
                    <a:pt x="192" y="14"/>
                  </a:lnTo>
                  <a:lnTo>
                    <a:pt x="192" y="17"/>
                  </a:lnTo>
                  <a:lnTo>
                    <a:pt x="192" y="14"/>
                  </a:lnTo>
                  <a:lnTo>
                    <a:pt x="192" y="17"/>
                  </a:lnTo>
                  <a:lnTo>
                    <a:pt x="190" y="17"/>
                  </a:lnTo>
                  <a:lnTo>
                    <a:pt x="192" y="17"/>
                  </a:lnTo>
                  <a:lnTo>
                    <a:pt x="192" y="19"/>
                  </a:lnTo>
                  <a:lnTo>
                    <a:pt x="192" y="17"/>
                  </a:lnTo>
                  <a:lnTo>
                    <a:pt x="194" y="19"/>
                  </a:lnTo>
                  <a:lnTo>
                    <a:pt x="194" y="17"/>
                  </a:lnTo>
                  <a:lnTo>
                    <a:pt x="192" y="17"/>
                  </a:lnTo>
                  <a:lnTo>
                    <a:pt x="192" y="14"/>
                  </a:lnTo>
                  <a:lnTo>
                    <a:pt x="194" y="17"/>
                  </a:lnTo>
                  <a:lnTo>
                    <a:pt x="197" y="17"/>
                  </a:lnTo>
                  <a:lnTo>
                    <a:pt x="199" y="17"/>
                  </a:lnTo>
                  <a:lnTo>
                    <a:pt x="201" y="17"/>
                  </a:lnTo>
                  <a:lnTo>
                    <a:pt x="201" y="19"/>
                  </a:lnTo>
                  <a:lnTo>
                    <a:pt x="201" y="17"/>
                  </a:lnTo>
                  <a:lnTo>
                    <a:pt x="201" y="19"/>
                  </a:lnTo>
                  <a:lnTo>
                    <a:pt x="204" y="19"/>
                  </a:lnTo>
                  <a:lnTo>
                    <a:pt x="206" y="19"/>
                  </a:lnTo>
                  <a:lnTo>
                    <a:pt x="204" y="19"/>
                  </a:lnTo>
                  <a:lnTo>
                    <a:pt x="206" y="19"/>
                  </a:lnTo>
                  <a:lnTo>
                    <a:pt x="206" y="21"/>
                  </a:lnTo>
                  <a:lnTo>
                    <a:pt x="209" y="21"/>
                  </a:lnTo>
                  <a:lnTo>
                    <a:pt x="206" y="21"/>
                  </a:lnTo>
                  <a:lnTo>
                    <a:pt x="206" y="19"/>
                  </a:lnTo>
                  <a:lnTo>
                    <a:pt x="209" y="21"/>
                  </a:lnTo>
                  <a:lnTo>
                    <a:pt x="209" y="19"/>
                  </a:lnTo>
                  <a:lnTo>
                    <a:pt x="206" y="19"/>
                  </a:lnTo>
                  <a:lnTo>
                    <a:pt x="209" y="19"/>
                  </a:lnTo>
                  <a:lnTo>
                    <a:pt x="206" y="19"/>
                  </a:lnTo>
                  <a:lnTo>
                    <a:pt x="209" y="19"/>
                  </a:lnTo>
                  <a:lnTo>
                    <a:pt x="209" y="17"/>
                  </a:lnTo>
                  <a:lnTo>
                    <a:pt x="209" y="14"/>
                  </a:lnTo>
                  <a:lnTo>
                    <a:pt x="211" y="14"/>
                  </a:lnTo>
                  <a:lnTo>
                    <a:pt x="211" y="17"/>
                  </a:lnTo>
                  <a:lnTo>
                    <a:pt x="211" y="14"/>
                  </a:lnTo>
                  <a:lnTo>
                    <a:pt x="213" y="14"/>
                  </a:lnTo>
                  <a:lnTo>
                    <a:pt x="213" y="17"/>
                  </a:lnTo>
                  <a:lnTo>
                    <a:pt x="213" y="14"/>
                  </a:lnTo>
                  <a:lnTo>
                    <a:pt x="213" y="17"/>
                  </a:lnTo>
                  <a:lnTo>
                    <a:pt x="213" y="14"/>
                  </a:lnTo>
                  <a:lnTo>
                    <a:pt x="213" y="17"/>
                  </a:lnTo>
                  <a:lnTo>
                    <a:pt x="213" y="14"/>
                  </a:lnTo>
                  <a:lnTo>
                    <a:pt x="213" y="17"/>
                  </a:lnTo>
                  <a:lnTo>
                    <a:pt x="213" y="14"/>
                  </a:lnTo>
                  <a:lnTo>
                    <a:pt x="213" y="17"/>
                  </a:lnTo>
                  <a:lnTo>
                    <a:pt x="213" y="14"/>
                  </a:lnTo>
                  <a:lnTo>
                    <a:pt x="213" y="17"/>
                  </a:lnTo>
                  <a:lnTo>
                    <a:pt x="216" y="14"/>
                  </a:lnTo>
                  <a:lnTo>
                    <a:pt x="216" y="17"/>
                  </a:lnTo>
                  <a:lnTo>
                    <a:pt x="218" y="17"/>
                  </a:lnTo>
                  <a:lnTo>
                    <a:pt x="218" y="19"/>
                  </a:lnTo>
                  <a:lnTo>
                    <a:pt x="218" y="17"/>
                  </a:lnTo>
                  <a:lnTo>
                    <a:pt x="220" y="17"/>
                  </a:lnTo>
                  <a:lnTo>
                    <a:pt x="223" y="17"/>
                  </a:lnTo>
                  <a:lnTo>
                    <a:pt x="223" y="19"/>
                  </a:lnTo>
                  <a:lnTo>
                    <a:pt x="225" y="19"/>
                  </a:lnTo>
                  <a:lnTo>
                    <a:pt x="228" y="19"/>
                  </a:lnTo>
                  <a:lnTo>
                    <a:pt x="228" y="21"/>
                  </a:lnTo>
                  <a:lnTo>
                    <a:pt x="230" y="21"/>
                  </a:lnTo>
                  <a:lnTo>
                    <a:pt x="232" y="21"/>
                  </a:lnTo>
                  <a:lnTo>
                    <a:pt x="235" y="21"/>
                  </a:lnTo>
                  <a:lnTo>
                    <a:pt x="237" y="21"/>
                  </a:lnTo>
                  <a:lnTo>
                    <a:pt x="237" y="24"/>
                  </a:lnTo>
                  <a:lnTo>
                    <a:pt x="237" y="21"/>
                  </a:lnTo>
                  <a:lnTo>
                    <a:pt x="239" y="21"/>
                  </a:lnTo>
                  <a:lnTo>
                    <a:pt x="242" y="21"/>
                  </a:lnTo>
                  <a:lnTo>
                    <a:pt x="242" y="19"/>
                  </a:lnTo>
                  <a:lnTo>
                    <a:pt x="244" y="19"/>
                  </a:lnTo>
                  <a:lnTo>
                    <a:pt x="244" y="21"/>
                  </a:lnTo>
                  <a:lnTo>
                    <a:pt x="244" y="19"/>
                  </a:lnTo>
                  <a:lnTo>
                    <a:pt x="247" y="19"/>
                  </a:lnTo>
                  <a:lnTo>
                    <a:pt x="247" y="17"/>
                  </a:lnTo>
                  <a:lnTo>
                    <a:pt x="249" y="17"/>
                  </a:lnTo>
                  <a:lnTo>
                    <a:pt x="247" y="17"/>
                  </a:lnTo>
                  <a:lnTo>
                    <a:pt x="247" y="19"/>
                  </a:lnTo>
                  <a:lnTo>
                    <a:pt x="249" y="19"/>
                  </a:lnTo>
                  <a:lnTo>
                    <a:pt x="247" y="19"/>
                  </a:lnTo>
                  <a:lnTo>
                    <a:pt x="249" y="19"/>
                  </a:lnTo>
                  <a:lnTo>
                    <a:pt x="247" y="19"/>
                  </a:lnTo>
                  <a:lnTo>
                    <a:pt x="249" y="19"/>
                  </a:lnTo>
                  <a:lnTo>
                    <a:pt x="247" y="19"/>
                  </a:lnTo>
                  <a:lnTo>
                    <a:pt x="249" y="19"/>
                  </a:lnTo>
                  <a:lnTo>
                    <a:pt x="249" y="21"/>
                  </a:lnTo>
                  <a:lnTo>
                    <a:pt x="251" y="21"/>
                  </a:lnTo>
                  <a:lnTo>
                    <a:pt x="254" y="21"/>
                  </a:lnTo>
                  <a:lnTo>
                    <a:pt x="254" y="24"/>
                  </a:lnTo>
                  <a:lnTo>
                    <a:pt x="256" y="24"/>
                  </a:lnTo>
                  <a:lnTo>
                    <a:pt x="256" y="21"/>
                  </a:lnTo>
                  <a:lnTo>
                    <a:pt x="258" y="21"/>
                  </a:lnTo>
                  <a:lnTo>
                    <a:pt x="258" y="24"/>
                  </a:lnTo>
                  <a:lnTo>
                    <a:pt x="261" y="24"/>
                  </a:lnTo>
                  <a:lnTo>
                    <a:pt x="261" y="26"/>
                  </a:lnTo>
                  <a:lnTo>
                    <a:pt x="261" y="29"/>
                  </a:lnTo>
                  <a:lnTo>
                    <a:pt x="261" y="31"/>
                  </a:lnTo>
                  <a:lnTo>
                    <a:pt x="258" y="31"/>
                  </a:lnTo>
                  <a:lnTo>
                    <a:pt x="258" y="33"/>
                  </a:lnTo>
                  <a:lnTo>
                    <a:pt x="263" y="33"/>
                  </a:lnTo>
                  <a:lnTo>
                    <a:pt x="263" y="31"/>
                  </a:lnTo>
                  <a:lnTo>
                    <a:pt x="265" y="31"/>
                  </a:lnTo>
                  <a:lnTo>
                    <a:pt x="263" y="31"/>
                  </a:lnTo>
                  <a:lnTo>
                    <a:pt x="263" y="33"/>
                  </a:lnTo>
                  <a:lnTo>
                    <a:pt x="265" y="33"/>
                  </a:lnTo>
                  <a:lnTo>
                    <a:pt x="268" y="33"/>
                  </a:lnTo>
                  <a:lnTo>
                    <a:pt x="270" y="33"/>
                  </a:lnTo>
                  <a:lnTo>
                    <a:pt x="268" y="36"/>
                  </a:lnTo>
                  <a:lnTo>
                    <a:pt x="270" y="36"/>
                  </a:lnTo>
                  <a:lnTo>
                    <a:pt x="270" y="33"/>
                  </a:lnTo>
                  <a:lnTo>
                    <a:pt x="270" y="36"/>
                  </a:lnTo>
                  <a:lnTo>
                    <a:pt x="273" y="36"/>
                  </a:lnTo>
                  <a:lnTo>
                    <a:pt x="275" y="36"/>
                  </a:lnTo>
                  <a:lnTo>
                    <a:pt x="275" y="38"/>
                  </a:lnTo>
                  <a:lnTo>
                    <a:pt x="277" y="38"/>
                  </a:lnTo>
                  <a:lnTo>
                    <a:pt x="280" y="38"/>
                  </a:lnTo>
                  <a:lnTo>
                    <a:pt x="282" y="36"/>
                  </a:lnTo>
                  <a:lnTo>
                    <a:pt x="282" y="38"/>
                  </a:lnTo>
                  <a:lnTo>
                    <a:pt x="282" y="40"/>
                  </a:lnTo>
                  <a:lnTo>
                    <a:pt x="284" y="40"/>
                  </a:lnTo>
                  <a:lnTo>
                    <a:pt x="284" y="43"/>
                  </a:lnTo>
                  <a:lnTo>
                    <a:pt x="287" y="43"/>
                  </a:lnTo>
                  <a:lnTo>
                    <a:pt x="287" y="45"/>
                  </a:lnTo>
                  <a:lnTo>
                    <a:pt x="289" y="45"/>
                  </a:lnTo>
                  <a:lnTo>
                    <a:pt x="289" y="43"/>
                  </a:lnTo>
                  <a:lnTo>
                    <a:pt x="292" y="43"/>
                  </a:lnTo>
                  <a:lnTo>
                    <a:pt x="292" y="45"/>
                  </a:lnTo>
                  <a:lnTo>
                    <a:pt x="294" y="45"/>
                  </a:lnTo>
                  <a:lnTo>
                    <a:pt x="294" y="43"/>
                  </a:lnTo>
                  <a:lnTo>
                    <a:pt x="296" y="43"/>
                  </a:lnTo>
                  <a:lnTo>
                    <a:pt x="299" y="43"/>
                  </a:lnTo>
                  <a:lnTo>
                    <a:pt x="299" y="45"/>
                  </a:lnTo>
                  <a:lnTo>
                    <a:pt x="301" y="45"/>
                  </a:lnTo>
                  <a:lnTo>
                    <a:pt x="303" y="48"/>
                  </a:lnTo>
                  <a:lnTo>
                    <a:pt x="306" y="50"/>
                  </a:lnTo>
                  <a:lnTo>
                    <a:pt x="308" y="50"/>
                  </a:lnTo>
                  <a:lnTo>
                    <a:pt x="308" y="48"/>
                  </a:lnTo>
                  <a:lnTo>
                    <a:pt x="311" y="48"/>
                  </a:lnTo>
                  <a:lnTo>
                    <a:pt x="313" y="48"/>
                  </a:lnTo>
                  <a:lnTo>
                    <a:pt x="315" y="48"/>
                  </a:lnTo>
                  <a:lnTo>
                    <a:pt x="315" y="50"/>
                  </a:lnTo>
                  <a:lnTo>
                    <a:pt x="318" y="50"/>
                  </a:lnTo>
                  <a:lnTo>
                    <a:pt x="318" y="48"/>
                  </a:lnTo>
                  <a:lnTo>
                    <a:pt x="320" y="48"/>
                  </a:lnTo>
                  <a:lnTo>
                    <a:pt x="320" y="50"/>
                  </a:lnTo>
                  <a:lnTo>
                    <a:pt x="322" y="50"/>
                  </a:lnTo>
                  <a:lnTo>
                    <a:pt x="325" y="50"/>
                  </a:lnTo>
                  <a:lnTo>
                    <a:pt x="327" y="50"/>
                  </a:lnTo>
                  <a:lnTo>
                    <a:pt x="330" y="50"/>
                  </a:lnTo>
                  <a:lnTo>
                    <a:pt x="330" y="48"/>
                  </a:lnTo>
                  <a:lnTo>
                    <a:pt x="327" y="48"/>
                  </a:lnTo>
                  <a:lnTo>
                    <a:pt x="330" y="45"/>
                  </a:lnTo>
                  <a:lnTo>
                    <a:pt x="327" y="45"/>
                  </a:lnTo>
                  <a:lnTo>
                    <a:pt x="330" y="45"/>
                  </a:lnTo>
                  <a:lnTo>
                    <a:pt x="330" y="43"/>
                  </a:lnTo>
                  <a:lnTo>
                    <a:pt x="332" y="43"/>
                  </a:lnTo>
                  <a:lnTo>
                    <a:pt x="334" y="43"/>
                  </a:lnTo>
                  <a:lnTo>
                    <a:pt x="337" y="43"/>
                  </a:lnTo>
                  <a:lnTo>
                    <a:pt x="337" y="45"/>
                  </a:lnTo>
                  <a:lnTo>
                    <a:pt x="339" y="45"/>
                  </a:lnTo>
                  <a:lnTo>
                    <a:pt x="341" y="45"/>
                  </a:lnTo>
                  <a:lnTo>
                    <a:pt x="344" y="45"/>
                  </a:lnTo>
                  <a:lnTo>
                    <a:pt x="344" y="48"/>
                  </a:lnTo>
                  <a:lnTo>
                    <a:pt x="346" y="50"/>
                  </a:lnTo>
                  <a:lnTo>
                    <a:pt x="346" y="48"/>
                  </a:lnTo>
                  <a:lnTo>
                    <a:pt x="349" y="48"/>
                  </a:lnTo>
                  <a:lnTo>
                    <a:pt x="351" y="48"/>
                  </a:lnTo>
                  <a:lnTo>
                    <a:pt x="351" y="50"/>
                  </a:lnTo>
                  <a:lnTo>
                    <a:pt x="353" y="50"/>
                  </a:lnTo>
                  <a:lnTo>
                    <a:pt x="353" y="52"/>
                  </a:lnTo>
                  <a:lnTo>
                    <a:pt x="353" y="55"/>
                  </a:lnTo>
                  <a:lnTo>
                    <a:pt x="356" y="55"/>
                  </a:lnTo>
                  <a:lnTo>
                    <a:pt x="353" y="55"/>
                  </a:lnTo>
                  <a:lnTo>
                    <a:pt x="353" y="57"/>
                  </a:lnTo>
                  <a:lnTo>
                    <a:pt x="356" y="57"/>
                  </a:lnTo>
                  <a:lnTo>
                    <a:pt x="353" y="59"/>
                  </a:lnTo>
                  <a:lnTo>
                    <a:pt x="356" y="62"/>
                  </a:lnTo>
                  <a:lnTo>
                    <a:pt x="358" y="62"/>
                  </a:lnTo>
                  <a:lnTo>
                    <a:pt x="358" y="59"/>
                  </a:lnTo>
                  <a:lnTo>
                    <a:pt x="358" y="62"/>
                  </a:lnTo>
                  <a:lnTo>
                    <a:pt x="358" y="59"/>
                  </a:lnTo>
                  <a:lnTo>
                    <a:pt x="360" y="59"/>
                  </a:lnTo>
                  <a:lnTo>
                    <a:pt x="363" y="59"/>
                  </a:lnTo>
                  <a:lnTo>
                    <a:pt x="363" y="57"/>
                  </a:lnTo>
                  <a:lnTo>
                    <a:pt x="363" y="59"/>
                  </a:lnTo>
                  <a:lnTo>
                    <a:pt x="365" y="59"/>
                  </a:lnTo>
                  <a:lnTo>
                    <a:pt x="368" y="59"/>
                  </a:lnTo>
                  <a:lnTo>
                    <a:pt x="370" y="59"/>
                  </a:lnTo>
                  <a:lnTo>
                    <a:pt x="370" y="62"/>
                  </a:lnTo>
                  <a:lnTo>
                    <a:pt x="372" y="62"/>
                  </a:lnTo>
                  <a:lnTo>
                    <a:pt x="372" y="64"/>
                  </a:lnTo>
                  <a:lnTo>
                    <a:pt x="375" y="64"/>
                  </a:lnTo>
                  <a:lnTo>
                    <a:pt x="377" y="64"/>
                  </a:lnTo>
                  <a:lnTo>
                    <a:pt x="377" y="62"/>
                  </a:lnTo>
                  <a:lnTo>
                    <a:pt x="379" y="62"/>
                  </a:lnTo>
                  <a:lnTo>
                    <a:pt x="382" y="62"/>
                  </a:lnTo>
                  <a:lnTo>
                    <a:pt x="384" y="62"/>
                  </a:lnTo>
                  <a:lnTo>
                    <a:pt x="387" y="62"/>
                  </a:lnTo>
                  <a:lnTo>
                    <a:pt x="387" y="64"/>
                  </a:lnTo>
                  <a:lnTo>
                    <a:pt x="389" y="64"/>
                  </a:lnTo>
                  <a:lnTo>
                    <a:pt x="389" y="67"/>
                  </a:lnTo>
                  <a:lnTo>
                    <a:pt x="391" y="67"/>
                  </a:lnTo>
                  <a:lnTo>
                    <a:pt x="391" y="64"/>
                  </a:lnTo>
                  <a:lnTo>
                    <a:pt x="394" y="64"/>
                  </a:lnTo>
                  <a:lnTo>
                    <a:pt x="394" y="67"/>
                  </a:lnTo>
                  <a:lnTo>
                    <a:pt x="396" y="67"/>
                  </a:lnTo>
                  <a:lnTo>
                    <a:pt x="396" y="64"/>
                  </a:lnTo>
                  <a:lnTo>
                    <a:pt x="394" y="64"/>
                  </a:lnTo>
                  <a:lnTo>
                    <a:pt x="396" y="64"/>
                  </a:lnTo>
                  <a:lnTo>
                    <a:pt x="396" y="62"/>
                  </a:lnTo>
                  <a:lnTo>
                    <a:pt x="398" y="62"/>
                  </a:lnTo>
                  <a:lnTo>
                    <a:pt x="401" y="62"/>
                  </a:lnTo>
                  <a:lnTo>
                    <a:pt x="401" y="59"/>
                  </a:lnTo>
                  <a:lnTo>
                    <a:pt x="403" y="59"/>
                  </a:lnTo>
                  <a:lnTo>
                    <a:pt x="405" y="59"/>
                  </a:lnTo>
                  <a:lnTo>
                    <a:pt x="408" y="59"/>
                  </a:lnTo>
                  <a:lnTo>
                    <a:pt x="408" y="62"/>
                  </a:lnTo>
                  <a:lnTo>
                    <a:pt x="410" y="62"/>
                  </a:lnTo>
                  <a:lnTo>
                    <a:pt x="413" y="62"/>
                  </a:lnTo>
                  <a:lnTo>
                    <a:pt x="410" y="62"/>
                  </a:lnTo>
                  <a:lnTo>
                    <a:pt x="410" y="64"/>
                  </a:lnTo>
                  <a:lnTo>
                    <a:pt x="413" y="64"/>
                  </a:lnTo>
                  <a:lnTo>
                    <a:pt x="413" y="67"/>
                  </a:lnTo>
                  <a:lnTo>
                    <a:pt x="413" y="64"/>
                  </a:lnTo>
                  <a:lnTo>
                    <a:pt x="413" y="67"/>
                  </a:lnTo>
                  <a:lnTo>
                    <a:pt x="415" y="67"/>
                  </a:lnTo>
                  <a:lnTo>
                    <a:pt x="417" y="67"/>
                  </a:lnTo>
                  <a:lnTo>
                    <a:pt x="415" y="67"/>
                  </a:lnTo>
                  <a:lnTo>
                    <a:pt x="415" y="69"/>
                  </a:lnTo>
                  <a:lnTo>
                    <a:pt x="415" y="71"/>
                  </a:lnTo>
                  <a:lnTo>
                    <a:pt x="413" y="69"/>
                  </a:lnTo>
                  <a:lnTo>
                    <a:pt x="413" y="71"/>
                  </a:lnTo>
                  <a:lnTo>
                    <a:pt x="413" y="69"/>
                  </a:lnTo>
                  <a:lnTo>
                    <a:pt x="410" y="69"/>
                  </a:lnTo>
                  <a:lnTo>
                    <a:pt x="410" y="71"/>
                  </a:lnTo>
                  <a:lnTo>
                    <a:pt x="410" y="74"/>
                  </a:lnTo>
                  <a:lnTo>
                    <a:pt x="410" y="76"/>
                  </a:lnTo>
                  <a:lnTo>
                    <a:pt x="413" y="76"/>
                  </a:lnTo>
                  <a:lnTo>
                    <a:pt x="410" y="76"/>
                  </a:lnTo>
                  <a:lnTo>
                    <a:pt x="413" y="76"/>
                  </a:lnTo>
                  <a:lnTo>
                    <a:pt x="413" y="78"/>
                  </a:lnTo>
                  <a:lnTo>
                    <a:pt x="413" y="81"/>
                  </a:lnTo>
                  <a:lnTo>
                    <a:pt x="410" y="81"/>
                  </a:lnTo>
                  <a:lnTo>
                    <a:pt x="413" y="81"/>
                  </a:lnTo>
                  <a:lnTo>
                    <a:pt x="413" y="83"/>
                  </a:lnTo>
                  <a:lnTo>
                    <a:pt x="413" y="86"/>
                  </a:lnTo>
                  <a:lnTo>
                    <a:pt x="413" y="88"/>
                  </a:lnTo>
                  <a:lnTo>
                    <a:pt x="410" y="88"/>
                  </a:lnTo>
                  <a:lnTo>
                    <a:pt x="408" y="88"/>
                  </a:lnTo>
                  <a:lnTo>
                    <a:pt x="408" y="90"/>
                  </a:lnTo>
                  <a:lnTo>
                    <a:pt x="408" y="93"/>
                  </a:lnTo>
                  <a:lnTo>
                    <a:pt x="405" y="93"/>
                  </a:lnTo>
                  <a:lnTo>
                    <a:pt x="403" y="93"/>
                  </a:lnTo>
                  <a:lnTo>
                    <a:pt x="403" y="95"/>
                  </a:lnTo>
                  <a:lnTo>
                    <a:pt x="401" y="95"/>
                  </a:lnTo>
                  <a:lnTo>
                    <a:pt x="398" y="95"/>
                  </a:lnTo>
                  <a:lnTo>
                    <a:pt x="398" y="97"/>
                  </a:lnTo>
                  <a:lnTo>
                    <a:pt x="398" y="95"/>
                  </a:lnTo>
                  <a:lnTo>
                    <a:pt x="398" y="97"/>
                  </a:lnTo>
                  <a:lnTo>
                    <a:pt x="396" y="97"/>
                  </a:lnTo>
                  <a:lnTo>
                    <a:pt x="394" y="100"/>
                  </a:lnTo>
                  <a:lnTo>
                    <a:pt x="391" y="100"/>
                  </a:lnTo>
                  <a:lnTo>
                    <a:pt x="389" y="102"/>
                  </a:lnTo>
                  <a:lnTo>
                    <a:pt x="387" y="102"/>
                  </a:lnTo>
                  <a:lnTo>
                    <a:pt x="387" y="105"/>
                  </a:lnTo>
                  <a:lnTo>
                    <a:pt x="384" y="105"/>
                  </a:lnTo>
                  <a:lnTo>
                    <a:pt x="382" y="105"/>
                  </a:lnTo>
                  <a:lnTo>
                    <a:pt x="382" y="107"/>
                  </a:lnTo>
                  <a:lnTo>
                    <a:pt x="379" y="107"/>
                  </a:lnTo>
                  <a:lnTo>
                    <a:pt x="379" y="109"/>
                  </a:lnTo>
                  <a:lnTo>
                    <a:pt x="379" y="112"/>
                  </a:lnTo>
                  <a:lnTo>
                    <a:pt x="379" y="109"/>
                  </a:lnTo>
                  <a:lnTo>
                    <a:pt x="379" y="112"/>
                  </a:lnTo>
                  <a:lnTo>
                    <a:pt x="377" y="112"/>
                  </a:lnTo>
                  <a:lnTo>
                    <a:pt x="379" y="112"/>
                  </a:lnTo>
                  <a:lnTo>
                    <a:pt x="377" y="112"/>
                  </a:lnTo>
                  <a:lnTo>
                    <a:pt x="377" y="114"/>
                  </a:lnTo>
                  <a:lnTo>
                    <a:pt x="375" y="114"/>
                  </a:lnTo>
                  <a:lnTo>
                    <a:pt x="372" y="114"/>
                  </a:lnTo>
                  <a:lnTo>
                    <a:pt x="370" y="114"/>
                  </a:lnTo>
                  <a:lnTo>
                    <a:pt x="370" y="116"/>
                  </a:lnTo>
                  <a:lnTo>
                    <a:pt x="368" y="116"/>
                  </a:lnTo>
                  <a:lnTo>
                    <a:pt x="365" y="116"/>
                  </a:lnTo>
                  <a:lnTo>
                    <a:pt x="363" y="116"/>
                  </a:lnTo>
                  <a:lnTo>
                    <a:pt x="365" y="116"/>
                  </a:lnTo>
                  <a:lnTo>
                    <a:pt x="363" y="116"/>
                  </a:lnTo>
                  <a:lnTo>
                    <a:pt x="363" y="119"/>
                  </a:lnTo>
                  <a:lnTo>
                    <a:pt x="360" y="119"/>
                  </a:lnTo>
                  <a:lnTo>
                    <a:pt x="358" y="119"/>
                  </a:lnTo>
                  <a:lnTo>
                    <a:pt x="356" y="119"/>
                  </a:lnTo>
                  <a:lnTo>
                    <a:pt x="353" y="119"/>
                  </a:lnTo>
                  <a:lnTo>
                    <a:pt x="353" y="121"/>
                  </a:lnTo>
                  <a:lnTo>
                    <a:pt x="351" y="121"/>
                  </a:lnTo>
                  <a:lnTo>
                    <a:pt x="349" y="121"/>
                  </a:lnTo>
                  <a:lnTo>
                    <a:pt x="349" y="124"/>
                  </a:lnTo>
                  <a:lnTo>
                    <a:pt x="346" y="124"/>
                  </a:lnTo>
                  <a:lnTo>
                    <a:pt x="349" y="124"/>
                  </a:lnTo>
                  <a:lnTo>
                    <a:pt x="349" y="121"/>
                  </a:lnTo>
                  <a:lnTo>
                    <a:pt x="346" y="124"/>
                  </a:lnTo>
                  <a:lnTo>
                    <a:pt x="346" y="121"/>
                  </a:lnTo>
                  <a:lnTo>
                    <a:pt x="346" y="124"/>
                  </a:lnTo>
                  <a:lnTo>
                    <a:pt x="344" y="124"/>
                  </a:lnTo>
                  <a:lnTo>
                    <a:pt x="341" y="124"/>
                  </a:lnTo>
                  <a:lnTo>
                    <a:pt x="339" y="126"/>
                  </a:lnTo>
                  <a:lnTo>
                    <a:pt x="337" y="126"/>
                  </a:lnTo>
                  <a:lnTo>
                    <a:pt x="337" y="128"/>
                  </a:lnTo>
                  <a:lnTo>
                    <a:pt x="334" y="128"/>
                  </a:lnTo>
                  <a:lnTo>
                    <a:pt x="334" y="131"/>
                  </a:lnTo>
                  <a:lnTo>
                    <a:pt x="334" y="133"/>
                  </a:lnTo>
                  <a:lnTo>
                    <a:pt x="332" y="133"/>
                  </a:lnTo>
                  <a:lnTo>
                    <a:pt x="332" y="135"/>
                  </a:lnTo>
                  <a:lnTo>
                    <a:pt x="330" y="135"/>
                  </a:lnTo>
                  <a:lnTo>
                    <a:pt x="330" y="138"/>
                  </a:lnTo>
                  <a:lnTo>
                    <a:pt x="332" y="138"/>
                  </a:lnTo>
                  <a:lnTo>
                    <a:pt x="332" y="135"/>
                  </a:lnTo>
                  <a:lnTo>
                    <a:pt x="332" y="138"/>
                  </a:lnTo>
                  <a:lnTo>
                    <a:pt x="334" y="138"/>
                  </a:lnTo>
                  <a:lnTo>
                    <a:pt x="334" y="140"/>
                  </a:lnTo>
                  <a:lnTo>
                    <a:pt x="334" y="138"/>
                  </a:lnTo>
                  <a:lnTo>
                    <a:pt x="334" y="140"/>
                  </a:lnTo>
                  <a:lnTo>
                    <a:pt x="332" y="140"/>
                  </a:lnTo>
                  <a:lnTo>
                    <a:pt x="330" y="140"/>
                  </a:lnTo>
                  <a:lnTo>
                    <a:pt x="327" y="140"/>
                  </a:lnTo>
                  <a:lnTo>
                    <a:pt x="325" y="140"/>
                  </a:lnTo>
                  <a:lnTo>
                    <a:pt x="325" y="138"/>
                  </a:lnTo>
                  <a:lnTo>
                    <a:pt x="322" y="135"/>
                  </a:lnTo>
                  <a:lnTo>
                    <a:pt x="325" y="135"/>
                  </a:lnTo>
                  <a:lnTo>
                    <a:pt x="325" y="133"/>
                  </a:lnTo>
                  <a:lnTo>
                    <a:pt x="322" y="133"/>
                  </a:lnTo>
                  <a:lnTo>
                    <a:pt x="322" y="131"/>
                  </a:lnTo>
                  <a:lnTo>
                    <a:pt x="325" y="131"/>
                  </a:lnTo>
                  <a:lnTo>
                    <a:pt x="322" y="131"/>
                  </a:lnTo>
                  <a:lnTo>
                    <a:pt x="322" y="128"/>
                  </a:lnTo>
                  <a:lnTo>
                    <a:pt x="322" y="131"/>
                  </a:lnTo>
                  <a:lnTo>
                    <a:pt x="322" y="133"/>
                  </a:lnTo>
                  <a:lnTo>
                    <a:pt x="325" y="133"/>
                  </a:lnTo>
                  <a:lnTo>
                    <a:pt x="325" y="135"/>
                  </a:lnTo>
                  <a:lnTo>
                    <a:pt x="322" y="135"/>
                  </a:lnTo>
                  <a:lnTo>
                    <a:pt x="322" y="138"/>
                  </a:lnTo>
                  <a:lnTo>
                    <a:pt x="325" y="138"/>
                  </a:lnTo>
                  <a:lnTo>
                    <a:pt x="325" y="140"/>
                  </a:lnTo>
                  <a:lnTo>
                    <a:pt x="327" y="140"/>
                  </a:lnTo>
                  <a:lnTo>
                    <a:pt x="330" y="140"/>
                  </a:lnTo>
                  <a:lnTo>
                    <a:pt x="332" y="140"/>
                  </a:lnTo>
                  <a:lnTo>
                    <a:pt x="334" y="140"/>
                  </a:lnTo>
                  <a:lnTo>
                    <a:pt x="337" y="140"/>
                  </a:lnTo>
                  <a:lnTo>
                    <a:pt x="334" y="140"/>
                  </a:lnTo>
                  <a:lnTo>
                    <a:pt x="334" y="143"/>
                  </a:lnTo>
                  <a:lnTo>
                    <a:pt x="332" y="143"/>
                  </a:lnTo>
                  <a:lnTo>
                    <a:pt x="332" y="145"/>
                  </a:lnTo>
                  <a:lnTo>
                    <a:pt x="330" y="145"/>
                  </a:lnTo>
                  <a:lnTo>
                    <a:pt x="330" y="147"/>
                  </a:lnTo>
                  <a:lnTo>
                    <a:pt x="327" y="147"/>
                  </a:lnTo>
                  <a:lnTo>
                    <a:pt x="327" y="145"/>
                  </a:lnTo>
                  <a:lnTo>
                    <a:pt x="327" y="147"/>
                  </a:lnTo>
                  <a:lnTo>
                    <a:pt x="327" y="145"/>
                  </a:lnTo>
                  <a:lnTo>
                    <a:pt x="330" y="145"/>
                  </a:lnTo>
                  <a:lnTo>
                    <a:pt x="327" y="145"/>
                  </a:lnTo>
                  <a:lnTo>
                    <a:pt x="330" y="145"/>
                  </a:lnTo>
                  <a:lnTo>
                    <a:pt x="330" y="147"/>
                  </a:lnTo>
                  <a:lnTo>
                    <a:pt x="330" y="145"/>
                  </a:lnTo>
                  <a:lnTo>
                    <a:pt x="330" y="147"/>
                  </a:lnTo>
                  <a:lnTo>
                    <a:pt x="330" y="145"/>
                  </a:lnTo>
                  <a:lnTo>
                    <a:pt x="332" y="145"/>
                  </a:lnTo>
                  <a:lnTo>
                    <a:pt x="332" y="143"/>
                  </a:lnTo>
                  <a:lnTo>
                    <a:pt x="330" y="143"/>
                  </a:lnTo>
                  <a:lnTo>
                    <a:pt x="330" y="145"/>
                  </a:lnTo>
                  <a:lnTo>
                    <a:pt x="327" y="145"/>
                  </a:lnTo>
                  <a:lnTo>
                    <a:pt x="325" y="145"/>
                  </a:lnTo>
                  <a:lnTo>
                    <a:pt x="325" y="147"/>
                  </a:lnTo>
                  <a:lnTo>
                    <a:pt x="325" y="150"/>
                  </a:lnTo>
                  <a:lnTo>
                    <a:pt x="322" y="150"/>
                  </a:lnTo>
                  <a:lnTo>
                    <a:pt x="322" y="152"/>
                  </a:lnTo>
                  <a:lnTo>
                    <a:pt x="320" y="154"/>
                  </a:lnTo>
                  <a:lnTo>
                    <a:pt x="320" y="157"/>
                  </a:lnTo>
                  <a:lnTo>
                    <a:pt x="318" y="157"/>
                  </a:lnTo>
                  <a:lnTo>
                    <a:pt x="318" y="159"/>
                  </a:lnTo>
                  <a:lnTo>
                    <a:pt x="318" y="162"/>
                  </a:lnTo>
                  <a:lnTo>
                    <a:pt x="315" y="162"/>
                  </a:lnTo>
                  <a:lnTo>
                    <a:pt x="315" y="164"/>
                  </a:lnTo>
                  <a:lnTo>
                    <a:pt x="313" y="164"/>
                  </a:lnTo>
                  <a:lnTo>
                    <a:pt x="313" y="166"/>
                  </a:lnTo>
                  <a:lnTo>
                    <a:pt x="311" y="169"/>
                  </a:lnTo>
                  <a:lnTo>
                    <a:pt x="308" y="171"/>
                  </a:lnTo>
                  <a:lnTo>
                    <a:pt x="308" y="174"/>
                  </a:lnTo>
                  <a:lnTo>
                    <a:pt x="306" y="174"/>
                  </a:lnTo>
                  <a:lnTo>
                    <a:pt x="306" y="176"/>
                  </a:lnTo>
                  <a:lnTo>
                    <a:pt x="306" y="178"/>
                  </a:lnTo>
                  <a:lnTo>
                    <a:pt x="303" y="178"/>
                  </a:lnTo>
                  <a:lnTo>
                    <a:pt x="303" y="181"/>
                  </a:lnTo>
                  <a:lnTo>
                    <a:pt x="301" y="183"/>
                  </a:lnTo>
                  <a:lnTo>
                    <a:pt x="301" y="185"/>
                  </a:lnTo>
                  <a:lnTo>
                    <a:pt x="301" y="188"/>
                  </a:lnTo>
                  <a:lnTo>
                    <a:pt x="299" y="188"/>
                  </a:lnTo>
                  <a:lnTo>
                    <a:pt x="301" y="188"/>
                  </a:lnTo>
                  <a:lnTo>
                    <a:pt x="299" y="188"/>
                  </a:lnTo>
                  <a:lnTo>
                    <a:pt x="301" y="188"/>
                  </a:lnTo>
                  <a:lnTo>
                    <a:pt x="299" y="188"/>
                  </a:lnTo>
                  <a:lnTo>
                    <a:pt x="299" y="190"/>
                  </a:lnTo>
                  <a:lnTo>
                    <a:pt x="299" y="193"/>
                  </a:lnTo>
                  <a:lnTo>
                    <a:pt x="296" y="193"/>
                  </a:lnTo>
                  <a:lnTo>
                    <a:pt x="296" y="195"/>
                  </a:lnTo>
                  <a:lnTo>
                    <a:pt x="296" y="197"/>
                  </a:lnTo>
                  <a:lnTo>
                    <a:pt x="294" y="197"/>
                  </a:lnTo>
                  <a:lnTo>
                    <a:pt x="296" y="197"/>
                  </a:lnTo>
                  <a:lnTo>
                    <a:pt x="296" y="200"/>
                  </a:lnTo>
                  <a:lnTo>
                    <a:pt x="296" y="202"/>
                  </a:lnTo>
                  <a:lnTo>
                    <a:pt x="296" y="204"/>
                  </a:lnTo>
                  <a:lnTo>
                    <a:pt x="299" y="204"/>
                  </a:lnTo>
                  <a:lnTo>
                    <a:pt x="299" y="207"/>
                  </a:lnTo>
                  <a:lnTo>
                    <a:pt x="299" y="209"/>
                  </a:lnTo>
                  <a:lnTo>
                    <a:pt x="299" y="212"/>
                  </a:lnTo>
                  <a:lnTo>
                    <a:pt x="299" y="214"/>
                  </a:lnTo>
                  <a:lnTo>
                    <a:pt x="301" y="214"/>
                  </a:lnTo>
                  <a:lnTo>
                    <a:pt x="301" y="216"/>
                  </a:lnTo>
                  <a:lnTo>
                    <a:pt x="301" y="219"/>
                  </a:lnTo>
                  <a:lnTo>
                    <a:pt x="301" y="216"/>
                  </a:lnTo>
                  <a:lnTo>
                    <a:pt x="301" y="219"/>
                  </a:lnTo>
                  <a:lnTo>
                    <a:pt x="303" y="219"/>
                  </a:lnTo>
                  <a:lnTo>
                    <a:pt x="303" y="221"/>
                  </a:lnTo>
                  <a:lnTo>
                    <a:pt x="306" y="221"/>
                  </a:lnTo>
                  <a:lnTo>
                    <a:pt x="306" y="223"/>
                  </a:lnTo>
                  <a:lnTo>
                    <a:pt x="308" y="223"/>
                  </a:lnTo>
                  <a:lnTo>
                    <a:pt x="311" y="223"/>
                  </a:lnTo>
                  <a:lnTo>
                    <a:pt x="311" y="226"/>
                  </a:lnTo>
                  <a:lnTo>
                    <a:pt x="313" y="226"/>
                  </a:lnTo>
                  <a:lnTo>
                    <a:pt x="313" y="228"/>
                  </a:lnTo>
                  <a:lnTo>
                    <a:pt x="315" y="228"/>
                  </a:lnTo>
                  <a:lnTo>
                    <a:pt x="313" y="228"/>
                  </a:lnTo>
                  <a:lnTo>
                    <a:pt x="313" y="231"/>
                  </a:lnTo>
                  <a:lnTo>
                    <a:pt x="313" y="228"/>
                  </a:lnTo>
                  <a:lnTo>
                    <a:pt x="313" y="231"/>
                  </a:lnTo>
                  <a:lnTo>
                    <a:pt x="311" y="231"/>
                  </a:lnTo>
                  <a:lnTo>
                    <a:pt x="311" y="233"/>
                  </a:lnTo>
                  <a:lnTo>
                    <a:pt x="308" y="233"/>
                  </a:lnTo>
                  <a:lnTo>
                    <a:pt x="311" y="233"/>
                  </a:lnTo>
                  <a:lnTo>
                    <a:pt x="308" y="233"/>
                  </a:lnTo>
                  <a:lnTo>
                    <a:pt x="306" y="233"/>
                  </a:lnTo>
                  <a:lnTo>
                    <a:pt x="306" y="235"/>
                  </a:lnTo>
                  <a:lnTo>
                    <a:pt x="306" y="238"/>
                  </a:lnTo>
                  <a:lnTo>
                    <a:pt x="303" y="238"/>
                  </a:lnTo>
                  <a:lnTo>
                    <a:pt x="301" y="238"/>
                  </a:lnTo>
                  <a:lnTo>
                    <a:pt x="301" y="240"/>
                  </a:lnTo>
                  <a:lnTo>
                    <a:pt x="299" y="240"/>
                  </a:lnTo>
                  <a:lnTo>
                    <a:pt x="296" y="240"/>
                  </a:lnTo>
                  <a:lnTo>
                    <a:pt x="296" y="242"/>
                  </a:lnTo>
                  <a:lnTo>
                    <a:pt x="294" y="242"/>
                  </a:lnTo>
                  <a:lnTo>
                    <a:pt x="294" y="245"/>
                  </a:lnTo>
                  <a:lnTo>
                    <a:pt x="294" y="247"/>
                  </a:lnTo>
                  <a:lnTo>
                    <a:pt x="292" y="247"/>
                  </a:lnTo>
                  <a:lnTo>
                    <a:pt x="292" y="245"/>
                  </a:lnTo>
                  <a:lnTo>
                    <a:pt x="292" y="247"/>
                  </a:lnTo>
                  <a:lnTo>
                    <a:pt x="289" y="247"/>
                  </a:lnTo>
                  <a:lnTo>
                    <a:pt x="289" y="250"/>
                  </a:lnTo>
                  <a:lnTo>
                    <a:pt x="289" y="252"/>
                  </a:lnTo>
                  <a:lnTo>
                    <a:pt x="289" y="254"/>
                  </a:lnTo>
                  <a:lnTo>
                    <a:pt x="287" y="254"/>
                  </a:lnTo>
                  <a:lnTo>
                    <a:pt x="287" y="257"/>
                  </a:lnTo>
                  <a:lnTo>
                    <a:pt x="284" y="257"/>
                  </a:lnTo>
                  <a:lnTo>
                    <a:pt x="284" y="259"/>
                  </a:lnTo>
                  <a:lnTo>
                    <a:pt x="284" y="261"/>
                  </a:lnTo>
                  <a:lnTo>
                    <a:pt x="284" y="264"/>
                  </a:lnTo>
                  <a:lnTo>
                    <a:pt x="282" y="264"/>
                  </a:lnTo>
                  <a:lnTo>
                    <a:pt x="282" y="266"/>
                  </a:lnTo>
                  <a:lnTo>
                    <a:pt x="282" y="269"/>
                  </a:lnTo>
                  <a:lnTo>
                    <a:pt x="282" y="271"/>
                  </a:lnTo>
                  <a:lnTo>
                    <a:pt x="282" y="269"/>
                  </a:lnTo>
                  <a:lnTo>
                    <a:pt x="282" y="271"/>
                  </a:lnTo>
                  <a:lnTo>
                    <a:pt x="282" y="269"/>
                  </a:lnTo>
                  <a:lnTo>
                    <a:pt x="282" y="271"/>
                  </a:lnTo>
                  <a:lnTo>
                    <a:pt x="280" y="271"/>
                  </a:lnTo>
                  <a:lnTo>
                    <a:pt x="280" y="273"/>
                  </a:lnTo>
                  <a:lnTo>
                    <a:pt x="277" y="273"/>
                  </a:lnTo>
                  <a:lnTo>
                    <a:pt x="277" y="276"/>
                  </a:lnTo>
                  <a:lnTo>
                    <a:pt x="280" y="276"/>
                  </a:lnTo>
                  <a:lnTo>
                    <a:pt x="280" y="278"/>
                  </a:lnTo>
                  <a:lnTo>
                    <a:pt x="282" y="278"/>
                  </a:lnTo>
                  <a:lnTo>
                    <a:pt x="282" y="276"/>
                  </a:lnTo>
                  <a:lnTo>
                    <a:pt x="282" y="273"/>
                  </a:lnTo>
                  <a:lnTo>
                    <a:pt x="282" y="271"/>
                  </a:lnTo>
                  <a:lnTo>
                    <a:pt x="282" y="273"/>
                  </a:lnTo>
                  <a:lnTo>
                    <a:pt x="282" y="276"/>
                  </a:lnTo>
                  <a:lnTo>
                    <a:pt x="282" y="278"/>
                  </a:lnTo>
                  <a:lnTo>
                    <a:pt x="284" y="278"/>
                  </a:lnTo>
                  <a:lnTo>
                    <a:pt x="282" y="278"/>
                  </a:lnTo>
                  <a:lnTo>
                    <a:pt x="282" y="280"/>
                  </a:lnTo>
                  <a:lnTo>
                    <a:pt x="280" y="280"/>
                  </a:lnTo>
                  <a:lnTo>
                    <a:pt x="277" y="280"/>
                  </a:lnTo>
                  <a:lnTo>
                    <a:pt x="277" y="283"/>
                  </a:lnTo>
                  <a:lnTo>
                    <a:pt x="275" y="283"/>
                  </a:lnTo>
                  <a:lnTo>
                    <a:pt x="275" y="280"/>
                  </a:lnTo>
                  <a:lnTo>
                    <a:pt x="275" y="283"/>
                  </a:lnTo>
                  <a:lnTo>
                    <a:pt x="275" y="280"/>
                  </a:lnTo>
                  <a:lnTo>
                    <a:pt x="273" y="280"/>
                  </a:lnTo>
                  <a:lnTo>
                    <a:pt x="270" y="280"/>
                  </a:lnTo>
                  <a:lnTo>
                    <a:pt x="270" y="283"/>
                  </a:lnTo>
                  <a:lnTo>
                    <a:pt x="268" y="283"/>
                  </a:lnTo>
                  <a:lnTo>
                    <a:pt x="268" y="280"/>
                  </a:lnTo>
                  <a:lnTo>
                    <a:pt x="265" y="280"/>
                  </a:lnTo>
                  <a:lnTo>
                    <a:pt x="265" y="283"/>
                  </a:lnTo>
                  <a:lnTo>
                    <a:pt x="265" y="280"/>
                  </a:lnTo>
                  <a:lnTo>
                    <a:pt x="265" y="283"/>
                  </a:lnTo>
                  <a:lnTo>
                    <a:pt x="265" y="280"/>
                  </a:lnTo>
                  <a:lnTo>
                    <a:pt x="265" y="283"/>
                  </a:lnTo>
                  <a:lnTo>
                    <a:pt x="265" y="280"/>
                  </a:lnTo>
                  <a:lnTo>
                    <a:pt x="263" y="280"/>
                  </a:lnTo>
                  <a:lnTo>
                    <a:pt x="263" y="283"/>
                  </a:lnTo>
                  <a:lnTo>
                    <a:pt x="261" y="283"/>
                  </a:lnTo>
                  <a:lnTo>
                    <a:pt x="261" y="285"/>
                  </a:lnTo>
                  <a:lnTo>
                    <a:pt x="258" y="285"/>
                  </a:lnTo>
                  <a:lnTo>
                    <a:pt x="258" y="288"/>
                  </a:lnTo>
                  <a:lnTo>
                    <a:pt x="256" y="288"/>
                  </a:lnTo>
                  <a:lnTo>
                    <a:pt x="254" y="288"/>
                  </a:lnTo>
                  <a:lnTo>
                    <a:pt x="256" y="288"/>
                  </a:lnTo>
                  <a:lnTo>
                    <a:pt x="254" y="288"/>
                  </a:lnTo>
                  <a:lnTo>
                    <a:pt x="254" y="290"/>
                  </a:lnTo>
                  <a:lnTo>
                    <a:pt x="251" y="290"/>
                  </a:lnTo>
                  <a:lnTo>
                    <a:pt x="251" y="292"/>
                  </a:lnTo>
                  <a:lnTo>
                    <a:pt x="249" y="292"/>
                  </a:lnTo>
                  <a:lnTo>
                    <a:pt x="249" y="295"/>
                  </a:lnTo>
                  <a:lnTo>
                    <a:pt x="249" y="297"/>
                  </a:lnTo>
                  <a:lnTo>
                    <a:pt x="247" y="297"/>
                  </a:lnTo>
                  <a:lnTo>
                    <a:pt x="247" y="299"/>
                  </a:lnTo>
                  <a:lnTo>
                    <a:pt x="247" y="302"/>
                  </a:lnTo>
                  <a:lnTo>
                    <a:pt x="247" y="304"/>
                  </a:lnTo>
                  <a:lnTo>
                    <a:pt x="244" y="304"/>
                  </a:lnTo>
                  <a:lnTo>
                    <a:pt x="244" y="307"/>
                  </a:lnTo>
                  <a:lnTo>
                    <a:pt x="244" y="309"/>
                  </a:lnTo>
                  <a:lnTo>
                    <a:pt x="242" y="309"/>
                  </a:lnTo>
                  <a:lnTo>
                    <a:pt x="242" y="311"/>
                  </a:lnTo>
                  <a:lnTo>
                    <a:pt x="242" y="314"/>
                  </a:lnTo>
                  <a:lnTo>
                    <a:pt x="239" y="314"/>
                  </a:lnTo>
                  <a:lnTo>
                    <a:pt x="239" y="316"/>
                  </a:lnTo>
                  <a:lnTo>
                    <a:pt x="237" y="316"/>
                  </a:lnTo>
                  <a:lnTo>
                    <a:pt x="239" y="316"/>
                  </a:lnTo>
                  <a:lnTo>
                    <a:pt x="237" y="316"/>
                  </a:lnTo>
                  <a:lnTo>
                    <a:pt x="237" y="318"/>
                  </a:lnTo>
                  <a:lnTo>
                    <a:pt x="235" y="318"/>
                  </a:lnTo>
                  <a:lnTo>
                    <a:pt x="232" y="316"/>
                  </a:lnTo>
                  <a:lnTo>
                    <a:pt x="232" y="314"/>
                  </a:lnTo>
                  <a:lnTo>
                    <a:pt x="230" y="314"/>
                  </a:lnTo>
                  <a:lnTo>
                    <a:pt x="228" y="314"/>
                  </a:lnTo>
                  <a:lnTo>
                    <a:pt x="225" y="314"/>
                  </a:lnTo>
                  <a:lnTo>
                    <a:pt x="223" y="314"/>
                  </a:lnTo>
                  <a:lnTo>
                    <a:pt x="223" y="316"/>
                  </a:lnTo>
                  <a:lnTo>
                    <a:pt x="220" y="316"/>
                  </a:lnTo>
                  <a:lnTo>
                    <a:pt x="220" y="318"/>
                  </a:lnTo>
                  <a:lnTo>
                    <a:pt x="218" y="321"/>
                  </a:lnTo>
                  <a:lnTo>
                    <a:pt x="216" y="321"/>
                  </a:lnTo>
                  <a:lnTo>
                    <a:pt x="213" y="318"/>
                  </a:lnTo>
                  <a:lnTo>
                    <a:pt x="213" y="321"/>
                  </a:lnTo>
                  <a:lnTo>
                    <a:pt x="211" y="318"/>
                  </a:lnTo>
                  <a:lnTo>
                    <a:pt x="209" y="318"/>
                  </a:lnTo>
                  <a:lnTo>
                    <a:pt x="206" y="318"/>
                  </a:lnTo>
                  <a:lnTo>
                    <a:pt x="204" y="318"/>
                  </a:lnTo>
                  <a:lnTo>
                    <a:pt x="201" y="318"/>
                  </a:lnTo>
                  <a:lnTo>
                    <a:pt x="199" y="318"/>
                  </a:lnTo>
                  <a:lnTo>
                    <a:pt x="197" y="318"/>
                  </a:lnTo>
                  <a:lnTo>
                    <a:pt x="194" y="318"/>
                  </a:lnTo>
                  <a:lnTo>
                    <a:pt x="194" y="321"/>
                  </a:lnTo>
                  <a:lnTo>
                    <a:pt x="194" y="318"/>
                  </a:lnTo>
                  <a:lnTo>
                    <a:pt x="194" y="321"/>
                  </a:lnTo>
                  <a:lnTo>
                    <a:pt x="192" y="321"/>
                  </a:lnTo>
                  <a:lnTo>
                    <a:pt x="192" y="318"/>
                  </a:lnTo>
                  <a:lnTo>
                    <a:pt x="190" y="318"/>
                  </a:lnTo>
                  <a:lnTo>
                    <a:pt x="187" y="318"/>
                  </a:lnTo>
                  <a:lnTo>
                    <a:pt x="185" y="318"/>
                  </a:lnTo>
                  <a:lnTo>
                    <a:pt x="182" y="318"/>
                  </a:lnTo>
                  <a:lnTo>
                    <a:pt x="180" y="318"/>
                  </a:lnTo>
                  <a:lnTo>
                    <a:pt x="178" y="318"/>
                  </a:lnTo>
                  <a:lnTo>
                    <a:pt x="175" y="318"/>
                  </a:lnTo>
                  <a:lnTo>
                    <a:pt x="173" y="318"/>
                  </a:lnTo>
                  <a:lnTo>
                    <a:pt x="171" y="318"/>
                  </a:lnTo>
                  <a:lnTo>
                    <a:pt x="168" y="318"/>
                  </a:lnTo>
                  <a:lnTo>
                    <a:pt x="166" y="318"/>
                  </a:lnTo>
                  <a:lnTo>
                    <a:pt x="163" y="318"/>
                  </a:lnTo>
                  <a:lnTo>
                    <a:pt x="161" y="318"/>
                  </a:lnTo>
                  <a:lnTo>
                    <a:pt x="161" y="321"/>
                  </a:lnTo>
                  <a:lnTo>
                    <a:pt x="161" y="318"/>
                  </a:lnTo>
                  <a:lnTo>
                    <a:pt x="161" y="321"/>
                  </a:lnTo>
                  <a:lnTo>
                    <a:pt x="161" y="318"/>
                  </a:lnTo>
                  <a:lnTo>
                    <a:pt x="161" y="321"/>
                  </a:lnTo>
                  <a:lnTo>
                    <a:pt x="159" y="321"/>
                  </a:lnTo>
                  <a:lnTo>
                    <a:pt x="159" y="323"/>
                  </a:lnTo>
                  <a:lnTo>
                    <a:pt x="159" y="326"/>
                  </a:lnTo>
                  <a:lnTo>
                    <a:pt x="159" y="323"/>
                  </a:lnTo>
                  <a:lnTo>
                    <a:pt x="159" y="326"/>
                  </a:lnTo>
                  <a:lnTo>
                    <a:pt x="156" y="326"/>
                  </a:lnTo>
                  <a:lnTo>
                    <a:pt x="154" y="326"/>
                  </a:lnTo>
                  <a:lnTo>
                    <a:pt x="154" y="328"/>
                  </a:lnTo>
                  <a:lnTo>
                    <a:pt x="152" y="328"/>
                  </a:lnTo>
                  <a:lnTo>
                    <a:pt x="152" y="330"/>
                  </a:lnTo>
                  <a:lnTo>
                    <a:pt x="149" y="330"/>
                  </a:lnTo>
                  <a:lnTo>
                    <a:pt x="147" y="328"/>
                  </a:lnTo>
                  <a:lnTo>
                    <a:pt x="144" y="328"/>
                  </a:lnTo>
                  <a:lnTo>
                    <a:pt x="144" y="330"/>
                  </a:lnTo>
                  <a:lnTo>
                    <a:pt x="142" y="330"/>
                  </a:lnTo>
                  <a:lnTo>
                    <a:pt x="140" y="330"/>
                  </a:lnTo>
                  <a:lnTo>
                    <a:pt x="137" y="330"/>
                  </a:lnTo>
                  <a:lnTo>
                    <a:pt x="137" y="333"/>
                  </a:lnTo>
                  <a:lnTo>
                    <a:pt x="135" y="333"/>
                  </a:lnTo>
                  <a:lnTo>
                    <a:pt x="135" y="335"/>
                  </a:lnTo>
                  <a:lnTo>
                    <a:pt x="133" y="337"/>
                  </a:lnTo>
                  <a:lnTo>
                    <a:pt x="133" y="340"/>
                  </a:lnTo>
                  <a:lnTo>
                    <a:pt x="130" y="340"/>
                  </a:lnTo>
                  <a:lnTo>
                    <a:pt x="130" y="342"/>
                  </a:lnTo>
                  <a:lnTo>
                    <a:pt x="130" y="345"/>
                  </a:lnTo>
                  <a:lnTo>
                    <a:pt x="130" y="342"/>
                  </a:lnTo>
                  <a:lnTo>
                    <a:pt x="128" y="342"/>
                  </a:lnTo>
                  <a:lnTo>
                    <a:pt x="128" y="345"/>
                  </a:lnTo>
                  <a:lnTo>
                    <a:pt x="128" y="347"/>
                  </a:lnTo>
                  <a:lnTo>
                    <a:pt x="128" y="349"/>
                  </a:lnTo>
                  <a:lnTo>
                    <a:pt x="126" y="349"/>
                  </a:lnTo>
                  <a:lnTo>
                    <a:pt x="123" y="349"/>
                  </a:lnTo>
                  <a:lnTo>
                    <a:pt x="121" y="349"/>
                  </a:lnTo>
                  <a:lnTo>
                    <a:pt x="121" y="352"/>
                  </a:lnTo>
                  <a:lnTo>
                    <a:pt x="121" y="349"/>
                  </a:lnTo>
                  <a:lnTo>
                    <a:pt x="121" y="347"/>
                  </a:lnTo>
                  <a:lnTo>
                    <a:pt x="118" y="347"/>
                  </a:lnTo>
                  <a:lnTo>
                    <a:pt x="116" y="347"/>
                  </a:lnTo>
                  <a:lnTo>
                    <a:pt x="114" y="347"/>
                  </a:lnTo>
                  <a:lnTo>
                    <a:pt x="114" y="345"/>
                  </a:lnTo>
                  <a:lnTo>
                    <a:pt x="114" y="342"/>
                  </a:lnTo>
                  <a:lnTo>
                    <a:pt x="111" y="342"/>
                  </a:lnTo>
                  <a:lnTo>
                    <a:pt x="109" y="342"/>
                  </a:lnTo>
                  <a:lnTo>
                    <a:pt x="107" y="342"/>
                  </a:lnTo>
                  <a:lnTo>
                    <a:pt x="107" y="340"/>
                  </a:lnTo>
                  <a:lnTo>
                    <a:pt x="104" y="337"/>
                  </a:lnTo>
                  <a:lnTo>
                    <a:pt x="104" y="335"/>
                  </a:lnTo>
                  <a:lnTo>
                    <a:pt x="102" y="335"/>
                  </a:lnTo>
                  <a:lnTo>
                    <a:pt x="102" y="333"/>
                  </a:lnTo>
                  <a:lnTo>
                    <a:pt x="102" y="330"/>
                  </a:lnTo>
                  <a:lnTo>
                    <a:pt x="102" y="333"/>
                  </a:lnTo>
                  <a:lnTo>
                    <a:pt x="102" y="330"/>
                  </a:lnTo>
                  <a:lnTo>
                    <a:pt x="99" y="330"/>
                  </a:lnTo>
                  <a:lnTo>
                    <a:pt x="99" y="328"/>
                  </a:lnTo>
                  <a:lnTo>
                    <a:pt x="99" y="326"/>
                  </a:lnTo>
                  <a:lnTo>
                    <a:pt x="99" y="328"/>
                  </a:lnTo>
                  <a:lnTo>
                    <a:pt x="99" y="330"/>
                  </a:lnTo>
                  <a:lnTo>
                    <a:pt x="102" y="330"/>
                  </a:lnTo>
                  <a:lnTo>
                    <a:pt x="102" y="328"/>
                  </a:lnTo>
                  <a:lnTo>
                    <a:pt x="104" y="328"/>
                  </a:lnTo>
                  <a:lnTo>
                    <a:pt x="102" y="328"/>
                  </a:lnTo>
                  <a:lnTo>
                    <a:pt x="104" y="328"/>
                  </a:lnTo>
                  <a:lnTo>
                    <a:pt x="102" y="328"/>
                  </a:lnTo>
                  <a:lnTo>
                    <a:pt x="99" y="328"/>
                  </a:lnTo>
                  <a:lnTo>
                    <a:pt x="102" y="328"/>
                  </a:lnTo>
                  <a:lnTo>
                    <a:pt x="102" y="326"/>
                  </a:lnTo>
                  <a:lnTo>
                    <a:pt x="102" y="328"/>
                  </a:lnTo>
                  <a:lnTo>
                    <a:pt x="102" y="326"/>
                  </a:lnTo>
                  <a:lnTo>
                    <a:pt x="99" y="326"/>
                  </a:lnTo>
                  <a:lnTo>
                    <a:pt x="99" y="323"/>
                  </a:lnTo>
                  <a:lnTo>
                    <a:pt x="97" y="323"/>
                  </a:lnTo>
                  <a:lnTo>
                    <a:pt x="95" y="321"/>
                  </a:lnTo>
                  <a:lnTo>
                    <a:pt x="95" y="318"/>
                  </a:lnTo>
                  <a:lnTo>
                    <a:pt x="95" y="316"/>
                  </a:lnTo>
                  <a:lnTo>
                    <a:pt x="97" y="316"/>
                  </a:lnTo>
                  <a:lnTo>
                    <a:pt x="97" y="314"/>
                  </a:lnTo>
                  <a:lnTo>
                    <a:pt x="97" y="311"/>
                  </a:lnTo>
                  <a:lnTo>
                    <a:pt x="99" y="311"/>
                  </a:lnTo>
                  <a:lnTo>
                    <a:pt x="102" y="311"/>
                  </a:lnTo>
                  <a:lnTo>
                    <a:pt x="99" y="311"/>
                  </a:lnTo>
                  <a:lnTo>
                    <a:pt x="97" y="311"/>
                  </a:lnTo>
                  <a:lnTo>
                    <a:pt x="97" y="314"/>
                  </a:lnTo>
                  <a:lnTo>
                    <a:pt x="97" y="316"/>
                  </a:lnTo>
                  <a:lnTo>
                    <a:pt x="95" y="314"/>
                  </a:lnTo>
                  <a:lnTo>
                    <a:pt x="95" y="311"/>
                  </a:lnTo>
                  <a:lnTo>
                    <a:pt x="95" y="309"/>
                  </a:lnTo>
                  <a:lnTo>
                    <a:pt x="92" y="309"/>
                  </a:lnTo>
                  <a:lnTo>
                    <a:pt x="92" y="307"/>
                  </a:lnTo>
                  <a:lnTo>
                    <a:pt x="90" y="307"/>
                  </a:lnTo>
                  <a:lnTo>
                    <a:pt x="88" y="304"/>
                  </a:lnTo>
                  <a:lnTo>
                    <a:pt x="85" y="302"/>
                  </a:lnTo>
                  <a:lnTo>
                    <a:pt x="83" y="302"/>
                  </a:lnTo>
                  <a:lnTo>
                    <a:pt x="83" y="299"/>
                  </a:lnTo>
                  <a:lnTo>
                    <a:pt x="80" y="302"/>
                  </a:lnTo>
                  <a:lnTo>
                    <a:pt x="80" y="299"/>
                  </a:lnTo>
                  <a:lnTo>
                    <a:pt x="80" y="302"/>
                  </a:lnTo>
                  <a:lnTo>
                    <a:pt x="80" y="299"/>
                  </a:lnTo>
                  <a:lnTo>
                    <a:pt x="78" y="299"/>
                  </a:lnTo>
                  <a:lnTo>
                    <a:pt x="78" y="297"/>
                  </a:lnTo>
                  <a:lnTo>
                    <a:pt x="78" y="295"/>
                  </a:lnTo>
                  <a:lnTo>
                    <a:pt x="80" y="295"/>
                  </a:lnTo>
                  <a:lnTo>
                    <a:pt x="80" y="292"/>
                  </a:lnTo>
                  <a:lnTo>
                    <a:pt x="80" y="295"/>
                  </a:lnTo>
                  <a:lnTo>
                    <a:pt x="78" y="295"/>
                  </a:lnTo>
                  <a:lnTo>
                    <a:pt x="78" y="297"/>
                  </a:lnTo>
                  <a:lnTo>
                    <a:pt x="78" y="295"/>
                  </a:lnTo>
                  <a:lnTo>
                    <a:pt x="78" y="292"/>
                  </a:lnTo>
                  <a:lnTo>
                    <a:pt x="78" y="295"/>
                  </a:lnTo>
                  <a:lnTo>
                    <a:pt x="78" y="292"/>
                  </a:lnTo>
                  <a:lnTo>
                    <a:pt x="78" y="295"/>
                  </a:lnTo>
                  <a:lnTo>
                    <a:pt x="76" y="292"/>
                  </a:lnTo>
                  <a:lnTo>
                    <a:pt x="76" y="295"/>
                  </a:lnTo>
                  <a:lnTo>
                    <a:pt x="78" y="295"/>
                  </a:lnTo>
                  <a:lnTo>
                    <a:pt x="76" y="295"/>
                  </a:lnTo>
                  <a:lnTo>
                    <a:pt x="78" y="295"/>
                  </a:lnTo>
                  <a:lnTo>
                    <a:pt x="78" y="297"/>
                  </a:lnTo>
                  <a:lnTo>
                    <a:pt x="76" y="297"/>
                  </a:lnTo>
                  <a:lnTo>
                    <a:pt x="78" y="295"/>
                  </a:lnTo>
                  <a:lnTo>
                    <a:pt x="76" y="295"/>
                  </a:lnTo>
                  <a:lnTo>
                    <a:pt x="76" y="297"/>
                  </a:lnTo>
                  <a:lnTo>
                    <a:pt x="78" y="297"/>
                  </a:lnTo>
                  <a:lnTo>
                    <a:pt x="78" y="299"/>
                  </a:lnTo>
                  <a:lnTo>
                    <a:pt x="76" y="297"/>
                  </a:lnTo>
                  <a:lnTo>
                    <a:pt x="73" y="297"/>
                  </a:lnTo>
                  <a:lnTo>
                    <a:pt x="71" y="297"/>
                  </a:lnTo>
                  <a:lnTo>
                    <a:pt x="71" y="295"/>
                  </a:lnTo>
                  <a:lnTo>
                    <a:pt x="71" y="297"/>
                  </a:lnTo>
                  <a:lnTo>
                    <a:pt x="71" y="295"/>
                  </a:lnTo>
                  <a:lnTo>
                    <a:pt x="71" y="297"/>
                  </a:lnTo>
                  <a:lnTo>
                    <a:pt x="73" y="297"/>
                  </a:lnTo>
                  <a:lnTo>
                    <a:pt x="71" y="297"/>
                  </a:lnTo>
                  <a:lnTo>
                    <a:pt x="69" y="297"/>
                  </a:lnTo>
                  <a:lnTo>
                    <a:pt x="66" y="297"/>
                  </a:lnTo>
                  <a:lnTo>
                    <a:pt x="64" y="297"/>
                  </a:lnTo>
                  <a:lnTo>
                    <a:pt x="66" y="297"/>
                  </a:lnTo>
                  <a:lnTo>
                    <a:pt x="64" y="297"/>
                  </a:lnTo>
                  <a:lnTo>
                    <a:pt x="66" y="297"/>
                  </a:lnTo>
                  <a:lnTo>
                    <a:pt x="64" y="297"/>
                  </a:lnTo>
                  <a:lnTo>
                    <a:pt x="66" y="297"/>
                  </a:lnTo>
                  <a:lnTo>
                    <a:pt x="64" y="297"/>
                  </a:lnTo>
                  <a:lnTo>
                    <a:pt x="66" y="297"/>
                  </a:lnTo>
                  <a:lnTo>
                    <a:pt x="64" y="297"/>
                  </a:lnTo>
                  <a:lnTo>
                    <a:pt x="64" y="299"/>
                  </a:lnTo>
                  <a:lnTo>
                    <a:pt x="64" y="297"/>
                  </a:lnTo>
                  <a:lnTo>
                    <a:pt x="61" y="297"/>
                  </a:lnTo>
                  <a:lnTo>
                    <a:pt x="61" y="295"/>
                  </a:lnTo>
                  <a:lnTo>
                    <a:pt x="61" y="292"/>
                  </a:lnTo>
                  <a:lnTo>
                    <a:pt x="61" y="290"/>
                  </a:lnTo>
                  <a:lnTo>
                    <a:pt x="61" y="288"/>
                  </a:lnTo>
                  <a:lnTo>
                    <a:pt x="61" y="285"/>
                  </a:lnTo>
                  <a:lnTo>
                    <a:pt x="59" y="285"/>
                  </a:lnTo>
                  <a:lnTo>
                    <a:pt x="59" y="283"/>
                  </a:lnTo>
                  <a:lnTo>
                    <a:pt x="59" y="280"/>
                  </a:lnTo>
                  <a:lnTo>
                    <a:pt x="59" y="283"/>
                  </a:lnTo>
                  <a:lnTo>
                    <a:pt x="59" y="280"/>
                  </a:lnTo>
                  <a:lnTo>
                    <a:pt x="59" y="278"/>
                  </a:lnTo>
                  <a:lnTo>
                    <a:pt x="61" y="278"/>
                  </a:lnTo>
                  <a:lnTo>
                    <a:pt x="61" y="276"/>
                  </a:lnTo>
                  <a:lnTo>
                    <a:pt x="61" y="273"/>
                  </a:lnTo>
                  <a:lnTo>
                    <a:pt x="64" y="273"/>
                  </a:lnTo>
                  <a:lnTo>
                    <a:pt x="64" y="271"/>
                  </a:lnTo>
                  <a:lnTo>
                    <a:pt x="66" y="271"/>
                  </a:lnTo>
                  <a:lnTo>
                    <a:pt x="66" y="269"/>
                  </a:lnTo>
                  <a:lnTo>
                    <a:pt x="66" y="266"/>
                  </a:lnTo>
                  <a:lnTo>
                    <a:pt x="69" y="266"/>
                  </a:lnTo>
                  <a:lnTo>
                    <a:pt x="69" y="264"/>
                  </a:lnTo>
                  <a:lnTo>
                    <a:pt x="66" y="264"/>
                  </a:lnTo>
                  <a:lnTo>
                    <a:pt x="69" y="261"/>
                  </a:lnTo>
                  <a:lnTo>
                    <a:pt x="71" y="261"/>
                  </a:lnTo>
                  <a:lnTo>
                    <a:pt x="73" y="259"/>
                  </a:lnTo>
                  <a:lnTo>
                    <a:pt x="73" y="261"/>
                  </a:lnTo>
                  <a:lnTo>
                    <a:pt x="76" y="261"/>
                  </a:lnTo>
                  <a:lnTo>
                    <a:pt x="76" y="259"/>
                  </a:lnTo>
                  <a:lnTo>
                    <a:pt x="76" y="257"/>
                  </a:lnTo>
                  <a:lnTo>
                    <a:pt x="78" y="254"/>
                  </a:lnTo>
                  <a:lnTo>
                    <a:pt x="78" y="252"/>
                  </a:lnTo>
                  <a:lnTo>
                    <a:pt x="76" y="252"/>
                  </a:lnTo>
                  <a:lnTo>
                    <a:pt x="76" y="254"/>
                  </a:lnTo>
                  <a:lnTo>
                    <a:pt x="73" y="254"/>
                  </a:lnTo>
                  <a:lnTo>
                    <a:pt x="71" y="252"/>
                  </a:lnTo>
                  <a:lnTo>
                    <a:pt x="71" y="250"/>
                  </a:lnTo>
                  <a:lnTo>
                    <a:pt x="69" y="247"/>
                  </a:lnTo>
                  <a:lnTo>
                    <a:pt x="69" y="245"/>
                  </a:lnTo>
                  <a:lnTo>
                    <a:pt x="66" y="245"/>
                  </a:lnTo>
                  <a:lnTo>
                    <a:pt x="66" y="242"/>
                  </a:lnTo>
                  <a:lnTo>
                    <a:pt x="66" y="240"/>
                  </a:lnTo>
                  <a:lnTo>
                    <a:pt x="66" y="238"/>
                  </a:lnTo>
                  <a:lnTo>
                    <a:pt x="66" y="235"/>
                  </a:lnTo>
                  <a:lnTo>
                    <a:pt x="69" y="235"/>
                  </a:lnTo>
                  <a:lnTo>
                    <a:pt x="69" y="233"/>
                  </a:lnTo>
                  <a:lnTo>
                    <a:pt x="66" y="233"/>
                  </a:lnTo>
                  <a:lnTo>
                    <a:pt x="66" y="231"/>
                  </a:lnTo>
                  <a:lnTo>
                    <a:pt x="69" y="231"/>
                  </a:lnTo>
                  <a:lnTo>
                    <a:pt x="69" y="228"/>
                  </a:lnTo>
                  <a:lnTo>
                    <a:pt x="71" y="228"/>
                  </a:lnTo>
                  <a:lnTo>
                    <a:pt x="71" y="226"/>
                  </a:lnTo>
                  <a:lnTo>
                    <a:pt x="73" y="226"/>
                  </a:lnTo>
                  <a:lnTo>
                    <a:pt x="73" y="223"/>
                  </a:lnTo>
                  <a:lnTo>
                    <a:pt x="76" y="223"/>
                  </a:lnTo>
                  <a:lnTo>
                    <a:pt x="76" y="221"/>
                  </a:lnTo>
                  <a:lnTo>
                    <a:pt x="73" y="221"/>
                  </a:lnTo>
                  <a:lnTo>
                    <a:pt x="76" y="221"/>
                  </a:lnTo>
                  <a:lnTo>
                    <a:pt x="76" y="219"/>
                  </a:lnTo>
                  <a:lnTo>
                    <a:pt x="78" y="216"/>
                  </a:lnTo>
                  <a:lnTo>
                    <a:pt x="78" y="214"/>
                  </a:lnTo>
                  <a:lnTo>
                    <a:pt x="76" y="214"/>
                  </a:lnTo>
                  <a:lnTo>
                    <a:pt x="76" y="212"/>
                  </a:lnTo>
                  <a:lnTo>
                    <a:pt x="73" y="212"/>
                  </a:lnTo>
                  <a:lnTo>
                    <a:pt x="71" y="212"/>
                  </a:lnTo>
                  <a:lnTo>
                    <a:pt x="71" y="209"/>
                  </a:lnTo>
                  <a:lnTo>
                    <a:pt x="69" y="209"/>
                  </a:lnTo>
                  <a:lnTo>
                    <a:pt x="69" y="207"/>
                  </a:lnTo>
                  <a:lnTo>
                    <a:pt x="69" y="204"/>
                  </a:lnTo>
                  <a:lnTo>
                    <a:pt x="66" y="204"/>
                  </a:lnTo>
                  <a:lnTo>
                    <a:pt x="66" y="202"/>
                  </a:lnTo>
                  <a:lnTo>
                    <a:pt x="66" y="200"/>
                  </a:lnTo>
                  <a:lnTo>
                    <a:pt x="66" y="197"/>
                  </a:lnTo>
                  <a:lnTo>
                    <a:pt x="66" y="195"/>
                  </a:lnTo>
                  <a:lnTo>
                    <a:pt x="64" y="195"/>
                  </a:lnTo>
                  <a:lnTo>
                    <a:pt x="64" y="193"/>
                  </a:lnTo>
                  <a:lnTo>
                    <a:pt x="61" y="193"/>
                  </a:lnTo>
                  <a:lnTo>
                    <a:pt x="61" y="190"/>
                  </a:lnTo>
                  <a:lnTo>
                    <a:pt x="59" y="190"/>
                  </a:lnTo>
                  <a:lnTo>
                    <a:pt x="59" y="188"/>
                  </a:lnTo>
                  <a:lnTo>
                    <a:pt x="61" y="188"/>
                  </a:lnTo>
                  <a:lnTo>
                    <a:pt x="64" y="188"/>
                  </a:lnTo>
                  <a:lnTo>
                    <a:pt x="66" y="188"/>
                  </a:lnTo>
                  <a:lnTo>
                    <a:pt x="69" y="188"/>
                  </a:lnTo>
                  <a:lnTo>
                    <a:pt x="71" y="188"/>
                  </a:lnTo>
                  <a:lnTo>
                    <a:pt x="73" y="188"/>
                  </a:lnTo>
                  <a:lnTo>
                    <a:pt x="76" y="188"/>
                  </a:lnTo>
                  <a:lnTo>
                    <a:pt x="76" y="185"/>
                  </a:lnTo>
                  <a:lnTo>
                    <a:pt x="76" y="183"/>
                  </a:lnTo>
                  <a:lnTo>
                    <a:pt x="76" y="181"/>
                  </a:lnTo>
                  <a:lnTo>
                    <a:pt x="78" y="181"/>
                  </a:lnTo>
                  <a:lnTo>
                    <a:pt x="78" y="178"/>
                  </a:lnTo>
                  <a:lnTo>
                    <a:pt x="78" y="176"/>
                  </a:lnTo>
                  <a:lnTo>
                    <a:pt x="80" y="176"/>
                  </a:lnTo>
                  <a:lnTo>
                    <a:pt x="78" y="176"/>
                  </a:lnTo>
                  <a:lnTo>
                    <a:pt x="80" y="176"/>
                  </a:lnTo>
                  <a:lnTo>
                    <a:pt x="78" y="176"/>
                  </a:lnTo>
                  <a:lnTo>
                    <a:pt x="80" y="176"/>
                  </a:lnTo>
                  <a:lnTo>
                    <a:pt x="80" y="174"/>
                  </a:lnTo>
                  <a:lnTo>
                    <a:pt x="80" y="171"/>
                  </a:lnTo>
                  <a:lnTo>
                    <a:pt x="80" y="169"/>
                  </a:lnTo>
                  <a:lnTo>
                    <a:pt x="78" y="169"/>
                  </a:lnTo>
                  <a:lnTo>
                    <a:pt x="78" y="166"/>
                  </a:lnTo>
                  <a:lnTo>
                    <a:pt x="76" y="166"/>
                  </a:lnTo>
                  <a:lnTo>
                    <a:pt x="76" y="164"/>
                  </a:lnTo>
                  <a:lnTo>
                    <a:pt x="76" y="162"/>
                  </a:lnTo>
                  <a:lnTo>
                    <a:pt x="78" y="162"/>
                  </a:lnTo>
                  <a:lnTo>
                    <a:pt x="80" y="162"/>
                  </a:lnTo>
                  <a:lnTo>
                    <a:pt x="80" y="159"/>
                  </a:lnTo>
                  <a:lnTo>
                    <a:pt x="83" y="157"/>
                  </a:lnTo>
                  <a:lnTo>
                    <a:pt x="83" y="154"/>
                  </a:lnTo>
                  <a:lnTo>
                    <a:pt x="80" y="154"/>
                  </a:lnTo>
                  <a:lnTo>
                    <a:pt x="80" y="152"/>
                  </a:lnTo>
                  <a:lnTo>
                    <a:pt x="80" y="150"/>
                  </a:lnTo>
                  <a:lnTo>
                    <a:pt x="83" y="150"/>
                  </a:lnTo>
                  <a:lnTo>
                    <a:pt x="83" y="147"/>
                  </a:lnTo>
                  <a:lnTo>
                    <a:pt x="80" y="147"/>
                  </a:lnTo>
                  <a:lnTo>
                    <a:pt x="80" y="145"/>
                  </a:lnTo>
                  <a:lnTo>
                    <a:pt x="83" y="145"/>
                  </a:lnTo>
                  <a:lnTo>
                    <a:pt x="83" y="143"/>
                  </a:lnTo>
                  <a:lnTo>
                    <a:pt x="83" y="140"/>
                  </a:lnTo>
                  <a:lnTo>
                    <a:pt x="80" y="140"/>
                  </a:lnTo>
                  <a:lnTo>
                    <a:pt x="80" y="138"/>
                  </a:lnTo>
                  <a:lnTo>
                    <a:pt x="83" y="138"/>
                  </a:lnTo>
                  <a:lnTo>
                    <a:pt x="80" y="138"/>
                  </a:lnTo>
                  <a:lnTo>
                    <a:pt x="80" y="135"/>
                  </a:lnTo>
                  <a:lnTo>
                    <a:pt x="83" y="135"/>
                  </a:lnTo>
                  <a:lnTo>
                    <a:pt x="83" y="133"/>
                  </a:lnTo>
                  <a:lnTo>
                    <a:pt x="80" y="133"/>
                  </a:lnTo>
                  <a:lnTo>
                    <a:pt x="80" y="131"/>
                  </a:lnTo>
                  <a:lnTo>
                    <a:pt x="80" y="128"/>
                  </a:lnTo>
                  <a:lnTo>
                    <a:pt x="78" y="128"/>
                  </a:lnTo>
                  <a:lnTo>
                    <a:pt x="78" y="126"/>
                  </a:lnTo>
                  <a:lnTo>
                    <a:pt x="80" y="126"/>
                  </a:lnTo>
                  <a:lnTo>
                    <a:pt x="83" y="126"/>
                  </a:lnTo>
                  <a:lnTo>
                    <a:pt x="83" y="124"/>
                  </a:lnTo>
                  <a:lnTo>
                    <a:pt x="83" y="121"/>
                  </a:lnTo>
                  <a:lnTo>
                    <a:pt x="85" y="121"/>
                  </a:lnTo>
                  <a:lnTo>
                    <a:pt x="83" y="121"/>
                  </a:lnTo>
                  <a:lnTo>
                    <a:pt x="85" y="121"/>
                  </a:lnTo>
                  <a:lnTo>
                    <a:pt x="85" y="119"/>
                  </a:lnTo>
                  <a:lnTo>
                    <a:pt x="85" y="116"/>
                  </a:lnTo>
                  <a:lnTo>
                    <a:pt x="88" y="116"/>
                  </a:lnTo>
                  <a:lnTo>
                    <a:pt x="90" y="116"/>
                  </a:lnTo>
                  <a:lnTo>
                    <a:pt x="90" y="114"/>
                  </a:lnTo>
                  <a:lnTo>
                    <a:pt x="92" y="114"/>
                  </a:lnTo>
                  <a:lnTo>
                    <a:pt x="95" y="114"/>
                  </a:lnTo>
                  <a:lnTo>
                    <a:pt x="95" y="112"/>
                  </a:lnTo>
                  <a:lnTo>
                    <a:pt x="97" y="112"/>
                  </a:lnTo>
                  <a:lnTo>
                    <a:pt x="97" y="109"/>
                  </a:lnTo>
                  <a:lnTo>
                    <a:pt x="99" y="109"/>
                  </a:lnTo>
                  <a:lnTo>
                    <a:pt x="97" y="109"/>
                  </a:lnTo>
                  <a:lnTo>
                    <a:pt x="97" y="107"/>
                  </a:lnTo>
                  <a:lnTo>
                    <a:pt x="99" y="107"/>
                  </a:lnTo>
                  <a:lnTo>
                    <a:pt x="99" y="105"/>
                  </a:lnTo>
                  <a:lnTo>
                    <a:pt x="102" y="105"/>
                  </a:lnTo>
                  <a:lnTo>
                    <a:pt x="99" y="105"/>
                  </a:lnTo>
                  <a:lnTo>
                    <a:pt x="102" y="105"/>
                  </a:lnTo>
                  <a:lnTo>
                    <a:pt x="102" y="102"/>
                  </a:lnTo>
                  <a:lnTo>
                    <a:pt x="102" y="100"/>
                  </a:lnTo>
                  <a:lnTo>
                    <a:pt x="99" y="97"/>
                  </a:lnTo>
                  <a:lnTo>
                    <a:pt x="97" y="95"/>
                  </a:lnTo>
                  <a:lnTo>
                    <a:pt x="95" y="95"/>
                  </a:lnTo>
                  <a:lnTo>
                    <a:pt x="92" y="97"/>
                  </a:lnTo>
                  <a:lnTo>
                    <a:pt x="90" y="95"/>
                  </a:lnTo>
                  <a:lnTo>
                    <a:pt x="90" y="93"/>
                  </a:lnTo>
                  <a:lnTo>
                    <a:pt x="90" y="90"/>
                  </a:lnTo>
                  <a:lnTo>
                    <a:pt x="92" y="90"/>
                  </a:lnTo>
                  <a:lnTo>
                    <a:pt x="90" y="90"/>
                  </a:lnTo>
                  <a:lnTo>
                    <a:pt x="92" y="90"/>
                  </a:lnTo>
                  <a:lnTo>
                    <a:pt x="92" y="88"/>
                  </a:lnTo>
                  <a:lnTo>
                    <a:pt x="90" y="88"/>
                  </a:lnTo>
                  <a:lnTo>
                    <a:pt x="90" y="86"/>
                  </a:lnTo>
                  <a:lnTo>
                    <a:pt x="90" y="83"/>
                  </a:lnTo>
                  <a:lnTo>
                    <a:pt x="88" y="83"/>
                  </a:lnTo>
                  <a:lnTo>
                    <a:pt x="85" y="86"/>
                  </a:lnTo>
                  <a:lnTo>
                    <a:pt x="85" y="83"/>
                  </a:lnTo>
                  <a:lnTo>
                    <a:pt x="83" y="83"/>
                  </a:lnTo>
                  <a:lnTo>
                    <a:pt x="83" y="81"/>
                  </a:lnTo>
                  <a:lnTo>
                    <a:pt x="83" y="83"/>
                  </a:lnTo>
                  <a:lnTo>
                    <a:pt x="80" y="83"/>
                  </a:lnTo>
                  <a:lnTo>
                    <a:pt x="78" y="83"/>
                  </a:lnTo>
                  <a:lnTo>
                    <a:pt x="76" y="83"/>
                  </a:lnTo>
                  <a:lnTo>
                    <a:pt x="73" y="83"/>
                  </a:lnTo>
                  <a:lnTo>
                    <a:pt x="71" y="81"/>
                  </a:lnTo>
                  <a:lnTo>
                    <a:pt x="71" y="83"/>
                  </a:lnTo>
                  <a:lnTo>
                    <a:pt x="71" y="86"/>
                  </a:lnTo>
                  <a:lnTo>
                    <a:pt x="69" y="86"/>
                  </a:lnTo>
                  <a:lnTo>
                    <a:pt x="69" y="88"/>
                  </a:lnTo>
                  <a:lnTo>
                    <a:pt x="66" y="88"/>
                  </a:lnTo>
                  <a:lnTo>
                    <a:pt x="64" y="88"/>
                  </a:lnTo>
                  <a:lnTo>
                    <a:pt x="61" y="90"/>
                  </a:lnTo>
                  <a:lnTo>
                    <a:pt x="61" y="88"/>
                  </a:lnTo>
                  <a:lnTo>
                    <a:pt x="59" y="88"/>
                  </a:lnTo>
                  <a:lnTo>
                    <a:pt x="57" y="88"/>
                  </a:lnTo>
                  <a:lnTo>
                    <a:pt x="57" y="86"/>
                  </a:lnTo>
                  <a:lnTo>
                    <a:pt x="54" y="88"/>
                  </a:lnTo>
                  <a:lnTo>
                    <a:pt x="54" y="86"/>
                  </a:lnTo>
                  <a:lnTo>
                    <a:pt x="52" y="86"/>
                  </a:lnTo>
                  <a:lnTo>
                    <a:pt x="50" y="86"/>
                  </a:lnTo>
                  <a:lnTo>
                    <a:pt x="47" y="88"/>
                  </a:lnTo>
                  <a:lnTo>
                    <a:pt x="47" y="86"/>
                  </a:lnTo>
                  <a:lnTo>
                    <a:pt x="45" y="86"/>
                  </a:lnTo>
                  <a:lnTo>
                    <a:pt x="45" y="88"/>
                  </a:lnTo>
                  <a:lnTo>
                    <a:pt x="42" y="88"/>
                  </a:lnTo>
                  <a:lnTo>
                    <a:pt x="42" y="90"/>
                  </a:lnTo>
                  <a:lnTo>
                    <a:pt x="40" y="90"/>
                  </a:lnTo>
                  <a:lnTo>
                    <a:pt x="38" y="90"/>
                  </a:lnTo>
                  <a:lnTo>
                    <a:pt x="38" y="88"/>
                  </a:lnTo>
                  <a:lnTo>
                    <a:pt x="35" y="88"/>
                  </a:lnTo>
                  <a:lnTo>
                    <a:pt x="35" y="86"/>
                  </a:lnTo>
                  <a:lnTo>
                    <a:pt x="35" y="83"/>
                  </a:lnTo>
                  <a:lnTo>
                    <a:pt x="38" y="83"/>
                  </a:lnTo>
                  <a:lnTo>
                    <a:pt x="38" y="81"/>
                  </a:lnTo>
                  <a:lnTo>
                    <a:pt x="40" y="81"/>
                  </a:lnTo>
                  <a:lnTo>
                    <a:pt x="40" y="78"/>
                  </a:lnTo>
                  <a:lnTo>
                    <a:pt x="38" y="78"/>
                  </a:lnTo>
                  <a:lnTo>
                    <a:pt x="38" y="76"/>
                  </a:lnTo>
                  <a:lnTo>
                    <a:pt x="35" y="74"/>
                  </a:lnTo>
                  <a:lnTo>
                    <a:pt x="35" y="76"/>
                  </a:lnTo>
                  <a:lnTo>
                    <a:pt x="33" y="76"/>
                  </a:lnTo>
                  <a:lnTo>
                    <a:pt x="33" y="78"/>
                  </a:lnTo>
                  <a:lnTo>
                    <a:pt x="31" y="78"/>
                  </a:lnTo>
                  <a:lnTo>
                    <a:pt x="31" y="76"/>
                  </a:lnTo>
                  <a:lnTo>
                    <a:pt x="31" y="78"/>
                  </a:lnTo>
                  <a:lnTo>
                    <a:pt x="28" y="78"/>
                  </a:lnTo>
                  <a:lnTo>
                    <a:pt x="26" y="78"/>
                  </a:lnTo>
                  <a:lnTo>
                    <a:pt x="23" y="78"/>
                  </a:lnTo>
                  <a:lnTo>
                    <a:pt x="21" y="78"/>
                  </a:lnTo>
                  <a:lnTo>
                    <a:pt x="21" y="81"/>
                  </a:lnTo>
                  <a:lnTo>
                    <a:pt x="19" y="83"/>
                  </a:lnTo>
                  <a:lnTo>
                    <a:pt x="16" y="86"/>
                  </a:lnTo>
                  <a:lnTo>
                    <a:pt x="14" y="86"/>
                  </a:lnTo>
                  <a:lnTo>
                    <a:pt x="16" y="86"/>
                  </a:lnTo>
                  <a:lnTo>
                    <a:pt x="14" y="86"/>
                  </a:lnTo>
                  <a:lnTo>
                    <a:pt x="14" y="88"/>
                  </a:lnTo>
                  <a:lnTo>
                    <a:pt x="14" y="86"/>
                  </a:lnTo>
                  <a:lnTo>
                    <a:pt x="14" y="83"/>
                  </a:lnTo>
                  <a:lnTo>
                    <a:pt x="14" y="81"/>
                  </a:lnTo>
                  <a:lnTo>
                    <a:pt x="14" y="78"/>
                  </a:lnTo>
                  <a:lnTo>
                    <a:pt x="14" y="76"/>
                  </a:lnTo>
                  <a:lnTo>
                    <a:pt x="16" y="76"/>
                  </a:lnTo>
                  <a:lnTo>
                    <a:pt x="16" y="74"/>
                  </a:lnTo>
                  <a:lnTo>
                    <a:pt x="14" y="74"/>
                  </a:lnTo>
                  <a:lnTo>
                    <a:pt x="16" y="74"/>
                  </a:lnTo>
                  <a:lnTo>
                    <a:pt x="16" y="71"/>
                  </a:lnTo>
                  <a:lnTo>
                    <a:pt x="19" y="71"/>
                  </a:lnTo>
                  <a:lnTo>
                    <a:pt x="19" y="69"/>
                  </a:lnTo>
                  <a:lnTo>
                    <a:pt x="21" y="69"/>
                  </a:lnTo>
                  <a:lnTo>
                    <a:pt x="23" y="69"/>
                  </a:lnTo>
                  <a:lnTo>
                    <a:pt x="23" y="67"/>
                  </a:lnTo>
                  <a:lnTo>
                    <a:pt x="23" y="64"/>
                  </a:lnTo>
                  <a:lnTo>
                    <a:pt x="23" y="67"/>
                  </a:lnTo>
                  <a:lnTo>
                    <a:pt x="21" y="64"/>
                  </a:lnTo>
                  <a:lnTo>
                    <a:pt x="21" y="67"/>
                  </a:lnTo>
                  <a:lnTo>
                    <a:pt x="21" y="69"/>
                  </a:lnTo>
                  <a:lnTo>
                    <a:pt x="19" y="69"/>
                  </a:lnTo>
                  <a:lnTo>
                    <a:pt x="16" y="69"/>
                  </a:lnTo>
                  <a:lnTo>
                    <a:pt x="14" y="69"/>
                  </a:lnTo>
                  <a:lnTo>
                    <a:pt x="14" y="67"/>
                  </a:lnTo>
                  <a:lnTo>
                    <a:pt x="14" y="69"/>
                  </a:lnTo>
                  <a:lnTo>
                    <a:pt x="16" y="69"/>
                  </a:lnTo>
                  <a:lnTo>
                    <a:pt x="16" y="67"/>
                  </a:lnTo>
                  <a:lnTo>
                    <a:pt x="19" y="67"/>
                  </a:lnTo>
                  <a:lnTo>
                    <a:pt x="19" y="64"/>
                  </a:lnTo>
                  <a:lnTo>
                    <a:pt x="21" y="64"/>
                  </a:lnTo>
                  <a:lnTo>
                    <a:pt x="21" y="62"/>
                  </a:lnTo>
                  <a:lnTo>
                    <a:pt x="21" y="64"/>
                  </a:lnTo>
                  <a:lnTo>
                    <a:pt x="19" y="62"/>
                  </a:lnTo>
                  <a:lnTo>
                    <a:pt x="21" y="62"/>
                  </a:lnTo>
                  <a:lnTo>
                    <a:pt x="19" y="62"/>
                  </a:lnTo>
                  <a:lnTo>
                    <a:pt x="19" y="64"/>
                  </a:lnTo>
                  <a:lnTo>
                    <a:pt x="16" y="64"/>
                  </a:lnTo>
                  <a:lnTo>
                    <a:pt x="16" y="62"/>
                  </a:lnTo>
                  <a:lnTo>
                    <a:pt x="16" y="64"/>
                  </a:lnTo>
                  <a:lnTo>
                    <a:pt x="16" y="62"/>
                  </a:lnTo>
                  <a:lnTo>
                    <a:pt x="16" y="64"/>
                  </a:lnTo>
                  <a:lnTo>
                    <a:pt x="14" y="64"/>
                  </a:lnTo>
                  <a:lnTo>
                    <a:pt x="16" y="64"/>
                  </a:lnTo>
                  <a:lnTo>
                    <a:pt x="14" y="64"/>
                  </a:lnTo>
                  <a:lnTo>
                    <a:pt x="14" y="62"/>
                  </a:lnTo>
                  <a:lnTo>
                    <a:pt x="14" y="59"/>
                  </a:lnTo>
                  <a:lnTo>
                    <a:pt x="12" y="59"/>
                  </a:lnTo>
                  <a:lnTo>
                    <a:pt x="12" y="62"/>
                  </a:lnTo>
                  <a:lnTo>
                    <a:pt x="12" y="59"/>
                  </a:lnTo>
                  <a:lnTo>
                    <a:pt x="14" y="59"/>
                  </a:lnTo>
                  <a:lnTo>
                    <a:pt x="14" y="62"/>
                  </a:lnTo>
                  <a:lnTo>
                    <a:pt x="14" y="59"/>
                  </a:lnTo>
                  <a:lnTo>
                    <a:pt x="16" y="59"/>
                  </a:lnTo>
                  <a:lnTo>
                    <a:pt x="16" y="57"/>
                  </a:lnTo>
                  <a:lnTo>
                    <a:pt x="16" y="55"/>
                  </a:lnTo>
                  <a:lnTo>
                    <a:pt x="16" y="57"/>
                  </a:lnTo>
                  <a:lnTo>
                    <a:pt x="16" y="55"/>
                  </a:lnTo>
                  <a:lnTo>
                    <a:pt x="16" y="57"/>
                  </a:lnTo>
                  <a:lnTo>
                    <a:pt x="16" y="55"/>
                  </a:lnTo>
                  <a:lnTo>
                    <a:pt x="19" y="55"/>
                  </a:lnTo>
                  <a:lnTo>
                    <a:pt x="16" y="55"/>
                  </a:lnTo>
                  <a:lnTo>
                    <a:pt x="19" y="55"/>
                  </a:lnTo>
                  <a:lnTo>
                    <a:pt x="16" y="52"/>
                  </a:lnTo>
                  <a:lnTo>
                    <a:pt x="19" y="52"/>
                  </a:lnTo>
                  <a:lnTo>
                    <a:pt x="19" y="50"/>
                  </a:lnTo>
                  <a:lnTo>
                    <a:pt x="21" y="50"/>
                  </a:lnTo>
                  <a:lnTo>
                    <a:pt x="21" y="48"/>
                  </a:lnTo>
                  <a:lnTo>
                    <a:pt x="21" y="50"/>
                  </a:lnTo>
                  <a:lnTo>
                    <a:pt x="19" y="50"/>
                  </a:lnTo>
                  <a:lnTo>
                    <a:pt x="19" y="52"/>
                  </a:lnTo>
                  <a:lnTo>
                    <a:pt x="16" y="52"/>
                  </a:lnTo>
                  <a:lnTo>
                    <a:pt x="16" y="50"/>
                  </a:lnTo>
                  <a:lnTo>
                    <a:pt x="14" y="50"/>
                  </a:lnTo>
                  <a:lnTo>
                    <a:pt x="16" y="50"/>
                  </a:lnTo>
                  <a:lnTo>
                    <a:pt x="14" y="50"/>
                  </a:lnTo>
                  <a:lnTo>
                    <a:pt x="14" y="52"/>
                  </a:lnTo>
                  <a:lnTo>
                    <a:pt x="16" y="52"/>
                  </a:lnTo>
                  <a:lnTo>
                    <a:pt x="14" y="52"/>
                  </a:lnTo>
                  <a:lnTo>
                    <a:pt x="14" y="55"/>
                  </a:lnTo>
                  <a:lnTo>
                    <a:pt x="14" y="52"/>
                  </a:lnTo>
                  <a:lnTo>
                    <a:pt x="12" y="52"/>
                  </a:lnTo>
                  <a:lnTo>
                    <a:pt x="12" y="55"/>
                  </a:lnTo>
                  <a:lnTo>
                    <a:pt x="12" y="52"/>
                  </a:lnTo>
                  <a:lnTo>
                    <a:pt x="12" y="55"/>
                  </a:lnTo>
                  <a:lnTo>
                    <a:pt x="9" y="55"/>
                  </a:lnTo>
                  <a:lnTo>
                    <a:pt x="9" y="57"/>
                  </a:lnTo>
                  <a:lnTo>
                    <a:pt x="12" y="57"/>
                  </a:lnTo>
                  <a:lnTo>
                    <a:pt x="9" y="57"/>
                  </a:lnTo>
                  <a:lnTo>
                    <a:pt x="9" y="55"/>
                  </a:lnTo>
                  <a:lnTo>
                    <a:pt x="7" y="55"/>
                  </a:lnTo>
                  <a:lnTo>
                    <a:pt x="7" y="52"/>
                  </a:lnTo>
                  <a:lnTo>
                    <a:pt x="9" y="52"/>
                  </a:lnTo>
                  <a:lnTo>
                    <a:pt x="9" y="50"/>
                  </a:lnTo>
                  <a:lnTo>
                    <a:pt x="9" y="48"/>
                  </a:lnTo>
                  <a:lnTo>
                    <a:pt x="9" y="50"/>
                  </a:lnTo>
                  <a:lnTo>
                    <a:pt x="9" y="48"/>
                  </a:lnTo>
                  <a:lnTo>
                    <a:pt x="12" y="48"/>
                  </a:lnTo>
                  <a:lnTo>
                    <a:pt x="12" y="45"/>
                  </a:lnTo>
                  <a:lnTo>
                    <a:pt x="14" y="45"/>
                  </a:lnTo>
                  <a:lnTo>
                    <a:pt x="14" y="43"/>
                  </a:lnTo>
                  <a:lnTo>
                    <a:pt x="14" y="45"/>
                  </a:lnTo>
                  <a:lnTo>
                    <a:pt x="14" y="43"/>
                  </a:lnTo>
                  <a:lnTo>
                    <a:pt x="14" y="45"/>
                  </a:lnTo>
                  <a:lnTo>
                    <a:pt x="12" y="45"/>
                  </a:lnTo>
                  <a:lnTo>
                    <a:pt x="9" y="45"/>
                  </a:lnTo>
                  <a:lnTo>
                    <a:pt x="7" y="45"/>
                  </a:lnTo>
                  <a:lnTo>
                    <a:pt x="9" y="45"/>
                  </a:lnTo>
                  <a:lnTo>
                    <a:pt x="7" y="48"/>
                  </a:lnTo>
                  <a:lnTo>
                    <a:pt x="7" y="45"/>
                  </a:lnTo>
                  <a:lnTo>
                    <a:pt x="4" y="45"/>
                  </a:lnTo>
                  <a:lnTo>
                    <a:pt x="7" y="45"/>
                  </a:lnTo>
                  <a:lnTo>
                    <a:pt x="4" y="45"/>
                  </a:lnTo>
                  <a:lnTo>
                    <a:pt x="7" y="45"/>
                  </a:lnTo>
                  <a:lnTo>
                    <a:pt x="7" y="43"/>
                  </a:lnTo>
                  <a:lnTo>
                    <a:pt x="4" y="43"/>
                  </a:lnTo>
                  <a:lnTo>
                    <a:pt x="4" y="40"/>
                  </a:lnTo>
                  <a:lnTo>
                    <a:pt x="7" y="40"/>
                  </a:lnTo>
                  <a:lnTo>
                    <a:pt x="4" y="40"/>
                  </a:lnTo>
                  <a:lnTo>
                    <a:pt x="4" y="38"/>
                  </a:lnTo>
                  <a:lnTo>
                    <a:pt x="4" y="40"/>
                  </a:lnTo>
                  <a:lnTo>
                    <a:pt x="4" y="38"/>
                  </a:lnTo>
                  <a:lnTo>
                    <a:pt x="2" y="38"/>
                  </a:lnTo>
                  <a:lnTo>
                    <a:pt x="2" y="40"/>
                  </a:lnTo>
                  <a:lnTo>
                    <a:pt x="2" y="38"/>
                  </a:lnTo>
                  <a:lnTo>
                    <a:pt x="2" y="40"/>
                  </a:lnTo>
                  <a:lnTo>
                    <a:pt x="0" y="40"/>
                  </a:lnTo>
                  <a:lnTo>
                    <a:pt x="0" y="38"/>
                  </a:lnTo>
                  <a:lnTo>
                    <a:pt x="2" y="38"/>
                  </a:lnTo>
                  <a:lnTo>
                    <a:pt x="2" y="36"/>
                  </a:lnTo>
                  <a:lnTo>
                    <a:pt x="0" y="36"/>
                  </a:lnTo>
                  <a:lnTo>
                    <a:pt x="0" y="33"/>
                  </a:lnTo>
                  <a:lnTo>
                    <a:pt x="2" y="33"/>
                  </a:lnTo>
                  <a:lnTo>
                    <a:pt x="2" y="31"/>
                  </a:lnTo>
                  <a:lnTo>
                    <a:pt x="4" y="31"/>
                  </a:lnTo>
                  <a:lnTo>
                    <a:pt x="4" y="29"/>
                  </a:lnTo>
                  <a:lnTo>
                    <a:pt x="4" y="31"/>
                  </a:lnTo>
                  <a:lnTo>
                    <a:pt x="4" y="29"/>
                  </a:lnTo>
                  <a:lnTo>
                    <a:pt x="4" y="31"/>
                  </a:lnTo>
                  <a:lnTo>
                    <a:pt x="4" y="29"/>
                  </a:lnTo>
                  <a:lnTo>
                    <a:pt x="2" y="29"/>
                  </a:lnTo>
                  <a:lnTo>
                    <a:pt x="4" y="29"/>
                  </a:lnTo>
                  <a:lnTo>
                    <a:pt x="4" y="26"/>
                  </a:lnTo>
                  <a:lnTo>
                    <a:pt x="7" y="26"/>
                  </a:lnTo>
                  <a:lnTo>
                    <a:pt x="9" y="26"/>
                  </a:lnTo>
                  <a:lnTo>
                    <a:pt x="9" y="24"/>
                  </a:lnTo>
                  <a:lnTo>
                    <a:pt x="9" y="26"/>
                  </a:lnTo>
                  <a:lnTo>
                    <a:pt x="12" y="24"/>
                  </a:lnTo>
                  <a:lnTo>
                    <a:pt x="12" y="26"/>
                  </a:lnTo>
                  <a:lnTo>
                    <a:pt x="12" y="24"/>
                  </a:lnTo>
                  <a:lnTo>
                    <a:pt x="12" y="26"/>
                  </a:lnTo>
                  <a:lnTo>
                    <a:pt x="12" y="24"/>
                  </a:lnTo>
                  <a:lnTo>
                    <a:pt x="14" y="24"/>
                  </a:lnTo>
                  <a:lnTo>
                    <a:pt x="12" y="24"/>
                  </a:lnTo>
                  <a:lnTo>
                    <a:pt x="12" y="26"/>
                  </a:lnTo>
                  <a:lnTo>
                    <a:pt x="12" y="24"/>
                  </a:lnTo>
                  <a:lnTo>
                    <a:pt x="9" y="24"/>
                  </a:lnTo>
                  <a:lnTo>
                    <a:pt x="12" y="21"/>
                  </a:lnTo>
                  <a:lnTo>
                    <a:pt x="14" y="21"/>
                  </a:lnTo>
                  <a:lnTo>
                    <a:pt x="14" y="19"/>
                  </a:lnTo>
                  <a:lnTo>
                    <a:pt x="16" y="19"/>
                  </a:lnTo>
                  <a:lnTo>
                    <a:pt x="16" y="21"/>
                  </a:lnTo>
                  <a:lnTo>
                    <a:pt x="19" y="21"/>
                  </a:lnTo>
                  <a:lnTo>
                    <a:pt x="21" y="21"/>
                  </a:lnTo>
                  <a:lnTo>
                    <a:pt x="23" y="21"/>
                  </a:lnTo>
                  <a:lnTo>
                    <a:pt x="26" y="21"/>
                  </a:lnTo>
                  <a:lnTo>
                    <a:pt x="26" y="19"/>
                  </a:lnTo>
                  <a:lnTo>
                    <a:pt x="28" y="19"/>
                  </a:lnTo>
                  <a:lnTo>
                    <a:pt x="28" y="17"/>
                  </a:lnTo>
                  <a:lnTo>
                    <a:pt x="28" y="19"/>
                  </a:lnTo>
                  <a:lnTo>
                    <a:pt x="31" y="19"/>
                  </a:lnTo>
                  <a:lnTo>
                    <a:pt x="28" y="19"/>
                  </a:lnTo>
                  <a:lnTo>
                    <a:pt x="28" y="17"/>
                  </a:lnTo>
                  <a:lnTo>
                    <a:pt x="31" y="17"/>
                  </a:lnTo>
                  <a:lnTo>
                    <a:pt x="31" y="19"/>
                  </a:lnTo>
                  <a:lnTo>
                    <a:pt x="31" y="21"/>
                  </a:lnTo>
                  <a:lnTo>
                    <a:pt x="31" y="19"/>
                  </a:lnTo>
                  <a:lnTo>
                    <a:pt x="33" y="19"/>
                  </a:lnTo>
                  <a:lnTo>
                    <a:pt x="31" y="17"/>
                  </a:lnTo>
                  <a:lnTo>
                    <a:pt x="31" y="19"/>
                  </a:lnTo>
                  <a:lnTo>
                    <a:pt x="31" y="17"/>
                  </a:lnTo>
                  <a:lnTo>
                    <a:pt x="33" y="17"/>
                  </a:lnTo>
                  <a:lnTo>
                    <a:pt x="35" y="17"/>
                  </a:lnTo>
                  <a:lnTo>
                    <a:pt x="35" y="19"/>
                  </a:lnTo>
                  <a:lnTo>
                    <a:pt x="35" y="21"/>
                  </a:lnTo>
                  <a:lnTo>
                    <a:pt x="35" y="19"/>
                  </a:lnTo>
                  <a:lnTo>
                    <a:pt x="35" y="17"/>
                  </a:lnTo>
                  <a:lnTo>
                    <a:pt x="38" y="17"/>
                  </a:lnTo>
                  <a:lnTo>
                    <a:pt x="35" y="17"/>
                  </a:lnTo>
                  <a:lnTo>
                    <a:pt x="33" y="17"/>
                  </a:lnTo>
                  <a:lnTo>
                    <a:pt x="33" y="14"/>
                  </a:lnTo>
                  <a:lnTo>
                    <a:pt x="35" y="14"/>
                  </a:lnTo>
                  <a:lnTo>
                    <a:pt x="38" y="14"/>
                  </a:lnTo>
                  <a:lnTo>
                    <a:pt x="38" y="12"/>
                  </a:lnTo>
                  <a:lnTo>
                    <a:pt x="35" y="12"/>
                  </a:lnTo>
                  <a:lnTo>
                    <a:pt x="38" y="12"/>
                  </a:lnTo>
                  <a:lnTo>
                    <a:pt x="38" y="14"/>
                  </a:lnTo>
                  <a:lnTo>
                    <a:pt x="35" y="14"/>
                  </a:lnTo>
                  <a:lnTo>
                    <a:pt x="35" y="12"/>
                  </a:lnTo>
                  <a:lnTo>
                    <a:pt x="35" y="14"/>
                  </a:lnTo>
                  <a:lnTo>
                    <a:pt x="35" y="12"/>
                  </a:lnTo>
                  <a:lnTo>
                    <a:pt x="35" y="14"/>
                  </a:lnTo>
                  <a:lnTo>
                    <a:pt x="33" y="14"/>
                  </a:lnTo>
                  <a:lnTo>
                    <a:pt x="31" y="14"/>
                  </a:lnTo>
                  <a:lnTo>
                    <a:pt x="33" y="14"/>
                  </a:lnTo>
                  <a:lnTo>
                    <a:pt x="33" y="12"/>
                  </a:lnTo>
                  <a:lnTo>
                    <a:pt x="33" y="10"/>
                  </a:lnTo>
                  <a:lnTo>
                    <a:pt x="35" y="10"/>
                  </a:lnTo>
                  <a:lnTo>
                    <a:pt x="35" y="7"/>
                  </a:lnTo>
                  <a:lnTo>
                    <a:pt x="38" y="7"/>
                  </a:lnTo>
                  <a:lnTo>
                    <a:pt x="35" y="7"/>
                  </a:lnTo>
                  <a:lnTo>
                    <a:pt x="38" y="7"/>
                  </a:lnTo>
                  <a:lnTo>
                    <a:pt x="40" y="5"/>
                  </a:lnTo>
                  <a:lnTo>
                    <a:pt x="40" y="7"/>
                  </a:lnTo>
                  <a:lnTo>
                    <a:pt x="40" y="5"/>
                  </a:lnTo>
                  <a:lnTo>
                    <a:pt x="40" y="7"/>
                  </a:lnTo>
                  <a:lnTo>
                    <a:pt x="42" y="7"/>
                  </a:lnTo>
                  <a:lnTo>
                    <a:pt x="40" y="7"/>
                  </a:lnTo>
                  <a:lnTo>
                    <a:pt x="40" y="5"/>
                  </a:lnTo>
                  <a:lnTo>
                    <a:pt x="42" y="5"/>
                  </a:lnTo>
                  <a:lnTo>
                    <a:pt x="40" y="5"/>
                  </a:lnTo>
                  <a:lnTo>
                    <a:pt x="40" y="2"/>
                  </a:lnTo>
                  <a:lnTo>
                    <a:pt x="42" y="2"/>
                  </a:lnTo>
                  <a:lnTo>
                    <a:pt x="45" y="2"/>
                  </a:lnTo>
                  <a:lnTo>
                    <a:pt x="45" y="0"/>
                  </a:lnTo>
                  <a:lnTo>
                    <a:pt x="45" y="2"/>
                  </a:lnTo>
                  <a:lnTo>
                    <a:pt x="45" y="0"/>
                  </a:lnTo>
                  <a:lnTo>
                    <a:pt x="47" y="0"/>
                  </a:lnTo>
                  <a:lnTo>
                    <a:pt x="47" y="2"/>
                  </a:lnTo>
                  <a:lnTo>
                    <a:pt x="47" y="5"/>
                  </a:lnTo>
                  <a:lnTo>
                    <a:pt x="47" y="2"/>
                  </a:lnTo>
                  <a:lnTo>
                    <a:pt x="47" y="5"/>
                  </a:lnTo>
                  <a:lnTo>
                    <a:pt x="47" y="2"/>
                  </a:lnTo>
                  <a:lnTo>
                    <a:pt x="50" y="2"/>
                  </a:lnTo>
                  <a:lnTo>
                    <a:pt x="47" y="2"/>
                  </a:lnTo>
                  <a:lnTo>
                    <a:pt x="50" y="2"/>
                  </a:lnTo>
                  <a:lnTo>
                    <a:pt x="52" y="2"/>
                  </a:lnTo>
                  <a:lnTo>
                    <a:pt x="52" y="0"/>
                  </a:lnTo>
                  <a:lnTo>
                    <a:pt x="54" y="0"/>
                  </a:lnTo>
                  <a:lnTo>
                    <a:pt x="52" y="2"/>
                  </a:lnTo>
                  <a:lnTo>
                    <a:pt x="54" y="2"/>
                  </a:lnTo>
                  <a:lnTo>
                    <a:pt x="52" y="2"/>
                  </a:lnTo>
                  <a:lnTo>
                    <a:pt x="54" y="2"/>
                  </a:lnTo>
                  <a:lnTo>
                    <a:pt x="54" y="0"/>
                  </a:lnTo>
                  <a:lnTo>
                    <a:pt x="54" y="2"/>
                  </a:lnTo>
                  <a:lnTo>
                    <a:pt x="57" y="2"/>
                  </a:lnTo>
                  <a:lnTo>
                    <a:pt x="57" y="5"/>
                  </a:lnTo>
                  <a:lnTo>
                    <a:pt x="57" y="2"/>
                  </a:lnTo>
                  <a:lnTo>
                    <a:pt x="59" y="2"/>
                  </a:lnTo>
                  <a:lnTo>
                    <a:pt x="61" y="2"/>
                  </a:lnTo>
                  <a:lnTo>
                    <a:pt x="59" y="2"/>
                  </a:lnTo>
                  <a:lnTo>
                    <a:pt x="61" y="2"/>
                  </a:lnTo>
                  <a:lnTo>
                    <a:pt x="61" y="5"/>
                  </a:lnTo>
                  <a:lnTo>
                    <a:pt x="64" y="5"/>
                  </a:lnTo>
                  <a:lnTo>
                    <a:pt x="61" y="5"/>
                  </a:lnTo>
                  <a:lnTo>
                    <a:pt x="64" y="5"/>
                  </a:lnTo>
                  <a:lnTo>
                    <a:pt x="64" y="7"/>
                  </a:lnTo>
                  <a:lnTo>
                    <a:pt x="66" y="7"/>
                  </a:lnTo>
                  <a:lnTo>
                    <a:pt x="64" y="7"/>
                  </a:lnTo>
                  <a:lnTo>
                    <a:pt x="66" y="7"/>
                  </a:lnTo>
                  <a:lnTo>
                    <a:pt x="66" y="10"/>
                  </a:lnTo>
                  <a:lnTo>
                    <a:pt x="69" y="10"/>
                  </a:lnTo>
                  <a:lnTo>
                    <a:pt x="66" y="10"/>
                  </a:lnTo>
                  <a:lnTo>
                    <a:pt x="69" y="10"/>
                  </a:lnTo>
                  <a:lnTo>
                    <a:pt x="66" y="10"/>
                  </a:lnTo>
                  <a:lnTo>
                    <a:pt x="69" y="10"/>
                  </a:lnTo>
                  <a:lnTo>
                    <a:pt x="71" y="10"/>
                  </a:lnTo>
                  <a:lnTo>
                    <a:pt x="73" y="10"/>
                  </a:lnTo>
                  <a:lnTo>
                    <a:pt x="76" y="10"/>
                  </a:lnTo>
                  <a:lnTo>
                    <a:pt x="76" y="12"/>
                  </a:lnTo>
                  <a:lnTo>
                    <a:pt x="73" y="12"/>
                  </a:lnTo>
                  <a:lnTo>
                    <a:pt x="73" y="14"/>
                  </a:lnTo>
                  <a:lnTo>
                    <a:pt x="73" y="12"/>
                  </a:lnTo>
                  <a:lnTo>
                    <a:pt x="76" y="12"/>
                  </a:lnTo>
                  <a:lnTo>
                    <a:pt x="76" y="10"/>
                  </a:lnTo>
                  <a:lnTo>
                    <a:pt x="78" y="10"/>
                  </a:lnTo>
                  <a:lnTo>
                    <a:pt x="80" y="10"/>
                  </a:lnTo>
                  <a:lnTo>
                    <a:pt x="83" y="10"/>
                  </a:lnTo>
                  <a:lnTo>
                    <a:pt x="85" y="10"/>
                  </a:lnTo>
                  <a:lnTo>
                    <a:pt x="85" y="12"/>
                  </a:lnTo>
                  <a:lnTo>
                    <a:pt x="85" y="10"/>
                  </a:lnTo>
                  <a:lnTo>
                    <a:pt x="88" y="10"/>
                  </a:lnTo>
                  <a:lnTo>
                    <a:pt x="90" y="10"/>
                  </a:lnTo>
                  <a:lnTo>
                    <a:pt x="92" y="10"/>
                  </a:lnTo>
                  <a:lnTo>
                    <a:pt x="90" y="10"/>
                  </a:lnTo>
                  <a:lnTo>
                    <a:pt x="92" y="10"/>
                  </a:lnTo>
                  <a:lnTo>
                    <a:pt x="95" y="10"/>
                  </a:lnTo>
                  <a:lnTo>
                    <a:pt x="97" y="10"/>
                  </a:lnTo>
                  <a:lnTo>
                    <a:pt x="99" y="10"/>
                  </a:lnTo>
                  <a:lnTo>
                    <a:pt x="102" y="10"/>
                  </a:lnTo>
                  <a:lnTo>
                    <a:pt x="102" y="7"/>
                  </a:lnTo>
                  <a:lnTo>
                    <a:pt x="102" y="10"/>
                  </a:lnTo>
                  <a:lnTo>
                    <a:pt x="104" y="10"/>
                  </a:lnTo>
                  <a:lnTo>
                    <a:pt x="107" y="10"/>
                  </a:lnTo>
                  <a:lnTo>
                    <a:pt x="109" y="10"/>
                  </a:lnTo>
                  <a:lnTo>
                    <a:pt x="107" y="10"/>
                  </a:lnTo>
                  <a:lnTo>
                    <a:pt x="109" y="10"/>
                  </a:lnTo>
                  <a:lnTo>
                    <a:pt x="109" y="7"/>
                  </a:lnTo>
                  <a:lnTo>
                    <a:pt x="109" y="10"/>
                  </a:lnTo>
                  <a:lnTo>
                    <a:pt x="111" y="10"/>
                  </a:lnTo>
                  <a:lnTo>
                    <a:pt x="111" y="7"/>
                  </a:lnTo>
                  <a:lnTo>
                    <a:pt x="111" y="10"/>
                  </a:lnTo>
                  <a:lnTo>
                    <a:pt x="111" y="7"/>
                  </a:lnTo>
                  <a:lnTo>
                    <a:pt x="114" y="7"/>
                  </a:lnTo>
                  <a:lnTo>
                    <a:pt x="114" y="5"/>
                  </a:lnTo>
                  <a:lnTo>
                    <a:pt x="116" y="5"/>
                  </a:lnTo>
                  <a:lnTo>
                    <a:pt x="116" y="7"/>
                  </a:lnTo>
                  <a:lnTo>
                    <a:pt x="116" y="10"/>
                  </a:lnTo>
                  <a:lnTo>
                    <a:pt x="118" y="10"/>
                  </a:lnTo>
                  <a:lnTo>
                    <a:pt x="121" y="10"/>
                  </a:lnTo>
                  <a:lnTo>
                    <a:pt x="123" y="10"/>
                  </a:lnTo>
                  <a:lnTo>
                    <a:pt x="126" y="10"/>
                  </a:lnTo>
                  <a:lnTo>
                    <a:pt x="128" y="10"/>
                  </a:lnTo>
                  <a:lnTo>
                    <a:pt x="130" y="10"/>
                  </a:lnTo>
                  <a:lnTo>
                    <a:pt x="130" y="12"/>
                  </a:lnTo>
                  <a:lnTo>
                    <a:pt x="128" y="12"/>
                  </a:lnTo>
                  <a:lnTo>
                    <a:pt x="130" y="12"/>
                  </a:lnTo>
                  <a:lnTo>
                    <a:pt x="130" y="10"/>
                  </a:lnTo>
                  <a:lnTo>
                    <a:pt x="130" y="12"/>
                  </a:lnTo>
                  <a:lnTo>
                    <a:pt x="133" y="12"/>
                  </a:lnTo>
                  <a:lnTo>
                    <a:pt x="135" y="12"/>
                  </a:lnTo>
                  <a:lnTo>
                    <a:pt x="135" y="14"/>
                  </a:lnTo>
                  <a:lnTo>
                    <a:pt x="137" y="14"/>
                  </a:lnTo>
                  <a:lnTo>
                    <a:pt x="137" y="12"/>
                  </a:lnTo>
                  <a:lnTo>
                    <a:pt x="137" y="14"/>
                  </a:lnTo>
                  <a:lnTo>
                    <a:pt x="140" y="14"/>
                  </a:lnTo>
                  <a:lnTo>
                    <a:pt x="142" y="14"/>
                  </a:lnTo>
                  <a:lnTo>
                    <a:pt x="144" y="14"/>
                  </a:lnTo>
                  <a:lnTo>
                    <a:pt x="147" y="14"/>
                  </a:lnTo>
                  <a:lnTo>
                    <a:pt x="149" y="14"/>
                  </a:lnTo>
                  <a:lnTo>
                    <a:pt x="149" y="17"/>
                  </a:lnTo>
                  <a:lnTo>
                    <a:pt x="152" y="17"/>
                  </a:lnTo>
                  <a:lnTo>
                    <a:pt x="154" y="17"/>
                  </a:lnTo>
                  <a:lnTo>
                    <a:pt x="156" y="17"/>
                  </a:lnTo>
                  <a:lnTo>
                    <a:pt x="159" y="17"/>
                  </a:lnTo>
                  <a:lnTo>
                    <a:pt x="161" y="17"/>
                  </a:lnTo>
                  <a:lnTo>
                    <a:pt x="163" y="17"/>
                  </a:lnTo>
                  <a:lnTo>
                    <a:pt x="166" y="17"/>
                  </a:lnTo>
                  <a:lnTo>
                    <a:pt x="168" y="17"/>
                  </a:lnTo>
                  <a:lnTo>
                    <a:pt x="171" y="17"/>
                  </a:lnTo>
                  <a:lnTo>
                    <a:pt x="173" y="17"/>
                  </a:lnTo>
                  <a:lnTo>
                    <a:pt x="171" y="17"/>
                  </a:lnTo>
                  <a:lnTo>
                    <a:pt x="173" y="14"/>
                  </a:lnTo>
                  <a:lnTo>
                    <a:pt x="173" y="17"/>
                  </a:lnTo>
                  <a:lnTo>
                    <a:pt x="173" y="14"/>
                  </a:lnTo>
                  <a:lnTo>
                    <a:pt x="175" y="14"/>
                  </a:lnTo>
                  <a:lnTo>
                    <a:pt x="175" y="17"/>
                  </a:lnTo>
                  <a:lnTo>
                    <a:pt x="175" y="14"/>
                  </a:lnTo>
                  <a:lnTo>
                    <a:pt x="178" y="14"/>
                  </a:lnTo>
                  <a:lnTo>
                    <a:pt x="180" y="14"/>
                  </a:lnTo>
                  <a:lnTo>
                    <a:pt x="180" y="12"/>
                  </a:lnTo>
                  <a:lnTo>
                    <a:pt x="180" y="14"/>
                  </a:lnTo>
                  <a:lnTo>
                    <a:pt x="180" y="12"/>
                  </a:lnTo>
                  <a:lnTo>
                    <a:pt x="182" y="12"/>
                  </a:lnTo>
                  <a:lnTo>
                    <a:pt x="182" y="14"/>
                  </a:lnTo>
                  <a:lnTo>
                    <a:pt x="180" y="14"/>
                  </a:lnTo>
                  <a:lnTo>
                    <a:pt x="180" y="17"/>
                  </a:lnTo>
                  <a:lnTo>
                    <a:pt x="182" y="17"/>
                  </a:lnTo>
                  <a:lnTo>
                    <a:pt x="180" y="17"/>
                  </a:lnTo>
                  <a:lnTo>
                    <a:pt x="182" y="17"/>
                  </a:lnTo>
                  <a:lnTo>
                    <a:pt x="180" y="17"/>
                  </a:lnTo>
                  <a:lnTo>
                    <a:pt x="182" y="17"/>
                  </a:lnTo>
                  <a:lnTo>
                    <a:pt x="180" y="17"/>
                  </a:lnTo>
                  <a:lnTo>
                    <a:pt x="182" y="17"/>
                  </a:lnTo>
                  <a:lnTo>
                    <a:pt x="182" y="14"/>
                  </a:lnTo>
                  <a:lnTo>
                    <a:pt x="182" y="17"/>
                  </a:lnTo>
                  <a:lnTo>
                    <a:pt x="185" y="14"/>
                  </a:lnTo>
                  <a:lnTo>
                    <a:pt x="182" y="14"/>
                  </a:lnTo>
                  <a:lnTo>
                    <a:pt x="185" y="14"/>
                  </a:lnTo>
                  <a:lnTo>
                    <a:pt x="185" y="12"/>
                  </a:lnTo>
                  <a:lnTo>
                    <a:pt x="187" y="12"/>
                  </a:lnTo>
                  <a:lnTo>
                    <a:pt x="190" y="12"/>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8" name="Freeform 57959"/>
            <p:cNvSpPr>
              <a:spLocks noEditPoints="1"/>
            </p:cNvSpPr>
            <p:nvPr/>
          </p:nvSpPr>
          <p:spPr bwMode="auto">
            <a:xfrm>
              <a:off x="1558923" y="5199079"/>
              <a:ext cx="623888" cy="449265"/>
            </a:xfrm>
            <a:custGeom>
              <a:avLst/>
              <a:gdLst>
                <a:gd name="T0" fmla="*/ 68 w 393"/>
                <a:gd name="T1" fmla="*/ 280 h 283"/>
                <a:gd name="T2" fmla="*/ 68 w 393"/>
                <a:gd name="T3" fmla="*/ 280 h 283"/>
                <a:gd name="T4" fmla="*/ 66 w 393"/>
                <a:gd name="T5" fmla="*/ 280 h 283"/>
                <a:gd name="T6" fmla="*/ 64 w 393"/>
                <a:gd name="T7" fmla="*/ 278 h 283"/>
                <a:gd name="T8" fmla="*/ 66 w 393"/>
                <a:gd name="T9" fmla="*/ 280 h 283"/>
                <a:gd name="T10" fmla="*/ 66 w 393"/>
                <a:gd name="T11" fmla="*/ 278 h 283"/>
                <a:gd name="T12" fmla="*/ 64 w 393"/>
                <a:gd name="T13" fmla="*/ 276 h 283"/>
                <a:gd name="T14" fmla="*/ 341 w 393"/>
                <a:gd name="T15" fmla="*/ 207 h 283"/>
                <a:gd name="T16" fmla="*/ 344 w 393"/>
                <a:gd name="T17" fmla="*/ 209 h 283"/>
                <a:gd name="T18" fmla="*/ 346 w 393"/>
                <a:gd name="T19" fmla="*/ 214 h 283"/>
                <a:gd name="T20" fmla="*/ 346 w 393"/>
                <a:gd name="T21" fmla="*/ 214 h 283"/>
                <a:gd name="T22" fmla="*/ 344 w 393"/>
                <a:gd name="T23" fmla="*/ 212 h 283"/>
                <a:gd name="T24" fmla="*/ 341 w 393"/>
                <a:gd name="T25" fmla="*/ 214 h 283"/>
                <a:gd name="T26" fmla="*/ 341 w 393"/>
                <a:gd name="T27" fmla="*/ 209 h 283"/>
                <a:gd name="T28" fmla="*/ 341 w 393"/>
                <a:gd name="T29" fmla="*/ 209 h 283"/>
                <a:gd name="T30" fmla="*/ 334 w 393"/>
                <a:gd name="T31" fmla="*/ 200 h 283"/>
                <a:gd name="T32" fmla="*/ 334 w 393"/>
                <a:gd name="T33" fmla="*/ 200 h 283"/>
                <a:gd name="T34" fmla="*/ 393 w 393"/>
                <a:gd name="T35" fmla="*/ 190 h 283"/>
                <a:gd name="T36" fmla="*/ 391 w 393"/>
                <a:gd name="T37" fmla="*/ 193 h 283"/>
                <a:gd name="T38" fmla="*/ 391 w 393"/>
                <a:gd name="T39" fmla="*/ 193 h 283"/>
                <a:gd name="T40" fmla="*/ 391 w 393"/>
                <a:gd name="T41" fmla="*/ 193 h 283"/>
                <a:gd name="T42" fmla="*/ 391 w 393"/>
                <a:gd name="T43" fmla="*/ 193 h 283"/>
                <a:gd name="T44" fmla="*/ 393 w 393"/>
                <a:gd name="T45" fmla="*/ 190 h 283"/>
                <a:gd name="T46" fmla="*/ 393 w 393"/>
                <a:gd name="T47" fmla="*/ 190 h 283"/>
                <a:gd name="T48" fmla="*/ 372 w 393"/>
                <a:gd name="T49" fmla="*/ 174 h 283"/>
                <a:gd name="T50" fmla="*/ 370 w 393"/>
                <a:gd name="T51" fmla="*/ 171 h 283"/>
                <a:gd name="T52" fmla="*/ 2 w 393"/>
                <a:gd name="T53" fmla="*/ 52 h 283"/>
                <a:gd name="T54" fmla="*/ 2 w 393"/>
                <a:gd name="T55" fmla="*/ 52 h 283"/>
                <a:gd name="T56" fmla="*/ 2 w 393"/>
                <a:gd name="T57" fmla="*/ 52 h 283"/>
                <a:gd name="T58" fmla="*/ 0 w 393"/>
                <a:gd name="T59" fmla="*/ 52 h 283"/>
                <a:gd name="T60" fmla="*/ 0 w 393"/>
                <a:gd name="T61" fmla="*/ 50 h 283"/>
                <a:gd name="T62" fmla="*/ 2 w 393"/>
                <a:gd name="T63" fmla="*/ 52 h 283"/>
                <a:gd name="T64" fmla="*/ 0 w 393"/>
                <a:gd name="T65" fmla="*/ 43 h 283"/>
                <a:gd name="T66" fmla="*/ 4 w 393"/>
                <a:gd name="T67" fmla="*/ 40 h 283"/>
                <a:gd name="T68" fmla="*/ 4 w 393"/>
                <a:gd name="T69" fmla="*/ 40 h 283"/>
                <a:gd name="T70" fmla="*/ 4 w 393"/>
                <a:gd name="T71" fmla="*/ 40 h 283"/>
                <a:gd name="T72" fmla="*/ 2 w 393"/>
                <a:gd name="T73" fmla="*/ 38 h 283"/>
                <a:gd name="T74" fmla="*/ 4 w 393"/>
                <a:gd name="T75" fmla="*/ 0 h 283"/>
                <a:gd name="T76" fmla="*/ 4 w 393"/>
                <a:gd name="T7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3" h="283">
                  <a:moveTo>
                    <a:pt x="66" y="280"/>
                  </a:moveTo>
                  <a:lnTo>
                    <a:pt x="68" y="280"/>
                  </a:lnTo>
                  <a:lnTo>
                    <a:pt x="68" y="283"/>
                  </a:lnTo>
                  <a:lnTo>
                    <a:pt x="68" y="280"/>
                  </a:lnTo>
                  <a:lnTo>
                    <a:pt x="66" y="280"/>
                  </a:lnTo>
                  <a:close/>
                  <a:moveTo>
                    <a:pt x="66" y="280"/>
                  </a:moveTo>
                  <a:lnTo>
                    <a:pt x="66" y="278"/>
                  </a:lnTo>
                  <a:lnTo>
                    <a:pt x="64" y="278"/>
                  </a:lnTo>
                  <a:lnTo>
                    <a:pt x="66" y="278"/>
                  </a:lnTo>
                  <a:lnTo>
                    <a:pt x="66" y="280"/>
                  </a:lnTo>
                  <a:close/>
                  <a:moveTo>
                    <a:pt x="64" y="278"/>
                  </a:moveTo>
                  <a:lnTo>
                    <a:pt x="66" y="278"/>
                  </a:lnTo>
                  <a:lnTo>
                    <a:pt x="64" y="278"/>
                  </a:lnTo>
                  <a:lnTo>
                    <a:pt x="64" y="276"/>
                  </a:lnTo>
                  <a:lnTo>
                    <a:pt x="64" y="278"/>
                  </a:lnTo>
                  <a:close/>
                  <a:moveTo>
                    <a:pt x="341" y="207"/>
                  </a:moveTo>
                  <a:lnTo>
                    <a:pt x="341" y="209"/>
                  </a:lnTo>
                  <a:lnTo>
                    <a:pt x="344" y="209"/>
                  </a:lnTo>
                  <a:lnTo>
                    <a:pt x="344" y="212"/>
                  </a:lnTo>
                  <a:lnTo>
                    <a:pt x="346" y="214"/>
                  </a:lnTo>
                  <a:lnTo>
                    <a:pt x="346" y="212"/>
                  </a:lnTo>
                  <a:lnTo>
                    <a:pt x="346" y="214"/>
                  </a:lnTo>
                  <a:lnTo>
                    <a:pt x="344" y="214"/>
                  </a:lnTo>
                  <a:lnTo>
                    <a:pt x="344" y="212"/>
                  </a:lnTo>
                  <a:lnTo>
                    <a:pt x="341" y="212"/>
                  </a:lnTo>
                  <a:lnTo>
                    <a:pt x="341" y="214"/>
                  </a:lnTo>
                  <a:lnTo>
                    <a:pt x="341" y="212"/>
                  </a:lnTo>
                  <a:lnTo>
                    <a:pt x="341" y="209"/>
                  </a:lnTo>
                  <a:lnTo>
                    <a:pt x="341" y="212"/>
                  </a:lnTo>
                  <a:lnTo>
                    <a:pt x="341" y="209"/>
                  </a:lnTo>
                  <a:lnTo>
                    <a:pt x="341" y="207"/>
                  </a:lnTo>
                  <a:close/>
                  <a:moveTo>
                    <a:pt x="334" y="200"/>
                  </a:moveTo>
                  <a:lnTo>
                    <a:pt x="334" y="197"/>
                  </a:lnTo>
                  <a:lnTo>
                    <a:pt x="334" y="200"/>
                  </a:lnTo>
                  <a:close/>
                  <a:moveTo>
                    <a:pt x="391" y="190"/>
                  </a:moveTo>
                  <a:lnTo>
                    <a:pt x="393" y="190"/>
                  </a:lnTo>
                  <a:lnTo>
                    <a:pt x="393" y="193"/>
                  </a:lnTo>
                  <a:lnTo>
                    <a:pt x="391" y="193"/>
                  </a:lnTo>
                  <a:lnTo>
                    <a:pt x="393" y="193"/>
                  </a:lnTo>
                  <a:lnTo>
                    <a:pt x="391" y="193"/>
                  </a:lnTo>
                  <a:lnTo>
                    <a:pt x="391" y="190"/>
                  </a:lnTo>
                  <a:lnTo>
                    <a:pt x="391" y="193"/>
                  </a:lnTo>
                  <a:lnTo>
                    <a:pt x="391" y="190"/>
                  </a:lnTo>
                  <a:lnTo>
                    <a:pt x="391" y="193"/>
                  </a:lnTo>
                  <a:lnTo>
                    <a:pt x="391" y="190"/>
                  </a:lnTo>
                  <a:close/>
                  <a:moveTo>
                    <a:pt x="393" y="190"/>
                  </a:moveTo>
                  <a:lnTo>
                    <a:pt x="391" y="190"/>
                  </a:lnTo>
                  <a:lnTo>
                    <a:pt x="393" y="190"/>
                  </a:lnTo>
                  <a:close/>
                  <a:moveTo>
                    <a:pt x="372" y="171"/>
                  </a:moveTo>
                  <a:lnTo>
                    <a:pt x="372" y="174"/>
                  </a:lnTo>
                  <a:lnTo>
                    <a:pt x="370" y="174"/>
                  </a:lnTo>
                  <a:lnTo>
                    <a:pt x="370" y="171"/>
                  </a:lnTo>
                  <a:lnTo>
                    <a:pt x="372" y="171"/>
                  </a:lnTo>
                  <a:close/>
                  <a:moveTo>
                    <a:pt x="2" y="52"/>
                  </a:moveTo>
                  <a:lnTo>
                    <a:pt x="2" y="55"/>
                  </a:lnTo>
                  <a:lnTo>
                    <a:pt x="2" y="52"/>
                  </a:lnTo>
                  <a:lnTo>
                    <a:pt x="2" y="55"/>
                  </a:lnTo>
                  <a:lnTo>
                    <a:pt x="2" y="52"/>
                  </a:lnTo>
                  <a:close/>
                  <a:moveTo>
                    <a:pt x="2" y="52"/>
                  </a:moveTo>
                  <a:lnTo>
                    <a:pt x="0" y="52"/>
                  </a:lnTo>
                  <a:lnTo>
                    <a:pt x="2" y="52"/>
                  </a:lnTo>
                  <a:lnTo>
                    <a:pt x="0" y="50"/>
                  </a:lnTo>
                  <a:lnTo>
                    <a:pt x="2" y="50"/>
                  </a:lnTo>
                  <a:lnTo>
                    <a:pt x="2" y="52"/>
                  </a:lnTo>
                  <a:close/>
                  <a:moveTo>
                    <a:pt x="0" y="45"/>
                  </a:moveTo>
                  <a:lnTo>
                    <a:pt x="0" y="43"/>
                  </a:lnTo>
                  <a:lnTo>
                    <a:pt x="0" y="45"/>
                  </a:lnTo>
                  <a:close/>
                  <a:moveTo>
                    <a:pt x="4" y="40"/>
                  </a:moveTo>
                  <a:lnTo>
                    <a:pt x="2" y="40"/>
                  </a:lnTo>
                  <a:lnTo>
                    <a:pt x="4" y="40"/>
                  </a:lnTo>
                  <a:lnTo>
                    <a:pt x="2" y="40"/>
                  </a:lnTo>
                  <a:lnTo>
                    <a:pt x="4" y="40"/>
                  </a:lnTo>
                  <a:close/>
                  <a:moveTo>
                    <a:pt x="2" y="36"/>
                  </a:moveTo>
                  <a:lnTo>
                    <a:pt x="2" y="38"/>
                  </a:lnTo>
                  <a:lnTo>
                    <a:pt x="2" y="36"/>
                  </a:lnTo>
                  <a:close/>
                  <a:moveTo>
                    <a:pt x="4" y="0"/>
                  </a:moveTo>
                  <a:lnTo>
                    <a:pt x="2" y="0"/>
                  </a:lnTo>
                  <a:lnTo>
                    <a:pt x="4"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29" name="Freeform 57960"/>
            <p:cNvSpPr>
              <a:spLocks noEditPoints="1"/>
            </p:cNvSpPr>
            <p:nvPr/>
          </p:nvSpPr>
          <p:spPr bwMode="auto">
            <a:xfrm>
              <a:off x="1546223" y="5172090"/>
              <a:ext cx="636587" cy="528639"/>
            </a:xfrm>
            <a:custGeom>
              <a:avLst/>
              <a:gdLst>
                <a:gd name="T0" fmla="*/ 98 w 401"/>
                <a:gd name="T1" fmla="*/ 331 h 333"/>
                <a:gd name="T2" fmla="*/ 98 w 401"/>
                <a:gd name="T3" fmla="*/ 333 h 333"/>
                <a:gd name="T4" fmla="*/ 98 w 401"/>
                <a:gd name="T5" fmla="*/ 331 h 333"/>
                <a:gd name="T6" fmla="*/ 72 w 401"/>
                <a:gd name="T7" fmla="*/ 295 h 333"/>
                <a:gd name="T8" fmla="*/ 72 w 401"/>
                <a:gd name="T9" fmla="*/ 293 h 333"/>
                <a:gd name="T10" fmla="*/ 72 w 401"/>
                <a:gd name="T11" fmla="*/ 295 h 333"/>
                <a:gd name="T12" fmla="*/ 74 w 401"/>
                <a:gd name="T13" fmla="*/ 293 h 333"/>
                <a:gd name="T14" fmla="*/ 72 w 401"/>
                <a:gd name="T15" fmla="*/ 293 h 333"/>
                <a:gd name="T16" fmla="*/ 74 w 401"/>
                <a:gd name="T17" fmla="*/ 293 h 333"/>
                <a:gd name="T18" fmla="*/ 271 w 401"/>
                <a:gd name="T19" fmla="*/ 278 h 333"/>
                <a:gd name="T20" fmla="*/ 271 w 401"/>
                <a:gd name="T21" fmla="*/ 281 h 333"/>
                <a:gd name="T22" fmla="*/ 271 w 401"/>
                <a:gd name="T23" fmla="*/ 278 h 333"/>
                <a:gd name="T24" fmla="*/ 278 w 401"/>
                <a:gd name="T25" fmla="*/ 274 h 333"/>
                <a:gd name="T26" fmla="*/ 278 w 401"/>
                <a:gd name="T27" fmla="*/ 276 h 333"/>
                <a:gd name="T28" fmla="*/ 278 w 401"/>
                <a:gd name="T29" fmla="*/ 274 h 333"/>
                <a:gd name="T30" fmla="*/ 349 w 401"/>
                <a:gd name="T31" fmla="*/ 221 h 333"/>
                <a:gd name="T32" fmla="*/ 349 w 401"/>
                <a:gd name="T33" fmla="*/ 219 h 333"/>
                <a:gd name="T34" fmla="*/ 349 w 401"/>
                <a:gd name="T35" fmla="*/ 221 h 333"/>
                <a:gd name="T36" fmla="*/ 342 w 401"/>
                <a:gd name="T37" fmla="*/ 217 h 333"/>
                <a:gd name="T38" fmla="*/ 340 w 401"/>
                <a:gd name="T39" fmla="*/ 217 h 333"/>
                <a:gd name="T40" fmla="*/ 342 w 401"/>
                <a:gd name="T41" fmla="*/ 217 h 333"/>
                <a:gd name="T42" fmla="*/ 401 w 401"/>
                <a:gd name="T43" fmla="*/ 207 h 333"/>
                <a:gd name="T44" fmla="*/ 401 w 401"/>
                <a:gd name="T45" fmla="*/ 205 h 333"/>
                <a:gd name="T46" fmla="*/ 401 w 401"/>
                <a:gd name="T47" fmla="*/ 207 h 333"/>
                <a:gd name="T48" fmla="*/ 383 w 401"/>
                <a:gd name="T49" fmla="*/ 193 h 333"/>
                <a:gd name="T50" fmla="*/ 385 w 401"/>
                <a:gd name="T51" fmla="*/ 193 h 333"/>
                <a:gd name="T52" fmla="*/ 383 w 401"/>
                <a:gd name="T53" fmla="*/ 193 h 333"/>
                <a:gd name="T54" fmla="*/ 380 w 401"/>
                <a:gd name="T55" fmla="*/ 191 h 333"/>
                <a:gd name="T56" fmla="*/ 380 w 401"/>
                <a:gd name="T57" fmla="*/ 188 h 333"/>
                <a:gd name="T58" fmla="*/ 380 w 401"/>
                <a:gd name="T59" fmla="*/ 191 h 333"/>
                <a:gd name="T60" fmla="*/ 8 w 401"/>
                <a:gd name="T61" fmla="*/ 65 h 333"/>
                <a:gd name="T62" fmla="*/ 8 w 401"/>
                <a:gd name="T63" fmla="*/ 62 h 333"/>
                <a:gd name="T64" fmla="*/ 8 w 401"/>
                <a:gd name="T65" fmla="*/ 65 h 333"/>
                <a:gd name="T66" fmla="*/ 10 w 401"/>
                <a:gd name="T67" fmla="*/ 55 h 333"/>
                <a:gd name="T68" fmla="*/ 8 w 401"/>
                <a:gd name="T69" fmla="*/ 55 h 333"/>
                <a:gd name="T70" fmla="*/ 10 w 401"/>
                <a:gd name="T71" fmla="*/ 55 h 333"/>
                <a:gd name="T72" fmla="*/ 0 w 401"/>
                <a:gd name="T73" fmla="*/ 43 h 333"/>
                <a:gd name="T74" fmla="*/ 0 w 401"/>
                <a:gd name="T75" fmla="*/ 41 h 333"/>
                <a:gd name="T76" fmla="*/ 0 w 401"/>
                <a:gd name="T77" fmla="*/ 43 h 333"/>
                <a:gd name="T78" fmla="*/ 0 w 401"/>
                <a:gd name="T79" fmla="*/ 41 h 333"/>
                <a:gd name="T80" fmla="*/ 0 w 401"/>
                <a:gd name="T81" fmla="*/ 38 h 333"/>
                <a:gd name="T82" fmla="*/ 0 w 401"/>
                <a:gd name="T83" fmla="*/ 41 h 333"/>
                <a:gd name="T84" fmla="*/ 24 w 401"/>
                <a:gd name="T85" fmla="*/ 17 h 333"/>
                <a:gd name="T86" fmla="*/ 24 w 401"/>
                <a:gd name="T87" fmla="*/ 15 h 333"/>
                <a:gd name="T88" fmla="*/ 24 w 401"/>
                <a:gd name="T89" fmla="*/ 17 h 333"/>
                <a:gd name="T90" fmla="*/ 171 w 401"/>
                <a:gd name="T91" fmla="*/ 12 h 333"/>
                <a:gd name="T92" fmla="*/ 169 w 401"/>
                <a:gd name="T93" fmla="*/ 12 h 333"/>
                <a:gd name="T94" fmla="*/ 171 w 401"/>
                <a:gd name="T95" fmla="*/ 12 h 333"/>
                <a:gd name="T96" fmla="*/ 29 w 401"/>
                <a:gd name="T97" fmla="*/ 10 h 333"/>
                <a:gd name="T98" fmla="*/ 27 w 401"/>
                <a:gd name="T99" fmla="*/ 10 h 333"/>
                <a:gd name="T100" fmla="*/ 29 w 401"/>
                <a:gd name="T101" fmla="*/ 10 h 333"/>
                <a:gd name="T102" fmla="*/ 46 w 401"/>
                <a:gd name="T103" fmla="*/ 0 h 333"/>
                <a:gd name="T104" fmla="*/ 43 w 401"/>
                <a:gd name="T105" fmla="*/ 0 h 333"/>
                <a:gd name="T106" fmla="*/ 46 w 401"/>
                <a:gd name="T107"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1" h="333">
                  <a:moveTo>
                    <a:pt x="98" y="331"/>
                  </a:moveTo>
                  <a:lnTo>
                    <a:pt x="98" y="333"/>
                  </a:lnTo>
                  <a:lnTo>
                    <a:pt x="98" y="331"/>
                  </a:lnTo>
                  <a:close/>
                  <a:moveTo>
                    <a:pt x="72" y="295"/>
                  </a:moveTo>
                  <a:lnTo>
                    <a:pt x="72" y="293"/>
                  </a:lnTo>
                  <a:lnTo>
                    <a:pt x="72" y="295"/>
                  </a:lnTo>
                  <a:close/>
                  <a:moveTo>
                    <a:pt x="74" y="293"/>
                  </a:moveTo>
                  <a:lnTo>
                    <a:pt x="72" y="293"/>
                  </a:lnTo>
                  <a:lnTo>
                    <a:pt x="74" y="293"/>
                  </a:lnTo>
                  <a:close/>
                  <a:moveTo>
                    <a:pt x="271" y="278"/>
                  </a:moveTo>
                  <a:lnTo>
                    <a:pt x="271" y="281"/>
                  </a:lnTo>
                  <a:lnTo>
                    <a:pt x="271" y="278"/>
                  </a:lnTo>
                  <a:close/>
                  <a:moveTo>
                    <a:pt x="278" y="274"/>
                  </a:moveTo>
                  <a:lnTo>
                    <a:pt x="278" y="276"/>
                  </a:lnTo>
                  <a:lnTo>
                    <a:pt x="278" y="274"/>
                  </a:lnTo>
                  <a:close/>
                  <a:moveTo>
                    <a:pt x="349" y="221"/>
                  </a:moveTo>
                  <a:lnTo>
                    <a:pt x="349" y="219"/>
                  </a:lnTo>
                  <a:lnTo>
                    <a:pt x="349" y="221"/>
                  </a:lnTo>
                  <a:close/>
                  <a:moveTo>
                    <a:pt x="342" y="217"/>
                  </a:moveTo>
                  <a:lnTo>
                    <a:pt x="340" y="217"/>
                  </a:lnTo>
                  <a:lnTo>
                    <a:pt x="342" y="217"/>
                  </a:lnTo>
                  <a:close/>
                  <a:moveTo>
                    <a:pt x="401" y="207"/>
                  </a:moveTo>
                  <a:lnTo>
                    <a:pt x="401" y="205"/>
                  </a:lnTo>
                  <a:lnTo>
                    <a:pt x="401" y="207"/>
                  </a:lnTo>
                  <a:close/>
                  <a:moveTo>
                    <a:pt x="383" y="193"/>
                  </a:moveTo>
                  <a:lnTo>
                    <a:pt x="385" y="193"/>
                  </a:lnTo>
                  <a:lnTo>
                    <a:pt x="383" y="193"/>
                  </a:lnTo>
                  <a:close/>
                  <a:moveTo>
                    <a:pt x="380" y="191"/>
                  </a:moveTo>
                  <a:lnTo>
                    <a:pt x="380" y="188"/>
                  </a:lnTo>
                  <a:lnTo>
                    <a:pt x="380" y="191"/>
                  </a:lnTo>
                  <a:close/>
                  <a:moveTo>
                    <a:pt x="8" y="65"/>
                  </a:moveTo>
                  <a:lnTo>
                    <a:pt x="8" y="62"/>
                  </a:lnTo>
                  <a:lnTo>
                    <a:pt x="8" y="65"/>
                  </a:lnTo>
                  <a:close/>
                  <a:moveTo>
                    <a:pt x="10" y="55"/>
                  </a:moveTo>
                  <a:lnTo>
                    <a:pt x="8" y="55"/>
                  </a:lnTo>
                  <a:lnTo>
                    <a:pt x="10" y="55"/>
                  </a:lnTo>
                  <a:close/>
                  <a:moveTo>
                    <a:pt x="0" y="43"/>
                  </a:moveTo>
                  <a:lnTo>
                    <a:pt x="0" y="41"/>
                  </a:lnTo>
                  <a:lnTo>
                    <a:pt x="0" y="43"/>
                  </a:lnTo>
                  <a:close/>
                  <a:moveTo>
                    <a:pt x="0" y="41"/>
                  </a:moveTo>
                  <a:lnTo>
                    <a:pt x="0" y="38"/>
                  </a:lnTo>
                  <a:lnTo>
                    <a:pt x="0" y="41"/>
                  </a:lnTo>
                  <a:close/>
                  <a:moveTo>
                    <a:pt x="24" y="17"/>
                  </a:moveTo>
                  <a:lnTo>
                    <a:pt x="24" y="15"/>
                  </a:lnTo>
                  <a:lnTo>
                    <a:pt x="24" y="17"/>
                  </a:lnTo>
                  <a:close/>
                  <a:moveTo>
                    <a:pt x="171" y="12"/>
                  </a:moveTo>
                  <a:lnTo>
                    <a:pt x="169" y="12"/>
                  </a:lnTo>
                  <a:lnTo>
                    <a:pt x="171" y="12"/>
                  </a:lnTo>
                  <a:close/>
                  <a:moveTo>
                    <a:pt x="29" y="10"/>
                  </a:moveTo>
                  <a:lnTo>
                    <a:pt x="27" y="10"/>
                  </a:lnTo>
                  <a:lnTo>
                    <a:pt x="29" y="10"/>
                  </a:lnTo>
                  <a:close/>
                  <a:moveTo>
                    <a:pt x="46" y="0"/>
                  </a:moveTo>
                  <a:lnTo>
                    <a:pt x="43" y="0"/>
                  </a:lnTo>
                  <a:lnTo>
                    <a:pt x="4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0" name="Freeform 57962"/>
            <p:cNvSpPr>
              <a:spLocks noEditPoints="1"/>
            </p:cNvSpPr>
            <p:nvPr/>
          </p:nvSpPr>
          <p:spPr bwMode="auto">
            <a:xfrm>
              <a:off x="586147" y="5488408"/>
              <a:ext cx="328613" cy="196850"/>
            </a:xfrm>
            <a:custGeom>
              <a:avLst/>
              <a:gdLst>
                <a:gd name="T0" fmla="*/ 207 w 207"/>
                <a:gd name="T1" fmla="*/ 122 h 124"/>
                <a:gd name="T2" fmla="*/ 207 w 207"/>
                <a:gd name="T3" fmla="*/ 124 h 124"/>
                <a:gd name="T4" fmla="*/ 202 w 207"/>
                <a:gd name="T5" fmla="*/ 124 h 124"/>
                <a:gd name="T6" fmla="*/ 199 w 207"/>
                <a:gd name="T7" fmla="*/ 122 h 124"/>
                <a:gd name="T8" fmla="*/ 204 w 207"/>
                <a:gd name="T9" fmla="*/ 122 h 124"/>
                <a:gd name="T10" fmla="*/ 97 w 207"/>
                <a:gd name="T11" fmla="*/ 53 h 124"/>
                <a:gd name="T12" fmla="*/ 100 w 207"/>
                <a:gd name="T13" fmla="*/ 55 h 124"/>
                <a:gd name="T14" fmla="*/ 104 w 207"/>
                <a:gd name="T15" fmla="*/ 57 h 124"/>
                <a:gd name="T16" fmla="*/ 107 w 207"/>
                <a:gd name="T17" fmla="*/ 60 h 124"/>
                <a:gd name="T18" fmla="*/ 102 w 207"/>
                <a:gd name="T19" fmla="*/ 60 h 124"/>
                <a:gd name="T20" fmla="*/ 97 w 207"/>
                <a:gd name="T21" fmla="*/ 57 h 124"/>
                <a:gd name="T22" fmla="*/ 97 w 207"/>
                <a:gd name="T23" fmla="*/ 57 h 124"/>
                <a:gd name="T24" fmla="*/ 97 w 207"/>
                <a:gd name="T25" fmla="*/ 57 h 124"/>
                <a:gd name="T26" fmla="*/ 93 w 207"/>
                <a:gd name="T27" fmla="*/ 57 h 124"/>
                <a:gd name="T28" fmla="*/ 90 w 207"/>
                <a:gd name="T29" fmla="*/ 55 h 124"/>
                <a:gd name="T30" fmla="*/ 93 w 207"/>
                <a:gd name="T31" fmla="*/ 53 h 124"/>
                <a:gd name="T32" fmla="*/ 83 w 207"/>
                <a:gd name="T33" fmla="*/ 48 h 124"/>
                <a:gd name="T34" fmla="*/ 85 w 207"/>
                <a:gd name="T35" fmla="*/ 50 h 124"/>
                <a:gd name="T36" fmla="*/ 88 w 207"/>
                <a:gd name="T37" fmla="*/ 53 h 124"/>
                <a:gd name="T38" fmla="*/ 85 w 207"/>
                <a:gd name="T39" fmla="*/ 53 h 124"/>
                <a:gd name="T40" fmla="*/ 85 w 207"/>
                <a:gd name="T41" fmla="*/ 53 h 124"/>
                <a:gd name="T42" fmla="*/ 83 w 207"/>
                <a:gd name="T43" fmla="*/ 53 h 124"/>
                <a:gd name="T44" fmla="*/ 81 w 207"/>
                <a:gd name="T45" fmla="*/ 50 h 124"/>
                <a:gd name="T46" fmla="*/ 83 w 207"/>
                <a:gd name="T47" fmla="*/ 48 h 124"/>
                <a:gd name="T48" fmla="*/ 100 w 207"/>
                <a:gd name="T49" fmla="*/ 43 h 124"/>
                <a:gd name="T50" fmla="*/ 102 w 207"/>
                <a:gd name="T51" fmla="*/ 46 h 124"/>
                <a:gd name="T52" fmla="*/ 107 w 207"/>
                <a:gd name="T53" fmla="*/ 46 h 124"/>
                <a:gd name="T54" fmla="*/ 109 w 207"/>
                <a:gd name="T55" fmla="*/ 48 h 124"/>
                <a:gd name="T56" fmla="*/ 112 w 207"/>
                <a:gd name="T57" fmla="*/ 50 h 124"/>
                <a:gd name="T58" fmla="*/ 114 w 207"/>
                <a:gd name="T59" fmla="*/ 53 h 124"/>
                <a:gd name="T60" fmla="*/ 114 w 207"/>
                <a:gd name="T61" fmla="*/ 53 h 124"/>
                <a:gd name="T62" fmla="*/ 109 w 207"/>
                <a:gd name="T63" fmla="*/ 50 h 124"/>
                <a:gd name="T64" fmla="*/ 104 w 207"/>
                <a:gd name="T65" fmla="*/ 50 h 124"/>
                <a:gd name="T66" fmla="*/ 102 w 207"/>
                <a:gd name="T67" fmla="*/ 48 h 124"/>
                <a:gd name="T68" fmla="*/ 100 w 207"/>
                <a:gd name="T69" fmla="*/ 46 h 124"/>
                <a:gd name="T70" fmla="*/ 100 w 207"/>
                <a:gd name="T71" fmla="*/ 46 h 124"/>
                <a:gd name="T72" fmla="*/ 97 w 207"/>
                <a:gd name="T73" fmla="*/ 43 h 124"/>
                <a:gd name="T74" fmla="*/ 135 w 207"/>
                <a:gd name="T75" fmla="*/ 41 h 124"/>
                <a:gd name="T76" fmla="*/ 135 w 207"/>
                <a:gd name="T77" fmla="*/ 41 h 124"/>
                <a:gd name="T78" fmla="*/ 138 w 207"/>
                <a:gd name="T79" fmla="*/ 41 h 124"/>
                <a:gd name="T80" fmla="*/ 140 w 207"/>
                <a:gd name="T81" fmla="*/ 43 h 124"/>
                <a:gd name="T82" fmla="*/ 138 w 207"/>
                <a:gd name="T83" fmla="*/ 46 h 124"/>
                <a:gd name="T84" fmla="*/ 138 w 207"/>
                <a:gd name="T85" fmla="*/ 46 h 124"/>
                <a:gd name="T86" fmla="*/ 138 w 207"/>
                <a:gd name="T87" fmla="*/ 46 h 124"/>
                <a:gd name="T88" fmla="*/ 138 w 207"/>
                <a:gd name="T89" fmla="*/ 46 h 124"/>
                <a:gd name="T90" fmla="*/ 135 w 207"/>
                <a:gd name="T91" fmla="*/ 48 h 124"/>
                <a:gd name="T92" fmla="*/ 131 w 207"/>
                <a:gd name="T93" fmla="*/ 48 h 124"/>
                <a:gd name="T94" fmla="*/ 128 w 207"/>
                <a:gd name="T95" fmla="*/ 43 h 124"/>
                <a:gd name="T96" fmla="*/ 131 w 207"/>
                <a:gd name="T97" fmla="*/ 41 h 124"/>
                <a:gd name="T98" fmla="*/ 107 w 207"/>
                <a:gd name="T99" fmla="*/ 29 h 124"/>
                <a:gd name="T100" fmla="*/ 109 w 207"/>
                <a:gd name="T101" fmla="*/ 31 h 124"/>
                <a:gd name="T102" fmla="*/ 104 w 207"/>
                <a:gd name="T103" fmla="*/ 31 h 124"/>
                <a:gd name="T104" fmla="*/ 107 w 207"/>
                <a:gd name="T105" fmla="*/ 29 h 124"/>
                <a:gd name="T106" fmla="*/ 2 w 207"/>
                <a:gd name="T107" fmla="*/ 10 h 124"/>
                <a:gd name="T108" fmla="*/ 5 w 207"/>
                <a:gd name="T109" fmla="*/ 12 h 124"/>
                <a:gd name="T110" fmla="*/ 5 w 207"/>
                <a:gd name="T111" fmla="*/ 12 h 124"/>
                <a:gd name="T112" fmla="*/ 2 w 207"/>
                <a:gd name="T113" fmla="*/ 15 h 124"/>
                <a:gd name="T114" fmla="*/ 0 w 207"/>
                <a:gd name="T115" fmla="*/ 12 h 124"/>
                <a:gd name="T116" fmla="*/ 2 w 207"/>
                <a:gd name="T117" fmla="*/ 10 h 124"/>
                <a:gd name="T118" fmla="*/ 5 w 207"/>
                <a:gd name="T119" fmla="*/ 0 h 124"/>
                <a:gd name="T120" fmla="*/ 5 w 207"/>
                <a:gd name="T1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7" h="124">
                  <a:moveTo>
                    <a:pt x="204" y="122"/>
                  </a:moveTo>
                  <a:lnTo>
                    <a:pt x="207" y="122"/>
                  </a:lnTo>
                  <a:lnTo>
                    <a:pt x="204" y="122"/>
                  </a:lnTo>
                  <a:lnTo>
                    <a:pt x="207" y="124"/>
                  </a:lnTo>
                  <a:lnTo>
                    <a:pt x="204" y="124"/>
                  </a:lnTo>
                  <a:lnTo>
                    <a:pt x="202" y="124"/>
                  </a:lnTo>
                  <a:lnTo>
                    <a:pt x="199" y="124"/>
                  </a:lnTo>
                  <a:lnTo>
                    <a:pt x="199" y="122"/>
                  </a:lnTo>
                  <a:lnTo>
                    <a:pt x="202" y="122"/>
                  </a:lnTo>
                  <a:lnTo>
                    <a:pt x="204" y="122"/>
                  </a:lnTo>
                  <a:close/>
                  <a:moveTo>
                    <a:pt x="95" y="53"/>
                  </a:moveTo>
                  <a:lnTo>
                    <a:pt x="97" y="53"/>
                  </a:lnTo>
                  <a:lnTo>
                    <a:pt x="97" y="55"/>
                  </a:lnTo>
                  <a:lnTo>
                    <a:pt x="100" y="55"/>
                  </a:lnTo>
                  <a:lnTo>
                    <a:pt x="102" y="57"/>
                  </a:lnTo>
                  <a:lnTo>
                    <a:pt x="104" y="57"/>
                  </a:lnTo>
                  <a:lnTo>
                    <a:pt x="107" y="57"/>
                  </a:lnTo>
                  <a:lnTo>
                    <a:pt x="107" y="60"/>
                  </a:lnTo>
                  <a:lnTo>
                    <a:pt x="104" y="60"/>
                  </a:lnTo>
                  <a:lnTo>
                    <a:pt x="102" y="60"/>
                  </a:lnTo>
                  <a:lnTo>
                    <a:pt x="100" y="60"/>
                  </a:lnTo>
                  <a:lnTo>
                    <a:pt x="97" y="57"/>
                  </a:lnTo>
                  <a:lnTo>
                    <a:pt x="97" y="60"/>
                  </a:lnTo>
                  <a:lnTo>
                    <a:pt x="97" y="57"/>
                  </a:lnTo>
                  <a:lnTo>
                    <a:pt x="97" y="60"/>
                  </a:lnTo>
                  <a:lnTo>
                    <a:pt x="97" y="57"/>
                  </a:lnTo>
                  <a:lnTo>
                    <a:pt x="95" y="57"/>
                  </a:lnTo>
                  <a:lnTo>
                    <a:pt x="93" y="57"/>
                  </a:lnTo>
                  <a:lnTo>
                    <a:pt x="90" y="57"/>
                  </a:lnTo>
                  <a:lnTo>
                    <a:pt x="90" y="55"/>
                  </a:lnTo>
                  <a:lnTo>
                    <a:pt x="90" y="53"/>
                  </a:lnTo>
                  <a:lnTo>
                    <a:pt x="93" y="53"/>
                  </a:lnTo>
                  <a:lnTo>
                    <a:pt x="95" y="53"/>
                  </a:lnTo>
                  <a:close/>
                  <a:moveTo>
                    <a:pt x="83" y="48"/>
                  </a:moveTo>
                  <a:lnTo>
                    <a:pt x="85" y="48"/>
                  </a:lnTo>
                  <a:lnTo>
                    <a:pt x="85" y="50"/>
                  </a:lnTo>
                  <a:lnTo>
                    <a:pt x="88" y="50"/>
                  </a:lnTo>
                  <a:lnTo>
                    <a:pt x="88" y="53"/>
                  </a:lnTo>
                  <a:lnTo>
                    <a:pt x="88" y="55"/>
                  </a:lnTo>
                  <a:lnTo>
                    <a:pt x="85" y="53"/>
                  </a:lnTo>
                  <a:lnTo>
                    <a:pt x="85" y="55"/>
                  </a:lnTo>
                  <a:lnTo>
                    <a:pt x="85" y="53"/>
                  </a:lnTo>
                  <a:lnTo>
                    <a:pt x="83" y="55"/>
                  </a:lnTo>
                  <a:lnTo>
                    <a:pt x="83" y="53"/>
                  </a:lnTo>
                  <a:lnTo>
                    <a:pt x="81" y="53"/>
                  </a:lnTo>
                  <a:lnTo>
                    <a:pt x="81" y="50"/>
                  </a:lnTo>
                  <a:lnTo>
                    <a:pt x="83" y="50"/>
                  </a:lnTo>
                  <a:lnTo>
                    <a:pt x="83" y="48"/>
                  </a:lnTo>
                  <a:close/>
                  <a:moveTo>
                    <a:pt x="97" y="43"/>
                  </a:moveTo>
                  <a:lnTo>
                    <a:pt x="100" y="43"/>
                  </a:lnTo>
                  <a:lnTo>
                    <a:pt x="100" y="46"/>
                  </a:lnTo>
                  <a:lnTo>
                    <a:pt x="102" y="46"/>
                  </a:lnTo>
                  <a:lnTo>
                    <a:pt x="104" y="46"/>
                  </a:lnTo>
                  <a:lnTo>
                    <a:pt x="107" y="46"/>
                  </a:lnTo>
                  <a:lnTo>
                    <a:pt x="107" y="48"/>
                  </a:lnTo>
                  <a:lnTo>
                    <a:pt x="109" y="48"/>
                  </a:lnTo>
                  <a:lnTo>
                    <a:pt x="109" y="50"/>
                  </a:lnTo>
                  <a:lnTo>
                    <a:pt x="112" y="50"/>
                  </a:lnTo>
                  <a:lnTo>
                    <a:pt x="114" y="50"/>
                  </a:lnTo>
                  <a:lnTo>
                    <a:pt x="114" y="53"/>
                  </a:lnTo>
                  <a:lnTo>
                    <a:pt x="116" y="53"/>
                  </a:lnTo>
                  <a:lnTo>
                    <a:pt x="114" y="53"/>
                  </a:lnTo>
                  <a:lnTo>
                    <a:pt x="112" y="53"/>
                  </a:lnTo>
                  <a:lnTo>
                    <a:pt x="109" y="50"/>
                  </a:lnTo>
                  <a:lnTo>
                    <a:pt x="107" y="50"/>
                  </a:lnTo>
                  <a:lnTo>
                    <a:pt x="104" y="50"/>
                  </a:lnTo>
                  <a:lnTo>
                    <a:pt x="104" y="48"/>
                  </a:lnTo>
                  <a:lnTo>
                    <a:pt x="102" y="48"/>
                  </a:lnTo>
                  <a:lnTo>
                    <a:pt x="100" y="48"/>
                  </a:lnTo>
                  <a:lnTo>
                    <a:pt x="100" y="46"/>
                  </a:lnTo>
                  <a:lnTo>
                    <a:pt x="100" y="48"/>
                  </a:lnTo>
                  <a:lnTo>
                    <a:pt x="100" y="46"/>
                  </a:lnTo>
                  <a:lnTo>
                    <a:pt x="97" y="46"/>
                  </a:lnTo>
                  <a:lnTo>
                    <a:pt x="97" y="43"/>
                  </a:lnTo>
                  <a:close/>
                  <a:moveTo>
                    <a:pt x="133" y="41"/>
                  </a:moveTo>
                  <a:lnTo>
                    <a:pt x="135" y="41"/>
                  </a:lnTo>
                  <a:lnTo>
                    <a:pt x="135" y="43"/>
                  </a:lnTo>
                  <a:lnTo>
                    <a:pt x="135" y="41"/>
                  </a:lnTo>
                  <a:lnTo>
                    <a:pt x="135" y="43"/>
                  </a:lnTo>
                  <a:lnTo>
                    <a:pt x="138" y="41"/>
                  </a:lnTo>
                  <a:lnTo>
                    <a:pt x="138" y="43"/>
                  </a:lnTo>
                  <a:lnTo>
                    <a:pt x="140" y="43"/>
                  </a:lnTo>
                  <a:lnTo>
                    <a:pt x="138" y="43"/>
                  </a:lnTo>
                  <a:lnTo>
                    <a:pt x="138" y="46"/>
                  </a:lnTo>
                  <a:lnTo>
                    <a:pt x="138" y="43"/>
                  </a:lnTo>
                  <a:lnTo>
                    <a:pt x="138" y="46"/>
                  </a:lnTo>
                  <a:lnTo>
                    <a:pt x="138" y="43"/>
                  </a:lnTo>
                  <a:lnTo>
                    <a:pt x="138" y="46"/>
                  </a:lnTo>
                  <a:lnTo>
                    <a:pt x="140" y="46"/>
                  </a:lnTo>
                  <a:lnTo>
                    <a:pt x="138" y="46"/>
                  </a:lnTo>
                  <a:lnTo>
                    <a:pt x="138" y="48"/>
                  </a:lnTo>
                  <a:lnTo>
                    <a:pt x="135" y="48"/>
                  </a:lnTo>
                  <a:lnTo>
                    <a:pt x="133" y="48"/>
                  </a:lnTo>
                  <a:lnTo>
                    <a:pt x="131" y="48"/>
                  </a:lnTo>
                  <a:lnTo>
                    <a:pt x="128" y="46"/>
                  </a:lnTo>
                  <a:lnTo>
                    <a:pt x="128" y="43"/>
                  </a:lnTo>
                  <a:lnTo>
                    <a:pt x="128" y="41"/>
                  </a:lnTo>
                  <a:lnTo>
                    <a:pt x="131" y="41"/>
                  </a:lnTo>
                  <a:lnTo>
                    <a:pt x="133" y="41"/>
                  </a:lnTo>
                  <a:close/>
                  <a:moveTo>
                    <a:pt x="107" y="29"/>
                  </a:moveTo>
                  <a:lnTo>
                    <a:pt x="109" y="29"/>
                  </a:lnTo>
                  <a:lnTo>
                    <a:pt x="109" y="31"/>
                  </a:lnTo>
                  <a:lnTo>
                    <a:pt x="107" y="31"/>
                  </a:lnTo>
                  <a:lnTo>
                    <a:pt x="104" y="31"/>
                  </a:lnTo>
                  <a:lnTo>
                    <a:pt x="104" y="29"/>
                  </a:lnTo>
                  <a:lnTo>
                    <a:pt x="107" y="29"/>
                  </a:lnTo>
                  <a:close/>
                  <a:moveTo>
                    <a:pt x="2" y="8"/>
                  </a:moveTo>
                  <a:lnTo>
                    <a:pt x="2" y="10"/>
                  </a:lnTo>
                  <a:lnTo>
                    <a:pt x="5" y="10"/>
                  </a:lnTo>
                  <a:lnTo>
                    <a:pt x="5" y="12"/>
                  </a:lnTo>
                  <a:lnTo>
                    <a:pt x="2" y="12"/>
                  </a:lnTo>
                  <a:lnTo>
                    <a:pt x="5" y="12"/>
                  </a:lnTo>
                  <a:lnTo>
                    <a:pt x="2" y="12"/>
                  </a:lnTo>
                  <a:lnTo>
                    <a:pt x="2" y="15"/>
                  </a:lnTo>
                  <a:lnTo>
                    <a:pt x="0" y="15"/>
                  </a:lnTo>
                  <a:lnTo>
                    <a:pt x="0" y="12"/>
                  </a:lnTo>
                  <a:lnTo>
                    <a:pt x="0" y="10"/>
                  </a:lnTo>
                  <a:lnTo>
                    <a:pt x="2" y="10"/>
                  </a:lnTo>
                  <a:lnTo>
                    <a:pt x="2" y="8"/>
                  </a:lnTo>
                  <a:close/>
                  <a:moveTo>
                    <a:pt x="5" y="0"/>
                  </a:moveTo>
                  <a:lnTo>
                    <a:pt x="5" y="3"/>
                  </a:lnTo>
                  <a:lnTo>
                    <a:pt x="5" y="0"/>
                  </a:lnTo>
                  <a:close/>
                </a:path>
              </a:pathLst>
            </a:custGeom>
            <a:grpFill/>
            <a:ln w="6350">
              <a:solidFill>
                <a:schemeClr val="bg1">
                  <a:lumMod val="85000"/>
                </a:schemeClr>
              </a:solidFill>
              <a:prstDash val="solid"/>
              <a:round/>
              <a:headEnd/>
              <a:tailEnd/>
            </a:ln>
          </p:spPr>
          <p:txBody>
            <a:bodyPr/>
            <a:lstStyle/>
            <a:p>
              <a:endParaRPr lang="en-US">
                <a:solidFill>
                  <a:srgbClr val="000000"/>
                </a:solidFill>
              </a:endParaRPr>
            </a:p>
          </p:txBody>
        </p:sp>
        <p:sp>
          <p:nvSpPr>
            <p:cNvPr id="131" name="Freeform 57963"/>
            <p:cNvSpPr>
              <a:spLocks noEditPoints="1"/>
            </p:cNvSpPr>
            <p:nvPr/>
          </p:nvSpPr>
          <p:spPr bwMode="auto">
            <a:xfrm>
              <a:off x="1155699" y="5922977"/>
              <a:ext cx="30163" cy="215901"/>
            </a:xfrm>
            <a:custGeom>
              <a:avLst/>
              <a:gdLst>
                <a:gd name="T0" fmla="*/ 19 w 19"/>
                <a:gd name="T1" fmla="*/ 136 h 136"/>
                <a:gd name="T2" fmla="*/ 19 w 19"/>
                <a:gd name="T3" fmla="*/ 133 h 136"/>
                <a:gd name="T4" fmla="*/ 19 w 19"/>
                <a:gd name="T5" fmla="*/ 133 h 136"/>
                <a:gd name="T6" fmla="*/ 19 w 19"/>
                <a:gd name="T7" fmla="*/ 133 h 136"/>
                <a:gd name="T8" fmla="*/ 19 w 19"/>
                <a:gd name="T9" fmla="*/ 136 h 136"/>
                <a:gd name="T10" fmla="*/ 19 w 19"/>
                <a:gd name="T11" fmla="*/ 133 h 136"/>
                <a:gd name="T12" fmla="*/ 19 w 19"/>
                <a:gd name="T13" fmla="*/ 133 h 136"/>
                <a:gd name="T14" fmla="*/ 19 w 19"/>
                <a:gd name="T15" fmla="*/ 133 h 136"/>
                <a:gd name="T16" fmla="*/ 19 w 19"/>
                <a:gd name="T17" fmla="*/ 133 h 136"/>
                <a:gd name="T18" fmla="*/ 19 w 19"/>
                <a:gd name="T19" fmla="*/ 133 h 136"/>
                <a:gd name="T20" fmla="*/ 19 w 19"/>
                <a:gd name="T21" fmla="*/ 133 h 136"/>
                <a:gd name="T22" fmla="*/ 19 w 19"/>
                <a:gd name="T23" fmla="*/ 133 h 136"/>
                <a:gd name="T24" fmla="*/ 19 w 19"/>
                <a:gd name="T25" fmla="*/ 133 h 136"/>
                <a:gd name="T26" fmla="*/ 19 w 19"/>
                <a:gd name="T27" fmla="*/ 133 h 136"/>
                <a:gd name="T28" fmla="*/ 19 w 19"/>
                <a:gd name="T29" fmla="*/ 133 h 136"/>
                <a:gd name="T30" fmla="*/ 19 w 19"/>
                <a:gd name="T31" fmla="*/ 133 h 136"/>
                <a:gd name="T32" fmla="*/ 19 w 19"/>
                <a:gd name="T33" fmla="*/ 133 h 136"/>
                <a:gd name="T34" fmla="*/ 0 w 19"/>
                <a:gd name="T35" fmla="*/ 19 h 136"/>
                <a:gd name="T36" fmla="*/ 0 w 19"/>
                <a:gd name="T37" fmla="*/ 19 h 136"/>
                <a:gd name="T38" fmla="*/ 0 w 19"/>
                <a:gd name="T39" fmla="*/ 19 h 136"/>
                <a:gd name="T40" fmla="*/ 0 w 19"/>
                <a:gd name="T41" fmla="*/ 19 h 136"/>
                <a:gd name="T42" fmla="*/ 7 w 19"/>
                <a:gd name="T43" fmla="*/ 14 h 136"/>
                <a:gd name="T44" fmla="*/ 7 w 19"/>
                <a:gd name="T45" fmla="*/ 14 h 136"/>
                <a:gd name="T46" fmla="*/ 7 w 19"/>
                <a:gd name="T47" fmla="*/ 14 h 136"/>
                <a:gd name="T48" fmla="*/ 12 w 19"/>
                <a:gd name="T49" fmla="*/ 3 h 136"/>
                <a:gd name="T50" fmla="*/ 12 w 19"/>
                <a:gd name="T51" fmla="*/ 3 h 136"/>
                <a:gd name="T52" fmla="*/ 12 w 19"/>
                <a:gd name="T53" fmla="*/ 3 h 136"/>
                <a:gd name="T54" fmla="*/ 9 w 19"/>
                <a:gd name="T55" fmla="*/ 3 h 136"/>
                <a:gd name="T56" fmla="*/ 9 w 19"/>
                <a:gd name="T57" fmla="*/ 3 h 136"/>
                <a:gd name="T58" fmla="*/ 9 w 19"/>
                <a:gd name="T59" fmla="*/ 3 h 136"/>
                <a:gd name="T60" fmla="*/ 12 w 19"/>
                <a:gd name="T61" fmla="*/ 3 h 136"/>
                <a:gd name="T62" fmla="*/ 12 w 19"/>
                <a:gd name="T63" fmla="*/ 3 h 136"/>
                <a:gd name="T64" fmla="*/ 12 w 19"/>
                <a:gd name="T65" fmla="*/ 0 h 136"/>
                <a:gd name="T66" fmla="*/ 12 w 19"/>
                <a:gd name="T67" fmla="*/ 0 h 136"/>
                <a:gd name="T68" fmla="*/ 12 w 19"/>
                <a:gd name="T69" fmla="*/ 0 h 136"/>
                <a:gd name="T70" fmla="*/ 12 w 19"/>
                <a:gd name="T7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136">
                  <a:moveTo>
                    <a:pt x="19" y="136"/>
                  </a:moveTo>
                  <a:lnTo>
                    <a:pt x="19" y="136"/>
                  </a:lnTo>
                  <a:lnTo>
                    <a:pt x="19" y="133"/>
                  </a:lnTo>
                  <a:lnTo>
                    <a:pt x="19" y="133"/>
                  </a:lnTo>
                  <a:lnTo>
                    <a:pt x="19" y="133"/>
                  </a:lnTo>
                  <a:lnTo>
                    <a:pt x="19" y="133"/>
                  </a:lnTo>
                  <a:lnTo>
                    <a:pt x="19" y="133"/>
                  </a:lnTo>
                  <a:lnTo>
                    <a:pt x="19" y="133"/>
                  </a:lnTo>
                  <a:lnTo>
                    <a:pt x="19" y="136"/>
                  </a:lnTo>
                  <a:lnTo>
                    <a:pt x="19" y="136"/>
                  </a:lnTo>
                  <a:close/>
                  <a:moveTo>
                    <a:pt x="19" y="133"/>
                  </a:moveTo>
                  <a:lnTo>
                    <a:pt x="19" y="133"/>
                  </a:lnTo>
                  <a:lnTo>
                    <a:pt x="19" y="133"/>
                  </a:lnTo>
                  <a:lnTo>
                    <a:pt x="19" y="133"/>
                  </a:lnTo>
                  <a:lnTo>
                    <a:pt x="19" y="133"/>
                  </a:lnTo>
                  <a:lnTo>
                    <a:pt x="19" y="133"/>
                  </a:lnTo>
                  <a:close/>
                  <a:moveTo>
                    <a:pt x="19" y="133"/>
                  </a:moveTo>
                  <a:lnTo>
                    <a:pt x="19" y="133"/>
                  </a:lnTo>
                  <a:lnTo>
                    <a:pt x="19" y="133"/>
                  </a:lnTo>
                  <a:lnTo>
                    <a:pt x="19" y="133"/>
                  </a:lnTo>
                  <a:lnTo>
                    <a:pt x="19" y="133"/>
                  </a:lnTo>
                  <a:lnTo>
                    <a:pt x="19" y="133"/>
                  </a:lnTo>
                  <a:close/>
                  <a:moveTo>
                    <a:pt x="19" y="133"/>
                  </a:moveTo>
                  <a:lnTo>
                    <a:pt x="19" y="133"/>
                  </a:lnTo>
                  <a:lnTo>
                    <a:pt x="19" y="133"/>
                  </a:lnTo>
                  <a:lnTo>
                    <a:pt x="19" y="133"/>
                  </a:lnTo>
                  <a:lnTo>
                    <a:pt x="19" y="133"/>
                  </a:lnTo>
                  <a:lnTo>
                    <a:pt x="19" y="133"/>
                  </a:lnTo>
                  <a:lnTo>
                    <a:pt x="19" y="133"/>
                  </a:lnTo>
                  <a:lnTo>
                    <a:pt x="19" y="133"/>
                  </a:lnTo>
                  <a:lnTo>
                    <a:pt x="19" y="133"/>
                  </a:lnTo>
                  <a:lnTo>
                    <a:pt x="19" y="133"/>
                  </a:lnTo>
                  <a:lnTo>
                    <a:pt x="19" y="133"/>
                  </a:lnTo>
                  <a:lnTo>
                    <a:pt x="19" y="133"/>
                  </a:lnTo>
                  <a:lnTo>
                    <a:pt x="19" y="133"/>
                  </a:lnTo>
                  <a:close/>
                  <a:moveTo>
                    <a:pt x="0" y="19"/>
                  </a:moveTo>
                  <a:lnTo>
                    <a:pt x="0" y="19"/>
                  </a:lnTo>
                  <a:lnTo>
                    <a:pt x="0" y="19"/>
                  </a:lnTo>
                  <a:lnTo>
                    <a:pt x="0" y="19"/>
                  </a:lnTo>
                  <a:lnTo>
                    <a:pt x="0" y="19"/>
                  </a:lnTo>
                  <a:lnTo>
                    <a:pt x="0" y="19"/>
                  </a:lnTo>
                  <a:lnTo>
                    <a:pt x="0" y="19"/>
                  </a:lnTo>
                  <a:close/>
                  <a:moveTo>
                    <a:pt x="7" y="14"/>
                  </a:moveTo>
                  <a:lnTo>
                    <a:pt x="7" y="14"/>
                  </a:lnTo>
                  <a:lnTo>
                    <a:pt x="7" y="14"/>
                  </a:lnTo>
                  <a:lnTo>
                    <a:pt x="7" y="14"/>
                  </a:lnTo>
                  <a:lnTo>
                    <a:pt x="7" y="14"/>
                  </a:lnTo>
                  <a:lnTo>
                    <a:pt x="7" y="14"/>
                  </a:lnTo>
                  <a:close/>
                  <a:moveTo>
                    <a:pt x="12" y="3"/>
                  </a:moveTo>
                  <a:lnTo>
                    <a:pt x="12" y="3"/>
                  </a:lnTo>
                  <a:lnTo>
                    <a:pt x="12" y="3"/>
                  </a:lnTo>
                  <a:lnTo>
                    <a:pt x="12" y="3"/>
                  </a:lnTo>
                  <a:lnTo>
                    <a:pt x="12" y="3"/>
                  </a:lnTo>
                  <a:lnTo>
                    <a:pt x="12" y="3"/>
                  </a:lnTo>
                  <a:lnTo>
                    <a:pt x="12" y="3"/>
                  </a:lnTo>
                  <a:close/>
                  <a:moveTo>
                    <a:pt x="9" y="3"/>
                  </a:moveTo>
                  <a:lnTo>
                    <a:pt x="9" y="3"/>
                  </a:lnTo>
                  <a:lnTo>
                    <a:pt x="9" y="3"/>
                  </a:lnTo>
                  <a:lnTo>
                    <a:pt x="9" y="3"/>
                  </a:lnTo>
                  <a:lnTo>
                    <a:pt x="9" y="3"/>
                  </a:lnTo>
                  <a:close/>
                  <a:moveTo>
                    <a:pt x="12" y="3"/>
                  </a:moveTo>
                  <a:lnTo>
                    <a:pt x="12" y="3"/>
                  </a:lnTo>
                  <a:lnTo>
                    <a:pt x="12" y="3"/>
                  </a:lnTo>
                  <a:lnTo>
                    <a:pt x="12" y="3"/>
                  </a:lnTo>
                  <a:lnTo>
                    <a:pt x="12" y="3"/>
                  </a:lnTo>
                  <a:close/>
                  <a:moveTo>
                    <a:pt x="12" y="0"/>
                  </a:moveTo>
                  <a:lnTo>
                    <a:pt x="12" y="0"/>
                  </a:lnTo>
                  <a:lnTo>
                    <a:pt x="12" y="0"/>
                  </a:lnTo>
                  <a:lnTo>
                    <a:pt x="12" y="0"/>
                  </a:lnTo>
                  <a:lnTo>
                    <a:pt x="12" y="0"/>
                  </a:lnTo>
                  <a:lnTo>
                    <a:pt x="12"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2" name="Freeform 57964"/>
            <p:cNvSpPr>
              <a:spLocks noEditPoints="1"/>
            </p:cNvSpPr>
            <p:nvPr/>
          </p:nvSpPr>
          <p:spPr bwMode="auto">
            <a:xfrm>
              <a:off x="1155700" y="5927739"/>
              <a:ext cx="41275" cy="211138"/>
            </a:xfrm>
            <a:custGeom>
              <a:avLst/>
              <a:gdLst>
                <a:gd name="T0" fmla="*/ 21 w 26"/>
                <a:gd name="T1" fmla="*/ 130 h 133"/>
                <a:gd name="T2" fmla="*/ 21 w 26"/>
                <a:gd name="T3" fmla="*/ 133 h 133"/>
                <a:gd name="T4" fmla="*/ 21 w 26"/>
                <a:gd name="T5" fmla="*/ 130 h 133"/>
                <a:gd name="T6" fmla="*/ 26 w 26"/>
                <a:gd name="T7" fmla="*/ 128 h 133"/>
                <a:gd name="T8" fmla="*/ 26 w 26"/>
                <a:gd name="T9" fmla="*/ 128 h 133"/>
                <a:gd name="T10" fmla="*/ 26 w 26"/>
                <a:gd name="T11" fmla="*/ 128 h 133"/>
                <a:gd name="T12" fmla="*/ 26 w 26"/>
                <a:gd name="T13" fmla="*/ 126 h 133"/>
                <a:gd name="T14" fmla="*/ 26 w 26"/>
                <a:gd name="T15" fmla="*/ 126 h 133"/>
                <a:gd name="T16" fmla="*/ 7 w 26"/>
                <a:gd name="T17" fmla="*/ 30 h 133"/>
                <a:gd name="T18" fmla="*/ 4 w 26"/>
                <a:gd name="T19" fmla="*/ 28 h 133"/>
                <a:gd name="T20" fmla="*/ 4 w 26"/>
                <a:gd name="T21" fmla="*/ 28 h 133"/>
                <a:gd name="T22" fmla="*/ 4 w 26"/>
                <a:gd name="T23" fmla="*/ 28 h 133"/>
                <a:gd name="T24" fmla="*/ 4 w 26"/>
                <a:gd name="T25" fmla="*/ 28 h 133"/>
                <a:gd name="T26" fmla="*/ 7 w 26"/>
                <a:gd name="T27" fmla="*/ 30 h 133"/>
                <a:gd name="T28" fmla="*/ 4 w 26"/>
                <a:gd name="T29" fmla="*/ 23 h 133"/>
                <a:gd name="T30" fmla="*/ 4 w 26"/>
                <a:gd name="T31" fmla="*/ 23 h 133"/>
                <a:gd name="T32" fmla="*/ 4 w 26"/>
                <a:gd name="T33" fmla="*/ 23 h 133"/>
                <a:gd name="T34" fmla="*/ 4 w 26"/>
                <a:gd name="T35" fmla="*/ 26 h 133"/>
                <a:gd name="T36" fmla="*/ 4 w 26"/>
                <a:gd name="T37" fmla="*/ 26 h 133"/>
                <a:gd name="T38" fmla="*/ 4 w 26"/>
                <a:gd name="T39" fmla="*/ 26 h 133"/>
                <a:gd name="T40" fmla="*/ 4 w 26"/>
                <a:gd name="T41" fmla="*/ 26 h 133"/>
                <a:gd name="T42" fmla="*/ 4 w 26"/>
                <a:gd name="T43" fmla="*/ 23 h 133"/>
                <a:gd name="T44" fmla="*/ 4 w 26"/>
                <a:gd name="T45" fmla="*/ 23 h 133"/>
                <a:gd name="T46" fmla="*/ 4 w 26"/>
                <a:gd name="T47" fmla="*/ 23 h 133"/>
                <a:gd name="T48" fmla="*/ 2 w 26"/>
                <a:gd name="T49" fmla="*/ 23 h 133"/>
                <a:gd name="T50" fmla="*/ 4 w 26"/>
                <a:gd name="T51" fmla="*/ 23 h 133"/>
                <a:gd name="T52" fmla="*/ 2 w 26"/>
                <a:gd name="T53" fmla="*/ 23 h 133"/>
                <a:gd name="T54" fmla="*/ 4 w 26"/>
                <a:gd name="T55" fmla="*/ 23 h 133"/>
                <a:gd name="T56" fmla="*/ 2 w 26"/>
                <a:gd name="T57" fmla="*/ 21 h 133"/>
                <a:gd name="T58" fmla="*/ 2 w 26"/>
                <a:gd name="T59" fmla="*/ 21 h 133"/>
                <a:gd name="T60" fmla="*/ 0 w 26"/>
                <a:gd name="T61" fmla="*/ 16 h 133"/>
                <a:gd name="T62" fmla="*/ 0 w 26"/>
                <a:gd name="T63" fmla="*/ 14 h 133"/>
                <a:gd name="T64" fmla="*/ 0 w 26"/>
                <a:gd name="T65" fmla="*/ 16 h 133"/>
                <a:gd name="T66" fmla="*/ 9 w 26"/>
                <a:gd name="T67" fmla="*/ 4 h 133"/>
                <a:gd name="T68" fmla="*/ 9 w 26"/>
                <a:gd name="T69" fmla="*/ 4 h 133"/>
                <a:gd name="T70" fmla="*/ 9 w 26"/>
                <a:gd name="T71" fmla="*/ 2 h 133"/>
                <a:gd name="T72" fmla="*/ 9 w 26"/>
                <a:gd name="T73" fmla="*/ 2 h 133"/>
                <a:gd name="T74" fmla="*/ 7 w 26"/>
                <a:gd name="T75" fmla="*/ 2 h 133"/>
                <a:gd name="T76" fmla="*/ 7 w 26"/>
                <a:gd name="T77" fmla="*/ 2 h 133"/>
                <a:gd name="T78" fmla="*/ 12 w 26"/>
                <a:gd name="T79" fmla="*/ 2 h 133"/>
                <a:gd name="T80" fmla="*/ 12 w 26"/>
                <a:gd name="T81" fmla="*/ 0 h 133"/>
                <a:gd name="T82" fmla="*/ 12 w 26"/>
                <a:gd name="T83" fmla="*/ 0 h 133"/>
                <a:gd name="T84" fmla="*/ 12 w 26"/>
                <a:gd name="T85" fmla="*/ 0 h 133"/>
                <a:gd name="T86" fmla="*/ 12 w 26"/>
                <a:gd name="T87" fmla="*/ 0 h 133"/>
                <a:gd name="T88" fmla="*/ 12 w 26"/>
                <a:gd name="T89" fmla="*/ 2 h 133"/>
                <a:gd name="T90" fmla="*/ 12 w 26"/>
                <a:gd name="T91" fmla="*/ 2 h 133"/>
                <a:gd name="T92" fmla="*/ 12 w 26"/>
                <a:gd name="T93" fmla="*/ 2 h 133"/>
                <a:gd name="T94" fmla="*/ 9 w 26"/>
                <a:gd name="T95" fmla="*/ 2 h 133"/>
                <a:gd name="T96" fmla="*/ 9 w 26"/>
                <a:gd name="T97" fmla="*/ 2 h 133"/>
                <a:gd name="T98" fmla="*/ 9 w 26"/>
                <a:gd name="T99" fmla="*/ 2 h 133"/>
                <a:gd name="T100" fmla="*/ 7 w 26"/>
                <a:gd name="T101" fmla="*/ 2 h 133"/>
                <a:gd name="T102" fmla="*/ 9 w 26"/>
                <a:gd name="T103" fmla="*/ 2 h 133"/>
                <a:gd name="T104" fmla="*/ 9 w 26"/>
                <a:gd name="T105" fmla="*/ 0 h 133"/>
                <a:gd name="T106" fmla="*/ 9 w 26"/>
                <a:gd name="T107" fmla="*/ 0 h 133"/>
                <a:gd name="T108" fmla="*/ 9 w 26"/>
                <a:gd name="T10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 h="133">
                  <a:moveTo>
                    <a:pt x="21" y="130"/>
                  </a:moveTo>
                  <a:lnTo>
                    <a:pt x="21" y="130"/>
                  </a:lnTo>
                  <a:lnTo>
                    <a:pt x="21" y="130"/>
                  </a:lnTo>
                  <a:lnTo>
                    <a:pt x="21" y="130"/>
                  </a:lnTo>
                  <a:lnTo>
                    <a:pt x="21" y="130"/>
                  </a:lnTo>
                  <a:lnTo>
                    <a:pt x="21" y="130"/>
                  </a:lnTo>
                  <a:lnTo>
                    <a:pt x="21" y="130"/>
                  </a:lnTo>
                  <a:lnTo>
                    <a:pt x="21" y="133"/>
                  </a:lnTo>
                  <a:lnTo>
                    <a:pt x="21" y="130"/>
                  </a:lnTo>
                  <a:lnTo>
                    <a:pt x="21" y="133"/>
                  </a:lnTo>
                  <a:lnTo>
                    <a:pt x="21" y="133"/>
                  </a:lnTo>
                  <a:lnTo>
                    <a:pt x="21" y="133"/>
                  </a:lnTo>
                  <a:lnTo>
                    <a:pt x="21" y="133"/>
                  </a:lnTo>
                  <a:lnTo>
                    <a:pt x="21" y="130"/>
                  </a:lnTo>
                  <a:lnTo>
                    <a:pt x="21" y="130"/>
                  </a:lnTo>
                  <a:lnTo>
                    <a:pt x="21" y="130"/>
                  </a:lnTo>
                  <a:lnTo>
                    <a:pt x="21" y="130"/>
                  </a:lnTo>
                  <a:lnTo>
                    <a:pt x="21" y="130"/>
                  </a:lnTo>
                  <a:close/>
                  <a:moveTo>
                    <a:pt x="26" y="126"/>
                  </a:moveTo>
                  <a:lnTo>
                    <a:pt x="26" y="128"/>
                  </a:lnTo>
                  <a:lnTo>
                    <a:pt x="26" y="128"/>
                  </a:lnTo>
                  <a:lnTo>
                    <a:pt x="26" y="128"/>
                  </a:lnTo>
                  <a:lnTo>
                    <a:pt x="26" y="128"/>
                  </a:lnTo>
                  <a:lnTo>
                    <a:pt x="26" y="128"/>
                  </a:lnTo>
                  <a:lnTo>
                    <a:pt x="26" y="128"/>
                  </a:lnTo>
                  <a:lnTo>
                    <a:pt x="26" y="128"/>
                  </a:lnTo>
                  <a:lnTo>
                    <a:pt x="26" y="128"/>
                  </a:lnTo>
                  <a:lnTo>
                    <a:pt x="26" y="128"/>
                  </a:lnTo>
                  <a:lnTo>
                    <a:pt x="26" y="128"/>
                  </a:lnTo>
                  <a:lnTo>
                    <a:pt x="26" y="128"/>
                  </a:lnTo>
                  <a:lnTo>
                    <a:pt x="26" y="128"/>
                  </a:lnTo>
                  <a:lnTo>
                    <a:pt x="26" y="128"/>
                  </a:lnTo>
                  <a:lnTo>
                    <a:pt x="26" y="126"/>
                  </a:lnTo>
                  <a:lnTo>
                    <a:pt x="26" y="126"/>
                  </a:lnTo>
                  <a:lnTo>
                    <a:pt x="26" y="126"/>
                  </a:lnTo>
                  <a:lnTo>
                    <a:pt x="26" y="126"/>
                  </a:lnTo>
                  <a:lnTo>
                    <a:pt x="26" y="126"/>
                  </a:lnTo>
                  <a:lnTo>
                    <a:pt x="26" y="126"/>
                  </a:lnTo>
                  <a:lnTo>
                    <a:pt x="26" y="126"/>
                  </a:lnTo>
                  <a:lnTo>
                    <a:pt x="26" y="126"/>
                  </a:lnTo>
                  <a:lnTo>
                    <a:pt x="26" y="126"/>
                  </a:lnTo>
                  <a:lnTo>
                    <a:pt x="26" y="126"/>
                  </a:lnTo>
                  <a:close/>
                  <a:moveTo>
                    <a:pt x="7" y="30"/>
                  </a:moveTo>
                  <a:lnTo>
                    <a:pt x="7" y="30"/>
                  </a:lnTo>
                  <a:lnTo>
                    <a:pt x="7" y="30"/>
                  </a:lnTo>
                  <a:lnTo>
                    <a:pt x="7" y="30"/>
                  </a:lnTo>
                  <a:lnTo>
                    <a:pt x="4" y="30"/>
                  </a:lnTo>
                  <a:lnTo>
                    <a:pt x="4" y="30"/>
                  </a:lnTo>
                  <a:lnTo>
                    <a:pt x="4" y="30"/>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4" y="28"/>
                  </a:lnTo>
                  <a:lnTo>
                    <a:pt x="7" y="30"/>
                  </a:lnTo>
                  <a:close/>
                  <a:moveTo>
                    <a:pt x="4" y="23"/>
                  </a:move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6"/>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4" y="23"/>
                  </a:lnTo>
                  <a:lnTo>
                    <a:pt x="2" y="23"/>
                  </a:lnTo>
                  <a:lnTo>
                    <a:pt x="2" y="23"/>
                  </a:lnTo>
                  <a:lnTo>
                    <a:pt x="4" y="23"/>
                  </a:lnTo>
                  <a:lnTo>
                    <a:pt x="4" y="23"/>
                  </a:lnTo>
                  <a:lnTo>
                    <a:pt x="4" y="23"/>
                  </a:lnTo>
                  <a:lnTo>
                    <a:pt x="4" y="23"/>
                  </a:lnTo>
                  <a:lnTo>
                    <a:pt x="4" y="23"/>
                  </a:lnTo>
                  <a:lnTo>
                    <a:pt x="4" y="23"/>
                  </a:lnTo>
                  <a:lnTo>
                    <a:pt x="4" y="23"/>
                  </a:lnTo>
                  <a:lnTo>
                    <a:pt x="4" y="23"/>
                  </a:lnTo>
                  <a:lnTo>
                    <a:pt x="4" y="23"/>
                  </a:lnTo>
                  <a:lnTo>
                    <a:pt x="2" y="23"/>
                  </a:lnTo>
                  <a:lnTo>
                    <a:pt x="2" y="23"/>
                  </a:lnTo>
                  <a:lnTo>
                    <a:pt x="4" y="23"/>
                  </a:lnTo>
                  <a:lnTo>
                    <a:pt x="4" y="23"/>
                  </a:lnTo>
                  <a:lnTo>
                    <a:pt x="4" y="23"/>
                  </a:lnTo>
                  <a:lnTo>
                    <a:pt x="4" y="23"/>
                  </a:lnTo>
                  <a:lnTo>
                    <a:pt x="4" y="23"/>
                  </a:lnTo>
                  <a:lnTo>
                    <a:pt x="4" y="23"/>
                  </a:lnTo>
                  <a:lnTo>
                    <a:pt x="4" y="23"/>
                  </a:lnTo>
                  <a:close/>
                  <a:moveTo>
                    <a:pt x="4" y="21"/>
                  </a:moveTo>
                  <a:lnTo>
                    <a:pt x="2" y="21"/>
                  </a:lnTo>
                  <a:lnTo>
                    <a:pt x="2" y="21"/>
                  </a:lnTo>
                  <a:lnTo>
                    <a:pt x="2" y="21"/>
                  </a:lnTo>
                  <a:lnTo>
                    <a:pt x="2" y="21"/>
                  </a:lnTo>
                  <a:lnTo>
                    <a:pt x="2" y="21"/>
                  </a:lnTo>
                  <a:lnTo>
                    <a:pt x="2" y="21"/>
                  </a:lnTo>
                  <a:lnTo>
                    <a:pt x="2" y="21"/>
                  </a:lnTo>
                  <a:lnTo>
                    <a:pt x="2" y="21"/>
                  </a:lnTo>
                  <a:lnTo>
                    <a:pt x="4" y="21"/>
                  </a:lnTo>
                  <a:lnTo>
                    <a:pt x="4" y="21"/>
                  </a:lnTo>
                  <a:close/>
                  <a:moveTo>
                    <a:pt x="0" y="16"/>
                  </a:moveTo>
                  <a:lnTo>
                    <a:pt x="0" y="16"/>
                  </a:lnTo>
                  <a:lnTo>
                    <a:pt x="0" y="16"/>
                  </a:lnTo>
                  <a:lnTo>
                    <a:pt x="0" y="16"/>
                  </a:lnTo>
                  <a:lnTo>
                    <a:pt x="0" y="16"/>
                  </a:lnTo>
                  <a:lnTo>
                    <a:pt x="0" y="14"/>
                  </a:lnTo>
                  <a:lnTo>
                    <a:pt x="0" y="16"/>
                  </a:lnTo>
                  <a:lnTo>
                    <a:pt x="0" y="16"/>
                  </a:lnTo>
                  <a:lnTo>
                    <a:pt x="0" y="16"/>
                  </a:lnTo>
                  <a:lnTo>
                    <a:pt x="0" y="16"/>
                  </a:lnTo>
                  <a:lnTo>
                    <a:pt x="0" y="16"/>
                  </a:lnTo>
                  <a:lnTo>
                    <a:pt x="0" y="16"/>
                  </a:lnTo>
                  <a:close/>
                  <a:moveTo>
                    <a:pt x="9" y="4"/>
                  </a:moveTo>
                  <a:lnTo>
                    <a:pt x="9" y="4"/>
                  </a:lnTo>
                  <a:lnTo>
                    <a:pt x="9" y="4"/>
                  </a:lnTo>
                  <a:lnTo>
                    <a:pt x="9" y="4"/>
                  </a:lnTo>
                  <a:lnTo>
                    <a:pt x="9" y="4"/>
                  </a:lnTo>
                  <a:lnTo>
                    <a:pt x="9" y="4"/>
                  </a:lnTo>
                  <a:lnTo>
                    <a:pt x="9" y="4"/>
                  </a:lnTo>
                  <a:lnTo>
                    <a:pt x="9" y="4"/>
                  </a:lnTo>
                  <a:lnTo>
                    <a:pt x="9" y="4"/>
                  </a:lnTo>
                  <a:lnTo>
                    <a:pt x="9" y="4"/>
                  </a:lnTo>
                  <a:lnTo>
                    <a:pt x="9" y="4"/>
                  </a:lnTo>
                  <a:lnTo>
                    <a:pt x="9" y="4"/>
                  </a:lnTo>
                  <a:lnTo>
                    <a:pt x="9" y="2"/>
                  </a:lnTo>
                  <a:lnTo>
                    <a:pt x="9" y="2"/>
                  </a:lnTo>
                  <a:lnTo>
                    <a:pt x="9" y="2"/>
                  </a:lnTo>
                  <a:lnTo>
                    <a:pt x="9" y="2"/>
                  </a:lnTo>
                  <a:lnTo>
                    <a:pt x="9" y="2"/>
                  </a:lnTo>
                  <a:lnTo>
                    <a:pt x="9" y="2"/>
                  </a:lnTo>
                  <a:lnTo>
                    <a:pt x="9" y="2"/>
                  </a:lnTo>
                  <a:lnTo>
                    <a:pt x="9" y="4"/>
                  </a:lnTo>
                  <a:close/>
                  <a:moveTo>
                    <a:pt x="7" y="2"/>
                  </a:moveTo>
                  <a:lnTo>
                    <a:pt x="7" y="2"/>
                  </a:lnTo>
                  <a:lnTo>
                    <a:pt x="7" y="2"/>
                  </a:lnTo>
                  <a:lnTo>
                    <a:pt x="7" y="2"/>
                  </a:lnTo>
                  <a:lnTo>
                    <a:pt x="7" y="2"/>
                  </a:lnTo>
                  <a:lnTo>
                    <a:pt x="7" y="2"/>
                  </a:lnTo>
                  <a:lnTo>
                    <a:pt x="7" y="2"/>
                  </a:lnTo>
                  <a:lnTo>
                    <a:pt x="7" y="2"/>
                  </a:lnTo>
                  <a:lnTo>
                    <a:pt x="7" y="2"/>
                  </a:lnTo>
                  <a:close/>
                  <a:moveTo>
                    <a:pt x="12" y="2"/>
                  </a:moveTo>
                  <a:lnTo>
                    <a:pt x="12" y="2"/>
                  </a:lnTo>
                  <a:lnTo>
                    <a:pt x="12" y="2"/>
                  </a:lnTo>
                  <a:lnTo>
                    <a:pt x="12" y="2"/>
                  </a:lnTo>
                  <a:lnTo>
                    <a:pt x="12" y="2"/>
                  </a:lnTo>
                  <a:lnTo>
                    <a:pt x="12" y="2"/>
                  </a:lnTo>
                  <a:lnTo>
                    <a:pt x="12" y="2"/>
                  </a:lnTo>
                  <a:lnTo>
                    <a:pt x="12" y="2"/>
                  </a:lnTo>
                  <a:close/>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9" y="2"/>
                  </a:lnTo>
                  <a:lnTo>
                    <a:pt x="7" y="2"/>
                  </a:lnTo>
                  <a:lnTo>
                    <a:pt x="7" y="2"/>
                  </a:lnTo>
                  <a:lnTo>
                    <a:pt x="9" y="2"/>
                  </a:lnTo>
                  <a:lnTo>
                    <a:pt x="9" y="2"/>
                  </a:lnTo>
                  <a:lnTo>
                    <a:pt x="9" y="2"/>
                  </a:lnTo>
                  <a:lnTo>
                    <a:pt x="9" y="2"/>
                  </a:lnTo>
                  <a:lnTo>
                    <a:pt x="9" y="2"/>
                  </a:lnTo>
                  <a:lnTo>
                    <a:pt x="9" y="2"/>
                  </a:lnTo>
                  <a:lnTo>
                    <a:pt x="9" y="2"/>
                  </a:lnTo>
                  <a:lnTo>
                    <a:pt x="9" y="2"/>
                  </a:lnTo>
                  <a:lnTo>
                    <a:pt x="9" y="0"/>
                  </a:lnTo>
                  <a:lnTo>
                    <a:pt x="9" y="0"/>
                  </a:lnTo>
                  <a:lnTo>
                    <a:pt x="9" y="0"/>
                  </a:lnTo>
                  <a:lnTo>
                    <a:pt x="9" y="0"/>
                  </a:lnTo>
                  <a:lnTo>
                    <a:pt x="9" y="0"/>
                  </a:lnTo>
                  <a:lnTo>
                    <a:pt x="9" y="0"/>
                  </a:lnTo>
                  <a:lnTo>
                    <a:pt x="9" y="0"/>
                  </a:lnTo>
                  <a:lnTo>
                    <a:pt x="9" y="0"/>
                  </a:lnTo>
                  <a:lnTo>
                    <a:pt x="9" y="0"/>
                  </a:lnTo>
                  <a:lnTo>
                    <a:pt x="9" y="0"/>
                  </a:lnTo>
                  <a:lnTo>
                    <a:pt x="9" y="0"/>
                  </a:lnTo>
                  <a:lnTo>
                    <a:pt x="12" y="0"/>
                  </a:lnTo>
                  <a:lnTo>
                    <a:pt x="12" y="0"/>
                  </a:lnTo>
                  <a:lnTo>
                    <a:pt x="12" y="0"/>
                  </a:lnTo>
                  <a:lnTo>
                    <a:pt x="12"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3" name="Freeform 57965"/>
            <p:cNvSpPr>
              <a:spLocks noEditPoints="1"/>
            </p:cNvSpPr>
            <p:nvPr/>
          </p:nvSpPr>
          <p:spPr bwMode="auto">
            <a:xfrm>
              <a:off x="1528760" y="5319720"/>
              <a:ext cx="101600" cy="339725"/>
            </a:xfrm>
            <a:custGeom>
              <a:avLst/>
              <a:gdLst>
                <a:gd name="T0" fmla="*/ 54 w 64"/>
                <a:gd name="T1" fmla="*/ 212 h 214"/>
                <a:gd name="T2" fmla="*/ 52 w 64"/>
                <a:gd name="T3" fmla="*/ 212 h 214"/>
                <a:gd name="T4" fmla="*/ 52 w 64"/>
                <a:gd name="T5" fmla="*/ 212 h 214"/>
                <a:gd name="T6" fmla="*/ 54 w 64"/>
                <a:gd name="T7" fmla="*/ 212 h 214"/>
                <a:gd name="T8" fmla="*/ 57 w 64"/>
                <a:gd name="T9" fmla="*/ 212 h 214"/>
                <a:gd name="T10" fmla="*/ 54 w 64"/>
                <a:gd name="T11" fmla="*/ 212 h 214"/>
                <a:gd name="T12" fmla="*/ 19 w 64"/>
                <a:gd name="T13" fmla="*/ 212 h 214"/>
                <a:gd name="T14" fmla="*/ 64 w 64"/>
                <a:gd name="T15" fmla="*/ 207 h 214"/>
                <a:gd name="T16" fmla="*/ 64 w 64"/>
                <a:gd name="T17" fmla="*/ 207 h 214"/>
                <a:gd name="T18" fmla="*/ 64 w 64"/>
                <a:gd name="T19" fmla="*/ 207 h 214"/>
                <a:gd name="T20" fmla="*/ 64 w 64"/>
                <a:gd name="T21" fmla="*/ 207 h 214"/>
                <a:gd name="T22" fmla="*/ 64 w 64"/>
                <a:gd name="T23" fmla="*/ 204 h 214"/>
                <a:gd name="T24" fmla="*/ 64 w 64"/>
                <a:gd name="T25" fmla="*/ 204 h 214"/>
                <a:gd name="T26" fmla="*/ 64 w 64"/>
                <a:gd name="T27" fmla="*/ 204 h 214"/>
                <a:gd name="T28" fmla="*/ 23 w 64"/>
                <a:gd name="T29" fmla="*/ 174 h 214"/>
                <a:gd name="T30" fmla="*/ 23 w 64"/>
                <a:gd name="T31" fmla="*/ 174 h 214"/>
                <a:gd name="T32" fmla="*/ 26 w 64"/>
                <a:gd name="T33" fmla="*/ 147 h 214"/>
                <a:gd name="T34" fmla="*/ 26 w 64"/>
                <a:gd name="T35" fmla="*/ 147 h 214"/>
                <a:gd name="T36" fmla="*/ 26 w 64"/>
                <a:gd name="T37" fmla="*/ 147 h 214"/>
                <a:gd name="T38" fmla="*/ 26 w 64"/>
                <a:gd name="T39" fmla="*/ 145 h 214"/>
                <a:gd name="T40" fmla="*/ 26 w 64"/>
                <a:gd name="T41" fmla="*/ 145 h 214"/>
                <a:gd name="T42" fmla="*/ 26 w 64"/>
                <a:gd name="T43" fmla="*/ 145 h 214"/>
                <a:gd name="T44" fmla="*/ 26 w 64"/>
                <a:gd name="T45" fmla="*/ 145 h 214"/>
                <a:gd name="T46" fmla="*/ 26 w 64"/>
                <a:gd name="T47" fmla="*/ 145 h 214"/>
                <a:gd name="T48" fmla="*/ 23 w 64"/>
                <a:gd name="T49" fmla="*/ 143 h 214"/>
                <a:gd name="T50" fmla="*/ 23 w 64"/>
                <a:gd name="T51" fmla="*/ 143 h 214"/>
                <a:gd name="T52" fmla="*/ 16 w 64"/>
                <a:gd name="T53" fmla="*/ 138 h 214"/>
                <a:gd name="T54" fmla="*/ 14 w 64"/>
                <a:gd name="T55" fmla="*/ 138 h 214"/>
                <a:gd name="T56" fmla="*/ 7 w 64"/>
                <a:gd name="T57" fmla="*/ 138 h 214"/>
                <a:gd name="T58" fmla="*/ 7 w 64"/>
                <a:gd name="T59" fmla="*/ 138 h 214"/>
                <a:gd name="T60" fmla="*/ 16 w 64"/>
                <a:gd name="T61" fmla="*/ 136 h 214"/>
                <a:gd name="T62" fmla="*/ 16 w 64"/>
                <a:gd name="T63" fmla="*/ 136 h 214"/>
                <a:gd name="T64" fmla="*/ 19 w 64"/>
                <a:gd name="T65" fmla="*/ 131 h 214"/>
                <a:gd name="T66" fmla="*/ 19 w 64"/>
                <a:gd name="T67" fmla="*/ 131 h 214"/>
                <a:gd name="T68" fmla="*/ 19 w 64"/>
                <a:gd name="T69" fmla="*/ 131 h 214"/>
                <a:gd name="T70" fmla="*/ 0 w 64"/>
                <a:gd name="T71" fmla="*/ 100 h 214"/>
                <a:gd name="T72" fmla="*/ 0 w 64"/>
                <a:gd name="T73" fmla="*/ 100 h 214"/>
                <a:gd name="T74" fmla="*/ 0 w 64"/>
                <a:gd name="T75" fmla="*/ 100 h 214"/>
                <a:gd name="T76" fmla="*/ 0 w 64"/>
                <a:gd name="T77" fmla="*/ 100 h 214"/>
                <a:gd name="T78" fmla="*/ 28 w 64"/>
                <a:gd name="T79" fmla="*/ 45 h 214"/>
                <a:gd name="T80" fmla="*/ 28 w 64"/>
                <a:gd name="T81" fmla="*/ 45 h 214"/>
                <a:gd name="T82" fmla="*/ 28 w 64"/>
                <a:gd name="T83" fmla="*/ 45 h 214"/>
                <a:gd name="T84" fmla="*/ 28 w 64"/>
                <a:gd name="T85" fmla="*/ 45 h 214"/>
                <a:gd name="T86" fmla="*/ 26 w 64"/>
                <a:gd name="T87" fmla="*/ 45 h 214"/>
                <a:gd name="T88" fmla="*/ 26 w 64"/>
                <a:gd name="T89" fmla="*/ 45 h 214"/>
                <a:gd name="T90" fmla="*/ 26 w 64"/>
                <a:gd name="T91" fmla="*/ 45 h 214"/>
                <a:gd name="T92" fmla="*/ 26 w 64"/>
                <a:gd name="T93" fmla="*/ 45 h 214"/>
                <a:gd name="T94" fmla="*/ 28 w 64"/>
                <a:gd name="T95" fmla="*/ 45 h 214"/>
                <a:gd name="T96" fmla="*/ 28 w 64"/>
                <a:gd name="T97" fmla="*/ 45 h 214"/>
                <a:gd name="T98" fmla="*/ 28 w 64"/>
                <a:gd name="T99" fmla="*/ 45 h 214"/>
                <a:gd name="T100" fmla="*/ 23 w 64"/>
                <a:gd name="T101" fmla="*/ 0 h 214"/>
                <a:gd name="T102" fmla="*/ 26 w 64"/>
                <a:gd name="T103"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214">
                  <a:moveTo>
                    <a:pt x="54" y="214"/>
                  </a:moveTo>
                  <a:lnTo>
                    <a:pt x="54" y="214"/>
                  </a:lnTo>
                  <a:lnTo>
                    <a:pt x="54" y="214"/>
                  </a:lnTo>
                  <a:lnTo>
                    <a:pt x="54" y="212"/>
                  </a:lnTo>
                  <a:lnTo>
                    <a:pt x="54" y="212"/>
                  </a:lnTo>
                  <a:lnTo>
                    <a:pt x="54" y="212"/>
                  </a:lnTo>
                  <a:lnTo>
                    <a:pt x="54" y="214"/>
                  </a:lnTo>
                  <a:close/>
                  <a:moveTo>
                    <a:pt x="52" y="212"/>
                  </a:moveTo>
                  <a:lnTo>
                    <a:pt x="52" y="212"/>
                  </a:lnTo>
                  <a:lnTo>
                    <a:pt x="52" y="212"/>
                  </a:lnTo>
                  <a:lnTo>
                    <a:pt x="52" y="212"/>
                  </a:lnTo>
                  <a:lnTo>
                    <a:pt x="52" y="212"/>
                  </a:lnTo>
                  <a:close/>
                  <a:moveTo>
                    <a:pt x="54" y="212"/>
                  </a:moveTo>
                  <a:lnTo>
                    <a:pt x="54" y="212"/>
                  </a:lnTo>
                  <a:lnTo>
                    <a:pt x="54" y="212"/>
                  </a:lnTo>
                  <a:lnTo>
                    <a:pt x="54" y="212"/>
                  </a:lnTo>
                  <a:lnTo>
                    <a:pt x="54" y="212"/>
                  </a:lnTo>
                  <a:close/>
                  <a:moveTo>
                    <a:pt x="57" y="212"/>
                  </a:moveTo>
                  <a:lnTo>
                    <a:pt x="57" y="212"/>
                  </a:lnTo>
                  <a:lnTo>
                    <a:pt x="57" y="212"/>
                  </a:lnTo>
                  <a:lnTo>
                    <a:pt x="57" y="212"/>
                  </a:lnTo>
                  <a:close/>
                  <a:moveTo>
                    <a:pt x="54" y="212"/>
                  </a:moveTo>
                  <a:lnTo>
                    <a:pt x="54" y="212"/>
                  </a:lnTo>
                  <a:lnTo>
                    <a:pt x="54" y="212"/>
                  </a:lnTo>
                  <a:lnTo>
                    <a:pt x="54" y="212"/>
                  </a:lnTo>
                  <a:lnTo>
                    <a:pt x="54" y="212"/>
                  </a:lnTo>
                  <a:close/>
                  <a:moveTo>
                    <a:pt x="19" y="212"/>
                  </a:moveTo>
                  <a:lnTo>
                    <a:pt x="19" y="212"/>
                  </a:lnTo>
                  <a:lnTo>
                    <a:pt x="19" y="212"/>
                  </a:lnTo>
                  <a:lnTo>
                    <a:pt x="19" y="212"/>
                  </a:lnTo>
                  <a:close/>
                  <a:moveTo>
                    <a:pt x="64" y="207"/>
                  </a:moveTo>
                  <a:lnTo>
                    <a:pt x="64" y="207"/>
                  </a:lnTo>
                  <a:lnTo>
                    <a:pt x="64" y="207"/>
                  </a:lnTo>
                  <a:lnTo>
                    <a:pt x="64" y="207"/>
                  </a:lnTo>
                  <a:close/>
                  <a:moveTo>
                    <a:pt x="64" y="207"/>
                  </a:moveTo>
                  <a:lnTo>
                    <a:pt x="64" y="207"/>
                  </a:lnTo>
                  <a:lnTo>
                    <a:pt x="64" y="207"/>
                  </a:lnTo>
                  <a:lnTo>
                    <a:pt x="64" y="207"/>
                  </a:lnTo>
                  <a:lnTo>
                    <a:pt x="64" y="207"/>
                  </a:lnTo>
                  <a:lnTo>
                    <a:pt x="64" y="207"/>
                  </a:lnTo>
                  <a:lnTo>
                    <a:pt x="64" y="207"/>
                  </a:lnTo>
                  <a:close/>
                  <a:moveTo>
                    <a:pt x="64" y="207"/>
                  </a:moveTo>
                  <a:lnTo>
                    <a:pt x="64" y="207"/>
                  </a:lnTo>
                  <a:lnTo>
                    <a:pt x="64" y="207"/>
                  </a:lnTo>
                  <a:lnTo>
                    <a:pt x="64" y="204"/>
                  </a:lnTo>
                  <a:lnTo>
                    <a:pt x="64" y="204"/>
                  </a:lnTo>
                  <a:lnTo>
                    <a:pt x="64" y="207"/>
                  </a:lnTo>
                  <a:close/>
                  <a:moveTo>
                    <a:pt x="64" y="204"/>
                  </a:moveTo>
                  <a:lnTo>
                    <a:pt x="64" y="204"/>
                  </a:lnTo>
                  <a:lnTo>
                    <a:pt x="64" y="204"/>
                  </a:lnTo>
                  <a:lnTo>
                    <a:pt x="64" y="204"/>
                  </a:lnTo>
                  <a:lnTo>
                    <a:pt x="64" y="204"/>
                  </a:lnTo>
                  <a:lnTo>
                    <a:pt x="64" y="204"/>
                  </a:lnTo>
                  <a:lnTo>
                    <a:pt x="64" y="204"/>
                  </a:lnTo>
                  <a:close/>
                  <a:moveTo>
                    <a:pt x="64" y="204"/>
                  </a:moveTo>
                  <a:lnTo>
                    <a:pt x="64" y="204"/>
                  </a:lnTo>
                  <a:lnTo>
                    <a:pt x="64" y="204"/>
                  </a:lnTo>
                  <a:lnTo>
                    <a:pt x="64" y="204"/>
                  </a:lnTo>
                  <a:lnTo>
                    <a:pt x="64" y="204"/>
                  </a:lnTo>
                  <a:close/>
                  <a:moveTo>
                    <a:pt x="23" y="174"/>
                  </a:moveTo>
                  <a:lnTo>
                    <a:pt x="23" y="174"/>
                  </a:lnTo>
                  <a:lnTo>
                    <a:pt x="23" y="174"/>
                  </a:lnTo>
                  <a:lnTo>
                    <a:pt x="23" y="174"/>
                  </a:lnTo>
                  <a:lnTo>
                    <a:pt x="23" y="174"/>
                  </a:lnTo>
                  <a:lnTo>
                    <a:pt x="23" y="174"/>
                  </a:lnTo>
                  <a:close/>
                  <a:moveTo>
                    <a:pt x="26" y="147"/>
                  </a:moveTo>
                  <a:lnTo>
                    <a:pt x="26" y="147"/>
                  </a:lnTo>
                  <a:lnTo>
                    <a:pt x="26" y="147"/>
                  </a:lnTo>
                  <a:lnTo>
                    <a:pt x="26" y="147"/>
                  </a:lnTo>
                  <a:lnTo>
                    <a:pt x="26" y="147"/>
                  </a:lnTo>
                  <a:lnTo>
                    <a:pt x="26" y="147"/>
                  </a:lnTo>
                  <a:lnTo>
                    <a:pt x="26" y="147"/>
                  </a:lnTo>
                  <a:lnTo>
                    <a:pt x="26" y="147"/>
                  </a:lnTo>
                  <a:lnTo>
                    <a:pt x="26" y="147"/>
                  </a:lnTo>
                  <a:lnTo>
                    <a:pt x="26" y="147"/>
                  </a:lnTo>
                  <a:close/>
                  <a:moveTo>
                    <a:pt x="26" y="147"/>
                  </a:moveTo>
                  <a:lnTo>
                    <a:pt x="26" y="147"/>
                  </a:lnTo>
                  <a:lnTo>
                    <a:pt x="26" y="147"/>
                  </a:lnTo>
                  <a:lnTo>
                    <a:pt x="26" y="147"/>
                  </a:lnTo>
                  <a:close/>
                  <a:moveTo>
                    <a:pt x="26" y="145"/>
                  </a:moveTo>
                  <a:lnTo>
                    <a:pt x="26" y="145"/>
                  </a:lnTo>
                  <a:lnTo>
                    <a:pt x="26" y="145"/>
                  </a:lnTo>
                  <a:lnTo>
                    <a:pt x="26" y="145"/>
                  </a:lnTo>
                  <a:lnTo>
                    <a:pt x="26" y="145"/>
                  </a:lnTo>
                  <a:lnTo>
                    <a:pt x="26" y="145"/>
                  </a:lnTo>
                  <a:close/>
                  <a:moveTo>
                    <a:pt x="26" y="145"/>
                  </a:moveTo>
                  <a:lnTo>
                    <a:pt x="26" y="145"/>
                  </a:lnTo>
                  <a:lnTo>
                    <a:pt x="26" y="145"/>
                  </a:lnTo>
                  <a:lnTo>
                    <a:pt x="26" y="145"/>
                  </a:lnTo>
                  <a:lnTo>
                    <a:pt x="26" y="145"/>
                  </a:lnTo>
                  <a:lnTo>
                    <a:pt x="26" y="145"/>
                  </a:lnTo>
                  <a:close/>
                  <a:moveTo>
                    <a:pt x="26" y="145"/>
                  </a:moveTo>
                  <a:lnTo>
                    <a:pt x="26" y="145"/>
                  </a:lnTo>
                  <a:lnTo>
                    <a:pt x="26" y="145"/>
                  </a:lnTo>
                  <a:lnTo>
                    <a:pt x="26" y="145"/>
                  </a:lnTo>
                  <a:lnTo>
                    <a:pt x="26" y="145"/>
                  </a:lnTo>
                  <a:lnTo>
                    <a:pt x="26" y="145"/>
                  </a:lnTo>
                  <a:lnTo>
                    <a:pt x="26" y="145"/>
                  </a:lnTo>
                  <a:lnTo>
                    <a:pt x="26" y="145"/>
                  </a:lnTo>
                  <a:close/>
                  <a:moveTo>
                    <a:pt x="23" y="143"/>
                  </a:moveTo>
                  <a:lnTo>
                    <a:pt x="23" y="143"/>
                  </a:lnTo>
                  <a:lnTo>
                    <a:pt x="23" y="143"/>
                  </a:lnTo>
                  <a:lnTo>
                    <a:pt x="23" y="143"/>
                  </a:lnTo>
                  <a:lnTo>
                    <a:pt x="23" y="143"/>
                  </a:lnTo>
                  <a:close/>
                  <a:moveTo>
                    <a:pt x="16" y="138"/>
                  </a:moveTo>
                  <a:lnTo>
                    <a:pt x="16" y="140"/>
                  </a:lnTo>
                  <a:lnTo>
                    <a:pt x="16" y="138"/>
                  </a:lnTo>
                  <a:lnTo>
                    <a:pt x="16" y="138"/>
                  </a:lnTo>
                  <a:lnTo>
                    <a:pt x="16" y="138"/>
                  </a:lnTo>
                  <a:lnTo>
                    <a:pt x="16" y="138"/>
                  </a:lnTo>
                  <a:close/>
                  <a:moveTo>
                    <a:pt x="14" y="138"/>
                  </a:moveTo>
                  <a:lnTo>
                    <a:pt x="14" y="138"/>
                  </a:lnTo>
                  <a:lnTo>
                    <a:pt x="14" y="138"/>
                  </a:lnTo>
                  <a:lnTo>
                    <a:pt x="14" y="138"/>
                  </a:lnTo>
                  <a:lnTo>
                    <a:pt x="14" y="138"/>
                  </a:lnTo>
                  <a:close/>
                  <a:moveTo>
                    <a:pt x="7" y="138"/>
                  </a:moveTo>
                  <a:lnTo>
                    <a:pt x="7" y="138"/>
                  </a:lnTo>
                  <a:lnTo>
                    <a:pt x="7" y="138"/>
                  </a:lnTo>
                  <a:lnTo>
                    <a:pt x="7" y="138"/>
                  </a:lnTo>
                  <a:lnTo>
                    <a:pt x="7" y="138"/>
                  </a:lnTo>
                  <a:lnTo>
                    <a:pt x="7" y="138"/>
                  </a:lnTo>
                  <a:close/>
                  <a:moveTo>
                    <a:pt x="16" y="136"/>
                  </a:moveTo>
                  <a:lnTo>
                    <a:pt x="16" y="136"/>
                  </a:lnTo>
                  <a:lnTo>
                    <a:pt x="16" y="136"/>
                  </a:lnTo>
                  <a:lnTo>
                    <a:pt x="16" y="136"/>
                  </a:lnTo>
                  <a:lnTo>
                    <a:pt x="16" y="136"/>
                  </a:lnTo>
                  <a:lnTo>
                    <a:pt x="16" y="136"/>
                  </a:lnTo>
                  <a:lnTo>
                    <a:pt x="16" y="136"/>
                  </a:lnTo>
                  <a:close/>
                  <a:moveTo>
                    <a:pt x="19" y="131"/>
                  </a:moveTo>
                  <a:lnTo>
                    <a:pt x="19" y="133"/>
                  </a:lnTo>
                  <a:lnTo>
                    <a:pt x="19" y="131"/>
                  </a:lnTo>
                  <a:lnTo>
                    <a:pt x="19" y="131"/>
                  </a:lnTo>
                  <a:lnTo>
                    <a:pt x="19" y="131"/>
                  </a:lnTo>
                  <a:close/>
                  <a:moveTo>
                    <a:pt x="19" y="131"/>
                  </a:moveTo>
                  <a:lnTo>
                    <a:pt x="19" y="131"/>
                  </a:lnTo>
                  <a:lnTo>
                    <a:pt x="19" y="131"/>
                  </a:lnTo>
                  <a:lnTo>
                    <a:pt x="19" y="131"/>
                  </a:lnTo>
                  <a:lnTo>
                    <a:pt x="19" y="131"/>
                  </a:lnTo>
                  <a:close/>
                  <a:moveTo>
                    <a:pt x="19" y="131"/>
                  </a:moveTo>
                  <a:lnTo>
                    <a:pt x="19" y="131"/>
                  </a:lnTo>
                  <a:lnTo>
                    <a:pt x="19" y="131"/>
                  </a:lnTo>
                  <a:lnTo>
                    <a:pt x="19" y="131"/>
                  </a:lnTo>
                  <a:lnTo>
                    <a:pt x="19" y="131"/>
                  </a:lnTo>
                  <a:close/>
                  <a:moveTo>
                    <a:pt x="0" y="100"/>
                  </a:moveTo>
                  <a:lnTo>
                    <a:pt x="0" y="100"/>
                  </a:lnTo>
                  <a:lnTo>
                    <a:pt x="0" y="100"/>
                  </a:lnTo>
                  <a:lnTo>
                    <a:pt x="0" y="100"/>
                  </a:lnTo>
                  <a:lnTo>
                    <a:pt x="0" y="100"/>
                  </a:lnTo>
                  <a:lnTo>
                    <a:pt x="0" y="100"/>
                  </a:lnTo>
                  <a:close/>
                  <a:moveTo>
                    <a:pt x="0" y="100"/>
                  </a:moveTo>
                  <a:lnTo>
                    <a:pt x="0" y="100"/>
                  </a:lnTo>
                  <a:lnTo>
                    <a:pt x="0" y="100"/>
                  </a:lnTo>
                  <a:lnTo>
                    <a:pt x="0" y="100"/>
                  </a:lnTo>
                  <a:lnTo>
                    <a:pt x="0" y="100"/>
                  </a:lnTo>
                  <a:lnTo>
                    <a:pt x="0" y="100"/>
                  </a:lnTo>
                  <a:lnTo>
                    <a:pt x="0" y="100"/>
                  </a:lnTo>
                  <a:lnTo>
                    <a:pt x="0" y="100"/>
                  </a:lnTo>
                  <a:close/>
                  <a:moveTo>
                    <a:pt x="28" y="45"/>
                  </a:moveTo>
                  <a:lnTo>
                    <a:pt x="28" y="45"/>
                  </a:lnTo>
                  <a:lnTo>
                    <a:pt x="28" y="45"/>
                  </a:lnTo>
                  <a:lnTo>
                    <a:pt x="28" y="45"/>
                  </a:lnTo>
                  <a:lnTo>
                    <a:pt x="28" y="45"/>
                  </a:lnTo>
                  <a:lnTo>
                    <a:pt x="28" y="45"/>
                  </a:lnTo>
                  <a:close/>
                  <a:moveTo>
                    <a:pt x="28" y="45"/>
                  </a:moveTo>
                  <a:lnTo>
                    <a:pt x="28" y="45"/>
                  </a:lnTo>
                  <a:lnTo>
                    <a:pt x="28" y="45"/>
                  </a:lnTo>
                  <a:lnTo>
                    <a:pt x="28" y="45"/>
                  </a:lnTo>
                  <a:lnTo>
                    <a:pt x="28" y="45"/>
                  </a:lnTo>
                  <a:lnTo>
                    <a:pt x="28" y="45"/>
                  </a:lnTo>
                  <a:lnTo>
                    <a:pt x="28" y="45"/>
                  </a:lnTo>
                  <a:lnTo>
                    <a:pt x="28" y="45"/>
                  </a:lnTo>
                  <a:lnTo>
                    <a:pt x="28" y="45"/>
                  </a:lnTo>
                  <a:lnTo>
                    <a:pt x="28" y="45"/>
                  </a:lnTo>
                  <a:close/>
                  <a:moveTo>
                    <a:pt x="26" y="45"/>
                  </a:moveTo>
                  <a:lnTo>
                    <a:pt x="26" y="45"/>
                  </a:lnTo>
                  <a:lnTo>
                    <a:pt x="26" y="45"/>
                  </a:lnTo>
                  <a:lnTo>
                    <a:pt x="26" y="45"/>
                  </a:lnTo>
                  <a:lnTo>
                    <a:pt x="26" y="45"/>
                  </a:lnTo>
                  <a:lnTo>
                    <a:pt x="26" y="45"/>
                  </a:lnTo>
                  <a:lnTo>
                    <a:pt x="26" y="45"/>
                  </a:lnTo>
                  <a:lnTo>
                    <a:pt x="26" y="45"/>
                  </a:lnTo>
                  <a:lnTo>
                    <a:pt x="26" y="45"/>
                  </a:lnTo>
                  <a:lnTo>
                    <a:pt x="26" y="45"/>
                  </a:lnTo>
                  <a:lnTo>
                    <a:pt x="26" y="45"/>
                  </a:lnTo>
                  <a:lnTo>
                    <a:pt x="26" y="45"/>
                  </a:lnTo>
                  <a:close/>
                  <a:moveTo>
                    <a:pt x="26" y="45"/>
                  </a:moveTo>
                  <a:lnTo>
                    <a:pt x="26" y="45"/>
                  </a:lnTo>
                  <a:lnTo>
                    <a:pt x="26" y="45"/>
                  </a:lnTo>
                  <a:lnTo>
                    <a:pt x="26" y="45"/>
                  </a:lnTo>
                  <a:lnTo>
                    <a:pt x="28" y="45"/>
                  </a:lnTo>
                  <a:lnTo>
                    <a:pt x="26" y="45"/>
                  </a:lnTo>
                  <a:close/>
                  <a:moveTo>
                    <a:pt x="28" y="45"/>
                  </a:moveTo>
                  <a:lnTo>
                    <a:pt x="28" y="45"/>
                  </a:lnTo>
                  <a:lnTo>
                    <a:pt x="28" y="45"/>
                  </a:lnTo>
                  <a:lnTo>
                    <a:pt x="28" y="45"/>
                  </a:lnTo>
                  <a:lnTo>
                    <a:pt x="28" y="45"/>
                  </a:lnTo>
                  <a:lnTo>
                    <a:pt x="28" y="45"/>
                  </a:lnTo>
                  <a:lnTo>
                    <a:pt x="28" y="45"/>
                  </a:lnTo>
                  <a:lnTo>
                    <a:pt x="28" y="45"/>
                  </a:lnTo>
                  <a:lnTo>
                    <a:pt x="28" y="45"/>
                  </a:lnTo>
                  <a:close/>
                  <a:moveTo>
                    <a:pt x="23" y="0"/>
                  </a:moveTo>
                  <a:lnTo>
                    <a:pt x="23" y="0"/>
                  </a:lnTo>
                  <a:lnTo>
                    <a:pt x="23" y="0"/>
                  </a:lnTo>
                  <a:lnTo>
                    <a:pt x="23" y="0"/>
                  </a:lnTo>
                  <a:lnTo>
                    <a:pt x="23" y="0"/>
                  </a:lnTo>
                  <a:lnTo>
                    <a:pt x="23" y="0"/>
                  </a:lnTo>
                  <a:lnTo>
                    <a:pt x="23" y="0"/>
                  </a:lnTo>
                  <a:close/>
                  <a:moveTo>
                    <a:pt x="26" y="0"/>
                  </a:moveTo>
                  <a:lnTo>
                    <a:pt x="26" y="0"/>
                  </a:lnTo>
                  <a:lnTo>
                    <a:pt x="26" y="0"/>
                  </a:lnTo>
                  <a:lnTo>
                    <a:pt x="2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4" name="Freeform 57966"/>
            <p:cNvSpPr>
              <a:spLocks noEditPoints="1"/>
            </p:cNvSpPr>
            <p:nvPr/>
          </p:nvSpPr>
          <p:spPr bwMode="auto">
            <a:xfrm>
              <a:off x="1528762" y="5305430"/>
              <a:ext cx="90488" cy="354013"/>
            </a:xfrm>
            <a:custGeom>
              <a:avLst/>
              <a:gdLst>
                <a:gd name="T0" fmla="*/ 57 w 57"/>
                <a:gd name="T1" fmla="*/ 221 h 223"/>
                <a:gd name="T2" fmla="*/ 54 w 57"/>
                <a:gd name="T3" fmla="*/ 221 h 223"/>
                <a:gd name="T4" fmla="*/ 54 w 57"/>
                <a:gd name="T5" fmla="*/ 221 h 223"/>
                <a:gd name="T6" fmla="*/ 57 w 57"/>
                <a:gd name="T7" fmla="*/ 221 h 223"/>
                <a:gd name="T8" fmla="*/ 57 w 57"/>
                <a:gd name="T9" fmla="*/ 221 h 223"/>
                <a:gd name="T10" fmla="*/ 54 w 57"/>
                <a:gd name="T11" fmla="*/ 221 h 223"/>
                <a:gd name="T12" fmla="*/ 54 w 57"/>
                <a:gd name="T13" fmla="*/ 221 h 223"/>
                <a:gd name="T14" fmla="*/ 54 w 57"/>
                <a:gd name="T15" fmla="*/ 221 h 223"/>
                <a:gd name="T16" fmla="*/ 52 w 57"/>
                <a:gd name="T17" fmla="*/ 221 h 223"/>
                <a:gd name="T18" fmla="*/ 52 w 57"/>
                <a:gd name="T19" fmla="*/ 221 h 223"/>
                <a:gd name="T20" fmla="*/ 52 w 57"/>
                <a:gd name="T21" fmla="*/ 221 h 223"/>
                <a:gd name="T22" fmla="*/ 54 w 57"/>
                <a:gd name="T23" fmla="*/ 221 h 223"/>
                <a:gd name="T24" fmla="*/ 54 w 57"/>
                <a:gd name="T25" fmla="*/ 221 h 223"/>
                <a:gd name="T26" fmla="*/ 54 w 57"/>
                <a:gd name="T27" fmla="*/ 223 h 223"/>
                <a:gd name="T28" fmla="*/ 54 w 57"/>
                <a:gd name="T29" fmla="*/ 221 h 223"/>
                <a:gd name="T30" fmla="*/ 54 w 57"/>
                <a:gd name="T31" fmla="*/ 223 h 223"/>
                <a:gd name="T32" fmla="*/ 52 w 57"/>
                <a:gd name="T33" fmla="*/ 221 h 223"/>
                <a:gd name="T34" fmla="*/ 52 w 57"/>
                <a:gd name="T35" fmla="*/ 221 h 223"/>
                <a:gd name="T36" fmla="*/ 52 w 57"/>
                <a:gd name="T37" fmla="*/ 221 h 223"/>
                <a:gd name="T38" fmla="*/ 52 w 57"/>
                <a:gd name="T39" fmla="*/ 221 h 223"/>
                <a:gd name="T40" fmla="*/ 52 w 57"/>
                <a:gd name="T41" fmla="*/ 221 h 223"/>
                <a:gd name="T42" fmla="*/ 52 w 57"/>
                <a:gd name="T43" fmla="*/ 221 h 223"/>
                <a:gd name="T44" fmla="*/ 54 w 57"/>
                <a:gd name="T45" fmla="*/ 221 h 223"/>
                <a:gd name="T46" fmla="*/ 54 w 57"/>
                <a:gd name="T47" fmla="*/ 221 h 223"/>
                <a:gd name="T48" fmla="*/ 57 w 57"/>
                <a:gd name="T49" fmla="*/ 218 h 223"/>
                <a:gd name="T50" fmla="*/ 26 w 57"/>
                <a:gd name="T51" fmla="*/ 156 h 223"/>
                <a:gd name="T52" fmla="*/ 26 w 57"/>
                <a:gd name="T53" fmla="*/ 156 h 223"/>
                <a:gd name="T54" fmla="*/ 26 w 57"/>
                <a:gd name="T55" fmla="*/ 156 h 223"/>
                <a:gd name="T56" fmla="*/ 26 w 57"/>
                <a:gd name="T57" fmla="*/ 156 h 223"/>
                <a:gd name="T58" fmla="*/ 26 w 57"/>
                <a:gd name="T59" fmla="*/ 156 h 223"/>
                <a:gd name="T60" fmla="*/ 26 w 57"/>
                <a:gd name="T61" fmla="*/ 156 h 223"/>
                <a:gd name="T62" fmla="*/ 26 w 57"/>
                <a:gd name="T63" fmla="*/ 156 h 223"/>
                <a:gd name="T64" fmla="*/ 23 w 57"/>
                <a:gd name="T65" fmla="*/ 154 h 223"/>
                <a:gd name="T66" fmla="*/ 26 w 57"/>
                <a:gd name="T67" fmla="*/ 154 h 223"/>
                <a:gd name="T68" fmla="*/ 14 w 57"/>
                <a:gd name="T69" fmla="*/ 140 h 223"/>
                <a:gd name="T70" fmla="*/ 14 w 57"/>
                <a:gd name="T71" fmla="*/ 137 h 223"/>
                <a:gd name="T72" fmla="*/ 16 w 57"/>
                <a:gd name="T73" fmla="*/ 137 h 223"/>
                <a:gd name="T74" fmla="*/ 16 w 57"/>
                <a:gd name="T75" fmla="*/ 137 h 223"/>
                <a:gd name="T76" fmla="*/ 16 w 57"/>
                <a:gd name="T77" fmla="*/ 137 h 223"/>
                <a:gd name="T78" fmla="*/ 16 w 57"/>
                <a:gd name="T79" fmla="*/ 137 h 223"/>
                <a:gd name="T80" fmla="*/ 19 w 57"/>
                <a:gd name="T81" fmla="*/ 137 h 223"/>
                <a:gd name="T82" fmla="*/ 19 w 57"/>
                <a:gd name="T83" fmla="*/ 137 h 223"/>
                <a:gd name="T84" fmla="*/ 16 w 57"/>
                <a:gd name="T85" fmla="*/ 137 h 223"/>
                <a:gd name="T86" fmla="*/ 16 w 57"/>
                <a:gd name="T87" fmla="*/ 135 h 223"/>
                <a:gd name="T88" fmla="*/ 16 w 57"/>
                <a:gd name="T89" fmla="*/ 137 h 223"/>
                <a:gd name="T90" fmla="*/ 0 w 57"/>
                <a:gd name="T91" fmla="*/ 114 h 223"/>
                <a:gd name="T92" fmla="*/ 0 w 57"/>
                <a:gd name="T93" fmla="*/ 111 h 223"/>
                <a:gd name="T94" fmla="*/ 0 w 57"/>
                <a:gd name="T95" fmla="*/ 114 h 223"/>
                <a:gd name="T96" fmla="*/ 28 w 57"/>
                <a:gd name="T97" fmla="*/ 54 h 223"/>
                <a:gd name="T98" fmla="*/ 28 w 57"/>
                <a:gd name="T99" fmla="*/ 54 h 223"/>
                <a:gd name="T100" fmla="*/ 26 w 57"/>
                <a:gd name="T101" fmla="*/ 57 h 223"/>
                <a:gd name="T102" fmla="*/ 26 w 57"/>
                <a:gd name="T103" fmla="*/ 54 h 223"/>
                <a:gd name="T104" fmla="*/ 26 w 57"/>
                <a:gd name="T105" fmla="*/ 54 h 223"/>
                <a:gd name="T106" fmla="*/ 28 w 57"/>
                <a:gd name="T107" fmla="*/ 54 h 223"/>
                <a:gd name="T108" fmla="*/ 26 w 57"/>
                <a:gd name="T109" fmla="*/ 0 h 223"/>
                <a:gd name="T110" fmla="*/ 26 w 57"/>
                <a:gd name="T11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 h="223">
                  <a:moveTo>
                    <a:pt x="57" y="221"/>
                  </a:moveTo>
                  <a:lnTo>
                    <a:pt x="57" y="221"/>
                  </a:lnTo>
                  <a:lnTo>
                    <a:pt x="57" y="221"/>
                  </a:lnTo>
                  <a:lnTo>
                    <a:pt x="57" y="221"/>
                  </a:lnTo>
                  <a:lnTo>
                    <a:pt x="57" y="221"/>
                  </a:lnTo>
                  <a:lnTo>
                    <a:pt x="57" y="221"/>
                  </a:lnTo>
                  <a:lnTo>
                    <a:pt x="57" y="221"/>
                  </a:lnTo>
                  <a:lnTo>
                    <a:pt x="57" y="221"/>
                  </a:lnTo>
                  <a:lnTo>
                    <a:pt x="54" y="221"/>
                  </a:lnTo>
                  <a:lnTo>
                    <a:pt x="54" y="221"/>
                  </a:lnTo>
                  <a:lnTo>
                    <a:pt x="54" y="223"/>
                  </a:lnTo>
                  <a:lnTo>
                    <a:pt x="54" y="223"/>
                  </a:lnTo>
                  <a:lnTo>
                    <a:pt x="54" y="223"/>
                  </a:lnTo>
                  <a:lnTo>
                    <a:pt x="54" y="221"/>
                  </a:lnTo>
                  <a:lnTo>
                    <a:pt x="54" y="221"/>
                  </a:lnTo>
                  <a:lnTo>
                    <a:pt x="54" y="221"/>
                  </a:lnTo>
                  <a:lnTo>
                    <a:pt x="54" y="221"/>
                  </a:lnTo>
                  <a:lnTo>
                    <a:pt x="54" y="221"/>
                  </a:lnTo>
                  <a:lnTo>
                    <a:pt x="54" y="221"/>
                  </a:lnTo>
                  <a:lnTo>
                    <a:pt x="57" y="221"/>
                  </a:lnTo>
                  <a:lnTo>
                    <a:pt x="57" y="221"/>
                  </a:lnTo>
                  <a:lnTo>
                    <a:pt x="57" y="221"/>
                  </a:lnTo>
                  <a:lnTo>
                    <a:pt x="57" y="221"/>
                  </a:lnTo>
                  <a:lnTo>
                    <a:pt x="57" y="221"/>
                  </a:lnTo>
                  <a:lnTo>
                    <a:pt x="57" y="221"/>
                  </a:lnTo>
                  <a:close/>
                  <a:moveTo>
                    <a:pt x="54" y="221"/>
                  </a:move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lnTo>
                    <a:pt x="54" y="221"/>
                  </a:lnTo>
                  <a:close/>
                  <a:moveTo>
                    <a:pt x="52" y="221"/>
                  </a:move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4" y="221"/>
                  </a:lnTo>
                  <a:lnTo>
                    <a:pt x="54" y="221"/>
                  </a:lnTo>
                  <a:lnTo>
                    <a:pt x="54" y="221"/>
                  </a:lnTo>
                  <a:lnTo>
                    <a:pt x="54" y="221"/>
                  </a:lnTo>
                  <a:lnTo>
                    <a:pt x="54" y="221"/>
                  </a:lnTo>
                  <a:lnTo>
                    <a:pt x="54" y="221"/>
                  </a:lnTo>
                  <a:lnTo>
                    <a:pt x="54" y="223"/>
                  </a:lnTo>
                  <a:lnTo>
                    <a:pt x="54" y="223"/>
                  </a:lnTo>
                  <a:lnTo>
                    <a:pt x="54" y="223"/>
                  </a:lnTo>
                  <a:lnTo>
                    <a:pt x="54" y="221"/>
                  </a:lnTo>
                  <a:lnTo>
                    <a:pt x="52" y="221"/>
                  </a:lnTo>
                  <a:lnTo>
                    <a:pt x="52" y="223"/>
                  </a:lnTo>
                  <a:lnTo>
                    <a:pt x="54" y="223"/>
                  </a:lnTo>
                  <a:lnTo>
                    <a:pt x="54" y="223"/>
                  </a:lnTo>
                  <a:lnTo>
                    <a:pt x="54" y="223"/>
                  </a:lnTo>
                  <a:lnTo>
                    <a:pt x="54" y="223"/>
                  </a:lnTo>
                  <a:lnTo>
                    <a:pt x="54" y="223"/>
                  </a:lnTo>
                  <a:lnTo>
                    <a:pt x="54" y="223"/>
                  </a:lnTo>
                  <a:lnTo>
                    <a:pt x="54" y="223"/>
                  </a:lnTo>
                  <a:lnTo>
                    <a:pt x="54" y="221"/>
                  </a:lnTo>
                  <a:lnTo>
                    <a:pt x="54" y="223"/>
                  </a:lnTo>
                  <a:lnTo>
                    <a:pt x="54" y="223"/>
                  </a:lnTo>
                  <a:lnTo>
                    <a:pt x="54" y="223"/>
                  </a:lnTo>
                  <a:lnTo>
                    <a:pt x="54" y="223"/>
                  </a:lnTo>
                  <a:lnTo>
                    <a:pt x="54" y="223"/>
                  </a:lnTo>
                  <a:lnTo>
                    <a:pt x="52" y="223"/>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lnTo>
                    <a:pt x="52" y="221"/>
                  </a:lnTo>
                  <a:close/>
                  <a:moveTo>
                    <a:pt x="57" y="221"/>
                  </a:moveTo>
                  <a:lnTo>
                    <a:pt x="57" y="221"/>
                  </a:lnTo>
                  <a:lnTo>
                    <a:pt x="57" y="221"/>
                  </a:lnTo>
                  <a:lnTo>
                    <a:pt x="57" y="221"/>
                  </a:lnTo>
                  <a:lnTo>
                    <a:pt x="54" y="221"/>
                  </a:lnTo>
                  <a:lnTo>
                    <a:pt x="54" y="221"/>
                  </a:lnTo>
                  <a:lnTo>
                    <a:pt x="54" y="221"/>
                  </a:lnTo>
                  <a:lnTo>
                    <a:pt x="54" y="221"/>
                  </a:lnTo>
                  <a:lnTo>
                    <a:pt x="54" y="221"/>
                  </a:lnTo>
                  <a:lnTo>
                    <a:pt x="54" y="221"/>
                  </a:lnTo>
                  <a:lnTo>
                    <a:pt x="54" y="221"/>
                  </a:lnTo>
                  <a:lnTo>
                    <a:pt x="54" y="221"/>
                  </a:lnTo>
                  <a:lnTo>
                    <a:pt x="54" y="221"/>
                  </a:lnTo>
                  <a:lnTo>
                    <a:pt x="57" y="218"/>
                  </a:lnTo>
                  <a:lnTo>
                    <a:pt x="57" y="218"/>
                  </a:lnTo>
                  <a:lnTo>
                    <a:pt x="57" y="218"/>
                  </a:lnTo>
                  <a:lnTo>
                    <a:pt x="57" y="221"/>
                  </a:lnTo>
                  <a:lnTo>
                    <a:pt x="57" y="221"/>
                  </a:lnTo>
                  <a:lnTo>
                    <a:pt x="57" y="221"/>
                  </a:lnTo>
                  <a:close/>
                  <a:moveTo>
                    <a:pt x="26" y="156"/>
                  </a:move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lnTo>
                    <a:pt x="26" y="156"/>
                  </a:lnTo>
                  <a:close/>
                  <a:moveTo>
                    <a:pt x="26" y="154"/>
                  </a:moveTo>
                  <a:lnTo>
                    <a:pt x="23" y="154"/>
                  </a:lnTo>
                  <a:lnTo>
                    <a:pt x="23" y="154"/>
                  </a:lnTo>
                  <a:lnTo>
                    <a:pt x="23" y="154"/>
                  </a:lnTo>
                  <a:lnTo>
                    <a:pt x="23" y="154"/>
                  </a:lnTo>
                  <a:lnTo>
                    <a:pt x="23" y="152"/>
                  </a:lnTo>
                  <a:lnTo>
                    <a:pt x="23" y="152"/>
                  </a:lnTo>
                  <a:lnTo>
                    <a:pt x="26" y="152"/>
                  </a:lnTo>
                  <a:lnTo>
                    <a:pt x="26" y="154"/>
                  </a:lnTo>
                  <a:lnTo>
                    <a:pt x="26" y="154"/>
                  </a:lnTo>
                  <a:lnTo>
                    <a:pt x="26" y="154"/>
                  </a:lnTo>
                  <a:close/>
                  <a:moveTo>
                    <a:pt x="14" y="140"/>
                  </a:moveTo>
                  <a:lnTo>
                    <a:pt x="14" y="140"/>
                  </a:lnTo>
                  <a:lnTo>
                    <a:pt x="14" y="140"/>
                  </a:lnTo>
                  <a:lnTo>
                    <a:pt x="14" y="140"/>
                  </a:lnTo>
                  <a:lnTo>
                    <a:pt x="14" y="140"/>
                  </a:lnTo>
                  <a:lnTo>
                    <a:pt x="14" y="137"/>
                  </a:lnTo>
                  <a:lnTo>
                    <a:pt x="14" y="137"/>
                  </a:lnTo>
                  <a:lnTo>
                    <a:pt x="14" y="137"/>
                  </a:lnTo>
                  <a:lnTo>
                    <a:pt x="14" y="137"/>
                  </a:lnTo>
                  <a:lnTo>
                    <a:pt x="16" y="137"/>
                  </a:lnTo>
                  <a:lnTo>
                    <a:pt x="16" y="137"/>
                  </a:lnTo>
                  <a:lnTo>
                    <a:pt x="16" y="137"/>
                  </a:lnTo>
                  <a:lnTo>
                    <a:pt x="16" y="137"/>
                  </a:lnTo>
                  <a:lnTo>
                    <a:pt x="16" y="137"/>
                  </a:lnTo>
                  <a:lnTo>
                    <a:pt x="16" y="137"/>
                  </a:lnTo>
                  <a:lnTo>
                    <a:pt x="16" y="137"/>
                  </a:lnTo>
                  <a:lnTo>
                    <a:pt x="16" y="137"/>
                  </a:lnTo>
                  <a:lnTo>
                    <a:pt x="16" y="137"/>
                  </a:lnTo>
                  <a:lnTo>
                    <a:pt x="16" y="137"/>
                  </a:lnTo>
                  <a:lnTo>
                    <a:pt x="14" y="140"/>
                  </a:lnTo>
                  <a:close/>
                  <a:moveTo>
                    <a:pt x="16" y="137"/>
                  </a:moveTo>
                  <a:lnTo>
                    <a:pt x="16" y="137"/>
                  </a:lnTo>
                  <a:lnTo>
                    <a:pt x="16" y="137"/>
                  </a:lnTo>
                  <a:lnTo>
                    <a:pt x="16" y="137"/>
                  </a:lnTo>
                  <a:lnTo>
                    <a:pt x="16" y="137"/>
                  </a:lnTo>
                  <a:lnTo>
                    <a:pt x="16" y="137"/>
                  </a:lnTo>
                  <a:lnTo>
                    <a:pt x="16" y="137"/>
                  </a:lnTo>
                  <a:lnTo>
                    <a:pt x="16" y="137"/>
                  </a:lnTo>
                  <a:lnTo>
                    <a:pt x="16" y="137"/>
                  </a:lnTo>
                  <a:lnTo>
                    <a:pt x="16" y="137"/>
                  </a:lnTo>
                  <a:lnTo>
                    <a:pt x="16" y="137"/>
                  </a:lnTo>
                  <a:lnTo>
                    <a:pt x="16" y="137"/>
                  </a:lnTo>
                  <a:lnTo>
                    <a:pt x="19" y="137"/>
                  </a:lnTo>
                  <a:lnTo>
                    <a:pt x="19" y="137"/>
                  </a:lnTo>
                  <a:lnTo>
                    <a:pt x="19" y="137"/>
                  </a:lnTo>
                  <a:lnTo>
                    <a:pt x="19" y="137"/>
                  </a:lnTo>
                  <a:lnTo>
                    <a:pt x="19" y="137"/>
                  </a:lnTo>
                  <a:lnTo>
                    <a:pt x="19" y="137"/>
                  </a:lnTo>
                  <a:lnTo>
                    <a:pt x="16" y="137"/>
                  </a:lnTo>
                  <a:close/>
                  <a:moveTo>
                    <a:pt x="16" y="137"/>
                  </a:moveTo>
                  <a:lnTo>
                    <a:pt x="16" y="137"/>
                  </a:lnTo>
                  <a:lnTo>
                    <a:pt x="16" y="137"/>
                  </a:lnTo>
                  <a:lnTo>
                    <a:pt x="16" y="137"/>
                  </a:lnTo>
                  <a:lnTo>
                    <a:pt x="16" y="135"/>
                  </a:lnTo>
                  <a:lnTo>
                    <a:pt x="16" y="135"/>
                  </a:lnTo>
                  <a:lnTo>
                    <a:pt x="16" y="135"/>
                  </a:lnTo>
                  <a:lnTo>
                    <a:pt x="16" y="135"/>
                  </a:lnTo>
                  <a:lnTo>
                    <a:pt x="16" y="135"/>
                  </a:lnTo>
                  <a:lnTo>
                    <a:pt x="16" y="135"/>
                  </a:lnTo>
                  <a:lnTo>
                    <a:pt x="16" y="135"/>
                  </a:lnTo>
                  <a:lnTo>
                    <a:pt x="16" y="137"/>
                  </a:lnTo>
                  <a:lnTo>
                    <a:pt x="16" y="137"/>
                  </a:lnTo>
                  <a:lnTo>
                    <a:pt x="16" y="137"/>
                  </a:lnTo>
                  <a:close/>
                  <a:moveTo>
                    <a:pt x="0" y="114"/>
                  </a:moveTo>
                  <a:lnTo>
                    <a:pt x="0" y="114"/>
                  </a:lnTo>
                  <a:lnTo>
                    <a:pt x="0" y="114"/>
                  </a:lnTo>
                  <a:lnTo>
                    <a:pt x="0" y="114"/>
                  </a:lnTo>
                  <a:lnTo>
                    <a:pt x="0" y="114"/>
                  </a:lnTo>
                  <a:lnTo>
                    <a:pt x="0" y="114"/>
                  </a:lnTo>
                  <a:lnTo>
                    <a:pt x="0" y="114"/>
                  </a:lnTo>
                  <a:lnTo>
                    <a:pt x="0" y="111"/>
                  </a:lnTo>
                  <a:lnTo>
                    <a:pt x="0" y="111"/>
                  </a:lnTo>
                  <a:lnTo>
                    <a:pt x="0" y="111"/>
                  </a:lnTo>
                  <a:lnTo>
                    <a:pt x="0" y="111"/>
                  </a:lnTo>
                  <a:lnTo>
                    <a:pt x="0" y="111"/>
                  </a:lnTo>
                  <a:lnTo>
                    <a:pt x="0" y="114"/>
                  </a:lnTo>
                  <a:lnTo>
                    <a:pt x="0" y="114"/>
                  </a:lnTo>
                  <a:lnTo>
                    <a:pt x="0" y="114"/>
                  </a:lnTo>
                  <a:lnTo>
                    <a:pt x="0" y="114"/>
                  </a:lnTo>
                  <a:close/>
                  <a:moveTo>
                    <a:pt x="28" y="54"/>
                  </a:moveTo>
                  <a:lnTo>
                    <a:pt x="28" y="54"/>
                  </a:lnTo>
                  <a:lnTo>
                    <a:pt x="28" y="54"/>
                  </a:lnTo>
                  <a:lnTo>
                    <a:pt x="28" y="54"/>
                  </a:lnTo>
                  <a:lnTo>
                    <a:pt x="28" y="54"/>
                  </a:lnTo>
                  <a:lnTo>
                    <a:pt x="28" y="54"/>
                  </a:lnTo>
                  <a:lnTo>
                    <a:pt x="28" y="54"/>
                  </a:lnTo>
                  <a:lnTo>
                    <a:pt x="28" y="54"/>
                  </a:lnTo>
                  <a:lnTo>
                    <a:pt x="28" y="54"/>
                  </a:lnTo>
                  <a:lnTo>
                    <a:pt x="28" y="54"/>
                  </a:lnTo>
                  <a:lnTo>
                    <a:pt x="28" y="54"/>
                  </a:lnTo>
                  <a:lnTo>
                    <a:pt x="28" y="54"/>
                  </a:lnTo>
                  <a:lnTo>
                    <a:pt x="26" y="57"/>
                  </a:lnTo>
                  <a:lnTo>
                    <a:pt x="26" y="57"/>
                  </a:lnTo>
                  <a:lnTo>
                    <a:pt x="26" y="54"/>
                  </a:lnTo>
                  <a:lnTo>
                    <a:pt x="26" y="54"/>
                  </a:lnTo>
                  <a:lnTo>
                    <a:pt x="26" y="54"/>
                  </a:lnTo>
                  <a:lnTo>
                    <a:pt x="28" y="54"/>
                  </a:lnTo>
                  <a:lnTo>
                    <a:pt x="26" y="54"/>
                  </a:lnTo>
                  <a:lnTo>
                    <a:pt x="26" y="54"/>
                  </a:lnTo>
                  <a:lnTo>
                    <a:pt x="26" y="54"/>
                  </a:lnTo>
                  <a:lnTo>
                    <a:pt x="26" y="54"/>
                  </a:lnTo>
                  <a:lnTo>
                    <a:pt x="26" y="54"/>
                  </a:lnTo>
                  <a:lnTo>
                    <a:pt x="26" y="54"/>
                  </a:lnTo>
                  <a:lnTo>
                    <a:pt x="28" y="54"/>
                  </a:lnTo>
                  <a:lnTo>
                    <a:pt x="28" y="54"/>
                  </a:lnTo>
                  <a:lnTo>
                    <a:pt x="28" y="54"/>
                  </a:lnTo>
                  <a:lnTo>
                    <a:pt x="28" y="54"/>
                  </a:lnTo>
                  <a:lnTo>
                    <a:pt x="28" y="54"/>
                  </a:lnTo>
                  <a:lnTo>
                    <a:pt x="28" y="54"/>
                  </a:lnTo>
                  <a:lnTo>
                    <a:pt x="28" y="54"/>
                  </a:lnTo>
                  <a:lnTo>
                    <a:pt x="28" y="54"/>
                  </a:lnTo>
                  <a:close/>
                  <a:moveTo>
                    <a:pt x="26" y="0"/>
                  </a:moveTo>
                  <a:lnTo>
                    <a:pt x="26" y="0"/>
                  </a:lnTo>
                  <a:lnTo>
                    <a:pt x="23" y="0"/>
                  </a:lnTo>
                  <a:lnTo>
                    <a:pt x="23" y="0"/>
                  </a:lnTo>
                  <a:lnTo>
                    <a:pt x="26" y="0"/>
                  </a:lnTo>
                  <a:lnTo>
                    <a:pt x="26" y="0"/>
                  </a:lnTo>
                  <a:lnTo>
                    <a:pt x="26" y="0"/>
                  </a:lnTo>
                  <a:lnTo>
                    <a:pt x="26"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5" name="Freeform 57967"/>
            <p:cNvSpPr>
              <a:spLocks/>
            </p:cNvSpPr>
            <p:nvPr/>
          </p:nvSpPr>
          <p:spPr bwMode="auto">
            <a:xfrm>
              <a:off x="2473326" y="5226054"/>
              <a:ext cx="52388" cy="115888"/>
            </a:xfrm>
            <a:custGeom>
              <a:avLst/>
              <a:gdLst>
                <a:gd name="T0" fmla="*/ 31 w 33"/>
                <a:gd name="T1" fmla="*/ 2 h 73"/>
                <a:gd name="T2" fmla="*/ 31 w 33"/>
                <a:gd name="T3" fmla="*/ 9 h 73"/>
                <a:gd name="T4" fmla="*/ 31 w 33"/>
                <a:gd name="T5" fmla="*/ 16 h 73"/>
                <a:gd name="T6" fmla="*/ 33 w 33"/>
                <a:gd name="T7" fmla="*/ 21 h 73"/>
                <a:gd name="T8" fmla="*/ 33 w 33"/>
                <a:gd name="T9" fmla="*/ 28 h 73"/>
                <a:gd name="T10" fmla="*/ 33 w 33"/>
                <a:gd name="T11" fmla="*/ 35 h 73"/>
                <a:gd name="T12" fmla="*/ 33 w 33"/>
                <a:gd name="T13" fmla="*/ 42 h 73"/>
                <a:gd name="T14" fmla="*/ 29 w 33"/>
                <a:gd name="T15" fmla="*/ 47 h 73"/>
                <a:gd name="T16" fmla="*/ 29 w 33"/>
                <a:gd name="T17" fmla="*/ 54 h 73"/>
                <a:gd name="T18" fmla="*/ 29 w 33"/>
                <a:gd name="T19" fmla="*/ 61 h 73"/>
                <a:gd name="T20" fmla="*/ 26 w 33"/>
                <a:gd name="T21" fmla="*/ 61 h 73"/>
                <a:gd name="T22" fmla="*/ 26 w 33"/>
                <a:gd name="T23" fmla="*/ 64 h 73"/>
                <a:gd name="T24" fmla="*/ 26 w 33"/>
                <a:gd name="T25" fmla="*/ 61 h 73"/>
                <a:gd name="T26" fmla="*/ 26 w 33"/>
                <a:gd name="T27" fmla="*/ 64 h 73"/>
                <a:gd name="T28" fmla="*/ 24 w 33"/>
                <a:gd name="T29" fmla="*/ 64 h 73"/>
                <a:gd name="T30" fmla="*/ 26 w 33"/>
                <a:gd name="T31" fmla="*/ 64 h 73"/>
                <a:gd name="T32" fmla="*/ 24 w 33"/>
                <a:gd name="T33" fmla="*/ 69 h 73"/>
                <a:gd name="T34" fmla="*/ 26 w 33"/>
                <a:gd name="T35" fmla="*/ 69 h 73"/>
                <a:gd name="T36" fmla="*/ 24 w 33"/>
                <a:gd name="T37" fmla="*/ 69 h 73"/>
                <a:gd name="T38" fmla="*/ 24 w 33"/>
                <a:gd name="T39" fmla="*/ 71 h 73"/>
                <a:gd name="T40" fmla="*/ 24 w 33"/>
                <a:gd name="T41" fmla="*/ 73 h 73"/>
                <a:gd name="T42" fmla="*/ 19 w 33"/>
                <a:gd name="T43" fmla="*/ 71 h 73"/>
                <a:gd name="T44" fmla="*/ 17 w 33"/>
                <a:gd name="T45" fmla="*/ 71 h 73"/>
                <a:gd name="T46" fmla="*/ 17 w 33"/>
                <a:gd name="T47" fmla="*/ 71 h 73"/>
                <a:gd name="T48" fmla="*/ 17 w 33"/>
                <a:gd name="T49" fmla="*/ 69 h 73"/>
                <a:gd name="T50" fmla="*/ 12 w 33"/>
                <a:gd name="T51" fmla="*/ 66 h 73"/>
                <a:gd name="T52" fmla="*/ 10 w 33"/>
                <a:gd name="T53" fmla="*/ 66 h 73"/>
                <a:gd name="T54" fmla="*/ 10 w 33"/>
                <a:gd name="T55" fmla="*/ 64 h 73"/>
                <a:gd name="T56" fmla="*/ 12 w 33"/>
                <a:gd name="T57" fmla="*/ 59 h 73"/>
                <a:gd name="T58" fmla="*/ 10 w 33"/>
                <a:gd name="T59" fmla="*/ 59 h 73"/>
                <a:gd name="T60" fmla="*/ 10 w 33"/>
                <a:gd name="T61" fmla="*/ 57 h 73"/>
                <a:gd name="T62" fmla="*/ 5 w 33"/>
                <a:gd name="T63" fmla="*/ 59 h 73"/>
                <a:gd name="T64" fmla="*/ 7 w 33"/>
                <a:gd name="T65" fmla="*/ 54 h 73"/>
                <a:gd name="T66" fmla="*/ 10 w 33"/>
                <a:gd name="T67" fmla="*/ 52 h 73"/>
                <a:gd name="T68" fmla="*/ 7 w 33"/>
                <a:gd name="T69" fmla="*/ 52 h 73"/>
                <a:gd name="T70" fmla="*/ 7 w 33"/>
                <a:gd name="T71" fmla="*/ 50 h 73"/>
                <a:gd name="T72" fmla="*/ 7 w 33"/>
                <a:gd name="T73" fmla="*/ 47 h 73"/>
                <a:gd name="T74" fmla="*/ 3 w 33"/>
                <a:gd name="T75" fmla="*/ 50 h 73"/>
                <a:gd name="T76" fmla="*/ 5 w 33"/>
                <a:gd name="T77" fmla="*/ 45 h 73"/>
                <a:gd name="T78" fmla="*/ 5 w 33"/>
                <a:gd name="T79" fmla="*/ 42 h 73"/>
                <a:gd name="T80" fmla="*/ 3 w 33"/>
                <a:gd name="T81" fmla="*/ 38 h 73"/>
                <a:gd name="T82" fmla="*/ 0 w 33"/>
                <a:gd name="T83" fmla="*/ 38 h 73"/>
                <a:gd name="T84" fmla="*/ 0 w 33"/>
                <a:gd name="T85" fmla="*/ 35 h 73"/>
                <a:gd name="T86" fmla="*/ 3 w 33"/>
                <a:gd name="T87" fmla="*/ 35 h 73"/>
                <a:gd name="T88" fmla="*/ 3 w 33"/>
                <a:gd name="T89" fmla="*/ 33 h 73"/>
                <a:gd name="T90" fmla="*/ 3 w 33"/>
                <a:gd name="T91" fmla="*/ 31 h 73"/>
                <a:gd name="T92" fmla="*/ 3 w 33"/>
                <a:gd name="T93" fmla="*/ 28 h 73"/>
                <a:gd name="T94" fmla="*/ 0 w 33"/>
                <a:gd name="T95" fmla="*/ 28 h 73"/>
                <a:gd name="T96" fmla="*/ 5 w 33"/>
                <a:gd name="T97" fmla="*/ 26 h 73"/>
                <a:gd name="T98" fmla="*/ 7 w 33"/>
                <a:gd name="T99" fmla="*/ 21 h 73"/>
                <a:gd name="T100" fmla="*/ 7 w 33"/>
                <a:gd name="T101" fmla="*/ 19 h 73"/>
                <a:gd name="T102" fmla="*/ 5 w 33"/>
                <a:gd name="T103" fmla="*/ 19 h 73"/>
                <a:gd name="T104" fmla="*/ 10 w 33"/>
                <a:gd name="T105" fmla="*/ 16 h 73"/>
                <a:gd name="T106" fmla="*/ 12 w 33"/>
                <a:gd name="T107" fmla="*/ 16 h 73"/>
                <a:gd name="T108" fmla="*/ 17 w 33"/>
                <a:gd name="T109" fmla="*/ 14 h 73"/>
                <a:gd name="T110" fmla="*/ 22 w 33"/>
                <a:gd name="T111" fmla="*/ 12 h 73"/>
                <a:gd name="T112" fmla="*/ 26 w 33"/>
                <a:gd name="T113" fmla="*/ 14 h 73"/>
                <a:gd name="T114" fmla="*/ 26 w 33"/>
                <a:gd name="T115" fmla="*/ 7 h 73"/>
                <a:gd name="T116" fmla="*/ 29 w 33"/>
                <a:gd name="T117" fmla="*/ 2 h 73"/>
                <a:gd name="T118" fmla="*/ 26 w 33"/>
                <a:gd name="T119"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 h="73">
                  <a:moveTo>
                    <a:pt x="29" y="0"/>
                  </a:moveTo>
                  <a:lnTo>
                    <a:pt x="31" y="0"/>
                  </a:lnTo>
                  <a:lnTo>
                    <a:pt x="31" y="2"/>
                  </a:lnTo>
                  <a:lnTo>
                    <a:pt x="31" y="4"/>
                  </a:lnTo>
                  <a:lnTo>
                    <a:pt x="31" y="7"/>
                  </a:lnTo>
                  <a:lnTo>
                    <a:pt x="31" y="9"/>
                  </a:lnTo>
                  <a:lnTo>
                    <a:pt x="31" y="12"/>
                  </a:lnTo>
                  <a:lnTo>
                    <a:pt x="31" y="14"/>
                  </a:lnTo>
                  <a:lnTo>
                    <a:pt x="31" y="16"/>
                  </a:lnTo>
                  <a:lnTo>
                    <a:pt x="31" y="19"/>
                  </a:lnTo>
                  <a:lnTo>
                    <a:pt x="33" y="19"/>
                  </a:lnTo>
                  <a:lnTo>
                    <a:pt x="33" y="21"/>
                  </a:lnTo>
                  <a:lnTo>
                    <a:pt x="33" y="23"/>
                  </a:lnTo>
                  <a:lnTo>
                    <a:pt x="33" y="26"/>
                  </a:lnTo>
                  <a:lnTo>
                    <a:pt x="33" y="28"/>
                  </a:lnTo>
                  <a:lnTo>
                    <a:pt x="33" y="31"/>
                  </a:lnTo>
                  <a:lnTo>
                    <a:pt x="33" y="33"/>
                  </a:lnTo>
                  <a:lnTo>
                    <a:pt x="33" y="35"/>
                  </a:lnTo>
                  <a:lnTo>
                    <a:pt x="33" y="38"/>
                  </a:lnTo>
                  <a:lnTo>
                    <a:pt x="33" y="40"/>
                  </a:lnTo>
                  <a:lnTo>
                    <a:pt x="33" y="42"/>
                  </a:lnTo>
                  <a:lnTo>
                    <a:pt x="31" y="45"/>
                  </a:lnTo>
                  <a:lnTo>
                    <a:pt x="31" y="47"/>
                  </a:lnTo>
                  <a:lnTo>
                    <a:pt x="29" y="47"/>
                  </a:lnTo>
                  <a:lnTo>
                    <a:pt x="29" y="50"/>
                  </a:lnTo>
                  <a:lnTo>
                    <a:pt x="29" y="52"/>
                  </a:lnTo>
                  <a:lnTo>
                    <a:pt x="29" y="54"/>
                  </a:lnTo>
                  <a:lnTo>
                    <a:pt x="29" y="57"/>
                  </a:lnTo>
                  <a:lnTo>
                    <a:pt x="29" y="59"/>
                  </a:lnTo>
                  <a:lnTo>
                    <a:pt x="29" y="61"/>
                  </a:lnTo>
                  <a:lnTo>
                    <a:pt x="29" y="59"/>
                  </a:lnTo>
                  <a:lnTo>
                    <a:pt x="29" y="61"/>
                  </a:lnTo>
                  <a:lnTo>
                    <a:pt x="26" y="61"/>
                  </a:lnTo>
                  <a:lnTo>
                    <a:pt x="29" y="61"/>
                  </a:lnTo>
                  <a:lnTo>
                    <a:pt x="26" y="61"/>
                  </a:lnTo>
                  <a:lnTo>
                    <a:pt x="26" y="64"/>
                  </a:lnTo>
                  <a:lnTo>
                    <a:pt x="26" y="61"/>
                  </a:lnTo>
                  <a:lnTo>
                    <a:pt x="26" y="64"/>
                  </a:lnTo>
                  <a:lnTo>
                    <a:pt x="26" y="61"/>
                  </a:lnTo>
                  <a:lnTo>
                    <a:pt x="26" y="64"/>
                  </a:lnTo>
                  <a:lnTo>
                    <a:pt x="24" y="64"/>
                  </a:lnTo>
                  <a:lnTo>
                    <a:pt x="26" y="64"/>
                  </a:lnTo>
                  <a:lnTo>
                    <a:pt x="24" y="64"/>
                  </a:lnTo>
                  <a:lnTo>
                    <a:pt x="26" y="64"/>
                  </a:lnTo>
                  <a:lnTo>
                    <a:pt x="24" y="64"/>
                  </a:lnTo>
                  <a:lnTo>
                    <a:pt x="26" y="64"/>
                  </a:lnTo>
                  <a:lnTo>
                    <a:pt x="29" y="64"/>
                  </a:lnTo>
                  <a:lnTo>
                    <a:pt x="26" y="64"/>
                  </a:lnTo>
                  <a:lnTo>
                    <a:pt x="26" y="66"/>
                  </a:lnTo>
                  <a:lnTo>
                    <a:pt x="24" y="66"/>
                  </a:lnTo>
                  <a:lnTo>
                    <a:pt x="24" y="69"/>
                  </a:lnTo>
                  <a:lnTo>
                    <a:pt x="26" y="69"/>
                  </a:lnTo>
                  <a:lnTo>
                    <a:pt x="24" y="69"/>
                  </a:lnTo>
                  <a:lnTo>
                    <a:pt x="26" y="69"/>
                  </a:lnTo>
                  <a:lnTo>
                    <a:pt x="24" y="69"/>
                  </a:lnTo>
                  <a:lnTo>
                    <a:pt x="24" y="71"/>
                  </a:lnTo>
                  <a:lnTo>
                    <a:pt x="24" y="69"/>
                  </a:lnTo>
                  <a:lnTo>
                    <a:pt x="24" y="71"/>
                  </a:lnTo>
                  <a:lnTo>
                    <a:pt x="22" y="71"/>
                  </a:lnTo>
                  <a:lnTo>
                    <a:pt x="24" y="71"/>
                  </a:lnTo>
                  <a:lnTo>
                    <a:pt x="24" y="73"/>
                  </a:lnTo>
                  <a:lnTo>
                    <a:pt x="24" y="71"/>
                  </a:lnTo>
                  <a:lnTo>
                    <a:pt x="24" y="73"/>
                  </a:lnTo>
                  <a:lnTo>
                    <a:pt x="22" y="73"/>
                  </a:lnTo>
                  <a:lnTo>
                    <a:pt x="19" y="73"/>
                  </a:lnTo>
                  <a:lnTo>
                    <a:pt x="19" y="71"/>
                  </a:lnTo>
                  <a:lnTo>
                    <a:pt x="17" y="71"/>
                  </a:lnTo>
                  <a:lnTo>
                    <a:pt x="19" y="71"/>
                  </a:lnTo>
                  <a:lnTo>
                    <a:pt x="17" y="71"/>
                  </a:lnTo>
                  <a:lnTo>
                    <a:pt x="19" y="69"/>
                  </a:lnTo>
                  <a:lnTo>
                    <a:pt x="17" y="69"/>
                  </a:lnTo>
                  <a:lnTo>
                    <a:pt x="17" y="71"/>
                  </a:lnTo>
                  <a:lnTo>
                    <a:pt x="17" y="69"/>
                  </a:lnTo>
                  <a:lnTo>
                    <a:pt x="17" y="71"/>
                  </a:lnTo>
                  <a:lnTo>
                    <a:pt x="17" y="69"/>
                  </a:lnTo>
                  <a:lnTo>
                    <a:pt x="14" y="69"/>
                  </a:lnTo>
                  <a:lnTo>
                    <a:pt x="12" y="69"/>
                  </a:lnTo>
                  <a:lnTo>
                    <a:pt x="12" y="66"/>
                  </a:lnTo>
                  <a:lnTo>
                    <a:pt x="10" y="66"/>
                  </a:lnTo>
                  <a:lnTo>
                    <a:pt x="12" y="66"/>
                  </a:lnTo>
                  <a:lnTo>
                    <a:pt x="10" y="66"/>
                  </a:lnTo>
                  <a:lnTo>
                    <a:pt x="10" y="64"/>
                  </a:lnTo>
                  <a:lnTo>
                    <a:pt x="7" y="64"/>
                  </a:lnTo>
                  <a:lnTo>
                    <a:pt x="10" y="64"/>
                  </a:lnTo>
                  <a:lnTo>
                    <a:pt x="10" y="61"/>
                  </a:lnTo>
                  <a:lnTo>
                    <a:pt x="12" y="61"/>
                  </a:lnTo>
                  <a:lnTo>
                    <a:pt x="12" y="59"/>
                  </a:lnTo>
                  <a:lnTo>
                    <a:pt x="10" y="59"/>
                  </a:lnTo>
                  <a:lnTo>
                    <a:pt x="7" y="59"/>
                  </a:lnTo>
                  <a:lnTo>
                    <a:pt x="10" y="59"/>
                  </a:lnTo>
                  <a:lnTo>
                    <a:pt x="7" y="59"/>
                  </a:lnTo>
                  <a:lnTo>
                    <a:pt x="7" y="57"/>
                  </a:lnTo>
                  <a:lnTo>
                    <a:pt x="10" y="57"/>
                  </a:lnTo>
                  <a:lnTo>
                    <a:pt x="7" y="57"/>
                  </a:lnTo>
                  <a:lnTo>
                    <a:pt x="7" y="59"/>
                  </a:lnTo>
                  <a:lnTo>
                    <a:pt x="5" y="59"/>
                  </a:lnTo>
                  <a:lnTo>
                    <a:pt x="5" y="57"/>
                  </a:lnTo>
                  <a:lnTo>
                    <a:pt x="7" y="57"/>
                  </a:lnTo>
                  <a:lnTo>
                    <a:pt x="7" y="54"/>
                  </a:lnTo>
                  <a:lnTo>
                    <a:pt x="5" y="54"/>
                  </a:lnTo>
                  <a:lnTo>
                    <a:pt x="7" y="54"/>
                  </a:lnTo>
                  <a:lnTo>
                    <a:pt x="10" y="52"/>
                  </a:lnTo>
                  <a:lnTo>
                    <a:pt x="7" y="52"/>
                  </a:lnTo>
                  <a:lnTo>
                    <a:pt x="10" y="52"/>
                  </a:lnTo>
                  <a:lnTo>
                    <a:pt x="7" y="52"/>
                  </a:lnTo>
                  <a:lnTo>
                    <a:pt x="10" y="52"/>
                  </a:lnTo>
                  <a:lnTo>
                    <a:pt x="7" y="52"/>
                  </a:lnTo>
                  <a:lnTo>
                    <a:pt x="7" y="50"/>
                  </a:lnTo>
                  <a:lnTo>
                    <a:pt x="10" y="50"/>
                  </a:lnTo>
                  <a:lnTo>
                    <a:pt x="7" y="50"/>
                  </a:lnTo>
                  <a:lnTo>
                    <a:pt x="7" y="47"/>
                  </a:lnTo>
                  <a:lnTo>
                    <a:pt x="7" y="50"/>
                  </a:lnTo>
                  <a:lnTo>
                    <a:pt x="5" y="50"/>
                  </a:lnTo>
                  <a:lnTo>
                    <a:pt x="3" y="50"/>
                  </a:lnTo>
                  <a:lnTo>
                    <a:pt x="3" y="47"/>
                  </a:lnTo>
                  <a:lnTo>
                    <a:pt x="5" y="47"/>
                  </a:lnTo>
                  <a:lnTo>
                    <a:pt x="5" y="45"/>
                  </a:lnTo>
                  <a:lnTo>
                    <a:pt x="7" y="45"/>
                  </a:lnTo>
                  <a:lnTo>
                    <a:pt x="7" y="42"/>
                  </a:lnTo>
                  <a:lnTo>
                    <a:pt x="5" y="42"/>
                  </a:lnTo>
                  <a:lnTo>
                    <a:pt x="5" y="40"/>
                  </a:lnTo>
                  <a:lnTo>
                    <a:pt x="3" y="40"/>
                  </a:lnTo>
                  <a:lnTo>
                    <a:pt x="3" y="38"/>
                  </a:lnTo>
                  <a:lnTo>
                    <a:pt x="0" y="38"/>
                  </a:lnTo>
                  <a:lnTo>
                    <a:pt x="3" y="38"/>
                  </a:lnTo>
                  <a:lnTo>
                    <a:pt x="0" y="38"/>
                  </a:lnTo>
                  <a:lnTo>
                    <a:pt x="3" y="38"/>
                  </a:lnTo>
                  <a:lnTo>
                    <a:pt x="3" y="35"/>
                  </a:lnTo>
                  <a:lnTo>
                    <a:pt x="0" y="35"/>
                  </a:lnTo>
                  <a:lnTo>
                    <a:pt x="3" y="35"/>
                  </a:lnTo>
                  <a:lnTo>
                    <a:pt x="0" y="35"/>
                  </a:lnTo>
                  <a:lnTo>
                    <a:pt x="3" y="35"/>
                  </a:lnTo>
                  <a:lnTo>
                    <a:pt x="3" y="33"/>
                  </a:lnTo>
                  <a:lnTo>
                    <a:pt x="3" y="35"/>
                  </a:lnTo>
                  <a:lnTo>
                    <a:pt x="3" y="33"/>
                  </a:lnTo>
                  <a:lnTo>
                    <a:pt x="5" y="33"/>
                  </a:lnTo>
                  <a:lnTo>
                    <a:pt x="5" y="31"/>
                  </a:lnTo>
                  <a:lnTo>
                    <a:pt x="3" y="31"/>
                  </a:lnTo>
                  <a:lnTo>
                    <a:pt x="3" y="28"/>
                  </a:lnTo>
                  <a:lnTo>
                    <a:pt x="3" y="31"/>
                  </a:lnTo>
                  <a:lnTo>
                    <a:pt x="3" y="28"/>
                  </a:lnTo>
                  <a:lnTo>
                    <a:pt x="3" y="31"/>
                  </a:lnTo>
                  <a:lnTo>
                    <a:pt x="0" y="31"/>
                  </a:lnTo>
                  <a:lnTo>
                    <a:pt x="0" y="28"/>
                  </a:lnTo>
                  <a:lnTo>
                    <a:pt x="3" y="28"/>
                  </a:lnTo>
                  <a:lnTo>
                    <a:pt x="3" y="26"/>
                  </a:lnTo>
                  <a:lnTo>
                    <a:pt x="5" y="26"/>
                  </a:lnTo>
                  <a:lnTo>
                    <a:pt x="5" y="23"/>
                  </a:lnTo>
                  <a:lnTo>
                    <a:pt x="5" y="21"/>
                  </a:lnTo>
                  <a:lnTo>
                    <a:pt x="7" y="21"/>
                  </a:lnTo>
                  <a:lnTo>
                    <a:pt x="5" y="21"/>
                  </a:lnTo>
                  <a:lnTo>
                    <a:pt x="7" y="21"/>
                  </a:lnTo>
                  <a:lnTo>
                    <a:pt x="7" y="19"/>
                  </a:lnTo>
                  <a:lnTo>
                    <a:pt x="5" y="19"/>
                  </a:lnTo>
                  <a:lnTo>
                    <a:pt x="7" y="19"/>
                  </a:lnTo>
                  <a:lnTo>
                    <a:pt x="5" y="19"/>
                  </a:lnTo>
                  <a:lnTo>
                    <a:pt x="7" y="19"/>
                  </a:lnTo>
                  <a:lnTo>
                    <a:pt x="10" y="19"/>
                  </a:lnTo>
                  <a:lnTo>
                    <a:pt x="10" y="16"/>
                  </a:lnTo>
                  <a:lnTo>
                    <a:pt x="12" y="16"/>
                  </a:lnTo>
                  <a:lnTo>
                    <a:pt x="10" y="16"/>
                  </a:lnTo>
                  <a:lnTo>
                    <a:pt x="12" y="16"/>
                  </a:lnTo>
                  <a:lnTo>
                    <a:pt x="14" y="16"/>
                  </a:lnTo>
                  <a:lnTo>
                    <a:pt x="17" y="16"/>
                  </a:lnTo>
                  <a:lnTo>
                    <a:pt x="17" y="14"/>
                  </a:lnTo>
                  <a:lnTo>
                    <a:pt x="19" y="14"/>
                  </a:lnTo>
                  <a:lnTo>
                    <a:pt x="19" y="12"/>
                  </a:lnTo>
                  <a:lnTo>
                    <a:pt x="22" y="12"/>
                  </a:lnTo>
                  <a:lnTo>
                    <a:pt x="24" y="12"/>
                  </a:lnTo>
                  <a:lnTo>
                    <a:pt x="24" y="14"/>
                  </a:lnTo>
                  <a:lnTo>
                    <a:pt x="26" y="14"/>
                  </a:lnTo>
                  <a:lnTo>
                    <a:pt x="26" y="12"/>
                  </a:lnTo>
                  <a:lnTo>
                    <a:pt x="26" y="9"/>
                  </a:lnTo>
                  <a:lnTo>
                    <a:pt x="26" y="7"/>
                  </a:lnTo>
                  <a:lnTo>
                    <a:pt x="26" y="4"/>
                  </a:lnTo>
                  <a:lnTo>
                    <a:pt x="26" y="2"/>
                  </a:lnTo>
                  <a:lnTo>
                    <a:pt x="29" y="2"/>
                  </a:lnTo>
                  <a:lnTo>
                    <a:pt x="26" y="2"/>
                  </a:lnTo>
                  <a:lnTo>
                    <a:pt x="29" y="2"/>
                  </a:lnTo>
                  <a:lnTo>
                    <a:pt x="26" y="2"/>
                  </a:lnTo>
                  <a:lnTo>
                    <a:pt x="26" y="0"/>
                  </a:lnTo>
                  <a:lnTo>
                    <a:pt x="29"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6" name="Freeform 57968"/>
            <p:cNvSpPr>
              <a:spLocks noEditPoints="1"/>
            </p:cNvSpPr>
            <p:nvPr/>
          </p:nvSpPr>
          <p:spPr bwMode="auto">
            <a:xfrm>
              <a:off x="1776414" y="4614868"/>
              <a:ext cx="682625" cy="660400"/>
            </a:xfrm>
            <a:custGeom>
              <a:avLst/>
              <a:gdLst>
                <a:gd name="T0" fmla="*/ 332 w 430"/>
                <a:gd name="T1" fmla="*/ 373 h 416"/>
                <a:gd name="T2" fmla="*/ 261 w 430"/>
                <a:gd name="T3" fmla="*/ 380 h 416"/>
                <a:gd name="T4" fmla="*/ 256 w 430"/>
                <a:gd name="T5" fmla="*/ 392 h 416"/>
                <a:gd name="T6" fmla="*/ 245 w 430"/>
                <a:gd name="T7" fmla="*/ 413 h 416"/>
                <a:gd name="T8" fmla="*/ 207 w 430"/>
                <a:gd name="T9" fmla="*/ 404 h 416"/>
                <a:gd name="T10" fmla="*/ 169 w 430"/>
                <a:gd name="T11" fmla="*/ 399 h 416"/>
                <a:gd name="T12" fmla="*/ 124 w 430"/>
                <a:gd name="T13" fmla="*/ 385 h 416"/>
                <a:gd name="T14" fmla="*/ 100 w 430"/>
                <a:gd name="T15" fmla="*/ 366 h 416"/>
                <a:gd name="T16" fmla="*/ 114 w 430"/>
                <a:gd name="T17" fmla="*/ 330 h 416"/>
                <a:gd name="T18" fmla="*/ 119 w 430"/>
                <a:gd name="T19" fmla="*/ 271 h 416"/>
                <a:gd name="T20" fmla="*/ 145 w 430"/>
                <a:gd name="T21" fmla="*/ 306 h 416"/>
                <a:gd name="T22" fmla="*/ 150 w 430"/>
                <a:gd name="T23" fmla="*/ 299 h 416"/>
                <a:gd name="T24" fmla="*/ 119 w 430"/>
                <a:gd name="T25" fmla="*/ 261 h 416"/>
                <a:gd name="T26" fmla="*/ 124 w 430"/>
                <a:gd name="T27" fmla="*/ 247 h 416"/>
                <a:gd name="T28" fmla="*/ 100 w 430"/>
                <a:gd name="T29" fmla="*/ 221 h 416"/>
                <a:gd name="T30" fmla="*/ 90 w 430"/>
                <a:gd name="T31" fmla="*/ 185 h 416"/>
                <a:gd name="T32" fmla="*/ 98 w 430"/>
                <a:gd name="T33" fmla="*/ 188 h 416"/>
                <a:gd name="T34" fmla="*/ 79 w 430"/>
                <a:gd name="T35" fmla="*/ 183 h 416"/>
                <a:gd name="T36" fmla="*/ 69 w 430"/>
                <a:gd name="T37" fmla="*/ 173 h 416"/>
                <a:gd name="T38" fmla="*/ 67 w 430"/>
                <a:gd name="T39" fmla="*/ 166 h 416"/>
                <a:gd name="T40" fmla="*/ 55 w 430"/>
                <a:gd name="T41" fmla="*/ 176 h 416"/>
                <a:gd name="T42" fmla="*/ 50 w 430"/>
                <a:gd name="T43" fmla="*/ 164 h 416"/>
                <a:gd name="T44" fmla="*/ 33 w 430"/>
                <a:gd name="T45" fmla="*/ 161 h 416"/>
                <a:gd name="T46" fmla="*/ 14 w 430"/>
                <a:gd name="T47" fmla="*/ 159 h 416"/>
                <a:gd name="T48" fmla="*/ 10 w 430"/>
                <a:gd name="T49" fmla="*/ 138 h 416"/>
                <a:gd name="T50" fmla="*/ 19 w 430"/>
                <a:gd name="T51" fmla="*/ 138 h 416"/>
                <a:gd name="T52" fmla="*/ 12 w 430"/>
                <a:gd name="T53" fmla="*/ 131 h 416"/>
                <a:gd name="T54" fmla="*/ 7 w 430"/>
                <a:gd name="T55" fmla="*/ 121 h 416"/>
                <a:gd name="T56" fmla="*/ 26 w 430"/>
                <a:gd name="T57" fmla="*/ 119 h 416"/>
                <a:gd name="T58" fmla="*/ 41 w 430"/>
                <a:gd name="T59" fmla="*/ 109 h 416"/>
                <a:gd name="T60" fmla="*/ 57 w 430"/>
                <a:gd name="T61" fmla="*/ 112 h 416"/>
                <a:gd name="T62" fmla="*/ 76 w 430"/>
                <a:gd name="T63" fmla="*/ 121 h 416"/>
                <a:gd name="T64" fmla="*/ 90 w 430"/>
                <a:gd name="T65" fmla="*/ 121 h 416"/>
                <a:gd name="T66" fmla="*/ 107 w 430"/>
                <a:gd name="T67" fmla="*/ 112 h 416"/>
                <a:gd name="T68" fmla="*/ 98 w 430"/>
                <a:gd name="T69" fmla="*/ 76 h 416"/>
                <a:gd name="T70" fmla="*/ 116 w 430"/>
                <a:gd name="T71" fmla="*/ 78 h 416"/>
                <a:gd name="T72" fmla="*/ 166 w 430"/>
                <a:gd name="T73" fmla="*/ 81 h 416"/>
                <a:gd name="T74" fmla="*/ 166 w 430"/>
                <a:gd name="T75" fmla="*/ 81 h 416"/>
                <a:gd name="T76" fmla="*/ 183 w 430"/>
                <a:gd name="T77" fmla="*/ 59 h 416"/>
                <a:gd name="T78" fmla="*/ 209 w 430"/>
                <a:gd name="T79" fmla="*/ 35 h 416"/>
                <a:gd name="T80" fmla="*/ 228 w 430"/>
                <a:gd name="T81" fmla="*/ 5 h 416"/>
                <a:gd name="T82" fmla="*/ 254 w 430"/>
                <a:gd name="T83" fmla="*/ 19 h 416"/>
                <a:gd name="T84" fmla="*/ 283 w 430"/>
                <a:gd name="T85" fmla="*/ 35 h 416"/>
                <a:gd name="T86" fmla="*/ 309 w 430"/>
                <a:gd name="T87" fmla="*/ 54 h 416"/>
                <a:gd name="T88" fmla="*/ 332 w 430"/>
                <a:gd name="T89" fmla="*/ 69 h 416"/>
                <a:gd name="T90" fmla="*/ 370 w 430"/>
                <a:gd name="T91" fmla="*/ 81 h 416"/>
                <a:gd name="T92" fmla="*/ 399 w 430"/>
                <a:gd name="T93" fmla="*/ 95 h 416"/>
                <a:gd name="T94" fmla="*/ 415 w 430"/>
                <a:gd name="T95" fmla="*/ 119 h 416"/>
                <a:gd name="T96" fmla="*/ 406 w 430"/>
                <a:gd name="T97" fmla="*/ 176 h 416"/>
                <a:gd name="T98" fmla="*/ 385 w 430"/>
                <a:gd name="T99" fmla="*/ 190 h 416"/>
                <a:gd name="T100" fmla="*/ 361 w 430"/>
                <a:gd name="T101" fmla="*/ 228 h 416"/>
                <a:gd name="T102" fmla="*/ 382 w 430"/>
                <a:gd name="T103" fmla="*/ 228 h 416"/>
                <a:gd name="T104" fmla="*/ 389 w 430"/>
                <a:gd name="T105" fmla="*/ 268 h 416"/>
                <a:gd name="T106" fmla="*/ 389 w 430"/>
                <a:gd name="T107" fmla="*/ 302 h 416"/>
                <a:gd name="T108" fmla="*/ 408 w 430"/>
                <a:gd name="T109" fmla="*/ 332 h 416"/>
                <a:gd name="T110" fmla="*/ 394 w 430"/>
                <a:gd name="T111" fmla="*/ 354 h 416"/>
                <a:gd name="T112" fmla="*/ 377 w 430"/>
                <a:gd name="T113" fmla="*/ 368 h 416"/>
                <a:gd name="T114" fmla="*/ 351 w 430"/>
                <a:gd name="T115" fmla="*/ 380 h 416"/>
                <a:gd name="T116" fmla="*/ 330 w 430"/>
                <a:gd name="T117" fmla="*/ 370 h 416"/>
                <a:gd name="T118" fmla="*/ 323 w 430"/>
                <a:gd name="T119" fmla="*/ 363 h 416"/>
                <a:gd name="T120" fmla="*/ 311 w 430"/>
                <a:gd name="T121" fmla="*/ 349 h 416"/>
                <a:gd name="T122" fmla="*/ 309 w 430"/>
                <a:gd name="T123" fmla="*/ 36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0" h="416">
                  <a:moveTo>
                    <a:pt x="370" y="385"/>
                  </a:moveTo>
                  <a:lnTo>
                    <a:pt x="368" y="385"/>
                  </a:lnTo>
                  <a:lnTo>
                    <a:pt x="370" y="385"/>
                  </a:lnTo>
                  <a:close/>
                  <a:moveTo>
                    <a:pt x="363" y="385"/>
                  </a:moveTo>
                  <a:lnTo>
                    <a:pt x="361" y="385"/>
                  </a:lnTo>
                  <a:lnTo>
                    <a:pt x="363" y="385"/>
                  </a:lnTo>
                  <a:lnTo>
                    <a:pt x="363" y="382"/>
                  </a:lnTo>
                  <a:lnTo>
                    <a:pt x="363" y="385"/>
                  </a:lnTo>
                  <a:close/>
                  <a:moveTo>
                    <a:pt x="373" y="382"/>
                  </a:moveTo>
                  <a:lnTo>
                    <a:pt x="370" y="382"/>
                  </a:lnTo>
                  <a:lnTo>
                    <a:pt x="370" y="385"/>
                  </a:lnTo>
                  <a:lnTo>
                    <a:pt x="370" y="382"/>
                  </a:lnTo>
                  <a:lnTo>
                    <a:pt x="373" y="382"/>
                  </a:lnTo>
                  <a:close/>
                  <a:moveTo>
                    <a:pt x="349" y="382"/>
                  </a:moveTo>
                  <a:lnTo>
                    <a:pt x="349" y="380"/>
                  </a:lnTo>
                  <a:lnTo>
                    <a:pt x="349" y="382"/>
                  </a:lnTo>
                  <a:close/>
                  <a:moveTo>
                    <a:pt x="349" y="380"/>
                  </a:moveTo>
                  <a:lnTo>
                    <a:pt x="349" y="382"/>
                  </a:lnTo>
                  <a:lnTo>
                    <a:pt x="349" y="380"/>
                  </a:lnTo>
                  <a:close/>
                  <a:moveTo>
                    <a:pt x="344" y="378"/>
                  </a:moveTo>
                  <a:lnTo>
                    <a:pt x="342" y="378"/>
                  </a:lnTo>
                  <a:lnTo>
                    <a:pt x="344" y="378"/>
                  </a:lnTo>
                  <a:close/>
                  <a:moveTo>
                    <a:pt x="335" y="378"/>
                  </a:moveTo>
                  <a:lnTo>
                    <a:pt x="335" y="375"/>
                  </a:lnTo>
                  <a:lnTo>
                    <a:pt x="335" y="378"/>
                  </a:lnTo>
                  <a:close/>
                  <a:moveTo>
                    <a:pt x="335" y="375"/>
                  </a:moveTo>
                  <a:lnTo>
                    <a:pt x="332" y="375"/>
                  </a:lnTo>
                  <a:lnTo>
                    <a:pt x="335" y="375"/>
                  </a:lnTo>
                  <a:close/>
                  <a:moveTo>
                    <a:pt x="332" y="370"/>
                  </a:moveTo>
                  <a:lnTo>
                    <a:pt x="332" y="373"/>
                  </a:lnTo>
                  <a:lnTo>
                    <a:pt x="332" y="370"/>
                  </a:lnTo>
                  <a:lnTo>
                    <a:pt x="332" y="373"/>
                  </a:lnTo>
                  <a:lnTo>
                    <a:pt x="332" y="370"/>
                  </a:lnTo>
                  <a:close/>
                  <a:moveTo>
                    <a:pt x="335" y="370"/>
                  </a:moveTo>
                  <a:lnTo>
                    <a:pt x="335" y="368"/>
                  </a:lnTo>
                  <a:lnTo>
                    <a:pt x="332" y="368"/>
                  </a:lnTo>
                  <a:lnTo>
                    <a:pt x="335" y="368"/>
                  </a:lnTo>
                  <a:lnTo>
                    <a:pt x="335" y="370"/>
                  </a:lnTo>
                  <a:close/>
                  <a:moveTo>
                    <a:pt x="392" y="361"/>
                  </a:moveTo>
                  <a:lnTo>
                    <a:pt x="389" y="361"/>
                  </a:lnTo>
                  <a:lnTo>
                    <a:pt x="392" y="361"/>
                  </a:lnTo>
                  <a:close/>
                  <a:moveTo>
                    <a:pt x="280" y="366"/>
                  </a:moveTo>
                  <a:lnTo>
                    <a:pt x="278" y="366"/>
                  </a:lnTo>
                  <a:lnTo>
                    <a:pt x="278" y="368"/>
                  </a:lnTo>
                  <a:lnTo>
                    <a:pt x="275" y="370"/>
                  </a:lnTo>
                  <a:lnTo>
                    <a:pt x="273" y="370"/>
                  </a:lnTo>
                  <a:lnTo>
                    <a:pt x="273" y="373"/>
                  </a:lnTo>
                  <a:lnTo>
                    <a:pt x="273" y="370"/>
                  </a:lnTo>
                  <a:lnTo>
                    <a:pt x="273" y="373"/>
                  </a:lnTo>
                  <a:lnTo>
                    <a:pt x="271" y="370"/>
                  </a:lnTo>
                  <a:lnTo>
                    <a:pt x="268" y="370"/>
                  </a:lnTo>
                  <a:lnTo>
                    <a:pt x="268" y="373"/>
                  </a:lnTo>
                  <a:lnTo>
                    <a:pt x="268" y="370"/>
                  </a:lnTo>
                  <a:lnTo>
                    <a:pt x="268" y="373"/>
                  </a:lnTo>
                  <a:lnTo>
                    <a:pt x="266" y="373"/>
                  </a:lnTo>
                  <a:lnTo>
                    <a:pt x="266" y="375"/>
                  </a:lnTo>
                  <a:lnTo>
                    <a:pt x="264" y="375"/>
                  </a:lnTo>
                  <a:lnTo>
                    <a:pt x="264" y="378"/>
                  </a:lnTo>
                  <a:lnTo>
                    <a:pt x="261" y="378"/>
                  </a:lnTo>
                  <a:lnTo>
                    <a:pt x="261" y="380"/>
                  </a:lnTo>
                  <a:lnTo>
                    <a:pt x="259" y="382"/>
                  </a:lnTo>
                  <a:lnTo>
                    <a:pt x="259" y="380"/>
                  </a:lnTo>
                  <a:lnTo>
                    <a:pt x="256" y="380"/>
                  </a:lnTo>
                  <a:lnTo>
                    <a:pt x="256" y="382"/>
                  </a:lnTo>
                  <a:lnTo>
                    <a:pt x="256" y="380"/>
                  </a:lnTo>
                  <a:lnTo>
                    <a:pt x="256" y="382"/>
                  </a:lnTo>
                  <a:lnTo>
                    <a:pt x="256" y="380"/>
                  </a:lnTo>
                  <a:lnTo>
                    <a:pt x="256" y="378"/>
                  </a:lnTo>
                  <a:lnTo>
                    <a:pt x="256" y="380"/>
                  </a:lnTo>
                  <a:lnTo>
                    <a:pt x="254" y="380"/>
                  </a:lnTo>
                  <a:lnTo>
                    <a:pt x="256" y="380"/>
                  </a:lnTo>
                  <a:lnTo>
                    <a:pt x="256" y="382"/>
                  </a:lnTo>
                  <a:lnTo>
                    <a:pt x="256" y="380"/>
                  </a:lnTo>
                  <a:lnTo>
                    <a:pt x="256" y="382"/>
                  </a:lnTo>
                  <a:lnTo>
                    <a:pt x="259" y="382"/>
                  </a:lnTo>
                  <a:lnTo>
                    <a:pt x="256" y="382"/>
                  </a:lnTo>
                  <a:lnTo>
                    <a:pt x="259" y="382"/>
                  </a:lnTo>
                  <a:lnTo>
                    <a:pt x="259" y="385"/>
                  </a:lnTo>
                  <a:lnTo>
                    <a:pt x="259" y="387"/>
                  </a:lnTo>
                  <a:lnTo>
                    <a:pt x="259" y="389"/>
                  </a:lnTo>
                  <a:lnTo>
                    <a:pt x="259" y="392"/>
                  </a:lnTo>
                  <a:lnTo>
                    <a:pt x="259" y="389"/>
                  </a:lnTo>
                  <a:lnTo>
                    <a:pt x="256" y="389"/>
                  </a:lnTo>
                  <a:lnTo>
                    <a:pt x="256" y="387"/>
                  </a:lnTo>
                  <a:lnTo>
                    <a:pt x="256" y="389"/>
                  </a:lnTo>
                  <a:lnTo>
                    <a:pt x="256" y="392"/>
                  </a:lnTo>
                  <a:lnTo>
                    <a:pt x="254" y="392"/>
                  </a:lnTo>
                  <a:lnTo>
                    <a:pt x="256" y="392"/>
                  </a:lnTo>
                  <a:lnTo>
                    <a:pt x="256" y="394"/>
                  </a:lnTo>
                  <a:lnTo>
                    <a:pt x="256" y="392"/>
                  </a:lnTo>
                  <a:lnTo>
                    <a:pt x="259" y="392"/>
                  </a:lnTo>
                  <a:lnTo>
                    <a:pt x="259" y="389"/>
                  </a:lnTo>
                  <a:lnTo>
                    <a:pt x="259" y="392"/>
                  </a:lnTo>
                  <a:lnTo>
                    <a:pt x="259" y="394"/>
                  </a:lnTo>
                  <a:lnTo>
                    <a:pt x="259" y="397"/>
                  </a:lnTo>
                  <a:lnTo>
                    <a:pt x="259" y="399"/>
                  </a:lnTo>
                  <a:lnTo>
                    <a:pt x="259" y="401"/>
                  </a:lnTo>
                  <a:lnTo>
                    <a:pt x="259" y="404"/>
                  </a:lnTo>
                  <a:lnTo>
                    <a:pt x="259" y="401"/>
                  </a:lnTo>
                  <a:lnTo>
                    <a:pt x="259" y="404"/>
                  </a:lnTo>
                  <a:lnTo>
                    <a:pt x="259" y="406"/>
                  </a:lnTo>
                  <a:lnTo>
                    <a:pt x="261" y="406"/>
                  </a:lnTo>
                  <a:lnTo>
                    <a:pt x="261" y="408"/>
                  </a:lnTo>
                  <a:lnTo>
                    <a:pt x="261" y="411"/>
                  </a:lnTo>
                  <a:lnTo>
                    <a:pt x="264" y="411"/>
                  </a:lnTo>
                  <a:lnTo>
                    <a:pt x="261" y="411"/>
                  </a:lnTo>
                  <a:lnTo>
                    <a:pt x="259" y="411"/>
                  </a:lnTo>
                  <a:lnTo>
                    <a:pt x="259" y="408"/>
                  </a:lnTo>
                  <a:lnTo>
                    <a:pt x="256" y="408"/>
                  </a:lnTo>
                  <a:lnTo>
                    <a:pt x="254" y="408"/>
                  </a:lnTo>
                  <a:lnTo>
                    <a:pt x="252" y="408"/>
                  </a:lnTo>
                  <a:lnTo>
                    <a:pt x="252" y="411"/>
                  </a:lnTo>
                  <a:lnTo>
                    <a:pt x="249" y="411"/>
                  </a:lnTo>
                  <a:lnTo>
                    <a:pt x="247" y="411"/>
                  </a:lnTo>
                  <a:lnTo>
                    <a:pt x="247" y="413"/>
                  </a:lnTo>
                  <a:lnTo>
                    <a:pt x="245" y="413"/>
                  </a:lnTo>
                  <a:lnTo>
                    <a:pt x="247" y="413"/>
                  </a:lnTo>
                  <a:lnTo>
                    <a:pt x="247" y="416"/>
                  </a:lnTo>
                  <a:lnTo>
                    <a:pt x="245" y="416"/>
                  </a:lnTo>
                  <a:lnTo>
                    <a:pt x="245" y="413"/>
                  </a:lnTo>
                  <a:lnTo>
                    <a:pt x="242" y="413"/>
                  </a:lnTo>
                  <a:lnTo>
                    <a:pt x="242" y="416"/>
                  </a:lnTo>
                  <a:lnTo>
                    <a:pt x="240" y="416"/>
                  </a:lnTo>
                  <a:lnTo>
                    <a:pt x="240" y="413"/>
                  </a:lnTo>
                  <a:lnTo>
                    <a:pt x="238" y="413"/>
                  </a:lnTo>
                  <a:lnTo>
                    <a:pt x="238" y="411"/>
                  </a:lnTo>
                  <a:lnTo>
                    <a:pt x="235" y="411"/>
                  </a:lnTo>
                  <a:lnTo>
                    <a:pt x="233" y="411"/>
                  </a:lnTo>
                  <a:lnTo>
                    <a:pt x="230" y="411"/>
                  </a:lnTo>
                  <a:lnTo>
                    <a:pt x="228" y="411"/>
                  </a:lnTo>
                  <a:lnTo>
                    <a:pt x="228" y="413"/>
                  </a:lnTo>
                  <a:lnTo>
                    <a:pt x="226" y="413"/>
                  </a:lnTo>
                  <a:lnTo>
                    <a:pt x="223" y="413"/>
                  </a:lnTo>
                  <a:lnTo>
                    <a:pt x="223" y="411"/>
                  </a:lnTo>
                  <a:lnTo>
                    <a:pt x="221" y="411"/>
                  </a:lnTo>
                  <a:lnTo>
                    <a:pt x="221" y="408"/>
                  </a:lnTo>
                  <a:lnTo>
                    <a:pt x="219" y="408"/>
                  </a:lnTo>
                  <a:lnTo>
                    <a:pt x="216" y="408"/>
                  </a:lnTo>
                  <a:lnTo>
                    <a:pt x="214" y="408"/>
                  </a:lnTo>
                  <a:lnTo>
                    <a:pt x="214" y="406"/>
                  </a:lnTo>
                  <a:lnTo>
                    <a:pt x="216" y="406"/>
                  </a:lnTo>
                  <a:lnTo>
                    <a:pt x="216" y="404"/>
                  </a:lnTo>
                  <a:lnTo>
                    <a:pt x="214" y="404"/>
                  </a:lnTo>
                  <a:lnTo>
                    <a:pt x="216" y="404"/>
                  </a:lnTo>
                  <a:lnTo>
                    <a:pt x="216" y="401"/>
                  </a:lnTo>
                  <a:lnTo>
                    <a:pt x="214" y="401"/>
                  </a:lnTo>
                  <a:lnTo>
                    <a:pt x="211" y="401"/>
                  </a:lnTo>
                  <a:lnTo>
                    <a:pt x="209" y="401"/>
                  </a:lnTo>
                  <a:lnTo>
                    <a:pt x="207" y="401"/>
                  </a:lnTo>
                  <a:lnTo>
                    <a:pt x="207" y="404"/>
                  </a:lnTo>
                  <a:lnTo>
                    <a:pt x="204" y="404"/>
                  </a:lnTo>
                  <a:lnTo>
                    <a:pt x="204" y="401"/>
                  </a:lnTo>
                  <a:lnTo>
                    <a:pt x="204" y="399"/>
                  </a:lnTo>
                  <a:lnTo>
                    <a:pt x="202" y="399"/>
                  </a:lnTo>
                  <a:lnTo>
                    <a:pt x="202" y="397"/>
                  </a:lnTo>
                  <a:lnTo>
                    <a:pt x="200" y="397"/>
                  </a:lnTo>
                  <a:lnTo>
                    <a:pt x="197" y="397"/>
                  </a:lnTo>
                  <a:lnTo>
                    <a:pt x="197" y="399"/>
                  </a:lnTo>
                  <a:lnTo>
                    <a:pt x="195" y="397"/>
                  </a:lnTo>
                  <a:lnTo>
                    <a:pt x="195" y="394"/>
                  </a:lnTo>
                  <a:lnTo>
                    <a:pt x="192" y="394"/>
                  </a:lnTo>
                  <a:lnTo>
                    <a:pt x="190" y="394"/>
                  </a:lnTo>
                  <a:lnTo>
                    <a:pt x="188" y="394"/>
                  </a:lnTo>
                  <a:lnTo>
                    <a:pt x="188" y="392"/>
                  </a:lnTo>
                  <a:lnTo>
                    <a:pt x="185" y="392"/>
                  </a:lnTo>
                  <a:lnTo>
                    <a:pt x="183" y="392"/>
                  </a:lnTo>
                  <a:lnTo>
                    <a:pt x="181" y="392"/>
                  </a:lnTo>
                  <a:lnTo>
                    <a:pt x="181" y="394"/>
                  </a:lnTo>
                  <a:lnTo>
                    <a:pt x="178" y="394"/>
                  </a:lnTo>
                  <a:lnTo>
                    <a:pt x="181" y="394"/>
                  </a:lnTo>
                  <a:lnTo>
                    <a:pt x="178" y="397"/>
                  </a:lnTo>
                  <a:lnTo>
                    <a:pt x="181" y="397"/>
                  </a:lnTo>
                  <a:lnTo>
                    <a:pt x="181" y="399"/>
                  </a:lnTo>
                  <a:lnTo>
                    <a:pt x="178" y="399"/>
                  </a:lnTo>
                  <a:lnTo>
                    <a:pt x="176" y="399"/>
                  </a:lnTo>
                  <a:lnTo>
                    <a:pt x="173" y="399"/>
                  </a:lnTo>
                  <a:lnTo>
                    <a:pt x="171" y="399"/>
                  </a:lnTo>
                  <a:lnTo>
                    <a:pt x="171" y="397"/>
                  </a:lnTo>
                  <a:lnTo>
                    <a:pt x="169" y="397"/>
                  </a:lnTo>
                  <a:lnTo>
                    <a:pt x="169" y="399"/>
                  </a:lnTo>
                  <a:lnTo>
                    <a:pt x="166" y="399"/>
                  </a:lnTo>
                  <a:lnTo>
                    <a:pt x="166" y="397"/>
                  </a:lnTo>
                  <a:lnTo>
                    <a:pt x="164" y="397"/>
                  </a:lnTo>
                  <a:lnTo>
                    <a:pt x="162" y="397"/>
                  </a:lnTo>
                  <a:lnTo>
                    <a:pt x="159" y="397"/>
                  </a:lnTo>
                  <a:lnTo>
                    <a:pt x="159" y="399"/>
                  </a:lnTo>
                  <a:lnTo>
                    <a:pt x="157" y="399"/>
                  </a:lnTo>
                  <a:lnTo>
                    <a:pt x="154" y="397"/>
                  </a:lnTo>
                  <a:lnTo>
                    <a:pt x="152" y="394"/>
                  </a:lnTo>
                  <a:lnTo>
                    <a:pt x="150" y="394"/>
                  </a:lnTo>
                  <a:lnTo>
                    <a:pt x="150" y="392"/>
                  </a:lnTo>
                  <a:lnTo>
                    <a:pt x="147" y="392"/>
                  </a:lnTo>
                  <a:lnTo>
                    <a:pt x="145" y="392"/>
                  </a:lnTo>
                  <a:lnTo>
                    <a:pt x="145" y="394"/>
                  </a:lnTo>
                  <a:lnTo>
                    <a:pt x="143" y="394"/>
                  </a:lnTo>
                  <a:lnTo>
                    <a:pt x="143" y="392"/>
                  </a:lnTo>
                  <a:lnTo>
                    <a:pt x="140" y="392"/>
                  </a:lnTo>
                  <a:lnTo>
                    <a:pt x="140" y="394"/>
                  </a:lnTo>
                  <a:lnTo>
                    <a:pt x="138" y="394"/>
                  </a:lnTo>
                  <a:lnTo>
                    <a:pt x="138" y="392"/>
                  </a:lnTo>
                  <a:lnTo>
                    <a:pt x="135" y="392"/>
                  </a:lnTo>
                  <a:lnTo>
                    <a:pt x="135" y="389"/>
                  </a:lnTo>
                  <a:lnTo>
                    <a:pt x="133" y="389"/>
                  </a:lnTo>
                  <a:lnTo>
                    <a:pt x="133" y="387"/>
                  </a:lnTo>
                  <a:lnTo>
                    <a:pt x="133" y="385"/>
                  </a:lnTo>
                  <a:lnTo>
                    <a:pt x="131" y="387"/>
                  </a:lnTo>
                  <a:lnTo>
                    <a:pt x="128" y="387"/>
                  </a:lnTo>
                  <a:lnTo>
                    <a:pt x="126" y="387"/>
                  </a:lnTo>
                  <a:lnTo>
                    <a:pt x="126" y="385"/>
                  </a:lnTo>
                  <a:lnTo>
                    <a:pt x="124" y="385"/>
                  </a:lnTo>
                  <a:lnTo>
                    <a:pt x="121" y="385"/>
                  </a:lnTo>
                  <a:lnTo>
                    <a:pt x="121" y="382"/>
                  </a:lnTo>
                  <a:lnTo>
                    <a:pt x="121" y="385"/>
                  </a:lnTo>
                  <a:lnTo>
                    <a:pt x="119" y="385"/>
                  </a:lnTo>
                  <a:lnTo>
                    <a:pt x="121" y="382"/>
                  </a:lnTo>
                  <a:lnTo>
                    <a:pt x="119" y="382"/>
                  </a:lnTo>
                  <a:lnTo>
                    <a:pt x="116" y="382"/>
                  </a:lnTo>
                  <a:lnTo>
                    <a:pt x="114" y="382"/>
                  </a:lnTo>
                  <a:lnTo>
                    <a:pt x="114" y="380"/>
                  </a:lnTo>
                  <a:lnTo>
                    <a:pt x="116" y="380"/>
                  </a:lnTo>
                  <a:lnTo>
                    <a:pt x="114" y="380"/>
                  </a:lnTo>
                  <a:lnTo>
                    <a:pt x="114" y="382"/>
                  </a:lnTo>
                  <a:lnTo>
                    <a:pt x="109" y="382"/>
                  </a:lnTo>
                  <a:lnTo>
                    <a:pt x="109" y="380"/>
                  </a:lnTo>
                  <a:lnTo>
                    <a:pt x="112" y="380"/>
                  </a:lnTo>
                  <a:lnTo>
                    <a:pt x="112" y="378"/>
                  </a:lnTo>
                  <a:lnTo>
                    <a:pt x="112" y="375"/>
                  </a:lnTo>
                  <a:lnTo>
                    <a:pt x="112" y="373"/>
                  </a:lnTo>
                  <a:lnTo>
                    <a:pt x="109" y="373"/>
                  </a:lnTo>
                  <a:lnTo>
                    <a:pt x="109" y="370"/>
                  </a:lnTo>
                  <a:lnTo>
                    <a:pt x="107" y="370"/>
                  </a:lnTo>
                  <a:lnTo>
                    <a:pt x="107" y="373"/>
                  </a:lnTo>
                  <a:lnTo>
                    <a:pt x="105" y="373"/>
                  </a:lnTo>
                  <a:lnTo>
                    <a:pt x="105" y="370"/>
                  </a:lnTo>
                  <a:lnTo>
                    <a:pt x="102" y="370"/>
                  </a:lnTo>
                  <a:lnTo>
                    <a:pt x="100" y="370"/>
                  </a:lnTo>
                  <a:lnTo>
                    <a:pt x="100" y="368"/>
                  </a:lnTo>
                  <a:lnTo>
                    <a:pt x="100" y="366"/>
                  </a:lnTo>
                  <a:lnTo>
                    <a:pt x="100" y="368"/>
                  </a:lnTo>
                  <a:lnTo>
                    <a:pt x="100" y="366"/>
                  </a:lnTo>
                  <a:lnTo>
                    <a:pt x="102" y="366"/>
                  </a:lnTo>
                  <a:lnTo>
                    <a:pt x="105" y="366"/>
                  </a:lnTo>
                  <a:lnTo>
                    <a:pt x="105" y="363"/>
                  </a:lnTo>
                  <a:lnTo>
                    <a:pt x="107" y="363"/>
                  </a:lnTo>
                  <a:lnTo>
                    <a:pt x="107" y="361"/>
                  </a:lnTo>
                  <a:lnTo>
                    <a:pt x="109" y="361"/>
                  </a:lnTo>
                  <a:lnTo>
                    <a:pt x="109" y="363"/>
                  </a:lnTo>
                  <a:lnTo>
                    <a:pt x="109" y="361"/>
                  </a:lnTo>
                  <a:lnTo>
                    <a:pt x="112" y="361"/>
                  </a:lnTo>
                  <a:lnTo>
                    <a:pt x="114" y="361"/>
                  </a:lnTo>
                  <a:lnTo>
                    <a:pt x="116" y="361"/>
                  </a:lnTo>
                  <a:lnTo>
                    <a:pt x="119" y="361"/>
                  </a:lnTo>
                  <a:lnTo>
                    <a:pt x="119" y="359"/>
                  </a:lnTo>
                  <a:lnTo>
                    <a:pt x="116" y="361"/>
                  </a:lnTo>
                  <a:lnTo>
                    <a:pt x="114" y="361"/>
                  </a:lnTo>
                  <a:lnTo>
                    <a:pt x="112" y="361"/>
                  </a:lnTo>
                  <a:lnTo>
                    <a:pt x="109" y="361"/>
                  </a:lnTo>
                  <a:lnTo>
                    <a:pt x="107" y="361"/>
                  </a:lnTo>
                  <a:lnTo>
                    <a:pt x="107" y="359"/>
                  </a:lnTo>
                  <a:lnTo>
                    <a:pt x="109" y="359"/>
                  </a:lnTo>
                  <a:lnTo>
                    <a:pt x="109" y="356"/>
                  </a:lnTo>
                  <a:lnTo>
                    <a:pt x="109" y="354"/>
                  </a:lnTo>
                  <a:lnTo>
                    <a:pt x="109" y="351"/>
                  </a:lnTo>
                  <a:lnTo>
                    <a:pt x="112" y="349"/>
                  </a:lnTo>
                  <a:lnTo>
                    <a:pt x="112" y="344"/>
                  </a:lnTo>
                  <a:lnTo>
                    <a:pt x="112" y="342"/>
                  </a:lnTo>
                  <a:lnTo>
                    <a:pt x="112" y="340"/>
                  </a:lnTo>
                  <a:lnTo>
                    <a:pt x="114" y="337"/>
                  </a:lnTo>
                  <a:lnTo>
                    <a:pt x="114" y="332"/>
                  </a:lnTo>
                  <a:lnTo>
                    <a:pt x="114" y="330"/>
                  </a:lnTo>
                  <a:lnTo>
                    <a:pt x="116" y="321"/>
                  </a:lnTo>
                  <a:lnTo>
                    <a:pt x="116" y="316"/>
                  </a:lnTo>
                  <a:lnTo>
                    <a:pt x="116" y="313"/>
                  </a:lnTo>
                  <a:lnTo>
                    <a:pt x="116" y="311"/>
                  </a:lnTo>
                  <a:lnTo>
                    <a:pt x="119" y="311"/>
                  </a:lnTo>
                  <a:lnTo>
                    <a:pt x="119" y="309"/>
                  </a:lnTo>
                  <a:lnTo>
                    <a:pt x="119" y="306"/>
                  </a:lnTo>
                  <a:lnTo>
                    <a:pt x="119" y="309"/>
                  </a:lnTo>
                  <a:lnTo>
                    <a:pt x="119" y="306"/>
                  </a:lnTo>
                  <a:lnTo>
                    <a:pt x="121" y="309"/>
                  </a:lnTo>
                  <a:lnTo>
                    <a:pt x="119" y="309"/>
                  </a:lnTo>
                  <a:lnTo>
                    <a:pt x="124" y="309"/>
                  </a:lnTo>
                  <a:lnTo>
                    <a:pt x="124" y="306"/>
                  </a:lnTo>
                  <a:lnTo>
                    <a:pt x="124" y="304"/>
                  </a:lnTo>
                  <a:lnTo>
                    <a:pt x="121" y="304"/>
                  </a:lnTo>
                  <a:lnTo>
                    <a:pt x="119" y="304"/>
                  </a:lnTo>
                  <a:lnTo>
                    <a:pt x="119" y="302"/>
                  </a:lnTo>
                  <a:lnTo>
                    <a:pt x="119" y="304"/>
                  </a:lnTo>
                  <a:lnTo>
                    <a:pt x="119" y="302"/>
                  </a:lnTo>
                  <a:lnTo>
                    <a:pt x="119" y="304"/>
                  </a:lnTo>
                  <a:lnTo>
                    <a:pt x="116" y="306"/>
                  </a:lnTo>
                  <a:lnTo>
                    <a:pt x="116" y="309"/>
                  </a:lnTo>
                  <a:lnTo>
                    <a:pt x="116" y="306"/>
                  </a:lnTo>
                  <a:lnTo>
                    <a:pt x="116" y="299"/>
                  </a:lnTo>
                  <a:lnTo>
                    <a:pt x="119" y="292"/>
                  </a:lnTo>
                  <a:lnTo>
                    <a:pt x="119" y="287"/>
                  </a:lnTo>
                  <a:lnTo>
                    <a:pt x="119" y="278"/>
                  </a:lnTo>
                  <a:lnTo>
                    <a:pt x="119" y="275"/>
                  </a:lnTo>
                  <a:lnTo>
                    <a:pt x="119" y="273"/>
                  </a:lnTo>
                  <a:lnTo>
                    <a:pt x="119" y="271"/>
                  </a:lnTo>
                  <a:lnTo>
                    <a:pt x="119" y="268"/>
                  </a:lnTo>
                  <a:lnTo>
                    <a:pt x="121" y="268"/>
                  </a:lnTo>
                  <a:lnTo>
                    <a:pt x="121" y="266"/>
                  </a:lnTo>
                  <a:lnTo>
                    <a:pt x="124" y="266"/>
                  </a:lnTo>
                  <a:lnTo>
                    <a:pt x="124" y="268"/>
                  </a:lnTo>
                  <a:lnTo>
                    <a:pt x="126" y="271"/>
                  </a:lnTo>
                  <a:lnTo>
                    <a:pt x="124" y="271"/>
                  </a:lnTo>
                  <a:lnTo>
                    <a:pt x="126" y="271"/>
                  </a:lnTo>
                  <a:lnTo>
                    <a:pt x="128" y="271"/>
                  </a:lnTo>
                  <a:lnTo>
                    <a:pt x="128" y="273"/>
                  </a:lnTo>
                  <a:lnTo>
                    <a:pt x="131" y="273"/>
                  </a:lnTo>
                  <a:lnTo>
                    <a:pt x="131" y="275"/>
                  </a:lnTo>
                  <a:lnTo>
                    <a:pt x="133" y="278"/>
                  </a:lnTo>
                  <a:lnTo>
                    <a:pt x="133" y="280"/>
                  </a:lnTo>
                  <a:lnTo>
                    <a:pt x="133" y="283"/>
                  </a:lnTo>
                  <a:lnTo>
                    <a:pt x="133" y="285"/>
                  </a:lnTo>
                  <a:lnTo>
                    <a:pt x="135" y="285"/>
                  </a:lnTo>
                  <a:lnTo>
                    <a:pt x="135" y="287"/>
                  </a:lnTo>
                  <a:lnTo>
                    <a:pt x="135" y="290"/>
                  </a:lnTo>
                  <a:lnTo>
                    <a:pt x="138" y="290"/>
                  </a:lnTo>
                  <a:lnTo>
                    <a:pt x="138" y="292"/>
                  </a:lnTo>
                  <a:lnTo>
                    <a:pt x="140" y="292"/>
                  </a:lnTo>
                  <a:lnTo>
                    <a:pt x="140" y="294"/>
                  </a:lnTo>
                  <a:lnTo>
                    <a:pt x="140" y="297"/>
                  </a:lnTo>
                  <a:lnTo>
                    <a:pt x="140" y="299"/>
                  </a:lnTo>
                  <a:lnTo>
                    <a:pt x="140" y="302"/>
                  </a:lnTo>
                  <a:lnTo>
                    <a:pt x="140" y="304"/>
                  </a:lnTo>
                  <a:lnTo>
                    <a:pt x="143" y="304"/>
                  </a:lnTo>
                  <a:lnTo>
                    <a:pt x="143" y="306"/>
                  </a:lnTo>
                  <a:lnTo>
                    <a:pt x="145" y="306"/>
                  </a:lnTo>
                  <a:lnTo>
                    <a:pt x="145" y="309"/>
                  </a:lnTo>
                  <a:lnTo>
                    <a:pt x="147" y="309"/>
                  </a:lnTo>
                  <a:lnTo>
                    <a:pt x="145" y="309"/>
                  </a:lnTo>
                  <a:lnTo>
                    <a:pt x="145" y="306"/>
                  </a:lnTo>
                  <a:lnTo>
                    <a:pt x="143" y="306"/>
                  </a:lnTo>
                  <a:lnTo>
                    <a:pt x="143" y="304"/>
                  </a:lnTo>
                  <a:lnTo>
                    <a:pt x="140" y="304"/>
                  </a:lnTo>
                  <a:lnTo>
                    <a:pt x="140" y="302"/>
                  </a:lnTo>
                  <a:lnTo>
                    <a:pt x="140" y="299"/>
                  </a:lnTo>
                  <a:lnTo>
                    <a:pt x="140" y="297"/>
                  </a:lnTo>
                  <a:lnTo>
                    <a:pt x="140" y="294"/>
                  </a:lnTo>
                  <a:lnTo>
                    <a:pt x="140" y="292"/>
                  </a:lnTo>
                  <a:lnTo>
                    <a:pt x="138" y="290"/>
                  </a:lnTo>
                  <a:lnTo>
                    <a:pt x="140" y="290"/>
                  </a:lnTo>
                  <a:lnTo>
                    <a:pt x="140" y="292"/>
                  </a:lnTo>
                  <a:lnTo>
                    <a:pt x="143" y="292"/>
                  </a:lnTo>
                  <a:lnTo>
                    <a:pt x="143" y="294"/>
                  </a:lnTo>
                  <a:lnTo>
                    <a:pt x="145" y="294"/>
                  </a:lnTo>
                  <a:lnTo>
                    <a:pt x="147" y="294"/>
                  </a:lnTo>
                  <a:lnTo>
                    <a:pt x="147" y="297"/>
                  </a:lnTo>
                  <a:lnTo>
                    <a:pt x="150" y="297"/>
                  </a:lnTo>
                  <a:lnTo>
                    <a:pt x="147" y="297"/>
                  </a:lnTo>
                  <a:lnTo>
                    <a:pt x="147" y="294"/>
                  </a:lnTo>
                  <a:lnTo>
                    <a:pt x="150" y="294"/>
                  </a:lnTo>
                  <a:lnTo>
                    <a:pt x="150" y="297"/>
                  </a:lnTo>
                  <a:lnTo>
                    <a:pt x="152" y="297"/>
                  </a:lnTo>
                  <a:lnTo>
                    <a:pt x="150" y="297"/>
                  </a:lnTo>
                  <a:lnTo>
                    <a:pt x="150" y="299"/>
                  </a:lnTo>
                  <a:lnTo>
                    <a:pt x="152" y="299"/>
                  </a:lnTo>
                  <a:lnTo>
                    <a:pt x="150" y="299"/>
                  </a:lnTo>
                  <a:lnTo>
                    <a:pt x="152" y="297"/>
                  </a:lnTo>
                  <a:lnTo>
                    <a:pt x="150" y="297"/>
                  </a:lnTo>
                  <a:lnTo>
                    <a:pt x="150" y="294"/>
                  </a:lnTo>
                  <a:lnTo>
                    <a:pt x="147" y="294"/>
                  </a:lnTo>
                  <a:lnTo>
                    <a:pt x="147" y="297"/>
                  </a:lnTo>
                  <a:lnTo>
                    <a:pt x="147" y="294"/>
                  </a:lnTo>
                  <a:lnTo>
                    <a:pt x="145" y="294"/>
                  </a:lnTo>
                  <a:lnTo>
                    <a:pt x="143" y="294"/>
                  </a:lnTo>
                  <a:lnTo>
                    <a:pt x="143" y="292"/>
                  </a:lnTo>
                  <a:lnTo>
                    <a:pt x="140" y="292"/>
                  </a:lnTo>
                  <a:lnTo>
                    <a:pt x="140" y="290"/>
                  </a:lnTo>
                  <a:lnTo>
                    <a:pt x="138" y="290"/>
                  </a:lnTo>
                  <a:lnTo>
                    <a:pt x="138" y="287"/>
                  </a:lnTo>
                  <a:lnTo>
                    <a:pt x="135" y="287"/>
                  </a:lnTo>
                  <a:lnTo>
                    <a:pt x="135" y="285"/>
                  </a:lnTo>
                  <a:lnTo>
                    <a:pt x="135" y="280"/>
                  </a:lnTo>
                  <a:lnTo>
                    <a:pt x="135" y="278"/>
                  </a:lnTo>
                  <a:lnTo>
                    <a:pt x="133" y="278"/>
                  </a:lnTo>
                  <a:lnTo>
                    <a:pt x="133" y="275"/>
                  </a:lnTo>
                  <a:lnTo>
                    <a:pt x="133" y="273"/>
                  </a:lnTo>
                  <a:lnTo>
                    <a:pt x="131" y="271"/>
                  </a:lnTo>
                  <a:lnTo>
                    <a:pt x="131" y="268"/>
                  </a:lnTo>
                  <a:lnTo>
                    <a:pt x="128" y="268"/>
                  </a:lnTo>
                  <a:lnTo>
                    <a:pt x="128" y="266"/>
                  </a:lnTo>
                  <a:lnTo>
                    <a:pt x="126" y="266"/>
                  </a:lnTo>
                  <a:lnTo>
                    <a:pt x="126" y="264"/>
                  </a:lnTo>
                  <a:lnTo>
                    <a:pt x="124" y="264"/>
                  </a:lnTo>
                  <a:lnTo>
                    <a:pt x="124" y="261"/>
                  </a:lnTo>
                  <a:lnTo>
                    <a:pt x="121" y="261"/>
                  </a:lnTo>
                  <a:lnTo>
                    <a:pt x="119" y="261"/>
                  </a:lnTo>
                  <a:lnTo>
                    <a:pt x="119" y="259"/>
                  </a:lnTo>
                  <a:lnTo>
                    <a:pt x="116" y="259"/>
                  </a:lnTo>
                  <a:lnTo>
                    <a:pt x="119" y="259"/>
                  </a:lnTo>
                  <a:lnTo>
                    <a:pt x="119" y="261"/>
                  </a:lnTo>
                  <a:lnTo>
                    <a:pt x="119" y="259"/>
                  </a:lnTo>
                  <a:lnTo>
                    <a:pt x="119" y="261"/>
                  </a:lnTo>
                  <a:lnTo>
                    <a:pt x="116" y="261"/>
                  </a:lnTo>
                  <a:lnTo>
                    <a:pt x="116" y="259"/>
                  </a:lnTo>
                  <a:lnTo>
                    <a:pt x="116" y="256"/>
                  </a:lnTo>
                  <a:lnTo>
                    <a:pt x="116" y="254"/>
                  </a:lnTo>
                  <a:lnTo>
                    <a:pt x="119" y="254"/>
                  </a:lnTo>
                  <a:lnTo>
                    <a:pt x="121" y="254"/>
                  </a:lnTo>
                  <a:lnTo>
                    <a:pt x="121" y="256"/>
                  </a:lnTo>
                  <a:lnTo>
                    <a:pt x="124" y="256"/>
                  </a:lnTo>
                  <a:lnTo>
                    <a:pt x="124" y="259"/>
                  </a:lnTo>
                  <a:lnTo>
                    <a:pt x="124" y="256"/>
                  </a:lnTo>
                  <a:lnTo>
                    <a:pt x="121" y="256"/>
                  </a:lnTo>
                  <a:lnTo>
                    <a:pt x="121" y="254"/>
                  </a:lnTo>
                  <a:lnTo>
                    <a:pt x="119" y="254"/>
                  </a:lnTo>
                  <a:lnTo>
                    <a:pt x="119" y="252"/>
                  </a:lnTo>
                  <a:lnTo>
                    <a:pt x="121" y="252"/>
                  </a:lnTo>
                  <a:lnTo>
                    <a:pt x="121" y="249"/>
                  </a:lnTo>
                  <a:lnTo>
                    <a:pt x="124" y="249"/>
                  </a:lnTo>
                  <a:lnTo>
                    <a:pt x="121" y="249"/>
                  </a:lnTo>
                  <a:lnTo>
                    <a:pt x="121" y="247"/>
                  </a:lnTo>
                  <a:lnTo>
                    <a:pt x="124" y="247"/>
                  </a:lnTo>
                  <a:lnTo>
                    <a:pt x="126" y="247"/>
                  </a:lnTo>
                  <a:lnTo>
                    <a:pt x="124" y="247"/>
                  </a:lnTo>
                  <a:lnTo>
                    <a:pt x="126" y="247"/>
                  </a:lnTo>
                  <a:lnTo>
                    <a:pt x="124" y="247"/>
                  </a:lnTo>
                  <a:lnTo>
                    <a:pt x="121" y="247"/>
                  </a:lnTo>
                  <a:lnTo>
                    <a:pt x="121" y="245"/>
                  </a:lnTo>
                  <a:lnTo>
                    <a:pt x="124" y="245"/>
                  </a:lnTo>
                  <a:lnTo>
                    <a:pt x="124" y="242"/>
                  </a:lnTo>
                  <a:lnTo>
                    <a:pt x="121" y="242"/>
                  </a:lnTo>
                  <a:lnTo>
                    <a:pt x="121" y="240"/>
                  </a:lnTo>
                  <a:lnTo>
                    <a:pt x="119" y="240"/>
                  </a:lnTo>
                  <a:lnTo>
                    <a:pt x="119" y="237"/>
                  </a:lnTo>
                  <a:lnTo>
                    <a:pt x="116" y="237"/>
                  </a:lnTo>
                  <a:lnTo>
                    <a:pt x="119" y="235"/>
                  </a:lnTo>
                  <a:lnTo>
                    <a:pt x="119" y="233"/>
                  </a:lnTo>
                  <a:lnTo>
                    <a:pt x="121" y="233"/>
                  </a:lnTo>
                  <a:lnTo>
                    <a:pt x="121" y="230"/>
                  </a:lnTo>
                  <a:lnTo>
                    <a:pt x="119" y="230"/>
                  </a:lnTo>
                  <a:lnTo>
                    <a:pt x="119" y="233"/>
                  </a:lnTo>
                  <a:lnTo>
                    <a:pt x="116" y="233"/>
                  </a:lnTo>
                  <a:lnTo>
                    <a:pt x="116" y="230"/>
                  </a:lnTo>
                  <a:lnTo>
                    <a:pt x="114" y="230"/>
                  </a:lnTo>
                  <a:lnTo>
                    <a:pt x="116" y="230"/>
                  </a:lnTo>
                  <a:lnTo>
                    <a:pt x="114" y="230"/>
                  </a:lnTo>
                  <a:lnTo>
                    <a:pt x="114" y="228"/>
                  </a:lnTo>
                  <a:lnTo>
                    <a:pt x="112" y="228"/>
                  </a:lnTo>
                  <a:lnTo>
                    <a:pt x="109" y="228"/>
                  </a:lnTo>
                  <a:lnTo>
                    <a:pt x="109" y="226"/>
                  </a:lnTo>
                  <a:lnTo>
                    <a:pt x="107" y="226"/>
                  </a:lnTo>
                  <a:lnTo>
                    <a:pt x="105" y="226"/>
                  </a:lnTo>
                  <a:lnTo>
                    <a:pt x="102" y="226"/>
                  </a:lnTo>
                  <a:lnTo>
                    <a:pt x="102" y="223"/>
                  </a:lnTo>
                  <a:lnTo>
                    <a:pt x="100" y="223"/>
                  </a:lnTo>
                  <a:lnTo>
                    <a:pt x="100" y="221"/>
                  </a:lnTo>
                  <a:lnTo>
                    <a:pt x="98" y="221"/>
                  </a:lnTo>
                  <a:lnTo>
                    <a:pt x="100" y="221"/>
                  </a:lnTo>
                  <a:lnTo>
                    <a:pt x="98" y="221"/>
                  </a:lnTo>
                  <a:lnTo>
                    <a:pt x="98" y="218"/>
                  </a:lnTo>
                  <a:lnTo>
                    <a:pt x="98" y="216"/>
                  </a:lnTo>
                  <a:lnTo>
                    <a:pt x="95" y="216"/>
                  </a:lnTo>
                  <a:lnTo>
                    <a:pt x="95" y="214"/>
                  </a:lnTo>
                  <a:lnTo>
                    <a:pt x="93" y="211"/>
                  </a:lnTo>
                  <a:lnTo>
                    <a:pt x="90" y="209"/>
                  </a:lnTo>
                  <a:lnTo>
                    <a:pt x="88" y="207"/>
                  </a:lnTo>
                  <a:lnTo>
                    <a:pt x="88" y="204"/>
                  </a:lnTo>
                  <a:lnTo>
                    <a:pt x="86" y="204"/>
                  </a:lnTo>
                  <a:lnTo>
                    <a:pt x="86" y="202"/>
                  </a:lnTo>
                  <a:lnTo>
                    <a:pt x="88" y="202"/>
                  </a:lnTo>
                  <a:lnTo>
                    <a:pt x="88" y="199"/>
                  </a:lnTo>
                  <a:lnTo>
                    <a:pt x="90" y="199"/>
                  </a:lnTo>
                  <a:lnTo>
                    <a:pt x="90" y="197"/>
                  </a:lnTo>
                  <a:lnTo>
                    <a:pt x="93" y="197"/>
                  </a:lnTo>
                  <a:lnTo>
                    <a:pt x="93" y="195"/>
                  </a:lnTo>
                  <a:lnTo>
                    <a:pt x="90" y="195"/>
                  </a:lnTo>
                  <a:lnTo>
                    <a:pt x="90" y="192"/>
                  </a:lnTo>
                  <a:lnTo>
                    <a:pt x="88" y="192"/>
                  </a:lnTo>
                  <a:lnTo>
                    <a:pt x="86" y="192"/>
                  </a:lnTo>
                  <a:lnTo>
                    <a:pt x="83" y="192"/>
                  </a:lnTo>
                  <a:lnTo>
                    <a:pt x="83" y="190"/>
                  </a:lnTo>
                  <a:lnTo>
                    <a:pt x="86" y="190"/>
                  </a:lnTo>
                  <a:lnTo>
                    <a:pt x="86" y="188"/>
                  </a:lnTo>
                  <a:lnTo>
                    <a:pt x="86" y="185"/>
                  </a:lnTo>
                  <a:lnTo>
                    <a:pt x="88" y="185"/>
                  </a:lnTo>
                  <a:lnTo>
                    <a:pt x="90" y="185"/>
                  </a:lnTo>
                  <a:lnTo>
                    <a:pt x="90" y="183"/>
                  </a:lnTo>
                  <a:lnTo>
                    <a:pt x="90" y="185"/>
                  </a:lnTo>
                  <a:lnTo>
                    <a:pt x="93" y="185"/>
                  </a:lnTo>
                  <a:lnTo>
                    <a:pt x="95" y="185"/>
                  </a:lnTo>
                  <a:lnTo>
                    <a:pt x="98" y="185"/>
                  </a:lnTo>
                  <a:lnTo>
                    <a:pt x="98" y="188"/>
                  </a:lnTo>
                  <a:lnTo>
                    <a:pt x="100" y="188"/>
                  </a:lnTo>
                  <a:lnTo>
                    <a:pt x="102" y="188"/>
                  </a:lnTo>
                  <a:lnTo>
                    <a:pt x="105" y="188"/>
                  </a:lnTo>
                  <a:lnTo>
                    <a:pt x="107" y="188"/>
                  </a:lnTo>
                  <a:lnTo>
                    <a:pt x="109" y="188"/>
                  </a:lnTo>
                  <a:lnTo>
                    <a:pt x="109" y="185"/>
                  </a:lnTo>
                  <a:lnTo>
                    <a:pt x="112" y="185"/>
                  </a:lnTo>
                  <a:lnTo>
                    <a:pt x="112" y="183"/>
                  </a:lnTo>
                  <a:lnTo>
                    <a:pt x="114" y="183"/>
                  </a:lnTo>
                  <a:lnTo>
                    <a:pt x="114" y="180"/>
                  </a:lnTo>
                  <a:lnTo>
                    <a:pt x="116" y="180"/>
                  </a:lnTo>
                  <a:lnTo>
                    <a:pt x="119" y="180"/>
                  </a:lnTo>
                  <a:lnTo>
                    <a:pt x="116" y="180"/>
                  </a:lnTo>
                  <a:lnTo>
                    <a:pt x="114" y="180"/>
                  </a:lnTo>
                  <a:lnTo>
                    <a:pt x="114" y="183"/>
                  </a:lnTo>
                  <a:lnTo>
                    <a:pt x="112" y="183"/>
                  </a:lnTo>
                  <a:lnTo>
                    <a:pt x="112" y="185"/>
                  </a:lnTo>
                  <a:lnTo>
                    <a:pt x="109" y="185"/>
                  </a:lnTo>
                  <a:lnTo>
                    <a:pt x="109" y="188"/>
                  </a:lnTo>
                  <a:lnTo>
                    <a:pt x="107" y="188"/>
                  </a:lnTo>
                  <a:lnTo>
                    <a:pt x="105" y="188"/>
                  </a:lnTo>
                  <a:lnTo>
                    <a:pt x="102" y="188"/>
                  </a:lnTo>
                  <a:lnTo>
                    <a:pt x="100" y="188"/>
                  </a:lnTo>
                  <a:lnTo>
                    <a:pt x="98" y="188"/>
                  </a:lnTo>
                  <a:lnTo>
                    <a:pt x="98" y="185"/>
                  </a:lnTo>
                  <a:lnTo>
                    <a:pt x="95" y="185"/>
                  </a:lnTo>
                  <a:lnTo>
                    <a:pt x="93" y="185"/>
                  </a:lnTo>
                  <a:lnTo>
                    <a:pt x="93" y="183"/>
                  </a:lnTo>
                  <a:lnTo>
                    <a:pt x="90" y="183"/>
                  </a:lnTo>
                  <a:lnTo>
                    <a:pt x="88" y="183"/>
                  </a:lnTo>
                  <a:lnTo>
                    <a:pt x="86" y="183"/>
                  </a:lnTo>
                  <a:lnTo>
                    <a:pt x="86" y="185"/>
                  </a:lnTo>
                  <a:lnTo>
                    <a:pt x="83" y="185"/>
                  </a:lnTo>
                  <a:lnTo>
                    <a:pt x="86" y="185"/>
                  </a:lnTo>
                  <a:lnTo>
                    <a:pt x="83" y="185"/>
                  </a:lnTo>
                  <a:lnTo>
                    <a:pt x="83" y="188"/>
                  </a:lnTo>
                  <a:lnTo>
                    <a:pt x="83" y="185"/>
                  </a:lnTo>
                  <a:lnTo>
                    <a:pt x="83" y="188"/>
                  </a:lnTo>
                  <a:lnTo>
                    <a:pt x="81" y="188"/>
                  </a:lnTo>
                  <a:lnTo>
                    <a:pt x="81" y="185"/>
                  </a:lnTo>
                  <a:lnTo>
                    <a:pt x="79" y="185"/>
                  </a:lnTo>
                  <a:lnTo>
                    <a:pt x="76" y="185"/>
                  </a:lnTo>
                  <a:lnTo>
                    <a:pt x="74" y="185"/>
                  </a:lnTo>
                  <a:lnTo>
                    <a:pt x="74" y="183"/>
                  </a:lnTo>
                  <a:lnTo>
                    <a:pt x="76" y="183"/>
                  </a:lnTo>
                  <a:lnTo>
                    <a:pt x="76" y="185"/>
                  </a:lnTo>
                  <a:lnTo>
                    <a:pt x="79" y="185"/>
                  </a:lnTo>
                  <a:lnTo>
                    <a:pt x="79" y="183"/>
                  </a:lnTo>
                  <a:lnTo>
                    <a:pt x="79" y="185"/>
                  </a:lnTo>
                  <a:lnTo>
                    <a:pt x="79" y="183"/>
                  </a:lnTo>
                  <a:lnTo>
                    <a:pt x="76" y="183"/>
                  </a:lnTo>
                  <a:lnTo>
                    <a:pt x="79" y="183"/>
                  </a:lnTo>
                  <a:lnTo>
                    <a:pt x="76" y="183"/>
                  </a:lnTo>
                  <a:lnTo>
                    <a:pt x="79" y="183"/>
                  </a:lnTo>
                  <a:lnTo>
                    <a:pt x="76" y="183"/>
                  </a:lnTo>
                  <a:lnTo>
                    <a:pt x="76" y="180"/>
                  </a:lnTo>
                  <a:lnTo>
                    <a:pt x="76" y="183"/>
                  </a:lnTo>
                  <a:lnTo>
                    <a:pt x="74" y="183"/>
                  </a:lnTo>
                  <a:lnTo>
                    <a:pt x="76" y="183"/>
                  </a:lnTo>
                  <a:lnTo>
                    <a:pt x="76" y="180"/>
                  </a:lnTo>
                  <a:lnTo>
                    <a:pt x="74" y="180"/>
                  </a:lnTo>
                  <a:lnTo>
                    <a:pt x="74" y="178"/>
                  </a:lnTo>
                  <a:lnTo>
                    <a:pt x="76" y="178"/>
                  </a:lnTo>
                  <a:lnTo>
                    <a:pt x="79" y="178"/>
                  </a:lnTo>
                  <a:lnTo>
                    <a:pt x="76" y="178"/>
                  </a:lnTo>
                  <a:lnTo>
                    <a:pt x="76" y="176"/>
                  </a:lnTo>
                  <a:lnTo>
                    <a:pt x="76" y="173"/>
                  </a:lnTo>
                  <a:lnTo>
                    <a:pt x="76" y="176"/>
                  </a:lnTo>
                  <a:lnTo>
                    <a:pt x="76" y="173"/>
                  </a:lnTo>
                  <a:lnTo>
                    <a:pt x="79" y="173"/>
                  </a:lnTo>
                  <a:lnTo>
                    <a:pt x="81" y="173"/>
                  </a:lnTo>
                  <a:lnTo>
                    <a:pt x="81" y="171"/>
                  </a:lnTo>
                  <a:lnTo>
                    <a:pt x="83" y="171"/>
                  </a:lnTo>
                  <a:lnTo>
                    <a:pt x="81" y="171"/>
                  </a:lnTo>
                  <a:lnTo>
                    <a:pt x="81" y="173"/>
                  </a:lnTo>
                  <a:lnTo>
                    <a:pt x="79" y="173"/>
                  </a:lnTo>
                  <a:lnTo>
                    <a:pt x="76" y="173"/>
                  </a:lnTo>
                  <a:lnTo>
                    <a:pt x="74" y="173"/>
                  </a:lnTo>
                  <a:lnTo>
                    <a:pt x="71" y="173"/>
                  </a:lnTo>
                  <a:lnTo>
                    <a:pt x="74" y="171"/>
                  </a:lnTo>
                  <a:lnTo>
                    <a:pt x="71" y="173"/>
                  </a:lnTo>
                  <a:lnTo>
                    <a:pt x="71" y="171"/>
                  </a:lnTo>
                  <a:lnTo>
                    <a:pt x="71" y="173"/>
                  </a:lnTo>
                  <a:lnTo>
                    <a:pt x="69" y="173"/>
                  </a:lnTo>
                  <a:lnTo>
                    <a:pt x="67" y="173"/>
                  </a:lnTo>
                  <a:lnTo>
                    <a:pt x="67" y="176"/>
                  </a:lnTo>
                  <a:lnTo>
                    <a:pt x="64" y="173"/>
                  </a:lnTo>
                  <a:lnTo>
                    <a:pt x="64" y="176"/>
                  </a:lnTo>
                  <a:lnTo>
                    <a:pt x="64" y="173"/>
                  </a:lnTo>
                  <a:lnTo>
                    <a:pt x="62" y="173"/>
                  </a:lnTo>
                  <a:lnTo>
                    <a:pt x="62" y="171"/>
                  </a:lnTo>
                  <a:lnTo>
                    <a:pt x="62" y="173"/>
                  </a:lnTo>
                  <a:lnTo>
                    <a:pt x="62" y="171"/>
                  </a:lnTo>
                  <a:lnTo>
                    <a:pt x="64" y="171"/>
                  </a:lnTo>
                  <a:lnTo>
                    <a:pt x="62" y="171"/>
                  </a:lnTo>
                  <a:lnTo>
                    <a:pt x="64" y="171"/>
                  </a:lnTo>
                  <a:lnTo>
                    <a:pt x="64" y="173"/>
                  </a:lnTo>
                  <a:lnTo>
                    <a:pt x="64" y="171"/>
                  </a:lnTo>
                  <a:lnTo>
                    <a:pt x="67" y="173"/>
                  </a:lnTo>
                  <a:lnTo>
                    <a:pt x="67" y="171"/>
                  </a:lnTo>
                  <a:lnTo>
                    <a:pt x="67" y="173"/>
                  </a:lnTo>
                  <a:lnTo>
                    <a:pt x="67" y="171"/>
                  </a:lnTo>
                  <a:lnTo>
                    <a:pt x="69" y="171"/>
                  </a:lnTo>
                  <a:lnTo>
                    <a:pt x="67" y="171"/>
                  </a:lnTo>
                  <a:lnTo>
                    <a:pt x="69" y="171"/>
                  </a:lnTo>
                  <a:lnTo>
                    <a:pt x="69" y="169"/>
                  </a:lnTo>
                  <a:lnTo>
                    <a:pt x="69" y="171"/>
                  </a:lnTo>
                  <a:lnTo>
                    <a:pt x="69" y="169"/>
                  </a:lnTo>
                  <a:lnTo>
                    <a:pt x="67" y="169"/>
                  </a:lnTo>
                  <a:lnTo>
                    <a:pt x="69" y="169"/>
                  </a:lnTo>
                  <a:lnTo>
                    <a:pt x="67" y="169"/>
                  </a:lnTo>
                  <a:lnTo>
                    <a:pt x="67" y="166"/>
                  </a:lnTo>
                  <a:lnTo>
                    <a:pt x="67" y="169"/>
                  </a:lnTo>
                  <a:lnTo>
                    <a:pt x="67" y="166"/>
                  </a:lnTo>
                  <a:lnTo>
                    <a:pt x="67" y="169"/>
                  </a:lnTo>
                  <a:lnTo>
                    <a:pt x="64" y="169"/>
                  </a:lnTo>
                  <a:lnTo>
                    <a:pt x="62" y="169"/>
                  </a:lnTo>
                  <a:lnTo>
                    <a:pt x="62" y="171"/>
                  </a:lnTo>
                  <a:lnTo>
                    <a:pt x="62" y="169"/>
                  </a:lnTo>
                  <a:lnTo>
                    <a:pt x="62" y="171"/>
                  </a:lnTo>
                  <a:lnTo>
                    <a:pt x="62" y="169"/>
                  </a:lnTo>
                  <a:lnTo>
                    <a:pt x="62" y="171"/>
                  </a:lnTo>
                  <a:lnTo>
                    <a:pt x="62" y="169"/>
                  </a:lnTo>
                  <a:lnTo>
                    <a:pt x="60" y="169"/>
                  </a:lnTo>
                  <a:lnTo>
                    <a:pt x="62" y="169"/>
                  </a:lnTo>
                  <a:lnTo>
                    <a:pt x="60" y="169"/>
                  </a:lnTo>
                  <a:lnTo>
                    <a:pt x="60" y="166"/>
                  </a:lnTo>
                  <a:lnTo>
                    <a:pt x="62" y="166"/>
                  </a:lnTo>
                  <a:lnTo>
                    <a:pt x="60" y="166"/>
                  </a:lnTo>
                  <a:lnTo>
                    <a:pt x="60" y="169"/>
                  </a:lnTo>
                  <a:lnTo>
                    <a:pt x="60" y="171"/>
                  </a:lnTo>
                  <a:lnTo>
                    <a:pt x="60" y="169"/>
                  </a:lnTo>
                  <a:lnTo>
                    <a:pt x="60" y="171"/>
                  </a:lnTo>
                  <a:lnTo>
                    <a:pt x="62" y="171"/>
                  </a:lnTo>
                  <a:lnTo>
                    <a:pt x="60" y="171"/>
                  </a:lnTo>
                  <a:lnTo>
                    <a:pt x="60" y="169"/>
                  </a:lnTo>
                  <a:lnTo>
                    <a:pt x="60" y="171"/>
                  </a:lnTo>
                  <a:lnTo>
                    <a:pt x="57" y="169"/>
                  </a:lnTo>
                  <a:lnTo>
                    <a:pt x="57" y="171"/>
                  </a:lnTo>
                  <a:lnTo>
                    <a:pt x="55" y="171"/>
                  </a:lnTo>
                  <a:lnTo>
                    <a:pt x="55" y="169"/>
                  </a:lnTo>
                  <a:lnTo>
                    <a:pt x="55" y="171"/>
                  </a:lnTo>
                  <a:lnTo>
                    <a:pt x="55" y="173"/>
                  </a:lnTo>
                  <a:lnTo>
                    <a:pt x="55" y="176"/>
                  </a:lnTo>
                  <a:lnTo>
                    <a:pt x="57" y="176"/>
                  </a:lnTo>
                  <a:lnTo>
                    <a:pt x="55" y="176"/>
                  </a:lnTo>
                  <a:lnTo>
                    <a:pt x="55" y="173"/>
                  </a:lnTo>
                  <a:lnTo>
                    <a:pt x="52" y="173"/>
                  </a:lnTo>
                  <a:lnTo>
                    <a:pt x="55" y="173"/>
                  </a:lnTo>
                  <a:lnTo>
                    <a:pt x="55" y="171"/>
                  </a:lnTo>
                  <a:lnTo>
                    <a:pt x="55" y="169"/>
                  </a:lnTo>
                  <a:lnTo>
                    <a:pt x="52" y="169"/>
                  </a:lnTo>
                  <a:lnTo>
                    <a:pt x="52" y="166"/>
                  </a:lnTo>
                  <a:lnTo>
                    <a:pt x="55" y="164"/>
                  </a:lnTo>
                  <a:lnTo>
                    <a:pt x="55" y="166"/>
                  </a:lnTo>
                  <a:lnTo>
                    <a:pt x="55" y="164"/>
                  </a:lnTo>
                  <a:lnTo>
                    <a:pt x="52" y="164"/>
                  </a:lnTo>
                  <a:lnTo>
                    <a:pt x="55" y="164"/>
                  </a:lnTo>
                  <a:lnTo>
                    <a:pt x="52" y="164"/>
                  </a:lnTo>
                  <a:lnTo>
                    <a:pt x="55" y="164"/>
                  </a:lnTo>
                  <a:lnTo>
                    <a:pt x="55" y="161"/>
                  </a:lnTo>
                  <a:lnTo>
                    <a:pt x="55" y="164"/>
                  </a:lnTo>
                  <a:lnTo>
                    <a:pt x="52" y="164"/>
                  </a:lnTo>
                  <a:lnTo>
                    <a:pt x="52" y="161"/>
                  </a:lnTo>
                  <a:lnTo>
                    <a:pt x="52" y="164"/>
                  </a:lnTo>
                  <a:lnTo>
                    <a:pt x="52" y="166"/>
                  </a:lnTo>
                  <a:lnTo>
                    <a:pt x="52" y="164"/>
                  </a:lnTo>
                  <a:lnTo>
                    <a:pt x="52" y="166"/>
                  </a:lnTo>
                  <a:lnTo>
                    <a:pt x="50" y="166"/>
                  </a:lnTo>
                  <a:lnTo>
                    <a:pt x="50" y="164"/>
                  </a:lnTo>
                  <a:lnTo>
                    <a:pt x="48" y="164"/>
                  </a:lnTo>
                  <a:lnTo>
                    <a:pt x="48" y="166"/>
                  </a:lnTo>
                  <a:lnTo>
                    <a:pt x="48" y="164"/>
                  </a:lnTo>
                  <a:lnTo>
                    <a:pt x="50" y="164"/>
                  </a:lnTo>
                  <a:lnTo>
                    <a:pt x="50" y="166"/>
                  </a:lnTo>
                  <a:lnTo>
                    <a:pt x="50" y="164"/>
                  </a:lnTo>
                  <a:lnTo>
                    <a:pt x="48" y="164"/>
                  </a:lnTo>
                  <a:lnTo>
                    <a:pt x="48" y="161"/>
                  </a:lnTo>
                  <a:lnTo>
                    <a:pt x="50" y="161"/>
                  </a:lnTo>
                  <a:lnTo>
                    <a:pt x="50" y="159"/>
                  </a:lnTo>
                  <a:lnTo>
                    <a:pt x="50" y="161"/>
                  </a:lnTo>
                  <a:lnTo>
                    <a:pt x="48" y="161"/>
                  </a:lnTo>
                  <a:lnTo>
                    <a:pt x="45" y="161"/>
                  </a:lnTo>
                  <a:lnTo>
                    <a:pt x="45" y="159"/>
                  </a:lnTo>
                  <a:lnTo>
                    <a:pt x="45" y="161"/>
                  </a:lnTo>
                  <a:lnTo>
                    <a:pt x="48" y="161"/>
                  </a:lnTo>
                  <a:lnTo>
                    <a:pt x="48" y="164"/>
                  </a:lnTo>
                  <a:lnTo>
                    <a:pt x="45" y="164"/>
                  </a:lnTo>
                  <a:lnTo>
                    <a:pt x="48" y="164"/>
                  </a:lnTo>
                  <a:lnTo>
                    <a:pt x="45" y="164"/>
                  </a:lnTo>
                  <a:lnTo>
                    <a:pt x="43" y="164"/>
                  </a:lnTo>
                  <a:lnTo>
                    <a:pt x="43" y="161"/>
                  </a:lnTo>
                  <a:lnTo>
                    <a:pt x="41" y="161"/>
                  </a:lnTo>
                  <a:lnTo>
                    <a:pt x="41" y="159"/>
                  </a:lnTo>
                  <a:lnTo>
                    <a:pt x="41" y="161"/>
                  </a:lnTo>
                  <a:lnTo>
                    <a:pt x="38" y="161"/>
                  </a:lnTo>
                  <a:lnTo>
                    <a:pt x="36" y="161"/>
                  </a:lnTo>
                  <a:lnTo>
                    <a:pt x="36" y="159"/>
                  </a:lnTo>
                  <a:lnTo>
                    <a:pt x="36" y="161"/>
                  </a:lnTo>
                  <a:lnTo>
                    <a:pt x="36" y="159"/>
                  </a:lnTo>
                  <a:lnTo>
                    <a:pt x="33" y="159"/>
                  </a:lnTo>
                  <a:lnTo>
                    <a:pt x="33" y="157"/>
                  </a:lnTo>
                  <a:lnTo>
                    <a:pt x="33" y="159"/>
                  </a:lnTo>
                  <a:lnTo>
                    <a:pt x="33" y="161"/>
                  </a:lnTo>
                  <a:lnTo>
                    <a:pt x="31" y="159"/>
                  </a:lnTo>
                  <a:lnTo>
                    <a:pt x="29" y="159"/>
                  </a:lnTo>
                  <a:lnTo>
                    <a:pt x="29" y="157"/>
                  </a:lnTo>
                  <a:lnTo>
                    <a:pt x="29" y="154"/>
                  </a:lnTo>
                  <a:lnTo>
                    <a:pt x="26" y="154"/>
                  </a:lnTo>
                  <a:lnTo>
                    <a:pt x="26" y="157"/>
                  </a:lnTo>
                  <a:lnTo>
                    <a:pt x="24" y="157"/>
                  </a:lnTo>
                  <a:lnTo>
                    <a:pt x="22" y="157"/>
                  </a:lnTo>
                  <a:lnTo>
                    <a:pt x="22" y="154"/>
                  </a:lnTo>
                  <a:lnTo>
                    <a:pt x="22" y="152"/>
                  </a:lnTo>
                  <a:lnTo>
                    <a:pt x="22" y="150"/>
                  </a:lnTo>
                  <a:lnTo>
                    <a:pt x="22" y="152"/>
                  </a:lnTo>
                  <a:lnTo>
                    <a:pt x="22" y="154"/>
                  </a:lnTo>
                  <a:lnTo>
                    <a:pt x="19" y="154"/>
                  </a:lnTo>
                  <a:lnTo>
                    <a:pt x="22" y="154"/>
                  </a:lnTo>
                  <a:lnTo>
                    <a:pt x="22" y="157"/>
                  </a:lnTo>
                  <a:lnTo>
                    <a:pt x="19" y="157"/>
                  </a:lnTo>
                  <a:lnTo>
                    <a:pt x="22" y="157"/>
                  </a:lnTo>
                  <a:lnTo>
                    <a:pt x="19" y="157"/>
                  </a:lnTo>
                  <a:lnTo>
                    <a:pt x="19" y="159"/>
                  </a:lnTo>
                  <a:lnTo>
                    <a:pt x="19" y="157"/>
                  </a:lnTo>
                  <a:lnTo>
                    <a:pt x="19" y="159"/>
                  </a:lnTo>
                  <a:lnTo>
                    <a:pt x="22" y="159"/>
                  </a:lnTo>
                  <a:lnTo>
                    <a:pt x="19" y="159"/>
                  </a:lnTo>
                  <a:lnTo>
                    <a:pt x="17" y="159"/>
                  </a:lnTo>
                  <a:lnTo>
                    <a:pt x="14" y="159"/>
                  </a:lnTo>
                  <a:lnTo>
                    <a:pt x="12" y="159"/>
                  </a:lnTo>
                  <a:lnTo>
                    <a:pt x="14" y="159"/>
                  </a:lnTo>
                  <a:lnTo>
                    <a:pt x="12" y="159"/>
                  </a:lnTo>
                  <a:lnTo>
                    <a:pt x="14" y="159"/>
                  </a:lnTo>
                  <a:lnTo>
                    <a:pt x="14" y="157"/>
                  </a:lnTo>
                  <a:lnTo>
                    <a:pt x="14" y="154"/>
                  </a:lnTo>
                  <a:lnTo>
                    <a:pt x="12" y="154"/>
                  </a:lnTo>
                  <a:lnTo>
                    <a:pt x="12" y="152"/>
                  </a:lnTo>
                  <a:lnTo>
                    <a:pt x="10" y="152"/>
                  </a:lnTo>
                  <a:lnTo>
                    <a:pt x="10" y="150"/>
                  </a:lnTo>
                  <a:lnTo>
                    <a:pt x="7" y="150"/>
                  </a:lnTo>
                  <a:lnTo>
                    <a:pt x="10" y="147"/>
                  </a:lnTo>
                  <a:lnTo>
                    <a:pt x="10" y="150"/>
                  </a:lnTo>
                  <a:lnTo>
                    <a:pt x="10" y="147"/>
                  </a:lnTo>
                  <a:lnTo>
                    <a:pt x="7" y="147"/>
                  </a:lnTo>
                  <a:lnTo>
                    <a:pt x="7" y="150"/>
                  </a:lnTo>
                  <a:lnTo>
                    <a:pt x="5" y="150"/>
                  </a:lnTo>
                  <a:lnTo>
                    <a:pt x="3" y="150"/>
                  </a:lnTo>
                  <a:lnTo>
                    <a:pt x="3" y="147"/>
                  </a:lnTo>
                  <a:lnTo>
                    <a:pt x="5" y="147"/>
                  </a:lnTo>
                  <a:lnTo>
                    <a:pt x="7" y="147"/>
                  </a:lnTo>
                  <a:lnTo>
                    <a:pt x="7" y="145"/>
                  </a:lnTo>
                  <a:lnTo>
                    <a:pt x="10" y="145"/>
                  </a:lnTo>
                  <a:lnTo>
                    <a:pt x="12" y="145"/>
                  </a:lnTo>
                  <a:lnTo>
                    <a:pt x="14" y="145"/>
                  </a:lnTo>
                  <a:lnTo>
                    <a:pt x="17" y="145"/>
                  </a:lnTo>
                  <a:lnTo>
                    <a:pt x="17" y="142"/>
                  </a:lnTo>
                  <a:lnTo>
                    <a:pt x="17" y="140"/>
                  </a:lnTo>
                  <a:lnTo>
                    <a:pt x="14" y="140"/>
                  </a:lnTo>
                  <a:lnTo>
                    <a:pt x="12" y="140"/>
                  </a:lnTo>
                  <a:lnTo>
                    <a:pt x="12" y="138"/>
                  </a:lnTo>
                  <a:lnTo>
                    <a:pt x="12" y="140"/>
                  </a:lnTo>
                  <a:lnTo>
                    <a:pt x="12" y="138"/>
                  </a:lnTo>
                  <a:lnTo>
                    <a:pt x="10" y="138"/>
                  </a:lnTo>
                  <a:lnTo>
                    <a:pt x="10" y="140"/>
                  </a:lnTo>
                  <a:lnTo>
                    <a:pt x="10" y="138"/>
                  </a:lnTo>
                  <a:lnTo>
                    <a:pt x="10" y="140"/>
                  </a:lnTo>
                  <a:lnTo>
                    <a:pt x="7" y="140"/>
                  </a:lnTo>
                  <a:lnTo>
                    <a:pt x="7" y="142"/>
                  </a:lnTo>
                  <a:lnTo>
                    <a:pt x="7" y="140"/>
                  </a:lnTo>
                  <a:lnTo>
                    <a:pt x="7" y="138"/>
                  </a:lnTo>
                  <a:lnTo>
                    <a:pt x="5" y="138"/>
                  </a:lnTo>
                  <a:lnTo>
                    <a:pt x="5" y="135"/>
                  </a:lnTo>
                  <a:lnTo>
                    <a:pt x="5" y="138"/>
                  </a:lnTo>
                  <a:lnTo>
                    <a:pt x="7" y="138"/>
                  </a:lnTo>
                  <a:lnTo>
                    <a:pt x="7" y="135"/>
                  </a:lnTo>
                  <a:lnTo>
                    <a:pt x="7" y="133"/>
                  </a:lnTo>
                  <a:lnTo>
                    <a:pt x="7" y="135"/>
                  </a:lnTo>
                  <a:lnTo>
                    <a:pt x="10" y="135"/>
                  </a:lnTo>
                  <a:lnTo>
                    <a:pt x="7" y="135"/>
                  </a:lnTo>
                  <a:lnTo>
                    <a:pt x="10" y="135"/>
                  </a:lnTo>
                  <a:lnTo>
                    <a:pt x="10" y="138"/>
                  </a:lnTo>
                  <a:lnTo>
                    <a:pt x="10" y="135"/>
                  </a:lnTo>
                  <a:lnTo>
                    <a:pt x="12" y="135"/>
                  </a:lnTo>
                  <a:lnTo>
                    <a:pt x="12" y="138"/>
                  </a:lnTo>
                  <a:lnTo>
                    <a:pt x="14" y="138"/>
                  </a:lnTo>
                  <a:lnTo>
                    <a:pt x="14" y="135"/>
                  </a:lnTo>
                  <a:lnTo>
                    <a:pt x="17" y="135"/>
                  </a:lnTo>
                  <a:lnTo>
                    <a:pt x="17" y="138"/>
                  </a:lnTo>
                  <a:lnTo>
                    <a:pt x="17" y="135"/>
                  </a:lnTo>
                  <a:lnTo>
                    <a:pt x="17" y="138"/>
                  </a:lnTo>
                  <a:lnTo>
                    <a:pt x="19" y="138"/>
                  </a:lnTo>
                  <a:lnTo>
                    <a:pt x="22" y="138"/>
                  </a:lnTo>
                  <a:lnTo>
                    <a:pt x="19" y="138"/>
                  </a:lnTo>
                  <a:lnTo>
                    <a:pt x="17" y="138"/>
                  </a:lnTo>
                  <a:lnTo>
                    <a:pt x="17" y="135"/>
                  </a:lnTo>
                  <a:lnTo>
                    <a:pt x="17" y="138"/>
                  </a:lnTo>
                  <a:lnTo>
                    <a:pt x="17" y="135"/>
                  </a:lnTo>
                  <a:lnTo>
                    <a:pt x="19" y="135"/>
                  </a:lnTo>
                  <a:lnTo>
                    <a:pt x="17" y="135"/>
                  </a:lnTo>
                  <a:lnTo>
                    <a:pt x="19" y="135"/>
                  </a:lnTo>
                  <a:lnTo>
                    <a:pt x="17" y="135"/>
                  </a:lnTo>
                  <a:lnTo>
                    <a:pt x="19" y="135"/>
                  </a:lnTo>
                  <a:lnTo>
                    <a:pt x="17" y="135"/>
                  </a:lnTo>
                  <a:lnTo>
                    <a:pt x="14" y="135"/>
                  </a:lnTo>
                  <a:lnTo>
                    <a:pt x="17" y="135"/>
                  </a:lnTo>
                  <a:lnTo>
                    <a:pt x="14" y="135"/>
                  </a:lnTo>
                  <a:lnTo>
                    <a:pt x="14" y="133"/>
                  </a:lnTo>
                  <a:lnTo>
                    <a:pt x="17" y="133"/>
                  </a:lnTo>
                  <a:lnTo>
                    <a:pt x="14" y="133"/>
                  </a:lnTo>
                  <a:lnTo>
                    <a:pt x="14" y="135"/>
                  </a:lnTo>
                  <a:lnTo>
                    <a:pt x="12" y="135"/>
                  </a:lnTo>
                  <a:lnTo>
                    <a:pt x="12" y="133"/>
                  </a:lnTo>
                  <a:lnTo>
                    <a:pt x="12" y="135"/>
                  </a:lnTo>
                  <a:lnTo>
                    <a:pt x="10" y="135"/>
                  </a:lnTo>
                  <a:lnTo>
                    <a:pt x="12" y="135"/>
                  </a:lnTo>
                  <a:lnTo>
                    <a:pt x="12" y="133"/>
                  </a:lnTo>
                  <a:lnTo>
                    <a:pt x="12" y="131"/>
                  </a:lnTo>
                  <a:lnTo>
                    <a:pt x="14" y="131"/>
                  </a:lnTo>
                  <a:lnTo>
                    <a:pt x="17" y="131"/>
                  </a:lnTo>
                  <a:lnTo>
                    <a:pt x="17" y="128"/>
                  </a:lnTo>
                  <a:lnTo>
                    <a:pt x="17" y="131"/>
                  </a:lnTo>
                  <a:lnTo>
                    <a:pt x="14" y="131"/>
                  </a:lnTo>
                  <a:lnTo>
                    <a:pt x="12" y="131"/>
                  </a:lnTo>
                  <a:lnTo>
                    <a:pt x="12" y="133"/>
                  </a:lnTo>
                  <a:lnTo>
                    <a:pt x="12" y="131"/>
                  </a:lnTo>
                  <a:lnTo>
                    <a:pt x="12" y="133"/>
                  </a:lnTo>
                  <a:lnTo>
                    <a:pt x="10" y="133"/>
                  </a:lnTo>
                  <a:lnTo>
                    <a:pt x="10" y="131"/>
                  </a:lnTo>
                  <a:lnTo>
                    <a:pt x="10" y="133"/>
                  </a:lnTo>
                  <a:lnTo>
                    <a:pt x="7" y="133"/>
                  </a:lnTo>
                  <a:lnTo>
                    <a:pt x="5" y="133"/>
                  </a:lnTo>
                  <a:lnTo>
                    <a:pt x="3" y="133"/>
                  </a:lnTo>
                  <a:lnTo>
                    <a:pt x="3" y="135"/>
                  </a:lnTo>
                  <a:lnTo>
                    <a:pt x="0" y="135"/>
                  </a:lnTo>
                  <a:lnTo>
                    <a:pt x="0" y="133"/>
                  </a:lnTo>
                  <a:lnTo>
                    <a:pt x="0" y="131"/>
                  </a:lnTo>
                  <a:lnTo>
                    <a:pt x="0" y="128"/>
                  </a:lnTo>
                  <a:lnTo>
                    <a:pt x="0" y="126"/>
                  </a:lnTo>
                  <a:lnTo>
                    <a:pt x="0" y="123"/>
                  </a:lnTo>
                  <a:lnTo>
                    <a:pt x="0" y="126"/>
                  </a:lnTo>
                  <a:lnTo>
                    <a:pt x="0" y="123"/>
                  </a:lnTo>
                  <a:lnTo>
                    <a:pt x="3" y="123"/>
                  </a:lnTo>
                  <a:lnTo>
                    <a:pt x="5" y="123"/>
                  </a:lnTo>
                  <a:lnTo>
                    <a:pt x="7" y="123"/>
                  </a:lnTo>
                  <a:lnTo>
                    <a:pt x="10" y="123"/>
                  </a:lnTo>
                  <a:lnTo>
                    <a:pt x="7" y="123"/>
                  </a:lnTo>
                  <a:lnTo>
                    <a:pt x="5" y="123"/>
                  </a:lnTo>
                  <a:lnTo>
                    <a:pt x="5" y="121"/>
                  </a:lnTo>
                  <a:lnTo>
                    <a:pt x="7" y="121"/>
                  </a:lnTo>
                  <a:lnTo>
                    <a:pt x="10" y="121"/>
                  </a:lnTo>
                  <a:lnTo>
                    <a:pt x="10" y="123"/>
                  </a:lnTo>
                  <a:lnTo>
                    <a:pt x="10" y="121"/>
                  </a:lnTo>
                  <a:lnTo>
                    <a:pt x="7" y="121"/>
                  </a:lnTo>
                  <a:lnTo>
                    <a:pt x="7" y="119"/>
                  </a:lnTo>
                  <a:lnTo>
                    <a:pt x="7" y="121"/>
                  </a:lnTo>
                  <a:lnTo>
                    <a:pt x="7" y="119"/>
                  </a:lnTo>
                  <a:lnTo>
                    <a:pt x="7" y="121"/>
                  </a:lnTo>
                  <a:lnTo>
                    <a:pt x="7" y="119"/>
                  </a:lnTo>
                  <a:lnTo>
                    <a:pt x="7" y="121"/>
                  </a:lnTo>
                  <a:lnTo>
                    <a:pt x="7" y="119"/>
                  </a:lnTo>
                  <a:lnTo>
                    <a:pt x="7" y="121"/>
                  </a:lnTo>
                  <a:lnTo>
                    <a:pt x="10" y="119"/>
                  </a:lnTo>
                  <a:lnTo>
                    <a:pt x="10" y="121"/>
                  </a:lnTo>
                  <a:lnTo>
                    <a:pt x="10" y="119"/>
                  </a:lnTo>
                  <a:lnTo>
                    <a:pt x="10" y="121"/>
                  </a:lnTo>
                  <a:lnTo>
                    <a:pt x="10" y="119"/>
                  </a:lnTo>
                  <a:lnTo>
                    <a:pt x="12" y="119"/>
                  </a:lnTo>
                  <a:lnTo>
                    <a:pt x="10" y="119"/>
                  </a:lnTo>
                  <a:lnTo>
                    <a:pt x="12" y="119"/>
                  </a:lnTo>
                  <a:lnTo>
                    <a:pt x="14" y="119"/>
                  </a:lnTo>
                  <a:lnTo>
                    <a:pt x="12" y="119"/>
                  </a:lnTo>
                  <a:lnTo>
                    <a:pt x="14" y="119"/>
                  </a:lnTo>
                  <a:lnTo>
                    <a:pt x="17" y="119"/>
                  </a:lnTo>
                  <a:lnTo>
                    <a:pt x="14" y="119"/>
                  </a:lnTo>
                  <a:lnTo>
                    <a:pt x="17" y="119"/>
                  </a:lnTo>
                  <a:lnTo>
                    <a:pt x="14" y="119"/>
                  </a:lnTo>
                  <a:lnTo>
                    <a:pt x="17" y="119"/>
                  </a:lnTo>
                  <a:lnTo>
                    <a:pt x="19" y="119"/>
                  </a:lnTo>
                  <a:lnTo>
                    <a:pt x="19" y="116"/>
                  </a:lnTo>
                  <a:lnTo>
                    <a:pt x="22" y="116"/>
                  </a:lnTo>
                  <a:lnTo>
                    <a:pt x="24" y="116"/>
                  </a:lnTo>
                  <a:lnTo>
                    <a:pt x="26" y="116"/>
                  </a:lnTo>
                  <a:lnTo>
                    <a:pt x="26" y="119"/>
                  </a:lnTo>
                  <a:lnTo>
                    <a:pt x="29" y="119"/>
                  </a:lnTo>
                  <a:lnTo>
                    <a:pt x="26" y="119"/>
                  </a:lnTo>
                  <a:lnTo>
                    <a:pt x="29" y="119"/>
                  </a:lnTo>
                  <a:lnTo>
                    <a:pt x="26" y="119"/>
                  </a:lnTo>
                  <a:lnTo>
                    <a:pt x="29" y="119"/>
                  </a:lnTo>
                  <a:lnTo>
                    <a:pt x="26" y="119"/>
                  </a:lnTo>
                  <a:lnTo>
                    <a:pt x="29" y="119"/>
                  </a:lnTo>
                  <a:lnTo>
                    <a:pt x="29" y="116"/>
                  </a:lnTo>
                  <a:lnTo>
                    <a:pt x="29" y="119"/>
                  </a:lnTo>
                  <a:lnTo>
                    <a:pt x="31" y="119"/>
                  </a:lnTo>
                  <a:lnTo>
                    <a:pt x="31" y="121"/>
                  </a:lnTo>
                  <a:lnTo>
                    <a:pt x="31" y="119"/>
                  </a:lnTo>
                  <a:lnTo>
                    <a:pt x="31" y="116"/>
                  </a:lnTo>
                  <a:lnTo>
                    <a:pt x="33" y="116"/>
                  </a:lnTo>
                  <a:lnTo>
                    <a:pt x="36" y="116"/>
                  </a:lnTo>
                  <a:lnTo>
                    <a:pt x="38" y="116"/>
                  </a:lnTo>
                  <a:lnTo>
                    <a:pt x="38" y="119"/>
                  </a:lnTo>
                  <a:lnTo>
                    <a:pt x="38" y="116"/>
                  </a:lnTo>
                  <a:lnTo>
                    <a:pt x="38" y="119"/>
                  </a:lnTo>
                  <a:lnTo>
                    <a:pt x="41" y="119"/>
                  </a:lnTo>
                  <a:lnTo>
                    <a:pt x="41" y="116"/>
                  </a:lnTo>
                  <a:lnTo>
                    <a:pt x="41" y="114"/>
                  </a:lnTo>
                  <a:lnTo>
                    <a:pt x="41" y="116"/>
                  </a:lnTo>
                  <a:lnTo>
                    <a:pt x="41" y="114"/>
                  </a:lnTo>
                  <a:lnTo>
                    <a:pt x="41" y="112"/>
                  </a:lnTo>
                  <a:lnTo>
                    <a:pt x="41" y="114"/>
                  </a:lnTo>
                  <a:lnTo>
                    <a:pt x="41" y="112"/>
                  </a:lnTo>
                  <a:lnTo>
                    <a:pt x="38" y="112"/>
                  </a:lnTo>
                  <a:lnTo>
                    <a:pt x="41" y="112"/>
                  </a:lnTo>
                  <a:lnTo>
                    <a:pt x="41" y="109"/>
                  </a:lnTo>
                  <a:lnTo>
                    <a:pt x="43" y="109"/>
                  </a:lnTo>
                  <a:lnTo>
                    <a:pt x="41" y="109"/>
                  </a:lnTo>
                  <a:lnTo>
                    <a:pt x="43" y="109"/>
                  </a:lnTo>
                  <a:lnTo>
                    <a:pt x="43" y="112"/>
                  </a:lnTo>
                  <a:lnTo>
                    <a:pt x="43" y="109"/>
                  </a:lnTo>
                  <a:lnTo>
                    <a:pt x="43" y="112"/>
                  </a:lnTo>
                  <a:lnTo>
                    <a:pt x="43" y="109"/>
                  </a:lnTo>
                  <a:lnTo>
                    <a:pt x="43" y="112"/>
                  </a:lnTo>
                  <a:lnTo>
                    <a:pt x="43" y="109"/>
                  </a:lnTo>
                  <a:lnTo>
                    <a:pt x="43" y="112"/>
                  </a:lnTo>
                  <a:lnTo>
                    <a:pt x="45" y="112"/>
                  </a:lnTo>
                  <a:lnTo>
                    <a:pt x="48" y="112"/>
                  </a:lnTo>
                  <a:lnTo>
                    <a:pt x="48" y="109"/>
                  </a:lnTo>
                  <a:lnTo>
                    <a:pt x="50" y="109"/>
                  </a:lnTo>
                  <a:lnTo>
                    <a:pt x="52" y="109"/>
                  </a:lnTo>
                  <a:lnTo>
                    <a:pt x="52" y="112"/>
                  </a:lnTo>
                  <a:lnTo>
                    <a:pt x="52" y="114"/>
                  </a:lnTo>
                  <a:lnTo>
                    <a:pt x="50" y="114"/>
                  </a:lnTo>
                  <a:lnTo>
                    <a:pt x="52" y="114"/>
                  </a:lnTo>
                  <a:lnTo>
                    <a:pt x="52" y="112"/>
                  </a:lnTo>
                  <a:lnTo>
                    <a:pt x="52" y="109"/>
                  </a:lnTo>
                  <a:lnTo>
                    <a:pt x="55" y="109"/>
                  </a:lnTo>
                  <a:lnTo>
                    <a:pt x="57" y="109"/>
                  </a:lnTo>
                  <a:lnTo>
                    <a:pt x="57" y="107"/>
                  </a:lnTo>
                  <a:lnTo>
                    <a:pt x="57" y="109"/>
                  </a:lnTo>
                  <a:lnTo>
                    <a:pt x="55" y="109"/>
                  </a:lnTo>
                  <a:lnTo>
                    <a:pt x="57" y="109"/>
                  </a:lnTo>
                  <a:lnTo>
                    <a:pt x="55" y="109"/>
                  </a:lnTo>
                  <a:lnTo>
                    <a:pt x="57" y="109"/>
                  </a:lnTo>
                  <a:lnTo>
                    <a:pt x="57" y="112"/>
                  </a:lnTo>
                  <a:lnTo>
                    <a:pt x="55" y="112"/>
                  </a:lnTo>
                  <a:lnTo>
                    <a:pt x="55" y="114"/>
                  </a:lnTo>
                  <a:lnTo>
                    <a:pt x="55" y="112"/>
                  </a:lnTo>
                  <a:lnTo>
                    <a:pt x="57" y="112"/>
                  </a:lnTo>
                  <a:lnTo>
                    <a:pt x="60" y="112"/>
                  </a:lnTo>
                  <a:lnTo>
                    <a:pt x="57" y="112"/>
                  </a:lnTo>
                  <a:lnTo>
                    <a:pt x="60" y="112"/>
                  </a:lnTo>
                  <a:lnTo>
                    <a:pt x="57" y="112"/>
                  </a:lnTo>
                  <a:lnTo>
                    <a:pt x="60" y="112"/>
                  </a:lnTo>
                  <a:lnTo>
                    <a:pt x="57" y="114"/>
                  </a:lnTo>
                  <a:lnTo>
                    <a:pt x="60" y="114"/>
                  </a:lnTo>
                  <a:lnTo>
                    <a:pt x="62" y="114"/>
                  </a:lnTo>
                  <a:lnTo>
                    <a:pt x="60" y="116"/>
                  </a:lnTo>
                  <a:lnTo>
                    <a:pt x="62" y="116"/>
                  </a:lnTo>
                  <a:lnTo>
                    <a:pt x="62" y="119"/>
                  </a:lnTo>
                  <a:lnTo>
                    <a:pt x="64" y="119"/>
                  </a:lnTo>
                  <a:lnTo>
                    <a:pt x="64" y="121"/>
                  </a:lnTo>
                  <a:lnTo>
                    <a:pt x="67" y="121"/>
                  </a:lnTo>
                  <a:lnTo>
                    <a:pt x="67" y="123"/>
                  </a:lnTo>
                  <a:lnTo>
                    <a:pt x="69" y="123"/>
                  </a:lnTo>
                  <a:lnTo>
                    <a:pt x="69" y="126"/>
                  </a:lnTo>
                  <a:lnTo>
                    <a:pt x="69" y="123"/>
                  </a:lnTo>
                  <a:lnTo>
                    <a:pt x="69" y="126"/>
                  </a:lnTo>
                  <a:lnTo>
                    <a:pt x="69" y="123"/>
                  </a:lnTo>
                  <a:lnTo>
                    <a:pt x="69" y="126"/>
                  </a:lnTo>
                  <a:lnTo>
                    <a:pt x="71" y="126"/>
                  </a:lnTo>
                  <a:lnTo>
                    <a:pt x="71" y="123"/>
                  </a:lnTo>
                  <a:lnTo>
                    <a:pt x="74" y="123"/>
                  </a:lnTo>
                  <a:lnTo>
                    <a:pt x="74" y="121"/>
                  </a:lnTo>
                  <a:lnTo>
                    <a:pt x="76" y="121"/>
                  </a:lnTo>
                  <a:lnTo>
                    <a:pt x="76" y="119"/>
                  </a:lnTo>
                  <a:lnTo>
                    <a:pt x="79" y="119"/>
                  </a:lnTo>
                  <a:lnTo>
                    <a:pt x="81" y="119"/>
                  </a:lnTo>
                  <a:lnTo>
                    <a:pt x="81" y="116"/>
                  </a:lnTo>
                  <a:lnTo>
                    <a:pt x="81" y="119"/>
                  </a:lnTo>
                  <a:lnTo>
                    <a:pt x="83" y="119"/>
                  </a:lnTo>
                  <a:lnTo>
                    <a:pt x="81" y="119"/>
                  </a:lnTo>
                  <a:lnTo>
                    <a:pt x="81" y="121"/>
                  </a:lnTo>
                  <a:lnTo>
                    <a:pt x="83" y="121"/>
                  </a:lnTo>
                  <a:lnTo>
                    <a:pt x="83" y="119"/>
                  </a:lnTo>
                  <a:lnTo>
                    <a:pt x="83" y="121"/>
                  </a:lnTo>
                  <a:lnTo>
                    <a:pt x="86" y="121"/>
                  </a:lnTo>
                  <a:lnTo>
                    <a:pt x="86" y="123"/>
                  </a:lnTo>
                  <a:lnTo>
                    <a:pt x="86" y="121"/>
                  </a:lnTo>
                  <a:lnTo>
                    <a:pt x="86" y="123"/>
                  </a:lnTo>
                  <a:lnTo>
                    <a:pt x="86" y="121"/>
                  </a:lnTo>
                  <a:lnTo>
                    <a:pt x="88" y="121"/>
                  </a:lnTo>
                  <a:lnTo>
                    <a:pt x="88" y="119"/>
                  </a:lnTo>
                  <a:lnTo>
                    <a:pt x="90" y="119"/>
                  </a:lnTo>
                  <a:lnTo>
                    <a:pt x="90" y="121"/>
                  </a:lnTo>
                  <a:lnTo>
                    <a:pt x="93" y="121"/>
                  </a:lnTo>
                  <a:lnTo>
                    <a:pt x="93" y="123"/>
                  </a:lnTo>
                  <a:lnTo>
                    <a:pt x="90" y="123"/>
                  </a:lnTo>
                  <a:lnTo>
                    <a:pt x="93" y="123"/>
                  </a:lnTo>
                  <a:lnTo>
                    <a:pt x="93" y="121"/>
                  </a:lnTo>
                  <a:lnTo>
                    <a:pt x="93" y="123"/>
                  </a:lnTo>
                  <a:lnTo>
                    <a:pt x="93" y="121"/>
                  </a:lnTo>
                  <a:lnTo>
                    <a:pt x="90" y="121"/>
                  </a:lnTo>
                  <a:lnTo>
                    <a:pt x="93" y="121"/>
                  </a:lnTo>
                  <a:lnTo>
                    <a:pt x="90" y="121"/>
                  </a:lnTo>
                  <a:lnTo>
                    <a:pt x="90" y="119"/>
                  </a:lnTo>
                  <a:lnTo>
                    <a:pt x="93" y="119"/>
                  </a:lnTo>
                  <a:lnTo>
                    <a:pt x="93" y="116"/>
                  </a:lnTo>
                  <a:lnTo>
                    <a:pt x="93" y="119"/>
                  </a:lnTo>
                  <a:lnTo>
                    <a:pt x="93" y="116"/>
                  </a:lnTo>
                  <a:lnTo>
                    <a:pt x="95" y="116"/>
                  </a:lnTo>
                  <a:lnTo>
                    <a:pt x="98" y="116"/>
                  </a:lnTo>
                  <a:lnTo>
                    <a:pt x="98" y="119"/>
                  </a:lnTo>
                  <a:lnTo>
                    <a:pt x="95" y="119"/>
                  </a:lnTo>
                  <a:lnTo>
                    <a:pt x="98" y="121"/>
                  </a:lnTo>
                  <a:lnTo>
                    <a:pt x="100" y="121"/>
                  </a:lnTo>
                  <a:lnTo>
                    <a:pt x="102" y="121"/>
                  </a:lnTo>
                  <a:lnTo>
                    <a:pt x="105" y="121"/>
                  </a:lnTo>
                  <a:lnTo>
                    <a:pt x="105" y="119"/>
                  </a:lnTo>
                  <a:lnTo>
                    <a:pt x="107" y="119"/>
                  </a:lnTo>
                  <a:lnTo>
                    <a:pt x="107" y="121"/>
                  </a:lnTo>
                  <a:lnTo>
                    <a:pt x="107" y="119"/>
                  </a:lnTo>
                  <a:lnTo>
                    <a:pt x="107" y="121"/>
                  </a:lnTo>
                  <a:lnTo>
                    <a:pt x="109" y="121"/>
                  </a:lnTo>
                  <a:lnTo>
                    <a:pt x="109" y="119"/>
                  </a:lnTo>
                  <a:lnTo>
                    <a:pt x="107" y="119"/>
                  </a:lnTo>
                  <a:lnTo>
                    <a:pt x="109" y="119"/>
                  </a:lnTo>
                  <a:lnTo>
                    <a:pt x="112" y="119"/>
                  </a:lnTo>
                  <a:lnTo>
                    <a:pt x="114" y="119"/>
                  </a:lnTo>
                  <a:lnTo>
                    <a:pt x="112" y="119"/>
                  </a:lnTo>
                  <a:lnTo>
                    <a:pt x="109" y="119"/>
                  </a:lnTo>
                  <a:lnTo>
                    <a:pt x="109" y="116"/>
                  </a:lnTo>
                  <a:lnTo>
                    <a:pt x="107" y="116"/>
                  </a:lnTo>
                  <a:lnTo>
                    <a:pt x="107" y="114"/>
                  </a:lnTo>
                  <a:lnTo>
                    <a:pt x="107" y="112"/>
                  </a:lnTo>
                  <a:lnTo>
                    <a:pt x="105" y="112"/>
                  </a:lnTo>
                  <a:lnTo>
                    <a:pt x="105" y="109"/>
                  </a:lnTo>
                  <a:lnTo>
                    <a:pt x="107" y="107"/>
                  </a:lnTo>
                  <a:lnTo>
                    <a:pt x="107" y="104"/>
                  </a:lnTo>
                  <a:lnTo>
                    <a:pt x="107" y="107"/>
                  </a:lnTo>
                  <a:lnTo>
                    <a:pt x="107" y="104"/>
                  </a:lnTo>
                  <a:lnTo>
                    <a:pt x="107" y="102"/>
                  </a:lnTo>
                  <a:lnTo>
                    <a:pt x="107" y="100"/>
                  </a:lnTo>
                  <a:lnTo>
                    <a:pt x="107" y="102"/>
                  </a:lnTo>
                  <a:lnTo>
                    <a:pt x="107" y="100"/>
                  </a:lnTo>
                  <a:lnTo>
                    <a:pt x="107" y="102"/>
                  </a:lnTo>
                  <a:lnTo>
                    <a:pt x="105" y="102"/>
                  </a:lnTo>
                  <a:lnTo>
                    <a:pt x="105" y="100"/>
                  </a:lnTo>
                  <a:lnTo>
                    <a:pt x="105" y="97"/>
                  </a:lnTo>
                  <a:lnTo>
                    <a:pt x="105" y="95"/>
                  </a:lnTo>
                  <a:lnTo>
                    <a:pt x="105" y="93"/>
                  </a:lnTo>
                  <a:lnTo>
                    <a:pt x="105" y="90"/>
                  </a:lnTo>
                  <a:lnTo>
                    <a:pt x="105" y="93"/>
                  </a:lnTo>
                  <a:lnTo>
                    <a:pt x="102" y="90"/>
                  </a:lnTo>
                  <a:lnTo>
                    <a:pt x="102" y="88"/>
                  </a:lnTo>
                  <a:lnTo>
                    <a:pt x="102" y="85"/>
                  </a:lnTo>
                  <a:lnTo>
                    <a:pt x="100" y="85"/>
                  </a:lnTo>
                  <a:lnTo>
                    <a:pt x="100" y="83"/>
                  </a:lnTo>
                  <a:lnTo>
                    <a:pt x="100" y="85"/>
                  </a:lnTo>
                  <a:lnTo>
                    <a:pt x="98" y="83"/>
                  </a:lnTo>
                  <a:lnTo>
                    <a:pt x="98" y="81"/>
                  </a:lnTo>
                  <a:lnTo>
                    <a:pt x="98" y="78"/>
                  </a:lnTo>
                  <a:lnTo>
                    <a:pt x="95" y="78"/>
                  </a:lnTo>
                  <a:lnTo>
                    <a:pt x="95" y="76"/>
                  </a:lnTo>
                  <a:lnTo>
                    <a:pt x="98" y="76"/>
                  </a:lnTo>
                  <a:lnTo>
                    <a:pt x="98" y="73"/>
                  </a:lnTo>
                  <a:lnTo>
                    <a:pt x="98" y="71"/>
                  </a:lnTo>
                  <a:lnTo>
                    <a:pt x="95" y="71"/>
                  </a:lnTo>
                  <a:lnTo>
                    <a:pt x="95" y="69"/>
                  </a:lnTo>
                  <a:lnTo>
                    <a:pt x="95" y="71"/>
                  </a:lnTo>
                  <a:lnTo>
                    <a:pt x="95" y="69"/>
                  </a:lnTo>
                  <a:lnTo>
                    <a:pt x="93" y="69"/>
                  </a:lnTo>
                  <a:lnTo>
                    <a:pt x="95" y="69"/>
                  </a:lnTo>
                  <a:lnTo>
                    <a:pt x="93" y="69"/>
                  </a:lnTo>
                  <a:lnTo>
                    <a:pt x="93" y="66"/>
                  </a:lnTo>
                  <a:lnTo>
                    <a:pt x="95" y="66"/>
                  </a:lnTo>
                  <a:lnTo>
                    <a:pt x="95" y="69"/>
                  </a:lnTo>
                  <a:lnTo>
                    <a:pt x="98" y="66"/>
                  </a:lnTo>
                  <a:lnTo>
                    <a:pt x="98" y="69"/>
                  </a:lnTo>
                  <a:lnTo>
                    <a:pt x="98" y="66"/>
                  </a:lnTo>
                  <a:lnTo>
                    <a:pt x="98" y="69"/>
                  </a:lnTo>
                  <a:lnTo>
                    <a:pt x="100" y="69"/>
                  </a:lnTo>
                  <a:lnTo>
                    <a:pt x="102" y="69"/>
                  </a:lnTo>
                  <a:lnTo>
                    <a:pt x="102" y="71"/>
                  </a:lnTo>
                  <a:lnTo>
                    <a:pt x="105" y="71"/>
                  </a:lnTo>
                  <a:lnTo>
                    <a:pt x="107" y="71"/>
                  </a:lnTo>
                  <a:lnTo>
                    <a:pt x="109" y="69"/>
                  </a:lnTo>
                  <a:lnTo>
                    <a:pt x="112" y="69"/>
                  </a:lnTo>
                  <a:lnTo>
                    <a:pt x="114" y="69"/>
                  </a:lnTo>
                  <a:lnTo>
                    <a:pt x="116" y="69"/>
                  </a:lnTo>
                  <a:lnTo>
                    <a:pt x="116" y="71"/>
                  </a:lnTo>
                  <a:lnTo>
                    <a:pt x="116" y="73"/>
                  </a:lnTo>
                  <a:lnTo>
                    <a:pt x="114" y="73"/>
                  </a:lnTo>
                  <a:lnTo>
                    <a:pt x="114" y="76"/>
                  </a:lnTo>
                  <a:lnTo>
                    <a:pt x="116" y="78"/>
                  </a:lnTo>
                  <a:lnTo>
                    <a:pt x="116" y="81"/>
                  </a:lnTo>
                  <a:lnTo>
                    <a:pt x="119" y="81"/>
                  </a:lnTo>
                  <a:lnTo>
                    <a:pt x="119" y="83"/>
                  </a:lnTo>
                  <a:lnTo>
                    <a:pt x="119" y="85"/>
                  </a:lnTo>
                  <a:lnTo>
                    <a:pt x="121" y="85"/>
                  </a:lnTo>
                  <a:lnTo>
                    <a:pt x="121" y="83"/>
                  </a:lnTo>
                  <a:lnTo>
                    <a:pt x="124" y="83"/>
                  </a:lnTo>
                  <a:lnTo>
                    <a:pt x="126" y="83"/>
                  </a:lnTo>
                  <a:lnTo>
                    <a:pt x="128" y="83"/>
                  </a:lnTo>
                  <a:lnTo>
                    <a:pt x="128" y="85"/>
                  </a:lnTo>
                  <a:lnTo>
                    <a:pt x="131" y="85"/>
                  </a:lnTo>
                  <a:lnTo>
                    <a:pt x="133" y="85"/>
                  </a:lnTo>
                  <a:lnTo>
                    <a:pt x="135" y="85"/>
                  </a:lnTo>
                  <a:lnTo>
                    <a:pt x="138" y="85"/>
                  </a:lnTo>
                  <a:lnTo>
                    <a:pt x="140" y="85"/>
                  </a:lnTo>
                  <a:lnTo>
                    <a:pt x="143" y="85"/>
                  </a:lnTo>
                  <a:lnTo>
                    <a:pt x="145" y="85"/>
                  </a:lnTo>
                  <a:lnTo>
                    <a:pt x="147" y="88"/>
                  </a:lnTo>
                  <a:lnTo>
                    <a:pt x="150" y="88"/>
                  </a:lnTo>
                  <a:lnTo>
                    <a:pt x="150" y="90"/>
                  </a:lnTo>
                  <a:lnTo>
                    <a:pt x="150" y="88"/>
                  </a:lnTo>
                  <a:lnTo>
                    <a:pt x="152" y="88"/>
                  </a:lnTo>
                  <a:lnTo>
                    <a:pt x="154" y="88"/>
                  </a:lnTo>
                  <a:lnTo>
                    <a:pt x="157" y="88"/>
                  </a:lnTo>
                  <a:lnTo>
                    <a:pt x="157" y="85"/>
                  </a:lnTo>
                  <a:lnTo>
                    <a:pt x="159" y="85"/>
                  </a:lnTo>
                  <a:lnTo>
                    <a:pt x="162" y="83"/>
                  </a:lnTo>
                  <a:lnTo>
                    <a:pt x="164" y="83"/>
                  </a:lnTo>
                  <a:lnTo>
                    <a:pt x="164" y="81"/>
                  </a:lnTo>
                  <a:lnTo>
                    <a:pt x="166" y="81"/>
                  </a:lnTo>
                  <a:lnTo>
                    <a:pt x="169" y="81"/>
                  </a:lnTo>
                  <a:lnTo>
                    <a:pt x="171" y="81"/>
                  </a:lnTo>
                  <a:lnTo>
                    <a:pt x="173" y="81"/>
                  </a:lnTo>
                  <a:lnTo>
                    <a:pt x="173" y="78"/>
                  </a:lnTo>
                  <a:lnTo>
                    <a:pt x="176" y="78"/>
                  </a:lnTo>
                  <a:lnTo>
                    <a:pt x="176" y="81"/>
                  </a:lnTo>
                  <a:lnTo>
                    <a:pt x="178" y="81"/>
                  </a:lnTo>
                  <a:lnTo>
                    <a:pt x="181" y="81"/>
                  </a:lnTo>
                  <a:lnTo>
                    <a:pt x="181" y="78"/>
                  </a:lnTo>
                  <a:lnTo>
                    <a:pt x="181" y="76"/>
                  </a:lnTo>
                  <a:lnTo>
                    <a:pt x="183" y="76"/>
                  </a:lnTo>
                  <a:lnTo>
                    <a:pt x="183" y="78"/>
                  </a:lnTo>
                  <a:lnTo>
                    <a:pt x="185" y="78"/>
                  </a:lnTo>
                  <a:lnTo>
                    <a:pt x="185" y="81"/>
                  </a:lnTo>
                  <a:lnTo>
                    <a:pt x="185" y="83"/>
                  </a:lnTo>
                  <a:lnTo>
                    <a:pt x="185" y="81"/>
                  </a:lnTo>
                  <a:lnTo>
                    <a:pt x="185" y="78"/>
                  </a:lnTo>
                  <a:lnTo>
                    <a:pt x="183" y="78"/>
                  </a:lnTo>
                  <a:lnTo>
                    <a:pt x="183" y="76"/>
                  </a:lnTo>
                  <a:lnTo>
                    <a:pt x="181" y="76"/>
                  </a:lnTo>
                  <a:lnTo>
                    <a:pt x="181" y="78"/>
                  </a:lnTo>
                  <a:lnTo>
                    <a:pt x="181" y="81"/>
                  </a:lnTo>
                  <a:lnTo>
                    <a:pt x="178" y="81"/>
                  </a:lnTo>
                  <a:lnTo>
                    <a:pt x="176" y="81"/>
                  </a:lnTo>
                  <a:lnTo>
                    <a:pt x="176" y="78"/>
                  </a:lnTo>
                  <a:lnTo>
                    <a:pt x="173" y="78"/>
                  </a:lnTo>
                  <a:lnTo>
                    <a:pt x="173" y="81"/>
                  </a:lnTo>
                  <a:lnTo>
                    <a:pt x="171" y="81"/>
                  </a:lnTo>
                  <a:lnTo>
                    <a:pt x="169" y="81"/>
                  </a:lnTo>
                  <a:lnTo>
                    <a:pt x="166" y="81"/>
                  </a:lnTo>
                  <a:lnTo>
                    <a:pt x="164" y="81"/>
                  </a:lnTo>
                  <a:lnTo>
                    <a:pt x="162" y="81"/>
                  </a:lnTo>
                  <a:lnTo>
                    <a:pt x="162" y="78"/>
                  </a:lnTo>
                  <a:lnTo>
                    <a:pt x="162" y="81"/>
                  </a:lnTo>
                  <a:lnTo>
                    <a:pt x="164" y="81"/>
                  </a:lnTo>
                  <a:lnTo>
                    <a:pt x="164" y="78"/>
                  </a:lnTo>
                  <a:lnTo>
                    <a:pt x="162" y="78"/>
                  </a:lnTo>
                  <a:lnTo>
                    <a:pt x="159" y="78"/>
                  </a:lnTo>
                  <a:lnTo>
                    <a:pt x="159" y="76"/>
                  </a:lnTo>
                  <a:lnTo>
                    <a:pt x="162" y="73"/>
                  </a:lnTo>
                  <a:lnTo>
                    <a:pt x="162" y="71"/>
                  </a:lnTo>
                  <a:lnTo>
                    <a:pt x="164" y="71"/>
                  </a:lnTo>
                  <a:lnTo>
                    <a:pt x="162" y="71"/>
                  </a:lnTo>
                  <a:lnTo>
                    <a:pt x="164" y="71"/>
                  </a:lnTo>
                  <a:lnTo>
                    <a:pt x="162" y="69"/>
                  </a:lnTo>
                  <a:lnTo>
                    <a:pt x="162" y="71"/>
                  </a:lnTo>
                  <a:lnTo>
                    <a:pt x="162" y="69"/>
                  </a:lnTo>
                  <a:lnTo>
                    <a:pt x="164" y="71"/>
                  </a:lnTo>
                  <a:lnTo>
                    <a:pt x="164" y="69"/>
                  </a:lnTo>
                  <a:lnTo>
                    <a:pt x="164" y="66"/>
                  </a:lnTo>
                  <a:lnTo>
                    <a:pt x="166" y="66"/>
                  </a:lnTo>
                  <a:lnTo>
                    <a:pt x="169" y="66"/>
                  </a:lnTo>
                  <a:lnTo>
                    <a:pt x="171" y="64"/>
                  </a:lnTo>
                  <a:lnTo>
                    <a:pt x="173" y="64"/>
                  </a:lnTo>
                  <a:lnTo>
                    <a:pt x="173" y="62"/>
                  </a:lnTo>
                  <a:lnTo>
                    <a:pt x="176" y="62"/>
                  </a:lnTo>
                  <a:lnTo>
                    <a:pt x="178" y="62"/>
                  </a:lnTo>
                  <a:lnTo>
                    <a:pt x="178" y="59"/>
                  </a:lnTo>
                  <a:lnTo>
                    <a:pt x="181" y="59"/>
                  </a:lnTo>
                  <a:lnTo>
                    <a:pt x="183" y="59"/>
                  </a:lnTo>
                  <a:lnTo>
                    <a:pt x="185" y="59"/>
                  </a:lnTo>
                  <a:lnTo>
                    <a:pt x="188" y="59"/>
                  </a:lnTo>
                  <a:lnTo>
                    <a:pt x="190" y="57"/>
                  </a:lnTo>
                  <a:lnTo>
                    <a:pt x="192" y="57"/>
                  </a:lnTo>
                  <a:lnTo>
                    <a:pt x="195" y="57"/>
                  </a:lnTo>
                  <a:lnTo>
                    <a:pt x="192" y="57"/>
                  </a:lnTo>
                  <a:lnTo>
                    <a:pt x="195" y="57"/>
                  </a:lnTo>
                  <a:lnTo>
                    <a:pt x="197" y="57"/>
                  </a:lnTo>
                  <a:lnTo>
                    <a:pt x="197" y="54"/>
                  </a:lnTo>
                  <a:lnTo>
                    <a:pt x="200" y="54"/>
                  </a:lnTo>
                  <a:lnTo>
                    <a:pt x="200" y="52"/>
                  </a:lnTo>
                  <a:lnTo>
                    <a:pt x="202" y="52"/>
                  </a:lnTo>
                  <a:lnTo>
                    <a:pt x="202" y="50"/>
                  </a:lnTo>
                  <a:lnTo>
                    <a:pt x="204" y="50"/>
                  </a:lnTo>
                  <a:lnTo>
                    <a:pt x="207" y="47"/>
                  </a:lnTo>
                  <a:lnTo>
                    <a:pt x="207" y="45"/>
                  </a:lnTo>
                  <a:lnTo>
                    <a:pt x="209" y="43"/>
                  </a:lnTo>
                  <a:lnTo>
                    <a:pt x="209" y="45"/>
                  </a:lnTo>
                  <a:lnTo>
                    <a:pt x="211" y="45"/>
                  </a:lnTo>
                  <a:lnTo>
                    <a:pt x="214" y="45"/>
                  </a:lnTo>
                  <a:lnTo>
                    <a:pt x="211" y="45"/>
                  </a:lnTo>
                  <a:lnTo>
                    <a:pt x="211" y="43"/>
                  </a:lnTo>
                  <a:lnTo>
                    <a:pt x="211" y="45"/>
                  </a:lnTo>
                  <a:lnTo>
                    <a:pt x="211" y="43"/>
                  </a:lnTo>
                  <a:lnTo>
                    <a:pt x="209" y="43"/>
                  </a:lnTo>
                  <a:lnTo>
                    <a:pt x="209" y="40"/>
                  </a:lnTo>
                  <a:lnTo>
                    <a:pt x="211" y="40"/>
                  </a:lnTo>
                  <a:lnTo>
                    <a:pt x="209" y="40"/>
                  </a:lnTo>
                  <a:lnTo>
                    <a:pt x="209" y="38"/>
                  </a:lnTo>
                  <a:lnTo>
                    <a:pt x="209" y="35"/>
                  </a:lnTo>
                  <a:lnTo>
                    <a:pt x="211" y="35"/>
                  </a:lnTo>
                  <a:lnTo>
                    <a:pt x="209" y="35"/>
                  </a:lnTo>
                  <a:lnTo>
                    <a:pt x="209" y="33"/>
                  </a:lnTo>
                  <a:lnTo>
                    <a:pt x="209" y="31"/>
                  </a:lnTo>
                  <a:lnTo>
                    <a:pt x="209" y="28"/>
                  </a:lnTo>
                  <a:lnTo>
                    <a:pt x="211" y="28"/>
                  </a:lnTo>
                  <a:lnTo>
                    <a:pt x="211" y="26"/>
                  </a:lnTo>
                  <a:lnTo>
                    <a:pt x="209" y="26"/>
                  </a:lnTo>
                  <a:lnTo>
                    <a:pt x="209" y="24"/>
                  </a:lnTo>
                  <a:lnTo>
                    <a:pt x="209" y="21"/>
                  </a:lnTo>
                  <a:lnTo>
                    <a:pt x="209" y="19"/>
                  </a:lnTo>
                  <a:lnTo>
                    <a:pt x="211" y="19"/>
                  </a:lnTo>
                  <a:lnTo>
                    <a:pt x="211" y="16"/>
                  </a:lnTo>
                  <a:lnTo>
                    <a:pt x="211" y="14"/>
                  </a:lnTo>
                  <a:lnTo>
                    <a:pt x="209" y="14"/>
                  </a:lnTo>
                  <a:lnTo>
                    <a:pt x="211" y="14"/>
                  </a:lnTo>
                  <a:lnTo>
                    <a:pt x="209" y="14"/>
                  </a:lnTo>
                  <a:lnTo>
                    <a:pt x="209" y="12"/>
                  </a:lnTo>
                  <a:lnTo>
                    <a:pt x="211" y="12"/>
                  </a:lnTo>
                  <a:lnTo>
                    <a:pt x="214" y="9"/>
                  </a:lnTo>
                  <a:lnTo>
                    <a:pt x="214" y="7"/>
                  </a:lnTo>
                  <a:lnTo>
                    <a:pt x="216" y="7"/>
                  </a:lnTo>
                  <a:lnTo>
                    <a:pt x="219" y="7"/>
                  </a:lnTo>
                  <a:lnTo>
                    <a:pt x="221" y="7"/>
                  </a:lnTo>
                  <a:lnTo>
                    <a:pt x="221" y="5"/>
                  </a:lnTo>
                  <a:lnTo>
                    <a:pt x="223" y="5"/>
                  </a:lnTo>
                  <a:lnTo>
                    <a:pt x="226" y="5"/>
                  </a:lnTo>
                  <a:lnTo>
                    <a:pt x="228" y="5"/>
                  </a:lnTo>
                  <a:lnTo>
                    <a:pt x="226" y="5"/>
                  </a:lnTo>
                  <a:lnTo>
                    <a:pt x="228" y="5"/>
                  </a:lnTo>
                  <a:lnTo>
                    <a:pt x="228" y="2"/>
                  </a:lnTo>
                  <a:lnTo>
                    <a:pt x="228" y="5"/>
                  </a:lnTo>
                  <a:lnTo>
                    <a:pt x="230" y="5"/>
                  </a:lnTo>
                  <a:lnTo>
                    <a:pt x="228" y="5"/>
                  </a:lnTo>
                  <a:lnTo>
                    <a:pt x="230" y="5"/>
                  </a:lnTo>
                  <a:lnTo>
                    <a:pt x="230" y="2"/>
                  </a:lnTo>
                  <a:lnTo>
                    <a:pt x="228" y="2"/>
                  </a:lnTo>
                  <a:lnTo>
                    <a:pt x="230" y="2"/>
                  </a:lnTo>
                  <a:lnTo>
                    <a:pt x="230" y="5"/>
                  </a:lnTo>
                  <a:lnTo>
                    <a:pt x="233" y="2"/>
                  </a:lnTo>
                  <a:lnTo>
                    <a:pt x="233" y="5"/>
                  </a:lnTo>
                  <a:lnTo>
                    <a:pt x="233" y="2"/>
                  </a:lnTo>
                  <a:lnTo>
                    <a:pt x="235" y="2"/>
                  </a:lnTo>
                  <a:lnTo>
                    <a:pt x="238" y="2"/>
                  </a:lnTo>
                  <a:lnTo>
                    <a:pt x="240" y="2"/>
                  </a:lnTo>
                  <a:lnTo>
                    <a:pt x="242" y="0"/>
                  </a:lnTo>
                  <a:lnTo>
                    <a:pt x="242" y="2"/>
                  </a:lnTo>
                  <a:lnTo>
                    <a:pt x="242" y="5"/>
                  </a:lnTo>
                  <a:lnTo>
                    <a:pt x="245" y="5"/>
                  </a:lnTo>
                  <a:lnTo>
                    <a:pt x="245" y="7"/>
                  </a:lnTo>
                  <a:lnTo>
                    <a:pt x="242" y="9"/>
                  </a:lnTo>
                  <a:lnTo>
                    <a:pt x="245" y="9"/>
                  </a:lnTo>
                  <a:lnTo>
                    <a:pt x="245" y="12"/>
                  </a:lnTo>
                  <a:lnTo>
                    <a:pt x="245" y="14"/>
                  </a:lnTo>
                  <a:lnTo>
                    <a:pt x="247" y="14"/>
                  </a:lnTo>
                  <a:lnTo>
                    <a:pt x="247" y="16"/>
                  </a:lnTo>
                  <a:lnTo>
                    <a:pt x="249" y="16"/>
                  </a:lnTo>
                  <a:lnTo>
                    <a:pt x="249" y="19"/>
                  </a:lnTo>
                  <a:lnTo>
                    <a:pt x="252" y="19"/>
                  </a:lnTo>
                  <a:lnTo>
                    <a:pt x="254" y="19"/>
                  </a:lnTo>
                  <a:lnTo>
                    <a:pt x="254" y="16"/>
                  </a:lnTo>
                  <a:lnTo>
                    <a:pt x="256" y="16"/>
                  </a:lnTo>
                  <a:lnTo>
                    <a:pt x="259" y="16"/>
                  </a:lnTo>
                  <a:lnTo>
                    <a:pt x="261" y="16"/>
                  </a:lnTo>
                  <a:lnTo>
                    <a:pt x="261" y="14"/>
                  </a:lnTo>
                  <a:lnTo>
                    <a:pt x="261" y="16"/>
                  </a:lnTo>
                  <a:lnTo>
                    <a:pt x="264" y="16"/>
                  </a:lnTo>
                  <a:lnTo>
                    <a:pt x="264" y="19"/>
                  </a:lnTo>
                  <a:lnTo>
                    <a:pt x="266" y="19"/>
                  </a:lnTo>
                  <a:lnTo>
                    <a:pt x="266" y="21"/>
                  </a:lnTo>
                  <a:lnTo>
                    <a:pt x="264" y="21"/>
                  </a:lnTo>
                  <a:lnTo>
                    <a:pt x="266" y="21"/>
                  </a:lnTo>
                  <a:lnTo>
                    <a:pt x="266" y="24"/>
                  </a:lnTo>
                  <a:lnTo>
                    <a:pt x="266" y="26"/>
                  </a:lnTo>
                  <a:lnTo>
                    <a:pt x="266" y="28"/>
                  </a:lnTo>
                  <a:lnTo>
                    <a:pt x="268" y="28"/>
                  </a:lnTo>
                  <a:lnTo>
                    <a:pt x="271" y="31"/>
                  </a:lnTo>
                  <a:lnTo>
                    <a:pt x="271" y="28"/>
                  </a:lnTo>
                  <a:lnTo>
                    <a:pt x="273" y="28"/>
                  </a:lnTo>
                  <a:lnTo>
                    <a:pt x="273" y="31"/>
                  </a:lnTo>
                  <a:lnTo>
                    <a:pt x="275" y="31"/>
                  </a:lnTo>
                  <a:lnTo>
                    <a:pt x="275" y="28"/>
                  </a:lnTo>
                  <a:lnTo>
                    <a:pt x="275" y="31"/>
                  </a:lnTo>
                  <a:lnTo>
                    <a:pt x="278" y="31"/>
                  </a:lnTo>
                  <a:lnTo>
                    <a:pt x="278" y="33"/>
                  </a:lnTo>
                  <a:lnTo>
                    <a:pt x="278" y="35"/>
                  </a:lnTo>
                  <a:lnTo>
                    <a:pt x="278" y="38"/>
                  </a:lnTo>
                  <a:lnTo>
                    <a:pt x="280" y="38"/>
                  </a:lnTo>
                  <a:lnTo>
                    <a:pt x="283" y="38"/>
                  </a:lnTo>
                  <a:lnTo>
                    <a:pt x="283" y="35"/>
                  </a:lnTo>
                  <a:lnTo>
                    <a:pt x="283" y="38"/>
                  </a:lnTo>
                  <a:lnTo>
                    <a:pt x="285" y="38"/>
                  </a:lnTo>
                  <a:lnTo>
                    <a:pt x="285" y="35"/>
                  </a:lnTo>
                  <a:lnTo>
                    <a:pt x="285" y="38"/>
                  </a:lnTo>
                  <a:lnTo>
                    <a:pt x="287" y="38"/>
                  </a:lnTo>
                  <a:lnTo>
                    <a:pt x="290" y="38"/>
                  </a:lnTo>
                  <a:lnTo>
                    <a:pt x="290" y="35"/>
                  </a:lnTo>
                  <a:lnTo>
                    <a:pt x="290" y="38"/>
                  </a:lnTo>
                  <a:lnTo>
                    <a:pt x="292" y="38"/>
                  </a:lnTo>
                  <a:lnTo>
                    <a:pt x="294" y="38"/>
                  </a:lnTo>
                  <a:lnTo>
                    <a:pt x="294" y="40"/>
                  </a:lnTo>
                  <a:lnTo>
                    <a:pt x="297" y="40"/>
                  </a:lnTo>
                  <a:lnTo>
                    <a:pt x="297" y="43"/>
                  </a:lnTo>
                  <a:lnTo>
                    <a:pt x="294" y="43"/>
                  </a:lnTo>
                  <a:lnTo>
                    <a:pt x="294" y="45"/>
                  </a:lnTo>
                  <a:lnTo>
                    <a:pt x="294" y="47"/>
                  </a:lnTo>
                  <a:lnTo>
                    <a:pt x="297" y="47"/>
                  </a:lnTo>
                  <a:lnTo>
                    <a:pt x="297" y="50"/>
                  </a:lnTo>
                  <a:lnTo>
                    <a:pt x="297" y="52"/>
                  </a:lnTo>
                  <a:lnTo>
                    <a:pt x="294" y="52"/>
                  </a:lnTo>
                  <a:lnTo>
                    <a:pt x="294" y="54"/>
                  </a:lnTo>
                  <a:lnTo>
                    <a:pt x="297" y="54"/>
                  </a:lnTo>
                  <a:lnTo>
                    <a:pt x="297" y="57"/>
                  </a:lnTo>
                  <a:lnTo>
                    <a:pt x="299" y="57"/>
                  </a:lnTo>
                  <a:lnTo>
                    <a:pt x="299" y="54"/>
                  </a:lnTo>
                  <a:lnTo>
                    <a:pt x="302" y="54"/>
                  </a:lnTo>
                  <a:lnTo>
                    <a:pt x="302" y="57"/>
                  </a:lnTo>
                  <a:lnTo>
                    <a:pt x="304" y="57"/>
                  </a:lnTo>
                  <a:lnTo>
                    <a:pt x="306" y="57"/>
                  </a:lnTo>
                  <a:lnTo>
                    <a:pt x="309" y="54"/>
                  </a:lnTo>
                  <a:lnTo>
                    <a:pt x="311" y="54"/>
                  </a:lnTo>
                  <a:lnTo>
                    <a:pt x="313" y="54"/>
                  </a:lnTo>
                  <a:lnTo>
                    <a:pt x="313" y="52"/>
                  </a:lnTo>
                  <a:lnTo>
                    <a:pt x="313" y="50"/>
                  </a:lnTo>
                  <a:lnTo>
                    <a:pt x="313" y="47"/>
                  </a:lnTo>
                  <a:lnTo>
                    <a:pt x="316" y="47"/>
                  </a:lnTo>
                  <a:lnTo>
                    <a:pt x="316" y="45"/>
                  </a:lnTo>
                  <a:lnTo>
                    <a:pt x="318" y="45"/>
                  </a:lnTo>
                  <a:lnTo>
                    <a:pt x="318" y="47"/>
                  </a:lnTo>
                  <a:lnTo>
                    <a:pt x="318" y="50"/>
                  </a:lnTo>
                  <a:lnTo>
                    <a:pt x="316" y="50"/>
                  </a:lnTo>
                  <a:lnTo>
                    <a:pt x="318" y="52"/>
                  </a:lnTo>
                  <a:lnTo>
                    <a:pt x="316" y="54"/>
                  </a:lnTo>
                  <a:lnTo>
                    <a:pt x="316" y="57"/>
                  </a:lnTo>
                  <a:lnTo>
                    <a:pt x="318" y="57"/>
                  </a:lnTo>
                  <a:lnTo>
                    <a:pt x="318" y="59"/>
                  </a:lnTo>
                  <a:lnTo>
                    <a:pt x="318" y="62"/>
                  </a:lnTo>
                  <a:lnTo>
                    <a:pt x="318" y="64"/>
                  </a:lnTo>
                  <a:lnTo>
                    <a:pt x="321" y="64"/>
                  </a:lnTo>
                  <a:lnTo>
                    <a:pt x="323" y="64"/>
                  </a:lnTo>
                  <a:lnTo>
                    <a:pt x="325" y="64"/>
                  </a:lnTo>
                  <a:lnTo>
                    <a:pt x="325" y="66"/>
                  </a:lnTo>
                  <a:lnTo>
                    <a:pt x="325" y="64"/>
                  </a:lnTo>
                  <a:lnTo>
                    <a:pt x="325" y="66"/>
                  </a:lnTo>
                  <a:lnTo>
                    <a:pt x="328" y="66"/>
                  </a:lnTo>
                  <a:lnTo>
                    <a:pt x="328" y="69"/>
                  </a:lnTo>
                  <a:lnTo>
                    <a:pt x="328" y="66"/>
                  </a:lnTo>
                  <a:lnTo>
                    <a:pt x="328" y="69"/>
                  </a:lnTo>
                  <a:lnTo>
                    <a:pt x="330" y="69"/>
                  </a:lnTo>
                  <a:lnTo>
                    <a:pt x="332" y="69"/>
                  </a:lnTo>
                  <a:lnTo>
                    <a:pt x="335" y="71"/>
                  </a:lnTo>
                  <a:lnTo>
                    <a:pt x="332" y="71"/>
                  </a:lnTo>
                  <a:lnTo>
                    <a:pt x="332" y="73"/>
                  </a:lnTo>
                  <a:lnTo>
                    <a:pt x="332" y="71"/>
                  </a:lnTo>
                  <a:lnTo>
                    <a:pt x="335" y="71"/>
                  </a:lnTo>
                  <a:lnTo>
                    <a:pt x="337" y="73"/>
                  </a:lnTo>
                  <a:lnTo>
                    <a:pt x="337" y="76"/>
                  </a:lnTo>
                  <a:lnTo>
                    <a:pt x="337" y="78"/>
                  </a:lnTo>
                  <a:lnTo>
                    <a:pt x="340" y="78"/>
                  </a:lnTo>
                  <a:lnTo>
                    <a:pt x="342" y="76"/>
                  </a:lnTo>
                  <a:lnTo>
                    <a:pt x="342" y="78"/>
                  </a:lnTo>
                  <a:lnTo>
                    <a:pt x="344" y="78"/>
                  </a:lnTo>
                  <a:lnTo>
                    <a:pt x="344" y="76"/>
                  </a:lnTo>
                  <a:lnTo>
                    <a:pt x="347" y="76"/>
                  </a:lnTo>
                  <a:lnTo>
                    <a:pt x="349" y="76"/>
                  </a:lnTo>
                  <a:lnTo>
                    <a:pt x="351" y="76"/>
                  </a:lnTo>
                  <a:lnTo>
                    <a:pt x="351" y="78"/>
                  </a:lnTo>
                  <a:lnTo>
                    <a:pt x="354" y="78"/>
                  </a:lnTo>
                  <a:lnTo>
                    <a:pt x="354" y="81"/>
                  </a:lnTo>
                  <a:lnTo>
                    <a:pt x="356" y="81"/>
                  </a:lnTo>
                  <a:lnTo>
                    <a:pt x="359" y="81"/>
                  </a:lnTo>
                  <a:lnTo>
                    <a:pt x="359" y="78"/>
                  </a:lnTo>
                  <a:lnTo>
                    <a:pt x="361" y="78"/>
                  </a:lnTo>
                  <a:lnTo>
                    <a:pt x="363" y="78"/>
                  </a:lnTo>
                  <a:lnTo>
                    <a:pt x="366" y="78"/>
                  </a:lnTo>
                  <a:lnTo>
                    <a:pt x="366" y="81"/>
                  </a:lnTo>
                  <a:lnTo>
                    <a:pt x="368" y="81"/>
                  </a:lnTo>
                  <a:lnTo>
                    <a:pt x="370" y="81"/>
                  </a:lnTo>
                  <a:lnTo>
                    <a:pt x="370" y="78"/>
                  </a:lnTo>
                  <a:lnTo>
                    <a:pt x="370" y="81"/>
                  </a:lnTo>
                  <a:lnTo>
                    <a:pt x="373" y="81"/>
                  </a:lnTo>
                  <a:lnTo>
                    <a:pt x="373" y="83"/>
                  </a:lnTo>
                  <a:lnTo>
                    <a:pt x="375" y="83"/>
                  </a:lnTo>
                  <a:lnTo>
                    <a:pt x="375" y="85"/>
                  </a:lnTo>
                  <a:lnTo>
                    <a:pt x="373" y="85"/>
                  </a:lnTo>
                  <a:lnTo>
                    <a:pt x="375" y="85"/>
                  </a:lnTo>
                  <a:lnTo>
                    <a:pt x="375" y="88"/>
                  </a:lnTo>
                  <a:lnTo>
                    <a:pt x="377" y="88"/>
                  </a:lnTo>
                  <a:lnTo>
                    <a:pt x="377" y="90"/>
                  </a:lnTo>
                  <a:lnTo>
                    <a:pt x="377" y="93"/>
                  </a:lnTo>
                  <a:lnTo>
                    <a:pt x="380" y="93"/>
                  </a:lnTo>
                  <a:lnTo>
                    <a:pt x="380" y="95"/>
                  </a:lnTo>
                  <a:lnTo>
                    <a:pt x="382" y="95"/>
                  </a:lnTo>
                  <a:lnTo>
                    <a:pt x="385" y="95"/>
                  </a:lnTo>
                  <a:lnTo>
                    <a:pt x="385" y="93"/>
                  </a:lnTo>
                  <a:lnTo>
                    <a:pt x="382" y="93"/>
                  </a:lnTo>
                  <a:lnTo>
                    <a:pt x="385" y="93"/>
                  </a:lnTo>
                  <a:lnTo>
                    <a:pt x="387" y="93"/>
                  </a:lnTo>
                  <a:lnTo>
                    <a:pt x="387" y="90"/>
                  </a:lnTo>
                  <a:lnTo>
                    <a:pt x="389" y="90"/>
                  </a:lnTo>
                  <a:lnTo>
                    <a:pt x="389" y="93"/>
                  </a:lnTo>
                  <a:lnTo>
                    <a:pt x="389" y="95"/>
                  </a:lnTo>
                  <a:lnTo>
                    <a:pt x="389" y="97"/>
                  </a:lnTo>
                  <a:lnTo>
                    <a:pt x="392" y="97"/>
                  </a:lnTo>
                  <a:lnTo>
                    <a:pt x="392" y="95"/>
                  </a:lnTo>
                  <a:lnTo>
                    <a:pt x="394" y="95"/>
                  </a:lnTo>
                  <a:lnTo>
                    <a:pt x="394" y="97"/>
                  </a:lnTo>
                  <a:lnTo>
                    <a:pt x="396" y="95"/>
                  </a:lnTo>
                  <a:lnTo>
                    <a:pt x="399" y="97"/>
                  </a:lnTo>
                  <a:lnTo>
                    <a:pt x="399" y="95"/>
                  </a:lnTo>
                  <a:lnTo>
                    <a:pt x="401" y="95"/>
                  </a:lnTo>
                  <a:lnTo>
                    <a:pt x="401" y="93"/>
                  </a:lnTo>
                  <a:lnTo>
                    <a:pt x="404" y="93"/>
                  </a:lnTo>
                  <a:lnTo>
                    <a:pt x="404" y="95"/>
                  </a:lnTo>
                  <a:lnTo>
                    <a:pt x="406" y="95"/>
                  </a:lnTo>
                  <a:lnTo>
                    <a:pt x="406" y="97"/>
                  </a:lnTo>
                  <a:lnTo>
                    <a:pt x="408" y="97"/>
                  </a:lnTo>
                  <a:lnTo>
                    <a:pt x="411" y="100"/>
                  </a:lnTo>
                  <a:lnTo>
                    <a:pt x="413" y="100"/>
                  </a:lnTo>
                  <a:lnTo>
                    <a:pt x="415" y="100"/>
                  </a:lnTo>
                  <a:lnTo>
                    <a:pt x="418" y="100"/>
                  </a:lnTo>
                  <a:lnTo>
                    <a:pt x="420" y="100"/>
                  </a:lnTo>
                  <a:lnTo>
                    <a:pt x="420" y="102"/>
                  </a:lnTo>
                  <a:lnTo>
                    <a:pt x="423" y="100"/>
                  </a:lnTo>
                  <a:lnTo>
                    <a:pt x="423" y="102"/>
                  </a:lnTo>
                  <a:lnTo>
                    <a:pt x="425" y="102"/>
                  </a:lnTo>
                  <a:lnTo>
                    <a:pt x="427" y="102"/>
                  </a:lnTo>
                  <a:lnTo>
                    <a:pt x="427" y="104"/>
                  </a:lnTo>
                  <a:lnTo>
                    <a:pt x="430" y="104"/>
                  </a:lnTo>
                  <a:lnTo>
                    <a:pt x="427" y="104"/>
                  </a:lnTo>
                  <a:lnTo>
                    <a:pt x="427" y="107"/>
                  </a:lnTo>
                  <a:lnTo>
                    <a:pt x="425" y="109"/>
                  </a:lnTo>
                  <a:lnTo>
                    <a:pt x="425" y="112"/>
                  </a:lnTo>
                  <a:lnTo>
                    <a:pt x="423" y="112"/>
                  </a:lnTo>
                  <a:lnTo>
                    <a:pt x="423" y="114"/>
                  </a:lnTo>
                  <a:lnTo>
                    <a:pt x="420" y="114"/>
                  </a:lnTo>
                  <a:lnTo>
                    <a:pt x="420" y="116"/>
                  </a:lnTo>
                  <a:lnTo>
                    <a:pt x="418" y="116"/>
                  </a:lnTo>
                  <a:lnTo>
                    <a:pt x="418" y="119"/>
                  </a:lnTo>
                  <a:lnTo>
                    <a:pt x="415" y="119"/>
                  </a:lnTo>
                  <a:lnTo>
                    <a:pt x="415" y="121"/>
                  </a:lnTo>
                  <a:lnTo>
                    <a:pt x="415" y="123"/>
                  </a:lnTo>
                  <a:lnTo>
                    <a:pt x="415" y="126"/>
                  </a:lnTo>
                  <a:lnTo>
                    <a:pt x="413" y="126"/>
                  </a:lnTo>
                  <a:lnTo>
                    <a:pt x="413" y="128"/>
                  </a:lnTo>
                  <a:lnTo>
                    <a:pt x="413" y="131"/>
                  </a:lnTo>
                  <a:lnTo>
                    <a:pt x="413" y="133"/>
                  </a:lnTo>
                  <a:lnTo>
                    <a:pt x="413" y="135"/>
                  </a:lnTo>
                  <a:lnTo>
                    <a:pt x="411" y="135"/>
                  </a:lnTo>
                  <a:lnTo>
                    <a:pt x="411" y="138"/>
                  </a:lnTo>
                  <a:lnTo>
                    <a:pt x="411" y="140"/>
                  </a:lnTo>
                  <a:lnTo>
                    <a:pt x="408" y="140"/>
                  </a:lnTo>
                  <a:lnTo>
                    <a:pt x="408" y="142"/>
                  </a:lnTo>
                  <a:lnTo>
                    <a:pt x="408" y="145"/>
                  </a:lnTo>
                  <a:lnTo>
                    <a:pt x="408" y="147"/>
                  </a:lnTo>
                  <a:lnTo>
                    <a:pt x="408" y="150"/>
                  </a:lnTo>
                  <a:lnTo>
                    <a:pt x="408" y="152"/>
                  </a:lnTo>
                  <a:lnTo>
                    <a:pt x="408" y="154"/>
                  </a:lnTo>
                  <a:lnTo>
                    <a:pt x="408" y="157"/>
                  </a:lnTo>
                  <a:lnTo>
                    <a:pt x="406" y="157"/>
                  </a:lnTo>
                  <a:lnTo>
                    <a:pt x="408" y="157"/>
                  </a:lnTo>
                  <a:lnTo>
                    <a:pt x="406" y="159"/>
                  </a:lnTo>
                  <a:lnTo>
                    <a:pt x="406" y="161"/>
                  </a:lnTo>
                  <a:lnTo>
                    <a:pt x="406" y="164"/>
                  </a:lnTo>
                  <a:lnTo>
                    <a:pt x="406" y="166"/>
                  </a:lnTo>
                  <a:lnTo>
                    <a:pt x="408" y="169"/>
                  </a:lnTo>
                  <a:lnTo>
                    <a:pt x="408" y="171"/>
                  </a:lnTo>
                  <a:lnTo>
                    <a:pt x="406" y="171"/>
                  </a:lnTo>
                  <a:lnTo>
                    <a:pt x="406" y="173"/>
                  </a:lnTo>
                  <a:lnTo>
                    <a:pt x="406" y="176"/>
                  </a:lnTo>
                  <a:lnTo>
                    <a:pt x="404" y="176"/>
                  </a:lnTo>
                  <a:lnTo>
                    <a:pt x="404" y="173"/>
                  </a:lnTo>
                  <a:lnTo>
                    <a:pt x="404" y="176"/>
                  </a:lnTo>
                  <a:lnTo>
                    <a:pt x="401" y="176"/>
                  </a:lnTo>
                  <a:lnTo>
                    <a:pt x="401" y="178"/>
                  </a:lnTo>
                  <a:lnTo>
                    <a:pt x="399" y="176"/>
                  </a:lnTo>
                  <a:lnTo>
                    <a:pt x="399" y="178"/>
                  </a:lnTo>
                  <a:lnTo>
                    <a:pt x="396" y="178"/>
                  </a:lnTo>
                  <a:lnTo>
                    <a:pt x="396" y="176"/>
                  </a:lnTo>
                  <a:lnTo>
                    <a:pt x="396" y="178"/>
                  </a:lnTo>
                  <a:lnTo>
                    <a:pt x="394" y="176"/>
                  </a:lnTo>
                  <a:lnTo>
                    <a:pt x="396" y="173"/>
                  </a:lnTo>
                  <a:lnTo>
                    <a:pt x="394" y="173"/>
                  </a:lnTo>
                  <a:lnTo>
                    <a:pt x="392" y="173"/>
                  </a:lnTo>
                  <a:lnTo>
                    <a:pt x="389" y="173"/>
                  </a:lnTo>
                  <a:lnTo>
                    <a:pt x="389" y="176"/>
                  </a:lnTo>
                  <a:lnTo>
                    <a:pt x="387" y="176"/>
                  </a:lnTo>
                  <a:lnTo>
                    <a:pt x="387" y="178"/>
                  </a:lnTo>
                  <a:lnTo>
                    <a:pt x="385" y="178"/>
                  </a:lnTo>
                  <a:lnTo>
                    <a:pt x="385" y="180"/>
                  </a:lnTo>
                  <a:lnTo>
                    <a:pt x="387" y="180"/>
                  </a:lnTo>
                  <a:lnTo>
                    <a:pt x="389" y="180"/>
                  </a:lnTo>
                  <a:lnTo>
                    <a:pt x="392" y="180"/>
                  </a:lnTo>
                  <a:lnTo>
                    <a:pt x="389" y="180"/>
                  </a:lnTo>
                  <a:lnTo>
                    <a:pt x="389" y="183"/>
                  </a:lnTo>
                  <a:lnTo>
                    <a:pt x="387" y="183"/>
                  </a:lnTo>
                  <a:lnTo>
                    <a:pt x="387" y="185"/>
                  </a:lnTo>
                  <a:lnTo>
                    <a:pt x="387" y="188"/>
                  </a:lnTo>
                  <a:lnTo>
                    <a:pt x="385" y="188"/>
                  </a:lnTo>
                  <a:lnTo>
                    <a:pt x="385" y="190"/>
                  </a:lnTo>
                  <a:lnTo>
                    <a:pt x="382" y="190"/>
                  </a:lnTo>
                  <a:lnTo>
                    <a:pt x="382" y="192"/>
                  </a:lnTo>
                  <a:lnTo>
                    <a:pt x="380" y="192"/>
                  </a:lnTo>
                  <a:lnTo>
                    <a:pt x="380" y="195"/>
                  </a:lnTo>
                  <a:lnTo>
                    <a:pt x="377" y="195"/>
                  </a:lnTo>
                  <a:lnTo>
                    <a:pt x="380" y="195"/>
                  </a:lnTo>
                  <a:lnTo>
                    <a:pt x="377" y="197"/>
                  </a:lnTo>
                  <a:lnTo>
                    <a:pt x="375" y="197"/>
                  </a:lnTo>
                  <a:lnTo>
                    <a:pt x="375" y="199"/>
                  </a:lnTo>
                  <a:lnTo>
                    <a:pt x="373" y="199"/>
                  </a:lnTo>
                  <a:lnTo>
                    <a:pt x="370" y="199"/>
                  </a:lnTo>
                  <a:lnTo>
                    <a:pt x="370" y="202"/>
                  </a:lnTo>
                  <a:lnTo>
                    <a:pt x="370" y="204"/>
                  </a:lnTo>
                  <a:lnTo>
                    <a:pt x="370" y="207"/>
                  </a:lnTo>
                  <a:lnTo>
                    <a:pt x="370" y="209"/>
                  </a:lnTo>
                  <a:lnTo>
                    <a:pt x="368" y="209"/>
                  </a:lnTo>
                  <a:lnTo>
                    <a:pt x="368" y="211"/>
                  </a:lnTo>
                  <a:lnTo>
                    <a:pt x="366" y="211"/>
                  </a:lnTo>
                  <a:lnTo>
                    <a:pt x="366" y="214"/>
                  </a:lnTo>
                  <a:lnTo>
                    <a:pt x="363" y="214"/>
                  </a:lnTo>
                  <a:lnTo>
                    <a:pt x="363" y="216"/>
                  </a:lnTo>
                  <a:lnTo>
                    <a:pt x="361" y="216"/>
                  </a:lnTo>
                  <a:lnTo>
                    <a:pt x="359" y="218"/>
                  </a:lnTo>
                  <a:lnTo>
                    <a:pt x="361" y="218"/>
                  </a:lnTo>
                  <a:lnTo>
                    <a:pt x="361" y="221"/>
                  </a:lnTo>
                  <a:lnTo>
                    <a:pt x="359" y="221"/>
                  </a:lnTo>
                  <a:lnTo>
                    <a:pt x="359" y="223"/>
                  </a:lnTo>
                  <a:lnTo>
                    <a:pt x="359" y="226"/>
                  </a:lnTo>
                  <a:lnTo>
                    <a:pt x="361" y="226"/>
                  </a:lnTo>
                  <a:lnTo>
                    <a:pt x="361" y="228"/>
                  </a:lnTo>
                  <a:lnTo>
                    <a:pt x="361" y="230"/>
                  </a:lnTo>
                  <a:lnTo>
                    <a:pt x="359" y="233"/>
                  </a:lnTo>
                  <a:lnTo>
                    <a:pt x="361" y="233"/>
                  </a:lnTo>
                  <a:lnTo>
                    <a:pt x="359" y="233"/>
                  </a:lnTo>
                  <a:lnTo>
                    <a:pt x="356" y="235"/>
                  </a:lnTo>
                  <a:lnTo>
                    <a:pt x="356" y="233"/>
                  </a:lnTo>
                  <a:lnTo>
                    <a:pt x="356" y="235"/>
                  </a:lnTo>
                  <a:lnTo>
                    <a:pt x="354" y="235"/>
                  </a:lnTo>
                  <a:lnTo>
                    <a:pt x="356" y="235"/>
                  </a:lnTo>
                  <a:lnTo>
                    <a:pt x="356" y="237"/>
                  </a:lnTo>
                  <a:lnTo>
                    <a:pt x="354" y="237"/>
                  </a:lnTo>
                  <a:lnTo>
                    <a:pt x="354" y="240"/>
                  </a:lnTo>
                  <a:lnTo>
                    <a:pt x="354" y="237"/>
                  </a:lnTo>
                  <a:lnTo>
                    <a:pt x="356" y="237"/>
                  </a:lnTo>
                  <a:lnTo>
                    <a:pt x="359" y="237"/>
                  </a:lnTo>
                  <a:lnTo>
                    <a:pt x="361" y="237"/>
                  </a:lnTo>
                  <a:lnTo>
                    <a:pt x="361" y="235"/>
                  </a:lnTo>
                  <a:lnTo>
                    <a:pt x="363" y="235"/>
                  </a:lnTo>
                  <a:lnTo>
                    <a:pt x="366" y="235"/>
                  </a:lnTo>
                  <a:lnTo>
                    <a:pt x="366" y="233"/>
                  </a:lnTo>
                  <a:lnTo>
                    <a:pt x="363" y="233"/>
                  </a:lnTo>
                  <a:lnTo>
                    <a:pt x="363" y="230"/>
                  </a:lnTo>
                  <a:lnTo>
                    <a:pt x="363" y="228"/>
                  </a:lnTo>
                  <a:lnTo>
                    <a:pt x="366" y="226"/>
                  </a:lnTo>
                  <a:lnTo>
                    <a:pt x="368" y="226"/>
                  </a:lnTo>
                  <a:lnTo>
                    <a:pt x="370" y="226"/>
                  </a:lnTo>
                  <a:lnTo>
                    <a:pt x="373" y="223"/>
                  </a:lnTo>
                  <a:lnTo>
                    <a:pt x="377" y="223"/>
                  </a:lnTo>
                  <a:lnTo>
                    <a:pt x="382" y="226"/>
                  </a:lnTo>
                  <a:lnTo>
                    <a:pt x="382" y="228"/>
                  </a:lnTo>
                  <a:lnTo>
                    <a:pt x="382" y="230"/>
                  </a:lnTo>
                  <a:lnTo>
                    <a:pt x="385" y="230"/>
                  </a:lnTo>
                  <a:lnTo>
                    <a:pt x="385" y="233"/>
                  </a:lnTo>
                  <a:lnTo>
                    <a:pt x="382" y="233"/>
                  </a:lnTo>
                  <a:lnTo>
                    <a:pt x="382" y="235"/>
                  </a:lnTo>
                  <a:lnTo>
                    <a:pt x="382" y="237"/>
                  </a:lnTo>
                  <a:lnTo>
                    <a:pt x="385" y="240"/>
                  </a:lnTo>
                  <a:lnTo>
                    <a:pt x="385" y="242"/>
                  </a:lnTo>
                  <a:lnTo>
                    <a:pt x="387" y="242"/>
                  </a:lnTo>
                  <a:lnTo>
                    <a:pt x="387" y="245"/>
                  </a:lnTo>
                  <a:lnTo>
                    <a:pt x="389" y="245"/>
                  </a:lnTo>
                  <a:lnTo>
                    <a:pt x="389" y="247"/>
                  </a:lnTo>
                  <a:lnTo>
                    <a:pt x="389" y="249"/>
                  </a:lnTo>
                  <a:lnTo>
                    <a:pt x="389" y="252"/>
                  </a:lnTo>
                  <a:lnTo>
                    <a:pt x="387" y="252"/>
                  </a:lnTo>
                  <a:lnTo>
                    <a:pt x="385" y="252"/>
                  </a:lnTo>
                  <a:lnTo>
                    <a:pt x="382" y="252"/>
                  </a:lnTo>
                  <a:lnTo>
                    <a:pt x="382" y="254"/>
                  </a:lnTo>
                  <a:lnTo>
                    <a:pt x="382" y="256"/>
                  </a:lnTo>
                  <a:lnTo>
                    <a:pt x="382" y="259"/>
                  </a:lnTo>
                  <a:lnTo>
                    <a:pt x="385" y="259"/>
                  </a:lnTo>
                  <a:lnTo>
                    <a:pt x="385" y="261"/>
                  </a:lnTo>
                  <a:lnTo>
                    <a:pt x="387" y="261"/>
                  </a:lnTo>
                  <a:lnTo>
                    <a:pt x="389" y="261"/>
                  </a:lnTo>
                  <a:lnTo>
                    <a:pt x="389" y="264"/>
                  </a:lnTo>
                  <a:lnTo>
                    <a:pt x="387" y="264"/>
                  </a:lnTo>
                  <a:lnTo>
                    <a:pt x="389" y="266"/>
                  </a:lnTo>
                  <a:lnTo>
                    <a:pt x="389" y="268"/>
                  </a:lnTo>
                  <a:lnTo>
                    <a:pt x="392" y="268"/>
                  </a:lnTo>
                  <a:lnTo>
                    <a:pt x="389" y="268"/>
                  </a:lnTo>
                  <a:lnTo>
                    <a:pt x="389" y="271"/>
                  </a:lnTo>
                  <a:lnTo>
                    <a:pt x="392" y="271"/>
                  </a:lnTo>
                  <a:lnTo>
                    <a:pt x="394" y="271"/>
                  </a:lnTo>
                  <a:lnTo>
                    <a:pt x="394" y="273"/>
                  </a:lnTo>
                  <a:lnTo>
                    <a:pt x="394" y="275"/>
                  </a:lnTo>
                  <a:lnTo>
                    <a:pt x="392" y="275"/>
                  </a:lnTo>
                  <a:lnTo>
                    <a:pt x="392" y="278"/>
                  </a:lnTo>
                  <a:lnTo>
                    <a:pt x="394" y="278"/>
                  </a:lnTo>
                  <a:lnTo>
                    <a:pt x="394" y="280"/>
                  </a:lnTo>
                  <a:lnTo>
                    <a:pt x="392" y="280"/>
                  </a:lnTo>
                  <a:lnTo>
                    <a:pt x="392" y="283"/>
                  </a:lnTo>
                  <a:lnTo>
                    <a:pt x="389" y="280"/>
                  </a:lnTo>
                  <a:lnTo>
                    <a:pt x="389" y="283"/>
                  </a:lnTo>
                  <a:lnTo>
                    <a:pt x="387" y="283"/>
                  </a:lnTo>
                  <a:lnTo>
                    <a:pt x="385" y="285"/>
                  </a:lnTo>
                  <a:lnTo>
                    <a:pt x="382" y="285"/>
                  </a:lnTo>
                  <a:lnTo>
                    <a:pt x="380" y="285"/>
                  </a:lnTo>
                  <a:lnTo>
                    <a:pt x="377" y="285"/>
                  </a:lnTo>
                  <a:lnTo>
                    <a:pt x="377" y="287"/>
                  </a:lnTo>
                  <a:lnTo>
                    <a:pt x="377" y="290"/>
                  </a:lnTo>
                  <a:lnTo>
                    <a:pt x="380" y="290"/>
                  </a:lnTo>
                  <a:lnTo>
                    <a:pt x="380" y="292"/>
                  </a:lnTo>
                  <a:lnTo>
                    <a:pt x="380" y="294"/>
                  </a:lnTo>
                  <a:lnTo>
                    <a:pt x="380" y="297"/>
                  </a:lnTo>
                  <a:lnTo>
                    <a:pt x="382" y="297"/>
                  </a:lnTo>
                  <a:lnTo>
                    <a:pt x="382" y="299"/>
                  </a:lnTo>
                  <a:lnTo>
                    <a:pt x="385" y="299"/>
                  </a:lnTo>
                  <a:lnTo>
                    <a:pt x="387" y="299"/>
                  </a:lnTo>
                  <a:lnTo>
                    <a:pt x="389" y="299"/>
                  </a:lnTo>
                  <a:lnTo>
                    <a:pt x="389" y="302"/>
                  </a:lnTo>
                  <a:lnTo>
                    <a:pt x="389" y="304"/>
                  </a:lnTo>
                  <a:lnTo>
                    <a:pt x="392" y="304"/>
                  </a:lnTo>
                  <a:lnTo>
                    <a:pt x="392" y="306"/>
                  </a:lnTo>
                  <a:lnTo>
                    <a:pt x="389" y="306"/>
                  </a:lnTo>
                  <a:lnTo>
                    <a:pt x="387" y="306"/>
                  </a:lnTo>
                  <a:lnTo>
                    <a:pt x="387" y="309"/>
                  </a:lnTo>
                  <a:lnTo>
                    <a:pt x="387" y="311"/>
                  </a:lnTo>
                  <a:lnTo>
                    <a:pt x="385" y="311"/>
                  </a:lnTo>
                  <a:lnTo>
                    <a:pt x="387" y="311"/>
                  </a:lnTo>
                  <a:lnTo>
                    <a:pt x="385" y="313"/>
                  </a:lnTo>
                  <a:lnTo>
                    <a:pt x="385" y="316"/>
                  </a:lnTo>
                  <a:lnTo>
                    <a:pt x="387" y="318"/>
                  </a:lnTo>
                  <a:lnTo>
                    <a:pt x="385" y="318"/>
                  </a:lnTo>
                  <a:lnTo>
                    <a:pt x="385" y="321"/>
                  </a:lnTo>
                  <a:lnTo>
                    <a:pt x="387" y="323"/>
                  </a:lnTo>
                  <a:lnTo>
                    <a:pt x="387" y="325"/>
                  </a:lnTo>
                  <a:lnTo>
                    <a:pt x="389" y="325"/>
                  </a:lnTo>
                  <a:lnTo>
                    <a:pt x="389" y="328"/>
                  </a:lnTo>
                  <a:lnTo>
                    <a:pt x="392" y="328"/>
                  </a:lnTo>
                  <a:lnTo>
                    <a:pt x="394" y="330"/>
                  </a:lnTo>
                  <a:lnTo>
                    <a:pt x="394" y="328"/>
                  </a:lnTo>
                  <a:lnTo>
                    <a:pt x="394" y="330"/>
                  </a:lnTo>
                  <a:lnTo>
                    <a:pt x="396" y="330"/>
                  </a:lnTo>
                  <a:lnTo>
                    <a:pt x="396" y="332"/>
                  </a:lnTo>
                  <a:lnTo>
                    <a:pt x="399" y="332"/>
                  </a:lnTo>
                  <a:lnTo>
                    <a:pt x="401" y="332"/>
                  </a:lnTo>
                  <a:lnTo>
                    <a:pt x="404" y="332"/>
                  </a:lnTo>
                  <a:lnTo>
                    <a:pt x="406" y="332"/>
                  </a:lnTo>
                  <a:lnTo>
                    <a:pt x="408" y="330"/>
                  </a:lnTo>
                  <a:lnTo>
                    <a:pt x="408" y="332"/>
                  </a:lnTo>
                  <a:lnTo>
                    <a:pt x="408" y="330"/>
                  </a:lnTo>
                  <a:lnTo>
                    <a:pt x="411" y="330"/>
                  </a:lnTo>
                  <a:lnTo>
                    <a:pt x="411" y="332"/>
                  </a:lnTo>
                  <a:lnTo>
                    <a:pt x="411" y="335"/>
                  </a:lnTo>
                  <a:lnTo>
                    <a:pt x="413" y="335"/>
                  </a:lnTo>
                  <a:lnTo>
                    <a:pt x="411" y="337"/>
                  </a:lnTo>
                  <a:lnTo>
                    <a:pt x="411" y="340"/>
                  </a:lnTo>
                  <a:lnTo>
                    <a:pt x="408" y="340"/>
                  </a:lnTo>
                  <a:lnTo>
                    <a:pt x="408" y="342"/>
                  </a:lnTo>
                  <a:lnTo>
                    <a:pt x="406" y="342"/>
                  </a:lnTo>
                  <a:lnTo>
                    <a:pt x="408" y="342"/>
                  </a:lnTo>
                  <a:lnTo>
                    <a:pt x="406" y="344"/>
                  </a:lnTo>
                  <a:lnTo>
                    <a:pt x="406" y="347"/>
                  </a:lnTo>
                  <a:lnTo>
                    <a:pt x="406" y="349"/>
                  </a:lnTo>
                  <a:lnTo>
                    <a:pt x="404" y="349"/>
                  </a:lnTo>
                  <a:lnTo>
                    <a:pt x="406" y="349"/>
                  </a:lnTo>
                  <a:lnTo>
                    <a:pt x="404" y="349"/>
                  </a:lnTo>
                  <a:lnTo>
                    <a:pt x="401" y="351"/>
                  </a:lnTo>
                  <a:lnTo>
                    <a:pt x="404" y="351"/>
                  </a:lnTo>
                  <a:lnTo>
                    <a:pt x="401" y="351"/>
                  </a:lnTo>
                  <a:lnTo>
                    <a:pt x="399" y="351"/>
                  </a:lnTo>
                  <a:lnTo>
                    <a:pt x="399" y="354"/>
                  </a:lnTo>
                  <a:lnTo>
                    <a:pt x="401" y="354"/>
                  </a:lnTo>
                  <a:lnTo>
                    <a:pt x="399" y="354"/>
                  </a:lnTo>
                  <a:lnTo>
                    <a:pt x="399" y="351"/>
                  </a:lnTo>
                  <a:lnTo>
                    <a:pt x="399" y="354"/>
                  </a:lnTo>
                  <a:lnTo>
                    <a:pt x="399" y="351"/>
                  </a:lnTo>
                  <a:lnTo>
                    <a:pt x="396" y="351"/>
                  </a:lnTo>
                  <a:lnTo>
                    <a:pt x="396" y="354"/>
                  </a:lnTo>
                  <a:lnTo>
                    <a:pt x="394" y="354"/>
                  </a:lnTo>
                  <a:lnTo>
                    <a:pt x="396" y="354"/>
                  </a:lnTo>
                  <a:lnTo>
                    <a:pt x="394" y="354"/>
                  </a:lnTo>
                  <a:lnTo>
                    <a:pt x="394" y="356"/>
                  </a:lnTo>
                  <a:lnTo>
                    <a:pt x="392" y="356"/>
                  </a:lnTo>
                  <a:lnTo>
                    <a:pt x="394" y="356"/>
                  </a:lnTo>
                  <a:lnTo>
                    <a:pt x="392" y="356"/>
                  </a:lnTo>
                  <a:lnTo>
                    <a:pt x="392" y="359"/>
                  </a:lnTo>
                  <a:lnTo>
                    <a:pt x="394" y="359"/>
                  </a:lnTo>
                  <a:lnTo>
                    <a:pt x="394" y="356"/>
                  </a:lnTo>
                  <a:lnTo>
                    <a:pt x="392" y="359"/>
                  </a:lnTo>
                  <a:lnTo>
                    <a:pt x="394" y="359"/>
                  </a:lnTo>
                  <a:lnTo>
                    <a:pt x="392" y="359"/>
                  </a:lnTo>
                  <a:lnTo>
                    <a:pt x="389" y="359"/>
                  </a:lnTo>
                  <a:lnTo>
                    <a:pt x="389" y="361"/>
                  </a:lnTo>
                  <a:lnTo>
                    <a:pt x="389" y="359"/>
                  </a:lnTo>
                  <a:lnTo>
                    <a:pt x="387" y="359"/>
                  </a:lnTo>
                  <a:lnTo>
                    <a:pt x="387" y="361"/>
                  </a:lnTo>
                  <a:lnTo>
                    <a:pt x="387" y="363"/>
                  </a:lnTo>
                  <a:lnTo>
                    <a:pt x="387" y="361"/>
                  </a:lnTo>
                  <a:lnTo>
                    <a:pt x="387" y="363"/>
                  </a:lnTo>
                  <a:lnTo>
                    <a:pt x="385" y="363"/>
                  </a:lnTo>
                  <a:lnTo>
                    <a:pt x="385" y="366"/>
                  </a:lnTo>
                  <a:lnTo>
                    <a:pt x="385" y="363"/>
                  </a:lnTo>
                  <a:lnTo>
                    <a:pt x="385" y="366"/>
                  </a:lnTo>
                  <a:lnTo>
                    <a:pt x="382" y="366"/>
                  </a:lnTo>
                  <a:lnTo>
                    <a:pt x="380" y="366"/>
                  </a:lnTo>
                  <a:lnTo>
                    <a:pt x="380" y="368"/>
                  </a:lnTo>
                  <a:lnTo>
                    <a:pt x="380" y="366"/>
                  </a:lnTo>
                  <a:lnTo>
                    <a:pt x="380" y="368"/>
                  </a:lnTo>
                  <a:lnTo>
                    <a:pt x="377" y="368"/>
                  </a:lnTo>
                  <a:lnTo>
                    <a:pt x="377" y="370"/>
                  </a:lnTo>
                  <a:lnTo>
                    <a:pt x="375" y="370"/>
                  </a:lnTo>
                  <a:lnTo>
                    <a:pt x="375" y="373"/>
                  </a:lnTo>
                  <a:lnTo>
                    <a:pt x="377" y="373"/>
                  </a:lnTo>
                  <a:lnTo>
                    <a:pt x="377" y="370"/>
                  </a:lnTo>
                  <a:lnTo>
                    <a:pt x="377" y="373"/>
                  </a:lnTo>
                  <a:lnTo>
                    <a:pt x="380" y="373"/>
                  </a:lnTo>
                  <a:lnTo>
                    <a:pt x="377" y="373"/>
                  </a:lnTo>
                  <a:lnTo>
                    <a:pt x="377" y="375"/>
                  </a:lnTo>
                  <a:lnTo>
                    <a:pt x="377" y="378"/>
                  </a:lnTo>
                  <a:lnTo>
                    <a:pt x="375" y="378"/>
                  </a:lnTo>
                  <a:lnTo>
                    <a:pt x="375" y="375"/>
                  </a:lnTo>
                  <a:lnTo>
                    <a:pt x="373" y="375"/>
                  </a:lnTo>
                  <a:lnTo>
                    <a:pt x="373" y="378"/>
                  </a:lnTo>
                  <a:lnTo>
                    <a:pt x="370" y="378"/>
                  </a:lnTo>
                  <a:lnTo>
                    <a:pt x="368" y="378"/>
                  </a:lnTo>
                  <a:lnTo>
                    <a:pt x="368" y="380"/>
                  </a:lnTo>
                  <a:lnTo>
                    <a:pt x="366" y="380"/>
                  </a:lnTo>
                  <a:lnTo>
                    <a:pt x="363" y="380"/>
                  </a:lnTo>
                  <a:lnTo>
                    <a:pt x="361" y="380"/>
                  </a:lnTo>
                  <a:lnTo>
                    <a:pt x="361" y="382"/>
                  </a:lnTo>
                  <a:lnTo>
                    <a:pt x="359" y="382"/>
                  </a:lnTo>
                  <a:lnTo>
                    <a:pt x="361" y="382"/>
                  </a:lnTo>
                  <a:lnTo>
                    <a:pt x="361" y="380"/>
                  </a:lnTo>
                  <a:lnTo>
                    <a:pt x="359" y="380"/>
                  </a:lnTo>
                  <a:lnTo>
                    <a:pt x="356" y="380"/>
                  </a:lnTo>
                  <a:lnTo>
                    <a:pt x="354" y="380"/>
                  </a:lnTo>
                  <a:lnTo>
                    <a:pt x="351" y="380"/>
                  </a:lnTo>
                  <a:lnTo>
                    <a:pt x="354" y="380"/>
                  </a:lnTo>
                  <a:lnTo>
                    <a:pt x="351" y="380"/>
                  </a:lnTo>
                  <a:lnTo>
                    <a:pt x="354" y="380"/>
                  </a:lnTo>
                  <a:lnTo>
                    <a:pt x="354" y="382"/>
                  </a:lnTo>
                  <a:lnTo>
                    <a:pt x="354" y="380"/>
                  </a:lnTo>
                  <a:lnTo>
                    <a:pt x="351" y="380"/>
                  </a:lnTo>
                  <a:lnTo>
                    <a:pt x="351" y="382"/>
                  </a:lnTo>
                  <a:lnTo>
                    <a:pt x="349" y="382"/>
                  </a:lnTo>
                  <a:lnTo>
                    <a:pt x="349" y="380"/>
                  </a:lnTo>
                  <a:lnTo>
                    <a:pt x="349" y="378"/>
                  </a:lnTo>
                  <a:lnTo>
                    <a:pt x="347" y="378"/>
                  </a:lnTo>
                  <a:lnTo>
                    <a:pt x="344" y="378"/>
                  </a:lnTo>
                  <a:lnTo>
                    <a:pt x="347" y="378"/>
                  </a:lnTo>
                  <a:lnTo>
                    <a:pt x="344" y="375"/>
                  </a:lnTo>
                  <a:lnTo>
                    <a:pt x="342" y="375"/>
                  </a:lnTo>
                  <a:lnTo>
                    <a:pt x="342" y="378"/>
                  </a:lnTo>
                  <a:lnTo>
                    <a:pt x="342" y="375"/>
                  </a:lnTo>
                  <a:lnTo>
                    <a:pt x="340" y="375"/>
                  </a:lnTo>
                  <a:lnTo>
                    <a:pt x="337" y="375"/>
                  </a:lnTo>
                  <a:lnTo>
                    <a:pt x="335" y="375"/>
                  </a:lnTo>
                  <a:lnTo>
                    <a:pt x="335" y="373"/>
                  </a:lnTo>
                  <a:lnTo>
                    <a:pt x="335" y="370"/>
                  </a:lnTo>
                  <a:lnTo>
                    <a:pt x="335" y="368"/>
                  </a:lnTo>
                  <a:lnTo>
                    <a:pt x="332" y="368"/>
                  </a:lnTo>
                  <a:lnTo>
                    <a:pt x="335" y="368"/>
                  </a:lnTo>
                  <a:lnTo>
                    <a:pt x="332" y="368"/>
                  </a:lnTo>
                  <a:lnTo>
                    <a:pt x="330" y="368"/>
                  </a:lnTo>
                  <a:lnTo>
                    <a:pt x="330" y="370"/>
                  </a:lnTo>
                  <a:lnTo>
                    <a:pt x="330" y="368"/>
                  </a:lnTo>
                  <a:lnTo>
                    <a:pt x="330" y="370"/>
                  </a:lnTo>
                  <a:lnTo>
                    <a:pt x="330" y="368"/>
                  </a:lnTo>
                  <a:lnTo>
                    <a:pt x="330" y="370"/>
                  </a:lnTo>
                  <a:lnTo>
                    <a:pt x="330" y="368"/>
                  </a:lnTo>
                  <a:lnTo>
                    <a:pt x="330" y="370"/>
                  </a:lnTo>
                  <a:lnTo>
                    <a:pt x="328" y="368"/>
                  </a:lnTo>
                  <a:lnTo>
                    <a:pt x="328" y="370"/>
                  </a:lnTo>
                  <a:lnTo>
                    <a:pt x="325" y="368"/>
                  </a:lnTo>
                  <a:lnTo>
                    <a:pt x="325" y="370"/>
                  </a:lnTo>
                  <a:lnTo>
                    <a:pt x="325" y="368"/>
                  </a:lnTo>
                  <a:lnTo>
                    <a:pt x="325" y="370"/>
                  </a:lnTo>
                  <a:lnTo>
                    <a:pt x="325" y="368"/>
                  </a:lnTo>
                  <a:lnTo>
                    <a:pt x="325" y="370"/>
                  </a:lnTo>
                  <a:lnTo>
                    <a:pt x="325" y="368"/>
                  </a:lnTo>
                  <a:lnTo>
                    <a:pt x="325" y="370"/>
                  </a:lnTo>
                  <a:lnTo>
                    <a:pt x="325" y="368"/>
                  </a:lnTo>
                  <a:lnTo>
                    <a:pt x="325" y="370"/>
                  </a:lnTo>
                  <a:lnTo>
                    <a:pt x="325" y="368"/>
                  </a:lnTo>
                  <a:lnTo>
                    <a:pt x="323" y="370"/>
                  </a:lnTo>
                  <a:lnTo>
                    <a:pt x="323" y="368"/>
                  </a:lnTo>
                  <a:lnTo>
                    <a:pt x="323" y="366"/>
                  </a:lnTo>
                  <a:lnTo>
                    <a:pt x="325" y="366"/>
                  </a:lnTo>
                  <a:lnTo>
                    <a:pt x="328" y="366"/>
                  </a:lnTo>
                  <a:lnTo>
                    <a:pt x="330" y="363"/>
                  </a:lnTo>
                  <a:lnTo>
                    <a:pt x="330" y="361"/>
                  </a:lnTo>
                  <a:lnTo>
                    <a:pt x="328" y="363"/>
                  </a:lnTo>
                  <a:lnTo>
                    <a:pt x="328" y="361"/>
                  </a:lnTo>
                  <a:lnTo>
                    <a:pt x="325" y="361"/>
                  </a:lnTo>
                  <a:lnTo>
                    <a:pt x="328" y="361"/>
                  </a:lnTo>
                  <a:lnTo>
                    <a:pt x="325" y="361"/>
                  </a:lnTo>
                  <a:lnTo>
                    <a:pt x="323" y="359"/>
                  </a:lnTo>
                  <a:lnTo>
                    <a:pt x="323" y="361"/>
                  </a:lnTo>
                  <a:lnTo>
                    <a:pt x="323" y="363"/>
                  </a:lnTo>
                  <a:lnTo>
                    <a:pt x="325" y="363"/>
                  </a:lnTo>
                  <a:lnTo>
                    <a:pt x="325" y="366"/>
                  </a:lnTo>
                  <a:lnTo>
                    <a:pt x="323" y="366"/>
                  </a:lnTo>
                  <a:lnTo>
                    <a:pt x="321" y="366"/>
                  </a:lnTo>
                  <a:lnTo>
                    <a:pt x="321" y="363"/>
                  </a:lnTo>
                  <a:lnTo>
                    <a:pt x="321" y="366"/>
                  </a:lnTo>
                  <a:lnTo>
                    <a:pt x="318" y="366"/>
                  </a:lnTo>
                  <a:lnTo>
                    <a:pt x="321" y="366"/>
                  </a:lnTo>
                  <a:lnTo>
                    <a:pt x="318" y="366"/>
                  </a:lnTo>
                  <a:lnTo>
                    <a:pt x="318" y="363"/>
                  </a:lnTo>
                  <a:lnTo>
                    <a:pt x="318" y="366"/>
                  </a:lnTo>
                  <a:lnTo>
                    <a:pt x="316" y="366"/>
                  </a:lnTo>
                  <a:lnTo>
                    <a:pt x="318" y="366"/>
                  </a:lnTo>
                  <a:lnTo>
                    <a:pt x="318" y="368"/>
                  </a:lnTo>
                  <a:lnTo>
                    <a:pt x="321" y="368"/>
                  </a:lnTo>
                  <a:lnTo>
                    <a:pt x="318" y="368"/>
                  </a:lnTo>
                  <a:lnTo>
                    <a:pt x="316" y="368"/>
                  </a:lnTo>
                  <a:lnTo>
                    <a:pt x="316" y="366"/>
                  </a:lnTo>
                  <a:lnTo>
                    <a:pt x="313" y="366"/>
                  </a:lnTo>
                  <a:lnTo>
                    <a:pt x="316" y="366"/>
                  </a:lnTo>
                  <a:lnTo>
                    <a:pt x="313" y="366"/>
                  </a:lnTo>
                  <a:lnTo>
                    <a:pt x="313" y="363"/>
                  </a:lnTo>
                  <a:lnTo>
                    <a:pt x="313" y="361"/>
                  </a:lnTo>
                  <a:lnTo>
                    <a:pt x="313" y="359"/>
                  </a:lnTo>
                  <a:lnTo>
                    <a:pt x="311" y="359"/>
                  </a:lnTo>
                  <a:lnTo>
                    <a:pt x="311" y="356"/>
                  </a:lnTo>
                  <a:lnTo>
                    <a:pt x="309" y="354"/>
                  </a:lnTo>
                  <a:lnTo>
                    <a:pt x="311" y="354"/>
                  </a:lnTo>
                  <a:lnTo>
                    <a:pt x="311" y="351"/>
                  </a:lnTo>
                  <a:lnTo>
                    <a:pt x="311" y="349"/>
                  </a:lnTo>
                  <a:lnTo>
                    <a:pt x="311" y="347"/>
                  </a:lnTo>
                  <a:lnTo>
                    <a:pt x="311" y="344"/>
                  </a:lnTo>
                  <a:lnTo>
                    <a:pt x="313" y="344"/>
                  </a:lnTo>
                  <a:lnTo>
                    <a:pt x="313" y="342"/>
                  </a:lnTo>
                  <a:lnTo>
                    <a:pt x="313" y="344"/>
                  </a:lnTo>
                  <a:lnTo>
                    <a:pt x="311" y="344"/>
                  </a:lnTo>
                  <a:lnTo>
                    <a:pt x="311" y="347"/>
                  </a:lnTo>
                  <a:lnTo>
                    <a:pt x="311" y="344"/>
                  </a:lnTo>
                  <a:lnTo>
                    <a:pt x="311" y="347"/>
                  </a:lnTo>
                  <a:lnTo>
                    <a:pt x="311" y="349"/>
                  </a:lnTo>
                  <a:lnTo>
                    <a:pt x="311" y="351"/>
                  </a:lnTo>
                  <a:lnTo>
                    <a:pt x="311" y="354"/>
                  </a:lnTo>
                  <a:lnTo>
                    <a:pt x="309" y="354"/>
                  </a:lnTo>
                  <a:lnTo>
                    <a:pt x="309" y="356"/>
                  </a:lnTo>
                  <a:lnTo>
                    <a:pt x="311" y="356"/>
                  </a:lnTo>
                  <a:lnTo>
                    <a:pt x="311" y="359"/>
                  </a:lnTo>
                  <a:lnTo>
                    <a:pt x="313" y="359"/>
                  </a:lnTo>
                  <a:lnTo>
                    <a:pt x="313" y="361"/>
                  </a:lnTo>
                  <a:lnTo>
                    <a:pt x="313" y="363"/>
                  </a:lnTo>
                  <a:lnTo>
                    <a:pt x="313" y="366"/>
                  </a:lnTo>
                  <a:lnTo>
                    <a:pt x="316" y="366"/>
                  </a:lnTo>
                  <a:lnTo>
                    <a:pt x="316" y="368"/>
                  </a:lnTo>
                  <a:lnTo>
                    <a:pt x="318" y="368"/>
                  </a:lnTo>
                  <a:lnTo>
                    <a:pt x="318" y="370"/>
                  </a:lnTo>
                  <a:lnTo>
                    <a:pt x="318" y="368"/>
                  </a:lnTo>
                  <a:lnTo>
                    <a:pt x="316" y="368"/>
                  </a:lnTo>
                  <a:lnTo>
                    <a:pt x="313" y="368"/>
                  </a:lnTo>
                  <a:lnTo>
                    <a:pt x="311" y="368"/>
                  </a:lnTo>
                  <a:lnTo>
                    <a:pt x="309" y="368"/>
                  </a:lnTo>
                  <a:lnTo>
                    <a:pt x="309" y="366"/>
                  </a:lnTo>
                  <a:lnTo>
                    <a:pt x="309" y="363"/>
                  </a:lnTo>
                  <a:lnTo>
                    <a:pt x="306" y="363"/>
                  </a:lnTo>
                  <a:lnTo>
                    <a:pt x="304" y="363"/>
                  </a:lnTo>
                  <a:lnTo>
                    <a:pt x="302" y="363"/>
                  </a:lnTo>
                  <a:lnTo>
                    <a:pt x="299" y="363"/>
                  </a:lnTo>
                  <a:lnTo>
                    <a:pt x="297" y="363"/>
                  </a:lnTo>
                  <a:lnTo>
                    <a:pt x="294" y="363"/>
                  </a:lnTo>
                  <a:lnTo>
                    <a:pt x="294" y="361"/>
                  </a:lnTo>
                  <a:lnTo>
                    <a:pt x="294" y="359"/>
                  </a:lnTo>
                  <a:lnTo>
                    <a:pt x="292" y="359"/>
                  </a:lnTo>
                  <a:lnTo>
                    <a:pt x="290" y="359"/>
                  </a:lnTo>
                  <a:lnTo>
                    <a:pt x="287" y="361"/>
                  </a:lnTo>
                  <a:lnTo>
                    <a:pt x="285" y="361"/>
                  </a:lnTo>
                  <a:lnTo>
                    <a:pt x="285" y="363"/>
                  </a:lnTo>
                  <a:lnTo>
                    <a:pt x="283" y="363"/>
                  </a:lnTo>
                  <a:lnTo>
                    <a:pt x="283" y="366"/>
                  </a:lnTo>
                  <a:lnTo>
                    <a:pt x="280" y="366"/>
                  </a:lnTo>
                  <a:close/>
                  <a:moveTo>
                    <a:pt x="223" y="408"/>
                  </a:moveTo>
                  <a:lnTo>
                    <a:pt x="223" y="411"/>
                  </a:lnTo>
                  <a:lnTo>
                    <a:pt x="223" y="408"/>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7" name="Freeform 57983"/>
            <p:cNvSpPr>
              <a:spLocks noEditPoints="1"/>
            </p:cNvSpPr>
            <p:nvPr/>
          </p:nvSpPr>
          <p:spPr bwMode="auto">
            <a:xfrm>
              <a:off x="1757366" y="4784729"/>
              <a:ext cx="720726" cy="523877"/>
            </a:xfrm>
            <a:custGeom>
              <a:avLst/>
              <a:gdLst>
                <a:gd name="T0" fmla="*/ 454 w 454"/>
                <a:gd name="T1" fmla="*/ 330 h 330"/>
                <a:gd name="T2" fmla="*/ 323 w 454"/>
                <a:gd name="T3" fmla="*/ 240 h 330"/>
                <a:gd name="T4" fmla="*/ 147 w 454"/>
                <a:gd name="T5" fmla="*/ 183 h 330"/>
                <a:gd name="T6" fmla="*/ 150 w 454"/>
                <a:gd name="T7" fmla="*/ 185 h 330"/>
                <a:gd name="T8" fmla="*/ 147 w 454"/>
                <a:gd name="T9" fmla="*/ 176 h 330"/>
                <a:gd name="T10" fmla="*/ 147 w 454"/>
                <a:gd name="T11" fmla="*/ 178 h 330"/>
                <a:gd name="T12" fmla="*/ 147 w 454"/>
                <a:gd name="T13" fmla="*/ 176 h 330"/>
                <a:gd name="T14" fmla="*/ 126 w 454"/>
                <a:gd name="T15" fmla="*/ 138 h 330"/>
                <a:gd name="T16" fmla="*/ 128 w 454"/>
                <a:gd name="T17" fmla="*/ 142 h 330"/>
                <a:gd name="T18" fmla="*/ 131 w 454"/>
                <a:gd name="T19" fmla="*/ 147 h 330"/>
                <a:gd name="T20" fmla="*/ 128 w 454"/>
                <a:gd name="T21" fmla="*/ 142 h 330"/>
                <a:gd name="T22" fmla="*/ 124 w 454"/>
                <a:gd name="T23" fmla="*/ 138 h 330"/>
                <a:gd name="T24" fmla="*/ 121 w 454"/>
                <a:gd name="T25" fmla="*/ 126 h 330"/>
                <a:gd name="T26" fmla="*/ 121 w 454"/>
                <a:gd name="T27" fmla="*/ 128 h 330"/>
                <a:gd name="T28" fmla="*/ 124 w 454"/>
                <a:gd name="T29" fmla="*/ 128 h 330"/>
                <a:gd name="T30" fmla="*/ 126 w 454"/>
                <a:gd name="T31" fmla="*/ 128 h 330"/>
                <a:gd name="T32" fmla="*/ 124 w 454"/>
                <a:gd name="T33" fmla="*/ 130 h 330"/>
                <a:gd name="T34" fmla="*/ 119 w 454"/>
                <a:gd name="T35" fmla="*/ 128 h 330"/>
                <a:gd name="T36" fmla="*/ 93 w 454"/>
                <a:gd name="T37" fmla="*/ 104 h 330"/>
                <a:gd name="T38" fmla="*/ 93 w 454"/>
                <a:gd name="T39" fmla="*/ 107 h 330"/>
                <a:gd name="T40" fmla="*/ 95 w 454"/>
                <a:gd name="T41" fmla="*/ 90 h 330"/>
                <a:gd name="T42" fmla="*/ 95 w 454"/>
                <a:gd name="T43" fmla="*/ 92 h 330"/>
                <a:gd name="T44" fmla="*/ 100 w 454"/>
                <a:gd name="T45" fmla="*/ 95 h 330"/>
                <a:gd name="T46" fmla="*/ 98 w 454"/>
                <a:gd name="T47" fmla="*/ 95 h 330"/>
                <a:gd name="T48" fmla="*/ 93 w 454"/>
                <a:gd name="T49" fmla="*/ 90 h 330"/>
                <a:gd name="T50" fmla="*/ 95 w 454"/>
                <a:gd name="T51" fmla="*/ 90 h 330"/>
                <a:gd name="T52" fmla="*/ 121 w 454"/>
                <a:gd name="T53" fmla="*/ 81 h 330"/>
                <a:gd name="T54" fmla="*/ 121 w 454"/>
                <a:gd name="T55" fmla="*/ 78 h 330"/>
                <a:gd name="T56" fmla="*/ 124 w 454"/>
                <a:gd name="T57" fmla="*/ 78 h 330"/>
                <a:gd name="T58" fmla="*/ 74 w 454"/>
                <a:gd name="T59" fmla="*/ 76 h 330"/>
                <a:gd name="T60" fmla="*/ 128 w 454"/>
                <a:gd name="T61" fmla="*/ 73 h 330"/>
                <a:gd name="T62" fmla="*/ 62 w 454"/>
                <a:gd name="T63" fmla="*/ 71 h 330"/>
                <a:gd name="T64" fmla="*/ 62 w 454"/>
                <a:gd name="T65" fmla="*/ 73 h 330"/>
                <a:gd name="T66" fmla="*/ 67 w 454"/>
                <a:gd name="T67" fmla="*/ 76 h 330"/>
                <a:gd name="T68" fmla="*/ 67 w 454"/>
                <a:gd name="T69" fmla="*/ 78 h 330"/>
                <a:gd name="T70" fmla="*/ 62 w 454"/>
                <a:gd name="T71" fmla="*/ 76 h 330"/>
                <a:gd name="T72" fmla="*/ 72 w 454"/>
                <a:gd name="T73" fmla="*/ 71 h 330"/>
                <a:gd name="T74" fmla="*/ 72 w 454"/>
                <a:gd name="T75" fmla="*/ 71 h 330"/>
                <a:gd name="T76" fmla="*/ 81 w 454"/>
                <a:gd name="T77" fmla="*/ 64 h 330"/>
                <a:gd name="T78" fmla="*/ 79 w 454"/>
                <a:gd name="T79" fmla="*/ 62 h 330"/>
                <a:gd name="T80" fmla="*/ 79 w 454"/>
                <a:gd name="T81" fmla="*/ 62 h 330"/>
                <a:gd name="T82" fmla="*/ 76 w 454"/>
                <a:gd name="T83" fmla="*/ 62 h 330"/>
                <a:gd name="T84" fmla="*/ 55 w 454"/>
                <a:gd name="T85" fmla="*/ 59 h 330"/>
                <a:gd name="T86" fmla="*/ 55 w 454"/>
                <a:gd name="T87" fmla="*/ 62 h 330"/>
                <a:gd name="T88" fmla="*/ 41 w 454"/>
                <a:gd name="T89" fmla="*/ 57 h 330"/>
                <a:gd name="T90" fmla="*/ 10 w 454"/>
                <a:gd name="T91" fmla="*/ 43 h 330"/>
                <a:gd name="T92" fmla="*/ 5 w 454"/>
                <a:gd name="T93" fmla="*/ 24 h 330"/>
                <a:gd name="T94" fmla="*/ 3 w 454"/>
                <a:gd name="T95" fmla="*/ 21 h 330"/>
                <a:gd name="T96" fmla="*/ 0 w 454"/>
                <a:gd name="T97" fmla="*/ 21 h 330"/>
                <a:gd name="T98" fmla="*/ 3 w 454"/>
                <a:gd name="T99" fmla="*/ 21 h 330"/>
                <a:gd name="T100" fmla="*/ 0 w 454"/>
                <a:gd name="T101" fmla="*/ 21 h 330"/>
                <a:gd name="T102" fmla="*/ 98 w 454"/>
                <a:gd name="T103" fmla="*/ 14 h 330"/>
                <a:gd name="T104" fmla="*/ 38 w 454"/>
                <a:gd name="T105" fmla="*/ 7 h 330"/>
                <a:gd name="T106" fmla="*/ 50 w 454"/>
                <a:gd name="T107" fmla="*/ 5 h 330"/>
                <a:gd name="T108" fmla="*/ 72 w 454"/>
                <a:gd name="T109" fmla="*/ 2 h 330"/>
                <a:gd name="T110" fmla="*/ 60 w 454"/>
                <a:gd name="T111" fmla="*/ 2 h 330"/>
                <a:gd name="T112" fmla="*/ 64 w 454"/>
                <a:gd name="T113" fmla="*/ 2 h 330"/>
                <a:gd name="T114" fmla="*/ 110 w 454"/>
                <a:gd name="T115" fmla="*/ 2 h 330"/>
                <a:gd name="T116" fmla="*/ 110 w 454"/>
                <a:gd name="T117" fmla="*/ 0 h 330"/>
                <a:gd name="T118" fmla="*/ 55 w 454"/>
                <a:gd name="T119" fmla="*/ 0 h 330"/>
                <a:gd name="T120" fmla="*/ 110 w 454"/>
                <a:gd name="T121" fmla="*/ 0 h 330"/>
                <a:gd name="T122" fmla="*/ 110 w 454"/>
                <a:gd name="T123" fmla="*/ 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4" h="330">
                  <a:moveTo>
                    <a:pt x="454" y="330"/>
                  </a:moveTo>
                  <a:lnTo>
                    <a:pt x="454" y="328"/>
                  </a:lnTo>
                  <a:lnTo>
                    <a:pt x="454" y="330"/>
                  </a:lnTo>
                  <a:close/>
                  <a:moveTo>
                    <a:pt x="323" y="240"/>
                  </a:moveTo>
                  <a:lnTo>
                    <a:pt x="323" y="237"/>
                  </a:lnTo>
                  <a:lnTo>
                    <a:pt x="323" y="240"/>
                  </a:lnTo>
                  <a:close/>
                  <a:moveTo>
                    <a:pt x="150" y="185"/>
                  </a:moveTo>
                  <a:lnTo>
                    <a:pt x="150" y="183"/>
                  </a:lnTo>
                  <a:lnTo>
                    <a:pt x="147" y="183"/>
                  </a:lnTo>
                  <a:lnTo>
                    <a:pt x="147" y="180"/>
                  </a:lnTo>
                  <a:lnTo>
                    <a:pt x="150" y="183"/>
                  </a:lnTo>
                  <a:lnTo>
                    <a:pt x="150" y="185"/>
                  </a:lnTo>
                  <a:close/>
                  <a:moveTo>
                    <a:pt x="147" y="176"/>
                  </a:moveTo>
                  <a:lnTo>
                    <a:pt x="147" y="178"/>
                  </a:lnTo>
                  <a:lnTo>
                    <a:pt x="147" y="176"/>
                  </a:lnTo>
                  <a:close/>
                  <a:moveTo>
                    <a:pt x="147" y="178"/>
                  </a:moveTo>
                  <a:lnTo>
                    <a:pt x="147" y="176"/>
                  </a:lnTo>
                  <a:lnTo>
                    <a:pt x="147" y="178"/>
                  </a:lnTo>
                  <a:close/>
                  <a:moveTo>
                    <a:pt x="147" y="176"/>
                  </a:moveTo>
                  <a:lnTo>
                    <a:pt x="145" y="176"/>
                  </a:lnTo>
                  <a:lnTo>
                    <a:pt x="147" y="176"/>
                  </a:lnTo>
                  <a:close/>
                  <a:moveTo>
                    <a:pt x="124" y="135"/>
                  </a:moveTo>
                  <a:lnTo>
                    <a:pt x="124" y="138"/>
                  </a:lnTo>
                  <a:lnTo>
                    <a:pt x="126" y="138"/>
                  </a:lnTo>
                  <a:lnTo>
                    <a:pt x="128" y="138"/>
                  </a:lnTo>
                  <a:lnTo>
                    <a:pt x="128" y="140"/>
                  </a:lnTo>
                  <a:lnTo>
                    <a:pt x="128" y="142"/>
                  </a:lnTo>
                  <a:lnTo>
                    <a:pt x="131" y="142"/>
                  </a:lnTo>
                  <a:lnTo>
                    <a:pt x="131" y="145"/>
                  </a:lnTo>
                  <a:lnTo>
                    <a:pt x="131" y="147"/>
                  </a:lnTo>
                  <a:lnTo>
                    <a:pt x="128" y="147"/>
                  </a:lnTo>
                  <a:lnTo>
                    <a:pt x="128" y="145"/>
                  </a:lnTo>
                  <a:lnTo>
                    <a:pt x="128" y="142"/>
                  </a:lnTo>
                  <a:lnTo>
                    <a:pt x="126" y="142"/>
                  </a:lnTo>
                  <a:lnTo>
                    <a:pt x="124" y="140"/>
                  </a:lnTo>
                  <a:lnTo>
                    <a:pt x="124" y="138"/>
                  </a:lnTo>
                  <a:lnTo>
                    <a:pt x="124" y="135"/>
                  </a:lnTo>
                  <a:close/>
                  <a:moveTo>
                    <a:pt x="119" y="126"/>
                  </a:moveTo>
                  <a:lnTo>
                    <a:pt x="121" y="126"/>
                  </a:lnTo>
                  <a:lnTo>
                    <a:pt x="121" y="128"/>
                  </a:lnTo>
                  <a:lnTo>
                    <a:pt x="121" y="126"/>
                  </a:lnTo>
                  <a:lnTo>
                    <a:pt x="121" y="128"/>
                  </a:lnTo>
                  <a:lnTo>
                    <a:pt x="119" y="128"/>
                  </a:lnTo>
                  <a:lnTo>
                    <a:pt x="121" y="128"/>
                  </a:lnTo>
                  <a:lnTo>
                    <a:pt x="124" y="128"/>
                  </a:lnTo>
                  <a:lnTo>
                    <a:pt x="121" y="128"/>
                  </a:lnTo>
                  <a:lnTo>
                    <a:pt x="124" y="128"/>
                  </a:lnTo>
                  <a:lnTo>
                    <a:pt x="126" y="128"/>
                  </a:lnTo>
                  <a:lnTo>
                    <a:pt x="128" y="130"/>
                  </a:lnTo>
                  <a:lnTo>
                    <a:pt x="126" y="130"/>
                  </a:lnTo>
                  <a:lnTo>
                    <a:pt x="124" y="130"/>
                  </a:lnTo>
                  <a:lnTo>
                    <a:pt x="124" y="128"/>
                  </a:lnTo>
                  <a:lnTo>
                    <a:pt x="121" y="128"/>
                  </a:lnTo>
                  <a:lnTo>
                    <a:pt x="119" y="128"/>
                  </a:lnTo>
                  <a:lnTo>
                    <a:pt x="119" y="126"/>
                  </a:lnTo>
                  <a:close/>
                  <a:moveTo>
                    <a:pt x="91" y="104"/>
                  </a:moveTo>
                  <a:lnTo>
                    <a:pt x="93" y="104"/>
                  </a:lnTo>
                  <a:lnTo>
                    <a:pt x="95" y="104"/>
                  </a:lnTo>
                  <a:lnTo>
                    <a:pt x="93" y="104"/>
                  </a:lnTo>
                  <a:lnTo>
                    <a:pt x="93" y="107"/>
                  </a:lnTo>
                  <a:lnTo>
                    <a:pt x="93" y="104"/>
                  </a:lnTo>
                  <a:lnTo>
                    <a:pt x="91" y="104"/>
                  </a:lnTo>
                  <a:close/>
                  <a:moveTo>
                    <a:pt x="95" y="90"/>
                  </a:moveTo>
                  <a:lnTo>
                    <a:pt x="98" y="90"/>
                  </a:lnTo>
                  <a:lnTo>
                    <a:pt x="95" y="90"/>
                  </a:lnTo>
                  <a:lnTo>
                    <a:pt x="95" y="92"/>
                  </a:lnTo>
                  <a:lnTo>
                    <a:pt x="98" y="92"/>
                  </a:lnTo>
                  <a:lnTo>
                    <a:pt x="100" y="92"/>
                  </a:lnTo>
                  <a:lnTo>
                    <a:pt x="100" y="95"/>
                  </a:lnTo>
                  <a:lnTo>
                    <a:pt x="98" y="95"/>
                  </a:lnTo>
                  <a:lnTo>
                    <a:pt x="100" y="95"/>
                  </a:lnTo>
                  <a:lnTo>
                    <a:pt x="98" y="95"/>
                  </a:lnTo>
                  <a:lnTo>
                    <a:pt x="98" y="92"/>
                  </a:lnTo>
                  <a:lnTo>
                    <a:pt x="95" y="92"/>
                  </a:lnTo>
                  <a:lnTo>
                    <a:pt x="93" y="90"/>
                  </a:lnTo>
                  <a:lnTo>
                    <a:pt x="95" y="90"/>
                  </a:lnTo>
                  <a:lnTo>
                    <a:pt x="93" y="90"/>
                  </a:lnTo>
                  <a:lnTo>
                    <a:pt x="95" y="90"/>
                  </a:lnTo>
                  <a:close/>
                  <a:moveTo>
                    <a:pt x="121" y="81"/>
                  </a:moveTo>
                  <a:lnTo>
                    <a:pt x="119" y="81"/>
                  </a:lnTo>
                  <a:lnTo>
                    <a:pt x="121" y="81"/>
                  </a:lnTo>
                  <a:close/>
                  <a:moveTo>
                    <a:pt x="121" y="78"/>
                  </a:moveTo>
                  <a:lnTo>
                    <a:pt x="124" y="78"/>
                  </a:lnTo>
                  <a:lnTo>
                    <a:pt x="121" y="78"/>
                  </a:lnTo>
                  <a:close/>
                  <a:moveTo>
                    <a:pt x="124" y="78"/>
                  </a:moveTo>
                  <a:lnTo>
                    <a:pt x="124" y="76"/>
                  </a:lnTo>
                  <a:lnTo>
                    <a:pt x="124" y="78"/>
                  </a:lnTo>
                  <a:close/>
                  <a:moveTo>
                    <a:pt x="76" y="73"/>
                  </a:moveTo>
                  <a:lnTo>
                    <a:pt x="76" y="76"/>
                  </a:lnTo>
                  <a:lnTo>
                    <a:pt x="74" y="76"/>
                  </a:lnTo>
                  <a:lnTo>
                    <a:pt x="74" y="73"/>
                  </a:lnTo>
                  <a:lnTo>
                    <a:pt x="76" y="73"/>
                  </a:lnTo>
                  <a:close/>
                  <a:moveTo>
                    <a:pt x="128" y="73"/>
                  </a:moveTo>
                  <a:lnTo>
                    <a:pt x="131" y="73"/>
                  </a:lnTo>
                  <a:lnTo>
                    <a:pt x="128" y="73"/>
                  </a:lnTo>
                  <a:close/>
                  <a:moveTo>
                    <a:pt x="62" y="71"/>
                  </a:moveTo>
                  <a:lnTo>
                    <a:pt x="62" y="73"/>
                  </a:lnTo>
                  <a:lnTo>
                    <a:pt x="62" y="71"/>
                  </a:lnTo>
                  <a:lnTo>
                    <a:pt x="62" y="73"/>
                  </a:lnTo>
                  <a:lnTo>
                    <a:pt x="64" y="73"/>
                  </a:lnTo>
                  <a:lnTo>
                    <a:pt x="67" y="73"/>
                  </a:lnTo>
                  <a:lnTo>
                    <a:pt x="67" y="76"/>
                  </a:lnTo>
                  <a:lnTo>
                    <a:pt x="69" y="76"/>
                  </a:lnTo>
                  <a:lnTo>
                    <a:pt x="69" y="78"/>
                  </a:lnTo>
                  <a:lnTo>
                    <a:pt x="67" y="78"/>
                  </a:lnTo>
                  <a:lnTo>
                    <a:pt x="67" y="76"/>
                  </a:lnTo>
                  <a:lnTo>
                    <a:pt x="64" y="76"/>
                  </a:lnTo>
                  <a:lnTo>
                    <a:pt x="62" y="76"/>
                  </a:lnTo>
                  <a:lnTo>
                    <a:pt x="62" y="73"/>
                  </a:lnTo>
                  <a:lnTo>
                    <a:pt x="62" y="71"/>
                  </a:lnTo>
                  <a:close/>
                  <a:moveTo>
                    <a:pt x="72" y="71"/>
                  </a:moveTo>
                  <a:lnTo>
                    <a:pt x="74" y="71"/>
                  </a:lnTo>
                  <a:lnTo>
                    <a:pt x="72" y="73"/>
                  </a:lnTo>
                  <a:lnTo>
                    <a:pt x="72" y="71"/>
                  </a:lnTo>
                  <a:close/>
                  <a:moveTo>
                    <a:pt x="81" y="64"/>
                  </a:moveTo>
                  <a:lnTo>
                    <a:pt x="79" y="64"/>
                  </a:lnTo>
                  <a:lnTo>
                    <a:pt x="81" y="64"/>
                  </a:lnTo>
                  <a:close/>
                  <a:moveTo>
                    <a:pt x="79" y="62"/>
                  </a:moveTo>
                  <a:lnTo>
                    <a:pt x="79" y="64"/>
                  </a:lnTo>
                  <a:lnTo>
                    <a:pt x="79" y="62"/>
                  </a:lnTo>
                  <a:lnTo>
                    <a:pt x="76" y="64"/>
                  </a:lnTo>
                  <a:lnTo>
                    <a:pt x="76" y="62"/>
                  </a:lnTo>
                  <a:lnTo>
                    <a:pt x="79" y="62"/>
                  </a:lnTo>
                  <a:close/>
                  <a:moveTo>
                    <a:pt x="76" y="62"/>
                  </a:moveTo>
                  <a:lnTo>
                    <a:pt x="76" y="64"/>
                  </a:lnTo>
                  <a:lnTo>
                    <a:pt x="76" y="62"/>
                  </a:lnTo>
                  <a:lnTo>
                    <a:pt x="76" y="64"/>
                  </a:lnTo>
                  <a:lnTo>
                    <a:pt x="76" y="62"/>
                  </a:lnTo>
                  <a:close/>
                  <a:moveTo>
                    <a:pt x="55" y="59"/>
                  </a:moveTo>
                  <a:lnTo>
                    <a:pt x="57" y="59"/>
                  </a:lnTo>
                  <a:lnTo>
                    <a:pt x="57" y="62"/>
                  </a:lnTo>
                  <a:lnTo>
                    <a:pt x="55" y="62"/>
                  </a:lnTo>
                  <a:lnTo>
                    <a:pt x="55" y="59"/>
                  </a:lnTo>
                  <a:close/>
                  <a:moveTo>
                    <a:pt x="38" y="57"/>
                  </a:moveTo>
                  <a:lnTo>
                    <a:pt x="41" y="57"/>
                  </a:lnTo>
                  <a:lnTo>
                    <a:pt x="38" y="57"/>
                  </a:lnTo>
                  <a:close/>
                  <a:moveTo>
                    <a:pt x="10" y="40"/>
                  </a:moveTo>
                  <a:lnTo>
                    <a:pt x="10" y="43"/>
                  </a:lnTo>
                  <a:lnTo>
                    <a:pt x="10" y="40"/>
                  </a:lnTo>
                  <a:close/>
                  <a:moveTo>
                    <a:pt x="7" y="24"/>
                  </a:moveTo>
                  <a:lnTo>
                    <a:pt x="5" y="24"/>
                  </a:lnTo>
                  <a:lnTo>
                    <a:pt x="7" y="24"/>
                  </a:lnTo>
                  <a:close/>
                  <a:moveTo>
                    <a:pt x="0" y="19"/>
                  </a:moveTo>
                  <a:lnTo>
                    <a:pt x="3" y="21"/>
                  </a:lnTo>
                  <a:lnTo>
                    <a:pt x="3" y="19"/>
                  </a:lnTo>
                  <a:lnTo>
                    <a:pt x="3" y="21"/>
                  </a:lnTo>
                  <a:lnTo>
                    <a:pt x="0" y="21"/>
                  </a:lnTo>
                  <a:lnTo>
                    <a:pt x="0" y="19"/>
                  </a:lnTo>
                  <a:close/>
                  <a:moveTo>
                    <a:pt x="3" y="19"/>
                  </a:moveTo>
                  <a:lnTo>
                    <a:pt x="3" y="21"/>
                  </a:lnTo>
                  <a:lnTo>
                    <a:pt x="0" y="21"/>
                  </a:lnTo>
                  <a:lnTo>
                    <a:pt x="3" y="21"/>
                  </a:lnTo>
                  <a:lnTo>
                    <a:pt x="0" y="21"/>
                  </a:lnTo>
                  <a:lnTo>
                    <a:pt x="3" y="21"/>
                  </a:lnTo>
                  <a:lnTo>
                    <a:pt x="3" y="19"/>
                  </a:lnTo>
                  <a:close/>
                  <a:moveTo>
                    <a:pt x="98" y="14"/>
                  </a:moveTo>
                  <a:lnTo>
                    <a:pt x="98" y="12"/>
                  </a:lnTo>
                  <a:lnTo>
                    <a:pt x="98" y="14"/>
                  </a:lnTo>
                  <a:close/>
                  <a:moveTo>
                    <a:pt x="38" y="7"/>
                  </a:moveTo>
                  <a:lnTo>
                    <a:pt x="36" y="7"/>
                  </a:lnTo>
                  <a:lnTo>
                    <a:pt x="38" y="7"/>
                  </a:lnTo>
                  <a:close/>
                  <a:moveTo>
                    <a:pt x="50" y="5"/>
                  </a:moveTo>
                  <a:lnTo>
                    <a:pt x="53" y="5"/>
                  </a:lnTo>
                  <a:lnTo>
                    <a:pt x="50" y="5"/>
                  </a:lnTo>
                  <a:close/>
                  <a:moveTo>
                    <a:pt x="72" y="2"/>
                  </a:moveTo>
                  <a:lnTo>
                    <a:pt x="69" y="2"/>
                  </a:lnTo>
                  <a:lnTo>
                    <a:pt x="72" y="2"/>
                  </a:lnTo>
                  <a:close/>
                  <a:moveTo>
                    <a:pt x="60" y="2"/>
                  </a:moveTo>
                  <a:lnTo>
                    <a:pt x="62" y="2"/>
                  </a:lnTo>
                  <a:lnTo>
                    <a:pt x="60" y="2"/>
                  </a:lnTo>
                  <a:close/>
                  <a:moveTo>
                    <a:pt x="64" y="2"/>
                  </a:moveTo>
                  <a:lnTo>
                    <a:pt x="64" y="0"/>
                  </a:lnTo>
                  <a:lnTo>
                    <a:pt x="64" y="2"/>
                  </a:lnTo>
                  <a:close/>
                  <a:moveTo>
                    <a:pt x="110" y="2"/>
                  </a:moveTo>
                  <a:lnTo>
                    <a:pt x="110" y="0"/>
                  </a:lnTo>
                  <a:lnTo>
                    <a:pt x="110" y="2"/>
                  </a:lnTo>
                  <a:close/>
                  <a:moveTo>
                    <a:pt x="110" y="0"/>
                  </a:moveTo>
                  <a:lnTo>
                    <a:pt x="110" y="2"/>
                  </a:lnTo>
                  <a:lnTo>
                    <a:pt x="110" y="0"/>
                  </a:lnTo>
                  <a:close/>
                  <a:moveTo>
                    <a:pt x="55" y="0"/>
                  </a:moveTo>
                  <a:lnTo>
                    <a:pt x="55" y="2"/>
                  </a:lnTo>
                  <a:lnTo>
                    <a:pt x="55" y="0"/>
                  </a:lnTo>
                  <a:close/>
                  <a:moveTo>
                    <a:pt x="110" y="0"/>
                  </a:moveTo>
                  <a:lnTo>
                    <a:pt x="110" y="2"/>
                  </a:lnTo>
                  <a:lnTo>
                    <a:pt x="110" y="0"/>
                  </a:lnTo>
                  <a:lnTo>
                    <a:pt x="110" y="2"/>
                  </a:lnTo>
                  <a:lnTo>
                    <a:pt x="107" y="0"/>
                  </a:lnTo>
                  <a:lnTo>
                    <a:pt x="110" y="0"/>
                  </a:lnTo>
                  <a:close/>
                </a:path>
              </a:pathLst>
            </a:custGeom>
            <a:grpFill/>
            <a:ln w="6350">
              <a:solidFill>
                <a:schemeClr val="bg1"/>
              </a:solidFill>
              <a:prstDash val="solid"/>
              <a:round/>
              <a:headEnd/>
              <a:tailEnd/>
            </a:ln>
          </p:spPr>
          <p:txBody>
            <a:bodyPr/>
            <a:lstStyle/>
            <a:p>
              <a:endParaRPr lang="en-US">
                <a:solidFill>
                  <a:srgbClr val="000000"/>
                </a:solidFill>
              </a:endParaRPr>
            </a:p>
          </p:txBody>
        </p:sp>
        <p:sp>
          <p:nvSpPr>
            <p:cNvPr id="138" name="Freeform 57984"/>
            <p:cNvSpPr>
              <a:spLocks noEditPoints="1"/>
            </p:cNvSpPr>
            <p:nvPr/>
          </p:nvSpPr>
          <p:spPr bwMode="auto">
            <a:xfrm>
              <a:off x="1768476" y="4724400"/>
              <a:ext cx="501650" cy="444500"/>
            </a:xfrm>
            <a:custGeom>
              <a:avLst/>
              <a:gdLst>
                <a:gd name="T0" fmla="*/ 316 w 316"/>
                <a:gd name="T1" fmla="*/ 280 h 280"/>
                <a:gd name="T2" fmla="*/ 145 w 316"/>
                <a:gd name="T3" fmla="*/ 221 h 280"/>
                <a:gd name="T4" fmla="*/ 145 w 316"/>
                <a:gd name="T5" fmla="*/ 221 h 280"/>
                <a:gd name="T6" fmla="*/ 138 w 316"/>
                <a:gd name="T7" fmla="*/ 214 h 280"/>
                <a:gd name="T8" fmla="*/ 84 w 316"/>
                <a:gd name="T9" fmla="*/ 114 h 280"/>
                <a:gd name="T10" fmla="*/ 81 w 316"/>
                <a:gd name="T11" fmla="*/ 116 h 280"/>
                <a:gd name="T12" fmla="*/ 84 w 316"/>
                <a:gd name="T13" fmla="*/ 114 h 280"/>
                <a:gd name="T14" fmla="*/ 93 w 316"/>
                <a:gd name="T15" fmla="*/ 116 h 280"/>
                <a:gd name="T16" fmla="*/ 65 w 316"/>
                <a:gd name="T17" fmla="*/ 109 h 280"/>
                <a:gd name="T18" fmla="*/ 65 w 316"/>
                <a:gd name="T19" fmla="*/ 109 h 280"/>
                <a:gd name="T20" fmla="*/ 67 w 316"/>
                <a:gd name="T21" fmla="*/ 104 h 280"/>
                <a:gd name="T22" fmla="*/ 57 w 316"/>
                <a:gd name="T23" fmla="*/ 97 h 280"/>
                <a:gd name="T24" fmla="*/ 57 w 316"/>
                <a:gd name="T25" fmla="*/ 97 h 280"/>
                <a:gd name="T26" fmla="*/ 57 w 316"/>
                <a:gd name="T27" fmla="*/ 95 h 280"/>
                <a:gd name="T28" fmla="*/ 57 w 316"/>
                <a:gd name="T29" fmla="*/ 97 h 280"/>
                <a:gd name="T30" fmla="*/ 57 w 316"/>
                <a:gd name="T31" fmla="*/ 97 h 280"/>
                <a:gd name="T32" fmla="*/ 57 w 316"/>
                <a:gd name="T33" fmla="*/ 95 h 280"/>
                <a:gd name="T34" fmla="*/ 31 w 316"/>
                <a:gd name="T35" fmla="*/ 95 h 280"/>
                <a:gd name="T36" fmla="*/ 31 w 316"/>
                <a:gd name="T37" fmla="*/ 95 h 280"/>
                <a:gd name="T38" fmla="*/ 31 w 316"/>
                <a:gd name="T39" fmla="*/ 92 h 280"/>
                <a:gd name="T40" fmla="*/ 3 w 316"/>
                <a:gd name="T41" fmla="*/ 64 h 280"/>
                <a:gd name="T42" fmla="*/ 3 w 316"/>
                <a:gd name="T43" fmla="*/ 64 h 280"/>
                <a:gd name="T44" fmla="*/ 0 w 316"/>
                <a:gd name="T45" fmla="*/ 62 h 280"/>
                <a:gd name="T46" fmla="*/ 10 w 316"/>
                <a:gd name="T47" fmla="*/ 52 h 280"/>
                <a:gd name="T48" fmla="*/ 8 w 316"/>
                <a:gd name="T49" fmla="*/ 52 h 280"/>
                <a:gd name="T50" fmla="*/ 12 w 316"/>
                <a:gd name="T51" fmla="*/ 52 h 280"/>
                <a:gd name="T52" fmla="*/ 12 w 316"/>
                <a:gd name="T53" fmla="*/ 52 h 280"/>
                <a:gd name="T54" fmla="*/ 15 w 316"/>
                <a:gd name="T55" fmla="*/ 52 h 280"/>
                <a:gd name="T56" fmla="*/ 19 w 316"/>
                <a:gd name="T57" fmla="*/ 50 h 280"/>
                <a:gd name="T58" fmla="*/ 19 w 316"/>
                <a:gd name="T59" fmla="*/ 50 h 280"/>
                <a:gd name="T60" fmla="*/ 103 w 316"/>
                <a:gd name="T61" fmla="*/ 47 h 280"/>
                <a:gd name="T62" fmla="*/ 46 w 316"/>
                <a:gd name="T63" fmla="*/ 47 h 280"/>
                <a:gd name="T64" fmla="*/ 46 w 316"/>
                <a:gd name="T65" fmla="*/ 47 h 280"/>
                <a:gd name="T66" fmla="*/ 43 w 316"/>
                <a:gd name="T67" fmla="*/ 45 h 280"/>
                <a:gd name="T68" fmla="*/ 65 w 316"/>
                <a:gd name="T69" fmla="*/ 45 h 280"/>
                <a:gd name="T70" fmla="*/ 65 w 316"/>
                <a:gd name="T71" fmla="*/ 45 h 280"/>
                <a:gd name="T72" fmla="*/ 46 w 316"/>
                <a:gd name="T73" fmla="*/ 45 h 280"/>
                <a:gd name="T74" fmla="*/ 43 w 316"/>
                <a:gd name="T75" fmla="*/ 43 h 280"/>
                <a:gd name="T76" fmla="*/ 43 w 316"/>
                <a:gd name="T77" fmla="*/ 43 h 280"/>
                <a:gd name="T78" fmla="*/ 53 w 316"/>
                <a:gd name="T79" fmla="*/ 43 h 280"/>
                <a:gd name="T80" fmla="*/ 62 w 316"/>
                <a:gd name="T81" fmla="*/ 40 h 280"/>
                <a:gd name="T82" fmla="*/ 62 w 316"/>
                <a:gd name="T83" fmla="*/ 40 h 280"/>
                <a:gd name="T84" fmla="*/ 103 w 316"/>
                <a:gd name="T85" fmla="*/ 40 h 280"/>
                <a:gd name="T86" fmla="*/ 103 w 316"/>
                <a:gd name="T87" fmla="*/ 40 h 280"/>
                <a:gd name="T88" fmla="*/ 103 w 316"/>
                <a:gd name="T89" fmla="*/ 40 h 280"/>
                <a:gd name="T90" fmla="*/ 103 w 316"/>
                <a:gd name="T91" fmla="*/ 38 h 280"/>
                <a:gd name="T92" fmla="*/ 62 w 316"/>
                <a:gd name="T93" fmla="*/ 38 h 280"/>
                <a:gd name="T94" fmla="*/ 62 w 316"/>
                <a:gd name="T95" fmla="*/ 38 h 280"/>
                <a:gd name="T96" fmla="*/ 124 w 316"/>
                <a:gd name="T97" fmla="*/ 9 h 280"/>
                <a:gd name="T98" fmla="*/ 167 w 316"/>
                <a:gd name="T99" fmla="*/ 2 h 280"/>
                <a:gd name="T100" fmla="*/ 167 w 316"/>
                <a:gd name="T101" fmla="*/ 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280">
                  <a:moveTo>
                    <a:pt x="316" y="278"/>
                  </a:moveTo>
                  <a:lnTo>
                    <a:pt x="316" y="280"/>
                  </a:lnTo>
                  <a:lnTo>
                    <a:pt x="316" y="278"/>
                  </a:lnTo>
                  <a:close/>
                  <a:moveTo>
                    <a:pt x="145" y="221"/>
                  </a:moveTo>
                  <a:lnTo>
                    <a:pt x="143" y="221"/>
                  </a:lnTo>
                  <a:lnTo>
                    <a:pt x="145" y="221"/>
                  </a:lnTo>
                  <a:close/>
                  <a:moveTo>
                    <a:pt x="138" y="211"/>
                  </a:moveTo>
                  <a:lnTo>
                    <a:pt x="138" y="214"/>
                  </a:lnTo>
                  <a:lnTo>
                    <a:pt x="138" y="211"/>
                  </a:lnTo>
                  <a:close/>
                  <a:moveTo>
                    <a:pt x="84" y="114"/>
                  </a:moveTo>
                  <a:lnTo>
                    <a:pt x="84" y="116"/>
                  </a:lnTo>
                  <a:lnTo>
                    <a:pt x="81" y="116"/>
                  </a:lnTo>
                  <a:lnTo>
                    <a:pt x="81" y="114"/>
                  </a:lnTo>
                  <a:lnTo>
                    <a:pt x="84" y="114"/>
                  </a:lnTo>
                  <a:close/>
                  <a:moveTo>
                    <a:pt x="93" y="114"/>
                  </a:moveTo>
                  <a:lnTo>
                    <a:pt x="93" y="116"/>
                  </a:lnTo>
                  <a:lnTo>
                    <a:pt x="93" y="114"/>
                  </a:lnTo>
                  <a:close/>
                  <a:moveTo>
                    <a:pt x="65" y="109"/>
                  </a:moveTo>
                  <a:lnTo>
                    <a:pt x="62" y="109"/>
                  </a:lnTo>
                  <a:lnTo>
                    <a:pt x="65" y="109"/>
                  </a:lnTo>
                  <a:close/>
                  <a:moveTo>
                    <a:pt x="65" y="104"/>
                  </a:moveTo>
                  <a:lnTo>
                    <a:pt x="67" y="104"/>
                  </a:lnTo>
                  <a:lnTo>
                    <a:pt x="65" y="104"/>
                  </a:lnTo>
                  <a:close/>
                  <a:moveTo>
                    <a:pt x="57" y="97"/>
                  </a:moveTo>
                  <a:lnTo>
                    <a:pt x="57" y="95"/>
                  </a:lnTo>
                  <a:lnTo>
                    <a:pt x="57" y="97"/>
                  </a:lnTo>
                  <a:close/>
                  <a:moveTo>
                    <a:pt x="57" y="97"/>
                  </a:moveTo>
                  <a:lnTo>
                    <a:pt x="57" y="95"/>
                  </a:lnTo>
                  <a:lnTo>
                    <a:pt x="57" y="97"/>
                  </a:lnTo>
                  <a:close/>
                  <a:moveTo>
                    <a:pt x="57" y="97"/>
                  </a:moveTo>
                  <a:lnTo>
                    <a:pt x="57" y="95"/>
                  </a:lnTo>
                  <a:lnTo>
                    <a:pt x="57" y="97"/>
                  </a:lnTo>
                  <a:close/>
                  <a:moveTo>
                    <a:pt x="57" y="97"/>
                  </a:moveTo>
                  <a:lnTo>
                    <a:pt x="57" y="95"/>
                  </a:lnTo>
                  <a:lnTo>
                    <a:pt x="57" y="97"/>
                  </a:lnTo>
                  <a:close/>
                  <a:moveTo>
                    <a:pt x="31" y="95"/>
                  </a:moveTo>
                  <a:lnTo>
                    <a:pt x="29" y="95"/>
                  </a:lnTo>
                  <a:lnTo>
                    <a:pt x="31" y="95"/>
                  </a:lnTo>
                  <a:close/>
                  <a:moveTo>
                    <a:pt x="29" y="92"/>
                  </a:moveTo>
                  <a:lnTo>
                    <a:pt x="31" y="92"/>
                  </a:lnTo>
                  <a:lnTo>
                    <a:pt x="29" y="92"/>
                  </a:lnTo>
                  <a:close/>
                  <a:moveTo>
                    <a:pt x="3" y="64"/>
                  </a:moveTo>
                  <a:lnTo>
                    <a:pt x="0" y="64"/>
                  </a:lnTo>
                  <a:lnTo>
                    <a:pt x="3" y="64"/>
                  </a:lnTo>
                  <a:close/>
                  <a:moveTo>
                    <a:pt x="0" y="64"/>
                  </a:moveTo>
                  <a:lnTo>
                    <a:pt x="0" y="62"/>
                  </a:lnTo>
                  <a:lnTo>
                    <a:pt x="0" y="64"/>
                  </a:lnTo>
                  <a:close/>
                  <a:moveTo>
                    <a:pt x="10" y="52"/>
                  </a:moveTo>
                  <a:lnTo>
                    <a:pt x="8" y="54"/>
                  </a:lnTo>
                  <a:lnTo>
                    <a:pt x="8" y="52"/>
                  </a:lnTo>
                  <a:lnTo>
                    <a:pt x="10" y="52"/>
                  </a:lnTo>
                  <a:close/>
                  <a:moveTo>
                    <a:pt x="12" y="52"/>
                  </a:moveTo>
                  <a:lnTo>
                    <a:pt x="12" y="50"/>
                  </a:lnTo>
                  <a:lnTo>
                    <a:pt x="12" y="52"/>
                  </a:lnTo>
                  <a:close/>
                  <a:moveTo>
                    <a:pt x="15" y="50"/>
                  </a:moveTo>
                  <a:lnTo>
                    <a:pt x="15" y="52"/>
                  </a:lnTo>
                  <a:lnTo>
                    <a:pt x="15" y="50"/>
                  </a:lnTo>
                  <a:close/>
                  <a:moveTo>
                    <a:pt x="19" y="50"/>
                  </a:moveTo>
                  <a:lnTo>
                    <a:pt x="19" y="47"/>
                  </a:lnTo>
                  <a:lnTo>
                    <a:pt x="19" y="50"/>
                  </a:lnTo>
                  <a:close/>
                  <a:moveTo>
                    <a:pt x="103" y="50"/>
                  </a:moveTo>
                  <a:lnTo>
                    <a:pt x="103" y="47"/>
                  </a:lnTo>
                  <a:lnTo>
                    <a:pt x="103" y="50"/>
                  </a:lnTo>
                  <a:close/>
                  <a:moveTo>
                    <a:pt x="46" y="47"/>
                  </a:moveTo>
                  <a:lnTo>
                    <a:pt x="46" y="45"/>
                  </a:lnTo>
                  <a:lnTo>
                    <a:pt x="46" y="47"/>
                  </a:lnTo>
                  <a:close/>
                  <a:moveTo>
                    <a:pt x="46" y="45"/>
                  </a:moveTo>
                  <a:lnTo>
                    <a:pt x="43" y="45"/>
                  </a:lnTo>
                  <a:lnTo>
                    <a:pt x="46" y="45"/>
                  </a:lnTo>
                  <a:close/>
                  <a:moveTo>
                    <a:pt x="65" y="45"/>
                  </a:moveTo>
                  <a:lnTo>
                    <a:pt x="65" y="43"/>
                  </a:lnTo>
                  <a:lnTo>
                    <a:pt x="65" y="45"/>
                  </a:lnTo>
                  <a:close/>
                  <a:moveTo>
                    <a:pt x="46" y="43"/>
                  </a:moveTo>
                  <a:lnTo>
                    <a:pt x="46" y="45"/>
                  </a:lnTo>
                  <a:lnTo>
                    <a:pt x="46" y="43"/>
                  </a:lnTo>
                  <a:close/>
                  <a:moveTo>
                    <a:pt x="43" y="43"/>
                  </a:moveTo>
                  <a:lnTo>
                    <a:pt x="43" y="45"/>
                  </a:lnTo>
                  <a:lnTo>
                    <a:pt x="43" y="43"/>
                  </a:lnTo>
                  <a:close/>
                  <a:moveTo>
                    <a:pt x="50" y="43"/>
                  </a:moveTo>
                  <a:lnTo>
                    <a:pt x="53" y="43"/>
                  </a:lnTo>
                  <a:lnTo>
                    <a:pt x="50" y="43"/>
                  </a:lnTo>
                  <a:close/>
                  <a:moveTo>
                    <a:pt x="62" y="40"/>
                  </a:moveTo>
                  <a:lnTo>
                    <a:pt x="65" y="40"/>
                  </a:lnTo>
                  <a:lnTo>
                    <a:pt x="62" y="40"/>
                  </a:lnTo>
                  <a:close/>
                  <a:moveTo>
                    <a:pt x="103" y="38"/>
                  </a:moveTo>
                  <a:lnTo>
                    <a:pt x="103" y="40"/>
                  </a:lnTo>
                  <a:lnTo>
                    <a:pt x="103" y="38"/>
                  </a:lnTo>
                  <a:close/>
                  <a:moveTo>
                    <a:pt x="103" y="40"/>
                  </a:moveTo>
                  <a:lnTo>
                    <a:pt x="103" y="38"/>
                  </a:lnTo>
                  <a:lnTo>
                    <a:pt x="103" y="40"/>
                  </a:lnTo>
                  <a:close/>
                  <a:moveTo>
                    <a:pt x="105" y="38"/>
                  </a:moveTo>
                  <a:lnTo>
                    <a:pt x="103" y="38"/>
                  </a:lnTo>
                  <a:lnTo>
                    <a:pt x="105" y="38"/>
                  </a:lnTo>
                  <a:close/>
                  <a:moveTo>
                    <a:pt x="62" y="38"/>
                  </a:moveTo>
                  <a:lnTo>
                    <a:pt x="60" y="38"/>
                  </a:lnTo>
                  <a:lnTo>
                    <a:pt x="62" y="38"/>
                  </a:lnTo>
                  <a:close/>
                  <a:moveTo>
                    <a:pt x="126" y="9"/>
                  </a:moveTo>
                  <a:lnTo>
                    <a:pt x="124" y="9"/>
                  </a:lnTo>
                  <a:lnTo>
                    <a:pt x="126" y="9"/>
                  </a:lnTo>
                  <a:close/>
                  <a:moveTo>
                    <a:pt x="167" y="2"/>
                  </a:moveTo>
                  <a:lnTo>
                    <a:pt x="167" y="0"/>
                  </a:lnTo>
                  <a:lnTo>
                    <a:pt x="167" y="2"/>
                  </a:lnTo>
                  <a:close/>
                </a:path>
              </a:pathLst>
            </a:custGeom>
            <a:grpFill/>
            <a:ln w="6350">
              <a:solidFill>
                <a:schemeClr val="bg1"/>
              </a:solidFill>
              <a:prstDash val="solid"/>
              <a:round/>
              <a:headEnd/>
              <a:tailEnd/>
            </a:ln>
          </p:spPr>
          <p:txBody>
            <a:bodyPr/>
            <a:lstStyle/>
            <a:p>
              <a:endParaRPr lang="en-US">
                <a:solidFill>
                  <a:srgbClr val="000000"/>
                </a:solidFill>
              </a:endParaRPr>
            </a:p>
          </p:txBody>
        </p:sp>
      </p:grpSp>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a:solidFill>
                  <a:srgbClr val="0F2D69"/>
                </a:solidFill>
                <a:latin typeface="Century Gothic"/>
                <a:cs typeface="Arial"/>
              </a:rPr>
              <a:t>3</a:t>
            </a:r>
            <a:r>
              <a:rPr lang="en-GB" kern="0" dirty="0" smtClean="0">
                <a:solidFill>
                  <a:srgbClr val="0F2D69"/>
                </a:solidFill>
                <a:latin typeface="Century Gothic"/>
                <a:cs typeface="Arial"/>
              </a:rPr>
              <a:t>. </a:t>
            </a:r>
            <a:r>
              <a:rPr lang="en-GB" kern="0" dirty="0" err="1" smtClean="0">
                <a:solidFill>
                  <a:srgbClr val="0F2D69"/>
                </a:solidFill>
                <a:latin typeface="Century Gothic"/>
                <a:cs typeface="Arial"/>
              </a:rPr>
              <a:t>Ambito</a:t>
            </a:r>
            <a:r>
              <a:rPr lang="en-GB" kern="0" dirty="0" smtClean="0">
                <a:solidFill>
                  <a:srgbClr val="0F2D69"/>
                </a:solidFill>
                <a:latin typeface="Century Gothic"/>
                <a:cs typeface="Arial"/>
              </a:rPr>
              <a:t> di </a:t>
            </a:r>
            <a:r>
              <a:rPr lang="en-GB" kern="0" dirty="0" err="1" smtClean="0">
                <a:solidFill>
                  <a:srgbClr val="0F2D69"/>
                </a:solidFill>
                <a:latin typeface="Century Gothic"/>
                <a:cs typeface="Arial"/>
              </a:rPr>
              <a:t>applicazione</a:t>
            </a:r>
            <a:r>
              <a:rPr lang="en-GB" kern="0" dirty="0" smtClean="0">
                <a:solidFill>
                  <a:srgbClr val="0F2D69"/>
                </a:solidFill>
                <a:latin typeface="Century Gothic"/>
                <a:cs typeface="Arial"/>
              </a:rPr>
              <a:t> del </a:t>
            </a:r>
            <a:r>
              <a:rPr lang="en-GB" kern="0" dirty="0" err="1" smtClean="0">
                <a:solidFill>
                  <a:srgbClr val="0F2D69"/>
                </a:solidFill>
                <a:latin typeface="Century Gothic"/>
                <a:cs typeface="Arial"/>
              </a:rPr>
              <a:t>Regolamento</a:t>
            </a:r>
            <a:r>
              <a:rPr lang="en-GB" kern="0" dirty="0" smtClean="0">
                <a:solidFill>
                  <a:srgbClr val="0F2D69"/>
                </a:solidFill>
                <a:latin typeface="Century Gothic"/>
                <a:cs typeface="Arial"/>
              </a:rPr>
              <a:t> UE 2017/625</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6" name="Rectangle 5"/>
          <p:cNvSpPr/>
          <p:nvPr/>
        </p:nvSpPr>
        <p:spPr bwMode="auto">
          <a:xfrm>
            <a:off x="293210" y="774695"/>
            <a:ext cx="11212990" cy="5846614"/>
          </a:xfrm>
          <a:prstGeom prst="rect">
            <a:avLst/>
          </a:prstGeom>
          <a:noFill/>
          <a:ln w="19050" algn="ctr">
            <a:noFill/>
            <a:miter lim="800000"/>
            <a:headEnd/>
            <a:tailEnd/>
          </a:ln>
        </p:spPr>
        <p:txBody>
          <a:bodyPr wrap="square" lIns="88900" tIns="88900" rIns="88900" bIns="88900" rtlCol="0" anchor="t"/>
          <a:lstStyle/>
          <a:p>
            <a:r>
              <a:rPr lang="it-IT" b="1" dirty="0" smtClean="0">
                <a:solidFill>
                  <a:srgbClr val="012169"/>
                </a:solidFill>
                <a:latin typeface="Century Gothic" panose="020B0502020202020204" pitchFamily="34" charset="0"/>
              </a:rPr>
              <a:t>a</a:t>
            </a:r>
            <a:r>
              <a:rPr lang="it-IT" b="1" dirty="0">
                <a:solidFill>
                  <a:srgbClr val="012169"/>
                </a:solidFill>
                <a:latin typeface="Century Gothic" panose="020B0502020202020204" pitchFamily="34" charset="0"/>
              </a:rPr>
              <a:t>)</a:t>
            </a:r>
            <a:r>
              <a:rPr lang="it-IT" dirty="0">
                <a:solidFill>
                  <a:srgbClr val="012169"/>
                </a:solidFill>
                <a:latin typeface="Century Gothic" panose="020B0502020202020204" pitchFamily="34" charset="0"/>
              </a:rPr>
              <a:t> alimenti e sicurezza alimentare, integrità e salubrità in tutte le fasi della produzione, della trasformazione e della distribuzione; </a:t>
            </a:r>
          </a:p>
          <a:p>
            <a:r>
              <a:rPr lang="it-IT" b="1" dirty="0">
                <a:solidFill>
                  <a:srgbClr val="012169"/>
                </a:solidFill>
                <a:latin typeface="Century Gothic" panose="020B0502020202020204" pitchFamily="34" charset="0"/>
              </a:rPr>
              <a:t>b)</a:t>
            </a:r>
            <a:r>
              <a:rPr lang="it-IT" dirty="0">
                <a:solidFill>
                  <a:srgbClr val="012169"/>
                </a:solidFill>
                <a:latin typeface="Century Gothic" panose="020B0502020202020204" pitchFamily="34" charset="0"/>
              </a:rPr>
              <a:t> l’emissione deliberata di organismi geneticamente modificati nell’ambiente per la produzione di alimenti e mangimi; </a:t>
            </a:r>
          </a:p>
          <a:p>
            <a:r>
              <a:rPr lang="it-IT" b="1" dirty="0">
                <a:solidFill>
                  <a:srgbClr val="012169"/>
                </a:solidFill>
                <a:latin typeface="Century Gothic" panose="020B0502020202020204" pitchFamily="34" charset="0"/>
              </a:rPr>
              <a:t>c)</a:t>
            </a:r>
            <a:r>
              <a:rPr lang="it-IT" dirty="0">
                <a:solidFill>
                  <a:srgbClr val="012169"/>
                </a:solidFill>
                <a:latin typeface="Century Gothic" panose="020B0502020202020204" pitchFamily="34" charset="0"/>
              </a:rPr>
              <a:t> mangimi e sicurezza dei mangimi in qualsiasi fase della produzione, della trasformazione, della distribuzione e dell’uso; </a:t>
            </a:r>
          </a:p>
          <a:p>
            <a:r>
              <a:rPr lang="it-IT" b="1" dirty="0">
                <a:solidFill>
                  <a:srgbClr val="012169"/>
                </a:solidFill>
                <a:latin typeface="Century Gothic" panose="020B0502020202020204" pitchFamily="34" charset="0"/>
              </a:rPr>
              <a:t>d)</a:t>
            </a:r>
            <a:r>
              <a:rPr lang="it-IT" dirty="0">
                <a:solidFill>
                  <a:srgbClr val="012169"/>
                </a:solidFill>
                <a:latin typeface="Century Gothic" panose="020B0502020202020204" pitchFamily="34" charset="0"/>
              </a:rPr>
              <a:t> salute e benessere degli animali; </a:t>
            </a:r>
          </a:p>
          <a:p>
            <a:r>
              <a:rPr lang="it-IT" b="1" dirty="0">
                <a:solidFill>
                  <a:srgbClr val="012169"/>
                </a:solidFill>
                <a:latin typeface="Century Gothic" panose="020B0502020202020204" pitchFamily="34" charset="0"/>
              </a:rPr>
              <a:t>e)</a:t>
            </a:r>
            <a:r>
              <a:rPr lang="it-IT" dirty="0">
                <a:solidFill>
                  <a:srgbClr val="012169"/>
                </a:solidFill>
                <a:latin typeface="Century Gothic" panose="020B0502020202020204" pitchFamily="34" charset="0"/>
              </a:rPr>
              <a:t> la prevenzione e la riduzione al minimo dei rischi sanitari per l’uomo e per gli animali derivanti da sottoprodotti di origine animale e prodotti derivati; </a:t>
            </a:r>
          </a:p>
          <a:p>
            <a:r>
              <a:rPr lang="it-IT" b="1" dirty="0">
                <a:solidFill>
                  <a:srgbClr val="012169"/>
                </a:solidFill>
                <a:latin typeface="Century Gothic" panose="020B0502020202020204" pitchFamily="34" charset="0"/>
              </a:rPr>
              <a:t>f)</a:t>
            </a:r>
            <a:r>
              <a:rPr lang="it-IT" dirty="0">
                <a:solidFill>
                  <a:srgbClr val="012169"/>
                </a:solidFill>
                <a:latin typeface="Century Gothic" panose="020B0502020202020204" pitchFamily="34" charset="0"/>
              </a:rPr>
              <a:t> le prescrizioni in materia di benessere degli animali;</a:t>
            </a:r>
          </a:p>
          <a:p>
            <a:r>
              <a:rPr lang="it-IT" b="1" dirty="0">
                <a:solidFill>
                  <a:srgbClr val="012169"/>
                </a:solidFill>
                <a:latin typeface="Century Gothic" panose="020B0502020202020204" pitchFamily="34" charset="0"/>
              </a:rPr>
              <a:t>g)</a:t>
            </a:r>
            <a:r>
              <a:rPr lang="it-IT" dirty="0">
                <a:solidFill>
                  <a:srgbClr val="012169"/>
                </a:solidFill>
                <a:latin typeface="Century Gothic" panose="020B0502020202020204" pitchFamily="34" charset="0"/>
              </a:rPr>
              <a:t> le misure di protezione contro gli organismi nocivi per le piante; </a:t>
            </a:r>
          </a:p>
          <a:p>
            <a:r>
              <a:rPr lang="it-IT" b="1" dirty="0">
                <a:solidFill>
                  <a:srgbClr val="012169"/>
                </a:solidFill>
                <a:latin typeface="Century Gothic" panose="020B0502020202020204" pitchFamily="34" charset="0"/>
              </a:rPr>
              <a:t>h)</a:t>
            </a:r>
            <a:r>
              <a:rPr lang="it-IT" dirty="0">
                <a:solidFill>
                  <a:srgbClr val="012169"/>
                </a:solidFill>
                <a:latin typeface="Century Gothic" panose="020B0502020202020204" pitchFamily="34" charset="0"/>
              </a:rPr>
              <a:t> le prescrizioni per l’immissione in commercio e l’uso di prodotti fitosanitari e l’utilizzo sostenibile dei pesticidi, ad eccezione dell’attrezzatura per l’applicazione di pesticidi</a:t>
            </a:r>
          </a:p>
          <a:p>
            <a:r>
              <a:rPr lang="it-IT" b="1" dirty="0">
                <a:solidFill>
                  <a:srgbClr val="012169"/>
                </a:solidFill>
                <a:latin typeface="Century Gothic" panose="020B0502020202020204" pitchFamily="34" charset="0"/>
              </a:rPr>
              <a:t>i) </a:t>
            </a:r>
            <a:r>
              <a:rPr lang="it-IT" dirty="0">
                <a:solidFill>
                  <a:srgbClr val="012169"/>
                </a:solidFill>
                <a:latin typeface="Century Gothic" panose="020B0502020202020204" pitchFamily="34" charset="0"/>
              </a:rPr>
              <a:t>produzione biologica ed etichettatura di prodotti biologici.</a:t>
            </a:r>
          </a:p>
          <a:p>
            <a:r>
              <a:rPr lang="it-IT" b="1" dirty="0">
                <a:solidFill>
                  <a:srgbClr val="012169"/>
                </a:solidFill>
                <a:latin typeface="Century Gothic" panose="020B0502020202020204" pitchFamily="34" charset="0"/>
              </a:rPr>
              <a:t>j) </a:t>
            </a:r>
            <a:r>
              <a:rPr lang="it-IT" dirty="0">
                <a:solidFill>
                  <a:srgbClr val="012169"/>
                </a:solidFill>
                <a:latin typeface="Century Gothic" panose="020B0502020202020204" pitchFamily="34" charset="0"/>
              </a:rPr>
              <a:t>l’uso e l’etichettatura delle denominazioni di origine protette, delle indicazioni geografiche protette e delle specialità tradizionali garantite</a:t>
            </a:r>
            <a:r>
              <a:rPr lang="it-IT" dirty="0" smtClean="0">
                <a:solidFill>
                  <a:srgbClr val="012169"/>
                </a:solidFill>
                <a:latin typeface="Century Gothic" panose="020B0502020202020204" pitchFamily="34" charset="0"/>
              </a:rPr>
              <a:t>.</a:t>
            </a:r>
          </a:p>
          <a:p>
            <a:endParaRPr lang="it-IT" dirty="0">
              <a:solidFill>
                <a:srgbClr val="012169"/>
              </a:solidFill>
              <a:latin typeface="Century Gothic" panose="020B0502020202020204" pitchFamily="34" charset="0"/>
            </a:endParaRPr>
          </a:p>
          <a:p>
            <a:r>
              <a:rPr lang="it-IT" dirty="0">
                <a:solidFill>
                  <a:srgbClr val="012169"/>
                </a:solidFill>
                <a:latin typeface="Century Gothic" panose="020B0502020202020204" pitchFamily="34" charset="0"/>
              </a:rPr>
              <a:t>Il Regolamento si applica anche alle </a:t>
            </a:r>
            <a:r>
              <a:rPr lang="it-IT" b="1" dirty="0">
                <a:solidFill>
                  <a:srgbClr val="012169"/>
                </a:solidFill>
                <a:latin typeface="Century Gothic" panose="020B0502020202020204" pitchFamily="34" charset="0"/>
              </a:rPr>
              <a:t>importazioni di determinati animali</a:t>
            </a:r>
            <a:r>
              <a:rPr lang="it-IT" dirty="0">
                <a:solidFill>
                  <a:srgbClr val="012169"/>
                </a:solidFill>
                <a:latin typeface="Century Gothic" panose="020B0502020202020204" pitchFamily="34" charset="0"/>
              </a:rPr>
              <a:t>. Sono individuate regole comuni da applicare ai </a:t>
            </a:r>
            <a:r>
              <a:rPr lang="it-IT" b="1" dirty="0">
                <a:solidFill>
                  <a:srgbClr val="012169"/>
                </a:solidFill>
                <a:latin typeface="Century Gothic" panose="020B0502020202020204" pitchFamily="34" charset="0"/>
              </a:rPr>
              <a:t>controlli effettuati alle frontiere su animali, prodotti di origine animale e vegetali che devono essere ispezionati prima di entrare nell’Unione europee</a:t>
            </a:r>
            <a:r>
              <a:rPr lang="it-IT" dirty="0">
                <a:solidFill>
                  <a:srgbClr val="012169"/>
                </a:solidFill>
                <a:latin typeface="Century Gothic" panose="020B0502020202020204" pitchFamily="34" charset="0"/>
              </a:rPr>
              <a:t>. E’ prevista l’applicazione anche alle </a:t>
            </a:r>
            <a:r>
              <a:rPr lang="it-IT" b="1" dirty="0">
                <a:solidFill>
                  <a:srgbClr val="012169"/>
                </a:solidFill>
                <a:latin typeface="Century Gothic" panose="020B0502020202020204" pitchFamily="34" charset="0"/>
              </a:rPr>
              <a:t>merci vendute via Internet</a:t>
            </a:r>
          </a:p>
          <a:p>
            <a:pPr lvl="0"/>
            <a:endParaRPr lang="it-IT" dirty="0">
              <a:solidFill>
                <a:srgbClr val="012169"/>
              </a:solidFill>
              <a:latin typeface="Century Gothic" panose="020B0502020202020204" pitchFamily="34" charset="0"/>
            </a:endParaRPr>
          </a:p>
        </p:txBody>
      </p:sp>
      <p:pic>
        <p:nvPicPr>
          <p:cNvPr id="139" name="Immagine 1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56474"/>
            <a:ext cx="1606338" cy="864951"/>
          </a:xfrm>
          <a:prstGeom prst="rect">
            <a:avLst/>
          </a:prstGeom>
        </p:spPr>
      </p:pic>
    </p:spTree>
    <p:extLst>
      <p:ext uri="{BB962C8B-B14F-4D97-AF65-F5344CB8AC3E}">
        <p14:creationId xmlns:p14="http://schemas.microsoft.com/office/powerpoint/2010/main" val="33459863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kern="0" dirty="0">
                <a:solidFill>
                  <a:srgbClr val="0F2D69"/>
                </a:solidFill>
                <a:latin typeface="Century Gothic"/>
                <a:cs typeface="Arial"/>
              </a:rPr>
              <a:t>4</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Princip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general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pic>
        <p:nvPicPr>
          <p:cNvPr id="6" name="Immagin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3210" y="2106162"/>
            <a:ext cx="4101042" cy="2952750"/>
          </a:xfrm>
          <a:prstGeom prst="rect">
            <a:avLst/>
          </a:prstGeom>
        </p:spPr>
      </p:pic>
      <p:sp>
        <p:nvSpPr>
          <p:cNvPr id="9" name="Rectangle 8"/>
          <p:cNvSpPr/>
          <p:nvPr/>
        </p:nvSpPr>
        <p:spPr bwMode="auto">
          <a:xfrm>
            <a:off x="4904015" y="1062922"/>
            <a:ext cx="5535385" cy="5337878"/>
          </a:xfrm>
          <a:prstGeom prst="rect">
            <a:avLst/>
          </a:prstGeom>
          <a:noFill/>
          <a:ln w="19050" algn="ctr">
            <a:solidFill>
              <a:srgbClr val="812143"/>
            </a:solidFill>
            <a:miter lim="800000"/>
            <a:headEnd/>
            <a:tailEnd/>
          </a:ln>
        </p:spPr>
        <p:txBody>
          <a:bodyPr wrap="square" lIns="88900" tIns="88900" rIns="88900" bIns="88900" rtlCol="0" anchor="t"/>
          <a:lstStyle/>
          <a:p>
            <a:pPr marL="285750" lvl="0" indent="-285750" defTabSz="457200" eaLnBrk="0" fontAlgn="base" hangingPunct="0">
              <a:spcAft>
                <a:spcPct val="0"/>
              </a:spcAft>
              <a:buFont typeface="Wingdings" panose="05000000000000000000" pitchFamily="2" charset="2"/>
              <a:buChar char="v"/>
            </a:pPr>
            <a:r>
              <a:rPr kumimoji="0" lang="it-IT" b="1" i="0"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rPr>
              <a:t> Semplificazione</a:t>
            </a:r>
          </a:p>
          <a:p>
            <a:pPr marL="285750" lvl="0" indent="-285750" defTabSz="457200" eaLnBrk="0" fontAlgn="base" hangingPunct="0">
              <a:spcAft>
                <a:spcPct val="0"/>
              </a:spcAft>
              <a:buFont typeface="Wingdings" panose="05000000000000000000" pitchFamily="2" charset="2"/>
              <a:buChar char="v"/>
            </a:pPr>
            <a:endParaRPr lang="it-IT" b="1" kern="0" dirty="0">
              <a:solidFill>
                <a:srgbClr val="012169"/>
              </a:solidFill>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endParaRPr kumimoji="0" lang="it-IT" b="1" i="0"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r>
              <a:rPr lang="it-IT" b="1" kern="0" dirty="0" smtClean="0">
                <a:solidFill>
                  <a:srgbClr val="012169"/>
                </a:solidFill>
                <a:latin typeface="Century Gothic" panose="020B0502020202020204" pitchFamily="34" charset="0"/>
                <a:cs typeface="Arial" panose="020B0604020202020204" pitchFamily="34" charset="0"/>
              </a:rPr>
              <a:t>Armonizzazione</a:t>
            </a:r>
          </a:p>
          <a:p>
            <a:pPr marL="285750" lvl="0" indent="-285750" defTabSz="457200" eaLnBrk="0" fontAlgn="base" hangingPunct="0">
              <a:spcAft>
                <a:spcPct val="0"/>
              </a:spcAft>
              <a:buFont typeface="Wingdings" panose="05000000000000000000" pitchFamily="2" charset="2"/>
              <a:buChar char="v"/>
            </a:pPr>
            <a:endParaRPr kumimoji="0" lang="it-IT" b="1" i="0" u="none" strike="noStrike" kern="0" cap="none" spc="0" normalizeH="0" baseline="0" noProof="0" dirty="0">
              <a:ln>
                <a:noFill/>
              </a:ln>
              <a:solidFill>
                <a:srgbClr val="012169"/>
              </a:solidFill>
              <a:effectLst/>
              <a:uLnTx/>
              <a:uFillTx/>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endParaRPr lang="it-IT" b="1" kern="0" dirty="0" smtClean="0">
              <a:solidFill>
                <a:srgbClr val="012169"/>
              </a:solidFill>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r>
              <a:rPr kumimoji="0" lang="it-IT" b="1" i="0"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rPr>
              <a:t>Efficienza</a:t>
            </a:r>
          </a:p>
          <a:p>
            <a:pPr marL="285750" lvl="0" indent="-285750" defTabSz="457200" eaLnBrk="0" fontAlgn="base" hangingPunct="0">
              <a:spcAft>
                <a:spcPct val="0"/>
              </a:spcAft>
              <a:buFont typeface="Wingdings" panose="05000000000000000000" pitchFamily="2" charset="2"/>
              <a:buChar char="v"/>
            </a:pPr>
            <a:endParaRPr lang="it-IT" b="1" kern="0" dirty="0">
              <a:solidFill>
                <a:srgbClr val="012169"/>
              </a:solidFill>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endParaRPr kumimoji="0" lang="it-IT" b="1" i="0"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r>
              <a:rPr lang="it-IT" b="1" kern="0" dirty="0" smtClean="0">
                <a:solidFill>
                  <a:srgbClr val="012169"/>
                </a:solidFill>
                <a:latin typeface="Century Gothic" panose="020B0502020202020204" pitchFamily="34" charset="0"/>
                <a:cs typeface="Arial" panose="020B0604020202020204" pitchFamily="34" charset="0"/>
              </a:rPr>
              <a:t>Trasparenza</a:t>
            </a:r>
          </a:p>
          <a:p>
            <a:pPr marL="285750" lvl="0" indent="-285750" defTabSz="457200" eaLnBrk="0" fontAlgn="base" hangingPunct="0">
              <a:spcAft>
                <a:spcPct val="0"/>
              </a:spcAft>
              <a:buFont typeface="Wingdings" panose="05000000000000000000" pitchFamily="2" charset="2"/>
              <a:buChar char="v"/>
            </a:pPr>
            <a:endParaRPr kumimoji="0" lang="it-IT" b="1" i="0" u="none" strike="noStrike" kern="0" cap="none" spc="0" normalizeH="0" baseline="0" noProof="0" dirty="0">
              <a:ln>
                <a:noFill/>
              </a:ln>
              <a:solidFill>
                <a:srgbClr val="012169"/>
              </a:solidFill>
              <a:effectLst/>
              <a:uLnTx/>
              <a:uFillTx/>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endParaRPr lang="it-IT" b="1" kern="0" dirty="0" smtClean="0">
              <a:solidFill>
                <a:srgbClr val="012169"/>
              </a:solidFill>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r>
              <a:rPr kumimoji="0" lang="it-IT" b="1" i="0"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rPr>
              <a:t>Mantenimento dell’approccio </a:t>
            </a:r>
            <a:r>
              <a:rPr kumimoji="0" lang="it-IT" b="1" i="1" u="none" strike="noStrike" kern="0" cap="none" spc="0" normalizeH="0" baseline="0" noProof="0" dirty="0" err="1" smtClean="0">
                <a:ln>
                  <a:noFill/>
                </a:ln>
                <a:solidFill>
                  <a:srgbClr val="012169"/>
                </a:solidFill>
                <a:effectLst/>
                <a:uLnTx/>
                <a:uFillTx/>
                <a:latin typeface="Century Gothic" panose="020B0502020202020204" pitchFamily="34" charset="0"/>
                <a:cs typeface="Arial" panose="020B0604020202020204" pitchFamily="34" charset="0"/>
              </a:rPr>
              <a:t>risk</a:t>
            </a:r>
            <a:r>
              <a:rPr kumimoji="0" lang="it-IT" b="1" i="1"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rPr>
              <a:t> </a:t>
            </a:r>
            <a:r>
              <a:rPr kumimoji="0" lang="it-IT" b="1" i="1" u="none" strike="noStrike" kern="0" cap="none" spc="0" normalizeH="0" baseline="0" noProof="0" dirty="0" err="1" smtClean="0">
                <a:ln>
                  <a:noFill/>
                </a:ln>
                <a:solidFill>
                  <a:srgbClr val="012169"/>
                </a:solidFill>
                <a:effectLst/>
                <a:uLnTx/>
                <a:uFillTx/>
                <a:latin typeface="Century Gothic" panose="020B0502020202020204" pitchFamily="34" charset="0"/>
                <a:cs typeface="Arial" panose="020B0604020202020204" pitchFamily="34" charset="0"/>
              </a:rPr>
              <a:t>based</a:t>
            </a:r>
            <a:endParaRPr kumimoji="0" lang="it-IT" b="1" i="1"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endParaRPr lang="it-IT" b="1" i="1" kern="0" dirty="0">
              <a:solidFill>
                <a:srgbClr val="012169"/>
              </a:solidFill>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endParaRPr kumimoji="0" lang="it-IT" b="1" i="1"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endParaRPr>
          </a:p>
          <a:p>
            <a:pPr marL="285750" lvl="0" indent="-285750" defTabSz="457200" eaLnBrk="0" fontAlgn="base" hangingPunct="0">
              <a:spcAft>
                <a:spcPct val="0"/>
              </a:spcAft>
              <a:buFont typeface="Wingdings" panose="05000000000000000000" pitchFamily="2" charset="2"/>
              <a:buChar char="v"/>
            </a:pPr>
            <a:r>
              <a:rPr lang="it-IT" b="1" kern="0" dirty="0" smtClean="0">
                <a:solidFill>
                  <a:srgbClr val="012169"/>
                </a:solidFill>
                <a:latin typeface="Century Gothic" panose="020B0502020202020204" pitchFamily="34" charset="0"/>
                <a:cs typeface="Arial" panose="020B0604020202020204" pitchFamily="34" charset="0"/>
              </a:rPr>
              <a:t>Approccio integrato lungo tutta la filiera</a:t>
            </a:r>
            <a:endParaRPr kumimoji="0" lang="it-IT" b="1" u="none" strike="noStrike" kern="0" cap="none" spc="0" normalizeH="0" baseline="0" noProof="0" dirty="0" smtClean="0">
              <a:ln>
                <a:noFill/>
              </a:ln>
              <a:solidFill>
                <a:srgbClr val="012169"/>
              </a:solidFill>
              <a:effectLst/>
              <a:uLnTx/>
              <a:uFillTx/>
              <a:latin typeface="Century Gothic" panose="020B0502020202020204" pitchFamily="34" charset="0"/>
              <a:cs typeface="Arial" panose="020B0604020202020204" pitchFamily="34" charset="0"/>
            </a:endParaRPr>
          </a:p>
        </p:txBody>
      </p:sp>
      <p:pic>
        <p:nvPicPr>
          <p:cNvPr id="5" name="Immagin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85662" y="56474"/>
            <a:ext cx="1606338" cy="864951"/>
          </a:xfrm>
          <a:prstGeom prst="rect">
            <a:avLst/>
          </a:prstGeom>
        </p:spPr>
      </p:pic>
    </p:spTree>
    <p:extLst>
      <p:ext uri="{BB962C8B-B14F-4D97-AF65-F5344CB8AC3E}">
        <p14:creationId xmlns:p14="http://schemas.microsoft.com/office/powerpoint/2010/main" val="1870357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5. I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soggetti</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3" name="CasellaDiTesto 2"/>
          <p:cNvSpPr txBox="1"/>
          <p:nvPr/>
        </p:nvSpPr>
        <p:spPr>
          <a:xfrm>
            <a:off x="514350" y="1066032"/>
            <a:ext cx="9963149" cy="5078313"/>
          </a:xfrm>
          <a:prstGeom prst="rect">
            <a:avLst/>
          </a:prstGeom>
          <a:noFill/>
          <a:ln>
            <a:solidFill>
              <a:srgbClr val="012169"/>
            </a:solidFill>
          </a:ln>
        </p:spPr>
        <p:txBody>
          <a:bodyPr wrap="square" rtlCol="0">
            <a:spAutoFit/>
          </a:bodyPr>
          <a:lstStyle/>
          <a:p>
            <a:r>
              <a:rPr lang="it-IT" b="1" dirty="0" smtClean="0">
                <a:solidFill>
                  <a:srgbClr val="012169"/>
                </a:solidFill>
                <a:latin typeface="Century Gothic" panose="020B0502020202020204" pitchFamily="34" charset="0"/>
              </a:rPr>
              <a:t>Autorità competente</a:t>
            </a:r>
          </a:p>
          <a:p>
            <a:pPr marL="285750" indent="-285750">
              <a:buFontTx/>
              <a:buChar char="-"/>
            </a:pPr>
            <a:r>
              <a:rPr lang="it-IT" dirty="0" smtClean="0">
                <a:solidFill>
                  <a:srgbClr val="012169"/>
                </a:solidFill>
                <a:latin typeface="Century Gothic" panose="020B0502020202020204" pitchFamily="34" charset="0"/>
              </a:rPr>
              <a:t>le </a:t>
            </a:r>
            <a:r>
              <a:rPr lang="it-IT" dirty="0">
                <a:solidFill>
                  <a:srgbClr val="012169"/>
                </a:solidFill>
                <a:latin typeface="Century Gothic" panose="020B0502020202020204" pitchFamily="34" charset="0"/>
              </a:rPr>
              <a:t>autorità centrali di uno Stato membro responsabili di organizzare controlli ufficiali e altre attività ufficiali, in conformità al presente regolamento e alle norme di cui all’articolo 1, paragrafo 2; </a:t>
            </a:r>
          </a:p>
          <a:p>
            <a:pPr marL="285750" indent="-285750">
              <a:buFontTx/>
              <a:buChar char="-"/>
            </a:pPr>
            <a:r>
              <a:rPr lang="it-IT" dirty="0" smtClean="0">
                <a:solidFill>
                  <a:srgbClr val="012169"/>
                </a:solidFill>
                <a:latin typeface="Century Gothic" panose="020B0502020202020204" pitchFamily="34" charset="0"/>
              </a:rPr>
              <a:t>qualsiasi </a:t>
            </a:r>
            <a:r>
              <a:rPr lang="it-IT" dirty="0">
                <a:solidFill>
                  <a:srgbClr val="012169"/>
                </a:solidFill>
                <a:latin typeface="Century Gothic" panose="020B0502020202020204" pitchFamily="34" charset="0"/>
              </a:rPr>
              <a:t>altra autorità cui è stata conferita tale competenza; c) secondo i casi, le autorità corrispondenti di un paese terzo </a:t>
            </a:r>
            <a:endParaRPr lang="it-IT" dirty="0" smtClean="0">
              <a:solidFill>
                <a:srgbClr val="012169"/>
              </a:solidFill>
              <a:latin typeface="Century Gothic" panose="020B0502020202020204" pitchFamily="34" charset="0"/>
            </a:endParaRPr>
          </a:p>
          <a:p>
            <a:pPr marL="285750" indent="-285750">
              <a:buFontTx/>
              <a:buChar char="-"/>
            </a:pPr>
            <a:endParaRPr lang="it-IT" dirty="0" smtClean="0">
              <a:solidFill>
                <a:srgbClr val="012169"/>
              </a:solidFill>
              <a:latin typeface="Century Gothic" panose="020B0502020202020204" pitchFamily="34" charset="0"/>
            </a:endParaRPr>
          </a:p>
          <a:p>
            <a:r>
              <a:rPr lang="it-IT" b="1" dirty="0" smtClean="0">
                <a:solidFill>
                  <a:srgbClr val="012169"/>
                </a:solidFill>
                <a:latin typeface="Century Gothic" panose="020B0502020202020204" pitchFamily="34" charset="0"/>
              </a:rPr>
              <a:t>Organismo delegato </a:t>
            </a:r>
          </a:p>
          <a:p>
            <a:r>
              <a:rPr lang="it-IT" dirty="0" smtClean="0">
                <a:solidFill>
                  <a:srgbClr val="012169"/>
                </a:solidFill>
                <a:latin typeface="Century Gothic" panose="020B0502020202020204" pitchFamily="34" charset="0"/>
              </a:rPr>
              <a:t>Una </a:t>
            </a:r>
            <a:r>
              <a:rPr lang="it-IT" dirty="0">
                <a:solidFill>
                  <a:srgbClr val="012169"/>
                </a:solidFill>
                <a:latin typeface="Century Gothic" panose="020B0502020202020204" pitchFamily="34" charset="0"/>
              </a:rPr>
              <a:t>persona giuridica distinta alla quale le autorità competenti hanno delegato determinati compiti riguardanti i controlli ufficiali o determinati compiti riguardanti altre attività ufficiali</a:t>
            </a:r>
            <a:endParaRPr lang="it-IT" dirty="0" smtClean="0">
              <a:solidFill>
                <a:srgbClr val="012169"/>
              </a:solidFill>
              <a:latin typeface="Century Gothic" panose="020B0502020202020204" pitchFamily="34" charset="0"/>
            </a:endParaRPr>
          </a:p>
          <a:p>
            <a:endParaRPr lang="it-IT" dirty="0">
              <a:solidFill>
                <a:srgbClr val="012169"/>
              </a:solidFill>
              <a:latin typeface="Century Gothic" panose="020B0502020202020204" pitchFamily="34" charset="0"/>
            </a:endParaRPr>
          </a:p>
          <a:p>
            <a:r>
              <a:rPr lang="it-IT" b="1" dirty="0" smtClean="0">
                <a:solidFill>
                  <a:srgbClr val="012169"/>
                </a:solidFill>
                <a:latin typeface="Century Gothic" panose="020B0502020202020204" pitchFamily="34" charset="0"/>
              </a:rPr>
              <a:t>Operatore</a:t>
            </a:r>
          </a:p>
          <a:p>
            <a:r>
              <a:rPr lang="it-IT" dirty="0">
                <a:solidFill>
                  <a:srgbClr val="012169"/>
                </a:solidFill>
                <a:latin typeface="Century Gothic" panose="020B0502020202020204" pitchFamily="34" charset="0"/>
              </a:rPr>
              <a:t>Qualsiasi persona fisica o giuridica soggetta a uno o più obblighi previsti dalla normativa richiamata dal Regolamento.</a:t>
            </a:r>
          </a:p>
          <a:p>
            <a:endParaRPr lang="it-IT" dirty="0"/>
          </a:p>
          <a:p>
            <a:endParaRPr lang="it-IT" dirty="0" smtClean="0"/>
          </a:p>
          <a:p>
            <a:endParaRPr lang="it-IT" dirty="0"/>
          </a:p>
        </p:txBody>
      </p:sp>
      <p:pic>
        <p:nvPicPr>
          <p:cNvPr id="5" name="Immagin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56474"/>
            <a:ext cx="1606338" cy="864951"/>
          </a:xfrm>
          <a:prstGeom prst="rect">
            <a:avLst/>
          </a:prstGeom>
        </p:spPr>
      </p:pic>
    </p:spTree>
    <p:extLst>
      <p:ext uri="{BB962C8B-B14F-4D97-AF65-F5344CB8AC3E}">
        <p14:creationId xmlns:p14="http://schemas.microsoft.com/office/powerpoint/2010/main" val="31722158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lvl="0"/>
            <a:r>
              <a:rPr lang="en-GB" kern="0" dirty="0" smtClean="0">
                <a:solidFill>
                  <a:srgbClr val="0F2D69"/>
                </a:solidFill>
                <a:latin typeface="Century Gothic"/>
                <a:cs typeface="Arial"/>
              </a:rPr>
              <a:t>6. I </a:t>
            </a:r>
            <a:r>
              <a:rPr lang="en-GB" kern="0" dirty="0" err="1" smtClean="0">
                <a:solidFill>
                  <a:srgbClr val="0F2D69"/>
                </a:solidFill>
                <a:latin typeface="Century Gothic"/>
                <a:cs typeface="Arial"/>
              </a:rPr>
              <a:t>metodi</a:t>
            </a:r>
            <a:r>
              <a:rPr lang="en-GB" kern="0" dirty="0" smtClean="0">
                <a:solidFill>
                  <a:srgbClr val="0F2D69"/>
                </a:solidFill>
                <a:latin typeface="Century Gothic"/>
                <a:cs typeface="Arial"/>
              </a:rPr>
              <a:t> di </a:t>
            </a:r>
            <a:r>
              <a:rPr lang="en-GB" kern="0" dirty="0" err="1" smtClean="0">
                <a:solidFill>
                  <a:srgbClr val="0F2D69"/>
                </a:solidFill>
                <a:latin typeface="Century Gothic"/>
                <a:cs typeface="Arial"/>
              </a:rPr>
              <a:t>campionamento</a:t>
            </a:r>
            <a:r>
              <a:rPr lang="en-GB" kern="0" dirty="0" smtClean="0">
                <a:solidFill>
                  <a:srgbClr val="0F2D69"/>
                </a:solidFill>
                <a:latin typeface="Century Gothic"/>
                <a:cs typeface="Arial"/>
              </a:rPr>
              <a:t>, </a:t>
            </a:r>
            <a:r>
              <a:rPr lang="en-GB" kern="0" dirty="0" err="1" smtClean="0">
                <a:solidFill>
                  <a:srgbClr val="0F2D69"/>
                </a:solidFill>
                <a:latin typeface="Century Gothic"/>
                <a:cs typeface="Arial"/>
              </a:rPr>
              <a:t>analisi</a:t>
            </a:r>
            <a:r>
              <a:rPr lang="en-GB" kern="0" dirty="0" smtClean="0">
                <a:solidFill>
                  <a:srgbClr val="0F2D69"/>
                </a:solidFill>
                <a:latin typeface="Century Gothic"/>
                <a:cs typeface="Arial"/>
              </a:rPr>
              <a:t>, test e </a:t>
            </a:r>
            <a:r>
              <a:rPr lang="en-GB" kern="0" dirty="0" err="1" smtClean="0">
                <a:solidFill>
                  <a:srgbClr val="0F2D69"/>
                </a:solidFill>
                <a:latin typeface="Century Gothic"/>
                <a:cs typeface="Arial"/>
              </a:rPr>
              <a:t>diagnosi</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8" name="Freeform 7"/>
          <p:cNvSpPr/>
          <p:nvPr/>
        </p:nvSpPr>
        <p:spPr>
          <a:xfrm>
            <a:off x="293209" y="3018422"/>
            <a:ext cx="640241" cy="315116"/>
          </a:xfrm>
          <a:custGeom>
            <a:avLst/>
            <a:gdLst>
              <a:gd name="connsiteX0" fmla="*/ 0 w 1153508"/>
              <a:gd name="connsiteY0" fmla="*/ 0 h 807455"/>
              <a:gd name="connsiteX1" fmla="*/ 749781 w 1153508"/>
              <a:gd name="connsiteY1" fmla="*/ 0 h 807455"/>
              <a:gd name="connsiteX2" fmla="*/ 1153508 w 1153508"/>
              <a:gd name="connsiteY2" fmla="*/ 403728 h 807455"/>
              <a:gd name="connsiteX3" fmla="*/ 749781 w 1153508"/>
              <a:gd name="connsiteY3" fmla="*/ 807455 h 807455"/>
              <a:gd name="connsiteX4" fmla="*/ 0 w 1153508"/>
              <a:gd name="connsiteY4" fmla="*/ 807455 h 807455"/>
              <a:gd name="connsiteX5" fmla="*/ 403728 w 1153508"/>
              <a:gd name="connsiteY5" fmla="*/ 403728 h 807455"/>
              <a:gd name="connsiteX6" fmla="*/ 0 w 1153508"/>
              <a:gd name="connsiteY6" fmla="*/ 0 h 80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3508" h="807455">
                <a:moveTo>
                  <a:pt x="1153507" y="0"/>
                </a:moveTo>
                <a:lnTo>
                  <a:pt x="1153507" y="524846"/>
                </a:lnTo>
                <a:lnTo>
                  <a:pt x="576753" y="807455"/>
                </a:lnTo>
                <a:lnTo>
                  <a:pt x="1" y="524846"/>
                </a:lnTo>
                <a:lnTo>
                  <a:pt x="1" y="0"/>
                </a:lnTo>
                <a:lnTo>
                  <a:pt x="576753" y="282609"/>
                </a:lnTo>
                <a:lnTo>
                  <a:pt x="1153507" y="0"/>
                </a:lnTo>
                <a:close/>
              </a:path>
            </a:pathLst>
          </a:custGeom>
          <a:solidFill>
            <a:srgbClr val="812143"/>
          </a:solidFill>
          <a:ln w="19050" cap="rnd" cmpd="sng" algn="ctr">
            <a:solidFill>
              <a:srgbClr val="812143"/>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971" tIns="417699" rIns="13970" bIns="417697" numCol="1" spcCol="1270" anchor="ctr" anchorCtr="0">
            <a:noAutofit/>
          </a:bodyPr>
          <a:lstStyle/>
          <a:p>
            <a:pPr lvl="0" algn="ctr" defTabSz="977900">
              <a:lnSpc>
                <a:spcPct val="90000"/>
              </a:lnSpc>
              <a:spcBef>
                <a:spcPct val="0"/>
              </a:spcBef>
              <a:spcAft>
                <a:spcPct val="35000"/>
              </a:spcAft>
            </a:pPr>
            <a:endParaRPr lang="it-IT" sz="2200" b="1" kern="1200" dirty="0">
              <a:solidFill>
                <a:sysClr val="window" lastClr="FFFFFF"/>
              </a:solidFill>
              <a:latin typeface="Century Gothic" panose="020B0502020202020204" pitchFamily="34" charset="0"/>
              <a:ea typeface="+mn-ea"/>
              <a:cs typeface="+mn-cs"/>
            </a:endParaRPr>
          </a:p>
        </p:txBody>
      </p:sp>
      <p:sp>
        <p:nvSpPr>
          <p:cNvPr id="9" name="Freeform 8"/>
          <p:cNvSpPr/>
          <p:nvPr/>
        </p:nvSpPr>
        <p:spPr>
          <a:xfrm>
            <a:off x="293208" y="1129974"/>
            <a:ext cx="10260492" cy="1327476"/>
          </a:xfrm>
          <a:custGeom>
            <a:avLst/>
            <a:gdLst>
              <a:gd name="connsiteX0" fmla="*/ 124966 w 749780"/>
              <a:gd name="connsiteY0" fmla="*/ 0 h 10605781"/>
              <a:gd name="connsiteX1" fmla="*/ 624814 w 749780"/>
              <a:gd name="connsiteY1" fmla="*/ 0 h 10605781"/>
              <a:gd name="connsiteX2" fmla="*/ 749780 w 749780"/>
              <a:gd name="connsiteY2" fmla="*/ 124966 h 10605781"/>
              <a:gd name="connsiteX3" fmla="*/ 749780 w 749780"/>
              <a:gd name="connsiteY3" fmla="*/ 10605781 h 10605781"/>
              <a:gd name="connsiteX4" fmla="*/ 749780 w 749780"/>
              <a:gd name="connsiteY4" fmla="*/ 10605781 h 10605781"/>
              <a:gd name="connsiteX5" fmla="*/ 0 w 749780"/>
              <a:gd name="connsiteY5" fmla="*/ 10605781 h 10605781"/>
              <a:gd name="connsiteX6" fmla="*/ 0 w 749780"/>
              <a:gd name="connsiteY6" fmla="*/ 10605781 h 10605781"/>
              <a:gd name="connsiteX7" fmla="*/ 0 w 749780"/>
              <a:gd name="connsiteY7" fmla="*/ 124966 h 10605781"/>
              <a:gd name="connsiteX8" fmla="*/ 124966 w 749780"/>
              <a:gd name="connsiteY8" fmla="*/ 0 h 1060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780" h="10605781">
                <a:moveTo>
                  <a:pt x="749780" y="1767673"/>
                </a:moveTo>
                <a:lnTo>
                  <a:pt x="749780" y="8838108"/>
                </a:lnTo>
                <a:cubicBezTo>
                  <a:pt x="749780" y="9814366"/>
                  <a:pt x="745825" y="10605774"/>
                  <a:pt x="740945" y="10605774"/>
                </a:cubicBezTo>
                <a:lnTo>
                  <a:pt x="0" y="10605774"/>
                </a:lnTo>
                <a:lnTo>
                  <a:pt x="0" y="10605774"/>
                </a:lnTo>
                <a:lnTo>
                  <a:pt x="0" y="7"/>
                </a:lnTo>
                <a:lnTo>
                  <a:pt x="0" y="7"/>
                </a:lnTo>
                <a:lnTo>
                  <a:pt x="740945" y="7"/>
                </a:lnTo>
                <a:cubicBezTo>
                  <a:pt x="745825" y="7"/>
                  <a:pt x="749780" y="791415"/>
                  <a:pt x="749780" y="1767673"/>
                </a:cubicBezTo>
                <a:close/>
              </a:path>
            </a:pathLst>
          </a:custGeom>
          <a:solidFill>
            <a:sysClr val="window" lastClr="FFFFFF">
              <a:alpha val="90000"/>
              <a:hueOff val="0"/>
              <a:satOff val="0"/>
              <a:lumOff val="0"/>
              <a:alphaOff val="0"/>
            </a:sysClr>
          </a:solidFill>
          <a:ln w="19050" cap="rnd" cmpd="sng" algn="ctr">
            <a:solidFill>
              <a:srgbClr val="812143"/>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78233" tIns="43586" rIns="43586" bIns="43587" numCol="1" spcCol="1270" anchor="ctr" anchorCtr="0">
            <a:noAutofit/>
          </a:bodyPr>
          <a:lstStyle/>
          <a:p>
            <a:pPr marL="0" lvl="1" defTabSz="488950">
              <a:lnSpc>
                <a:spcPct val="90000"/>
              </a:lnSpc>
              <a:spcBef>
                <a:spcPct val="0"/>
              </a:spcBef>
              <a:spcAft>
                <a:spcPct val="15000"/>
              </a:spcAft>
            </a:pPr>
            <a:r>
              <a:rPr lang="it-IT" b="1" kern="1200" dirty="0" smtClean="0">
                <a:solidFill>
                  <a:srgbClr val="012169"/>
                </a:solidFill>
                <a:latin typeface="Century Gothic" panose="020B0502020202020204" pitchFamily="34" charset="0"/>
              </a:rPr>
              <a:t>Il Regolamento 2018/625 </a:t>
            </a:r>
            <a:r>
              <a:rPr lang="it-IT" dirty="0">
                <a:solidFill>
                  <a:srgbClr val="012169"/>
                </a:solidFill>
                <a:latin typeface="Century Gothic" panose="020B0502020202020204" pitchFamily="34" charset="0"/>
              </a:rPr>
              <a:t>fornisce maggiore chiarezza sui metodi di campionamento, analisi, test e diagnosi applicabili ai controlli ufficiali ed altre attività ufficiali in tutti i settori ed effettuati secondo un </a:t>
            </a:r>
            <a:r>
              <a:rPr lang="it-IT" b="1" dirty="0">
                <a:solidFill>
                  <a:srgbClr val="012169"/>
                </a:solidFill>
                <a:latin typeface="Century Gothic" panose="020B0502020202020204" pitchFamily="34" charset="0"/>
              </a:rPr>
              <a:t>sistema a cascata </a:t>
            </a:r>
            <a:r>
              <a:rPr lang="it-IT" dirty="0">
                <a:solidFill>
                  <a:srgbClr val="012169"/>
                </a:solidFill>
                <a:latin typeface="Century Gothic" panose="020B0502020202020204" pitchFamily="34" charset="0"/>
              </a:rPr>
              <a:t>con regole e protocolli </a:t>
            </a:r>
            <a:r>
              <a:rPr lang="it-IT" b="1" dirty="0">
                <a:solidFill>
                  <a:srgbClr val="012169"/>
                </a:solidFill>
                <a:latin typeface="Century Gothic" panose="020B0502020202020204" pitchFamily="34" charset="0"/>
              </a:rPr>
              <a:t>da applicare in ordine di priorità</a:t>
            </a:r>
            <a:r>
              <a:rPr lang="it-IT" dirty="0">
                <a:solidFill>
                  <a:srgbClr val="012169"/>
                </a:solidFill>
                <a:latin typeface="Century Gothic" panose="020B0502020202020204" pitchFamily="34" charset="0"/>
              </a:rPr>
              <a:t>. </a:t>
            </a:r>
            <a:r>
              <a:rPr lang="it-IT" b="1" dirty="0">
                <a:solidFill>
                  <a:srgbClr val="012169"/>
                </a:solidFill>
                <a:latin typeface="Century Gothic" panose="020B0502020202020204" pitchFamily="34" charset="0"/>
              </a:rPr>
              <a:t>Se un metodo o regola non esiste per un caso specifico, viene applicata la successiva nella gerarchia e così via</a:t>
            </a:r>
            <a:r>
              <a:rPr lang="it-IT" dirty="0">
                <a:solidFill>
                  <a:srgbClr val="012169"/>
                </a:solidFill>
                <a:latin typeface="Century Gothic" panose="020B0502020202020204" pitchFamily="34" charset="0"/>
              </a:rPr>
              <a:t>. La nuova cascata di metodi ha il seguente </a:t>
            </a:r>
            <a:r>
              <a:rPr lang="it-IT" dirty="0" smtClean="0">
                <a:solidFill>
                  <a:srgbClr val="012169"/>
                </a:solidFill>
                <a:latin typeface="Century Gothic" panose="020B0502020202020204" pitchFamily="34" charset="0"/>
              </a:rPr>
              <a:t>ordine</a:t>
            </a:r>
            <a:endParaRPr lang="it-IT" b="1" kern="1200" dirty="0">
              <a:solidFill>
                <a:srgbClr val="012169"/>
              </a:solidFill>
              <a:latin typeface="Century Gothic" panose="020B0502020202020204" pitchFamily="34" charset="0"/>
            </a:endParaRPr>
          </a:p>
        </p:txBody>
      </p:sp>
      <p:sp>
        <p:nvSpPr>
          <p:cNvPr id="21" name="Freeform 7"/>
          <p:cNvSpPr/>
          <p:nvPr/>
        </p:nvSpPr>
        <p:spPr>
          <a:xfrm>
            <a:off x="293206" y="3930146"/>
            <a:ext cx="640241" cy="315116"/>
          </a:xfrm>
          <a:custGeom>
            <a:avLst/>
            <a:gdLst>
              <a:gd name="connsiteX0" fmla="*/ 0 w 1153508"/>
              <a:gd name="connsiteY0" fmla="*/ 0 h 807455"/>
              <a:gd name="connsiteX1" fmla="*/ 749781 w 1153508"/>
              <a:gd name="connsiteY1" fmla="*/ 0 h 807455"/>
              <a:gd name="connsiteX2" fmla="*/ 1153508 w 1153508"/>
              <a:gd name="connsiteY2" fmla="*/ 403728 h 807455"/>
              <a:gd name="connsiteX3" fmla="*/ 749781 w 1153508"/>
              <a:gd name="connsiteY3" fmla="*/ 807455 h 807455"/>
              <a:gd name="connsiteX4" fmla="*/ 0 w 1153508"/>
              <a:gd name="connsiteY4" fmla="*/ 807455 h 807455"/>
              <a:gd name="connsiteX5" fmla="*/ 403728 w 1153508"/>
              <a:gd name="connsiteY5" fmla="*/ 403728 h 807455"/>
              <a:gd name="connsiteX6" fmla="*/ 0 w 1153508"/>
              <a:gd name="connsiteY6" fmla="*/ 0 h 80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3508" h="807455">
                <a:moveTo>
                  <a:pt x="1153507" y="0"/>
                </a:moveTo>
                <a:lnTo>
                  <a:pt x="1153507" y="524846"/>
                </a:lnTo>
                <a:lnTo>
                  <a:pt x="576753" y="807455"/>
                </a:lnTo>
                <a:lnTo>
                  <a:pt x="1" y="524846"/>
                </a:lnTo>
                <a:lnTo>
                  <a:pt x="1" y="0"/>
                </a:lnTo>
                <a:lnTo>
                  <a:pt x="576753" y="282609"/>
                </a:lnTo>
                <a:lnTo>
                  <a:pt x="1153507" y="0"/>
                </a:lnTo>
                <a:close/>
              </a:path>
            </a:pathLst>
          </a:custGeom>
          <a:solidFill>
            <a:srgbClr val="812143"/>
          </a:solidFill>
          <a:ln w="19050" cap="rnd" cmpd="sng" algn="ctr">
            <a:solidFill>
              <a:srgbClr val="812143"/>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971" tIns="417699" rIns="13970" bIns="417697" numCol="1" spcCol="1270" anchor="ctr" anchorCtr="0">
            <a:noAutofit/>
          </a:bodyPr>
          <a:lstStyle/>
          <a:p>
            <a:pPr lvl="0" algn="ctr" defTabSz="977900">
              <a:lnSpc>
                <a:spcPct val="90000"/>
              </a:lnSpc>
              <a:spcBef>
                <a:spcPct val="0"/>
              </a:spcBef>
              <a:spcAft>
                <a:spcPct val="35000"/>
              </a:spcAft>
            </a:pPr>
            <a:endParaRPr lang="it-IT" sz="2200" b="1" kern="1200" dirty="0">
              <a:solidFill>
                <a:sysClr val="window" lastClr="FFFFFF"/>
              </a:solidFill>
              <a:latin typeface="Century Gothic" panose="020B0502020202020204" pitchFamily="34" charset="0"/>
              <a:ea typeface="+mn-ea"/>
              <a:cs typeface="+mn-cs"/>
            </a:endParaRPr>
          </a:p>
        </p:txBody>
      </p:sp>
      <p:sp>
        <p:nvSpPr>
          <p:cNvPr id="22" name="Freeform 7"/>
          <p:cNvSpPr/>
          <p:nvPr/>
        </p:nvSpPr>
        <p:spPr>
          <a:xfrm>
            <a:off x="293207" y="4783990"/>
            <a:ext cx="640241" cy="315116"/>
          </a:xfrm>
          <a:custGeom>
            <a:avLst/>
            <a:gdLst>
              <a:gd name="connsiteX0" fmla="*/ 0 w 1153508"/>
              <a:gd name="connsiteY0" fmla="*/ 0 h 807455"/>
              <a:gd name="connsiteX1" fmla="*/ 749781 w 1153508"/>
              <a:gd name="connsiteY1" fmla="*/ 0 h 807455"/>
              <a:gd name="connsiteX2" fmla="*/ 1153508 w 1153508"/>
              <a:gd name="connsiteY2" fmla="*/ 403728 h 807455"/>
              <a:gd name="connsiteX3" fmla="*/ 749781 w 1153508"/>
              <a:gd name="connsiteY3" fmla="*/ 807455 h 807455"/>
              <a:gd name="connsiteX4" fmla="*/ 0 w 1153508"/>
              <a:gd name="connsiteY4" fmla="*/ 807455 h 807455"/>
              <a:gd name="connsiteX5" fmla="*/ 403728 w 1153508"/>
              <a:gd name="connsiteY5" fmla="*/ 403728 h 807455"/>
              <a:gd name="connsiteX6" fmla="*/ 0 w 1153508"/>
              <a:gd name="connsiteY6" fmla="*/ 0 h 80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3508" h="807455">
                <a:moveTo>
                  <a:pt x="1153507" y="0"/>
                </a:moveTo>
                <a:lnTo>
                  <a:pt x="1153507" y="524846"/>
                </a:lnTo>
                <a:lnTo>
                  <a:pt x="576753" y="807455"/>
                </a:lnTo>
                <a:lnTo>
                  <a:pt x="1" y="524846"/>
                </a:lnTo>
                <a:lnTo>
                  <a:pt x="1" y="0"/>
                </a:lnTo>
                <a:lnTo>
                  <a:pt x="576753" y="282609"/>
                </a:lnTo>
                <a:lnTo>
                  <a:pt x="1153507" y="0"/>
                </a:lnTo>
                <a:close/>
              </a:path>
            </a:pathLst>
          </a:custGeom>
          <a:solidFill>
            <a:srgbClr val="812143"/>
          </a:solidFill>
          <a:ln w="19050" cap="rnd" cmpd="sng" algn="ctr">
            <a:solidFill>
              <a:srgbClr val="812143"/>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971" tIns="417699" rIns="13970" bIns="417697" numCol="1" spcCol="1270" anchor="ctr" anchorCtr="0">
            <a:noAutofit/>
          </a:bodyPr>
          <a:lstStyle/>
          <a:p>
            <a:pPr lvl="0" algn="ctr" defTabSz="977900">
              <a:lnSpc>
                <a:spcPct val="90000"/>
              </a:lnSpc>
              <a:spcBef>
                <a:spcPct val="0"/>
              </a:spcBef>
              <a:spcAft>
                <a:spcPct val="35000"/>
              </a:spcAft>
            </a:pPr>
            <a:endParaRPr lang="it-IT" sz="2200" b="1" kern="1200" dirty="0">
              <a:solidFill>
                <a:sysClr val="window" lastClr="FFFFFF"/>
              </a:solidFill>
              <a:latin typeface="Century Gothic" panose="020B0502020202020204" pitchFamily="34" charset="0"/>
              <a:ea typeface="+mn-ea"/>
              <a:cs typeface="+mn-cs"/>
            </a:endParaRPr>
          </a:p>
        </p:txBody>
      </p:sp>
      <p:sp>
        <p:nvSpPr>
          <p:cNvPr id="23" name="Freeform 7"/>
          <p:cNvSpPr/>
          <p:nvPr/>
        </p:nvSpPr>
        <p:spPr>
          <a:xfrm>
            <a:off x="293207" y="5695714"/>
            <a:ext cx="640241" cy="315116"/>
          </a:xfrm>
          <a:custGeom>
            <a:avLst/>
            <a:gdLst>
              <a:gd name="connsiteX0" fmla="*/ 0 w 1153508"/>
              <a:gd name="connsiteY0" fmla="*/ 0 h 807455"/>
              <a:gd name="connsiteX1" fmla="*/ 749781 w 1153508"/>
              <a:gd name="connsiteY1" fmla="*/ 0 h 807455"/>
              <a:gd name="connsiteX2" fmla="*/ 1153508 w 1153508"/>
              <a:gd name="connsiteY2" fmla="*/ 403728 h 807455"/>
              <a:gd name="connsiteX3" fmla="*/ 749781 w 1153508"/>
              <a:gd name="connsiteY3" fmla="*/ 807455 h 807455"/>
              <a:gd name="connsiteX4" fmla="*/ 0 w 1153508"/>
              <a:gd name="connsiteY4" fmla="*/ 807455 h 807455"/>
              <a:gd name="connsiteX5" fmla="*/ 403728 w 1153508"/>
              <a:gd name="connsiteY5" fmla="*/ 403728 h 807455"/>
              <a:gd name="connsiteX6" fmla="*/ 0 w 1153508"/>
              <a:gd name="connsiteY6" fmla="*/ 0 h 80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3508" h="807455">
                <a:moveTo>
                  <a:pt x="1153507" y="0"/>
                </a:moveTo>
                <a:lnTo>
                  <a:pt x="1153507" y="524846"/>
                </a:lnTo>
                <a:lnTo>
                  <a:pt x="576753" y="807455"/>
                </a:lnTo>
                <a:lnTo>
                  <a:pt x="1" y="524846"/>
                </a:lnTo>
                <a:lnTo>
                  <a:pt x="1" y="0"/>
                </a:lnTo>
                <a:lnTo>
                  <a:pt x="576753" y="282609"/>
                </a:lnTo>
                <a:lnTo>
                  <a:pt x="1153507" y="0"/>
                </a:lnTo>
                <a:close/>
              </a:path>
            </a:pathLst>
          </a:custGeom>
          <a:solidFill>
            <a:srgbClr val="812143"/>
          </a:solidFill>
          <a:ln w="19050" cap="rnd" cmpd="sng" algn="ctr">
            <a:solidFill>
              <a:srgbClr val="812143"/>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971" tIns="417699" rIns="13970" bIns="417697" numCol="1" spcCol="1270" anchor="ctr" anchorCtr="0">
            <a:noAutofit/>
          </a:bodyPr>
          <a:lstStyle/>
          <a:p>
            <a:pPr lvl="0" algn="ctr" defTabSz="977900">
              <a:lnSpc>
                <a:spcPct val="90000"/>
              </a:lnSpc>
              <a:spcBef>
                <a:spcPct val="0"/>
              </a:spcBef>
              <a:spcAft>
                <a:spcPct val="35000"/>
              </a:spcAft>
            </a:pPr>
            <a:endParaRPr lang="it-IT" sz="2200" b="1" kern="1200" dirty="0">
              <a:solidFill>
                <a:sysClr val="window" lastClr="FFFFFF"/>
              </a:solidFill>
              <a:latin typeface="Century Gothic" panose="020B0502020202020204" pitchFamily="34" charset="0"/>
              <a:ea typeface="+mn-ea"/>
              <a:cs typeface="+mn-cs"/>
            </a:endParaRPr>
          </a:p>
        </p:txBody>
      </p:sp>
      <p:sp>
        <p:nvSpPr>
          <p:cNvPr id="2" name="CasellaDiTesto 1"/>
          <p:cNvSpPr txBox="1"/>
          <p:nvPr/>
        </p:nvSpPr>
        <p:spPr>
          <a:xfrm>
            <a:off x="1111030" y="2987996"/>
            <a:ext cx="1225990" cy="369332"/>
          </a:xfrm>
          <a:prstGeom prst="rect">
            <a:avLst/>
          </a:prstGeom>
          <a:noFill/>
        </p:spPr>
        <p:txBody>
          <a:bodyPr wrap="square" rtlCol="0">
            <a:spAutoFit/>
          </a:bodyPr>
          <a:lstStyle/>
          <a:p>
            <a:r>
              <a:rPr lang="it-IT" dirty="0" smtClean="0">
                <a:solidFill>
                  <a:srgbClr val="012169"/>
                </a:solidFill>
                <a:latin typeface="Century Gothic" panose="020B0502020202020204" pitchFamily="34" charset="0"/>
              </a:rPr>
              <a:t>UE</a:t>
            </a:r>
            <a:endParaRPr lang="it-IT" dirty="0">
              <a:solidFill>
                <a:srgbClr val="012169"/>
              </a:solidFill>
              <a:latin typeface="Century Gothic" panose="020B0502020202020204" pitchFamily="34" charset="0"/>
            </a:endParaRPr>
          </a:p>
        </p:txBody>
      </p:sp>
      <p:sp>
        <p:nvSpPr>
          <p:cNvPr id="25" name="CasellaDiTesto 24"/>
          <p:cNvSpPr txBox="1"/>
          <p:nvPr/>
        </p:nvSpPr>
        <p:spPr>
          <a:xfrm>
            <a:off x="1111030" y="3768927"/>
            <a:ext cx="10852370" cy="646331"/>
          </a:xfrm>
          <a:prstGeom prst="rect">
            <a:avLst/>
          </a:prstGeom>
          <a:noFill/>
        </p:spPr>
        <p:txBody>
          <a:bodyPr wrap="square" rtlCol="0">
            <a:spAutoFit/>
          </a:bodyPr>
          <a:lstStyle/>
          <a:p>
            <a:r>
              <a:rPr lang="it-IT" dirty="0" smtClean="0">
                <a:solidFill>
                  <a:srgbClr val="012169"/>
                </a:solidFill>
                <a:latin typeface="Century Gothic" panose="020B0502020202020204" pitchFamily="34" charset="0"/>
              </a:rPr>
              <a:t>Regole o protocolli internazionali </a:t>
            </a:r>
            <a:r>
              <a:rPr lang="it-IT" dirty="0">
                <a:solidFill>
                  <a:srgbClr val="012169"/>
                </a:solidFill>
                <a:latin typeface="Century Gothic" panose="020B0502020202020204" pitchFamily="34" charset="0"/>
              </a:rPr>
              <a:t>o metodi sviluppati e raccomandati dai laboratori di referenza comunitari</a:t>
            </a:r>
            <a:r>
              <a:rPr lang="it-IT" dirty="0" smtClean="0">
                <a:solidFill>
                  <a:srgbClr val="012169"/>
                </a:solidFill>
                <a:latin typeface="Century Gothic" panose="020B0502020202020204" pitchFamily="34" charset="0"/>
              </a:rPr>
              <a:t> </a:t>
            </a:r>
            <a:endParaRPr lang="it-IT" dirty="0">
              <a:solidFill>
                <a:srgbClr val="012169"/>
              </a:solidFill>
              <a:latin typeface="Century Gothic" panose="020B0502020202020204" pitchFamily="34" charset="0"/>
            </a:endParaRPr>
          </a:p>
        </p:txBody>
      </p:sp>
      <p:sp>
        <p:nvSpPr>
          <p:cNvPr id="26" name="CasellaDiTesto 25"/>
          <p:cNvSpPr txBox="1"/>
          <p:nvPr/>
        </p:nvSpPr>
        <p:spPr>
          <a:xfrm>
            <a:off x="1111030" y="4729774"/>
            <a:ext cx="5518370" cy="369332"/>
          </a:xfrm>
          <a:prstGeom prst="rect">
            <a:avLst/>
          </a:prstGeom>
          <a:noFill/>
        </p:spPr>
        <p:txBody>
          <a:bodyPr wrap="square" rtlCol="0">
            <a:spAutoFit/>
          </a:bodyPr>
          <a:lstStyle/>
          <a:p>
            <a:r>
              <a:rPr lang="it-IT" dirty="0" smtClean="0">
                <a:solidFill>
                  <a:srgbClr val="012169"/>
                </a:solidFill>
                <a:latin typeface="Century Gothic" panose="020B0502020202020204" pitchFamily="34" charset="0"/>
              </a:rPr>
              <a:t>Norme nazionali pertinenti</a:t>
            </a:r>
            <a:endParaRPr lang="it-IT" dirty="0">
              <a:solidFill>
                <a:srgbClr val="012169"/>
              </a:solidFill>
              <a:latin typeface="Century Gothic" panose="020B0502020202020204" pitchFamily="34" charset="0"/>
            </a:endParaRPr>
          </a:p>
        </p:txBody>
      </p:sp>
      <p:sp>
        <p:nvSpPr>
          <p:cNvPr id="27" name="CasellaDiTesto 26"/>
          <p:cNvSpPr txBox="1"/>
          <p:nvPr/>
        </p:nvSpPr>
        <p:spPr>
          <a:xfrm>
            <a:off x="1111030" y="5410665"/>
            <a:ext cx="10642820" cy="1200329"/>
          </a:xfrm>
          <a:prstGeom prst="rect">
            <a:avLst/>
          </a:prstGeom>
          <a:noFill/>
        </p:spPr>
        <p:txBody>
          <a:bodyPr wrap="square" rtlCol="0">
            <a:spAutoFit/>
          </a:bodyPr>
          <a:lstStyle/>
          <a:p>
            <a:r>
              <a:rPr lang="it-IT" dirty="0" smtClean="0">
                <a:solidFill>
                  <a:srgbClr val="012169"/>
                </a:solidFill>
                <a:latin typeface="Century Gothic" panose="020B0502020202020204" pitchFamily="34" charset="0"/>
              </a:rPr>
              <a:t>Metodi </a:t>
            </a:r>
            <a:r>
              <a:rPr lang="it-IT" dirty="0">
                <a:solidFill>
                  <a:srgbClr val="012169"/>
                </a:solidFill>
                <a:latin typeface="Century Gothic" panose="020B0502020202020204" pitchFamily="34" charset="0"/>
              </a:rPr>
              <a:t>sviluppati o raccomandati dai laboratori nazionali di riferimento o convalidati con metodi intra-laboratorio e conformemente ai protocolli scientifici accettati a livello internazionale.</a:t>
            </a:r>
          </a:p>
          <a:p>
            <a:endParaRPr lang="it-IT" dirty="0">
              <a:solidFill>
                <a:srgbClr val="012169"/>
              </a:solidFill>
              <a:latin typeface="Century Gothic" panose="020B0502020202020204" pitchFamily="34" charset="0"/>
            </a:endParaRPr>
          </a:p>
        </p:txBody>
      </p:sp>
      <p:pic>
        <p:nvPicPr>
          <p:cNvPr id="12" name="Immagin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5662" y="0"/>
            <a:ext cx="1606338" cy="864951"/>
          </a:xfrm>
          <a:prstGeom prst="rect">
            <a:avLst/>
          </a:prstGeom>
        </p:spPr>
      </p:pic>
    </p:spTree>
    <p:extLst>
      <p:ext uri="{BB962C8B-B14F-4D97-AF65-F5344CB8AC3E}">
        <p14:creationId xmlns:p14="http://schemas.microsoft.com/office/powerpoint/2010/main" val="40490816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46759" y="3600450"/>
            <a:ext cx="2514600" cy="2514600"/>
          </a:xfrm>
          <a:prstGeom prst="rect">
            <a:avLst/>
          </a:prstGeom>
        </p:spPr>
      </p:pic>
      <p:pic>
        <p:nvPicPr>
          <p:cNvPr id="2" name="Immagin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4563" y="734740"/>
            <a:ext cx="2484710" cy="2484710"/>
          </a:xfrm>
          <a:prstGeom prst="rect">
            <a:avLst/>
          </a:prstGeom>
        </p:spPr>
      </p:pic>
      <p:sp>
        <p:nvSpPr>
          <p:cNvPr id="4" name="Title 1"/>
          <p:cNvSpPr txBox="1">
            <a:spLocks/>
          </p:cNvSpPr>
          <p:nvPr/>
        </p:nvSpPr>
        <p:spPr bwMode="auto">
          <a:xfrm>
            <a:off x="293210" y="296590"/>
            <a:ext cx="10801349"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ctr" anchorCtr="0" compatLnSpc="1">
            <a:prstTxWarp prst="textNoShape">
              <a:avLst/>
            </a:prstTxWarp>
            <a:spAutoFit/>
          </a:bodyPr>
          <a:lstStyle>
            <a:lvl1pPr algn="l" rtl="0" eaLnBrk="0" fontAlgn="base" hangingPunct="0">
              <a:spcBef>
                <a:spcPct val="0"/>
              </a:spcBef>
              <a:spcAft>
                <a:spcPct val="0"/>
              </a:spcAft>
              <a:defRPr sz="2200" b="1">
                <a:solidFill>
                  <a:srgbClr val="002060"/>
                </a:solidFill>
                <a:latin typeface="+mj-lt"/>
                <a:ea typeface="+mj-ea"/>
                <a:cs typeface="+mj-cs"/>
              </a:defRPr>
            </a:lvl1pPr>
            <a:lvl2pPr algn="l" rtl="0" eaLnBrk="0" fontAlgn="base" hangingPunct="0">
              <a:spcBef>
                <a:spcPct val="0"/>
              </a:spcBef>
              <a:spcAft>
                <a:spcPct val="0"/>
              </a:spcAft>
              <a:defRPr sz="2200" b="1">
                <a:solidFill>
                  <a:srgbClr val="202D50"/>
                </a:solidFill>
                <a:latin typeface="Century Gothic" pitchFamily="34" charset="0"/>
                <a:cs typeface="Arial" charset="0"/>
              </a:defRPr>
            </a:lvl2pPr>
            <a:lvl3pPr algn="l" rtl="0" eaLnBrk="0" fontAlgn="base" hangingPunct="0">
              <a:spcBef>
                <a:spcPct val="0"/>
              </a:spcBef>
              <a:spcAft>
                <a:spcPct val="0"/>
              </a:spcAft>
              <a:defRPr sz="2200" b="1">
                <a:solidFill>
                  <a:srgbClr val="202D50"/>
                </a:solidFill>
                <a:latin typeface="Century Gothic" pitchFamily="34" charset="0"/>
                <a:cs typeface="Arial" charset="0"/>
              </a:defRPr>
            </a:lvl3pPr>
            <a:lvl4pPr algn="l" rtl="0" eaLnBrk="0" fontAlgn="base" hangingPunct="0">
              <a:spcBef>
                <a:spcPct val="0"/>
              </a:spcBef>
              <a:spcAft>
                <a:spcPct val="0"/>
              </a:spcAft>
              <a:defRPr sz="2200" b="1">
                <a:solidFill>
                  <a:srgbClr val="202D50"/>
                </a:solidFill>
                <a:latin typeface="Century Gothic" pitchFamily="34" charset="0"/>
                <a:cs typeface="Arial" charset="0"/>
              </a:defRPr>
            </a:lvl4pPr>
            <a:lvl5pPr algn="l" rtl="0" eaLnBrk="0" fontAlgn="base" hangingPunct="0">
              <a:spcBef>
                <a:spcPct val="0"/>
              </a:spcBef>
              <a:spcAft>
                <a:spcPct val="0"/>
              </a:spcAft>
              <a:defRPr sz="2200" b="1">
                <a:solidFill>
                  <a:srgbClr val="202D50"/>
                </a:solidFill>
                <a:latin typeface="Century Gothic" pitchFamily="34" charset="0"/>
                <a:cs typeface="Arial" charset="0"/>
              </a:defRPr>
            </a:lvl5pPr>
            <a:lvl6pPr marL="457200" algn="l" rtl="0" fontAlgn="base">
              <a:spcBef>
                <a:spcPct val="0"/>
              </a:spcBef>
              <a:spcAft>
                <a:spcPct val="0"/>
              </a:spcAft>
              <a:defRPr sz="2200" b="1">
                <a:solidFill>
                  <a:srgbClr val="202D50"/>
                </a:solidFill>
                <a:latin typeface="Century Gothic" pitchFamily="34" charset="0"/>
                <a:cs typeface="Arial" charset="0"/>
              </a:defRPr>
            </a:lvl6pPr>
            <a:lvl7pPr marL="914400" algn="l" rtl="0" fontAlgn="base">
              <a:spcBef>
                <a:spcPct val="0"/>
              </a:spcBef>
              <a:spcAft>
                <a:spcPct val="0"/>
              </a:spcAft>
              <a:defRPr sz="2200" b="1">
                <a:solidFill>
                  <a:srgbClr val="202D50"/>
                </a:solidFill>
                <a:latin typeface="Century Gothic" pitchFamily="34" charset="0"/>
                <a:cs typeface="Arial" charset="0"/>
              </a:defRPr>
            </a:lvl7pPr>
            <a:lvl8pPr marL="1371600" algn="l" rtl="0" fontAlgn="base">
              <a:spcBef>
                <a:spcPct val="0"/>
              </a:spcBef>
              <a:spcAft>
                <a:spcPct val="0"/>
              </a:spcAft>
              <a:defRPr sz="2200" b="1">
                <a:solidFill>
                  <a:srgbClr val="202D50"/>
                </a:solidFill>
                <a:latin typeface="Century Gothic" pitchFamily="34" charset="0"/>
                <a:cs typeface="Arial" charset="0"/>
              </a:defRPr>
            </a:lvl8pPr>
            <a:lvl9pPr marL="1828800" algn="l" rtl="0" fontAlgn="base">
              <a:spcBef>
                <a:spcPct val="0"/>
              </a:spcBef>
              <a:spcAft>
                <a:spcPct val="0"/>
              </a:spcAft>
              <a:defRPr sz="2200" b="1">
                <a:solidFill>
                  <a:srgbClr val="202D50"/>
                </a:solidFill>
                <a:latin typeface="Century Gothic"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7.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Metod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e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tecniche</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de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controlli</a:t>
            </a:r>
            <a:r>
              <a:rPr kumimoji="0" lang="en-GB" sz="2200" b="1" i="0" u="none" strike="noStrike" kern="0" cap="none" spc="0" normalizeH="0" baseline="0" noProof="0" dirty="0" smtClean="0">
                <a:ln>
                  <a:noFill/>
                </a:ln>
                <a:solidFill>
                  <a:srgbClr val="0F2D69"/>
                </a:solidFill>
                <a:effectLst/>
                <a:uLnTx/>
                <a:uFillTx/>
                <a:latin typeface="Century Gothic"/>
                <a:ea typeface="+mj-ea"/>
                <a:cs typeface="Arial"/>
              </a:rPr>
              <a:t> </a:t>
            </a:r>
            <a:r>
              <a:rPr kumimoji="0" lang="en-GB" sz="2200" b="1" i="0" u="none" strike="noStrike" kern="0" cap="none" spc="0" normalizeH="0" baseline="0" noProof="0" dirty="0" err="1" smtClean="0">
                <a:ln>
                  <a:noFill/>
                </a:ln>
                <a:solidFill>
                  <a:srgbClr val="0F2D69"/>
                </a:solidFill>
                <a:effectLst/>
                <a:uLnTx/>
                <a:uFillTx/>
                <a:latin typeface="Century Gothic"/>
                <a:ea typeface="+mj-ea"/>
                <a:cs typeface="Arial"/>
              </a:rPr>
              <a:t>ufficiali</a:t>
            </a:r>
            <a:endParaRPr kumimoji="0" lang="en-GB" sz="2200" b="1" i="0" u="none" strike="noStrike" kern="0" cap="none" spc="0" normalizeH="0" baseline="0" noProof="0" dirty="0">
              <a:ln>
                <a:noFill/>
              </a:ln>
              <a:solidFill>
                <a:srgbClr val="0F2D69"/>
              </a:solidFill>
              <a:effectLst/>
              <a:uLnTx/>
              <a:uFillTx/>
              <a:latin typeface="Century Gothic"/>
              <a:ea typeface="+mj-ea"/>
              <a:cs typeface="Arial"/>
            </a:endParaRPr>
          </a:p>
        </p:txBody>
      </p:sp>
      <p:sp>
        <p:nvSpPr>
          <p:cNvPr id="9" name="Rectangle 8"/>
          <p:cNvSpPr/>
          <p:nvPr/>
        </p:nvSpPr>
        <p:spPr bwMode="auto">
          <a:xfrm>
            <a:off x="293210" y="977901"/>
            <a:ext cx="9970609" cy="5518149"/>
          </a:xfrm>
          <a:prstGeom prst="rect">
            <a:avLst/>
          </a:prstGeom>
          <a:noFill/>
          <a:ln w="19050" algn="ctr">
            <a:noFill/>
            <a:miter lim="800000"/>
            <a:headEnd/>
            <a:tailEnd/>
          </a:ln>
        </p:spPr>
        <p:txBody>
          <a:bodyPr wrap="square" lIns="88900" tIns="88900" rIns="88900" bIns="88900" rtlCol="0" anchor="t"/>
          <a:lstStyle/>
          <a:p>
            <a:pPr marL="514350" indent="-514350">
              <a:buAutoNum type="alphaLcParenR"/>
            </a:pPr>
            <a:r>
              <a:rPr lang="it-IT" dirty="0">
                <a:solidFill>
                  <a:srgbClr val="012169"/>
                </a:solidFill>
                <a:latin typeface="Century Gothic" panose="020B0502020202020204" pitchFamily="34" charset="0"/>
              </a:rPr>
              <a:t>l’esame dei controlli applicati dagli operatori e dei risultati così ottenuti; </a:t>
            </a:r>
          </a:p>
          <a:p>
            <a:pPr marL="514350" indent="-514350">
              <a:buAutoNum type="alphaLcParenR"/>
            </a:pPr>
            <a:r>
              <a:rPr lang="it-IT" dirty="0">
                <a:solidFill>
                  <a:srgbClr val="012169"/>
                </a:solidFill>
                <a:latin typeface="Century Gothic" panose="020B0502020202020204" pitchFamily="34" charset="0"/>
              </a:rPr>
              <a:t>l’ispezione di: i) attrezzature, mezzi di trasporto, locali e altri luoghi sotto il loro controllo e relative adiacenze; ii) animali e merci, compresi prodotti semilavorati, materie prime, ingredienti, coadiuvanti tecnologici e altri prodotti utilizzati per la preparazione e la produzione di merci o per l’alimentazione o l’accudimento degli animali; iii) prodotti e procedimenti di pulizia e di manutenzione; iv) tracciabilità, etichettatura, presentazione, pubblicità e materiali di imballaggio pertinenti compresi materiali destinati a venire a contatto con alimenti; </a:t>
            </a:r>
          </a:p>
          <a:p>
            <a:pPr marL="514350" indent="-514350">
              <a:buAutoNum type="alphaLcParenR"/>
            </a:pPr>
            <a:r>
              <a:rPr lang="it-IT" dirty="0">
                <a:solidFill>
                  <a:srgbClr val="012169"/>
                </a:solidFill>
                <a:latin typeface="Century Gothic" panose="020B0502020202020204" pitchFamily="34" charset="0"/>
              </a:rPr>
              <a:t> controlli delle condizioni igieniche nei locali degli operatori </a:t>
            </a:r>
          </a:p>
          <a:p>
            <a:pPr marL="514350" indent="-514350">
              <a:buAutoNum type="alphaLcParenR"/>
            </a:pPr>
            <a:r>
              <a:rPr lang="it-IT" dirty="0">
                <a:solidFill>
                  <a:srgbClr val="012169"/>
                </a:solidFill>
                <a:latin typeface="Century Gothic" panose="020B0502020202020204" pitchFamily="34" charset="0"/>
              </a:rPr>
              <a:t>valutazione procedure di autocontrollo e procedure basate sui principi dell’analisi dei rischi e dei punti critici di controllo (HACCP); </a:t>
            </a:r>
          </a:p>
          <a:p>
            <a:pPr marL="514350" indent="-514350">
              <a:buAutoNum type="alphaLcParenR"/>
            </a:pPr>
            <a:r>
              <a:rPr lang="it-IT" dirty="0">
                <a:solidFill>
                  <a:srgbClr val="012169"/>
                </a:solidFill>
                <a:latin typeface="Century Gothic" panose="020B0502020202020204" pitchFamily="34" charset="0"/>
              </a:rPr>
              <a:t>esame di documenti, dati sulla tracciabilità e altri dati che possano essere pertinenti per la valutazione della conformità alla normativa di cui all’art. 1, par. 2, compresi, se del caso, documenti di accompagnamento di alimenti, mangimi e qualsiasi sostanza o materiale che entra o esce da uno stabilimento; </a:t>
            </a:r>
          </a:p>
          <a:p>
            <a:pPr marL="514350" indent="-514350">
              <a:buAutoNum type="alphaLcParenR"/>
            </a:pPr>
            <a:r>
              <a:rPr lang="it-IT" dirty="0">
                <a:solidFill>
                  <a:srgbClr val="012169"/>
                </a:solidFill>
                <a:latin typeface="Century Gothic" panose="020B0502020202020204" pitchFamily="34" charset="0"/>
              </a:rPr>
              <a:t>interviste con gli operatori e con il loro personale;</a:t>
            </a:r>
          </a:p>
          <a:p>
            <a:pPr marL="514350" indent="-514350">
              <a:buAutoNum type="alphaLcParenR"/>
            </a:pPr>
            <a:r>
              <a:rPr lang="it-IT" dirty="0">
                <a:solidFill>
                  <a:srgbClr val="012169"/>
                </a:solidFill>
                <a:latin typeface="Century Gothic" panose="020B0502020202020204" pitchFamily="34" charset="0"/>
              </a:rPr>
              <a:t>verifica delle misure rilevate dall’operatore e degli altri risultati di prove; </a:t>
            </a:r>
          </a:p>
          <a:p>
            <a:pPr marL="514350" indent="-514350">
              <a:buAutoNum type="alphaLcParenR"/>
            </a:pPr>
            <a:r>
              <a:rPr lang="it-IT" dirty="0">
                <a:solidFill>
                  <a:srgbClr val="012169"/>
                </a:solidFill>
                <a:latin typeface="Century Gothic" panose="020B0502020202020204" pitchFamily="34" charset="0"/>
              </a:rPr>
              <a:t>campionamento, analisi, diagnosi e prove; i) audit degli operatori; j) qualsiasi altra attività necessaria per rilevare casi di non conformità</a:t>
            </a:r>
          </a:p>
        </p:txBody>
      </p:sp>
      <p:pic>
        <p:nvPicPr>
          <p:cNvPr id="6" name="Immagin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91511" y="56474"/>
            <a:ext cx="1606338" cy="864951"/>
          </a:xfrm>
          <a:prstGeom prst="rect">
            <a:avLst/>
          </a:prstGeom>
        </p:spPr>
      </p:pic>
    </p:spTree>
    <p:extLst>
      <p:ext uri="{BB962C8B-B14F-4D97-AF65-F5344CB8AC3E}">
        <p14:creationId xmlns:p14="http://schemas.microsoft.com/office/powerpoint/2010/main" val="41822836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ersonalizza struttura">
  <a:themeElements>
    <a:clrScheme name="Personalizza struttur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ersonalizza struttura">
      <a:majorFont>
        <a:latin typeface="Century Gothic"/>
        <a:ea typeface=""/>
        <a:cs typeface="Arial"/>
      </a:majorFont>
      <a:minorFont>
        <a:latin typeface="Century Gothic"/>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1" i="0" u="none" strike="noStrike" cap="none" normalizeH="0" baseline="0" smtClean="0">
            <a:ln>
              <a:noFill/>
            </a:ln>
            <a:solidFill>
              <a:schemeClr val="tx1"/>
            </a:solidFill>
            <a:effectLst/>
            <a:latin typeface="Century Gothic"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1" i="0" u="none" strike="noStrike" cap="none" normalizeH="0" baseline="0" smtClean="0">
            <a:ln>
              <a:noFill/>
            </a:ln>
            <a:solidFill>
              <a:schemeClr val="tx1"/>
            </a:solidFill>
            <a:effectLst/>
            <a:latin typeface="Century Gothic" pitchFamily="34" charset="0"/>
            <a:cs typeface="Arial" charset="0"/>
          </a:defRPr>
        </a:defPPr>
      </a:lstStyle>
    </a:lnDef>
  </a:objectDefaults>
  <a:extraClrSchemeLst>
    <a:extraClrScheme>
      <a:clrScheme name="Personalizza struttur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ersonalizza struttur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ersonalizza struttur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ersonalizza struttur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ersonalizza struttur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ersonalizza struttur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ersonalizza struttur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ersonalizza struttur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ersonalizza struttur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ersonalizza struttur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ersonalizza struttur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ersonalizza struttur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26505196F09D4EBD4928CEC531C0B7" ma:contentTypeVersion="13" ma:contentTypeDescription="Create a new document." ma:contentTypeScope="" ma:versionID="c79dc008469834823147143fc93239ee">
  <xsd:schema xmlns:xsd="http://www.w3.org/2001/XMLSchema" xmlns:xs="http://www.w3.org/2001/XMLSchema" xmlns:p="http://schemas.microsoft.com/office/2006/metadata/properties" xmlns:ns3="6274bbc4-14ec-445c-a606-e07002b1eed3" xmlns:ns4="7724b212-bf25-48ed-90f3-0a7a23b2f5cb" targetNamespace="http://schemas.microsoft.com/office/2006/metadata/properties" ma:root="true" ma:fieldsID="4696cfd3627d63889a05242b2218c348" ns3:_="" ns4:_="">
    <xsd:import namespace="6274bbc4-14ec-445c-a606-e07002b1eed3"/>
    <xsd:import namespace="7724b212-bf25-48ed-90f3-0a7a23b2f5c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74bbc4-14ec-445c-a606-e07002b1ee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24b212-bf25-48ed-90f3-0a7a23b2f5c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480D5A-901C-4FDC-AD14-7DD5980015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74bbc4-14ec-445c-a606-e07002b1eed3"/>
    <ds:schemaRef ds:uri="7724b212-bf25-48ed-90f3-0a7a23b2f5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1B471E1-3168-4148-A8DD-CEFF21029625}">
  <ds:schemaRefs>
    <ds:schemaRef ds:uri="http://schemas.microsoft.com/office/2006/documentManagement/types"/>
    <ds:schemaRef ds:uri="http://schemas.microsoft.com/office/2006/metadata/properties"/>
    <ds:schemaRef ds:uri="7724b212-bf25-48ed-90f3-0a7a23b2f5cb"/>
    <ds:schemaRef ds:uri="http://purl.org/dc/elements/1.1/"/>
    <ds:schemaRef ds:uri="http://schemas.openxmlformats.org/package/2006/metadata/core-properties"/>
    <ds:schemaRef ds:uri="http://purl.org/dc/terms/"/>
    <ds:schemaRef ds:uri="http://schemas.microsoft.com/office/infopath/2007/PartnerControls"/>
    <ds:schemaRef ds:uri="6274bbc4-14ec-445c-a606-e07002b1eed3"/>
    <ds:schemaRef ds:uri="http://www.w3.org/XML/1998/namespace"/>
    <ds:schemaRef ds:uri="http://purl.org/dc/dcmitype/"/>
  </ds:schemaRefs>
</ds:datastoreItem>
</file>

<file path=customXml/itemProps3.xml><?xml version="1.0" encoding="utf-8"?>
<ds:datastoreItem xmlns:ds="http://schemas.openxmlformats.org/officeDocument/2006/customXml" ds:itemID="{43E35484-8A5C-4E86-AD08-41F373183E3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93</TotalTime>
  <Words>4284</Words>
  <Application>Microsoft Office PowerPoint</Application>
  <PresentationFormat>Widescreen</PresentationFormat>
  <Paragraphs>260</Paragraphs>
  <Slides>30</Slides>
  <Notes>0</Notes>
  <HiddenSlides>0</HiddenSlides>
  <MMClips>0</MMClips>
  <ScaleCrop>false</ScaleCrop>
  <HeadingPairs>
    <vt:vector size="8" baseType="variant">
      <vt:variant>
        <vt:lpstr>Caratteri utilizzati</vt:lpstr>
      </vt:variant>
      <vt:variant>
        <vt:i4>8</vt:i4>
      </vt:variant>
      <vt:variant>
        <vt:lpstr>Tema</vt:lpstr>
      </vt:variant>
      <vt:variant>
        <vt:i4>2</vt:i4>
      </vt:variant>
      <vt:variant>
        <vt:lpstr>Server OLE incorporati</vt:lpstr>
      </vt:variant>
      <vt:variant>
        <vt:i4>1</vt:i4>
      </vt:variant>
      <vt:variant>
        <vt:lpstr>Titoli diapositive</vt:lpstr>
      </vt:variant>
      <vt:variant>
        <vt:i4>30</vt:i4>
      </vt:variant>
    </vt:vector>
  </HeadingPairs>
  <TitlesOfParts>
    <vt:vector size="41" baseType="lpstr">
      <vt:lpstr>Arial</vt:lpstr>
      <vt:lpstr>Calibri</vt:lpstr>
      <vt:lpstr>Calibri Light</vt:lpstr>
      <vt:lpstr>Century Gothic</vt:lpstr>
      <vt:lpstr>Garamond</vt:lpstr>
      <vt:lpstr>Monotype Corsiva</vt:lpstr>
      <vt:lpstr>Verdana</vt:lpstr>
      <vt:lpstr>Wingdings</vt:lpstr>
      <vt:lpstr>Office Theme</vt:lpstr>
      <vt:lpstr>Personalizza struttura</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anluca Marullo</dc:creator>
  <cp:lastModifiedBy>manuela</cp:lastModifiedBy>
  <cp:revision>112</cp:revision>
  <dcterms:created xsi:type="dcterms:W3CDTF">2021-03-18T20:40:45Z</dcterms:created>
  <dcterms:modified xsi:type="dcterms:W3CDTF">2021-12-16T08:3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3-18T20:40:4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780de27-bfd7-453c-872a-464f769a0039</vt:lpwstr>
  </property>
  <property fmtid="{D5CDD505-2E9C-101B-9397-08002B2CF9AE}" pid="8" name="MSIP_Label_ea60d57e-af5b-4752-ac57-3e4f28ca11dc_ContentBits">
    <vt:lpwstr>0</vt:lpwstr>
  </property>
  <property fmtid="{D5CDD505-2E9C-101B-9397-08002B2CF9AE}" pid="9" name="ContentTypeId">
    <vt:lpwstr>0x0101008826505196F09D4EBD4928CEC531C0B7</vt:lpwstr>
  </property>
</Properties>
</file>